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0"/>
  </p:notesMasterIdLst>
  <p:sldIdLst>
    <p:sldId id="258" r:id="rId2"/>
    <p:sldId id="278" r:id="rId3"/>
    <p:sldId id="274" r:id="rId4"/>
    <p:sldId id="275" r:id="rId5"/>
    <p:sldId id="279" r:id="rId6"/>
    <p:sldId id="276" r:id="rId7"/>
    <p:sldId id="277" r:id="rId8"/>
    <p:sldId id="281" r:id="rId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FF66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79" autoAdjust="0"/>
    <p:restoredTop sz="94660"/>
  </p:normalViewPr>
  <p:slideViewPr>
    <p:cSldViewPr>
      <p:cViewPr varScale="1">
        <p:scale>
          <a:sx n="121" d="100"/>
          <a:sy n="121" d="100"/>
        </p:scale>
        <p:origin x="102" y="252"/>
      </p:cViewPr>
      <p:guideLst>
        <p:guide orient="horz" pos="2160"/>
        <p:guide pos="3840"/>
      </p:guideLst>
    </p:cSldViewPr>
  </p:slideViewPr>
  <p:notesTextViewPr>
    <p:cViewPr>
      <p:scale>
        <a:sx n="1" d="1"/>
        <a:sy n="1" d="1"/>
      </p:scale>
      <p:origin x="0" y="0"/>
    </p:cViewPr>
  </p:notesTextViewPr>
  <p:notesViewPr>
    <p:cSldViewPr>
      <p:cViewPr varScale="1">
        <p:scale>
          <a:sx n="95" d="100"/>
          <a:sy n="95" d="100"/>
        </p:scale>
        <p:origin x="3582" y="72"/>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7.06.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9.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jpe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r>
              <a:rPr lang="en-US" dirty="0" smtClean="0"/>
              <a:t>E5-Dev Klausur</a:t>
            </a:r>
            <a:endParaRPr lang="de-DE" dirty="0"/>
          </a:p>
        </p:txBody>
      </p:sp>
      <p:sp>
        <p:nvSpPr>
          <p:cNvPr id="9" name="Fußzeilenplatzhalter 8"/>
          <p:cNvSpPr>
            <a:spLocks noGrp="1"/>
          </p:cNvSpPr>
          <p:nvPr>
            <p:ph type="ftr" sz="quarter" idx="11"/>
          </p:nvPr>
        </p:nvSpPr>
        <p:spPr/>
        <p:txBody>
          <a:bodyPr/>
          <a:lstStyle/>
          <a:p>
            <a:r>
              <a:rPr lang="de-DE" dirty="0" smtClean="0"/>
              <a:t>Max-Planck-Institut für Plasmaphysik | Matthias Schneider | 03.07.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5"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199786" y="345526"/>
            <a:ext cx="10072012" cy="388551"/>
          </a:xfrm>
        </p:spPr>
        <p:txBody>
          <a:bodyPr/>
          <a:lstStyle>
            <a:lvl1pPr>
              <a:defRPr/>
            </a:lvl1pPr>
          </a:lstStyle>
          <a:p>
            <a:r>
              <a:rPr lang="de-DE" dirty="0" smtClean="0"/>
              <a:t>Titelmasterformat durch Klicken bearbeiten</a:t>
            </a:r>
            <a:endParaRPr lang="de-DE" dirty="0"/>
          </a:p>
        </p:txBody>
      </p:sp>
      <p:sp>
        <p:nvSpPr>
          <p:cNvPr id="15" name="Datumsplatzhalter 14"/>
          <p:cNvSpPr>
            <a:spLocks noGrp="1"/>
          </p:cNvSpPr>
          <p:nvPr>
            <p:ph type="dt" sz="half" idx="14"/>
          </p:nvPr>
        </p:nvSpPr>
        <p:spPr>
          <a:xfrm>
            <a:off x="4122419" y="6490799"/>
            <a:ext cx="7564996" cy="144000"/>
          </a:xfrm>
        </p:spPr>
        <p:txBody>
          <a:bodyPr/>
          <a:lstStyle/>
          <a:p>
            <a:r>
              <a:rPr lang="en-US" dirty="0" smtClean="0"/>
              <a:t>E5-Dev Klausur</a:t>
            </a:r>
            <a:endParaRPr lang="de-DE" dirty="0"/>
          </a:p>
        </p:txBody>
      </p:sp>
      <p:sp>
        <p:nvSpPr>
          <p:cNvPr id="16" name="Fußzeilenplatzhalter 15"/>
          <p:cNvSpPr>
            <a:spLocks noGrp="1"/>
          </p:cNvSpPr>
          <p:nvPr>
            <p:ph type="ftr" sz="quarter" idx="15"/>
          </p:nvPr>
        </p:nvSpPr>
        <p:spPr>
          <a:xfrm>
            <a:off x="199786" y="6490800"/>
            <a:ext cx="6582013" cy="144000"/>
          </a:xfrm>
        </p:spPr>
        <p:txBody>
          <a:bodyPr/>
          <a:lstStyle/>
          <a:p>
            <a:r>
              <a:rPr lang="de-DE" smtClean="0"/>
              <a:t>Max-Planck-Institut für Plasmaphysik | Olaf Grulke | 03.05.2023</a:t>
            </a:r>
            <a:endParaRPr lang="de-DE" dirty="0"/>
          </a:p>
        </p:txBody>
      </p:sp>
      <p:sp>
        <p:nvSpPr>
          <p:cNvPr id="17" name="Foliennummernplatzhalter 16"/>
          <p:cNvSpPr>
            <a:spLocks noGrp="1"/>
          </p:cNvSpPr>
          <p:nvPr>
            <p:ph type="sldNum" sz="quarter" idx="16"/>
          </p:nvPr>
        </p:nvSpPr>
        <p:spPr>
          <a:xfrm>
            <a:off x="11687415" y="6490799"/>
            <a:ext cx="338098" cy="144000"/>
          </a:xfrm>
        </p:spPr>
        <p:txBody>
          <a:bodyPr/>
          <a:lstStyle/>
          <a:p>
            <a:fld id="{ECE691D0-CC49-4FC7-9C4D-6112B0CB3A76}" type="slidenum">
              <a:rPr lang="de-DE" smtClean="0"/>
              <a:pPr/>
              <a:t>‹Nr.›</a:t>
            </a:fld>
            <a:endParaRPr lang="de-DE" dirty="0"/>
          </a:p>
        </p:txBody>
      </p:sp>
      <p:sp>
        <p:nvSpPr>
          <p:cNvPr id="9" name="Inhaltsplatzhalter 2"/>
          <p:cNvSpPr>
            <a:spLocks noGrp="1"/>
          </p:cNvSpPr>
          <p:nvPr>
            <p:ph idx="1"/>
          </p:nvPr>
        </p:nvSpPr>
        <p:spPr>
          <a:xfrm>
            <a:off x="199785" y="879566"/>
            <a:ext cx="11825727" cy="5486400"/>
          </a:xfrm>
          <a:prstGeom prst="rect">
            <a:avLst/>
          </a:prstGeom>
        </p:spPr>
        <p:txBody>
          <a:bodyPr lIns="0"/>
          <a:lstStyle>
            <a:lvl1pPr>
              <a:defRPr lang="de-DE" sz="2400" b="1" kern="1200" smtClean="0">
                <a:solidFill>
                  <a:srgbClr val="005555"/>
                </a:solidFill>
                <a:latin typeface="Arial" panose="020B0604020202020204" pitchFamily="34" charset="0"/>
                <a:ea typeface="+mn-ea"/>
                <a:cs typeface="Arial" panose="020B0604020202020204" pitchFamily="34" charset="0"/>
              </a:defRPr>
            </a:lvl1pPr>
            <a:lvl2pPr>
              <a:defRPr lang="de-DE" sz="2000" b="0" kern="1200" dirty="0" smtClean="0">
                <a:solidFill>
                  <a:schemeClr val="tx1"/>
                </a:solidFill>
                <a:latin typeface="Arial" panose="020B0604020202020204" pitchFamily="34" charset="0"/>
                <a:ea typeface="+mn-ea"/>
                <a:cs typeface="Arial" panose="020B0604020202020204" pitchFamily="34" charset="0"/>
              </a:defRPr>
            </a:lvl2pPr>
            <a:lvl3pPr>
              <a:defRPr lang="de-DE" sz="1800" kern="1200" dirty="0" smtClean="0">
                <a:solidFill>
                  <a:schemeClr val="tx1"/>
                </a:solidFill>
                <a:latin typeface="Arial" panose="020B0604020202020204" pitchFamily="34" charset="0"/>
                <a:ea typeface="+mn-ea"/>
                <a:cs typeface="Arial" panose="020B0604020202020204" pitchFamily="34" charset="0"/>
              </a:defRPr>
            </a:lvl3pPr>
            <a:lvl4pPr>
              <a:defRPr>
                <a:latin typeface="Arial" panose="020B0604020202020204" pitchFamily="34" charset="0"/>
                <a:cs typeface="Arial" panose="020B0604020202020204" pitchFamily="34" charset="0"/>
              </a:defRPr>
            </a:lvl4pPr>
            <a:lvl5pPr>
              <a:defRPr lang="de-DE" sz="1600" kern="1200" dirty="0" smtClean="0">
                <a:solidFill>
                  <a:schemeClr val="tx1"/>
                </a:solidFill>
                <a:latin typeface="Arial" panose="020B0604020202020204" pitchFamily="34" charset="0"/>
                <a:ea typeface="+mn-ea"/>
                <a:cs typeface="Arial" panose="020B0604020202020204"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0742970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heme" Target="../theme/theme1.xml"/><Relationship Id="rId7"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10" Type="http://schemas.openxmlformats.org/officeDocument/2006/relationships/image" Target="../media/image3.emf"/><Relationship Id="rId4" Type="http://schemas.openxmlformats.org/officeDocument/2006/relationships/vmlDrawing" Target="../drawings/vmlDrawing1.v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3" name="think-cell Folie" r:id="rId8" imgW="384" imgH="385" progId="TCLayout.ActiveDocument.1">
                  <p:embed/>
                </p:oleObj>
              </mc:Choice>
              <mc:Fallback>
                <p:oleObj name="think-cell Folie" r:id="rId8" imgW="384" imgH="385"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dirty="0" smtClean="0"/>
              <a:t>E5-Dev Klausur</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smtClean="0"/>
              <a:t>Max-Planck-Institut für Plasmaphysik | Olaf Grulke | 03.05.2023</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8" r:id="rId1"/>
    <p:sldLayoutId id="2147483669" r:id="rId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eg"/><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M. Schneider</a:t>
            </a:r>
          </a:p>
        </p:txBody>
      </p:sp>
      <p:sp>
        <p:nvSpPr>
          <p:cNvPr id="7" name="Titel 6"/>
          <p:cNvSpPr>
            <a:spLocks noGrp="1"/>
          </p:cNvSpPr>
          <p:nvPr>
            <p:ph type="title"/>
          </p:nvPr>
        </p:nvSpPr>
        <p:spPr/>
        <p:txBody>
          <a:bodyPr/>
          <a:lstStyle/>
          <a:p>
            <a:r>
              <a:rPr lang="en-GB" dirty="0" smtClean="0"/>
              <a:t>E5-Dev Klausur 2025</a:t>
            </a:r>
            <a:br>
              <a:rPr lang="en-GB" dirty="0" smtClean="0"/>
            </a:br>
            <a:r>
              <a:rPr lang="en-GB" dirty="0" smtClean="0"/>
              <a:t>Quench-</a:t>
            </a:r>
            <a:r>
              <a:rPr lang="de-DE" dirty="0" smtClean="0"/>
              <a:t>Detektions</a:t>
            </a:r>
            <a:r>
              <a:rPr lang="en-GB" dirty="0" smtClean="0"/>
              <a:t>-System</a:t>
            </a:r>
            <a:endParaRPr lang="en-GB" dirty="0"/>
          </a:p>
        </p:txBody>
      </p:sp>
      <p:sp>
        <p:nvSpPr>
          <p:cNvPr id="3" name="Datumsplatzhalter 2"/>
          <p:cNvSpPr>
            <a:spLocks noGrp="1"/>
          </p:cNvSpPr>
          <p:nvPr>
            <p:ph type="dt" sz="half" idx="10"/>
          </p:nvPr>
        </p:nvSpPr>
        <p:spPr/>
        <p:txBody>
          <a:bodyPr/>
          <a:lstStyle/>
          <a:p>
            <a:r>
              <a:rPr lang="en-US" dirty="0" smtClean="0"/>
              <a:t>E5-Dev Klausur</a:t>
            </a:r>
            <a:endParaRPr lang="de-DE" dirty="0"/>
          </a:p>
        </p:txBody>
      </p:sp>
      <p:sp>
        <p:nvSpPr>
          <p:cNvPr id="2" name="Fußzeilenplatzhalter 1"/>
          <p:cNvSpPr>
            <a:spLocks noGrp="1"/>
          </p:cNvSpPr>
          <p:nvPr>
            <p:ph type="ftr" sz="quarter" idx="11"/>
          </p:nvPr>
        </p:nvSpPr>
        <p:spPr/>
        <p:txBody>
          <a:bodyPr/>
          <a:lstStyle/>
          <a:p>
            <a:r>
              <a:rPr lang="de-DE" dirty="0" smtClean="0"/>
              <a:t>Max-Planck-Institut für Plasmaphysik | Matthias Schneider | 03.07.2025</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Quench-Detektions-System</a:t>
            </a:r>
            <a:endParaRPr lang="en-US" dirty="0"/>
          </a:p>
        </p:txBody>
      </p:sp>
      <p:sp>
        <p:nvSpPr>
          <p:cNvPr id="3" name="Datumsplatzhalter 2"/>
          <p:cNvSpPr>
            <a:spLocks noGrp="1"/>
          </p:cNvSpPr>
          <p:nvPr>
            <p:ph type="dt" sz="half" idx="14"/>
          </p:nvPr>
        </p:nvSpPr>
        <p:spPr/>
        <p:txBody>
          <a:bodyPr/>
          <a:lstStyle/>
          <a:p>
            <a:r>
              <a:rPr lang="en-US" dirty="0" smtClean="0"/>
              <a:t>E5-Dev Klausur 2025</a:t>
            </a:r>
            <a:endParaRPr lang="de-DE" dirty="0"/>
          </a:p>
        </p:txBody>
      </p:sp>
      <p:sp>
        <p:nvSpPr>
          <p:cNvPr id="4" name="Fußzeilenplatzhalter 3"/>
          <p:cNvSpPr>
            <a:spLocks noGrp="1"/>
          </p:cNvSpPr>
          <p:nvPr>
            <p:ph type="ftr" sz="quarter" idx="15"/>
          </p:nvPr>
        </p:nvSpPr>
        <p:spPr/>
        <p:txBody>
          <a:bodyPr/>
          <a:lstStyle/>
          <a:p>
            <a:r>
              <a:rPr lang="de-DE" dirty="0" smtClean="0"/>
              <a:t>Max-Planck-Institut für Plasmaphysik | Matthias Schneider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2</a:t>
            </a:fld>
            <a:endParaRPr lang="de-DE" dirty="0"/>
          </a:p>
        </p:txBody>
      </p:sp>
      <p:sp>
        <p:nvSpPr>
          <p:cNvPr id="7" name="Textfeld 6"/>
          <p:cNvSpPr txBox="1"/>
          <p:nvPr/>
        </p:nvSpPr>
        <p:spPr>
          <a:xfrm>
            <a:off x="506077" y="1038326"/>
            <a:ext cx="4869923" cy="5270674"/>
          </a:xfrm>
          <a:prstGeom prst="rect">
            <a:avLst/>
          </a:prstGeom>
          <a:noFill/>
        </p:spPr>
        <p:txBody>
          <a:bodyPr wrap="none" lIns="0" tIns="0" rIns="0" bIns="0" rtlCol="0" anchor="t" anchorCtr="0">
            <a:spAutoFit/>
          </a:bodyPr>
          <a:lstStyle/>
          <a:p>
            <a:pPr marL="285750" indent="-285750" algn="l">
              <a:lnSpc>
                <a:spcPts val="2300"/>
              </a:lnSpc>
              <a:spcBef>
                <a:spcPts val="1150"/>
              </a:spcBef>
              <a:buFont typeface="Wingdings" panose="05000000000000000000" pitchFamily="2" charset="2"/>
              <a:buChar char="§"/>
            </a:pPr>
            <a:r>
              <a:rPr lang="de-DE" sz="1600" dirty="0" smtClean="0"/>
              <a:t>Schutzsystem des W7-X</a:t>
            </a:r>
          </a:p>
          <a:p>
            <a:pPr marL="285750" indent="-285750" algn="l">
              <a:lnSpc>
                <a:spcPts val="2300"/>
              </a:lnSpc>
              <a:spcBef>
                <a:spcPts val="1150"/>
              </a:spcBef>
              <a:buFont typeface="Wingdings" panose="05000000000000000000" pitchFamily="2" charset="2"/>
              <a:buChar char="§"/>
            </a:pPr>
            <a:r>
              <a:rPr lang="de-DE" sz="1600" dirty="0" smtClean="0"/>
              <a:t>Überwachung des supraleitenden Magnetsystems</a:t>
            </a:r>
          </a:p>
          <a:p>
            <a:pPr marL="742950" lvl="1" indent="-285750">
              <a:lnSpc>
                <a:spcPts val="1000"/>
              </a:lnSpc>
              <a:spcBef>
                <a:spcPts val="1150"/>
              </a:spcBef>
              <a:buFont typeface="Wingdings" panose="05000000000000000000" pitchFamily="2" charset="2"/>
              <a:buChar char="§"/>
            </a:pPr>
            <a:r>
              <a:rPr lang="de-DE" sz="1600" dirty="0"/>
              <a:t>n</a:t>
            </a:r>
            <a:r>
              <a:rPr lang="de-DE" sz="1600" dirty="0" smtClean="0"/>
              <a:t>icht-planare und planare Spulen</a:t>
            </a:r>
          </a:p>
          <a:p>
            <a:pPr marL="742950" lvl="1" indent="-285750">
              <a:lnSpc>
                <a:spcPts val="1000"/>
              </a:lnSpc>
              <a:spcBef>
                <a:spcPts val="1150"/>
              </a:spcBef>
              <a:buFont typeface="Wingdings" panose="05000000000000000000" pitchFamily="2" charset="2"/>
              <a:buChar char="§"/>
            </a:pPr>
            <a:r>
              <a:rPr lang="de-DE" sz="1600" dirty="0" smtClean="0"/>
              <a:t>Bussystem</a:t>
            </a:r>
          </a:p>
          <a:p>
            <a:pPr marL="742950" lvl="1" indent="-285750">
              <a:lnSpc>
                <a:spcPts val="1000"/>
              </a:lnSpc>
              <a:spcBef>
                <a:spcPts val="1150"/>
              </a:spcBef>
              <a:buFont typeface="Wingdings" panose="05000000000000000000" pitchFamily="2" charset="2"/>
              <a:buChar char="§"/>
            </a:pPr>
            <a:r>
              <a:rPr lang="de-DE" sz="1600" dirty="0" smtClean="0"/>
              <a:t>Stromzuführungen</a:t>
            </a:r>
          </a:p>
          <a:p>
            <a:pPr marL="285750" indent="-285750" algn="l">
              <a:lnSpc>
                <a:spcPts val="3000"/>
              </a:lnSpc>
              <a:spcBef>
                <a:spcPts val="1150"/>
              </a:spcBef>
              <a:buFont typeface="Wingdings" panose="05000000000000000000" pitchFamily="2" charset="2"/>
              <a:buChar char="è"/>
            </a:pPr>
            <a:r>
              <a:rPr lang="de-DE" sz="1600" dirty="0" smtClean="0">
                <a:solidFill>
                  <a:srgbClr val="FF0000"/>
                </a:solidFill>
              </a:rPr>
              <a:t>Erkennung des Verlustes der Supraleitfähigkeit</a:t>
            </a:r>
          </a:p>
          <a:p>
            <a:pPr marL="285750" indent="-285750" algn="l">
              <a:lnSpc>
                <a:spcPts val="1000"/>
              </a:lnSpc>
              <a:spcBef>
                <a:spcPts val="1150"/>
              </a:spcBef>
              <a:buFont typeface="Wingdings" panose="05000000000000000000" pitchFamily="2" charset="2"/>
              <a:buChar char="è"/>
            </a:pPr>
            <a:r>
              <a:rPr lang="de-DE" sz="1600" dirty="0" smtClean="0">
                <a:solidFill>
                  <a:srgbClr val="FF0000"/>
                </a:solidFill>
              </a:rPr>
              <a:t>Quench-Erkennung</a:t>
            </a:r>
          </a:p>
          <a:p>
            <a:pPr marL="285750" indent="-285750" algn="l">
              <a:lnSpc>
                <a:spcPts val="3000"/>
              </a:lnSpc>
              <a:spcBef>
                <a:spcPts val="1150"/>
              </a:spcBef>
              <a:buFont typeface="Wingdings" panose="05000000000000000000" pitchFamily="2" charset="2"/>
              <a:buChar char="§"/>
            </a:pPr>
            <a:r>
              <a:rPr lang="de-DE" sz="1600" dirty="0" smtClean="0"/>
              <a:t>Abschaltinitiierung der Stromversorgung AAE</a:t>
            </a:r>
          </a:p>
          <a:p>
            <a:pPr marL="742950" lvl="1" indent="-285750">
              <a:lnSpc>
                <a:spcPts val="1000"/>
              </a:lnSpc>
              <a:spcBef>
                <a:spcPts val="1150"/>
              </a:spcBef>
              <a:buFont typeface="Wingdings" panose="05000000000000000000" pitchFamily="2" charset="2"/>
              <a:buChar char="§"/>
            </a:pPr>
            <a:r>
              <a:rPr lang="de-DE" sz="1600" dirty="0" smtClean="0"/>
              <a:t>Schnellentregung</a:t>
            </a:r>
          </a:p>
          <a:p>
            <a:pPr marL="742950" lvl="1" indent="-285750">
              <a:lnSpc>
                <a:spcPts val="1000"/>
              </a:lnSpc>
              <a:spcBef>
                <a:spcPts val="1150"/>
              </a:spcBef>
              <a:buFont typeface="Wingdings" panose="05000000000000000000" pitchFamily="2" charset="2"/>
              <a:buChar char="§"/>
            </a:pPr>
            <a:r>
              <a:rPr lang="de-DE" sz="1600" dirty="0" smtClean="0"/>
              <a:t>Wechselrichterentregung</a:t>
            </a:r>
          </a:p>
          <a:p>
            <a:pPr marL="285750" indent="-285750" algn="l">
              <a:lnSpc>
                <a:spcPts val="1500"/>
              </a:lnSpc>
              <a:spcBef>
                <a:spcPts val="1150"/>
              </a:spcBef>
              <a:buFont typeface="Wingdings" panose="05000000000000000000" pitchFamily="2" charset="2"/>
              <a:buChar char="§"/>
            </a:pPr>
            <a:r>
              <a:rPr lang="de-DE" sz="1600" dirty="0" smtClean="0"/>
              <a:t>Aufbau</a:t>
            </a:r>
          </a:p>
          <a:p>
            <a:pPr marL="742950" lvl="1" indent="-285750">
              <a:lnSpc>
                <a:spcPts val="1000"/>
              </a:lnSpc>
              <a:spcBef>
                <a:spcPts val="1150"/>
              </a:spcBef>
              <a:buFont typeface="Wingdings" panose="05000000000000000000" pitchFamily="2" charset="2"/>
              <a:buChar char="§"/>
            </a:pPr>
            <a:r>
              <a:rPr lang="de-DE" sz="1600" dirty="0" smtClean="0"/>
              <a:t>Aktuell 486 Detektoren</a:t>
            </a:r>
          </a:p>
          <a:p>
            <a:pPr marL="742950" lvl="1" indent="-285750">
              <a:lnSpc>
                <a:spcPts val="1000"/>
              </a:lnSpc>
              <a:spcBef>
                <a:spcPts val="1150"/>
              </a:spcBef>
              <a:buFont typeface="Wingdings" panose="05000000000000000000" pitchFamily="2" charset="2"/>
              <a:buChar char="§"/>
            </a:pPr>
            <a:r>
              <a:rPr lang="de-DE" sz="1600" dirty="0" smtClean="0"/>
              <a:t>Ausbau 2025 </a:t>
            </a:r>
            <a:r>
              <a:rPr lang="de-DE" sz="1600" dirty="0" smtClean="0">
                <a:sym typeface="Wingdings" panose="05000000000000000000" pitchFamily="2" charset="2"/>
              </a:rPr>
              <a:t> 586 Detektoren</a:t>
            </a:r>
          </a:p>
          <a:p>
            <a:pPr marL="742950" lvl="1" indent="-285750">
              <a:lnSpc>
                <a:spcPts val="1000"/>
              </a:lnSpc>
              <a:spcBef>
                <a:spcPts val="1150"/>
              </a:spcBef>
              <a:buFont typeface="Wingdings" panose="05000000000000000000" pitchFamily="2" charset="2"/>
              <a:buChar char="§"/>
            </a:pPr>
            <a:r>
              <a:rPr lang="de-DE" sz="1600" dirty="0" smtClean="0">
                <a:sym typeface="Wingdings" panose="05000000000000000000" pitchFamily="2" charset="2"/>
              </a:rPr>
              <a:t>10 QD-Subsystem in der </a:t>
            </a:r>
            <a:r>
              <a:rPr lang="de-DE" sz="1600" dirty="0" err="1" smtClean="0">
                <a:sym typeface="Wingdings" panose="05000000000000000000" pitchFamily="2" charset="2"/>
              </a:rPr>
              <a:t>Torushalle</a:t>
            </a:r>
            <a:endParaRPr lang="de-DE" sz="1600" dirty="0" smtClean="0">
              <a:sym typeface="Wingdings" panose="05000000000000000000" pitchFamily="2" charset="2"/>
            </a:endParaRPr>
          </a:p>
          <a:p>
            <a:pPr marL="742950" lvl="1" indent="-285750">
              <a:lnSpc>
                <a:spcPts val="1000"/>
              </a:lnSpc>
              <a:spcBef>
                <a:spcPts val="1150"/>
              </a:spcBef>
              <a:buFont typeface="Wingdings" panose="05000000000000000000" pitchFamily="2" charset="2"/>
              <a:buChar char="§"/>
            </a:pPr>
            <a:r>
              <a:rPr lang="de-DE" sz="1600" dirty="0" smtClean="0">
                <a:sym typeface="Wingdings" panose="05000000000000000000" pitchFamily="2" charset="2"/>
              </a:rPr>
              <a:t>Spannungs-Differenzmessverfahren</a:t>
            </a:r>
          </a:p>
          <a:p>
            <a:pPr marL="742950" lvl="1" indent="-285750">
              <a:lnSpc>
                <a:spcPts val="1000"/>
              </a:lnSpc>
              <a:spcBef>
                <a:spcPts val="1150"/>
              </a:spcBef>
              <a:buFont typeface="Wingdings" panose="05000000000000000000" pitchFamily="2" charset="2"/>
              <a:buChar char="§"/>
            </a:pPr>
            <a:r>
              <a:rPr lang="de-DE" sz="1600" dirty="0" smtClean="0">
                <a:sym typeface="Wingdings" panose="05000000000000000000" pitchFamily="2" charset="2"/>
              </a:rPr>
              <a:t>Keine 1:1-Überwachungsredundanz</a:t>
            </a:r>
          </a:p>
        </p:txBody>
      </p:sp>
      <p:grpSp>
        <p:nvGrpSpPr>
          <p:cNvPr id="12" name="Gruppieren 11"/>
          <p:cNvGrpSpPr/>
          <p:nvPr/>
        </p:nvGrpSpPr>
        <p:grpSpPr>
          <a:xfrm>
            <a:off x="6231130" y="333000"/>
            <a:ext cx="3536870" cy="2670953"/>
            <a:chOff x="5951999" y="760829"/>
            <a:chExt cx="3536870" cy="2670953"/>
          </a:xfrm>
        </p:grpSpPr>
        <p:pic>
          <p:nvPicPr>
            <p:cNvPr id="6" name="Bild 1" descr="C:\Dokumente und Einstellungen\birus\Eigene Dateien\Eigene Dokumente\Quench_Detektion\QD_Bilder_IPE\QDE_20100822.jpg"/>
            <p:cNvPicPr/>
            <p:nvPr/>
          </p:nvPicPr>
          <p:blipFill>
            <a:blip r:embed="rId2" cstate="print"/>
            <a:srcRect/>
            <a:stretch>
              <a:fillRect/>
            </a:stretch>
          </p:blipFill>
          <p:spPr bwMode="auto">
            <a:xfrm>
              <a:off x="5952000" y="760829"/>
              <a:ext cx="3536869" cy="2376000"/>
            </a:xfrm>
            <a:prstGeom prst="rect">
              <a:avLst/>
            </a:prstGeom>
            <a:noFill/>
            <a:ln w="9525">
              <a:noFill/>
              <a:miter lim="800000"/>
              <a:headEnd/>
              <a:tailEnd/>
            </a:ln>
          </p:spPr>
        </p:pic>
        <p:sp>
          <p:nvSpPr>
            <p:cNvPr id="9" name="Textfeld 8"/>
            <p:cNvSpPr txBox="1"/>
            <p:nvPr/>
          </p:nvSpPr>
          <p:spPr>
            <a:xfrm>
              <a:off x="5951999" y="3136829"/>
              <a:ext cx="3536869" cy="294953"/>
            </a:xfrm>
            <a:prstGeom prst="rect">
              <a:avLst/>
            </a:prstGeom>
            <a:noFill/>
          </p:spPr>
          <p:txBody>
            <a:bodyPr wrap="square" lIns="0" tIns="0" rIns="0" bIns="0" rtlCol="0" anchor="t" anchorCtr="0">
              <a:spAutoFit/>
            </a:bodyPr>
            <a:lstStyle/>
            <a:p>
              <a:pPr algn="ctr">
                <a:lnSpc>
                  <a:spcPts val="2300"/>
                </a:lnSpc>
                <a:spcBef>
                  <a:spcPts val="1150"/>
                </a:spcBef>
              </a:pPr>
              <a:r>
                <a:rPr lang="de-DE" sz="1000" dirty="0" smtClean="0"/>
                <a:t>QD-Detektor</a:t>
              </a:r>
            </a:p>
          </p:txBody>
        </p:sp>
      </p:grpSp>
      <p:grpSp>
        <p:nvGrpSpPr>
          <p:cNvPr id="19" name="Gruppieren 18"/>
          <p:cNvGrpSpPr/>
          <p:nvPr/>
        </p:nvGrpSpPr>
        <p:grpSpPr>
          <a:xfrm>
            <a:off x="9199093" y="2133000"/>
            <a:ext cx="2512907" cy="3496858"/>
            <a:chOff x="8690490" y="2633847"/>
            <a:chExt cx="2512907" cy="3496858"/>
          </a:xfrm>
        </p:grpSpPr>
        <p:pic>
          <p:nvPicPr>
            <p:cNvPr id="13" name="Grafik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90490" y="2633847"/>
              <a:ext cx="2512907" cy="3243153"/>
            </a:xfrm>
            <a:prstGeom prst="rect">
              <a:avLst/>
            </a:prstGeom>
          </p:spPr>
        </p:pic>
        <p:sp>
          <p:nvSpPr>
            <p:cNvPr id="14" name="Textfeld 13"/>
            <p:cNvSpPr txBox="1"/>
            <p:nvPr/>
          </p:nvSpPr>
          <p:spPr>
            <a:xfrm>
              <a:off x="8690490" y="5880315"/>
              <a:ext cx="2512907" cy="250390"/>
            </a:xfrm>
            <a:prstGeom prst="rect">
              <a:avLst/>
            </a:prstGeom>
            <a:noFill/>
          </p:spPr>
          <p:txBody>
            <a:bodyPr wrap="square" lIns="0" tIns="0" rIns="0" bIns="0" rtlCol="0" anchor="t" anchorCtr="0">
              <a:spAutoFit/>
            </a:bodyPr>
            <a:lstStyle/>
            <a:p>
              <a:pPr algn="ctr">
                <a:lnSpc>
                  <a:spcPts val="2300"/>
                </a:lnSpc>
                <a:spcBef>
                  <a:spcPts val="1150"/>
                </a:spcBef>
              </a:pPr>
              <a:r>
                <a:rPr lang="de-DE" sz="1000" dirty="0" smtClean="0"/>
                <a:t>QD-Subsysteme</a:t>
              </a:r>
            </a:p>
          </p:txBody>
        </p:sp>
      </p:grpSp>
      <p:grpSp>
        <p:nvGrpSpPr>
          <p:cNvPr id="8" name="Gruppieren 7"/>
          <p:cNvGrpSpPr/>
          <p:nvPr/>
        </p:nvGrpSpPr>
        <p:grpSpPr>
          <a:xfrm>
            <a:off x="5104471" y="3141000"/>
            <a:ext cx="3871529" cy="3229105"/>
            <a:chOff x="5104471" y="3141000"/>
            <a:chExt cx="3871529" cy="3229105"/>
          </a:xfrm>
        </p:grpSpPr>
        <p:pic>
          <p:nvPicPr>
            <p:cNvPr id="15" name="Grafik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29960" y="3449359"/>
              <a:ext cx="3020551" cy="1159567"/>
            </a:xfrm>
            <a:prstGeom prst="rect">
              <a:avLst/>
            </a:prstGeom>
          </p:spPr>
        </p:pic>
        <p:pic>
          <p:nvPicPr>
            <p:cNvPr id="16" name="Grafik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29960" y="4979641"/>
              <a:ext cx="3020551" cy="1159567"/>
            </a:xfrm>
            <a:prstGeom prst="rect">
              <a:avLst/>
            </a:prstGeom>
          </p:spPr>
        </p:pic>
        <p:sp>
          <p:nvSpPr>
            <p:cNvPr id="17" name="Textfeld 16"/>
            <p:cNvSpPr txBox="1"/>
            <p:nvPr/>
          </p:nvSpPr>
          <p:spPr>
            <a:xfrm>
              <a:off x="5378705" y="3141000"/>
              <a:ext cx="3323060" cy="297926"/>
            </a:xfrm>
            <a:prstGeom prst="rect">
              <a:avLst/>
            </a:prstGeom>
            <a:noFill/>
          </p:spPr>
          <p:txBody>
            <a:bodyPr wrap="square" rtlCol="0">
              <a:spAutoFit/>
            </a:bodyPr>
            <a:lstStyle/>
            <a:p>
              <a:pPr algn="ctr"/>
              <a:r>
                <a:rPr lang="de-DE" sz="1000" dirty="0" err="1" smtClean="0"/>
                <a:t>Planare</a:t>
              </a:r>
              <a:r>
                <a:rPr lang="de-DE" sz="1000" dirty="0" smtClean="0"/>
                <a:t> Spule Originalüberwachung</a:t>
              </a:r>
              <a:endParaRPr lang="de-DE" sz="1000" dirty="0"/>
            </a:p>
          </p:txBody>
        </p:sp>
        <p:sp>
          <p:nvSpPr>
            <p:cNvPr id="18" name="Textfeld 17"/>
            <p:cNvSpPr txBox="1"/>
            <p:nvPr/>
          </p:nvSpPr>
          <p:spPr>
            <a:xfrm>
              <a:off x="5104471" y="6072179"/>
              <a:ext cx="3871529" cy="297926"/>
            </a:xfrm>
            <a:prstGeom prst="rect">
              <a:avLst/>
            </a:prstGeom>
            <a:noFill/>
          </p:spPr>
          <p:txBody>
            <a:bodyPr wrap="square" rtlCol="0">
              <a:spAutoFit/>
            </a:bodyPr>
            <a:lstStyle/>
            <a:p>
              <a:pPr algn="ctr"/>
              <a:r>
                <a:rPr lang="de-DE" sz="1000" dirty="0" err="1" smtClean="0"/>
                <a:t>Planare</a:t>
              </a:r>
              <a:r>
                <a:rPr lang="de-DE" sz="1000" dirty="0" smtClean="0"/>
                <a:t> Spule </a:t>
              </a:r>
              <a:r>
                <a:rPr lang="de-DE" sz="1000" dirty="0"/>
                <a:t>Backup-(Redundanz)-Überwachung</a:t>
              </a:r>
            </a:p>
          </p:txBody>
        </p:sp>
      </p:grpSp>
    </p:spTree>
    <p:extLst>
      <p:ext uri="{BB962C8B-B14F-4D97-AF65-F5344CB8AC3E}">
        <p14:creationId xmlns:p14="http://schemas.microsoft.com/office/powerpoint/2010/main" val="20726133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Überblick</a:t>
            </a:r>
            <a:r>
              <a:rPr lang="en-US" dirty="0" smtClean="0"/>
              <a:t> OP2.2 &amp; OP2.3</a:t>
            </a:r>
            <a:endParaRPr lang="en-US" dirty="0"/>
          </a:p>
        </p:txBody>
      </p:sp>
      <p:sp>
        <p:nvSpPr>
          <p:cNvPr id="3" name="Datumsplatzhalter 2"/>
          <p:cNvSpPr>
            <a:spLocks noGrp="1"/>
          </p:cNvSpPr>
          <p:nvPr>
            <p:ph type="dt" sz="half" idx="14"/>
          </p:nvPr>
        </p:nvSpPr>
        <p:spPr/>
        <p:txBody>
          <a:bodyPr/>
          <a:lstStyle/>
          <a:p>
            <a:r>
              <a:rPr lang="en-US" dirty="0" smtClean="0"/>
              <a:t>E5-Dev Klausur 2025</a:t>
            </a:r>
            <a:endParaRPr lang="de-DE" dirty="0"/>
          </a:p>
        </p:txBody>
      </p:sp>
      <p:sp>
        <p:nvSpPr>
          <p:cNvPr id="4" name="Fußzeilenplatzhalter 3"/>
          <p:cNvSpPr>
            <a:spLocks noGrp="1"/>
          </p:cNvSpPr>
          <p:nvPr>
            <p:ph type="ftr" sz="quarter" idx="15"/>
          </p:nvPr>
        </p:nvSpPr>
        <p:spPr/>
        <p:txBody>
          <a:bodyPr/>
          <a:lstStyle/>
          <a:p>
            <a:r>
              <a:rPr lang="de-DE" dirty="0" smtClean="0"/>
              <a:t>Max-Planck-Institut für Plasmaphysik | Matthias Schneider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3</a:t>
            </a:fld>
            <a:endParaRPr lang="de-DE" dirty="0"/>
          </a:p>
        </p:txBody>
      </p:sp>
      <p:sp>
        <p:nvSpPr>
          <p:cNvPr id="6" name="Textfeld 5"/>
          <p:cNvSpPr txBox="1"/>
          <p:nvPr/>
        </p:nvSpPr>
        <p:spPr>
          <a:xfrm>
            <a:off x="1056000" y="909000"/>
            <a:ext cx="6267228" cy="5386090"/>
          </a:xfrm>
          <a:prstGeom prst="rect">
            <a:avLst/>
          </a:prstGeom>
          <a:noFill/>
        </p:spPr>
        <p:txBody>
          <a:bodyPr wrap="none" lIns="0" tIns="0" rIns="0" bIns="0" rtlCol="0" anchor="t" anchorCtr="0">
            <a:spAutoFit/>
          </a:bodyPr>
          <a:lstStyle/>
          <a:p>
            <a:pPr marL="285750" indent="-285750" algn="l">
              <a:lnSpc>
                <a:spcPts val="1500"/>
              </a:lnSpc>
              <a:spcBef>
                <a:spcPts val="1150"/>
              </a:spcBef>
              <a:buFont typeface="Wingdings" panose="05000000000000000000" pitchFamily="2" charset="2"/>
              <a:buChar char="§"/>
            </a:pPr>
            <a:r>
              <a:rPr lang="de-DE" sz="1600" dirty="0" smtClean="0"/>
              <a:t>Kein Fehler, Ausfälle oder technische Auffälligkeiten</a:t>
            </a:r>
          </a:p>
          <a:p>
            <a:pPr marL="285750" indent="-285750" algn="l">
              <a:lnSpc>
                <a:spcPts val="1500"/>
              </a:lnSpc>
              <a:spcBef>
                <a:spcPts val="1150"/>
              </a:spcBef>
              <a:buFont typeface="Wingdings" panose="05000000000000000000" pitchFamily="2" charset="2"/>
              <a:buChar char="§"/>
            </a:pPr>
            <a:r>
              <a:rPr lang="de-DE" sz="1600" dirty="0" smtClean="0"/>
              <a:t>QD-Parameter NPS:</a:t>
            </a:r>
          </a:p>
          <a:p>
            <a:pPr marL="742950" lvl="1" indent="-285750">
              <a:lnSpc>
                <a:spcPts val="1500"/>
              </a:lnSpc>
              <a:spcBef>
                <a:spcPts val="1150"/>
              </a:spcBef>
              <a:buFont typeface="Wingdings" panose="05000000000000000000" pitchFamily="2" charset="2"/>
              <a:buChar char="§"/>
            </a:pPr>
            <a:r>
              <a:rPr lang="de-DE" sz="1600" dirty="0" smtClean="0">
                <a:sym typeface="Wingdings" panose="05000000000000000000" pitchFamily="2" charset="2"/>
              </a:rPr>
              <a:t>NPS: Original</a:t>
            </a:r>
            <a:r>
              <a:rPr lang="de-DE" sz="1600" dirty="0">
                <a:sym typeface="Wingdings" panose="05000000000000000000" pitchFamily="2" charset="2"/>
              </a:rPr>
              <a:t>: </a:t>
            </a:r>
            <a:r>
              <a:rPr lang="de-DE" sz="1600" dirty="0" smtClean="0">
                <a:sym typeface="Wingdings" panose="05000000000000000000" pitchFamily="2" charset="2"/>
              </a:rPr>
              <a:t>150mV@50ms / Backup</a:t>
            </a:r>
            <a:r>
              <a:rPr lang="de-DE" sz="1600" dirty="0">
                <a:sym typeface="Wingdings" panose="05000000000000000000" pitchFamily="2" charset="2"/>
              </a:rPr>
              <a:t>: </a:t>
            </a:r>
            <a:r>
              <a:rPr lang="de-DE" sz="1600" dirty="0" smtClean="0">
                <a:sym typeface="Wingdings" panose="05000000000000000000" pitchFamily="2" charset="2"/>
              </a:rPr>
              <a:t>330mV@100ms</a:t>
            </a:r>
          </a:p>
          <a:p>
            <a:pPr marL="742950" lvl="1" indent="-285750">
              <a:lnSpc>
                <a:spcPts val="1500"/>
              </a:lnSpc>
              <a:spcBef>
                <a:spcPts val="1150"/>
              </a:spcBef>
              <a:buFont typeface="Wingdings" panose="05000000000000000000" pitchFamily="2" charset="2"/>
              <a:buChar char="§"/>
            </a:pPr>
            <a:r>
              <a:rPr lang="de-DE" sz="1600" dirty="0" smtClean="0">
                <a:sym typeface="Wingdings" panose="05000000000000000000" pitchFamily="2" charset="2"/>
              </a:rPr>
              <a:t>PLS: Original 100mV@50ms / Backup: 200mV@50ms</a:t>
            </a:r>
            <a:endParaRPr lang="de-DE" sz="1600" dirty="0" smtClean="0"/>
          </a:p>
          <a:p>
            <a:pPr marL="285750" indent="-285750" algn="l">
              <a:lnSpc>
                <a:spcPts val="1500"/>
              </a:lnSpc>
              <a:spcBef>
                <a:spcPts val="1150"/>
              </a:spcBef>
              <a:buFont typeface="Wingdings" panose="05000000000000000000" pitchFamily="2" charset="2"/>
              <a:buChar char="§"/>
            </a:pPr>
            <a:r>
              <a:rPr lang="de-DE" sz="1600" dirty="0" smtClean="0"/>
              <a:t>Plasmaabriss:</a:t>
            </a:r>
          </a:p>
          <a:p>
            <a:pPr marL="742950" lvl="1" indent="-285750">
              <a:lnSpc>
                <a:spcPts val="1500"/>
              </a:lnSpc>
              <a:spcBef>
                <a:spcPts val="1150"/>
              </a:spcBef>
              <a:buFont typeface="Wingdings" panose="05000000000000000000" pitchFamily="2" charset="2"/>
              <a:buChar char="§"/>
            </a:pPr>
            <a:r>
              <a:rPr lang="de-DE" sz="1600" dirty="0" smtClean="0"/>
              <a:t>XP20250318.71</a:t>
            </a:r>
          </a:p>
          <a:p>
            <a:pPr marL="1200150" lvl="2" indent="-285750">
              <a:lnSpc>
                <a:spcPts val="1500"/>
              </a:lnSpc>
              <a:spcBef>
                <a:spcPts val="1150"/>
              </a:spcBef>
              <a:buFont typeface="Wingdings" panose="05000000000000000000" pitchFamily="2" charset="2"/>
              <a:buChar char="à"/>
            </a:pPr>
            <a:r>
              <a:rPr lang="de-DE" sz="1600" dirty="0">
                <a:sym typeface="Wingdings" panose="05000000000000000000" pitchFamily="2" charset="2"/>
              </a:rPr>
              <a:t>Keine Schnell- oder Wechselrichterentregung ausgelöst</a:t>
            </a:r>
          </a:p>
          <a:p>
            <a:pPr marL="1200150" lvl="2" indent="-285750">
              <a:lnSpc>
                <a:spcPts val="1500"/>
              </a:lnSpc>
              <a:spcBef>
                <a:spcPts val="1150"/>
              </a:spcBef>
              <a:buFont typeface="Wingdings" panose="05000000000000000000" pitchFamily="2" charset="2"/>
              <a:buChar char="à"/>
            </a:pPr>
            <a:r>
              <a:rPr lang="de-DE" sz="1600" dirty="0" smtClean="0">
                <a:sym typeface="Wingdings" panose="05000000000000000000" pitchFamily="2" charset="2"/>
              </a:rPr>
              <a:t>Erreichen der Auslöseschwelle NPS:</a:t>
            </a:r>
          </a:p>
          <a:p>
            <a:pPr marL="1657350" lvl="3" indent="-285750">
              <a:lnSpc>
                <a:spcPts val="1500"/>
              </a:lnSpc>
              <a:spcBef>
                <a:spcPts val="1150"/>
              </a:spcBef>
              <a:buFont typeface="Wingdings" panose="05000000000000000000" pitchFamily="2" charset="2"/>
              <a:buChar char="à"/>
            </a:pPr>
            <a:r>
              <a:rPr lang="de-DE" sz="1600" dirty="0" smtClean="0">
                <a:sym typeface="Wingdings" panose="05000000000000000000" pitchFamily="2" charset="2"/>
              </a:rPr>
              <a:t>76% Original / 70% Backup</a:t>
            </a:r>
          </a:p>
          <a:p>
            <a:pPr marL="1200150" lvl="2" indent="-285750">
              <a:lnSpc>
                <a:spcPts val="1500"/>
              </a:lnSpc>
              <a:spcBef>
                <a:spcPts val="1150"/>
              </a:spcBef>
              <a:buFont typeface="Wingdings" panose="05000000000000000000" pitchFamily="2" charset="2"/>
              <a:buChar char="à"/>
            </a:pPr>
            <a:r>
              <a:rPr lang="de-DE" sz="1600" dirty="0" smtClean="0">
                <a:sym typeface="Wingdings" panose="05000000000000000000" pitchFamily="2" charset="2"/>
              </a:rPr>
              <a:t>Differenzspannungen in PLS unkritisch</a:t>
            </a:r>
          </a:p>
          <a:p>
            <a:pPr marL="1200150" lvl="2" indent="-285750">
              <a:lnSpc>
                <a:spcPts val="1500"/>
              </a:lnSpc>
              <a:spcBef>
                <a:spcPts val="1150"/>
              </a:spcBef>
              <a:buFont typeface="Wingdings" panose="05000000000000000000" pitchFamily="2" charset="2"/>
              <a:buChar char="à"/>
            </a:pPr>
            <a:r>
              <a:rPr lang="de-DE" sz="1600" dirty="0" smtClean="0">
                <a:sym typeface="Wingdings" panose="05000000000000000000" pitchFamily="2" charset="2"/>
              </a:rPr>
              <a:t>Energieabfall (1504kJ-auf-700kJ): -17kJ/</a:t>
            </a:r>
            <a:r>
              <a:rPr lang="de-DE" sz="1600" dirty="0" err="1" smtClean="0">
                <a:sym typeface="Wingdings" panose="05000000000000000000" pitchFamily="2" charset="2"/>
              </a:rPr>
              <a:t>ms</a:t>
            </a:r>
            <a:endParaRPr lang="de-DE" sz="1600" dirty="0" smtClean="0">
              <a:sym typeface="Wingdings" panose="05000000000000000000" pitchFamily="2" charset="2"/>
            </a:endParaRPr>
          </a:p>
          <a:p>
            <a:pPr marL="742950" lvl="1" indent="-285750">
              <a:lnSpc>
                <a:spcPts val="1500"/>
              </a:lnSpc>
              <a:spcBef>
                <a:spcPts val="1150"/>
              </a:spcBef>
              <a:buFont typeface="Wingdings" panose="05000000000000000000" pitchFamily="2" charset="2"/>
              <a:buChar char="§"/>
            </a:pPr>
            <a:r>
              <a:rPr lang="de-DE" sz="1600" dirty="0" smtClean="0">
                <a:sym typeface="Wingdings" panose="05000000000000000000" pitchFamily="2" charset="2"/>
              </a:rPr>
              <a:t>XP20250515.63</a:t>
            </a:r>
          </a:p>
          <a:p>
            <a:pPr marL="1200150" lvl="2" indent="-285750">
              <a:lnSpc>
                <a:spcPts val="1500"/>
              </a:lnSpc>
              <a:spcBef>
                <a:spcPts val="1150"/>
              </a:spcBef>
              <a:buFont typeface="Wingdings" panose="05000000000000000000" pitchFamily="2" charset="2"/>
              <a:buChar char="à"/>
            </a:pPr>
            <a:r>
              <a:rPr lang="de-DE" sz="1600" dirty="0">
                <a:sym typeface="Wingdings" panose="05000000000000000000" pitchFamily="2" charset="2"/>
              </a:rPr>
              <a:t>Schnellentregung ausgelöst</a:t>
            </a:r>
          </a:p>
          <a:p>
            <a:pPr marL="1200150" lvl="2" indent="-285750">
              <a:lnSpc>
                <a:spcPts val="1500"/>
              </a:lnSpc>
              <a:spcBef>
                <a:spcPts val="1150"/>
              </a:spcBef>
              <a:buFont typeface="Wingdings" panose="05000000000000000000" pitchFamily="2" charset="2"/>
              <a:buChar char="à"/>
            </a:pPr>
            <a:r>
              <a:rPr lang="de-DE" sz="1600" dirty="0" smtClean="0">
                <a:sym typeface="Wingdings" panose="05000000000000000000" pitchFamily="2" charset="2"/>
              </a:rPr>
              <a:t>Original- und Backupschwellen in NPS überschritten</a:t>
            </a:r>
          </a:p>
          <a:p>
            <a:pPr marL="1200150" lvl="2" indent="-285750">
              <a:lnSpc>
                <a:spcPts val="1500"/>
              </a:lnSpc>
              <a:spcBef>
                <a:spcPts val="1150"/>
              </a:spcBef>
              <a:buFont typeface="Wingdings" panose="05000000000000000000" pitchFamily="2" charset="2"/>
              <a:buChar char="à"/>
            </a:pPr>
            <a:r>
              <a:rPr lang="de-DE" sz="1600" dirty="0" smtClean="0">
                <a:sym typeface="Wingdings" panose="05000000000000000000" pitchFamily="2" charset="2"/>
              </a:rPr>
              <a:t>Differenzspannungen in PLS unkritisch</a:t>
            </a:r>
          </a:p>
          <a:p>
            <a:pPr marL="1200150" lvl="2" indent="-285750">
              <a:lnSpc>
                <a:spcPts val="1500"/>
              </a:lnSpc>
              <a:spcBef>
                <a:spcPts val="1150"/>
              </a:spcBef>
              <a:buFont typeface="Wingdings" panose="05000000000000000000" pitchFamily="2" charset="2"/>
              <a:buChar char="à"/>
            </a:pPr>
            <a:r>
              <a:rPr lang="de-DE" sz="1600" dirty="0" smtClean="0">
                <a:sym typeface="Wingdings" panose="05000000000000000000" pitchFamily="2" charset="2"/>
              </a:rPr>
              <a:t>Energieabfall (1525kJ-auf-395kJ): -51kJ/</a:t>
            </a:r>
            <a:r>
              <a:rPr lang="de-DE" sz="1600" dirty="0" err="1" smtClean="0">
                <a:sym typeface="Wingdings" panose="05000000000000000000" pitchFamily="2" charset="2"/>
              </a:rPr>
              <a:t>ms</a:t>
            </a:r>
            <a:endParaRPr lang="de-DE" sz="1600" dirty="0" smtClean="0">
              <a:sym typeface="Wingdings" panose="05000000000000000000" pitchFamily="2" charset="2"/>
            </a:endParaRPr>
          </a:p>
        </p:txBody>
      </p:sp>
      <p:grpSp>
        <p:nvGrpSpPr>
          <p:cNvPr id="8" name="Gruppieren 7"/>
          <p:cNvGrpSpPr/>
          <p:nvPr/>
        </p:nvGrpSpPr>
        <p:grpSpPr>
          <a:xfrm>
            <a:off x="7455115" y="3789000"/>
            <a:ext cx="4401349" cy="2635795"/>
            <a:chOff x="25195" y="84504"/>
            <a:chExt cx="4401349" cy="2635795"/>
          </a:xfrm>
        </p:grpSpPr>
        <p:sp>
          <p:nvSpPr>
            <p:cNvPr id="9" name="Freeform 100"/>
            <p:cNvSpPr/>
            <p:nvPr/>
          </p:nvSpPr>
          <p:spPr>
            <a:xfrm flipV="1">
              <a:off x="454279" y="2339772"/>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0" name="Freeform 101"/>
            <p:cNvSpPr/>
            <p:nvPr/>
          </p:nvSpPr>
          <p:spPr>
            <a:xfrm flipV="1">
              <a:off x="454279" y="2339772"/>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1" name="Freeform 102"/>
            <p:cNvSpPr/>
            <p:nvPr/>
          </p:nvSpPr>
          <p:spPr>
            <a:xfrm flipV="1">
              <a:off x="454279" y="2176857"/>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2" name="Freeform 103"/>
            <p:cNvSpPr/>
            <p:nvPr/>
          </p:nvSpPr>
          <p:spPr>
            <a:xfrm flipV="1">
              <a:off x="454279" y="2176857"/>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3" name="Freeform 104"/>
            <p:cNvSpPr/>
            <p:nvPr/>
          </p:nvSpPr>
          <p:spPr>
            <a:xfrm flipV="1">
              <a:off x="454279" y="2013890"/>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4" name="Freeform 105"/>
            <p:cNvSpPr/>
            <p:nvPr/>
          </p:nvSpPr>
          <p:spPr>
            <a:xfrm flipV="1">
              <a:off x="454279" y="2013890"/>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5" name="Freeform 106"/>
            <p:cNvSpPr/>
            <p:nvPr/>
          </p:nvSpPr>
          <p:spPr>
            <a:xfrm flipV="1">
              <a:off x="454279" y="1850975"/>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6" name="Freeform 107"/>
            <p:cNvSpPr/>
            <p:nvPr/>
          </p:nvSpPr>
          <p:spPr>
            <a:xfrm flipV="1">
              <a:off x="454279" y="1850975"/>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7" name="Freeform 108"/>
            <p:cNvSpPr/>
            <p:nvPr/>
          </p:nvSpPr>
          <p:spPr>
            <a:xfrm flipV="1">
              <a:off x="454279" y="1688110"/>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8" name="Freeform 109"/>
            <p:cNvSpPr/>
            <p:nvPr/>
          </p:nvSpPr>
          <p:spPr>
            <a:xfrm flipV="1">
              <a:off x="454279" y="1688110"/>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9" name="Freeform 110"/>
            <p:cNvSpPr/>
            <p:nvPr/>
          </p:nvSpPr>
          <p:spPr>
            <a:xfrm flipV="1">
              <a:off x="454279" y="1525143"/>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20" name="Freeform 111"/>
            <p:cNvSpPr/>
            <p:nvPr/>
          </p:nvSpPr>
          <p:spPr>
            <a:xfrm flipV="1">
              <a:off x="454279" y="1525143"/>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21" name="Freeform 112"/>
            <p:cNvSpPr/>
            <p:nvPr/>
          </p:nvSpPr>
          <p:spPr>
            <a:xfrm flipV="1">
              <a:off x="454279" y="1362228"/>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22" name="Freeform 113"/>
            <p:cNvSpPr/>
            <p:nvPr/>
          </p:nvSpPr>
          <p:spPr>
            <a:xfrm flipV="1">
              <a:off x="454279" y="1362228"/>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23" name="Freeform 114"/>
            <p:cNvSpPr/>
            <p:nvPr/>
          </p:nvSpPr>
          <p:spPr>
            <a:xfrm flipV="1">
              <a:off x="454279" y="1199262"/>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24" name="Freeform 115"/>
            <p:cNvSpPr/>
            <p:nvPr/>
          </p:nvSpPr>
          <p:spPr>
            <a:xfrm flipV="1">
              <a:off x="454279" y="1199262"/>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25" name="Freeform 116"/>
            <p:cNvSpPr/>
            <p:nvPr/>
          </p:nvSpPr>
          <p:spPr>
            <a:xfrm flipV="1">
              <a:off x="454279" y="1036346"/>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26" name="Freeform 117"/>
            <p:cNvSpPr/>
            <p:nvPr/>
          </p:nvSpPr>
          <p:spPr>
            <a:xfrm flipV="1">
              <a:off x="454279" y="1036346"/>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27" name="Freeform 118"/>
            <p:cNvSpPr/>
            <p:nvPr/>
          </p:nvSpPr>
          <p:spPr>
            <a:xfrm flipV="1">
              <a:off x="454279" y="873379"/>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28" name="Freeform 119"/>
            <p:cNvSpPr/>
            <p:nvPr/>
          </p:nvSpPr>
          <p:spPr>
            <a:xfrm flipV="1">
              <a:off x="454279" y="873379"/>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29" name="Freeform 120"/>
            <p:cNvSpPr/>
            <p:nvPr/>
          </p:nvSpPr>
          <p:spPr>
            <a:xfrm flipV="1">
              <a:off x="454279" y="710502"/>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30" name="Freeform 121"/>
            <p:cNvSpPr/>
            <p:nvPr/>
          </p:nvSpPr>
          <p:spPr>
            <a:xfrm flipV="1">
              <a:off x="454279" y="710502"/>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31" name="Freeform 122"/>
            <p:cNvSpPr/>
            <p:nvPr/>
          </p:nvSpPr>
          <p:spPr>
            <a:xfrm flipV="1">
              <a:off x="454279" y="547536"/>
              <a:ext cx="2989503" cy="0"/>
            </a:xfrm>
            <a:custGeom>
              <a:avLst/>
              <a:gdLst/>
              <a:ahLst/>
              <a:cxnLst/>
              <a:rect l="0" t="0" r="0" b="0"/>
              <a:pathLst>
                <a:path w="2989503">
                  <a:moveTo>
                    <a:pt x="0" y="0"/>
                  </a:moveTo>
                  <a:lnTo>
                    <a:pt x="298950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32" name="Freeform 123"/>
            <p:cNvSpPr/>
            <p:nvPr/>
          </p:nvSpPr>
          <p:spPr>
            <a:xfrm flipV="1">
              <a:off x="3952722" y="547536"/>
              <a:ext cx="47130" cy="0"/>
            </a:xfrm>
            <a:custGeom>
              <a:avLst/>
              <a:gdLst/>
              <a:ahLst/>
              <a:cxnLst/>
              <a:rect l="0" t="0" r="0" b="0"/>
              <a:pathLst>
                <a:path w="47130">
                  <a:moveTo>
                    <a:pt x="0" y="0"/>
                  </a:moveTo>
                  <a:lnTo>
                    <a:pt x="47130"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33" name="Freeform 124"/>
            <p:cNvSpPr/>
            <p:nvPr/>
          </p:nvSpPr>
          <p:spPr>
            <a:xfrm flipV="1">
              <a:off x="454279" y="547536"/>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34" name="Freeform 125"/>
            <p:cNvSpPr/>
            <p:nvPr/>
          </p:nvSpPr>
          <p:spPr>
            <a:xfrm flipV="1">
              <a:off x="454279" y="384620"/>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35" name="Freeform 126"/>
            <p:cNvSpPr/>
            <p:nvPr/>
          </p:nvSpPr>
          <p:spPr>
            <a:xfrm flipV="1">
              <a:off x="454279" y="384620"/>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36" name="Freeform 127"/>
            <p:cNvSpPr/>
            <p:nvPr/>
          </p:nvSpPr>
          <p:spPr>
            <a:xfrm flipV="1">
              <a:off x="808875" y="384620"/>
              <a:ext cx="0" cy="1955152"/>
            </a:xfrm>
            <a:custGeom>
              <a:avLst/>
              <a:gdLst/>
              <a:ahLst/>
              <a:cxnLst/>
              <a:rect l="0" t="0" r="0" b="0"/>
              <a:pathLst>
                <a:path h="1955152">
                  <a:moveTo>
                    <a:pt x="0" y="0"/>
                  </a:moveTo>
                  <a:lnTo>
                    <a:pt x="0" y="1955152"/>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37" name="Freeform 128"/>
            <p:cNvSpPr/>
            <p:nvPr/>
          </p:nvSpPr>
          <p:spPr>
            <a:xfrm flipV="1">
              <a:off x="808875" y="2302028"/>
              <a:ext cx="0" cy="37744"/>
            </a:xfrm>
            <a:custGeom>
              <a:avLst/>
              <a:gdLst/>
              <a:ahLst/>
              <a:cxnLst/>
              <a:rect l="0" t="0" r="0" b="0"/>
              <a:pathLst>
                <a:path h="37744">
                  <a:moveTo>
                    <a:pt x="0" y="0"/>
                  </a:moveTo>
                  <a:lnTo>
                    <a:pt x="0" y="37744"/>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38" name="Freeform 129"/>
            <p:cNvSpPr/>
            <p:nvPr/>
          </p:nvSpPr>
          <p:spPr>
            <a:xfrm flipV="1">
              <a:off x="1517942" y="384620"/>
              <a:ext cx="0" cy="1955152"/>
            </a:xfrm>
            <a:custGeom>
              <a:avLst/>
              <a:gdLst/>
              <a:ahLst/>
              <a:cxnLst/>
              <a:rect l="0" t="0" r="0" b="0"/>
              <a:pathLst>
                <a:path h="1955152">
                  <a:moveTo>
                    <a:pt x="0" y="0"/>
                  </a:moveTo>
                  <a:lnTo>
                    <a:pt x="0" y="1955152"/>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39" name="Freeform 130"/>
            <p:cNvSpPr/>
            <p:nvPr/>
          </p:nvSpPr>
          <p:spPr>
            <a:xfrm flipV="1">
              <a:off x="1517942" y="2302028"/>
              <a:ext cx="0" cy="37744"/>
            </a:xfrm>
            <a:custGeom>
              <a:avLst/>
              <a:gdLst/>
              <a:ahLst/>
              <a:cxnLst/>
              <a:rect l="0" t="0" r="0" b="0"/>
              <a:pathLst>
                <a:path h="37744">
                  <a:moveTo>
                    <a:pt x="0" y="0"/>
                  </a:moveTo>
                  <a:lnTo>
                    <a:pt x="0" y="37744"/>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40" name="Freeform 131"/>
            <p:cNvSpPr/>
            <p:nvPr/>
          </p:nvSpPr>
          <p:spPr>
            <a:xfrm flipV="1">
              <a:off x="2227059" y="384620"/>
              <a:ext cx="0" cy="1955152"/>
            </a:xfrm>
            <a:custGeom>
              <a:avLst/>
              <a:gdLst/>
              <a:ahLst/>
              <a:cxnLst/>
              <a:rect l="0" t="0" r="0" b="0"/>
              <a:pathLst>
                <a:path h="1955152">
                  <a:moveTo>
                    <a:pt x="0" y="0"/>
                  </a:moveTo>
                  <a:lnTo>
                    <a:pt x="0" y="1955152"/>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41" name="Freeform 132"/>
            <p:cNvSpPr/>
            <p:nvPr/>
          </p:nvSpPr>
          <p:spPr>
            <a:xfrm flipV="1">
              <a:off x="2227059" y="2302028"/>
              <a:ext cx="0" cy="37744"/>
            </a:xfrm>
            <a:custGeom>
              <a:avLst/>
              <a:gdLst/>
              <a:ahLst/>
              <a:cxnLst/>
              <a:rect l="0" t="0" r="0" b="0"/>
              <a:pathLst>
                <a:path h="37744">
                  <a:moveTo>
                    <a:pt x="0" y="0"/>
                  </a:moveTo>
                  <a:lnTo>
                    <a:pt x="0" y="37744"/>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42" name="Freeform 133"/>
            <p:cNvSpPr/>
            <p:nvPr/>
          </p:nvSpPr>
          <p:spPr>
            <a:xfrm flipV="1">
              <a:off x="2936176" y="384620"/>
              <a:ext cx="0" cy="1955152"/>
            </a:xfrm>
            <a:custGeom>
              <a:avLst/>
              <a:gdLst/>
              <a:ahLst/>
              <a:cxnLst/>
              <a:rect l="0" t="0" r="0" b="0"/>
              <a:pathLst>
                <a:path h="1955152">
                  <a:moveTo>
                    <a:pt x="0" y="0"/>
                  </a:moveTo>
                  <a:lnTo>
                    <a:pt x="0" y="1955152"/>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43" name="Freeform 134"/>
            <p:cNvSpPr/>
            <p:nvPr/>
          </p:nvSpPr>
          <p:spPr>
            <a:xfrm flipV="1">
              <a:off x="2936176" y="2302028"/>
              <a:ext cx="0" cy="37744"/>
            </a:xfrm>
            <a:custGeom>
              <a:avLst/>
              <a:gdLst/>
              <a:ahLst/>
              <a:cxnLst/>
              <a:rect l="0" t="0" r="0" b="0"/>
              <a:pathLst>
                <a:path h="37744">
                  <a:moveTo>
                    <a:pt x="0" y="0"/>
                  </a:moveTo>
                  <a:lnTo>
                    <a:pt x="0" y="37744"/>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44" name="Freeform 135"/>
            <p:cNvSpPr/>
            <p:nvPr/>
          </p:nvSpPr>
          <p:spPr>
            <a:xfrm flipV="1">
              <a:off x="3645293" y="706044"/>
              <a:ext cx="0" cy="1633728"/>
            </a:xfrm>
            <a:custGeom>
              <a:avLst/>
              <a:gdLst/>
              <a:ahLst/>
              <a:cxnLst/>
              <a:rect l="0" t="0" r="0" b="0"/>
              <a:pathLst>
                <a:path h="1633728">
                  <a:moveTo>
                    <a:pt x="0" y="0"/>
                  </a:moveTo>
                  <a:lnTo>
                    <a:pt x="0" y="1633728"/>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45" name="Freeform 136"/>
            <p:cNvSpPr/>
            <p:nvPr/>
          </p:nvSpPr>
          <p:spPr>
            <a:xfrm flipV="1">
              <a:off x="3645293" y="384620"/>
              <a:ext cx="0" cy="37808"/>
            </a:xfrm>
            <a:custGeom>
              <a:avLst/>
              <a:gdLst/>
              <a:ahLst/>
              <a:cxnLst/>
              <a:rect l="0" t="0" r="0" b="0"/>
              <a:pathLst>
                <a:path h="37808">
                  <a:moveTo>
                    <a:pt x="0" y="0"/>
                  </a:moveTo>
                  <a:lnTo>
                    <a:pt x="0" y="37808"/>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46" name="Freeform 137"/>
            <p:cNvSpPr/>
            <p:nvPr/>
          </p:nvSpPr>
          <p:spPr>
            <a:xfrm flipV="1">
              <a:off x="3645293" y="2302028"/>
              <a:ext cx="0" cy="37744"/>
            </a:xfrm>
            <a:custGeom>
              <a:avLst/>
              <a:gdLst/>
              <a:ahLst/>
              <a:cxnLst/>
              <a:rect l="0" t="0" r="0" b="0"/>
              <a:pathLst>
                <a:path h="37744">
                  <a:moveTo>
                    <a:pt x="0" y="0"/>
                  </a:moveTo>
                  <a:lnTo>
                    <a:pt x="0" y="37744"/>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47" name="Freeform 138"/>
            <p:cNvSpPr/>
            <p:nvPr/>
          </p:nvSpPr>
          <p:spPr>
            <a:xfrm flipV="1">
              <a:off x="3962107" y="2339772"/>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48" name="Freeform 139"/>
            <p:cNvSpPr/>
            <p:nvPr/>
          </p:nvSpPr>
          <p:spPr>
            <a:xfrm flipV="1">
              <a:off x="3962107" y="2176857"/>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49" name="Freeform 140"/>
            <p:cNvSpPr/>
            <p:nvPr/>
          </p:nvSpPr>
          <p:spPr>
            <a:xfrm flipV="1">
              <a:off x="3962107" y="2013890"/>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50" name="Freeform 141"/>
            <p:cNvSpPr/>
            <p:nvPr/>
          </p:nvSpPr>
          <p:spPr>
            <a:xfrm flipV="1">
              <a:off x="3962107" y="1850975"/>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51" name="Freeform 142"/>
            <p:cNvSpPr/>
            <p:nvPr/>
          </p:nvSpPr>
          <p:spPr>
            <a:xfrm flipV="1">
              <a:off x="3962107" y="1688110"/>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52" name="Freeform 143"/>
            <p:cNvSpPr/>
            <p:nvPr/>
          </p:nvSpPr>
          <p:spPr>
            <a:xfrm flipV="1">
              <a:off x="3962107" y="1525143"/>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53" name="Freeform 144"/>
            <p:cNvSpPr/>
            <p:nvPr/>
          </p:nvSpPr>
          <p:spPr>
            <a:xfrm flipV="1">
              <a:off x="3962107" y="1362228"/>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54" name="Freeform 145"/>
            <p:cNvSpPr/>
            <p:nvPr/>
          </p:nvSpPr>
          <p:spPr>
            <a:xfrm flipV="1">
              <a:off x="3962107" y="1199262"/>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55" name="Freeform 146"/>
            <p:cNvSpPr/>
            <p:nvPr/>
          </p:nvSpPr>
          <p:spPr>
            <a:xfrm flipV="1">
              <a:off x="3962107" y="1036346"/>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56" name="Freeform 147"/>
            <p:cNvSpPr/>
            <p:nvPr/>
          </p:nvSpPr>
          <p:spPr>
            <a:xfrm flipV="1">
              <a:off x="3962107" y="873379"/>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57" name="Freeform 148"/>
            <p:cNvSpPr/>
            <p:nvPr/>
          </p:nvSpPr>
          <p:spPr>
            <a:xfrm flipV="1">
              <a:off x="3962107" y="710502"/>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58" name="Freeform 149"/>
            <p:cNvSpPr/>
            <p:nvPr/>
          </p:nvSpPr>
          <p:spPr>
            <a:xfrm flipV="1">
              <a:off x="3962107" y="547536"/>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59" name="Freeform 150"/>
            <p:cNvSpPr/>
            <p:nvPr/>
          </p:nvSpPr>
          <p:spPr>
            <a:xfrm flipV="1">
              <a:off x="3962107" y="384620"/>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60" name="Freeform 151"/>
            <p:cNvSpPr/>
            <p:nvPr/>
          </p:nvSpPr>
          <p:spPr>
            <a:xfrm flipV="1">
              <a:off x="454279" y="384620"/>
              <a:ext cx="3545585" cy="1955152"/>
            </a:xfrm>
            <a:custGeom>
              <a:avLst/>
              <a:gdLst/>
              <a:ahLst/>
              <a:cxnLst/>
              <a:rect l="0" t="0" r="0" b="0"/>
              <a:pathLst>
                <a:path w="3545585" h="1955152">
                  <a:moveTo>
                    <a:pt x="0" y="1955152"/>
                  </a:moveTo>
                  <a:lnTo>
                    <a:pt x="3545585" y="1955152"/>
                  </a:lnTo>
                  <a:lnTo>
                    <a:pt x="3545585" y="0"/>
                  </a:lnTo>
                  <a:lnTo>
                    <a:pt x="0" y="0"/>
                  </a:lnTo>
                  <a:lnTo>
                    <a:pt x="0" y="1955152"/>
                  </a:lnTo>
                  <a:close/>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61" name="Freeform 152"/>
            <p:cNvSpPr/>
            <p:nvPr/>
          </p:nvSpPr>
          <p:spPr>
            <a:xfrm flipV="1">
              <a:off x="454317" y="1264349"/>
              <a:ext cx="3545586" cy="0"/>
            </a:xfrm>
            <a:custGeom>
              <a:avLst/>
              <a:gdLst/>
              <a:ahLst/>
              <a:cxnLst/>
              <a:rect l="0" t="0" r="0" b="0"/>
              <a:pathLst>
                <a:path w="3545586">
                  <a:moveTo>
                    <a:pt x="0" y="0"/>
                  </a:moveTo>
                  <a:lnTo>
                    <a:pt x="3545586" y="0"/>
                  </a:lnTo>
                </a:path>
              </a:pathLst>
            </a:custGeom>
            <a:noFill/>
            <a:ln w="6350" cap="flat" cmpd="sng">
              <a:solidFill>
                <a:srgbClr val="A0A0A0">
                  <a:alpha val="100000"/>
                </a:srgbClr>
              </a:solidFill>
              <a:custDash>
                <a:ds d="500000" sp="800000"/>
                <a:ds d="500000" sp="800000"/>
                <a:ds d="500000" sp="800000"/>
                <a:ds d="50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62" name="Freeform 153"/>
            <p:cNvSpPr/>
            <p:nvPr/>
          </p:nvSpPr>
          <p:spPr>
            <a:xfrm flipV="1">
              <a:off x="454317" y="1459853"/>
              <a:ext cx="3545586" cy="0"/>
            </a:xfrm>
            <a:custGeom>
              <a:avLst/>
              <a:gdLst/>
              <a:ahLst/>
              <a:cxnLst/>
              <a:rect l="0" t="0" r="0" b="0"/>
              <a:pathLst>
                <a:path w="3545586">
                  <a:moveTo>
                    <a:pt x="0" y="0"/>
                  </a:moveTo>
                  <a:lnTo>
                    <a:pt x="3545586" y="0"/>
                  </a:lnTo>
                </a:path>
              </a:pathLst>
            </a:custGeom>
            <a:noFill/>
            <a:ln w="6350" cap="flat" cmpd="sng">
              <a:solidFill>
                <a:srgbClr val="A0A0A0">
                  <a:alpha val="100000"/>
                </a:srgbClr>
              </a:solidFill>
              <a:custDash>
                <a:ds d="500000" sp="800000"/>
                <a:ds d="500000" sp="800000"/>
                <a:ds d="500000" sp="800000"/>
                <a:ds d="50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63" name="Freeform 154"/>
            <p:cNvSpPr/>
            <p:nvPr/>
          </p:nvSpPr>
          <p:spPr>
            <a:xfrm flipV="1">
              <a:off x="2688082" y="384569"/>
              <a:ext cx="0" cy="1955152"/>
            </a:xfrm>
            <a:custGeom>
              <a:avLst/>
              <a:gdLst/>
              <a:ahLst/>
              <a:cxnLst/>
              <a:rect l="0" t="0" r="0" b="0"/>
              <a:pathLst>
                <a:path h="1955152">
                  <a:moveTo>
                    <a:pt x="0" y="1955152"/>
                  </a:moveTo>
                  <a:lnTo>
                    <a:pt x="0" y="0"/>
                  </a:lnTo>
                </a:path>
              </a:pathLst>
            </a:custGeom>
            <a:noFill/>
            <a:ln w="6350" cap="flat" cmpd="sng">
              <a:solidFill>
                <a:srgbClr val="A0A0A0">
                  <a:alpha val="100000"/>
                </a:srgbClr>
              </a:solidFill>
              <a:custDash>
                <a:ds d="500000" sp="800000"/>
                <a:ds d="500000" sp="800000"/>
                <a:ds d="500000" sp="800000"/>
                <a:ds d="50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64" name="Freeform 155"/>
            <p:cNvSpPr/>
            <p:nvPr/>
          </p:nvSpPr>
          <p:spPr>
            <a:xfrm flipV="1">
              <a:off x="3324225" y="853822"/>
              <a:ext cx="72974" cy="39001"/>
            </a:xfrm>
            <a:custGeom>
              <a:avLst/>
              <a:gdLst/>
              <a:ahLst/>
              <a:cxnLst/>
              <a:rect l="0" t="0" r="0" b="0"/>
              <a:pathLst>
                <a:path w="72974" h="39001">
                  <a:moveTo>
                    <a:pt x="0" y="19494"/>
                  </a:moveTo>
                  <a:lnTo>
                    <a:pt x="0" y="0"/>
                  </a:lnTo>
                  <a:lnTo>
                    <a:pt x="72974" y="19494"/>
                  </a:lnTo>
                  <a:lnTo>
                    <a:pt x="0" y="39001"/>
                  </a:lnTo>
                  <a:close/>
                  <a:moveTo>
                    <a:pt x="-2450897" y="892822"/>
                  </a:moveTo>
                </a:path>
              </a:pathLst>
            </a:custGeom>
            <a:solidFill>
              <a:srgbClr val="A0A0A0">
                <a:alpha val="100000"/>
              </a:srgbClr>
            </a:solidFill>
            <a:ln w="6350">
              <a:noFill/>
            </a:ln>
          </p:spPr>
          <p:style>
            <a:lnRef idx="2">
              <a:schemeClr val="accent1">
                <a:shade val="50000"/>
              </a:schemeClr>
            </a:lnRef>
            <a:fillRef idx="1">
              <a:schemeClr val="accent1"/>
            </a:fillRef>
            <a:effectRef idx="0">
              <a:schemeClr val="accent1"/>
            </a:effectRef>
            <a:fontRef idx="minor">
              <a:schemeClr val="lt1"/>
            </a:fontRef>
          </p:style>
        </p:sp>
        <p:sp>
          <p:nvSpPr>
            <p:cNvPr id="65" name="Freeform 156"/>
            <p:cNvSpPr/>
            <p:nvPr/>
          </p:nvSpPr>
          <p:spPr>
            <a:xfrm flipV="1">
              <a:off x="3324225" y="853822"/>
              <a:ext cx="72974" cy="39001"/>
            </a:xfrm>
            <a:custGeom>
              <a:avLst/>
              <a:gdLst/>
              <a:ahLst/>
              <a:cxnLst/>
              <a:rect l="0" t="0" r="0" b="0"/>
              <a:pathLst>
                <a:path w="72974" h="39001">
                  <a:moveTo>
                    <a:pt x="0" y="19494"/>
                  </a:moveTo>
                  <a:lnTo>
                    <a:pt x="0" y="0"/>
                  </a:lnTo>
                  <a:lnTo>
                    <a:pt x="72974" y="19494"/>
                  </a:lnTo>
                  <a:lnTo>
                    <a:pt x="0" y="39001"/>
                  </a:lnTo>
                  <a:lnTo>
                    <a:pt x="0" y="19494"/>
                  </a:lnTo>
                </a:path>
              </a:pathLst>
            </a:custGeom>
            <a:noFill/>
            <a:ln w="6350" cap="flat" cmpd="sng">
              <a:solidFill>
                <a:srgbClr val="A0A0A0">
                  <a:alpha val="100000"/>
                </a:srgbClr>
              </a:solidFill>
              <a:custDash>
                <a:ds d="500000" sp="800000"/>
                <a:ds d="500000" sp="800000"/>
                <a:ds d="500000" sp="800000"/>
                <a:ds d="50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66" name="Freeform 157"/>
            <p:cNvSpPr/>
            <p:nvPr/>
          </p:nvSpPr>
          <p:spPr>
            <a:xfrm flipV="1">
              <a:off x="2688082" y="873329"/>
              <a:ext cx="636143" cy="0"/>
            </a:xfrm>
            <a:custGeom>
              <a:avLst/>
              <a:gdLst/>
              <a:ahLst/>
              <a:cxnLst/>
              <a:rect l="0" t="0" r="0" b="0"/>
              <a:pathLst>
                <a:path w="636143">
                  <a:moveTo>
                    <a:pt x="0" y="0"/>
                  </a:moveTo>
                  <a:lnTo>
                    <a:pt x="636143" y="0"/>
                  </a:lnTo>
                </a:path>
              </a:pathLst>
            </a:custGeom>
            <a:noFill/>
            <a:ln w="6350" cap="flat" cmpd="sng">
              <a:solidFill>
                <a:srgbClr val="A0A0A0">
                  <a:alpha val="100000"/>
                </a:srgbClr>
              </a:solidFill>
              <a:custDash>
                <a:ds d="500000" sp="800000"/>
                <a:ds d="500000" sp="800000"/>
                <a:ds d="500000" sp="800000"/>
                <a:ds d="50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67" name="Freeform 158"/>
            <p:cNvSpPr/>
            <p:nvPr/>
          </p:nvSpPr>
          <p:spPr>
            <a:xfrm flipV="1">
              <a:off x="3679380" y="469697"/>
              <a:ext cx="226263" cy="0"/>
            </a:xfrm>
            <a:custGeom>
              <a:avLst/>
              <a:gdLst/>
              <a:ahLst/>
              <a:cxnLst/>
              <a:rect l="0" t="0" r="0" b="0"/>
              <a:pathLst>
                <a:path w="226263">
                  <a:moveTo>
                    <a:pt x="0" y="0"/>
                  </a:moveTo>
                  <a:lnTo>
                    <a:pt x="226263" y="0"/>
                  </a:lnTo>
                </a:path>
              </a:pathLst>
            </a:custGeom>
            <a:noFill/>
            <a:ln w="6350" cap="flat" cmpd="sng">
              <a:solidFill>
                <a:srgbClr val="0000FF">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68" name="Freeform 159"/>
            <p:cNvSpPr/>
            <p:nvPr/>
          </p:nvSpPr>
          <p:spPr>
            <a:xfrm flipV="1">
              <a:off x="454279" y="874065"/>
              <a:ext cx="3545573" cy="1087095"/>
            </a:xfrm>
            <a:custGeom>
              <a:avLst/>
              <a:gdLst/>
              <a:ahLst/>
              <a:cxnLst/>
              <a:rect l="0" t="0" r="0" b="0"/>
              <a:pathLst>
                <a:path w="3545573" h="1087095">
                  <a:moveTo>
                    <a:pt x="0" y="582016"/>
                  </a:moveTo>
                  <a:lnTo>
                    <a:pt x="38" y="582016"/>
                  </a:lnTo>
                  <a:lnTo>
                    <a:pt x="38" y="581368"/>
                  </a:lnTo>
                  <a:lnTo>
                    <a:pt x="444" y="581368"/>
                  </a:lnTo>
                  <a:lnTo>
                    <a:pt x="495" y="582016"/>
                  </a:lnTo>
                  <a:lnTo>
                    <a:pt x="685" y="582016"/>
                  </a:lnTo>
                  <a:lnTo>
                    <a:pt x="685" y="581368"/>
                  </a:lnTo>
                  <a:lnTo>
                    <a:pt x="838" y="581368"/>
                  </a:lnTo>
                  <a:lnTo>
                    <a:pt x="838" y="582016"/>
                  </a:lnTo>
                  <a:lnTo>
                    <a:pt x="889" y="582016"/>
                  </a:lnTo>
                  <a:lnTo>
                    <a:pt x="889" y="583362"/>
                  </a:lnTo>
                  <a:lnTo>
                    <a:pt x="939" y="583959"/>
                  </a:lnTo>
                  <a:lnTo>
                    <a:pt x="1041" y="583959"/>
                  </a:lnTo>
                  <a:lnTo>
                    <a:pt x="1041" y="584594"/>
                  </a:lnTo>
                  <a:lnTo>
                    <a:pt x="1079" y="583959"/>
                  </a:lnTo>
                  <a:lnTo>
                    <a:pt x="1079" y="584594"/>
                  </a:lnTo>
                  <a:lnTo>
                    <a:pt x="1130" y="584594"/>
                  </a:lnTo>
                  <a:lnTo>
                    <a:pt x="1130" y="583959"/>
                  </a:lnTo>
                  <a:lnTo>
                    <a:pt x="1181" y="584594"/>
                  </a:lnTo>
                  <a:lnTo>
                    <a:pt x="1333" y="584594"/>
                  </a:lnTo>
                  <a:lnTo>
                    <a:pt x="1333" y="583959"/>
                  </a:lnTo>
                  <a:lnTo>
                    <a:pt x="1384" y="583959"/>
                  </a:lnTo>
                  <a:lnTo>
                    <a:pt x="1485" y="583362"/>
                  </a:lnTo>
                  <a:lnTo>
                    <a:pt x="1727" y="583362"/>
                  </a:lnTo>
                  <a:lnTo>
                    <a:pt x="1727" y="583959"/>
                  </a:lnTo>
                  <a:lnTo>
                    <a:pt x="1981" y="583959"/>
                  </a:lnTo>
                  <a:lnTo>
                    <a:pt x="1981" y="583362"/>
                  </a:lnTo>
                  <a:lnTo>
                    <a:pt x="2032" y="583959"/>
                  </a:lnTo>
                  <a:lnTo>
                    <a:pt x="2273" y="583959"/>
                  </a:lnTo>
                  <a:lnTo>
                    <a:pt x="2273" y="583362"/>
                  </a:lnTo>
                  <a:lnTo>
                    <a:pt x="2324" y="583362"/>
                  </a:lnTo>
                  <a:lnTo>
                    <a:pt x="2425" y="583959"/>
                  </a:lnTo>
                  <a:lnTo>
                    <a:pt x="2971" y="583959"/>
                  </a:lnTo>
                  <a:lnTo>
                    <a:pt x="2971" y="584594"/>
                  </a:lnTo>
                  <a:lnTo>
                    <a:pt x="3073" y="584594"/>
                  </a:lnTo>
                  <a:lnTo>
                    <a:pt x="3124" y="585242"/>
                  </a:lnTo>
                  <a:lnTo>
                    <a:pt x="3213" y="585242"/>
                  </a:lnTo>
                  <a:lnTo>
                    <a:pt x="3213" y="584594"/>
                  </a:lnTo>
                  <a:lnTo>
                    <a:pt x="3517" y="584594"/>
                  </a:lnTo>
                  <a:lnTo>
                    <a:pt x="3568" y="583959"/>
                  </a:lnTo>
                  <a:lnTo>
                    <a:pt x="3619" y="583959"/>
                  </a:lnTo>
                  <a:lnTo>
                    <a:pt x="3670" y="584594"/>
                  </a:lnTo>
                  <a:lnTo>
                    <a:pt x="3759" y="584594"/>
                  </a:lnTo>
                  <a:lnTo>
                    <a:pt x="3759" y="585242"/>
                  </a:lnTo>
                  <a:lnTo>
                    <a:pt x="4013" y="585242"/>
                  </a:lnTo>
                  <a:lnTo>
                    <a:pt x="4064" y="584594"/>
                  </a:lnTo>
                  <a:lnTo>
                    <a:pt x="4114" y="584594"/>
                  </a:lnTo>
                  <a:lnTo>
                    <a:pt x="4216" y="585242"/>
                  </a:lnTo>
                  <a:lnTo>
                    <a:pt x="4356" y="585242"/>
                  </a:lnTo>
                  <a:lnTo>
                    <a:pt x="4457" y="586588"/>
                  </a:lnTo>
                  <a:lnTo>
                    <a:pt x="4711" y="586588"/>
                  </a:lnTo>
                  <a:lnTo>
                    <a:pt x="4711" y="585242"/>
                  </a:lnTo>
                  <a:lnTo>
                    <a:pt x="4762" y="585242"/>
                  </a:lnTo>
                  <a:lnTo>
                    <a:pt x="4762" y="586588"/>
                  </a:lnTo>
                  <a:lnTo>
                    <a:pt x="4800" y="586588"/>
                  </a:lnTo>
                  <a:lnTo>
                    <a:pt x="4800" y="585242"/>
                  </a:lnTo>
                  <a:lnTo>
                    <a:pt x="4902" y="586588"/>
                  </a:lnTo>
                  <a:lnTo>
                    <a:pt x="4952" y="586588"/>
                  </a:lnTo>
                  <a:lnTo>
                    <a:pt x="4952" y="585242"/>
                  </a:lnTo>
                  <a:lnTo>
                    <a:pt x="5003" y="585242"/>
                  </a:lnTo>
                  <a:lnTo>
                    <a:pt x="5003" y="584594"/>
                  </a:lnTo>
                  <a:lnTo>
                    <a:pt x="5448" y="584594"/>
                  </a:lnTo>
                  <a:lnTo>
                    <a:pt x="5499" y="585242"/>
                  </a:lnTo>
                  <a:lnTo>
                    <a:pt x="5600" y="585242"/>
                  </a:lnTo>
                  <a:lnTo>
                    <a:pt x="5651" y="584594"/>
                  </a:lnTo>
                  <a:lnTo>
                    <a:pt x="5651" y="583362"/>
                  </a:lnTo>
                  <a:lnTo>
                    <a:pt x="5702" y="581368"/>
                  </a:lnTo>
                  <a:lnTo>
                    <a:pt x="5702" y="580733"/>
                  </a:lnTo>
                  <a:lnTo>
                    <a:pt x="5803" y="580733"/>
                  </a:lnTo>
                  <a:lnTo>
                    <a:pt x="5841" y="580034"/>
                  </a:lnTo>
                  <a:lnTo>
                    <a:pt x="5841" y="580733"/>
                  </a:lnTo>
                  <a:lnTo>
                    <a:pt x="6146" y="580733"/>
                  </a:lnTo>
                  <a:lnTo>
                    <a:pt x="6248" y="581368"/>
                  </a:lnTo>
                  <a:lnTo>
                    <a:pt x="6299" y="582016"/>
                  </a:lnTo>
                  <a:lnTo>
                    <a:pt x="6388" y="582016"/>
                  </a:lnTo>
                  <a:lnTo>
                    <a:pt x="6489" y="583362"/>
                  </a:lnTo>
                  <a:lnTo>
                    <a:pt x="6845" y="583362"/>
                  </a:lnTo>
                  <a:lnTo>
                    <a:pt x="6845" y="583959"/>
                  </a:lnTo>
                  <a:lnTo>
                    <a:pt x="6934" y="583959"/>
                  </a:lnTo>
                  <a:lnTo>
                    <a:pt x="6984" y="583362"/>
                  </a:lnTo>
                  <a:lnTo>
                    <a:pt x="7035" y="582016"/>
                  </a:lnTo>
                  <a:lnTo>
                    <a:pt x="7086" y="582016"/>
                  </a:lnTo>
                  <a:lnTo>
                    <a:pt x="7086" y="583362"/>
                  </a:lnTo>
                  <a:lnTo>
                    <a:pt x="7683" y="583362"/>
                  </a:lnTo>
                  <a:lnTo>
                    <a:pt x="7734" y="583959"/>
                  </a:lnTo>
                  <a:lnTo>
                    <a:pt x="7734" y="583362"/>
                  </a:lnTo>
                  <a:lnTo>
                    <a:pt x="7835" y="583362"/>
                  </a:lnTo>
                  <a:lnTo>
                    <a:pt x="7835" y="582016"/>
                  </a:lnTo>
                  <a:lnTo>
                    <a:pt x="7886" y="581368"/>
                  </a:lnTo>
                  <a:lnTo>
                    <a:pt x="7886" y="582016"/>
                  </a:lnTo>
                  <a:lnTo>
                    <a:pt x="7937" y="582016"/>
                  </a:lnTo>
                  <a:lnTo>
                    <a:pt x="7975" y="583362"/>
                  </a:lnTo>
                  <a:lnTo>
                    <a:pt x="8382" y="583362"/>
                  </a:lnTo>
                  <a:lnTo>
                    <a:pt x="8432" y="583959"/>
                  </a:lnTo>
                  <a:lnTo>
                    <a:pt x="8432" y="583362"/>
                  </a:lnTo>
                  <a:lnTo>
                    <a:pt x="8674" y="583362"/>
                  </a:lnTo>
                  <a:lnTo>
                    <a:pt x="8674" y="583959"/>
                  </a:lnTo>
                  <a:lnTo>
                    <a:pt x="8775" y="583959"/>
                  </a:lnTo>
                  <a:lnTo>
                    <a:pt x="8826" y="583362"/>
                  </a:lnTo>
                  <a:lnTo>
                    <a:pt x="8877" y="583959"/>
                  </a:lnTo>
                  <a:lnTo>
                    <a:pt x="8978" y="583959"/>
                  </a:lnTo>
                  <a:lnTo>
                    <a:pt x="8978" y="584594"/>
                  </a:lnTo>
                  <a:lnTo>
                    <a:pt x="9118" y="584594"/>
                  </a:lnTo>
                  <a:lnTo>
                    <a:pt x="9220" y="583959"/>
                  </a:lnTo>
                  <a:lnTo>
                    <a:pt x="9271" y="583362"/>
                  </a:lnTo>
                  <a:lnTo>
                    <a:pt x="9321" y="583959"/>
                  </a:lnTo>
                  <a:lnTo>
                    <a:pt x="9664" y="583959"/>
                  </a:lnTo>
                  <a:lnTo>
                    <a:pt x="9715" y="584594"/>
                  </a:lnTo>
                  <a:lnTo>
                    <a:pt x="9867" y="584594"/>
                  </a:lnTo>
                  <a:lnTo>
                    <a:pt x="9867" y="583959"/>
                  </a:lnTo>
                  <a:lnTo>
                    <a:pt x="9918" y="583959"/>
                  </a:lnTo>
                  <a:lnTo>
                    <a:pt x="9918" y="583362"/>
                  </a:lnTo>
                  <a:lnTo>
                    <a:pt x="9969" y="582016"/>
                  </a:lnTo>
                  <a:lnTo>
                    <a:pt x="9969" y="581368"/>
                  </a:lnTo>
                  <a:lnTo>
                    <a:pt x="10020" y="580733"/>
                  </a:lnTo>
                  <a:lnTo>
                    <a:pt x="10109" y="580034"/>
                  </a:lnTo>
                  <a:lnTo>
                    <a:pt x="10109" y="580733"/>
                  </a:lnTo>
                  <a:lnTo>
                    <a:pt x="10159" y="580733"/>
                  </a:lnTo>
                  <a:lnTo>
                    <a:pt x="10159" y="580034"/>
                  </a:lnTo>
                  <a:lnTo>
                    <a:pt x="10210" y="580733"/>
                  </a:lnTo>
                  <a:lnTo>
                    <a:pt x="10210" y="580034"/>
                  </a:lnTo>
                  <a:lnTo>
                    <a:pt x="10363" y="580034"/>
                  </a:lnTo>
                  <a:lnTo>
                    <a:pt x="10414" y="580733"/>
                  </a:lnTo>
                  <a:lnTo>
                    <a:pt x="10414" y="581368"/>
                  </a:lnTo>
                  <a:lnTo>
                    <a:pt x="10464" y="581368"/>
                  </a:lnTo>
                  <a:lnTo>
                    <a:pt x="10566" y="580733"/>
                  </a:lnTo>
                  <a:lnTo>
                    <a:pt x="10566" y="579387"/>
                  </a:lnTo>
                  <a:lnTo>
                    <a:pt x="10604" y="578155"/>
                  </a:lnTo>
                  <a:lnTo>
                    <a:pt x="10655" y="577456"/>
                  </a:lnTo>
                  <a:lnTo>
                    <a:pt x="10706" y="578155"/>
                  </a:lnTo>
                  <a:lnTo>
                    <a:pt x="10807" y="578155"/>
                  </a:lnTo>
                  <a:lnTo>
                    <a:pt x="10858" y="579387"/>
                  </a:lnTo>
                  <a:lnTo>
                    <a:pt x="10909" y="580034"/>
                  </a:lnTo>
                  <a:lnTo>
                    <a:pt x="11010" y="579387"/>
                  </a:lnTo>
                  <a:lnTo>
                    <a:pt x="11061" y="579387"/>
                  </a:lnTo>
                  <a:lnTo>
                    <a:pt x="11112" y="580034"/>
                  </a:lnTo>
                  <a:lnTo>
                    <a:pt x="11150" y="580034"/>
                  </a:lnTo>
                  <a:lnTo>
                    <a:pt x="11150" y="580733"/>
                  </a:lnTo>
                  <a:lnTo>
                    <a:pt x="11252" y="580034"/>
                  </a:lnTo>
                  <a:lnTo>
                    <a:pt x="11455" y="580034"/>
                  </a:lnTo>
                  <a:lnTo>
                    <a:pt x="11455" y="580733"/>
                  </a:lnTo>
                  <a:lnTo>
                    <a:pt x="11506" y="580034"/>
                  </a:lnTo>
                  <a:lnTo>
                    <a:pt x="11607" y="580034"/>
                  </a:lnTo>
                  <a:lnTo>
                    <a:pt x="11696" y="580733"/>
                  </a:lnTo>
                  <a:lnTo>
                    <a:pt x="11798" y="580733"/>
                  </a:lnTo>
                  <a:lnTo>
                    <a:pt x="11798" y="581368"/>
                  </a:lnTo>
                  <a:lnTo>
                    <a:pt x="11950" y="581368"/>
                  </a:lnTo>
                  <a:lnTo>
                    <a:pt x="12001" y="580733"/>
                  </a:lnTo>
                  <a:lnTo>
                    <a:pt x="12001" y="581368"/>
                  </a:lnTo>
                  <a:lnTo>
                    <a:pt x="12153" y="581368"/>
                  </a:lnTo>
                  <a:lnTo>
                    <a:pt x="12153" y="580733"/>
                  </a:lnTo>
                  <a:lnTo>
                    <a:pt x="12395" y="580733"/>
                  </a:lnTo>
                  <a:lnTo>
                    <a:pt x="12446" y="581368"/>
                  </a:lnTo>
                  <a:lnTo>
                    <a:pt x="12598" y="581368"/>
                  </a:lnTo>
                  <a:lnTo>
                    <a:pt x="12598" y="580733"/>
                  </a:lnTo>
                  <a:lnTo>
                    <a:pt x="13042" y="580733"/>
                  </a:lnTo>
                  <a:lnTo>
                    <a:pt x="13042" y="581368"/>
                  </a:lnTo>
                  <a:lnTo>
                    <a:pt x="13195" y="581368"/>
                  </a:lnTo>
                  <a:lnTo>
                    <a:pt x="13284" y="580733"/>
                  </a:lnTo>
                  <a:lnTo>
                    <a:pt x="13436" y="580733"/>
                  </a:lnTo>
                  <a:lnTo>
                    <a:pt x="13436" y="581368"/>
                  </a:lnTo>
                  <a:lnTo>
                    <a:pt x="13589" y="581368"/>
                  </a:lnTo>
                  <a:lnTo>
                    <a:pt x="13589" y="580733"/>
                  </a:lnTo>
                  <a:lnTo>
                    <a:pt x="13779" y="580733"/>
                  </a:lnTo>
                  <a:lnTo>
                    <a:pt x="13830" y="581368"/>
                  </a:lnTo>
                  <a:lnTo>
                    <a:pt x="14236" y="581368"/>
                  </a:lnTo>
                  <a:lnTo>
                    <a:pt x="14287" y="580733"/>
                  </a:lnTo>
                  <a:lnTo>
                    <a:pt x="14325" y="581368"/>
                  </a:lnTo>
                  <a:lnTo>
                    <a:pt x="14427" y="581368"/>
                  </a:lnTo>
                  <a:lnTo>
                    <a:pt x="14427" y="582016"/>
                  </a:lnTo>
                  <a:lnTo>
                    <a:pt x="14681" y="582016"/>
                  </a:lnTo>
                  <a:lnTo>
                    <a:pt x="14681" y="583362"/>
                  </a:lnTo>
                  <a:lnTo>
                    <a:pt x="14732" y="583362"/>
                  </a:lnTo>
                  <a:lnTo>
                    <a:pt x="14782" y="583959"/>
                  </a:lnTo>
                  <a:lnTo>
                    <a:pt x="14871" y="583959"/>
                  </a:lnTo>
                  <a:lnTo>
                    <a:pt x="14871" y="583362"/>
                  </a:lnTo>
                  <a:lnTo>
                    <a:pt x="14922" y="582016"/>
                  </a:lnTo>
                  <a:lnTo>
                    <a:pt x="14973" y="581368"/>
                  </a:lnTo>
                  <a:lnTo>
                    <a:pt x="14973" y="580733"/>
                  </a:lnTo>
                  <a:lnTo>
                    <a:pt x="15024" y="580733"/>
                  </a:lnTo>
                  <a:lnTo>
                    <a:pt x="15024" y="580034"/>
                  </a:lnTo>
                  <a:lnTo>
                    <a:pt x="15176" y="580034"/>
                  </a:lnTo>
                  <a:lnTo>
                    <a:pt x="15227" y="580733"/>
                  </a:lnTo>
                  <a:lnTo>
                    <a:pt x="15328" y="580733"/>
                  </a:lnTo>
                  <a:lnTo>
                    <a:pt x="15328" y="580034"/>
                  </a:lnTo>
                  <a:lnTo>
                    <a:pt x="15366" y="580034"/>
                  </a:lnTo>
                  <a:lnTo>
                    <a:pt x="15366" y="580733"/>
                  </a:lnTo>
                  <a:lnTo>
                    <a:pt x="15417" y="580733"/>
                  </a:lnTo>
                  <a:lnTo>
                    <a:pt x="15468" y="580034"/>
                  </a:lnTo>
                  <a:lnTo>
                    <a:pt x="15570" y="580034"/>
                  </a:lnTo>
                  <a:lnTo>
                    <a:pt x="15570" y="579387"/>
                  </a:lnTo>
                  <a:lnTo>
                    <a:pt x="15621" y="579387"/>
                  </a:lnTo>
                  <a:lnTo>
                    <a:pt x="15621" y="578155"/>
                  </a:lnTo>
                  <a:lnTo>
                    <a:pt x="15875" y="578155"/>
                  </a:lnTo>
                  <a:lnTo>
                    <a:pt x="15913" y="579387"/>
                  </a:lnTo>
                  <a:lnTo>
                    <a:pt x="16116" y="579387"/>
                  </a:lnTo>
                  <a:lnTo>
                    <a:pt x="16217" y="580034"/>
                  </a:lnTo>
                  <a:lnTo>
                    <a:pt x="16268" y="580034"/>
                  </a:lnTo>
                  <a:lnTo>
                    <a:pt x="16319" y="580733"/>
                  </a:lnTo>
                  <a:lnTo>
                    <a:pt x="16319" y="580034"/>
                  </a:lnTo>
                  <a:lnTo>
                    <a:pt x="16611" y="580034"/>
                  </a:lnTo>
                  <a:lnTo>
                    <a:pt x="16713" y="580733"/>
                  </a:lnTo>
                  <a:lnTo>
                    <a:pt x="17157" y="580733"/>
                  </a:lnTo>
                  <a:lnTo>
                    <a:pt x="17208" y="580034"/>
                  </a:lnTo>
                  <a:lnTo>
                    <a:pt x="17208" y="580733"/>
                  </a:lnTo>
                  <a:lnTo>
                    <a:pt x="17856" y="580733"/>
                  </a:lnTo>
                  <a:lnTo>
                    <a:pt x="17856" y="580034"/>
                  </a:lnTo>
                  <a:lnTo>
                    <a:pt x="17907" y="580733"/>
                  </a:lnTo>
                  <a:lnTo>
                    <a:pt x="18046" y="580733"/>
                  </a:lnTo>
                  <a:lnTo>
                    <a:pt x="18046" y="581368"/>
                  </a:lnTo>
                  <a:lnTo>
                    <a:pt x="18351" y="581368"/>
                  </a:lnTo>
                  <a:lnTo>
                    <a:pt x="18351" y="580733"/>
                  </a:lnTo>
                  <a:lnTo>
                    <a:pt x="18402" y="581368"/>
                  </a:lnTo>
                  <a:lnTo>
                    <a:pt x="18503" y="581368"/>
                  </a:lnTo>
                  <a:lnTo>
                    <a:pt x="18541" y="580733"/>
                  </a:lnTo>
                  <a:lnTo>
                    <a:pt x="18592" y="580733"/>
                  </a:lnTo>
                  <a:lnTo>
                    <a:pt x="18592" y="581368"/>
                  </a:lnTo>
                  <a:lnTo>
                    <a:pt x="18846" y="581368"/>
                  </a:lnTo>
                  <a:lnTo>
                    <a:pt x="18948" y="582016"/>
                  </a:lnTo>
                  <a:lnTo>
                    <a:pt x="18999" y="582016"/>
                  </a:lnTo>
                  <a:lnTo>
                    <a:pt x="19050" y="581368"/>
                  </a:lnTo>
                  <a:lnTo>
                    <a:pt x="19088" y="582016"/>
                  </a:lnTo>
                  <a:lnTo>
                    <a:pt x="19189" y="582016"/>
                  </a:lnTo>
                  <a:lnTo>
                    <a:pt x="19240" y="583362"/>
                  </a:lnTo>
                  <a:lnTo>
                    <a:pt x="19291" y="583362"/>
                  </a:lnTo>
                  <a:lnTo>
                    <a:pt x="19291" y="583959"/>
                  </a:lnTo>
                  <a:lnTo>
                    <a:pt x="19392" y="583362"/>
                  </a:lnTo>
                  <a:lnTo>
                    <a:pt x="19634" y="583362"/>
                  </a:lnTo>
                  <a:lnTo>
                    <a:pt x="19684" y="583959"/>
                  </a:lnTo>
                  <a:lnTo>
                    <a:pt x="19786" y="583959"/>
                  </a:lnTo>
                  <a:lnTo>
                    <a:pt x="19786" y="584594"/>
                  </a:lnTo>
                  <a:lnTo>
                    <a:pt x="19888" y="583959"/>
                  </a:lnTo>
                  <a:lnTo>
                    <a:pt x="19939" y="583959"/>
                  </a:lnTo>
                  <a:lnTo>
                    <a:pt x="19989" y="584594"/>
                  </a:lnTo>
                  <a:lnTo>
                    <a:pt x="20129" y="584594"/>
                  </a:lnTo>
                  <a:lnTo>
                    <a:pt x="20180" y="585242"/>
                  </a:lnTo>
                  <a:lnTo>
                    <a:pt x="20383" y="585242"/>
                  </a:lnTo>
                  <a:lnTo>
                    <a:pt x="20434" y="586588"/>
                  </a:lnTo>
                  <a:lnTo>
                    <a:pt x="20586" y="586588"/>
                  </a:lnTo>
                  <a:lnTo>
                    <a:pt x="20637" y="587223"/>
                  </a:lnTo>
                  <a:lnTo>
                    <a:pt x="20637" y="586588"/>
                  </a:lnTo>
                  <a:lnTo>
                    <a:pt x="20675" y="585242"/>
                  </a:lnTo>
                  <a:lnTo>
                    <a:pt x="20777" y="585242"/>
                  </a:lnTo>
                  <a:lnTo>
                    <a:pt x="20777" y="584594"/>
                  </a:lnTo>
                  <a:lnTo>
                    <a:pt x="20827" y="584594"/>
                  </a:lnTo>
                  <a:lnTo>
                    <a:pt x="20878" y="583959"/>
                  </a:lnTo>
                  <a:lnTo>
                    <a:pt x="20878" y="583362"/>
                  </a:lnTo>
                  <a:lnTo>
                    <a:pt x="21221" y="583362"/>
                  </a:lnTo>
                  <a:lnTo>
                    <a:pt x="21272" y="583959"/>
                  </a:lnTo>
                  <a:lnTo>
                    <a:pt x="21323" y="584594"/>
                  </a:lnTo>
                  <a:lnTo>
                    <a:pt x="21323" y="583959"/>
                  </a:lnTo>
                  <a:lnTo>
                    <a:pt x="21374" y="583362"/>
                  </a:lnTo>
                  <a:lnTo>
                    <a:pt x="21374" y="582016"/>
                  </a:lnTo>
                  <a:lnTo>
                    <a:pt x="21475" y="580733"/>
                  </a:lnTo>
                  <a:lnTo>
                    <a:pt x="21475" y="581368"/>
                  </a:lnTo>
                  <a:lnTo>
                    <a:pt x="21526" y="581368"/>
                  </a:lnTo>
                  <a:lnTo>
                    <a:pt x="21577" y="580733"/>
                  </a:lnTo>
                  <a:lnTo>
                    <a:pt x="21716" y="580733"/>
                  </a:lnTo>
                  <a:lnTo>
                    <a:pt x="21767" y="580034"/>
                  </a:lnTo>
                  <a:lnTo>
                    <a:pt x="21767" y="580733"/>
                  </a:lnTo>
                  <a:lnTo>
                    <a:pt x="21818" y="580733"/>
                  </a:lnTo>
                  <a:lnTo>
                    <a:pt x="21920" y="581368"/>
                  </a:lnTo>
                  <a:lnTo>
                    <a:pt x="21971" y="582016"/>
                  </a:lnTo>
                  <a:lnTo>
                    <a:pt x="22021" y="583362"/>
                  </a:lnTo>
                  <a:lnTo>
                    <a:pt x="22021" y="582016"/>
                  </a:lnTo>
                  <a:lnTo>
                    <a:pt x="22364" y="582016"/>
                  </a:lnTo>
                  <a:lnTo>
                    <a:pt x="22415" y="581368"/>
                  </a:lnTo>
                  <a:lnTo>
                    <a:pt x="22466" y="581368"/>
                  </a:lnTo>
                  <a:lnTo>
                    <a:pt x="22567" y="582016"/>
                  </a:lnTo>
                  <a:lnTo>
                    <a:pt x="22618" y="582016"/>
                  </a:lnTo>
                  <a:lnTo>
                    <a:pt x="22618" y="583362"/>
                  </a:lnTo>
                  <a:lnTo>
                    <a:pt x="23164" y="583362"/>
                  </a:lnTo>
                  <a:lnTo>
                    <a:pt x="23164" y="583959"/>
                  </a:lnTo>
                  <a:lnTo>
                    <a:pt x="23266" y="583362"/>
                  </a:lnTo>
                  <a:lnTo>
                    <a:pt x="23507" y="583362"/>
                  </a:lnTo>
                  <a:lnTo>
                    <a:pt x="23558" y="583959"/>
                  </a:lnTo>
                  <a:lnTo>
                    <a:pt x="23710" y="583959"/>
                  </a:lnTo>
                  <a:lnTo>
                    <a:pt x="23761" y="584594"/>
                  </a:lnTo>
                  <a:lnTo>
                    <a:pt x="23812" y="583959"/>
                  </a:lnTo>
                  <a:lnTo>
                    <a:pt x="23952" y="583959"/>
                  </a:lnTo>
                  <a:lnTo>
                    <a:pt x="24002" y="584594"/>
                  </a:lnTo>
                  <a:lnTo>
                    <a:pt x="24155" y="584594"/>
                  </a:lnTo>
                  <a:lnTo>
                    <a:pt x="24155" y="583959"/>
                  </a:lnTo>
                  <a:lnTo>
                    <a:pt x="24447" y="583959"/>
                  </a:lnTo>
                  <a:lnTo>
                    <a:pt x="24498" y="583362"/>
                  </a:lnTo>
                  <a:lnTo>
                    <a:pt x="24549" y="583362"/>
                  </a:lnTo>
                  <a:lnTo>
                    <a:pt x="24650" y="583959"/>
                  </a:lnTo>
                  <a:lnTo>
                    <a:pt x="24701" y="584594"/>
                  </a:lnTo>
                  <a:lnTo>
                    <a:pt x="24752" y="583959"/>
                  </a:lnTo>
                  <a:lnTo>
                    <a:pt x="24752" y="584594"/>
                  </a:lnTo>
                  <a:lnTo>
                    <a:pt x="24853" y="583959"/>
                  </a:lnTo>
                  <a:lnTo>
                    <a:pt x="24853" y="584594"/>
                  </a:lnTo>
                  <a:lnTo>
                    <a:pt x="25349" y="584594"/>
                  </a:lnTo>
                  <a:lnTo>
                    <a:pt x="25349" y="585242"/>
                  </a:lnTo>
                  <a:lnTo>
                    <a:pt x="25539" y="585242"/>
                  </a:lnTo>
                  <a:lnTo>
                    <a:pt x="25590" y="584594"/>
                  </a:lnTo>
                  <a:lnTo>
                    <a:pt x="25641" y="584594"/>
                  </a:lnTo>
                  <a:lnTo>
                    <a:pt x="25641" y="585242"/>
                  </a:lnTo>
                  <a:lnTo>
                    <a:pt x="25793" y="585242"/>
                  </a:lnTo>
                  <a:lnTo>
                    <a:pt x="25793" y="586588"/>
                  </a:lnTo>
                  <a:lnTo>
                    <a:pt x="25895" y="586588"/>
                  </a:lnTo>
                  <a:lnTo>
                    <a:pt x="25895" y="585242"/>
                  </a:lnTo>
                  <a:lnTo>
                    <a:pt x="25984" y="585242"/>
                  </a:lnTo>
                  <a:lnTo>
                    <a:pt x="25984" y="586588"/>
                  </a:lnTo>
                  <a:lnTo>
                    <a:pt x="26034" y="586588"/>
                  </a:lnTo>
                  <a:lnTo>
                    <a:pt x="26085" y="587223"/>
                  </a:lnTo>
                  <a:lnTo>
                    <a:pt x="26238" y="587223"/>
                  </a:lnTo>
                  <a:lnTo>
                    <a:pt x="26238" y="586588"/>
                  </a:lnTo>
                  <a:lnTo>
                    <a:pt x="26339" y="586588"/>
                  </a:lnTo>
                  <a:lnTo>
                    <a:pt x="26339" y="587223"/>
                  </a:lnTo>
                  <a:lnTo>
                    <a:pt x="26441" y="586588"/>
                  </a:lnTo>
                  <a:lnTo>
                    <a:pt x="26441" y="585242"/>
                  </a:lnTo>
                  <a:lnTo>
                    <a:pt x="26479" y="585242"/>
                  </a:lnTo>
                  <a:lnTo>
                    <a:pt x="26530" y="584594"/>
                  </a:lnTo>
                  <a:lnTo>
                    <a:pt x="26733" y="584594"/>
                  </a:lnTo>
                  <a:lnTo>
                    <a:pt x="26784" y="585242"/>
                  </a:lnTo>
                  <a:lnTo>
                    <a:pt x="26987" y="585242"/>
                  </a:lnTo>
                  <a:lnTo>
                    <a:pt x="27025" y="584594"/>
                  </a:lnTo>
                  <a:lnTo>
                    <a:pt x="27127" y="583959"/>
                  </a:lnTo>
                  <a:lnTo>
                    <a:pt x="27127" y="583362"/>
                  </a:lnTo>
                  <a:lnTo>
                    <a:pt x="27330" y="583362"/>
                  </a:lnTo>
                  <a:lnTo>
                    <a:pt x="27330" y="583959"/>
                  </a:lnTo>
                  <a:lnTo>
                    <a:pt x="27432" y="583959"/>
                  </a:lnTo>
                  <a:lnTo>
                    <a:pt x="27432" y="584594"/>
                  </a:lnTo>
                  <a:lnTo>
                    <a:pt x="27571" y="584594"/>
                  </a:lnTo>
                  <a:lnTo>
                    <a:pt x="27622" y="583959"/>
                  </a:lnTo>
                  <a:lnTo>
                    <a:pt x="27673" y="584594"/>
                  </a:lnTo>
                  <a:lnTo>
                    <a:pt x="27724" y="584594"/>
                  </a:lnTo>
                  <a:lnTo>
                    <a:pt x="27825" y="585242"/>
                  </a:lnTo>
                  <a:lnTo>
                    <a:pt x="27825" y="584594"/>
                  </a:lnTo>
                  <a:lnTo>
                    <a:pt x="27927" y="584594"/>
                  </a:lnTo>
                  <a:lnTo>
                    <a:pt x="28028" y="585242"/>
                  </a:lnTo>
                  <a:lnTo>
                    <a:pt x="28321" y="585242"/>
                  </a:lnTo>
                  <a:lnTo>
                    <a:pt x="28321" y="584594"/>
                  </a:lnTo>
                  <a:lnTo>
                    <a:pt x="28371" y="585242"/>
                  </a:lnTo>
                  <a:lnTo>
                    <a:pt x="28613" y="585242"/>
                  </a:lnTo>
                  <a:lnTo>
                    <a:pt x="28613" y="584594"/>
                  </a:lnTo>
                  <a:lnTo>
                    <a:pt x="28714" y="584594"/>
                  </a:lnTo>
                  <a:lnTo>
                    <a:pt x="28714" y="585242"/>
                  </a:lnTo>
                  <a:lnTo>
                    <a:pt x="28765" y="585242"/>
                  </a:lnTo>
                  <a:lnTo>
                    <a:pt x="28816" y="586588"/>
                  </a:lnTo>
                  <a:lnTo>
                    <a:pt x="29070" y="586588"/>
                  </a:lnTo>
                  <a:lnTo>
                    <a:pt x="29159" y="585242"/>
                  </a:lnTo>
                  <a:lnTo>
                    <a:pt x="29260" y="585242"/>
                  </a:lnTo>
                  <a:lnTo>
                    <a:pt x="29311" y="584594"/>
                  </a:lnTo>
                  <a:lnTo>
                    <a:pt x="29413" y="584594"/>
                  </a:lnTo>
                  <a:lnTo>
                    <a:pt x="29413" y="585242"/>
                  </a:lnTo>
                  <a:lnTo>
                    <a:pt x="29464" y="585242"/>
                  </a:lnTo>
                  <a:lnTo>
                    <a:pt x="29514" y="584594"/>
                  </a:lnTo>
                  <a:lnTo>
                    <a:pt x="29514" y="585242"/>
                  </a:lnTo>
                  <a:lnTo>
                    <a:pt x="29654" y="585242"/>
                  </a:lnTo>
                  <a:lnTo>
                    <a:pt x="29705" y="584594"/>
                  </a:lnTo>
                  <a:lnTo>
                    <a:pt x="29756" y="585242"/>
                  </a:lnTo>
                  <a:lnTo>
                    <a:pt x="30607" y="585242"/>
                  </a:lnTo>
                  <a:lnTo>
                    <a:pt x="30607" y="586588"/>
                  </a:lnTo>
                  <a:lnTo>
                    <a:pt x="30657" y="585242"/>
                  </a:lnTo>
                  <a:lnTo>
                    <a:pt x="30797" y="585242"/>
                  </a:lnTo>
                  <a:lnTo>
                    <a:pt x="30797" y="586588"/>
                  </a:lnTo>
                  <a:lnTo>
                    <a:pt x="30848" y="585242"/>
                  </a:lnTo>
                  <a:lnTo>
                    <a:pt x="30848" y="586588"/>
                  </a:lnTo>
                  <a:lnTo>
                    <a:pt x="31496" y="586588"/>
                  </a:lnTo>
                  <a:lnTo>
                    <a:pt x="31496" y="587223"/>
                  </a:lnTo>
                  <a:lnTo>
                    <a:pt x="31546" y="587223"/>
                  </a:lnTo>
                  <a:lnTo>
                    <a:pt x="31546" y="586588"/>
                  </a:lnTo>
                  <a:lnTo>
                    <a:pt x="31648" y="587223"/>
                  </a:lnTo>
                  <a:lnTo>
                    <a:pt x="31788" y="587223"/>
                  </a:lnTo>
                  <a:lnTo>
                    <a:pt x="31889" y="587921"/>
                  </a:lnTo>
                  <a:lnTo>
                    <a:pt x="32334" y="587921"/>
                  </a:lnTo>
                  <a:lnTo>
                    <a:pt x="32334" y="588569"/>
                  </a:lnTo>
                  <a:lnTo>
                    <a:pt x="32486" y="588569"/>
                  </a:lnTo>
                  <a:lnTo>
                    <a:pt x="32588" y="589166"/>
                  </a:lnTo>
                  <a:lnTo>
                    <a:pt x="32639" y="589166"/>
                  </a:lnTo>
                  <a:lnTo>
                    <a:pt x="32639" y="588569"/>
                  </a:lnTo>
                  <a:lnTo>
                    <a:pt x="32689" y="587921"/>
                  </a:lnTo>
                  <a:lnTo>
                    <a:pt x="32689" y="587223"/>
                  </a:lnTo>
                  <a:lnTo>
                    <a:pt x="32791" y="586588"/>
                  </a:lnTo>
                  <a:lnTo>
                    <a:pt x="32880" y="586588"/>
                  </a:lnTo>
                  <a:lnTo>
                    <a:pt x="32931" y="587223"/>
                  </a:lnTo>
                  <a:lnTo>
                    <a:pt x="33134" y="587223"/>
                  </a:lnTo>
                  <a:lnTo>
                    <a:pt x="33235" y="586588"/>
                  </a:lnTo>
                  <a:lnTo>
                    <a:pt x="33235" y="585242"/>
                  </a:lnTo>
                  <a:lnTo>
                    <a:pt x="33286" y="584594"/>
                  </a:lnTo>
                  <a:lnTo>
                    <a:pt x="33286" y="583959"/>
                  </a:lnTo>
                  <a:lnTo>
                    <a:pt x="33375" y="583959"/>
                  </a:lnTo>
                  <a:lnTo>
                    <a:pt x="33375" y="584594"/>
                  </a:lnTo>
                  <a:lnTo>
                    <a:pt x="33477" y="584594"/>
                  </a:lnTo>
                  <a:lnTo>
                    <a:pt x="33527" y="585242"/>
                  </a:lnTo>
                  <a:lnTo>
                    <a:pt x="33578" y="585242"/>
                  </a:lnTo>
                  <a:lnTo>
                    <a:pt x="33578" y="586588"/>
                  </a:lnTo>
                  <a:lnTo>
                    <a:pt x="33680" y="586588"/>
                  </a:lnTo>
                  <a:lnTo>
                    <a:pt x="33680" y="587223"/>
                  </a:lnTo>
                  <a:lnTo>
                    <a:pt x="33832" y="587223"/>
                  </a:lnTo>
                  <a:lnTo>
                    <a:pt x="33832" y="586588"/>
                  </a:lnTo>
                  <a:lnTo>
                    <a:pt x="33972" y="586588"/>
                  </a:lnTo>
                  <a:lnTo>
                    <a:pt x="33972" y="587223"/>
                  </a:lnTo>
                  <a:lnTo>
                    <a:pt x="34023" y="586588"/>
                  </a:lnTo>
                  <a:lnTo>
                    <a:pt x="34175" y="586588"/>
                  </a:lnTo>
                  <a:lnTo>
                    <a:pt x="34226" y="587223"/>
                  </a:lnTo>
                  <a:lnTo>
                    <a:pt x="34226" y="586588"/>
                  </a:lnTo>
                  <a:lnTo>
                    <a:pt x="34416" y="586588"/>
                  </a:lnTo>
                  <a:lnTo>
                    <a:pt x="34416" y="587223"/>
                  </a:lnTo>
                  <a:lnTo>
                    <a:pt x="34823" y="587223"/>
                  </a:lnTo>
                  <a:lnTo>
                    <a:pt x="34823" y="586588"/>
                  </a:lnTo>
                  <a:lnTo>
                    <a:pt x="35166" y="586588"/>
                  </a:lnTo>
                  <a:lnTo>
                    <a:pt x="35267" y="587223"/>
                  </a:lnTo>
                  <a:lnTo>
                    <a:pt x="35318" y="586588"/>
                  </a:lnTo>
                  <a:lnTo>
                    <a:pt x="35369" y="587223"/>
                  </a:lnTo>
                  <a:lnTo>
                    <a:pt x="35420" y="587223"/>
                  </a:lnTo>
                  <a:lnTo>
                    <a:pt x="35509" y="587921"/>
                  </a:lnTo>
                  <a:lnTo>
                    <a:pt x="35559" y="587921"/>
                  </a:lnTo>
                  <a:lnTo>
                    <a:pt x="35610" y="587223"/>
                  </a:lnTo>
                  <a:lnTo>
                    <a:pt x="35661" y="586588"/>
                  </a:lnTo>
                  <a:lnTo>
                    <a:pt x="35661" y="587223"/>
                  </a:lnTo>
                  <a:lnTo>
                    <a:pt x="35814" y="587223"/>
                  </a:lnTo>
                  <a:lnTo>
                    <a:pt x="35814" y="586588"/>
                  </a:lnTo>
                  <a:lnTo>
                    <a:pt x="36207" y="586588"/>
                  </a:lnTo>
                  <a:lnTo>
                    <a:pt x="36258" y="585242"/>
                  </a:lnTo>
                  <a:lnTo>
                    <a:pt x="36258" y="586588"/>
                  </a:lnTo>
                  <a:lnTo>
                    <a:pt x="36309" y="587223"/>
                  </a:lnTo>
                  <a:lnTo>
                    <a:pt x="37249" y="587223"/>
                  </a:lnTo>
                  <a:lnTo>
                    <a:pt x="37350" y="587921"/>
                  </a:lnTo>
                  <a:lnTo>
                    <a:pt x="37846" y="587921"/>
                  </a:lnTo>
                  <a:lnTo>
                    <a:pt x="37896" y="588569"/>
                  </a:lnTo>
                  <a:lnTo>
                    <a:pt x="37896" y="587921"/>
                  </a:lnTo>
                  <a:lnTo>
                    <a:pt x="38100" y="587921"/>
                  </a:lnTo>
                  <a:lnTo>
                    <a:pt x="38138" y="588569"/>
                  </a:lnTo>
                  <a:lnTo>
                    <a:pt x="38239" y="588569"/>
                  </a:lnTo>
                  <a:lnTo>
                    <a:pt x="38239" y="589166"/>
                  </a:lnTo>
                  <a:lnTo>
                    <a:pt x="38493" y="589166"/>
                  </a:lnTo>
                  <a:lnTo>
                    <a:pt x="38544" y="590499"/>
                  </a:lnTo>
                  <a:lnTo>
                    <a:pt x="38595" y="589166"/>
                  </a:lnTo>
                  <a:lnTo>
                    <a:pt x="38684" y="589166"/>
                  </a:lnTo>
                  <a:lnTo>
                    <a:pt x="38684" y="587921"/>
                  </a:lnTo>
                  <a:lnTo>
                    <a:pt x="38836" y="587921"/>
                  </a:lnTo>
                  <a:lnTo>
                    <a:pt x="38938" y="587223"/>
                  </a:lnTo>
                  <a:lnTo>
                    <a:pt x="38989" y="587921"/>
                  </a:lnTo>
                  <a:lnTo>
                    <a:pt x="39230" y="587921"/>
                  </a:lnTo>
                  <a:lnTo>
                    <a:pt x="39281" y="587223"/>
                  </a:lnTo>
                  <a:lnTo>
                    <a:pt x="39281" y="586588"/>
                  </a:lnTo>
                  <a:lnTo>
                    <a:pt x="39382" y="585242"/>
                  </a:lnTo>
                  <a:lnTo>
                    <a:pt x="39433" y="585242"/>
                  </a:lnTo>
                  <a:lnTo>
                    <a:pt x="39433" y="584594"/>
                  </a:lnTo>
                  <a:lnTo>
                    <a:pt x="39585" y="584594"/>
                  </a:lnTo>
                  <a:lnTo>
                    <a:pt x="39585" y="585242"/>
                  </a:lnTo>
                  <a:lnTo>
                    <a:pt x="39636" y="585242"/>
                  </a:lnTo>
                  <a:lnTo>
                    <a:pt x="39636" y="586588"/>
                  </a:lnTo>
                  <a:lnTo>
                    <a:pt x="39687" y="587223"/>
                  </a:lnTo>
                  <a:lnTo>
                    <a:pt x="39877" y="587223"/>
                  </a:lnTo>
                  <a:lnTo>
                    <a:pt x="39928" y="586588"/>
                  </a:lnTo>
                  <a:lnTo>
                    <a:pt x="40030" y="587223"/>
                  </a:lnTo>
                  <a:lnTo>
                    <a:pt x="40081" y="587223"/>
                  </a:lnTo>
                  <a:lnTo>
                    <a:pt x="40081" y="587921"/>
                  </a:lnTo>
                  <a:lnTo>
                    <a:pt x="40271" y="587921"/>
                  </a:lnTo>
                  <a:lnTo>
                    <a:pt x="40271" y="587223"/>
                  </a:lnTo>
                  <a:lnTo>
                    <a:pt x="40322" y="587921"/>
                  </a:lnTo>
                  <a:lnTo>
                    <a:pt x="40525" y="587921"/>
                  </a:lnTo>
                  <a:lnTo>
                    <a:pt x="40525" y="587223"/>
                  </a:lnTo>
                  <a:lnTo>
                    <a:pt x="40627" y="587223"/>
                  </a:lnTo>
                  <a:lnTo>
                    <a:pt x="40627" y="587921"/>
                  </a:lnTo>
                  <a:lnTo>
                    <a:pt x="40766" y="587921"/>
                  </a:lnTo>
                  <a:lnTo>
                    <a:pt x="40766" y="587223"/>
                  </a:lnTo>
                  <a:lnTo>
                    <a:pt x="41021" y="587223"/>
                  </a:lnTo>
                  <a:lnTo>
                    <a:pt x="41071" y="587921"/>
                  </a:lnTo>
                  <a:lnTo>
                    <a:pt x="41173" y="587921"/>
                  </a:lnTo>
                  <a:lnTo>
                    <a:pt x="41224" y="587223"/>
                  </a:lnTo>
                  <a:lnTo>
                    <a:pt x="41719" y="587223"/>
                  </a:lnTo>
                  <a:lnTo>
                    <a:pt x="41770" y="587921"/>
                  </a:lnTo>
                  <a:lnTo>
                    <a:pt x="41770" y="587223"/>
                  </a:lnTo>
                  <a:lnTo>
                    <a:pt x="41859" y="587223"/>
                  </a:lnTo>
                  <a:lnTo>
                    <a:pt x="41909" y="586588"/>
                  </a:lnTo>
                  <a:lnTo>
                    <a:pt x="41960" y="586588"/>
                  </a:lnTo>
                  <a:lnTo>
                    <a:pt x="42011" y="587223"/>
                  </a:lnTo>
                  <a:lnTo>
                    <a:pt x="42405" y="587223"/>
                  </a:lnTo>
                  <a:lnTo>
                    <a:pt x="42456" y="586588"/>
                  </a:lnTo>
                  <a:lnTo>
                    <a:pt x="42557" y="587223"/>
                  </a:lnTo>
                  <a:lnTo>
                    <a:pt x="42608" y="586588"/>
                  </a:lnTo>
                  <a:lnTo>
                    <a:pt x="42608" y="587223"/>
                  </a:lnTo>
                  <a:lnTo>
                    <a:pt x="43446" y="587223"/>
                  </a:lnTo>
                  <a:lnTo>
                    <a:pt x="43446" y="587921"/>
                  </a:lnTo>
                  <a:lnTo>
                    <a:pt x="43548" y="587921"/>
                  </a:lnTo>
                  <a:lnTo>
                    <a:pt x="43599" y="587223"/>
                  </a:lnTo>
                  <a:lnTo>
                    <a:pt x="43700" y="587921"/>
                  </a:lnTo>
                  <a:lnTo>
                    <a:pt x="43992" y="587921"/>
                  </a:lnTo>
                  <a:lnTo>
                    <a:pt x="44043" y="588569"/>
                  </a:lnTo>
                  <a:lnTo>
                    <a:pt x="44348" y="588569"/>
                  </a:lnTo>
                  <a:lnTo>
                    <a:pt x="44348" y="589166"/>
                  </a:lnTo>
                  <a:lnTo>
                    <a:pt x="44488" y="589166"/>
                  </a:lnTo>
                  <a:lnTo>
                    <a:pt x="44488" y="590499"/>
                  </a:lnTo>
                  <a:lnTo>
                    <a:pt x="44589" y="589166"/>
                  </a:lnTo>
                  <a:lnTo>
                    <a:pt x="44589" y="588569"/>
                  </a:lnTo>
                  <a:lnTo>
                    <a:pt x="44640" y="587921"/>
                  </a:lnTo>
                  <a:lnTo>
                    <a:pt x="44640" y="587223"/>
                  </a:lnTo>
                  <a:lnTo>
                    <a:pt x="44894" y="587223"/>
                  </a:lnTo>
                  <a:lnTo>
                    <a:pt x="44894" y="587921"/>
                  </a:lnTo>
                  <a:lnTo>
                    <a:pt x="45034" y="587921"/>
                  </a:lnTo>
                  <a:lnTo>
                    <a:pt x="45034" y="587223"/>
                  </a:lnTo>
                  <a:lnTo>
                    <a:pt x="45084" y="587223"/>
                  </a:lnTo>
                  <a:lnTo>
                    <a:pt x="45084" y="587921"/>
                  </a:lnTo>
                  <a:lnTo>
                    <a:pt x="45186" y="587921"/>
                  </a:lnTo>
                  <a:lnTo>
                    <a:pt x="45186" y="588569"/>
                  </a:lnTo>
                  <a:lnTo>
                    <a:pt x="45288" y="588569"/>
                  </a:lnTo>
                  <a:lnTo>
                    <a:pt x="45339" y="587921"/>
                  </a:lnTo>
                  <a:lnTo>
                    <a:pt x="45339" y="587223"/>
                  </a:lnTo>
                  <a:lnTo>
                    <a:pt x="45389" y="585242"/>
                  </a:lnTo>
                  <a:lnTo>
                    <a:pt x="45389" y="584594"/>
                  </a:lnTo>
                  <a:lnTo>
                    <a:pt x="45491" y="584594"/>
                  </a:lnTo>
                  <a:lnTo>
                    <a:pt x="45491" y="585242"/>
                  </a:lnTo>
                  <a:lnTo>
                    <a:pt x="45529" y="585242"/>
                  </a:lnTo>
                  <a:lnTo>
                    <a:pt x="45580" y="586588"/>
                  </a:lnTo>
                  <a:lnTo>
                    <a:pt x="45631" y="586588"/>
                  </a:lnTo>
                  <a:lnTo>
                    <a:pt x="45631" y="585242"/>
                  </a:lnTo>
                  <a:lnTo>
                    <a:pt x="45732" y="586588"/>
                  </a:lnTo>
                  <a:lnTo>
                    <a:pt x="45732" y="585242"/>
                  </a:lnTo>
                  <a:lnTo>
                    <a:pt x="45834" y="585242"/>
                  </a:lnTo>
                  <a:lnTo>
                    <a:pt x="45834" y="586588"/>
                  </a:lnTo>
                  <a:lnTo>
                    <a:pt x="45935" y="586588"/>
                  </a:lnTo>
                  <a:lnTo>
                    <a:pt x="45986" y="587223"/>
                  </a:lnTo>
                  <a:lnTo>
                    <a:pt x="45986" y="586588"/>
                  </a:lnTo>
                  <a:lnTo>
                    <a:pt x="46037" y="586588"/>
                  </a:lnTo>
                  <a:lnTo>
                    <a:pt x="46075" y="587223"/>
                  </a:lnTo>
                  <a:lnTo>
                    <a:pt x="46621" y="587223"/>
                  </a:lnTo>
                  <a:lnTo>
                    <a:pt x="46621" y="587921"/>
                  </a:lnTo>
                  <a:lnTo>
                    <a:pt x="46672" y="587223"/>
                  </a:lnTo>
                  <a:lnTo>
                    <a:pt x="46875" y="587223"/>
                  </a:lnTo>
                  <a:lnTo>
                    <a:pt x="46926" y="586588"/>
                  </a:lnTo>
                  <a:lnTo>
                    <a:pt x="47078" y="586588"/>
                  </a:lnTo>
                  <a:lnTo>
                    <a:pt x="47116" y="587223"/>
                  </a:lnTo>
                  <a:lnTo>
                    <a:pt x="47320" y="587223"/>
                  </a:lnTo>
                  <a:lnTo>
                    <a:pt x="47320" y="587921"/>
                  </a:lnTo>
                  <a:lnTo>
                    <a:pt x="47421" y="587921"/>
                  </a:lnTo>
                  <a:lnTo>
                    <a:pt x="47523" y="587223"/>
                  </a:lnTo>
                  <a:lnTo>
                    <a:pt x="47764" y="587223"/>
                  </a:lnTo>
                  <a:lnTo>
                    <a:pt x="47764" y="586588"/>
                  </a:lnTo>
                  <a:lnTo>
                    <a:pt x="48069" y="586588"/>
                  </a:lnTo>
                  <a:lnTo>
                    <a:pt x="48069" y="585242"/>
                  </a:lnTo>
                  <a:lnTo>
                    <a:pt x="48259" y="585242"/>
                  </a:lnTo>
                  <a:lnTo>
                    <a:pt x="48259" y="586588"/>
                  </a:lnTo>
                  <a:lnTo>
                    <a:pt x="48564" y="586588"/>
                  </a:lnTo>
                  <a:lnTo>
                    <a:pt x="48564" y="587223"/>
                  </a:lnTo>
                  <a:lnTo>
                    <a:pt x="48806" y="587223"/>
                  </a:lnTo>
                  <a:lnTo>
                    <a:pt x="48907" y="586588"/>
                  </a:lnTo>
                  <a:lnTo>
                    <a:pt x="49009" y="586588"/>
                  </a:lnTo>
                  <a:lnTo>
                    <a:pt x="49110" y="587223"/>
                  </a:lnTo>
                  <a:lnTo>
                    <a:pt x="49110" y="587921"/>
                  </a:lnTo>
                  <a:lnTo>
                    <a:pt x="49161" y="587223"/>
                  </a:lnTo>
                  <a:lnTo>
                    <a:pt x="49212" y="586588"/>
                  </a:lnTo>
                  <a:lnTo>
                    <a:pt x="49250" y="586588"/>
                  </a:lnTo>
                  <a:lnTo>
                    <a:pt x="49250" y="587223"/>
                  </a:lnTo>
                  <a:lnTo>
                    <a:pt x="49402" y="587223"/>
                  </a:lnTo>
                  <a:lnTo>
                    <a:pt x="49402" y="587921"/>
                  </a:lnTo>
                  <a:lnTo>
                    <a:pt x="49555" y="587921"/>
                  </a:lnTo>
                  <a:lnTo>
                    <a:pt x="49606" y="587223"/>
                  </a:lnTo>
                  <a:lnTo>
                    <a:pt x="49657" y="587921"/>
                  </a:lnTo>
                  <a:lnTo>
                    <a:pt x="50050" y="587921"/>
                  </a:lnTo>
                  <a:lnTo>
                    <a:pt x="50101" y="588569"/>
                  </a:lnTo>
                  <a:lnTo>
                    <a:pt x="50291" y="588569"/>
                  </a:lnTo>
                  <a:lnTo>
                    <a:pt x="50342" y="589166"/>
                  </a:lnTo>
                  <a:lnTo>
                    <a:pt x="50495" y="589166"/>
                  </a:lnTo>
                  <a:lnTo>
                    <a:pt x="50495" y="588569"/>
                  </a:lnTo>
                  <a:lnTo>
                    <a:pt x="50546" y="587921"/>
                  </a:lnTo>
                  <a:lnTo>
                    <a:pt x="50546" y="587223"/>
                  </a:lnTo>
                  <a:lnTo>
                    <a:pt x="50596" y="587223"/>
                  </a:lnTo>
                  <a:lnTo>
                    <a:pt x="50596" y="586588"/>
                  </a:lnTo>
                  <a:lnTo>
                    <a:pt x="50698" y="586588"/>
                  </a:lnTo>
                  <a:lnTo>
                    <a:pt x="50749" y="585242"/>
                  </a:lnTo>
                  <a:lnTo>
                    <a:pt x="50800" y="586588"/>
                  </a:lnTo>
                  <a:lnTo>
                    <a:pt x="50838" y="585242"/>
                  </a:lnTo>
                  <a:lnTo>
                    <a:pt x="50939" y="584594"/>
                  </a:lnTo>
                  <a:lnTo>
                    <a:pt x="50990" y="585242"/>
                  </a:lnTo>
                  <a:lnTo>
                    <a:pt x="51041" y="585242"/>
                  </a:lnTo>
                  <a:lnTo>
                    <a:pt x="51142" y="586588"/>
                  </a:lnTo>
                  <a:lnTo>
                    <a:pt x="51193" y="585242"/>
                  </a:lnTo>
                  <a:lnTo>
                    <a:pt x="51244" y="584594"/>
                  </a:lnTo>
                  <a:lnTo>
                    <a:pt x="51384" y="584594"/>
                  </a:lnTo>
                  <a:lnTo>
                    <a:pt x="51434" y="585242"/>
                  </a:lnTo>
                  <a:lnTo>
                    <a:pt x="51485" y="586588"/>
                  </a:lnTo>
                  <a:lnTo>
                    <a:pt x="51536" y="586588"/>
                  </a:lnTo>
                  <a:lnTo>
                    <a:pt x="51536" y="585242"/>
                  </a:lnTo>
                  <a:lnTo>
                    <a:pt x="51638" y="584594"/>
                  </a:lnTo>
                  <a:lnTo>
                    <a:pt x="51689" y="584594"/>
                  </a:lnTo>
                  <a:lnTo>
                    <a:pt x="51739" y="585242"/>
                  </a:lnTo>
                  <a:lnTo>
                    <a:pt x="51739" y="586588"/>
                  </a:lnTo>
                  <a:lnTo>
                    <a:pt x="51981" y="586588"/>
                  </a:lnTo>
                  <a:lnTo>
                    <a:pt x="52082" y="587223"/>
                  </a:lnTo>
                  <a:lnTo>
                    <a:pt x="52184" y="587223"/>
                  </a:lnTo>
                  <a:lnTo>
                    <a:pt x="52285" y="586588"/>
                  </a:lnTo>
                  <a:lnTo>
                    <a:pt x="52387" y="586588"/>
                  </a:lnTo>
                  <a:lnTo>
                    <a:pt x="52387" y="587223"/>
                  </a:lnTo>
                  <a:lnTo>
                    <a:pt x="52425" y="587223"/>
                  </a:lnTo>
                  <a:lnTo>
                    <a:pt x="52527" y="587921"/>
                  </a:lnTo>
                  <a:lnTo>
                    <a:pt x="52527" y="587223"/>
                  </a:lnTo>
                  <a:lnTo>
                    <a:pt x="52577" y="587223"/>
                  </a:lnTo>
                  <a:lnTo>
                    <a:pt x="52628" y="586588"/>
                  </a:lnTo>
                  <a:lnTo>
                    <a:pt x="52730" y="586588"/>
                  </a:lnTo>
                  <a:lnTo>
                    <a:pt x="52781" y="587223"/>
                  </a:lnTo>
                  <a:lnTo>
                    <a:pt x="52832" y="587223"/>
                  </a:lnTo>
                  <a:lnTo>
                    <a:pt x="52832" y="587921"/>
                  </a:lnTo>
                  <a:lnTo>
                    <a:pt x="52882" y="587223"/>
                  </a:lnTo>
                  <a:lnTo>
                    <a:pt x="53022" y="587223"/>
                  </a:lnTo>
                  <a:lnTo>
                    <a:pt x="53073" y="586588"/>
                  </a:lnTo>
                  <a:lnTo>
                    <a:pt x="53073" y="587223"/>
                  </a:lnTo>
                  <a:lnTo>
                    <a:pt x="53327" y="587223"/>
                  </a:lnTo>
                  <a:lnTo>
                    <a:pt x="53428" y="586588"/>
                  </a:lnTo>
                  <a:lnTo>
                    <a:pt x="53670" y="586588"/>
                  </a:lnTo>
                  <a:lnTo>
                    <a:pt x="53670" y="587223"/>
                  </a:lnTo>
                  <a:lnTo>
                    <a:pt x="53771" y="587223"/>
                  </a:lnTo>
                  <a:lnTo>
                    <a:pt x="53873" y="586588"/>
                  </a:lnTo>
                  <a:lnTo>
                    <a:pt x="53924" y="587223"/>
                  </a:lnTo>
                  <a:lnTo>
                    <a:pt x="54013" y="587223"/>
                  </a:lnTo>
                  <a:lnTo>
                    <a:pt x="54114" y="586588"/>
                  </a:lnTo>
                  <a:lnTo>
                    <a:pt x="54165" y="586588"/>
                  </a:lnTo>
                  <a:lnTo>
                    <a:pt x="54216" y="587223"/>
                  </a:lnTo>
                  <a:lnTo>
                    <a:pt x="54368" y="587223"/>
                  </a:lnTo>
                  <a:lnTo>
                    <a:pt x="54368" y="586588"/>
                  </a:lnTo>
                  <a:lnTo>
                    <a:pt x="54470" y="586588"/>
                  </a:lnTo>
                  <a:lnTo>
                    <a:pt x="54559" y="587223"/>
                  </a:lnTo>
                  <a:lnTo>
                    <a:pt x="54914" y="587223"/>
                  </a:lnTo>
                  <a:lnTo>
                    <a:pt x="54914" y="587921"/>
                  </a:lnTo>
                  <a:lnTo>
                    <a:pt x="55054" y="587921"/>
                  </a:lnTo>
                  <a:lnTo>
                    <a:pt x="55105" y="587223"/>
                  </a:lnTo>
                  <a:lnTo>
                    <a:pt x="55359" y="587223"/>
                  </a:lnTo>
                  <a:lnTo>
                    <a:pt x="55460" y="587921"/>
                  </a:lnTo>
                  <a:lnTo>
                    <a:pt x="55752" y="587921"/>
                  </a:lnTo>
                  <a:lnTo>
                    <a:pt x="55803" y="588569"/>
                  </a:lnTo>
                  <a:lnTo>
                    <a:pt x="56007" y="588569"/>
                  </a:lnTo>
                  <a:lnTo>
                    <a:pt x="56057" y="589166"/>
                  </a:lnTo>
                  <a:lnTo>
                    <a:pt x="56057" y="588569"/>
                  </a:lnTo>
                  <a:lnTo>
                    <a:pt x="56146" y="589166"/>
                  </a:lnTo>
                  <a:lnTo>
                    <a:pt x="56299" y="589166"/>
                  </a:lnTo>
                  <a:lnTo>
                    <a:pt x="56400" y="590499"/>
                  </a:lnTo>
                  <a:lnTo>
                    <a:pt x="56451" y="590499"/>
                  </a:lnTo>
                  <a:lnTo>
                    <a:pt x="56502" y="588569"/>
                  </a:lnTo>
                  <a:lnTo>
                    <a:pt x="56603" y="588569"/>
                  </a:lnTo>
                  <a:lnTo>
                    <a:pt x="56603" y="587921"/>
                  </a:lnTo>
                  <a:lnTo>
                    <a:pt x="56641" y="587223"/>
                  </a:lnTo>
                  <a:lnTo>
                    <a:pt x="56692" y="587223"/>
                  </a:lnTo>
                  <a:lnTo>
                    <a:pt x="56692" y="586588"/>
                  </a:lnTo>
                  <a:lnTo>
                    <a:pt x="56743" y="586588"/>
                  </a:lnTo>
                  <a:lnTo>
                    <a:pt x="56845" y="585242"/>
                  </a:lnTo>
                  <a:lnTo>
                    <a:pt x="56896" y="586588"/>
                  </a:lnTo>
                  <a:lnTo>
                    <a:pt x="56946" y="586588"/>
                  </a:lnTo>
                  <a:lnTo>
                    <a:pt x="56946" y="587223"/>
                  </a:lnTo>
                  <a:lnTo>
                    <a:pt x="57099" y="587223"/>
                  </a:lnTo>
                  <a:lnTo>
                    <a:pt x="57099" y="586588"/>
                  </a:lnTo>
                  <a:lnTo>
                    <a:pt x="57150" y="586588"/>
                  </a:lnTo>
                  <a:lnTo>
                    <a:pt x="57188" y="585242"/>
                  </a:lnTo>
                  <a:lnTo>
                    <a:pt x="57289" y="585242"/>
                  </a:lnTo>
                  <a:lnTo>
                    <a:pt x="57340" y="586588"/>
                  </a:lnTo>
                  <a:lnTo>
                    <a:pt x="57391" y="586588"/>
                  </a:lnTo>
                  <a:lnTo>
                    <a:pt x="57492" y="585242"/>
                  </a:lnTo>
                  <a:lnTo>
                    <a:pt x="57594" y="585242"/>
                  </a:lnTo>
                  <a:lnTo>
                    <a:pt x="57645" y="586588"/>
                  </a:lnTo>
                  <a:lnTo>
                    <a:pt x="57734" y="586588"/>
                  </a:lnTo>
                  <a:lnTo>
                    <a:pt x="57784" y="587223"/>
                  </a:lnTo>
                  <a:lnTo>
                    <a:pt x="57784" y="586588"/>
                  </a:lnTo>
                  <a:lnTo>
                    <a:pt x="57835" y="586588"/>
                  </a:lnTo>
                  <a:lnTo>
                    <a:pt x="57835" y="587223"/>
                  </a:lnTo>
                  <a:lnTo>
                    <a:pt x="58432" y="587223"/>
                  </a:lnTo>
                  <a:lnTo>
                    <a:pt x="58483" y="587921"/>
                  </a:lnTo>
                  <a:lnTo>
                    <a:pt x="58534" y="587921"/>
                  </a:lnTo>
                  <a:lnTo>
                    <a:pt x="58635" y="587223"/>
                  </a:lnTo>
                  <a:lnTo>
                    <a:pt x="58686" y="587223"/>
                  </a:lnTo>
                  <a:lnTo>
                    <a:pt x="58737" y="587921"/>
                  </a:lnTo>
                  <a:lnTo>
                    <a:pt x="58775" y="587223"/>
                  </a:lnTo>
                  <a:lnTo>
                    <a:pt x="58775" y="587921"/>
                  </a:lnTo>
                  <a:lnTo>
                    <a:pt x="58877" y="587223"/>
                  </a:lnTo>
                  <a:lnTo>
                    <a:pt x="58978" y="587223"/>
                  </a:lnTo>
                  <a:lnTo>
                    <a:pt x="59080" y="587921"/>
                  </a:lnTo>
                  <a:lnTo>
                    <a:pt x="59372" y="587921"/>
                  </a:lnTo>
                  <a:lnTo>
                    <a:pt x="59372" y="588569"/>
                  </a:lnTo>
                  <a:lnTo>
                    <a:pt x="59423" y="587921"/>
                  </a:lnTo>
                  <a:lnTo>
                    <a:pt x="59474" y="587921"/>
                  </a:lnTo>
                  <a:lnTo>
                    <a:pt x="59575" y="587223"/>
                  </a:lnTo>
                  <a:lnTo>
                    <a:pt x="59626" y="587921"/>
                  </a:lnTo>
                  <a:lnTo>
                    <a:pt x="59626" y="587223"/>
                  </a:lnTo>
                  <a:lnTo>
                    <a:pt x="60223" y="587223"/>
                  </a:lnTo>
                  <a:lnTo>
                    <a:pt x="60274" y="587921"/>
                  </a:lnTo>
                  <a:lnTo>
                    <a:pt x="60274" y="587223"/>
                  </a:lnTo>
                  <a:lnTo>
                    <a:pt x="60325" y="587921"/>
                  </a:lnTo>
                  <a:lnTo>
                    <a:pt x="60363" y="587223"/>
                  </a:lnTo>
                  <a:lnTo>
                    <a:pt x="60363" y="587921"/>
                  </a:lnTo>
                  <a:lnTo>
                    <a:pt x="60909" y="587921"/>
                  </a:lnTo>
                  <a:lnTo>
                    <a:pt x="60909" y="587223"/>
                  </a:lnTo>
                  <a:lnTo>
                    <a:pt x="60959" y="587921"/>
                  </a:lnTo>
                  <a:lnTo>
                    <a:pt x="61010" y="588569"/>
                  </a:lnTo>
                  <a:lnTo>
                    <a:pt x="61061" y="587921"/>
                  </a:lnTo>
                  <a:lnTo>
                    <a:pt x="61163" y="588569"/>
                  </a:lnTo>
                  <a:lnTo>
                    <a:pt x="61506" y="588569"/>
                  </a:lnTo>
                  <a:lnTo>
                    <a:pt x="61607" y="589166"/>
                  </a:lnTo>
                  <a:lnTo>
                    <a:pt x="61607" y="588569"/>
                  </a:lnTo>
                  <a:lnTo>
                    <a:pt x="61709" y="588569"/>
                  </a:lnTo>
                  <a:lnTo>
                    <a:pt x="61709" y="589166"/>
                  </a:lnTo>
                  <a:lnTo>
                    <a:pt x="61861" y="589166"/>
                  </a:lnTo>
                  <a:lnTo>
                    <a:pt x="61861" y="588569"/>
                  </a:lnTo>
                  <a:lnTo>
                    <a:pt x="61912" y="588569"/>
                  </a:lnTo>
                  <a:lnTo>
                    <a:pt x="61950" y="589166"/>
                  </a:lnTo>
                  <a:lnTo>
                    <a:pt x="62052" y="589166"/>
                  </a:lnTo>
                  <a:lnTo>
                    <a:pt x="62102" y="590499"/>
                  </a:lnTo>
                  <a:lnTo>
                    <a:pt x="62102" y="589166"/>
                  </a:lnTo>
                  <a:lnTo>
                    <a:pt x="62153" y="590499"/>
                  </a:lnTo>
                  <a:lnTo>
                    <a:pt x="62255" y="590499"/>
                  </a:lnTo>
                  <a:lnTo>
                    <a:pt x="62306" y="591147"/>
                  </a:lnTo>
                  <a:lnTo>
                    <a:pt x="62357" y="591147"/>
                  </a:lnTo>
                  <a:lnTo>
                    <a:pt x="62357" y="590499"/>
                  </a:lnTo>
                  <a:lnTo>
                    <a:pt x="62407" y="590499"/>
                  </a:lnTo>
                  <a:lnTo>
                    <a:pt x="62407" y="589166"/>
                  </a:lnTo>
                  <a:lnTo>
                    <a:pt x="62496" y="588569"/>
                  </a:lnTo>
                  <a:lnTo>
                    <a:pt x="62547" y="587921"/>
                  </a:lnTo>
                  <a:lnTo>
                    <a:pt x="62953" y="587921"/>
                  </a:lnTo>
                  <a:lnTo>
                    <a:pt x="62991" y="588569"/>
                  </a:lnTo>
                  <a:lnTo>
                    <a:pt x="63042" y="588569"/>
                  </a:lnTo>
                  <a:lnTo>
                    <a:pt x="63042" y="587921"/>
                  </a:lnTo>
                  <a:lnTo>
                    <a:pt x="63093" y="587921"/>
                  </a:lnTo>
                  <a:lnTo>
                    <a:pt x="63093" y="587223"/>
                  </a:lnTo>
                  <a:lnTo>
                    <a:pt x="63195" y="586588"/>
                  </a:lnTo>
                  <a:lnTo>
                    <a:pt x="63296" y="586588"/>
                  </a:lnTo>
                  <a:lnTo>
                    <a:pt x="63296" y="587223"/>
                  </a:lnTo>
                  <a:lnTo>
                    <a:pt x="63500" y="587223"/>
                  </a:lnTo>
                  <a:lnTo>
                    <a:pt x="63538" y="586588"/>
                  </a:lnTo>
                  <a:lnTo>
                    <a:pt x="63538" y="587223"/>
                  </a:lnTo>
                  <a:lnTo>
                    <a:pt x="63639" y="587223"/>
                  </a:lnTo>
                  <a:lnTo>
                    <a:pt x="63690" y="587921"/>
                  </a:lnTo>
                  <a:lnTo>
                    <a:pt x="63741" y="587921"/>
                  </a:lnTo>
                  <a:lnTo>
                    <a:pt x="63741" y="588569"/>
                  </a:lnTo>
                  <a:lnTo>
                    <a:pt x="63842" y="588569"/>
                  </a:lnTo>
                  <a:lnTo>
                    <a:pt x="63893" y="587921"/>
                  </a:lnTo>
                  <a:lnTo>
                    <a:pt x="64338" y="587921"/>
                  </a:lnTo>
                  <a:lnTo>
                    <a:pt x="64338" y="588569"/>
                  </a:lnTo>
                  <a:lnTo>
                    <a:pt x="64630" y="588569"/>
                  </a:lnTo>
                  <a:lnTo>
                    <a:pt x="64681" y="587921"/>
                  </a:lnTo>
                  <a:lnTo>
                    <a:pt x="64833" y="587921"/>
                  </a:lnTo>
                  <a:lnTo>
                    <a:pt x="64833" y="588569"/>
                  </a:lnTo>
                  <a:lnTo>
                    <a:pt x="64884" y="587921"/>
                  </a:lnTo>
                  <a:lnTo>
                    <a:pt x="65087" y="587921"/>
                  </a:lnTo>
                  <a:lnTo>
                    <a:pt x="65087" y="588569"/>
                  </a:lnTo>
                  <a:lnTo>
                    <a:pt x="65125" y="588569"/>
                  </a:lnTo>
                  <a:lnTo>
                    <a:pt x="65227" y="587921"/>
                  </a:lnTo>
                  <a:lnTo>
                    <a:pt x="65277" y="587223"/>
                  </a:lnTo>
                  <a:lnTo>
                    <a:pt x="65277" y="587921"/>
                  </a:lnTo>
                  <a:lnTo>
                    <a:pt x="65430" y="587921"/>
                  </a:lnTo>
                  <a:lnTo>
                    <a:pt x="65430" y="588569"/>
                  </a:lnTo>
                  <a:lnTo>
                    <a:pt x="65481" y="587921"/>
                  </a:lnTo>
                  <a:lnTo>
                    <a:pt x="65532" y="587921"/>
                  </a:lnTo>
                  <a:lnTo>
                    <a:pt x="65582" y="587223"/>
                  </a:lnTo>
                  <a:lnTo>
                    <a:pt x="65582" y="587921"/>
                  </a:lnTo>
                  <a:lnTo>
                    <a:pt x="66027" y="587921"/>
                  </a:lnTo>
                  <a:lnTo>
                    <a:pt x="66128" y="587223"/>
                  </a:lnTo>
                  <a:lnTo>
                    <a:pt x="66128" y="587921"/>
                  </a:lnTo>
                  <a:lnTo>
                    <a:pt x="66370" y="587921"/>
                  </a:lnTo>
                  <a:lnTo>
                    <a:pt x="66370" y="588569"/>
                  </a:lnTo>
                  <a:lnTo>
                    <a:pt x="66471" y="588569"/>
                  </a:lnTo>
                  <a:lnTo>
                    <a:pt x="66471" y="587921"/>
                  </a:lnTo>
                  <a:lnTo>
                    <a:pt x="66675" y="587921"/>
                  </a:lnTo>
                  <a:lnTo>
                    <a:pt x="66675" y="588569"/>
                  </a:lnTo>
                  <a:lnTo>
                    <a:pt x="66713" y="588569"/>
                  </a:lnTo>
                  <a:lnTo>
                    <a:pt x="66814" y="587921"/>
                  </a:lnTo>
                  <a:lnTo>
                    <a:pt x="66814" y="588569"/>
                  </a:lnTo>
                  <a:lnTo>
                    <a:pt x="66865" y="587921"/>
                  </a:lnTo>
                  <a:lnTo>
                    <a:pt x="66916" y="587921"/>
                  </a:lnTo>
                  <a:lnTo>
                    <a:pt x="66916" y="588569"/>
                  </a:lnTo>
                  <a:lnTo>
                    <a:pt x="67309" y="588569"/>
                  </a:lnTo>
                  <a:lnTo>
                    <a:pt x="67309" y="589166"/>
                  </a:lnTo>
                  <a:lnTo>
                    <a:pt x="67513" y="589166"/>
                  </a:lnTo>
                  <a:lnTo>
                    <a:pt x="67513" y="590499"/>
                  </a:lnTo>
                  <a:lnTo>
                    <a:pt x="67564" y="590499"/>
                  </a:lnTo>
                  <a:lnTo>
                    <a:pt x="67564" y="589166"/>
                  </a:lnTo>
                  <a:lnTo>
                    <a:pt x="67754" y="589166"/>
                  </a:lnTo>
                  <a:lnTo>
                    <a:pt x="67805" y="590499"/>
                  </a:lnTo>
                  <a:lnTo>
                    <a:pt x="67957" y="590499"/>
                  </a:lnTo>
                  <a:lnTo>
                    <a:pt x="67957" y="591147"/>
                  </a:lnTo>
                  <a:lnTo>
                    <a:pt x="68160" y="591147"/>
                  </a:lnTo>
                  <a:lnTo>
                    <a:pt x="68160" y="590499"/>
                  </a:lnTo>
                  <a:lnTo>
                    <a:pt x="68211" y="590499"/>
                  </a:lnTo>
                  <a:lnTo>
                    <a:pt x="68211" y="591147"/>
                  </a:lnTo>
                  <a:lnTo>
                    <a:pt x="68262" y="591147"/>
                  </a:lnTo>
                  <a:lnTo>
                    <a:pt x="68300" y="591795"/>
                  </a:lnTo>
                  <a:lnTo>
                    <a:pt x="68402" y="591795"/>
                  </a:lnTo>
                  <a:lnTo>
                    <a:pt x="68452" y="591147"/>
                  </a:lnTo>
                  <a:lnTo>
                    <a:pt x="68452" y="590499"/>
                  </a:lnTo>
                  <a:lnTo>
                    <a:pt x="68503" y="589166"/>
                  </a:lnTo>
                  <a:lnTo>
                    <a:pt x="68503" y="588569"/>
                  </a:lnTo>
                  <a:lnTo>
                    <a:pt x="68605" y="588569"/>
                  </a:lnTo>
                  <a:lnTo>
                    <a:pt x="68605" y="587921"/>
                  </a:lnTo>
                  <a:lnTo>
                    <a:pt x="68656" y="587223"/>
                  </a:lnTo>
                  <a:lnTo>
                    <a:pt x="68656" y="586588"/>
                  </a:lnTo>
                  <a:lnTo>
                    <a:pt x="68707" y="587223"/>
                  </a:lnTo>
                  <a:lnTo>
                    <a:pt x="68757" y="587223"/>
                  </a:lnTo>
                  <a:lnTo>
                    <a:pt x="68846" y="587921"/>
                  </a:lnTo>
                  <a:lnTo>
                    <a:pt x="68948" y="587921"/>
                  </a:lnTo>
                  <a:lnTo>
                    <a:pt x="68999" y="588569"/>
                  </a:lnTo>
                  <a:lnTo>
                    <a:pt x="69100" y="588569"/>
                  </a:lnTo>
                  <a:lnTo>
                    <a:pt x="69151" y="587921"/>
                  </a:lnTo>
                  <a:lnTo>
                    <a:pt x="69151" y="587223"/>
                  </a:lnTo>
                  <a:lnTo>
                    <a:pt x="69202" y="587223"/>
                  </a:lnTo>
                  <a:lnTo>
                    <a:pt x="69202" y="586588"/>
                  </a:lnTo>
                  <a:lnTo>
                    <a:pt x="69392" y="586588"/>
                  </a:lnTo>
                  <a:lnTo>
                    <a:pt x="69443" y="587223"/>
                  </a:lnTo>
                  <a:lnTo>
                    <a:pt x="69748" y="587223"/>
                  </a:lnTo>
                  <a:lnTo>
                    <a:pt x="69748" y="587921"/>
                  </a:lnTo>
                  <a:lnTo>
                    <a:pt x="69850" y="587921"/>
                  </a:lnTo>
                  <a:lnTo>
                    <a:pt x="69888" y="588569"/>
                  </a:lnTo>
                  <a:lnTo>
                    <a:pt x="70040" y="588569"/>
                  </a:lnTo>
                  <a:lnTo>
                    <a:pt x="70040" y="587921"/>
                  </a:lnTo>
                  <a:lnTo>
                    <a:pt x="70192" y="587921"/>
                  </a:lnTo>
                  <a:lnTo>
                    <a:pt x="70243" y="588569"/>
                  </a:lnTo>
                  <a:lnTo>
                    <a:pt x="70484" y="588569"/>
                  </a:lnTo>
                  <a:lnTo>
                    <a:pt x="70535" y="587921"/>
                  </a:lnTo>
                  <a:lnTo>
                    <a:pt x="70929" y="587921"/>
                  </a:lnTo>
                  <a:lnTo>
                    <a:pt x="70929" y="588569"/>
                  </a:lnTo>
                  <a:lnTo>
                    <a:pt x="71234" y="588569"/>
                  </a:lnTo>
                  <a:lnTo>
                    <a:pt x="71335" y="587921"/>
                  </a:lnTo>
                  <a:lnTo>
                    <a:pt x="71475" y="587921"/>
                  </a:lnTo>
                  <a:lnTo>
                    <a:pt x="71475" y="587223"/>
                  </a:lnTo>
                  <a:lnTo>
                    <a:pt x="71882" y="587223"/>
                  </a:lnTo>
                  <a:lnTo>
                    <a:pt x="71882" y="587921"/>
                  </a:lnTo>
                  <a:lnTo>
                    <a:pt x="72377" y="587921"/>
                  </a:lnTo>
                  <a:lnTo>
                    <a:pt x="72478" y="588569"/>
                  </a:lnTo>
                  <a:lnTo>
                    <a:pt x="72516" y="588569"/>
                  </a:lnTo>
                  <a:lnTo>
                    <a:pt x="72567" y="587921"/>
                  </a:lnTo>
                  <a:lnTo>
                    <a:pt x="72923" y="587921"/>
                  </a:lnTo>
                  <a:lnTo>
                    <a:pt x="72923" y="588569"/>
                  </a:lnTo>
                  <a:lnTo>
                    <a:pt x="73266" y="588569"/>
                  </a:lnTo>
                  <a:lnTo>
                    <a:pt x="73266" y="589166"/>
                  </a:lnTo>
                  <a:lnTo>
                    <a:pt x="73367" y="589166"/>
                  </a:lnTo>
                  <a:lnTo>
                    <a:pt x="73367" y="588569"/>
                  </a:lnTo>
                  <a:lnTo>
                    <a:pt x="73418" y="588569"/>
                  </a:lnTo>
                  <a:lnTo>
                    <a:pt x="73469" y="589166"/>
                  </a:lnTo>
                  <a:lnTo>
                    <a:pt x="73469" y="588569"/>
                  </a:lnTo>
                  <a:lnTo>
                    <a:pt x="73520" y="589166"/>
                  </a:lnTo>
                  <a:lnTo>
                    <a:pt x="73609" y="588569"/>
                  </a:lnTo>
                  <a:lnTo>
                    <a:pt x="73710" y="588569"/>
                  </a:lnTo>
                  <a:lnTo>
                    <a:pt x="73710" y="589166"/>
                  </a:lnTo>
                  <a:lnTo>
                    <a:pt x="73761" y="589166"/>
                  </a:lnTo>
                  <a:lnTo>
                    <a:pt x="73761" y="588569"/>
                  </a:lnTo>
                  <a:lnTo>
                    <a:pt x="73914" y="588569"/>
                  </a:lnTo>
                  <a:lnTo>
                    <a:pt x="73914" y="589166"/>
                  </a:lnTo>
                  <a:lnTo>
                    <a:pt x="73964" y="589166"/>
                  </a:lnTo>
                  <a:lnTo>
                    <a:pt x="74066" y="590499"/>
                  </a:lnTo>
                  <a:lnTo>
                    <a:pt x="74104" y="590499"/>
                  </a:lnTo>
                  <a:lnTo>
                    <a:pt x="74104" y="591147"/>
                  </a:lnTo>
                  <a:lnTo>
                    <a:pt x="74206" y="591147"/>
                  </a:lnTo>
                  <a:lnTo>
                    <a:pt x="74307" y="590499"/>
                  </a:lnTo>
                  <a:lnTo>
                    <a:pt x="74358" y="589166"/>
                  </a:lnTo>
                  <a:lnTo>
                    <a:pt x="74510" y="589166"/>
                  </a:lnTo>
                  <a:lnTo>
                    <a:pt x="74510" y="588569"/>
                  </a:lnTo>
                  <a:lnTo>
                    <a:pt x="74612" y="588569"/>
                  </a:lnTo>
                  <a:lnTo>
                    <a:pt x="74612" y="587921"/>
                  </a:lnTo>
                  <a:lnTo>
                    <a:pt x="74650" y="587921"/>
                  </a:lnTo>
                  <a:lnTo>
                    <a:pt x="74752" y="588569"/>
                  </a:lnTo>
                  <a:lnTo>
                    <a:pt x="74802" y="588569"/>
                  </a:lnTo>
                  <a:lnTo>
                    <a:pt x="74853" y="589166"/>
                  </a:lnTo>
                  <a:lnTo>
                    <a:pt x="74955" y="589166"/>
                  </a:lnTo>
                  <a:lnTo>
                    <a:pt x="74955" y="588569"/>
                  </a:lnTo>
                  <a:lnTo>
                    <a:pt x="75006" y="587921"/>
                  </a:lnTo>
                  <a:lnTo>
                    <a:pt x="75006" y="587223"/>
                  </a:lnTo>
                  <a:lnTo>
                    <a:pt x="75196" y="587223"/>
                  </a:lnTo>
                  <a:lnTo>
                    <a:pt x="75196" y="586588"/>
                  </a:lnTo>
                  <a:lnTo>
                    <a:pt x="75349" y="586588"/>
                  </a:lnTo>
                  <a:lnTo>
                    <a:pt x="75450" y="587223"/>
                  </a:lnTo>
                  <a:lnTo>
                    <a:pt x="75501" y="587921"/>
                  </a:lnTo>
                  <a:lnTo>
                    <a:pt x="75552" y="588569"/>
                  </a:lnTo>
                  <a:lnTo>
                    <a:pt x="75653" y="587921"/>
                  </a:lnTo>
                  <a:lnTo>
                    <a:pt x="75742" y="587921"/>
                  </a:lnTo>
                  <a:lnTo>
                    <a:pt x="75793" y="588569"/>
                  </a:lnTo>
                  <a:lnTo>
                    <a:pt x="75996" y="588569"/>
                  </a:lnTo>
                  <a:lnTo>
                    <a:pt x="76098" y="587921"/>
                  </a:lnTo>
                  <a:lnTo>
                    <a:pt x="76149" y="588569"/>
                  </a:lnTo>
                  <a:lnTo>
                    <a:pt x="76885" y="588569"/>
                  </a:lnTo>
                  <a:lnTo>
                    <a:pt x="76936" y="587921"/>
                  </a:lnTo>
                  <a:lnTo>
                    <a:pt x="77089" y="587921"/>
                  </a:lnTo>
                  <a:lnTo>
                    <a:pt x="77089" y="588569"/>
                  </a:lnTo>
                  <a:lnTo>
                    <a:pt x="77139" y="587921"/>
                  </a:lnTo>
                  <a:lnTo>
                    <a:pt x="77279" y="587921"/>
                  </a:lnTo>
                  <a:lnTo>
                    <a:pt x="77330" y="587223"/>
                  </a:lnTo>
                  <a:lnTo>
                    <a:pt x="77584" y="587223"/>
                  </a:lnTo>
                  <a:lnTo>
                    <a:pt x="77584" y="587921"/>
                  </a:lnTo>
                  <a:lnTo>
                    <a:pt x="78422" y="587921"/>
                  </a:lnTo>
                  <a:lnTo>
                    <a:pt x="78473" y="587223"/>
                  </a:lnTo>
                  <a:lnTo>
                    <a:pt x="78473" y="587921"/>
                  </a:lnTo>
                  <a:lnTo>
                    <a:pt x="78917" y="587921"/>
                  </a:lnTo>
                  <a:lnTo>
                    <a:pt x="78917" y="588569"/>
                  </a:lnTo>
                  <a:lnTo>
                    <a:pt x="79171" y="588569"/>
                  </a:lnTo>
                  <a:lnTo>
                    <a:pt x="79171" y="587921"/>
                  </a:lnTo>
                  <a:lnTo>
                    <a:pt x="79324" y="587921"/>
                  </a:lnTo>
                  <a:lnTo>
                    <a:pt x="79375" y="588569"/>
                  </a:lnTo>
                  <a:lnTo>
                    <a:pt x="79565" y="588569"/>
                  </a:lnTo>
                  <a:lnTo>
                    <a:pt x="79616" y="589166"/>
                  </a:lnTo>
                  <a:lnTo>
                    <a:pt x="79870" y="589166"/>
                  </a:lnTo>
                  <a:lnTo>
                    <a:pt x="79959" y="590499"/>
                  </a:lnTo>
                  <a:lnTo>
                    <a:pt x="80009" y="590499"/>
                  </a:lnTo>
                  <a:lnTo>
                    <a:pt x="80009" y="589166"/>
                  </a:lnTo>
                  <a:lnTo>
                    <a:pt x="80060" y="590499"/>
                  </a:lnTo>
                  <a:lnTo>
                    <a:pt x="80213" y="590499"/>
                  </a:lnTo>
                  <a:lnTo>
                    <a:pt x="80264" y="589166"/>
                  </a:lnTo>
                  <a:lnTo>
                    <a:pt x="80264" y="588569"/>
                  </a:lnTo>
                  <a:lnTo>
                    <a:pt x="80314" y="587223"/>
                  </a:lnTo>
                  <a:lnTo>
                    <a:pt x="80314" y="586588"/>
                  </a:lnTo>
                  <a:lnTo>
                    <a:pt x="80416" y="587223"/>
                  </a:lnTo>
                  <a:lnTo>
                    <a:pt x="80708" y="587223"/>
                  </a:lnTo>
                  <a:lnTo>
                    <a:pt x="80759" y="587921"/>
                  </a:lnTo>
                  <a:lnTo>
                    <a:pt x="80759" y="587223"/>
                  </a:lnTo>
                  <a:lnTo>
                    <a:pt x="80911" y="587223"/>
                  </a:lnTo>
                  <a:lnTo>
                    <a:pt x="80911" y="586588"/>
                  </a:lnTo>
                  <a:lnTo>
                    <a:pt x="80962" y="585242"/>
                  </a:lnTo>
                  <a:lnTo>
                    <a:pt x="81000" y="586588"/>
                  </a:lnTo>
                  <a:lnTo>
                    <a:pt x="81000" y="587223"/>
                  </a:lnTo>
                  <a:lnTo>
                    <a:pt x="81102" y="587223"/>
                  </a:lnTo>
                  <a:lnTo>
                    <a:pt x="81102" y="587921"/>
                  </a:lnTo>
                  <a:lnTo>
                    <a:pt x="81152" y="587223"/>
                  </a:lnTo>
                  <a:lnTo>
                    <a:pt x="81203" y="587223"/>
                  </a:lnTo>
                  <a:lnTo>
                    <a:pt x="81203" y="586588"/>
                  </a:lnTo>
                  <a:lnTo>
                    <a:pt x="81305" y="585242"/>
                  </a:lnTo>
                  <a:lnTo>
                    <a:pt x="81305" y="586588"/>
                  </a:lnTo>
                  <a:lnTo>
                    <a:pt x="81356" y="586588"/>
                  </a:lnTo>
                  <a:lnTo>
                    <a:pt x="81407" y="587223"/>
                  </a:lnTo>
                  <a:lnTo>
                    <a:pt x="81546" y="587223"/>
                  </a:lnTo>
                  <a:lnTo>
                    <a:pt x="81546" y="587921"/>
                  </a:lnTo>
                  <a:lnTo>
                    <a:pt x="81597" y="587223"/>
                  </a:lnTo>
                  <a:lnTo>
                    <a:pt x="81800" y="587223"/>
                  </a:lnTo>
                  <a:lnTo>
                    <a:pt x="81800" y="587921"/>
                  </a:lnTo>
                  <a:lnTo>
                    <a:pt x="81851" y="587921"/>
                  </a:lnTo>
                  <a:lnTo>
                    <a:pt x="81851" y="588569"/>
                  </a:lnTo>
                  <a:lnTo>
                    <a:pt x="81902" y="588569"/>
                  </a:lnTo>
                  <a:lnTo>
                    <a:pt x="82003" y="587921"/>
                  </a:lnTo>
                  <a:lnTo>
                    <a:pt x="82092" y="587921"/>
                  </a:lnTo>
                  <a:lnTo>
                    <a:pt x="82143" y="588569"/>
                  </a:lnTo>
                  <a:lnTo>
                    <a:pt x="82245" y="587921"/>
                  </a:lnTo>
                  <a:lnTo>
                    <a:pt x="82791" y="587921"/>
                  </a:lnTo>
                  <a:lnTo>
                    <a:pt x="82791" y="588569"/>
                  </a:lnTo>
                  <a:lnTo>
                    <a:pt x="82994" y="588569"/>
                  </a:lnTo>
                  <a:lnTo>
                    <a:pt x="83045" y="587921"/>
                  </a:lnTo>
                  <a:lnTo>
                    <a:pt x="83134" y="587921"/>
                  </a:lnTo>
                  <a:lnTo>
                    <a:pt x="83184" y="588569"/>
                  </a:lnTo>
                  <a:lnTo>
                    <a:pt x="83235" y="587921"/>
                  </a:lnTo>
                  <a:lnTo>
                    <a:pt x="83388" y="587921"/>
                  </a:lnTo>
                  <a:lnTo>
                    <a:pt x="83439" y="587223"/>
                  </a:lnTo>
                  <a:lnTo>
                    <a:pt x="83489" y="587223"/>
                  </a:lnTo>
                  <a:lnTo>
                    <a:pt x="83591" y="587921"/>
                  </a:lnTo>
                  <a:lnTo>
                    <a:pt x="83629" y="587223"/>
                  </a:lnTo>
                  <a:lnTo>
                    <a:pt x="83629" y="587921"/>
                  </a:lnTo>
                  <a:lnTo>
                    <a:pt x="84582" y="587921"/>
                  </a:lnTo>
                  <a:lnTo>
                    <a:pt x="84632" y="588569"/>
                  </a:lnTo>
                  <a:lnTo>
                    <a:pt x="84632" y="587921"/>
                  </a:lnTo>
                  <a:lnTo>
                    <a:pt x="84975" y="587921"/>
                  </a:lnTo>
                  <a:lnTo>
                    <a:pt x="85026" y="588569"/>
                  </a:lnTo>
                  <a:lnTo>
                    <a:pt x="85623" y="588569"/>
                  </a:lnTo>
                  <a:lnTo>
                    <a:pt x="85623" y="589166"/>
                  </a:lnTo>
                  <a:lnTo>
                    <a:pt x="85763" y="589166"/>
                  </a:lnTo>
                  <a:lnTo>
                    <a:pt x="85864" y="590499"/>
                  </a:lnTo>
                  <a:lnTo>
                    <a:pt x="85915" y="590499"/>
                  </a:lnTo>
                  <a:lnTo>
                    <a:pt x="85966" y="589166"/>
                  </a:lnTo>
                  <a:lnTo>
                    <a:pt x="86067" y="589166"/>
                  </a:lnTo>
                  <a:lnTo>
                    <a:pt x="86067" y="588569"/>
                  </a:lnTo>
                  <a:lnTo>
                    <a:pt x="86118" y="588569"/>
                  </a:lnTo>
                  <a:lnTo>
                    <a:pt x="86118" y="587921"/>
                  </a:lnTo>
                  <a:lnTo>
                    <a:pt x="86169" y="587223"/>
                  </a:lnTo>
                  <a:lnTo>
                    <a:pt x="86220" y="587223"/>
                  </a:lnTo>
                  <a:lnTo>
                    <a:pt x="86220" y="586588"/>
                  </a:lnTo>
                  <a:lnTo>
                    <a:pt x="86309" y="587223"/>
                  </a:lnTo>
                  <a:lnTo>
                    <a:pt x="86410" y="587223"/>
                  </a:lnTo>
                  <a:lnTo>
                    <a:pt x="86410" y="587921"/>
                  </a:lnTo>
                  <a:lnTo>
                    <a:pt x="86614" y="587921"/>
                  </a:lnTo>
                  <a:lnTo>
                    <a:pt x="86664" y="587223"/>
                  </a:lnTo>
                  <a:lnTo>
                    <a:pt x="86766" y="586588"/>
                  </a:lnTo>
                  <a:lnTo>
                    <a:pt x="86766" y="585242"/>
                  </a:lnTo>
                  <a:lnTo>
                    <a:pt x="87007" y="585242"/>
                  </a:lnTo>
                  <a:lnTo>
                    <a:pt x="87007" y="586588"/>
                  </a:lnTo>
                  <a:lnTo>
                    <a:pt x="87058" y="586588"/>
                  </a:lnTo>
                  <a:lnTo>
                    <a:pt x="87109" y="587223"/>
                  </a:lnTo>
                  <a:lnTo>
                    <a:pt x="87210" y="587223"/>
                  </a:lnTo>
                  <a:lnTo>
                    <a:pt x="87261" y="587921"/>
                  </a:lnTo>
                  <a:lnTo>
                    <a:pt x="87261" y="587223"/>
                  </a:lnTo>
                  <a:lnTo>
                    <a:pt x="87452" y="587223"/>
                  </a:lnTo>
                  <a:lnTo>
                    <a:pt x="87452" y="587921"/>
                  </a:lnTo>
                  <a:lnTo>
                    <a:pt x="87553" y="587921"/>
                  </a:lnTo>
                  <a:lnTo>
                    <a:pt x="87553" y="587223"/>
                  </a:lnTo>
                  <a:lnTo>
                    <a:pt x="87655" y="587223"/>
                  </a:lnTo>
                  <a:lnTo>
                    <a:pt x="87706" y="587921"/>
                  </a:lnTo>
                  <a:lnTo>
                    <a:pt x="87706" y="588569"/>
                  </a:lnTo>
                  <a:lnTo>
                    <a:pt x="87807" y="588569"/>
                  </a:lnTo>
                  <a:lnTo>
                    <a:pt x="87896" y="587921"/>
                  </a:lnTo>
                  <a:lnTo>
                    <a:pt x="88646" y="587921"/>
                  </a:lnTo>
                  <a:lnTo>
                    <a:pt x="88696" y="587223"/>
                  </a:lnTo>
                  <a:lnTo>
                    <a:pt x="88798" y="587223"/>
                  </a:lnTo>
                  <a:lnTo>
                    <a:pt x="88798" y="587921"/>
                  </a:lnTo>
                  <a:lnTo>
                    <a:pt x="88849" y="587223"/>
                  </a:lnTo>
                  <a:lnTo>
                    <a:pt x="88849" y="587921"/>
                  </a:lnTo>
                  <a:lnTo>
                    <a:pt x="88900" y="587223"/>
                  </a:lnTo>
                  <a:lnTo>
                    <a:pt x="89395" y="587223"/>
                  </a:lnTo>
                  <a:lnTo>
                    <a:pt x="89484" y="587921"/>
                  </a:lnTo>
                  <a:lnTo>
                    <a:pt x="89585" y="587921"/>
                  </a:lnTo>
                  <a:lnTo>
                    <a:pt x="89585" y="587223"/>
                  </a:lnTo>
                  <a:lnTo>
                    <a:pt x="89738" y="587223"/>
                  </a:lnTo>
                  <a:lnTo>
                    <a:pt x="89789" y="587921"/>
                  </a:lnTo>
                  <a:lnTo>
                    <a:pt x="89839" y="587223"/>
                  </a:lnTo>
                  <a:lnTo>
                    <a:pt x="89979" y="587223"/>
                  </a:lnTo>
                  <a:lnTo>
                    <a:pt x="90030" y="587921"/>
                  </a:lnTo>
                  <a:lnTo>
                    <a:pt x="90030" y="587223"/>
                  </a:lnTo>
                  <a:lnTo>
                    <a:pt x="90081" y="587921"/>
                  </a:lnTo>
                  <a:lnTo>
                    <a:pt x="90487" y="587921"/>
                  </a:lnTo>
                  <a:lnTo>
                    <a:pt x="90487" y="588569"/>
                  </a:lnTo>
                  <a:lnTo>
                    <a:pt x="90525" y="587921"/>
                  </a:lnTo>
                  <a:lnTo>
                    <a:pt x="90677" y="587921"/>
                  </a:lnTo>
                  <a:lnTo>
                    <a:pt x="90728" y="588569"/>
                  </a:lnTo>
                  <a:lnTo>
                    <a:pt x="90982" y="588569"/>
                  </a:lnTo>
                  <a:lnTo>
                    <a:pt x="91071" y="587921"/>
                  </a:lnTo>
                  <a:lnTo>
                    <a:pt x="91071" y="588569"/>
                  </a:lnTo>
                  <a:lnTo>
                    <a:pt x="91224" y="588569"/>
                  </a:lnTo>
                  <a:lnTo>
                    <a:pt x="91325" y="589166"/>
                  </a:lnTo>
                  <a:lnTo>
                    <a:pt x="91376" y="589166"/>
                  </a:lnTo>
                  <a:lnTo>
                    <a:pt x="91376" y="588569"/>
                  </a:lnTo>
                  <a:lnTo>
                    <a:pt x="91427" y="589166"/>
                  </a:lnTo>
                  <a:lnTo>
                    <a:pt x="91566" y="589166"/>
                  </a:lnTo>
                  <a:lnTo>
                    <a:pt x="91566" y="590499"/>
                  </a:lnTo>
                  <a:lnTo>
                    <a:pt x="91871" y="590499"/>
                  </a:lnTo>
                  <a:lnTo>
                    <a:pt x="91871" y="591147"/>
                  </a:lnTo>
                  <a:lnTo>
                    <a:pt x="91973" y="590499"/>
                  </a:lnTo>
                  <a:lnTo>
                    <a:pt x="91973" y="589166"/>
                  </a:lnTo>
                  <a:lnTo>
                    <a:pt x="92024" y="587921"/>
                  </a:lnTo>
                  <a:lnTo>
                    <a:pt x="92024" y="587223"/>
                  </a:lnTo>
                  <a:lnTo>
                    <a:pt x="92075" y="586588"/>
                  </a:lnTo>
                  <a:lnTo>
                    <a:pt x="92316" y="586588"/>
                  </a:lnTo>
                  <a:lnTo>
                    <a:pt x="92316" y="587223"/>
                  </a:lnTo>
                  <a:lnTo>
                    <a:pt x="92468" y="587223"/>
                  </a:lnTo>
                  <a:lnTo>
                    <a:pt x="92468" y="587921"/>
                  </a:lnTo>
                  <a:lnTo>
                    <a:pt x="92519" y="587921"/>
                  </a:lnTo>
                  <a:lnTo>
                    <a:pt x="92570" y="587223"/>
                  </a:lnTo>
                  <a:lnTo>
                    <a:pt x="92570" y="586588"/>
                  </a:lnTo>
                  <a:lnTo>
                    <a:pt x="92659" y="585242"/>
                  </a:lnTo>
                  <a:lnTo>
                    <a:pt x="92659" y="584594"/>
                  </a:lnTo>
                  <a:lnTo>
                    <a:pt x="92709" y="585242"/>
                  </a:lnTo>
                  <a:lnTo>
                    <a:pt x="92760" y="584594"/>
                  </a:lnTo>
                  <a:lnTo>
                    <a:pt x="92760" y="585242"/>
                  </a:lnTo>
                  <a:lnTo>
                    <a:pt x="92811" y="585242"/>
                  </a:lnTo>
                  <a:lnTo>
                    <a:pt x="92811" y="586588"/>
                  </a:lnTo>
                  <a:lnTo>
                    <a:pt x="93116" y="586588"/>
                  </a:lnTo>
                  <a:lnTo>
                    <a:pt x="93116" y="587223"/>
                  </a:lnTo>
                  <a:lnTo>
                    <a:pt x="93154" y="587223"/>
                  </a:lnTo>
                  <a:lnTo>
                    <a:pt x="93154" y="587921"/>
                  </a:lnTo>
                  <a:lnTo>
                    <a:pt x="93256" y="587921"/>
                  </a:lnTo>
                  <a:lnTo>
                    <a:pt x="93357" y="587223"/>
                  </a:lnTo>
                  <a:lnTo>
                    <a:pt x="93611" y="587223"/>
                  </a:lnTo>
                  <a:lnTo>
                    <a:pt x="93662" y="587921"/>
                  </a:lnTo>
                  <a:lnTo>
                    <a:pt x="93700" y="587223"/>
                  </a:lnTo>
                  <a:lnTo>
                    <a:pt x="93700" y="587921"/>
                  </a:lnTo>
                  <a:lnTo>
                    <a:pt x="93802" y="587921"/>
                  </a:lnTo>
                  <a:lnTo>
                    <a:pt x="93852" y="588569"/>
                  </a:lnTo>
                  <a:lnTo>
                    <a:pt x="93852" y="587921"/>
                  </a:lnTo>
                  <a:lnTo>
                    <a:pt x="94056" y="587921"/>
                  </a:lnTo>
                  <a:lnTo>
                    <a:pt x="94056" y="587223"/>
                  </a:lnTo>
                  <a:lnTo>
                    <a:pt x="94348" y="587223"/>
                  </a:lnTo>
                  <a:lnTo>
                    <a:pt x="94348" y="587921"/>
                  </a:lnTo>
                  <a:lnTo>
                    <a:pt x="94399" y="587223"/>
                  </a:lnTo>
                  <a:lnTo>
                    <a:pt x="94399" y="587921"/>
                  </a:lnTo>
                  <a:lnTo>
                    <a:pt x="94500" y="587223"/>
                  </a:lnTo>
                  <a:lnTo>
                    <a:pt x="94602" y="587223"/>
                  </a:lnTo>
                  <a:lnTo>
                    <a:pt x="94703" y="587921"/>
                  </a:lnTo>
                  <a:lnTo>
                    <a:pt x="94945" y="587921"/>
                  </a:lnTo>
                  <a:lnTo>
                    <a:pt x="94945" y="587223"/>
                  </a:lnTo>
                  <a:lnTo>
                    <a:pt x="94996" y="587921"/>
                  </a:lnTo>
                  <a:lnTo>
                    <a:pt x="95046" y="587921"/>
                  </a:lnTo>
                  <a:lnTo>
                    <a:pt x="95148" y="587223"/>
                  </a:lnTo>
                  <a:lnTo>
                    <a:pt x="95288" y="587223"/>
                  </a:lnTo>
                  <a:lnTo>
                    <a:pt x="95288" y="586588"/>
                  </a:lnTo>
                  <a:lnTo>
                    <a:pt x="95389" y="587223"/>
                  </a:lnTo>
                  <a:lnTo>
                    <a:pt x="95694" y="587223"/>
                  </a:lnTo>
                  <a:lnTo>
                    <a:pt x="95745" y="587921"/>
                  </a:lnTo>
                  <a:lnTo>
                    <a:pt x="96139" y="587921"/>
                  </a:lnTo>
                  <a:lnTo>
                    <a:pt x="96189" y="588569"/>
                  </a:lnTo>
                  <a:lnTo>
                    <a:pt x="96291" y="587921"/>
                  </a:lnTo>
                  <a:lnTo>
                    <a:pt x="96735" y="587921"/>
                  </a:lnTo>
                  <a:lnTo>
                    <a:pt x="96735" y="588569"/>
                  </a:lnTo>
                  <a:lnTo>
                    <a:pt x="96786" y="588569"/>
                  </a:lnTo>
                  <a:lnTo>
                    <a:pt x="96786" y="589166"/>
                  </a:lnTo>
                  <a:lnTo>
                    <a:pt x="96875" y="589166"/>
                  </a:lnTo>
                  <a:lnTo>
                    <a:pt x="96977" y="588569"/>
                  </a:lnTo>
                  <a:lnTo>
                    <a:pt x="97078" y="588569"/>
                  </a:lnTo>
                  <a:lnTo>
                    <a:pt x="97078" y="589166"/>
                  </a:lnTo>
                  <a:lnTo>
                    <a:pt x="97726" y="589166"/>
                  </a:lnTo>
                  <a:lnTo>
                    <a:pt x="97726" y="590499"/>
                  </a:lnTo>
                  <a:lnTo>
                    <a:pt x="97777" y="590499"/>
                  </a:lnTo>
                  <a:lnTo>
                    <a:pt x="97777" y="591147"/>
                  </a:lnTo>
                  <a:lnTo>
                    <a:pt x="97878" y="591147"/>
                  </a:lnTo>
                  <a:lnTo>
                    <a:pt x="97916" y="590499"/>
                  </a:lnTo>
                  <a:lnTo>
                    <a:pt x="97916" y="589166"/>
                  </a:lnTo>
                  <a:lnTo>
                    <a:pt x="97967" y="588569"/>
                  </a:lnTo>
                  <a:lnTo>
                    <a:pt x="98018" y="587921"/>
                  </a:lnTo>
                  <a:lnTo>
                    <a:pt x="98374" y="587921"/>
                  </a:lnTo>
                  <a:lnTo>
                    <a:pt x="98374" y="588569"/>
                  </a:lnTo>
                  <a:lnTo>
                    <a:pt x="98463" y="588569"/>
                  </a:lnTo>
                  <a:lnTo>
                    <a:pt x="98463" y="587921"/>
                  </a:lnTo>
                  <a:lnTo>
                    <a:pt x="98564" y="587921"/>
                  </a:lnTo>
                  <a:lnTo>
                    <a:pt x="98564" y="586588"/>
                  </a:lnTo>
                  <a:lnTo>
                    <a:pt x="98869" y="586588"/>
                  </a:lnTo>
                  <a:lnTo>
                    <a:pt x="98869" y="587223"/>
                  </a:lnTo>
                  <a:lnTo>
                    <a:pt x="98920" y="587223"/>
                  </a:lnTo>
                  <a:lnTo>
                    <a:pt x="99009" y="587921"/>
                  </a:lnTo>
                  <a:lnTo>
                    <a:pt x="99059" y="587921"/>
                  </a:lnTo>
                  <a:lnTo>
                    <a:pt x="99110" y="588569"/>
                  </a:lnTo>
                  <a:lnTo>
                    <a:pt x="99263" y="588569"/>
                  </a:lnTo>
                  <a:lnTo>
                    <a:pt x="99263" y="587921"/>
                  </a:lnTo>
                  <a:lnTo>
                    <a:pt x="99314" y="587921"/>
                  </a:lnTo>
                  <a:lnTo>
                    <a:pt x="99364" y="587223"/>
                  </a:lnTo>
                  <a:lnTo>
                    <a:pt x="99504" y="587223"/>
                  </a:lnTo>
                  <a:lnTo>
                    <a:pt x="99504" y="587921"/>
                  </a:lnTo>
                  <a:lnTo>
                    <a:pt x="99555" y="587921"/>
                  </a:lnTo>
                  <a:lnTo>
                    <a:pt x="99555" y="588569"/>
                  </a:lnTo>
                  <a:lnTo>
                    <a:pt x="100050" y="588569"/>
                  </a:lnTo>
                  <a:lnTo>
                    <a:pt x="100050" y="587921"/>
                  </a:lnTo>
                  <a:lnTo>
                    <a:pt x="100202" y="587921"/>
                  </a:lnTo>
                  <a:lnTo>
                    <a:pt x="100253" y="588569"/>
                  </a:lnTo>
                  <a:lnTo>
                    <a:pt x="100406" y="588569"/>
                  </a:lnTo>
                  <a:lnTo>
                    <a:pt x="100406" y="587921"/>
                  </a:lnTo>
                  <a:lnTo>
                    <a:pt x="100457" y="587921"/>
                  </a:lnTo>
                  <a:lnTo>
                    <a:pt x="100457" y="588569"/>
                  </a:lnTo>
                  <a:lnTo>
                    <a:pt x="100507" y="587921"/>
                  </a:lnTo>
                  <a:lnTo>
                    <a:pt x="100647" y="587921"/>
                  </a:lnTo>
                  <a:lnTo>
                    <a:pt x="100647" y="588569"/>
                  </a:lnTo>
                  <a:lnTo>
                    <a:pt x="100698" y="587921"/>
                  </a:lnTo>
                  <a:lnTo>
                    <a:pt x="101600" y="587921"/>
                  </a:lnTo>
                  <a:lnTo>
                    <a:pt x="101600" y="587223"/>
                  </a:lnTo>
                  <a:lnTo>
                    <a:pt x="101638" y="587921"/>
                  </a:lnTo>
                  <a:lnTo>
                    <a:pt x="101993" y="587921"/>
                  </a:lnTo>
                  <a:lnTo>
                    <a:pt x="101993" y="588569"/>
                  </a:lnTo>
                  <a:lnTo>
                    <a:pt x="102044" y="587921"/>
                  </a:lnTo>
                  <a:lnTo>
                    <a:pt x="102095" y="588569"/>
                  </a:lnTo>
                  <a:lnTo>
                    <a:pt x="102234" y="588569"/>
                  </a:lnTo>
                  <a:lnTo>
                    <a:pt x="102234" y="587921"/>
                  </a:lnTo>
                  <a:lnTo>
                    <a:pt x="102336" y="587921"/>
                  </a:lnTo>
                  <a:lnTo>
                    <a:pt x="102336" y="588569"/>
                  </a:lnTo>
                  <a:lnTo>
                    <a:pt x="102438" y="587921"/>
                  </a:lnTo>
                  <a:lnTo>
                    <a:pt x="102489" y="588569"/>
                  </a:lnTo>
                  <a:lnTo>
                    <a:pt x="102489" y="587921"/>
                  </a:lnTo>
                  <a:lnTo>
                    <a:pt x="102641" y="587921"/>
                  </a:lnTo>
                  <a:lnTo>
                    <a:pt x="102641" y="588569"/>
                  </a:lnTo>
                  <a:lnTo>
                    <a:pt x="102781" y="588569"/>
                  </a:lnTo>
                  <a:lnTo>
                    <a:pt x="102781" y="589166"/>
                  </a:lnTo>
                  <a:lnTo>
                    <a:pt x="102882" y="588569"/>
                  </a:lnTo>
                  <a:lnTo>
                    <a:pt x="102933" y="588569"/>
                  </a:lnTo>
                  <a:lnTo>
                    <a:pt x="102984" y="589166"/>
                  </a:lnTo>
                  <a:lnTo>
                    <a:pt x="103085" y="589166"/>
                  </a:lnTo>
                  <a:lnTo>
                    <a:pt x="103085" y="590499"/>
                  </a:lnTo>
                  <a:lnTo>
                    <a:pt x="103136" y="589166"/>
                  </a:lnTo>
                  <a:lnTo>
                    <a:pt x="103428" y="589166"/>
                  </a:lnTo>
                  <a:lnTo>
                    <a:pt x="103530" y="590499"/>
                  </a:lnTo>
                  <a:lnTo>
                    <a:pt x="103581" y="591147"/>
                  </a:lnTo>
                  <a:lnTo>
                    <a:pt x="103682" y="591147"/>
                  </a:lnTo>
                  <a:lnTo>
                    <a:pt x="103771" y="591795"/>
                  </a:lnTo>
                  <a:lnTo>
                    <a:pt x="103771" y="591147"/>
                  </a:lnTo>
                  <a:lnTo>
                    <a:pt x="103822" y="591147"/>
                  </a:lnTo>
                  <a:lnTo>
                    <a:pt x="103822" y="589166"/>
                  </a:lnTo>
                  <a:lnTo>
                    <a:pt x="103873" y="588569"/>
                  </a:lnTo>
                  <a:lnTo>
                    <a:pt x="103924" y="587921"/>
                  </a:lnTo>
                  <a:lnTo>
                    <a:pt x="103924" y="587223"/>
                  </a:lnTo>
                  <a:lnTo>
                    <a:pt x="104025" y="587921"/>
                  </a:lnTo>
                  <a:lnTo>
                    <a:pt x="104076" y="587921"/>
                  </a:lnTo>
                  <a:lnTo>
                    <a:pt x="104076" y="588569"/>
                  </a:lnTo>
                  <a:lnTo>
                    <a:pt x="104127" y="587921"/>
                  </a:lnTo>
                  <a:lnTo>
                    <a:pt x="104266" y="587921"/>
                  </a:lnTo>
                  <a:lnTo>
                    <a:pt x="104266" y="588569"/>
                  </a:lnTo>
                  <a:lnTo>
                    <a:pt x="104317" y="588569"/>
                  </a:lnTo>
                  <a:lnTo>
                    <a:pt x="104317" y="587921"/>
                  </a:lnTo>
                  <a:lnTo>
                    <a:pt x="104368" y="587223"/>
                  </a:lnTo>
                  <a:lnTo>
                    <a:pt x="104368" y="586588"/>
                  </a:lnTo>
                  <a:lnTo>
                    <a:pt x="104470" y="585242"/>
                  </a:lnTo>
                  <a:lnTo>
                    <a:pt x="104521" y="586588"/>
                  </a:lnTo>
                  <a:lnTo>
                    <a:pt x="104571" y="586588"/>
                  </a:lnTo>
                  <a:lnTo>
                    <a:pt x="104571" y="587223"/>
                  </a:lnTo>
                  <a:lnTo>
                    <a:pt x="104965" y="587223"/>
                  </a:lnTo>
                  <a:lnTo>
                    <a:pt x="104965" y="587921"/>
                  </a:lnTo>
                  <a:lnTo>
                    <a:pt x="105117" y="587921"/>
                  </a:lnTo>
                  <a:lnTo>
                    <a:pt x="105117" y="588569"/>
                  </a:lnTo>
                  <a:lnTo>
                    <a:pt x="105219" y="588569"/>
                  </a:lnTo>
                  <a:lnTo>
                    <a:pt x="105219" y="587921"/>
                  </a:lnTo>
                  <a:lnTo>
                    <a:pt x="105664" y="587921"/>
                  </a:lnTo>
                  <a:lnTo>
                    <a:pt x="105714" y="588569"/>
                  </a:lnTo>
                  <a:lnTo>
                    <a:pt x="105956" y="588569"/>
                  </a:lnTo>
                  <a:lnTo>
                    <a:pt x="106057" y="587921"/>
                  </a:lnTo>
                  <a:lnTo>
                    <a:pt x="106108" y="588569"/>
                  </a:lnTo>
                  <a:lnTo>
                    <a:pt x="106108" y="587921"/>
                  </a:lnTo>
                  <a:lnTo>
                    <a:pt x="106159" y="587921"/>
                  </a:lnTo>
                  <a:lnTo>
                    <a:pt x="106260" y="587223"/>
                  </a:lnTo>
                  <a:lnTo>
                    <a:pt x="106260" y="587921"/>
                  </a:lnTo>
                  <a:lnTo>
                    <a:pt x="106311" y="587921"/>
                  </a:lnTo>
                  <a:lnTo>
                    <a:pt x="106311" y="588569"/>
                  </a:lnTo>
                  <a:lnTo>
                    <a:pt x="106552" y="588569"/>
                  </a:lnTo>
                  <a:lnTo>
                    <a:pt x="106603" y="589166"/>
                  </a:lnTo>
                  <a:lnTo>
                    <a:pt x="106705" y="588569"/>
                  </a:lnTo>
                  <a:lnTo>
                    <a:pt x="106807" y="588569"/>
                  </a:lnTo>
                  <a:lnTo>
                    <a:pt x="106807" y="587921"/>
                  </a:lnTo>
                  <a:lnTo>
                    <a:pt x="107441" y="587921"/>
                  </a:lnTo>
                  <a:lnTo>
                    <a:pt x="107441" y="588569"/>
                  </a:lnTo>
                  <a:lnTo>
                    <a:pt x="107492" y="587921"/>
                  </a:lnTo>
                  <a:lnTo>
                    <a:pt x="107543" y="587921"/>
                  </a:lnTo>
                  <a:lnTo>
                    <a:pt x="107645" y="588569"/>
                  </a:lnTo>
                  <a:lnTo>
                    <a:pt x="107696" y="588569"/>
                  </a:lnTo>
                  <a:lnTo>
                    <a:pt x="107746" y="587921"/>
                  </a:lnTo>
                  <a:lnTo>
                    <a:pt x="107746" y="588569"/>
                  </a:lnTo>
                  <a:lnTo>
                    <a:pt x="107988" y="588569"/>
                  </a:lnTo>
                  <a:lnTo>
                    <a:pt x="107988" y="587921"/>
                  </a:lnTo>
                  <a:lnTo>
                    <a:pt x="108140" y="587921"/>
                  </a:lnTo>
                  <a:lnTo>
                    <a:pt x="108191" y="588569"/>
                  </a:lnTo>
                  <a:lnTo>
                    <a:pt x="108292" y="588569"/>
                  </a:lnTo>
                  <a:lnTo>
                    <a:pt x="108343" y="587921"/>
                  </a:lnTo>
                  <a:lnTo>
                    <a:pt x="108343" y="588569"/>
                  </a:lnTo>
                  <a:lnTo>
                    <a:pt x="108584" y="588569"/>
                  </a:lnTo>
                  <a:lnTo>
                    <a:pt x="108635" y="589166"/>
                  </a:lnTo>
                  <a:lnTo>
                    <a:pt x="109232" y="589166"/>
                  </a:lnTo>
                  <a:lnTo>
                    <a:pt x="109283" y="590499"/>
                  </a:lnTo>
                  <a:lnTo>
                    <a:pt x="109334" y="590499"/>
                  </a:lnTo>
                  <a:lnTo>
                    <a:pt x="109334" y="591147"/>
                  </a:lnTo>
                  <a:lnTo>
                    <a:pt x="109537" y="591147"/>
                  </a:lnTo>
                  <a:lnTo>
                    <a:pt x="109575" y="591795"/>
                  </a:lnTo>
                  <a:lnTo>
                    <a:pt x="109575" y="591147"/>
                  </a:lnTo>
                  <a:lnTo>
                    <a:pt x="109677" y="591147"/>
                  </a:lnTo>
                  <a:lnTo>
                    <a:pt x="109727" y="591795"/>
                  </a:lnTo>
                  <a:lnTo>
                    <a:pt x="109727" y="591147"/>
                  </a:lnTo>
                  <a:lnTo>
                    <a:pt x="109778" y="590499"/>
                  </a:lnTo>
                  <a:lnTo>
                    <a:pt x="109778" y="589166"/>
                  </a:lnTo>
                  <a:lnTo>
                    <a:pt x="109880" y="587921"/>
                  </a:lnTo>
                  <a:lnTo>
                    <a:pt x="109931" y="588569"/>
                  </a:lnTo>
                  <a:lnTo>
                    <a:pt x="109931" y="587921"/>
                  </a:lnTo>
                  <a:lnTo>
                    <a:pt x="109982" y="588569"/>
                  </a:lnTo>
                  <a:lnTo>
                    <a:pt x="110274" y="588569"/>
                  </a:lnTo>
                  <a:lnTo>
                    <a:pt x="110375" y="589166"/>
                  </a:lnTo>
                  <a:lnTo>
                    <a:pt x="110426" y="588569"/>
                  </a:lnTo>
                  <a:lnTo>
                    <a:pt x="110477" y="587921"/>
                  </a:lnTo>
                  <a:lnTo>
                    <a:pt x="110477" y="587223"/>
                  </a:lnTo>
                  <a:lnTo>
                    <a:pt x="110578" y="587223"/>
                  </a:lnTo>
                  <a:lnTo>
                    <a:pt x="110578" y="586588"/>
                  </a:lnTo>
                  <a:lnTo>
                    <a:pt x="110667" y="586588"/>
                  </a:lnTo>
                  <a:lnTo>
                    <a:pt x="110667" y="587223"/>
                  </a:lnTo>
                  <a:lnTo>
                    <a:pt x="110820" y="587223"/>
                  </a:lnTo>
                  <a:lnTo>
                    <a:pt x="110820" y="587921"/>
                  </a:lnTo>
                  <a:lnTo>
                    <a:pt x="110871" y="587921"/>
                  </a:lnTo>
                  <a:lnTo>
                    <a:pt x="110871" y="587223"/>
                  </a:lnTo>
                  <a:lnTo>
                    <a:pt x="110921" y="587223"/>
                  </a:lnTo>
                  <a:lnTo>
                    <a:pt x="111023" y="587921"/>
                  </a:lnTo>
                  <a:lnTo>
                    <a:pt x="111074" y="588569"/>
                  </a:lnTo>
                  <a:lnTo>
                    <a:pt x="111125" y="588569"/>
                  </a:lnTo>
                  <a:lnTo>
                    <a:pt x="111125" y="589166"/>
                  </a:lnTo>
                  <a:lnTo>
                    <a:pt x="111163" y="589166"/>
                  </a:lnTo>
                  <a:lnTo>
                    <a:pt x="111264" y="588569"/>
                  </a:lnTo>
                  <a:lnTo>
                    <a:pt x="111315" y="587921"/>
                  </a:lnTo>
                  <a:lnTo>
                    <a:pt x="111366" y="587921"/>
                  </a:lnTo>
                  <a:lnTo>
                    <a:pt x="111467" y="588569"/>
                  </a:lnTo>
                  <a:lnTo>
                    <a:pt x="111709" y="588569"/>
                  </a:lnTo>
                  <a:lnTo>
                    <a:pt x="111759" y="589166"/>
                  </a:lnTo>
                  <a:lnTo>
                    <a:pt x="111861" y="589166"/>
                  </a:lnTo>
                  <a:lnTo>
                    <a:pt x="111963" y="588569"/>
                  </a:lnTo>
                  <a:lnTo>
                    <a:pt x="112204" y="588569"/>
                  </a:lnTo>
                  <a:lnTo>
                    <a:pt x="112255" y="589166"/>
                  </a:lnTo>
                  <a:lnTo>
                    <a:pt x="112458" y="589166"/>
                  </a:lnTo>
                  <a:lnTo>
                    <a:pt x="112509" y="588569"/>
                  </a:lnTo>
                  <a:lnTo>
                    <a:pt x="112953" y="588569"/>
                  </a:lnTo>
                  <a:lnTo>
                    <a:pt x="112953" y="589166"/>
                  </a:lnTo>
                  <a:lnTo>
                    <a:pt x="113055" y="588569"/>
                  </a:lnTo>
                  <a:lnTo>
                    <a:pt x="113601" y="588569"/>
                  </a:lnTo>
                  <a:lnTo>
                    <a:pt x="113601" y="587921"/>
                  </a:lnTo>
                  <a:lnTo>
                    <a:pt x="113753" y="587921"/>
                  </a:lnTo>
                  <a:lnTo>
                    <a:pt x="113791" y="588569"/>
                  </a:lnTo>
                  <a:lnTo>
                    <a:pt x="113842" y="588569"/>
                  </a:lnTo>
                  <a:lnTo>
                    <a:pt x="113842" y="589166"/>
                  </a:lnTo>
                  <a:lnTo>
                    <a:pt x="114096" y="589166"/>
                  </a:lnTo>
                  <a:lnTo>
                    <a:pt x="114096" y="588569"/>
                  </a:lnTo>
                  <a:lnTo>
                    <a:pt x="114198" y="588569"/>
                  </a:lnTo>
                  <a:lnTo>
                    <a:pt x="114249" y="587921"/>
                  </a:lnTo>
                  <a:lnTo>
                    <a:pt x="114300" y="587921"/>
                  </a:lnTo>
                  <a:lnTo>
                    <a:pt x="114338" y="588569"/>
                  </a:lnTo>
                  <a:lnTo>
                    <a:pt x="114439" y="588569"/>
                  </a:lnTo>
                  <a:lnTo>
                    <a:pt x="114439" y="589166"/>
                  </a:lnTo>
                  <a:lnTo>
                    <a:pt x="114985" y="589166"/>
                  </a:lnTo>
                  <a:lnTo>
                    <a:pt x="115036" y="590499"/>
                  </a:lnTo>
                  <a:lnTo>
                    <a:pt x="115239" y="590499"/>
                  </a:lnTo>
                  <a:lnTo>
                    <a:pt x="115341" y="591147"/>
                  </a:lnTo>
                  <a:lnTo>
                    <a:pt x="115430" y="591147"/>
                  </a:lnTo>
                  <a:lnTo>
                    <a:pt x="115481" y="591795"/>
                  </a:lnTo>
                  <a:lnTo>
                    <a:pt x="115582" y="591795"/>
                  </a:lnTo>
                  <a:lnTo>
                    <a:pt x="115633" y="591147"/>
                  </a:lnTo>
                  <a:lnTo>
                    <a:pt x="115633" y="590499"/>
                  </a:lnTo>
                  <a:lnTo>
                    <a:pt x="115684" y="589166"/>
                  </a:lnTo>
                  <a:lnTo>
                    <a:pt x="115785" y="588569"/>
                  </a:lnTo>
                  <a:lnTo>
                    <a:pt x="115925" y="588569"/>
                  </a:lnTo>
                  <a:lnTo>
                    <a:pt x="115925" y="589166"/>
                  </a:lnTo>
                  <a:lnTo>
                    <a:pt x="116027" y="589166"/>
                  </a:lnTo>
                  <a:lnTo>
                    <a:pt x="116077" y="590499"/>
                  </a:lnTo>
                  <a:lnTo>
                    <a:pt x="116230" y="590499"/>
                  </a:lnTo>
                  <a:lnTo>
                    <a:pt x="116281" y="589166"/>
                  </a:lnTo>
                  <a:lnTo>
                    <a:pt x="116332" y="588569"/>
                  </a:lnTo>
                  <a:lnTo>
                    <a:pt x="116332" y="587921"/>
                  </a:lnTo>
                  <a:lnTo>
                    <a:pt x="116382" y="587223"/>
                  </a:lnTo>
                  <a:lnTo>
                    <a:pt x="116471" y="587223"/>
                  </a:lnTo>
                  <a:lnTo>
                    <a:pt x="116471" y="586588"/>
                  </a:lnTo>
                  <a:lnTo>
                    <a:pt x="116522" y="586588"/>
                  </a:lnTo>
                  <a:lnTo>
                    <a:pt x="116522" y="587223"/>
                  </a:lnTo>
                  <a:lnTo>
                    <a:pt x="116573" y="587223"/>
                  </a:lnTo>
                  <a:lnTo>
                    <a:pt x="116624" y="587921"/>
                  </a:lnTo>
                  <a:lnTo>
                    <a:pt x="116725" y="587921"/>
                  </a:lnTo>
                  <a:lnTo>
                    <a:pt x="116776" y="588569"/>
                  </a:lnTo>
                  <a:lnTo>
                    <a:pt x="116827" y="588569"/>
                  </a:lnTo>
                  <a:lnTo>
                    <a:pt x="116928" y="589166"/>
                  </a:lnTo>
                  <a:lnTo>
                    <a:pt x="116928" y="588569"/>
                  </a:lnTo>
                  <a:lnTo>
                    <a:pt x="117017" y="588569"/>
                  </a:lnTo>
                  <a:lnTo>
                    <a:pt x="117068" y="589166"/>
                  </a:lnTo>
                  <a:lnTo>
                    <a:pt x="117170" y="588569"/>
                  </a:lnTo>
                  <a:lnTo>
                    <a:pt x="117221" y="588569"/>
                  </a:lnTo>
                  <a:lnTo>
                    <a:pt x="117221" y="589166"/>
                  </a:lnTo>
                  <a:lnTo>
                    <a:pt x="117817" y="589166"/>
                  </a:lnTo>
                  <a:lnTo>
                    <a:pt x="117817" y="588569"/>
                  </a:lnTo>
                  <a:lnTo>
                    <a:pt x="117970" y="588569"/>
                  </a:lnTo>
                  <a:lnTo>
                    <a:pt x="118059" y="589166"/>
                  </a:lnTo>
                  <a:lnTo>
                    <a:pt x="118211" y="589166"/>
                  </a:lnTo>
                  <a:lnTo>
                    <a:pt x="118313" y="588569"/>
                  </a:lnTo>
                  <a:lnTo>
                    <a:pt x="118364" y="588569"/>
                  </a:lnTo>
                  <a:lnTo>
                    <a:pt x="118364" y="589166"/>
                  </a:lnTo>
                  <a:lnTo>
                    <a:pt x="118554" y="589166"/>
                  </a:lnTo>
                  <a:lnTo>
                    <a:pt x="118554" y="588569"/>
                  </a:lnTo>
                  <a:lnTo>
                    <a:pt x="118605" y="588569"/>
                  </a:lnTo>
                  <a:lnTo>
                    <a:pt x="118605" y="589166"/>
                  </a:lnTo>
                  <a:lnTo>
                    <a:pt x="118859" y="589166"/>
                  </a:lnTo>
                  <a:lnTo>
                    <a:pt x="118859" y="588569"/>
                  </a:lnTo>
                  <a:lnTo>
                    <a:pt x="119456" y="588569"/>
                  </a:lnTo>
                  <a:lnTo>
                    <a:pt x="119507" y="589166"/>
                  </a:lnTo>
                  <a:lnTo>
                    <a:pt x="119557" y="589166"/>
                  </a:lnTo>
                  <a:lnTo>
                    <a:pt x="119557" y="588569"/>
                  </a:lnTo>
                  <a:lnTo>
                    <a:pt x="119646" y="588569"/>
                  </a:lnTo>
                  <a:lnTo>
                    <a:pt x="119697" y="589166"/>
                  </a:lnTo>
                  <a:lnTo>
                    <a:pt x="119900" y="589166"/>
                  </a:lnTo>
                  <a:lnTo>
                    <a:pt x="119900" y="588569"/>
                  </a:lnTo>
                  <a:lnTo>
                    <a:pt x="120103" y="588569"/>
                  </a:lnTo>
                  <a:lnTo>
                    <a:pt x="120141" y="589166"/>
                  </a:lnTo>
                  <a:lnTo>
                    <a:pt x="120345" y="589166"/>
                  </a:lnTo>
                  <a:lnTo>
                    <a:pt x="120396" y="590499"/>
                  </a:lnTo>
                  <a:lnTo>
                    <a:pt x="120396" y="589166"/>
                  </a:lnTo>
                  <a:lnTo>
                    <a:pt x="120688" y="589166"/>
                  </a:lnTo>
                  <a:lnTo>
                    <a:pt x="120789" y="590499"/>
                  </a:lnTo>
                  <a:lnTo>
                    <a:pt x="121145" y="590499"/>
                  </a:lnTo>
                  <a:lnTo>
                    <a:pt x="121234" y="591147"/>
                  </a:lnTo>
                  <a:lnTo>
                    <a:pt x="121386" y="591147"/>
                  </a:lnTo>
                  <a:lnTo>
                    <a:pt x="121488" y="591795"/>
                  </a:lnTo>
                  <a:lnTo>
                    <a:pt x="121691" y="591795"/>
                  </a:lnTo>
                  <a:lnTo>
                    <a:pt x="121691" y="591147"/>
                  </a:lnTo>
                  <a:lnTo>
                    <a:pt x="121729" y="590499"/>
                  </a:lnTo>
                  <a:lnTo>
                    <a:pt x="121729" y="588569"/>
                  </a:lnTo>
                  <a:lnTo>
                    <a:pt x="121780" y="587921"/>
                  </a:lnTo>
                  <a:lnTo>
                    <a:pt x="121983" y="587921"/>
                  </a:lnTo>
                  <a:lnTo>
                    <a:pt x="121983" y="588569"/>
                  </a:lnTo>
                  <a:lnTo>
                    <a:pt x="122186" y="588569"/>
                  </a:lnTo>
                  <a:lnTo>
                    <a:pt x="122237" y="589166"/>
                  </a:lnTo>
                  <a:lnTo>
                    <a:pt x="122237" y="588569"/>
                  </a:lnTo>
                  <a:lnTo>
                    <a:pt x="122275" y="588569"/>
                  </a:lnTo>
                  <a:lnTo>
                    <a:pt x="122275" y="587921"/>
                  </a:lnTo>
                  <a:lnTo>
                    <a:pt x="122377" y="587921"/>
                  </a:lnTo>
                  <a:lnTo>
                    <a:pt x="122377" y="587223"/>
                  </a:lnTo>
                  <a:lnTo>
                    <a:pt x="122478" y="587223"/>
                  </a:lnTo>
                  <a:lnTo>
                    <a:pt x="122580" y="587921"/>
                  </a:lnTo>
                  <a:lnTo>
                    <a:pt x="122631" y="587921"/>
                  </a:lnTo>
                  <a:lnTo>
                    <a:pt x="122682" y="588569"/>
                  </a:lnTo>
                  <a:lnTo>
                    <a:pt x="122872" y="588569"/>
                  </a:lnTo>
                  <a:lnTo>
                    <a:pt x="122923" y="587921"/>
                  </a:lnTo>
                  <a:lnTo>
                    <a:pt x="122974" y="587921"/>
                  </a:lnTo>
                  <a:lnTo>
                    <a:pt x="122974" y="588569"/>
                  </a:lnTo>
                  <a:lnTo>
                    <a:pt x="123075" y="589166"/>
                  </a:lnTo>
                  <a:lnTo>
                    <a:pt x="123126" y="588569"/>
                  </a:lnTo>
                  <a:lnTo>
                    <a:pt x="123126" y="589166"/>
                  </a:lnTo>
                  <a:lnTo>
                    <a:pt x="123177" y="588569"/>
                  </a:lnTo>
                  <a:lnTo>
                    <a:pt x="123278" y="588569"/>
                  </a:lnTo>
                  <a:lnTo>
                    <a:pt x="123316" y="589166"/>
                  </a:lnTo>
                  <a:lnTo>
                    <a:pt x="123863" y="589166"/>
                  </a:lnTo>
                  <a:lnTo>
                    <a:pt x="123863" y="588569"/>
                  </a:lnTo>
                  <a:lnTo>
                    <a:pt x="124015" y="588569"/>
                  </a:lnTo>
                  <a:lnTo>
                    <a:pt x="124066" y="589166"/>
                  </a:lnTo>
                  <a:lnTo>
                    <a:pt x="124167" y="588569"/>
                  </a:lnTo>
                  <a:lnTo>
                    <a:pt x="124167" y="589166"/>
                  </a:lnTo>
                  <a:lnTo>
                    <a:pt x="124320" y="589166"/>
                  </a:lnTo>
                  <a:lnTo>
                    <a:pt x="124409" y="588569"/>
                  </a:lnTo>
                  <a:lnTo>
                    <a:pt x="125412" y="588569"/>
                  </a:lnTo>
                  <a:lnTo>
                    <a:pt x="125450" y="589166"/>
                  </a:lnTo>
                  <a:lnTo>
                    <a:pt x="125552" y="588569"/>
                  </a:lnTo>
                  <a:lnTo>
                    <a:pt x="125755" y="588569"/>
                  </a:lnTo>
                  <a:lnTo>
                    <a:pt x="125806" y="589166"/>
                  </a:lnTo>
                  <a:lnTo>
                    <a:pt x="125857" y="588569"/>
                  </a:lnTo>
                  <a:lnTo>
                    <a:pt x="126047" y="588569"/>
                  </a:lnTo>
                  <a:lnTo>
                    <a:pt x="126047" y="589166"/>
                  </a:lnTo>
                  <a:lnTo>
                    <a:pt x="126098" y="588569"/>
                  </a:lnTo>
                  <a:lnTo>
                    <a:pt x="126149" y="589166"/>
                  </a:lnTo>
                  <a:lnTo>
                    <a:pt x="126250" y="588569"/>
                  </a:lnTo>
                  <a:lnTo>
                    <a:pt x="126453" y="588569"/>
                  </a:lnTo>
                  <a:lnTo>
                    <a:pt x="126453" y="589166"/>
                  </a:lnTo>
                  <a:lnTo>
                    <a:pt x="126542" y="589166"/>
                  </a:lnTo>
                  <a:lnTo>
                    <a:pt x="126593" y="590499"/>
                  </a:lnTo>
                  <a:lnTo>
                    <a:pt x="126695" y="590499"/>
                  </a:lnTo>
                  <a:lnTo>
                    <a:pt x="126746" y="589166"/>
                  </a:lnTo>
                  <a:lnTo>
                    <a:pt x="126746" y="590499"/>
                  </a:lnTo>
                  <a:lnTo>
                    <a:pt x="126796" y="589166"/>
                  </a:lnTo>
                  <a:lnTo>
                    <a:pt x="126796" y="590499"/>
                  </a:lnTo>
                  <a:lnTo>
                    <a:pt x="127190" y="590499"/>
                  </a:lnTo>
                  <a:lnTo>
                    <a:pt x="127241" y="591147"/>
                  </a:lnTo>
                  <a:lnTo>
                    <a:pt x="127241" y="590499"/>
                  </a:lnTo>
                  <a:lnTo>
                    <a:pt x="127342" y="591147"/>
                  </a:lnTo>
                  <a:lnTo>
                    <a:pt x="127685" y="591147"/>
                  </a:lnTo>
                  <a:lnTo>
                    <a:pt x="127685" y="590499"/>
                  </a:lnTo>
                  <a:lnTo>
                    <a:pt x="127736" y="589166"/>
                  </a:lnTo>
                  <a:lnTo>
                    <a:pt x="127736" y="587921"/>
                  </a:lnTo>
                  <a:lnTo>
                    <a:pt x="128079" y="587921"/>
                  </a:lnTo>
                  <a:lnTo>
                    <a:pt x="128130" y="588569"/>
                  </a:lnTo>
                  <a:lnTo>
                    <a:pt x="128130" y="589166"/>
                  </a:lnTo>
                  <a:lnTo>
                    <a:pt x="128181" y="588569"/>
                  </a:lnTo>
                  <a:lnTo>
                    <a:pt x="128282" y="588569"/>
                  </a:lnTo>
                  <a:lnTo>
                    <a:pt x="128282" y="587921"/>
                  </a:lnTo>
                  <a:lnTo>
                    <a:pt x="128333" y="586588"/>
                  </a:lnTo>
                  <a:lnTo>
                    <a:pt x="128384" y="587223"/>
                  </a:lnTo>
                  <a:lnTo>
                    <a:pt x="128485" y="587921"/>
                  </a:lnTo>
                  <a:lnTo>
                    <a:pt x="128485" y="588569"/>
                  </a:lnTo>
                  <a:lnTo>
                    <a:pt x="128536" y="587921"/>
                  </a:lnTo>
                  <a:lnTo>
                    <a:pt x="128587" y="587921"/>
                  </a:lnTo>
                  <a:lnTo>
                    <a:pt x="128587" y="587223"/>
                  </a:lnTo>
                  <a:lnTo>
                    <a:pt x="128777" y="587223"/>
                  </a:lnTo>
                  <a:lnTo>
                    <a:pt x="128828" y="587921"/>
                  </a:lnTo>
                  <a:lnTo>
                    <a:pt x="128981" y="587921"/>
                  </a:lnTo>
                  <a:lnTo>
                    <a:pt x="128981" y="588569"/>
                  </a:lnTo>
                  <a:lnTo>
                    <a:pt x="129082" y="588569"/>
                  </a:lnTo>
                  <a:lnTo>
                    <a:pt x="129171" y="589166"/>
                  </a:lnTo>
                  <a:lnTo>
                    <a:pt x="129222" y="588569"/>
                  </a:lnTo>
                  <a:lnTo>
                    <a:pt x="129273" y="588569"/>
                  </a:lnTo>
                  <a:lnTo>
                    <a:pt x="129324" y="589166"/>
                  </a:lnTo>
                  <a:lnTo>
                    <a:pt x="129324" y="588569"/>
                  </a:lnTo>
                  <a:lnTo>
                    <a:pt x="129425" y="588569"/>
                  </a:lnTo>
                  <a:lnTo>
                    <a:pt x="129476" y="587921"/>
                  </a:lnTo>
                  <a:lnTo>
                    <a:pt x="129527" y="588569"/>
                  </a:lnTo>
                  <a:lnTo>
                    <a:pt x="129628" y="589166"/>
                  </a:lnTo>
                  <a:lnTo>
                    <a:pt x="129628" y="588569"/>
                  </a:lnTo>
                  <a:lnTo>
                    <a:pt x="129870" y="588569"/>
                  </a:lnTo>
                  <a:lnTo>
                    <a:pt x="129870" y="587921"/>
                  </a:lnTo>
                  <a:lnTo>
                    <a:pt x="129921" y="588569"/>
                  </a:lnTo>
                  <a:lnTo>
                    <a:pt x="130175" y="588569"/>
                  </a:lnTo>
                  <a:lnTo>
                    <a:pt x="130175" y="589166"/>
                  </a:lnTo>
                  <a:lnTo>
                    <a:pt x="130365" y="589166"/>
                  </a:lnTo>
                  <a:lnTo>
                    <a:pt x="130416" y="588569"/>
                  </a:lnTo>
                  <a:lnTo>
                    <a:pt x="130568" y="588569"/>
                  </a:lnTo>
                  <a:lnTo>
                    <a:pt x="130619" y="587921"/>
                  </a:lnTo>
                  <a:lnTo>
                    <a:pt x="131013" y="587921"/>
                  </a:lnTo>
                  <a:lnTo>
                    <a:pt x="131013" y="587223"/>
                  </a:lnTo>
                  <a:lnTo>
                    <a:pt x="131064" y="587223"/>
                  </a:lnTo>
                  <a:lnTo>
                    <a:pt x="131064" y="587921"/>
                  </a:lnTo>
                  <a:lnTo>
                    <a:pt x="131114" y="587921"/>
                  </a:lnTo>
                  <a:lnTo>
                    <a:pt x="131114" y="588569"/>
                  </a:lnTo>
                  <a:lnTo>
                    <a:pt x="131902" y="588569"/>
                  </a:lnTo>
                  <a:lnTo>
                    <a:pt x="131952" y="587921"/>
                  </a:lnTo>
                  <a:lnTo>
                    <a:pt x="132003" y="587921"/>
                  </a:lnTo>
                  <a:lnTo>
                    <a:pt x="132003" y="588569"/>
                  </a:lnTo>
                  <a:lnTo>
                    <a:pt x="132257" y="588569"/>
                  </a:lnTo>
                  <a:lnTo>
                    <a:pt x="132257" y="589166"/>
                  </a:lnTo>
                  <a:lnTo>
                    <a:pt x="132397" y="589166"/>
                  </a:lnTo>
                  <a:lnTo>
                    <a:pt x="132397" y="590499"/>
                  </a:lnTo>
                  <a:lnTo>
                    <a:pt x="132448" y="589166"/>
                  </a:lnTo>
                  <a:lnTo>
                    <a:pt x="132499" y="589166"/>
                  </a:lnTo>
                  <a:lnTo>
                    <a:pt x="132600" y="588569"/>
                  </a:lnTo>
                  <a:lnTo>
                    <a:pt x="132600" y="589166"/>
                  </a:lnTo>
                  <a:lnTo>
                    <a:pt x="132943" y="589166"/>
                  </a:lnTo>
                  <a:lnTo>
                    <a:pt x="133045" y="590499"/>
                  </a:lnTo>
                  <a:lnTo>
                    <a:pt x="133248" y="590499"/>
                  </a:lnTo>
                  <a:lnTo>
                    <a:pt x="133350" y="591795"/>
                  </a:lnTo>
                  <a:lnTo>
                    <a:pt x="133540" y="591795"/>
                  </a:lnTo>
                  <a:lnTo>
                    <a:pt x="133540" y="591147"/>
                  </a:lnTo>
                  <a:lnTo>
                    <a:pt x="133591" y="591147"/>
                  </a:lnTo>
                  <a:lnTo>
                    <a:pt x="133591" y="589166"/>
                  </a:lnTo>
                  <a:lnTo>
                    <a:pt x="133692" y="588569"/>
                  </a:lnTo>
                  <a:lnTo>
                    <a:pt x="133743" y="588569"/>
                  </a:lnTo>
                  <a:lnTo>
                    <a:pt x="133743" y="587921"/>
                  </a:lnTo>
                  <a:lnTo>
                    <a:pt x="133794" y="588569"/>
                  </a:lnTo>
                  <a:lnTo>
                    <a:pt x="133794" y="587921"/>
                  </a:lnTo>
                  <a:lnTo>
                    <a:pt x="133845" y="587921"/>
                  </a:lnTo>
                  <a:lnTo>
                    <a:pt x="133934" y="587223"/>
                  </a:lnTo>
                  <a:lnTo>
                    <a:pt x="133934" y="587921"/>
                  </a:lnTo>
                  <a:lnTo>
                    <a:pt x="134035" y="587921"/>
                  </a:lnTo>
                  <a:lnTo>
                    <a:pt x="134086" y="588569"/>
                  </a:lnTo>
                  <a:lnTo>
                    <a:pt x="134188" y="589166"/>
                  </a:lnTo>
                  <a:lnTo>
                    <a:pt x="134188" y="588569"/>
                  </a:lnTo>
                  <a:lnTo>
                    <a:pt x="134239" y="587921"/>
                  </a:lnTo>
                  <a:lnTo>
                    <a:pt x="134239" y="587223"/>
                  </a:lnTo>
                  <a:lnTo>
                    <a:pt x="134429" y="587223"/>
                  </a:lnTo>
                  <a:lnTo>
                    <a:pt x="134429" y="587921"/>
                  </a:lnTo>
                  <a:lnTo>
                    <a:pt x="134531" y="587921"/>
                  </a:lnTo>
                  <a:lnTo>
                    <a:pt x="134531" y="587223"/>
                  </a:lnTo>
                  <a:lnTo>
                    <a:pt x="134632" y="587223"/>
                  </a:lnTo>
                  <a:lnTo>
                    <a:pt x="134683" y="587921"/>
                  </a:lnTo>
                  <a:lnTo>
                    <a:pt x="134937" y="587921"/>
                  </a:lnTo>
                  <a:lnTo>
                    <a:pt x="134975" y="588569"/>
                  </a:lnTo>
                  <a:lnTo>
                    <a:pt x="135280" y="588569"/>
                  </a:lnTo>
                  <a:lnTo>
                    <a:pt x="135280" y="587921"/>
                  </a:lnTo>
                  <a:lnTo>
                    <a:pt x="135331" y="588569"/>
                  </a:lnTo>
                  <a:lnTo>
                    <a:pt x="135382" y="588569"/>
                  </a:lnTo>
                  <a:lnTo>
                    <a:pt x="135432" y="589166"/>
                  </a:lnTo>
                  <a:lnTo>
                    <a:pt x="135572" y="589166"/>
                  </a:lnTo>
                  <a:lnTo>
                    <a:pt x="135572" y="588569"/>
                  </a:lnTo>
                  <a:lnTo>
                    <a:pt x="135775" y="588569"/>
                  </a:lnTo>
                  <a:lnTo>
                    <a:pt x="135775" y="589166"/>
                  </a:lnTo>
                  <a:lnTo>
                    <a:pt x="135826" y="588569"/>
                  </a:lnTo>
                  <a:lnTo>
                    <a:pt x="135877" y="589166"/>
                  </a:lnTo>
                  <a:lnTo>
                    <a:pt x="135978" y="588569"/>
                  </a:lnTo>
                  <a:lnTo>
                    <a:pt x="136525" y="588569"/>
                  </a:lnTo>
                  <a:lnTo>
                    <a:pt x="136525" y="587921"/>
                  </a:lnTo>
                  <a:lnTo>
                    <a:pt x="136664" y="587921"/>
                  </a:lnTo>
                  <a:lnTo>
                    <a:pt x="136715" y="588569"/>
                  </a:lnTo>
                  <a:lnTo>
                    <a:pt x="136918" y="588569"/>
                  </a:lnTo>
                  <a:lnTo>
                    <a:pt x="136969" y="587921"/>
                  </a:lnTo>
                  <a:lnTo>
                    <a:pt x="137566" y="587921"/>
                  </a:lnTo>
                  <a:lnTo>
                    <a:pt x="137566" y="588569"/>
                  </a:lnTo>
                  <a:lnTo>
                    <a:pt x="137604" y="587921"/>
                  </a:lnTo>
                  <a:lnTo>
                    <a:pt x="137655" y="588569"/>
                  </a:lnTo>
                  <a:lnTo>
                    <a:pt x="137807" y="588569"/>
                  </a:lnTo>
                  <a:lnTo>
                    <a:pt x="137858" y="587921"/>
                  </a:lnTo>
                  <a:lnTo>
                    <a:pt x="137858" y="588569"/>
                  </a:lnTo>
                  <a:lnTo>
                    <a:pt x="138112" y="588569"/>
                  </a:lnTo>
                  <a:lnTo>
                    <a:pt x="138112" y="589166"/>
                  </a:lnTo>
                  <a:lnTo>
                    <a:pt x="138150" y="588569"/>
                  </a:lnTo>
                  <a:lnTo>
                    <a:pt x="138557" y="588569"/>
                  </a:lnTo>
                  <a:lnTo>
                    <a:pt x="138607" y="589166"/>
                  </a:lnTo>
                  <a:lnTo>
                    <a:pt x="138798" y="589166"/>
                  </a:lnTo>
                  <a:lnTo>
                    <a:pt x="138798" y="590499"/>
                  </a:lnTo>
                  <a:lnTo>
                    <a:pt x="139242" y="590499"/>
                  </a:lnTo>
                  <a:lnTo>
                    <a:pt x="139242" y="591147"/>
                  </a:lnTo>
                  <a:lnTo>
                    <a:pt x="139395" y="591147"/>
                  </a:lnTo>
                  <a:lnTo>
                    <a:pt x="139446" y="590499"/>
                  </a:lnTo>
                  <a:lnTo>
                    <a:pt x="139496" y="590499"/>
                  </a:lnTo>
                  <a:lnTo>
                    <a:pt x="139598" y="591147"/>
                  </a:lnTo>
                  <a:lnTo>
                    <a:pt x="139649" y="590499"/>
                  </a:lnTo>
                  <a:lnTo>
                    <a:pt x="139700" y="588569"/>
                  </a:lnTo>
                  <a:lnTo>
                    <a:pt x="139738" y="587921"/>
                  </a:lnTo>
                  <a:lnTo>
                    <a:pt x="139890" y="587921"/>
                  </a:lnTo>
                  <a:lnTo>
                    <a:pt x="139941" y="587223"/>
                  </a:lnTo>
                  <a:lnTo>
                    <a:pt x="140042" y="587223"/>
                  </a:lnTo>
                  <a:lnTo>
                    <a:pt x="140042" y="587921"/>
                  </a:lnTo>
                  <a:lnTo>
                    <a:pt x="140195" y="587921"/>
                  </a:lnTo>
                  <a:lnTo>
                    <a:pt x="140195" y="589166"/>
                  </a:lnTo>
                  <a:lnTo>
                    <a:pt x="140284" y="589166"/>
                  </a:lnTo>
                  <a:lnTo>
                    <a:pt x="140284" y="588569"/>
                  </a:lnTo>
                  <a:lnTo>
                    <a:pt x="140334" y="587921"/>
                  </a:lnTo>
                  <a:lnTo>
                    <a:pt x="140385" y="587223"/>
                  </a:lnTo>
                  <a:lnTo>
                    <a:pt x="140385" y="586588"/>
                  </a:lnTo>
                  <a:lnTo>
                    <a:pt x="140436" y="587223"/>
                  </a:lnTo>
                  <a:lnTo>
                    <a:pt x="140639" y="587223"/>
                  </a:lnTo>
                  <a:lnTo>
                    <a:pt x="140741" y="586588"/>
                  </a:lnTo>
                  <a:lnTo>
                    <a:pt x="140830" y="586588"/>
                  </a:lnTo>
                  <a:lnTo>
                    <a:pt x="140830" y="587223"/>
                  </a:lnTo>
                  <a:lnTo>
                    <a:pt x="140881" y="587223"/>
                  </a:lnTo>
                  <a:lnTo>
                    <a:pt x="140881" y="587921"/>
                  </a:lnTo>
                  <a:lnTo>
                    <a:pt x="140982" y="587921"/>
                  </a:lnTo>
                  <a:lnTo>
                    <a:pt x="141033" y="588569"/>
                  </a:lnTo>
                  <a:lnTo>
                    <a:pt x="141477" y="588569"/>
                  </a:lnTo>
                  <a:lnTo>
                    <a:pt x="141528" y="587921"/>
                  </a:lnTo>
                  <a:lnTo>
                    <a:pt x="141630" y="587921"/>
                  </a:lnTo>
                  <a:lnTo>
                    <a:pt x="141681" y="588569"/>
                  </a:lnTo>
                  <a:lnTo>
                    <a:pt x="141871" y="588569"/>
                  </a:lnTo>
                  <a:lnTo>
                    <a:pt x="141922" y="587921"/>
                  </a:lnTo>
                  <a:lnTo>
                    <a:pt x="142024" y="587921"/>
                  </a:lnTo>
                  <a:lnTo>
                    <a:pt x="142024" y="588569"/>
                  </a:lnTo>
                  <a:lnTo>
                    <a:pt x="142227" y="588569"/>
                  </a:lnTo>
                  <a:lnTo>
                    <a:pt x="142227" y="589166"/>
                  </a:lnTo>
                  <a:lnTo>
                    <a:pt x="142328" y="589166"/>
                  </a:lnTo>
                  <a:lnTo>
                    <a:pt x="142328" y="588569"/>
                  </a:lnTo>
                  <a:lnTo>
                    <a:pt x="142366" y="588569"/>
                  </a:lnTo>
                  <a:lnTo>
                    <a:pt x="142417" y="587921"/>
                  </a:lnTo>
                  <a:lnTo>
                    <a:pt x="142570" y="587921"/>
                  </a:lnTo>
                  <a:lnTo>
                    <a:pt x="142621" y="587223"/>
                  </a:lnTo>
                  <a:lnTo>
                    <a:pt x="143065" y="587223"/>
                  </a:lnTo>
                  <a:lnTo>
                    <a:pt x="143065" y="587921"/>
                  </a:lnTo>
                  <a:lnTo>
                    <a:pt x="143509" y="587921"/>
                  </a:lnTo>
                  <a:lnTo>
                    <a:pt x="143560" y="588569"/>
                  </a:lnTo>
                  <a:lnTo>
                    <a:pt x="143560" y="587921"/>
                  </a:lnTo>
                  <a:lnTo>
                    <a:pt x="144005" y="587921"/>
                  </a:lnTo>
                  <a:lnTo>
                    <a:pt x="144056" y="588569"/>
                  </a:lnTo>
                  <a:lnTo>
                    <a:pt x="144056" y="587921"/>
                  </a:lnTo>
                  <a:lnTo>
                    <a:pt x="144157" y="588569"/>
                  </a:lnTo>
                  <a:lnTo>
                    <a:pt x="144411" y="588569"/>
                  </a:lnTo>
                  <a:lnTo>
                    <a:pt x="144411" y="589166"/>
                  </a:lnTo>
                  <a:lnTo>
                    <a:pt x="144500" y="589166"/>
                  </a:lnTo>
                  <a:lnTo>
                    <a:pt x="144500" y="588569"/>
                  </a:lnTo>
                  <a:lnTo>
                    <a:pt x="144602" y="588569"/>
                  </a:lnTo>
                  <a:lnTo>
                    <a:pt x="144652" y="589166"/>
                  </a:lnTo>
                  <a:lnTo>
                    <a:pt x="145097" y="589166"/>
                  </a:lnTo>
                  <a:lnTo>
                    <a:pt x="145097" y="590499"/>
                  </a:lnTo>
                  <a:lnTo>
                    <a:pt x="145148" y="590499"/>
                  </a:lnTo>
                  <a:lnTo>
                    <a:pt x="145199" y="591147"/>
                  </a:lnTo>
                  <a:lnTo>
                    <a:pt x="145402" y="591147"/>
                  </a:lnTo>
                  <a:lnTo>
                    <a:pt x="145503" y="590499"/>
                  </a:lnTo>
                  <a:lnTo>
                    <a:pt x="145541" y="589166"/>
                  </a:lnTo>
                  <a:lnTo>
                    <a:pt x="145592" y="588569"/>
                  </a:lnTo>
                  <a:lnTo>
                    <a:pt x="145643" y="587921"/>
                  </a:lnTo>
                  <a:lnTo>
                    <a:pt x="145745" y="587921"/>
                  </a:lnTo>
                  <a:lnTo>
                    <a:pt x="145745" y="588569"/>
                  </a:lnTo>
                  <a:lnTo>
                    <a:pt x="145999" y="588569"/>
                  </a:lnTo>
                  <a:lnTo>
                    <a:pt x="145999" y="589166"/>
                  </a:lnTo>
                  <a:lnTo>
                    <a:pt x="146050" y="589166"/>
                  </a:lnTo>
                  <a:lnTo>
                    <a:pt x="146088" y="588569"/>
                  </a:lnTo>
                  <a:lnTo>
                    <a:pt x="146189" y="588569"/>
                  </a:lnTo>
                  <a:lnTo>
                    <a:pt x="146189" y="587223"/>
                  </a:lnTo>
                  <a:lnTo>
                    <a:pt x="146240" y="586588"/>
                  </a:lnTo>
                  <a:lnTo>
                    <a:pt x="146392" y="586588"/>
                  </a:lnTo>
                  <a:lnTo>
                    <a:pt x="146392" y="587223"/>
                  </a:lnTo>
                  <a:lnTo>
                    <a:pt x="146735" y="587223"/>
                  </a:lnTo>
                  <a:lnTo>
                    <a:pt x="146786" y="587921"/>
                  </a:lnTo>
                  <a:lnTo>
                    <a:pt x="146888" y="588569"/>
                  </a:lnTo>
                  <a:lnTo>
                    <a:pt x="146939" y="588569"/>
                  </a:lnTo>
                  <a:lnTo>
                    <a:pt x="146989" y="587921"/>
                  </a:lnTo>
                  <a:lnTo>
                    <a:pt x="147129" y="587921"/>
                  </a:lnTo>
                  <a:lnTo>
                    <a:pt x="147129" y="588569"/>
                  </a:lnTo>
                  <a:lnTo>
                    <a:pt x="147980" y="588569"/>
                  </a:lnTo>
                  <a:lnTo>
                    <a:pt x="148031" y="589166"/>
                  </a:lnTo>
                  <a:lnTo>
                    <a:pt x="148031" y="588569"/>
                  </a:lnTo>
                  <a:lnTo>
                    <a:pt x="148082" y="588569"/>
                  </a:lnTo>
                  <a:lnTo>
                    <a:pt x="148082" y="587921"/>
                  </a:lnTo>
                  <a:lnTo>
                    <a:pt x="148678" y="587921"/>
                  </a:lnTo>
                  <a:lnTo>
                    <a:pt x="148716" y="588569"/>
                  </a:lnTo>
                  <a:lnTo>
                    <a:pt x="148818" y="588569"/>
                  </a:lnTo>
                  <a:lnTo>
                    <a:pt x="148920" y="587921"/>
                  </a:lnTo>
                  <a:lnTo>
                    <a:pt x="148920" y="588569"/>
                  </a:lnTo>
                  <a:lnTo>
                    <a:pt x="148971" y="587921"/>
                  </a:lnTo>
                  <a:lnTo>
                    <a:pt x="149021" y="587921"/>
                  </a:lnTo>
                  <a:lnTo>
                    <a:pt x="149021" y="588569"/>
                  </a:lnTo>
                  <a:lnTo>
                    <a:pt x="149123" y="588569"/>
                  </a:lnTo>
                  <a:lnTo>
                    <a:pt x="149174" y="589166"/>
                  </a:lnTo>
                  <a:lnTo>
                    <a:pt x="149225" y="588569"/>
                  </a:lnTo>
                  <a:lnTo>
                    <a:pt x="149263" y="588569"/>
                  </a:lnTo>
                  <a:lnTo>
                    <a:pt x="149263" y="587921"/>
                  </a:lnTo>
                  <a:lnTo>
                    <a:pt x="149618" y="587921"/>
                  </a:lnTo>
                  <a:lnTo>
                    <a:pt x="149669" y="588569"/>
                  </a:lnTo>
                  <a:lnTo>
                    <a:pt x="149669" y="587921"/>
                  </a:lnTo>
                  <a:lnTo>
                    <a:pt x="149910" y="587921"/>
                  </a:lnTo>
                  <a:lnTo>
                    <a:pt x="149961" y="588569"/>
                  </a:lnTo>
                  <a:lnTo>
                    <a:pt x="150507" y="588569"/>
                  </a:lnTo>
                  <a:lnTo>
                    <a:pt x="150558" y="589166"/>
                  </a:lnTo>
                  <a:lnTo>
                    <a:pt x="150558" y="588569"/>
                  </a:lnTo>
                  <a:lnTo>
                    <a:pt x="150761" y="588569"/>
                  </a:lnTo>
                  <a:lnTo>
                    <a:pt x="150812" y="589166"/>
                  </a:lnTo>
                  <a:lnTo>
                    <a:pt x="150850" y="589166"/>
                  </a:lnTo>
                  <a:lnTo>
                    <a:pt x="150850" y="590499"/>
                  </a:lnTo>
                  <a:lnTo>
                    <a:pt x="151155" y="590499"/>
                  </a:lnTo>
                  <a:lnTo>
                    <a:pt x="151155" y="591147"/>
                  </a:lnTo>
                  <a:lnTo>
                    <a:pt x="151206" y="590499"/>
                  </a:lnTo>
                  <a:lnTo>
                    <a:pt x="151206" y="591147"/>
                  </a:lnTo>
                  <a:lnTo>
                    <a:pt x="151257" y="590499"/>
                  </a:lnTo>
                  <a:lnTo>
                    <a:pt x="151257" y="589166"/>
                  </a:lnTo>
                  <a:lnTo>
                    <a:pt x="151307" y="590499"/>
                  </a:lnTo>
                  <a:lnTo>
                    <a:pt x="151396" y="590499"/>
                  </a:lnTo>
                  <a:lnTo>
                    <a:pt x="151396" y="589166"/>
                  </a:lnTo>
                  <a:lnTo>
                    <a:pt x="151447" y="588569"/>
                  </a:lnTo>
                  <a:lnTo>
                    <a:pt x="151498" y="587921"/>
                  </a:lnTo>
                  <a:lnTo>
                    <a:pt x="151498" y="588569"/>
                  </a:lnTo>
                  <a:lnTo>
                    <a:pt x="151549" y="587921"/>
                  </a:lnTo>
                  <a:lnTo>
                    <a:pt x="151650" y="587223"/>
                  </a:lnTo>
                  <a:lnTo>
                    <a:pt x="151701" y="586588"/>
                  </a:lnTo>
                  <a:lnTo>
                    <a:pt x="151701" y="587223"/>
                  </a:lnTo>
                  <a:lnTo>
                    <a:pt x="151891" y="587223"/>
                  </a:lnTo>
                  <a:lnTo>
                    <a:pt x="151942" y="587921"/>
                  </a:lnTo>
                  <a:lnTo>
                    <a:pt x="151993" y="587921"/>
                  </a:lnTo>
                  <a:lnTo>
                    <a:pt x="152095" y="587223"/>
                  </a:lnTo>
                  <a:lnTo>
                    <a:pt x="152146" y="586588"/>
                  </a:lnTo>
                  <a:lnTo>
                    <a:pt x="152298" y="586588"/>
                  </a:lnTo>
                  <a:lnTo>
                    <a:pt x="152349" y="587223"/>
                  </a:lnTo>
                  <a:lnTo>
                    <a:pt x="152438" y="587223"/>
                  </a:lnTo>
                  <a:lnTo>
                    <a:pt x="152539" y="586588"/>
                  </a:lnTo>
                  <a:lnTo>
                    <a:pt x="152641" y="586588"/>
                  </a:lnTo>
                  <a:lnTo>
                    <a:pt x="152641" y="587223"/>
                  </a:lnTo>
                  <a:lnTo>
                    <a:pt x="152793" y="587223"/>
                  </a:lnTo>
                  <a:lnTo>
                    <a:pt x="152844" y="587921"/>
                  </a:lnTo>
                  <a:lnTo>
                    <a:pt x="153479" y="587921"/>
                  </a:lnTo>
                  <a:lnTo>
                    <a:pt x="153479" y="588569"/>
                  </a:lnTo>
                  <a:lnTo>
                    <a:pt x="153530" y="587921"/>
                  </a:lnTo>
                  <a:lnTo>
                    <a:pt x="153530" y="588569"/>
                  </a:lnTo>
                  <a:lnTo>
                    <a:pt x="153581" y="587921"/>
                  </a:lnTo>
                  <a:lnTo>
                    <a:pt x="153885" y="587921"/>
                  </a:lnTo>
                  <a:lnTo>
                    <a:pt x="153936" y="588569"/>
                  </a:lnTo>
                  <a:lnTo>
                    <a:pt x="154025" y="588569"/>
                  </a:lnTo>
                  <a:lnTo>
                    <a:pt x="154127" y="587921"/>
                  </a:lnTo>
                  <a:lnTo>
                    <a:pt x="154127" y="588569"/>
                  </a:lnTo>
                  <a:lnTo>
                    <a:pt x="154228" y="588569"/>
                  </a:lnTo>
                  <a:lnTo>
                    <a:pt x="154330" y="587921"/>
                  </a:lnTo>
                  <a:lnTo>
                    <a:pt x="154571" y="587921"/>
                  </a:lnTo>
                  <a:lnTo>
                    <a:pt x="154571" y="587223"/>
                  </a:lnTo>
                  <a:lnTo>
                    <a:pt x="154622" y="587921"/>
                  </a:lnTo>
                  <a:lnTo>
                    <a:pt x="154876" y="587921"/>
                  </a:lnTo>
                  <a:lnTo>
                    <a:pt x="154876" y="587223"/>
                  </a:lnTo>
                  <a:lnTo>
                    <a:pt x="154927" y="587921"/>
                  </a:lnTo>
                  <a:lnTo>
                    <a:pt x="155028" y="587223"/>
                  </a:lnTo>
                  <a:lnTo>
                    <a:pt x="155028" y="587921"/>
                  </a:lnTo>
                  <a:lnTo>
                    <a:pt x="155524" y="587921"/>
                  </a:lnTo>
                  <a:lnTo>
                    <a:pt x="155524" y="588569"/>
                  </a:lnTo>
                  <a:lnTo>
                    <a:pt x="155575" y="587921"/>
                  </a:lnTo>
                  <a:lnTo>
                    <a:pt x="156070" y="587921"/>
                  </a:lnTo>
                  <a:lnTo>
                    <a:pt x="156070" y="588569"/>
                  </a:lnTo>
                  <a:lnTo>
                    <a:pt x="156159" y="587921"/>
                  </a:lnTo>
                  <a:lnTo>
                    <a:pt x="156209" y="587921"/>
                  </a:lnTo>
                  <a:lnTo>
                    <a:pt x="156209" y="588569"/>
                  </a:lnTo>
                  <a:lnTo>
                    <a:pt x="156311" y="588569"/>
                  </a:lnTo>
                  <a:lnTo>
                    <a:pt x="156311" y="589166"/>
                  </a:lnTo>
                  <a:lnTo>
                    <a:pt x="156464" y="589166"/>
                  </a:lnTo>
                  <a:lnTo>
                    <a:pt x="156514" y="588569"/>
                  </a:lnTo>
                  <a:lnTo>
                    <a:pt x="156616" y="588569"/>
                  </a:lnTo>
                  <a:lnTo>
                    <a:pt x="156616" y="589166"/>
                  </a:lnTo>
                  <a:lnTo>
                    <a:pt x="156908" y="589166"/>
                  </a:lnTo>
                  <a:lnTo>
                    <a:pt x="156959" y="590499"/>
                  </a:lnTo>
                  <a:lnTo>
                    <a:pt x="157060" y="590499"/>
                  </a:lnTo>
                  <a:lnTo>
                    <a:pt x="157060" y="591147"/>
                  </a:lnTo>
                  <a:lnTo>
                    <a:pt x="157162" y="591147"/>
                  </a:lnTo>
                  <a:lnTo>
                    <a:pt x="157162" y="590499"/>
                  </a:lnTo>
                  <a:lnTo>
                    <a:pt x="157403" y="590499"/>
                  </a:lnTo>
                  <a:lnTo>
                    <a:pt x="157505" y="589166"/>
                  </a:lnTo>
                  <a:lnTo>
                    <a:pt x="157505" y="588569"/>
                  </a:lnTo>
                  <a:lnTo>
                    <a:pt x="157556" y="587921"/>
                  </a:lnTo>
                  <a:lnTo>
                    <a:pt x="157607" y="587223"/>
                  </a:lnTo>
                  <a:lnTo>
                    <a:pt x="157746" y="587223"/>
                  </a:lnTo>
                  <a:lnTo>
                    <a:pt x="157746" y="587921"/>
                  </a:lnTo>
                  <a:lnTo>
                    <a:pt x="157899" y="587921"/>
                  </a:lnTo>
                  <a:lnTo>
                    <a:pt x="157899" y="588569"/>
                  </a:lnTo>
                  <a:lnTo>
                    <a:pt x="158051" y="588569"/>
                  </a:lnTo>
                  <a:lnTo>
                    <a:pt x="158051" y="587921"/>
                  </a:lnTo>
                  <a:lnTo>
                    <a:pt x="158102" y="587921"/>
                  </a:lnTo>
                  <a:lnTo>
                    <a:pt x="158203" y="587223"/>
                  </a:lnTo>
                  <a:lnTo>
                    <a:pt x="158203" y="586588"/>
                  </a:lnTo>
                  <a:lnTo>
                    <a:pt x="158241" y="586588"/>
                  </a:lnTo>
                  <a:lnTo>
                    <a:pt x="158241" y="585242"/>
                  </a:lnTo>
                  <a:lnTo>
                    <a:pt x="158292" y="585242"/>
                  </a:lnTo>
                  <a:lnTo>
                    <a:pt x="158343" y="586588"/>
                  </a:lnTo>
                  <a:lnTo>
                    <a:pt x="158496" y="586588"/>
                  </a:lnTo>
                  <a:lnTo>
                    <a:pt x="158546" y="587223"/>
                  </a:lnTo>
                  <a:lnTo>
                    <a:pt x="158699" y="587223"/>
                  </a:lnTo>
                  <a:lnTo>
                    <a:pt x="158699" y="587921"/>
                  </a:lnTo>
                  <a:lnTo>
                    <a:pt x="158750" y="587921"/>
                  </a:lnTo>
                  <a:lnTo>
                    <a:pt x="158788" y="588569"/>
                  </a:lnTo>
                  <a:lnTo>
                    <a:pt x="158788" y="587921"/>
                  </a:lnTo>
                  <a:lnTo>
                    <a:pt x="159245" y="587921"/>
                  </a:lnTo>
                  <a:lnTo>
                    <a:pt x="159334" y="588569"/>
                  </a:lnTo>
                  <a:lnTo>
                    <a:pt x="159334" y="587921"/>
                  </a:lnTo>
                  <a:lnTo>
                    <a:pt x="159384" y="587921"/>
                  </a:lnTo>
                  <a:lnTo>
                    <a:pt x="159435" y="588569"/>
                  </a:lnTo>
                  <a:lnTo>
                    <a:pt x="159486" y="587921"/>
                  </a:lnTo>
                  <a:lnTo>
                    <a:pt x="159588" y="588569"/>
                  </a:lnTo>
                  <a:lnTo>
                    <a:pt x="159588" y="587921"/>
                  </a:lnTo>
                  <a:lnTo>
                    <a:pt x="159639" y="587921"/>
                  </a:lnTo>
                  <a:lnTo>
                    <a:pt x="159689" y="587223"/>
                  </a:lnTo>
                  <a:lnTo>
                    <a:pt x="159791" y="587921"/>
                  </a:lnTo>
                  <a:lnTo>
                    <a:pt x="160286" y="587921"/>
                  </a:lnTo>
                  <a:lnTo>
                    <a:pt x="160337" y="587223"/>
                  </a:lnTo>
                  <a:lnTo>
                    <a:pt x="160375" y="587921"/>
                  </a:lnTo>
                  <a:lnTo>
                    <a:pt x="160782" y="587921"/>
                  </a:lnTo>
                  <a:lnTo>
                    <a:pt x="160782" y="588569"/>
                  </a:lnTo>
                  <a:lnTo>
                    <a:pt x="160832" y="588569"/>
                  </a:lnTo>
                  <a:lnTo>
                    <a:pt x="160921" y="587921"/>
                  </a:lnTo>
                  <a:lnTo>
                    <a:pt x="161023" y="587921"/>
                  </a:lnTo>
                  <a:lnTo>
                    <a:pt x="161074" y="587223"/>
                  </a:lnTo>
                  <a:lnTo>
                    <a:pt x="161074" y="587921"/>
                  </a:lnTo>
                  <a:lnTo>
                    <a:pt x="161226" y="587921"/>
                  </a:lnTo>
                  <a:lnTo>
                    <a:pt x="161226" y="587223"/>
                  </a:lnTo>
                  <a:lnTo>
                    <a:pt x="161277" y="587223"/>
                  </a:lnTo>
                  <a:lnTo>
                    <a:pt x="161378" y="587921"/>
                  </a:lnTo>
                  <a:lnTo>
                    <a:pt x="161416" y="587223"/>
                  </a:lnTo>
                  <a:lnTo>
                    <a:pt x="161467" y="587921"/>
                  </a:lnTo>
                  <a:lnTo>
                    <a:pt x="161671" y="587921"/>
                  </a:lnTo>
                  <a:lnTo>
                    <a:pt x="161721" y="588569"/>
                  </a:lnTo>
                  <a:lnTo>
                    <a:pt x="161823" y="587921"/>
                  </a:lnTo>
                  <a:lnTo>
                    <a:pt x="161823" y="588569"/>
                  </a:lnTo>
                  <a:lnTo>
                    <a:pt x="161874" y="587921"/>
                  </a:lnTo>
                  <a:lnTo>
                    <a:pt x="161925" y="588569"/>
                  </a:lnTo>
                  <a:lnTo>
                    <a:pt x="161963" y="588569"/>
                  </a:lnTo>
                  <a:lnTo>
                    <a:pt x="161963" y="587921"/>
                  </a:lnTo>
                  <a:lnTo>
                    <a:pt x="162115" y="587921"/>
                  </a:lnTo>
                  <a:lnTo>
                    <a:pt x="162115" y="588569"/>
                  </a:lnTo>
                  <a:lnTo>
                    <a:pt x="162509" y="588569"/>
                  </a:lnTo>
                  <a:lnTo>
                    <a:pt x="162559" y="589166"/>
                  </a:lnTo>
                  <a:lnTo>
                    <a:pt x="162610" y="589166"/>
                  </a:lnTo>
                  <a:lnTo>
                    <a:pt x="162610" y="590499"/>
                  </a:lnTo>
                  <a:lnTo>
                    <a:pt x="162661" y="589166"/>
                  </a:lnTo>
                  <a:lnTo>
                    <a:pt x="162763" y="590499"/>
                  </a:lnTo>
                  <a:lnTo>
                    <a:pt x="162763" y="589166"/>
                  </a:lnTo>
                  <a:lnTo>
                    <a:pt x="162814" y="590499"/>
                  </a:lnTo>
                  <a:lnTo>
                    <a:pt x="162864" y="590499"/>
                  </a:lnTo>
                  <a:lnTo>
                    <a:pt x="162864" y="591147"/>
                  </a:lnTo>
                  <a:lnTo>
                    <a:pt x="162966" y="591147"/>
                  </a:lnTo>
                  <a:lnTo>
                    <a:pt x="162966" y="590499"/>
                  </a:lnTo>
                  <a:lnTo>
                    <a:pt x="163207" y="590499"/>
                  </a:lnTo>
                  <a:lnTo>
                    <a:pt x="163207" y="591147"/>
                  </a:lnTo>
                  <a:lnTo>
                    <a:pt x="163258" y="590499"/>
                  </a:lnTo>
                  <a:lnTo>
                    <a:pt x="163410" y="590499"/>
                  </a:lnTo>
                  <a:lnTo>
                    <a:pt x="163461" y="589166"/>
                  </a:lnTo>
                  <a:lnTo>
                    <a:pt x="163512" y="588569"/>
                  </a:lnTo>
                  <a:lnTo>
                    <a:pt x="163512" y="587223"/>
                  </a:lnTo>
                  <a:lnTo>
                    <a:pt x="163550" y="587223"/>
                  </a:lnTo>
                  <a:lnTo>
                    <a:pt x="163652" y="586588"/>
                  </a:lnTo>
                  <a:lnTo>
                    <a:pt x="163652" y="587223"/>
                  </a:lnTo>
                  <a:lnTo>
                    <a:pt x="163702" y="587223"/>
                  </a:lnTo>
                  <a:lnTo>
                    <a:pt x="163753" y="587921"/>
                  </a:lnTo>
                  <a:lnTo>
                    <a:pt x="163957" y="587921"/>
                  </a:lnTo>
                  <a:lnTo>
                    <a:pt x="164007" y="588569"/>
                  </a:lnTo>
                  <a:lnTo>
                    <a:pt x="164007" y="587921"/>
                  </a:lnTo>
                  <a:lnTo>
                    <a:pt x="164096" y="587921"/>
                  </a:lnTo>
                  <a:lnTo>
                    <a:pt x="164147" y="587223"/>
                  </a:lnTo>
                  <a:lnTo>
                    <a:pt x="164198" y="587223"/>
                  </a:lnTo>
                  <a:lnTo>
                    <a:pt x="164198" y="586588"/>
                  </a:lnTo>
                  <a:lnTo>
                    <a:pt x="164249" y="585242"/>
                  </a:lnTo>
                  <a:lnTo>
                    <a:pt x="164401" y="585242"/>
                  </a:lnTo>
                  <a:lnTo>
                    <a:pt x="164401" y="586588"/>
                  </a:lnTo>
                  <a:lnTo>
                    <a:pt x="164452" y="585242"/>
                  </a:lnTo>
                  <a:lnTo>
                    <a:pt x="164452" y="586588"/>
                  </a:lnTo>
                  <a:lnTo>
                    <a:pt x="164553" y="586588"/>
                  </a:lnTo>
                  <a:lnTo>
                    <a:pt x="164591" y="587223"/>
                  </a:lnTo>
                  <a:lnTo>
                    <a:pt x="164693" y="587223"/>
                  </a:lnTo>
                  <a:lnTo>
                    <a:pt x="164693" y="587921"/>
                  </a:lnTo>
                  <a:lnTo>
                    <a:pt x="164795" y="587921"/>
                  </a:lnTo>
                  <a:lnTo>
                    <a:pt x="164846" y="588569"/>
                  </a:lnTo>
                  <a:lnTo>
                    <a:pt x="164846" y="587921"/>
                  </a:lnTo>
                  <a:lnTo>
                    <a:pt x="165684" y="587921"/>
                  </a:lnTo>
                  <a:lnTo>
                    <a:pt x="165684" y="587223"/>
                  </a:lnTo>
                  <a:lnTo>
                    <a:pt x="165734" y="587921"/>
                  </a:lnTo>
                  <a:lnTo>
                    <a:pt x="165785" y="587921"/>
                  </a:lnTo>
                  <a:lnTo>
                    <a:pt x="165785" y="588569"/>
                  </a:lnTo>
                  <a:lnTo>
                    <a:pt x="165836" y="587921"/>
                  </a:lnTo>
                  <a:lnTo>
                    <a:pt x="165989" y="587921"/>
                  </a:lnTo>
                  <a:lnTo>
                    <a:pt x="165989" y="588569"/>
                  </a:lnTo>
                  <a:lnTo>
                    <a:pt x="166141" y="588569"/>
                  </a:lnTo>
                  <a:lnTo>
                    <a:pt x="166141" y="587921"/>
                  </a:lnTo>
                  <a:lnTo>
                    <a:pt x="166230" y="587921"/>
                  </a:lnTo>
                  <a:lnTo>
                    <a:pt x="166281" y="587223"/>
                  </a:lnTo>
                  <a:lnTo>
                    <a:pt x="166382" y="587223"/>
                  </a:lnTo>
                  <a:lnTo>
                    <a:pt x="166382" y="586588"/>
                  </a:lnTo>
                  <a:lnTo>
                    <a:pt x="166585" y="586588"/>
                  </a:lnTo>
                  <a:lnTo>
                    <a:pt x="166585" y="587223"/>
                  </a:lnTo>
                  <a:lnTo>
                    <a:pt x="166636" y="587223"/>
                  </a:lnTo>
                  <a:lnTo>
                    <a:pt x="166636" y="586588"/>
                  </a:lnTo>
                  <a:lnTo>
                    <a:pt x="166687" y="587223"/>
                  </a:lnTo>
                  <a:lnTo>
                    <a:pt x="166725" y="587223"/>
                  </a:lnTo>
                  <a:lnTo>
                    <a:pt x="166827" y="587921"/>
                  </a:lnTo>
                  <a:lnTo>
                    <a:pt x="167182" y="587921"/>
                  </a:lnTo>
                  <a:lnTo>
                    <a:pt x="167182" y="587223"/>
                  </a:lnTo>
                  <a:lnTo>
                    <a:pt x="167271" y="587223"/>
                  </a:lnTo>
                  <a:lnTo>
                    <a:pt x="167322" y="587921"/>
                  </a:lnTo>
                  <a:lnTo>
                    <a:pt x="167322" y="587223"/>
                  </a:lnTo>
                  <a:lnTo>
                    <a:pt x="167373" y="587921"/>
                  </a:lnTo>
                  <a:lnTo>
                    <a:pt x="167576" y="587921"/>
                  </a:lnTo>
                  <a:lnTo>
                    <a:pt x="167576" y="587223"/>
                  </a:lnTo>
                  <a:lnTo>
                    <a:pt x="167766" y="587223"/>
                  </a:lnTo>
                  <a:lnTo>
                    <a:pt x="167817" y="587921"/>
                  </a:lnTo>
                  <a:lnTo>
                    <a:pt x="167970" y="587921"/>
                  </a:lnTo>
                  <a:lnTo>
                    <a:pt x="168021" y="588569"/>
                  </a:lnTo>
                  <a:lnTo>
                    <a:pt x="168173" y="588569"/>
                  </a:lnTo>
                  <a:lnTo>
                    <a:pt x="168173" y="587921"/>
                  </a:lnTo>
                  <a:lnTo>
                    <a:pt x="168224" y="588569"/>
                  </a:lnTo>
                  <a:lnTo>
                    <a:pt x="168414" y="588569"/>
                  </a:lnTo>
                  <a:lnTo>
                    <a:pt x="168465" y="587921"/>
                  </a:lnTo>
                  <a:lnTo>
                    <a:pt x="168516" y="587921"/>
                  </a:lnTo>
                  <a:lnTo>
                    <a:pt x="168617" y="588569"/>
                  </a:lnTo>
                  <a:lnTo>
                    <a:pt x="168770" y="588569"/>
                  </a:lnTo>
                  <a:lnTo>
                    <a:pt x="168770" y="589166"/>
                  </a:lnTo>
                  <a:lnTo>
                    <a:pt x="168859" y="589166"/>
                  </a:lnTo>
                  <a:lnTo>
                    <a:pt x="168859" y="590499"/>
                  </a:lnTo>
                  <a:lnTo>
                    <a:pt x="169011" y="590499"/>
                  </a:lnTo>
                  <a:lnTo>
                    <a:pt x="169113" y="589166"/>
                  </a:lnTo>
                  <a:lnTo>
                    <a:pt x="169113" y="590499"/>
                  </a:lnTo>
                  <a:lnTo>
                    <a:pt x="169354" y="590499"/>
                  </a:lnTo>
                  <a:lnTo>
                    <a:pt x="169354" y="589166"/>
                  </a:lnTo>
                  <a:lnTo>
                    <a:pt x="169405" y="588569"/>
                  </a:lnTo>
                  <a:lnTo>
                    <a:pt x="169405" y="587921"/>
                  </a:lnTo>
                  <a:lnTo>
                    <a:pt x="169456" y="587223"/>
                  </a:lnTo>
                  <a:lnTo>
                    <a:pt x="169557" y="586588"/>
                  </a:lnTo>
                  <a:lnTo>
                    <a:pt x="169608" y="587223"/>
                  </a:lnTo>
                  <a:lnTo>
                    <a:pt x="169659" y="587223"/>
                  </a:lnTo>
                  <a:lnTo>
                    <a:pt x="169760" y="587921"/>
                  </a:lnTo>
                  <a:lnTo>
                    <a:pt x="169811" y="587921"/>
                  </a:lnTo>
                  <a:lnTo>
                    <a:pt x="169862" y="588569"/>
                  </a:lnTo>
                  <a:lnTo>
                    <a:pt x="169900" y="588569"/>
                  </a:lnTo>
                  <a:lnTo>
                    <a:pt x="170002" y="587921"/>
                  </a:lnTo>
                  <a:lnTo>
                    <a:pt x="170002" y="587223"/>
                  </a:lnTo>
                  <a:lnTo>
                    <a:pt x="170052" y="586588"/>
                  </a:lnTo>
                  <a:lnTo>
                    <a:pt x="170103" y="586588"/>
                  </a:lnTo>
                  <a:lnTo>
                    <a:pt x="170205" y="587223"/>
                  </a:lnTo>
                  <a:lnTo>
                    <a:pt x="170205" y="586588"/>
                  </a:lnTo>
                  <a:lnTo>
                    <a:pt x="170256" y="586588"/>
                  </a:lnTo>
                  <a:lnTo>
                    <a:pt x="170307" y="587223"/>
                  </a:lnTo>
                  <a:lnTo>
                    <a:pt x="170599" y="587223"/>
                  </a:lnTo>
                  <a:lnTo>
                    <a:pt x="170599" y="587921"/>
                  </a:lnTo>
                  <a:lnTo>
                    <a:pt x="170700" y="588569"/>
                  </a:lnTo>
                  <a:lnTo>
                    <a:pt x="170751" y="587921"/>
                  </a:lnTo>
                  <a:lnTo>
                    <a:pt x="170903" y="587921"/>
                  </a:lnTo>
                  <a:lnTo>
                    <a:pt x="170903" y="588569"/>
                  </a:lnTo>
                  <a:lnTo>
                    <a:pt x="170941" y="588569"/>
                  </a:lnTo>
                  <a:lnTo>
                    <a:pt x="170941" y="587921"/>
                  </a:lnTo>
                  <a:lnTo>
                    <a:pt x="171196" y="587921"/>
                  </a:lnTo>
                  <a:lnTo>
                    <a:pt x="171196" y="588569"/>
                  </a:lnTo>
                  <a:lnTo>
                    <a:pt x="171348" y="588569"/>
                  </a:lnTo>
                  <a:lnTo>
                    <a:pt x="171399" y="587921"/>
                  </a:lnTo>
                  <a:lnTo>
                    <a:pt x="171691" y="587921"/>
                  </a:lnTo>
                  <a:lnTo>
                    <a:pt x="171792" y="587223"/>
                  </a:lnTo>
                  <a:lnTo>
                    <a:pt x="171792" y="587921"/>
                  </a:lnTo>
                  <a:lnTo>
                    <a:pt x="172186" y="587921"/>
                  </a:lnTo>
                  <a:lnTo>
                    <a:pt x="172288" y="587223"/>
                  </a:lnTo>
                  <a:lnTo>
                    <a:pt x="172339" y="587223"/>
                  </a:lnTo>
                  <a:lnTo>
                    <a:pt x="172389" y="587921"/>
                  </a:lnTo>
                  <a:lnTo>
                    <a:pt x="172783" y="587921"/>
                  </a:lnTo>
                  <a:lnTo>
                    <a:pt x="172834" y="587223"/>
                  </a:lnTo>
                  <a:lnTo>
                    <a:pt x="173037" y="587223"/>
                  </a:lnTo>
                  <a:lnTo>
                    <a:pt x="173075" y="587921"/>
                  </a:lnTo>
                  <a:lnTo>
                    <a:pt x="173227" y="587921"/>
                  </a:lnTo>
                  <a:lnTo>
                    <a:pt x="173227" y="587223"/>
                  </a:lnTo>
                  <a:lnTo>
                    <a:pt x="173431" y="587223"/>
                  </a:lnTo>
                  <a:lnTo>
                    <a:pt x="173431" y="587921"/>
                  </a:lnTo>
                  <a:lnTo>
                    <a:pt x="173482" y="587223"/>
                  </a:lnTo>
                  <a:lnTo>
                    <a:pt x="173621" y="587223"/>
                  </a:lnTo>
                  <a:lnTo>
                    <a:pt x="173672" y="587921"/>
                  </a:lnTo>
                  <a:lnTo>
                    <a:pt x="173977" y="587921"/>
                  </a:lnTo>
                  <a:lnTo>
                    <a:pt x="173977" y="588569"/>
                  </a:lnTo>
                  <a:lnTo>
                    <a:pt x="174078" y="587921"/>
                  </a:lnTo>
                  <a:lnTo>
                    <a:pt x="174167" y="587921"/>
                  </a:lnTo>
                  <a:lnTo>
                    <a:pt x="174218" y="588569"/>
                  </a:lnTo>
                  <a:lnTo>
                    <a:pt x="174320" y="588569"/>
                  </a:lnTo>
                  <a:lnTo>
                    <a:pt x="174320" y="587921"/>
                  </a:lnTo>
                  <a:lnTo>
                    <a:pt x="174421" y="587921"/>
                  </a:lnTo>
                  <a:lnTo>
                    <a:pt x="174421" y="588569"/>
                  </a:lnTo>
                  <a:lnTo>
                    <a:pt x="174625" y="588569"/>
                  </a:lnTo>
                  <a:lnTo>
                    <a:pt x="174663" y="589166"/>
                  </a:lnTo>
                  <a:lnTo>
                    <a:pt x="174815" y="589166"/>
                  </a:lnTo>
                  <a:lnTo>
                    <a:pt x="174815" y="590499"/>
                  </a:lnTo>
                  <a:lnTo>
                    <a:pt x="175120" y="590499"/>
                  </a:lnTo>
                  <a:lnTo>
                    <a:pt x="175120" y="589166"/>
                  </a:lnTo>
                  <a:lnTo>
                    <a:pt x="175209" y="588569"/>
                  </a:lnTo>
                  <a:lnTo>
                    <a:pt x="175209" y="587921"/>
                  </a:lnTo>
                  <a:lnTo>
                    <a:pt x="175259" y="587223"/>
                  </a:lnTo>
                  <a:lnTo>
                    <a:pt x="175310" y="586588"/>
                  </a:lnTo>
                  <a:lnTo>
                    <a:pt x="175361" y="586588"/>
                  </a:lnTo>
                  <a:lnTo>
                    <a:pt x="175361" y="587223"/>
                  </a:lnTo>
                  <a:lnTo>
                    <a:pt x="175463" y="587223"/>
                  </a:lnTo>
                  <a:lnTo>
                    <a:pt x="175463" y="587921"/>
                  </a:lnTo>
                  <a:lnTo>
                    <a:pt x="175704" y="587921"/>
                  </a:lnTo>
                  <a:lnTo>
                    <a:pt x="175704" y="587223"/>
                  </a:lnTo>
                  <a:lnTo>
                    <a:pt x="175755" y="586588"/>
                  </a:lnTo>
                  <a:lnTo>
                    <a:pt x="175806" y="586588"/>
                  </a:lnTo>
                  <a:lnTo>
                    <a:pt x="175806" y="585242"/>
                  </a:lnTo>
                  <a:lnTo>
                    <a:pt x="175907" y="586588"/>
                  </a:lnTo>
                  <a:lnTo>
                    <a:pt x="176110" y="586588"/>
                  </a:lnTo>
                  <a:lnTo>
                    <a:pt x="176110" y="587223"/>
                  </a:lnTo>
                  <a:lnTo>
                    <a:pt x="176161" y="586588"/>
                  </a:lnTo>
                  <a:lnTo>
                    <a:pt x="176161" y="587223"/>
                  </a:lnTo>
                  <a:lnTo>
                    <a:pt x="176212" y="586588"/>
                  </a:lnTo>
                  <a:lnTo>
                    <a:pt x="176352" y="586588"/>
                  </a:lnTo>
                  <a:lnTo>
                    <a:pt x="176352" y="587223"/>
                  </a:lnTo>
                  <a:lnTo>
                    <a:pt x="176402" y="586588"/>
                  </a:lnTo>
                  <a:lnTo>
                    <a:pt x="176402" y="587223"/>
                  </a:lnTo>
                  <a:lnTo>
                    <a:pt x="176453" y="587921"/>
                  </a:lnTo>
                  <a:lnTo>
                    <a:pt x="176657" y="587921"/>
                  </a:lnTo>
                  <a:lnTo>
                    <a:pt x="176707" y="588569"/>
                  </a:lnTo>
                  <a:lnTo>
                    <a:pt x="176707" y="587921"/>
                  </a:lnTo>
                  <a:lnTo>
                    <a:pt x="176847" y="587921"/>
                  </a:lnTo>
                  <a:lnTo>
                    <a:pt x="176898" y="588569"/>
                  </a:lnTo>
                  <a:lnTo>
                    <a:pt x="177050" y="588569"/>
                  </a:lnTo>
                  <a:lnTo>
                    <a:pt x="177101" y="587921"/>
                  </a:lnTo>
                  <a:lnTo>
                    <a:pt x="177152" y="587921"/>
                  </a:lnTo>
                  <a:lnTo>
                    <a:pt x="177152" y="588569"/>
                  </a:lnTo>
                  <a:lnTo>
                    <a:pt x="177253" y="587921"/>
                  </a:lnTo>
                  <a:lnTo>
                    <a:pt x="177291" y="588569"/>
                  </a:lnTo>
                  <a:lnTo>
                    <a:pt x="177291" y="587921"/>
                  </a:lnTo>
                  <a:lnTo>
                    <a:pt x="177342" y="587921"/>
                  </a:lnTo>
                  <a:lnTo>
                    <a:pt x="177342" y="588569"/>
                  </a:lnTo>
                  <a:lnTo>
                    <a:pt x="177393" y="587921"/>
                  </a:lnTo>
                  <a:lnTo>
                    <a:pt x="177495" y="588569"/>
                  </a:lnTo>
                  <a:lnTo>
                    <a:pt x="177838" y="588569"/>
                  </a:lnTo>
                  <a:lnTo>
                    <a:pt x="177838" y="587921"/>
                  </a:lnTo>
                  <a:lnTo>
                    <a:pt x="177939" y="587921"/>
                  </a:lnTo>
                  <a:lnTo>
                    <a:pt x="177939" y="587223"/>
                  </a:lnTo>
                  <a:lnTo>
                    <a:pt x="178142" y="587223"/>
                  </a:lnTo>
                  <a:lnTo>
                    <a:pt x="178193" y="587921"/>
                  </a:lnTo>
                  <a:lnTo>
                    <a:pt x="178295" y="587921"/>
                  </a:lnTo>
                  <a:lnTo>
                    <a:pt x="178384" y="587223"/>
                  </a:lnTo>
                  <a:lnTo>
                    <a:pt x="178434" y="587921"/>
                  </a:lnTo>
                  <a:lnTo>
                    <a:pt x="178689" y="587921"/>
                  </a:lnTo>
                  <a:lnTo>
                    <a:pt x="178689" y="588569"/>
                  </a:lnTo>
                  <a:lnTo>
                    <a:pt x="178739" y="587921"/>
                  </a:lnTo>
                  <a:lnTo>
                    <a:pt x="178981" y="587921"/>
                  </a:lnTo>
                  <a:lnTo>
                    <a:pt x="178981" y="587223"/>
                  </a:lnTo>
                  <a:lnTo>
                    <a:pt x="179082" y="587921"/>
                  </a:lnTo>
                  <a:lnTo>
                    <a:pt x="179425" y="587921"/>
                  </a:lnTo>
                  <a:lnTo>
                    <a:pt x="179425" y="588569"/>
                  </a:lnTo>
                  <a:lnTo>
                    <a:pt x="179527" y="587921"/>
                  </a:lnTo>
                  <a:lnTo>
                    <a:pt x="179527" y="588569"/>
                  </a:lnTo>
                  <a:lnTo>
                    <a:pt x="179628" y="588569"/>
                  </a:lnTo>
                  <a:lnTo>
                    <a:pt x="179628" y="589166"/>
                  </a:lnTo>
                  <a:lnTo>
                    <a:pt x="179730" y="589166"/>
                  </a:lnTo>
                  <a:lnTo>
                    <a:pt x="179781" y="588569"/>
                  </a:lnTo>
                  <a:lnTo>
                    <a:pt x="179882" y="588569"/>
                  </a:lnTo>
                  <a:lnTo>
                    <a:pt x="179882" y="589166"/>
                  </a:lnTo>
                  <a:lnTo>
                    <a:pt x="179971" y="589166"/>
                  </a:lnTo>
                  <a:lnTo>
                    <a:pt x="180022" y="588569"/>
                  </a:lnTo>
                  <a:lnTo>
                    <a:pt x="180073" y="588569"/>
                  </a:lnTo>
                  <a:lnTo>
                    <a:pt x="180073" y="587921"/>
                  </a:lnTo>
                  <a:lnTo>
                    <a:pt x="180124" y="588569"/>
                  </a:lnTo>
                  <a:lnTo>
                    <a:pt x="180327" y="588569"/>
                  </a:lnTo>
                  <a:lnTo>
                    <a:pt x="180327" y="589166"/>
                  </a:lnTo>
                  <a:lnTo>
                    <a:pt x="180428" y="589166"/>
                  </a:lnTo>
                  <a:lnTo>
                    <a:pt x="180428" y="590499"/>
                  </a:lnTo>
                  <a:lnTo>
                    <a:pt x="180466" y="589166"/>
                  </a:lnTo>
                  <a:lnTo>
                    <a:pt x="180517" y="589166"/>
                  </a:lnTo>
                  <a:lnTo>
                    <a:pt x="180568" y="590499"/>
                  </a:lnTo>
                  <a:lnTo>
                    <a:pt x="180670" y="591147"/>
                  </a:lnTo>
                  <a:lnTo>
                    <a:pt x="180670" y="590499"/>
                  </a:lnTo>
                  <a:lnTo>
                    <a:pt x="180721" y="590499"/>
                  </a:lnTo>
                  <a:lnTo>
                    <a:pt x="180721" y="591147"/>
                  </a:lnTo>
                  <a:lnTo>
                    <a:pt x="180873" y="591147"/>
                  </a:lnTo>
                  <a:lnTo>
                    <a:pt x="180873" y="590499"/>
                  </a:lnTo>
                  <a:lnTo>
                    <a:pt x="180975" y="590499"/>
                  </a:lnTo>
                  <a:lnTo>
                    <a:pt x="180975" y="591147"/>
                  </a:lnTo>
                  <a:lnTo>
                    <a:pt x="181013" y="590499"/>
                  </a:lnTo>
                  <a:lnTo>
                    <a:pt x="181114" y="590499"/>
                  </a:lnTo>
                  <a:lnTo>
                    <a:pt x="181114" y="591147"/>
                  </a:lnTo>
                  <a:lnTo>
                    <a:pt x="181165" y="591147"/>
                  </a:lnTo>
                  <a:lnTo>
                    <a:pt x="181216" y="590499"/>
                  </a:lnTo>
                  <a:lnTo>
                    <a:pt x="181216" y="587921"/>
                  </a:lnTo>
                  <a:lnTo>
                    <a:pt x="181317" y="587921"/>
                  </a:lnTo>
                  <a:lnTo>
                    <a:pt x="181317" y="587223"/>
                  </a:lnTo>
                  <a:lnTo>
                    <a:pt x="181368" y="587921"/>
                  </a:lnTo>
                  <a:lnTo>
                    <a:pt x="181559" y="587921"/>
                  </a:lnTo>
                  <a:lnTo>
                    <a:pt x="181559" y="588569"/>
                  </a:lnTo>
                  <a:lnTo>
                    <a:pt x="181660" y="588569"/>
                  </a:lnTo>
                  <a:lnTo>
                    <a:pt x="181711" y="589166"/>
                  </a:lnTo>
                  <a:lnTo>
                    <a:pt x="181813" y="590499"/>
                  </a:lnTo>
                  <a:lnTo>
                    <a:pt x="181813" y="589166"/>
                  </a:lnTo>
                  <a:lnTo>
                    <a:pt x="181864" y="588569"/>
                  </a:lnTo>
                  <a:lnTo>
                    <a:pt x="181864" y="587921"/>
                  </a:lnTo>
                  <a:lnTo>
                    <a:pt x="181914" y="587223"/>
                  </a:lnTo>
                  <a:lnTo>
                    <a:pt x="182054" y="587223"/>
                  </a:lnTo>
                  <a:lnTo>
                    <a:pt x="182105" y="586588"/>
                  </a:lnTo>
                  <a:lnTo>
                    <a:pt x="182257" y="586588"/>
                  </a:lnTo>
                  <a:lnTo>
                    <a:pt x="182257" y="587223"/>
                  </a:lnTo>
                  <a:lnTo>
                    <a:pt x="182308" y="587223"/>
                  </a:lnTo>
                  <a:lnTo>
                    <a:pt x="182359" y="587921"/>
                  </a:lnTo>
                  <a:lnTo>
                    <a:pt x="182511" y="587921"/>
                  </a:lnTo>
                  <a:lnTo>
                    <a:pt x="182511" y="588569"/>
                  </a:lnTo>
                  <a:lnTo>
                    <a:pt x="182956" y="588569"/>
                  </a:lnTo>
                  <a:lnTo>
                    <a:pt x="183007" y="587921"/>
                  </a:lnTo>
                  <a:lnTo>
                    <a:pt x="183007" y="588569"/>
                  </a:lnTo>
                  <a:lnTo>
                    <a:pt x="183299" y="588569"/>
                  </a:lnTo>
                  <a:lnTo>
                    <a:pt x="183299" y="587921"/>
                  </a:lnTo>
                  <a:lnTo>
                    <a:pt x="183743" y="587921"/>
                  </a:lnTo>
                  <a:lnTo>
                    <a:pt x="183743" y="588569"/>
                  </a:lnTo>
                  <a:lnTo>
                    <a:pt x="184099" y="588569"/>
                  </a:lnTo>
                  <a:lnTo>
                    <a:pt x="184150" y="587921"/>
                  </a:lnTo>
                  <a:lnTo>
                    <a:pt x="184492" y="587921"/>
                  </a:lnTo>
                  <a:lnTo>
                    <a:pt x="184492" y="588569"/>
                  </a:lnTo>
                  <a:lnTo>
                    <a:pt x="184543" y="587921"/>
                  </a:lnTo>
                  <a:lnTo>
                    <a:pt x="184543" y="588569"/>
                  </a:lnTo>
                  <a:lnTo>
                    <a:pt x="184594" y="588569"/>
                  </a:lnTo>
                  <a:lnTo>
                    <a:pt x="184594" y="587921"/>
                  </a:lnTo>
                  <a:lnTo>
                    <a:pt x="185039" y="587921"/>
                  </a:lnTo>
                  <a:lnTo>
                    <a:pt x="185089" y="588569"/>
                  </a:lnTo>
                  <a:lnTo>
                    <a:pt x="185089" y="587921"/>
                  </a:lnTo>
                  <a:lnTo>
                    <a:pt x="185686" y="587921"/>
                  </a:lnTo>
                  <a:lnTo>
                    <a:pt x="185737" y="588569"/>
                  </a:lnTo>
                  <a:lnTo>
                    <a:pt x="185775" y="588569"/>
                  </a:lnTo>
                  <a:lnTo>
                    <a:pt x="185877" y="589166"/>
                  </a:lnTo>
                  <a:lnTo>
                    <a:pt x="185978" y="589166"/>
                  </a:lnTo>
                  <a:lnTo>
                    <a:pt x="186080" y="588569"/>
                  </a:lnTo>
                  <a:lnTo>
                    <a:pt x="186080" y="589166"/>
                  </a:lnTo>
                  <a:lnTo>
                    <a:pt x="186131" y="589166"/>
                  </a:lnTo>
                  <a:lnTo>
                    <a:pt x="186131" y="588569"/>
                  </a:lnTo>
                  <a:lnTo>
                    <a:pt x="186182" y="589166"/>
                  </a:lnTo>
                  <a:lnTo>
                    <a:pt x="186321" y="589166"/>
                  </a:lnTo>
                  <a:lnTo>
                    <a:pt x="186321" y="590499"/>
                  </a:lnTo>
                  <a:lnTo>
                    <a:pt x="186372" y="589166"/>
                  </a:lnTo>
                  <a:lnTo>
                    <a:pt x="186423" y="590499"/>
                  </a:lnTo>
                  <a:lnTo>
                    <a:pt x="186575" y="590499"/>
                  </a:lnTo>
                  <a:lnTo>
                    <a:pt x="186626" y="589166"/>
                  </a:lnTo>
                  <a:lnTo>
                    <a:pt x="186626" y="590499"/>
                  </a:lnTo>
                  <a:lnTo>
                    <a:pt x="186918" y="590499"/>
                  </a:lnTo>
                  <a:lnTo>
                    <a:pt x="186918" y="589166"/>
                  </a:lnTo>
                  <a:lnTo>
                    <a:pt x="187020" y="589166"/>
                  </a:lnTo>
                  <a:lnTo>
                    <a:pt x="187071" y="588569"/>
                  </a:lnTo>
                  <a:lnTo>
                    <a:pt x="187071" y="587921"/>
                  </a:lnTo>
                  <a:lnTo>
                    <a:pt x="187325" y="587921"/>
                  </a:lnTo>
                  <a:lnTo>
                    <a:pt x="187363" y="588569"/>
                  </a:lnTo>
                  <a:lnTo>
                    <a:pt x="187464" y="589166"/>
                  </a:lnTo>
                  <a:lnTo>
                    <a:pt x="187667" y="589166"/>
                  </a:lnTo>
                  <a:lnTo>
                    <a:pt x="187667" y="588569"/>
                  </a:lnTo>
                  <a:lnTo>
                    <a:pt x="187718" y="587921"/>
                  </a:lnTo>
                  <a:lnTo>
                    <a:pt x="187718" y="587223"/>
                  </a:lnTo>
                  <a:lnTo>
                    <a:pt x="187769" y="586588"/>
                  </a:lnTo>
                  <a:lnTo>
                    <a:pt x="187820" y="587223"/>
                  </a:lnTo>
                  <a:lnTo>
                    <a:pt x="187909" y="586588"/>
                  </a:lnTo>
                  <a:lnTo>
                    <a:pt x="188163" y="586588"/>
                  </a:lnTo>
                  <a:lnTo>
                    <a:pt x="188163" y="587223"/>
                  </a:lnTo>
                  <a:lnTo>
                    <a:pt x="188214" y="586588"/>
                  </a:lnTo>
                  <a:lnTo>
                    <a:pt x="188214" y="587223"/>
                  </a:lnTo>
                  <a:lnTo>
                    <a:pt x="188264" y="587223"/>
                  </a:lnTo>
                  <a:lnTo>
                    <a:pt x="188366" y="587921"/>
                  </a:lnTo>
                  <a:lnTo>
                    <a:pt x="188404" y="587921"/>
                  </a:lnTo>
                  <a:lnTo>
                    <a:pt x="188404" y="588569"/>
                  </a:lnTo>
                  <a:lnTo>
                    <a:pt x="188506" y="588569"/>
                  </a:lnTo>
                  <a:lnTo>
                    <a:pt x="188506" y="587921"/>
                  </a:lnTo>
                  <a:lnTo>
                    <a:pt x="188607" y="587921"/>
                  </a:lnTo>
                  <a:lnTo>
                    <a:pt x="188658" y="588569"/>
                  </a:lnTo>
                  <a:lnTo>
                    <a:pt x="188810" y="588569"/>
                  </a:lnTo>
                  <a:lnTo>
                    <a:pt x="188810" y="587921"/>
                  </a:lnTo>
                  <a:lnTo>
                    <a:pt x="188861" y="587921"/>
                  </a:lnTo>
                  <a:lnTo>
                    <a:pt x="188861" y="588569"/>
                  </a:lnTo>
                  <a:lnTo>
                    <a:pt x="188912" y="587921"/>
                  </a:lnTo>
                  <a:lnTo>
                    <a:pt x="189052" y="587921"/>
                  </a:lnTo>
                  <a:lnTo>
                    <a:pt x="189102" y="588569"/>
                  </a:lnTo>
                  <a:lnTo>
                    <a:pt x="189255" y="588569"/>
                  </a:lnTo>
                  <a:lnTo>
                    <a:pt x="189306" y="587921"/>
                  </a:lnTo>
                  <a:lnTo>
                    <a:pt x="189357" y="588569"/>
                  </a:lnTo>
                  <a:lnTo>
                    <a:pt x="189357" y="587921"/>
                  </a:lnTo>
                  <a:lnTo>
                    <a:pt x="189407" y="587921"/>
                  </a:lnTo>
                  <a:lnTo>
                    <a:pt x="189407" y="588569"/>
                  </a:lnTo>
                  <a:lnTo>
                    <a:pt x="189750" y="588569"/>
                  </a:lnTo>
                  <a:lnTo>
                    <a:pt x="189801" y="589166"/>
                  </a:lnTo>
                  <a:lnTo>
                    <a:pt x="189801" y="588569"/>
                  </a:lnTo>
                  <a:lnTo>
                    <a:pt x="189852" y="588569"/>
                  </a:lnTo>
                  <a:lnTo>
                    <a:pt x="189953" y="587921"/>
                  </a:lnTo>
                  <a:lnTo>
                    <a:pt x="189991" y="587223"/>
                  </a:lnTo>
                  <a:lnTo>
                    <a:pt x="189991" y="587921"/>
                  </a:lnTo>
                  <a:lnTo>
                    <a:pt x="190093" y="587921"/>
                  </a:lnTo>
                  <a:lnTo>
                    <a:pt x="190195" y="587223"/>
                  </a:lnTo>
                  <a:lnTo>
                    <a:pt x="190296" y="587223"/>
                  </a:lnTo>
                  <a:lnTo>
                    <a:pt x="190296" y="587921"/>
                  </a:lnTo>
                  <a:lnTo>
                    <a:pt x="190449" y="587921"/>
                  </a:lnTo>
                  <a:lnTo>
                    <a:pt x="190500" y="588569"/>
                  </a:lnTo>
                  <a:lnTo>
                    <a:pt x="190538" y="587921"/>
                  </a:lnTo>
                  <a:lnTo>
                    <a:pt x="190538" y="588569"/>
                  </a:lnTo>
                  <a:lnTo>
                    <a:pt x="190639" y="588569"/>
                  </a:lnTo>
                  <a:lnTo>
                    <a:pt x="190639" y="587921"/>
                  </a:lnTo>
                  <a:lnTo>
                    <a:pt x="190893" y="587921"/>
                  </a:lnTo>
                  <a:lnTo>
                    <a:pt x="190893" y="588569"/>
                  </a:lnTo>
                  <a:lnTo>
                    <a:pt x="191236" y="588569"/>
                  </a:lnTo>
                  <a:lnTo>
                    <a:pt x="191236" y="587921"/>
                  </a:lnTo>
                  <a:lnTo>
                    <a:pt x="191541" y="587921"/>
                  </a:lnTo>
                  <a:lnTo>
                    <a:pt x="191541" y="588569"/>
                  </a:lnTo>
                  <a:lnTo>
                    <a:pt x="191630" y="588569"/>
                  </a:lnTo>
                  <a:lnTo>
                    <a:pt x="191630" y="587921"/>
                  </a:lnTo>
                  <a:lnTo>
                    <a:pt x="191782" y="587921"/>
                  </a:lnTo>
                  <a:lnTo>
                    <a:pt x="191782" y="588569"/>
                  </a:lnTo>
                  <a:lnTo>
                    <a:pt x="191833" y="588569"/>
                  </a:lnTo>
                  <a:lnTo>
                    <a:pt x="191884" y="589166"/>
                  </a:lnTo>
                  <a:lnTo>
                    <a:pt x="191884" y="588569"/>
                  </a:lnTo>
                  <a:lnTo>
                    <a:pt x="191985" y="588569"/>
                  </a:lnTo>
                  <a:lnTo>
                    <a:pt x="191985" y="589166"/>
                  </a:lnTo>
                  <a:lnTo>
                    <a:pt x="192430" y="589166"/>
                  </a:lnTo>
                  <a:lnTo>
                    <a:pt x="192430" y="590499"/>
                  </a:lnTo>
                  <a:lnTo>
                    <a:pt x="192532" y="590499"/>
                  </a:lnTo>
                  <a:lnTo>
                    <a:pt x="192582" y="591147"/>
                  </a:lnTo>
                  <a:lnTo>
                    <a:pt x="192671" y="591147"/>
                  </a:lnTo>
                  <a:lnTo>
                    <a:pt x="192671" y="590499"/>
                  </a:lnTo>
                  <a:lnTo>
                    <a:pt x="192773" y="590499"/>
                  </a:lnTo>
                  <a:lnTo>
                    <a:pt x="192824" y="589166"/>
                  </a:lnTo>
                  <a:lnTo>
                    <a:pt x="192824" y="588569"/>
                  </a:lnTo>
                  <a:lnTo>
                    <a:pt x="192925" y="587921"/>
                  </a:lnTo>
                  <a:lnTo>
                    <a:pt x="192976" y="587223"/>
                  </a:lnTo>
                  <a:lnTo>
                    <a:pt x="193128" y="587223"/>
                  </a:lnTo>
                  <a:lnTo>
                    <a:pt x="193128" y="586588"/>
                  </a:lnTo>
                  <a:lnTo>
                    <a:pt x="193166" y="587223"/>
                  </a:lnTo>
                  <a:lnTo>
                    <a:pt x="193166" y="586588"/>
                  </a:lnTo>
                  <a:lnTo>
                    <a:pt x="193217" y="587223"/>
                  </a:lnTo>
                  <a:lnTo>
                    <a:pt x="193268" y="587223"/>
                  </a:lnTo>
                  <a:lnTo>
                    <a:pt x="193370" y="587921"/>
                  </a:lnTo>
                  <a:lnTo>
                    <a:pt x="193421" y="587921"/>
                  </a:lnTo>
                  <a:lnTo>
                    <a:pt x="193421" y="587223"/>
                  </a:lnTo>
                  <a:lnTo>
                    <a:pt x="193471" y="587223"/>
                  </a:lnTo>
                  <a:lnTo>
                    <a:pt x="193471" y="586588"/>
                  </a:lnTo>
                  <a:lnTo>
                    <a:pt x="193675" y="586588"/>
                  </a:lnTo>
                  <a:lnTo>
                    <a:pt x="193675" y="587223"/>
                  </a:lnTo>
                  <a:lnTo>
                    <a:pt x="194068" y="587223"/>
                  </a:lnTo>
                  <a:lnTo>
                    <a:pt x="194119" y="587921"/>
                  </a:lnTo>
                  <a:lnTo>
                    <a:pt x="194309" y="587921"/>
                  </a:lnTo>
                  <a:lnTo>
                    <a:pt x="194309" y="588569"/>
                  </a:lnTo>
                  <a:lnTo>
                    <a:pt x="194411" y="588569"/>
                  </a:lnTo>
                  <a:lnTo>
                    <a:pt x="194513" y="587921"/>
                  </a:lnTo>
                  <a:lnTo>
                    <a:pt x="194513" y="588569"/>
                  </a:lnTo>
                  <a:lnTo>
                    <a:pt x="194564" y="587921"/>
                  </a:lnTo>
                  <a:lnTo>
                    <a:pt x="195757" y="587921"/>
                  </a:lnTo>
                  <a:lnTo>
                    <a:pt x="195846" y="588569"/>
                  </a:lnTo>
                  <a:lnTo>
                    <a:pt x="195846" y="587921"/>
                  </a:lnTo>
                  <a:lnTo>
                    <a:pt x="195999" y="587921"/>
                  </a:lnTo>
                  <a:lnTo>
                    <a:pt x="195999" y="588569"/>
                  </a:lnTo>
                  <a:lnTo>
                    <a:pt x="196202" y="588569"/>
                  </a:lnTo>
                  <a:lnTo>
                    <a:pt x="196202" y="587921"/>
                  </a:lnTo>
                  <a:lnTo>
                    <a:pt x="196646" y="587921"/>
                  </a:lnTo>
                  <a:lnTo>
                    <a:pt x="196748" y="588569"/>
                  </a:lnTo>
                  <a:lnTo>
                    <a:pt x="196799" y="588569"/>
                  </a:lnTo>
                  <a:lnTo>
                    <a:pt x="196799" y="587921"/>
                  </a:lnTo>
                  <a:lnTo>
                    <a:pt x="196888" y="587921"/>
                  </a:lnTo>
                  <a:lnTo>
                    <a:pt x="196989" y="588569"/>
                  </a:lnTo>
                  <a:lnTo>
                    <a:pt x="197294" y="588569"/>
                  </a:lnTo>
                  <a:lnTo>
                    <a:pt x="197294" y="587921"/>
                  </a:lnTo>
                  <a:lnTo>
                    <a:pt x="197345" y="588569"/>
                  </a:lnTo>
                  <a:lnTo>
                    <a:pt x="197484" y="588569"/>
                  </a:lnTo>
                  <a:lnTo>
                    <a:pt x="197535" y="589166"/>
                  </a:lnTo>
                  <a:lnTo>
                    <a:pt x="197739" y="589166"/>
                  </a:lnTo>
                  <a:lnTo>
                    <a:pt x="197739" y="588569"/>
                  </a:lnTo>
                  <a:lnTo>
                    <a:pt x="197789" y="589166"/>
                  </a:lnTo>
                  <a:lnTo>
                    <a:pt x="198132" y="589166"/>
                  </a:lnTo>
                  <a:lnTo>
                    <a:pt x="198183" y="590499"/>
                  </a:lnTo>
                  <a:lnTo>
                    <a:pt x="198386" y="590499"/>
                  </a:lnTo>
                  <a:lnTo>
                    <a:pt x="198437" y="591147"/>
                  </a:lnTo>
                  <a:lnTo>
                    <a:pt x="198678" y="591147"/>
                  </a:lnTo>
                  <a:lnTo>
                    <a:pt x="198780" y="590499"/>
                  </a:lnTo>
                  <a:lnTo>
                    <a:pt x="198780" y="589166"/>
                  </a:lnTo>
                  <a:lnTo>
                    <a:pt x="198831" y="588569"/>
                  </a:lnTo>
                  <a:lnTo>
                    <a:pt x="198831" y="587921"/>
                  </a:lnTo>
                  <a:lnTo>
                    <a:pt x="198882" y="587921"/>
                  </a:lnTo>
                  <a:lnTo>
                    <a:pt x="198882" y="587223"/>
                  </a:lnTo>
                  <a:lnTo>
                    <a:pt x="198932" y="587223"/>
                  </a:lnTo>
                  <a:lnTo>
                    <a:pt x="198932" y="586588"/>
                  </a:lnTo>
                  <a:lnTo>
                    <a:pt x="199072" y="586588"/>
                  </a:lnTo>
                  <a:lnTo>
                    <a:pt x="199072" y="587223"/>
                  </a:lnTo>
                  <a:lnTo>
                    <a:pt x="199123" y="587223"/>
                  </a:lnTo>
                  <a:lnTo>
                    <a:pt x="199123" y="587921"/>
                  </a:lnTo>
                  <a:lnTo>
                    <a:pt x="199174" y="587921"/>
                  </a:lnTo>
                  <a:lnTo>
                    <a:pt x="199275" y="588569"/>
                  </a:lnTo>
                  <a:lnTo>
                    <a:pt x="199275" y="587921"/>
                  </a:lnTo>
                  <a:lnTo>
                    <a:pt x="199377" y="587921"/>
                  </a:lnTo>
                  <a:lnTo>
                    <a:pt x="199377" y="587223"/>
                  </a:lnTo>
                  <a:lnTo>
                    <a:pt x="199478" y="587223"/>
                  </a:lnTo>
                  <a:lnTo>
                    <a:pt x="199478" y="586588"/>
                  </a:lnTo>
                  <a:lnTo>
                    <a:pt x="199771" y="586588"/>
                  </a:lnTo>
                  <a:lnTo>
                    <a:pt x="199771" y="587223"/>
                  </a:lnTo>
                  <a:lnTo>
                    <a:pt x="199923" y="587223"/>
                  </a:lnTo>
                  <a:lnTo>
                    <a:pt x="199974" y="587921"/>
                  </a:lnTo>
                  <a:lnTo>
                    <a:pt x="200063" y="587921"/>
                  </a:lnTo>
                  <a:lnTo>
                    <a:pt x="200063" y="588569"/>
                  </a:lnTo>
                  <a:lnTo>
                    <a:pt x="200164" y="588569"/>
                  </a:lnTo>
                  <a:lnTo>
                    <a:pt x="200215" y="587921"/>
                  </a:lnTo>
                  <a:lnTo>
                    <a:pt x="200266" y="587921"/>
                  </a:lnTo>
                  <a:lnTo>
                    <a:pt x="200266" y="588569"/>
                  </a:lnTo>
                  <a:lnTo>
                    <a:pt x="200367" y="587921"/>
                  </a:lnTo>
                  <a:lnTo>
                    <a:pt x="200469" y="587921"/>
                  </a:lnTo>
                  <a:lnTo>
                    <a:pt x="200469" y="588569"/>
                  </a:lnTo>
                  <a:lnTo>
                    <a:pt x="200609" y="588569"/>
                  </a:lnTo>
                  <a:lnTo>
                    <a:pt x="200609" y="589166"/>
                  </a:lnTo>
                  <a:lnTo>
                    <a:pt x="200659" y="588569"/>
                  </a:lnTo>
                  <a:lnTo>
                    <a:pt x="200710" y="588569"/>
                  </a:lnTo>
                  <a:lnTo>
                    <a:pt x="200710" y="587921"/>
                  </a:lnTo>
                  <a:lnTo>
                    <a:pt x="201155" y="587921"/>
                  </a:lnTo>
                  <a:lnTo>
                    <a:pt x="201155" y="588569"/>
                  </a:lnTo>
                  <a:lnTo>
                    <a:pt x="201206" y="588569"/>
                  </a:lnTo>
                  <a:lnTo>
                    <a:pt x="201307" y="589166"/>
                  </a:lnTo>
                  <a:lnTo>
                    <a:pt x="201510" y="589166"/>
                  </a:lnTo>
                  <a:lnTo>
                    <a:pt x="201510" y="588569"/>
                  </a:lnTo>
                  <a:lnTo>
                    <a:pt x="201650" y="588569"/>
                  </a:lnTo>
                  <a:lnTo>
                    <a:pt x="201650" y="587921"/>
                  </a:lnTo>
                  <a:lnTo>
                    <a:pt x="201955" y="587921"/>
                  </a:lnTo>
                  <a:lnTo>
                    <a:pt x="201955" y="587223"/>
                  </a:lnTo>
                  <a:lnTo>
                    <a:pt x="202057" y="587223"/>
                  </a:lnTo>
                  <a:lnTo>
                    <a:pt x="202107" y="587921"/>
                  </a:lnTo>
                  <a:lnTo>
                    <a:pt x="202247" y="587921"/>
                  </a:lnTo>
                  <a:lnTo>
                    <a:pt x="202298" y="588569"/>
                  </a:lnTo>
                  <a:lnTo>
                    <a:pt x="202793" y="588569"/>
                  </a:lnTo>
                  <a:lnTo>
                    <a:pt x="202793" y="587921"/>
                  </a:lnTo>
                  <a:lnTo>
                    <a:pt x="202895" y="588569"/>
                  </a:lnTo>
                  <a:lnTo>
                    <a:pt x="202895" y="587921"/>
                  </a:lnTo>
                  <a:lnTo>
                    <a:pt x="202946" y="588569"/>
                  </a:lnTo>
                  <a:lnTo>
                    <a:pt x="203098" y="588569"/>
                  </a:lnTo>
                  <a:lnTo>
                    <a:pt x="203098" y="587921"/>
                  </a:lnTo>
                  <a:lnTo>
                    <a:pt x="203200" y="587921"/>
                  </a:lnTo>
                  <a:lnTo>
                    <a:pt x="203200" y="588569"/>
                  </a:lnTo>
                  <a:lnTo>
                    <a:pt x="203238" y="588569"/>
                  </a:lnTo>
                  <a:lnTo>
                    <a:pt x="203339" y="589166"/>
                  </a:lnTo>
                  <a:lnTo>
                    <a:pt x="203390" y="589166"/>
                  </a:lnTo>
                  <a:lnTo>
                    <a:pt x="203441" y="588569"/>
                  </a:lnTo>
                  <a:lnTo>
                    <a:pt x="203542" y="589166"/>
                  </a:lnTo>
                  <a:lnTo>
                    <a:pt x="203593" y="588569"/>
                  </a:lnTo>
                  <a:lnTo>
                    <a:pt x="203593" y="589166"/>
                  </a:lnTo>
                  <a:lnTo>
                    <a:pt x="203834" y="589166"/>
                  </a:lnTo>
                  <a:lnTo>
                    <a:pt x="203885" y="590499"/>
                  </a:lnTo>
                  <a:lnTo>
                    <a:pt x="203936" y="589166"/>
                  </a:lnTo>
                  <a:lnTo>
                    <a:pt x="204089" y="589166"/>
                  </a:lnTo>
                  <a:lnTo>
                    <a:pt x="204089" y="590499"/>
                  </a:lnTo>
                  <a:lnTo>
                    <a:pt x="204241" y="590499"/>
                  </a:lnTo>
                  <a:lnTo>
                    <a:pt x="204241" y="591147"/>
                  </a:lnTo>
                  <a:lnTo>
                    <a:pt x="204381" y="591147"/>
                  </a:lnTo>
                  <a:lnTo>
                    <a:pt x="204381" y="591795"/>
                  </a:lnTo>
                  <a:lnTo>
                    <a:pt x="204584" y="591795"/>
                  </a:lnTo>
                  <a:lnTo>
                    <a:pt x="204584" y="591147"/>
                  </a:lnTo>
                  <a:lnTo>
                    <a:pt x="204685" y="591147"/>
                  </a:lnTo>
                  <a:lnTo>
                    <a:pt x="204685" y="590499"/>
                  </a:lnTo>
                  <a:lnTo>
                    <a:pt x="204736" y="589166"/>
                  </a:lnTo>
                  <a:lnTo>
                    <a:pt x="204736" y="588569"/>
                  </a:lnTo>
                  <a:lnTo>
                    <a:pt x="204787" y="588569"/>
                  </a:lnTo>
                  <a:lnTo>
                    <a:pt x="204825" y="587921"/>
                  </a:lnTo>
                  <a:lnTo>
                    <a:pt x="204977" y="587921"/>
                  </a:lnTo>
                  <a:lnTo>
                    <a:pt x="205028" y="588569"/>
                  </a:lnTo>
                  <a:lnTo>
                    <a:pt x="205130" y="588569"/>
                  </a:lnTo>
                  <a:lnTo>
                    <a:pt x="205181" y="589166"/>
                  </a:lnTo>
                  <a:lnTo>
                    <a:pt x="205232" y="589166"/>
                  </a:lnTo>
                  <a:lnTo>
                    <a:pt x="205282" y="587921"/>
                  </a:lnTo>
                  <a:lnTo>
                    <a:pt x="205371" y="587223"/>
                  </a:lnTo>
                  <a:lnTo>
                    <a:pt x="205727" y="587223"/>
                  </a:lnTo>
                  <a:lnTo>
                    <a:pt x="205727" y="587921"/>
                  </a:lnTo>
                  <a:lnTo>
                    <a:pt x="205828" y="587921"/>
                  </a:lnTo>
                  <a:lnTo>
                    <a:pt x="205828" y="588569"/>
                  </a:lnTo>
                  <a:lnTo>
                    <a:pt x="206171" y="588569"/>
                  </a:lnTo>
                  <a:lnTo>
                    <a:pt x="206273" y="589166"/>
                  </a:lnTo>
                  <a:lnTo>
                    <a:pt x="206768" y="589166"/>
                  </a:lnTo>
                  <a:lnTo>
                    <a:pt x="206768" y="588569"/>
                  </a:lnTo>
                  <a:lnTo>
                    <a:pt x="207009" y="588569"/>
                  </a:lnTo>
                  <a:lnTo>
                    <a:pt x="207009" y="587921"/>
                  </a:lnTo>
                  <a:lnTo>
                    <a:pt x="207060" y="587921"/>
                  </a:lnTo>
                  <a:lnTo>
                    <a:pt x="207060" y="588569"/>
                  </a:lnTo>
                  <a:lnTo>
                    <a:pt x="207314" y="588569"/>
                  </a:lnTo>
                  <a:lnTo>
                    <a:pt x="207416" y="587921"/>
                  </a:lnTo>
                  <a:lnTo>
                    <a:pt x="207454" y="588569"/>
                  </a:lnTo>
                  <a:lnTo>
                    <a:pt x="207454" y="587921"/>
                  </a:lnTo>
                  <a:lnTo>
                    <a:pt x="207556" y="587921"/>
                  </a:lnTo>
                  <a:lnTo>
                    <a:pt x="207556" y="588569"/>
                  </a:lnTo>
                  <a:lnTo>
                    <a:pt x="207657" y="588569"/>
                  </a:lnTo>
                  <a:lnTo>
                    <a:pt x="207708" y="587921"/>
                  </a:lnTo>
                  <a:lnTo>
                    <a:pt x="207860" y="587921"/>
                  </a:lnTo>
                  <a:lnTo>
                    <a:pt x="207860" y="588569"/>
                  </a:lnTo>
                  <a:lnTo>
                    <a:pt x="208000" y="588569"/>
                  </a:lnTo>
                  <a:lnTo>
                    <a:pt x="208102" y="587921"/>
                  </a:lnTo>
                  <a:lnTo>
                    <a:pt x="208152" y="587921"/>
                  </a:lnTo>
                  <a:lnTo>
                    <a:pt x="208152" y="588569"/>
                  </a:lnTo>
                  <a:lnTo>
                    <a:pt x="208203" y="588569"/>
                  </a:lnTo>
                  <a:lnTo>
                    <a:pt x="208203" y="587921"/>
                  </a:lnTo>
                  <a:lnTo>
                    <a:pt x="208356" y="587921"/>
                  </a:lnTo>
                  <a:lnTo>
                    <a:pt x="208407" y="588569"/>
                  </a:lnTo>
                  <a:lnTo>
                    <a:pt x="208457" y="587921"/>
                  </a:lnTo>
                  <a:lnTo>
                    <a:pt x="208546" y="588569"/>
                  </a:lnTo>
                  <a:lnTo>
                    <a:pt x="208800" y="588569"/>
                  </a:lnTo>
                  <a:lnTo>
                    <a:pt x="208800" y="587921"/>
                  </a:lnTo>
                  <a:lnTo>
                    <a:pt x="208851" y="587921"/>
                  </a:lnTo>
                  <a:lnTo>
                    <a:pt x="208851" y="588569"/>
                  </a:lnTo>
                  <a:lnTo>
                    <a:pt x="209550" y="588569"/>
                  </a:lnTo>
                  <a:lnTo>
                    <a:pt x="209550" y="589166"/>
                  </a:lnTo>
                  <a:lnTo>
                    <a:pt x="209892" y="589166"/>
                  </a:lnTo>
                  <a:lnTo>
                    <a:pt x="209892" y="590499"/>
                  </a:lnTo>
                  <a:lnTo>
                    <a:pt x="209943" y="590499"/>
                  </a:lnTo>
                  <a:lnTo>
                    <a:pt x="209994" y="589166"/>
                  </a:lnTo>
                  <a:lnTo>
                    <a:pt x="209994" y="590499"/>
                  </a:lnTo>
                  <a:lnTo>
                    <a:pt x="210184" y="590499"/>
                  </a:lnTo>
                  <a:lnTo>
                    <a:pt x="210235" y="591147"/>
                  </a:lnTo>
                  <a:lnTo>
                    <a:pt x="210388" y="591147"/>
                  </a:lnTo>
                  <a:lnTo>
                    <a:pt x="210388" y="591795"/>
                  </a:lnTo>
                  <a:lnTo>
                    <a:pt x="210489" y="591795"/>
                  </a:lnTo>
                  <a:lnTo>
                    <a:pt x="210489" y="591147"/>
                  </a:lnTo>
                  <a:lnTo>
                    <a:pt x="210591" y="591147"/>
                  </a:lnTo>
                  <a:lnTo>
                    <a:pt x="210629" y="590499"/>
                  </a:lnTo>
                  <a:lnTo>
                    <a:pt x="210680" y="589166"/>
                  </a:lnTo>
                  <a:lnTo>
                    <a:pt x="210680" y="588569"/>
                  </a:lnTo>
                  <a:lnTo>
                    <a:pt x="210731" y="588569"/>
                  </a:lnTo>
                  <a:lnTo>
                    <a:pt x="210731" y="587921"/>
                  </a:lnTo>
                  <a:lnTo>
                    <a:pt x="210832" y="587921"/>
                  </a:lnTo>
                  <a:lnTo>
                    <a:pt x="210883" y="587223"/>
                  </a:lnTo>
                  <a:lnTo>
                    <a:pt x="210934" y="587223"/>
                  </a:lnTo>
                  <a:lnTo>
                    <a:pt x="210934" y="587921"/>
                  </a:lnTo>
                  <a:lnTo>
                    <a:pt x="211035" y="587921"/>
                  </a:lnTo>
                  <a:lnTo>
                    <a:pt x="211035" y="588569"/>
                  </a:lnTo>
                  <a:lnTo>
                    <a:pt x="211137" y="588569"/>
                  </a:lnTo>
                  <a:lnTo>
                    <a:pt x="211175" y="589166"/>
                  </a:lnTo>
                  <a:lnTo>
                    <a:pt x="211277" y="588569"/>
                  </a:lnTo>
                  <a:lnTo>
                    <a:pt x="211277" y="587921"/>
                  </a:lnTo>
                  <a:lnTo>
                    <a:pt x="211327" y="587223"/>
                  </a:lnTo>
                  <a:lnTo>
                    <a:pt x="211327" y="586588"/>
                  </a:lnTo>
                  <a:lnTo>
                    <a:pt x="211378" y="586588"/>
                  </a:lnTo>
                  <a:lnTo>
                    <a:pt x="211378" y="587223"/>
                  </a:lnTo>
                  <a:lnTo>
                    <a:pt x="211632" y="587223"/>
                  </a:lnTo>
                  <a:lnTo>
                    <a:pt x="211632" y="587921"/>
                  </a:lnTo>
                  <a:lnTo>
                    <a:pt x="211874" y="587921"/>
                  </a:lnTo>
                  <a:lnTo>
                    <a:pt x="211975" y="588569"/>
                  </a:lnTo>
                  <a:lnTo>
                    <a:pt x="212318" y="588569"/>
                  </a:lnTo>
                  <a:lnTo>
                    <a:pt x="212420" y="587921"/>
                  </a:lnTo>
                  <a:lnTo>
                    <a:pt x="212471" y="588569"/>
                  </a:lnTo>
                  <a:lnTo>
                    <a:pt x="212623" y="588569"/>
                  </a:lnTo>
                  <a:lnTo>
                    <a:pt x="212623" y="587921"/>
                  </a:lnTo>
                  <a:lnTo>
                    <a:pt x="212674" y="588569"/>
                  </a:lnTo>
                  <a:lnTo>
                    <a:pt x="212915" y="588569"/>
                  </a:lnTo>
                  <a:lnTo>
                    <a:pt x="212966" y="587921"/>
                  </a:lnTo>
                  <a:lnTo>
                    <a:pt x="213067" y="588569"/>
                  </a:lnTo>
                  <a:lnTo>
                    <a:pt x="213118" y="588569"/>
                  </a:lnTo>
                  <a:lnTo>
                    <a:pt x="213118" y="589166"/>
                  </a:lnTo>
                  <a:lnTo>
                    <a:pt x="213309" y="589166"/>
                  </a:lnTo>
                  <a:lnTo>
                    <a:pt x="213359" y="588569"/>
                  </a:lnTo>
                  <a:lnTo>
                    <a:pt x="213410" y="588569"/>
                  </a:lnTo>
                  <a:lnTo>
                    <a:pt x="213410" y="587921"/>
                  </a:lnTo>
                  <a:lnTo>
                    <a:pt x="213614" y="587921"/>
                  </a:lnTo>
                  <a:lnTo>
                    <a:pt x="213614" y="587223"/>
                  </a:lnTo>
                  <a:lnTo>
                    <a:pt x="213766" y="587223"/>
                  </a:lnTo>
                  <a:lnTo>
                    <a:pt x="213766" y="587921"/>
                  </a:lnTo>
                  <a:lnTo>
                    <a:pt x="214058" y="587921"/>
                  </a:lnTo>
                  <a:lnTo>
                    <a:pt x="214109" y="588569"/>
                  </a:lnTo>
                  <a:lnTo>
                    <a:pt x="214261" y="588569"/>
                  </a:lnTo>
                  <a:lnTo>
                    <a:pt x="214261" y="587921"/>
                  </a:lnTo>
                  <a:lnTo>
                    <a:pt x="214350" y="587921"/>
                  </a:lnTo>
                  <a:lnTo>
                    <a:pt x="214452" y="588569"/>
                  </a:lnTo>
                  <a:lnTo>
                    <a:pt x="214452" y="587921"/>
                  </a:lnTo>
                  <a:lnTo>
                    <a:pt x="214502" y="588569"/>
                  </a:lnTo>
                  <a:lnTo>
                    <a:pt x="214553" y="587921"/>
                  </a:lnTo>
                  <a:lnTo>
                    <a:pt x="214757" y="587921"/>
                  </a:lnTo>
                  <a:lnTo>
                    <a:pt x="214757" y="588569"/>
                  </a:lnTo>
                  <a:lnTo>
                    <a:pt x="215150" y="588569"/>
                  </a:lnTo>
                  <a:lnTo>
                    <a:pt x="215150" y="589166"/>
                  </a:lnTo>
                  <a:lnTo>
                    <a:pt x="215252" y="589166"/>
                  </a:lnTo>
                  <a:lnTo>
                    <a:pt x="215252" y="588569"/>
                  </a:lnTo>
                  <a:lnTo>
                    <a:pt x="215353" y="588569"/>
                  </a:lnTo>
                  <a:lnTo>
                    <a:pt x="215353" y="589166"/>
                  </a:lnTo>
                  <a:lnTo>
                    <a:pt x="215391" y="588569"/>
                  </a:lnTo>
                  <a:lnTo>
                    <a:pt x="215442" y="589166"/>
                  </a:lnTo>
                  <a:lnTo>
                    <a:pt x="215696" y="589166"/>
                  </a:lnTo>
                  <a:lnTo>
                    <a:pt x="215798" y="588569"/>
                  </a:lnTo>
                  <a:lnTo>
                    <a:pt x="215849" y="588569"/>
                  </a:lnTo>
                  <a:lnTo>
                    <a:pt x="215849" y="589166"/>
                  </a:lnTo>
                  <a:lnTo>
                    <a:pt x="215900" y="589166"/>
                  </a:lnTo>
                  <a:lnTo>
                    <a:pt x="215900" y="590499"/>
                  </a:lnTo>
                  <a:lnTo>
                    <a:pt x="216242" y="590499"/>
                  </a:lnTo>
                  <a:lnTo>
                    <a:pt x="216242" y="591147"/>
                  </a:lnTo>
                  <a:lnTo>
                    <a:pt x="216395" y="591147"/>
                  </a:lnTo>
                  <a:lnTo>
                    <a:pt x="216484" y="591795"/>
                  </a:lnTo>
                  <a:lnTo>
                    <a:pt x="216534" y="591147"/>
                  </a:lnTo>
                  <a:lnTo>
                    <a:pt x="216534" y="590499"/>
                  </a:lnTo>
                  <a:lnTo>
                    <a:pt x="216585" y="589166"/>
                  </a:lnTo>
                  <a:lnTo>
                    <a:pt x="216636" y="589166"/>
                  </a:lnTo>
                  <a:lnTo>
                    <a:pt x="216636" y="588569"/>
                  </a:lnTo>
                  <a:lnTo>
                    <a:pt x="216941" y="588569"/>
                  </a:lnTo>
                  <a:lnTo>
                    <a:pt x="216979" y="589166"/>
                  </a:lnTo>
                  <a:lnTo>
                    <a:pt x="217030" y="590499"/>
                  </a:lnTo>
                  <a:lnTo>
                    <a:pt x="217081" y="590499"/>
                  </a:lnTo>
                  <a:lnTo>
                    <a:pt x="217182" y="589166"/>
                  </a:lnTo>
                  <a:lnTo>
                    <a:pt x="217182" y="588569"/>
                  </a:lnTo>
                  <a:lnTo>
                    <a:pt x="217233" y="587921"/>
                  </a:lnTo>
                  <a:lnTo>
                    <a:pt x="217284" y="587223"/>
                  </a:lnTo>
                  <a:lnTo>
                    <a:pt x="217385" y="587223"/>
                  </a:lnTo>
                  <a:lnTo>
                    <a:pt x="217385" y="586588"/>
                  </a:lnTo>
                  <a:lnTo>
                    <a:pt x="217436" y="587223"/>
                  </a:lnTo>
                  <a:lnTo>
                    <a:pt x="217525" y="587223"/>
                  </a:lnTo>
                  <a:lnTo>
                    <a:pt x="217627" y="587921"/>
                  </a:lnTo>
                  <a:lnTo>
                    <a:pt x="217728" y="587921"/>
                  </a:lnTo>
                  <a:lnTo>
                    <a:pt x="217728" y="588569"/>
                  </a:lnTo>
                  <a:lnTo>
                    <a:pt x="218071" y="588569"/>
                  </a:lnTo>
                  <a:lnTo>
                    <a:pt x="218071" y="587921"/>
                  </a:lnTo>
                  <a:lnTo>
                    <a:pt x="218122" y="588569"/>
                  </a:lnTo>
                  <a:lnTo>
                    <a:pt x="218224" y="588569"/>
                  </a:lnTo>
                  <a:lnTo>
                    <a:pt x="218224" y="589166"/>
                  </a:lnTo>
                  <a:lnTo>
                    <a:pt x="218668" y="589166"/>
                  </a:lnTo>
                  <a:lnTo>
                    <a:pt x="218668" y="588569"/>
                  </a:lnTo>
                  <a:lnTo>
                    <a:pt x="218973" y="588569"/>
                  </a:lnTo>
                  <a:lnTo>
                    <a:pt x="218973" y="589166"/>
                  </a:lnTo>
                  <a:lnTo>
                    <a:pt x="219075" y="589166"/>
                  </a:lnTo>
                  <a:lnTo>
                    <a:pt x="219113" y="588569"/>
                  </a:lnTo>
                  <a:lnTo>
                    <a:pt x="219214" y="588569"/>
                  </a:lnTo>
                  <a:lnTo>
                    <a:pt x="219214" y="589166"/>
                  </a:lnTo>
                  <a:lnTo>
                    <a:pt x="219265" y="588569"/>
                  </a:lnTo>
                  <a:lnTo>
                    <a:pt x="219265" y="589166"/>
                  </a:lnTo>
                  <a:lnTo>
                    <a:pt x="219316" y="589166"/>
                  </a:lnTo>
                  <a:lnTo>
                    <a:pt x="219417" y="588569"/>
                  </a:lnTo>
                  <a:lnTo>
                    <a:pt x="220256" y="588569"/>
                  </a:lnTo>
                  <a:lnTo>
                    <a:pt x="220357" y="587921"/>
                  </a:lnTo>
                  <a:lnTo>
                    <a:pt x="220408" y="587921"/>
                  </a:lnTo>
                  <a:lnTo>
                    <a:pt x="220459" y="588569"/>
                  </a:lnTo>
                  <a:lnTo>
                    <a:pt x="220802" y="588569"/>
                  </a:lnTo>
                  <a:lnTo>
                    <a:pt x="220852" y="589166"/>
                  </a:lnTo>
                  <a:lnTo>
                    <a:pt x="221005" y="589166"/>
                  </a:lnTo>
                  <a:lnTo>
                    <a:pt x="221005" y="588569"/>
                  </a:lnTo>
                  <a:lnTo>
                    <a:pt x="221107" y="588569"/>
                  </a:lnTo>
                  <a:lnTo>
                    <a:pt x="221157" y="589166"/>
                  </a:lnTo>
                  <a:lnTo>
                    <a:pt x="221297" y="589166"/>
                  </a:lnTo>
                  <a:lnTo>
                    <a:pt x="221348" y="588569"/>
                  </a:lnTo>
                  <a:lnTo>
                    <a:pt x="221348" y="589166"/>
                  </a:lnTo>
                  <a:lnTo>
                    <a:pt x="221399" y="588569"/>
                  </a:lnTo>
                  <a:lnTo>
                    <a:pt x="221399" y="589166"/>
                  </a:lnTo>
                  <a:lnTo>
                    <a:pt x="221551" y="589166"/>
                  </a:lnTo>
                  <a:lnTo>
                    <a:pt x="221551" y="590499"/>
                  </a:lnTo>
                  <a:lnTo>
                    <a:pt x="221602" y="589166"/>
                  </a:lnTo>
                  <a:lnTo>
                    <a:pt x="221703" y="590499"/>
                  </a:lnTo>
                  <a:lnTo>
                    <a:pt x="221843" y="590499"/>
                  </a:lnTo>
                  <a:lnTo>
                    <a:pt x="221945" y="591147"/>
                  </a:lnTo>
                  <a:lnTo>
                    <a:pt x="222250" y="591147"/>
                  </a:lnTo>
                  <a:lnTo>
                    <a:pt x="222288" y="591795"/>
                  </a:lnTo>
                  <a:lnTo>
                    <a:pt x="222288" y="591147"/>
                  </a:lnTo>
                  <a:lnTo>
                    <a:pt x="222592" y="591147"/>
                  </a:lnTo>
                  <a:lnTo>
                    <a:pt x="222592" y="590499"/>
                  </a:lnTo>
                  <a:lnTo>
                    <a:pt x="222643" y="589166"/>
                  </a:lnTo>
                  <a:lnTo>
                    <a:pt x="222694" y="588569"/>
                  </a:lnTo>
                  <a:lnTo>
                    <a:pt x="222745" y="588569"/>
                  </a:lnTo>
                  <a:lnTo>
                    <a:pt x="222745" y="587921"/>
                  </a:lnTo>
                  <a:lnTo>
                    <a:pt x="222834" y="587921"/>
                  </a:lnTo>
                  <a:lnTo>
                    <a:pt x="222884" y="588569"/>
                  </a:lnTo>
                  <a:lnTo>
                    <a:pt x="222935" y="589166"/>
                  </a:lnTo>
                  <a:lnTo>
                    <a:pt x="223088" y="589166"/>
                  </a:lnTo>
                  <a:lnTo>
                    <a:pt x="223088" y="588569"/>
                  </a:lnTo>
                  <a:lnTo>
                    <a:pt x="223139" y="589166"/>
                  </a:lnTo>
                  <a:lnTo>
                    <a:pt x="223139" y="588569"/>
                  </a:lnTo>
                  <a:lnTo>
                    <a:pt x="223189" y="588569"/>
                  </a:lnTo>
                  <a:lnTo>
                    <a:pt x="223291" y="587921"/>
                  </a:lnTo>
                  <a:lnTo>
                    <a:pt x="223291" y="587223"/>
                  </a:lnTo>
                  <a:lnTo>
                    <a:pt x="223329" y="587223"/>
                  </a:lnTo>
                  <a:lnTo>
                    <a:pt x="223380" y="586588"/>
                  </a:lnTo>
                  <a:lnTo>
                    <a:pt x="223532" y="586588"/>
                  </a:lnTo>
                  <a:lnTo>
                    <a:pt x="223532" y="587223"/>
                  </a:lnTo>
                  <a:lnTo>
                    <a:pt x="223583" y="587223"/>
                  </a:lnTo>
                  <a:lnTo>
                    <a:pt x="223634" y="587921"/>
                  </a:lnTo>
                  <a:lnTo>
                    <a:pt x="223875" y="587921"/>
                  </a:lnTo>
                  <a:lnTo>
                    <a:pt x="223977" y="588569"/>
                  </a:lnTo>
                  <a:lnTo>
                    <a:pt x="224282" y="588569"/>
                  </a:lnTo>
                  <a:lnTo>
                    <a:pt x="224332" y="589166"/>
                  </a:lnTo>
                  <a:lnTo>
                    <a:pt x="224332" y="588569"/>
                  </a:lnTo>
                  <a:lnTo>
                    <a:pt x="225120" y="588569"/>
                  </a:lnTo>
                  <a:lnTo>
                    <a:pt x="225171" y="589166"/>
                  </a:lnTo>
                  <a:lnTo>
                    <a:pt x="225171" y="588569"/>
                  </a:lnTo>
                  <a:lnTo>
                    <a:pt x="225221" y="589166"/>
                  </a:lnTo>
                  <a:lnTo>
                    <a:pt x="225323" y="589166"/>
                  </a:lnTo>
                  <a:lnTo>
                    <a:pt x="225323" y="588569"/>
                  </a:lnTo>
                  <a:lnTo>
                    <a:pt x="225374" y="588569"/>
                  </a:lnTo>
                  <a:lnTo>
                    <a:pt x="225374" y="587921"/>
                  </a:lnTo>
                  <a:lnTo>
                    <a:pt x="225425" y="587921"/>
                  </a:lnTo>
                  <a:lnTo>
                    <a:pt x="225463" y="588569"/>
                  </a:lnTo>
                  <a:lnTo>
                    <a:pt x="225463" y="587921"/>
                  </a:lnTo>
                  <a:lnTo>
                    <a:pt x="225615" y="587921"/>
                  </a:lnTo>
                  <a:lnTo>
                    <a:pt x="225615" y="587223"/>
                  </a:lnTo>
                  <a:lnTo>
                    <a:pt x="225666" y="587921"/>
                  </a:lnTo>
                  <a:lnTo>
                    <a:pt x="225818" y="587921"/>
                  </a:lnTo>
                  <a:lnTo>
                    <a:pt x="225818" y="588569"/>
                  </a:lnTo>
                  <a:lnTo>
                    <a:pt x="225869" y="588569"/>
                  </a:lnTo>
                  <a:lnTo>
                    <a:pt x="225869" y="587921"/>
                  </a:lnTo>
                  <a:lnTo>
                    <a:pt x="226009" y="587921"/>
                  </a:lnTo>
                  <a:lnTo>
                    <a:pt x="226009" y="588569"/>
                  </a:lnTo>
                  <a:lnTo>
                    <a:pt x="226110" y="588569"/>
                  </a:lnTo>
                  <a:lnTo>
                    <a:pt x="226110" y="589166"/>
                  </a:lnTo>
                  <a:lnTo>
                    <a:pt x="226161" y="588569"/>
                  </a:lnTo>
                  <a:lnTo>
                    <a:pt x="226263" y="587921"/>
                  </a:lnTo>
                  <a:lnTo>
                    <a:pt x="226910" y="587921"/>
                  </a:lnTo>
                  <a:lnTo>
                    <a:pt x="226961" y="588569"/>
                  </a:lnTo>
                  <a:lnTo>
                    <a:pt x="227012" y="588569"/>
                  </a:lnTo>
                  <a:lnTo>
                    <a:pt x="227012" y="587921"/>
                  </a:lnTo>
                  <a:lnTo>
                    <a:pt x="227152" y="587921"/>
                  </a:lnTo>
                  <a:lnTo>
                    <a:pt x="227152" y="588569"/>
                  </a:lnTo>
                  <a:lnTo>
                    <a:pt x="227749" y="588569"/>
                  </a:lnTo>
                  <a:lnTo>
                    <a:pt x="227850" y="589166"/>
                  </a:lnTo>
                  <a:lnTo>
                    <a:pt x="227901" y="590499"/>
                  </a:lnTo>
                  <a:lnTo>
                    <a:pt x="228091" y="590499"/>
                  </a:lnTo>
                  <a:lnTo>
                    <a:pt x="228142" y="591147"/>
                  </a:lnTo>
                  <a:lnTo>
                    <a:pt x="228295" y="591147"/>
                  </a:lnTo>
                  <a:lnTo>
                    <a:pt x="228346" y="590499"/>
                  </a:lnTo>
                  <a:lnTo>
                    <a:pt x="228498" y="590499"/>
                  </a:lnTo>
                  <a:lnTo>
                    <a:pt x="228549" y="589166"/>
                  </a:lnTo>
                  <a:lnTo>
                    <a:pt x="228549" y="588569"/>
                  </a:lnTo>
                  <a:lnTo>
                    <a:pt x="228600" y="587223"/>
                  </a:lnTo>
                  <a:lnTo>
                    <a:pt x="228600" y="586588"/>
                  </a:lnTo>
                  <a:lnTo>
                    <a:pt x="228638" y="586588"/>
                  </a:lnTo>
                  <a:lnTo>
                    <a:pt x="228739" y="587223"/>
                  </a:lnTo>
                  <a:lnTo>
                    <a:pt x="228790" y="587921"/>
                  </a:lnTo>
                  <a:lnTo>
                    <a:pt x="228841" y="588569"/>
                  </a:lnTo>
                  <a:lnTo>
                    <a:pt x="229095" y="588569"/>
                  </a:lnTo>
                  <a:lnTo>
                    <a:pt x="229095" y="587921"/>
                  </a:lnTo>
                  <a:lnTo>
                    <a:pt x="229184" y="587921"/>
                  </a:lnTo>
                  <a:lnTo>
                    <a:pt x="229184" y="587223"/>
                  </a:lnTo>
                  <a:lnTo>
                    <a:pt x="229285" y="587223"/>
                  </a:lnTo>
                  <a:lnTo>
                    <a:pt x="229285" y="586588"/>
                  </a:lnTo>
                  <a:lnTo>
                    <a:pt x="229489" y="586588"/>
                  </a:lnTo>
                  <a:lnTo>
                    <a:pt x="229489" y="587223"/>
                  </a:lnTo>
                  <a:lnTo>
                    <a:pt x="229882" y="587223"/>
                  </a:lnTo>
                  <a:lnTo>
                    <a:pt x="229882" y="587921"/>
                  </a:lnTo>
                  <a:lnTo>
                    <a:pt x="230187" y="587921"/>
                  </a:lnTo>
                  <a:lnTo>
                    <a:pt x="230187" y="588569"/>
                  </a:lnTo>
                  <a:lnTo>
                    <a:pt x="230327" y="588569"/>
                  </a:lnTo>
                  <a:lnTo>
                    <a:pt x="230377" y="587921"/>
                  </a:lnTo>
                  <a:lnTo>
                    <a:pt x="230428" y="587921"/>
                  </a:lnTo>
                  <a:lnTo>
                    <a:pt x="230428" y="588569"/>
                  </a:lnTo>
                  <a:lnTo>
                    <a:pt x="230632" y="588569"/>
                  </a:lnTo>
                  <a:lnTo>
                    <a:pt x="230632" y="587921"/>
                  </a:lnTo>
                  <a:lnTo>
                    <a:pt x="230873" y="587921"/>
                  </a:lnTo>
                  <a:lnTo>
                    <a:pt x="230924" y="588569"/>
                  </a:lnTo>
                  <a:lnTo>
                    <a:pt x="230924" y="587921"/>
                  </a:lnTo>
                  <a:lnTo>
                    <a:pt x="231076" y="587921"/>
                  </a:lnTo>
                  <a:lnTo>
                    <a:pt x="231127" y="588569"/>
                  </a:lnTo>
                  <a:lnTo>
                    <a:pt x="231127" y="587921"/>
                  </a:lnTo>
                  <a:lnTo>
                    <a:pt x="231724" y="587921"/>
                  </a:lnTo>
                  <a:lnTo>
                    <a:pt x="231775" y="587223"/>
                  </a:lnTo>
                  <a:lnTo>
                    <a:pt x="231813" y="587223"/>
                  </a:lnTo>
                  <a:lnTo>
                    <a:pt x="231813" y="587921"/>
                  </a:lnTo>
                  <a:lnTo>
                    <a:pt x="231965" y="587921"/>
                  </a:lnTo>
                  <a:lnTo>
                    <a:pt x="232016" y="588569"/>
                  </a:lnTo>
                  <a:lnTo>
                    <a:pt x="232117" y="587921"/>
                  </a:lnTo>
                  <a:lnTo>
                    <a:pt x="232168" y="587921"/>
                  </a:lnTo>
                  <a:lnTo>
                    <a:pt x="232168" y="587223"/>
                  </a:lnTo>
                  <a:lnTo>
                    <a:pt x="232270" y="587223"/>
                  </a:lnTo>
                  <a:lnTo>
                    <a:pt x="232270" y="587921"/>
                  </a:lnTo>
                  <a:lnTo>
                    <a:pt x="232359" y="587921"/>
                  </a:lnTo>
                  <a:lnTo>
                    <a:pt x="232359" y="587223"/>
                  </a:lnTo>
                  <a:lnTo>
                    <a:pt x="232409" y="587921"/>
                  </a:lnTo>
                  <a:lnTo>
                    <a:pt x="232460" y="587223"/>
                  </a:lnTo>
                  <a:lnTo>
                    <a:pt x="232511" y="587921"/>
                  </a:lnTo>
                  <a:lnTo>
                    <a:pt x="232664" y="587921"/>
                  </a:lnTo>
                  <a:lnTo>
                    <a:pt x="232664" y="587223"/>
                  </a:lnTo>
                  <a:lnTo>
                    <a:pt x="232816" y="587223"/>
                  </a:lnTo>
                  <a:lnTo>
                    <a:pt x="232854" y="587921"/>
                  </a:lnTo>
                  <a:lnTo>
                    <a:pt x="232905" y="587921"/>
                  </a:lnTo>
                  <a:lnTo>
                    <a:pt x="232905" y="588569"/>
                  </a:lnTo>
                  <a:lnTo>
                    <a:pt x="232956" y="588569"/>
                  </a:lnTo>
                  <a:lnTo>
                    <a:pt x="233057" y="587921"/>
                  </a:lnTo>
                  <a:lnTo>
                    <a:pt x="233311" y="587921"/>
                  </a:lnTo>
                  <a:lnTo>
                    <a:pt x="233362" y="588569"/>
                  </a:lnTo>
                  <a:lnTo>
                    <a:pt x="233502" y="588569"/>
                  </a:lnTo>
                  <a:lnTo>
                    <a:pt x="233502" y="589166"/>
                  </a:lnTo>
                  <a:lnTo>
                    <a:pt x="233552" y="588569"/>
                  </a:lnTo>
                  <a:lnTo>
                    <a:pt x="233552" y="589166"/>
                  </a:lnTo>
                  <a:lnTo>
                    <a:pt x="233807" y="589166"/>
                  </a:lnTo>
                  <a:lnTo>
                    <a:pt x="233807" y="590499"/>
                  </a:lnTo>
                  <a:lnTo>
                    <a:pt x="233857" y="589166"/>
                  </a:lnTo>
                  <a:lnTo>
                    <a:pt x="233857" y="590499"/>
                  </a:lnTo>
                  <a:lnTo>
                    <a:pt x="233997" y="590499"/>
                  </a:lnTo>
                  <a:lnTo>
                    <a:pt x="234048" y="591147"/>
                  </a:lnTo>
                  <a:lnTo>
                    <a:pt x="234099" y="591147"/>
                  </a:lnTo>
                  <a:lnTo>
                    <a:pt x="234200" y="590499"/>
                  </a:lnTo>
                  <a:lnTo>
                    <a:pt x="234251" y="589166"/>
                  </a:lnTo>
                  <a:lnTo>
                    <a:pt x="234302" y="588569"/>
                  </a:lnTo>
                  <a:lnTo>
                    <a:pt x="234302" y="587921"/>
                  </a:lnTo>
                  <a:lnTo>
                    <a:pt x="234403" y="587223"/>
                  </a:lnTo>
                  <a:lnTo>
                    <a:pt x="234403" y="586588"/>
                  </a:lnTo>
                  <a:lnTo>
                    <a:pt x="234492" y="586588"/>
                  </a:lnTo>
                  <a:lnTo>
                    <a:pt x="234543" y="585242"/>
                  </a:lnTo>
                  <a:lnTo>
                    <a:pt x="234543" y="586588"/>
                  </a:lnTo>
                  <a:lnTo>
                    <a:pt x="234645" y="586588"/>
                  </a:lnTo>
                  <a:lnTo>
                    <a:pt x="234645" y="587223"/>
                  </a:lnTo>
                  <a:lnTo>
                    <a:pt x="234696" y="587223"/>
                  </a:lnTo>
                  <a:lnTo>
                    <a:pt x="234746" y="587921"/>
                  </a:lnTo>
                  <a:lnTo>
                    <a:pt x="234899" y="587921"/>
                  </a:lnTo>
                  <a:lnTo>
                    <a:pt x="234899" y="587223"/>
                  </a:lnTo>
                  <a:lnTo>
                    <a:pt x="234950" y="586588"/>
                  </a:lnTo>
                  <a:lnTo>
                    <a:pt x="234988" y="585242"/>
                  </a:lnTo>
                  <a:lnTo>
                    <a:pt x="235343" y="585242"/>
                  </a:lnTo>
                  <a:lnTo>
                    <a:pt x="235343" y="586588"/>
                  </a:lnTo>
                  <a:lnTo>
                    <a:pt x="235394" y="586588"/>
                  </a:lnTo>
                  <a:lnTo>
                    <a:pt x="235445" y="587223"/>
                  </a:lnTo>
                  <a:lnTo>
                    <a:pt x="235534" y="586588"/>
                  </a:lnTo>
                  <a:lnTo>
                    <a:pt x="235584" y="587223"/>
                  </a:lnTo>
                  <a:lnTo>
                    <a:pt x="235635" y="587223"/>
                  </a:lnTo>
                  <a:lnTo>
                    <a:pt x="235635" y="587921"/>
                  </a:lnTo>
                  <a:lnTo>
                    <a:pt x="235686" y="587223"/>
                  </a:lnTo>
                  <a:lnTo>
                    <a:pt x="235991" y="587223"/>
                  </a:lnTo>
                  <a:lnTo>
                    <a:pt x="235991" y="587921"/>
                  </a:lnTo>
                  <a:lnTo>
                    <a:pt x="236334" y="587921"/>
                  </a:lnTo>
                  <a:lnTo>
                    <a:pt x="236435" y="587223"/>
                  </a:lnTo>
                  <a:lnTo>
                    <a:pt x="236486" y="586588"/>
                  </a:lnTo>
                  <a:lnTo>
                    <a:pt x="236486" y="587223"/>
                  </a:lnTo>
                  <a:lnTo>
                    <a:pt x="236537" y="587223"/>
                  </a:lnTo>
                  <a:lnTo>
                    <a:pt x="236575" y="587921"/>
                  </a:lnTo>
                  <a:lnTo>
                    <a:pt x="236575" y="587223"/>
                  </a:lnTo>
                  <a:lnTo>
                    <a:pt x="236727" y="587223"/>
                  </a:lnTo>
                  <a:lnTo>
                    <a:pt x="236727" y="587921"/>
                  </a:lnTo>
                  <a:lnTo>
                    <a:pt x="236778" y="587921"/>
                  </a:lnTo>
                  <a:lnTo>
                    <a:pt x="236880" y="588569"/>
                  </a:lnTo>
                  <a:lnTo>
                    <a:pt x="236931" y="588569"/>
                  </a:lnTo>
                  <a:lnTo>
                    <a:pt x="236982" y="587921"/>
                  </a:lnTo>
                  <a:lnTo>
                    <a:pt x="237032" y="587921"/>
                  </a:lnTo>
                  <a:lnTo>
                    <a:pt x="237121" y="588569"/>
                  </a:lnTo>
                  <a:lnTo>
                    <a:pt x="237223" y="588569"/>
                  </a:lnTo>
                  <a:lnTo>
                    <a:pt x="237223" y="587921"/>
                  </a:lnTo>
                  <a:lnTo>
                    <a:pt x="237274" y="587921"/>
                  </a:lnTo>
                  <a:lnTo>
                    <a:pt x="237375" y="587223"/>
                  </a:lnTo>
                  <a:lnTo>
                    <a:pt x="237375" y="586588"/>
                  </a:lnTo>
                  <a:lnTo>
                    <a:pt x="237426" y="587223"/>
                  </a:lnTo>
                  <a:lnTo>
                    <a:pt x="237718" y="587223"/>
                  </a:lnTo>
                  <a:lnTo>
                    <a:pt x="237718" y="587921"/>
                  </a:lnTo>
                  <a:lnTo>
                    <a:pt x="238264" y="587921"/>
                  </a:lnTo>
                  <a:lnTo>
                    <a:pt x="238264" y="588569"/>
                  </a:lnTo>
                  <a:lnTo>
                    <a:pt x="238315" y="587921"/>
                  </a:lnTo>
                  <a:lnTo>
                    <a:pt x="238810" y="587921"/>
                  </a:lnTo>
                  <a:lnTo>
                    <a:pt x="238810" y="588569"/>
                  </a:lnTo>
                  <a:lnTo>
                    <a:pt x="239014" y="588569"/>
                  </a:lnTo>
                  <a:lnTo>
                    <a:pt x="239064" y="587921"/>
                  </a:lnTo>
                  <a:lnTo>
                    <a:pt x="239166" y="588569"/>
                  </a:lnTo>
                  <a:lnTo>
                    <a:pt x="239204" y="588569"/>
                  </a:lnTo>
                  <a:lnTo>
                    <a:pt x="239204" y="589166"/>
                  </a:lnTo>
                  <a:lnTo>
                    <a:pt x="239306" y="589166"/>
                  </a:lnTo>
                  <a:lnTo>
                    <a:pt x="239407" y="588569"/>
                  </a:lnTo>
                  <a:lnTo>
                    <a:pt x="239458" y="588569"/>
                  </a:lnTo>
                  <a:lnTo>
                    <a:pt x="239509" y="589166"/>
                  </a:lnTo>
                  <a:lnTo>
                    <a:pt x="239852" y="589166"/>
                  </a:lnTo>
                  <a:lnTo>
                    <a:pt x="239902" y="590499"/>
                  </a:lnTo>
                  <a:lnTo>
                    <a:pt x="239953" y="590499"/>
                  </a:lnTo>
                  <a:lnTo>
                    <a:pt x="239953" y="591147"/>
                  </a:lnTo>
                  <a:lnTo>
                    <a:pt x="240157" y="591147"/>
                  </a:lnTo>
                  <a:lnTo>
                    <a:pt x="240157" y="590499"/>
                  </a:lnTo>
                  <a:lnTo>
                    <a:pt x="240207" y="589166"/>
                  </a:lnTo>
                  <a:lnTo>
                    <a:pt x="240207" y="588569"/>
                  </a:lnTo>
                  <a:lnTo>
                    <a:pt x="240296" y="587921"/>
                  </a:lnTo>
                  <a:lnTo>
                    <a:pt x="240347" y="587223"/>
                  </a:lnTo>
                  <a:lnTo>
                    <a:pt x="240398" y="586588"/>
                  </a:lnTo>
                  <a:lnTo>
                    <a:pt x="240398" y="587223"/>
                  </a:lnTo>
                  <a:lnTo>
                    <a:pt x="240449" y="587223"/>
                  </a:lnTo>
                  <a:lnTo>
                    <a:pt x="240550" y="587921"/>
                  </a:lnTo>
                  <a:lnTo>
                    <a:pt x="240652" y="587921"/>
                  </a:lnTo>
                  <a:lnTo>
                    <a:pt x="240652" y="588569"/>
                  </a:lnTo>
                  <a:lnTo>
                    <a:pt x="240791" y="588569"/>
                  </a:lnTo>
                  <a:lnTo>
                    <a:pt x="240791" y="587921"/>
                  </a:lnTo>
                  <a:lnTo>
                    <a:pt x="240842" y="587223"/>
                  </a:lnTo>
                  <a:lnTo>
                    <a:pt x="240842" y="586588"/>
                  </a:lnTo>
                  <a:lnTo>
                    <a:pt x="241046" y="586588"/>
                  </a:lnTo>
                  <a:lnTo>
                    <a:pt x="241096" y="587223"/>
                  </a:lnTo>
                  <a:lnTo>
                    <a:pt x="241096" y="586588"/>
                  </a:lnTo>
                  <a:lnTo>
                    <a:pt x="241198" y="587223"/>
                  </a:lnTo>
                  <a:lnTo>
                    <a:pt x="241249" y="587223"/>
                  </a:lnTo>
                  <a:lnTo>
                    <a:pt x="241300" y="587921"/>
                  </a:lnTo>
                  <a:lnTo>
                    <a:pt x="241300" y="587223"/>
                  </a:lnTo>
                  <a:lnTo>
                    <a:pt x="241338" y="587921"/>
                  </a:lnTo>
                  <a:lnTo>
                    <a:pt x="241439" y="587921"/>
                  </a:lnTo>
                  <a:lnTo>
                    <a:pt x="241439" y="588569"/>
                  </a:lnTo>
                  <a:lnTo>
                    <a:pt x="241490" y="587921"/>
                  </a:lnTo>
                  <a:lnTo>
                    <a:pt x="241642" y="587921"/>
                  </a:lnTo>
                  <a:lnTo>
                    <a:pt x="241693" y="587223"/>
                  </a:lnTo>
                  <a:lnTo>
                    <a:pt x="241693" y="587921"/>
                  </a:lnTo>
                  <a:lnTo>
                    <a:pt x="241744" y="587921"/>
                  </a:lnTo>
                  <a:lnTo>
                    <a:pt x="241744" y="588569"/>
                  </a:lnTo>
                  <a:lnTo>
                    <a:pt x="241795" y="588569"/>
                  </a:lnTo>
                  <a:lnTo>
                    <a:pt x="241884" y="589166"/>
                  </a:lnTo>
                  <a:lnTo>
                    <a:pt x="241934" y="589166"/>
                  </a:lnTo>
                  <a:lnTo>
                    <a:pt x="241985" y="588569"/>
                  </a:lnTo>
                  <a:lnTo>
                    <a:pt x="242036" y="589166"/>
                  </a:lnTo>
                  <a:lnTo>
                    <a:pt x="242138" y="588569"/>
                  </a:lnTo>
                  <a:lnTo>
                    <a:pt x="242189" y="589166"/>
                  </a:lnTo>
                  <a:lnTo>
                    <a:pt x="242341" y="589166"/>
                  </a:lnTo>
                  <a:lnTo>
                    <a:pt x="242341" y="588569"/>
                  </a:lnTo>
                  <a:lnTo>
                    <a:pt x="242481" y="588569"/>
                  </a:lnTo>
                  <a:lnTo>
                    <a:pt x="242582" y="589166"/>
                  </a:lnTo>
                  <a:lnTo>
                    <a:pt x="242582" y="588569"/>
                  </a:lnTo>
                  <a:lnTo>
                    <a:pt x="242785" y="588569"/>
                  </a:lnTo>
                  <a:lnTo>
                    <a:pt x="242836" y="589166"/>
                  </a:lnTo>
                  <a:lnTo>
                    <a:pt x="242836" y="588569"/>
                  </a:lnTo>
                  <a:lnTo>
                    <a:pt x="242887" y="588569"/>
                  </a:lnTo>
                  <a:lnTo>
                    <a:pt x="242925" y="587921"/>
                  </a:lnTo>
                  <a:lnTo>
                    <a:pt x="243027" y="588569"/>
                  </a:lnTo>
                  <a:lnTo>
                    <a:pt x="243077" y="588569"/>
                  </a:lnTo>
                  <a:lnTo>
                    <a:pt x="243128" y="587921"/>
                  </a:lnTo>
                  <a:lnTo>
                    <a:pt x="243230" y="587921"/>
                  </a:lnTo>
                  <a:lnTo>
                    <a:pt x="243230" y="588569"/>
                  </a:lnTo>
                  <a:lnTo>
                    <a:pt x="243281" y="587921"/>
                  </a:lnTo>
                  <a:lnTo>
                    <a:pt x="243382" y="587921"/>
                  </a:lnTo>
                  <a:lnTo>
                    <a:pt x="243382" y="588569"/>
                  </a:lnTo>
                  <a:lnTo>
                    <a:pt x="244221" y="588569"/>
                  </a:lnTo>
                  <a:lnTo>
                    <a:pt x="244221" y="589166"/>
                  </a:lnTo>
                  <a:lnTo>
                    <a:pt x="244271" y="589166"/>
                  </a:lnTo>
                  <a:lnTo>
                    <a:pt x="244373" y="588569"/>
                  </a:lnTo>
                  <a:lnTo>
                    <a:pt x="244475" y="588569"/>
                  </a:lnTo>
                  <a:lnTo>
                    <a:pt x="244513" y="589166"/>
                  </a:lnTo>
                  <a:lnTo>
                    <a:pt x="244614" y="589166"/>
                  </a:lnTo>
                  <a:lnTo>
                    <a:pt x="244614" y="588569"/>
                  </a:lnTo>
                  <a:lnTo>
                    <a:pt x="244716" y="588569"/>
                  </a:lnTo>
                  <a:lnTo>
                    <a:pt x="244817" y="589166"/>
                  </a:lnTo>
                  <a:lnTo>
                    <a:pt x="245109" y="589166"/>
                  </a:lnTo>
                  <a:lnTo>
                    <a:pt x="245160" y="590499"/>
                  </a:lnTo>
                  <a:lnTo>
                    <a:pt x="245364" y="590499"/>
                  </a:lnTo>
                  <a:lnTo>
                    <a:pt x="245414" y="589166"/>
                  </a:lnTo>
                  <a:lnTo>
                    <a:pt x="245516" y="589166"/>
                  </a:lnTo>
                  <a:lnTo>
                    <a:pt x="245554" y="590499"/>
                  </a:lnTo>
                  <a:lnTo>
                    <a:pt x="245554" y="591147"/>
                  </a:lnTo>
                  <a:lnTo>
                    <a:pt x="245859" y="591147"/>
                  </a:lnTo>
                  <a:lnTo>
                    <a:pt x="245859" y="591795"/>
                  </a:lnTo>
                  <a:lnTo>
                    <a:pt x="246062" y="591795"/>
                  </a:lnTo>
                  <a:lnTo>
                    <a:pt x="246100" y="591147"/>
                  </a:lnTo>
                  <a:lnTo>
                    <a:pt x="246100" y="591795"/>
                  </a:lnTo>
                  <a:lnTo>
                    <a:pt x="246202" y="591795"/>
                  </a:lnTo>
                  <a:lnTo>
                    <a:pt x="246252" y="591147"/>
                  </a:lnTo>
                  <a:lnTo>
                    <a:pt x="246303" y="589166"/>
                  </a:lnTo>
                  <a:lnTo>
                    <a:pt x="246405" y="589166"/>
                  </a:lnTo>
                  <a:lnTo>
                    <a:pt x="246456" y="588569"/>
                  </a:lnTo>
                  <a:lnTo>
                    <a:pt x="246456" y="589166"/>
                  </a:lnTo>
                  <a:lnTo>
                    <a:pt x="246507" y="589166"/>
                  </a:lnTo>
                  <a:lnTo>
                    <a:pt x="246507" y="588569"/>
                  </a:lnTo>
                  <a:lnTo>
                    <a:pt x="246557" y="589166"/>
                  </a:lnTo>
                  <a:lnTo>
                    <a:pt x="246557" y="588569"/>
                  </a:lnTo>
                  <a:lnTo>
                    <a:pt x="246646" y="588569"/>
                  </a:lnTo>
                  <a:lnTo>
                    <a:pt x="246697" y="589166"/>
                  </a:lnTo>
                  <a:lnTo>
                    <a:pt x="246799" y="589166"/>
                  </a:lnTo>
                  <a:lnTo>
                    <a:pt x="246799" y="588569"/>
                  </a:lnTo>
                  <a:lnTo>
                    <a:pt x="246900" y="587223"/>
                  </a:lnTo>
                  <a:lnTo>
                    <a:pt x="246951" y="587223"/>
                  </a:lnTo>
                  <a:lnTo>
                    <a:pt x="247002" y="587921"/>
                  </a:lnTo>
                  <a:lnTo>
                    <a:pt x="247345" y="587921"/>
                  </a:lnTo>
                  <a:lnTo>
                    <a:pt x="247396" y="588569"/>
                  </a:lnTo>
                  <a:lnTo>
                    <a:pt x="247396" y="589166"/>
                  </a:lnTo>
                  <a:lnTo>
                    <a:pt x="248234" y="589166"/>
                  </a:lnTo>
                  <a:lnTo>
                    <a:pt x="248284" y="588569"/>
                  </a:lnTo>
                  <a:lnTo>
                    <a:pt x="248386" y="588569"/>
                  </a:lnTo>
                  <a:lnTo>
                    <a:pt x="248386" y="589166"/>
                  </a:lnTo>
                  <a:lnTo>
                    <a:pt x="248983" y="589166"/>
                  </a:lnTo>
                  <a:lnTo>
                    <a:pt x="248983" y="588569"/>
                  </a:lnTo>
                  <a:lnTo>
                    <a:pt x="249186" y="588569"/>
                  </a:lnTo>
                  <a:lnTo>
                    <a:pt x="249186" y="587921"/>
                  </a:lnTo>
                  <a:lnTo>
                    <a:pt x="249237" y="587921"/>
                  </a:lnTo>
                  <a:lnTo>
                    <a:pt x="249275" y="588569"/>
                  </a:lnTo>
                  <a:lnTo>
                    <a:pt x="249377" y="587921"/>
                  </a:lnTo>
                  <a:lnTo>
                    <a:pt x="249377" y="588569"/>
                  </a:lnTo>
                  <a:lnTo>
                    <a:pt x="249580" y="588569"/>
                  </a:lnTo>
                  <a:lnTo>
                    <a:pt x="249580" y="589166"/>
                  </a:lnTo>
                  <a:lnTo>
                    <a:pt x="249631" y="589166"/>
                  </a:lnTo>
                  <a:lnTo>
                    <a:pt x="249631" y="590499"/>
                  </a:lnTo>
                  <a:lnTo>
                    <a:pt x="249682" y="589166"/>
                  </a:lnTo>
                  <a:lnTo>
                    <a:pt x="249682" y="590499"/>
                  </a:lnTo>
                  <a:lnTo>
                    <a:pt x="249732" y="590499"/>
                  </a:lnTo>
                  <a:lnTo>
                    <a:pt x="249821" y="589166"/>
                  </a:lnTo>
                  <a:lnTo>
                    <a:pt x="249821" y="590499"/>
                  </a:lnTo>
                  <a:lnTo>
                    <a:pt x="249872" y="590499"/>
                  </a:lnTo>
                  <a:lnTo>
                    <a:pt x="249923" y="589166"/>
                  </a:lnTo>
                  <a:lnTo>
                    <a:pt x="250126" y="589166"/>
                  </a:lnTo>
                  <a:lnTo>
                    <a:pt x="250126" y="588569"/>
                  </a:lnTo>
                  <a:lnTo>
                    <a:pt x="250367" y="588569"/>
                  </a:lnTo>
                  <a:lnTo>
                    <a:pt x="250367" y="589166"/>
                  </a:lnTo>
                  <a:lnTo>
                    <a:pt x="250571" y="589166"/>
                  </a:lnTo>
                  <a:lnTo>
                    <a:pt x="250621" y="590499"/>
                  </a:lnTo>
                  <a:lnTo>
                    <a:pt x="250723" y="590499"/>
                  </a:lnTo>
                  <a:lnTo>
                    <a:pt x="250723" y="589166"/>
                  </a:lnTo>
                  <a:lnTo>
                    <a:pt x="250774" y="590499"/>
                  </a:lnTo>
                  <a:lnTo>
                    <a:pt x="251409" y="590499"/>
                  </a:lnTo>
                  <a:lnTo>
                    <a:pt x="251459" y="591147"/>
                  </a:lnTo>
                  <a:lnTo>
                    <a:pt x="251510" y="591147"/>
                  </a:lnTo>
                  <a:lnTo>
                    <a:pt x="251561" y="591795"/>
                  </a:lnTo>
                  <a:lnTo>
                    <a:pt x="251561" y="591147"/>
                  </a:lnTo>
                  <a:lnTo>
                    <a:pt x="251663" y="591147"/>
                  </a:lnTo>
                  <a:lnTo>
                    <a:pt x="251714" y="591795"/>
                  </a:lnTo>
                  <a:lnTo>
                    <a:pt x="251714" y="592442"/>
                  </a:lnTo>
                  <a:lnTo>
                    <a:pt x="251955" y="592442"/>
                  </a:lnTo>
                  <a:lnTo>
                    <a:pt x="251955" y="591795"/>
                  </a:lnTo>
                  <a:lnTo>
                    <a:pt x="252107" y="591795"/>
                  </a:lnTo>
                  <a:lnTo>
                    <a:pt x="252107" y="592442"/>
                  </a:lnTo>
                  <a:lnTo>
                    <a:pt x="252209" y="592442"/>
                  </a:lnTo>
                  <a:lnTo>
                    <a:pt x="252310" y="591795"/>
                  </a:lnTo>
                  <a:lnTo>
                    <a:pt x="252310" y="590499"/>
                  </a:lnTo>
                  <a:lnTo>
                    <a:pt x="252361" y="589166"/>
                  </a:lnTo>
                  <a:lnTo>
                    <a:pt x="252602" y="589166"/>
                  </a:lnTo>
                  <a:lnTo>
                    <a:pt x="252602" y="590499"/>
                  </a:lnTo>
                  <a:lnTo>
                    <a:pt x="252755" y="590499"/>
                  </a:lnTo>
                  <a:lnTo>
                    <a:pt x="252806" y="591147"/>
                  </a:lnTo>
                  <a:lnTo>
                    <a:pt x="252857" y="591147"/>
                  </a:lnTo>
                  <a:lnTo>
                    <a:pt x="252907" y="590499"/>
                  </a:lnTo>
                  <a:lnTo>
                    <a:pt x="252907" y="589166"/>
                  </a:lnTo>
                  <a:lnTo>
                    <a:pt x="252996" y="589166"/>
                  </a:lnTo>
                  <a:lnTo>
                    <a:pt x="253047" y="588569"/>
                  </a:lnTo>
                  <a:lnTo>
                    <a:pt x="253098" y="588569"/>
                  </a:lnTo>
                  <a:lnTo>
                    <a:pt x="253098" y="587921"/>
                  </a:lnTo>
                  <a:lnTo>
                    <a:pt x="253149" y="588569"/>
                  </a:lnTo>
                  <a:lnTo>
                    <a:pt x="253453" y="588569"/>
                  </a:lnTo>
                  <a:lnTo>
                    <a:pt x="253491" y="589166"/>
                  </a:lnTo>
                  <a:lnTo>
                    <a:pt x="253542" y="590499"/>
                  </a:lnTo>
                  <a:lnTo>
                    <a:pt x="253898" y="590499"/>
                  </a:lnTo>
                  <a:lnTo>
                    <a:pt x="253898" y="591147"/>
                  </a:lnTo>
                  <a:lnTo>
                    <a:pt x="254000" y="591147"/>
                  </a:lnTo>
                  <a:lnTo>
                    <a:pt x="254038" y="590499"/>
                  </a:lnTo>
                  <a:lnTo>
                    <a:pt x="254139" y="590499"/>
                  </a:lnTo>
                  <a:lnTo>
                    <a:pt x="254190" y="591147"/>
                  </a:lnTo>
                  <a:lnTo>
                    <a:pt x="254342" y="591147"/>
                  </a:lnTo>
                  <a:lnTo>
                    <a:pt x="254342" y="590499"/>
                  </a:lnTo>
                  <a:lnTo>
                    <a:pt x="254393" y="590499"/>
                  </a:lnTo>
                  <a:lnTo>
                    <a:pt x="254444" y="589166"/>
                  </a:lnTo>
                  <a:lnTo>
                    <a:pt x="254444" y="590499"/>
                  </a:lnTo>
                  <a:lnTo>
                    <a:pt x="255181" y="590499"/>
                  </a:lnTo>
                  <a:lnTo>
                    <a:pt x="255282" y="589166"/>
                  </a:lnTo>
                  <a:lnTo>
                    <a:pt x="255625" y="589166"/>
                  </a:lnTo>
                  <a:lnTo>
                    <a:pt x="255625" y="590499"/>
                  </a:lnTo>
                  <a:lnTo>
                    <a:pt x="255727" y="590499"/>
                  </a:lnTo>
                  <a:lnTo>
                    <a:pt x="255777" y="589166"/>
                  </a:lnTo>
                  <a:lnTo>
                    <a:pt x="256324" y="589166"/>
                  </a:lnTo>
                  <a:lnTo>
                    <a:pt x="256425" y="590499"/>
                  </a:lnTo>
                  <a:lnTo>
                    <a:pt x="256476" y="590499"/>
                  </a:lnTo>
                  <a:lnTo>
                    <a:pt x="256476" y="589166"/>
                  </a:lnTo>
                  <a:lnTo>
                    <a:pt x="256527" y="589166"/>
                  </a:lnTo>
                  <a:lnTo>
                    <a:pt x="256628" y="590499"/>
                  </a:lnTo>
                  <a:lnTo>
                    <a:pt x="257213" y="590499"/>
                  </a:lnTo>
                  <a:lnTo>
                    <a:pt x="257213" y="591147"/>
                  </a:lnTo>
                  <a:lnTo>
                    <a:pt x="257517" y="591147"/>
                  </a:lnTo>
                  <a:lnTo>
                    <a:pt x="257517" y="591795"/>
                  </a:lnTo>
                  <a:lnTo>
                    <a:pt x="257568" y="591795"/>
                  </a:lnTo>
                  <a:lnTo>
                    <a:pt x="257619" y="592442"/>
                  </a:lnTo>
                  <a:lnTo>
                    <a:pt x="257759" y="592442"/>
                  </a:lnTo>
                  <a:lnTo>
                    <a:pt x="257759" y="591795"/>
                  </a:lnTo>
                  <a:lnTo>
                    <a:pt x="257911" y="591795"/>
                  </a:lnTo>
                  <a:lnTo>
                    <a:pt x="258013" y="592442"/>
                  </a:lnTo>
                  <a:lnTo>
                    <a:pt x="258013" y="591795"/>
                  </a:lnTo>
                  <a:lnTo>
                    <a:pt x="258064" y="591147"/>
                  </a:lnTo>
                  <a:lnTo>
                    <a:pt x="258064" y="590499"/>
                  </a:lnTo>
                  <a:lnTo>
                    <a:pt x="258114" y="589166"/>
                  </a:lnTo>
                  <a:lnTo>
                    <a:pt x="258114" y="588569"/>
                  </a:lnTo>
                  <a:lnTo>
                    <a:pt x="258305" y="588569"/>
                  </a:lnTo>
                  <a:lnTo>
                    <a:pt x="258305" y="589166"/>
                  </a:lnTo>
                  <a:lnTo>
                    <a:pt x="258457" y="589166"/>
                  </a:lnTo>
                  <a:lnTo>
                    <a:pt x="258508" y="590499"/>
                  </a:lnTo>
                  <a:lnTo>
                    <a:pt x="258559" y="591147"/>
                  </a:lnTo>
                  <a:lnTo>
                    <a:pt x="258660" y="591795"/>
                  </a:lnTo>
                  <a:lnTo>
                    <a:pt x="258660" y="591147"/>
                  </a:lnTo>
                  <a:lnTo>
                    <a:pt x="258711" y="591147"/>
                  </a:lnTo>
                  <a:lnTo>
                    <a:pt x="258711" y="590499"/>
                  </a:lnTo>
                  <a:lnTo>
                    <a:pt x="258762" y="589166"/>
                  </a:lnTo>
                  <a:lnTo>
                    <a:pt x="258800" y="588569"/>
                  </a:lnTo>
                  <a:lnTo>
                    <a:pt x="258902" y="587921"/>
                  </a:lnTo>
                  <a:lnTo>
                    <a:pt x="258902" y="587223"/>
                  </a:lnTo>
                  <a:lnTo>
                    <a:pt x="258952" y="587223"/>
                  </a:lnTo>
                  <a:lnTo>
                    <a:pt x="259003" y="587921"/>
                  </a:lnTo>
                  <a:lnTo>
                    <a:pt x="259105" y="587921"/>
                  </a:lnTo>
                  <a:lnTo>
                    <a:pt x="259156" y="588569"/>
                  </a:lnTo>
                  <a:lnTo>
                    <a:pt x="259257" y="588569"/>
                  </a:lnTo>
                  <a:lnTo>
                    <a:pt x="259257" y="589166"/>
                  </a:lnTo>
                  <a:lnTo>
                    <a:pt x="259346" y="589166"/>
                  </a:lnTo>
                  <a:lnTo>
                    <a:pt x="259346" y="590499"/>
                  </a:lnTo>
                  <a:lnTo>
                    <a:pt x="259397" y="590499"/>
                  </a:lnTo>
                  <a:lnTo>
                    <a:pt x="259397" y="589166"/>
                  </a:lnTo>
                  <a:lnTo>
                    <a:pt x="259448" y="589166"/>
                  </a:lnTo>
                  <a:lnTo>
                    <a:pt x="259499" y="590499"/>
                  </a:lnTo>
                  <a:lnTo>
                    <a:pt x="259600" y="590499"/>
                  </a:lnTo>
                  <a:lnTo>
                    <a:pt x="259651" y="589166"/>
                  </a:lnTo>
                  <a:lnTo>
                    <a:pt x="259702" y="589166"/>
                  </a:lnTo>
                  <a:lnTo>
                    <a:pt x="259803" y="590499"/>
                  </a:lnTo>
                  <a:lnTo>
                    <a:pt x="260248" y="590499"/>
                  </a:lnTo>
                  <a:lnTo>
                    <a:pt x="260248" y="589166"/>
                  </a:lnTo>
                  <a:lnTo>
                    <a:pt x="260299" y="589166"/>
                  </a:lnTo>
                  <a:lnTo>
                    <a:pt x="260350" y="590499"/>
                  </a:lnTo>
                  <a:lnTo>
                    <a:pt x="260743" y="590499"/>
                  </a:lnTo>
                  <a:lnTo>
                    <a:pt x="260794" y="591147"/>
                  </a:lnTo>
                  <a:lnTo>
                    <a:pt x="260794" y="590499"/>
                  </a:lnTo>
                  <a:lnTo>
                    <a:pt x="261035" y="590499"/>
                  </a:lnTo>
                  <a:lnTo>
                    <a:pt x="261035" y="589166"/>
                  </a:lnTo>
                  <a:lnTo>
                    <a:pt x="261239" y="589166"/>
                  </a:lnTo>
                  <a:lnTo>
                    <a:pt x="261239" y="590499"/>
                  </a:lnTo>
                  <a:lnTo>
                    <a:pt x="261391" y="590499"/>
                  </a:lnTo>
                  <a:lnTo>
                    <a:pt x="261391" y="589166"/>
                  </a:lnTo>
                  <a:lnTo>
                    <a:pt x="261632" y="589166"/>
                  </a:lnTo>
                  <a:lnTo>
                    <a:pt x="261683" y="590499"/>
                  </a:lnTo>
                  <a:lnTo>
                    <a:pt x="261734" y="590499"/>
                  </a:lnTo>
                  <a:lnTo>
                    <a:pt x="261734" y="589166"/>
                  </a:lnTo>
                  <a:lnTo>
                    <a:pt x="261835" y="590499"/>
                  </a:lnTo>
                  <a:lnTo>
                    <a:pt x="261835" y="589166"/>
                  </a:lnTo>
                  <a:lnTo>
                    <a:pt x="261886" y="590499"/>
                  </a:lnTo>
                  <a:lnTo>
                    <a:pt x="261975" y="590499"/>
                  </a:lnTo>
                  <a:lnTo>
                    <a:pt x="261975" y="589166"/>
                  </a:lnTo>
                  <a:lnTo>
                    <a:pt x="262331" y="589166"/>
                  </a:lnTo>
                  <a:lnTo>
                    <a:pt x="262331" y="590499"/>
                  </a:lnTo>
                  <a:lnTo>
                    <a:pt x="262382" y="590499"/>
                  </a:lnTo>
                  <a:lnTo>
                    <a:pt x="262432" y="589166"/>
                  </a:lnTo>
                  <a:lnTo>
                    <a:pt x="262521" y="590499"/>
                  </a:lnTo>
                  <a:lnTo>
                    <a:pt x="262572" y="590499"/>
                  </a:lnTo>
                  <a:lnTo>
                    <a:pt x="262623" y="591147"/>
                  </a:lnTo>
                  <a:lnTo>
                    <a:pt x="262623" y="590499"/>
                  </a:lnTo>
                  <a:lnTo>
                    <a:pt x="262674" y="590499"/>
                  </a:lnTo>
                  <a:lnTo>
                    <a:pt x="262674" y="591147"/>
                  </a:lnTo>
                  <a:lnTo>
                    <a:pt x="262826" y="591147"/>
                  </a:lnTo>
                  <a:lnTo>
                    <a:pt x="262826" y="590499"/>
                  </a:lnTo>
                  <a:lnTo>
                    <a:pt x="262978" y="590499"/>
                  </a:lnTo>
                  <a:lnTo>
                    <a:pt x="262978" y="591147"/>
                  </a:lnTo>
                  <a:lnTo>
                    <a:pt x="263016" y="590499"/>
                  </a:lnTo>
                  <a:lnTo>
                    <a:pt x="263118" y="590499"/>
                  </a:lnTo>
                  <a:lnTo>
                    <a:pt x="263220" y="591147"/>
                  </a:lnTo>
                  <a:lnTo>
                    <a:pt x="263563" y="591147"/>
                  </a:lnTo>
                  <a:lnTo>
                    <a:pt x="263563" y="591795"/>
                  </a:lnTo>
                  <a:lnTo>
                    <a:pt x="263766" y="591795"/>
                  </a:lnTo>
                  <a:lnTo>
                    <a:pt x="263867" y="591147"/>
                  </a:lnTo>
                  <a:lnTo>
                    <a:pt x="263867" y="591795"/>
                  </a:lnTo>
                  <a:lnTo>
                    <a:pt x="263918" y="591795"/>
                  </a:lnTo>
                  <a:lnTo>
                    <a:pt x="263969" y="592442"/>
                  </a:lnTo>
                  <a:lnTo>
                    <a:pt x="264020" y="591795"/>
                  </a:lnTo>
                  <a:lnTo>
                    <a:pt x="264109" y="591795"/>
                  </a:lnTo>
                  <a:lnTo>
                    <a:pt x="264109" y="590499"/>
                  </a:lnTo>
                  <a:lnTo>
                    <a:pt x="264159" y="589166"/>
                  </a:lnTo>
                  <a:lnTo>
                    <a:pt x="264159" y="587921"/>
                  </a:lnTo>
                  <a:lnTo>
                    <a:pt x="264363" y="587921"/>
                  </a:lnTo>
                  <a:lnTo>
                    <a:pt x="264363" y="588569"/>
                  </a:lnTo>
                  <a:lnTo>
                    <a:pt x="264464" y="588569"/>
                  </a:lnTo>
                  <a:lnTo>
                    <a:pt x="264566" y="589166"/>
                  </a:lnTo>
                  <a:lnTo>
                    <a:pt x="264604" y="590499"/>
                  </a:lnTo>
                  <a:lnTo>
                    <a:pt x="264655" y="590499"/>
                  </a:lnTo>
                  <a:lnTo>
                    <a:pt x="264655" y="589166"/>
                  </a:lnTo>
                  <a:lnTo>
                    <a:pt x="264706" y="589166"/>
                  </a:lnTo>
                  <a:lnTo>
                    <a:pt x="264706" y="588569"/>
                  </a:lnTo>
                  <a:lnTo>
                    <a:pt x="264807" y="587921"/>
                  </a:lnTo>
                  <a:lnTo>
                    <a:pt x="264858" y="587223"/>
                  </a:lnTo>
                  <a:lnTo>
                    <a:pt x="264858" y="587921"/>
                  </a:lnTo>
                  <a:lnTo>
                    <a:pt x="265150" y="587921"/>
                  </a:lnTo>
                  <a:lnTo>
                    <a:pt x="265252" y="588569"/>
                  </a:lnTo>
                  <a:lnTo>
                    <a:pt x="265302" y="588569"/>
                  </a:lnTo>
                  <a:lnTo>
                    <a:pt x="265353" y="589166"/>
                  </a:lnTo>
                  <a:lnTo>
                    <a:pt x="265455" y="590499"/>
                  </a:lnTo>
                  <a:lnTo>
                    <a:pt x="265506" y="589166"/>
                  </a:lnTo>
                  <a:lnTo>
                    <a:pt x="265607" y="589166"/>
                  </a:lnTo>
                  <a:lnTo>
                    <a:pt x="265607" y="590499"/>
                  </a:lnTo>
                  <a:lnTo>
                    <a:pt x="265696" y="590499"/>
                  </a:lnTo>
                  <a:lnTo>
                    <a:pt x="265696" y="589166"/>
                  </a:lnTo>
                  <a:lnTo>
                    <a:pt x="265747" y="589166"/>
                  </a:lnTo>
                  <a:lnTo>
                    <a:pt x="265798" y="590499"/>
                  </a:lnTo>
                  <a:lnTo>
                    <a:pt x="265849" y="590499"/>
                  </a:lnTo>
                  <a:lnTo>
                    <a:pt x="265849" y="591147"/>
                  </a:lnTo>
                  <a:lnTo>
                    <a:pt x="265950" y="590499"/>
                  </a:lnTo>
                  <a:lnTo>
                    <a:pt x="266001" y="590499"/>
                  </a:lnTo>
                  <a:lnTo>
                    <a:pt x="266001" y="589166"/>
                  </a:lnTo>
                  <a:lnTo>
                    <a:pt x="266052" y="590499"/>
                  </a:lnTo>
                  <a:lnTo>
                    <a:pt x="266153" y="589166"/>
                  </a:lnTo>
                  <a:lnTo>
                    <a:pt x="266649" y="589166"/>
                  </a:lnTo>
                  <a:lnTo>
                    <a:pt x="266700" y="590499"/>
                  </a:lnTo>
                  <a:lnTo>
                    <a:pt x="266700" y="589166"/>
                  </a:lnTo>
                  <a:lnTo>
                    <a:pt x="266738" y="590499"/>
                  </a:lnTo>
                  <a:lnTo>
                    <a:pt x="266839" y="590499"/>
                  </a:lnTo>
                  <a:lnTo>
                    <a:pt x="266839" y="589166"/>
                  </a:lnTo>
                  <a:lnTo>
                    <a:pt x="266890" y="589166"/>
                  </a:lnTo>
                  <a:lnTo>
                    <a:pt x="266890" y="588569"/>
                  </a:lnTo>
                  <a:lnTo>
                    <a:pt x="267042" y="588569"/>
                  </a:lnTo>
                  <a:lnTo>
                    <a:pt x="267093" y="589166"/>
                  </a:lnTo>
                  <a:lnTo>
                    <a:pt x="267589" y="589166"/>
                  </a:lnTo>
                  <a:lnTo>
                    <a:pt x="267589" y="590499"/>
                  </a:lnTo>
                  <a:lnTo>
                    <a:pt x="267639" y="589166"/>
                  </a:lnTo>
                  <a:lnTo>
                    <a:pt x="267741" y="589166"/>
                  </a:lnTo>
                  <a:lnTo>
                    <a:pt x="267779" y="588569"/>
                  </a:lnTo>
                  <a:lnTo>
                    <a:pt x="267779" y="589166"/>
                  </a:lnTo>
                  <a:lnTo>
                    <a:pt x="268528" y="589166"/>
                  </a:lnTo>
                  <a:lnTo>
                    <a:pt x="268630" y="590499"/>
                  </a:lnTo>
                  <a:lnTo>
                    <a:pt x="268630" y="589166"/>
                  </a:lnTo>
                  <a:lnTo>
                    <a:pt x="268681" y="590499"/>
                  </a:lnTo>
                  <a:lnTo>
                    <a:pt x="268732" y="589166"/>
                  </a:lnTo>
                  <a:lnTo>
                    <a:pt x="268732" y="590499"/>
                  </a:lnTo>
                  <a:lnTo>
                    <a:pt x="269125" y="590499"/>
                  </a:lnTo>
                  <a:lnTo>
                    <a:pt x="269176" y="591147"/>
                  </a:lnTo>
                  <a:lnTo>
                    <a:pt x="269417" y="591147"/>
                  </a:lnTo>
                  <a:lnTo>
                    <a:pt x="269417" y="591795"/>
                  </a:lnTo>
                  <a:lnTo>
                    <a:pt x="269824" y="591795"/>
                  </a:lnTo>
                  <a:lnTo>
                    <a:pt x="269824" y="591147"/>
                  </a:lnTo>
                  <a:lnTo>
                    <a:pt x="269875" y="591795"/>
                  </a:lnTo>
                  <a:lnTo>
                    <a:pt x="270014" y="591795"/>
                  </a:lnTo>
                  <a:lnTo>
                    <a:pt x="270014" y="591147"/>
                  </a:lnTo>
                  <a:lnTo>
                    <a:pt x="270065" y="591147"/>
                  </a:lnTo>
                  <a:lnTo>
                    <a:pt x="270116" y="590499"/>
                  </a:lnTo>
                  <a:lnTo>
                    <a:pt x="270116" y="589166"/>
                  </a:lnTo>
                  <a:lnTo>
                    <a:pt x="270217" y="589166"/>
                  </a:lnTo>
                  <a:lnTo>
                    <a:pt x="270217" y="588569"/>
                  </a:lnTo>
                  <a:lnTo>
                    <a:pt x="270268" y="587921"/>
                  </a:lnTo>
                  <a:lnTo>
                    <a:pt x="270459" y="587921"/>
                  </a:lnTo>
                  <a:lnTo>
                    <a:pt x="270459" y="588569"/>
                  </a:lnTo>
                  <a:lnTo>
                    <a:pt x="270509" y="589166"/>
                  </a:lnTo>
                  <a:lnTo>
                    <a:pt x="270611" y="589166"/>
                  </a:lnTo>
                  <a:lnTo>
                    <a:pt x="270611" y="588569"/>
                  </a:lnTo>
                  <a:lnTo>
                    <a:pt x="270713" y="588569"/>
                  </a:lnTo>
                  <a:lnTo>
                    <a:pt x="270764" y="587921"/>
                  </a:lnTo>
                  <a:lnTo>
                    <a:pt x="270814" y="587223"/>
                  </a:lnTo>
                  <a:lnTo>
                    <a:pt x="270954" y="587223"/>
                  </a:lnTo>
                  <a:lnTo>
                    <a:pt x="271005" y="587921"/>
                  </a:lnTo>
                  <a:lnTo>
                    <a:pt x="271208" y="587921"/>
                  </a:lnTo>
                  <a:lnTo>
                    <a:pt x="271208" y="588569"/>
                  </a:lnTo>
                  <a:lnTo>
                    <a:pt x="271500" y="588569"/>
                  </a:lnTo>
                  <a:lnTo>
                    <a:pt x="271602" y="589166"/>
                  </a:lnTo>
                  <a:lnTo>
                    <a:pt x="271703" y="589166"/>
                  </a:lnTo>
                  <a:lnTo>
                    <a:pt x="271703" y="588569"/>
                  </a:lnTo>
                  <a:lnTo>
                    <a:pt x="271957" y="588569"/>
                  </a:lnTo>
                  <a:lnTo>
                    <a:pt x="271957" y="589166"/>
                  </a:lnTo>
                  <a:lnTo>
                    <a:pt x="272097" y="589166"/>
                  </a:lnTo>
                  <a:lnTo>
                    <a:pt x="272097" y="588569"/>
                  </a:lnTo>
                  <a:lnTo>
                    <a:pt x="272148" y="589166"/>
                  </a:lnTo>
                  <a:lnTo>
                    <a:pt x="272148" y="588569"/>
                  </a:lnTo>
                  <a:lnTo>
                    <a:pt x="272300" y="588569"/>
                  </a:lnTo>
                  <a:lnTo>
                    <a:pt x="272351" y="589166"/>
                  </a:lnTo>
                  <a:lnTo>
                    <a:pt x="272592" y="589166"/>
                  </a:lnTo>
                  <a:lnTo>
                    <a:pt x="272643" y="588569"/>
                  </a:lnTo>
                  <a:lnTo>
                    <a:pt x="272999" y="588569"/>
                  </a:lnTo>
                  <a:lnTo>
                    <a:pt x="272999" y="587921"/>
                  </a:lnTo>
                  <a:lnTo>
                    <a:pt x="273050" y="587921"/>
                  </a:lnTo>
                  <a:lnTo>
                    <a:pt x="273088" y="587223"/>
                  </a:lnTo>
                  <a:lnTo>
                    <a:pt x="273189" y="587921"/>
                  </a:lnTo>
                  <a:lnTo>
                    <a:pt x="273240" y="587921"/>
                  </a:lnTo>
                  <a:lnTo>
                    <a:pt x="273240" y="588569"/>
                  </a:lnTo>
                  <a:lnTo>
                    <a:pt x="273392" y="588569"/>
                  </a:lnTo>
                  <a:lnTo>
                    <a:pt x="273443" y="589166"/>
                  </a:lnTo>
                  <a:lnTo>
                    <a:pt x="273494" y="588569"/>
                  </a:lnTo>
                  <a:lnTo>
                    <a:pt x="273494" y="589166"/>
                  </a:lnTo>
                  <a:lnTo>
                    <a:pt x="273545" y="588569"/>
                  </a:lnTo>
                  <a:lnTo>
                    <a:pt x="274180" y="588569"/>
                  </a:lnTo>
                  <a:lnTo>
                    <a:pt x="274231" y="589166"/>
                  </a:lnTo>
                  <a:lnTo>
                    <a:pt x="274231" y="588569"/>
                  </a:lnTo>
                  <a:lnTo>
                    <a:pt x="274383" y="588569"/>
                  </a:lnTo>
                  <a:lnTo>
                    <a:pt x="274434" y="589166"/>
                  </a:lnTo>
                  <a:lnTo>
                    <a:pt x="275132" y="589166"/>
                  </a:lnTo>
                  <a:lnTo>
                    <a:pt x="275132" y="590499"/>
                  </a:lnTo>
                  <a:lnTo>
                    <a:pt x="275475" y="590499"/>
                  </a:lnTo>
                  <a:lnTo>
                    <a:pt x="275475" y="591147"/>
                  </a:lnTo>
                  <a:lnTo>
                    <a:pt x="275577" y="591147"/>
                  </a:lnTo>
                  <a:lnTo>
                    <a:pt x="275678" y="591795"/>
                  </a:lnTo>
                  <a:lnTo>
                    <a:pt x="275767" y="591795"/>
                  </a:lnTo>
                  <a:lnTo>
                    <a:pt x="275767" y="591147"/>
                  </a:lnTo>
                  <a:lnTo>
                    <a:pt x="275818" y="591795"/>
                  </a:lnTo>
                  <a:lnTo>
                    <a:pt x="275920" y="591795"/>
                  </a:lnTo>
                  <a:lnTo>
                    <a:pt x="275971" y="591147"/>
                  </a:lnTo>
                  <a:lnTo>
                    <a:pt x="275971" y="590499"/>
                  </a:lnTo>
                  <a:lnTo>
                    <a:pt x="276021" y="588569"/>
                  </a:lnTo>
                  <a:lnTo>
                    <a:pt x="276021" y="587921"/>
                  </a:lnTo>
                  <a:lnTo>
                    <a:pt x="276263" y="587921"/>
                  </a:lnTo>
                  <a:lnTo>
                    <a:pt x="276263" y="588569"/>
                  </a:lnTo>
                  <a:lnTo>
                    <a:pt x="276415" y="588569"/>
                  </a:lnTo>
                  <a:lnTo>
                    <a:pt x="276466" y="589166"/>
                  </a:lnTo>
                  <a:lnTo>
                    <a:pt x="276567" y="589166"/>
                  </a:lnTo>
                  <a:lnTo>
                    <a:pt x="276618" y="588569"/>
                  </a:lnTo>
                  <a:lnTo>
                    <a:pt x="276618" y="587921"/>
                  </a:lnTo>
                  <a:lnTo>
                    <a:pt x="276669" y="587921"/>
                  </a:lnTo>
                  <a:lnTo>
                    <a:pt x="276669" y="587223"/>
                  </a:lnTo>
                  <a:lnTo>
                    <a:pt x="276720" y="587223"/>
                  </a:lnTo>
                  <a:lnTo>
                    <a:pt x="276809" y="586588"/>
                  </a:lnTo>
                  <a:lnTo>
                    <a:pt x="276859" y="587223"/>
                  </a:lnTo>
                  <a:lnTo>
                    <a:pt x="276910" y="587921"/>
                  </a:lnTo>
                  <a:lnTo>
                    <a:pt x="277114" y="587921"/>
                  </a:lnTo>
                  <a:lnTo>
                    <a:pt x="277164" y="588569"/>
                  </a:lnTo>
                  <a:lnTo>
                    <a:pt x="277266" y="588569"/>
                  </a:lnTo>
                  <a:lnTo>
                    <a:pt x="277266" y="589166"/>
                  </a:lnTo>
                  <a:lnTo>
                    <a:pt x="277355" y="589166"/>
                  </a:lnTo>
                  <a:lnTo>
                    <a:pt x="277406" y="588569"/>
                  </a:lnTo>
                  <a:lnTo>
                    <a:pt x="277507" y="588569"/>
                  </a:lnTo>
                  <a:lnTo>
                    <a:pt x="277558" y="589166"/>
                  </a:lnTo>
                  <a:lnTo>
                    <a:pt x="277609" y="589166"/>
                  </a:lnTo>
                  <a:lnTo>
                    <a:pt x="277710" y="588569"/>
                  </a:lnTo>
                  <a:lnTo>
                    <a:pt x="277850" y="588569"/>
                  </a:lnTo>
                  <a:lnTo>
                    <a:pt x="277952" y="589166"/>
                  </a:lnTo>
                  <a:lnTo>
                    <a:pt x="278053" y="589166"/>
                  </a:lnTo>
                  <a:lnTo>
                    <a:pt x="278155" y="588569"/>
                  </a:lnTo>
                  <a:lnTo>
                    <a:pt x="278206" y="589166"/>
                  </a:lnTo>
                  <a:lnTo>
                    <a:pt x="278206" y="588569"/>
                  </a:lnTo>
                  <a:lnTo>
                    <a:pt x="278307" y="588569"/>
                  </a:lnTo>
                  <a:lnTo>
                    <a:pt x="278396" y="587921"/>
                  </a:lnTo>
                  <a:lnTo>
                    <a:pt x="278396" y="588569"/>
                  </a:lnTo>
                  <a:lnTo>
                    <a:pt x="278447" y="588569"/>
                  </a:lnTo>
                  <a:lnTo>
                    <a:pt x="278447" y="587921"/>
                  </a:lnTo>
                  <a:lnTo>
                    <a:pt x="278498" y="588569"/>
                  </a:lnTo>
                  <a:lnTo>
                    <a:pt x="278549" y="588569"/>
                  </a:lnTo>
                  <a:lnTo>
                    <a:pt x="278650" y="589166"/>
                  </a:lnTo>
                  <a:lnTo>
                    <a:pt x="278701" y="588569"/>
                  </a:lnTo>
                  <a:lnTo>
                    <a:pt x="278752" y="589166"/>
                  </a:lnTo>
                  <a:lnTo>
                    <a:pt x="278752" y="588569"/>
                  </a:lnTo>
                  <a:lnTo>
                    <a:pt x="279400" y="588569"/>
                  </a:lnTo>
                  <a:lnTo>
                    <a:pt x="279438" y="587921"/>
                  </a:lnTo>
                  <a:lnTo>
                    <a:pt x="279590" y="587921"/>
                  </a:lnTo>
                  <a:lnTo>
                    <a:pt x="279590" y="588569"/>
                  </a:lnTo>
                  <a:lnTo>
                    <a:pt x="279641" y="588569"/>
                  </a:lnTo>
                  <a:lnTo>
                    <a:pt x="279742" y="587921"/>
                  </a:lnTo>
                  <a:lnTo>
                    <a:pt x="280034" y="587921"/>
                  </a:lnTo>
                  <a:lnTo>
                    <a:pt x="280034" y="588569"/>
                  </a:lnTo>
                  <a:lnTo>
                    <a:pt x="280238" y="588569"/>
                  </a:lnTo>
                  <a:lnTo>
                    <a:pt x="280289" y="589166"/>
                  </a:lnTo>
                  <a:lnTo>
                    <a:pt x="280289" y="588569"/>
                  </a:lnTo>
                  <a:lnTo>
                    <a:pt x="280936" y="588569"/>
                  </a:lnTo>
                  <a:lnTo>
                    <a:pt x="280987" y="589166"/>
                  </a:lnTo>
                  <a:lnTo>
                    <a:pt x="281177" y="589166"/>
                  </a:lnTo>
                  <a:lnTo>
                    <a:pt x="281228" y="590499"/>
                  </a:lnTo>
                  <a:lnTo>
                    <a:pt x="281432" y="590499"/>
                  </a:lnTo>
                  <a:lnTo>
                    <a:pt x="281432" y="591147"/>
                  </a:lnTo>
                  <a:lnTo>
                    <a:pt x="281482" y="591147"/>
                  </a:lnTo>
                  <a:lnTo>
                    <a:pt x="281571" y="590499"/>
                  </a:lnTo>
                  <a:lnTo>
                    <a:pt x="281673" y="590499"/>
                  </a:lnTo>
                  <a:lnTo>
                    <a:pt x="281673" y="591147"/>
                  </a:lnTo>
                  <a:lnTo>
                    <a:pt x="281876" y="591147"/>
                  </a:lnTo>
                  <a:lnTo>
                    <a:pt x="281876" y="590499"/>
                  </a:lnTo>
                  <a:lnTo>
                    <a:pt x="281927" y="589166"/>
                  </a:lnTo>
                  <a:lnTo>
                    <a:pt x="282028" y="587921"/>
                  </a:lnTo>
                  <a:lnTo>
                    <a:pt x="282028" y="587223"/>
                  </a:lnTo>
                  <a:lnTo>
                    <a:pt x="282066" y="586588"/>
                  </a:lnTo>
                  <a:lnTo>
                    <a:pt x="282117" y="587223"/>
                  </a:lnTo>
                  <a:lnTo>
                    <a:pt x="282270" y="587223"/>
                  </a:lnTo>
                  <a:lnTo>
                    <a:pt x="282321" y="587921"/>
                  </a:lnTo>
                  <a:lnTo>
                    <a:pt x="282371" y="588569"/>
                  </a:lnTo>
                  <a:lnTo>
                    <a:pt x="282473" y="588569"/>
                  </a:lnTo>
                  <a:lnTo>
                    <a:pt x="282473" y="589166"/>
                  </a:lnTo>
                  <a:lnTo>
                    <a:pt x="282524" y="588569"/>
                  </a:lnTo>
                  <a:lnTo>
                    <a:pt x="282575" y="587921"/>
                  </a:lnTo>
                  <a:lnTo>
                    <a:pt x="282613" y="586588"/>
                  </a:lnTo>
                  <a:lnTo>
                    <a:pt x="282613" y="585242"/>
                  </a:lnTo>
                  <a:lnTo>
                    <a:pt x="282714" y="586588"/>
                  </a:lnTo>
                  <a:lnTo>
                    <a:pt x="282714" y="585242"/>
                  </a:lnTo>
                  <a:lnTo>
                    <a:pt x="282765" y="585242"/>
                  </a:lnTo>
                  <a:lnTo>
                    <a:pt x="282765" y="586588"/>
                  </a:lnTo>
                  <a:lnTo>
                    <a:pt x="282816" y="586588"/>
                  </a:lnTo>
                  <a:lnTo>
                    <a:pt x="282917" y="587223"/>
                  </a:lnTo>
                  <a:lnTo>
                    <a:pt x="283019" y="587223"/>
                  </a:lnTo>
                  <a:lnTo>
                    <a:pt x="283019" y="587921"/>
                  </a:lnTo>
                  <a:lnTo>
                    <a:pt x="283070" y="587921"/>
                  </a:lnTo>
                  <a:lnTo>
                    <a:pt x="283159" y="588569"/>
                  </a:lnTo>
                  <a:lnTo>
                    <a:pt x="283413" y="588569"/>
                  </a:lnTo>
                  <a:lnTo>
                    <a:pt x="283413" y="587921"/>
                  </a:lnTo>
                  <a:lnTo>
                    <a:pt x="283616" y="587921"/>
                  </a:lnTo>
                  <a:lnTo>
                    <a:pt x="283616" y="588569"/>
                  </a:lnTo>
                  <a:lnTo>
                    <a:pt x="283654" y="587921"/>
                  </a:lnTo>
                  <a:lnTo>
                    <a:pt x="283654" y="588569"/>
                  </a:lnTo>
                  <a:lnTo>
                    <a:pt x="283908" y="588569"/>
                  </a:lnTo>
                  <a:lnTo>
                    <a:pt x="283908" y="587921"/>
                  </a:lnTo>
                  <a:lnTo>
                    <a:pt x="284111" y="587921"/>
                  </a:lnTo>
                  <a:lnTo>
                    <a:pt x="284162" y="588569"/>
                  </a:lnTo>
                  <a:lnTo>
                    <a:pt x="284162" y="587921"/>
                  </a:lnTo>
                  <a:lnTo>
                    <a:pt x="284200" y="588569"/>
                  </a:lnTo>
                  <a:lnTo>
                    <a:pt x="284302" y="588569"/>
                  </a:lnTo>
                  <a:lnTo>
                    <a:pt x="284302" y="589166"/>
                  </a:lnTo>
                  <a:lnTo>
                    <a:pt x="284352" y="589166"/>
                  </a:lnTo>
                  <a:lnTo>
                    <a:pt x="284403" y="588569"/>
                  </a:lnTo>
                  <a:lnTo>
                    <a:pt x="284607" y="588569"/>
                  </a:lnTo>
                  <a:lnTo>
                    <a:pt x="284607" y="587921"/>
                  </a:lnTo>
                  <a:lnTo>
                    <a:pt x="284746" y="587921"/>
                  </a:lnTo>
                  <a:lnTo>
                    <a:pt x="284746" y="587223"/>
                  </a:lnTo>
                  <a:lnTo>
                    <a:pt x="284899" y="587223"/>
                  </a:lnTo>
                  <a:lnTo>
                    <a:pt x="284899" y="587921"/>
                  </a:lnTo>
                  <a:lnTo>
                    <a:pt x="285051" y="587921"/>
                  </a:lnTo>
                  <a:lnTo>
                    <a:pt x="285102" y="587223"/>
                  </a:lnTo>
                  <a:lnTo>
                    <a:pt x="285102" y="587921"/>
                  </a:lnTo>
                  <a:lnTo>
                    <a:pt x="285343" y="587921"/>
                  </a:lnTo>
                  <a:lnTo>
                    <a:pt x="285343" y="588569"/>
                  </a:lnTo>
                  <a:lnTo>
                    <a:pt x="285445" y="587921"/>
                  </a:lnTo>
                  <a:lnTo>
                    <a:pt x="285445" y="588569"/>
                  </a:lnTo>
                  <a:lnTo>
                    <a:pt x="285496" y="588569"/>
                  </a:lnTo>
                  <a:lnTo>
                    <a:pt x="285496" y="587921"/>
                  </a:lnTo>
                  <a:lnTo>
                    <a:pt x="285648" y="587921"/>
                  </a:lnTo>
                  <a:lnTo>
                    <a:pt x="285648" y="588569"/>
                  </a:lnTo>
                  <a:lnTo>
                    <a:pt x="285699" y="588569"/>
                  </a:lnTo>
                  <a:lnTo>
                    <a:pt x="285750" y="587921"/>
                  </a:lnTo>
                  <a:lnTo>
                    <a:pt x="285991" y="587921"/>
                  </a:lnTo>
                  <a:lnTo>
                    <a:pt x="286092" y="588569"/>
                  </a:lnTo>
                  <a:lnTo>
                    <a:pt x="286092" y="587921"/>
                  </a:lnTo>
                  <a:lnTo>
                    <a:pt x="286143" y="587921"/>
                  </a:lnTo>
                  <a:lnTo>
                    <a:pt x="286194" y="588569"/>
                  </a:lnTo>
                  <a:lnTo>
                    <a:pt x="286245" y="587921"/>
                  </a:lnTo>
                  <a:lnTo>
                    <a:pt x="286245" y="588569"/>
                  </a:lnTo>
                  <a:lnTo>
                    <a:pt x="286334" y="588569"/>
                  </a:lnTo>
                  <a:lnTo>
                    <a:pt x="286384" y="589166"/>
                  </a:lnTo>
                  <a:lnTo>
                    <a:pt x="286435" y="588569"/>
                  </a:lnTo>
                  <a:lnTo>
                    <a:pt x="286588" y="588569"/>
                  </a:lnTo>
                  <a:lnTo>
                    <a:pt x="286588" y="589166"/>
                  </a:lnTo>
                  <a:lnTo>
                    <a:pt x="286639" y="589166"/>
                  </a:lnTo>
                  <a:lnTo>
                    <a:pt x="286689" y="588569"/>
                  </a:lnTo>
                  <a:lnTo>
                    <a:pt x="286931" y="588569"/>
                  </a:lnTo>
                  <a:lnTo>
                    <a:pt x="286931" y="589166"/>
                  </a:lnTo>
                  <a:lnTo>
                    <a:pt x="287235" y="589166"/>
                  </a:lnTo>
                  <a:lnTo>
                    <a:pt x="287235" y="590499"/>
                  </a:lnTo>
                  <a:lnTo>
                    <a:pt x="287337" y="590499"/>
                  </a:lnTo>
                  <a:lnTo>
                    <a:pt x="287337" y="591147"/>
                  </a:lnTo>
                  <a:lnTo>
                    <a:pt x="287375" y="591147"/>
                  </a:lnTo>
                  <a:lnTo>
                    <a:pt x="287477" y="590499"/>
                  </a:lnTo>
                  <a:lnTo>
                    <a:pt x="287527" y="591147"/>
                  </a:lnTo>
                  <a:lnTo>
                    <a:pt x="287578" y="591147"/>
                  </a:lnTo>
                  <a:lnTo>
                    <a:pt x="287578" y="590499"/>
                  </a:lnTo>
                  <a:lnTo>
                    <a:pt x="287680" y="591147"/>
                  </a:lnTo>
                  <a:lnTo>
                    <a:pt x="287731" y="591147"/>
                  </a:lnTo>
                  <a:lnTo>
                    <a:pt x="287782" y="590499"/>
                  </a:lnTo>
                  <a:lnTo>
                    <a:pt x="287782" y="589166"/>
                  </a:lnTo>
                  <a:lnTo>
                    <a:pt x="287832" y="588569"/>
                  </a:lnTo>
                  <a:lnTo>
                    <a:pt x="287832" y="587921"/>
                  </a:lnTo>
                  <a:lnTo>
                    <a:pt x="288023" y="587921"/>
                  </a:lnTo>
                  <a:lnTo>
                    <a:pt x="288023" y="588569"/>
                  </a:lnTo>
                  <a:lnTo>
                    <a:pt x="288226" y="588569"/>
                  </a:lnTo>
                  <a:lnTo>
                    <a:pt x="288226" y="589166"/>
                  </a:lnTo>
                  <a:lnTo>
                    <a:pt x="288277" y="590499"/>
                  </a:lnTo>
                  <a:lnTo>
                    <a:pt x="288378" y="590499"/>
                  </a:lnTo>
                  <a:lnTo>
                    <a:pt x="288416" y="589166"/>
                  </a:lnTo>
                  <a:lnTo>
                    <a:pt x="288416" y="588569"/>
                  </a:lnTo>
                  <a:lnTo>
                    <a:pt x="288467" y="587921"/>
                  </a:lnTo>
                  <a:lnTo>
                    <a:pt x="288467" y="587223"/>
                  </a:lnTo>
                  <a:lnTo>
                    <a:pt x="288518" y="586588"/>
                  </a:lnTo>
                  <a:lnTo>
                    <a:pt x="288823" y="586588"/>
                  </a:lnTo>
                  <a:lnTo>
                    <a:pt x="288874" y="587223"/>
                  </a:lnTo>
                  <a:lnTo>
                    <a:pt x="288963" y="587223"/>
                  </a:lnTo>
                  <a:lnTo>
                    <a:pt x="288963" y="587921"/>
                  </a:lnTo>
                  <a:lnTo>
                    <a:pt x="289064" y="587921"/>
                  </a:lnTo>
                  <a:lnTo>
                    <a:pt x="289064" y="588569"/>
                  </a:lnTo>
                  <a:lnTo>
                    <a:pt x="289115" y="587921"/>
                  </a:lnTo>
                  <a:lnTo>
                    <a:pt x="289369" y="587921"/>
                  </a:lnTo>
                  <a:lnTo>
                    <a:pt x="289420" y="588569"/>
                  </a:lnTo>
                  <a:lnTo>
                    <a:pt x="289661" y="588569"/>
                  </a:lnTo>
                  <a:lnTo>
                    <a:pt x="289661" y="587921"/>
                  </a:lnTo>
                  <a:lnTo>
                    <a:pt x="289763" y="588569"/>
                  </a:lnTo>
                  <a:lnTo>
                    <a:pt x="290004" y="588569"/>
                  </a:lnTo>
                  <a:lnTo>
                    <a:pt x="290055" y="587921"/>
                  </a:lnTo>
                  <a:lnTo>
                    <a:pt x="290106" y="588569"/>
                  </a:lnTo>
                  <a:lnTo>
                    <a:pt x="290258" y="588569"/>
                  </a:lnTo>
                  <a:lnTo>
                    <a:pt x="290258" y="587921"/>
                  </a:lnTo>
                  <a:lnTo>
                    <a:pt x="290309" y="587921"/>
                  </a:lnTo>
                  <a:lnTo>
                    <a:pt x="290410" y="588569"/>
                  </a:lnTo>
                  <a:lnTo>
                    <a:pt x="290550" y="588569"/>
                  </a:lnTo>
                  <a:lnTo>
                    <a:pt x="290550" y="587921"/>
                  </a:lnTo>
                  <a:lnTo>
                    <a:pt x="290702" y="587921"/>
                  </a:lnTo>
                  <a:lnTo>
                    <a:pt x="290702" y="588569"/>
                  </a:lnTo>
                  <a:lnTo>
                    <a:pt x="290753" y="587921"/>
                  </a:lnTo>
                  <a:lnTo>
                    <a:pt x="291096" y="587921"/>
                  </a:lnTo>
                  <a:lnTo>
                    <a:pt x="291096" y="588569"/>
                  </a:lnTo>
                  <a:lnTo>
                    <a:pt x="291198" y="588569"/>
                  </a:lnTo>
                  <a:lnTo>
                    <a:pt x="291249" y="587921"/>
                  </a:lnTo>
                  <a:lnTo>
                    <a:pt x="291591" y="587921"/>
                  </a:lnTo>
                  <a:lnTo>
                    <a:pt x="291642" y="588569"/>
                  </a:lnTo>
                  <a:lnTo>
                    <a:pt x="291693" y="587921"/>
                  </a:lnTo>
                  <a:lnTo>
                    <a:pt x="291795" y="588569"/>
                  </a:lnTo>
                  <a:lnTo>
                    <a:pt x="291795" y="587921"/>
                  </a:lnTo>
                  <a:lnTo>
                    <a:pt x="291846" y="587921"/>
                  </a:lnTo>
                  <a:lnTo>
                    <a:pt x="291896" y="588569"/>
                  </a:lnTo>
                  <a:lnTo>
                    <a:pt x="291998" y="588569"/>
                  </a:lnTo>
                  <a:lnTo>
                    <a:pt x="292049" y="587921"/>
                  </a:lnTo>
                  <a:lnTo>
                    <a:pt x="292100" y="587921"/>
                  </a:lnTo>
                  <a:lnTo>
                    <a:pt x="292138" y="588569"/>
                  </a:lnTo>
                  <a:lnTo>
                    <a:pt x="292544" y="588569"/>
                  </a:lnTo>
                  <a:lnTo>
                    <a:pt x="292595" y="589166"/>
                  </a:lnTo>
                  <a:lnTo>
                    <a:pt x="292595" y="588569"/>
                  </a:lnTo>
                  <a:lnTo>
                    <a:pt x="292785" y="588569"/>
                  </a:lnTo>
                  <a:lnTo>
                    <a:pt x="292785" y="589166"/>
                  </a:lnTo>
                  <a:lnTo>
                    <a:pt x="292989" y="589166"/>
                  </a:lnTo>
                  <a:lnTo>
                    <a:pt x="292989" y="590499"/>
                  </a:lnTo>
                  <a:lnTo>
                    <a:pt x="293382" y="590499"/>
                  </a:lnTo>
                  <a:lnTo>
                    <a:pt x="293433" y="589166"/>
                  </a:lnTo>
                  <a:lnTo>
                    <a:pt x="293433" y="590499"/>
                  </a:lnTo>
                  <a:lnTo>
                    <a:pt x="293585" y="590499"/>
                  </a:lnTo>
                  <a:lnTo>
                    <a:pt x="293636" y="591147"/>
                  </a:lnTo>
                  <a:lnTo>
                    <a:pt x="293687" y="591147"/>
                  </a:lnTo>
                  <a:lnTo>
                    <a:pt x="293687" y="589166"/>
                  </a:lnTo>
                  <a:lnTo>
                    <a:pt x="293725" y="589166"/>
                  </a:lnTo>
                  <a:lnTo>
                    <a:pt x="293827" y="587921"/>
                  </a:lnTo>
                  <a:lnTo>
                    <a:pt x="293827" y="587223"/>
                  </a:lnTo>
                  <a:lnTo>
                    <a:pt x="293877" y="587921"/>
                  </a:lnTo>
                  <a:lnTo>
                    <a:pt x="293877" y="587223"/>
                  </a:lnTo>
                  <a:lnTo>
                    <a:pt x="294030" y="587223"/>
                  </a:lnTo>
                  <a:lnTo>
                    <a:pt x="294030" y="587921"/>
                  </a:lnTo>
                  <a:lnTo>
                    <a:pt x="294132" y="587921"/>
                  </a:lnTo>
                  <a:lnTo>
                    <a:pt x="294132" y="588569"/>
                  </a:lnTo>
                  <a:lnTo>
                    <a:pt x="294182" y="588569"/>
                  </a:lnTo>
                  <a:lnTo>
                    <a:pt x="294271" y="589166"/>
                  </a:lnTo>
                  <a:lnTo>
                    <a:pt x="294322" y="589166"/>
                  </a:lnTo>
                  <a:lnTo>
                    <a:pt x="294322" y="588569"/>
                  </a:lnTo>
                  <a:lnTo>
                    <a:pt x="294373" y="587223"/>
                  </a:lnTo>
                  <a:lnTo>
                    <a:pt x="294424" y="586588"/>
                  </a:lnTo>
                  <a:lnTo>
                    <a:pt x="294424" y="585242"/>
                  </a:lnTo>
                  <a:lnTo>
                    <a:pt x="294576" y="585242"/>
                  </a:lnTo>
                  <a:lnTo>
                    <a:pt x="294627" y="586588"/>
                  </a:lnTo>
                  <a:lnTo>
                    <a:pt x="294766" y="586588"/>
                  </a:lnTo>
                  <a:lnTo>
                    <a:pt x="294766" y="587223"/>
                  </a:lnTo>
                  <a:lnTo>
                    <a:pt x="294868" y="587223"/>
                  </a:lnTo>
                  <a:lnTo>
                    <a:pt x="294970" y="587921"/>
                  </a:lnTo>
                  <a:lnTo>
                    <a:pt x="295021" y="588569"/>
                  </a:lnTo>
                  <a:lnTo>
                    <a:pt x="295173" y="588569"/>
                  </a:lnTo>
                  <a:lnTo>
                    <a:pt x="295224" y="587921"/>
                  </a:lnTo>
                  <a:lnTo>
                    <a:pt x="295224" y="588569"/>
                  </a:lnTo>
                  <a:lnTo>
                    <a:pt x="295275" y="587921"/>
                  </a:lnTo>
                  <a:lnTo>
                    <a:pt x="295859" y="587921"/>
                  </a:lnTo>
                  <a:lnTo>
                    <a:pt x="295909" y="588569"/>
                  </a:lnTo>
                  <a:lnTo>
                    <a:pt x="296011" y="588569"/>
                  </a:lnTo>
                  <a:lnTo>
                    <a:pt x="296011" y="587921"/>
                  </a:lnTo>
                  <a:lnTo>
                    <a:pt x="296113" y="588569"/>
                  </a:lnTo>
                  <a:lnTo>
                    <a:pt x="296164" y="589166"/>
                  </a:lnTo>
                  <a:lnTo>
                    <a:pt x="296354" y="589166"/>
                  </a:lnTo>
                  <a:lnTo>
                    <a:pt x="296354" y="588569"/>
                  </a:lnTo>
                  <a:lnTo>
                    <a:pt x="296557" y="588569"/>
                  </a:lnTo>
                  <a:lnTo>
                    <a:pt x="296557" y="587921"/>
                  </a:lnTo>
                  <a:lnTo>
                    <a:pt x="296659" y="587921"/>
                  </a:lnTo>
                  <a:lnTo>
                    <a:pt x="296659" y="587223"/>
                  </a:lnTo>
                  <a:lnTo>
                    <a:pt x="296760" y="587921"/>
                  </a:lnTo>
                  <a:lnTo>
                    <a:pt x="296900" y="587921"/>
                  </a:lnTo>
                  <a:lnTo>
                    <a:pt x="297002" y="588569"/>
                  </a:lnTo>
                  <a:lnTo>
                    <a:pt x="297205" y="588569"/>
                  </a:lnTo>
                  <a:lnTo>
                    <a:pt x="297205" y="587921"/>
                  </a:lnTo>
                  <a:lnTo>
                    <a:pt x="297256" y="587921"/>
                  </a:lnTo>
                  <a:lnTo>
                    <a:pt x="297256" y="588569"/>
                  </a:lnTo>
                  <a:lnTo>
                    <a:pt x="297357" y="588569"/>
                  </a:lnTo>
                  <a:lnTo>
                    <a:pt x="297357" y="587921"/>
                  </a:lnTo>
                  <a:lnTo>
                    <a:pt x="297446" y="587921"/>
                  </a:lnTo>
                  <a:lnTo>
                    <a:pt x="297497" y="588569"/>
                  </a:lnTo>
                  <a:lnTo>
                    <a:pt x="297497" y="587921"/>
                  </a:lnTo>
                  <a:lnTo>
                    <a:pt x="297903" y="587921"/>
                  </a:lnTo>
                  <a:lnTo>
                    <a:pt x="297903" y="588569"/>
                  </a:lnTo>
                  <a:lnTo>
                    <a:pt x="297941" y="588569"/>
                  </a:lnTo>
                  <a:lnTo>
                    <a:pt x="297992" y="589166"/>
                  </a:lnTo>
                  <a:lnTo>
                    <a:pt x="298043" y="589166"/>
                  </a:lnTo>
                  <a:lnTo>
                    <a:pt x="298043" y="588569"/>
                  </a:lnTo>
                  <a:lnTo>
                    <a:pt x="298196" y="588569"/>
                  </a:lnTo>
                  <a:lnTo>
                    <a:pt x="298246" y="589166"/>
                  </a:lnTo>
                  <a:lnTo>
                    <a:pt x="298246" y="588569"/>
                  </a:lnTo>
                  <a:lnTo>
                    <a:pt x="298450" y="588569"/>
                  </a:lnTo>
                  <a:lnTo>
                    <a:pt x="298450" y="589166"/>
                  </a:lnTo>
                  <a:lnTo>
                    <a:pt x="298488" y="589166"/>
                  </a:lnTo>
                  <a:lnTo>
                    <a:pt x="298488" y="588569"/>
                  </a:lnTo>
                  <a:lnTo>
                    <a:pt x="298589" y="588569"/>
                  </a:lnTo>
                  <a:lnTo>
                    <a:pt x="298640" y="589166"/>
                  </a:lnTo>
                  <a:lnTo>
                    <a:pt x="298691" y="588569"/>
                  </a:lnTo>
                  <a:lnTo>
                    <a:pt x="298792" y="589166"/>
                  </a:lnTo>
                  <a:lnTo>
                    <a:pt x="299034" y="589166"/>
                  </a:lnTo>
                  <a:lnTo>
                    <a:pt x="299034" y="590499"/>
                  </a:lnTo>
                  <a:lnTo>
                    <a:pt x="299135" y="590499"/>
                  </a:lnTo>
                  <a:lnTo>
                    <a:pt x="299135" y="591147"/>
                  </a:lnTo>
                  <a:lnTo>
                    <a:pt x="299529" y="591147"/>
                  </a:lnTo>
                  <a:lnTo>
                    <a:pt x="299580" y="590499"/>
                  </a:lnTo>
                  <a:lnTo>
                    <a:pt x="299580" y="589166"/>
                  </a:lnTo>
                  <a:lnTo>
                    <a:pt x="299631" y="588569"/>
                  </a:lnTo>
                  <a:lnTo>
                    <a:pt x="299631" y="587921"/>
                  </a:lnTo>
                  <a:lnTo>
                    <a:pt x="299732" y="587223"/>
                  </a:lnTo>
                  <a:lnTo>
                    <a:pt x="299783" y="587223"/>
                  </a:lnTo>
                  <a:lnTo>
                    <a:pt x="299834" y="587921"/>
                  </a:lnTo>
                  <a:lnTo>
                    <a:pt x="299986" y="587921"/>
                  </a:lnTo>
                  <a:lnTo>
                    <a:pt x="300037" y="588569"/>
                  </a:lnTo>
                  <a:lnTo>
                    <a:pt x="300075" y="589166"/>
                  </a:lnTo>
                  <a:lnTo>
                    <a:pt x="300177" y="589166"/>
                  </a:lnTo>
                  <a:lnTo>
                    <a:pt x="300227" y="588569"/>
                  </a:lnTo>
                  <a:lnTo>
                    <a:pt x="300227" y="587921"/>
                  </a:lnTo>
                  <a:lnTo>
                    <a:pt x="300278" y="587223"/>
                  </a:lnTo>
                  <a:lnTo>
                    <a:pt x="300380" y="587223"/>
                  </a:lnTo>
                  <a:lnTo>
                    <a:pt x="300380" y="586588"/>
                  </a:lnTo>
                  <a:lnTo>
                    <a:pt x="300431" y="586588"/>
                  </a:lnTo>
                  <a:lnTo>
                    <a:pt x="300431" y="587223"/>
                  </a:lnTo>
                  <a:lnTo>
                    <a:pt x="300482" y="586588"/>
                  </a:lnTo>
                  <a:lnTo>
                    <a:pt x="300532" y="587223"/>
                  </a:lnTo>
                  <a:lnTo>
                    <a:pt x="300621" y="587223"/>
                  </a:lnTo>
                  <a:lnTo>
                    <a:pt x="300621" y="587921"/>
                  </a:lnTo>
                  <a:lnTo>
                    <a:pt x="300672" y="587223"/>
                  </a:lnTo>
                  <a:lnTo>
                    <a:pt x="300723" y="587223"/>
                  </a:lnTo>
                  <a:lnTo>
                    <a:pt x="300774" y="587921"/>
                  </a:lnTo>
                  <a:lnTo>
                    <a:pt x="300875" y="588569"/>
                  </a:lnTo>
                  <a:lnTo>
                    <a:pt x="301218" y="588569"/>
                  </a:lnTo>
                  <a:lnTo>
                    <a:pt x="301218" y="589166"/>
                  </a:lnTo>
                  <a:lnTo>
                    <a:pt x="301625" y="589166"/>
                  </a:lnTo>
                  <a:lnTo>
                    <a:pt x="301663" y="588569"/>
                  </a:lnTo>
                  <a:lnTo>
                    <a:pt x="301764" y="588569"/>
                  </a:lnTo>
                  <a:lnTo>
                    <a:pt x="301815" y="587921"/>
                  </a:lnTo>
                  <a:lnTo>
                    <a:pt x="301815" y="588569"/>
                  </a:lnTo>
                  <a:lnTo>
                    <a:pt x="302018" y="588569"/>
                  </a:lnTo>
                  <a:lnTo>
                    <a:pt x="302069" y="589166"/>
                  </a:lnTo>
                  <a:lnTo>
                    <a:pt x="302120" y="589166"/>
                  </a:lnTo>
                  <a:lnTo>
                    <a:pt x="302120" y="588569"/>
                  </a:lnTo>
                  <a:lnTo>
                    <a:pt x="302463" y="588569"/>
                  </a:lnTo>
                  <a:lnTo>
                    <a:pt x="302514" y="587921"/>
                  </a:lnTo>
                  <a:lnTo>
                    <a:pt x="302514" y="588569"/>
                  </a:lnTo>
                  <a:lnTo>
                    <a:pt x="302666" y="588569"/>
                  </a:lnTo>
                  <a:lnTo>
                    <a:pt x="302704" y="589166"/>
                  </a:lnTo>
                  <a:lnTo>
                    <a:pt x="302704" y="588569"/>
                  </a:lnTo>
                  <a:lnTo>
                    <a:pt x="303009" y="588569"/>
                  </a:lnTo>
                  <a:lnTo>
                    <a:pt x="303110" y="587921"/>
                  </a:lnTo>
                  <a:lnTo>
                    <a:pt x="303161" y="587921"/>
                  </a:lnTo>
                  <a:lnTo>
                    <a:pt x="303212" y="588569"/>
                  </a:lnTo>
                  <a:lnTo>
                    <a:pt x="303250" y="588569"/>
                  </a:lnTo>
                  <a:lnTo>
                    <a:pt x="303250" y="587921"/>
                  </a:lnTo>
                  <a:lnTo>
                    <a:pt x="303402" y="587921"/>
                  </a:lnTo>
                  <a:lnTo>
                    <a:pt x="303402" y="588569"/>
                  </a:lnTo>
                  <a:lnTo>
                    <a:pt x="303657" y="588569"/>
                  </a:lnTo>
                  <a:lnTo>
                    <a:pt x="303707" y="589166"/>
                  </a:lnTo>
                  <a:lnTo>
                    <a:pt x="304342" y="589166"/>
                  </a:lnTo>
                  <a:lnTo>
                    <a:pt x="304393" y="590499"/>
                  </a:lnTo>
                  <a:lnTo>
                    <a:pt x="304495" y="590499"/>
                  </a:lnTo>
                  <a:lnTo>
                    <a:pt x="304495" y="589166"/>
                  </a:lnTo>
                  <a:lnTo>
                    <a:pt x="304698" y="589166"/>
                  </a:lnTo>
                  <a:lnTo>
                    <a:pt x="304749" y="590499"/>
                  </a:lnTo>
                  <a:lnTo>
                    <a:pt x="304939" y="590499"/>
                  </a:lnTo>
                  <a:lnTo>
                    <a:pt x="304939" y="591147"/>
                  </a:lnTo>
                  <a:lnTo>
                    <a:pt x="305041" y="591147"/>
                  </a:lnTo>
                  <a:lnTo>
                    <a:pt x="305142" y="591795"/>
                  </a:lnTo>
                  <a:lnTo>
                    <a:pt x="305142" y="591147"/>
                  </a:lnTo>
                  <a:lnTo>
                    <a:pt x="305193" y="591147"/>
                  </a:lnTo>
                  <a:lnTo>
                    <a:pt x="305244" y="590499"/>
                  </a:lnTo>
                  <a:lnTo>
                    <a:pt x="305244" y="591147"/>
                  </a:lnTo>
                  <a:lnTo>
                    <a:pt x="305295" y="590499"/>
                  </a:lnTo>
                  <a:lnTo>
                    <a:pt x="305384" y="589166"/>
                  </a:lnTo>
                  <a:lnTo>
                    <a:pt x="305434" y="588569"/>
                  </a:lnTo>
                  <a:lnTo>
                    <a:pt x="305434" y="589166"/>
                  </a:lnTo>
                  <a:lnTo>
                    <a:pt x="305485" y="588569"/>
                  </a:lnTo>
                  <a:lnTo>
                    <a:pt x="305536" y="587921"/>
                  </a:lnTo>
                  <a:lnTo>
                    <a:pt x="305536" y="587223"/>
                  </a:lnTo>
                  <a:lnTo>
                    <a:pt x="305689" y="587223"/>
                  </a:lnTo>
                  <a:lnTo>
                    <a:pt x="305689" y="587921"/>
                  </a:lnTo>
                  <a:lnTo>
                    <a:pt x="305841" y="587921"/>
                  </a:lnTo>
                  <a:lnTo>
                    <a:pt x="305841" y="588569"/>
                  </a:lnTo>
                  <a:lnTo>
                    <a:pt x="305879" y="587921"/>
                  </a:lnTo>
                  <a:lnTo>
                    <a:pt x="305879" y="588569"/>
                  </a:lnTo>
                  <a:lnTo>
                    <a:pt x="305930" y="589166"/>
                  </a:lnTo>
                  <a:lnTo>
                    <a:pt x="305981" y="588569"/>
                  </a:lnTo>
                  <a:lnTo>
                    <a:pt x="306082" y="588569"/>
                  </a:lnTo>
                  <a:lnTo>
                    <a:pt x="306082" y="587921"/>
                  </a:lnTo>
                  <a:lnTo>
                    <a:pt x="306133" y="587921"/>
                  </a:lnTo>
                  <a:lnTo>
                    <a:pt x="306133" y="587223"/>
                  </a:lnTo>
                  <a:lnTo>
                    <a:pt x="306184" y="587223"/>
                  </a:lnTo>
                  <a:lnTo>
                    <a:pt x="306285" y="586588"/>
                  </a:lnTo>
                  <a:lnTo>
                    <a:pt x="306285" y="587223"/>
                  </a:lnTo>
                  <a:lnTo>
                    <a:pt x="306425" y="587223"/>
                  </a:lnTo>
                  <a:lnTo>
                    <a:pt x="306527" y="587921"/>
                  </a:lnTo>
                  <a:lnTo>
                    <a:pt x="306730" y="587921"/>
                  </a:lnTo>
                  <a:lnTo>
                    <a:pt x="306730" y="588569"/>
                  </a:lnTo>
                  <a:lnTo>
                    <a:pt x="307073" y="588569"/>
                  </a:lnTo>
                  <a:lnTo>
                    <a:pt x="307073" y="589166"/>
                  </a:lnTo>
                  <a:lnTo>
                    <a:pt x="307124" y="588569"/>
                  </a:lnTo>
                  <a:lnTo>
                    <a:pt x="307225" y="589166"/>
                  </a:lnTo>
                  <a:lnTo>
                    <a:pt x="307276" y="589166"/>
                  </a:lnTo>
                  <a:lnTo>
                    <a:pt x="307327" y="588569"/>
                  </a:lnTo>
                  <a:lnTo>
                    <a:pt x="307428" y="588569"/>
                  </a:lnTo>
                  <a:lnTo>
                    <a:pt x="307466" y="587921"/>
                  </a:lnTo>
                  <a:lnTo>
                    <a:pt x="307517" y="587921"/>
                  </a:lnTo>
                  <a:lnTo>
                    <a:pt x="307517" y="588569"/>
                  </a:lnTo>
                  <a:lnTo>
                    <a:pt x="307670" y="588569"/>
                  </a:lnTo>
                  <a:lnTo>
                    <a:pt x="307670" y="587921"/>
                  </a:lnTo>
                  <a:lnTo>
                    <a:pt x="307721" y="587921"/>
                  </a:lnTo>
                  <a:lnTo>
                    <a:pt x="307771" y="588569"/>
                  </a:lnTo>
                  <a:lnTo>
                    <a:pt x="307873" y="588569"/>
                  </a:lnTo>
                  <a:lnTo>
                    <a:pt x="307873" y="589166"/>
                  </a:lnTo>
                  <a:lnTo>
                    <a:pt x="308165" y="589166"/>
                  </a:lnTo>
                  <a:lnTo>
                    <a:pt x="308165" y="588569"/>
                  </a:lnTo>
                  <a:lnTo>
                    <a:pt x="308317" y="588569"/>
                  </a:lnTo>
                  <a:lnTo>
                    <a:pt x="308368" y="589166"/>
                  </a:lnTo>
                  <a:lnTo>
                    <a:pt x="308419" y="589166"/>
                  </a:lnTo>
                  <a:lnTo>
                    <a:pt x="308419" y="588569"/>
                  </a:lnTo>
                  <a:lnTo>
                    <a:pt x="308470" y="588569"/>
                  </a:lnTo>
                  <a:lnTo>
                    <a:pt x="308470" y="587921"/>
                  </a:lnTo>
                  <a:lnTo>
                    <a:pt x="308559" y="587921"/>
                  </a:lnTo>
                  <a:lnTo>
                    <a:pt x="308559" y="587223"/>
                  </a:lnTo>
                  <a:lnTo>
                    <a:pt x="308609" y="587921"/>
                  </a:lnTo>
                  <a:lnTo>
                    <a:pt x="308660" y="587921"/>
                  </a:lnTo>
                  <a:lnTo>
                    <a:pt x="308711" y="588569"/>
                  </a:lnTo>
                  <a:lnTo>
                    <a:pt x="308711" y="587921"/>
                  </a:lnTo>
                  <a:lnTo>
                    <a:pt x="308864" y="587921"/>
                  </a:lnTo>
                  <a:lnTo>
                    <a:pt x="308864" y="588569"/>
                  </a:lnTo>
                  <a:lnTo>
                    <a:pt x="309156" y="588569"/>
                  </a:lnTo>
                  <a:lnTo>
                    <a:pt x="309156" y="589166"/>
                  </a:lnTo>
                  <a:lnTo>
                    <a:pt x="309359" y="589166"/>
                  </a:lnTo>
                  <a:lnTo>
                    <a:pt x="309359" y="588569"/>
                  </a:lnTo>
                  <a:lnTo>
                    <a:pt x="309460" y="588569"/>
                  </a:lnTo>
                  <a:lnTo>
                    <a:pt x="309511" y="587921"/>
                  </a:lnTo>
                  <a:lnTo>
                    <a:pt x="309511" y="588569"/>
                  </a:lnTo>
                  <a:lnTo>
                    <a:pt x="309752" y="588569"/>
                  </a:lnTo>
                  <a:lnTo>
                    <a:pt x="309752" y="587921"/>
                  </a:lnTo>
                  <a:lnTo>
                    <a:pt x="309803" y="587921"/>
                  </a:lnTo>
                  <a:lnTo>
                    <a:pt x="309803" y="588569"/>
                  </a:lnTo>
                  <a:lnTo>
                    <a:pt x="309905" y="588569"/>
                  </a:lnTo>
                  <a:lnTo>
                    <a:pt x="309956" y="589166"/>
                  </a:lnTo>
                  <a:lnTo>
                    <a:pt x="310146" y="589166"/>
                  </a:lnTo>
                  <a:lnTo>
                    <a:pt x="310197" y="590499"/>
                  </a:lnTo>
                  <a:lnTo>
                    <a:pt x="310845" y="590499"/>
                  </a:lnTo>
                  <a:lnTo>
                    <a:pt x="310946" y="591795"/>
                  </a:lnTo>
                  <a:lnTo>
                    <a:pt x="311188" y="591795"/>
                  </a:lnTo>
                  <a:lnTo>
                    <a:pt x="311188" y="591147"/>
                  </a:lnTo>
                  <a:lnTo>
                    <a:pt x="311289" y="590499"/>
                  </a:lnTo>
                  <a:lnTo>
                    <a:pt x="311340" y="589166"/>
                  </a:lnTo>
                  <a:lnTo>
                    <a:pt x="311391" y="588569"/>
                  </a:lnTo>
                  <a:lnTo>
                    <a:pt x="311492" y="588569"/>
                  </a:lnTo>
                  <a:lnTo>
                    <a:pt x="311492" y="587921"/>
                  </a:lnTo>
                  <a:lnTo>
                    <a:pt x="311645" y="587921"/>
                  </a:lnTo>
                  <a:lnTo>
                    <a:pt x="311645" y="588569"/>
                  </a:lnTo>
                  <a:lnTo>
                    <a:pt x="311835" y="588569"/>
                  </a:lnTo>
                  <a:lnTo>
                    <a:pt x="311835" y="587921"/>
                  </a:lnTo>
                  <a:lnTo>
                    <a:pt x="311886" y="587223"/>
                  </a:lnTo>
                  <a:lnTo>
                    <a:pt x="312039" y="587223"/>
                  </a:lnTo>
                  <a:lnTo>
                    <a:pt x="312039" y="587921"/>
                  </a:lnTo>
                  <a:lnTo>
                    <a:pt x="312191" y="587921"/>
                  </a:lnTo>
                  <a:lnTo>
                    <a:pt x="312191" y="587223"/>
                  </a:lnTo>
                  <a:lnTo>
                    <a:pt x="312280" y="587223"/>
                  </a:lnTo>
                  <a:lnTo>
                    <a:pt x="312331" y="587921"/>
                  </a:lnTo>
                  <a:lnTo>
                    <a:pt x="312432" y="587921"/>
                  </a:lnTo>
                  <a:lnTo>
                    <a:pt x="312483" y="588569"/>
                  </a:lnTo>
                  <a:lnTo>
                    <a:pt x="312686" y="588569"/>
                  </a:lnTo>
                  <a:lnTo>
                    <a:pt x="312737" y="587921"/>
                  </a:lnTo>
                  <a:lnTo>
                    <a:pt x="312737" y="588569"/>
                  </a:lnTo>
                  <a:lnTo>
                    <a:pt x="312978" y="588569"/>
                  </a:lnTo>
                  <a:lnTo>
                    <a:pt x="313080" y="589166"/>
                  </a:lnTo>
                  <a:lnTo>
                    <a:pt x="313131" y="589166"/>
                  </a:lnTo>
                  <a:lnTo>
                    <a:pt x="313182" y="588569"/>
                  </a:lnTo>
                  <a:lnTo>
                    <a:pt x="313321" y="588569"/>
                  </a:lnTo>
                  <a:lnTo>
                    <a:pt x="313372" y="589166"/>
                  </a:lnTo>
                  <a:lnTo>
                    <a:pt x="313372" y="588569"/>
                  </a:lnTo>
                  <a:lnTo>
                    <a:pt x="314020" y="588569"/>
                  </a:lnTo>
                  <a:lnTo>
                    <a:pt x="314071" y="589166"/>
                  </a:lnTo>
                  <a:lnTo>
                    <a:pt x="314121" y="589166"/>
                  </a:lnTo>
                  <a:lnTo>
                    <a:pt x="314223" y="588569"/>
                  </a:lnTo>
                  <a:lnTo>
                    <a:pt x="314325" y="588569"/>
                  </a:lnTo>
                  <a:lnTo>
                    <a:pt x="314325" y="587921"/>
                  </a:lnTo>
                  <a:lnTo>
                    <a:pt x="314363" y="588569"/>
                  </a:lnTo>
                  <a:lnTo>
                    <a:pt x="314363" y="587921"/>
                  </a:lnTo>
                  <a:lnTo>
                    <a:pt x="314464" y="587921"/>
                  </a:lnTo>
                  <a:lnTo>
                    <a:pt x="314515" y="588569"/>
                  </a:lnTo>
                  <a:lnTo>
                    <a:pt x="314769" y="588569"/>
                  </a:lnTo>
                  <a:lnTo>
                    <a:pt x="314769" y="587921"/>
                  </a:lnTo>
                  <a:lnTo>
                    <a:pt x="314820" y="588569"/>
                  </a:lnTo>
                  <a:lnTo>
                    <a:pt x="315861" y="588569"/>
                  </a:lnTo>
                  <a:lnTo>
                    <a:pt x="315912" y="589166"/>
                  </a:lnTo>
                  <a:lnTo>
                    <a:pt x="316102" y="589166"/>
                  </a:lnTo>
                  <a:lnTo>
                    <a:pt x="316153" y="590499"/>
                  </a:lnTo>
                  <a:lnTo>
                    <a:pt x="316407" y="590499"/>
                  </a:lnTo>
                  <a:lnTo>
                    <a:pt x="316407" y="589166"/>
                  </a:lnTo>
                  <a:lnTo>
                    <a:pt x="316496" y="589166"/>
                  </a:lnTo>
                  <a:lnTo>
                    <a:pt x="316547" y="590499"/>
                  </a:lnTo>
                  <a:lnTo>
                    <a:pt x="316750" y="590499"/>
                  </a:lnTo>
                  <a:lnTo>
                    <a:pt x="316801" y="591147"/>
                  </a:lnTo>
                  <a:lnTo>
                    <a:pt x="316953" y="591147"/>
                  </a:lnTo>
                  <a:lnTo>
                    <a:pt x="316953" y="591795"/>
                  </a:lnTo>
                  <a:lnTo>
                    <a:pt x="317093" y="591795"/>
                  </a:lnTo>
                  <a:lnTo>
                    <a:pt x="317093" y="591147"/>
                  </a:lnTo>
                  <a:lnTo>
                    <a:pt x="317195" y="591795"/>
                  </a:lnTo>
                  <a:lnTo>
                    <a:pt x="317246" y="591147"/>
                  </a:lnTo>
                  <a:lnTo>
                    <a:pt x="317246" y="590499"/>
                  </a:lnTo>
                  <a:lnTo>
                    <a:pt x="317296" y="590499"/>
                  </a:lnTo>
                  <a:lnTo>
                    <a:pt x="317296" y="589166"/>
                  </a:lnTo>
                  <a:lnTo>
                    <a:pt x="317398" y="588569"/>
                  </a:lnTo>
                  <a:lnTo>
                    <a:pt x="317639" y="588569"/>
                  </a:lnTo>
                  <a:lnTo>
                    <a:pt x="317639" y="589166"/>
                  </a:lnTo>
                  <a:lnTo>
                    <a:pt x="317741" y="589166"/>
                  </a:lnTo>
                  <a:lnTo>
                    <a:pt x="317842" y="588569"/>
                  </a:lnTo>
                  <a:lnTo>
                    <a:pt x="317842" y="587921"/>
                  </a:lnTo>
                  <a:lnTo>
                    <a:pt x="317893" y="587223"/>
                  </a:lnTo>
                  <a:lnTo>
                    <a:pt x="317893" y="586588"/>
                  </a:lnTo>
                  <a:lnTo>
                    <a:pt x="317944" y="587223"/>
                  </a:lnTo>
                  <a:lnTo>
                    <a:pt x="317995" y="587223"/>
                  </a:lnTo>
                  <a:lnTo>
                    <a:pt x="317995" y="587921"/>
                  </a:lnTo>
                  <a:lnTo>
                    <a:pt x="318134" y="587921"/>
                  </a:lnTo>
                  <a:lnTo>
                    <a:pt x="318185" y="588569"/>
                  </a:lnTo>
                  <a:lnTo>
                    <a:pt x="318236" y="588569"/>
                  </a:lnTo>
                  <a:lnTo>
                    <a:pt x="318338" y="587921"/>
                  </a:lnTo>
                  <a:lnTo>
                    <a:pt x="318338" y="588569"/>
                  </a:lnTo>
                  <a:lnTo>
                    <a:pt x="318389" y="587921"/>
                  </a:lnTo>
                  <a:lnTo>
                    <a:pt x="318439" y="587921"/>
                  </a:lnTo>
                  <a:lnTo>
                    <a:pt x="318541" y="588569"/>
                  </a:lnTo>
                  <a:lnTo>
                    <a:pt x="318579" y="588569"/>
                  </a:lnTo>
                  <a:lnTo>
                    <a:pt x="318579" y="589166"/>
                  </a:lnTo>
                  <a:lnTo>
                    <a:pt x="318630" y="589166"/>
                  </a:lnTo>
                  <a:lnTo>
                    <a:pt x="318681" y="590499"/>
                  </a:lnTo>
                  <a:lnTo>
                    <a:pt x="318782" y="589166"/>
                  </a:lnTo>
                  <a:lnTo>
                    <a:pt x="318884" y="589166"/>
                  </a:lnTo>
                  <a:lnTo>
                    <a:pt x="318884" y="590499"/>
                  </a:lnTo>
                  <a:lnTo>
                    <a:pt x="318985" y="589166"/>
                  </a:lnTo>
                  <a:lnTo>
                    <a:pt x="319125" y="589166"/>
                  </a:lnTo>
                  <a:lnTo>
                    <a:pt x="319227" y="588569"/>
                  </a:lnTo>
                  <a:lnTo>
                    <a:pt x="319328" y="588569"/>
                  </a:lnTo>
                  <a:lnTo>
                    <a:pt x="319328" y="589166"/>
                  </a:lnTo>
                  <a:lnTo>
                    <a:pt x="319430" y="589166"/>
                  </a:lnTo>
                  <a:lnTo>
                    <a:pt x="319481" y="588569"/>
                  </a:lnTo>
                  <a:lnTo>
                    <a:pt x="319532" y="589166"/>
                  </a:lnTo>
                  <a:lnTo>
                    <a:pt x="319773" y="589166"/>
                  </a:lnTo>
                  <a:lnTo>
                    <a:pt x="319824" y="590499"/>
                  </a:lnTo>
                  <a:lnTo>
                    <a:pt x="319824" y="589166"/>
                  </a:lnTo>
                  <a:lnTo>
                    <a:pt x="319925" y="589166"/>
                  </a:lnTo>
                  <a:lnTo>
                    <a:pt x="319976" y="588569"/>
                  </a:lnTo>
                  <a:lnTo>
                    <a:pt x="320128" y="588569"/>
                  </a:lnTo>
                  <a:lnTo>
                    <a:pt x="320128" y="587921"/>
                  </a:lnTo>
                  <a:lnTo>
                    <a:pt x="320217" y="587921"/>
                  </a:lnTo>
                  <a:lnTo>
                    <a:pt x="320217" y="588569"/>
                  </a:lnTo>
                  <a:lnTo>
                    <a:pt x="320471" y="588569"/>
                  </a:lnTo>
                  <a:lnTo>
                    <a:pt x="320573" y="587921"/>
                  </a:lnTo>
                  <a:lnTo>
                    <a:pt x="320624" y="587921"/>
                  </a:lnTo>
                  <a:lnTo>
                    <a:pt x="320675" y="588569"/>
                  </a:lnTo>
                  <a:lnTo>
                    <a:pt x="320713" y="588569"/>
                  </a:lnTo>
                  <a:lnTo>
                    <a:pt x="320713" y="589166"/>
                  </a:lnTo>
                  <a:lnTo>
                    <a:pt x="320916" y="589166"/>
                  </a:lnTo>
                  <a:lnTo>
                    <a:pt x="321017" y="588569"/>
                  </a:lnTo>
                  <a:lnTo>
                    <a:pt x="321017" y="589166"/>
                  </a:lnTo>
                  <a:lnTo>
                    <a:pt x="321068" y="588569"/>
                  </a:lnTo>
                  <a:lnTo>
                    <a:pt x="321170" y="588569"/>
                  </a:lnTo>
                  <a:lnTo>
                    <a:pt x="321170" y="587921"/>
                  </a:lnTo>
                  <a:lnTo>
                    <a:pt x="321259" y="588569"/>
                  </a:lnTo>
                  <a:lnTo>
                    <a:pt x="321513" y="588569"/>
                  </a:lnTo>
                  <a:lnTo>
                    <a:pt x="321513" y="589166"/>
                  </a:lnTo>
                  <a:lnTo>
                    <a:pt x="321564" y="588569"/>
                  </a:lnTo>
                  <a:lnTo>
                    <a:pt x="321754" y="588569"/>
                  </a:lnTo>
                  <a:lnTo>
                    <a:pt x="321754" y="589166"/>
                  </a:lnTo>
                  <a:lnTo>
                    <a:pt x="321805" y="589166"/>
                  </a:lnTo>
                  <a:lnTo>
                    <a:pt x="321805" y="590499"/>
                  </a:lnTo>
                  <a:lnTo>
                    <a:pt x="321856" y="590499"/>
                  </a:lnTo>
                  <a:lnTo>
                    <a:pt x="321957" y="589166"/>
                  </a:lnTo>
                  <a:lnTo>
                    <a:pt x="322452" y="589166"/>
                  </a:lnTo>
                  <a:lnTo>
                    <a:pt x="322503" y="590499"/>
                  </a:lnTo>
                  <a:lnTo>
                    <a:pt x="322707" y="590499"/>
                  </a:lnTo>
                  <a:lnTo>
                    <a:pt x="322707" y="591147"/>
                  </a:lnTo>
                  <a:lnTo>
                    <a:pt x="322757" y="591147"/>
                  </a:lnTo>
                  <a:lnTo>
                    <a:pt x="322846" y="591795"/>
                  </a:lnTo>
                  <a:lnTo>
                    <a:pt x="323151" y="591795"/>
                  </a:lnTo>
                  <a:lnTo>
                    <a:pt x="323202" y="591147"/>
                  </a:lnTo>
                  <a:lnTo>
                    <a:pt x="323303" y="591147"/>
                  </a:lnTo>
                  <a:lnTo>
                    <a:pt x="323303" y="590499"/>
                  </a:lnTo>
                  <a:lnTo>
                    <a:pt x="323341" y="589166"/>
                  </a:lnTo>
                  <a:lnTo>
                    <a:pt x="323341" y="588569"/>
                  </a:lnTo>
                  <a:lnTo>
                    <a:pt x="323392" y="587921"/>
                  </a:lnTo>
                  <a:lnTo>
                    <a:pt x="323443" y="588569"/>
                  </a:lnTo>
                  <a:lnTo>
                    <a:pt x="323545" y="589166"/>
                  </a:lnTo>
                  <a:lnTo>
                    <a:pt x="323799" y="589166"/>
                  </a:lnTo>
                  <a:lnTo>
                    <a:pt x="323850" y="588569"/>
                  </a:lnTo>
                  <a:lnTo>
                    <a:pt x="323989" y="588569"/>
                  </a:lnTo>
                  <a:lnTo>
                    <a:pt x="323989" y="587921"/>
                  </a:lnTo>
                  <a:lnTo>
                    <a:pt x="324040" y="587921"/>
                  </a:lnTo>
                  <a:lnTo>
                    <a:pt x="324040" y="587223"/>
                  </a:lnTo>
                  <a:lnTo>
                    <a:pt x="324091" y="587921"/>
                  </a:lnTo>
                  <a:lnTo>
                    <a:pt x="324243" y="587921"/>
                  </a:lnTo>
                  <a:lnTo>
                    <a:pt x="324294" y="588569"/>
                  </a:lnTo>
                  <a:lnTo>
                    <a:pt x="324345" y="588569"/>
                  </a:lnTo>
                  <a:lnTo>
                    <a:pt x="324345" y="587921"/>
                  </a:lnTo>
                  <a:lnTo>
                    <a:pt x="324434" y="587921"/>
                  </a:lnTo>
                  <a:lnTo>
                    <a:pt x="324484" y="588569"/>
                  </a:lnTo>
                  <a:lnTo>
                    <a:pt x="324535" y="588569"/>
                  </a:lnTo>
                  <a:lnTo>
                    <a:pt x="324586" y="589166"/>
                  </a:lnTo>
                  <a:lnTo>
                    <a:pt x="324891" y="589166"/>
                  </a:lnTo>
                  <a:lnTo>
                    <a:pt x="324891" y="590499"/>
                  </a:lnTo>
                  <a:lnTo>
                    <a:pt x="324980" y="590499"/>
                  </a:lnTo>
                  <a:lnTo>
                    <a:pt x="325031" y="589166"/>
                  </a:lnTo>
                  <a:lnTo>
                    <a:pt x="325132" y="589166"/>
                  </a:lnTo>
                  <a:lnTo>
                    <a:pt x="325183" y="588569"/>
                  </a:lnTo>
                  <a:lnTo>
                    <a:pt x="325234" y="589166"/>
                  </a:lnTo>
                  <a:lnTo>
                    <a:pt x="325437" y="589166"/>
                  </a:lnTo>
                  <a:lnTo>
                    <a:pt x="325475" y="588569"/>
                  </a:lnTo>
                  <a:lnTo>
                    <a:pt x="325577" y="588569"/>
                  </a:lnTo>
                  <a:lnTo>
                    <a:pt x="325627" y="589166"/>
                  </a:lnTo>
                  <a:lnTo>
                    <a:pt x="325780" y="589166"/>
                  </a:lnTo>
                  <a:lnTo>
                    <a:pt x="325780" y="588569"/>
                  </a:lnTo>
                  <a:lnTo>
                    <a:pt x="325882" y="588569"/>
                  </a:lnTo>
                  <a:lnTo>
                    <a:pt x="325932" y="589166"/>
                  </a:lnTo>
                  <a:lnTo>
                    <a:pt x="326021" y="589166"/>
                  </a:lnTo>
                  <a:lnTo>
                    <a:pt x="326021" y="590499"/>
                  </a:lnTo>
                  <a:lnTo>
                    <a:pt x="326072" y="589166"/>
                  </a:lnTo>
                  <a:lnTo>
                    <a:pt x="326123" y="589166"/>
                  </a:lnTo>
                  <a:lnTo>
                    <a:pt x="326123" y="588569"/>
                  </a:lnTo>
                  <a:lnTo>
                    <a:pt x="326326" y="588569"/>
                  </a:lnTo>
                  <a:lnTo>
                    <a:pt x="326377" y="589166"/>
                  </a:lnTo>
                  <a:lnTo>
                    <a:pt x="326478" y="588569"/>
                  </a:lnTo>
                  <a:lnTo>
                    <a:pt x="326567" y="588569"/>
                  </a:lnTo>
                  <a:lnTo>
                    <a:pt x="326618" y="589166"/>
                  </a:lnTo>
                  <a:lnTo>
                    <a:pt x="326720" y="589166"/>
                  </a:lnTo>
                  <a:lnTo>
                    <a:pt x="326771" y="588569"/>
                  </a:lnTo>
                  <a:lnTo>
                    <a:pt x="327215" y="588569"/>
                  </a:lnTo>
                  <a:lnTo>
                    <a:pt x="327215" y="587921"/>
                  </a:lnTo>
                  <a:lnTo>
                    <a:pt x="327266" y="587921"/>
                  </a:lnTo>
                  <a:lnTo>
                    <a:pt x="327266" y="588569"/>
                  </a:lnTo>
                  <a:lnTo>
                    <a:pt x="327469" y="588569"/>
                  </a:lnTo>
                  <a:lnTo>
                    <a:pt x="327520" y="589166"/>
                  </a:lnTo>
                  <a:lnTo>
                    <a:pt x="327609" y="589166"/>
                  </a:lnTo>
                  <a:lnTo>
                    <a:pt x="327609" y="588569"/>
                  </a:lnTo>
                  <a:lnTo>
                    <a:pt x="327710" y="588569"/>
                  </a:lnTo>
                  <a:lnTo>
                    <a:pt x="327710" y="589166"/>
                  </a:lnTo>
                  <a:lnTo>
                    <a:pt x="328066" y="589166"/>
                  </a:lnTo>
                  <a:lnTo>
                    <a:pt x="328104" y="590499"/>
                  </a:lnTo>
                  <a:lnTo>
                    <a:pt x="328510" y="590499"/>
                  </a:lnTo>
                  <a:lnTo>
                    <a:pt x="328510" y="591147"/>
                  </a:lnTo>
                  <a:lnTo>
                    <a:pt x="328802" y="591147"/>
                  </a:lnTo>
                  <a:lnTo>
                    <a:pt x="328802" y="591795"/>
                  </a:lnTo>
                  <a:lnTo>
                    <a:pt x="328853" y="591147"/>
                  </a:lnTo>
                  <a:lnTo>
                    <a:pt x="329057" y="591147"/>
                  </a:lnTo>
                  <a:lnTo>
                    <a:pt x="329057" y="590499"/>
                  </a:lnTo>
                  <a:lnTo>
                    <a:pt x="329107" y="588569"/>
                  </a:lnTo>
                  <a:lnTo>
                    <a:pt x="329107" y="587921"/>
                  </a:lnTo>
                  <a:lnTo>
                    <a:pt x="329247" y="587921"/>
                  </a:lnTo>
                  <a:lnTo>
                    <a:pt x="329247" y="588569"/>
                  </a:lnTo>
                  <a:lnTo>
                    <a:pt x="329349" y="588569"/>
                  </a:lnTo>
                  <a:lnTo>
                    <a:pt x="329349" y="589166"/>
                  </a:lnTo>
                  <a:lnTo>
                    <a:pt x="329501" y="589166"/>
                  </a:lnTo>
                  <a:lnTo>
                    <a:pt x="329552" y="590499"/>
                  </a:lnTo>
                  <a:lnTo>
                    <a:pt x="329653" y="590499"/>
                  </a:lnTo>
                  <a:lnTo>
                    <a:pt x="329691" y="589166"/>
                  </a:lnTo>
                  <a:lnTo>
                    <a:pt x="329742" y="588569"/>
                  </a:lnTo>
                  <a:lnTo>
                    <a:pt x="329742" y="587921"/>
                  </a:lnTo>
                  <a:lnTo>
                    <a:pt x="329793" y="587921"/>
                  </a:lnTo>
                  <a:lnTo>
                    <a:pt x="329793" y="587223"/>
                  </a:lnTo>
                  <a:lnTo>
                    <a:pt x="329895" y="587223"/>
                  </a:lnTo>
                  <a:lnTo>
                    <a:pt x="329895" y="586588"/>
                  </a:lnTo>
                  <a:lnTo>
                    <a:pt x="329946" y="586588"/>
                  </a:lnTo>
                  <a:lnTo>
                    <a:pt x="329996" y="587223"/>
                  </a:lnTo>
                  <a:lnTo>
                    <a:pt x="329996" y="587921"/>
                  </a:lnTo>
                  <a:lnTo>
                    <a:pt x="330200" y="587921"/>
                  </a:lnTo>
                  <a:lnTo>
                    <a:pt x="330238" y="587223"/>
                  </a:lnTo>
                  <a:lnTo>
                    <a:pt x="330339" y="587921"/>
                  </a:lnTo>
                  <a:lnTo>
                    <a:pt x="330390" y="588569"/>
                  </a:lnTo>
                  <a:lnTo>
                    <a:pt x="330441" y="588569"/>
                  </a:lnTo>
                  <a:lnTo>
                    <a:pt x="330441" y="589166"/>
                  </a:lnTo>
                  <a:lnTo>
                    <a:pt x="330784" y="589166"/>
                  </a:lnTo>
                  <a:lnTo>
                    <a:pt x="330784" y="590499"/>
                  </a:lnTo>
                  <a:lnTo>
                    <a:pt x="330834" y="589166"/>
                  </a:lnTo>
                  <a:lnTo>
                    <a:pt x="331584" y="589166"/>
                  </a:lnTo>
                  <a:lnTo>
                    <a:pt x="331685" y="590499"/>
                  </a:lnTo>
                  <a:lnTo>
                    <a:pt x="331825" y="590499"/>
                  </a:lnTo>
                  <a:lnTo>
                    <a:pt x="331825" y="589166"/>
                  </a:lnTo>
                  <a:lnTo>
                    <a:pt x="331977" y="589166"/>
                  </a:lnTo>
                  <a:lnTo>
                    <a:pt x="332028" y="588569"/>
                  </a:lnTo>
                  <a:lnTo>
                    <a:pt x="332130" y="588569"/>
                  </a:lnTo>
                  <a:lnTo>
                    <a:pt x="332130" y="587921"/>
                  </a:lnTo>
                  <a:lnTo>
                    <a:pt x="332181" y="587921"/>
                  </a:lnTo>
                  <a:lnTo>
                    <a:pt x="332181" y="588569"/>
                  </a:lnTo>
                  <a:lnTo>
                    <a:pt x="332282" y="588569"/>
                  </a:lnTo>
                  <a:lnTo>
                    <a:pt x="332371" y="587921"/>
                  </a:lnTo>
                  <a:lnTo>
                    <a:pt x="332422" y="588569"/>
                  </a:lnTo>
                  <a:lnTo>
                    <a:pt x="332625" y="588569"/>
                  </a:lnTo>
                  <a:lnTo>
                    <a:pt x="332625" y="589166"/>
                  </a:lnTo>
                  <a:lnTo>
                    <a:pt x="332727" y="589166"/>
                  </a:lnTo>
                  <a:lnTo>
                    <a:pt x="332727" y="588569"/>
                  </a:lnTo>
                  <a:lnTo>
                    <a:pt x="332866" y="588569"/>
                  </a:lnTo>
                  <a:lnTo>
                    <a:pt x="332866" y="589166"/>
                  </a:lnTo>
                  <a:lnTo>
                    <a:pt x="333121" y="589166"/>
                  </a:lnTo>
                  <a:lnTo>
                    <a:pt x="333121" y="588569"/>
                  </a:lnTo>
                  <a:lnTo>
                    <a:pt x="333375" y="588569"/>
                  </a:lnTo>
                  <a:lnTo>
                    <a:pt x="333413" y="589166"/>
                  </a:lnTo>
                  <a:lnTo>
                    <a:pt x="333819" y="589166"/>
                  </a:lnTo>
                  <a:lnTo>
                    <a:pt x="333819" y="588569"/>
                  </a:lnTo>
                  <a:lnTo>
                    <a:pt x="333870" y="589166"/>
                  </a:lnTo>
                  <a:lnTo>
                    <a:pt x="333959" y="589166"/>
                  </a:lnTo>
                  <a:lnTo>
                    <a:pt x="334009" y="590499"/>
                  </a:lnTo>
                  <a:lnTo>
                    <a:pt x="334060" y="590499"/>
                  </a:lnTo>
                  <a:lnTo>
                    <a:pt x="334111" y="589166"/>
                  </a:lnTo>
                  <a:lnTo>
                    <a:pt x="334213" y="590499"/>
                  </a:lnTo>
                  <a:lnTo>
                    <a:pt x="334505" y="590499"/>
                  </a:lnTo>
                  <a:lnTo>
                    <a:pt x="334505" y="591147"/>
                  </a:lnTo>
                  <a:lnTo>
                    <a:pt x="334556" y="591147"/>
                  </a:lnTo>
                  <a:lnTo>
                    <a:pt x="334657" y="591795"/>
                  </a:lnTo>
                  <a:lnTo>
                    <a:pt x="334657" y="591147"/>
                  </a:lnTo>
                  <a:lnTo>
                    <a:pt x="334708" y="591795"/>
                  </a:lnTo>
                  <a:lnTo>
                    <a:pt x="334860" y="591795"/>
                  </a:lnTo>
                  <a:lnTo>
                    <a:pt x="334860" y="591147"/>
                  </a:lnTo>
                  <a:lnTo>
                    <a:pt x="334911" y="590499"/>
                  </a:lnTo>
                  <a:lnTo>
                    <a:pt x="334911" y="589166"/>
                  </a:lnTo>
                  <a:lnTo>
                    <a:pt x="334962" y="588569"/>
                  </a:lnTo>
                  <a:lnTo>
                    <a:pt x="334962" y="587921"/>
                  </a:lnTo>
                  <a:lnTo>
                    <a:pt x="335000" y="587921"/>
                  </a:lnTo>
                  <a:lnTo>
                    <a:pt x="335102" y="588569"/>
                  </a:lnTo>
                  <a:lnTo>
                    <a:pt x="335152" y="588569"/>
                  </a:lnTo>
                  <a:lnTo>
                    <a:pt x="335152" y="587921"/>
                  </a:lnTo>
                  <a:lnTo>
                    <a:pt x="335305" y="587921"/>
                  </a:lnTo>
                  <a:lnTo>
                    <a:pt x="335305" y="588569"/>
                  </a:lnTo>
                  <a:lnTo>
                    <a:pt x="335356" y="588569"/>
                  </a:lnTo>
                  <a:lnTo>
                    <a:pt x="335356" y="587921"/>
                  </a:lnTo>
                  <a:lnTo>
                    <a:pt x="335407" y="588569"/>
                  </a:lnTo>
                  <a:lnTo>
                    <a:pt x="335457" y="588569"/>
                  </a:lnTo>
                  <a:lnTo>
                    <a:pt x="335546" y="587921"/>
                  </a:lnTo>
                  <a:lnTo>
                    <a:pt x="335597" y="587223"/>
                  </a:lnTo>
                  <a:lnTo>
                    <a:pt x="335800" y="587223"/>
                  </a:lnTo>
                  <a:lnTo>
                    <a:pt x="335800" y="587921"/>
                  </a:lnTo>
                  <a:lnTo>
                    <a:pt x="335851" y="587921"/>
                  </a:lnTo>
                  <a:lnTo>
                    <a:pt x="335902" y="588569"/>
                  </a:lnTo>
                  <a:lnTo>
                    <a:pt x="336003" y="587921"/>
                  </a:lnTo>
                  <a:lnTo>
                    <a:pt x="336245" y="587921"/>
                  </a:lnTo>
                  <a:lnTo>
                    <a:pt x="336245" y="588569"/>
                  </a:lnTo>
                  <a:lnTo>
                    <a:pt x="336346" y="588569"/>
                  </a:lnTo>
                  <a:lnTo>
                    <a:pt x="336346" y="589166"/>
                  </a:lnTo>
                  <a:lnTo>
                    <a:pt x="336448" y="588569"/>
                  </a:lnTo>
                  <a:lnTo>
                    <a:pt x="336448" y="589166"/>
                  </a:lnTo>
                  <a:lnTo>
                    <a:pt x="336740" y="589166"/>
                  </a:lnTo>
                  <a:lnTo>
                    <a:pt x="336740" y="588569"/>
                  </a:lnTo>
                  <a:lnTo>
                    <a:pt x="336791" y="589166"/>
                  </a:lnTo>
                  <a:lnTo>
                    <a:pt x="336943" y="589166"/>
                  </a:lnTo>
                  <a:lnTo>
                    <a:pt x="336994" y="588569"/>
                  </a:lnTo>
                  <a:lnTo>
                    <a:pt x="337045" y="589166"/>
                  </a:lnTo>
                  <a:lnTo>
                    <a:pt x="337731" y="589166"/>
                  </a:lnTo>
                  <a:lnTo>
                    <a:pt x="337832" y="588569"/>
                  </a:lnTo>
                  <a:lnTo>
                    <a:pt x="338086" y="588569"/>
                  </a:lnTo>
                  <a:lnTo>
                    <a:pt x="338086" y="589166"/>
                  </a:lnTo>
                  <a:lnTo>
                    <a:pt x="338874" y="589166"/>
                  </a:lnTo>
                  <a:lnTo>
                    <a:pt x="338874" y="590499"/>
                  </a:lnTo>
                  <a:lnTo>
                    <a:pt x="338975" y="589166"/>
                  </a:lnTo>
                  <a:lnTo>
                    <a:pt x="339216" y="589166"/>
                  </a:lnTo>
                  <a:lnTo>
                    <a:pt x="339267" y="590499"/>
                  </a:lnTo>
                  <a:lnTo>
                    <a:pt x="339267" y="589166"/>
                  </a:lnTo>
                  <a:lnTo>
                    <a:pt x="339318" y="590499"/>
                  </a:lnTo>
                  <a:lnTo>
                    <a:pt x="339420" y="590499"/>
                  </a:lnTo>
                  <a:lnTo>
                    <a:pt x="339420" y="589166"/>
                  </a:lnTo>
                  <a:lnTo>
                    <a:pt x="339623" y="589166"/>
                  </a:lnTo>
                  <a:lnTo>
                    <a:pt x="339623" y="590499"/>
                  </a:lnTo>
                  <a:lnTo>
                    <a:pt x="339915" y="590499"/>
                  </a:lnTo>
                  <a:lnTo>
                    <a:pt x="339966" y="591147"/>
                  </a:lnTo>
                  <a:lnTo>
                    <a:pt x="340067" y="590499"/>
                  </a:lnTo>
                  <a:lnTo>
                    <a:pt x="340067" y="591147"/>
                  </a:lnTo>
                  <a:lnTo>
                    <a:pt x="340118" y="591147"/>
                  </a:lnTo>
                  <a:lnTo>
                    <a:pt x="340118" y="590499"/>
                  </a:lnTo>
                  <a:lnTo>
                    <a:pt x="340220" y="590499"/>
                  </a:lnTo>
                  <a:lnTo>
                    <a:pt x="340309" y="591147"/>
                  </a:lnTo>
                  <a:lnTo>
                    <a:pt x="340359" y="591147"/>
                  </a:lnTo>
                  <a:lnTo>
                    <a:pt x="340359" y="591795"/>
                  </a:lnTo>
                  <a:lnTo>
                    <a:pt x="340461" y="591795"/>
                  </a:lnTo>
                  <a:lnTo>
                    <a:pt x="340563" y="591147"/>
                  </a:lnTo>
                  <a:lnTo>
                    <a:pt x="340614" y="591795"/>
                  </a:lnTo>
                  <a:lnTo>
                    <a:pt x="340664" y="591795"/>
                  </a:lnTo>
                  <a:lnTo>
                    <a:pt x="340766" y="591147"/>
                  </a:lnTo>
                  <a:lnTo>
                    <a:pt x="340804" y="591147"/>
                  </a:lnTo>
                  <a:lnTo>
                    <a:pt x="340804" y="591795"/>
                  </a:lnTo>
                  <a:lnTo>
                    <a:pt x="340855" y="591147"/>
                  </a:lnTo>
                  <a:lnTo>
                    <a:pt x="340906" y="591147"/>
                  </a:lnTo>
                  <a:lnTo>
                    <a:pt x="340906" y="590499"/>
                  </a:lnTo>
                  <a:lnTo>
                    <a:pt x="341007" y="588569"/>
                  </a:lnTo>
                  <a:lnTo>
                    <a:pt x="341058" y="587921"/>
                  </a:lnTo>
                  <a:lnTo>
                    <a:pt x="341210" y="587921"/>
                  </a:lnTo>
                  <a:lnTo>
                    <a:pt x="341261" y="588569"/>
                  </a:lnTo>
                  <a:lnTo>
                    <a:pt x="341350" y="588569"/>
                  </a:lnTo>
                  <a:lnTo>
                    <a:pt x="341350" y="587921"/>
                  </a:lnTo>
                  <a:lnTo>
                    <a:pt x="341452" y="587921"/>
                  </a:lnTo>
                  <a:lnTo>
                    <a:pt x="341502" y="587223"/>
                  </a:lnTo>
                  <a:lnTo>
                    <a:pt x="341502" y="587921"/>
                  </a:lnTo>
                  <a:lnTo>
                    <a:pt x="341757" y="587921"/>
                  </a:lnTo>
                  <a:lnTo>
                    <a:pt x="341807" y="587223"/>
                  </a:lnTo>
                  <a:lnTo>
                    <a:pt x="341807" y="586588"/>
                  </a:lnTo>
                  <a:lnTo>
                    <a:pt x="341896" y="586588"/>
                  </a:lnTo>
                  <a:lnTo>
                    <a:pt x="341947" y="587223"/>
                  </a:lnTo>
                  <a:lnTo>
                    <a:pt x="341947" y="587921"/>
                  </a:lnTo>
                  <a:lnTo>
                    <a:pt x="341998" y="587921"/>
                  </a:lnTo>
                  <a:lnTo>
                    <a:pt x="341998" y="588569"/>
                  </a:lnTo>
                  <a:lnTo>
                    <a:pt x="342049" y="588569"/>
                  </a:lnTo>
                  <a:lnTo>
                    <a:pt x="342150" y="587921"/>
                  </a:lnTo>
                  <a:lnTo>
                    <a:pt x="342150" y="588569"/>
                  </a:lnTo>
                  <a:lnTo>
                    <a:pt x="342201" y="588569"/>
                  </a:lnTo>
                  <a:lnTo>
                    <a:pt x="342201" y="587921"/>
                  </a:lnTo>
                  <a:lnTo>
                    <a:pt x="342252" y="588569"/>
                  </a:lnTo>
                  <a:lnTo>
                    <a:pt x="342353" y="589166"/>
                  </a:lnTo>
                  <a:lnTo>
                    <a:pt x="342442" y="589166"/>
                  </a:lnTo>
                  <a:lnTo>
                    <a:pt x="342442" y="588569"/>
                  </a:lnTo>
                  <a:lnTo>
                    <a:pt x="342595" y="588569"/>
                  </a:lnTo>
                  <a:lnTo>
                    <a:pt x="342595" y="589166"/>
                  </a:lnTo>
                  <a:lnTo>
                    <a:pt x="342798" y="589166"/>
                  </a:lnTo>
                  <a:lnTo>
                    <a:pt x="342849" y="588569"/>
                  </a:lnTo>
                  <a:lnTo>
                    <a:pt x="342849" y="589166"/>
                  </a:lnTo>
                  <a:lnTo>
                    <a:pt x="343039" y="589166"/>
                  </a:lnTo>
                  <a:lnTo>
                    <a:pt x="343039" y="588569"/>
                  </a:lnTo>
                  <a:lnTo>
                    <a:pt x="343090" y="589166"/>
                  </a:lnTo>
                  <a:lnTo>
                    <a:pt x="343141" y="588569"/>
                  </a:lnTo>
                  <a:lnTo>
                    <a:pt x="343141" y="589166"/>
                  </a:lnTo>
                  <a:lnTo>
                    <a:pt x="343242" y="588569"/>
                  </a:lnTo>
                  <a:lnTo>
                    <a:pt x="343242" y="589166"/>
                  </a:lnTo>
                  <a:lnTo>
                    <a:pt x="343395" y="589166"/>
                  </a:lnTo>
                  <a:lnTo>
                    <a:pt x="343395" y="590499"/>
                  </a:lnTo>
                  <a:lnTo>
                    <a:pt x="343484" y="589166"/>
                  </a:lnTo>
                  <a:lnTo>
                    <a:pt x="343534" y="589166"/>
                  </a:lnTo>
                  <a:lnTo>
                    <a:pt x="343585" y="590499"/>
                  </a:lnTo>
                  <a:lnTo>
                    <a:pt x="343636" y="590499"/>
                  </a:lnTo>
                  <a:lnTo>
                    <a:pt x="343738" y="589166"/>
                  </a:lnTo>
                  <a:lnTo>
                    <a:pt x="343789" y="589166"/>
                  </a:lnTo>
                  <a:lnTo>
                    <a:pt x="343789" y="588569"/>
                  </a:lnTo>
                  <a:lnTo>
                    <a:pt x="343979" y="588569"/>
                  </a:lnTo>
                  <a:lnTo>
                    <a:pt x="343979" y="587921"/>
                  </a:lnTo>
                  <a:lnTo>
                    <a:pt x="344284" y="587921"/>
                  </a:lnTo>
                  <a:lnTo>
                    <a:pt x="344385" y="588569"/>
                  </a:lnTo>
                  <a:lnTo>
                    <a:pt x="344436" y="589166"/>
                  </a:lnTo>
                  <a:lnTo>
                    <a:pt x="344487" y="589166"/>
                  </a:lnTo>
                  <a:lnTo>
                    <a:pt x="344525" y="588569"/>
                  </a:lnTo>
                  <a:lnTo>
                    <a:pt x="344728" y="588569"/>
                  </a:lnTo>
                  <a:lnTo>
                    <a:pt x="344728" y="589166"/>
                  </a:lnTo>
                  <a:lnTo>
                    <a:pt x="344830" y="588569"/>
                  </a:lnTo>
                  <a:lnTo>
                    <a:pt x="344881" y="589166"/>
                  </a:lnTo>
                  <a:lnTo>
                    <a:pt x="344932" y="588569"/>
                  </a:lnTo>
                  <a:lnTo>
                    <a:pt x="344982" y="588569"/>
                  </a:lnTo>
                  <a:lnTo>
                    <a:pt x="344982" y="589166"/>
                  </a:lnTo>
                  <a:lnTo>
                    <a:pt x="345071" y="589166"/>
                  </a:lnTo>
                  <a:lnTo>
                    <a:pt x="345122" y="588569"/>
                  </a:lnTo>
                  <a:lnTo>
                    <a:pt x="345376" y="588569"/>
                  </a:lnTo>
                  <a:lnTo>
                    <a:pt x="345427" y="589166"/>
                  </a:lnTo>
                  <a:lnTo>
                    <a:pt x="345528" y="589166"/>
                  </a:lnTo>
                  <a:lnTo>
                    <a:pt x="345528" y="590499"/>
                  </a:lnTo>
                  <a:lnTo>
                    <a:pt x="345617" y="590499"/>
                  </a:lnTo>
                  <a:lnTo>
                    <a:pt x="345617" y="589166"/>
                  </a:lnTo>
                  <a:lnTo>
                    <a:pt x="345821" y="589166"/>
                  </a:lnTo>
                  <a:lnTo>
                    <a:pt x="345871" y="590499"/>
                  </a:lnTo>
                  <a:lnTo>
                    <a:pt x="345973" y="589166"/>
                  </a:lnTo>
                  <a:lnTo>
                    <a:pt x="346075" y="589166"/>
                  </a:lnTo>
                  <a:lnTo>
                    <a:pt x="346075" y="590499"/>
                  </a:lnTo>
                  <a:lnTo>
                    <a:pt x="346214" y="590499"/>
                  </a:lnTo>
                  <a:lnTo>
                    <a:pt x="346214" y="591147"/>
                  </a:lnTo>
                  <a:lnTo>
                    <a:pt x="346417" y="591147"/>
                  </a:lnTo>
                  <a:lnTo>
                    <a:pt x="346468" y="591795"/>
                  </a:lnTo>
                  <a:lnTo>
                    <a:pt x="346659" y="591795"/>
                  </a:lnTo>
                  <a:lnTo>
                    <a:pt x="346709" y="592442"/>
                  </a:lnTo>
                  <a:lnTo>
                    <a:pt x="346709" y="591795"/>
                  </a:lnTo>
                  <a:lnTo>
                    <a:pt x="346760" y="591795"/>
                  </a:lnTo>
                  <a:lnTo>
                    <a:pt x="346811" y="591147"/>
                  </a:lnTo>
                  <a:lnTo>
                    <a:pt x="346913" y="590499"/>
                  </a:lnTo>
                  <a:lnTo>
                    <a:pt x="346964" y="589166"/>
                  </a:lnTo>
                  <a:lnTo>
                    <a:pt x="346964" y="588569"/>
                  </a:lnTo>
                  <a:lnTo>
                    <a:pt x="347256" y="588569"/>
                  </a:lnTo>
                  <a:lnTo>
                    <a:pt x="347256" y="589166"/>
                  </a:lnTo>
                  <a:lnTo>
                    <a:pt x="347357" y="589166"/>
                  </a:lnTo>
                  <a:lnTo>
                    <a:pt x="347357" y="590499"/>
                  </a:lnTo>
                  <a:lnTo>
                    <a:pt x="347408" y="590499"/>
                  </a:lnTo>
                  <a:lnTo>
                    <a:pt x="347408" y="589166"/>
                  </a:lnTo>
                  <a:lnTo>
                    <a:pt x="347459" y="589166"/>
                  </a:lnTo>
                  <a:lnTo>
                    <a:pt x="347459" y="588569"/>
                  </a:lnTo>
                  <a:lnTo>
                    <a:pt x="347560" y="587921"/>
                  </a:lnTo>
                  <a:lnTo>
                    <a:pt x="347662" y="587921"/>
                  </a:lnTo>
                  <a:lnTo>
                    <a:pt x="347662" y="587223"/>
                  </a:lnTo>
                  <a:lnTo>
                    <a:pt x="347802" y="587223"/>
                  </a:lnTo>
                  <a:lnTo>
                    <a:pt x="347852" y="587921"/>
                  </a:lnTo>
                  <a:lnTo>
                    <a:pt x="347903" y="587921"/>
                  </a:lnTo>
                  <a:lnTo>
                    <a:pt x="348005" y="588569"/>
                  </a:lnTo>
                  <a:lnTo>
                    <a:pt x="348005" y="587921"/>
                  </a:lnTo>
                  <a:lnTo>
                    <a:pt x="348056" y="587921"/>
                  </a:lnTo>
                  <a:lnTo>
                    <a:pt x="348107" y="588569"/>
                  </a:lnTo>
                  <a:lnTo>
                    <a:pt x="348157" y="588569"/>
                  </a:lnTo>
                  <a:lnTo>
                    <a:pt x="348246" y="589166"/>
                  </a:lnTo>
                  <a:lnTo>
                    <a:pt x="348297" y="589166"/>
                  </a:lnTo>
                  <a:lnTo>
                    <a:pt x="348297" y="588569"/>
                  </a:lnTo>
                  <a:lnTo>
                    <a:pt x="348348" y="588569"/>
                  </a:lnTo>
                  <a:lnTo>
                    <a:pt x="348348" y="589166"/>
                  </a:lnTo>
                  <a:lnTo>
                    <a:pt x="348602" y="589166"/>
                  </a:lnTo>
                  <a:lnTo>
                    <a:pt x="348703" y="590499"/>
                  </a:lnTo>
                  <a:lnTo>
                    <a:pt x="348703" y="589166"/>
                  </a:lnTo>
                  <a:lnTo>
                    <a:pt x="348843" y="589166"/>
                  </a:lnTo>
                  <a:lnTo>
                    <a:pt x="348843" y="590499"/>
                  </a:lnTo>
                  <a:lnTo>
                    <a:pt x="348945" y="590499"/>
                  </a:lnTo>
                  <a:lnTo>
                    <a:pt x="348945" y="589166"/>
                  </a:lnTo>
                  <a:lnTo>
                    <a:pt x="349148" y="589166"/>
                  </a:lnTo>
                  <a:lnTo>
                    <a:pt x="349199" y="588569"/>
                  </a:lnTo>
                  <a:lnTo>
                    <a:pt x="349250" y="588569"/>
                  </a:lnTo>
                  <a:lnTo>
                    <a:pt x="349288" y="587921"/>
                  </a:lnTo>
                  <a:lnTo>
                    <a:pt x="349288" y="588569"/>
                  </a:lnTo>
                  <a:lnTo>
                    <a:pt x="349491" y="588569"/>
                  </a:lnTo>
                  <a:lnTo>
                    <a:pt x="349491" y="587921"/>
                  </a:lnTo>
                  <a:lnTo>
                    <a:pt x="349592" y="588569"/>
                  </a:lnTo>
                  <a:lnTo>
                    <a:pt x="349643" y="589166"/>
                  </a:lnTo>
                  <a:lnTo>
                    <a:pt x="349694" y="588569"/>
                  </a:lnTo>
                  <a:lnTo>
                    <a:pt x="349834" y="588569"/>
                  </a:lnTo>
                  <a:lnTo>
                    <a:pt x="349834" y="587921"/>
                  </a:lnTo>
                  <a:lnTo>
                    <a:pt x="349884" y="587921"/>
                  </a:lnTo>
                  <a:lnTo>
                    <a:pt x="349935" y="588569"/>
                  </a:lnTo>
                  <a:lnTo>
                    <a:pt x="350189" y="588569"/>
                  </a:lnTo>
                  <a:lnTo>
                    <a:pt x="350189" y="587921"/>
                  </a:lnTo>
                  <a:lnTo>
                    <a:pt x="350291" y="588569"/>
                  </a:lnTo>
                  <a:lnTo>
                    <a:pt x="350532" y="588569"/>
                  </a:lnTo>
                  <a:lnTo>
                    <a:pt x="350583" y="587921"/>
                  </a:lnTo>
                  <a:lnTo>
                    <a:pt x="350634" y="587921"/>
                  </a:lnTo>
                  <a:lnTo>
                    <a:pt x="350634" y="588569"/>
                  </a:lnTo>
                  <a:lnTo>
                    <a:pt x="350875" y="588569"/>
                  </a:lnTo>
                  <a:lnTo>
                    <a:pt x="350977" y="589166"/>
                  </a:lnTo>
                  <a:lnTo>
                    <a:pt x="351027" y="589166"/>
                  </a:lnTo>
                  <a:lnTo>
                    <a:pt x="351027" y="588569"/>
                  </a:lnTo>
                  <a:lnTo>
                    <a:pt x="351332" y="588569"/>
                  </a:lnTo>
                  <a:lnTo>
                    <a:pt x="351332" y="589166"/>
                  </a:lnTo>
                  <a:lnTo>
                    <a:pt x="351421" y="588569"/>
                  </a:lnTo>
                  <a:lnTo>
                    <a:pt x="351472" y="589166"/>
                  </a:lnTo>
                  <a:lnTo>
                    <a:pt x="351675" y="589166"/>
                  </a:lnTo>
                  <a:lnTo>
                    <a:pt x="351726" y="590499"/>
                  </a:lnTo>
                  <a:lnTo>
                    <a:pt x="351726" y="589166"/>
                  </a:lnTo>
                  <a:lnTo>
                    <a:pt x="351777" y="590499"/>
                  </a:lnTo>
                  <a:lnTo>
                    <a:pt x="351878" y="590499"/>
                  </a:lnTo>
                  <a:lnTo>
                    <a:pt x="351878" y="589166"/>
                  </a:lnTo>
                  <a:lnTo>
                    <a:pt x="351916" y="589166"/>
                  </a:lnTo>
                  <a:lnTo>
                    <a:pt x="351967" y="590499"/>
                  </a:lnTo>
                  <a:lnTo>
                    <a:pt x="352171" y="590499"/>
                  </a:lnTo>
                  <a:lnTo>
                    <a:pt x="352221" y="591147"/>
                  </a:lnTo>
                  <a:lnTo>
                    <a:pt x="352818" y="591147"/>
                  </a:lnTo>
                  <a:lnTo>
                    <a:pt x="352869" y="590499"/>
                  </a:lnTo>
                  <a:lnTo>
                    <a:pt x="352869" y="589166"/>
                  </a:lnTo>
                  <a:lnTo>
                    <a:pt x="352920" y="588569"/>
                  </a:lnTo>
                  <a:lnTo>
                    <a:pt x="353009" y="587921"/>
                  </a:lnTo>
                  <a:lnTo>
                    <a:pt x="353110" y="587921"/>
                  </a:lnTo>
                  <a:lnTo>
                    <a:pt x="353110" y="588569"/>
                  </a:lnTo>
                  <a:lnTo>
                    <a:pt x="353161" y="587921"/>
                  </a:lnTo>
                  <a:lnTo>
                    <a:pt x="353263" y="587921"/>
                  </a:lnTo>
                  <a:lnTo>
                    <a:pt x="353314" y="588569"/>
                  </a:lnTo>
                  <a:lnTo>
                    <a:pt x="353364" y="588569"/>
                  </a:lnTo>
                  <a:lnTo>
                    <a:pt x="353364" y="589166"/>
                  </a:lnTo>
                  <a:lnTo>
                    <a:pt x="353466" y="589166"/>
                  </a:lnTo>
                  <a:lnTo>
                    <a:pt x="353466" y="588569"/>
                  </a:lnTo>
                  <a:lnTo>
                    <a:pt x="353504" y="587921"/>
                  </a:lnTo>
                  <a:lnTo>
                    <a:pt x="353504" y="587223"/>
                  </a:lnTo>
                  <a:lnTo>
                    <a:pt x="353707" y="587223"/>
                  </a:lnTo>
                  <a:lnTo>
                    <a:pt x="353758" y="586588"/>
                  </a:lnTo>
                  <a:lnTo>
                    <a:pt x="353809" y="587223"/>
                  </a:lnTo>
                  <a:lnTo>
                    <a:pt x="353809" y="586588"/>
                  </a:lnTo>
                  <a:lnTo>
                    <a:pt x="353910" y="587223"/>
                  </a:lnTo>
                  <a:lnTo>
                    <a:pt x="353961" y="587223"/>
                  </a:lnTo>
                  <a:lnTo>
                    <a:pt x="354012" y="587921"/>
                  </a:lnTo>
                  <a:lnTo>
                    <a:pt x="354050" y="587921"/>
                  </a:lnTo>
                  <a:lnTo>
                    <a:pt x="354050" y="588569"/>
                  </a:lnTo>
                  <a:lnTo>
                    <a:pt x="354152" y="588569"/>
                  </a:lnTo>
                  <a:lnTo>
                    <a:pt x="354152" y="589166"/>
                  </a:lnTo>
                  <a:lnTo>
                    <a:pt x="354355" y="589166"/>
                  </a:lnTo>
                  <a:lnTo>
                    <a:pt x="354406" y="588569"/>
                  </a:lnTo>
                  <a:lnTo>
                    <a:pt x="354596" y="588569"/>
                  </a:lnTo>
                  <a:lnTo>
                    <a:pt x="354647" y="589166"/>
                  </a:lnTo>
                  <a:lnTo>
                    <a:pt x="354647" y="588569"/>
                  </a:lnTo>
                  <a:lnTo>
                    <a:pt x="354698" y="588569"/>
                  </a:lnTo>
                  <a:lnTo>
                    <a:pt x="354749" y="587921"/>
                  </a:lnTo>
                  <a:lnTo>
                    <a:pt x="354749" y="588569"/>
                  </a:lnTo>
                  <a:lnTo>
                    <a:pt x="355091" y="588569"/>
                  </a:lnTo>
                  <a:lnTo>
                    <a:pt x="355142" y="589166"/>
                  </a:lnTo>
                  <a:lnTo>
                    <a:pt x="355193" y="589166"/>
                  </a:lnTo>
                  <a:lnTo>
                    <a:pt x="355295" y="590499"/>
                  </a:lnTo>
                  <a:lnTo>
                    <a:pt x="355396" y="590499"/>
                  </a:lnTo>
                  <a:lnTo>
                    <a:pt x="355498" y="589166"/>
                  </a:lnTo>
                  <a:lnTo>
                    <a:pt x="355549" y="589166"/>
                  </a:lnTo>
                  <a:lnTo>
                    <a:pt x="355600" y="588569"/>
                  </a:lnTo>
                  <a:lnTo>
                    <a:pt x="355638" y="588569"/>
                  </a:lnTo>
                  <a:lnTo>
                    <a:pt x="355739" y="587921"/>
                  </a:lnTo>
                  <a:lnTo>
                    <a:pt x="355841" y="587921"/>
                  </a:lnTo>
                  <a:lnTo>
                    <a:pt x="355841" y="588569"/>
                  </a:lnTo>
                  <a:lnTo>
                    <a:pt x="355942" y="587921"/>
                  </a:lnTo>
                  <a:lnTo>
                    <a:pt x="356095" y="587921"/>
                  </a:lnTo>
                  <a:lnTo>
                    <a:pt x="356095" y="587223"/>
                  </a:lnTo>
                  <a:lnTo>
                    <a:pt x="356184" y="587921"/>
                  </a:lnTo>
                  <a:lnTo>
                    <a:pt x="356234" y="587921"/>
                  </a:lnTo>
                  <a:lnTo>
                    <a:pt x="356285" y="588569"/>
                  </a:lnTo>
                  <a:lnTo>
                    <a:pt x="356679" y="588569"/>
                  </a:lnTo>
                  <a:lnTo>
                    <a:pt x="356730" y="587921"/>
                  </a:lnTo>
                  <a:lnTo>
                    <a:pt x="356882" y="587921"/>
                  </a:lnTo>
                  <a:lnTo>
                    <a:pt x="356882" y="588569"/>
                  </a:lnTo>
                  <a:lnTo>
                    <a:pt x="357327" y="588569"/>
                  </a:lnTo>
                  <a:lnTo>
                    <a:pt x="357327" y="589166"/>
                  </a:lnTo>
                  <a:lnTo>
                    <a:pt x="357530" y="589166"/>
                  </a:lnTo>
                  <a:lnTo>
                    <a:pt x="357581" y="588569"/>
                  </a:lnTo>
                  <a:lnTo>
                    <a:pt x="357632" y="588569"/>
                  </a:lnTo>
                  <a:lnTo>
                    <a:pt x="357682" y="589166"/>
                  </a:lnTo>
                  <a:lnTo>
                    <a:pt x="357822" y="589166"/>
                  </a:lnTo>
                  <a:lnTo>
                    <a:pt x="357822" y="588569"/>
                  </a:lnTo>
                  <a:lnTo>
                    <a:pt x="357924" y="588569"/>
                  </a:lnTo>
                  <a:lnTo>
                    <a:pt x="357924" y="589166"/>
                  </a:lnTo>
                  <a:lnTo>
                    <a:pt x="358266" y="589166"/>
                  </a:lnTo>
                  <a:lnTo>
                    <a:pt x="358266" y="590499"/>
                  </a:lnTo>
                  <a:lnTo>
                    <a:pt x="358317" y="590499"/>
                  </a:lnTo>
                  <a:lnTo>
                    <a:pt x="358368" y="591147"/>
                  </a:lnTo>
                  <a:lnTo>
                    <a:pt x="358673" y="591147"/>
                  </a:lnTo>
                  <a:lnTo>
                    <a:pt x="358724" y="590499"/>
                  </a:lnTo>
                  <a:lnTo>
                    <a:pt x="358724" y="589166"/>
                  </a:lnTo>
                  <a:lnTo>
                    <a:pt x="358774" y="589166"/>
                  </a:lnTo>
                  <a:lnTo>
                    <a:pt x="358813" y="588569"/>
                  </a:lnTo>
                  <a:lnTo>
                    <a:pt x="358914" y="589166"/>
                  </a:lnTo>
                  <a:lnTo>
                    <a:pt x="358914" y="588569"/>
                  </a:lnTo>
                  <a:lnTo>
                    <a:pt x="358965" y="589166"/>
                  </a:lnTo>
                  <a:lnTo>
                    <a:pt x="359270" y="589166"/>
                  </a:lnTo>
                  <a:lnTo>
                    <a:pt x="359359" y="588569"/>
                  </a:lnTo>
                  <a:lnTo>
                    <a:pt x="359359" y="587921"/>
                  </a:lnTo>
                  <a:lnTo>
                    <a:pt x="359409" y="587223"/>
                  </a:lnTo>
                  <a:lnTo>
                    <a:pt x="359613" y="587223"/>
                  </a:lnTo>
                  <a:lnTo>
                    <a:pt x="359613" y="587921"/>
                  </a:lnTo>
                  <a:lnTo>
                    <a:pt x="359663" y="587223"/>
                  </a:lnTo>
                  <a:lnTo>
                    <a:pt x="359854" y="587223"/>
                  </a:lnTo>
                  <a:lnTo>
                    <a:pt x="359905" y="587921"/>
                  </a:lnTo>
                  <a:lnTo>
                    <a:pt x="360108" y="587921"/>
                  </a:lnTo>
                  <a:lnTo>
                    <a:pt x="360159" y="588569"/>
                  </a:lnTo>
                  <a:lnTo>
                    <a:pt x="360400" y="588569"/>
                  </a:lnTo>
                  <a:lnTo>
                    <a:pt x="360400" y="589166"/>
                  </a:lnTo>
                  <a:lnTo>
                    <a:pt x="360553" y="589166"/>
                  </a:lnTo>
                  <a:lnTo>
                    <a:pt x="360553" y="588569"/>
                  </a:lnTo>
                  <a:lnTo>
                    <a:pt x="360603" y="588569"/>
                  </a:lnTo>
                  <a:lnTo>
                    <a:pt x="360705" y="589166"/>
                  </a:lnTo>
                  <a:lnTo>
                    <a:pt x="360756" y="589166"/>
                  </a:lnTo>
                  <a:lnTo>
                    <a:pt x="360807" y="588569"/>
                  </a:lnTo>
                  <a:lnTo>
                    <a:pt x="361048" y="588569"/>
                  </a:lnTo>
                  <a:lnTo>
                    <a:pt x="361099" y="587921"/>
                  </a:lnTo>
                  <a:lnTo>
                    <a:pt x="361200" y="588569"/>
                  </a:lnTo>
                  <a:lnTo>
                    <a:pt x="361251" y="587921"/>
                  </a:lnTo>
                  <a:lnTo>
                    <a:pt x="361251" y="588569"/>
                  </a:lnTo>
                  <a:lnTo>
                    <a:pt x="361645" y="588569"/>
                  </a:lnTo>
                  <a:lnTo>
                    <a:pt x="361645" y="587921"/>
                  </a:lnTo>
                  <a:lnTo>
                    <a:pt x="361696" y="587921"/>
                  </a:lnTo>
                  <a:lnTo>
                    <a:pt x="361746" y="588569"/>
                  </a:lnTo>
                  <a:lnTo>
                    <a:pt x="362191" y="588569"/>
                  </a:lnTo>
                  <a:lnTo>
                    <a:pt x="362191" y="587921"/>
                  </a:lnTo>
                  <a:lnTo>
                    <a:pt x="362292" y="588569"/>
                  </a:lnTo>
                  <a:lnTo>
                    <a:pt x="362292" y="587921"/>
                  </a:lnTo>
                  <a:lnTo>
                    <a:pt x="362788" y="587921"/>
                  </a:lnTo>
                  <a:lnTo>
                    <a:pt x="362838" y="588569"/>
                  </a:lnTo>
                  <a:lnTo>
                    <a:pt x="362889" y="587921"/>
                  </a:lnTo>
                  <a:lnTo>
                    <a:pt x="363131" y="587921"/>
                  </a:lnTo>
                  <a:lnTo>
                    <a:pt x="363232" y="588569"/>
                  </a:lnTo>
                  <a:lnTo>
                    <a:pt x="363435" y="588569"/>
                  </a:lnTo>
                  <a:lnTo>
                    <a:pt x="363435" y="589166"/>
                  </a:lnTo>
                  <a:lnTo>
                    <a:pt x="363486" y="588569"/>
                  </a:lnTo>
                  <a:lnTo>
                    <a:pt x="363486" y="589166"/>
                  </a:lnTo>
                  <a:lnTo>
                    <a:pt x="363537" y="589166"/>
                  </a:lnTo>
                  <a:lnTo>
                    <a:pt x="363537" y="588569"/>
                  </a:lnTo>
                  <a:lnTo>
                    <a:pt x="363575" y="588569"/>
                  </a:lnTo>
                  <a:lnTo>
                    <a:pt x="363677" y="589166"/>
                  </a:lnTo>
                  <a:lnTo>
                    <a:pt x="363982" y="589166"/>
                  </a:lnTo>
                  <a:lnTo>
                    <a:pt x="363982" y="590499"/>
                  </a:lnTo>
                  <a:lnTo>
                    <a:pt x="364172" y="590499"/>
                  </a:lnTo>
                  <a:lnTo>
                    <a:pt x="364172" y="591147"/>
                  </a:lnTo>
                  <a:lnTo>
                    <a:pt x="364375" y="591147"/>
                  </a:lnTo>
                  <a:lnTo>
                    <a:pt x="364375" y="590499"/>
                  </a:lnTo>
                  <a:lnTo>
                    <a:pt x="364578" y="590499"/>
                  </a:lnTo>
                  <a:lnTo>
                    <a:pt x="364617" y="591147"/>
                  </a:lnTo>
                  <a:lnTo>
                    <a:pt x="364667" y="591147"/>
                  </a:lnTo>
                  <a:lnTo>
                    <a:pt x="364718" y="590499"/>
                  </a:lnTo>
                  <a:lnTo>
                    <a:pt x="364718" y="589166"/>
                  </a:lnTo>
                  <a:lnTo>
                    <a:pt x="364820" y="588569"/>
                  </a:lnTo>
                  <a:lnTo>
                    <a:pt x="364820" y="587921"/>
                  </a:lnTo>
                  <a:lnTo>
                    <a:pt x="364871" y="587223"/>
                  </a:lnTo>
                  <a:lnTo>
                    <a:pt x="365023" y="587223"/>
                  </a:lnTo>
                  <a:lnTo>
                    <a:pt x="365023" y="587921"/>
                  </a:lnTo>
                  <a:lnTo>
                    <a:pt x="365124" y="587921"/>
                  </a:lnTo>
                  <a:lnTo>
                    <a:pt x="365124" y="588569"/>
                  </a:lnTo>
                  <a:lnTo>
                    <a:pt x="365264" y="588569"/>
                  </a:lnTo>
                  <a:lnTo>
                    <a:pt x="365264" y="589166"/>
                  </a:lnTo>
                  <a:lnTo>
                    <a:pt x="365315" y="588569"/>
                  </a:lnTo>
                  <a:lnTo>
                    <a:pt x="365366" y="587921"/>
                  </a:lnTo>
                  <a:lnTo>
                    <a:pt x="365366" y="587223"/>
                  </a:lnTo>
                  <a:lnTo>
                    <a:pt x="365518" y="587223"/>
                  </a:lnTo>
                  <a:lnTo>
                    <a:pt x="365569" y="586588"/>
                  </a:lnTo>
                  <a:lnTo>
                    <a:pt x="365810" y="586588"/>
                  </a:lnTo>
                  <a:lnTo>
                    <a:pt x="365810" y="587223"/>
                  </a:lnTo>
                  <a:lnTo>
                    <a:pt x="365963" y="587223"/>
                  </a:lnTo>
                  <a:lnTo>
                    <a:pt x="365963" y="587921"/>
                  </a:lnTo>
                  <a:lnTo>
                    <a:pt x="366013" y="587921"/>
                  </a:lnTo>
                  <a:lnTo>
                    <a:pt x="366064" y="588569"/>
                  </a:lnTo>
                  <a:lnTo>
                    <a:pt x="366458" y="588569"/>
                  </a:lnTo>
                  <a:lnTo>
                    <a:pt x="366509" y="587921"/>
                  </a:lnTo>
                  <a:lnTo>
                    <a:pt x="366661" y="587921"/>
                  </a:lnTo>
                  <a:lnTo>
                    <a:pt x="366712" y="588569"/>
                  </a:lnTo>
                  <a:lnTo>
                    <a:pt x="366712" y="587921"/>
                  </a:lnTo>
                  <a:lnTo>
                    <a:pt x="366750" y="587921"/>
                  </a:lnTo>
                  <a:lnTo>
                    <a:pt x="366750" y="588569"/>
                  </a:lnTo>
                  <a:lnTo>
                    <a:pt x="366852" y="587921"/>
                  </a:lnTo>
                  <a:lnTo>
                    <a:pt x="366903" y="587921"/>
                  </a:lnTo>
                  <a:lnTo>
                    <a:pt x="366903" y="588569"/>
                  </a:lnTo>
                  <a:lnTo>
                    <a:pt x="367106" y="588569"/>
                  </a:lnTo>
                  <a:lnTo>
                    <a:pt x="367106" y="589166"/>
                  </a:lnTo>
                  <a:lnTo>
                    <a:pt x="367157" y="589166"/>
                  </a:lnTo>
                  <a:lnTo>
                    <a:pt x="367157" y="588569"/>
                  </a:lnTo>
                  <a:lnTo>
                    <a:pt x="367449" y="588569"/>
                  </a:lnTo>
                  <a:lnTo>
                    <a:pt x="367550" y="587921"/>
                  </a:lnTo>
                  <a:lnTo>
                    <a:pt x="367792" y="587921"/>
                  </a:lnTo>
                  <a:lnTo>
                    <a:pt x="367792" y="587223"/>
                  </a:lnTo>
                  <a:lnTo>
                    <a:pt x="367842" y="587921"/>
                  </a:lnTo>
                  <a:lnTo>
                    <a:pt x="367842" y="587223"/>
                  </a:lnTo>
                  <a:lnTo>
                    <a:pt x="367893" y="587223"/>
                  </a:lnTo>
                  <a:lnTo>
                    <a:pt x="367995" y="587921"/>
                  </a:lnTo>
                  <a:lnTo>
                    <a:pt x="368046" y="587921"/>
                  </a:lnTo>
                  <a:lnTo>
                    <a:pt x="368046" y="588569"/>
                  </a:lnTo>
                  <a:lnTo>
                    <a:pt x="368096" y="587921"/>
                  </a:lnTo>
                  <a:lnTo>
                    <a:pt x="368096" y="588569"/>
                  </a:lnTo>
                  <a:lnTo>
                    <a:pt x="368198" y="588569"/>
                  </a:lnTo>
                  <a:lnTo>
                    <a:pt x="368249" y="587921"/>
                  </a:lnTo>
                  <a:lnTo>
                    <a:pt x="368249" y="588569"/>
                  </a:lnTo>
                  <a:lnTo>
                    <a:pt x="368299" y="588569"/>
                  </a:lnTo>
                  <a:lnTo>
                    <a:pt x="368299" y="587921"/>
                  </a:lnTo>
                  <a:lnTo>
                    <a:pt x="368693" y="587921"/>
                  </a:lnTo>
                  <a:lnTo>
                    <a:pt x="368744" y="587223"/>
                  </a:lnTo>
                  <a:lnTo>
                    <a:pt x="368744" y="587921"/>
                  </a:lnTo>
                  <a:lnTo>
                    <a:pt x="369036" y="587921"/>
                  </a:lnTo>
                  <a:lnTo>
                    <a:pt x="369036" y="588569"/>
                  </a:lnTo>
                  <a:lnTo>
                    <a:pt x="369341" y="588569"/>
                  </a:lnTo>
                  <a:lnTo>
                    <a:pt x="369341" y="587921"/>
                  </a:lnTo>
                  <a:lnTo>
                    <a:pt x="369379" y="588569"/>
                  </a:lnTo>
                  <a:lnTo>
                    <a:pt x="369430" y="587921"/>
                  </a:lnTo>
                  <a:lnTo>
                    <a:pt x="369430" y="588569"/>
                  </a:lnTo>
                  <a:lnTo>
                    <a:pt x="369582" y="588569"/>
                  </a:lnTo>
                  <a:lnTo>
                    <a:pt x="369633" y="587921"/>
                  </a:lnTo>
                  <a:lnTo>
                    <a:pt x="369633" y="588569"/>
                  </a:lnTo>
                  <a:lnTo>
                    <a:pt x="369684" y="588569"/>
                  </a:lnTo>
                  <a:lnTo>
                    <a:pt x="369785" y="587921"/>
                  </a:lnTo>
                  <a:lnTo>
                    <a:pt x="369785" y="588569"/>
                  </a:lnTo>
                  <a:lnTo>
                    <a:pt x="369887" y="588569"/>
                  </a:lnTo>
                  <a:lnTo>
                    <a:pt x="369925" y="589166"/>
                  </a:lnTo>
                  <a:lnTo>
                    <a:pt x="370078" y="589166"/>
                  </a:lnTo>
                  <a:lnTo>
                    <a:pt x="370078" y="590499"/>
                  </a:lnTo>
                  <a:lnTo>
                    <a:pt x="370573" y="590499"/>
                  </a:lnTo>
                  <a:lnTo>
                    <a:pt x="370624" y="591147"/>
                  </a:lnTo>
                  <a:lnTo>
                    <a:pt x="370725" y="590499"/>
                  </a:lnTo>
                  <a:lnTo>
                    <a:pt x="370776" y="589166"/>
                  </a:lnTo>
                  <a:lnTo>
                    <a:pt x="370776" y="588569"/>
                  </a:lnTo>
                  <a:lnTo>
                    <a:pt x="370827" y="587921"/>
                  </a:lnTo>
                  <a:lnTo>
                    <a:pt x="370928" y="587223"/>
                  </a:lnTo>
                  <a:lnTo>
                    <a:pt x="371017" y="587223"/>
                  </a:lnTo>
                  <a:lnTo>
                    <a:pt x="371017" y="587921"/>
                  </a:lnTo>
                  <a:lnTo>
                    <a:pt x="371221" y="587921"/>
                  </a:lnTo>
                  <a:lnTo>
                    <a:pt x="371271" y="588569"/>
                  </a:lnTo>
                  <a:lnTo>
                    <a:pt x="371373" y="588569"/>
                  </a:lnTo>
                  <a:lnTo>
                    <a:pt x="371424" y="587921"/>
                  </a:lnTo>
                  <a:lnTo>
                    <a:pt x="371424" y="587223"/>
                  </a:lnTo>
                  <a:lnTo>
                    <a:pt x="371474" y="587223"/>
                  </a:lnTo>
                  <a:lnTo>
                    <a:pt x="371474" y="586588"/>
                  </a:lnTo>
                  <a:lnTo>
                    <a:pt x="371513" y="587223"/>
                  </a:lnTo>
                  <a:lnTo>
                    <a:pt x="371614" y="587223"/>
                  </a:lnTo>
                  <a:lnTo>
                    <a:pt x="371614" y="586588"/>
                  </a:lnTo>
                  <a:lnTo>
                    <a:pt x="371716" y="586588"/>
                  </a:lnTo>
                  <a:lnTo>
                    <a:pt x="371817" y="587223"/>
                  </a:lnTo>
                  <a:lnTo>
                    <a:pt x="371919" y="587223"/>
                  </a:lnTo>
                  <a:lnTo>
                    <a:pt x="371970" y="587921"/>
                  </a:lnTo>
                  <a:lnTo>
                    <a:pt x="371970" y="588569"/>
                  </a:lnTo>
                  <a:lnTo>
                    <a:pt x="372109" y="588569"/>
                  </a:lnTo>
                  <a:lnTo>
                    <a:pt x="372160" y="587921"/>
                  </a:lnTo>
                  <a:lnTo>
                    <a:pt x="372363" y="587921"/>
                  </a:lnTo>
                  <a:lnTo>
                    <a:pt x="372363" y="588569"/>
                  </a:lnTo>
                  <a:lnTo>
                    <a:pt x="372605" y="588569"/>
                  </a:lnTo>
                  <a:lnTo>
                    <a:pt x="372656" y="587921"/>
                  </a:lnTo>
                  <a:lnTo>
                    <a:pt x="372656" y="588569"/>
                  </a:lnTo>
                  <a:lnTo>
                    <a:pt x="372960" y="588569"/>
                  </a:lnTo>
                  <a:lnTo>
                    <a:pt x="373011" y="587921"/>
                  </a:lnTo>
                  <a:lnTo>
                    <a:pt x="373062" y="588569"/>
                  </a:lnTo>
                  <a:lnTo>
                    <a:pt x="373100" y="588569"/>
                  </a:lnTo>
                  <a:lnTo>
                    <a:pt x="373202" y="587921"/>
                  </a:lnTo>
                  <a:lnTo>
                    <a:pt x="373799" y="587921"/>
                  </a:lnTo>
                  <a:lnTo>
                    <a:pt x="373900" y="587223"/>
                  </a:lnTo>
                  <a:lnTo>
                    <a:pt x="374002" y="587223"/>
                  </a:lnTo>
                  <a:lnTo>
                    <a:pt x="374002" y="587921"/>
                  </a:lnTo>
                  <a:lnTo>
                    <a:pt x="374142" y="587921"/>
                  </a:lnTo>
                  <a:lnTo>
                    <a:pt x="374192" y="588569"/>
                  </a:lnTo>
                  <a:lnTo>
                    <a:pt x="374192" y="587921"/>
                  </a:lnTo>
                  <a:lnTo>
                    <a:pt x="374446" y="587921"/>
                  </a:lnTo>
                  <a:lnTo>
                    <a:pt x="374446" y="587223"/>
                  </a:lnTo>
                  <a:lnTo>
                    <a:pt x="374548" y="587223"/>
                  </a:lnTo>
                  <a:lnTo>
                    <a:pt x="374548" y="587921"/>
                  </a:lnTo>
                  <a:lnTo>
                    <a:pt x="374649" y="587921"/>
                  </a:lnTo>
                  <a:lnTo>
                    <a:pt x="374688" y="588569"/>
                  </a:lnTo>
                  <a:lnTo>
                    <a:pt x="374789" y="588569"/>
                  </a:lnTo>
                  <a:lnTo>
                    <a:pt x="374840" y="587921"/>
                  </a:lnTo>
                  <a:lnTo>
                    <a:pt x="374891" y="587921"/>
                  </a:lnTo>
                  <a:lnTo>
                    <a:pt x="374891" y="588569"/>
                  </a:lnTo>
                  <a:lnTo>
                    <a:pt x="374992" y="587921"/>
                  </a:lnTo>
                  <a:lnTo>
                    <a:pt x="375043" y="587921"/>
                  </a:lnTo>
                  <a:lnTo>
                    <a:pt x="375043" y="588569"/>
                  </a:lnTo>
                  <a:lnTo>
                    <a:pt x="375145" y="588569"/>
                  </a:lnTo>
                  <a:lnTo>
                    <a:pt x="375234" y="587921"/>
                  </a:lnTo>
                  <a:lnTo>
                    <a:pt x="375234" y="588569"/>
                  </a:lnTo>
                  <a:lnTo>
                    <a:pt x="375284" y="587921"/>
                  </a:lnTo>
                  <a:lnTo>
                    <a:pt x="375284" y="588569"/>
                  </a:lnTo>
                  <a:lnTo>
                    <a:pt x="375386" y="588569"/>
                  </a:lnTo>
                  <a:lnTo>
                    <a:pt x="375386" y="587921"/>
                  </a:lnTo>
                  <a:lnTo>
                    <a:pt x="375488" y="588569"/>
                  </a:lnTo>
                  <a:lnTo>
                    <a:pt x="375589" y="588569"/>
                  </a:lnTo>
                  <a:lnTo>
                    <a:pt x="375589" y="589166"/>
                  </a:lnTo>
                  <a:lnTo>
                    <a:pt x="375983" y="589166"/>
                  </a:lnTo>
                  <a:lnTo>
                    <a:pt x="376034" y="590499"/>
                  </a:lnTo>
                  <a:lnTo>
                    <a:pt x="376478" y="590499"/>
                  </a:lnTo>
                  <a:lnTo>
                    <a:pt x="376478" y="589166"/>
                  </a:lnTo>
                  <a:lnTo>
                    <a:pt x="376580" y="589166"/>
                  </a:lnTo>
                  <a:lnTo>
                    <a:pt x="376631" y="588569"/>
                  </a:lnTo>
                  <a:lnTo>
                    <a:pt x="376682" y="587921"/>
                  </a:lnTo>
                  <a:lnTo>
                    <a:pt x="376732" y="587223"/>
                  </a:lnTo>
                  <a:lnTo>
                    <a:pt x="377075" y="587223"/>
                  </a:lnTo>
                  <a:lnTo>
                    <a:pt x="377075" y="587921"/>
                  </a:lnTo>
                  <a:lnTo>
                    <a:pt x="377126" y="587921"/>
                  </a:lnTo>
                  <a:lnTo>
                    <a:pt x="377177" y="588569"/>
                  </a:lnTo>
                  <a:lnTo>
                    <a:pt x="377177" y="587921"/>
                  </a:lnTo>
                  <a:lnTo>
                    <a:pt x="377278" y="587921"/>
                  </a:lnTo>
                  <a:lnTo>
                    <a:pt x="377278" y="587223"/>
                  </a:lnTo>
                  <a:lnTo>
                    <a:pt x="377317" y="586588"/>
                  </a:lnTo>
                  <a:lnTo>
                    <a:pt x="377520" y="586588"/>
                  </a:lnTo>
                  <a:lnTo>
                    <a:pt x="377571" y="587223"/>
                  </a:lnTo>
                  <a:lnTo>
                    <a:pt x="377621" y="586588"/>
                  </a:lnTo>
                  <a:lnTo>
                    <a:pt x="377774" y="586588"/>
                  </a:lnTo>
                  <a:lnTo>
                    <a:pt x="377774" y="587223"/>
                  </a:lnTo>
                  <a:lnTo>
                    <a:pt x="377824" y="587223"/>
                  </a:lnTo>
                  <a:lnTo>
                    <a:pt x="377863" y="587921"/>
                  </a:lnTo>
                  <a:lnTo>
                    <a:pt x="378066" y="587921"/>
                  </a:lnTo>
                  <a:lnTo>
                    <a:pt x="378167" y="588569"/>
                  </a:lnTo>
                  <a:lnTo>
                    <a:pt x="378269" y="588569"/>
                  </a:lnTo>
                  <a:lnTo>
                    <a:pt x="378320" y="587921"/>
                  </a:lnTo>
                  <a:lnTo>
                    <a:pt x="378459" y="587921"/>
                  </a:lnTo>
                  <a:lnTo>
                    <a:pt x="378510" y="587223"/>
                  </a:lnTo>
                  <a:lnTo>
                    <a:pt x="378663" y="587223"/>
                  </a:lnTo>
                  <a:lnTo>
                    <a:pt x="378663" y="587921"/>
                  </a:lnTo>
                  <a:lnTo>
                    <a:pt x="378904" y="587921"/>
                  </a:lnTo>
                  <a:lnTo>
                    <a:pt x="378904" y="588569"/>
                  </a:lnTo>
                  <a:lnTo>
                    <a:pt x="379209" y="588569"/>
                  </a:lnTo>
                  <a:lnTo>
                    <a:pt x="379310" y="587921"/>
                  </a:lnTo>
                  <a:lnTo>
                    <a:pt x="379310" y="588569"/>
                  </a:lnTo>
                  <a:lnTo>
                    <a:pt x="379361" y="589166"/>
                  </a:lnTo>
                  <a:lnTo>
                    <a:pt x="379361" y="588569"/>
                  </a:lnTo>
                  <a:lnTo>
                    <a:pt x="379450" y="588569"/>
                  </a:lnTo>
                  <a:lnTo>
                    <a:pt x="379450" y="587223"/>
                  </a:lnTo>
                  <a:lnTo>
                    <a:pt x="379653" y="587223"/>
                  </a:lnTo>
                  <a:lnTo>
                    <a:pt x="379755" y="587921"/>
                  </a:lnTo>
                  <a:lnTo>
                    <a:pt x="379857" y="587921"/>
                  </a:lnTo>
                  <a:lnTo>
                    <a:pt x="379857" y="587223"/>
                  </a:lnTo>
                  <a:lnTo>
                    <a:pt x="379907" y="587921"/>
                  </a:lnTo>
                  <a:lnTo>
                    <a:pt x="379996" y="587921"/>
                  </a:lnTo>
                  <a:lnTo>
                    <a:pt x="379996" y="588569"/>
                  </a:lnTo>
                  <a:lnTo>
                    <a:pt x="380047" y="588569"/>
                  </a:lnTo>
                  <a:lnTo>
                    <a:pt x="380098" y="587921"/>
                  </a:lnTo>
                  <a:lnTo>
                    <a:pt x="380250" y="587921"/>
                  </a:lnTo>
                  <a:lnTo>
                    <a:pt x="380301" y="588569"/>
                  </a:lnTo>
                  <a:lnTo>
                    <a:pt x="380453" y="588569"/>
                  </a:lnTo>
                  <a:lnTo>
                    <a:pt x="380453" y="587921"/>
                  </a:lnTo>
                  <a:lnTo>
                    <a:pt x="380542" y="587921"/>
                  </a:lnTo>
                  <a:lnTo>
                    <a:pt x="380593" y="587223"/>
                  </a:lnTo>
                  <a:lnTo>
                    <a:pt x="380695" y="587223"/>
                  </a:lnTo>
                  <a:lnTo>
                    <a:pt x="380746" y="587921"/>
                  </a:lnTo>
                  <a:lnTo>
                    <a:pt x="380796" y="587921"/>
                  </a:lnTo>
                  <a:lnTo>
                    <a:pt x="380898" y="587223"/>
                  </a:lnTo>
                  <a:lnTo>
                    <a:pt x="380898" y="587921"/>
                  </a:lnTo>
                  <a:lnTo>
                    <a:pt x="381038" y="587921"/>
                  </a:lnTo>
                  <a:lnTo>
                    <a:pt x="381038" y="588569"/>
                  </a:lnTo>
                  <a:lnTo>
                    <a:pt x="381393" y="588569"/>
                  </a:lnTo>
                  <a:lnTo>
                    <a:pt x="381393" y="589166"/>
                  </a:lnTo>
                  <a:lnTo>
                    <a:pt x="381495" y="589166"/>
                  </a:lnTo>
                  <a:lnTo>
                    <a:pt x="381495" y="588569"/>
                  </a:lnTo>
                  <a:lnTo>
                    <a:pt x="381838" y="588569"/>
                  </a:lnTo>
                  <a:lnTo>
                    <a:pt x="381838" y="589166"/>
                  </a:lnTo>
                  <a:lnTo>
                    <a:pt x="382041" y="589166"/>
                  </a:lnTo>
                  <a:lnTo>
                    <a:pt x="382041" y="590499"/>
                  </a:lnTo>
                  <a:lnTo>
                    <a:pt x="382079" y="591147"/>
                  </a:lnTo>
                  <a:lnTo>
                    <a:pt x="382130" y="591147"/>
                  </a:lnTo>
                  <a:lnTo>
                    <a:pt x="382181" y="590499"/>
                  </a:lnTo>
                  <a:lnTo>
                    <a:pt x="382333" y="590499"/>
                  </a:lnTo>
                  <a:lnTo>
                    <a:pt x="382333" y="591147"/>
                  </a:lnTo>
                  <a:lnTo>
                    <a:pt x="382384" y="590499"/>
                  </a:lnTo>
                  <a:lnTo>
                    <a:pt x="382485" y="590499"/>
                  </a:lnTo>
                  <a:lnTo>
                    <a:pt x="382536" y="589166"/>
                  </a:lnTo>
                  <a:lnTo>
                    <a:pt x="382536" y="588569"/>
                  </a:lnTo>
                  <a:lnTo>
                    <a:pt x="382587" y="587921"/>
                  </a:lnTo>
                  <a:lnTo>
                    <a:pt x="382587" y="587223"/>
                  </a:lnTo>
                  <a:lnTo>
                    <a:pt x="382625" y="587223"/>
                  </a:lnTo>
                  <a:lnTo>
                    <a:pt x="382727" y="587921"/>
                  </a:lnTo>
                  <a:lnTo>
                    <a:pt x="383171" y="587921"/>
                  </a:lnTo>
                  <a:lnTo>
                    <a:pt x="383171" y="587223"/>
                  </a:lnTo>
                  <a:lnTo>
                    <a:pt x="383222" y="587223"/>
                  </a:lnTo>
                  <a:lnTo>
                    <a:pt x="383222" y="586588"/>
                  </a:lnTo>
                  <a:lnTo>
                    <a:pt x="383324" y="586588"/>
                  </a:lnTo>
                  <a:lnTo>
                    <a:pt x="383425" y="587223"/>
                  </a:lnTo>
                  <a:lnTo>
                    <a:pt x="383717" y="587223"/>
                  </a:lnTo>
                  <a:lnTo>
                    <a:pt x="383717" y="587921"/>
                  </a:lnTo>
                  <a:lnTo>
                    <a:pt x="383768" y="587921"/>
                  </a:lnTo>
                  <a:lnTo>
                    <a:pt x="383870" y="588569"/>
                  </a:lnTo>
                  <a:lnTo>
                    <a:pt x="383921" y="587921"/>
                  </a:lnTo>
                  <a:lnTo>
                    <a:pt x="384073" y="587921"/>
                  </a:lnTo>
                  <a:lnTo>
                    <a:pt x="384073" y="588569"/>
                  </a:lnTo>
                  <a:lnTo>
                    <a:pt x="384124" y="588569"/>
                  </a:lnTo>
                  <a:lnTo>
                    <a:pt x="384124" y="587921"/>
                  </a:lnTo>
                  <a:lnTo>
                    <a:pt x="384174" y="588569"/>
                  </a:lnTo>
                  <a:lnTo>
                    <a:pt x="384670" y="588569"/>
                  </a:lnTo>
                  <a:lnTo>
                    <a:pt x="384670" y="587921"/>
                  </a:lnTo>
                  <a:lnTo>
                    <a:pt x="385114" y="587921"/>
                  </a:lnTo>
                  <a:lnTo>
                    <a:pt x="385114" y="588569"/>
                  </a:lnTo>
                  <a:lnTo>
                    <a:pt x="385216" y="588569"/>
                  </a:lnTo>
                  <a:lnTo>
                    <a:pt x="385254" y="587921"/>
                  </a:lnTo>
                  <a:lnTo>
                    <a:pt x="385305" y="587223"/>
                  </a:lnTo>
                  <a:lnTo>
                    <a:pt x="385356" y="587223"/>
                  </a:lnTo>
                  <a:lnTo>
                    <a:pt x="385457" y="587921"/>
                  </a:lnTo>
                  <a:lnTo>
                    <a:pt x="385711" y="587921"/>
                  </a:lnTo>
                  <a:lnTo>
                    <a:pt x="385762" y="587223"/>
                  </a:lnTo>
                  <a:lnTo>
                    <a:pt x="385800" y="587921"/>
                  </a:lnTo>
                  <a:lnTo>
                    <a:pt x="385902" y="588569"/>
                  </a:lnTo>
                  <a:lnTo>
                    <a:pt x="385953" y="588569"/>
                  </a:lnTo>
                  <a:lnTo>
                    <a:pt x="386003" y="587921"/>
                  </a:lnTo>
                  <a:lnTo>
                    <a:pt x="386600" y="587921"/>
                  </a:lnTo>
                  <a:lnTo>
                    <a:pt x="386600" y="587223"/>
                  </a:lnTo>
                  <a:lnTo>
                    <a:pt x="386651" y="587223"/>
                  </a:lnTo>
                  <a:lnTo>
                    <a:pt x="386651" y="587921"/>
                  </a:lnTo>
                  <a:lnTo>
                    <a:pt x="386943" y="587921"/>
                  </a:lnTo>
                  <a:lnTo>
                    <a:pt x="387045" y="588569"/>
                  </a:lnTo>
                  <a:lnTo>
                    <a:pt x="387096" y="588569"/>
                  </a:lnTo>
                  <a:lnTo>
                    <a:pt x="387146" y="587921"/>
                  </a:lnTo>
                  <a:lnTo>
                    <a:pt x="387248" y="588569"/>
                  </a:lnTo>
                  <a:lnTo>
                    <a:pt x="387299" y="589166"/>
                  </a:lnTo>
                  <a:lnTo>
                    <a:pt x="387489" y="589166"/>
                  </a:lnTo>
                  <a:lnTo>
                    <a:pt x="387489" y="588569"/>
                  </a:lnTo>
                  <a:lnTo>
                    <a:pt x="387692" y="588569"/>
                  </a:lnTo>
                  <a:lnTo>
                    <a:pt x="387692" y="589166"/>
                  </a:lnTo>
                  <a:lnTo>
                    <a:pt x="387794" y="589166"/>
                  </a:lnTo>
                  <a:lnTo>
                    <a:pt x="387845" y="590499"/>
                  </a:lnTo>
                  <a:lnTo>
                    <a:pt x="387984" y="590499"/>
                  </a:lnTo>
                  <a:lnTo>
                    <a:pt x="388035" y="591147"/>
                  </a:lnTo>
                  <a:lnTo>
                    <a:pt x="388086" y="591147"/>
                  </a:lnTo>
                  <a:lnTo>
                    <a:pt x="388188" y="590499"/>
                  </a:lnTo>
                  <a:lnTo>
                    <a:pt x="388480" y="590499"/>
                  </a:lnTo>
                  <a:lnTo>
                    <a:pt x="388480" y="589166"/>
                  </a:lnTo>
                  <a:lnTo>
                    <a:pt x="388531" y="588569"/>
                  </a:lnTo>
                  <a:lnTo>
                    <a:pt x="388632" y="587921"/>
                  </a:lnTo>
                  <a:lnTo>
                    <a:pt x="388632" y="587223"/>
                  </a:lnTo>
                  <a:lnTo>
                    <a:pt x="388683" y="586588"/>
                  </a:lnTo>
                  <a:lnTo>
                    <a:pt x="388683" y="587223"/>
                  </a:lnTo>
                  <a:lnTo>
                    <a:pt x="388734" y="587223"/>
                  </a:lnTo>
                  <a:lnTo>
                    <a:pt x="388835" y="587921"/>
                  </a:lnTo>
                  <a:lnTo>
                    <a:pt x="388937" y="587921"/>
                  </a:lnTo>
                  <a:lnTo>
                    <a:pt x="388937" y="588569"/>
                  </a:lnTo>
                  <a:lnTo>
                    <a:pt x="389077" y="588569"/>
                  </a:lnTo>
                  <a:lnTo>
                    <a:pt x="389128" y="587921"/>
                  </a:lnTo>
                  <a:lnTo>
                    <a:pt x="389178" y="587223"/>
                  </a:lnTo>
                  <a:lnTo>
                    <a:pt x="389178" y="586588"/>
                  </a:lnTo>
                  <a:lnTo>
                    <a:pt x="389280" y="586588"/>
                  </a:lnTo>
                  <a:lnTo>
                    <a:pt x="389280" y="585242"/>
                  </a:lnTo>
                  <a:lnTo>
                    <a:pt x="389331" y="585242"/>
                  </a:lnTo>
                  <a:lnTo>
                    <a:pt x="389331" y="586588"/>
                  </a:lnTo>
                  <a:lnTo>
                    <a:pt x="389521" y="586588"/>
                  </a:lnTo>
                  <a:lnTo>
                    <a:pt x="389521" y="587223"/>
                  </a:lnTo>
                  <a:lnTo>
                    <a:pt x="389623" y="587223"/>
                  </a:lnTo>
                  <a:lnTo>
                    <a:pt x="389623" y="587921"/>
                  </a:lnTo>
                  <a:lnTo>
                    <a:pt x="389978" y="587921"/>
                  </a:lnTo>
                  <a:lnTo>
                    <a:pt x="389978" y="587223"/>
                  </a:lnTo>
                  <a:lnTo>
                    <a:pt x="390017" y="587921"/>
                  </a:lnTo>
                  <a:lnTo>
                    <a:pt x="390067" y="587921"/>
                  </a:lnTo>
                  <a:lnTo>
                    <a:pt x="390118" y="588569"/>
                  </a:lnTo>
                  <a:lnTo>
                    <a:pt x="390220" y="588569"/>
                  </a:lnTo>
                  <a:lnTo>
                    <a:pt x="390220" y="587921"/>
                  </a:lnTo>
                  <a:lnTo>
                    <a:pt x="390321" y="587921"/>
                  </a:lnTo>
                  <a:lnTo>
                    <a:pt x="390423" y="588569"/>
                  </a:lnTo>
                  <a:lnTo>
                    <a:pt x="390474" y="588569"/>
                  </a:lnTo>
                  <a:lnTo>
                    <a:pt x="390474" y="587921"/>
                  </a:lnTo>
                  <a:lnTo>
                    <a:pt x="390524" y="587921"/>
                  </a:lnTo>
                  <a:lnTo>
                    <a:pt x="390563" y="587223"/>
                  </a:lnTo>
                  <a:lnTo>
                    <a:pt x="390664" y="587921"/>
                  </a:lnTo>
                  <a:lnTo>
                    <a:pt x="390715" y="587921"/>
                  </a:lnTo>
                  <a:lnTo>
                    <a:pt x="390715" y="588569"/>
                  </a:lnTo>
                  <a:lnTo>
                    <a:pt x="391020" y="588569"/>
                  </a:lnTo>
                  <a:lnTo>
                    <a:pt x="391020" y="589166"/>
                  </a:lnTo>
                  <a:lnTo>
                    <a:pt x="391109" y="589166"/>
                  </a:lnTo>
                  <a:lnTo>
                    <a:pt x="391109" y="588569"/>
                  </a:lnTo>
                  <a:lnTo>
                    <a:pt x="391159" y="588569"/>
                  </a:lnTo>
                  <a:lnTo>
                    <a:pt x="391159" y="587921"/>
                  </a:lnTo>
                  <a:lnTo>
                    <a:pt x="391210" y="587921"/>
                  </a:lnTo>
                  <a:lnTo>
                    <a:pt x="391261" y="587223"/>
                  </a:lnTo>
                  <a:lnTo>
                    <a:pt x="391604" y="587223"/>
                  </a:lnTo>
                  <a:lnTo>
                    <a:pt x="391655" y="587921"/>
                  </a:lnTo>
                  <a:lnTo>
                    <a:pt x="391655" y="587223"/>
                  </a:lnTo>
                  <a:lnTo>
                    <a:pt x="391706" y="587921"/>
                  </a:lnTo>
                  <a:lnTo>
                    <a:pt x="391807" y="587921"/>
                  </a:lnTo>
                  <a:lnTo>
                    <a:pt x="391858" y="588569"/>
                  </a:lnTo>
                  <a:lnTo>
                    <a:pt x="391909" y="588569"/>
                  </a:lnTo>
                  <a:lnTo>
                    <a:pt x="391909" y="587921"/>
                  </a:lnTo>
                  <a:lnTo>
                    <a:pt x="392252" y="587921"/>
                  </a:lnTo>
                  <a:lnTo>
                    <a:pt x="392252" y="587223"/>
                  </a:lnTo>
                  <a:lnTo>
                    <a:pt x="392557" y="587223"/>
                  </a:lnTo>
                  <a:lnTo>
                    <a:pt x="392557" y="587921"/>
                  </a:lnTo>
                  <a:lnTo>
                    <a:pt x="392607" y="587921"/>
                  </a:lnTo>
                  <a:lnTo>
                    <a:pt x="392696" y="587223"/>
                  </a:lnTo>
                  <a:lnTo>
                    <a:pt x="392696" y="587921"/>
                  </a:lnTo>
                  <a:lnTo>
                    <a:pt x="392747" y="587223"/>
                  </a:lnTo>
                  <a:lnTo>
                    <a:pt x="392747" y="587921"/>
                  </a:lnTo>
                  <a:lnTo>
                    <a:pt x="393496" y="587921"/>
                  </a:lnTo>
                  <a:lnTo>
                    <a:pt x="393496" y="588569"/>
                  </a:lnTo>
                  <a:lnTo>
                    <a:pt x="393598" y="588569"/>
                  </a:lnTo>
                  <a:lnTo>
                    <a:pt x="393649" y="589166"/>
                  </a:lnTo>
                  <a:lnTo>
                    <a:pt x="393649" y="588569"/>
                  </a:lnTo>
                  <a:lnTo>
                    <a:pt x="393699" y="588569"/>
                  </a:lnTo>
                  <a:lnTo>
                    <a:pt x="393738" y="589166"/>
                  </a:lnTo>
                  <a:lnTo>
                    <a:pt x="394093" y="589166"/>
                  </a:lnTo>
                  <a:lnTo>
                    <a:pt x="394144" y="590499"/>
                  </a:lnTo>
                  <a:lnTo>
                    <a:pt x="394144" y="589166"/>
                  </a:lnTo>
                  <a:lnTo>
                    <a:pt x="394284" y="589166"/>
                  </a:lnTo>
                  <a:lnTo>
                    <a:pt x="394284" y="590499"/>
                  </a:lnTo>
                  <a:lnTo>
                    <a:pt x="394334" y="590499"/>
                  </a:lnTo>
                  <a:lnTo>
                    <a:pt x="394385" y="589166"/>
                  </a:lnTo>
                  <a:lnTo>
                    <a:pt x="394538" y="589166"/>
                  </a:lnTo>
                  <a:lnTo>
                    <a:pt x="394588" y="588569"/>
                  </a:lnTo>
                  <a:lnTo>
                    <a:pt x="394639" y="588569"/>
                  </a:lnTo>
                  <a:lnTo>
                    <a:pt x="394741" y="587921"/>
                  </a:lnTo>
                  <a:lnTo>
                    <a:pt x="394779" y="587223"/>
                  </a:lnTo>
                  <a:lnTo>
                    <a:pt x="394830" y="587921"/>
                  </a:lnTo>
                  <a:lnTo>
                    <a:pt x="394830" y="588569"/>
                  </a:lnTo>
                  <a:lnTo>
                    <a:pt x="394881" y="588569"/>
                  </a:lnTo>
                  <a:lnTo>
                    <a:pt x="394982" y="589166"/>
                  </a:lnTo>
                  <a:lnTo>
                    <a:pt x="395033" y="588569"/>
                  </a:lnTo>
                  <a:lnTo>
                    <a:pt x="395185" y="588569"/>
                  </a:lnTo>
                  <a:lnTo>
                    <a:pt x="395185" y="587921"/>
                  </a:lnTo>
                  <a:lnTo>
                    <a:pt x="395236" y="587223"/>
                  </a:lnTo>
                  <a:lnTo>
                    <a:pt x="395287" y="586588"/>
                  </a:lnTo>
                  <a:lnTo>
                    <a:pt x="395478" y="586588"/>
                  </a:lnTo>
                  <a:lnTo>
                    <a:pt x="395528" y="587223"/>
                  </a:lnTo>
                  <a:lnTo>
                    <a:pt x="395630" y="587223"/>
                  </a:lnTo>
                  <a:lnTo>
                    <a:pt x="395681" y="587921"/>
                  </a:lnTo>
                  <a:lnTo>
                    <a:pt x="395732" y="587921"/>
                  </a:lnTo>
                  <a:lnTo>
                    <a:pt x="395732" y="587223"/>
                  </a:lnTo>
                  <a:lnTo>
                    <a:pt x="395973" y="587223"/>
                  </a:lnTo>
                  <a:lnTo>
                    <a:pt x="396024" y="587921"/>
                  </a:lnTo>
                  <a:lnTo>
                    <a:pt x="396328" y="587921"/>
                  </a:lnTo>
                  <a:lnTo>
                    <a:pt x="396328" y="588569"/>
                  </a:lnTo>
                  <a:lnTo>
                    <a:pt x="396367" y="587921"/>
                  </a:lnTo>
                  <a:lnTo>
                    <a:pt x="396367" y="588569"/>
                  </a:lnTo>
                  <a:lnTo>
                    <a:pt x="396570" y="588569"/>
                  </a:lnTo>
                  <a:lnTo>
                    <a:pt x="396570" y="587921"/>
                  </a:lnTo>
                  <a:lnTo>
                    <a:pt x="396874" y="587921"/>
                  </a:lnTo>
                  <a:lnTo>
                    <a:pt x="396874" y="587223"/>
                  </a:lnTo>
                  <a:lnTo>
                    <a:pt x="396913" y="587223"/>
                  </a:lnTo>
                  <a:lnTo>
                    <a:pt x="397014" y="587921"/>
                  </a:lnTo>
                  <a:lnTo>
                    <a:pt x="397319" y="587921"/>
                  </a:lnTo>
                  <a:lnTo>
                    <a:pt x="397370" y="587223"/>
                  </a:lnTo>
                  <a:lnTo>
                    <a:pt x="397459" y="587921"/>
                  </a:lnTo>
                  <a:lnTo>
                    <a:pt x="397459" y="587223"/>
                  </a:lnTo>
                  <a:lnTo>
                    <a:pt x="397763" y="587223"/>
                  </a:lnTo>
                  <a:lnTo>
                    <a:pt x="397814" y="587921"/>
                  </a:lnTo>
                  <a:lnTo>
                    <a:pt x="397814" y="587223"/>
                  </a:lnTo>
                  <a:lnTo>
                    <a:pt x="397916" y="587223"/>
                  </a:lnTo>
                  <a:lnTo>
                    <a:pt x="397954" y="586588"/>
                  </a:lnTo>
                  <a:lnTo>
                    <a:pt x="398005" y="587223"/>
                  </a:lnTo>
                  <a:lnTo>
                    <a:pt x="398411" y="587223"/>
                  </a:lnTo>
                  <a:lnTo>
                    <a:pt x="398411" y="586588"/>
                  </a:lnTo>
                  <a:lnTo>
                    <a:pt x="398462" y="587223"/>
                  </a:lnTo>
                  <a:lnTo>
                    <a:pt x="398500" y="587921"/>
                  </a:lnTo>
                  <a:lnTo>
                    <a:pt x="398602" y="587223"/>
                  </a:lnTo>
                  <a:lnTo>
                    <a:pt x="398703" y="587223"/>
                  </a:lnTo>
                  <a:lnTo>
                    <a:pt x="398703" y="587921"/>
                  </a:lnTo>
                  <a:lnTo>
                    <a:pt x="398805" y="587223"/>
                  </a:lnTo>
                  <a:lnTo>
                    <a:pt x="398805" y="587921"/>
                  </a:lnTo>
                  <a:lnTo>
                    <a:pt x="399351" y="587921"/>
                  </a:lnTo>
                  <a:lnTo>
                    <a:pt x="399402" y="588569"/>
                  </a:lnTo>
                  <a:lnTo>
                    <a:pt x="399592" y="588569"/>
                  </a:lnTo>
                  <a:lnTo>
                    <a:pt x="399643" y="589166"/>
                  </a:lnTo>
                  <a:lnTo>
                    <a:pt x="399948" y="589166"/>
                  </a:lnTo>
                  <a:lnTo>
                    <a:pt x="399999" y="588569"/>
                  </a:lnTo>
                  <a:lnTo>
                    <a:pt x="399999" y="589166"/>
                  </a:lnTo>
                  <a:lnTo>
                    <a:pt x="400049" y="589166"/>
                  </a:lnTo>
                  <a:lnTo>
                    <a:pt x="400049" y="588569"/>
                  </a:lnTo>
                  <a:lnTo>
                    <a:pt x="400088" y="589166"/>
                  </a:lnTo>
                  <a:lnTo>
                    <a:pt x="400189" y="588569"/>
                  </a:lnTo>
                  <a:lnTo>
                    <a:pt x="400240" y="589166"/>
                  </a:lnTo>
                  <a:lnTo>
                    <a:pt x="400240" y="588569"/>
                  </a:lnTo>
                  <a:lnTo>
                    <a:pt x="400291" y="588569"/>
                  </a:lnTo>
                  <a:lnTo>
                    <a:pt x="400291" y="589166"/>
                  </a:lnTo>
                  <a:lnTo>
                    <a:pt x="400392" y="588569"/>
                  </a:lnTo>
                  <a:lnTo>
                    <a:pt x="400443" y="588569"/>
                  </a:lnTo>
                  <a:lnTo>
                    <a:pt x="400443" y="587921"/>
                  </a:lnTo>
                  <a:lnTo>
                    <a:pt x="400494" y="587921"/>
                  </a:lnTo>
                  <a:lnTo>
                    <a:pt x="400545" y="587223"/>
                  </a:lnTo>
                  <a:lnTo>
                    <a:pt x="400786" y="587223"/>
                  </a:lnTo>
                  <a:lnTo>
                    <a:pt x="400786" y="587921"/>
                  </a:lnTo>
                  <a:lnTo>
                    <a:pt x="400938" y="587921"/>
                  </a:lnTo>
                  <a:lnTo>
                    <a:pt x="400938" y="588569"/>
                  </a:lnTo>
                  <a:lnTo>
                    <a:pt x="400989" y="588569"/>
                  </a:lnTo>
                  <a:lnTo>
                    <a:pt x="401091" y="589166"/>
                  </a:lnTo>
                  <a:lnTo>
                    <a:pt x="401091" y="588569"/>
                  </a:lnTo>
                  <a:lnTo>
                    <a:pt x="401129" y="587921"/>
                  </a:lnTo>
                  <a:lnTo>
                    <a:pt x="401129" y="587223"/>
                  </a:lnTo>
                  <a:lnTo>
                    <a:pt x="401180" y="586588"/>
                  </a:lnTo>
                  <a:lnTo>
                    <a:pt x="401180" y="585242"/>
                  </a:lnTo>
                  <a:lnTo>
                    <a:pt x="401231" y="585242"/>
                  </a:lnTo>
                  <a:lnTo>
                    <a:pt x="401231" y="584594"/>
                  </a:lnTo>
                  <a:lnTo>
                    <a:pt x="401383" y="584594"/>
                  </a:lnTo>
                  <a:lnTo>
                    <a:pt x="401383" y="585242"/>
                  </a:lnTo>
                  <a:lnTo>
                    <a:pt x="401434" y="585242"/>
                  </a:lnTo>
                  <a:lnTo>
                    <a:pt x="401535" y="586588"/>
                  </a:lnTo>
                  <a:lnTo>
                    <a:pt x="401586" y="586588"/>
                  </a:lnTo>
                  <a:lnTo>
                    <a:pt x="401637" y="587223"/>
                  </a:lnTo>
                  <a:lnTo>
                    <a:pt x="401675" y="587921"/>
                  </a:lnTo>
                  <a:lnTo>
                    <a:pt x="401777" y="588569"/>
                  </a:lnTo>
                  <a:lnTo>
                    <a:pt x="401777" y="587921"/>
                  </a:lnTo>
                  <a:lnTo>
                    <a:pt x="402031" y="587921"/>
                  </a:lnTo>
                  <a:lnTo>
                    <a:pt x="402031" y="587223"/>
                  </a:lnTo>
                  <a:lnTo>
                    <a:pt x="402272" y="587223"/>
                  </a:lnTo>
                  <a:lnTo>
                    <a:pt x="402323" y="587921"/>
                  </a:lnTo>
                  <a:lnTo>
                    <a:pt x="402577" y="587921"/>
                  </a:lnTo>
                  <a:lnTo>
                    <a:pt x="402577" y="587223"/>
                  </a:lnTo>
                  <a:lnTo>
                    <a:pt x="402678" y="587921"/>
                  </a:lnTo>
                  <a:lnTo>
                    <a:pt x="402818" y="587921"/>
                  </a:lnTo>
                  <a:lnTo>
                    <a:pt x="402920" y="588569"/>
                  </a:lnTo>
                  <a:lnTo>
                    <a:pt x="402971" y="587921"/>
                  </a:lnTo>
                  <a:lnTo>
                    <a:pt x="403123" y="587921"/>
                  </a:lnTo>
                  <a:lnTo>
                    <a:pt x="403123" y="587223"/>
                  </a:lnTo>
                  <a:lnTo>
                    <a:pt x="403669" y="587223"/>
                  </a:lnTo>
                  <a:lnTo>
                    <a:pt x="403669" y="587921"/>
                  </a:lnTo>
                  <a:lnTo>
                    <a:pt x="403961" y="587921"/>
                  </a:lnTo>
                  <a:lnTo>
                    <a:pt x="403961" y="587223"/>
                  </a:lnTo>
                  <a:lnTo>
                    <a:pt x="404164" y="587223"/>
                  </a:lnTo>
                  <a:lnTo>
                    <a:pt x="404266" y="586588"/>
                  </a:lnTo>
                  <a:lnTo>
                    <a:pt x="404304" y="586588"/>
                  </a:lnTo>
                  <a:lnTo>
                    <a:pt x="404355" y="587223"/>
                  </a:lnTo>
                  <a:lnTo>
                    <a:pt x="404761" y="587223"/>
                  </a:lnTo>
                  <a:lnTo>
                    <a:pt x="404761" y="587921"/>
                  </a:lnTo>
                  <a:lnTo>
                    <a:pt x="404812" y="587223"/>
                  </a:lnTo>
                  <a:lnTo>
                    <a:pt x="405003" y="587223"/>
                  </a:lnTo>
                  <a:lnTo>
                    <a:pt x="405003" y="587921"/>
                  </a:lnTo>
                  <a:lnTo>
                    <a:pt x="405053" y="587223"/>
                  </a:lnTo>
                  <a:lnTo>
                    <a:pt x="405155" y="587921"/>
                  </a:lnTo>
                  <a:lnTo>
                    <a:pt x="405206" y="587223"/>
                  </a:lnTo>
                  <a:lnTo>
                    <a:pt x="405206" y="587921"/>
                  </a:lnTo>
                  <a:lnTo>
                    <a:pt x="405257" y="587921"/>
                  </a:lnTo>
                  <a:lnTo>
                    <a:pt x="405307" y="587223"/>
                  </a:lnTo>
                  <a:lnTo>
                    <a:pt x="405307" y="587921"/>
                  </a:lnTo>
                  <a:lnTo>
                    <a:pt x="405396" y="587921"/>
                  </a:lnTo>
                  <a:lnTo>
                    <a:pt x="405447" y="588569"/>
                  </a:lnTo>
                  <a:lnTo>
                    <a:pt x="405447" y="587921"/>
                  </a:lnTo>
                  <a:lnTo>
                    <a:pt x="405498" y="587921"/>
                  </a:lnTo>
                  <a:lnTo>
                    <a:pt x="405549" y="588569"/>
                  </a:lnTo>
                  <a:lnTo>
                    <a:pt x="405701" y="588569"/>
                  </a:lnTo>
                  <a:lnTo>
                    <a:pt x="405752" y="589166"/>
                  </a:lnTo>
                  <a:lnTo>
                    <a:pt x="405892" y="589166"/>
                  </a:lnTo>
                  <a:lnTo>
                    <a:pt x="405942" y="588569"/>
                  </a:lnTo>
                  <a:lnTo>
                    <a:pt x="406196" y="588569"/>
                  </a:lnTo>
                  <a:lnTo>
                    <a:pt x="406196" y="587921"/>
                  </a:lnTo>
                  <a:lnTo>
                    <a:pt x="406298" y="587921"/>
                  </a:lnTo>
                  <a:lnTo>
                    <a:pt x="406349" y="587223"/>
                  </a:lnTo>
                  <a:lnTo>
                    <a:pt x="406399" y="587223"/>
                  </a:lnTo>
                  <a:lnTo>
                    <a:pt x="406438" y="586588"/>
                  </a:lnTo>
                  <a:lnTo>
                    <a:pt x="406539" y="585242"/>
                  </a:lnTo>
                  <a:lnTo>
                    <a:pt x="406590" y="585242"/>
                  </a:lnTo>
                  <a:lnTo>
                    <a:pt x="406590" y="586588"/>
                  </a:lnTo>
                  <a:lnTo>
                    <a:pt x="406742" y="586588"/>
                  </a:lnTo>
                  <a:lnTo>
                    <a:pt x="406793" y="587223"/>
                  </a:lnTo>
                  <a:lnTo>
                    <a:pt x="406844" y="587223"/>
                  </a:lnTo>
                  <a:lnTo>
                    <a:pt x="406844" y="587921"/>
                  </a:lnTo>
                  <a:lnTo>
                    <a:pt x="406895" y="587223"/>
                  </a:lnTo>
                  <a:lnTo>
                    <a:pt x="406984" y="586588"/>
                  </a:lnTo>
                  <a:lnTo>
                    <a:pt x="406984" y="585242"/>
                  </a:lnTo>
                  <a:lnTo>
                    <a:pt x="407034" y="585242"/>
                  </a:lnTo>
                  <a:lnTo>
                    <a:pt x="407085" y="586588"/>
                  </a:lnTo>
                  <a:lnTo>
                    <a:pt x="407136" y="585242"/>
                  </a:lnTo>
                  <a:lnTo>
                    <a:pt x="407339" y="585242"/>
                  </a:lnTo>
                  <a:lnTo>
                    <a:pt x="407441" y="586588"/>
                  </a:lnTo>
                  <a:lnTo>
                    <a:pt x="407479" y="586588"/>
                  </a:lnTo>
                  <a:lnTo>
                    <a:pt x="407530" y="587223"/>
                  </a:lnTo>
                  <a:lnTo>
                    <a:pt x="407733" y="587223"/>
                  </a:lnTo>
                  <a:lnTo>
                    <a:pt x="407784" y="587921"/>
                  </a:lnTo>
                  <a:lnTo>
                    <a:pt x="407784" y="587223"/>
                  </a:lnTo>
                  <a:lnTo>
                    <a:pt x="407987" y="587223"/>
                  </a:lnTo>
                  <a:lnTo>
                    <a:pt x="408025" y="587921"/>
                  </a:lnTo>
                  <a:lnTo>
                    <a:pt x="408432" y="587921"/>
                  </a:lnTo>
                  <a:lnTo>
                    <a:pt x="408482" y="587223"/>
                  </a:lnTo>
                  <a:lnTo>
                    <a:pt x="408571" y="587223"/>
                  </a:lnTo>
                  <a:lnTo>
                    <a:pt x="408571" y="587921"/>
                  </a:lnTo>
                  <a:lnTo>
                    <a:pt x="409028" y="587921"/>
                  </a:lnTo>
                  <a:lnTo>
                    <a:pt x="409028" y="587223"/>
                  </a:lnTo>
                  <a:lnTo>
                    <a:pt x="409117" y="587223"/>
                  </a:lnTo>
                  <a:lnTo>
                    <a:pt x="409117" y="587921"/>
                  </a:lnTo>
                  <a:lnTo>
                    <a:pt x="409270" y="587921"/>
                  </a:lnTo>
                  <a:lnTo>
                    <a:pt x="409321" y="587223"/>
                  </a:lnTo>
                  <a:lnTo>
                    <a:pt x="409371" y="586588"/>
                  </a:lnTo>
                  <a:lnTo>
                    <a:pt x="409371" y="587223"/>
                  </a:lnTo>
                  <a:lnTo>
                    <a:pt x="409574" y="587223"/>
                  </a:lnTo>
                  <a:lnTo>
                    <a:pt x="409613" y="587921"/>
                  </a:lnTo>
                  <a:lnTo>
                    <a:pt x="409613" y="587223"/>
                  </a:lnTo>
                  <a:lnTo>
                    <a:pt x="410260" y="587223"/>
                  </a:lnTo>
                  <a:lnTo>
                    <a:pt x="410311" y="587921"/>
                  </a:lnTo>
                  <a:lnTo>
                    <a:pt x="410959" y="587921"/>
                  </a:lnTo>
                  <a:lnTo>
                    <a:pt x="411060" y="588569"/>
                  </a:lnTo>
                  <a:lnTo>
                    <a:pt x="411111" y="587921"/>
                  </a:lnTo>
                  <a:lnTo>
                    <a:pt x="411111" y="588569"/>
                  </a:lnTo>
                  <a:lnTo>
                    <a:pt x="411302" y="588569"/>
                  </a:lnTo>
                  <a:lnTo>
                    <a:pt x="411353" y="589166"/>
                  </a:lnTo>
                  <a:lnTo>
                    <a:pt x="411556" y="589166"/>
                  </a:lnTo>
                  <a:lnTo>
                    <a:pt x="411607" y="590499"/>
                  </a:lnTo>
                  <a:lnTo>
                    <a:pt x="411746" y="590499"/>
                  </a:lnTo>
                  <a:lnTo>
                    <a:pt x="411746" y="589166"/>
                  </a:lnTo>
                  <a:lnTo>
                    <a:pt x="412203" y="589166"/>
                  </a:lnTo>
                  <a:lnTo>
                    <a:pt x="412203" y="588569"/>
                  </a:lnTo>
                  <a:lnTo>
                    <a:pt x="412242" y="587921"/>
                  </a:lnTo>
                  <a:lnTo>
                    <a:pt x="412292" y="587921"/>
                  </a:lnTo>
                  <a:lnTo>
                    <a:pt x="412343" y="587223"/>
                  </a:lnTo>
                  <a:lnTo>
                    <a:pt x="412343" y="586588"/>
                  </a:lnTo>
                  <a:lnTo>
                    <a:pt x="412496" y="586588"/>
                  </a:lnTo>
                  <a:lnTo>
                    <a:pt x="412496" y="587223"/>
                  </a:lnTo>
                  <a:lnTo>
                    <a:pt x="412648" y="587223"/>
                  </a:lnTo>
                  <a:lnTo>
                    <a:pt x="412699" y="587921"/>
                  </a:lnTo>
                  <a:lnTo>
                    <a:pt x="412699" y="588569"/>
                  </a:lnTo>
                  <a:lnTo>
                    <a:pt x="412749" y="588569"/>
                  </a:lnTo>
                  <a:lnTo>
                    <a:pt x="412788" y="587921"/>
                  </a:lnTo>
                  <a:lnTo>
                    <a:pt x="412889" y="587223"/>
                  </a:lnTo>
                  <a:lnTo>
                    <a:pt x="412889" y="586588"/>
                  </a:lnTo>
                  <a:lnTo>
                    <a:pt x="412940" y="585242"/>
                  </a:lnTo>
                  <a:lnTo>
                    <a:pt x="413245" y="585242"/>
                  </a:lnTo>
                  <a:lnTo>
                    <a:pt x="413334" y="586588"/>
                  </a:lnTo>
                  <a:lnTo>
                    <a:pt x="413384" y="586588"/>
                  </a:lnTo>
                  <a:lnTo>
                    <a:pt x="413435" y="587223"/>
                  </a:lnTo>
                  <a:lnTo>
                    <a:pt x="413486" y="587223"/>
                  </a:lnTo>
                  <a:lnTo>
                    <a:pt x="413486" y="587921"/>
                  </a:lnTo>
                  <a:lnTo>
                    <a:pt x="413588" y="587921"/>
                  </a:lnTo>
                  <a:lnTo>
                    <a:pt x="413638" y="587223"/>
                  </a:lnTo>
                  <a:lnTo>
                    <a:pt x="413689" y="587921"/>
                  </a:lnTo>
                  <a:lnTo>
                    <a:pt x="414032" y="587921"/>
                  </a:lnTo>
                  <a:lnTo>
                    <a:pt x="414083" y="587223"/>
                  </a:lnTo>
                  <a:lnTo>
                    <a:pt x="414286" y="587223"/>
                  </a:lnTo>
                  <a:lnTo>
                    <a:pt x="414286" y="587921"/>
                  </a:lnTo>
                  <a:lnTo>
                    <a:pt x="414375" y="587921"/>
                  </a:lnTo>
                  <a:lnTo>
                    <a:pt x="414375" y="588569"/>
                  </a:lnTo>
                  <a:lnTo>
                    <a:pt x="414477" y="587921"/>
                  </a:lnTo>
                  <a:lnTo>
                    <a:pt x="414528" y="588569"/>
                  </a:lnTo>
                  <a:lnTo>
                    <a:pt x="414832" y="588569"/>
                  </a:lnTo>
                  <a:lnTo>
                    <a:pt x="414832" y="587921"/>
                  </a:lnTo>
                  <a:lnTo>
                    <a:pt x="415023" y="587921"/>
                  </a:lnTo>
                  <a:lnTo>
                    <a:pt x="415023" y="587223"/>
                  </a:lnTo>
                  <a:lnTo>
                    <a:pt x="415226" y="587223"/>
                  </a:lnTo>
                  <a:lnTo>
                    <a:pt x="415226" y="586588"/>
                  </a:lnTo>
                  <a:lnTo>
                    <a:pt x="415378" y="586588"/>
                  </a:lnTo>
                  <a:lnTo>
                    <a:pt x="415417" y="587223"/>
                  </a:lnTo>
                  <a:lnTo>
                    <a:pt x="415467" y="587223"/>
                  </a:lnTo>
                  <a:lnTo>
                    <a:pt x="415518" y="587921"/>
                  </a:lnTo>
                  <a:lnTo>
                    <a:pt x="416420" y="587921"/>
                  </a:lnTo>
                  <a:lnTo>
                    <a:pt x="416509" y="588569"/>
                  </a:lnTo>
                  <a:lnTo>
                    <a:pt x="416661" y="588569"/>
                  </a:lnTo>
                  <a:lnTo>
                    <a:pt x="416661" y="589166"/>
                  </a:lnTo>
                  <a:lnTo>
                    <a:pt x="416763" y="588569"/>
                  </a:lnTo>
                  <a:lnTo>
                    <a:pt x="416763" y="589166"/>
                  </a:lnTo>
                  <a:lnTo>
                    <a:pt x="416813" y="588569"/>
                  </a:lnTo>
                  <a:lnTo>
                    <a:pt x="417258" y="588569"/>
                  </a:lnTo>
                  <a:lnTo>
                    <a:pt x="417309" y="589166"/>
                  </a:lnTo>
                  <a:lnTo>
                    <a:pt x="417550" y="589166"/>
                  </a:lnTo>
                  <a:lnTo>
                    <a:pt x="417652" y="590499"/>
                  </a:lnTo>
                  <a:lnTo>
                    <a:pt x="417703" y="591147"/>
                  </a:lnTo>
                  <a:lnTo>
                    <a:pt x="417753" y="591147"/>
                  </a:lnTo>
                  <a:lnTo>
                    <a:pt x="417753" y="590499"/>
                  </a:lnTo>
                  <a:lnTo>
                    <a:pt x="417855" y="590499"/>
                  </a:lnTo>
                  <a:lnTo>
                    <a:pt x="417906" y="591147"/>
                  </a:lnTo>
                  <a:lnTo>
                    <a:pt x="417906" y="590499"/>
                  </a:lnTo>
                  <a:lnTo>
                    <a:pt x="418096" y="590499"/>
                  </a:lnTo>
                  <a:lnTo>
                    <a:pt x="418147" y="589166"/>
                  </a:lnTo>
                  <a:lnTo>
                    <a:pt x="418147" y="588569"/>
                  </a:lnTo>
                  <a:lnTo>
                    <a:pt x="418198" y="587921"/>
                  </a:lnTo>
                  <a:lnTo>
                    <a:pt x="418198" y="587223"/>
                  </a:lnTo>
                  <a:lnTo>
                    <a:pt x="418452" y="587223"/>
                  </a:lnTo>
                  <a:lnTo>
                    <a:pt x="418452" y="587921"/>
                  </a:lnTo>
                  <a:lnTo>
                    <a:pt x="418553" y="587223"/>
                  </a:lnTo>
                  <a:lnTo>
                    <a:pt x="418553" y="587921"/>
                  </a:lnTo>
                  <a:lnTo>
                    <a:pt x="418693" y="587921"/>
                  </a:lnTo>
                  <a:lnTo>
                    <a:pt x="418795" y="587223"/>
                  </a:lnTo>
                  <a:lnTo>
                    <a:pt x="418846" y="587223"/>
                  </a:lnTo>
                  <a:lnTo>
                    <a:pt x="418846" y="586588"/>
                  </a:lnTo>
                  <a:lnTo>
                    <a:pt x="419138" y="586588"/>
                  </a:lnTo>
                  <a:lnTo>
                    <a:pt x="419138" y="587223"/>
                  </a:lnTo>
                  <a:lnTo>
                    <a:pt x="419290" y="587223"/>
                  </a:lnTo>
                  <a:lnTo>
                    <a:pt x="419290" y="587921"/>
                  </a:lnTo>
                  <a:lnTo>
                    <a:pt x="419341" y="587921"/>
                  </a:lnTo>
                  <a:lnTo>
                    <a:pt x="419442" y="588569"/>
                  </a:lnTo>
                  <a:lnTo>
                    <a:pt x="419442" y="587921"/>
                  </a:lnTo>
                  <a:lnTo>
                    <a:pt x="419684" y="587921"/>
                  </a:lnTo>
                  <a:lnTo>
                    <a:pt x="419684" y="588569"/>
                  </a:lnTo>
                  <a:lnTo>
                    <a:pt x="419785" y="588569"/>
                  </a:lnTo>
                  <a:lnTo>
                    <a:pt x="419785" y="587921"/>
                  </a:lnTo>
                  <a:lnTo>
                    <a:pt x="419988" y="587921"/>
                  </a:lnTo>
                  <a:lnTo>
                    <a:pt x="419988" y="588569"/>
                  </a:lnTo>
                  <a:lnTo>
                    <a:pt x="420179" y="588569"/>
                  </a:lnTo>
                  <a:lnTo>
                    <a:pt x="420179" y="587921"/>
                  </a:lnTo>
                  <a:lnTo>
                    <a:pt x="420382" y="587921"/>
                  </a:lnTo>
                  <a:lnTo>
                    <a:pt x="420382" y="588569"/>
                  </a:lnTo>
                  <a:lnTo>
                    <a:pt x="420433" y="587921"/>
                  </a:lnTo>
                  <a:lnTo>
                    <a:pt x="420636" y="587921"/>
                  </a:lnTo>
                  <a:lnTo>
                    <a:pt x="420687" y="588569"/>
                  </a:lnTo>
                  <a:lnTo>
                    <a:pt x="420725" y="588569"/>
                  </a:lnTo>
                  <a:lnTo>
                    <a:pt x="420827" y="587921"/>
                  </a:lnTo>
                  <a:lnTo>
                    <a:pt x="421132" y="587921"/>
                  </a:lnTo>
                  <a:lnTo>
                    <a:pt x="421132" y="588569"/>
                  </a:lnTo>
                  <a:lnTo>
                    <a:pt x="421182" y="587921"/>
                  </a:lnTo>
                  <a:lnTo>
                    <a:pt x="421817" y="587921"/>
                  </a:lnTo>
                  <a:lnTo>
                    <a:pt x="421817" y="588569"/>
                  </a:lnTo>
                  <a:lnTo>
                    <a:pt x="421868" y="588569"/>
                  </a:lnTo>
                  <a:lnTo>
                    <a:pt x="421970" y="587921"/>
                  </a:lnTo>
                  <a:lnTo>
                    <a:pt x="422173" y="587921"/>
                  </a:lnTo>
                  <a:lnTo>
                    <a:pt x="422173" y="588569"/>
                  </a:lnTo>
                  <a:lnTo>
                    <a:pt x="422313" y="588569"/>
                  </a:lnTo>
                  <a:lnTo>
                    <a:pt x="422313" y="587921"/>
                  </a:lnTo>
                  <a:lnTo>
                    <a:pt x="422414" y="587921"/>
                  </a:lnTo>
                  <a:lnTo>
                    <a:pt x="422414" y="588569"/>
                  </a:lnTo>
                  <a:lnTo>
                    <a:pt x="422465" y="587921"/>
                  </a:lnTo>
                  <a:lnTo>
                    <a:pt x="422465" y="588569"/>
                  </a:lnTo>
                  <a:lnTo>
                    <a:pt x="422516" y="588569"/>
                  </a:lnTo>
                  <a:lnTo>
                    <a:pt x="422617" y="587921"/>
                  </a:lnTo>
                  <a:lnTo>
                    <a:pt x="422719" y="587921"/>
                  </a:lnTo>
                  <a:lnTo>
                    <a:pt x="422770" y="588569"/>
                  </a:lnTo>
                  <a:lnTo>
                    <a:pt x="422859" y="589166"/>
                  </a:lnTo>
                  <a:lnTo>
                    <a:pt x="422909" y="588569"/>
                  </a:lnTo>
                  <a:lnTo>
                    <a:pt x="423011" y="588569"/>
                  </a:lnTo>
                  <a:lnTo>
                    <a:pt x="423011" y="589166"/>
                  </a:lnTo>
                  <a:lnTo>
                    <a:pt x="423113" y="589166"/>
                  </a:lnTo>
                  <a:lnTo>
                    <a:pt x="423163" y="590499"/>
                  </a:lnTo>
                  <a:lnTo>
                    <a:pt x="424002" y="590499"/>
                  </a:lnTo>
                  <a:lnTo>
                    <a:pt x="424002" y="589166"/>
                  </a:lnTo>
                  <a:lnTo>
                    <a:pt x="424053" y="588569"/>
                  </a:lnTo>
                  <a:lnTo>
                    <a:pt x="424103" y="587921"/>
                  </a:lnTo>
                  <a:lnTo>
                    <a:pt x="424205" y="587921"/>
                  </a:lnTo>
                  <a:lnTo>
                    <a:pt x="424205" y="587223"/>
                  </a:lnTo>
                  <a:lnTo>
                    <a:pt x="424357" y="587223"/>
                  </a:lnTo>
                  <a:lnTo>
                    <a:pt x="424446" y="587921"/>
                  </a:lnTo>
                  <a:lnTo>
                    <a:pt x="424497" y="588569"/>
                  </a:lnTo>
                  <a:lnTo>
                    <a:pt x="424548" y="588569"/>
                  </a:lnTo>
                  <a:lnTo>
                    <a:pt x="424548" y="587921"/>
                  </a:lnTo>
                  <a:lnTo>
                    <a:pt x="424599" y="587921"/>
                  </a:lnTo>
                  <a:lnTo>
                    <a:pt x="424700" y="587223"/>
                  </a:lnTo>
                  <a:lnTo>
                    <a:pt x="424802" y="587223"/>
                  </a:lnTo>
                  <a:lnTo>
                    <a:pt x="424802" y="586588"/>
                  </a:lnTo>
                  <a:lnTo>
                    <a:pt x="424903" y="586588"/>
                  </a:lnTo>
                  <a:lnTo>
                    <a:pt x="424942" y="587223"/>
                  </a:lnTo>
                  <a:lnTo>
                    <a:pt x="424992" y="587223"/>
                  </a:lnTo>
                  <a:lnTo>
                    <a:pt x="425043" y="586588"/>
                  </a:lnTo>
                  <a:lnTo>
                    <a:pt x="425145" y="587223"/>
                  </a:lnTo>
                  <a:lnTo>
                    <a:pt x="425196" y="587921"/>
                  </a:lnTo>
                  <a:lnTo>
                    <a:pt x="425399" y="587921"/>
                  </a:lnTo>
                  <a:lnTo>
                    <a:pt x="425449" y="588569"/>
                  </a:lnTo>
                  <a:lnTo>
                    <a:pt x="425488" y="588569"/>
                  </a:lnTo>
                  <a:lnTo>
                    <a:pt x="425589" y="587921"/>
                  </a:lnTo>
                  <a:lnTo>
                    <a:pt x="425945" y="587921"/>
                  </a:lnTo>
                  <a:lnTo>
                    <a:pt x="426034" y="588569"/>
                  </a:lnTo>
                  <a:lnTo>
                    <a:pt x="426034" y="587921"/>
                  </a:lnTo>
                  <a:lnTo>
                    <a:pt x="426084" y="587921"/>
                  </a:lnTo>
                  <a:lnTo>
                    <a:pt x="426135" y="588569"/>
                  </a:lnTo>
                  <a:lnTo>
                    <a:pt x="426186" y="587921"/>
                  </a:lnTo>
                  <a:lnTo>
                    <a:pt x="426288" y="588569"/>
                  </a:lnTo>
                  <a:lnTo>
                    <a:pt x="426491" y="588569"/>
                  </a:lnTo>
                  <a:lnTo>
                    <a:pt x="426491" y="589166"/>
                  </a:lnTo>
                  <a:lnTo>
                    <a:pt x="426529" y="588569"/>
                  </a:lnTo>
                  <a:lnTo>
                    <a:pt x="426580" y="588569"/>
                  </a:lnTo>
                  <a:lnTo>
                    <a:pt x="426631" y="587921"/>
                  </a:lnTo>
                  <a:lnTo>
                    <a:pt x="426631" y="588569"/>
                  </a:lnTo>
                  <a:lnTo>
                    <a:pt x="426732" y="587921"/>
                  </a:lnTo>
                  <a:lnTo>
                    <a:pt x="426732" y="588569"/>
                  </a:lnTo>
                  <a:lnTo>
                    <a:pt x="426783" y="588569"/>
                  </a:lnTo>
                  <a:lnTo>
                    <a:pt x="426783" y="587921"/>
                  </a:lnTo>
                  <a:lnTo>
                    <a:pt x="427037" y="587921"/>
                  </a:lnTo>
                  <a:lnTo>
                    <a:pt x="427075" y="587223"/>
                  </a:lnTo>
                  <a:lnTo>
                    <a:pt x="427228" y="587223"/>
                  </a:lnTo>
                  <a:lnTo>
                    <a:pt x="427228" y="587921"/>
                  </a:lnTo>
                  <a:lnTo>
                    <a:pt x="427278" y="587921"/>
                  </a:lnTo>
                  <a:lnTo>
                    <a:pt x="427278" y="588569"/>
                  </a:lnTo>
                  <a:lnTo>
                    <a:pt x="427431" y="588569"/>
                  </a:lnTo>
                  <a:lnTo>
                    <a:pt x="427482" y="587921"/>
                  </a:lnTo>
                  <a:lnTo>
                    <a:pt x="427482" y="588569"/>
                  </a:lnTo>
                  <a:lnTo>
                    <a:pt x="427621" y="588569"/>
                  </a:lnTo>
                  <a:lnTo>
                    <a:pt x="427672" y="587921"/>
                  </a:lnTo>
                  <a:lnTo>
                    <a:pt x="427875" y="587921"/>
                  </a:lnTo>
                  <a:lnTo>
                    <a:pt x="427875" y="587223"/>
                  </a:lnTo>
                  <a:lnTo>
                    <a:pt x="427926" y="587223"/>
                  </a:lnTo>
                  <a:lnTo>
                    <a:pt x="427977" y="587921"/>
                  </a:lnTo>
                  <a:lnTo>
                    <a:pt x="428218" y="587921"/>
                  </a:lnTo>
                  <a:lnTo>
                    <a:pt x="428218" y="588569"/>
                  </a:lnTo>
                  <a:lnTo>
                    <a:pt x="428320" y="587921"/>
                  </a:lnTo>
                  <a:lnTo>
                    <a:pt x="428371" y="588569"/>
                  </a:lnTo>
                  <a:lnTo>
                    <a:pt x="428421" y="588569"/>
                  </a:lnTo>
                  <a:lnTo>
                    <a:pt x="428421" y="589166"/>
                  </a:lnTo>
                  <a:lnTo>
                    <a:pt x="428523" y="589166"/>
                  </a:lnTo>
                  <a:lnTo>
                    <a:pt x="428574" y="588569"/>
                  </a:lnTo>
                  <a:lnTo>
                    <a:pt x="428663" y="588569"/>
                  </a:lnTo>
                  <a:lnTo>
                    <a:pt x="428663" y="589166"/>
                  </a:lnTo>
                  <a:lnTo>
                    <a:pt x="428815" y="589166"/>
                  </a:lnTo>
                  <a:lnTo>
                    <a:pt x="428815" y="588569"/>
                  </a:lnTo>
                  <a:lnTo>
                    <a:pt x="428866" y="588569"/>
                  </a:lnTo>
                  <a:lnTo>
                    <a:pt x="428866" y="589166"/>
                  </a:lnTo>
                  <a:lnTo>
                    <a:pt x="429310" y="589166"/>
                  </a:lnTo>
                  <a:lnTo>
                    <a:pt x="429310" y="590499"/>
                  </a:lnTo>
                  <a:lnTo>
                    <a:pt x="429361" y="590499"/>
                  </a:lnTo>
                  <a:lnTo>
                    <a:pt x="429463" y="591147"/>
                  </a:lnTo>
                  <a:lnTo>
                    <a:pt x="429704" y="591147"/>
                  </a:lnTo>
                  <a:lnTo>
                    <a:pt x="429704" y="590499"/>
                  </a:lnTo>
                  <a:lnTo>
                    <a:pt x="429755" y="590499"/>
                  </a:lnTo>
                  <a:lnTo>
                    <a:pt x="429755" y="589166"/>
                  </a:lnTo>
                  <a:lnTo>
                    <a:pt x="429907" y="589166"/>
                  </a:lnTo>
                  <a:lnTo>
                    <a:pt x="429907" y="588569"/>
                  </a:lnTo>
                  <a:lnTo>
                    <a:pt x="429958" y="588569"/>
                  </a:lnTo>
                  <a:lnTo>
                    <a:pt x="429958" y="587921"/>
                  </a:lnTo>
                  <a:lnTo>
                    <a:pt x="430161" y="587921"/>
                  </a:lnTo>
                  <a:lnTo>
                    <a:pt x="430212" y="588569"/>
                  </a:lnTo>
                  <a:lnTo>
                    <a:pt x="430250" y="588569"/>
                  </a:lnTo>
                  <a:lnTo>
                    <a:pt x="430250" y="589166"/>
                  </a:lnTo>
                  <a:lnTo>
                    <a:pt x="430403" y="589166"/>
                  </a:lnTo>
                  <a:lnTo>
                    <a:pt x="430403" y="588569"/>
                  </a:lnTo>
                  <a:lnTo>
                    <a:pt x="430453" y="587921"/>
                  </a:lnTo>
                  <a:lnTo>
                    <a:pt x="430555" y="587921"/>
                  </a:lnTo>
                  <a:lnTo>
                    <a:pt x="430555" y="587223"/>
                  </a:lnTo>
                  <a:lnTo>
                    <a:pt x="430657" y="587223"/>
                  </a:lnTo>
                  <a:lnTo>
                    <a:pt x="430707" y="586588"/>
                  </a:lnTo>
                  <a:lnTo>
                    <a:pt x="430847" y="586588"/>
                  </a:lnTo>
                  <a:lnTo>
                    <a:pt x="430847" y="587223"/>
                  </a:lnTo>
                  <a:lnTo>
                    <a:pt x="430949" y="587223"/>
                  </a:lnTo>
                  <a:lnTo>
                    <a:pt x="430949" y="587921"/>
                  </a:lnTo>
                  <a:lnTo>
                    <a:pt x="431050" y="587921"/>
                  </a:lnTo>
                  <a:lnTo>
                    <a:pt x="431101" y="588569"/>
                  </a:lnTo>
                  <a:lnTo>
                    <a:pt x="431292" y="588569"/>
                  </a:lnTo>
                  <a:lnTo>
                    <a:pt x="431292" y="587921"/>
                  </a:lnTo>
                  <a:lnTo>
                    <a:pt x="431342" y="587921"/>
                  </a:lnTo>
                  <a:lnTo>
                    <a:pt x="431393" y="588569"/>
                  </a:lnTo>
                  <a:lnTo>
                    <a:pt x="431393" y="587921"/>
                  </a:lnTo>
                  <a:lnTo>
                    <a:pt x="431495" y="588569"/>
                  </a:lnTo>
                  <a:lnTo>
                    <a:pt x="431546" y="588569"/>
                  </a:lnTo>
                  <a:lnTo>
                    <a:pt x="431596" y="589166"/>
                  </a:lnTo>
                  <a:lnTo>
                    <a:pt x="431698" y="588569"/>
                  </a:lnTo>
                  <a:lnTo>
                    <a:pt x="431749" y="589166"/>
                  </a:lnTo>
                  <a:lnTo>
                    <a:pt x="431749" y="588569"/>
                  </a:lnTo>
                  <a:lnTo>
                    <a:pt x="431799" y="589166"/>
                  </a:lnTo>
                  <a:lnTo>
                    <a:pt x="431838" y="588569"/>
                  </a:lnTo>
                  <a:lnTo>
                    <a:pt x="432142" y="588569"/>
                  </a:lnTo>
                  <a:lnTo>
                    <a:pt x="432193" y="589166"/>
                  </a:lnTo>
                  <a:lnTo>
                    <a:pt x="432193" y="588569"/>
                  </a:lnTo>
                  <a:lnTo>
                    <a:pt x="433425" y="588569"/>
                  </a:lnTo>
                  <a:lnTo>
                    <a:pt x="433425" y="587921"/>
                  </a:lnTo>
                  <a:lnTo>
                    <a:pt x="433527" y="588569"/>
                  </a:lnTo>
                  <a:lnTo>
                    <a:pt x="433578" y="588569"/>
                  </a:lnTo>
                  <a:lnTo>
                    <a:pt x="433628" y="587921"/>
                  </a:lnTo>
                  <a:lnTo>
                    <a:pt x="433730" y="588569"/>
                  </a:lnTo>
                  <a:lnTo>
                    <a:pt x="433730" y="587921"/>
                  </a:lnTo>
                  <a:lnTo>
                    <a:pt x="433781" y="588569"/>
                  </a:lnTo>
                  <a:lnTo>
                    <a:pt x="433832" y="587921"/>
                  </a:lnTo>
                  <a:lnTo>
                    <a:pt x="434022" y="587921"/>
                  </a:lnTo>
                  <a:lnTo>
                    <a:pt x="434022" y="588569"/>
                  </a:lnTo>
                  <a:lnTo>
                    <a:pt x="434327" y="588569"/>
                  </a:lnTo>
                  <a:lnTo>
                    <a:pt x="434327" y="589166"/>
                  </a:lnTo>
                  <a:lnTo>
                    <a:pt x="434428" y="588569"/>
                  </a:lnTo>
                  <a:lnTo>
                    <a:pt x="434467" y="589166"/>
                  </a:lnTo>
                  <a:lnTo>
                    <a:pt x="434467" y="588569"/>
                  </a:lnTo>
                  <a:lnTo>
                    <a:pt x="434670" y="588569"/>
                  </a:lnTo>
                  <a:lnTo>
                    <a:pt x="434670" y="589166"/>
                  </a:lnTo>
                  <a:lnTo>
                    <a:pt x="434771" y="589166"/>
                  </a:lnTo>
                  <a:lnTo>
                    <a:pt x="434771" y="590499"/>
                  </a:lnTo>
                  <a:lnTo>
                    <a:pt x="434873" y="589166"/>
                  </a:lnTo>
                  <a:lnTo>
                    <a:pt x="434924" y="589166"/>
                  </a:lnTo>
                  <a:lnTo>
                    <a:pt x="434974" y="590499"/>
                  </a:lnTo>
                  <a:lnTo>
                    <a:pt x="435368" y="590499"/>
                  </a:lnTo>
                  <a:lnTo>
                    <a:pt x="435419" y="591147"/>
                  </a:lnTo>
                  <a:lnTo>
                    <a:pt x="435470" y="591147"/>
                  </a:lnTo>
                  <a:lnTo>
                    <a:pt x="435559" y="590499"/>
                  </a:lnTo>
                  <a:lnTo>
                    <a:pt x="435711" y="590499"/>
                  </a:lnTo>
                  <a:lnTo>
                    <a:pt x="435813" y="589166"/>
                  </a:lnTo>
                  <a:lnTo>
                    <a:pt x="435863" y="587921"/>
                  </a:lnTo>
                  <a:lnTo>
                    <a:pt x="435863" y="587223"/>
                  </a:lnTo>
                  <a:lnTo>
                    <a:pt x="436016" y="587223"/>
                  </a:lnTo>
                  <a:lnTo>
                    <a:pt x="436016" y="587921"/>
                  </a:lnTo>
                  <a:lnTo>
                    <a:pt x="436105" y="587921"/>
                  </a:lnTo>
                  <a:lnTo>
                    <a:pt x="436105" y="588569"/>
                  </a:lnTo>
                  <a:lnTo>
                    <a:pt x="436156" y="588569"/>
                  </a:lnTo>
                  <a:lnTo>
                    <a:pt x="436257" y="589166"/>
                  </a:lnTo>
                  <a:lnTo>
                    <a:pt x="436308" y="589166"/>
                  </a:lnTo>
                  <a:lnTo>
                    <a:pt x="436308" y="588569"/>
                  </a:lnTo>
                  <a:lnTo>
                    <a:pt x="436359" y="588569"/>
                  </a:lnTo>
                  <a:lnTo>
                    <a:pt x="436359" y="587921"/>
                  </a:lnTo>
                  <a:lnTo>
                    <a:pt x="436460" y="587223"/>
                  </a:lnTo>
                  <a:lnTo>
                    <a:pt x="436511" y="587223"/>
                  </a:lnTo>
                  <a:lnTo>
                    <a:pt x="436511" y="586588"/>
                  </a:lnTo>
                  <a:lnTo>
                    <a:pt x="436600" y="586588"/>
                  </a:lnTo>
                  <a:lnTo>
                    <a:pt x="436600" y="585242"/>
                  </a:lnTo>
                  <a:lnTo>
                    <a:pt x="436702" y="585242"/>
                  </a:lnTo>
                  <a:lnTo>
                    <a:pt x="436702" y="586588"/>
                  </a:lnTo>
                  <a:lnTo>
                    <a:pt x="436753" y="586588"/>
                  </a:lnTo>
                  <a:lnTo>
                    <a:pt x="436753" y="587223"/>
                  </a:lnTo>
                  <a:lnTo>
                    <a:pt x="437007" y="587223"/>
                  </a:lnTo>
                  <a:lnTo>
                    <a:pt x="437057" y="587921"/>
                  </a:lnTo>
                  <a:lnTo>
                    <a:pt x="437057" y="588569"/>
                  </a:lnTo>
                  <a:lnTo>
                    <a:pt x="437146" y="589166"/>
                  </a:lnTo>
                  <a:lnTo>
                    <a:pt x="437197" y="589166"/>
                  </a:lnTo>
                  <a:lnTo>
                    <a:pt x="437248" y="588569"/>
                  </a:lnTo>
                  <a:lnTo>
                    <a:pt x="437299" y="587921"/>
                  </a:lnTo>
                  <a:lnTo>
                    <a:pt x="437299" y="588569"/>
                  </a:lnTo>
                  <a:lnTo>
                    <a:pt x="437845" y="588569"/>
                  </a:lnTo>
                  <a:lnTo>
                    <a:pt x="437845" y="587921"/>
                  </a:lnTo>
                  <a:lnTo>
                    <a:pt x="437896" y="587921"/>
                  </a:lnTo>
                  <a:lnTo>
                    <a:pt x="437946" y="588569"/>
                  </a:lnTo>
                  <a:lnTo>
                    <a:pt x="438188" y="588569"/>
                  </a:lnTo>
                  <a:lnTo>
                    <a:pt x="438188" y="589166"/>
                  </a:lnTo>
                  <a:lnTo>
                    <a:pt x="438340" y="589166"/>
                  </a:lnTo>
                  <a:lnTo>
                    <a:pt x="438391" y="588569"/>
                  </a:lnTo>
                  <a:lnTo>
                    <a:pt x="438492" y="589166"/>
                  </a:lnTo>
                  <a:lnTo>
                    <a:pt x="438543" y="588569"/>
                  </a:lnTo>
                  <a:lnTo>
                    <a:pt x="438594" y="587921"/>
                  </a:lnTo>
                  <a:lnTo>
                    <a:pt x="438594" y="588569"/>
                  </a:lnTo>
                  <a:lnTo>
                    <a:pt x="438645" y="588569"/>
                  </a:lnTo>
                  <a:lnTo>
                    <a:pt x="438734" y="587921"/>
                  </a:lnTo>
                  <a:lnTo>
                    <a:pt x="438886" y="587921"/>
                  </a:lnTo>
                  <a:lnTo>
                    <a:pt x="438988" y="588569"/>
                  </a:lnTo>
                  <a:lnTo>
                    <a:pt x="439280" y="588569"/>
                  </a:lnTo>
                  <a:lnTo>
                    <a:pt x="439331" y="587921"/>
                  </a:lnTo>
                  <a:lnTo>
                    <a:pt x="439432" y="588569"/>
                  </a:lnTo>
                  <a:lnTo>
                    <a:pt x="439432" y="587921"/>
                  </a:lnTo>
                  <a:lnTo>
                    <a:pt x="439483" y="588569"/>
                  </a:lnTo>
                  <a:lnTo>
                    <a:pt x="439737" y="588569"/>
                  </a:lnTo>
                  <a:lnTo>
                    <a:pt x="439737" y="587921"/>
                  </a:lnTo>
                  <a:lnTo>
                    <a:pt x="439775" y="588569"/>
                  </a:lnTo>
                  <a:lnTo>
                    <a:pt x="439877" y="588569"/>
                  </a:lnTo>
                  <a:lnTo>
                    <a:pt x="439928" y="587921"/>
                  </a:lnTo>
                  <a:lnTo>
                    <a:pt x="439978" y="588569"/>
                  </a:lnTo>
                  <a:lnTo>
                    <a:pt x="440372" y="588569"/>
                  </a:lnTo>
                  <a:lnTo>
                    <a:pt x="440372" y="589166"/>
                  </a:lnTo>
                  <a:lnTo>
                    <a:pt x="440423" y="588569"/>
                  </a:lnTo>
                  <a:lnTo>
                    <a:pt x="440575" y="588569"/>
                  </a:lnTo>
                  <a:lnTo>
                    <a:pt x="440575" y="589166"/>
                  </a:lnTo>
                  <a:lnTo>
                    <a:pt x="440626" y="589166"/>
                  </a:lnTo>
                  <a:lnTo>
                    <a:pt x="440677" y="588569"/>
                  </a:lnTo>
                  <a:lnTo>
                    <a:pt x="440778" y="589166"/>
                  </a:lnTo>
                  <a:lnTo>
                    <a:pt x="440778" y="588569"/>
                  </a:lnTo>
                  <a:lnTo>
                    <a:pt x="440817" y="589166"/>
                  </a:lnTo>
                  <a:lnTo>
                    <a:pt x="440918" y="589166"/>
                  </a:lnTo>
                  <a:lnTo>
                    <a:pt x="440918" y="590499"/>
                  </a:lnTo>
                  <a:lnTo>
                    <a:pt x="441121" y="590499"/>
                  </a:lnTo>
                  <a:lnTo>
                    <a:pt x="441121" y="591147"/>
                  </a:lnTo>
                  <a:lnTo>
                    <a:pt x="441324" y="591147"/>
                  </a:lnTo>
                  <a:lnTo>
                    <a:pt x="441324" y="591795"/>
                  </a:lnTo>
                  <a:lnTo>
                    <a:pt x="441363" y="591795"/>
                  </a:lnTo>
                  <a:lnTo>
                    <a:pt x="441464" y="591147"/>
                  </a:lnTo>
                  <a:lnTo>
                    <a:pt x="441667" y="591147"/>
                  </a:lnTo>
                  <a:lnTo>
                    <a:pt x="441667" y="590499"/>
                  </a:lnTo>
                  <a:lnTo>
                    <a:pt x="441718" y="589166"/>
                  </a:lnTo>
                  <a:lnTo>
                    <a:pt x="441769" y="588569"/>
                  </a:lnTo>
                  <a:lnTo>
                    <a:pt x="441769" y="587921"/>
                  </a:lnTo>
                  <a:lnTo>
                    <a:pt x="441820" y="587921"/>
                  </a:lnTo>
                  <a:lnTo>
                    <a:pt x="441820" y="587223"/>
                  </a:lnTo>
                  <a:lnTo>
                    <a:pt x="441959" y="587223"/>
                  </a:lnTo>
                  <a:lnTo>
                    <a:pt x="442010" y="587921"/>
                  </a:lnTo>
                  <a:lnTo>
                    <a:pt x="442061" y="587921"/>
                  </a:lnTo>
                  <a:lnTo>
                    <a:pt x="442061" y="588569"/>
                  </a:lnTo>
                  <a:lnTo>
                    <a:pt x="442264" y="588569"/>
                  </a:lnTo>
                  <a:lnTo>
                    <a:pt x="442264" y="587921"/>
                  </a:lnTo>
                  <a:lnTo>
                    <a:pt x="442455" y="587921"/>
                  </a:lnTo>
                  <a:lnTo>
                    <a:pt x="442506" y="587223"/>
                  </a:lnTo>
                  <a:lnTo>
                    <a:pt x="442658" y="587223"/>
                  </a:lnTo>
                  <a:lnTo>
                    <a:pt x="442658" y="587921"/>
                  </a:lnTo>
                  <a:lnTo>
                    <a:pt x="442912" y="587921"/>
                  </a:lnTo>
                  <a:lnTo>
                    <a:pt x="442950" y="588569"/>
                  </a:lnTo>
                  <a:lnTo>
                    <a:pt x="443052" y="588569"/>
                  </a:lnTo>
                  <a:lnTo>
                    <a:pt x="443052" y="589166"/>
                  </a:lnTo>
                  <a:lnTo>
                    <a:pt x="443103" y="589166"/>
                  </a:lnTo>
                  <a:lnTo>
                    <a:pt x="443103" y="588569"/>
                  </a:lnTo>
                  <a:lnTo>
                    <a:pt x="443357" y="588569"/>
                  </a:lnTo>
                  <a:lnTo>
                    <a:pt x="443407" y="589166"/>
                  </a:lnTo>
                  <a:lnTo>
                    <a:pt x="443407" y="590499"/>
                  </a:lnTo>
                  <a:lnTo>
                    <a:pt x="443496" y="589166"/>
                  </a:lnTo>
                  <a:lnTo>
                    <a:pt x="443852" y="589166"/>
                  </a:lnTo>
                  <a:lnTo>
                    <a:pt x="443953" y="588569"/>
                  </a:lnTo>
                  <a:lnTo>
                    <a:pt x="444042" y="588569"/>
                  </a:lnTo>
                  <a:lnTo>
                    <a:pt x="444042" y="589166"/>
                  </a:lnTo>
                  <a:lnTo>
                    <a:pt x="444246" y="589166"/>
                  </a:lnTo>
                  <a:lnTo>
                    <a:pt x="444296" y="588569"/>
                  </a:lnTo>
                  <a:lnTo>
                    <a:pt x="444398" y="589166"/>
                  </a:lnTo>
                  <a:lnTo>
                    <a:pt x="444449" y="588569"/>
                  </a:lnTo>
                  <a:lnTo>
                    <a:pt x="444639" y="588569"/>
                  </a:lnTo>
                  <a:lnTo>
                    <a:pt x="444639" y="587921"/>
                  </a:lnTo>
                  <a:lnTo>
                    <a:pt x="444690" y="588569"/>
                  </a:lnTo>
                  <a:lnTo>
                    <a:pt x="444995" y="588569"/>
                  </a:lnTo>
                  <a:lnTo>
                    <a:pt x="444995" y="589166"/>
                  </a:lnTo>
                  <a:lnTo>
                    <a:pt x="445185" y="589166"/>
                  </a:lnTo>
                  <a:lnTo>
                    <a:pt x="445185" y="588569"/>
                  </a:lnTo>
                  <a:lnTo>
                    <a:pt x="445579" y="588569"/>
                  </a:lnTo>
                  <a:lnTo>
                    <a:pt x="445579" y="587921"/>
                  </a:lnTo>
                  <a:lnTo>
                    <a:pt x="445681" y="587921"/>
                  </a:lnTo>
                  <a:lnTo>
                    <a:pt x="445782" y="588569"/>
                  </a:lnTo>
                  <a:lnTo>
                    <a:pt x="446328" y="588569"/>
                  </a:lnTo>
                  <a:lnTo>
                    <a:pt x="446328" y="589166"/>
                  </a:lnTo>
                  <a:lnTo>
                    <a:pt x="446532" y="589166"/>
                  </a:lnTo>
                  <a:lnTo>
                    <a:pt x="446532" y="590499"/>
                  </a:lnTo>
                  <a:lnTo>
                    <a:pt x="446976" y="590499"/>
                  </a:lnTo>
                  <a:lnTo>
                    <a:pt x="447027" y="591147"/>
                  </a:lnTo>
                  <a:lnTo>
                    <a:pt x="447268" y="591147"/>
                  </a:lnTo>
                  <a:lnTo>
                    <a:pt x="447370" y="591795"/>
                  </a:lnTo>
                  <a:lnTo>
                    <a:pt x="447421" y="591795"/>
                  </a:lnTo>
                  <a:lnTo>
                    <a:pt x="447471" y="591147"/>
                  </a:lnTo>
                  <a:lnTo>
                    <a:pt x="447573" y="590499"/>
                  </a:lnTo>
                  <a:lnTo>
                    <a:pt x="447573" y="589166"/>
                  </a:lnTo>
                  <a:lnTo>
                    <a:pt x="447624" y="589166"/>
                  </a:lnTo>
                  <a:lnTo>
                    <a:pt x="447624" y="588569"/>
                  </a:lnTo>
                  <a:lnTo>
                    <a:pt x="447674" y="587921"/>
                  </a:lnTo>
                  <a:lnTo>
                    <a:pt x="447674" y="587223"/>
                  </a:lnTo>
                  <a:lnTo>
                    <a:pt x="447814" y="587223"/>
                  </a:lnTo>
                  <a:lnTo>
                    <a:pt x="447865" y="587921"/>
                  </a:lnTo>
                  <a:lnTo>
                    <a:pt x="448017" y="587921"/>
                  </a:lnTo>
                  <a:lnTo>
                    <a:pt x="448068" y="588569"/>
                  </a:lnTo>
                  <a:lnTo>
                    <a:pt x="448119" y="589166"/>
                  </a:lnTo>
                  <a:lnTo>
                    <a:pt x="448170" y="589166"/>
                  </a:lnTo>
                  <a:lnTo>
                    <a:pt x="448170" y="588569"/>
                  </a:lnTo>
                  <a:lnTo>
                    <a:pt x="448259" y="588569"/>
                  </a:lnTo>
                  <a:lnTo>
                    <a:pt x="448259" y="587921"/>
                  </a:lnTo>
                  <a:lnTo>
                    <a:pt x="448309" y="587223"/>
                  </a:lnTo>
                  <a:lnTo>
                    <a:pt x="448360" y="586588"/>
                  </a:lnTo>
                  <a:lnTo>
                    <a:pt x="448513" y="586588"/>
                  </a:lnTo>
                  <a:lnTo>
                    <a:pt x="448513" y="587223"/>
                  </a:lnTo>
                  <a:lnTo>
                    <a:pt x="448614" y="587223"/>
                  </a:lnTo>
                  <a:lnTo>
                    <a:pt x="448614" y="587921"/>
                  </a:lnTo>
                  <a:lnTo>
                    <a:pt x="448805" y="587921"/>
                  </a:lnTo>
                  <a:lnTo>
                    <a:pt x="448805" y="588569"/>
                  </a:lnTo>
                  <a:lnTo>
                    <a:pt x="449008" y="588569"/>
                  </a:lnTo>
                  <a:lnTo>
                    <a:pt x="449059" y="587921"/>
                  </a:lnTo>
                  <a:lnTo>
                    <a:pt x="449059" y="588569"/>
                  </a:lnTo>
                  <a:lnTo>
                    <a:pt x="449211" y="588569"/>
                  </a:lnTo>
                  <a:lnTo>
                    <a:pt x="449262" y="589166"/>
                  </a:lnTo>
                  <a:lnTo>
                    <a:pt x="449402" y="589166"/>
                  </a:lnTo>
                  <a:lnTo>
                    <a:pt x="449402" y="588569"/>
                  </a:lnTo>
                  <a:lnTo>
                    <a:pt x="449453" y="589166"/>
                  </a:lnTo>
                  <a:lnTo>
                    <a:pt x="449453" y="588569"/>
                  </a:lnTo>
                  <a:lnTo>
                    <a:pt x="449757" y="588569"/>
                  </a:lnTo>
                  <a:lnTo>
                    <a:pt x="449846" y="587921"/>
                  </a:lnTo>
                  <a:lnTo>
                    <a:pt x="449897" y="588569"/>
                  </a:lnTo>
                  <a:lnTo>
                    <a:pt x="449948" y="588569"/>
                  </a:lnTo>
                  <a:lnTo>
                    <a:pt x="449999" y="589166"/>
                  </a:lnTo>
                  <a:lnTo>
                    <a:pt x="450151" y="589166"/>
                  </a:lnTo>
                  <a:lnTo>
                    <a:pt x="450202" y="588569"/>
                  </a:lnTo>
                  <a:lnTo>
                    <a:pt x="450342" y="588569"/>
                  </a:lnTo>
                  <a:lnTo>
                    <a:pt x="450392" y="587921"/>
                  </a:lnTo>
                  <a:lnTo>
                    <a:pt x="450443" y="588569"/>
                  </a:lnTo>
                  <a:lnTo>
                    <a:pt x="450596" y="588569"/>
                  </a:lnTo>
                  <a:lnTo>
                    <a:pt x="450596" y="587921"/>
                  </a:lnTo>
                  <a:lnTo>
                    <a:pt x="450646" y="587921"/>
                  </a:lnTo>
                  <a:lnTo>
                    <a:pt x="450646" y="588569"/>
                  </a:lnTo>
                  <a:lnTo>
                    <a:pt x="450748" y="587921"/>
                  </a:lnTo>
                  <a:lnTo>
                    <a:pt x="450888" y="587921"/>
                  </a:lnTo>
                  <a:lnTo>
                    <a:pt x="450888" y="588569"/>
                  </a:lnTo>
                  <a:lnTo>
                    <a:pt x="451040" y="588569"/>
                  </a:lnTo>
                  <a:lnTo>
                    <a:pt x="451091" y="589166"/>
                  </a:lnTo>
                  <a:lnTo>
                    <a:pt x="451192" y="588569"/>
                  </a:lnTo>
                  <a:lnTo>
                    <a:pt x="451294" y="588569"/>
                  </a:lnTo>
                  <a:lnTo>
                    <a:pt x="451345" y="589166"/>
                  </a:lnTo>
                  <a:lnTo>
                    <a:pt x="451345" y="588569"/>
                  </a:lnTo>
                  <a:lnTo>
                    <a:pt x="451434" y="589166"/>
                  </a:lnTo>
                  <a:lnTo>
                    <a:pt x="451484" y="589166"/>
                  </a:lnTo>
                  <a:lnTo>
                    <a:pt x="451484" y="588569"/>
                  </a:lnTo>
                  <a:lnTo>
                    <a:pt x="451738" y="588569"/>
                  </a:lnTo>
                  <a:lnTo>
                    <a:pt x="451789" y="589166"/>
                  </a:lnTo>
                  <a:lnTo>
                    <a:pt x="451891" y="589166"/>
                  </a:lnTo>
                  <a:lnTo>
                    <a:pt x="451891" y="588569"/>
                  </a:lnTo>
                  <a:lnTo>
                    <a:pt x="451980" y="588569"/>
                  </a:lnTo>
                  <a:lnTo>
                    <a:pt x="451980" y="589166"/>
                  </a:lnTo>
                  <a:lnTo>
                    <a:pt x="452132" y="589166"/>
                  </a:lnTo>
                  <a:lnTo>
                    <a:pt x="452132" y="590499"/>
                  </a:lnTo>
                  <a:lnTo>
                    <a:pt x="452183" y="589166"/>
                  </a:lnTo>
                  <a:lnTo>
                    <a:pt x="452183" y="590499"/>
                  </a:lnTo>
                  <a:lnTo>
                    <a:pt x="452234" y="590499"/>
                  </a:lnTo>
                  <a:lnTo>
                    <a:pt x="452335" y="589166"/>
                  </a:lnTo>
                  <a:lnTo>
                    <a:pt x="452386" y="589166"/>
                  </a:lnTo>
                  <a:lnTo>
                    <a:pt x="452386" y="590499"/>
                  </a:lnTo>
                  <a:lnTo>
                    <a:pt x="452437" y="589166"/>
                  </a:lnTo>
                  <a:lnTo>
                    <a:pt x="452437" y="590499"/>
                  </a:lnTo>
                  <a:lnTo>
                    <a:pt x="452475" y="589166"/>
                  </a:lnTo>
                  <a:lnTo>
                    <a:pt x="452577" y="589166"/>
                  </a:lnTo>
                  <a:lnTo>
                    <a:pt x="452577" y="590499"/>
                  </a:lnTo>
                  <a:lnTo>
                    <a:pt x="452678" y="590499"/>
                  </a:lnTo>
                  <a:lnTo>
                    <a:pt x="452780" y="591147"/>
                  </a:lnTo>
                  <a:lnTo>
                    <a:pt x="452882" y="591147"/>
                  </a:lnTo>
                  <a:lnTo>
                    <a:pt x="452882" y="590499"/>
                  </a:lnTo>
                  <a:lnTo>
                    <a:pt x="452932" y="591147"/>
                  </a:lnTo>
                  <a:lnTo>
                    <a:pt x="453072" y="591147"/>
                  </a:lnTo>
                  <a:lnTo>
                    <a:pt x="453123" y="591795"/>
                  </a:lnTo>
                  <a:lnTo>
                    <a:pt x="453326" y="591795"/>
                  </a:lnTo>
                  <a:lnTo>
                    <a:pt x="453326" y="592442"/>
                  </a:lnTo>
                  <a:lnTo>
                    <a:pt x="453377" y="591795"/>
                  </a:lnTo>
                  <a:lnTo>
                    <a:pt x="453377" y="591147"/>
                  </a:lnTo>
                  <a:lnTo>
                    <a:pt x="453478" y="590499"/>
                  </a:lnTo>
                  <a:lnTo>
                    <a:pt x="453478" y="588569"/>
                  </a:lnTo>
                  <a:lnTo>
                    <a:pt x="453517" y="588569"/>
                  </a:lnTo>
                  <a:lnTo>
                    <a:pt x="453517" y="587921"/>
                  </a:lnTo>
                  <a:lnTo>
                    <a:pt x="453720" y="587921"/>
                  </a:lnTo>
                  <a:lnTo>
                    <a:pt x="453771" y="588569"/>
                  </a:lnTo>
                  <a:lnTo>
                    <a:pt x="453821" y="588569"/>
                  </a:lnTo>
                  <a:lnTo>
                    <a:pt x="453923" y="589166"/>
                  </a:lnTo>
                  <a:lnTo>
                    <a:pt x="453974" y="589166"/>
                  </a:lnTo>
                  <a:lnTo>
                    <a:pt x="453974" y="590499"/>
                  </a:lnTo>
                  <a:lnTo>
                    <a:pt x="454024" y="589166"/>
                  </a:lnTo>
                  <a:lnTo>
                    <a:pt x="454063" y="587921"/>
                  </a:lnTo>
                  <a:lnTo>
                    <a:pt x="454164" y="587223"/>
                  </a:lnTo>
                  <a:lnTo>
                    <a:pt x="454266" y="587223"/>
                  </a:lnTo>
                  <a:lnTo>
                    <a:pt x="454266" y="586588"/>
                  </a:lnTo>
                  <a:lnTo>
                    <a:pt x="454367" y="587223"/>
                  </a:lnTo>
                  <a:lnTo>
                    <a:pt x="454367" y="587921"/>
                  </a:lnTo>
                  <a:lnTo>
                    <a:pt x="454418" y="587223"/>
                  </a:lnTo>
                  <a:lnTo>
                    <a:pt x="454418" y="587921"/>
                  </a:lnTo>
                  <a:lnTo>
                    <a:pt x="454520" y="587921"/>
                  </a:lnTo>
                  <a:lnTo>
                    <a:pt x="454520" y="588569"/>
                  </a:lnTo>
                  <a:lnTo>
                    <a:pt x="454609" y="587921"/>
                  </a:lnTo>
                  <a:lnTo>
                    <a:pt x="454659" y="588569"/>
                  </a:lnTo>
                  <a:lnTo>
                    <a:pt x="454964" y="588569"/>
                  </a:lnTo>
                  <a:lnTo>
                    <a:pt x="455066" y="589166"/>
                  </a:lnTo>
                  <a:lnTo>
                    <a:pt x="455104" y="589166"/>
                  </a:lnTo>
                  <a:lnTo>
                    <a:pt x="455155" y="590499"/>
                  </a:lnTo>
                  <a:lnTo>
                    <a:pt x="455206" y="590499"/>
                  </a:lnTo>
                  <a:lnTo>
                    <a:pt x="455307" y="589166"/>
                  </a:lnTo>
                  <a:lnTo>
                    <a:pt x="455358" y="589166"/>
                  </a:lnTo>
                  <a:lnTo>
                    <a:pt x="455409" y="588569"/>
                  </a:lnTo>
                  <a:lnTo>
                    <a:pt x="455510" y="588569"/>
                  </a:lnTo>
                  <a:lnTo>
                    <a:pt x="455561" y="589166"/>
                  </a:lnTo>
                  <a:lnTo>
                    <a:pt x="455752" y="589166"/>
                  </a:lnTo>
                  <a:lnTo>
                    <a:pt x="455803" y="588569"/>
                  </a:lnTo>
                  <a:lnTo>
                    <a:pt x="455955" y="588569"/>
                  </a:lnTo>
                  <a:lnTo>
                    <a:pt x="455955" y="589166"/>
                  </a:lnTo>
                  <a:lnTo>
                    <a:pt x="456006" y="588569"/>
                  </a:lnTo>
                  <a:lnTo>
                    <a:pt x="457339" y="588569"/>
                  </a:lnTo>
                  <a:lnTo>
                    <a:pt x="457339" y="589166"/>
                  </a:lnTo>
                  <a:lnTo>
                    <a:pt x="457390" y="589166"/>
                  </a:lnTo>
                  <a:lnTo>
                    <a:pt x="457390" y="588569"/>
                  </a:lnTo>
                  <a:lnTo>
                    <a:pt x="457936" y="588569"/>
                  </a:lnTo>
                  <a:lnTo>
                    <a:pt x="457936" y="589166"/>
                  </a:lnTo>
                  <a:lnTo>
                    <a:pt x="458533" y="589166"/>
                  </a:lnTo>
                  <a:lnTo>
                    <a:pt x="458533" y="590499"/>
                  </a:lnTo>
                  <a:lnTo>
                    <a:pt x="458584" y="589166"/>
                  </a:lnTo>
                  <a:lnTo>
                    <a:pt x="458584" y="590499"/>
                  </a:lnTo>
                  <a:lnTo>
                    <a:pt x="458685" y="589166"/>
                  </a:lnTo>
                  <a:lnTo>
                    <a:pt x="458787" y="589166"/>
                  </a:lnTo>
                  <a:lnTo>
                    <a:pt x="458787" y="590499"/>
                  </a:lnTo>
                  <a:lnTo>
                    <a:pt x="458825" y="590499"/>
                  </a:lnTo>
                  <a:lnTo>
                    <a:pt x="458927" y="591147"/>
                  </a:lnTo>
                  <a:lnTo>
                    <a:pt x="459130" y="591147"/>
                  </a:lnTo>
                  <a:lnTo>
                    <a:pt x="459130" y="591795"/>
                  </a:lnTo>
                  <a:lnTo>
                    <a:pt x="459473" y="591795"/>
                  </a:lnTo>
                  <a:lnTo>
                    <a:pt x="459473" y="591147"/>
                  </a:lnTo>
                  <a:lnTo>
                    <a:pt x="459524" y="590499"/>
                  </a:lnTo>
                  <a:lnTo>
                    <a:pt x="459524" y="589166"/>
                  </a:lnTo>
                  <a:lnTo>
                    <a:pt x="459625" y="588569"/>
                  </a:lnTo>
                  <a:lnTo>
                    <a:pt x="459676" y="587921"/>
                  </a:lnTo>
                  <a:lnTo>
                    <a:pt x="459727" y="587921"/>
                  </a:lnTo>
                  <a:lnTo>
                    <a:pt x="459727" y="587223"/>
                  </a:lnTo>
                  <a:lnTo>
                    <a:pt x="459828" y="587921"/>
                  </a:lnTo>
                  <a:lnTo>
                    <a:pt x="459867" y="588569"/>
                  </a:lnTo>
                  <a:lnTo>
                    <a:pt x="459867" y="589166"/>
                  </a:lnTo>
                  <a:lnTo>
                    <a:pt x="459917" y="588569"/>
                  </a:lnTo>
                  <a:lnTo>
                    <a:pt x="459968" y="589166"/>
                  </a:lnTo>
                  <a:lnTo>
                    <a:pt x="460070" y="589166"/>
                  </a:lnTo>
                  <a:lnTo>
                    <a:pt x="460121" y="588569"/>
                  </a:lnTo>
                  <a:lnTo>
                    <a:pt x="460171" y="587921"/>
                  </a:lnTo>
                  <a:lnTo>
                    <a:pt x="460273" y="587921"/>
                  </a:lnTo>
                  <a:lnTo>
                    <a:pt x="460324" y="587223"/>
                  </a:lnTo>
                  <a:lnTo>
                    <a:pt x="460413" y="587223"/>
                  </a:lnTo>
                  <a:lnTo>
                    <a:pt x="460413" y="587921"/>
                  </a:lnTo>
                  <a:lnTo>
                    <a:pt x="460514" y="587921"/>
                  </a:lnTo>
                  <a:lnTo>
                    <a:pt x="460565" y="587223"/>
                  </a:lnTo>
                  <a:lnTo>
                    <a:pt x="460616" y="587223"/>
                  </a:lnTo>
                  <a:lnTo>
                    <a:pt x="460616" y="587921"/>
                  </a:lnTo>
                  <a:lnTo>
                    <a:pt x="460717" y="587921"/>
                  </a:lnTo>
                  <a:lnTo>
                    <a:pt x="460717" y="588569"/>
                  </a:lnTo>
                  <a:lnTo>
                    <a:pt x="460768" y="589166"/>
                  </a:lnTo>
                  <a:lnTo>
                    <a:pt x="461009" y="589166"/>
                  </a:lnTo>
                  <a:lnTo>
                    <a:pt x="461009" y="588569"/>
                  </a:lnTo>
                  <a:lnTo>
                    <a:pt x="461111" y="588569"/>
                  </a:lnTo>
                  <a:lnTo>
                    <a:pt x="461213" y="589166"/>
                  </a:lnTo>
                  <a:lnTo>
                    <a:pt x="461263" y="589166"/>
                  </a:lnTo>
                  <a:lnTo>
                    <a:pt x="461263" y="588569"/>
                  </a:lnTo>
                  <a:lnTo>
                    <a:pt x="461314" y="589166"/>
                  </a:lnTo>
                  <a:lnTo>
                    <a:pt x="461556" y="589166"/>
                  </a:lnTo>
                  <a:lnTo>
                    <a:pt x="461556" y="588569"/>
                  </a:lnTo>
                  <a:lnTo>
                    <a:pt x="461657" y="588569"/>
                  </a:lnTo>
                  <a:lnTo>
                    <a:pt x="461708" y="589166"/>
                  </a:lnTo>
                  <a:lnTo>
                    <a:pt x="461860" y="589166"/>
                  </a:lnTo>
                  <a:lnTo>
                    <a:pt x="461860" y="590499"/>
                  </a:lnTo>
                  <a:lnTo>
                    <a:pt x="462000" y="590499"/>
                  </a:lnTo>
                  <a:lnTo>
                    <a:pt x="462000" y="589166"/>
                  </a:lnTo>
                  <a:lnTo>
                    <a:pt x="462153" y="589166"/>
                  </a:lnTo>
                  <a:lnTo>
                    <a:pt x="462153" y="588569"/>
                  </a:lnTo>
                  <a:lnTo>
                    <a:pt x="462203" y="589166"/>
                  </a:lnTo>
                  <a:lnTo>
                    <a:pt x="462305" y="589166"/>
                  </a:lnTo>
                  <a:lnTo>
                    <a:pt x="462356" y="588569"/>
                  </a:lnTo>
                  <a:lnTo>
                    <a:pt x="462457" y="588569"/>
                  </a:lnTo>
                  <a:lnTo>
                    <a:pt x="462546" y="587921"/>
                  </a:lnTo>
                  <a:lnTo>
                    <a:pt x="462546" y="588569"/>
                  </a:lnTo>
                  <a:lnTo>
                    <a:pt x="462597" y="588569"/>
                  </a:lnTo>
                  <a:lnTo>
                    <a:pt x="462597" y="587921"/>
                  </a:lnTo>
                  <a:lnTo>
                    <a:pt x="462648" y="588569"/>
                  </a:lnTo>
                  <a:lnTo>
                    <a:pt x="462800" y="588569"/>
                  </a:lnTo>
                  <a:lnTo>
                    <a:pt x="462851" y="589166"/>
                  </a:lnTo>
                  <a:lnTo>
                    <a:pt x="463003" y="589166"/>
                  </a:lnTo>
                  <a:lnTo>
                    <a:pt x="463042" y="588569"/>
                  </a:lnTo>
                  <a:lnTo>
                    <a:pt x="463092" y="588569"/>
                  </a:lnTo>
                  <a:lnTo>
                    <a:pt x="463143" y="589166"/>
                  </a:lnTo>
                  <a:lnTo>
                    <a:pt x="463245" y="589166"/>
                  </a:lnTo>
                  <a:lnTo>
                    <a:pt x="463245" y="588569"/>
                  </a:lnTo>
                  <a:lnTo>
                    <a:pt x="463448" y="588569"/>
                  </a:lnTo>
                  <a:lnTo>
                    <a:pt x="463499" y="589166"/>
                  </a:lnTo>
                  <a:lnTo>
                    <a:pt x="463689" y="589166"/>
                  </a:lnTo>
                  <a:lnTo>
                    <a:pt x="463689" y="588569"/>
                  </a:lnTo>
                  <a:lnTo>
                    <a:pt x="463740" y="588569"/>
                  </a:lnTo>
                  <a:lnTo>
                    <a:pt x="463740" y="589166"/>
                  </a:lnTo>
                  <a:lnTo>
                    <a:pt x="463943" y="589166"/>
                  </a:lnTo>
                  <a:lnTo>
                    <a:pt x="463994" y="590499"/>
                  </a:lnTo>
                  <a:lnTo>
                    <a:pt x="464045" y="589166"/>
                  </a:lnTo>
                  <a:lnTo>
                    <a:pt x="464591" y="589166"/>
                  </a:lnTo>
                  <a:lnTo>
                    <a:pt x="464591" y="590499"/>
                  </a:lnTo>
                  <a:lnTo>
                    <a:pt x="464832" y="590499"/>
                  </a:lnTo>
                  <a:lnTo>
                    <a:pt x="464883" y="591147"/>
                  </a:lnTo>
                  <a:lnTo>
                    <a:pt x="464934" y="591147"/>
                  </a:lnTo>
                  <a:lnTo>
                    <a:pt x="464934" y="591795"/>
                  </a:lnTo>
                  <a:lnTo>
                    <a:pt x="465480" y="591795"/>
                  </a:lnTo>
                  <a:lnTo>
                    <a:pt x="465480" y="591147"/>
                  </a:lnTo>
                  <a:lnTo>
                    <a:pt x="465531" y="589166"/>
                  </a:lnTo>
                  <a:lnTo>
                    <a:pt x="465531" y="588569"/>
                  </a:lnTo>
                  <a:lnTo>
                    <a:pt x="465582" y="587921"/>
                  </a:lnTo>
                  <a:lnTo>
                    <a:pt x="465632" y="588569"/>
                  </a:lnTo>
                  <a:lnTo>
                    <a:pt x="465772" y="588569"/>
                  </a:lnTo>
                  <a:lnTo>
                    <a:pt x="465823" y="589166"/>
                  </a:lnTo>
                  <a:lnTo>
                    <a:pt x="465874" y="589166"/>
                  </a:lnTo>
                  <a:lnTo>
                    <a:pt x="465975" y="590499"/>
                  </a:lnTo>
                  <a:lnTo>
                    <a:pt x="466077" y="590499"/>
                  </a:lnTo>
                  <a:lnTo>
                    <a:pt x="466077" y="589166"/>
                  </a:lnTo>
                  <a:lnTo>
                    <a:pt x="466178" y="587921"/>
                  </a:lnTo>
                  <a:lnTo>
                    <a:pt x="466217" y="587223"/>
                  </a:lnTo>
                  <a:lnTo>
                    <a:pt x="466420" y="587223"/>
                  </a:lnTo>
                  <a:lnTo>
                    <a:pt x="466420" y="587921"/>
                  </a:lnTo>
                  <a:lnTo>
                    <a:pt x="466521" y="587921"/>
                  </a:lnTo>
                  <a:lnTo>
                    <a:pt x="466623" y="588569"/>
                  </a:lnTo>
                  <a:lnTo>
                    <a:pt x="466674" y="588569"/>
                  </a:lnTo>
                  <a:lnTo>
                    <a:pt x="466674" y="589166"/>
                  </a:lnTo>
                  <a:lnTo>
                    <a:pt x="466724" y="588569"/>
                  </a:lnTo>
                  <a:lnTo>
                    <a:pt x="466724" y="589166"/>
                  </a:lnTo>
                  <a:lnTo>
                    <a:pt x="466864" y="589166"/>
                  </a:lnTo>
                  <a:lnTo>
                    <a:pt x="466864" y="588569"/>
                  </a:lnTo>
                  <a:lnTo>
                    <a:pt x="466966" y="588569"/>
                  </a:lnTo>
                  <a:lnTo>
                    <a:pt x="466966" y="589166"/>
                  </a:lnTo>
                  <a:lnTo>
                    <a:pt x="467169" y="589166"/>
                  </a:lnTo>
                  <a:lnTo>
                    <a:pt x="467220" y="590499"/>
                  </a:lnTo>
                  <a:lnTo>
                    <a:pt x="467309" y="590499"/>
                  </a:lnTo>
                  <a:lnTo>
                    <a:pt x="467309" y="589166"/>
                  </a:lnTo>
                  <a:lnTo>
                    <a:pt x="467359" y="590499"/>
                  </a:lnTo>
                  <a:lnTo>
                    <a:pt x="467359" y="589166"/>
                  </a:lnTo>
                  <a:lnTo>
                    <a:pt x="467410" y="589166"/>
                  </a:lnTo>
                  <a:lnTo>
                    <a:pt x="467410" y="590499"/>
                  </a:lnTo>
                  <a:lnTo>
                    <a:pt x="467461" y="590499"/>
                  </a:lnTo>
                  <a:lnTo>
                    <a:pt x="467461" y="589166"/>
                  </a:lnTo>
                  <a:lnTo>
                    <a:pt x="467613" y="589166"/>
                  </a:lnTo>
                  <a:lnTo>
                    <a:pt x="467664" y="588569"/>
                  </a:lnTo>
                  <a:lnTo>
                    <a:pt x="467766" y="588569"/>
                  </a:lnTo>
                  <a:lnTo>
                    <a:pt x="467804" y="589166"/>
                  </a:lnTo>
                  <a:lnTo>
                    <a:pt x="467855" y="589166"/>
                  </a:lnTo>
                  <a:lnTo>
                    <a:pt x="467855" y="588569"/>
                  </a:lnTo>
                  <a:lnTo>
                    <a:pt x="467906" y="588569"/>
                  </a:lnTo>
                  <a:lnTo>
                    <a:pt x="468007" y="589166"/>
                  </a:lnTo>
                  <a:lnTo>
                    <a:pt x="468058" y="589166"/>
                  </a:lnTo>
                  <a:lnTo>
                    <a:pt x="468058" y="590499"/>
                  </a:lnTo>
                  <a:lnTo>
                    <a:pt x="468210" y="590499"/>
                  </a:lnTo>
                  <a:lnTo>
                    <a:pt x="468210" y="589166"/>
                  </a:lnTo>
                  <a:lnTo>
                    <a:pt x="468261" y="589166"/>
                  </a:lnTo>
                  <a:lnTo>
                    <a:pt x="468312" y="588569"/>
                  </a:lnTo>
                  <a:lnTo>
                    <a:pt x="468503" y="588569"/>
                  </a:lnTo>
                  <a:lnTo>
                    <a:pt x="468503" y="589166"/>
                  </a:lnTo>
                  <a:lnTo>
                    <a:pt x="468553" y="588569"/>
                  </a:lnTo>
                  <a:lnTo>
                    <a:pt x="468998" y="588569"/>
                  </a:lnTo>
                  <a:lnTo>
                    <a:pt x="468998" y="587921"/>
                  </a:lnTo>
                  <a:lnTo>
                    <a:pt x="469049" y="587921"/>
                  </a:lnTo>
                  <a:lnTo>
                    <a:pt x="469150" y="588569"/>
                  </a:lnTo>
                  <a:lnTo>
                    <a:pt x="469150" y="587921"/>
                  </a:lnTo>
                  <a:lnTo>
                    <a:pt x="469201" y="588569"/>
                  </a:lnTo>
                  <a:lnTo>
                    <a:pt x="469252" y="587921"/>
                  </a:lnTo>
                  <a:lnTo>
                    <a:pt x="469353" y="588569"/>
                  </a:lnTo>
                  <a:lnTo>
                    <a:pt x="469392" y="587921"/>
                  </a:lnTo>
                  <a:lnTo>
                    <a:pt x="469392" y="588569"/>
                  </a:lnTo>
                  <a:lnTo>
                    <a:pt x="469696" y="588569"/>
                  </a:lnTo>
                  <a:lnTo>
                    <a:pt x="469798" y="587921"/>
                  </a:lnTo>
                  <a:lnTo>
                    <a:pt x="469798" y="588569"/>
                  </a:lnTo>
                  <a:lnTo>
                    <a:pt x="470039" y="588569"/>
                  </a:lnTo>
                  <a:lnTo>
                    <a:pt x="470039" y="589166"/>
                  </a:lnTo>
                  <a:lnTo>
                    <a:pt x="470090" y="588569"/>
                  </a:lnTo>
                  <a:lnTo>
                    <a:pt x="470090" y="589166"/>
                  </a:lnTo>
                  <a:lnTo>
                    <a:pt x="470141" y="589166"/>
                  </a:lnTo>
                  <a:lnTo>
                    <a:pt x="470242" y="588569"/>
                  </a:lnTo>
                  <a:lnTo>
                    <a:pt x="470242" y="589166"/>
                  </a:lnTo>
                  <a:lnTo>
                    <a:pt x="470293" y="588569"/>
                  </a:lnTo>
                  <a:lnTo>
                    <a:pt x="470344" y="589166"/>
                  </a:lnTo>
                  <a:lnTo>
                    <a:pt x="470484" y="589166"/>
                  </a:lnTo>
                  <a:lnTo>
                    <a:pt x="470484" y="590499"/>
                  </a:lnTo>
                  <a:lnTo>
                    <a:pt x="470585" y="590499"/>
                  </a:lnTo>
                  <a:lnTo>
                    <a:pt x="470585" y="591147"/>
                  </a:lnTo>
                  <a:lnTo>
                    <a:pt x="470636" y="590499"/>
                  </a:lnTo>
                  <a:lnTo>
                    <a:pt x="470788" y="590499"/>
                  </a:lnTo>
                  <a:lnTo>
                    <a:pt x="470788" y="591147"/>
                  </a:lnTo>
                  <a:lnTo>
                    <a:pt x="470839" y="591147"/>
                  </a:lnTo>
                  <a:lnTo>
                    <a:pt x="470941" y="590499"/>
                  </a:lnTo>
                  <a:lnTo>
                    <a:pt x="470941" y="591147"/>
                  </a:lnTo>
                  <a:lnTo>
                    <a:pt x="470979" y="591147"/>
                  </a:lnTo>
                  <a:lnTo>
                    <a:pt x="470979" y="590499"/>
                  </a:lnTo>
                  <a:lnTo>
                    <a:pt x="471081" y="590499"/>
                  </a:lnTo>
                  <a:lnTo>
                    <a:pt x="471081" y="591147"/>
                  </a:lnTo>
                  <a:lnTo>
                    <a:pt x="471284" y="591147"/>
                  </a:lnTo>
                  <a:lnTo>
                    <a:pt x="471284" y="590499"/>
                  </a:lnTo>
                  <a:lnTo>
                    <a:pt x="471385" y="589166"/>
                  </a:lnTo>
                  <a:lnTo>
                    <a:pt x="471385" y="588569"/>
                  </a:lnTo>
                  <a:lnTo>
                    <a:pt x="471436" y="587921"/>
                  </a:lnTo>
                  <a:lnTo>
                    <a:pt x="471627" y="587921"/>
                  </a:lnTo>
                  <a:lnTo>
                    <a:pt x="471627" y="588569"/>
                  </a:lnTo>
                  <a:lnTo>
                    <a:pt x="471728" y="588569"/>
                  </a:lnTo>
                  <a:lnTo>
                    <a:pt x="471728" y="589166"/>
                  </a:lnTo>
                  <a:lnTo>
                    <a:pt x="471830" y="589166"/>
                  </a:lnTo>
                  <a:lnTo>
                    <a:pt x="471881" y="590499"/>
                  </a:lnTo>
                  <a:lnTo>
                    <a:pt x="471881" y="591147"/>
                  </a:lnTo>
                  <a:lnTo>
                    <a:pt x="471932" y="590499"/>
                  </a:lnTo>
                  <a:lnTo>
                    <a:pt x="471932" y="591147"/>
                  </a:lnTo>
                  <a:lnTo>
                    <a:pt x="471982" y="590499"/>
                  </a:lnTo>
                  <a:lnTo>
                    <a:pt x="471982" y="588569"/>
                  </a:lnTo>
                  <a:lnTo>
                    <a:pt x="472071" y="587223"/>
                  </a:lnTo>
                  <a:lnTo>
                    <a:pt x="472122" y="586588"/>
                  </a:lnTo>
                  <a:lnTo>
                    <a:pt x="472173" y="586588"/>
                  </a:lnTo>
                  <a:lnTo>
                    <a:pt x="472224" y="587223"/>
                  </a:lnTo>
                  <a:lnTo>
                    <a:pt x="472427" y="587223"/>
                  </a:lnTo>
                  <a:lnTo>
                    <a:pt x="472528" y="587921"/>
                  </a:lnTo>
                  <a:lnTo>
                    <a:pt x="472617" y="587921"/>
                  </a:lnTo>
                  <a:lnTo>
                    <a:pt x="472668" y="588569"/>
                  </a:lnTo>
                  <a:lnTo>
                    <a:pt x="473214" y="588569"/>
                  </a:lnTo>
                  <a:lnTo>
                    <a:pt x="473265" y="589166"/>
                  </a:lnTo>
                  <a:lnTo>
                    <a:pt x="473265" y="588569"/>
                  </a:lnTo>
                  <a:lnTo>
                    <a:pt x="473519" y="588569"/>
                  </a:lnTo>
                  <a:lnTo>
                    <a:pt x="473519" y="587921"/>
                  </a:lnTo>
                  <a:lnTo>
                    <a:pt x="473570" y="588569"/>
                  </a:lnTo>
                  <a:lnTo>
                    <a:pt x="473709" y="588569"/>
                  </a:lnTo>
                  <a:lnTo>
                    <a:pt x="473760" y="589166"/>
                  </a:lnTo>
                  <a:lnTo>
                    <a:pt x="473760" y="588569"/>
                  </a:lnTo>
                  <a:lnTo>
                    <a:pt x="473811" y="589166"/>
                  </a:lnTo>
                  <a:lnTo>
                    <a:pt x="473811" y="588569"/>
                  </a:lnTo>
                  <a:lnTo>
                    <a:pt x="474116" y="588569"/>
                  </a:lnTo>
                  <a:lnTo>
                    <a:pt x="474116" y="587921"/>
                  </a:lnTo>
                  <a:lnTo>
                    <a:pt x="474700" y="587921"/>
                  </a:lnTo>
                  <a:lnTo>
                    <a:pt x="474802" y="588569"/>
                  </a:lnTo>
                  <a:lnTo>
                    <a:pt x="474903" y="588569"/>
                  </a:lnTo>
                  <a:lnTo>
                    <a:pt x="475005" y="587921"/>
                  </a:lnTo>
                  <a:lnTo>
                    <a:pt x="475297" y="587921"/>
                  </a:lnTo>
                  <a:lnTo>
                    <a:pt x="475297" y="587223"/>
                  </a:lnTo>
                  <a:lnTo>
                    <a:pt x="475348" y="587223"/>
                  </a:lnTo>
                  <a:lnTo>
                    <a:pt x="475348" y="587921"/>
                  </a:lnTo>
                  <a:lnTo>
                    <a:pt x="475602" y="587921"/>
                  </a:lnTo>
                  <a:lnTo>
                    <a:pt x="475602" y="588569"/>
                  </a:lnTo>
                  <a:lnTo>
                    <a:pt x="475945" y="588569"/>
                  </a:lnTo>
                  <a:lnTo>
                    <a:pt x="475945" y="587921"/>
                  </a:lnTo>
                  <a:lnTo>
                    <a:pt x="476148" y="587921"/>
                  </a:lnTo>
                  <a:lnTo>
                    <a:pt x="476148" y="588569"/>
                  </a:lnTo>
                  <a:lnTo>
                    <a:pt x="476389" y="588569"/>
                  </a:lnTo>
                  <a:lnTo>
                    <a:pt x="476440" y="589166"/>
                  </a:lnTo>
                  <a:lnTo>
                    <a:pt x="476440" y="588569"/>
                  </a:lnTo>
                  <a:lnTo>
                    <a:pt x="476491" y="588569"/>
                  </a:lnTo>
                  <a:lnTo>
                    <a:pt x="476491" y="589166"/>
                  </a:lnTo>
                  <a:lnTo>
                    <a:pt x="476834" y="589166"/>
                  </a:lnTo>
                  <a:lnTo>
                    <a:pt x="476884" y="590499"/>
                  </a:lnTo>
                  <a:lnTo>
                    <a:pt x="476884" y="589166"/>
                  </a:lnTo>
                  <a:lnTo>
                    <a:pt x="476935" y="590499"/>
                  </a:lnTo>
                  <a:lnTo>
                    <a:pt x="476986" y="589166"/>
                  </a:lnTo>
                  <a:lnTo>
                    <a:pt x="477088" y="590499"/>
                  </a:lnTo>
                  <a:lnTo>
                    <a:pt x="477138" y="590499"/>
                  </a:lnTo>
                  <a:lnTo>
                    <a:pt x="477189" y="589166"/>
                  </a:lnTo>
                  <a:lnTo>
                    <a:pt x="477291" y="588569"/>
                  </a:lnTo>
                  <a:lnTo>
                    <a:pt x="477329" y="587921"/>
                  </a:lnTo>
                  <a:lnTo>
                    <a:pt x="477329" y="587223"/>
                  </a:lnTo>
                  <a:lnTo>
                    <a:pt x="477380" y="587223"/>
                  </a:lnTo>
                  <a:lnTo>
                    <a:pt x="477380" y="586588"/>
                  </a:lnTo>
                  <a:lnTo>
                    <a:pt x="477431" y="586588"/>
                  </a:lnTo>
                  <a:lnTo>
                    <a:pt x="477431" y="585242"/>
                  </a:lnTo>
                  <a:lnTo>
                    <a:pt x="477532" y="586588"/>
                  </a:lnTo>
                  <a:lnTo>
                    <a:pt x="477583" y="586588"/>
                  </a:lnTo>
                  <a:lnTo>
                    <a:pt x="477583" y="587223"/>
                  </a:lnTo>
                  <a:lnTo>
                    <a:pt x="477735" y="587223"/>
                  </a:lnTo>
                  <a:lnTo>
                    <a:pt x="477786" y="587921"/>
                  </a:lnTo>
                  <a:lnTo>
                    <a:pt x="477875" y="587921"/>
                  </a:lnTo>
                  <a:lnTo>
                    <a:pt x="477977" y="587223"/>
                  </a:lnTo>
                  <a:lnTo>
                    <a:pt x="477977" y="586588"/>
                  </a:lnTo>
                  <a:lnTo>
                    <a:pt x="478028" y="586588"/>
                  </a:lnTo>
                  <a:lnTo>
                    <a:pt x="478078" y="585242"/>
                  </a:lnTo>
                  <a:lnTo>
                    <a:pt x="478078" y="586588"/>
                  </a:lnTo>
                  <a:lnTo>
                    <a:pt x="478180" y="585242"/>
                  </a:lnTo>
                  <a:lnTo>
                    <a:pt x="478231" y="585242"/>
                  </a:lnTo>
                  <a:lnTo>
                    <a:pt x="478231" y="586588"/>
                  </a:lnTo>
                  <a:lnTo>
                    <a:pt x="478282" y="586588"/>
                  </a:lnTo>
                  <a:lnTo>
                    <a:pt x="478282" y="587223"/>
                  </a:lnTo>
                  <a:lnTo>
                    <a:pt x="478472" y="587223"/>
                  </a:lnTo>
                  <a:lnTo>
                    <a:pt x="478523" y="587921"/>
                  </a:lnTo>
                  <a:lnTo>
                    <a:pt x="478574" y="587921"/>
                  </a:lnTo>
                  <a:lnTo>
                    <a:pt x="478574" y="588569"/>
                  </a:lnTo>
                  <a:lnTo>
                    <a:pt x="478675" y="587921"/>
                  </a:lnTo>
                  <a:lnTo>
                    <a:pt x="479463" y="587921"/>
                  </a:lnTo>
                  <a:lnTo>
                    <a:pt x="479463" y="587223"/>
                  </a:lnTo>
                  <a:lnTo>
                    <a:pt x="479564" y="587921"/>
                  </a:lnTo>
                  <a:lnTo>
                    <a:pt x="479869" y="587921"/>
                  </a:lnTo>
                  <a:lnTo>
                    <a:pt x="479869" y="588569"/>
                  </a:lnTo>
                  <a:lnTo>
                    <a:pt x="480059" y="588569"/>
                  </a:lnTo>
                  <a:lnTo>
                    <a:pt x="480059" y="587921"/>
                  </a:lnTo>
                  <a:lnTo>
                    <a:pt x="480555" y="587921"/>
                  </a:lnTo>
                  <a:lnTo>
                    <a:pt x="480606" y="587223"/>
                  </a:lnTo>
                  <a:lnTo>
                    <a:pt x="480707" y="587921"/>
                  </a:lnTo>
                  <a:lnTo>
                    <a:pt x="481152" y="587921"/>
                  </a:lnTo>
                  <a:lnTo>
                    <a:pt x="481203" y="587223"/>
                  </a:lnTo>
                  <a:lnTo>
                    <a:pt x="481253" y="587921"/>
                  </a:lnTo>
                  <a:lnTo>
                    <a:pt x="481355" y="587921"/>
                  </a:lnTo>
                  <a:lnTo>
                    <a:pt x="481406" y="588569"/>
                  </a:lnTo>
                  <a:lnTo>
                    <a:pt x="481507" y="588569"/>
                  </a:lnTo>
                  <a:lnTo>
                    <a:pt x="481596" y="587921"/>
                  </a:lnTo>
                  <a:lnTo>
                    <a:pt x="481698" y="587921"/>
                  </a:lnTo>
                  <a:lnTo>
                    <a:pt x="481749" y="588569"/>
                  </a:lnTo>
                  <a:lnTo>
                    <a:pt x="481850" y="587921"/>
                  </a:lnTo>
                  <a:lnTo>
                    <a:pt x="481850" y="588569"/>
                  </a:lnTo>
                  <a:lnTo>
                    <a:pt x="482346" y="588569"/>
                  </a:lnTo>
                  <a:lnTo>
                    <a:pt x="482346" y="589166"/>
                  </a:lnTo>
                  <a:lnTo>
                    <a:pt x="482396" y="589166"/>
                  </a:lnTo>
                  <a:lnTo>
                    <a:pt x="482498" y="590499"/>
                  </a:lnTo>
                  <a:lnTo>
                    <a:pt x="482498" y="589166"/>
                  </a:lnTo>
                  <a:lnTo>
                    <a:pt x="482549" y="589166"/>
                  </a:lnTo>
                  <a:lnTo>
                    <a:pt x="482549" y="590499"/>
                  </a:lnTo>
                  <a:lnTo>
                    <a:pt x="482841" y="590499"/>
                  </a:lnTo>
                  <a:lnTo>
                    <a:pt x="482841" y="591147"/>
                  </a:lnTo>
                  <a:lnTo>
                    <a:pt x="482942" y="590499"/>
                  </a:lnTo>
                  <a:lnTo>
                    <a:pt x="483095" y="590499"/>
                  </a:lnTo>
                  <a:lnTo>
                    <a:pt x="483184" y="591147"/>
                  </a:lnTo>
                  <a:lnTo>
                    <a:pt x="483234" y="591147"/>
                  </a:lnTo>
                  <a:lnTo>
                    <a:pt x="483234" y="590499"/>
                  </a:lnTo>
                  <a:lnTo>
                    <a:pt x="483285" y="589166"/>
                  </a:lnTo>
                  <a:lnTo>
                    <a:pt x="483336" y="588569"/>
                  </a:lnTo>
                  <a:lnTo>
                    <a:pt x="483336" y="587921"/>
                  </a:lnTo>
                  <a:lnTo>
                    <a:pt x="483488" y="587921"/>
                  </a:lnTo>
                  <a:lnTo>
                    <a:pt x="483539" y="587223"/>
                  </a:lnTo>
                  <a:lnTo>
                    <a:pt x="483641" y="587921"/>
                  </a:lnTo>
                  <a:lnTo>
                    <a:pt x="483679" y="587921"/>
                  </a:lnTo>
                  <a:lnTo>
                    <a:pt x="483730" y="588569"/>
                  </a:lnTo>
                  <a:lnTo>
                    <a:pt x="483781" y="588569"/>
                  </a:lnTo>
                  <a:lnTo>
                    <a:pt x="483882" y="587921"/>
                  </a:lnTo>
                  <a:lnTo>
                    <a:pt x="483933" y="587223"/>
                  </a:lnTo>
                  <a:lnTo>
                    <a:pt x="483984" y="586588"/>
                  </a:lnTo>
                  <a:lnTo>
                    <a:pt x="484085" y="586588"/>
                  </a:lnTo>
                  <a:lnTo>
                    <a:pt x="484085" y="585242"/>
                  </a:lnTo>
                  <a:lnTo>
                    <a:pt x="484327" y="585242"/>
                  </a:lnTo>
                  <a:lnTo>
                    <a:pt x="484327" y="586588"/>
                  </a:lnTo>
                  <a:lnTo>
                    <a:pt x="484378" y="586588"/>
                  </a:lnTo>
                  <a:lnTo>
                    <a:pt x="484378" y="587223"/>
                  </a:lnTo>
                  <a:lnTo>
                    <a:pt x="484428" y="587223"/>
                  </a:lnTo>
                  <a:lnTo>
                    <a:pt x="484530" y="587921"/>
                  </a:lnTo>
                  <a:lnTo>
                    <a:pt x="484873" y="587921"/>
                  </a:lnTo>
                  <a:lnTo>
                    <a:pt x="484873" y="588569"/>
                  </a:lnTo>
                  <a:lnTo>
                    <a:pt x="484924" y="587921"/>
                  </a:lnTo>
                  <a:lnTo>
                    <a:pt x="485228" y="587921"/>
                  </a:lnTo>
                  <a:lnTo>
                    <a:pt x="485267" y="587223"/>
                  </a:lnTo>
                  <a:lnTo>
                    <a:pt x="485317" y="587223"/>
                  </a:lnTo>
                  <a:lnTo>
                    <a:pt x="485368" y="587921"/>
                  </a:lnTo>
                  <a:lnTo>
                    <a:pt x="485521" y="587921"/>
                  </a:lnTo>
                  <a:lnTo>
                    <a:pt x="485571" y="588569"/>
                  </a:lnTo>
                  <a:lnTo>
                    <a:pt x="485724" y="588569"/>
                  </a:lnTo>
                  <a:lnTo>
                    <a:pt x="485774" y="587921"/>
                  </a:lnTo>
                  <a:lnTo>
                    <a:pt x="486117" y="587921"/>
                  </a:lnTo>
                  <a:lnTo>
                    <a:pt x="486168" y="587223"/>
                  </a:lnTo>
                  <a:lnTo>
                    <a:pt x="486219" y="586588"/>
                  </a:lnTo>
                  <a:lnTo>
                    <a:pt x="486409" y="586588"/>
                  </a:lnTo>
                  <a:lnTo>
                    <a:pt x="486409" y="587223"/>
                  </a:lnTo>
                  <a:lnTo>
                    <a:pt x="486613" y="587223"/>
                  </a:lnTo>
                  <a:lnTo>
                    <a:pt x="486613" y="587921"/>
                  </a:lnTo>
                  <a:lnTo>
                    <a:pt x="487057" y="587921"/>
                  </a:lnTo>
                  <a:lnTo>
                    <a:pt x="487108" y="587223"/>
                  </a:lnTo>
                  <a:lnTo>
                    <a:pt x="487159" y="587223"/>
                  </a:lnTo>
                  <a:lnTo>
                    <a:pt x="487159" y="587921"/>
                  </a:lnTo>
                  <a:lnTo>
                    <a:pt x="487260" y="587921"/>
                  </a:lnTo>
                  <a:lnTo>
                    <a:pt x="487260" y="587223"/>
                  </a:lnTo>
                  <a:lnTo>
                    <a:pt x="487400" y="587223"/>
                  </a:lnTo>
                  <a:lnTo>
                    <a:pt x="487502" y="587921"/>
                  </a:lnTo>
                  <a:lnTo>
                    <a:pt x="487705" y="587921"/>
                  </a:lnTo>
                  <a:lnTo>
                    <a:pt x="487705" y="588569"/>
                  </a:lnTo>
                  <a:lnTo>
                    <a:pt x="487997" y="588569"/>
                  </a:lnTo>
                  <a:lnTo>
                    <a:pt x="488048" y="587921"/>
                  </a:lnTo>
                  <a:lnTo>
                    <a:pt x="488048" y="588569"/>
                  </a:lnTo>
                  <a:lnTo>
                    <a:pt x="488099" y="587921"/>
                  </a:lnTo>
                  <a:lnTo>
                    <a:pt x="488099" y="588569"/>
                  </a:lnTo>
                  <a:lnTo>
                    <a:pt x="488200" y="588569"/>
                  </a:lnTo>
                  <a:lnTo>
                    <a:pt x="488251" y="587921"/>
                  </a:lnTo>
                  <a:lnTo>
                    <a:pt x="488251" y="588569"/>
                  </a:lnTo>
                  <a:lnTo>
                    <a:pt x="488302" y="588569"/>
                  </a:lnTo>
                  <a:lnTo>
                    <a:pt x="488403" y="589166"/>
                  </a:lnTo>
                  <a:lnTo>
                    <a:pt x="488442" y="589166"/>
                  </a:lnTo>
                  <a:lnTo>
                    <a:pt x="488492" y="590499"/>
                  </a:lnTo>
                  <a:lnTo>
                    <a:pt x="488949" y="590499"/>
                  </a:lnTo>
                  <a:lnTo>
                    <a:pt x="488988" y="591147"/>
                  </a:lnTo>
                  <a:lnTo>
                    <a:pt x="489140" y="591147"/>
                  </a:lnTo>
                  <a:lnTo>
                    <a:pt x="489191" y="590499"/>
                  </a:lnTo>
                  <a:lnTo>
                    <a:pt x="489292" y="589166"/>
                  </a:lnTo>
                  <a:lnTo>
                    <a:pt x="489292" y="587921"/>
                  </a:lnTo>
                  <a:lnTo>
                    <a:pt x="489343" y="587223"/>
                  </a:lnTo>
                  <a:lnTo>
                    <a:pt x="489343" y="586588"/>
                  </a:lnTo>
                  <a:lnTo>
                    <a:pt x="489394" y="587223"/>
                  </a:lnTo>
                  <a:lnTo>
                    <a:pt x="489445" y="587223"/>
                  </a:lnTo>
                  <a:lnTo>
                    <a:pt x="489534" y="587921"/>
                  </a:lnTo>
                  <a:lnTo>
                    <a:pt x="489584" y="587921"/>
                  </a:lnTo>
                  <a:lnTo>
                    <a:pt x="489635" y="588569"/>
                  </a:lnTo>
                  <a:lnTo>
                    <a:pt x="489686" y="589166"/>
                  </a:lnTo>
                  <a:lnTo>
                    <a:pt x="489788" y="589166"/>
                  </a:lnTo>
                  <a:lnTo>
                    <a:pt x="489838" y="588569"/>
                  </a:lnTo>
                  <a:lnTo>
                    <a:pt x="489838" y="587921"/>
                  </a:lnTo>
                  <a:lnTo>
                    <a:pt x="489889" y="587223"/>
                  </a:lnTo>
                  <a:lnTo>
                    <a:pt x="489889" y="586588"/>
                  </a:lnTo>
                  <a:lnTo>
                    <a:pt x="490232" y="586588"/>
                  </a:lnTo>
                  <a:lnTo>
                    <a:pt x="490232" y="587223"/>
                  </a:lnTo>
                  <a:lnTo>
                    <a:pt x="490334" y="587223"/>
                  </a:lnTo>
                  <a:lnTo>
                    <a:pt x="490435" y="587921"/>
                  </a:lnTo>
                  <a:lnTo>
                    <a:pt x="490486" y="588569"/>
                  </a:lnTo>
                  <a:lnTo>
                    <a:pt x="490486" y="587921"/>
                  </a:lnTo>
                  <a:lnTo>
                    <a:pt x="490677" y="587921"/>
                  </a:lnTo>
                  <a:lnTo>
                    <a:pt x="490677" y="588569"/>
                  </a:lnTo>
                  <a:lnTo>
                    <a:pt x="490728" y="588569"/>
                  </a:lnTo>
                  <a:lnTo>
                    <a:pt x="490728" y="587921"/>
                  </a:lnTo>
                  <a:lnTo>
                    <a:pt x="490778" y="588569"/>
                  </a:lnTo>
                  <a:lnTo>
                    <a:pt x="490982" y="588569"/>
                  </a:lnTo>
                  <a:lnTo>
                    <a:pt x="490982" y="587921"/>
                  </a:lnTo>
                  <a:lnTo>
                    <a:pt x="491032" y="587921"/>
                  </a:lnTo>
                  <a:lnTo>
                    <a:pt x="491032" y="588569"/>
                  </a:lnTo>
                  <a:lnTo>
                    <a:pt x="491121" y="587921"/>
                  </a:lnTo>
                  <a:lnTo>
                    <a:pt x="491172" y="588569"/>
                  </a:lnTo>
                  <a:lnTo>
                    <a:pt x="491172" y="587921"/>
                  </a:lnTo>
                  <a:lnTo>
                    <a:pt x="491223" y="588569"/>
                  </a:lnTo>
                  <a:lnTo>
                    <a:pt x="491274" y="587921"/>
                  </a:lnTo>
                  <a:lnTo>
                    <a:pt x="491820" y="587921"/>
                  </a:lnTo>
                  <a:lnTo>
                    <a:pt x="491871" y="588569"/>
                  </a:lnTo>
                  <a:lnTo>
                    <a:pt x="491921" y="587921"/>
                  </a:lnTo>
                  <a:lnTo>
                    <a:pt x="492163" y="587921"/>
                  </a:lnTo>
                  <a:lnTo>
                    <a:pt x="492163" y="587223"/>
                  </a:lnTo>
                  <a:lnTo>
                    <a:pt x="492264" y="587223"/>
                  </a:lnTo>
                  <a:lnTo>
                    <a:pt x="492264" y="587921"/>
                  </a:lnTo>
                  <a:lnTo>
                    <a:pt x="493013" y="587921"/>
                  </a:lnTo>
                  <a:lnTo>
                    <a:pt x="493064" y="587223"/>
                  </a:lnTo>
                  <a:lnTo>
                    <a:pt x="493166" y="587223"/>
                  </a:lnTo>
                  <a:lnTo>
                    <a:pt x="493166" y="587921"/>
                  </a:lnTo>
                  <a:lnTo>
                    <a:pt x="493306" y="587921"/>
                  </a:lnTo>
                  <a:lnTo>
                    <a:pt x="493407" y="587223"/>
                  </a:lnTo>
                  <a:lnTo>
                    <a:pt x="493509" y="587223"/>
                  </a:lnTo>
                  <a:lnTo>
                    <a:pt x="493610" y="587921"/>
                  </a:lnTo>
                  <a:lnTo>
                    <a:pt x="493903" y="587921"/>
                  </a:lnTo>
                  <a:lnTo>
                    <a:pt x="493903" y="588569"/>
                  </a:lnTo>
                  <a:lnTo>
                    <a:pt x="494055" y="588569"/>
                  </a:lnTo>
                  <a:lnTo>
                    <a:pt x="494106" y="589166"/>
                  </a:lnTo>
                  <a:lnTo>
                    <a:pt x="494652" y="589166"/>
                  </a:lnTo>
                  <a:lnTo>
                    <a:pt x="494652" y="590499"/>
                  </a:lnTo>
                  <a:lnTo>
                    <a:pt x="494753" y="589166"/>
                  </a:lnTo>
                  <a:lnTo>
                    <a:pt x="494753" y="590499"/>
                  </a:lnTo>
                  <a:lnTo>
                    <a:pt x="495096" y="590499"/>
                  </a:lnTo>
                  <a:lnTo>
                    <a:pt x="495096" y="589166"/>
                  </a:lnTo>
                  <a:lnTo>
                    <a:pt x="495198" y="588569"/>
                  </a:lnTo>
                  <a:lnTo>
                    <a:pt x="495249" y="587921"/>
                  </a:lnTo>
                  <a:lnTo>
                    <a:pt x="495249" y="587223"/>
                  </a:lnTo>
                  <a:lnTo>
                    <a:pt x="495299" y="587223"/>
                  </a:lnTo>
                  <a:lnTo>
                    <a:pt x="495338" y="586588"/>
                  </a:lnTo>
                  <a:lnTo>
                    <a:pt x="495439" y="586588"/>
                  </a:lnTo>
                  <a:lnTo>
                    <a:pt x="495490" y="587223"/>
                  </a:lnTo>
                  <a:lnTo>
                    <a:pt x="495541" y="587223"/>
                  </a:lnTo>
                  <a:lnTo>
                    <a:pt x="495642" y="587921"/>
                  </a:lnTo>
                  <a:lnTo>
                    <a:pt x="495642" y="588569"/>
                  </a:lnTo>
                  <a:lnTo>
                    <a:pt x="495693" y="588569"/>
                  </a:lnTo>
                  <a:lnTo>
                    <a:pt x="495693" y="589166"/>
                  </a:lnTo>
                  <a:lnTo>
                    <a:pt x="495744" y="588569"/>
                  </a:lnTo>
                  <a:lnTo>
                    <a:pt x="495795" y="588569"/>
                  </a:lnTo>
                  <a:lnTo>
                    <a:pt x="495795" y="587921"/>
                  </a:lnTo>
                  <a:lnTo>
                    <a:pt x="495884" y="587223"/>
                  </a:lnTo>
                  <a:lnTo>
                    <a:pt x="495884" y="586588"/>
                  </a:lnTo>
                  <a:lnTo>
                    <a:pt x="495934" y="586588"/>
                  </a:lnTo>
                  <a:lnTo>
                    <a:pt x="495985" y="585242"/>
                  </a:lnTo>
                  <a:lnTo>
                    <a:pt x="495985" y="586588"/>
                  </a:lnTo>
                  <a:lnTo>
                    <a:pt x="496239" y="586588"/>
                  </a:lnTo>
                  <a:lnTo>
                    <a:pt x="496239" y="587223"/>
                  </a:lnTo>
                  <a:lnTo>
                    <a:pt x="496341" y="587223"/>
                  </a:lnTo>
                  <a:lnTo>
                    <a:pt x="496379" y="587921"/>
                  </a:lnTo>
                  <a:lnTo>
                    <a:pt x="496633" y="587921"/>
                  </a:lnTo>
                  <a:lnTo>
                    <a:pt x="496633" y="587223"/>
                  </a:lnTo>
                  <a:lnTo>
                    <a:pt x="496785" y="587223"/>
                  </a:lnTo>
                  <a:lnTo>
                    <a:pt x="496785" y="587921"/>
                  </a:lnTo>
                  <a:lnTo>
                    <a:pt x="497078" y="587921"/>
                  </a:lnTo>
                  <a:lnTo>
                    <a:pt x="497128" y="587223"/>
                  </a:lnTo>
                  <a:lnTo>
                    <a:pt x="497230" y="587223"/>
                  </a:lnTo>
                  <a:lnTo>
                    <a:pt x="497281" y="587921"/>
                  </a:lnTo>
                  <a:lnTo>
                    <a:pt x="497332" y="587921"/>
                  </a:lnTo>
                  <a:lnTo>
                    <a:pt x="497332" y="588569"/>
                  </a:lnTo>
                  <a:lnTo>
                    <a:pt x="497725" y="588569"/>
                  </a:lnTo>
                  <a:lnTo>
                    <a:pt x="497725" y="587921"/>
                  </a:lnTo>
                  <a:lnTo>
                    <a:pt x="497928" y="587921"/>
                  </a:lnTo>
                  <a:lnTo>
                    <a:pt x="497967" y="587223"/>
                  </a:lnTo>
                  <a:lnTo>
                    <a:pt x="498017" y="587223"/>
                  </a:lnTo>
                  <a:lnTo>
                    <a:pt x="498068" y="586588"/>
                  </a:lnTo>
                  <a:lnTo>
                    <a:pt x="498170" y="586588"/>
                  </a:lnTo>
                  <a:lnTo>
                    <a:pt x="498221" y="587223"/>
                  </a:lnTo>
                  <a:lnTo>
                    <a:pt x="498373" y="587223"/>
                  </a:lnTo>
                  <a:lnTo>
                    <a:pt x="498373" y="587921"/>
                  </a:lnTo>
                  <a:lnTo>
                    <a:pt x="498424" y="587921"/>
                  </a:lnTo>
                  <a:lnTo>
                    <a:pt x="498474" y="588569"/>
                  </a:lnTo>
                  <a:lnTo>
                    <a:pt x="498474" y="587921"/>
                  </a:lnTo>
                  <a:lnTo>
                    <a:pt x="498614" y="587921"/>
                  </a:lnTo>
                  <a:lnTo>
                    <a:pt x="498665" y="588569"/>
                  </a:lnTo>
                  <a:lnTo>
                    <a:pt x="498716" y="587921"/>
                  </a:lnTo>
                  <a:lnTo>
                    <a:pt x="498919" y="587921"/>
                  </a:lnTo>
                  <a:lnTo>
                    <a:pt x="498919" y="587223"/>
                  </a:lnTo>
                  <a:lnTo>
                    <a:pt x="499109" y="587223"/>
                  </a:lnTo>
                  <a:lnTo>
                    <a:pt x="499160" y="587921"/>
                  </a:lnTo>
                  <a:lnTo>
                    <a:pt x="499313" y="587921"/>
                  </a:lnTo>
                  <a:lnTo>
                    <a:pt x="499313" y="587223"/>
                  </a:lnTo>
                  <a:lnTo>
                    <a:pt x="499363" y="587921"/>
                  </a:lnTo>
                  <a:lnTo>
                    <a:pt x="499414" y="587921"/>
                  </a:lnTo>
                  <a:lnTo>
                    <a:pt x="499516" y="588569"/>
                  </a:lnTo>
                  <a:lnTo>
                    <a:pt x="499554" y="587921"/>
                  </a:lnTo>
                  <a:lnTo>
                    <a:pt x="499808" y="587921"/>
                  </a:lnTo>
                  <a:lnTo>
                    <a:pt x="499808" y="588569"/>
                  </a:lnTo>
                  <a:lnTo>
                    <a:pt x="499859" y="588569"/>
                  </a:lnTo>
                  <a:lnTo>
                    <a:pt x="499859" y="589166"/>
                  </a:lnTo>
                  <a:lnTo>
                    <a:pt x="499960" y="589166"/>
                  </a:lnTo>
                  <a:lnTo>
                    <a:pt x="500011" y="588569"/>
                  </a:lnTo>
                  <a:lnTo>
                    <a:pt x="500062" y="588569"/>
                  </a:lnTo>
                  <a:lnTo>
                    <a:pt x="500062" y="587921"/>
                  </a:lnTo>
                  <a:lnTo>
                    <a:pt x="500202" y="587921"/>
                  </a:lnTo>
                  <a:lnTo>
                    <a:pt x="500202" y="588569"/>
                  </a:lnTo>
                  <a:lnTo>
                    <a:pt x="500253" y="588569"/>
                  </a:lnTo>
                  <a:lnTo>
                    <a:pt x="500303" y="589166"/>
                  </a:lnTo>
                  <a:lnTo>
                    <a:pt x="500456" y="589166"/>
                  </a:lnTo>
                  <a:lnTo>
                    <a:pt x="500456" y="590499"/>
                  </a:lnTo>
                  <a:lnTo>
                    <a:pt x="500557" y="590499"/>
                  </a:lnTo>
                  <a:lnTo>
                    <a:pt x="500646" y="589166"/>
                  </a:lnTo>
                  <a:lnTo>
                    <a:pt x="500697" y="589166"/>
                  </a:lnTo>
                  <a:lnTo>
                    <a:pt x="500697" y="590499"/>
                  </a:lnTo>
                  <a:lnTo>
                    <a:pt x="500748" y="589166"/>
                  </a:lnTo>
                  <a:lnTo>
                    <a:pt x="500748" y="590499"/>
                  </a:lnTo>
                  <a:lnTo>
                    <a:pt x="500951" y="590499"/>
                  </a:lnTo>
                  <a:lnTo>
                    <a:pt x="501002" y="589166"/>
                  </a:lnTo>
                  <a:lnTo>
                    <a:pt x="501103" y="588569"/>
                  </a:lnTo>
                  <a:lnTo>
                    <a:pt x="501103" y="587921"/>
                  </a:lnTo>
                  <a:lnTo>
                    <a:pt x="501396" y="587921"/>
                  </a:lnTo>
                  <a:lnTo>
                    <a:pt x="501446" y="588569"/>
                  </a:lnTo>
                  <a:lnTo>
                    <a:pt x="501599" y="588569"/>
                  </a:lnTo>
                  <a:lnTo>
                    <a:pt x="501649" y="589166"/>
                  </a:lnTo>
                  <a:lnTo>
                    <a:pt x="501649" y="588569"/>
                  </a:lnTo>
                  <a:lnTo>
                    <a:pt x="501688" y="588569"/>
                  </a:lnTo>
                  <a:lnTo>
                    <a:pt x="501789" y="587921"/>
                  </a:lnTo>
                  <a:lnTo>
                    <a:pt x="501789" y="587223"/>
                  </a:lnTo>
                  <a:lnTo>
                    <a:pt x="501840" y="586588"/>
                  </a:lnTo>
                  <a:lnTo>
                    <a:pt x="501891" y="586588"/>
                  </a:lnTo>
                  <a:lnTo>
                    <a:pt x="501891" y="585242"/>
                  </a:lnTo>
                  <a:lnTo>
                    <a:pt x="501992" y="585242"/>
                  </a:lnTo>
                  <a:lnTo>
                    <a:pt x="501992" y="586588"/>
                  </a:lnTo>
                  <a:lnTo>
                    <a:pt x="502043" y="585242"/>
                  </a:lnTo>
                  <a:lnTo>
                    <a:pt x="502043" y="586588"/>
                  </a:lnTo>
                  <a:lnTo>
                    <a:pt x="502234" y="586588"/>
                  </a:lnTo>
                  <a:lnTo>
                    <a:pt x="502284" y="587223"/>
                  </a:lnTo>
                  <a:lnTo>
                    <a:pt x="502335" y="587921"/>
                  </a:lnTo>
                  <a:lnTo>
                    <a:pt x="502386" y="587921"/>
                  </a:lnTo>
                  <a:lnTo>
                    <a:pt x="502488" y="588569"/>
                  </a:lnTo>
                  <a:lnTo>
                    <a:pt x="502691" y="588569"/>
                  </a:lnTo>
                  <a:lnTo>
                    <a:pt x="502691" y="587921"/>
                  </a:lnTo>
                  <a:lnTo>
                    <a:pt x="502831" y="587921"/>
                  </a:lnTo>
                  <a:lnTo>
                    <a:pt x="502831" y="588569"/>
                  </a:lnTo>
                  <a:lnTo>
                    <a:pt x="503135" y="588569"/>
                  </a:lnTo>
                  <a:lnTo>
                    <a:pt x="503135" y="587921"/>
                  </a:lnTo>
                  <a:lnTo>
                    <a:pt x="503237" y="587921"/>
                  </a:lnTo>
                  <a:lnTo>
                    <a:pt x="503237" y="588569"/>
                  </a:lnTo>
                  <a:lnTo>
                    <a:pt x="503275" y="588569"/>
                  </a:lnTo>
                  <a:lnTo>
                    <a:pt x="503377" y="587921"/>
                  </a:lnTo>
                  <a:lnTo>
                    <a:pt x="503580" y="587921"/>
                  </a:lnTo>
                  <a:lnTo>
                    <a:pt x="503580" y="588569"/>
                  </a:lnTo>
                  <a:lnTo>
                    <a:pt x="503631" y="588569"/>
                  </a:lnTo>
                  <a:lnTo>
                    <a:pt x="503682" y="589166"/>
                  </a:lnTo>
                  <a:lnTo>
                    <a:pt x="503732" y="589166"/>
                  </a:lnTo>
                  <a:lnTo>
                    <a:pt x="503732" y="588569"/>
                  </a:lnTo>
                  <a:lnTo>
                    <a:pt x="503923" y="588569"/>
                  </a:lnTo>
                  <a:lnTo>
                    <a:pt x="503974" y="587921"/>
                  </a:lnTo>
                  <a:lnTo>
                    <a:pt x="504075" y="587921"/>
                  </a:lnTo>
                  <a:lnTo>
                    <a:pt x="504075" y="588569"/>
                  </a:lnTo>
                  <a:lnTo>
                    <a:pt x="504126" y="587921"/>
                  </a:lnTo>
                  <a:lnTo>
                    <a:pt x="504278" y="587921"/>
                  </a:lnTo>
                  <a:lnTo>
                    <a:pt x="504317" y="588569"/>
                  </a:lnTo>
                  <a:lnTo>
                    <a:pt x="504367" y="588569"/>
                  </a:lnTo>
                  <a:lnTo>
                    <a:pt x="504418" y="587921"/>
                  </a:lnTo>
                  <a:lnTo>
                    <a:pt x="504621" y="587921"/>
                  </a:lnTo>
                  <a:lnTo>
                    <a:pt x="504723" y="587223"/>
                  </a:lnTo>
                  <a:lnTo>
                    <a:pt x="504774" y="587223"/>
                  </a:lnTo>
                  <a:lnTo>
                    <a:pt x="504774" y="587921"/>
                  </a:lnTo>
                  <a:lnTo>
                    <a:pt x="504863" y="587921"/>
                  </a:lnTo>
                  <a:lnTo>
                    <a:pt x="504964" y="587223"/>
                  </a:lnTo>
                  <a:lnTo>
                    <a:pt x="504964" y="587921"/>
                  </a:lnTo>
                  <a:lnTo>
                    <a:pt x="505409" y="587921"/>
                  </a:lnTo>
                  <a:lnTo>
                    <a:pt x="505459" y="588569"/>
                  </a:lnTo>
                  <a:lnTo>
                    <a:pt x="505561" y="588569"/>
                  </a:lnTo>
                  <a:lnTo>
                    <a:pt x="505663" y="587921"/>
                  </a:lnTo>
                  <a:lnTo>
                    <a:pt x="505713" y="587921"/>
                  </a:lnTo>
                  <a:lnTo>
                    <a:pt x="505764" y="588569"/>
                  </a:lnTo>
                  <a:lnTo>
                    <a:pt x="506006" y="588569"/>
                  </a:lnTo>
                  <a:lnTo>
                    <a:pt x="506006" y="589166"/>
                  </a:lnTo>
                  <a:lnTo>
                    <a:pt x="506158" y="589166"/>
                  </a:lnTo>
                  <a:lnTo>
                    <a:pt x="506209" y="588569"/>
                  </a:lnTo>
                  <a:lnTo>
                    <a:pt x="506209" y="589166"/>
                  </a:lnTo>
                  <a:lnTo>
                    <a:pt x="506310" y="589166"/>
                  </a:lnTo>
                  <a:lnTo>
                    <a:pt x="506310" y="588569"/>
                  </a:lnTo>
                  <a:lnTo>
                    <a:pt x="506361" y="589166"/>
                  </a:lnTo>
                  <a:lnTo>
                    <a:pt x="506412" y="590499"/>
                  </a:lnTo>
                  <a:lnTo>
                    <a:pt x="506806" y="590499"/>
                  </a:lnTo>
                  <a:lnTo>
                    <a:pt x="506806" y="589166"/>
                  </a:lnTo>
                  <a:lnTo>
                    <a:pt x="506857" y="589166"/>
                  </a:lnTo>
                  <a:lnTo>
                    <a:pt x="506907" y="590499"/>
                  </a:lnTo>
                  <a:lnTo>
                    <a:pt x="507047" y="590499"/>
                  </a:lnTo>
                  <a:lnTo>
                    <a:pt x="507098" y="589166"/>
                  </a:lnTo>
                  <a:lnTo>
                    <a:pt x="507149" y="588569"/>
                  </a:lnTo>
                  <a:lnTo>
                    <a:pt x="507149" y="587921"/>
                  </a:lnTo>
                  <a:lnTo>
                    <a:pt x="507453" y="587921"/>
                  </a:lnTo>
                  <a:lnTo>
                    <a:pt x="507453" y="588569"/>
                  </a:lnTo>
                  <a:lnTo>
                    <a:pt x="507542" y="588569"/>
                  </a:lnTo>
                  <a:lnTo>
                    <a:pt x="507593" y="589166"/>
                  </a:lnTo>
                  <a:lnTo>
                    <a:pt x="507695" y="588569"/>
                  </a:lnTo>
                  <a:lnTo>
                    <a:pt x="507695" y="587921"/>
                  </a:lnTo>
                  <a:lnTo>
                    <a:pt x="507746" y="587223"/>
                  </a:lnTo>
                  <a:lnTo>
                    <a:pt x="507796" y="586588"/>
                  </a:lnTo>
                  <a:lnTo>
                    <a:pt x="507999" y="586588"/>
                  </a:lnTo>
                  <a:lnTo>
                    <a:pt x="508038" y="585242"/>
                  </a:lnTo>
                  <a:lnTo>
                    <a:pt x="508038" y="586588"/>
                  </a:lnTo>
                  <a:lnTo>
                    <a:pt x="508139" y="586588"/>
                  </a:lnTo>
                  <a:lnTo>
                    <a:pt x="508139" y="587223"/>
                  </a:lnTo>
                  <a:lnTo>
                    <a:pt x="508190" y="587223"/>
                  </a:lnTo>
                  <a:lnTo>
                    <a:pt x="508190" y="587921"/>
                  </a:lnTo>
                  <a:lnTo>
                    <a:pt x="508241" y="587921"/>
                  </a:lnTo>
                  <a:lnTo>
                    <a:pt x="508342" y="588569"/>
                  </a:lnTo>
                  <a:lnTo>
                    <a:pt x="508393" y="588569"/>
                  </a:lnTo>
                  <a:lnTo>
                    <a:pt x="508393" y="587921"/>
                  </a:lnTo>
                  <a:lnTo>
                    <a:pt x="508634" y="587921"/>
                  </a:lnTo>
                  <a:lnTo>
                    <a:pt x="508685" y="587223"/>
                  </a:lnTo>
                  <a:lnTo>
                    <a:pt x="508736" y="587921"/>
                  </a:lnTo>
                  <a:lnTo>
                    <a:pt x="508838" y="588569"/>
                  </a:lnTo>
                  <a:lnTo>
                    <a:pt x="508888" y="587921"/>
                  </a:lnTo>
                  <a:lnTo>
                    <a:pt x="508939" y="587921"/>
                  </a:lnTo>
                  <a:lnTo>
                    <a:pt x="509041" y="588569"/>
                  </a:lnTo>
                  <a:lnTo>
                    <a:pt x="509625" y="588569"/>
                  </a:lnTo>
                  <a:lnTo>
                    <a:pt x="509727" y="587921"/>
                  </a:lnTo>
                  <a:lnTo>
                    <a:pt x="509930" y="587921"/>
                  </a:lnTo>
                  <a:lnTo>
                    <a:pt x="509981" y="587223"/>
                  </a:lnTo>
                  <a:lnTo>
                    <a:pt x="510082" y="587223"/>
                  </a:lnTo>
                  <a:lnTo>
                    <a:pt x="510082" y="587921"/>
                  </a:lnTo>
                  <a:lnTo>
                    <a:pt x="510628" y="587921"/>
                  </a:lnTo>
                  <a:lnTo>
                    <a:pt x="510628" y="587223"/>
                  </a:lnTo>
                  <a:lnTo>
                    <a:pt x="510667" y="587921"/>
                  </a:lnTo>
                  <a:lnTo>
                    <a:pt x="510717" y="587223"/>
                  </a:lnTo>
                  <a:lnTo>
                    <a:pt x="510768" y="587921"/>
                  </a:lnTo>
                  <a:lnTo>
                    <a:pt x="510870" y="587921"/>
                  </a:lnTo>
                  <a:lnTo>
                    <a:pt x="510921" y="587223"/>
                  </a:lnTo>
                  <a:lnTo>
                    <a:pt x="511073" y="587223"/>
                  </a:lnTo>
                  <a:lnTo>
                    <a:pt x="511073" y="587921"/>
                  </a:lnTo>
                  <a:lnTo>
                    <a:pt x="511365" y="587921"/>
                  </a:lnTo>
                  <a:lnTo>
                    <a:pt x="511416" y="588569"/>
                  </a:lnTo>
                  <a:lnTo>
                    <a:pt x="511517" y="588569"/>
                  </a:lnTo>
                  <a:lnTo>
                    <a:pt x="511517" y="587921"/>
                  </a:lnTo>
                  <a:lnTo>
                    <a:pt x="511568" y="587921"/>
                  </a:lnTo>
                  <a:lnTo>
                    <a:pt x="511619" y="588569"/>
                  </a:lnTo>
                  <a:lnTo>
                    <a:pt x="512114" y="588569"/>
                  </a:lnTo>
                  <a:lnTo>
                    <a:pt x="512114" y="589166"/>
                  </a:lnTo>
                  <a:lnTo>
                    <a:pt x="512356" y="589166"/>
                  </a:lnTo>
                  <a:lnTo>
                    <a:pt x="512356" y="590499"/>
                  </a:lnTo>
                  <a:lnTo>
                    <a:pt x="512457" y="589166"/>
                  </a:lnTo>
                  <a:lnTo>
                    <a:pt x="512508" y="590499"/>
                  </a:lnTo>
                  <a:lnTo>
                    <a:pt x="512559" y="589166"/>
                  </a:lnTo>
                  <a:lnTo>
                    <a:pt x="512559" y="590499"/>
                  </a:lnTo>
                  <a:lnTo>
                    <a:pt x="512660" y="590499"/>
                  </a:lnTo>
                  <a:lnTo>
                    <a:pt x="512660" y="589166"/>
                  </a:lnTo>
                  <a:lnTo>
                    <a:pt x="512711" y="590499"/>
                  </a:lnTo>
                  <a:lnTo>
                    <a:pt x="512711" y="589166"/>
                  </a:lnTo>
                  <a:lnTo>
                    <a:pt x="512762" y="590499"/>
                  </a:lnTo>
                  <a:lnTo>
                    <a:pt x="512800" y="590499"/>
                  </a:lnTo>
                  <a:lnTo>
                    <a:pt x="512800" y="589166"/>
                  </a:lnTo>
                  <a:lnTo>
                    <a:pt x="512902" y="588569"/>
                  </a:lnTo>
                  <a:lnTo>
                    <a:pt x="512953" y="587921"/>
                  </a:lnTo>
                  <a:lnTo>
                    <a:pt x="513003" y="587223"/>
                  </a:lnTo>
                  <a:lnTo>
                    <a:pt x="513105" y="587223"/>
                  </a:lnTo>
                  <a:lnTo>
                    <a:pt x="513156" y="586588"/>
                  </a:lnTo>
                  <a:lnTo>
                    <a:pt x="513207" y="587223"/>
                  </a:lnTo>
                  <a:lnTo>
                    <a:pt x="513257" y="587223"/>
                  </a:lnTo>
                  <a:lnTo>
                    <a:pt x="513346" y="587921"/>
                  </a:lnTo>
                  <a:lnTo>
                    <a:pt x="513397" y="587921"/>
                  </a:lnTo>
                  <a:lnTo>
                    <a:pt x="513448" y="588569"/>
                  </a:lnTo>
                  <a:lnTo>
                    <a:pt x="513499" y="587921"/>
                  </a:lnTo>
                  <a:lnTo>
                    <a:pt x="513499" y="587223"/>
                  </a:lnTo>
                  <a:lnTo>
                    <a:pt x="513600" y="587223"/>
                  </a:lnTo>
                  <a:lnTo>
                    <a:pt x="513600" y="586588"/>
                  </a:lnTo>
                  <a:lnTo>
                    <a:pt x="513702" y="586588"/>
                  </a:lnTo>
                  <a:lnTo>
                    <a:pt x="513803" y="585242"/>
                  </a:lnTo>
                  <a:lnTo>
                    <a:pt x="513803" y="586588"/>
                  </a:lnTo>
                  <a:lnTo>
                    <a:pt x="514045" y="586588"/>
                  </a:lnTo>
                  <a:lnTo>
                    <a:pt x="514045" y="587223"/>
                  </a:lnTo>
                  <a:lnTo>
                    <a:pt x="514096" y="587223"/>
                  </a:lnTo>
                  <a:lnTo>
                    <a:pt x="514146" y="587921"/>
                  </a:lnTo>
                  <a:lnTo>
                    <a:pt x="514248" y="587921"/>
                  </a:lnTo>
                  <a:lnTo>
                    <a:pt x="514248" y="588569"/>
                  </a:lnTo>
                  <a:lnTo>
                    <a:pt x="514299" y="587921"/>
                  </a:lnTo>
                  <a:lnTo>
                    <a:pt x="514388" y="587921"/>
                  </a:lnTo>
                  <a:lnTo>
                    <a:pt x="514388" y="587223"/>
                  </a:lnTo>
                  <a:lnTo>
                    <a:pt x="514489" y="587223"/>
                  </a:lnTo>
                  <a:lnTo>
                    <a:pt x="514540" y="587921"/>
                  </a:lnTo>
                  <a:lnTo>
                    <a:pt x="514794" y="587921"/>
                  </a:lnTo>
                  <a:lnTo>
                    <a:pt x="514794" y="588569"/>
                  </a:lnTo>
                  <a:lnTo>
                    <a:pt x="514845" y="588569"/>
                  </a:lnTo>
                  <a:lnTo>
                    <a:pt x="514845" y="587921"/>
                  </a:lnTo>
                  <a:lnTo>
                    <a:pt x="515480" y="587921"/>
                  </a:lnTo>
                  <a:lnTo>
                    <a:pt x="515531" y="588569"/>
                  </a:lnTo>
                  <a:lnTo>
                    <a:pt x="515632" y="587921"/>
                  </a:lnTo>
                  <a:lnTo>
                    <a:pt x="515734" y="587921"/>
                  </a:lnTo>
                  <a:lnTo>
                    <a:pt x="515835" y="587223"/>
                  </a:lnTo>
                  <a:lnTo>
                    <a:pt x="515886" y="587921"/>
                  </a:lnTo>
                  <a:lnTo>
                    <a:pt x="515975" y="587921"/>
                  </a:lnTo>
                  <a:lnTo>
                    <a:pt x="515975" y="587223"/>
                  </a:lnTo>
                  <a:lnTo>
                    <a:pt x="516077" y="587921"/>
                  </a:lnTo>
                  <a:lnTo>
                    <a:pt x="516521" y="587921"/>
                  </a:lnTo>
                  <a:lnTo>
                    <a:pt x="516521" y="587223"/>
                  </a:lnTo>
                  <a:lnTo>
                    <a:pt x="516623" y="587223"/>
                  </a:lnTo>
                  <a:lnTo>
                    <a:pt x="516674" y="587921"/>
                  </a:lnTo>
                  <a:lnTo>
                    <a:pt x="517524" y="587921"/>
                  </a:lnTo>
                  <a:lnTo>
                    <a:pt x="517563" y="588569"/>
                  </a:lnTo>
                  <a:lnTo>
                    <a:pt x="517664" y="589166"/>
                  </a:lnTo>
                  <a:lnTo>
                    <a:pt x="517715" y="588569"/>
                  </a:lnTo>
                  <a:lnTo>
                    <a:pt x="518109" y="588569"/>
                  </a:lnTo>
                  <a:lnTo>
                    <a:pt x="518109" y="589166"/>
                  </a:lnTo>
                  <a:lnTo>
                    <a:pt x="518159" y="589166"/>
                  </a:lnTo>
                  <a:lnTo>
                    <a:pt x="518159" y="590499"/>
                  </a:lnTo>
                  <a:lnTo>
                    <a:pt x="518464" y="590499"/>
                  </a:lnTo>
                  <a:lnTo>
                    <a:pt x="518464" y="589166"/>
                  </a:lnTo>
                  <a:lnTo>
                    <a:pt x="518566" y="590499"/>
                  </a:lnTo>
                  <a:lnTo>
                    <a:pt x="518604" y="590499"/>
                  </a:lnTo>
                  <a:lnTo>
                    <a:pt x="518655" y="589166"/>
                  </a:lnTo>
                  <a:lnTo>
                    <a:pt x="518706" y="588569"/>
                  </a:lnTo>
                  <a:lnTo>
                    <a:pt x="518706" y="587223"/>
                  </a:lnTo>
                  <a:lnTo>
                    <a:pt x="518807" y="587223"/>
                  </a:lnTo>
                  <a:lnTo>
                    <a:pt x="518807" y="586588"/>
                  </a:lnTo>
                  <a:lnTo>
                    <a:pt x="519061" y="586588"/>
                  </a:lnTo>
                  <a:lnTo>
                    <a:pt x="519061" y="587223"/>
                  </a:lnTo>
                  <a:lnTo>
                    <a:pt x="519112" y="587223"/>
                  </a:lnTo>
                  <a:lnTo>
                    <a:pt x="519112" y="587921"/>
                  </a:lnTo>
                  <a:lnTo>
                    <a:pt x="519252" y="587921"/>
                  </a:lnTo>
                  <a:lnTo>
                    <a:pt x="519252" y="588569"/>
                  </a:lnTo>
                  <a:lnTo>
                    <a:pt x="519353" y="588569"/>
                  </a:lnTo>
                  <a:lnTo>
                    <a:pt x="519455" y="587223"/>
                  </a:lnTo>
                  <a:lnTo>
                    <a:pt x="519455" y="586588"/>
                  </a:lnTo>
                  <a:lnTo>
                    <a:pt x="519506" y="586588"/>
                  </a:lnTo>
                  <a:lnTo>
                    <a:pt x="519557" y="585242"/>
                  </a:lnTo>
                  <a:lnTo>
                    <a:pt x="519696" y="585242"/>
                  </a:lnTo>
                  <a:lnTo>
                    <a:pt x="519696" y="586588"/>
                  </a:lnTo>
                  <a:lnTo>
                    <a:pt x="519849" y="586588"/>
                  </a:lnTo>
                  <a:lnTo>
                    <a:pt x="519950" y="587223"/>
                  </a:lnTo>
                  <a:lnTo>
                    <a:pt x="520001" y="587223"/>
                  </a:lnTo>
                  <a:lnTo>
                    <a:pt x="520052" y="587921"/>
                  </a:lnTo>
                  <a:lnTo>
                    <a:pt x="520293" y="587921"/>
                  </a:lnTo>
                  <a:lnTo>
                    <a:pt x="520395" y="588569"/>
                  </a:lnTo>
                  <a:lnTo>
                    <a:pt x="520446" y="588569"/>
                  </a:lnTo>
                  <a:lnTo>
                    <a:pt x="520496" y="587921"/>
                  </a:lnTo>
                  <a:lnTo>
                    <a:pt x="520941" y="587921"/>
                  </a:lnTo>
                  <a:lnTo>
                    <a:pt x="521042" y="588569"/>
                  </a:lnTo>
                  <a:lnTo>
                    <a:pt x="521385" y="588569"/>
                  </a:lnTo>
                  <a:lnTo>
                    <a:pt x="521385" y="587921"/>
                  </a:lnTo>
                  <a:lnTo>
                    <a:pt x="521436" y="588569"/>
                  </a:lnTo>
                  <a:lnTo>
                    <a:pt x="521538" y="588569"/>
                  </a:lnTo>
                  <a:lnTo>
                    <a:pt x="521588" y="587921"/>
                  </a:lnTo>
                  <a:lnTo>
                    <a:pt x="521639" y="587921"/>
                  </a:lnTo>
                  <a:lnTo>
                    <a:pt x="521639" y="587223"/>
                  </a:lnTo>
                  <a:lnTo>
                    <a:pt x="522033" y="587223"/>
                  </a:lnTo>
                  <a:lnTo>
                    <a:pt x="522033" y="587921"/>
                  </a:lnTo>
                  <a:lnTo>
                    <a:pt x="522084" y="587921"/>
                  </a:lnTo>
                  <a:lnTo>
                    <a:pt x="522185" y="588569"/>
                  </a:lnTo>
                  <a:lnTo>
                    <a:pt x="522236" y="588569"/>
                  </a:lnTo>
                  <a:lnTo>
                    <a:pt x="522287" y="587921"/>
                  </a:lnTo>
                  <a:lnTo>
                    <a:pt x="522427" y="587921"/>
                  </a:lnTo>
                  <a:lnTo>
                    <a:pt x="522478" y="588569"/>
                  </a:lnTo>
                  <a:lnTo>
                    <a:pt x="522528" y="588569"/>
                  </a:lnTo>
                  <a:lnTo>
                    <a:pt x="522528" y="587921"/>
                  </a:lnTo>
                  <a:lnTo>
                    <a:pt x="522732" y="587921"/>
                  </a:lnTo>
                  <a:lnTo>
                    <a:pt x="522732" y="588569"/>
                  </a:lnTo>
                  <a:lnTo>
                    <a:pt x="522871" y="588569"/>
                  </a:lnTo>
                  <a:lnTo>
                    <a:pt x="522922" y="587921"/>
                  </a:lnTo>
                  <a:lnTo>
                    <a:pt x="522973" y="587921"/>
                  </a:lnTo>
                  <a:lnTo>
                    <a:pt x="523024" y="588569"/>
                  </a:lnTo>
                  <a:lnTo>
                    <a:pt x="523328" y="588569"/>
                  </a:lnTo>
                  <a:lnTo>
                    <a:pt x="523328" y="589166"/>
                  </a:lnTo>
                  <a:lnTo>
                    <a:pt x="523570" y="589166"/>
                  </a:lnTo>
                  <a:lnTo>
                    <a:pt x="523621" y="588569"/>
                  </a:lnTo>
                  <a:lnTo>
                    <a:pt x="523621" y="589166"/>
                  </a:lnTo>
                  <a:lnTo>
                    <a:pt x="523671" y="588569"/>
                  </a:lnTo>
                  <a:lnTo>
                    <a:pt x="523773" y="589166"/>
                  </a:lnTo>
                  <a:lnTo>
                    <a:pt x="524065" y="589166"/>
                  </a:lnTo>
                  <a:lnTo>
                    <a:pt x="524116" y="590499"/>
                  </a:lnTo>
                  <a:lnTo>
                    <a:pt x="524217" y="591147"/>
                  </a:lnTo>
                  <a:lnTo>
                    <a:pt x="524268" y="591147"/>
                  </a:lnTo>
                  <a:lnTo>
                    <a:pt x="524319" y="590499"/>
                  </a:lnTo>
                  <a:lnTo>
                    <a:pt x="524370" y="591147"/>
                  </a:lnTo>
                  <a:lnTo>
                    <a:pt x="524459" y="591147"/>
                  </a:lnTo>
                  <a:lnTo>
                    <a:pt x="524509" y="590499"/>
                  </a:lnTo>
                  <a:lnTo>
                    <a:pt x="524509" y="589166"/>
                  </a:lnTo>
                  <a:lnTo>
                    <a:pt x="524560" y="587921"/>
                  </a:lnTo>
                  <a:lnTo>
                    <a:pt x="524560" y="587223"/>
                  </a:lnTo>
                  <a:lnTo>
                    <a:pt x="524814" y="587223"/>
                  </a:lnTo>
                  <a:lnTo>
                    <a:pt x="524814" y="587921"/>
                  </a:lnTo>
                  <a:lnTo>
                    <a:pt x="524916" y="587223"/>
                  </a:lnTo>
                  <a:lnTo>
                    <a:pt x="524954" y="587921"/>
                  </a:lnTo>
                  <a:lnTo>
                    <a:pt x="525005" y="587921"/>
                  </a:lnTo>
                  <a:lnTo>
                    <a:pt x="525056" y="588569"/>
                  </a:lnTo>
                  <a:lnTo>
                    <a:pt x="525056" y="587921"/>
                  </a:lnTo>
                  <a:lnTo>
                    <a:pt x="525157" y="587921"/>
                  </a:lnTo>
                  <a:lnTo>
                    <a:pt x="525208" y="587223"/>
                  </a:lnTo>
                  <a:lnTo>
                    <a:pt x="525259" y="587223"/>
                  </a:lnTo>
                  <a:lnTo>
                    <a:pt x="525259" y="586588"/>
                  </a:lnTo>
                  <a:lnTo>
                    <a:pt x="525360" y="586588"/>
                  </a:lnTo>
                  <a:lnTo>
                    <a:pt x="525360" y="585242"/>
                  </a:lnTo>
                  <a:lnTo>
                    <a:pt x="525411" y="585242"/>
                  </a:lnTo>
                  <a:lnTo>
                    <a:pt x="525462" y="586588"/>
                  </a:lnTo>
                  <a:lnTo>
                    <a:pt x="525602" y="586588"/>
                  </a:lnTo>
                  <a:lnTo>
                    <a:pt x="525653" y="587223"/>
                  </a:lnTo>
                  <a:lnTo>
                    <a:pt x="525703" y="587223"/>
                  </a:lnTo>
                  <a:lnTo>
                    <a:pt x="525703" y="587921"/>
                  </a:lnTo>
                  <a:lnTo>
                    <a:pt x="525907" y="587921"/>
                  </a:lnTo>
                  <a:lnTo>
                    <a:pt x="525907" y="587223"/>
                  </a:lnTo>
                  <a:lnTo>
                    <a:pt x="525957" y="587223"/>
                  </a:lnTo>
                  <a:lnTo>
                    <a:pt x="525957" y="587921"/>
                  </a:lnTo>
                  <a:lnTo>
                    <a:pt x="526148" y="587921"/>
                  </a:lnTo>
                  <a:lnTo>
                    <a:pt x="526199" y="588569"/>
                  </a:lnTo>
                  <a:lnTo>
                    <a:pt x="526592" y="588569"/>
                  </a:lnTo>
                  <a:lnTo>
                    <a:pt x="526592" y="587921"/>
                  </a:lnTo>
                  <a:lnTo>
                    <a:pt x="526846" y="587921"/>
                  </a:lnTo>
                  <a:lnTo>
                    <a:pt x="526948" y="588569"/>
                  </a:lnTo>
                  <a:lnTo>
                    <a:pt x="526999" y="588569"/>
                  </a:lnTo>
                  <a:lnTo>
                    <a:pt x="526999" y="587921"/>
                  </a:lnTo>
                  <a:lnTo>
                    <a:pt x="527443" y="587921"/>
                  </a:lnTo>
                  <a:lnTo>
                    <a:pt x="527443" y="587223"/>
                  </a:lnTo>
                  <a:lnTo>
                    <a:pt x="527494" y="587223"/>
                  </a:lnTo>
                  <a:lnTo>
                    <a:pt x="527494" y="587921"/>
                  </a:lnTo>
                  <a:lnTo>
                    <a:pt x="528332" y="587921"/>
                  </a:lnTo>
                  <a:lnTo>
                    <a:pt x="528332" y="588569"/>
                  </a:lnTo>
                  <a:lnTo>
                    <a:pt x="528383" y="588569"/>
                  </a:lnTo>
                  <a:lnTo>
                    <a:pt x="528383" y="587921"/>
                  </a:lnTo>
                  <a:lnTo>
                    <a:pt x="528777" y="587921"/>
                  </a:lnTo>
                  <a:lnTo>
                    <a:pt x="528828" y="588569"/>
                  </a:lnTo>
                  <a:lnTo>
                    <a:pt x="528828" y="587921"/>
                  </a:lnTo>
                  <a:lnTo>
                    <a:pt x="528878" y="588569"/>
                  </a:lnTo>
                  <a:lnTo>
                    <a:pt x="528980" y="587921"/>
                  </a:lnTo>
                  <a:lnTo>
                    <a:pt x="529031" y="588569"/>
                  </a:lnTo>
                  <a:lnTo>
                    <a:pt x="529475" y="588569"/>
                  </a:lnTo>
                  <a:lnTo>
                    <a:pt x="529526" y="589166"/>
                  </a:lnTo>
                  <a:lnTo>
                    <a:pt x="529767" y="589166"/>
                  </a:lnTo>
                  <a:lnTo>
                    <a:pt x="529818" y="590499"/>
                  </a:lnTo>
                  <a:lnTo>
                    <a:pt x="529971" y="590499"/>
                  </a:lnTo>
                  <a:lnTo>
                    <a:pt x="529971" y="591147"/>
                  </a:lnTo>
                  <a:lnTo>
                    <a:pt x="530224" y="591147"/>
                  </a:lnTo>
                  <a:lnTo>
                    <a:pt x="530224" y="591795"/>
                  </a:lnTo>
                  <a:lnTo>
                    <a:pt x="530263" y="591147"/>
                  </a:lnTo>
                  <a:lnTo>
                    <a:pt x="530364" y="591147"/>
                  </a:lnTo>
                  <a:lnTo>
                    <a:pt x="530364" y="590499"/>
                  </a:lnTo>
                  <a:lnTo>
                    <a:pt x="530415" y="589166"/>
                  </a:lnTo>
                  <a:lnTo>
                    <a:pt x="530466" y="588569"/>
                  </a:lnTo>
                  <a:lnTo>
                    <a:pt x="530466" y="587921"/>
                  </a:lnTo>
                  <a:lnTo>
                    <a:pt x="530567" y="587921"/>
                  </a:lnTo>
                  <a:lnTo>
                    <a:pt x="530567" y="587223"/>
                  </a:lnTo>
                  <a:lnTo>
                    <a:pt x="530669" y="587223"/>
                  </a:lnTo>
                  <a:lnTo>
                    <a:pt x="530669" y="587921"/>
                  </a:lnTo>
                  <a:lnTo>
                    <a:pt x="530809" y="587921"/>
                  </a:lnTo>
                  <a:lnTo>
                    <a:pt x="530859" y="588569"/>
                  </a:lnTo>
                  <a:lnTo>
                    <a:pt x="530910" y="588569"/>
                  </a:lnTo>
                  <a:lnTo>
                    <a:pt x="530910" y="587921"/>
                  </a:lnTo>
                  <a:lnTo>
                    <a:pt x="530961" y="587223"/>
                  </a:lnTo>
                  <a:lnTo>
                    <a:pt x="531063" y="587223"/>
                  </a:lnTo>
                  <a:lnTo>
                    <a:pt x="531063" y="586588"/>
                  </a:lnTo>
                  <a:lnTo>
                    <a:pt x="531164" y="586588"/>
                  </a:lnTo>
                  <a:lnTo>
                    <a:pt x="531266" y="587223"/>
                  </a:lnTo>
                  <a:lnTo>
                    <a:pt x="531266" y="586588"/>
                  </a:lnTo>
                  <a:lnTo>
                    <a:pt x="531304" y="587223"/>
                  </a:lnTo>
                  <a:lnTo>
                    <a:pt x="531710" y="587223"/>
                  </a:lnTo>
                  <a:lnTo>
                    <a:pt x="531761" y="587921"/>
                  </a:lnTo>
                  <a:lnTo>
                    <a:pt x="531812" y="587921"/>
                  </a:lnTo>
                  <a:lnTo>
                    <a:pt x="531812" y="588569"/>
                  </a:lnTo>
                  <a:lnTo>
                    <a:pt x="532155" y="588569"/>
                  </a:lnTo>
                  <a:lnTo>
                    <a:pt x="532155" y="587921"/>
                  </a:lnTo>
                  <a:lnTo>
                    <a:pt x="532206" y="588569"/>
                  </a:lnTo>
                  <a:lnTo>
                    <a:pt x="532396" y="588569"/>
                  </a:lnTo>
                  <a:lnTo>
                    <a:pt x="532447" y="587921"/>
                  </a:lnTo>
                  <a:lnTo>
                    <a:pt x="532447" y="588569"/>
                  </a:lnTo>
                  <a:lnTo>
                    <a:pt x="532892" y="588569"/>
                  </a:lnTo>
                  <a:lnTo>
                    <a:pt x="532942" y="589166"/>
                  </a:lnTo>
                  <a:lnTo>
                    <a:pt x="532993" y="589166"/>
                  </a:lnTo>
                  <a:lnTo>
                    <a:pt x="532993" y="588569"/>
                  </a:lnTo>
                  <a:lnTo>
                    <a:pt x="533298" y="588569"/>
                  </a:lnTo>
                  <a:lnTo>
                    <a:pt x="533298" y="587921"/>
                  </a:lnTo>
                  <a:lnTo>
                    <a:pt x="533349" y="587921"/>
                  </a:lnTo>
                  <a:lnTo>
                    <a:pt x="533349" y="587223"/>
                  </a:lnTo>
                  <a:lnTo>
                    <a:pt x="533590" y="587223"/>
                  </a:lnTo>
                  <a:lnTo>
                    <a:pt x="533641" y="587921"/>
                  </a:lnTo>
                  <a:lnTo>
                    <a:pt x="533844" y="587921"/>
                  </a:lnTo>
                  <a:lnTo>
                    <a:pt x="533844" y="588569"/>
                  </a:lnTo>
                  <a:lnTo>
                    <a:pt x="533895" y="588569"/>
                  </a:lnTo>
                  <a:lnTo>
                    <a:pt x="533895" y="589166"/>
                  </a:lnTo>
                  <a:lnTo>
                    <a:pt x="533984" y="588569"/>
                  </a:lnTo>
                  <a:lnTo>
                    <a:pt x="534085" y="588569"/>
                  </a:lnTo>
                  <a:lnTo>
                    <a:pt x="534136" y="589166"/>
                  </a:lnTo>
                  <a:lnTo>
                    <a:pt x="534238" y="589166"/>
                  </a:lnTo>
                  <a:lnTo>
                    <a:pt x="534288" y="588569"/>
                  </a:lnTo>
                  <a:lnTo>
                    <a:pt x="534288" y="587921"/>
                  </a:lnTo>
                  <a:lnTo>
                    <a:pt x="534479" y="587921"/>
                  </a:lnTo>
                  <a:lnTo>
                    <a:pt x="534530" y="588569"/>
                  </a:lnTo>
                  <a:lnTo>
                    <a:pt x="534682" y="588569"/>
                  </a:lnTo>
                  <a:lnTo>
                    <a:pt x="534733" y="589166"/>
                  </a:lnTo>
                  <a:lnTo>
                    <a:pt x="534733" y="588569"/>
                  </a:lnTo>
                  <a:lnTo>
                    <a:pt x="534936" y="588569"/>
                  </a:lnTo>
                  <a:lnTo>
                    <a:pt x="534936" y="589166"/>
                  </a:lnTo>
                  <a:lnTo>
                    <a:pt x="535127" y="589166"/>
                  </a:lnTo>
                  <a:lnTo>
                    <a:pt x="535127" y="588569"/>
                  </a:lnTo>
                  <a:lnTo>
                    <a:pt x="535178" y="589166"/>
                  </a:lnTo>
                  <a:lnTo>
                    <a:pt x="535622" y="589166"/>
                  </a:lnTo>
                  <a:lnTo>
                    <a:pt x="535622" y="590499"/>
                  </a:lnTo>
                  <a:lnTo>
                    <a:pt x="535724" y="590499"/>
                  </a:lnTo>
                  <a:lnTo>
                    <a:pt x="535724" y="591147"/>
                  </a:lnTo>
                  <a:lnTo>
                    <a:pt x="535927" y="591147"/>
                  </a:lnTo>
                  <a:lnTo>
                    <a:pt x="535927" y="591795"/>
                  </a:lnTo>
                  <a:lnTo>
                    <a:pt x="536067" y="591795"/>
                  </a:lnTo>
                  <a:lnTo>
                    <a:pt x="536067" y="592442"/>
                  </a:lnTo>
                  <a:lnTo>
                    <a:pt x="536117" y="591795"/>
                  </a:lnTo>
                  <a:lnTo>
                    <a:pt x="536117" y="591147"/>
                  </a:lnTo>
                  <a:lnTo>
                    <a:pt x="536168" y="590499"/>
                  </a:lnTo>
                  <a:lnTo>
                    <a:pt x="536270" y="589166"/>
                  </a:lnTo>
                  <a:lnTo>
                    <a:pt x="536270" y="588569"/>
                  </a:lnTo>
                  <a:lnTo>
                    <a:pt x="536574" y="588569"/>
                  </a:lnTo>
                  <a:lnTo>
                    <a:pt x="536574" y="589166"/>
                  </a:lnTo>
                  <a:lnTo>
                    <a:pt x="536613" y="589166"/>
                  </a:lnTo>
                  <a:lnTo>
                    <a:pt x="536613" y="588569"/>
                  </a:lnTo>
                  <a:lnTo>
                    <a:pt x="536816" y="588569"/>
                  </a:lnTo>
                  <a:lnTo>
                    <a:pt x="536816" y="587921"/>
                  </a:lnTo>
                  <a:lnTo>
                    <a:pt x="536917" y="586588"/>
                  </a:lnTo>
                  <a:lnTo>
                    <a:pt x="536968" y="586588"/>
                  </a:lnTo>
                  <a:lnTo>
                    <a:pt x="537019" y="587223"/>
                  </a:lnTo>
                  <a:lnTo>
                    <a:pt x="537070" y="587223"/>
                  </a:lnTo>
                  <a:lnTo>
                    <a:pt x="537159" y="587921"/>
                  </a:lnTo>
                  <a:lnTo>
                    <a:pt x="537463" y="587921"/>
                  </a:lnTo>
                  <a:lnTo>
                    <a:pt x="537514" y="588569"/>
                  </a:lnTo>
                  <a:lnTo>
                    <a:pt x="537908" y="588569"/>
                  </a:lnTo>
                  <a:lnTo>
                    <a:pt x="537959" y="589166"/>
                  </a:lnTo>
                  <a:lnTo>
                    <a:pt x="538200" y="589166"/>
                  </a:lnTo>
                  <a:lnTo>
                    <a:pt x="538200" y="588569"/>
                  </a:lnTo>
                  <a:lnTo>
                    <a:pt x="538505" y="588569"/>
                  </a:lnTo>
                  <a:lnTo>
                    <a:pt x="538556" y="589166"/>
                  </a:lnTo>
                  <a:lnTo>
                    <a:pt x="538607" y="589166"/>
                  </a:lnTo>
                  <a:lnTo>
                    <a:pt x="538657" y="588569"/>
                  </a:lnTo>
                  <a:lnTo>
                    <a:pt x="538746" y="588569"/>
                  </a:lnTo>
                  <a:lnTo>
                    <a:pt x="538797" y="589166"/>
                  </a:lnTo>
                  <a:lnTo>
                    <a:pt x="538848" y="588569"/>
                  </a:lnTo>
                  <a:lnTo>
                    <a:pt x="539292" y="588569"/>
                  </a:lnTo>
                  <a:lnTo>
                    <a:pt x="539343" y="589166"/>
                  </a:lnTo>
                  <a:lnTo>
                    <a:pt x="539343" y="588569"/>
                  </a:lnTo>
                  <a:lnTo>
                    <a:pt x="539496" y="588569"/>
                  </a:lnTo>
                  <a:lnTo>
                    <a:pt x="539546" y="589166"/>
                  </a:lnTo>
                  <a:lnTo>
                    <a:pt x="539546" y="588569"/>
                  </a:lnTo>
                  <a:lnTo>
                    <a:pt x="539889" y="588569"/>
                  </a:lnTo>
                  <a:lnTo>
                    <a:pt x="539889" y="589166"/>
                  </a:lnTo>
                  <a:lnTo>
                    <a:pt x="539940" y="589166"/>
                  </a:lnTo>
                  <a:lnTo>
                    <a:pt x="539991" y="588569"/>
                  </a:lnTo>
                  <a:lnTo>
                    <a:pt x="540486" y="588569"/>
                  </a:lnTo>
                  <a:lnTo>
                    <a:pt x="540486" y="589166"/>
                  </a:lnTo>
                  <a:lnTo>
                    <a:pt x="540588" y="588569"/>
                  </a:lnTo>
                  <a:lnTo>
                    <a:pt x="540829" y="588569"/>
                  </a:lnTo>
                  <a:lnTo>
                    <a:pt x="540829" y="589166"/>
                  </a:lnTo>
                  <a:lnTo>
                    <a:pt x="540880" y="589166"/>
                  </a:lnTo>
                  <a:lnTo>
                    <a:pt x="540931" y="590499"/>
                  </a:lnTo>
                  <a:lnTo>
                    <a:pt x="541032" y="589166"/>
                  </a:lnTo>
                  <a:lnTo>
                    <a:pt x="541134" y="589166"/>
                  </a:lnTo>
                  <a:lnTo>
                    <a:pt x="541235" y="590499"/>
                  </a:lnTo>
                  <a:lnTo>
                    <a:pt x="541286" y="589166"/>
                  </a:lnTo>
                  <a:lnTo>
                    <a:pt x="541375" y="589166"/>
                  </a:lnTo>
                  <a:lnTo>
                    <a:pt x="541477" y="590499"/>
                  </a:lnTo>
                  <a:lnTo>
                    <a:pt x="541680" y="590499"/>
                  </a:lnTo>
                  <a:lnTo>
                    <a:pt x="541731" y="591147"/>
                  </a:lnTo>
                  <a:lnTo>
                    <a:pt x="542023" y="591147"/>
                  </a:lnTo>
                  <a:lnTo>
                    <a:pt x="542074" y="590499"/>
                  </a:lnTo>
                  <a:lnTo>
                    <a:pt x="542074" y="589166"/>
                  </a:lnTo>
                  <a:lnTo>
                    <a:pt x="542175" y="588569"/>
                  </a:lnTo>
                  <a:lnTo>
                    <a:pt x="542378" y="588569"/>
                  </a:lnTo>
                  <a:lnTo>
                    <a:pt x="542417" y="587921"/>
                  </a:lnTo>
                  <a:lnTo>
                    <a:pt x="542467" y="588569"/>
                  </a:lnTo>
                  <a:lnTo>
                    <a:pt x="542518" y="589166"/>
                  </a:lnTo>
                  <a:lnTo>
                    <a:pt x="542671" y="589166"/>
                  </a:lnTo>
                  <a:lnTo>
                    <a:pt x="542671" y="590499"/>
                  </a:lnTo>
                  <a:lnTo>
                    <a:pt x="542721" y="590499"/>
                  </a:lnTo>
                  <a:lnTo>
                    <a:pt x="542721" y="589166"/>
                  </a:lnTo>
                  <a:lnTo>
                    <a:pt x="542823" y="588569"/>
                  </a:lnTo>
                  <a:lnTo>
                    <a:pt x="542823" y="587921"/>
                  </a:lnTo>
                  <a:lnTo>
                    <a:pt x="542874" y="587223"/>
                  </a:lnTo>
                  <a:lnTo>
                    <a:pt x="543267" y="587223"/>
                  </a:lnTo>
                  <a:lnTo>
                    <a:pt x="543318" y="587921"/>
                  </a:lnTo>
                  <a:lnTo>
                    <a:pt x="543369" y="587921"/>
                  </a:lnTo>
                  <a:lnTo>
                    <a:pt x="543369" y="588569"/>
                  </a:lnTo>
                  <a:lnTo>
                    <a:pt x="543610" y="588569"/>
                  </a:lnTo>
                  <a:lnTo>
                    <a:pt x="543610" y="589166"/>
                  </a:lnTo>
                  <a:lnTo>
                    <a:pt x="543661" y="589166"/>
                  </a:lnTo>
                  <a:lnTo>
                    <a:pt x="543661" y="588569"/>
                  </a:lnTo>
                  <a:lnTo>
                    <a:pt x="543763" y="589166"/>
                  </a:lnTo>
                  <a:lnTo>
                    <a:pt x="543813" y="588569"/>
                  </a:lnTo>
                  <a:lnTo>
                    <a:pt x="543966" y="588569"/>
                  </a:lnTo>
                  <a:lnTo>
                    <a:pt x="544004" y="589166"/>
                  </a:lnTo>
                  <a:lnTo>
                    <a:pt x="544106" y="589166"/>
                  </a:lnTo>
                  <a:lnTo>
                    <a:pt x="544207" y="588569"/>
                  </a:lnTo>
                  <a:lnTo>
                    <a:pt x="544410" y="588569"/>
                  </a:lnTo>
                  <a:lnTo>
                    <a:pt x="544461" y="589166"/>
                  </a:lnTo>
                  <a:lnTo>
                    <a:pt x="544652" y="589166"/>
                  </a:lnTo>
                  <a:lnTo>
                    <a:pt x="544652" y="588569"/>
                  </a:lnTo>
                  <a:lnTo>
                    <a:pt x="544753" y="588569"/>
                  </a:lnTo>
                  <a:lnTo>
                    <a:pt x="544753" y="589166"/>
                  </a:lnTo>
                  <a:lnTo>
                    <a:pt x="545096" y="589166"/>
                  </a:lnTo>
                  <a:lnTo>
                    <a:pt x="545096" y="588569"/>
                  </a:lnTo>
                  <a:lnTo>
                    <a:pt x="545350" y="588569"/>
                  </a:lnTo>
                  <a:lnTo>
                    <a:pt x="545350" y="587921"/>
                  </a:lnTo>
                  <a:lnTo>
                    <a:pt x="545401" y="588569"/>
                  </a:lnTo>
                  <a:lnTo>
                    <a:pt x="545452" y="587921"/>
                  </a:lnTo>
                  <a:lnTo>
                    <a:pt x="545553" y="588569"/>
                  </a:lnTo>
                  <a:lnTo>
                    <a:pt x="545642" y="588569"/>
                  </a:lnTo>
                  <a:lnTo>
                    <a:pt x="545642" y="587921"/>
                  </a:lnTo>
                  <a:lnTo>
                    <a:pt x="545795" y="587921"/>
                  </a:lnTo>
                  <a:lnTo>
                    <a:pt x="545846" y="588569"/>
                  </a:lnTo>
                  <a:lnTo>
                    <a:pt x="546049" y="588569"/>
                  </a:lnTo>
                  <a:lnTo>
                    <a:pt x="546049" y="589166"/>
                  </a:lnTo>
                  <a:lnTo>
                    <a:pt x="546099" y="589166"/>
                  </a:lnTo>
                  <a:lnTo>
                    <a:pt x="546138" y="588569"/>
                  </a:lnTo>
                  <a:lnTo>
                    <a:pt x="546442" y="588569"/>
                  </a:lnTo>
                  <a:lnTo>
                    <a:pt x="546442" y="589166"/>
                  </a:lnTo>
                  <a:lnTo>
                    <a:pt x="546493" y="588569"/>
                  </a:lnTo>
                  <a:lnTo>
                    <a:pt x="546734" y="588569"/>
                  </a:lnTo>
                  <a:lnTo>
                    <a:pt x="546734" y="589166"/>
                  </a:lnTo>
                  <a:lnTo>
                    <a:pt x="546836" y="589166"/>
                  </a:lnTo>
                  <a:lnTo>
                    <a:pt x="546836" y="590499"/>
                  </a:lnTo>
                  <a:lnTo>
                    <a:pt x="546988" y="590499"/>
                  </a:lnTo>
                  <a:lnTo>
                    <a:pt x="546988" y="589166"/>
                  </a:lnTo>
                  <a:lnTo>
                    <a:pt x="547039" y="590499"/>
                  </a:lnTo>
                  <a:lnTo>
                    <a:pt x="547382" y="590499"/>
                  </a:lnTo>
                  <a:lnTo>
                    <a:pt x="547433" y="589166"/>
                  </a:lnTo>
                  <a:lnTo>
                    <a:pt x="547484" y="590499"/>
                  </a:lnTo>
                  <a:lnTo>
                    <a:pt x="547484" y="589166"/>
                  </a:lnTo>
                  <a:lnTo>
                    <a:pt x="547585" y="590499"/>
                  </a:lnTo>
                  <a:lnTo>
                    <a:pt x="547636" y="590499"/>
                  </a:lnTo>
                  <a:lnTo>
                    <a:pt x="547636" y="591147"/>
                  </a:lnTo>
                  <a:lnTo>
                    <a:pt x="547687" y="590499"/>
                  </a:lnTo>
                  <a:lnTo>
                    <a:pt x="547687" y="591147"/>
                  </a:lnTo>
                  <a:lnTo>
                    <a:pt x="547725" y="591147"/>
                  </a:lnTo>
                  <a:lnTo>
                    <a:pt x="547827" y="591795"/>
                  </a:lnTo>
                  <a:lnTo>
                    <a:pt x="547827" y="591147"/>
                  </a:lnTo>
                  <a:lnTo>
                    <a:pt x="547878" y="591147"/>
                  </a:lnTo>
                  <a:lnTo>
                    <a:pt x="547878" y="590499"/>
                  </a:lnTo>
                  <a:lnTo>
                    <a:pt x="547928" y="589166"/>
                  </a:lnTo>
                  <a:lnTo>
                    <a:pt x="547928" y="588569"/>
                  </a:lnTo>
                  <a:lnTo>
                    <a:pt x="548030" y="588569"/>
                  </a:lnTo>
                  <a:lnTo>
                    <a:pt x="548081" y="587921"/>
                  </a:lnTo>
                  <a:lnTo>
                    <a:pt x="548132" y="587223"/>
                  </a:lnTo>
                  <a:lnTo>
                    <a:pt x="548132" y="587921"/>
                  </a:lnTo>
                  <a:lnTo>
                    <a:pt x="548182" y="587921"/>
                  </a:lnTo>
                  <a:lnTo>
                    <a:pt x="548182" y="588569"/>
                  </a:lnTo>
                  <a:lnTo>
                    <a:pt x="548373" y="588569"/>
                  </a:lnTo>
                  <a:lnTo>
                    <a:pt x="548424" y="587921"/>
                  </a:lnTo>
                  <a:lnTo>
                    <a:pt x="548525" y="587921"/>
                  </a:lnTo>
                  <a:lnTo>
                    <a:pt x="548525" y="587223"/>
                  </a:lnTo>
                  <a:lnTo>
                    <a:pt x="548627" y="587223"/>
                  </a:lnTo>
                  <a:lnTo>
                    <a:pt x="548728" y="586588"/>
                  </a:lnTo>
                  <a:lnTo>
                    <a:pt x="548767" y="586588"/>
                  </a:lnTo>
                  <a:lnTo>
                    <a:pt x="548817" y="587223"/>
                  </a:lnTo>
                  <a:lnTo>
                    <a:pt x="548868" y="587921"/>
                  </a:lnTo>
                  <a:lnTo>
                    <a:pt x="548868" y="588569"/>
                  </a:lnTo>
                  <a:lnTo>
                    <a:pt x="549071" y="588569"/>
                  </a:lnTo>
                  <a:lnTo>
                    <a:pt x="549071" y="587921"/>
                  </a:lnTo>
                  <a:lnTo>
                    <a:pt x="549173" y="587921"/>
                  </a:lnTo>
                  <a:lnTo>
                    <a:pt x="549224" y="588569"/>
                  </a:lnTo>
                  <a:lnTo>
                    <a:pt x="549313" y="588569"/>
                  </a:lnTo>
                  <a:lnTo>
                    <a:pt x="549414" y="587921"/>
                  </a:lnTo>
                  <a:lnTo>
                    <a:pt x="549465" y="587921"/>
                  </a:lnTo>
                  <a:lnTo>
                    <a:pt x="549465" y="588569"/>
                  </a:lnTo>
                  <a:lnTo>
                    <a:pt x="549617" y="588569"/>
                  </a:lnTo>
                  <a:lnTo>
                    <a:pt x="549668" y="589166"/>
                  </a:lnTo>
                  <a:lnTo>
                    <a:pt x="549719" y="589166"/>
                  </a:lnTo>
                  <a:lnTo>
                    <a:pt x="549719" y="588569"/>
                  </a:lnTo>
                  <a:lnTo>
                    <a:pt x="549770" y="589166"/>
                  </a:lnTo>
                  <a:lnTo>
                    <a:pt x="549859" y="588569"/>
                  </a:lnTo>
                  <a:lnTo>
                    <a:pt x="549909" y="589166"/>
                  </a:lnTo>
                  <a:lnTo>
                    <a:pt x="550316" y="589166"/>
                  </a:lnTo>
                  <a:lnTo>
                    <a:pt x="550354" y="588569"/>
                  </a:lnTo>
                  <a:lnTo>
                    <a:pt x="550354" y="589166"/>
                  </a:lnTo>
                  <a:lnTo>
                    <a:pt x="550405" y="589166"/>
                  </a:lnTo>
                  <a:lnTo>
                    <a:pt x="550405" y="588569"/>
                  </a:lnTo>
                  <a:lnTo>
                    <a:pt x="550608" y="588569"/>
                  </a:lnTo>
                  <a:lnTo>
                    <a:pt x="550608" y="589166"/>
                  </a:lnTo>
                  <a:lnTo>
                    <a:pt x="550659" y="588569"/>
                  </a:lnTo>
                  <a:lnTo>
                    <a:pt x="550862" y="588569"/>
                  </a:lnTo>
                  <a:lnTo>
                    <a:pt x="550862" y="587921"/>
                  </a:lnTo>
                  <a:lnTo>
                    <a:pt x="550900" y="588569"/>
                  </a:lnTo>
                  <a:lnTo>
                    <a:pt x="551256" y="588569"/>
                  </a:lnTo>
                  <a:lnTo>
                    <a:pt x="551256" y="589166"/>
                  </a:lnTo>
                  <a:lnTo>
                    <a:pt x="551497" y="589166"/>
                  </a:lnTo>
                  <a:lnTo>
                    <a:pt x="551548" y="588569"/>
                  </a:lnTo>
                  <a:lnTo>
                    <a:pt x="551802" y="588569"/>
                  </a:lnTo>
                  <a:lnTo>
                    <a:pt x="551903" y="589166"/>
                  </a:lnTo>
                  <a:lnTo>
                    <a:pt x="552589" y="589166"/>
                  </a:lnTo>
                  <a:lnTo>
                    <a:pt x="552640" y="590499"/>
                  </a:lnTo>
                  <a:lnTo>
                    <a:pt x="552691" y="590499"/>
                  </a:lnTo>
                  <a:lnTo>
                    <a:pt x="552691" y="589166"/>
                  </a:lnTo>
                  <a:lnTo>
                    <a:pt x="552792" y="589166"/>
                  </a:lnTo>
                  <a:lnTo>
                    <a:pt x="552843" y="590499"/>
                  </a:lnTo>
                  <a:lnTo>
                    <a:pt x="552945" y="590499"/>
                  </a:lnTo>
                  <a:lnTo>
                    <a:pt x="553034" y="589166"/>
                  </a:lnTo>
                  <a:lnTo>
                    <a:pt x="553084" y="589166"/>
                  </a:lnTo>
                  <a:lnTo>
                    <a:pt x="553135" y="590499"/>
                  </a:lnTo>
                  <a:lnTo>
                    <a:pt x="553338" y="590499"/>
                  </a:lnTo>
                  <a:lnTo>
                    <a:pt x="553389" y="591147"/>
                  </a:lnTo>
                  <a:lnTo>
                    <a:pt x="553491" y="591147"/>
                  </a:lnTo>
                  <a:lnTo>
                    <a:pt x="553529" y="591795"/>
                  </a:lnTo>
                  <a:lnTo>
                    <a:pt x="553732" y="591795"/>
                  </a:lnTo>
                  <a:lnTo>
                    <a:pt x="553834" y="590499"/>
                  </a:lnTo>
                  <a:lnTo>
                    <a:pt x="553935" y="588569"/>
                  </a:lnTo>
                  <a:lnTo>
                    <a:pt x="553986" y="587921"/>
                  </a:lnTo>
                  <a:lnTo>
                    <a:pt x="554075" y="587921"/>
                  </a:lnTo>
                  <a:lnTo>
                    <a:pt x="554177" y="588569"/>
                  </a:lnTo>
                  <a:lnTo>
                    <a:pt x="554228" y="589166"/>
                  </a:lnTo>
                  <a:lnTo>
                    <a:pt x="554278" y="589166"/>
                  </a:lnTo>
                  <a:lnTo>
                    <a:pt x="554278" y="588569"/>
                  </a:lnTo>
                  <a:lnTo>
                    <a:pt x="554380" y="587921"/>
                  </a:lnTo>
                  <a:lnTo>
                    <a:pt x="554380" y="587223"/>
                  </a:lnTo>
                  <a:lnTo>
                    <a:pt x="554532" y="587223"/>
                  </a:lnTo>
                  <a:lnTo>
                    <a:pt x="554621" y="586588"/>
                  </a:lnTo>
                  <a:lnTo>
                    <a:pt x="554672" y="587223"/>
                  </a:lnTo>
                  <a:lnTo>
                    <a:pt x="554723" y="587223"/>
                  </a:lnTo>
                  <a:lnTo>
                    <a:pt x="554723" y="587921"/>
                  </a:lnTo>
                  <a:lnTo>
                    <a:pt x="554774" y="588569"/>
                  </a:lnTo>
                  <a:lnTo>
                    <a:pt x="554875" y="589166"/>
                  </a:lnTo>
                  <a:lnTo>
                    <a:pt x="554926" y="589166"/>
                  </a:lnTo>
                  <a:lnTo>
                    <a:pt x="554926" y="588569"/>
                  </a:lnTo>
                  <a:lnTo>
                    <a:pt x="555218" y="588569"/>
                  </a:lnTo>
                  <a:lnTo>
                    <a:pt x="555218" y="589166"/>
                  </a:lnTo>
                  <a:lnTo>
                    <a:pt x="555320" y="588569"/>
                  </a:lnTo>
                  <a:lnTo>
                    <a:pt x="555523" y="588569"/>
                  </a:lnTo>
                  <a:lnTo>
                    <a:pt x="555523" y="589166"/>
                  </a:lnTo>
                  <a:lnTo>
                    <a:pt x="555764" y="589166"/>
                  </a:lnTo>
                  <a:lnTo>
                    <a:pt x="555815" y="588569"/>
                  </a:lnTo>
                  <a:lnTo>
                    <a:pt x="555967" y="588569"/>
                  </a:lnTo>
                  <a:lnTo>
                    <a:pt x="556018" y="589166"/>
                  </a:lnTo>
                  <a:lnTo>
                    <a:pt x="556069" y="589166"/>
                  </a:lnTo>
                  <a:lnTo>
                    <a:pt x="556069" y="588569"/>
                  </a:lnTo>
                  <a:lnTo>
                    <a:pt x="556361" y="588569"/>
                  </a:lnTo>
                  <a:lnTo>
                    <a:pt x="556463" y="589166"/>
                  </a:lnTo>
                  <a:lnTo>
                    <a:pt x="556958" y="589166"/>
                  </a:lnTo>
                  <a:lnTo>
                    <a:pt x="556958" y="588569"/>
                  </a:lnTo>
                  <a:lnTo>
                    <a:pt x="557403" y="588569"/>
                  </a:lnTo>
                  <a:lnTo>
                    <a:pt x="557403" y="587921"/>
                  </a:lnTo>
                  <a:lnTo>
                    <a:pt x="557453" y="587921"/>
                  </a:lnTo>
                  <a:lnTo>
                    <a:pt x="557555" y="588569"/>
                  </a:lnTo>
                  <a:lnTo>
                    <a:pt x="557606" y="588569"/>
                  </a:lnTo>
                  <a:lnTo>
                    <a:pt x="557657" y="589166"/>
                  </a:lnTo>
                  <a:lnTo>
                    <a:pt x="558050" y="589166"/>
                  </a:lnTo>
                  <a:lnTo>
                    <a:pt x="558101" y="590499"/>
                  </a:lnTo>
                  <a:lnTo>
                    <a:pt x="558152" y="589166"/>
                  </a:lnTo>
                  <a:lnTo>
                    <a:pt x="558152" y="590499"/>
                  </a:lnTo>
                  <a:lnTo>
                    <a:pt x="558253" y="589166"/>
                  </a:lnTo>
                  <a:lnTo>
                    <a:pt x="558342" y="589166"/>
                  </a:lnTo>
                  <a:lnTo>
                    <a:pt x="558393" y="590499"/>
                  </a:lnTo>
                  <a:lnTo>
                    <a:pt x="558495" y="589166"/>
                  </a:lnTo>
                  <a:lnTo>
                    <a:pt x="558495" y="590499"/>
                  </a:lnTo>
                  <a:lnTo>
                    <a:pt x="558596" y="590499"/>
                  </a:lnTo>
                  <a:lnTo>
                    <a:pt x="558698" y="591147"/>
                  </a:lnTo>
                  <a:lnTo>
                    <a:pt x="559193" y="591147"/>
                  </a:lnTo>
                  <a:lnTo>
                    <a:pt x="559193" y="591795"/>
                  </a:lnTo>
                  <a:lnTo>
                    <a:pt x="559244" y="591795"/>
                  </a:lnTo>
                  <a:lnTo>
                    <a:pt x="559295" y="591147"/>
                  </a:lnTo>
                  <a:lnTo>
                    <a:pt x="559384" y="591147"/>
                  </a:lnTo>
                  <a:lnTo>
                    <a:pt x="559384" y="591795"/>
                  </a:lnTo>
                  <a:lnTo>
                    <a:pt x="559434" y="591795"/>
                  </a:lnTo>
                  <a:lnTo>
                    <a:pt x="559434" y="592442"/>
                  </a:lnTo>
                  <a:lnTo>
                    <a:pt x="559638" y="592442"/>
                  </a:lnTo>
                  <a:lnTo>
                    <a:pt x="559739" y="591147"/>
                  </a:lnTo>
                  <a:lnTo>
                    <a:pt x="559739" y="590499"/>
                  </a:lnTo>
                  <a:lnTo>
                    <a:pt x="559841" y="590499"/>
                  </a:lnTo>
                  <a:lnTo>
                    <a:pt x="559841" y="589166"/>
                  </a:lnTo>
                  <a:lnTo>
                    <a:pt x="559930" y="589166"/>
                  </a:lnTo>
                  <a:lnTo>
                    <a:pt x="559981" y="590499"/>
                  </a:lnTo>
                  <a:lnTo>
                    <a:pt x="560082" y="589166"/>
                  </a:lnTo>
                  <a:lnTo>
                    <a:pt x="560133" y="590499"/>
                  </a:lnTo>
                  <a:lnTo>
                    <a:pt x="560285" y="590499"/>
                  </a:lnTo>
                  <a:lnTo>
                    <a:pt x="560285" y="589166"/>
                  </a:lnTo>
                  <a:lnTo>
                    <a:pt x="560336" y="588569"/>
                  </a:lnTo>
                  <a:lnTo>
                    <a:pt x="560336" y="587921"/>
                  </a:lnTo>
                  <a:lnTo>
                    <a:pt x="560628" y="587921"/>
                  </a:lnTo>
                  <a:lnTo>
                    <a:pt x="560628" y="588569"/>
                  </a:lnTo>
                  <a:lnTo>
                    <a:pt x="560730" y="588569"/>
                  </a:lnTo>
                  <a:lnTo>
                    <a:pt x="560730" y="589166"/>
                  </a:lnTo>
                  <a:lnTo>
                    <a:pt x="561276" y="589166"/>
                  </a:lnTo>
                  <a:lnTo>
                    <a:pt x="561327" y="590499"/>
                  </a:lnTo>
                  <a:lnTo>
                    <a:pt x="561467" y="590499"/>
                  </a:lnTo>
                  <a:lnTo>
                    <a:pt x="561467" y="589166"/>
                  </a:lnTo>
                  <a:lnTo>
                    <a:pt x="561517" y="590499"/>
                  </a:lnTo>
                  <a:lnTo>
                    <a:pt x="561568" y="590499"/>
                  </a:lnTo>
                  <a:lnTo>
                    <a:pt x="561670" y="589166"/>
                  </a:lnTo>
                  <a:lnTo>
                    <a:pt x="561721" y="589166"/>
                  </a:lnTo>
                  <a:lnTo>
                    <a:pt x="561771" y="590499"/>
                  </a:lnTo>
                  <a:lnTo>
                    <a:pt x="561873" y="589166"/>
                  </a:lnTo>
                  <a:lnTo>
                    <a:pt x="561873" y="590499"/>
                  </a:lnTo>
                  <a:lnTo>
                    <a:pt x="561924" y="589166"/>
                  </a:lnTo>
                  <a:lnTo>
                    <a:pt x="561924" y="590499"/>
                  </a:lnTo>
                  <a:lnTo>
                    <a:pt x="561974" y="590499"/>
                  </a:lnTo>
                  <a:lnTo>
                    <a:pt x="562013" y="589166"/>
                  </a:lnTo>
                  <a:lnTo>
                    <a:pt x="562165" y="589166"/>
                  </a:lnTo>
                  <a:lnTo>
                    <a:pt x="562165" y="590499"/>
                  </a:lnTo>
                  <a:lnTo>
                    <a:pt x="562216" y="589166"/>
                  </a:lnTo>
                  <a:lnTo>
                    <a:pt x="562368" y="589166"/>
                  </a:lnTo>
                  <a:lnTo>
                    <a:pt x="562419" y="588569"/>
                  </a:lnTo>
                  <a:lnTo>
                    <a:pt x="562419" y="589166"/>
                  </a:lnTo>
                  <a:lnTo>
                    <a:pt x="562470" y="589166"/>
                  </a:lnTo>
                  <a:lnTo>
                    <a:pt x="562470" y="588569"/>
                  </a:lnTo>
                  <a:lnTo>
                    <a:pt x="562711" y="588569"/>
                  </a:lnTo>
                  <a:lnTo>
                    <a:pt x="562711" y="589166"/>
                  </a:lnTo>
                  <a:lnTo>
                    <a:pt x="562863" y="589166"/>
                  </a:lnTo>
                  <a:lnTo>
                    <a:pt x="562863" y="590499"/>
                  </a:lnTo>
                  <a:lnTo>
                    <a:pt x="562914" y="590499"/>
                  </a:lnTo>
                  <a:lnTo>
                    <a:pt x="563016" y="589166"/>
                  </a:lnTo>
                  <a:lnTo>
                    <a:pt x="563054" y="589166"/>
                  </a:lnTo>
                  <a:lnTo>
                    <a:pt x="563054" y="588569"/>
                  </a:lnTo>
                  <a:lnTo>
                    <a:pt x="563105" y="589166"/>
                  </a:lnTo>
                  <a:lnTo>
                    <a:pt x="563600" y="589166"/>
                  </a:lnTo>
                  <a:lnTo>
                    <a:pt x="563600" y="590499"/>
                  </a:lnTo>
                  <a:lnTo>
                    <a:pt x="563702" y="589166"/>
                  </a:lnTo>
                  <a:lnTo>
                    <a:pt x="563803" y="589166"/>
                  </a:lnTo>
                  <a:lnTo>
                    <a:pt x="563905" y="590499"/>
                  </a:lnTo>
                  <a:lnTo>
                    <a:pt x="564057" y="590499"/>
                  </a:lnTo>
                  <a:lnTo>
                    <a:pt x="564057" y="591147"/>
                  </a:lnTo>
                  <a:lnTo>
                    <a:pt x="564146" y="591147"/>
                  </a:lnTo>
                  <a:lnTo>
                    <a:pt x="564197" y="590499"/>
                  </a:lnTo>
                  <a:lnTo>
                    <a:pt x="564197" y="591147"/>
                  </a:lnTo>
                  <a:lnTo>
                    <a:pt x="564248" y="590499"/>
                  </a:lnTo>
                  <a:lnTo>
                    <a:pt x="564299" y="591147"/>
                  </a:lnTo>
                  <a:lnTo>
                    <a:pt x="564299" y="590499"/>
                  </a:lnTo>
                  <a:lnTo>
                    <a:pt x="564400" y="591147"/>
                  </a:lnTo>
                  <a:lnTo>
                    <a:pt x="564502" y="591147"/>
                  </a:lnTo>
                  <a:lnTo>
                    <a:pt x="564502" y="590499"/>
                  </a:lnTo>
                  <a:lnTo>
                    <a:pt x="564603" y="590499"/>
                  </a:lnTo>
                  <a:lnTo>
                    <a:pt x="564642" y="591147"/>
                  </a:lnTo>
                  <a:lnTo>
                    <a:pt x="564692" y="591147"/>
                  </a:lnTo>
                  <a:lnTo>
                    <a:pt x="564743" y="590499"/>
                  </a:lnTo>
                  <a:lnTo>
                    <a:pt x="564845" y="591147"/>
                  </a:lnTo>
                  <a:lnTo>
                    <a:pt x="564946" y="591147"/>
                  </a:lnTo>
                  <a:lnTo>
                    <a:pt x="565048" y="591795"/>
                  </a:lnTo>
                  <a:lnTo>
                    <a:pt x="565099" y="591147"/>
                  </a:lnTo>
                  <a:lnTo>
                    <a:pt x="565149" y="591795"/>
                  </a:lnTo>
                  <a:lnTo>
                    <a:pt x="565149" y="591147"/>
                  </a:lnTo>
                  <a:lnTo>
                    <a:pt x="565188" y="591795"/>
                  </a:lnTo>
                  <a:lnTo>
                    <a:pt x="565289" y="591795"/>
                  </a:lnTo>
                  <a:lnTo>
                    <a:pt x="565340" y="592442"/>
                  </a:lnTo>
                  <a:lnTo>
                    <a:pt x="565391" y="592442"/>
                  </a:lnTo>
                  <a:lnTo>
                    <a:pt x="565391" y="591795"/>
                  </a:lnTo>
                  <a:lnTo>
                    <a:pt x="565492" y="592442"/>
                  </a:lnTo>
                  <a:lnTo>
                    <a:pt x="565543" y="592442"/>
                  </a:lnTo>
                  <a:lnTo>
                    <a:pt x="565594" y="593725"/>
                  </a:lnTo>
                  <a:lnTo>
                    <a:pt x="565594" y="592442"/>
                  </a:lnTo>
                  <a:lnTo>
                    <a:pt x="565734" y="592442"/>
                  </a:lnTo>
                  <a:lnTo>
                    <a:pt x="565784" y="591795"/>
                  </a:lnTo>
                  <a:lnTo>
                    <a:pt x="565784" y="591147"/>
                  </a:lnTo>
                  <a:lnTo>
                    <a:pt x="565835" y="591147"/>
                  </a:lnTo>
                  <a:lnTo>
                    <a:pt x="565835" y="589166"/>
                  </a:lnTo>
                  <a:lnTo>
                    <a:pt x="566038" y="589166"/>
                  </a:lnTo>
                  <a:lnTo>
                    <a:pt x="566089" y="590499"/>
                  </a:lnTo>
                  <a:lnTo>
                    <a:pt x="566432" y="590499"/>
                  </a:lnTo>
                  <a:lnTo>
                    <a:pt x="566432" y="589166"/>
                  </a:lnTo>
                  <a:lnTo>
                    <a:pt x="566483" y="588569"/>
                  </a:lnTo>
                  <a:lnTo>
                    <a:pt x="566534" y="587921"/>
                  </a:lnTo>
                  <a:lnTo>
                    <a:pt x="566737" y="587921"/>
                  </a:lnTo>
                  <a:lnTo>
                    <a:pt x="566737" y="588569"/>
                  </a:lnTo>
                  <a:lnTo>
                    <a:pt x="566775" y="588569"/>
                  </a:lnTo>
                  <a:lnTo>
                    <a:pt x="566877" y="589166"/>
                  </a:lnTo>
                  <a:lnTo>
                    <a:pt x="567232" y="589166"/>
                  </a:lnTo>
                  <a:lnTo>
                    <a:pt x="567321" y="590499"/>
                  </a:lnTo>
                  <a:lnTo>
                    <a:pt x="567474" y="590499"/>
                  </a:lnTo>
                  <a:lnTo>
                    <a:pt x="567575" y="591147"/>
                  </a:lnTo>
                  <a:lnTo>
                    <a:pt x="567626" y="590499"/>
                  </a:lnTo>
                  <a:lnTo>
                    <a:pt x="567626" y="591147"/>
                  </a:lnTo>
                  <a:lnTo>
                    <a:pt x="567677" y="591147"/>
                  </a:lnTo>
                  <a:lnTo>
                    <a:pt x="567677" y="590499"/>
                  </a:lnTo>
                  <a:lnTo>
                    <a:pt x="567918" y="590499"/>
                  </a:lnTo>
                  <a:lnTo>
                    <a:pt x="567918" y="589166"/>
                  </a:lnTo>
                  <a:lnTo>
                    <a:pt x="568020" y="589166"/>
                  </a:lnTo>
                  <a:lnTo>
                    <a:pt x="568020" y="590499"/>
                  </a:lnTo>
                  <a:lnTo>
                    <a:pt x="568071" y="589166"/>
                  </a:lnTo>
                  <a:lnTo>
                    <a:pt x="568121" y="589166"/>
                  </a:lnTo>
                  <a:lnTo>
                    <a:pt x="568121" y="590499"/>
                  </a:lnTo>
                  <a:lnTo>
                    <a:pt x="568223" y="589166"/>
                  </a:lnTo>
                  <a:lnTo>
                    <a:pt x="568223" y="590499"/>
                  </a:lnTo>
                  <a:lnTo>
                    <a:pt x="568274" y="590499"/>
                  </a:lnTo>
                  <a:lnTo>
                    <a:pt x="568274" y="589166"/>
                  </a:lnTo>
                  <a:lnTo>
                    <a:pt x="568324" y="590499"/>
                  </a:lnTo>
                  <a:lnTo>
                    <a:pt x="568324" y="589166"/>
                  </a:lnTo>
                  <a:lnTo>
                    <a:pt x="568363" y="590499"/>
                  </a:lnTo>
                  <a:lnTo>
                    <a:pt x="568820" y="590499"/>
                  </a:lnTo>
                  <a:lnTo>
                    <a:pt x="568909" y="589166"/>
                  </a:lnTo>
                  <a:lnTo>
                    <a:pt x="568959" y="589166"/>
                  </a:lnTo>
                  <a:lnTo>
                    <a:pt x="569010" y="588569"/>
                  </a:lnTo>
                  <a:lnTo>
                    <a:pt x="569264" y="588569"/>
                  </a:lnTo>
                  <a:lnTo>
                    <a:pt x="569366" y="589166"/>
                  </a:lnTo>
                  <a:lnTo>
                    <a:pt x="569366" y="588569"/>
                  </a:lnTo>
                  <a:lnTo>
                    <a:pt x="569455" y="588569"/>
                  </a:lnTo>
                  <a:lnTo>
                    <a:pt x="569455" y="589166"/>
                  </a:lnTo>
                  <a:lnTo>
                    <a:pt x="569506" y="589166"/>
                  </a:lnTo>
                  <a:lnTo>
                    <a:pt x="569506" y="590499"/>
                  </a:lnTo>
                  <a:lnTo>
                    <a:pt x="569607" y="590499"/>
                  </a:lnTo>
                  <a:lnTo>
                    <a:pt x="569658" y="589166"/>
                  </a:lnTo>
                  <a:lnTo>
                    <a:pt x="569658" y="590499"/>
                  </a:lnTo>
                  <a:lnTo>
                    <a:pt x="569709" y="589166"/>
                  </a:lnTo>
                  <a:lnTo>
                    <a:pt x="570052" y="589166"/>
                  </a:lnTo>
                  <a:lnTo>
                    <a:pt x="570103" y="588569"/>
                  </a:lnTo>
                  <a:lnTo>
                    <a:pt x="570103" y="589166"/>
                  </a:lnTo>
                  <a:lnTo>
                    <a:pt x="570255" y="589166"/>
                  </a:lnTo>
                  <a:lnTo>
                    <a:pt x="570255" y="590499"/>
                  </a:lnTo>
                  <a:lnTo>
                    <a:pt x="570306" y="589166"/>
                  </a:lnTo>
                  <a:lnTo>
                    <a:pt x="570357" y="589166"/>
                  </a:lnTo>
                  <a:lnTo>
                    <a:pt x="570407" y="590499"/>
                  </a:lnTo>
                  <a:lnTo>
                    <a:pt x="570496" y="591147"/>
                  </a:lnTo>
                  <a:lnTo>
                    <a:pt x="570598" y="591147"/>
                  </a:lnTo>
                  <a:lnTo>
                    <a:pt x="570649" y="590499"/>
                  </a:lnTo>
                  <a:lnTo>
                    <a:pt x="570750" y="590499"/>
                  </a:lnTo>
                  <a:lnTo>
                    <a:pt x="570801" y="591147"/>
                  </a:lnTo>
                  <a:lnTo>
                    <a:pt x="570953" y="591147"/>
                  </a:lnTo>
                  <a:lnTo>
                    <a:pt x="570953" y="590499"/>
                  </a:lnTo>
                  <a:lnTo>
                    <a:pt x="571195" y="590499"/>
                  </a:lnTo>
                  <a:lnTo>
                    <a:pt x="571195" y="591147"/>
                  </a:lnTo>
                  <a:lnTo>
                    <a:pt x="571246" y="591147"/>
                  </a:lnTo>
                  <a:lnTo>
                    <a:pt x="571296" y="591795"/>
                  </a:lnTo>
                  <a:lnTo>
                    <a:pt x="571398" y="591795"/>
                  </a:lnTo>
                  <a:lnTo>
                    <a:pt x="571398" y="592442"/>
                  </a:lnTo>
                  <a:lnTo>
                    <a:pt x="571449" y="591795"/>
                  </a:lnTo>
                  <a:lnTo>
                    <a:pt x="571499" y="592442"/>
                  </a:lnTo>
                  <a:lnTo>
                    <a:pt x="571538" y="592442"/>
                  </a:lnTo>
                  <a:lnTo>
                    <a:pt x="571639" y="591795"/>
                  </a:lnTo>
                  <a:lnTo>
                    <a:pt x="571690" y="591147"/>
                  </a:lnTo>
                  <a:lnTo>
                    <a:pt x="571741" y="591147"/>
                  </a:lnTo>
                  <a:lnTo>
                    <a:pt x="571842" y="590499"/>
                  </a:lnTo>
                  <a:lnTo>
                    <a:pt x="571944" y="590499"/>
                  </a:lnTo>
                  <a:lnTo>
                    <a:pt x="571944" y="591147"/>
                  </a:lnTo>
                  <a:lnTo>
                    <a:pt x="572236" y="591147"/>
                  </a:lnTo>
                  <a:lnTo>
                    <a:pt x="572236" y="590499"/>
                  </a:lnTo>
                  <a:lnTo>
                    <a:pt x="572338" y="589166"/>
                  </a:lnTo>
                  <a:lnTo>
                    <a:pt x="572388" y="588569"/>
                  </a:lnTo>
                  <a:lnTo>
                    <a:pt x="572388" y="587921"/>
                  </a:lnTo>
                  <a:lnTo>
                    <a:pt x="572541" y="587921"/>
                  </a:lnTo>
                  <a:lnTo>
                    <a:pt x="572579" y="588569"/>
                  </a:lnTo>
                  <a:lnTo>
                    <a:pt x="572681" y="588569"/>
                  </a:lnTo>
                  <a:lnTo>
                    <a:pt x="572681" y="589166"/>
                  </a:lnTo>
                  <a:lnTo>
                    <a:pt x="572782" y="589166"/>
                  </a:lnTo>
                  <a:lnTo>
                    <a:pt x="572782" y="590499"/>
                  </a:lnTo>
                  <a:lnTo>
                    <a:pt x="572833" y="591147"/>
                  </a:lnTo>
                  <a:lnTo>
                    <a:pt x="572833" y="590499"/>
                  </a:lnTo>
                  <a:lnTo>
                    <a:pt x="572884" y="591147"/>
                  </a:lnTo>
                  <a:lnTo>
                    <a:pt x="572985" y="590499"/>
                  </a:lnTo>
                  <a:lnTo>
                    <a:pt x="573036" y="590499"/>
                  </a:lnTo>
                  <a:lnTo>
                    <a:pt x="573087" y="589166"/>
                  </a:lnTo>
                  <a:lnTo>
                    <a:pt x="573125" y="590499"/>
                  </a:lnTo>
                  <a:lnTo>
                    <a:pt x="573227" y="590499"/>
                  </a:lnTo>
                  <a:lnTo>
                    <a:pt x="573278" y="591147"/>
                  </a:lnTo>
                  <a:lnTo>
                    <a:pt x="573328" y="591147"/>
                  </a:lnTo>
                  <a:lnTo>
                    <a:pt x="573430" y="590499"/>
                  </a:lnTo>
                  <a:lnTo>
                    <a:pt x="573481" y="591147"/>
                  </a:lnTo>
                  <a:lnTo>
                    <a:pt x="574370" y="591147"/>
                  </a:lnTo>
                  <a:lnTo>
                    <a:pt x="574370" y="590499"/>
                  </a:lnTo>
                  <a:lnTo>
                    <a:pt x="574573" y="590499"/>
                  </a:lnTo>
                  <a:lnTo>
                    <a:pt x="574573" y="591147"/>
                  </a:lnTo>
                  <a:lnTo>
                    <a:pt x="574674" y="591147"/>
                  </a:lnTo>
                  <a:lnTo>
                    <a:pt x="574674" y="590499"/>
                  </a:lnTo>
                  <a:lnTo>
                    <a:pt x="574713" y="591147"/>
                  </a:lnTo>
                  <a:lnTo>
                    <a:pt x="574814" y="590499"/>
                  </a:lnTo>
                  <a:lnTo>
                    <a:pt x="574814" y="591147"/>
                  </a:lnTo>
                  <a:lnTo>
                    <a:pt x="574865" y="590499"/>
                  </a:lnTo>
                  <a:lnTo>
                    <a:pt x="574865" y="591147"/>
                  </a:lnTo>
                  <a:lnTo>
                    <a:pt x="575017" y="591147"/>
                  </a:lnTo>
                  <a:lnTo>
                    <a:pt x="575068" y="590499"/>
                  </a:lnTo>
                  <a:lnTo>
                    <a:pt x="575119" y="591147"/>
                  </a:lnTo>
                  <a:lnTo>
                    <a:pt x="575170" y="590499"/>
                  </a:lnTo>
                  <a:lnTo>
                    <a:pt x="575411" y="590499"/>
                  </a:lnTo>
                  <a:lnTo>
                    <a:pt x="575411" y="591147"/>
                  </a:lnTo>
                  <a:lnTo>
                    <a:pt x="575513" y="591147"/>
                  </a:lnTo>
                  <a:lnTo>
                    <a:pt x="575563" y="590499"/>
                  </a:lnTo>
                  <a:lnTo>
                    <a:pt x="575563" y="591147"/>
                  </a:lnTo>
                  <a:lnTo>
                    <a:pt x="575754" y="591147"/>
                  </a:lnTo>
                  <a:lnTo>
                    <a:pt x="575754" y="591795"/>
                  </a:lnTo>
                  <a:lnTo>
                    <a:pt x="575805" y="591147"/>
                  </a:lnTo>
                  <a:lnTo>
                    <a:pt x="575957" y="591147"/>
                  </a:lnTo>
                  <a:lnTo>
                    <a:pt x="576008" y="590499"/>
                  </a:lnTo>
                  <a:lnTo>
                    <a:pt x="576008" y="591147"/>
                  </a:lnTo>
                  <a:lnTo>
                    <a:pt x="576059" y="591147"/>
                  </a:lnTo>
                  <a:lnTo>
                    <a:pt x="576160" y="591795"/>
                  </a:lnTo>
                  <a:lnTo>
                    <a:pt x="576160" y="591147"/>
                  </a:lnTo>
                  <a:lnTo>
                    <a:pt x="576262" y="591147"/>
                  </a:lnTo>
                  <a:lnTo>
                    <a:pt x="576300" y="590499"/>
                  </a:lnTo>
                  <a:lnTo>
                    <a:pt x="576402" y="591147"/>
                  </a:lnTo>
                  <a:lnTo>
                    <a:pt x="576453" y="591795"/>
                  </a:lnTo>
                  <a:lnTo>
                    <a:pt x="576503" y="591147"/>
                  </a:lnTo>
                  <a:lnTo>
                    <a:pt x="576707" y="591147"/>
                  </a:lnTo>
                  <a:lnTo>
                    <a:pt x="576707" y="591795"/>
                  </a:lnTo>
                  <a:lnTo>
                    <a:pt x="577151" y="591795"/>
                  </a:lnTo>
                  <a:lnTo>
                    <a:pt x="577151" y="592442"/>
                  </a:lnTo>
                  <a:lnTo>
                    <a:pt x="577342" y="592442"/>
                  </a:lnTo>
                  <a:lnTo>
                    <a:pt x="577392" y="593725"/>
                  </a:lnTo>
                  <a:lnTo>
                    <a:pt x="577596" y="593725"/>
                  </a:lnTo>
                  <a:lnTo>
                    <a:pt x="577596" y="592442"/>
                  </a:lnTo>
                  <a:lnTo>
                    <a:pt x="577646" y="592442"/>
                  </a:lnTo>
                  <a:lnTo>
                    <a:pt x="577748" y="591795"/>
                  </a:lnTo>
                  <a:lnTo>
                    <a:pt x="577799" y="591795"/>
                  </a:lnTo>
                  <a:lnTo>
                    <a:pt x="577888" y="590499"/>
                  </a:lnTo>
                  <a:lnTo>
                    <a:pt x="577989" y="589166"/>
                  </a:lnTo>
                  <a:lnTo>
                    <a:pt x="578192" y="589166"/>
                  </a:lnTo>
                  <a:lnTo>
                    <a:pt x="578192" y="590499"/>
                  </a:lnTo>
                  <a:lnTo>
                    <a:pt x="578243" y="590499"/>
                  </a:lnTo>
                  <a:lnTo>
                    <a:pt x="578243" y="591147"/>
                  </a:lnTo>
                  <a:lnTo>
                    <a:pt x="578345" y="591147"/>
                  </a:lnTo>
                  <a:lnTo>
                    <a:pt x="578434" y="589166"/>
                  </a:lnTo>
                  <a:lnTo>
                    <a:pt x="578484" y="589166"/>
                  </a:lnTo>
                  <a:lnTo>
                    <a:pt x="578535" y="588569"/>
                  </a:lnTo>
                  <a:lnTo>
                    <a:pt x="578535" y="589166"/>
                  </a:lnTo>
                  <a:lnTo>
                    <a:pt x="578738" y="589166"/>
                  </a:lnTo>
                  <a:lnTo>
                    <a:pt x="578789" y="588569"/>
                  </a:lnTo>
                  <a:lnTo>
                    <a:pt x="578789" y="589166"/>
                  </a:lnTo>
                  <a:lnTo>
                    <a:pt x="578891" y="589166"/>
                  </a:lnTo>
                  <a:lnTo>
                    <a:pt x="578929" y="590499"/>
                  </a:lnTo>
                  <a:lnTo>
                    <a:pt x="579031" y="590499"/>
                  </a:lnTo>
                  <a:lnTo>
                    <a:pt x="579132" y="591147"/>
                  </a:lnTo>
                  <a:lnTo>
                    <a:pt x="579132" y="590499"/>
                  </a:lnTo>
                  <a:lnTo>
                    <a:pt x="579183" y="590499"/>
                  </a:lnTo>
                  <a:lnTo>
                    <a:pt x="579183" y="591147"/>
                  </a:lnTo>
                  <a:lnTo>
                    <a:pt x="579234" y="591147"/>
                  </a:lnTo>
                  <a:lnTo>
                    <a:pt x="579335" y="591795"/>
                  </a:lnTo>
                  <a:lnTo>
                    <a:pt x="579386" y="591795"/>
                  </a:lnTo>
                  <a:lnTo>
                    <a:pt x="579386" y="591147"/>
                  </a:lnTo>
                  <a:lnTo>
                    <a:pt x="579678" y="591147"/>
                  </a:lnTo>
                  <a:lnTo>
                    <a:pt x="579780" y="590499"/>
                  </a:lnTo>
                  <a:lnTo>
                    <a:pt x="579780" y="591147"/>
                  </a:lnTo>
                  <a:lnTo>
                    <a:pt x="579831" y="590499"/>
                  </a:lnTo>
                  <a:lnTo>
                    <a:pt x="579882" y="590499"/>
                  </a:lnTo>
                  <a:lnTo>
                    <a:pt x="579932" y="591147"/>
                  </a:lnTo>
                  <a:lnTo>
                    <a:pt x="580021" y="590499"/>
                  </a:lnTo>
                  <a:lnTo>
                    <a:pt x="580021" y="591147"/>
                  </a:lnTo>
                  <a:lnTo>
                    <a:pt x="580072" y="590499"/>
                  </a:lnTo>
                  <a:lnTo>
                    <a:pt x="580072" y="591147"/>
                  </a:lnTo>
                  <a:lnTo>
                    <a:pt x="580720" y="591147"/>
                  </a:lnTo>
                  <a:lnTo>
                    <a:pt x="580720" y="590499"/>
                  </a:lnTo>
                  <a:lnTo>
                    <a:pt x="581024" y="590499"/>
                  </a:lnTo>
                  <a:lnTo>
                    <a:pt x="581024" y="589166"/>
                  </a:lnTo>
                  <a:lnTo>
                    <a:pt x="581063" y="589166"/>
                  </a:lnTo>
                  <a:lnTo>
                    <a:pt x="581063" y="590499"/>
                  </a:lnTo>
                  <a:lnTo>
                    <a:pt x="581266" y="590499"/>
                  </a:lnTo>
                  <a:lnTo>
                    <a:pt x="581266" y="591147"/>
                  </a:lnTo>
                  <a:lnTo>
                    <a:pt x="581367" y="591147"/>
                  </a:lnTo>
                  <a:lnTo>
                    <a:pt x="581418" y="590499"/>
                  </a:lnTo>
                  <a:lnTo>
                    <a:pt x="581609" y="590499"/>
                  </a:lnTo>
                  <a:lnTo>
                    <a:pt x="581659" y="589166"/>
                  </a:lnTo>
                  <a:lnTo>
                    <a:pt x="581659" y="590499"/>
                  </a:lnTo>
                  <a:lnTo>
                    <a:pt x="581964" y="590499"/>
                  </a:lnTo>
                  <a:lnTo>
                    <a:pt x="582066" y="589166"/>
                  </a:lnTo>
                  <a:lnTo>
                    <a:pt x="582104" y="590499"/>
                  </a:lnTo>
                  <a:lnTo>
                    <a:pt x="582206" y="590499"/>
                  </a:lnTo>
                  <a:lnTo>
                    <a:pt x="582307" y="591147"/>
                  </a:lnTo>
                  <a:lnTo>
                    <a:pt x="582510" y="591147"/>
                  </a:lnTo>
                  <a:lnTo>
                    <a:pt x="582510" y="590499"/>
                  </a:lnTo>
                  <a:lnTo>
                    <a:pt x="582612" y="590499"/>
                  </a:lnTo>
                  <a:lnTo>
                    <a:pt x="582612" y="591147"/>
                  </a:lnTo>
                  <a:lnTo>
                    <a:pt x="583057" y="591147"/>
                  </a:lnTo>
                  <a:lnTo>
                    <a:pt x="583057" y="591795"/>
                  </a:lnTo>
                  <a:lnTo>
                    <a:pt x="583196" y="591795"/>
                  </a:lnTo>
                  <a:lnTo>
                    <a:pt x="583247" y="592442"/>
                  </a:lnTo>
                  <a:lnTo>
                    <a:pt x="583450" y="592442"/>
                  </a:lnTo>
                  <a:lnTo>
                    <a:pt x="583501" y="593725"/>
                  </a:lnTo>
                  <a:lnTo>
                    <a:pt x="583552" y="592442"/>
                  </a:lnTo>
                  <a:lnTo>
                    <a:pt x="583653" y="591795"/>
                  </a:lnTo>
                  <a:lnTo>
                    <a:pt x="583653" y="591147"/>
                  </a:lnTo>
                  <a:lnTo>
                    <a:pt x="583692" y="590499"/>
                  </a:lnTo>
                  <a:lnTo>
                    <a:pt x="583742" y="589166"/>
                  </a:lnTo>
                  <a:lnTo>
                    <a:pt x="583793" y="590499"/>
                  </a:lnTo>
                  <a:lnTo>
                    <a:pt x="583793" y="589166"/>
                  </a:lnTo>
                  <a:lnTo>
                    <a:pt x="583996" y="589166"/>
                  </a:lnTo>
                  <a:lnTo>
                    <a:pt x="584098" y="590499"/>
                  </a:lnTo>
                  <a:lnTo>
                    <a:pt x="584199" y="590499"/>
                  </a:lnTo>
                  <a:lnTo>
                    <a:pt x="584199" y="589166"/>
                  </a:lnTo>
                  <a:lnTo>
                    <a:pt x="584238" y="588569"/>
                  </a:lnTo>
                  <a:lnTo>
                    <a:pt x="584542" y="588569"/>
                  </a:lnTo>
                  <a:lnTo>
                    <a:pt x="584542" y="589166"/>
                  </a:lnTo>
                  <a:lnTo>
                    <a:pt x="584593" y="589166"/>
                  </a:lnTo>
                  <a:lnTo>
                    <a:pt x="584593" y="588569"/>
                  </a:lnTo>
                  <a:lnTo>
                    <a:pt x="584644" y="588569"/>
                  </a:lnTo>
                  <a:lnTo>
                    <a:pt x="584644" y="587921"/>
                  </a:lnTo>
                  <a:lnTo>
                    <a:pt x="584695" y="588569"/>
                  </a:lnTo>
                  <a:lnTo>
                    <a:pt x="584695" y="589166"/>
                  </a:lnTo>
                  <a:lnTo>
                    <a:pt x="584936" y="589166"/>
                  </a:lnTo>
                  <a:lnTo>
                    <a:pt x="585038" y="590499"/>
                  </a:lnTo>
                  <a:lnTo>
                    <a:pt x="585533" y="590499"/>
                  </a:lnTo>
                  <a:lnTo>
                    <a:pt x="585533" y="591147"/>
                  </a:lnTo>
                  <a:lnTo>
                    <a:pt x="585584" y="590499"/>
                  </a:lnTo>
                  <a:lnTo>
                    <a:pt x="585825" y="590499"/>
                  </a:lnTo>
                  <a:lnTo>
                    <a:pt x="585927" y="591147"/>
                  </a:lnTo>
                  <a:lnTo>
                    <a:pt x="585927" y="590499"/>
                  </a:lnTo>
                  <a:lnTo>
                    <a:pt x="586028" y="590499"/>
                  </a:lnTo>
                  <a:lnTo>
                    <a:pt x="586028" y="589166"/>
                  </a:lnTo>
                  <a:lnTo>
                    <a:pt x="586232" y="589166"/>
                  </a:lnTo>
                  <a:lnTo>
                    <a:pt x="586232" y="590499"/>
                  </a:lnTo>
                  <a:lnTo>
                    <a:pt x="586371" y="590499"/>
                  </a:lnTo>
                  <a:lnTo>
                    <a:pt x="586371" y="591147"/>
                  </a:lnTo>
                  <a:lnTo>
                    <a:pt x="586422" y="590499"/>
                  </a:lnTo>
                  <a:lnTo>
                    <a:pt x="586625" y="590499"/>
                  </a:lnTo>
                  <a:lnTo>
                    <a:pt x="586676" y="589166"/>
                  </a:lnTo>
                  <a:lnTo>
                    <a:pt x="586917" y="589166"/>
                  </a:lnTo>
                  <a:lnTo>
                    <a:pt x="586968" y="590499"/>
                  </a:lnTo>
                  <a:lnTo>
                    <a:pt x="586968" y="589166"/>
                  </a:lnTo>
                  <a:lnTo>
                    <a:pt x="587070" y="589166"/>
                  </a:lnTo>
                  <a:lnTo>
                    <a:pt x="587121" y="590499"/>
                  </a:lnTo>
                  <a:lnTo>
                    <a:pt x="587171" y="590499"/>
                  </a:lnTo>
                  <a:lnTo>
                    <a:pt x="587273" y="591147"/>
                  </a:lnTo>
                  <a:lnTo>
                    <a:pt x="587273" y="590499"/>
                  </a:lnTo>
                  <a:lnTo>
                    <a:pt x="587324" y="590499"/>
                  </a:lnTo>
                  <a:lnTo>
                    <a:pt x="587374" y="589166"/>
                  </a:lnTo>
                  <a:lnTo>
                    <a:pt x="587374" y="590499"/>
                  </a:lnTo>
                  <a:lnTo>
                    <a:pt x="587413" y="589166"/>
                  </a:lnTo>
                  <a:lnTo>
                    <a:pt x="587413" y="590499"/>
                  </a:lnTo>
                  <a:lnTo>
                    <a:pt x="587514" y="589166"/>
                  </a:lnTo>
                  <a:lnTo>
                    <a:pt x="587565" y="590499"/>
                  </a:lnTo>
                  <a:lnTo>
                    <a:pt x="587616" y="589166"/>
                  </a:lnTo>
                  <a:lnTo>
                    <a:pt x="587616" y="590499"/>
                  </a:lnTo>
                  <a:lnTo>
                    <a:pt x="588009" y="590499"/>
                  </a:lnTo>
                  <a:lnTo>
                    <a:pt x="588009" y="591147"/>
                  </a:lnTo>
                  <a:lnTo>
                    <a:pt x="588060" y="590499"/>
                  </a:lnTo>
                  <a:lnTo>
                    <a:pt x="588314" y="590499"/>
                  </a:lnTo>
                  <a:lnTo>
                    <a:pt x="588314" y="591147"/>
                  </a:lnTo>
                  <a:lnTo>
                    <a:pt x="588416" y="591147"/>
                  </a:lnTo>
                  <a:lnTo>
                    <a:pt x="588416" y="590499"/>
                  </a:lnTo>
                  <a:lnTo>
                    <a:pt x="588454" y="591147"/>
                  </a:lnTo>
                  <a:lnTo>
                    <a:pt x="588505" y="591147"/>
                  </a:lnTo>
                  <a:lnTo>
                    <a:pt x="588505" y="590499"/>
                  </a:lnTo>
                  <a:lnTo>
                    <a:pt x="588556" y="591147"/>
                  </a:lnTo>
                  <a:lnTo>
                    <a:pt x="588962" y="591147"/>
                  </a:lnTo>
                  <a:lnTo>
                    <a:pt x="589000" y="591795"/>
                  </a:lnTo>
                  <a:lnTo>
                    <a:pt x="589102" y="591795"/>
                  </a:lnTo>
                  <a:lnTo>
                    <a:pt x="589153" y="592442"/>
                  </a:lnTo>
                  <a:lnTo>
                    <a:pt x="589203" y="592442"/>
                  </a:lnTo>
                  <a:lnTo>
                    <a:pt x="589203" y="593725"/>
                  </a:lnTo>
                  <a:lnTo>
                    <a:pt x="589305" y="592442"/>
                  </a:lnTo>
                  <a:lnTo>
                    <a:pt x="589356" y="592442"/>
                  </a:lnTo>
                  <a:lnTo>
                    <a:pt x="589407" y="591795"/>
                  </a:lnTo>
                  <a:lnTo>
                    <a:pt x="589457" y="591795"/>
                  </a:lnTo>
                  <a:lnTo>
                    <a:pt x="589546" y="592442"/>
                  </a:lnTo>
                  <a:lnTo>
                    <a:pt x="589546" y="591795"/>
                  </a:lnTo>
                  <a:lnTo>
                    <a:pt x="589597" y="591795"/>
                  </a:lnTo>
                  <a:lnTo>
                    <a:pt x="589597" y="591147"/>
                  </a:lnTo>
                  <a:lnTo>
                    <a:pt x="589648" y="590499"/>
                  </a:lnTo>
                  <a:lnTo>
                    <a:pt x="589699" y="589166"/>
                  </a:lnTo>
                  <a:lnTo>
                    <a:pt x="589699" y="588569"/>
                  </a:lnTo>
                  <a:lnTo>
                    <a:pt x="589851" y="588569"/>
                  </a:lnTo>
                  <a:lnTo>
                    <a:pt x="589902" y="587921"/>
                  </a:lnTo>
                  <a:lnTo>
                    <a:pt x="590003" y="588569"/>
                  </a:lnTo>
                  <a:lnTo>
                    <a:pt x="590042" y="588569"/>
                  </a:lnTo>
                  <a:lnTo>
                    <a:pt x="590042" y="589166"/>
                  </a:lnTo>
                  <a:lnTo>
                    <a:pt x="590296" y="589166"/>
                  </a:lnTo>
                  <a:lnTo>
                    <a:pt x="590346" y="588569"/>
                  </a:lnTo>
                  <a:lnTo>
                    <a:pt x="590448" y="588569"/>
                  </a:lnTo>
                  <a:lnTo>
                    <a:pt x="590499" y="587921"/>
                  </a:lnTo>
                  <a:lnTo>
                    <a:pt x="590588" y="587921"/>
                  </a:lnTo>
                  <a:lnTo>
                    <a:pt x="590689" y="588569"/>
                  </a:lnTo>
                  <a:lnTo>
                    <a:pt x="590689" y="587921"/>
                  </a:lnTo>
                  <a:lnTo>
                    <a:pt x="590740" y="587921"/>
                  </a:lnTo>
                  <a:lnTo>
                    <a:pt x="590791" y="588569"/>
                  </a:lnTo>
                  <a:lnTo>
                    <a:pt x="590892" y="589166"/>
                  </a:lnTo>
                  <a:lnTo>
                    <a:pt x="590994" y="589166"/>
                  </a:lnTo>
                  <a:lnTo>
                    <a:pt x="590994" y="590499"/>
                  </a:lnTo>
                  <a:lnTo>
                    <a:pt x="591286" y="590499"/>
                  </a:lnTo>
                  <a:lnTo>
                    <a:pt x="591286" y="589166"/>
                  </a:lnTo>
                  <a:lnTo>
                    <a:pt x="591438" y="589166"/>
                  </a:lnTo>
                  <a:lnTo>
                    <a:pt x="591489" y="590499"/>
                  </a:lnTo>
                  <a:lnTo>
                    <a:pt x="591591" y="589166"/>
                  </a:lnTo>
                  <a:lnTo>
                    <a:pt x="591629" y="590499"/>
                  </a:lnTo>
                  <a:lnTo>
                    <a:pt x="591680" y="590499"/>
                  </a:lnTo>
                  <a:lnTo>
                    <a:pt x="591680" y="589166"/>
                  </a:lnTo>
                  <a:lnTo>
                    <a:pt x="591731" y="589166"/>
                  </a:lnTo>
                  <a:lnTo>
                    <a:pt x="591832" y="588569"/>
                  </a:lnTo>
                  <a:lnTo>
                    <a:pt x="591832" y="589166"/>
                  </a:lnTo>
                  <a:lnTo>
                    <a:pt x="591883" y="589166"/>
                  </a:lnTo>
                  <a:lnTo>
                    <a:pt x="591883" y="588569"/>
                  </a:lnTo>
                  <a:lnTo>
                    <a:pt x="591934" y="588569"/>
                  </a:lnTo>
                  <a:lnTo>
                    <a:pt x="591934" y="589166"/>
                  </a:lnTo>
                  <a:lnTo>
                    <a:pt x="592035" y="589166"/>
                  </a:lnTo>
                  <a:lnTo>
                    <a:pt x="592086" y="590499"/>
                  </a:lnTo>
                  <a:lnTo>
                    <a:pt x="592137" y="590499"/>
                  </a:lnTo>
                  <a:lnTo>
                    <a:pt x="592175" y="591147"/>
                  </a:lnTo>
                  <a:lnTo>
                    <a:pt x="592277" y="591147"/>
                  </a:lnTo>
                  <a:lnTo>
                    <a:pt x="592328" y="590499"/>
                  </a:lnTo>
                  <a:lnTo>
                    <a:pt x="592328" y="591147"/>
                  </a:lnTo>
                  <a:lnTo>
                    <a:pt x="592378" y="590499"/>
                  </a:lnTo>
                  <a:lnTo>
                    <a:pt x="592480" y="590499"/>
                  </a:lnTo>
                  <a:lnTo>
                    <a:pt x="592531" y="589166"/>
                  </a:lnTo>
                  <a:lnTo>
                    <a:pt x="592632" y="589166"/>
                  </a:lnTo>
                  <a:lnTo>
                    <a:pt x="592721" y="588569"/>
                  </a:lnTo>
                  <a:lnTo>
                    <a:pt x="592823" y="588569"/>
                  </a:lnTo>
                  <a:lnTo>
                    <a:pt x="592823" y="589166"/>
                  </a:lnTo>
                  <a:lnTo>
                    <a:pt x="592874" y="589166"/>
                  </a:lnTo>
                  <a:lnTo>
                    <a:pt x="592874" y="588569"/>
                  </a:lnTo>
                  <a:lnTo>
                    <a:pt x="593077" y="588569"/>
                  </a:lnTo>
                  <a:lnTo>
                    <a:pt x="593077" y="589166"/>
                  </a:lnTo>
                  <a:lnTo>
                    <a:pt x="593178" y="589166"/>
                  </a:lnTo>
                  <a:lnTo>
                    <a:pt x="593178" y="590499"/>
                  </a:lnTo>
                  <a:lnTo>
                    <a:pt x="593217" y="590499"/>
                  </a:lnTo>
                  <a:lnTo>
                    <a:pt x="593267" y="589166"/>
                  </a:lnTo>
                  <a:lnTo>
                    <a:pt x="593763" y="589166"/>
                  </a:lnTo>
                  <a:lnTo>
                    <a:pt x="593763" y="590499"/>
                  </a:lnTo>
                  <a:lnTo>
                    <a:pt x="593864" y="589166"/>
                  </a:lnTo>
                  <a:lnTo>
                    <a:pt x="593915" y="590499"/>
                  </a:lnTo>
                  <a:lnTo>
                    <a:pt x="593966" y="589166"/>
                  </a:lnTo>
                  <a:lnTo>
                    <a:pt x="593966" y="590499"/>
                  </a:lnTo>
                  <a:lnTo>
                    <a:pt x="594067" y="589166"/>
                  </a:lnTo>
                  <a:lnTo>
                    <a:pt x="594118" y="589166"/>
                  </a:lnTo>
                  <a:lnTo>
                    <a:pt x="594169" y="590499"/>
                  </a:lnTo>
                  <a:lnTo>
                    <a:pt x="594461" y="590499"/>
                  </a:lnTo>
                  <a:lnTo>
                    <a:pt x="594563" y="591147"/>
                  </a:lnTo>
                  <a:lnTo>
                    <a:pt x="594563" y="590499"/>
                  </a:lnTo>
                  <a:lnTo>
                    <a:pt x="594613" y="590499"/>
                  </a:lnTo>
                  <a:lnTo>
                    <a:pt x="594613" y="591147"/>
                  </a:lnTo>
                  <a:lnTo>
                    <a:pt x="595007" y="591147"/>
                  </a:lnTo>
                  <a:lnTo>
                    <a:pt x="595058" y="591795"/>
                  </a:lnTo>
                  <a:lnTo>
                    <a:pt x="595210" y="591795"/>
                  </a:lnTo>
                  <a:lnTo>
                    <a:pt x="595210" y="592442"/>
                  </a:lnTo>
                  <a:lnTo>
                    <a:pt x="595503" y="592442"/>
                  </a:lnTo>
                  <a:lnTo>
                    <a:pt x="595553" y="591795"/>
                  </a:lnTo>
                  <a:lnTo>
                    <a:pt x="595655" y="591147"/>
                  </a:lnTo>
                  <a:lnTo>
                    <a:pt x="595655" y="590499"/>
                  </a:lnTo>
                  <a:lnTo>
                    <a:pt x="595706" y="589166"/>
                  </a:lnTo>
                  <a:lnTo>
                    <a:pt x="595757" y="588569"/>
                  </a:lnTo>
                  <a:lnTo>
                    <a:pt x="595947" y="588569"/>
                  </a:lnTo>
                  <a:lnTo>
                    <a:pt x="595947" y="589166"/>
                  </a:lnTo>
                  <a:lnTo>
                    <a:pt x="595998" y="589166"/>
                  </a:lnTo>
                  <a:lnTo>
                    <a:pt x="596049" y="590499"/>
                  </a:lnTo>
                  <a:lnTo>
                    <a:pt x="596150" y="591147"/>
                  </a:lnTo>
                  <a:lnTo>
                    <a:pt x="596201" y="591147"/>
                  </a:lnTo>
                  <a:lnTo>
                    <a:pt x="596201" y="590499"/>
                  </a:lnTo>
                  <a:lnTo>
                    <a:pt x="596252" y="589166"/>
                  </a:lnTo>
                  <a:lnTo>
                    <a:pt x="596252" y="588569"/>
                  </a:lnTo>
                  <a:lnTo>
                    <a:pt x="596353" y="588569"/>
                  </a:lnTo>
                  <a:lnTo>
                    <a:pt x="596392" y="589166"/>
                  </a:lnTo>
                  <a:lnTo>
                    <a:pt x="596392" y="588569"/>
                  </a:lnTo>
                  <a:lnTo>
                    <a:pt x="596595" y="588569"/>
                  </a:lnTo>
                  <a:lnTo>
                    <a:pt x="596595" y="589166"/>
                  </a:lnTo>
                  <a:lnTo>
                    <a:pt x="596798" y="589166"/>
                  </a:lnTo>
                  <a:lnTo>
                    <a:pt x="596849" y="590499"/>
                  </a:lnTo>
                  <a:lnTo>
                    <a:pt x="597141" y="590499"/>
                  </a:lnTo>
                  <a:lnTo>
                    <a:pt x="597242" y="589166"/>
                  </a:lnTo>
                  <a:lnTo>
                    <a:pt x="597293" y="590499"/>
                  </a:lnTo>
                  <a:lnTo>
                    <a:pt x="597941" y="590499"/>
                  </a:lnTo>
                  <a:lnTo>
                    <a:pt x="597941" y="589166"/>
                  </a:lnTo>
                  <a:lnTo>
                    <a:pt x="597979" y="589166"/>
                  </a:lnTo>
                  <a:lnTo>
                    <a:pt x="597979" y="590499"/>
                  </a:lnTo>
                  <a:lnTo>
                    <a:pt x="598030" y="589166"/>
                  </a:lnTo>
                  <a:lnTo>
                    <a:pt x="598030" y="590499"/>
                  </a:lnTo>
                  <a:lnTo>
                    <a:pt x="598182" y="590499"/>
                  </a:lnTo>
                  <a:lnTo>
                    <a:pt x="598233" y="589166"/>
                  </a:lnTo>
                  <a:lnTo>
                    <a:pt x="598385" y="589166"/>
                  </a:lnTo>
                  <a:lnTo>
                    <a:pt x="598385" y="590499"/>
                  </a:lnTo>
                  <a:lnTo>
                    <a:pt x="598436" y="589166"/>
                  </a:lnTo>
                  <a:lnTo>
                    <a:pt x="598487" y="590499"/>
                  </a:lnTo>
                  <a:lnTo>
                    <a:pt x="598487" y="589166"/>
                  </a:lnTo>
                  <a:lnTo>
                    <a:pt x="598627" y="589166"/>
                  </a:lnTo>
                  <a:lnTo>
                    <a:pt x="598627" y="588569"/>
                  </a:lnTo>
                  <a:lnTo>
                    <a:pt x="598678" y="589166"/>
                  </a:lnTo>
                  <a:lnTo>
                    <a:pt x="598678" y="588569"/>
                  </a:lnTo>
                  <a:lnTo>
                    <a:pt x="598830" y="588569"/>
                  </a:lnTo>
                  <a:lnTo>
                    <a:pt x="598881" y="589166"/>
                  </a:lnTo>
                  <a:lnTo>
                    <a:pt x="599071" y="589166"/>
                  </a:lnTo>
                  <a:lnTo>
                    <a:pt x="599122" y="590499"/>
                  </a:lnTo>
                  <a:lnTo>
                    <a:pt x="599173" y="590499"/>
                  </a:lnTo>
                  <a:lnTo>
                    <a:pt x="599173" y="589166"/>
                  </a:lnTo>
                  <a:lnTo>
                    <a:pt x="599325" y="589166"/>
                  </a:lnTo>
                  <a:lnTo>
                    <a:pt x="599325" y="590499"/>
                  </a:lnTo>
                  <a:lnTo>
                    <a:pt x="599567" y="590499"/>
                  </a:lnTo>
                  <a:lnTo>
                    <a:pt x="599567" y="589166"/>
                  </a:lnTo>
                  <a:lnTo>
                    <a:pt x="599617" y="590499"/>
                  </a:lnTo>
                  <a:lnTo>
                    <a:pt x="599668" y="590499"/>
                  </a:lnTo>
                  <a:lnTo>
                    <a:pt x="599770" y="591147"/>
                  </a:lnTo>
                  <a:lnTo>
                    <a:pt x="599770" y="590499"/>
                  </a:lnTo>
                  <a:lnTo>
                    <a:pt x="599871" y="590499"/>
                  </a:lnTo>
                  <a:lnTo>
                    <a:pt x="599871" y="589166"/>
                  </a:lnTo>
                  <a:lnTo>
                    <a:pt x="599973" y="589166"/>
                  </a:lnTo>
                  <a:lnTo>
                    <a:pt x="600024" y="590499"/>
                  </a:lnTo>
                  <a:lnTo>
                    <a:pt x="600316" y="590499"/>
                  </a:lnTo>
                  <a:lnTo>
                    <a:pt x="600417" y="591147"/>
                  </a:lnTo>
                  <a:lnTo>
                    <a:pt x="600417" y="590499"/>
                  </a:lnTo>
                  <a:lnTo>
                    <a:pt x="600519" y="590499"/>
                  </a:lnTo>
                  <a:lnTo>
                    <a:pt x="600519" y="591147"/>
                  </a:lnTo>
                  <a:lnTo>
                    <a:pt x="600570" y="590499"/>
                  </a:lnTo>
                  <a:lnTo>
                    <a:pt x="600659" y="591147"/>
                  </a:lnTo>
                  <a:lnTo>
                    <a:pt x="600709" y="591147"/>
                  </a:lnTo>
                  <a:lnTo>
                    <a:pt x="600709" y="590499"/>
                  </a:lnTo>
                  <a:lnTo>
                    <a:pt x="600760" y="590499"/>
                  </a:lnTo>
                  <a:lnTo>
                    <a:pt x="600760" y="591147"/>
                  </a:lnTo>
                  <a:lnTo>
                    <a:pt x="600963" y="591147"/>
                  </a:lnTo>
                  <a:lnTo>
                    <a:pt x="601014" y="591795"/>
                  </a:lnTo>
                  <a:lnTo>
                    <a:pt x="601116" y="591795"/>
                  </a:lnTo>
                  <a:lnTo>
                    <a:pt x="601116" y="592442"/>
                  </a:lnTo>
                  <a:lnTo>
                    <a:pt x="601611" y="592442"/>
                  </a:lnTo>
                  <a:lnTo>
                    <a:pt x="601611" y="591795"/>
                  </a:lnTo>
                  <a:lnTo>
                    <a:pt x="601662" y="591147"/>
                  </a:lnTo>
                  <a:lnTo>
                    <a:pt x="601662" y="590499"/>
                  </a:lnTo>
                  <a:lnTo>
                    <a:pt x="601700" y="589166"/>
                  </a:lnTo>
                  <a:lnTo>
                    <a:pt x="601700" y="588569"/>
                  </a:lnTo>
                  <a:lnTo>
                    <a:pt x="601903" y="588569"/>
                  </a:lnTo>
                  <a:lnTo>
                    <a:pt x="601903" y="589166"/>
                  </a:lnTo>
                  <a:lnTo>
                    <a:pt x="602157" y="589166"/>
                  </a:lnTo>
                  <a:lnTo>
                    <a:pt x="602157" y="588569"/>
                  </a:lnTo>
                  <a:lnTo>
                    <a:pt x="602246" y="588569"/>
                  </a:lnTo>
                  <a:lnTo>
                    <a:pt x="602246" y="587223"/>
                  </a:lnTo>
                  <a:lnTo>
                    <a:pt x="602297" y="587921"/>
                  </a:lnTo>
                  <a:lnTo>
                    <a:pt x="602297" y="587223"/>
                  </a:lnTo>
                  <a:lnTo>
                    <a:pt x="602399" y="587223"/>
                  </a:lnTo>
                  <a:lnTo>
                    <a:pt x="602500" y="587921"/>
                  </a:lnTo>
                  <a:lnTo>
                    <a:pt x="602602" y="587921"/>
                  </a:lnTo>
                  <a:lnTo>
                    <a:pt x="602602" y="588569"/>
                  </a:lnTo>
                  <a:lnTo>
                    <a:pt x="602843" y="588569"/>
                  </a:lnTo>
                  <a:lnTo>
                    <a:pt x="602843" y="589166"/>
                  </a:lnTo>
                  <a:lnTo>
                    <a:pt x="603249" y="589166"/>
                  </a:lnTo>
                  <a:lnTo>
                    <a:pt x="603249" y="590499"/>
                  </a:lnTo>
                  <a:lnTo>
                    <a:pt x="603288" y="589166"/>
                  </a:lnTo>
                  <a:lnTo>
                    <a:pt x="603440" y="589166"/>
                  </a:lnTo>
                  <a:lnTo>
                    <a:pt x="603491" y="590499"/>
                  </a:lnTo>
                  <a:lnTo>
                    <a:pt x="603643" y="590499"/>
                  </a:lnTo>
                  <a:lnTo>
                    <a:pt x="603694" y="589166"/>
                  </a:lnTo>
                  <a:lnTo>
                    <a:pt x="603694" y="590499"/>
                  </a:lnTo>
                  <a:lnTo>
                    <a:pt x="603745" y="589166"/>
                  </a:lnTo>
                  <a:lnTo>
                    <a:pt x="603986" y="589166"/>
                  </a:lnTo>
                  <a:lnTo>
                    <a:pt x="603986" y="590499"/>
                  </a:lnTo>
                  <a:lnTo>
                    <a:pt x="604088" y="590499"/>
                  </a:lnTo>
                  <a:lnTo>
                    <a:pt x="604138" y="591147"/>
                  </a:lnTo>
                  <a:lnTo>
                    <a:pt x="604189" y="590499"/>
                  </a:lnTo>
                  <a:lnTo>
                    <a:pt x="604291" y="590499"/>
                  </a:lnTo>
                  <a:lnTo>
                    <a:pt x="604329" y="589166"/>
                  </a:lnTo>
                  <a:lnTo>
                    <a:pt x="604380" y="589166"/>
                  </a:lnTo>
                  <a:lnTo>
                    <a:pt x="604380" y="588569"/>
                  </a:lnTo>
                  <a:lnTo>
                    <a:pt x="604634" y="588569"/>
                  </a:lnTo>
                  <a:lnTo>
                    <a:pt x="604735" y="589166"/>
                  </a:lnTo>
                  <a:lnTo>
                    <a:pt x="604786" y="589166"/>
                  </a:lnTo>
                  <a:lnTo>
                    <a:pt x="604837" y="588569"/>
                  </a:lnTo>
                  <a:lnTo>
                    <a:pt x="604875" y="589166"/>
                  </a:lnTo>
                  <a:lnTo>
                    <a:pt x="604875" y="588569"/>
                  </a:lnTo>
                  <a:lnTo>
                    <a:pt x="604977" y="589166"/>
                  </a:lnTo>
                  <a:lnTo>
                    <a:pt x="605574" y="589166"/>
                  </a:lnTo>
                  <a:lnTo>
                    <a:pt x="605574" y="588569"/>
                  </a:lnTo>
                  <a:lnTo>
                    <a:pt x="605726" y="588569"/>
                  </a:lnTo>
                  <a:lnTo>
                    <a:pt x="605777" y="589166"/>
                  </a:lnTo>
                  <a:lnTo>
                    <a:pt x="605878" y="589166"/>
                  </a:lnTo>
                  <a:lnTo>
                    <a:pt x="605917" y="590499"/>
                  </a:lnTo>
                  <a:lnTo>
                    <a:pt x="606018" y="590499"/>
                  </a:lnTo>
                  <a:lnTo>
                    <a:pt x="606120" y="589166"/>
                  </a:lnTo>
                  <a:lnTo>
                    <a:pt x="606120" y="590499"/>
                  </a:lnTo>
                  <a:lnTo>
                    <a:pt x="606171" y="590499"/>
                  </a:lnTo>
                  <a:lnTo>
                    <a:pt x="606171" y="589166"/>
                  </a:lnTo>
                  <a:lnTo>
                    <a:pt x="606221" y="590499"/>
                  </a:lnTo>
                  <a:lnTo>
                    <a:pt x="606323" y="589166"/>
                  </a:lnTo>
                  <a:lnTo>
                    <a:pt x="606424" y="589166"/>
                  </a:lnTo>
                  <a:lnTo>
                    <a:pt x="606463" y="590499"/>
                  </a:lnTo>
                  <a:lnTo>
                    <a:pt x="606564" y="590499"/>
                  </a:lnTo>
                  <a:lnTo>
                    <a:pt x="606615" y="591147"/>
                  </a:lnTo>
                  <a:lnTo>
                    <a:pt x="606615" y="590499"/>
                  </a:lnTo>
                  <a:lnTo>
                    <a:pt x="606818" y="590499"/>
                  </a:lnTo>
                  <a:lnTo>
                    <a:pt x="606869" y="591147"/>
                  </a:lnTo>
                  <a:lnTo>
                    <a:pt x="606920" y="591147"/>
                  </a:lnTo>
                  <a:lnTo>
                    <a:pt x="607009" y="591795"/>
                  </a:lnTo>
                  <a:lnTo>
                    <a:pt x="607110" y="591795"/>
                  </a:lnTo>
                  <a:lnTo>
                    <a:pt x="607110" y="592442"/>
                  </a:lnTo>
                  <a:lnTo>
                    <a:pt x="607161" y="592442"/>
                  </a:lnTo>
                  <a:lnTo>
                    <a:pt x="607161" y="591795"/>
                  </a:lnTo>
                  <a:lnTo>
                    <a:pt x="607466" y="591795"/>
                  </a:lnTo>
                  <a:lnTo>
                    <a:pt x="607555" y="590499"/>
                  </a:lnTo>
                  <a:lnTo>
                    <a:pt x="607606" y="590499"/>
                  </a:lnTo>
                  <a:lnTo>
                    <a:pt x="607707" y="589166"/>
                  </a:lnTo>
                  <a:lnTo>
                    <a:pt x="607758" y="589166"/>
                  </a:lnTo>
                  <a:lnTo>
                    <a:pt x="607809" y="588569"/>
                  </a:lnTo>
                  <a:lnTo>
                    <a:pt x="607910" y="589166"/>
                  </a:lnTo>
                  <a:lnTo>
                    <a:pt x="608012" y="589166"/>
                  </a:lnTo>
                  <a:lnTo>
                    <a:pt x="608050" y="590499"/>
                  </a:lnTo>
                  <a:lnTo>
                    <a:pt x="608152" y="591147"/>
                  </a:lnTo>
                  <a:lnTo>
                    <a:pt x="608203" y="590499"/>
                  </a:lnTo>
                  <a:lnTo>
                    <a:pt x="608203" y="589166"/>
                  </a:lnTo>
                  <a:lnTo>
                    <a:pt x="608253" y="588569"/>
                  </a:lnTo>
                  <a:lnTo>
                    <a:pt x="608253" y="587921"/>
                  </a:lnTo>
                  <a:lnTo>
                    <a:pt x="608355" y="587223"/>
                  </a:lnTo>
                  <a:lnTo>
                    <a:pt x="608406" y="587921"/>
                  </a:lnTo>
                  <a:lnTo>
                    <a:pt x="608596" y="587921"/>
                  </a:lnTo>
                  <a:lnTo>
                    <a:pt x="608647" y="588569"/>
                  </a:lnTo>
                  <a:lnTo>
                    <a:pt x="608698" y="588569"/>
                  </a:lnTo>
                  <a:lnTo>
                    <a:pt x="608749" y="589166"/>
                  </a:lnTo>
                  <a:lnTo>
                    <a:pt x="608850" y="590499"/>
                  </a:lnTo>
                  <a:lnTo>
                    <a:pt x="608850" y="589166"/>
                  </a:lnTo>
                  <a:lnTo>
                    <a:pt x="608901" y="590499"/>
                  </a:lnTo>
                  <a:lnTo>
                    <a:pt x="608952" y="589166"/>
                  </a:lnTo>
                  <a:lnTo>
                    <a:pt x="609142" y="589166"/>
                  </a:lnTo>
                  <a:lnTo>
                    <a:pt x="609142" y="590499"/>
                  </a:lnTo>
                  <a:lnTo>
                    <a:pt x="609599" y="590499"/>
                  </a:lnTo>
                  <a:lnTo>
                    <a:pt x="609599" y="589166"/>
                  </a:lnTo>
                  <a:lnTo>
                    <a:pt x="609942" y="589166"/>
                  </a:lnTo>
                  <a:lnTo>
                    <a:pt x="609993" y="590499"/>
                  </a:lnTo>
                  <a:lnTo>
                    <a:pt x="610095" y="590499"/>
                  </a:lnTo>
                  <a:lnTo>
                    <a:pt x="610095" y="589166"/>
                  </a:lnTo>
                  <a:lnTo>
                    <a:pt x="610539" y="589166"/>
                  </a:lnTo>
                  <a:lnTo>
                    <a:pt x="610641" y="588569"/>
                  </a:lnTo>
                  <a:lnTo>
                    <a:pt x="610679" y="589166"/>
                  </a:lnTo>
                  <a:lnTo>
                    <a:pt x="610730" y="589166"/>
                  </a:lnTo>
                  <a:lnTo>
                    <a:pt x="610730" y="590499"/>
                  </a:lnTo>
                  <a:lnTo>
                    <a:pt x="610781" y="590499"/>
                  </a:lnTo>
                  <a:lnTo>
                    <a:pt x="610781" y="589166"/>
                  </a:lnTo>
                  <a:lnTo>
                    <a:pt x="611085" y="589166"/>
                  </a:lnTo>
                  <a:lnTo>
                    <a:pt x="611085" y="588569"/>
                  </a:lnTo>
                  <a:lnTo>
                    <a:pt x="611136" y="589166"/>
                  </a:lnTo>
                  <a:lnTo>
                    <a:pt x="611632" y="589166"/>
                  </a:lnTo>
                  <a:lnTo>
                    <a:pt x="611632" y="590499"/>
                  </a:lnTo>
                  <a:lnTo>
                    <a:pt x="611682" y="589166"/>
                  </a:lnTo>
                  <a:lnTo>
                    <a:pt x="611682" y="590499"/>
                  </a:lnTo>
                  <a:lnTo>
                    <a:pt x="611771" y="589166"/>
                  </a:lnTo>
                  <a:lnTo>
                    <a:pt x="612127" y="589166"/>
                  </a:lnTo>
                  <a:lnTo>
                    <a:pt x="612228" y="590499"/>
                  </a:lnTo>
                  <a:lnTo>
                    <a:pt x="612521" y="590499"/>
                  </a:lnTo>
                  <a:lnTo>
                    <a:pt x="612571" y="591147"/>
                  </a:lnTo>
                  <a:lnTo>
                    <a:pt x="612724" y="591147"/>
                  </a:lnTo>
                  <a:lnTo>
                    <a:pt x="612774" y="591795"/>
                  </a:lnTo>
                  <a:lnTo>
                    <a:pt x="612774" y="591147"/>
                  </a:lnTo>
                  <a:lnTo>
                    <a:pt x="612813" y="591795"/>
                  </a:lnTo>
                  <a:lnTo>
                    <a:pt x="613219" y="591795"/>
                  </a:lnTo>
                  <a:lnTo>
                    <a:pt x="613270" y="591147"/>
                  </a:lnTo>
                  <a:lnTo>
                    <a:pt x="613359" y="590499"/>
                  </a:lnTo>
                  <a:lnTo>
                    <a:pt x="613409" y="589166"/>
                  </a:lnTo>
                  <a:lnTo>
                    <a:pt x="613511" y="589166"/>
                  </a:lnTo>
                  <a:lnTo>
                    <a:pt x="613613" y="588569"/>
                  </a:lnTo>
                  <a:lnTo>
                    <a:pt x="613663" y="588569"/>
                  </a:lnTo>
                  <a:lnTo>
                    <a:pt x="613714" y="589166"/>
                  </a:lnTo>
                  <a:lnTo>
                    <a:pt x="613854" y="589166"/>
                  </a:lnTo>
                  <a:lnTo>
                    <a:pt x="613854" y="590499"/>
                  </a:lnTo>
                  <a:lnTo>
                    <a:pt x="613905" y="590499"/>
                  </a:lnTo>
                  <a:lnTo>
                    <a:pt x="613956" y="591147"/>
                  </a:lnTo>
                  <a:lnTo>
                    <a:pt x="614057" y="590499"/>
                  </a:lnTo>
                  <a:lnTo>
                    <a:pt x="614108" y="588569"/>
                  </a:lnTo>
                  <a:lnTo>
                    <a:pt x="614108" y="587921"/>
                  </a:lnTo>
                  <a:lnTo>
                    <a:pt x="614159" y="587223"/>
                  </a:lnTo>
                  <a:lnTo>
                    <a:pt x="614159" y="586588"/>
                  </a:lnTo>
                  <a:lnTo>
                    <a:pt x="614260" y="587223"/>
                  </a:lnTo>
                  <a:lnTo>
                    <a:pt x="614311" y="586588"/>
                  </a:lnTo>
                  <a:lnTo>
                    <a:pt x="614362" y="587223"/>
                  </a:lnTo>
                  <a:lnTo>
                    <a:pt x="614400" y="587921"/>
                  </a:lnTo>
                  <a:lnTo>
                    <a:pt x="614400" y="587223"/>
                  </a:lnTo>
                  <a:lnTo>
                    <a:pt x="614502" y="587223"/>
                  </a:lnTo>
                  <a:lnTo>
                    <a:pt x="614502" y="587921"/>
                  </a:lnTo>
                  <a:lnTo>
                    <a:pt x="614553" y="587921"/>
                  </a:lnTo>
                  <a:lnTo>
                    <a:pt x="614603" y="588569"/>
                  </a:lnTo>
                  <a:lnTo>
                    <a:pt x="614705" y="588569"/>
                  </a:lnTo>
                  <a:lnTo>
                    <a:pt x="614705" y="589166"/>
                  </a:lnTo>
                  <a:lnTo>
                    <a:pt x="614997" y="589166"/>
                  </a:lnTo>
                  <a:lnTo>
                    <a:pt x="614997" y="588569"/>
                  </a:lnTo>
                  <a:lnTo>
                    <a:pt x="615048" y="589166"/>
                  </a:lnTo>
                  <a:lnTo>
                    <a:pt x="615403" y="589166"/>
                  </a:lnTo>
                  <a:lnTo>
                    <a:pt x="615403" y="590499"/>
                  </a:lnTo>
                  <a:lnTo>
                    <a:pt x="615492" y="590499"/>
                  </a:lnTo>
                  <a:lnTo>
                    <a:pt x="615492" y="589166"/>
                  </a:lnTo>
                  <a:lnTo>
                    <a:pt x="615543" y="589166"/>
                  </a:lnTo>
                  <a:lnTo>
                    <a:pt x="615543" y="588569"/>
                  </a:lnTo>
                  <a:lnTo>
                    <a:pt x="615645" y="588569"/>
                  </a:lnTo>
                  <a:lnTo>
                    <a:pt x="615645" y="589166"/>
                  </a:lnTo>
                  <a:lnTo>
                    <a:pt x="615899" y="589166"/>
                  </a:lnTo>
                  <a:lnTo>
                    <a:pt x="615899" y="590499"/>
                  </a:lnTo>
                  <a:lnTo>
                    <a:pt x="616140" y="590499"/>
                  </a:lnTo>
                  <a:lnTo>
                    <a:pt x="616140" y="591147"/>
                  </a:lnTo>
                  <a:lnTo>
                    <a:pt x="616191" y="590499"/>
                  </a:lnTo>
                  <a:lnTo>
                    <a:pt x="616292" y="590499"/>
                  </a:lnTo>
                  <a:lnTo>
                    <a:pt x="616292" y="588569"/>
                  </a:lnTo>
                  <a:lnTo>
                    <a:pt x="616686" y="588569"/>
                  </a:lnTo>
                  <a:lnTo>
                    <a:pt x="616686" y="589166"/>
                  </a:lnTo>
                  <a:lnTo>
                    <a:pt x="616788" y="589166"/>
                  </a:lnTo>
                  <a:lnTo>
                    <a:pt x="616838" y="590499"/>
                  </a:lnTo>
                  <a:lnTo>
                    <a:pt x="616838" y="589166"/>
                  </a:lnTo>
                  <a:lnTo>
                    <a:pt x="616889" y="589166"/>
                  </a:lnTo>
                  <a:lnTo>
                    <a:pt x="616991" y="588569"/>
                  </a:lnTo>
                  <a:lnTo>
                    <a:pt x="617131" y="588569"/>
                  </a:lnTo>
                  <a:lnTo>
                    <a:pt x="617131" y="589166"/>
                  </a:lnTo>
                  <a:lnTo>
                    <a:pt x="617334" y="589166"/>
                  </a:lnTo>
                  <a:lnTo>
                    <a:pt x="617435" y="588569"/>
                  </a:lnTo>
                  <a:lnTo>
                    <a:pt x="617537" y="588569"/>
                  </a:lnTo>
                  <a:lnTo>
                    <a:pt x="617575" y="589166"/>
                  </a:lnTo>
                  <a:lnTo>
                    <a:pt x="617677" y="588569"/>
                  </a:lnTo>
                  <a:lnTo>
                    <a:pt x="617728" y="589166"/>
                  </a:lnTo>
                  <a:lnTo>
                    <a:pt x="618032" y="589166"/>
                  </a:lnTo>
                  <a:lnTo>
                    <a:pt x="618121" y="590499"/>
                  </a:lnTo>
                  <a:lnTo>
                    <a:pt x="618274" y="590499"/>
                  </a:lnTo>
                  <a:lnTo>
                    <a:pt x="618274" y="589166"/>
                  </a:lnTo>
                  <a:lnTo>
                    <a:pt x="618426" y="589166"/>
                  </a:lnTo>
                  <a:lnTo>
                    <a:pt x="618426" y="590499"/>
                  </a:lnTo>
                  <a:lnTo>
                    <a:pt x="618617" y="590499"/>
                  </a:lnTo>
                  <a:lnTo>
                    <a:pt x="618667" y="591147"/>
                  </a:lnTo>
                  <a:lnTo>
                    <a:pt x="618921" y="591147"/>
                  </a:lnTo>
                  <a:lnTo>
                    <a:pt x="619023" y="591795"/>
                  </a:lnTo>
                  <a:lnTo>
                    <a:pt x="619264" y="591795"/>
                  </a:lnTo>
                  <a:lnTo>
                    <a:pt x="619315" y="590499"/>
                  </a:lnTo>
                  <a:lnTo>
                    <a:pt x="619315" y="589166"/>
                  </a:lnTo>
                  <a:lnTo>
                    <a:pt x="619366" y="588569"/>
                  </a:lnTo>
                  <a:lnTo>
                    <a:pt x="619467" y="587223"/>
                  </a:lnTo>
                  <a:lnTo>
                    <a:pt x="619569" y="587223"/>
                  </a:lnTo>
                  <a:lnTo>
                    <a:pt x="619569" y="587921"/>
                  </a:lnTo>
                  <a:lnTo>
                    <a:pt x="619620" y="587921"/>
                  </a:lnTo>
                  <a:lnTo>
                    <a:pt x="619709" y="588569"/>
                  </a:lnTo>
                  <a:lnTo>
                    <a:pt x="619759" y="588569"/>
                  </a:lnTo>
                  <a:lnTo>
                    <a:pt x="619810" y="589166"/>
                  </a:lnTo>
                  <a:lnTo>
                    <a:pt x="619810" y="590499"/>
                  </a:lnTo>
                  <a:lnTo>
                    <a:pt x="619861" y="589166"/>
                  </a:lnTo>
                  <a:lnTo>
                    <a:pt x="619963" y="588569"/>
                  </a:lnTo>
                  <a:lnTo>
                    <a:pt x="619963" y="587921"/>
                  </a:lnTo>
                  <a:lnTo>
                    <a:pt x="620509" y="587921"/>
                  </a:lnTo>
                  <a:lnTo>
                    <a:pt x="620509" y="588569"/>
                  </a:lnTo>
                  <a:lnTo>
                    <a:pt x="620610" y="588569"/>
                  </a:lnTo>
                  <a:lnTo>
                    <a:pt x="620610" y="589166"/>
                  </a:lnTo>
                  <a:lnTo>
                    <a:pt x="620661" y="588569"/>
                  </a:lnTo>
                  <a:lnTo>
                    <a:pt x="620712" y="588569"/>
                  </a:lnTo>
                  <a:lnTo>
                    <a:pt x="620750" y="589166"/>
                  </a:lnTo>
                  <a:lnTo>
                    <a:pt x="620852" y="588569"/>
                  </a:lnTo>
                  <a:lnTo>
                    <a:pt x="620852" y="589166"/>
                  </a:lnTo>
                  <a:lnTo>
                    <a:pt x="621347" y="589166"/>
                  </a:lnTo>
                  <a:lnTo>
                    <a:pt x="621347" y="590499"/>
                  </a:lnTo>
                  <a:lnTo>
                    <a:pt x="621398" y="589166"/>
                  </a:lnTo>
                  <a:lnTo>
                    <a:pt x="621550" y="589166"/>
                  </a:lnTo>
                  <a:lnTo>
                    <a:pt x="621601" y="588569"/>
                  </a:lnTo>
                  <a:lnTo>
                    <a:pt x="621601" y="589166"/>
                  </a:lnTo>
                  <a:lnTo>
                    <a:pt x="621842" y="589166"/>
                  </a:lnTo>
                  <a:lnTo>
                    <a:pt x="621893" y="590499"/>
                  </a:lnTo>
                  <a:lnTo>
                    <a:pt x="621995" y="590499"/>
                  </a:lnTo>
                  <a:lnTo>
                    <a:pt x="622046" y="589166"/>
                  </a:lnTo>
                  <a:lnTo>
                    <a:pt x="622198" y="589166"/>
                  </a:lnTo>
                  <a:lnTo>
                    <a:pt x="622249" y="588569"/>
                  </a:lnTo>
                  <a:lnTo>
                    <a:pt x="622439" y="588569"/>
                  </a:lnTo>
                  <a:lnTo>
                    <a:pt x="622490" y="589166"/>
                  </a:lnTo>
                  <a:lnTo>
                    <a:pt x="622693" y="589166"/>
                  </a:lnTo>
                  <a:lnTo>
                    <a:pt x="622693" y="588569"/>
                  </a:lnTo>
                  <a:lnTo>
                    <a:pt x="622934" y="588569"/>
                  </a:lnTo>
                  <a:lnTo>
                    <a:pt x="622985" y="589166"/>
                  </a:lnTo>
                  <a:lnTo>
                    <a:pt x="623036" y="588569"/>
                  </a:lnTo>
                  <a:lnTo>
                    <a:pt x="623138" y="588569"/>
                  </a:lnTo>
                  <a:lnTo>
                    <a:pt x="623188" y="589166"/>
                  </a:lnTo>
                  <a:lnTo>
                    <a:pt x="623188" y="590499"/>
                  </a:lnTo>
                  <a:lnTo>
                    <a:pt x="623239" y="589166"/>
                  </a:lnTo>
                  <a:lnTo>
                    <a:pt x="623341" y="590499"/>
                  </a:lnTo>
                  <a:lnTo>
                    <a:pt x="623341" y="589166"/>
                  </a:lnTo>
                  <a:lnTo>
                    <a:pt x="623379" y="589166"/>
                  </a:lnTo>
                  <a:lnTo>
                    <a:pt x="623430" y="590499"/>
                  </a:lnTo>
                  <a:lnTo>
                    <a:pt x="623481" y="589166"/>
                  </a:lnTo>
                  <a:lnTo>
                    <a:pt x="623481" y="590499"/>
                  </a:lnTo>
                  <a:lnTo>
                    <a:pt x="623582" y="590499"/>
                  </a:lnTo>
                  <a:lnTo>
                    <a:pt x="623582" y="589166"/>
                  </a:lnTo>
                  <a:lnTo>
                    <a:pt x="623785" y="589166"/>
                  </a:lnTo>
                  <a:lnTo>
                    <a:pt x="623785" y="590499"/>
                  </a:lnTo>
                  <a:lnTo>
                    <a:pt x="623887" y="590499"/>
                  </a:lnTo>
                  <a:lnTo>
                    <a:pt x="623887" y="589166"/>
                  </a:lnTo>
                  <a:lnTo>
                    <a:pt x="624078" y="589166"/>
                  </a:lnTo>
                  <a:lnTo>
                    <a:pt x="624078" y="590499"/>
                  </a:lnTo>
                  <a:lnTo>
                    <a:pt x="624471" y="590499"/>
                  </a:lnTo>
                  <a:lnTo>
                    <a:pt x="624471" y="591147"/>
                  </a:lnTo>
                  <a:lnTo>
                    <a:pt x="624725" y="591147"/>
                  </a:lnTo>
                  <a:lnTo>
                    <a:pt x="624776" y="591795"/>
                  </a:lnTo>
                  <a:lnTo>
                    <a:pt x="625068" y="591795"/>
                  </a:lnTo>
                  <a:lnTo>
                    <a:pt x="625170" y="591147"/>
                  </a:lnTo>
                  <a:lnTo>
                    <a:pt x="625221" y="591147"/>
                  </a:lnTo>
                  <a:lnTo>
                    <a:pt x="625221" y="590499"/>
                  </a:lnTo>
                  <a:lnTo>
                    <a:pt x="625271" y="589166"/>
                  </a:lnTo>
                  <a:lnTo>
                    <a:pt x="625271" y="588569"/>
                  </a:lnTo>
                  <a:lnTo>
                    <a:pt x="625373" y="588569"/>
                  </a:lnTo>
                  <a:lnTo>
                    <a:pt x="625424" y="587921"/>
                  </a:lnTo>
                  <a:lnTo>
                    <a:pt x="625513" y="587921"/>
                  </a:lnTo>
                  <a:lnTo>
                    <a:pt x="625513" y="588569"/>
                  </a:lnTo>
                  <a:lnTo>
                    <a:pt x="625665" y="588569"/>
                  </a:lnTo>
                  <a:lnTo>
                    <a:pt x="625716" y="589166"/>
                  </a:lnTo>
                  <a:lnTo>
                    <a:pt x="625716" y="588569"/>
                  </a:lnTo>
                  <a:lnTo>
                    <a:pt x="625868" y="588569"/>
                  </a:lnTo>
                  <a:lnTo>
                    <a:pt x="625868" y="587921"/>
                  </a:lnTo>
                  <a:lnTo>
                    <a:pt x="625919" y="587921"/>
                  </a:lnTo>
                  <a:lnTo>
                    <a:pt x="625919" y="587223"/>
                  </a:lnTo>
                  <a:lnTo>
                    <a:pt x="625970" y="587223"/>
                  </a:lnTo>
                  <a:lnTo>
                    <a:pt x="626059" y="587921"/>
                  </a:lnTo>
                  <a:lnTo>
                    <a:pt x="626059" y="587223"/>
                  </a:lnTo>
                  <a:lnTo>
                    <a:pt x="626109" y="587921"/>
                  </a:lnTo>
                  <a:lnTo>
                    <a:pt x="626160" y="587921"/>
                  </a:lnTo>
                  <a:lnTo>
                    <a:pt x="626160" y="587223"/>
                  </a:lnTo>
                  <a:lnTo>
                    <a:pt x="626313" y="587223"/>
                  </a:lnTo>
                  <a:lnTo>
                    <a:pt x="626363" y="587921"/>
                  </a:lnTo>
                  <a:lnTo>
                    <a:pt x="626516" y="587921"/>
                  </a:lnTo>
                  <a:lnTo>
                    <a:pt x="626516" y="588569"/>
                  </a:lnTo>
                  <a:lnTo>
                    <a:pt x="626605" y="588569"/>
                  </a:lnTo>
                  <a:lnTo>
                    <a:pt x="626656" y="589166"/>
                  </a:lnTo>
                  <a:lnTo>
                    <a:pt x="626808" y="589166"/>
                  </a:lnTo>
                  <a:lnTo>
                    <a:pt x="626808" y="588569"/>
                  </a:lnTo>
                  <a:lnTo>
                    <a:pt x="626859" y="588569"/>
                  </a:lnTo>
                  <a:lnTo>
                    <a:pt x="626859" y="589166"/>
                  </a:lnTo>
                  <a:lnTo>
                    <a:pt x="627202" y="589166"/>
                  </a:lnTo>
                  <a:lnTo>
                    <a:pt x="627253" y="588569"/>
                  </a:lnTo>
                  <a:lnTo>
                    <a:pt x="627405" y="588569"/>
                  </a:lnTo>
                  <a:lnTo>
                    <a:pt x="627405" y="589166"/>
                  </a:lnTo>
                  <a:lnTo>
                    <a:pt x="627456" y="588569"/>
                  </a:lnTo>
                  <a:lnTo>
                    <a:pt x="627507" y="588569"/>
                  </a:lnTo>
                  <a:lnTo>
                    <a:pt x="627557" y="589166"/>
                  </a:lnTo>
                  <a:lnTo>
                    <a:pt x="627799" y="589166"/>
                  </a:lnTo>
                  <a:lnTo>
                    <a:pt x="627799" y="590499"/>
                  </a:lnTo>
                  <a:lnTo>
                    <a:pt x="627900" y="589166"/>
                  </a:lnTo>
                  <a:lnTo>
                    <a:pt x="627951" y="589166"/>
                  </a:lnTo>
                  <a:lnTo>
                    <a:pt x="628002" y="588569"/>
                  </a:lnTo>
                  <a:lnTo>
                    <a:pt x="628192" y="588569"/>
                  </a:lnTo>
                  <a:lnTo>
                    <a:pt x="628243" y="587921"/>
                  </a:lnTo>
                  <a:lnTo>
                    <a:pt x="628446" y="587921"/>
                  </a:lnTo>
                  <a:lnTo>
                    <a:pt x="628548" y="588569"/>
                  </a:lnTo>
                  <a:lnTo>
                    <a:pt x="628649" y="588569"/>
                  </a:lnTo>
                  <a:lnTo>
                    <a:pt x="628688" y="589166"/>
                  </a:lnTo>
                  <a:lnTo>
                    <a:pt x="628840" y="589166"/>
                  </a:lnTo>
                  <a:lnTo>
                    <a:pt x="628891" y="590499"/>
                  </a:lnTo>
                  <a:lnTo>
                    <a:pt x="628891" y="589166"/>
                  </a:lnTo>
                  <a:lnTo>
                    <a:pt x="628992" y="589166"/>
                  </a:lnTo>
                  <a:lnTo>
                    <a:pt x="629043" y="588569"/>
                  </a:lnTo>
                  <a:lnTo>
                    <a:pt x="629488" y="588569"/>
                  </a:lnTo>
                  <a:lnTo>
                    <a:pt x="629538" y="589166"/>
                  </a:lnTo>
                  <a:lnTo>
                    <a:pt x="629780" y="589166"/>
                  </a:lnTo>
                  <a:lnTo>
                    <a:pt x="629780" y="590499"/>
                  </a:lnTo>
                  <a:lnTo>
                    <a:pt x="629831" y="590499"/>
                  </a:lnTo>
                  <a:lnTo>
                    <a:pt x="629831" y="589166"/>
                  </a:lnTo>
                  <a:lnTo>
                    <a:pt x="629983" y="589166"/>
                  </a:lnTo>
                  <a:lnTo>
                    <a:pt x="630034" y="590499"/>
                  </a:lnTo>
                  <a:lnTo>
                    <a:pt x="630186" y="590499"/>
                  </a:lnTo>
                  <a:lnTo>
                    <a:pt x="630186" y="589166"/>
                  </a:lnTo>
                  <a:lnTo>
                    <a:pt x="630237" y="589166"/>
                  </a:lnTo>
                  <a:lnTo>
                    <a:pt x="630237" y="590499"/>
                  </a:lnTo>
                  <a:lnTo>
                    <a:pt x="630275" y="590499"/>
                  </a:lnTo>
                  <a:lnTo>
                    <a:pt x="630275" y="589166"/>
                  </a:lnTo>
                  <a:lnTo>
                    <a:pt x="630428" y="589166"/>
                  </a:lnTo>
                  <a:lnTo>
                    <a:pt x="630428" y="590499"/>
                  </a:lnTo>
                  <a:lnTo>
                    <a:pt x="630478" y="590499"/>
                  </a:lnTo>
                  <a:lnTo>
                    <a:pt x="630478" y="591147"/>
                  </a:lnTo>
                  <a:lnTo>
                    <a:pt x="630732" y="591147"/>
                  </a:lnTo>
                  <a:lnTo>
                    <a:pt x="630732" y="591795"/>
                  </a:lnTo>
                  <a:lnTo>
                    <a:pt x="630974" y="591795"/>
                  </a:lnTo>
                  <a:lnTo>
                    <a:pt x="630974" y="591147"/>
                  </a:lnTo>
                  <a:lnTo>
                    <a:pt x="631075" y="591147"/>
                  </a:lnTo>
                  <a:lnTo>
                    <a:pt x="631075" y="590499"/>
                  </a:lnTo>
                  <a:lnTo>
                    <a:pt x="631126" y="589166"/>
                  </a:lnTo>
                  <a:lnTo>
                    <a:pt x="631126" y="588569"/>
                  </a:lnTo>
                  <a:lnTo>
                    <a:pt x="631177" y="587921"/>
                  </a:lnTo>
                  <a:lnTo>
                    <a:pt x="631317" y="587921"/>
                  </a:lnTo>
                  <a:lnTo>
                    <a:pt x="631317" y="588569"/>
                  </a:lnTo>
                  <a:lnTo>
                    <a:pt x="631367" y="588569"/>
                  </a:lnTo>
                  <a:lnTo>
                    <a:pt x="631418" y="589166"/>
                  </a:lnTo>
                  <a:lnTo>
                    <a:pt x="631418" y="588569"/>
                  </a:lnTo>
                  <a:lnTo>
                    <a:pt x="631520" y="588569"/>
                  </a:lnTo>
                  <a:lnTo>
                    <a:pt x="631571" y="589166"/>
                  </a:lnTo>
                  <a:lnTo>
                    <a:pt x="631621" y="589166"/>
                  </a:lnTo>
                  <a:lnTo>
                    <a:pt x="631621" y="588569"/>
                  </a:lnTo>
                  <a:lnTo>
                    <a:pt x="631723" y="587921"/>
                  </a:lnTo>
                  <a:lnTo>
                    <a:pt x="631723" y="587223"/>
                  </a:lnTo>
                  <a:lnTo>
                    <a:pt x="631774" y="587223"/>
                  </a:lnTo>
                  <a:lnTo>
                    <a:pt x="631824" y="587921"/>
                  </a:lnTo>
                  <a:lnTo>
                    <a:pt x="631964" y="587921"/>
                  </a:lnTo>
                  <a:lnTo>
                    <a:pt x="632015" y="588569"/>
                  </a:lnTo>
                  <a:lnTo>
                    <a:pt x="632015" y="587921"/>
                  </a:lnTo>
                  <a:lnTo>
                    <a:pt x="632066" y="587921"/>
                  </a:lnTo>
                  <a:lnTo>
                    <a:pt x="632167" y="588569"/>
                  </a:lnTo>
                  <a:lnTo>
                    <a:pt x="632459" y="588569"/>
                  </a:lnTo>
                  <a:lnTo>
                    <a:pt x="632510" y="589166"/>
                  </a:lnTo>
                  <a:lnTo>
                    <a:pt x="632561" y="589166"/>
                  </a:lnTo>
                  <a:lnTo>
                    <a:pt x="632561" y="590499"/>
                  </a:lnTo>
                  <a:lnTo>
                    <a:pt x="632663" y="589166"/>
                  </a:lnTo>
                  <a:lnTo>
                    <a:pt x="632955" y="589166"/>
                  </a:lnTo>
                  <a:lnTo>
                    <a:pt x="632955" y="588569"/>
                  </a:lnTo>
                  <a:lnTo>
                    <a:pt x="633107" y="588569"/>
                  </a:lnTo>
                  <a:lnTo>
                    <a:pt x="633158" y="589166"/>
                  </a:lnTo>
                  <a:lnTo>
                    <a:pt x="633209" y="588569"/>
                  </a:lnTo>
                  <a:lnTo>
                    <a:pt x="633310" y="588569"/>
                  </a:lnTo>
                  <a:lnTo>
                    <a:pt x="633310" y="589166"/>
                  </a:lnTo>
                  <a:lnTo>
                    <a:pt x="633450" y="589166"/>
                  </a:lnTo>
                  <a:lnTo>
                    <a:pt x="633450" y="588569"/>
                  </a:lnTo>
                  <a:lnTo>
                    <a:pt x="633552" y="588569"/>
                  </a:lnTo>
                  <a:lnTo>
                    <a:pt x="633603" y="587921"/>
                  </a:lnTo>
                  <a:lnTo>
                    <a:pt x="633603" y="588569"/>
                  </a:lnTo>
                  <a:lnTo>
                    <a:pt x="633806" y="588569"/>
                  </a:lnTo>
                  <a:lnTo>
                    <a:pt x="633857" y="589166"/>
                  </a:lnTo>
                  <a:lnTo>
                    <a:pt x="633996" y="589166"/>
                  </a:lnTo>
                  <a:lnTo>
                    <a:pt x="634047" y="588569"/>
                  </a:lnTo>
                  <a:lnTo>
                    <a:pt x="634098" y="588569"/>
                  </a:lnTo>
                  <a:lnTo>
                    <a:pt x="634098" y="589166"/>
                  </a:lnTo>
                  <a:lnTo>
                    <a:pt x="634352" y="589166"/>
                  </a:lnTo>
                  <a:lnTo>
                    <a:pt x="634352" y="588569"/>
                  </a:lnTo>
                  <a:lnTo>
                    <a:pt x="634453" y="588569"/>
                  </a:lnTo>
                  <a:lnTo>
                    <a:pt x="634492" y="589166"/>
                  </a:lnTo>
                  <a:lnTo>
                    <a:pt x="634492" y="588569"/>
                  </a:lnTo>
                  <a:lnTo>
                    <a:pt x="634542" y="588569"/>
                  </a:lnTo>
                  <a:lnTo>
                    <a:pt x="634542" y="589166"/>
                  </a:lnTo>
                  <a:lnTo>
                    <a:pt x="634593" y="588569"/>
                  </a:lnTo>
                  <a:lnTo>
                    <a:pt x="634695" y="589166"/>
                  </a:lnTo>
                  <a:lnTo>
                    <a:pt x="634746" y="588569"/>
                  </a:lnTo>
                  <a:lnTo>
                    <a:pt x="634898" y="588569"/>
                  </a:lnTo>
                  <a:lnTo>
                    <a:pt x="634949" y="589166"/>
                  </a:lnTo>
                  <a:lnTo>
                    <a:pt x="634999" y="588569"/>
                  </a:lnTo>
                  <a:lnTo>
                    <a:pt x="634999" y="589166"/>
                  </a:lnTo>
                  <a:lnTo>
                    <a:pt x="635038" y="589166"/>
                  </a:lnTo>
                  <a:lnTo>
                    <a:pt x="635038" y="588569"/>
                  </a:lnTo>
                  <a:lnTo>
                    <a:pt x="635139" y="589166"/>
                  </a:lnTo>
                  <a:lnTo>
                    <a:pt x="635241" y="589166"/>
                  </a:lnTo>
                  <a:lnTo>
                    <a:pt x="635342" y="590499"/>
                  </a:lnTo>
                  <a:lnTo>
                    <a:pt x="635342" y="589166"/>
                  </a:lnTo>
                  <a:lnTo>
                    <a:pt x="635634" y="589166"/>
                  </a:lnTo>
                  <a:lnTo>
                    <a:pt x="635634" y="588569"/>
                  </a:lnTo>
                  <a:lnTo>
                    <a:pt x="635685" y="588569"/>
                  </a:lnTo>
                  <a:lnTo>
                    <a:pt x="635685" y="589166"/>
                  </a:lnTo>
                  <a:lnTo>
                    <a:pt x="635736" y="589166"/>
                  </a:lnTo>
                  <a:lnTo>
                    <a:pt x="635736" y="590499"/>
                  </a:lnTo>
                  <a:lnTo>
                    <a:pt x="635888" y="590499"/>
                  </a:lnTo>
                  <a:lnTo>
                    <a:pt x="635888" y="589166"/>
                  </a:lnTo>
                  <a:lnTo>
                    <a:pt x="635939" y="589166"/>
                  </a:lnTo>
                  <a:lnTo>
                    <a:pt x="635939" y="590499"/>
                  </a:lnTo>
                  <a:lnTo>
                    <a:pt x="636181" y="590499"/>
                  </a:lnTo>
                  <a:lnTo>
                    <a:pt x="636282" y="591147"/>
                  </a:lnTo>
                  <a:lnTo>
                    <a:pt x="636333" y="591795"/>
                  </a:lnTo>
                  <a:lnTo>
                    <a:pt x="636333" y="591147"/>
                  </a:lnTo>
                  <a:lnTo>
                    <a:pt x="636536" y="591147"/>
                  </a:lnTo>
                  <a:lnTo>
                    <a:pt x="636587" y="591795"/>
                  </a:lnTo>
                  <a:lnTo>
                    <a:pt x="636778" y="591795"/>
                  </a:lnTo>
                  <a:lnTo>
                    <a:pt x="636828" y="592442"/>
                  </a:lnTo>
                  <a:lnTo>
                    <a:pt x="636930" y="591795"/>
                  </a:lnTo>
                  <a:lnTo>
                    <a:pt x="636930" y="592442"/>
                  </a:lnTo>
                  <a:lnTo>
                    <a:pt x="636981" y="591795"/>
                  </a:lnTo>
                  <a:lnTo>
                    <a:pt x="637082" y="591795"/>
                  </a:lnTo>
                  <a:lnTo>
                    <a:pt x="637171" y="591147"/>
                  </a:lnTo>
                  <a:lnTo>
                    <a:pt x="637171" y="590499"/>
                  </a:lnTo>
                  <a:lnTo>
                    <a:pt x="637222" y="589166"/>
                  </a:lnTo>
                  <a:lnTo>
                    <a:pt x="637273" y="589166"/>
                  </a:lnTo>
                  <a:lnTo>
                    <a:pt x="637273" y="588569"/>
                  </a:lnTo>
                  <a:lnTo>
                    <a:pt x="637476" y="588569"/>
                  </a:lnTo>
                  <a:lnTo>
                    <a:pt x="637476" y="590499"/>
                  </a:lnTo>
                  <a:lnTo>
                    <a:pt x="637628" y="590499"/>
                  </a:lnTo>
                  <a:lnTo>
                    <a:pt x="637628" y="589166"/>
                  </a:lnTo>
                  <a:lnTo>
                    <a:pt x="637667" y="590499"/>
                  </a:lnTo>
                  <a:lnTo>
                    <a:pt x="637717" y="590499"/>
                  </a:lnTo>
                  <a:lnTo>
                    <a:pt x="637717" y="589166"/>
                  </a:lnTo>
                  <a:lnTo>
                    <a:pt x="637768" y="589166"/>
                  </a:lnTo>
                  <a:lnTo>
                    <a:pt x="637768" y="588569"/>
                  </a:lnTo>
                  <a:lnTo>
                    <a:pt x="637870" y="587921"/>
                  </a:lnTo>
                  <a:lnTo>
                    <a:pt x="637971" y="587921"/>
                  </a:lnTo>
                  <a:lnTo>
                    <a:pt x="637971" y="587223"/>
                  </a:lnTo>
                  <a:lnTo>
                    <a:pt x="638073" y="587921"/>
                  </a:lnTo>
                  <a:lnTo>
                    <a:pt x="638314" y="587921"/>
                  </a:lnTo>
                  <a:lnTo>
                    <a:pt x="638365" y="588569"/>
                  </a:lnTo>
                  <a:lnTo>
                    <a:pt x="638416" y="588569"/>
                  </a:lnTo>
                  <a:lnTo>
                    <a:pt x="638517" y="589166"/>
                  </a:lnTo>
                  <a:lnTo>
                    <a:pt x="638809" y="589166"/>
                  </a:lnTo>
                  <a:lnTo>
                    <a:pt x="638860" y="590499"/>
                  </a:lnTo>
                  <a:lnTo>
                    <a:pt x="638911" y="589166"/>
                  </a:lnTo>
                  <a:lnTo>
                    <a:pt x="639013" y="589166"/>
                  </a:lnTo>
                  <a:lnTo>
                    <a:pt x="639013" y="588569"/>
                  </a:lnTo>
                  <a:lnTo>
                    <a:pt x="639063" y="589166"/>
                  </a:lnTo>
                  <a:lnTo>
                    <a:pt x="639254" y="589166"/>
                  </a:lnTo>
                  <a:lnTo>
                    <a:pt x="639254" y="588569"/>
                  </a:lnTo>
                  <a:lnTo>
                    <a:pt x="639305" y="589166"/>
                  </a:lnTo>
                  <a:lnTo>
                    <a:pt x="639356" y="589166"/>
                  </a:lnTo>
                  <a:lnTo>
                    <a:pt x="639457" y="590499"/>
                  </a:lnTo>
                  <a:lnTo>
                    <a:pt x="639800" y="590499"/>
                  </a:lnTo>
                  <a:lnTo>
                    <a:pt x="639800" y="589166"/>
                  </a:lnTo>
                  <a:lnTo>
                    <a:pt x="639953" y="589166"/>
                  </a:lnTo>
                  <a:lnTo>
                    <a:pt x="640003" y="588569"/>
                  </a:lnTo>
                  <a:lnTo>
                    <a:pt x="640105" y="587921"/>
                  </a:lnTo>
                  <a:lnTo>
                    <a:pt x="640156" y="588569"/>
                  </a:lnTo>
                  <a:lnTo>
                    <a:pt x="640156" y="587921"/>
                  </a:lnTo>
                  <a:lnTo>
                    <a:pt x="640207" y="587921"/>
                  </a:lnTo>
                  <a:lnTo>
                    <a:pt x="640207" y="588569"/>
                  </a:lnTo>
                  <a:lnTo>
                    <a:pt x="640397" y="588569"/>
                  </a:lnTo>
                  <a:lnTo>
                    <a:pt x="640448" y="589166"/>
                  </a:lnTo>
                  <a:lnTo>
                    <a:pt x="640702" y="589166"/>
                  </a:lnTo>
                  <a:lnTo>
                    <a:pt x="640803" y="588569"/>
                  </a:lnTo>
                  <a:lnTo>
                    <a:pt x="640842" y="589166"/>
                  </a:lnTo>
                  <a:lnTo>
                    <a:pt x="640943" y="589166"/>
                  </a:lnTo>
                  <a:lnTo>
                    <a:pt x="641045" y="588569"/>
                  </a:lnTo>
                  <a:lnTo>
                    <a:pt x="641248" y="588569"/>
                  </a:lnTo>
                  <a:lnTo>
                    <a:pt x="641248" y="589166"/>
                  </a:lnTo>
                  <a:lnTo>
                    <a:pt x="641489" y="589166"/>
                  </a:lnTo>
                  <a:lnTo>
                    <a:pt x="641540" y="590499"/>
                  </a:lnTo>
                  <a:lnTo>
                    <a:pt x="641934" y="590499"/>
                  </a:lnTo>
                  <a:lnTo>
                    <a:pt x="641984" y="589166"/>
                  </a:lnTo>
                  <a:lnTo>
                    <a:pt x="641984" y="590499"/>
                  </a:lnTo>
                  <a:lnTo>
                    <a:pt x="642035" y="590499"/>
                  </a:lnTo>
                  <a:lnTo>
                    <a:pt x="642035" y="589166"/>
                  </a:lnTo>
                  <a:lnTo>
                    <a:pt x="642086" y="590499"/>
                  </a:lnTo>
                  <a:lnTo>
                    <a:pt x="642238" y="590499"/>
                  </a:lnTo>
                  <a:lnTo>
                    <a:pt x="642238" y="591147"/>
                  </a:lnTo>
                  <a:lnTo>
                    <a:pt x="642429" y="591147"/>
                  </a:lnTo>
                  <a:lnTo>
                    <a:pt x="642480" y="591795"/>
                  </a:lnTo>
                  <a:lnTo>
                    <a:pt x="643128" y="591795"/>
                  </a:lnTo>
                  <a:lnTo>
                    <a:pt x="643178" y="591147"/>
                  </a:lnTo>
                  <a:lnTo>
                    <a:pt x="643280" y="590499"/>
                  </a:lnTo>
                  <a:lnTo>
                    <a:pt x="643331" y="589166"/>
                  </a:lnTo>
                  <a:lnTo>
                    <a:pt x="643521" y="589166"/>
                  </a:lnTo>
                  <a:lnTo>
                    <a:pt x="643572" y="590499"/>
                  </a:lnTo>
                  <a:lnTo>
                    <a:pt x="643623" y="591147"/>
                  </a:lnTo>
                  <a:lnTo>
                    <a:pt x="643674" y="591147"/>
                  </a:lnTo>
                  <a:lnTo>
                    <a:pt x="643775" y="591795"/>
                  </a:lnTo>
                  <a:lnTo>
                    <a:pt x="643775" y="591147"/>
                  </a:lnTo>
                  <a:lnTo>
                    <a:pt x="643826" y="590499"/>
                  </a:lnTo>
                  <a:lnTo>
                    <a:pt x="643826" y="589166"/>
                  </a:lnTo>
                  <a:lnTo>
                    <a:pt x="643877" y="588569"/>
                  </a:lnTo>
                  <a:lnTo>
                    <a:pt x="643877" y="587921"/>
                  </a:lnTo>
                  <a:lnTo>
                    <a:pt x="644271" y="587921"/>
                  </a:lnTo>
                  <a:lnTo>
                    <a:pt x="644321" y="588569"/>
                  </a:lnTo>
                  <a:lnTo>
                    <a:pt x="644423" y="588569"/>
                  </a:lnTo>
                  <a:lnTo>
                    <a:pt x="644474" y="589166"/>
                  </a:lnTo>
                  <a:lnTo>
                    <a:pt x="644524" y="589166"/>
                  </a:lnTo>
                  <a:lnTo>
                    <a:pt x="644563" y="590499"/>
                  </a:lnTo>
                  <a:lnTo>
                    <a:pt x="644664" y="589166"/>
                  </a:lnTo>
                  <a:lnTo>
                    <a:pt x="644715" y="589166"/>
                  </a:lnTo>
                  <a:lnTo>
                    <a:pt x="644766" y="590499"/>
                  </a:lnTo>
                  <a:lnTo>
                    <a:pt x="644766" y="589166"/>
                  </a:lnTo>
                  <a:lnTo>
                    <a:pt x="644918" y="589166"/>
                  </a:lnTo>
                  <a:lnTo>
                    <a:pt x="644969" y="590499"/>
                  </a:lnTo>
                  <a:lnTo>
                    <a:pt x="645159" y="590499"/>
                  </a:lnTo>
                  <a:lnTo>
                    <a:pt x="645210" y="589166"/>
                  </a:lnTo>
                  <a:lnTo>
                    <a:pt x="645604" y="589166"/>
                  </a:lnTo>
                  <a:lnTo>
                    <a:pt x="645604" y="590499"/>
                  </a:lnTo>
                  <a:lnTo>
                    <a:pt x="645655" y="589166"/>
                  </a:lnTo>
                  <a:lnTo>
                    <a:pt x="645909" y="589166"/>
                  </a:lnTo>
                  <a:lnTo>
                    <a:pt x="645909" y="590499"/>
                  </a:lnTo>
                  <a:lnTo>
                    <a:pt x="646010" y="589166"/>
                  </a:lnTo>
                  <a:lnTo>
                    <a:pt x="646061" y="589166"/>
                  </a:lnTo>
                  <a:lnTo>
                    <a:pt x="646061" y="588569"/>
                  </a:lnTo>
                  <a:lnTo>
                    <a:pt x="646112" y="589166"/>
                  </a:lnTo>
                  <a:lnTo>
                    <a:pt x="646150" y="588569"/>
                  </a:lnTo>
                  <a:lnTo>
                    <a:pt x="646150" y="589166"/>
                  </a:lnTo>
                  <a:lnTo>
                    <a:pt x="646252" y="589166"/>
                  </a:lnTo>
                  <a:lnTo>
                    <a:pt x="646252" y="588569"/>
                  </a:lnTo>
                  <a:lnTo>
                    <a:pt x="646353" y="588569"/>
                  </a:lnTo>
                  <a:lnTo>
                    <a:pt x="646353" y="589166"/>
                  </a:lnTo>
                  <a:lnTo>
                    <a:pt x="646798" y="589166"/>
                  </a:lnTo>
                  <a:lnTo>
                    <a:pt x="646798" y="588569"/>
                  </a:lnTo>
                  <a:lnTo>
                    <a:pt x="647192" y="588569"/>
                  </a:lnTo>
                  <a:lnTo>
                    <a:pt x="647192" y="589166"/>
                  </a:lnTo>
                  <a:lnTo>
                    <a:pt x="647446" y="589166"/>
                  </a:lnTo>
                  <a:lnTo>
                    <a:pt x="647446" y="590499"/>
                  </a:lnTo>
                  <a:lnTo>
                    <a:pt x="647598" y="590499"/>
                  </a:lnTo>
                  <a:lnTo>
                    <a:pt x="647598" y="589166"/>
                  </a:lnTo>
                  <a:lnTo>
                    <a:pt x="647890" y="589166"/>
                  </a:lnTo>
                  <a:lnTo>
                    <a:pt x="647890" y="590499"/>
                  </a:lnTo>
                  <a:lnTo>
                    <a:pt x="648042" y="590499"/>
                  </a:lnTo>
                  <a:lnTo>
                    <a:pt x="648042" y="589166"/>
                  </a:lnTo>
                  <a:lnTo>
                    <a:pt x="648093" y="589166"/>
                  </a:lnTo>
                  <a:lnTo>
                    <a:pt x="648144" y="590499"/>
                  </a:lnTo>
                  <a:lnTo>
                    <a:pt x="648195" y="591147"/>
                  </a:lnTo>
                  <a:lnTo>
                    <a:pt x="648284" y="591795"/>
                  </a:lnTo>
                  <a:lnTo>
                    <a:pt x="648334" y="591147"/>
                  </a:lnTo>
                  <a:lnTo>
                    <a:pt x="648741" y="591147"/>
                  </a:lnTo>
                  <a:lnTo>
                    <a:pt x="648741" y="590499"/>
                  </a:lnTo>
                  <a:lnTo>
                    <a:pt x="648830" y="591795"/>
                  </a:lnTo>
                  <a:lnTo>
                    <a:pt x="649084" y="591795"/>
                  </a:lnTo>
                  <a:lnTo>
                    <a:pt x="649185" y="591147"/>
                  </a:lnTo>
                  <a:lnTo>
                    <a:pt x="649236" y="591147"/>
                  </a:lnTo>
                  <a:lnTo>
                    <a:pt x="649287" y="590499"/>
                  </a:lnTo>
                  <a:lnTo>
                    <a:pt x="649287" y="589166"/>
                  </a:lnTo>
                  <a:lnTo>
                    <a:pt x="649325" y="588569"/>
                  </a:lnTo>
                  <a:lnTo>
                    <a:pt x="649528" y="588569"/>
                  </a:lnTo>
                  <a:lnTo>
                    <a:pt x="649528" y="589166"/>
                  </a:lnTo>
                  <a:lnTo>
                    <a:pt x="649630" y="589166"/>
                  </a:lnTo>
                  <a:lnTo>
                    <a:pt x="649630" y="590499"/>
                  </a:lnTo>
                  <a:lnTo>
                    <a:pt x="649681" y="590499"/>
                  </a:lnTo>
                  <a:lnTo>
                    <a:pt x="649681" y="589166"/>
                  </a:lnTo>
                  <a:lnTo>
                    <a:pt x="649732" y="590499"/>
                  </a:lnTo>
                  <a:lnTo>
                    <a:pt x="649732" y="589166"/>
                  </a:lnTo>
                  <a:lnTo>
                    <a:pt x="649782" y="589166"/>
                  </a:lnTo>
                  <a:lnTo>
                    <a:pt x="649871" y="588569"/>
                  </a:lnTo>
                  <a:lnTo>
                    <a:pt x="649871" y="587223"/>
                  </a:lnTo>
                  <a:lnTo>
                    <a:pt x="649922" y="587223"/>
                  </a:lnTo>
                  <a:lnTo>
                    <a:pt x="649922" y="586588"/>
                  </a:lnTo>
                  <a:lnTo>
                    <a:pt x="649973" y="587223"/>
                  </a:lnTo>
                  <a:lnTo>
                    <a:pt x="650024" y="587223"/>
                  </a:lnTo>
                  <a:lnTo>
                    <a:pt x="650024" y="587921"/>
                  </a:lnTo>
                  <a:lnTo>
                    <a:pt x="650125" y="587921"/>
                  </a:lnTo>
                  <a:lnTo>
                    <a:pt x="650176" y="588569"/>
                  </a:lnTo>
                  <a:lnTo>
                    <a:pt x="650328" y="588569"/>
                  </a:lnTo>
                  <a:lnTo>
                    <a:pt x="650367" y="589166"/>
                  </a:lnTo>
                  <a:lnTo>
                    <a:pt x="650773" y="589166"/>
                  </a:lnTo>
                  <a:lnTo>
                    <a:pt x="650824" y="588569"/>
                  </a:lnTo>
                  <a:lnTo>
                    <a:pt x="650824" y="589166"/>
                  </a:lnTo>
                  <a:lnTo>
                    <a:pt x="651268" y="589166"/>
                  </a:lnTo>
                  <a:lnTo>
                    <a:pt x="651268" y="590499"/>
                  </a:lnTo>
                  <a:lnTo>
                    <a:pt x="651763" y="590499"/>
                  </a:lnTo>
                  <a:lnTo>
                    <a:pt x="651814" y="589166"/>
                  </a:lnTo>
                  <a:lnTo>
                    <a:pt x="651954" y="589166"/>
                  </a:lnTo>
                  <a:lnTo>
                    <a:pt x="652005" y="588569"/>
                  </a:lnTo>
                  <a:lnTo>
                    <a:pt x="652005" y="589166"/>
                  </a:lnTo>
                  <a:lnTo>
                    <a:pt x="652157" y="589166"/>
                  </a:lnTo>
                  <a:lnTo>
                    <a:pt x="652157" y="588569"/>
                  </a:lnTo>
                  <a:lnTo>
                    <a:pt x="652208" y="588569"/>
                  </a:lnTo>
                  <a:lnTo>
                    <a:pt x="652259" y="589166"/>
                  </a:lnTo>
                  <a:lnTo>
                    <a:pt x="652411" y="589166"/>
                  </a:lnTo>
                  <a:lnTo>
                    <a:pt x="652462" y="590499"/>
                  </a:lnTo>
                  <a:lnTo>
                    <a:pt x="652500" y="589166"/>
                  </a:lnTo>
                  <a:lnTo>
                    <a:pt x="652805" y="589166"/>
                  </a:lnTo>
                  <a:lnTo>
                    <a:pt x="652856" y="588569"/>
                  </a:lnTo>
                  <a:lnTo>
                    <a:pt x="652957" y="588569"/>
                  </a:lnTo>
                  <a:lnTo>
                    <a:pt x="653046" y="589166"/>
                  </a:lnTo>
                  <a:lnTo>
                    <a:pt x="653199" y="589166"/>
                  </a:lnTo>
                  <a:lnTo>
                    <a:pt x="653300" y="588569"/>
                  </a:lnTo>
                  <a:lnTo>
                    <a:pt x="653300" y="589166"/>
                  </a:lnTo>
                  <a:lnTo>
                    <a:pt x="653503" y="589166"/>
                  </a:lnTo>
                  <a:lnTo>
                    <a:pt x="653542" y="590499"/>
                  </a:lnTo>
                  <a:lnTo>
                    <a:pt x="653592" y="589166"/>
                  </a:lnTo>
                  <a:lnTo>
                    <a:pt x="653643" y="588569"/>
                  </a:lnTo>
                  <a:lnTo>
                    <a:pt x="653745" y="589166"/>
                  </a:lnTo>
                  <a:lnTo>
                    <a:pt x="653796" y="589166"/>
                  </a:lnTo>
                  <a:lnTo>
                    <a:pt x="653846" y="590499"/>
                  </a:lnTo>
                  <a:lnTo>
                    <a:pt x="654189" y="590499"/>
                  </a:lnTo>
                  <a:lnTo>
                    <a:pt x="654189" y="591147"/>
                  </a:lnTo>
                  <a:lnTo>
                    <a:pt x="654240" y="591147"/>
                  </a:lnTo>
                  <a:lnTo>
                    <a:pt x="654240" y="590499"/>
                  </a:lnTo>
                  <a:lnTo>
                    <a:pt x="654291" y="591147"/>
                  </a:lnTo>
                  <a:lnTo>
                    <a:pt x="654291" y="590499"/>
                  </a:lnTo>
                  <a:lnTo>
                    <a:pt x="654392" y="590499"/>
                  </a:lnTo>
                  <a:lnTo>
                    <a:pt x="654443" y="591147"/>
                  </a:lnTo>
                  <a:lnTo>
                    <a:pt x="654545" y="591147"/>
                  </a:lnTo>
                  <a:lnTo>
                    <a:pt x="654545" y="591795"/>
                  </a:lnTo>
                  <a:lnTo>
                    <a:pt x="654735" y="591795"/>
                  </a:lnTo>
                  <a:lnTo>
                    <a:pt x="654735" y="591147"/>
                  </a:lnTo>
                  <a:lnTo>
                    <a:pt x="654938" y="591147"/>
                  </a:lnTo>
                  <a:lnTo>
                    <a:pt x="654989" y="590499"/>
                  </a:lnTo>
                  <a:lnTo>
                    <a:pt x="655091" y="590499"/>
                  </a:lnTo>
                  <a:lnTo>
                    <a:pt x="655129" y="589166"/>
                  </a:lnTo>
                  <a:lnTo>
                    <a:pt x="655129" y="588569"/>
                  </a:lnTo>
                  <a:lnTo>
                    <a:pt x="655383" y="588569"/>
                  </a:lnTo>
                  <a:lnTo>
                    <a:pt x="655383" y="589166"/>
                  </a:lnTo>
                  <a:lnTo>
                    <a:pt x="655434" y="588569"/>
                  </a:lnTo>
                  <a:lnTo>
                    <a:pt x="655535" y="589166"/>
                  </a:lnTo>
                  <a:lnTo>
                    <a:pt x="655637" y="589166"/>
                  </a:lnTo>
                  <a:lnTo>
                    <a:pt x="655637" y="588569"/>
                  </a:lnTo>
                  <a:lnTo>
                    <a:pt x="655675" y="587921"/>
                  </a:lnTo>
                  <a:lnTo>
                    <a:pt x="655675" y="587223"/>
                  </a:lnTo>
                  <a:lnTo>
                    <a:pt x="655777" y="587921"/>
                  </a:lnTo>
                  <a:lnTo>
                    <a:pt x="655777" y="587223"/>
                  </a:lnTo>
                  <a:lnTo>
                    <a:pt x="655828" y="587921"/>
                  </a:lnTo>
                  <a:lnTo>
                    <a:pt x="656031" y="587921"/>
                  </a:lnTo>
                  <a:lnTo>
                    <a:pt x="656082" y="587223"/>
                  </a:lnTo>
                  <a:lnTo>
                    <a:pt x="656132" y="587223"/>
                  </a:lnTo>
                  <a:lnTo>
                    <a:pt x="656221" y="587921"/>
                  </a:lnTo>
                  <a:lnTo>
                    <a:pt x="656221" y="588569"/>
                  </a:lnTo>
                  <a:lnTo>
                    <a:pt x="656272" y="588569"/>
                  </a:lnTo>
                  <a:lnTo>
                    <a:pt x="656272" y="589166"/>
                  </a:lnTo>
                  <a:lnTo>
                    <a:pt x="656323" y="588569"/>
                  </a:lnTo>
                  <a:lnTo>
                    <a:pt x="656323" y="589166"/>
                  </a:lnTo>
                  <a:lnTo>
                    <a:pt x="656577" y="589166"/>
                  </a:lnTo>
                  <a:lnTo>
                    <a:pt x="656678" y="590499"/>
                  </a:lnTo>
                  <a:lnTo>
                    <a:pt x="656717" y="589166"/>
                  </a:lnTo>
                  <a:lnTo>
                    <a:pt x="656818" y="589166"/>
                  </a:lnTo>
                  <a:lnTo>
                    <a:pt x="656818" y="590499"/>
                  </a:lnTo>
                  <a:lnTo>
                    <a:pt x="656971" y="590499"/>
                  </a:lnTo>
                  <a:lnTo>
                    <a:pt x="657021" y="589166"/>
                  </a:lnTo>
                  <a:lnTo>
                    <a:pt x="657123" y="590499"/>
                  </a:lnTo>
                  <a:lnTo>
                    <a:pt x="657174" y="589166"/>
                  </a:lnTo>
                  <a:lnTo>
                    <a:pt x="657224" y="590499"/>
                  </a:lnTo>
                  <a:lnTo>
                    <a:pt x="657224" y="589166"/>
                  </a:lnTo>
                  <a:lnTo>
                    <a:pt x="657567" y="589166"/>
                  </a:lnTo>
                  <a:lnTo>
                    <a:pt x="657567" y="590499"/>
                  </a:lnTo>
                  <a:lnTo>
                    <a:pt x="657618" y="590499"/>
                  </a:lnTo>
                  <a:lnTo>
                    <a:pt x="657618" y="589166"/>
                  </a:lnTo>
                  <a:lnTo>
                    <a:pt x="657669" y="590499"/>
                  </a:lnTo>
                  <a:lnTo>
                    <a:pt x="657720" y="589166"/>
                  </a:lnTo>
                  <a:lnTo>
                    <a:pt x="657910" y="589166"/>
                  </a:lnTo>
                  <a:lnTo>
                    <a:pt x="657961" y="588569"/>
                  </a:lnTo>
                  <a:lnTo>
                    <a:pt x="658164" y="588569"/>
                  </a:lnTo>
                  <a:lnTo>
                    <a:pt x="658164" y="589166"/>
                  </a:lnTo>
                  <a:lnTo>
                    <a:pt x="658266" y="589166"/>
                  </a:lnTo>
                  <a:lnTo>
                    <a:pt x="658304" y="590499"/>
                  </a:lnTo>
                  <a:lnTo>
                    <a:pt x="658355" y="589166"/>
                  </a:lnTo>
                  <a:lnTo>
                    <a:pt x="658761" y="589166"/>
                  </a:lnTo>
                  <a:lnTo>
                    <a:pt x="658812" y="588569"/>
                  </a:lnTo>
                  <a:lnTo>
                    <a:pt x="658812" y="589166"/>
                  </a:lnTo>
                  <a:lnTo>
                    <a:pt x="659396" y="589166"/>
                  </a:lnTo>
                  <a:lnTo>
                    <a:pt x="659396" y="590499"/>
                  </a:lnTo>
                  <a:lnTo>
                    <a:pt x="659447" y="589166"/>
                  </a:lnTo>
                  <a:lnTo>
                    <a:pt x="659701" y="589166"/>
                  </a:lnTo>
                  <a:lnTo>
                    <a:pt x="659752" y="590499"/>
                  </a:lnTo>
                  <a:lnTo>
                    <a:pt x="659942" y="590499"/>
                  </a:lnTo>
                  <a:lnTo>
                    <a:pt x="659942" y="591147"/>
                  </a:lnTo>
                  <a:lnTo>
                    <a:pt x="660146" y="591147"/>
                  </a:lnTo>
                  <a:lnTo>
                    <a:pt x="660196" y="590499"/>
                  </a:lnTo>
                  <a:lnTo>
                    <a:pt x="660298" y="590499"/>
                  </a:lnTo>
                  <a:lnTo>
                    <a:pt x="660298" y="591147"/>
                  </a:lnTo>
                  <a:lnTo>
                    <a:pt x="660793" y="591147"/>
                  </a:lnTo>
                  <a:lnTo>
                    <a:pt x="660844" y="591795"/>
                  </a:lnTo>
                  <a:lnTo>
                    <a:pt x="660895" y="591147"/>
                  </a:lnTo>
                  <a:lnTo>
                    <a:pt x="660984" y="591147"/>
                  </a:lnTo>
                  <a:lnTo>
                    <a:pt x="660984" y="590499"/>
                  </a:lnTo>
                  <a:lnTo>
                    <a:pt x="661034" y="589166"/>
                  </a:lnTo>
                  <a:lnTo>
                    <a:pt x="661085" y="589166"/>
                  </a:lnTo>
                  <a:lnTo>
                    <a:pt x="661085" y="588569"/>
                  </a:lnTo>
                  <a:lnTo>
                    <a:pt x="661136" y="588569"/>
                  </a:lnTo>
                  <a:lnTo>
                    <a:pt x="661238" y="587921"/>
                  </a:lnTo>
                  <a:lnTo>
                    <a:pt x="661288" y="588569"/>
                  </a:lnTo>
                  <a:lnTo>
                    <a:pt x="661441" y="588569"/>
                  </a:lnTo>
                  <a:lnTo>
                    <a:pt x="661479" y="589166"/>
                  </a:lnTo>
                  <a:lnTo>
                    <a:pt x="661682" y="589166"/>
                  </a:lnTo>
                  <a:lnTo>
                    <a:pt x="661682" y="588569"/>
                  </a:lnTo>
                  <a:lnTo>
                    <a:pt x="661733" y="587921"/>
                  </a:lnTo>
                  <a:lnTo>
                    <a:pt x="661784" y="587921"/>
                  </a:lnTo>
                  <a:lnTo>
                    <a:pt x="661784" y="587223"/>
                  </a:lnTo>
                  <a:lnTo>
                    <a:pt x="661987" y="587223"/>
                  </a:lnTo>
                  <a:lnTo>
                    <a:pt x="661987" y="587921"/>
                  </a:lnTo>
                  <a:lnTo>
                    <a:pt x="662127" y="587921"/>
                  </a:lnTo>
                  <a:lnTo>
                    <a:pt x="662127" y="588569"/>
                  </a:lnTo>
                  <a:lnTo>
                    <a:pt x="662381" y="588569"/>
                  </a:lnTo>
                  <a:lnTo>
                    <a:pt x="662381" y="589166"/>
                  </a:lnTo>
                  <a:lnTo>
                    <a:pt x="662432" y="589166"/>
                  </a:lnTo>
                  <a:lnTo>
                    <a:pt x="662482" y="588569"/>
                  </a:lnTo>
                  <a:lnTo>
                    <a:pt x="662571" y="588569"/>
                  </a:lnTo>
                  <a:lnTo>
                    <a:pt x="662622" y="589166"/>
                  </a:lnTo>
                  <a:lnTo>
                    <a:pt x="662673" y="589166"/>
                  </a:lnTo>
                  <a:lnTo>
                    <a:pt x="662724" y="588569"/>
                  </a:lnTo>
                  <a:lnTo>
                    <a:pt x="662724" y="589166"/>
                  </a:lnTo>
                  <a:lnTo>
                    <a:pt x="663270" y="589166"/>
                  </a:lnTo>
                  <a:lnTo>
                    <a:pt x="663270" y="590499"/>
                  </a:lnTo>
                  <a:lnTo>
                    <a:pt x="663321" y="589166"/>
                  </a:lnTo>
                  <a:lnTo>
                    <a:pt x="663613" y="589166"/>
                  </a:lnTo>
                  <a:lnTo>
                    <a:pt x="663613" y="588569"/>
                  </a:lnTo>
                  <a:lnTo>
                    <a:pt x="663714" y="589166"/>
                  </a:lnTo>
                  <a:lnTo>
                    <a:pt x="663714" y="588569"/>
                  </a:lnTo>
                  <a:lnTo>
                    <a:pt x="663968" y="588569"/>
                  </a:lnTo>
                  <a:lnTo>
                    <a:pt x="663968" y="589166"/>
                  </a:lnTo>
                  <a:lnTo>
                    <a:pt x="664019" y="589166"/>
                  </a:lnTo>
                  <a:lnTo>
                    <a:pt x="664019" y="588569"/>
                  </a:lnTo>
                  <a:lnTo>
                    <a:pt x="664070" y="587921"/>
                  </a:lnTo>
                  <a:lnTo>
                    <a:pt x="664159" y="587921"/>
                  </a:lnTo>
                  <a:lnTo>
                    <a:pt x="664159" y="588569"/>
                  </a:lnTo>
                  <a:lnTo>
                    <a:pt x="664209" y="588569"/>
                  </a:lnTo>
                  <a:lnTo>
                    <a:pt x="664209" y="589166"/>
                  </a:lnTo>
                  <a:lnTo>
                    <a:pt x="664616" y="589166"/>
                  </a:lnTo>
                  <a:lnTo>
                    <a:pt x="664616" y="588569"/>
                  </a:lnTo>
                  <a:lnTo>
                    <a:pt x="664959" y="588569"/>
                  </a:lnTo>
                  <a:lnTo>
                    <a:pt x="665060" y="589166"/>
                  </a:lnTo>
                  <a:lnTo>
                    <a:pt x="665060" y="588569"/>
                  </a:lnTo>
                  <a:lnTo>
                    <a:pt x="665200" y="588569"/>
                  </a:lnTo>
                  <a:lnTo>
                    <a:pt x="665200" y="589166"/>
                  </a:lnTo>
                  <a:lnTo>
                    <a:pt x="665746" y="589166"/>
                  </a:lnTo>
                  <a:lnTo>
                    <a:pt x="665746" y="588569"/>
                  </a:lnTo>
                  <a:lnTo>
                    <a:pt x="665797" y="589166"/>
                  </a:lnTo>
                  <a:lnTo>
                    <a:pt x="665848" y="589166"/>
                  </a:lnTo>
                  <a:lnTo>
                    <a:pt x="665899" y="590499"/>
                  </a:lnTo>
                  <a:lnTo>
                    <a:pt x="666102" y="590499"/>
                  </a:lnTo>
                  <a:lnTo>
                    <a:pt x="666203" y="591147"/>
                  </a:lnTo>
                  <a:lnTo>
                    <a:pt x="666292" y="591147"/>
                  </a:lnTo>
                  <a:lnTo>
                    <a:pt x="666343" y="591795"/>
                  </a:lnTo>
                  <a:lnTo>
                    <a:pt x="666546" y="591795"/>
                  </a:lnTo>
                  <a:lnTo>
                    <a:pt x="666648" y="591147"/>
                  </a:lnTo>
                  <a:lnTo>
                    <a:pt x="666699" y="591147"/>
                  </a:lnTo>
                  <a:lnTo>
                    <a:pt x="666699" y="591795"/>
                  </a:lnTo>
                  <a:lnTo>
                    <a:pt x="666749" y="591795"/>
                  </a:lnTo>
                  <a:lnTo>
                    <a:pt x="666788" y="591147"/>
                  </a:lnTo>
                  <a:lnTo>
                    <a:pt x="666940" y="591147"/>
                  </a:lnTo>
                  <a:lnTo>
                    <a:pt x="666991" y="590499"/>
                  </a:lnTo>
                  <a:lnTo>
                    <a:pt x="666991" y="589166"/>
                  </a:lnTo>
                  <a:lnTo>
                    <a:pt x="667092" y="588569"/>
                  </a:lnTo>
                  <a:lnTo>
                    <a:pt x="667143" y="588569"/>
                  </a:lnTo>
                  <a:lnTo>
                    <a:pt x="667194" y="587921"/>
                  </a:lnTo>
                  <a:lnTo>
                    <a:pt x="667245" y="587921"/>
                  </a:lnTo>
                  <a:lnTo>
                    <a:pt x="667334" y="588569"/>
                  </a:lnTo>
                  <a:lnTo>
                    <a:pt x="667334" y="589166"/>
                  </a:lnTo>
                  <a:lnTo>
                    <a:pt x="667588" y="589166"/>
                  </a:lnTo>
                  <a:lnTo>
                    <a:pt x="667638" y="588569"/>
                  </a:lnTo>
                  <a:lnTo>
                    <a:pt x="667689" y="587921"/>
                  </a:lnTo>
                  <a:lnTo>
                    <a:pt x="667791" y="587223"/>
                  </a:lnTo>
                  <a:lnTo>
                    <a:pt x="667829" y="587223"/>
                  </a:lnTo>
                  <a:lnTo>
                    <a:pt x="667880" y="587921"/>
                  </a:lnTo>
                  <a:lnTo>
                    <a:pt x="668134" y="587921"/>
                  </a:lnTo>
                  <a:lnTo>
                    <a:pt x="668134" y="588569"/>
                  </a:lnTo>
                  <a:lnTo>
                    <a:pt x="668337" y="588569"/>
                  </a:lnTo>
                  <a:lnTo>
                    <a:pt x="668375" y="589166"/>
                  </a:lnTo>
                  <a:lnTo>
                    <a:pt x="668375" y="588569"/>
                  </a:lnTo>
                  <a:lnTo>
                    <a:pt x="668578" y="588569"/>
                  </a:lnTo>
                  <a:lnTo>
                    <a:pt x="668680" y="589166"/>
                  </a:lnTo>
                  <a:lnTo>
                    <a:pt x="668731" y="589166"/>
                  </a:lnTo>
                  <a:lnTo>
                    <a:pt x="668782" y="588569"/>
                  </a:lnTo>
                  <a:lnTo>
                    <a:pt x="669226" y="588569"/>
                  </a:lnTo>
                  <a:lnTo>
                    <a:pt x="669277" y="589166"/>
                  </a:lnTo>
                  <a:lnTo>
                    <a:pt x="669378" y="589166"/>
                  </a:lnTo>
                  <a:lnTo>
                    <a:pt x="669417" y="588569"/>
                  </a:lnTo>
                  <a:lnTo>
                    <a:pt x="669417" y="589166"/>
                  </a:lnTo>
                  <a:lnTo>
                    <a:pt x="669671" y="589166"/>
                  </a:lnTo>
                  <a:lnTo>
                    <a:pt x="669671" y="588569"/>
                  </a:lnTo>
                  <a:lnTo>
                    <a:pt x="669924" y="588569"/>
                  </a:lnTo>
                  <a:lnTo>
                    <a:pt x="669963" y="587921"/>
                  </a:lnTo>
                  <a:lnTo>
                    <a:pt x="669963" y="588569"/>
                  </a:lnTo>
                  <a:lnTo>
                    <a:pt x="670064" y="588569"/>
                  </a:lnTo>
                  <a:lnTo>
                    <a:pt x="670064" y="587921"/>
                  </a:lnTo>
                  <a:lnTo>
                    <a:pt x="670166" y="587921"/>
                  </a:lnTo>
                  <a:lnTo>
                    <a:pt x="670166" y="588569"/>
                  </a:lnTo>
                  <a:lnTo>
                    <a:pt x="670318" y="588569"/>
                  </a:lnTo>
                  <a:lnTo>
                    <a:pt x="670318" y="587921"/>
                  </a:lnTo>
                  <a:lnTo>
                    <a:pt x="670369" y="588569"/>
                  </a:lnTo>
                  <a:lnTo>
                    <a:pt x="670559" y="588569"/>
                  </a:lnTo>
                  <a:lnTo>
                    <a:pt x="670610" y="587921"/>
                  </a:lnTo>
                  <a:lnTo>
                    <a:pt x="670661" y="587921"/>
                  </a:lnTo>
                  <a:lnTo>
                    <a:pt x="670661" y="588569"/>
                  </a:lnTo>
                  <a:lnTo>
                    <a:pt x="670813" y="588569"/>
                  </a:lnTo>
                  <a:lnTo>
                    <a:pt x="670864" y="587921"/>
                  </a:lnTo>
                  <a:lnTo>
                    <a:pt x="670966" y="587921"/>
                  </a:lnTo>
                  <a:lnTo>
                    <a:pt x="670966" y="588569"/>
                  </a:lnTo>
                  <a:lnTo>
                    <a:pt x="671004" y="588569"/>
                  </a:lnTo>
                  <a:lnTo>
                    <a:pt x="671055" y="587921"/>
                  </a:lnTo>
                  <a:lnTo>
                    <a:pt x="671207" y="587921"/>
                  </a:lnTo>
                  <a:lnTo>
                    <a:pt x="671207" y="588569"/>
                  </a:lnTo>
                  <a:lnTo>
                    <a:pt x="671855" y="588569"/>
                  </a:lnTo>
                  <a:lnTo>
                    <a:pt x="671855" y="589166"/>
                  </a:lnTo>
                  <a:lnTo>
                    <a:pt x="672147" y="589166"/>
                  </a:lnTo>
                  <a:lnTo>
                    <a:pt x="672147" y="590499"/>
                  </a:lnTo>
                  <a:lnTo>
                    <a:pt x="672198" y="590499"/>
                  </a:lnTo>
                  <a:lnTo>
                    <a:pt x="672198" y="591147"/>
                  </a:lnTo>
                  <a:lnTo>
                    <a:pt x="672249" y="591147"/>
                  </a:lnTo>
                  <a:lnTo>
                    <a:pt x="672350" y="591795"/>
                  </a:lnTo>
                  <a:lnTo>
                    <a:pt x="672350" y="591147"/>
                  </a:lnTo>
                  <a:lnTo>
                    <a:pt x="672401" y="591147"/>
                  </a:lnTo>
                  <a:lnTo>
                    <a:pt x="672452" y="590499"/>
                  </a:lnTo>
                  <a:lnTo>
                    <a:pt x="672693" y="590499"/>
                  </a:lnTo>
                  <a:lnTo>
                    <a:pt x="672795" y="591147"/>
                  </a:lnTo>
                  <a:lnTo>
                    <a:pt x="672998" y="591147"/>
                  </a:lnTo>
                  <a:lnTo>
                    <a:pt x="672998" y="590499"/>
                  </a:lnTo>
                  <a:lnTo>
                    <a:pt x="673049" y="589166"/>
                  </a:lnTo>
                  <a:lnTo>
                    <a:pt x="673049" y="588569"/>
                  </a:lnTo>
                  <a:lnTo>
                    <a:pt x="673099" y="587921"/>
                  </a:lnTo>
                  <a:lnTo>
                    <a:pt x="673239" y="587921"/>
                  </a:lnTo>
                  <a:lnTo>
                    <a:pt x="673290" y="588569"/>
                  </a:lnTo>
                  <a:lnTo>
                    <a:pt x="673341" y="588569"/>
                  </a:lnTo>
                  <a:lnTo>
                    <a:pt x="673442" y="589166"/>
                  </a:lnTo>
                  <a:lnTo>
                    <a:pt x="673493" y="588569"/>
                  </a:lnTo>
                  <a:lnTo>
                    <a:pt x="673544" y="587921"/>
                  </a:lnTo>
                  <a:lnTo>
                    <a:pt x="673544" y="586588"/>
                  </a:lnTo>
                  <a:lnTo>
                    <a:pt x="673734" y="586588"/>
                  </a:lnTo>
                  <a:lnTo>
                    <a:pt x="673785" y="587223"/>
                  </a:lnTo>
                  <a:lnTo>
                    <a:pt x="673938" y="587223"/>
                  </a:lnTo>
                  <a:lnTo>
                    <a:pt x="673938" y="587921"/>
                  </a:lnTo>
                  <a:lnTo>
                    <a:pt x="674141" y="587921"/>
                  </a:lnTo>
                  <a:lnTo>
                    <a:pt x="674179" y="588569"/>
                  </a:lnTo>
                  <a:lnTo>
                    <a:pt x="674230" y="588569"/>
                  </a:lnTo>
                  <a:lnTo>
                    <a:pt x="674230" y="589166"/>
                  </a:lnTo>
                  <a:lnTo>
                    <a:pt x="674281" y="588569"/>
                  </a:lnTo>
                  <a:lnTo>
                    <a:pt x="674433" y="588569"/>
                  </a:lnTo>
                  <a:lnTo>
                    <a:pt x="674433" y="587921"/>
                  </a:lnTo>
                  <a:lnTo>
                    <a:pt x="674636" y="587921"/>
                  </a:lnTo>
                  <a:lnTo>
                    <a:pt x="674636" y="588569"/>
                  </a:lnTo>
                  <a:lnTo>
                    <a:pt x="674827" y="588569"/>
                  </a:lnTo>
                  <a:lnTo>
                    <a:pt x="674878" y="589166"/>
                  </a:lnTo>
                  <a:lnTo>
                    <a:pt x="674928" y="589166"/>
                  </a:lnTo>
                  <a:lnTo>
                    <a:pt x="674928" y="590499"/>
                  </a:lnTo>
                  <a:lnTo>
                    <a:pt x="675030" y="589166"/>
                  </a:lnTo>
                  <a:lnTo>
                    <a:pt x="675132" y="589166"/>
                  </a:lnTo>
                  <a:lnTo>
                    <a:pt x="675132" y="590499"/>
                  </a:lnTo>
                  <a:lnTo>
                    <a:pt x="675182" y="589166"/>
                  </a:lnTo>
                  <a:lnTo>
                    <a:pt x="675271" y="588569"/>
                  </a:lnTo>
                  <a:lnTo>
                    <a:pt x="675424" y="588569"/>
                  </a:lnTo>
                  <a:lnTo>
                    <a:pt x="675424" y="587921"/>
                  </a:lnTo>
                  <a:lnTo>
                    <a:pt x="675576" y="587921"/>
                  </a:lnTo>
                  <a:lnTo>
                    <a:pt x="675627" y="588569"/>
                  </a:lnTo>
                  <a:lnTo>
                    <a:pt x="675627" y="587921"/>
                  </a:lnTo>
                  <a:lnTo>
                    <a:pt x="675728" y="588569"/>
                  </a:lnTo>
                  <a:lnTo>
                    <a:pt x="675767" y="587921"/>
                  </a:lnTo>
                  <a:lnTo>
                    <a:pt x="675868" y="587921"/>
                  </a:lnTo>
                  <a:lnTo>
                    <a:pt x="675970" y="588569"/>
                  </a:lnTo>
                  <a:lnTo>
                    <a:pt x="676414" y="588569"/>
                  </a:lnTo>
                  <a:lnTo>
                    <a:pt x="676414" y="587921"/>
                  </a:lnTo>
                  <a:lnTo>
                    <a:pt x="676617" y="587921"/>
                  </a:lnTo>
                  <a:lnTo>
                    <a:pt x="676668" y="588569"/>
                  </a:lnTo>
                  <a:lnTo>
                    <a:pt x="676719" y="588569"/>
                  </a:lnTo>
                  <a:lnTo>
                    <a:pt x="676719" y="587921"/>
                  </a:lnTo>
                  <a:lnTo>
                    <a:pt x="676859" y="587921"/>
                  </a:lnTo>
                  <a:lnTo>
                    <a:pt x="676909" y="588569"/>
                  </a:lnTo>
                  <a:lnTo>
                    <a:pt x="677214" y="588569"/>
                  </a:lnTo>
                  <a:lnTo>
                    <a:pt x="677316" y="589166"/>
                  </a:lnTo>
                  <a:lnTo>
                    <a:pt x="677354" y="589166"/>
                  </a:lnTo>
                  <a:lnTo>
                    <a:pt x="677354" y="588569"/>
                  </a:lnTo>
                  <a:lnTo>
                    <a:pt x="677456" y="588569"/>
                  </a:lnTo>
                  <a:lnTo>
                    <a:pt x="677557" y="589166"/>
                  </a:lnTo>
                  <a:lnTo>
                    <a:pt x="677659" y="589166"/>
                  </a:lnTo>
                  <a:lnTo>
                    <a:pt x="677659" y="588569"/>
                  </a:lnTo>
                  <a:lnTo>
                    <a:pt x="677862" y="588569"/>
                  </a:lnTo>
                  <a:lnTo>
                    <a:pt x="677862" y="589166"/>
                  </a:lnTo>
                  <a:lnTo>
                    <a:pt x="677900" y="589166"/>
                  </a:lnTo>
                  <a:lnTo>
                    <a:pt x="678002" y="590499"/>
                  </a:lnTo>
                  <a:lnTo>
                    <a:pt x="678357" y="590499"/>
                  </a:lnTo>
                  <a:lnTo>
                    <a:pt x="678446" y="591147"/>
                  </a:lnTo>
                  <a:lnTo>
                    <a:pt x="678497" y="591147"/>
                  </a:lnTo>
                  <a:lnTo>
                    <a:pt x="678548" y="590499"/>
                  </a:lnTo>
                  <a:lnTo>
                    <a:pt x="678599" y="590499"/>
                  </a:lnTo>
                  <a:lnTo>
                    <a:pt x="678700" y="589166"/>
                  </a:lnTo>
                  <a:lnTo>
                    <a:pt x="678751" y="588569"/>
                  </a:lnTo>
                  <a:lnTo>
                    <a:pt x="678751" y="587921"/>
                  </a:lnTo>
                  <a:lnTo>
                    <a:pt x="679043" y="587921"/>
                  </a:lnTo>
                  <a:lnTo>
                    <a:pt x="679043" y="588569"/>
                  </a:lnTo>
                  <a:lnTo>
                    <a:pt x="679145" y="588569"/>
                  </a:lnTo>
                  <a:lnTo>
                    <a:pt x="679145" y="589166"/>
                  </a:lnTo>
                  <a:lnTo>
                    <a:pt x="679246" y="589166"/>
                  </a:lnTo>
                  <a:lnTo>
                    <a:pt x="679348" y="588569"/>
                  </a:lnTo>
                  <a:lnTo>
                    <a:pt x="679348" y="587921"/>
                  </a:lnTo>
                  <a:lnTo>
                    <a:pt x="679399" y="587921"/>
                  </a:lnTo>
                  <a:lnTo>
                    <a:pt x="679399" y="586588"/>
                  </a:lnTo>
                  <a:lnTo>
                    <a:pt x="679488" y="586588"/>
                  </a:lnTo>
                  <a:lnTo>
                    <a:pt x="679589" y="587223"/>
                  </a:lnTo>
                  <a:lnTo>
                    <a:pt x="679640" y="587223"/>
                  </a:lnTo>
                  <a:lnTo>
                    <a:pt x="679691" y="586588"/>
                  </a:lnTo>
                  <a:lnTo>
                    <a:pt x="679792" y="587223"/>
                  </a:lnTo>
                  <a:lnTo>
                    <a:pt x="679792" y="587921"/>
                  </a:lnTo>
                  <a:lnTo>
                    <a:pt x="679945" y="587921"/>
                  </a:lnTo>
                  <a:lnTo>
                    <a:pt x="679945" y="588569"/>
                  </a:lnTo>
                  <a:lnTo>
                    <a:pt x="680034" y="588569"/>
                  </a:lnTo>
                  <a:lnTo>
                    <a:pt x="680034" y="587921"/>
                  </a:lnTo>
                  <a:lnTo>
                    <a:pt x="680084" y="587921"/>
                  </a:lnTo>
                  <a:lnTo>
                    <a:pt x="680135" y="588569"/>
                  </a:lnTo>
                  <a:lnTo>
                    <a:pt x="680186" y="588569"/>
                  </a:lnTo>
                  <a:lnTo>
                    <a:pt x="680288" y="589166"/>
                  </a:lnTo>
                  <a:lnTo>
                    <a:pt x="680288" y="588569"/>
                  </a:lnTo>
                  <a:lnTo>
                    <a:pt x="680529" y="588569"/>
                  </a:lnTo>
                  <a:lnTo>
                    <a:pt x="680529" y="589166"/>
                  </a:lnTo>
                  <a:lnTo>
                    <a:pt x="680580" y="589166"/>
                  </a:lnTo>
                  <a:lnTo>
                    <a:pt x="680580" y="588569"/>
                  </a:lnTo>
                  <a:lnTo>
                    <a:pt x="680783" y="588569"/>
                  </a:lnTo>
                  <a:lnTo>
                    <a:pt x="680834" y="587921"/>
                  </a:lnTo>
                  <a:lnTo>
                    <a:pt x="680935" y="588569"/>
                  </a:lnTo>
                  <a:lnTo>
                    <a:pt x="681177" y="588569"/>
                  </a:lnTo>
                  <a:lnTo>
                    <a:pt x="681228" y="587921"/>
                  </a:lnTo>
                  <a:lnTo>
                    <a:pt x="681278" y="588569"/>
                  </a:lnTo>
                  <a:lnTo>
                    <a:pt x="681482" y="588569"/>
                  </a:lnTo>
                  <a:lnTo>
                    <a:pt x="681532" y="587921"/>
                  </a:lnTo>
                  <a:lnTo>
                    <a:pt x="681621" y="587921"/>
                  </a:lnTo>
                  <a:lnTo>
                    <a:pt x="681621" y="588569"/>
                  </a:lnTo>
                  <a:lnTo>
                    <a:pt x="681723" y="588569"/>
                  </a:lnTo>
                  <a:lnTo>
                    <a:pt x="681723" y="589166"/>
                  </a:lnTo>
                  <a:lnTo>
                    <a:pt x="681774" y="588569"/>
                  </a:lnTo>
                  <a:lnTo>
                    <a:pt x="682078" y="588569"/>
                  </a:lnTo>
                  <a:lnTo>
                    <a:pt x="682117" y="587921"/>
                  </a:lnTo>
                  <a:lnTo>
                    <a:pt x="682167" y="587921"/>
                  </a:lnTo>
                  <a:lnTo>
                    <a:pt x="682167" y="588569"/>
                  </a:lnTo>
                  <a:lnTo>
                    <a:pt x="682421" y="588569"/>
                  </a:lnTo>
                  <a:lnTo>
                    <a:pt x="682523" y="587921"/>
                  </a:lnTo>
                  <a:lnTo>
                    <a:pt x="682523" y="588569"/>
                  </a:lnTo>
                  <a:lnTo>
                    <a:pt x="682574" y="587921"/>
                  </a:lnTo>
                  <a:lnTo>
                    <a:pt x="682624" y="587921"/>
                  </a:lnTo>
                  <a:lnTo>
                    <a:pt x="682663" y="588569"/>
                  </a:lnTo>
                  <a:lnTo>
                    <a:pt x="683310" y="588569"/>
                  </a:lnTo>
                  <a:lnTo>
                    <a:pt x="683310" y="589166"/>
                  </a:lnTo>
                  <a:lnTo>
                    <a:pt x="683666" y="589166"/>
                  </a:lnTo>
                  <a:lnTo>
                    <a:pt x="683666" y="590499"/>
                  </a:lnTo>
                  <a:lnTo>
                    <a:pt x="684352" y="590499"/>
                  </a:lnTo>
                  <a:lnTo>
                    <a:pt x="684403" y="591147"/>
                  </a:lnTo>
                  <a:lnTo>
                    <a:pt x="684453" y="590499"/>
                  </a:lnTo>
                  <a:lnTo>
                    <a:pt x="684453" y="589166"/>
                  </a:lnTo>
                  <a:lnTo>
                    <a:pt x="684555" y="589166"/>
                  </a:lnTo>
                  <a:lnTo>
                    <a:pt x="684555" y="588569"/>
                  </a:lnTo>
                  <a:lnTo>
                    <a:pt x="684606" y="588569"/>
                  </a:lnTo>
                  <a:lnTo>
                    <a:pt x="684657" y="587921"/>
                  </a:lnTo>
                  <a:lnTo>
                    <a:pt x="684707" y="587921"/>
                  </a:lnTo>
                  <a:lnTo>
                    <a:pt x="684796" y="587223"/>
                  </a:lnTo>
                  <a:lnTo>
                    <a:pt x="684847" y="587921"/>
                  </a:lnTo>
                  <a:lnTo>
                    <a:pt x="684898" y="588569"/>
                  </a:lnTo>
                  <a:lnTo>
                    <a:pt x="684949" y="588569"/>
                  </a:lnTo>
                  <a:lnTo>
                    <a:pt x="684949" y="589166"/>
                  </a:lnTo>
                  <a:lnTo>
                    <a:pt x="685050" y="589166"/>
                  </a:lnTo>
                  <a:lnTo>
                    <a:pt x="685101" y="590499"/>
                  </a:lnTo>
                  <a:lnTo>
                    <a:pt x="685101" y="589166"/>
                  </a:lnTo>
                  <a:lnTo>
                    <a:pt x="685152" y="590499"/>
                  </a:lnTo>
                  <a:lnTo>
                    <a:pt x="685152" y="589166"/>
                  </a:lnTo>
                  <a:lnTo>
                    <a:pt x="685253" y="588569"/>
                  </a:lnTo>
                  <a:lnTo>
                    <a:pt x="685253" y="587921"/>
                  </a:lnTo>
                  <a:lnTo>
                    <a:pt x="685292" y="586588"/>
                  </a:lnTo>
                  <a:lnTo>
                    <a:pt x="685342" y="586588"/>
                  </a:lnTo>
                  <a:lnTo>
                    <a:pt x="685342" y="585242"/>
                  </a:lnTo>
                  <a:lnTo>
                    <a:pt x="685495" y="585242"/>
                  </a:lnTo>
                  <a:lnTo>
                    <a:pt x="685495" y="586588"/>
                  </a:lnTo>
                  <a:lnTo>
                    <a:pt x="685546" y="586588"/>
                  </a:lnTo>
                  <a:lnTo>
                    <a:pt x="685546" y="587223"/>
                  </a:lnTo>
                  <a:lnTo>
                    <a:pt x="685698" y="587223"/>
                  </a:lnTo>
                  <a:lnTo>
                    <a:pt x="685698" y="587921"/>
                  </a:lnTo>
                  <a:lnTo>
                    <a:pt x="685799" y="587921"/>
                  </a:lnTo>
                  <a:lnTo>
                    <a:pt x="685799" y="588569"/>
                  </a:lnTo>
                  <a:lnTo>
                    <a:pt x="685939" y="588569"/>
                  </a:lnTo>
                  <a:lnTo>
                    <a:pt x="685990" y="587921"/>
                  </a:lnTo>
                  <a:lnTo>
                    <a:pt x="686142" y="587921"/>
                  </a:lnTo>
                  <a:lnTo>
                    <a:pt x="686193" y="588569"/>
                  </a:lnTo>
                  <a:lnTo>
                    <a:pt x="686244" y="588569"/>
                  </a:lnTo>
                  <a:lnTo>
                    <a:pt x="686295" y="587921"/>
                  </a:lnTo>
                  <a:lnTo>
                    <a:pt x="686485" y="587921"/>
                  </a:lnTo>
                  <a:lnTo>
                    <a:pt x="686485" y="588569"/>
                  </a:lnTo>
                  <a:lnTo>
                    <a:pt x="686536" y="587921"/>
                  </a:lnTo>
                  <a:lnTo>
                    <a:pt x="686638" y="588569"/>
                  </a:lnTo>
                  <a:lnTo>
                    <a:pt x="686688" y="587921"/>
                  </a:lnTo>
                  <a:lnTo>
                    <a:pt x="686688" y="588569"/>
                  </a:lnTo>
                  <a:lnTo>
                    <a:pt x="686739" y="587921"/>
                  </a:lnTo>
                  <a:lnTo>
                    <a:pt x="686739" y="588569"/>
                  </a:lnTo>
                  <a:lnTo>
                    <a:pt x="686981" y="588569"/>
                  </a:lnTo>
                  <a:lnTo>
                    <a:pt x="687082" y="589166"/>
                  </a:lnTo>
                  <a:lnTo>
                    <a:pt x="687082" y="588569"/>
                  </a:lnTo>
                  <a:lnTo>
                    <a:pt x="687336" y="588569"/>
                  </a:lnTo>
                  <a:lnTo>
                    <a:pt x="687336" y="587921"/>
                  </a:lnTo>
                  <a:lnTo>
                    <a:pt x="687527" y="587921"/>
                  </a:lnTo>
                  <a:lnTo>
                    <a:pt x="687578" y="587223"/>
                  </a:lnTo>
                  <a:lnTo>
                    <a:pt x="687730" y="587223"/>
                  </a:lnTo>
                  <a:lnTo>
                    <a:pt x="687730" y="587921"/>
                  </a:lnTo>
                  <a:lnTo>
                    <a:pt x="687882" y="587921"/>
                  </a:lnTo>
                  <a:lnTo>
                    <a:pt x="687971" y="588569"/>
                  </a:lnTo>
                  <a:lnTo>
                    <a:pt x="688022" y="588569"/>
                  </a:lnTo>
                  <a:lnTo>
                    <a:pt x="688073" y="587921"/>
                  </a:lnTo>
                  <a:lnTo>
                    <a:pt x="688124" y="587921"/>
                  </a:lnTo>
                  <a:lnTo>
                    <a:pt x="688225" y="587223"/>
                  </a:lnTo>
                  <a:lnTo>
                    <a:pt x="688225" y="587921"/>
                  </a:lnTo>
                  <a:lnTo>
                    <a:pt x="688327" y="587921"/>
                  </a:lnTo>
                  <a:lnTo>
                    <a:pt x="688428" y="587223"/>
                  </a:lnTo>
                  <a:lnTo>
                    <a:pt x="688467" y="587921"/>
                  </a:lnTo>
                  <a:lnTo>
                    <a:pt x="688517" y="587921"/>
                  </a:lnTo>
                  <a:lnTo>
                    <a:pt x="688517" y="588569"/>
                  </a:lnTo>
                  <a:lnTo>
                    <a:pt x="688568" y="588569"/>
                  </a:lnTo>
                  <a:lnTo>
                    <a:pt x="688568" y="587921"/>
                  </a:lnTo>
                  <a:lnTo>
                    <a:pt x="688670" y="587921"/>
                  </a:lnTo>
                  <a:lnTo>
                    <a:pt x="688721" y="588569"/>
                  </a:lnTo>
                  <a:lnTo>
                    <a:pt x="688771" y="587921"/>
                  </a:lnTo>
                  <a:lnTo>
                    <a:pt x="688771" y="588569"/>
                  </a:lnTo>
                  <a:lnTo>
                    <a:pt x="689419" y="588569"/>
                  </a:lnTo>
                  <a:lnTo>
                    <a:pt x="689419" y="587921"/>
                  </a:lnTo>
                  <a:lnTo>
                    <a:pt x="689470" y="587921"/>
                  </a:lnTo>
                  <a:lnTo>
                    <a:pt x="689559" y="588569"/>
                  </a:lnTo>
                  <a:lnTo>
                    <a:pt x="689660" y="588569"/>
                  </a:lnTo>
                  <a:lnTo>
                    <a:pt x="689711" y="589166"/>
                  </a:lnTo>
                  <a:lnTo>
                    <a:pt x="689863" y="589166"/>
                  </a:lnTo>
                  <a:lnTo>
                    <a:pt x="689914" y="590499"/>
                  </a:lnTo>
                  <a:lnTo>
                    <a:pt x="690016" y="590499"/>
                  </a:lnTo>
                  <a:lnTo>
                    <a:pt x="690016" y="591147"/>
                  </a:lnTo>
                  <a:lnTo>
                    <a:pt x="690105" y="591147"/>
                  </a:lnTo>
                  <a:lnTo>
                    <a:pt x="690105" y="590499"/>
                  </a:lnTo>
                  <a:lnTo>
                    <a:pt x="690359" y="590499"/>
                  </a:lnTo>
                  <a:lnTo>
                    <a:pt x="690359" y="589166"/>
                  </a:lnTo>
                  <a:lnTo>
                    <a:pt x="690460" y="589166"/>
                  </a:lnTo>
                  <a:lnTo>
                    <a:pt x="690460" y="588569"/>
                  </a:lnTo>
                  <a:lnTo>
                    <a:pt x="690511" y="587921"/>
                  </a:lnTo>
                  <a:lnTo>
                    <a:pt x="690562" y="587223"/>
                  </a:lnTo>
                  <a:lnTo>
                    <a:pt x="690562" y="586588"/>
                  </a:lnTo>
                  <a:lnTo>
                    <a:pt x="690600" y="587223"/>
                  </a:lnTo>
                  <a:lnTo>
                    <a:pt x="690753" y="587223"/>
                  </a:lnTo>
                  <a:lnTo>
                    <a:pt x="690753" y="587921"/>
                  </a:lnTo>
                  <a:lnTo>
                    <a:pt x="691007" y="587921"/>
                  </a:lnTo>
                  <a:lnTo>
                    <a:pt x="691007" y="588569"/>
                  </a:lnTo>
                  <a:lnTo>
                    <a:pt x="691057" y="588569"/>
                  </a:lnTo>
                  <a:lnTo>
                    <a:pt x="691146" y="587921"/>
                  </a:lnTo>
                  <a:lnTo>
                    <a:pt x="691197" y="587223"/>
                  </a:lnTo>
                  <a:lnTo>
                    <a:pt x="691197" y="586588"/>
                  </a:lnTo>
                  <a:lnTo>
                    <a:pt x="691299" y="586588"/>
                  </a:lnTo>
                  <a:lnTo>
                    <a:pt x="691299" y="587223"/>
                  </a:lnTo>
                  <a:lnTo>
                    <a:pt x="691502" y="587223"/>
                  </a:lnTo>
                  <a:lnTo>
                    <a:pt x="691502" y="586588"/>
                  </a:lnTo>
                  <a:lnTo>
                    <a:pt x="691603" y="586588"/>
                  </a:lnTo>
                  <a:lnTo>
                    <a:pt x="691603" y="587223"/>
                  </a:lnTo>
                  <a:lnTo>
                    <a:pt x="691642" y="587223"/>
                  </a:lnTo>
                  <a:lnTo>
                    <a:pt x="691692" y="587921"/>
                  </a:lnTo>
                  <a:lnTo>
                    <a:pt x="691896" y="587921"/>
                  </a:lnTo>
                  <a:lnTo>
                    <a:pt x="691896" y="588569"/>
                  </a:lnTo>
                  <a:lnTo>
                    <a:pt x="692048" y="588569"/>
                  </a:lnTo>
                  <a:lnTo>
                    <a:pt x="692099" y="587921"/>
                  </a:lnTo>
                  <a:lnTo>
                    <a:pt x="692149" y="588569"/>
                  </a:lnTo>
                  <a:lnTo>
                    <a:pt x="692645" y="588569"/>
                  </a:lnTo>
                  <a:lnTo>
                    <a:pt x="692734" y="587921"/>
                  </a:lnTo>
                  <a:lnTo>
                    <a:pt x="693191" y="587921"/>
                  </a:lnTo>
                  <a:lnTo>
                    <a:pt x="693191" y="588569"/>
                  </a:lnTo>
                  <a:lnTo>
                    <a:pt x="693229" y="588569"/>
                  </a:lnTo>
                  <a:lnTo>
                    <a:pt x="693280" y="587921"/>
                  </a:lnTo>
                  <a:lnTo>
                    <a:pt x="693686" y="587921"/>
                  </a:lnTo>
                  <a:lnTo>
                    <a:pt x="693686" y="588569"/>
                  </a:lnTo>
                  <a:lnTo>
                    <a:pt x="693775" y="588569"/>
                  </a:lnTo>
                  <a:lnTo>
                    <a:pt x="693877" y="587921"/>
                  </a:lnTo>
                  <a:lnTo>
                    <a:pt x="694321" y="587921"/>
                  </a:lnTo>
                  <a:lnTo>
                    <a:pt x="694372" y="587223"/>
                  </a:lnTo>
                  <a:lnTo>
                    <a:pt x="694423" y="587223"/>
                  </a:lnTo>
                  <a:lnTo>
                    <a:pt x="694474" y="587921"/>
                  </a:lnTo>
                  <a:lnTo>
                    <a:pt x="695121" y="587921"/>
                  </a:lnTo>
                  <a:lnTo>
                    <a:pt x="695121" y="588569"/>
                  </a:lnTo>
                  <a:lnTo>
                    <a:pt x="695223" y="587921"/>
                  </a:lnTo>
                  <a:lnTo>
                    <a:pt x="695223" y="588569"/>
                  </a:lnTo>
                  <a:lnTo>
                    <a:pt x="695274" y="587921"/>
                  </a:lnTo>
                  <a:lnTo>
                    <a:pt x="695324" y="588569"/>
                  </a:lnTo>
                  <a:lnTo>
                    <a:pt x="695515" y="588569"/>
                  </a:lnTo>
                  <a:lnTo>
                    <a:pt x="695566" y="589166"/>
                  </a:lnTo>
                  <a:lnTo>
                    <a:pt x="695820" y="589166"/>
                  </a:lnTo>
                  <a:lnTo>
                    <a:pt x="695820" y="590499"/>
                  </a:lnTo>
                  <a:lnTo>
                    <a:pt x="696010" y="590499"/>
                  </a:lnTo>
                  <a:lnTo>
                    <a:pt x="696010" y="589166"/>
                  </a:lnTo>
                  <a:lnTo>
                    <a:pt x="696061" y="589166"/>
                  </a:lnTo>
                  <a:lnTo>
                    <a:pt x="696163" y="588569"/>
                  </a:lnTo>
                  <a:lnTo>
                    <a:pt x="696213" y="588569"/>
                  </a:lnTo>
                  <a:lnTo>
                    <a:pt x="696213" y="589166"/>
                  </a:lnTo>
                  <a:lnTo>
                    <a:pt x="696366" y="589166"/>
                  </a:lnTo>
                  <a:lnTo>
                    <a:pt x="696366" y="588569"/>
                  </a:lnTo>
                  <a:lnTo>
                    <a:pt x="696404" y="587223"/>
                  </a:lnTo>
                  <a:lnTo>
                    <a:pt x="696455" y="586588"/>
                  </a:lnTo>
                  <a:lnTo>
                    <a:pt x="696950" y="586588"/>
                  </a:lnTo>
                  <a:lnTo>
                    <a:pt x="696950" y="585242"/>
                  </a:lnTo>
                  <a:lnTo>
                    <a:pt x="697052" y="585242"/>
                  </a:lnTo>
                  <a:lnTo>
                    <a:pt x="697052" y="584594"/>
                  </a:lnTo>
                  <a:lnTo>
                    <a:pt x="697255" y="584594"/>
                  </a:lnTo>
                  <a:lnTo>
                    <a:pt x="697255" y="585242"/>
                  </a:lnTo>
                  <a:lnTo>
                    <a:pt x="697306" y="585242"/>
                  </a:lnTo>
                  <a:lnTo>
                    <a:pt x="697357" y="586588"/>
                  </a:lnTo>
                  <a:lnTo>
                    <a:pt x="697407" y="586588"/>
                  </a:lnTo>
                  <a:lnTo>
                    <a:pt x="697496" y="585242"/>
                  </a:lnTo>
                  <a:lnTo>
                    <a:pt x="697547" y="586588"/>
                  </a:lnTo>
                  <a:lnTo>
                    <a:pt x="697598" y="587223"/>
                  </a:lnTo>
                  <a:lnTo>
                    <a:pt x="697750" y="587223"/>
                  </a:lnTo>
                  <a:lnTo>
                    <a:pt x="697801" y="586588"/>
                  </a:lnTo>
                  <a:lnTo>
                    <a:pt x="698093" y="586588"/>
                  </a:lnTo>
                  <a:lnTo>
                    <a:pt x="698093" y="587223"/>
                  </a:lnTo>
                  <a:lnTo>
                    <a:pt x="698195" y="586588"/>
                  </a:lnTo>
                  <a:lnTo>
                    <a:pt x="698246" y="587223"/>
                  </a:lnTo>
                  <a:lnTo>
                    <a:pt x="698246" y="586588"/>
                  </a:lnTo>
                  <a:lnTo>
                    <a:pt x="698296" y="587223"/>
                  </a:lnTo>
                  <a:lnTo>
                    <a:pt x="698741" y="587223"/>
                  </a:lnTo>
                  <a:lnTo>
                    <a:pt x="698741" y="587921"/>
                  </a:lnTo>
                  <a:lnTo>
                    <a:pt x="698893" y="587921"/>
                  </a:lnTo>
                  <a:lnTo>
                    <a:pt x="698893" y="587223"/>
                  </a:lnTo>
                  <a:lnTo>
                    <a:pt x="698995" y="587223"/>
                  </a:lnTo>
                  <a:lnTo>
                    <a:pt x="699084" y="586588"/>
                  </a:lnTo>
                  <a:lnTo>
                    <a:pt x="699185" y="586588"/>
                  </a:lnTo>
                  <a:lnTo>
                    <a:pt x="699236" y="585242"/>
                  </a:lnTo>
                  <a:lnTo>
                    <a:pt x="699388" y="585242"/>
                  </a:lnTo>
                  <a:lnTo>
                    <a:pt x="699439" y="586588"/>
                  </a:lnTo>
                  <a:lnTo>
                    <a:pt x="699782" y="586588"/>
                  </a:lnTo>
                  <a:lnTo>
                    <a:pt x="699833" y="587223"/>
                  </a:lnTo>
                  <a:lnTo>
                    <a:pt x="699884" y="586588"/>
                  </a:lnTo>
                  <a:lnTo>
                    <a:pt x="700430" y="586588"/>
                  </a:lnTo>
                  <a:lnTo>
                    <a:pt x="700481" y="585242"/>
                  </a:lnTo>
                  <a:lnTo>
                    <a:pt x="700582" y="585242"/>
                  </a:lnTo>
                  <a:lnTo>
                    <a:pt x="700582" y="586588"/>
                  </a:lnTo>
                  <a:lnTo>
                    <a:pt x="701128" y="586588"/>
                  </a:lnTo>
                  <a:lnTo>
                    <a:pt x="701167" y="587223"/>
                  </a:lnTo>
                  <a:lnTo>
                    <a:pt x="701167" y="586588"/>
                  </a:lnTo>
                  <a:lnTo>
                    <a:pt x="701217" y="586588"/>
                  </a:lnTo>
                  <a:lnTo>
                    <a:pt x="701217" y="587223"/>
                  </a:lnTo>
                  <a:lnTo>
                    <a:pt x="701573" y="587223"/>
                  </a:lnTo>
                  <a:lnTo>
                    <a:pt x="701573" y="587921"/>
                  </a:lnTo>
                  <a:lnTo>
                    <a:pt x="701865" y="587921"/>
                  </a:lnTo>
                  <a:lnTo>
                    <a:pt x="701865" y="588569"/>
                  </a:lnTo>
                  <a:lnTo>
                    <a:pt x="702017" y="588569"/>
                  </a:lnTo>
                  <a:lnTo>
                    <a:pt x="702017" y="587921"/>
                  </a:lnTo>
                  <a:lnTo>
                    <a:pt x="702068" y="587921"/>
                  </a:lnTo>
                  <a:lnTo>
                    <a:pt x="702119" y="587223"/>
                  </a:lnTo>
                  <a:lnTo>
                    <a:pt x="702119" y="586588"/>
                  </a:lnTo>
                  <a:lnTo>
                    <a:pt x="702170" y="585242"/>
                  </a:lnTo>
                  <a:lnTo>
                    <a:pt x="702170" y="583959"/>
                  </a:lnTo>
                  <a:lnTo>
                    <a:pt x="702411" y="583959"/>
                  </a:lnTo>
                  <a:lnTo>
                    <a:pt x="702411" y="584594"/>
                  </a:lnTo>
                  <a:lnTo>
                    <a:pt x="702513" y="584594"/>
                  </a:lnTo>
                  <a:lnTo>
                    <a:pt x="702513" y="585242"/>
                  </a:lnTo>
                  <a:lnTo>
                    <a:pt x="702563" y="585242"/>
                  </a:lnTo>
                  <a:lnTo>
                    <a:pt x="702614" y="586588"/>
                  </a:lnTo>
                  <a:lnTo>
                    <a:pt x="702716" y="586588"/>
                  </a:lnTo>
                  <a:lnTo>
                    <a:pt x="702716" y="585242"/>
                  </a:lnTo>
                  <a:lnTo>
                    <a:pt x="702754" y="584594"/>
                  </a:lnTo>
                  <a:lnTo>
                    <a:pt x="702754" y="583362"/>
                  </a:lnTo>
                  <a:lnTo>
                    <a:pt x="702805" y="582016"/>
                  </a:lnTo>
                  <a:lnTo>
                    <a:pt x="703211" y="582016"/>
                  </a:lnTo>
                  <a:lnTo>
                    <a:pt x="703211" y="583362"/>
                  </a:lnTo>
                  <a:lnTo>
                    <a:pt x="703262" y="583959"/>
                  </a:lnTo>
                  <a:lnTo>
                    <a:pt x="703300" y="583959"/>
                  </a:lnTo>
                  <a:lnTo>
                    <a:pt x="703300" y="584594"/>
                  </a:lnTo>
                  <a:lnTo>
                    <a:pt x="703402" y="583959"/>
                  </a:lnTo>
                  <a:lnTo>
                    <a:pt x="703453" y="584594"/>
                  </a:lnTo>
                  <a:lnTo>
                    <a:pt x="703503" y="584594"/>
                  </a:lnTo>
                  <a:lnTo>
                    <a:pt x="703503" y="583959"/>
                  </a:lnTo>
                  <a:lnTo>
                    <a:pt x="703605" y="584594"/>
                  </a:lnTo>
                  <a:lnTo>
                    <a:pt x="703656" y="583959"/>
                  </a:lnTo>
                  <a:lnTo>
                    <a:pt x="703707" y="584594"/>
                  </a:lnTo>
                  <a:lnTo>
                    <a:pt x="703707" y="583959"/>
                  </a:lnTo>
                  <a:lnTo>
                    <a:pt x="703897" y="583959"/>
                  </a:lnTo>
                  <a:lnTo>
                    <a:pt x="703897" y="584594"/>
                  </a:lnTo>
                  <a:lnTo>
                    <a:pt x="703948" y="584594"/>
                  </a:lnTo>
                  <a:lnTo>
                    <a:pt x="703999" y="585242"/>
                  </a:lnTo>
                  <a:lnTo>
                    <a:pt x="703999" y="584594"/>
                  </a:lnTo>
                  <a:lnTo>
                    <a:pt x="704100" y="584594"/>
                  </a:lnTo>
                  <a:lnTo>
                    <a:pt x="704151" y="583959"/>
                  </a:lnTo>
                  <a:lnTo>
                    <a:pt x="704303" y="583959"/>
                  </a:lnTo>
                  <a:lnTo>
                    <a:pt x="704303" y="584594"/>
                  </a:lnTo>
                  <a:lnTo>
                    <a:pt x="704342" y="584594"/>
                  </a:lnTo>
                  <a:lnTo>
                    <a:pt x="704392" y="583959"/>
                  </a:lnTo>
                  <a:lnTo>
                    <a:pt x="704443" y="583959"/>
                  </a:lnTo>
                  <a:lnTo>
                    <a:pt x="704545" y="584594"/>
                  </a:lnTo>
                  <a:lnTo>
                    <a:pt x="704646" y="584594"/>
                  </a:lnTo>
                  <a:lnTo>
                    <a:pt x="704748" y="585242"/>
                  </a:lnTo>
                  <a:lnTo>
                    <a:pt x="704799" y="584594"/>
                  </a:lnTo>
                  <a:lnTo>
                    <a:pt x="704849" y="584594"/>
                  </a:lnTo>
                  <a:lnTo>
                    <a:pt x="704888" y="583959"/>
                  </a:lnTo>
                  <a:lnTo>
                    <a:pt x="704888" y="584594"/>
                  </a:lnTo>
                  <a:lnTo>
                    <a:pt x="704989" y="584594"/>
                  </a:lnTo>
                  <a:lnTo>
                    <a:pt x="704989" y="583959"/>
                  </a:lnTo>
                  <a:lnTo>
                    <a:pt x="705091" y="583959"/>
                  </a:lnTo>
                  <a:lnTo>
                    <a:pt x="705192" y="583362"/>
                  </a:lnTo>
                  <a:lnTo>
                    <a:pt x="705243" y="583362"/>
                  </a:lnTo>
                  <a:lnTo>
                    <a:pt x="705243" y="582016"/>
                  </a:lnTo>
                  <a:lnTo>
                    <a:pt x="705294" y="583362"/>
                  </a:lnTo>
                  <a:lnTo>
                    <a:pt x="705345" y="583362"/>
                  </a:lnTo>
                  <a:lnTo>
                    <a:pt x="705434" y="583959"/>
                  </a:lnTo>
                  <a:lnTo>
                    <a:pt x="705484" y="583362"/>
                  </a:lnTo>
                  <a:lnTo>
                    <a:pt x="705484" y="583959"/>
                  </a:lnTo>
                  <a:lnTo>
                    <a:pt x="705929" y="583959"/>
                  </a:lnTo>
                  <a:lnTo>
                    <a:pt x="705980" y="584594"/>
                  </a:lnTo>
                  <a:lnTo>
                    <a:pt x="706031" y="584594"/>
                  </a:lnTo>
                  <a:lnTo>
                    <a:pt x="706132" y="583959"/>
                  </a:lnTo>
                  <a:lnTo>
                    <a:pt x="706183" y="583362"/>
                  </a:lnTo>
                  <a:lnTo>
                    <a:pt x="706234" y="583362"/>
                  </a:lnTo>
                  <a:lnTo>
                    <a:pt x="706335" y="583959"/>
                  </a:lnTo>
                  <a:lnTo>
                    <a:pt x="706577" y="583959"/>
                  </a:lnTo>
                  <a:lnTo>
                    <a:pt x="706628" y="584594"/>
                  </a:lnTo>
                  <a:lnTo>
                    <a:pt x="706628" y="583959"/>
                  </a:lnTo>
                  <a:lnTo>
                    <a:pt x="706678" y="584594"/>
                  </a:lnTo>
                  <a:lnTo>
                    <a:pt x="706831" y="584594"/>
                  </a:lnTo>
                  <a:lnTo>
                    <a:pt x="706882" y="583959"/>
                  </a:lnTo>
                  <a:lnTo>
                    <a:pt x="707021" y="583959"/>
                  </a:lnTo>
                  <a:lnTo>
                    <a:pt x="707021" y="584594"/>
                  </a:lnTo>
                  <a:lnTo>
                    <a:pt x="707072" y="583959"/>
                  </a:lnTo>
                  <a:lnTo>
                    <a:pt x="707123" y="584594"/>
                  </a:lnTo>
                  <a:lnTo>
                    <a:pt x="707326" y="584594"/>
                  </a:lnTo>
                  <a:lnTo>
                    <a:pt x="707377" y="585242"/>
                  </a:lnTo>
                  <a:lnTo>
                    <a:pt x="707618" y="585242"/>
                  </a:lnTo>
                  <a:lnTo>
                    <a:pt x="707618" y="586588"/>
                  </a:lnTo>
                  <a:lnTo>
                    <a:pt x="707720" y="586588"/>
                  </a:lnTo>
                  <a:lnTo>
                    <a:pt x="707771" y="585242"/>
                  </a:lnTo>
                  <a:lnTo>
                    <a:pt x="708024" y="585242"/>
                  </a:lnTo>
                  <a:lnTo>
                    <a:pt x="708024" y="584594"/>
                  </a:lnTo>
                  <a:lnTo>
                    <a:pt x="708063" y="583959"/>
                  </a:lnTo>
                  <a:lnTo>
                    <a:pt x="708164" y="583959"/>
                  </a:lnTo>
                  <a:lnTo>
                    <a:pt x="708164" y="583362"/>
                  </a:lnTo>
                  <a:lnTo>
                    <a:pt x="708215" y="582016"/>
                  </a:lnTo>
                  <a:lnTo>
                    <a:pt x="708266" y="581368"/>
                  </a:lnTo>
                  <a:lnTo>
                    <a:pt x="708418" y="581368"/>
                  </a:lnTo>
                  <a:lnTo>
                    <a:pt x="708469" y="582016"/>
                  </a:lnTo>
                  <a:lnTo>
                    <a:pt x="708469" y="581368"/>
                  </a:lnTo>
                  <a:lnTo>
                    <a:pt x="708609" y="581368"/>
                  </a:lnTo>
                  <a:lnTo>
                    <a:pt x="708609" y="582016"/>
                  </a:lnTo>
                  <a:lnTo>
                    <a:pt x="708659" y="582016"/>
                  </a:lnTo>
                  <a:lnTo>
                    <a:pt x="708659" y="583362"/>
                  </a:lnTo>
                  <a:lnTo>
                    <a:pt x="708710" y="582016"/>
                  </a:lnTo>
                  <a:lnTo>
                    <a:pt x="708761" y="582016"/>
                  </a:lnTo>
                  <a:lnTo>
                    <a:pt x="708761" y="580733"/>
                  </a:lnTo>
                  <a:lnTo>
                    <a:pt x="708863" y="580733"/>
                  </a:lnTo>
                  <a:lnTo>
                    <a:pt x="708863" y="580034"/>
                  </a:lnTo>
                  <a:lnTo>
                    <a:pt x="708913" y="580034"/>
                  </a:lnTo>
                  <a:lnTo>
                    <a:pt x="708964" y="579387"/>
                  </a:lnTo>
                  <a:lnTo>
                    <a:pt x="709066" y="580034"/>
                  </a:lnTo>
                  <a:lnTo>
                    <a:pt x="709104" y="579387"/>
                  </a:lnTo>
                  <a:lnTo>
                    <a:pt x="709104" y="580034"/>
                  </a:lnTo>
                  <a:lnTo>
                    <a:pt x="709155" y="580034"/>
                  </a:lnTo>
                  <a:lnTo>
                    <a:pt x="709206" y="580733"/>
                  </a:lnTo>
                  <a:lnTo>
                    <a:pt x="709510" y="580733"/>
                  </a:lnTo>
                  <a:lnTo>
                    <a:pt x="709510" y="580034"/>
                  </a:lnTo>
                  <a:lnTo>
                    <a:pt x="709561" y="580034"/>
                  </a:lnTo>
                  <a:lnTo>
                    <a:pt x="709561" y="580733"/>
                  </a:lnTo>
                  <a:lnTo>
                    <a:pt x="709853" y="580733"/>
                  </a:lnTo>
                  <a:lnTo>
                    <a:pt x="709853" y="580034"/>
                  </a:lnTo>
                  <a:lnTo>
                    <a:pt x="709955" y="580034"/>
                  </a:lnTo>
                  <a:lnTo>
                    <a:pt x="710006" y="580733"/>
                  </a:lnTo>
                  <a:lnTo>
                    <a:pt x="710006" y="580034"/>
                  </a:lnTo>
                  <a:lnTo>
                    <a:pt x="710057" y="580733"/>
                  </a:lnTo>
                  <a:lnTo>
                    <a:pt x="710107" y="580034"/>
                  </a:lnTo>
                  <a:lnTo>
                    <a:pt x="710450" y="580034"/>
                  </a:lnTo>
                  <a:lnTo>
                    <a:pt x="710501" y="580733"/>
                  </a:lnTo>
                  <a:lnTo>
                    <a:pt x="710653" y="580733"/>
                  </a:lnTo>
                  <a:lnTo>
                    <a:pt x="710653" y="580034"/>
                  </a:lnTo>
                  <a:lnTo>
                    <a:pt x="710742" y="580034"/>
                  </a:lnTo>
                  <a:lnTo>
                    <a:pt x="710742" y="580733"/>
                  </a:lnTo>
                  <a:lnTo>
                    <a:pt x="710793" y="580034"/>
                  </a:lnTo>
                  <a:lnTo>
                    <a:pt x="711238" y="580034"/>
                  </a:lnTo>
                  <a:lnTo>
                    <a:pt x="711238" y="579387"/>
                  </a:lnTo>
                  <a:lnTo>
                    <a:pt x="711339" y="580034"/>
                  </a:lnTo>
                  <a:lnTo>
                    <a:pt x="711390" y="580034"/>
                  </a:lnTo>
                  <a:lnTo>
                    <a:pt x="711390" y="579387"/>
                  </a:lnTo>
                  <a:lnTo>
                    <a:pt x="711834" y="579387"/>
                  </a:lnTo>
                  <a:lnTo>
                    <a:pt x="711885" y="580034"/>
                  </a:lnTo>
                  <a:lnTo>
                    <a:pt x="712139" y="580034"/>
                  </a:lnTo>
                  <a:lnTo>
                    <a:pt x="712139" y="579387"/>
                  </a:lnTo>
                  <a:lnTo>
                    <a:pt x="712241" y="579387"/>
                  </a:lnTo>
                  <a:lnTo>
                    <a:pt x="712279" y="580034"/>
                  </a:lnTo>
                  <a:lnTo>
                    <a:pt x="712482" y="580034"/>
                  </a:lnTo>
                  <a:lnTo>
                    <a:pt x="712533" y="579387"/>
                  </a:lnTo>
                  <a:lnTo>
                    <a:pt x="712584" y="579387"/>
                  </a:lnTo>
                  <a:lnTo>
                    <a:pt x="712584" y="580034"/>
                  </a:lnTo>
                  <a:lnTo>
                    <a:pt x="712685" y="579387"/>
                  </a:lnTo>
                  <a:lnTo>
                    <a:pt x="712736" y="580034"/>
                  </a:lnTo>
                  <a:lnTo>
                    <a:pt x="712825" y="580034"/>
                  </a:lnTo>
                  <a:lnTo>
                    <a:pt x="712825" y="579387"/>
                  </a:lnTo>
                  <a:lnTo>
                    <a:pt x="712927" y="580034"/>
                  </a:lnTo>
                  <a:lnTo>
                    <a:pt x="712978" y="580034"/>
                  </a:lnTo>
                  <a:lnTo>
                    <a:pt x="713028" y="580733"/>
                  </a:lnTo>
                  <a:lnTo>
                    <a:pt x="713130" y="580733"/>
                  </a:lnTo>
                  <a:lnTo>
                    <a:pt x="713181" y="580034"/>
                  </a:lnTo>
                  <a:lnTo>
                    <a:pt x="713181" y="580733"/>
                  </a:lnTo>
                  <a:lnTo>
                    <a:pt x="713524" y="580733"/>
                  </a:lnTo>
                  <a:lnTo>
                    <a:pt x="713625" y="581368"/>
                  </a:lnTo>
                  <a:lnTo>
                    <a:pt x="713676" y="581368"/>
                  </a:lnTo>
                  <a:lnTo>
                    <a:pt x="713727" y="580733"/>
                  </a:lnTo>
                  <a:lnTo>
                    <a:pt x="713727" y="581368"/>
                  </a:lnTo>
                  <a:lnTo>
                    <a:pt x="713867" y="581368"/>
                  </a:lnTo>
                  <a:lnTo>
                    <a:pt x="713917" y="580733"/>
                  </a:lnTo>
                  <a:lnTo>
                    <a:pt x="713968" y="580034"/>
                  </a:lnTo>
                  <a:lnTo>
                    <a:pt x="714070" y="580034"/>
                  </a:lnTo>
                  <a:lnTo>
                    <a:pt x="714070" y="579387"/>
                  </a:lnTo>
                  <a:lnTo>
                    <a:pt x="714324" y="579387"/>
                  </a:lnTo>
                  <a:lnTo>
                    <a:pt x="714374" y="580034"/>
                  </a:lnTo>
                  <a:lnTo>
                    <a:pt x="714616" y="580034"/>
                  </a:lnTo>
                  <a:lnTo>
                    <a:pt x="714616" y="579387"/>
                  </a:lnTo>
                  <a:lnTo>
                    <a:pt x="714717" y="578155"/>
                  </a:lnTo>
                  <a:lnTo>
                    <a:pt x="714717" y="577456"/>
                  </a:lnTo>
                  <a:lnTo>
                    <a:pt x="714768" y="577456"/>
                  </a:lnTo>
                  <a:lnTo>
                    <a:pt x="714819" y="576809"/>
                  </a:lnTo>
                  <a:lnTo>
                    <a:pt x="715111" y="576809"/>
                  </a:lnTo>
                  <a:lnTo>
                    <a:pt x="715213" y="577456"/>
                  </a:lnTo>
                  <a:lnTo>
                    <a:pt x="715213" y="578155"/>
                  </a:lnTo>
                  <a:lnTo>
                    <a:pt x="715314" y="578155"/>
                  </a:lnTo>
                  <a:lnTo>
                    <a:pt x="715416" y="579387"/>
                  </a:lnTo>
                  <a:lnTo>
                    <a:pt x="715454" y="579387"/>
                  </a:lnTo>
                  <a:lnTo>
                    <a:pt x="715505" y="578155"/>
                  </a:lnTo>
                  <a:lnTo>
                    <a:pt x="715556" y="578155"/>
                  </a:lnTo>
                  <a:lnTo>
                    <a:pt x="715556" y="577456"/>
                  </a:lnTo>
                  <a:lnTo>
                    <a:pt x="715657" y="577456"/>
                  </a:lnTo>
                  <a:lnTo>
                    <a:pt x="715708" y="578155"/>
                  </a:lnTo>
                  <a:lnTo>
                    <a:pt x="716153" y="578155"/>
                  </a:lnTo>
                  <a:lnTo>
                    <a:pt x="716153" y="577456"/>
                  </a:lnTo>
                  <a:lnTo>
                    <a:pt x="716203" y="578155"/>
                  </a:lnTo>
                  <a:lnTo>
                    <a:pt x="716203" y="577456"/>
                  </a:lnTo>
                  <a:lnTo>
                    <a:pt x="716407" y="577456"/>
                  </a:lnTo>
                  <a:lnTo>
                    <a:pt x="716457" y="578155"/>
                  </a:lnTo>
                  <a:lnTo>
                    <a:pt x="716546" y="578155"/>
                  </a:lnTo>
                  <a:lnTo>
                    <a:pt x="716597" y="577456"/>
                  </a:lnTo>
                  <a:lnTo>
                    <a:pt x="716800" y="577456"/>
                  </a:lnTo>
                  <a:lnTo>
                    <a:pt x="716800" y="576809"/>
                  </a:lnTo>
                  <a:lnTo>
                    <a:pt x="716851" y="576809"/>
                  </a:lnTo>
                  <a:lnTo>
                    <a:pt x="716851" y="577456"/>
                  </a:lnTo>
                  <a:lnTo>
                    <a:pt x="717003" y="577456"/>
                  </a:lnTo>
                  <a:lnTo>
                    <a:pt x="717003" y="576809"/>
                  </a:lnTo>
                  <a:lnTo>
                    <a:pt x="717042" y="576809"/>
                  </a:lnTo>
                  <a:lnTo>
                    <a:pt x="717092" y="577456"/>
                  </a:lnTo>
                  <a:lnTo>
                    <a:pt x="717499" y="577456"/>
                  </a:lnTo>
                  <a:lnTo>
                    <a:pt x="717499" y="576809"/>
                  </a:lnTo>
                  <a:lnTo>
                    <a:pt x="718045" y="576809"/>
                  </a:lnTo>
                  <a:lnTo>
                    <a:pt x="718134" y="577456"/>
                  </a:lnTo>
                  <a:lnTo>
                    <a:pt x="718235" y="577456"/>
                  </a:lnTo>
                  <a:lnTo>
                    <a:pt x="718235" y="576809"/>
                  </a:lnTo>
                  <a:lnTo>
                    <a:pt x="718286" y="577456"/>
                  </a:lnTo>
                  <a:lnTo>
                    <a:pt x="718286" y="576809"/>
                  </a:lnTo>
                  <a:lnTo>
                    <a:pt x="718438" y="576809"/>
                  </a:lnTo>
                  <a:lnTo>
                    <a:pt x="718489" y="577456"/>
                  </a:lnTo>
                  <a:lnTo>
                    <a:pt x="718731" y="577456"/>
                  </a:lnTo>
                  <a:lnTo>
                    <a:pt x="718832" y="578155"/>
                  </a:lnTo>
                  <a:lnTo>
                    <a:pt x="718832" y="577456"/>
                  </a:lnTo>
                  <a:lnTo>
                    <a:pt x="718883" y="578155"/>
                  </a:lnTo>
                  <a:lnTo>
                    <a:pt x="718934" y="578155"/>
                  </a:lnTo>
                  <a:lnTo>
                    <a:pt x="719035" y="577456"/>
                  </a:lnTo>
                  <a:lnTo>
                    <a:pt x="719175" y="577456"/>
                  </a:lnTo>
                  <a:lnTo>
                    <a:pt x="719175" y="578155"/>
                  </a:lnTo>
                  <a:lnTo>
                    <a:pt x="719277" y="578155"/>
                  </a:lnTo>
                  <a:lnTo>
                    <a:pt x="719328" y="579387"/>
                  </a:lnTo>
                  <a:lnTo>
                    <a:pt x="719480" y="579387"/>
                  </a:lnTo>
                  <a:lnTo>
                    <a:pt x="719480" y="578155"/>
                  </a:lnTo>
                  <a:lnTo>
                    <a:pt x="719531" y="578155"/>
                  </a:lnTo>
                  <a:lnTo>
                    <a:pt x="719582" y="579387"/>
                  </a:lnTo>
                  <a:lnTo>
                    <a:pt x="719975" y="579387"/>
                  </a:lnTo>
                  <a:lnTo>
                    <a:pt x="720026" y="578155"/>
                  </a:lnTo>
                  <a:lnTo>
                    <a:pt x="720026" y="577456"/>
                  </a:lnTo>
                  <a:lnTo>
                    <a:pt x="720077" y="576809"/>
                  </a:lnTo>
                  <a:lnTo>
                    <a:pt x="720077" y="576161"/>
                  </a:lnTo>
                  <a:lnTo>
                    <a:pt x="720178" y="574827"/>
                  </a:lnTo>
                  <a:lnTo>
                    <a:pt x="720178" y="574180"/>
                  </a:lnTo>
                  <a:lnTo>
                    <a:pt x="720217" y="574180"/>
                  </a:lnTo>
                  <a:lnTo>
                    <a:pt x="720217" y="574827"/>
                  </a:lnTo>
                  <a:lnTo>
                    <a:pt x="720267" y="574827"/>
                  </a:lnTo>
                  <a:lnTo>
                    <a:pt x="720318" y="576161"/>
                  </a:lnTo>
                  <a:lnTo>
                    <a:pt x="720420" y="576161"/>
                  </a:lnTo>
                  <a:lnTo>
                    <a:pt x="720420" y="576809"/>
                  </a:lnTo>
                  <a:lnTo>
                    <a:pt x="720471" y="576809"/>
                  </a:lnTo>
                  <a:lnTo>
                    <a:pt x="720471" y="577456"/>
                  </a:lnTo>
                  <a:lnTo>
                    <a:pt x="720623" y="577456"/>
                  </a:lnTo>
                  <a:lnTo>
                    <a:pt x="720623" y="576809"/>
                  </a:lnTo>
                  <a:lnTo>
                    <a:pt x="720674" y="576161"/>
                  </a:lnTo>
                  <a:lnTo>
                    <a:pt x="720674" y="574827"/>
                  </a:lnTo>
                  <a:lnTo>
                    <a:pt x="720724" y="574180"/>
                  </a:lnTo>
                  <a:lnTo>
                    <a:pt x="720763" y="574180"/>
                  </a:lnTo>
                  <a:lnTo>
                    <a:pt x="720763" y="573532"/>
                  </a:lnTo>
                  <a:lnTo>
                    <a:pt x="720864" y="573532"/>
                  </a:lnTo>
                  <a:lnTo>
                    <a:pt x="720915" y="574180"/>
                  </a:lnTo>
                  <a:lnTo>
                    <a:pt x="720966" y="574180"/>
                  </a:lnTo>
                  <a:lnTo>
                    <a:pt x="720966" y="574827"/>
                  </a:lnTo>
                  <a:lnTo>
                    <a:pt x="721169" y="574827"/>
                  </a:lnTo>
                  <a:lnTo>
                    <a:pt x="721220" y="576161"/>
                  </a:lnTo>
                  <a:lnTo>
                    <a:pt x="721309" y="576161"/>
                  </a:lnTo>
                  <a:lnTo>
                    <a:pt x="721309" y="576809"/>
                  </a:lnTo>
                  <a:lnTo>
                    <a:pt x="721410" y="576809"/>
                  </a:lnTo>
                  <a:lnTo>
                    <a:pt x="721410" y="576161"/>
                  </a:lnTo>
                  <a:lnTo>
                    <a:pt x="721613" y="576161"/>
                  </a:lnTo>
                  <a:lnTo>
                    <a:pt x="721664" y="576809"/>
                  </a:lnTo>
                  <a:lnTo>
                    <a:pt x="721664" y="576161"/>
                  </a:lnTo>
                  <a:lnTo>
                    <a:pt x="721766" y="576161"/>
                  </a:lnTo>
                  <a:lnTo>
                    <a:pt x="721766" y="576809"/>
                  </a:lnTo>
                  <a:lnTo>
                    <a:pt x="721804" y="576809"/>
                  </a:lnTo>
                  <a:lnTo>
                    <a:pt x="721855" y="576161"/>
                  </a:lnTo>
                  <a:lnTo>
                    <a:pt x="722210" y="576161"/>
                  </a:lnTo>
                  <a:lnTo>
                    <a:pt x="722261" y="576809"/>
                  </a:lnTo>
                  <a:lnTo>
                    <a:pt x="722452" y="576809"/>
                  </a:lnTo>
                  <a:lnTo>
                    <a:pt x="722452" y="576161"/>
                  </a:lnTo>
                  <a:lnTo>
                    <a:pt x="722807" y="576161"/>
                  </a:lnTo>
                  <a:lnTo>
                    <a:pt x="722807" y="574827"/>
                  </a:lnTo>
                  <a:lnTo>
                    <a:pt x="722998" y="574827"/>
                  </a:lnTo>
                  <a:lnTo>
                    <a:pt x="723049" y="576161"/>
                  </a:lnTo>
                  <a:lnTo>
                    <a:pt x="723201" y="576161"/>
                  </a:lnTo>
                  <a:lnTo>
                    <a:pt x="723201" y="574827"/>
                  </a:lnTo>
                  <a:lnTo>
                    <a:pt x="723442" y="574827"/>
                  </a:lnTo>
                  <a:lnTo>
                    <a:pt x="723442" y="574180"/>
                  </a:lnTo>
                  <a:lnTo>
                    <a:pt x="723849" y="574180"/>
                  </a:lnTo>
                  <a:lnTo>
                    <a:pt x="723899" y="574827"/>
                  </a:lnTo>
                  <a:lnTo>
                    <a:pt x="723938" y="574180"/>
                  </a:lnTo>
                  <a:lnTo>
                    <a:pt x="724039" y="574180"/>
                  </a:lnTo>
                  <a:lnTo>
                    <a:pt x="724090" y="574827"/>
                  </a:lnTo>
                  <a:lnTo>
                    <a:pt x="724484" y="574827"/>
                  </a:lnTo>
                  <a:lnTo>
                    <a:pt x="724534" y="574180"/>
                  </a:lnTo>
                  <a:lnTo>
                    <a:pt x="724585" y="574827"/>
                  </a:lnTo>
                  <a:lnTo>
                    <a:pt x="724636" y="574180"/>
                  </a:lnTo>
                  <a:lnTo>
                    <a:pt x="724636" y="574827"/>
                  </a:lnTo>
                  <a:lnTo>
                    <a:pt x="724738" y="574180"/>
                  </a:lnTo>
                  <a:lnTo>
                    <a:pt x="724839" y="574180"/>
                  </a:lnTo>
                  <a:lnTo>
                    <a:pt x="724941" y="574827"/>
                  </a:lnTo>
                  <a:lnTo>
                    <a:pt x="725030" y="574827"/>
                  </a:lnTo>
                  <a:lnTo>
                    <a:pt x="725081" y="576161"/>
                  </a:lnTo>
                  <a:lnTo>
                    <a:pt x="725627" y="576161"/>
                  </a:lnTo>
                  <a:lnTo>
                    <a:pt x="725627" y="576809"/>
                  </a:lnTo>
                  <a:lnTo>
                    <a:pt x="725881" y="576809"/>
                  </a:lnTo>
                  <a:lnTo>
                    <a:pt x="725932" y="576161"/>
                  </a:lnTo>
                  <a:lnTo>
                    <a:pt x="725932" y="574827"/>
                  </a:lnTo>
                  <a:lnTo>
                    <a:pt x="725982" y="574180"/>
                  </a:lnTo>
                  <a:lnTo>
                    <a:pt x="726071" y="573532"/>
                  </a:lnTo>
                  <a:lnTo>
                    <a:pt x="726122" y="573532"/>
                  </a:lnTo>
                  <a:lnTo>
                    <a:pt x="726122" y="572846"/>
                  </a:lnTo>
                  <a:lnTo>
                    <a:pt x="726173" y="572846"/>
                  </a:lnTo>
                  <a:lnTo>
                    <a:pt x="726173" y="573532"/>
                  </a:lnTo>
                  <a:lnTo>
                    <a:pt x="726224" y="573532"/>
                  </a:lnTo>
                  <a:lnTo>
                    <a:pt x="726224" y="574180"/>
                  </a:lnTo>
                  <a:lnTo>
                    <a:pt x="726325" y="574180"/>
                  </a:lnTo>
                  <a:lnTo>
                    <a:pt x="726376" y="573532"/>
                  </a:lnTo>
                  <a:lnTo>
                    <a:pt x="726376" y="574180"/>
                  </a:lnTo>
                  <a:lnTo>
                    <a:pt x="726427" y="574827"/>
                  </a:lnTo>
                  <a:lnTo>
                    <a:pt x="726427" y="574180"/>
                  </a:lnTo>
                  <a:lnTo>
                    <a:pt x="726528" y="574180"/>
                  </a:lnTo>
                  <a:lnTo>
                    <a:pt x="726528" y="573532"/>
                  </a:lnTo>
                  <a:lnTo>
                    <a:pt x="726567" y="572846"/>
                  </a:lnTo>
                  <a:lnTo>
                    <a:pt x="726770" y="572846"/>
                  </a:lnTo>
                  <a:lnTo>
                    <a:pt x="726770" y="572249"/>
                  </a:lnTo>
                  <a:lnTo>
                    <a:pt x="726821" y="572249"/>
                  </a:lnTo>
                  <a:lnTo>
                    <a:pt x="726871" y="572846"/>
                  </a:lnTo>
                  <a:lnTo>
                    <a:pt x="726871" y="573532"/>
                  </a:lnTo>
                  <a:lnTo>
                    <a:pt x="726973" y="572846"/>
                  </a:lnTo>
                  <a:lnTo>
                    <a:pt x="727024" y="572846"/>
                  </a:lnTo>
                  <a:lnTo>
                    <a:pt x="727024" y="573532"/>
                  </a:lnTo>
                  <a:lnTo>
                    <a:pt x="727074" y="572846"/>
                  </a:lnTo>
                  <a:lnTo>
                    <a:pt x="727074" y="573532"/>
                  </a:lnTo>
                  <a:lnTo>
                    <a:pt x="727468" y="573532"/>
                  </a:lnTo>
                  <a:lnTo>
                    <a:pt x="727468" y="574180"/>
                  </a:lnTo>
                  <a:lnTo>
                    <a:pt x="727570" y="574180"/>
                  </a:lnTo>
                  <a:lnTo>
                    <a:pt x="727659" y="573532"/>
                  </a:lnTo>
                  <a:lnTo>
                    <a:pt x="727709" y="574180"/>
                  </a:lnTo>
                  <a:lnTo>
                    <a:pt x="727709" y="573532"/>
                  </a:lnTo>
                  <a:lnTo>
                    <a:pt x="727913" y="573532"/>
                  </a:lnTo>
                  <a:lnTo>
                    <a:pt x="727913" y="574180"/>
                  </a:lnTo>
                  <a:lnTo>
                    <a:pt x="728014" y="574180"/>
                  </a:lnTo>
                  <a:lnTo>
                    <a:pt x="728014" y="573532"/>
                  </a:lnTo>
                  <a:lnTo>
                    <a:pt x="728802" y="573532"/>
                  </a:lnTo>
                  <a:lnTo>
                    <a:pt x="728853" y="572846"/>
                  </a:lnTo>
                  <a:lnTo>
                    <a:pt x="728853" y="573532"/>
                  </a:lnTo>
                  <a:lnTo>
                    <a:pt x="729348" y="573532"/>
                  </a:lnTo>
                  <a:lnTo>
                    <a:pt x="729399" y="572846"/>
                  </a:lnTo>
                  <a:lnTo>
                    <a:pt x="729792" y="572846"/>
                  </a:lnTo>
                  <a:lnTo>
                    <a:pt x="729792" y="573532"/>
                  </a:lnTo>
                  <a:lnTo>
                    <a:pt x="729843" y="573532"/>
                  </a:lnTo>
                  <a:lnTo>
                    <a:pt x="729843" y="572846"/>
                  </a:lnTo>
                  <a:lnTo>
                    <a:pt x="729945" y="573532"/>
                  </a:lnTo>
                  <a:lnTo>
                    <a:pt x="729945" y="572846"/>
                  </a:lnTo>
                  <a:lnTo>
                    <a:pt x="729996" y="572846"/>
                  </a:lnTo>
                  <a:lnTo>
                    <a:pt x="730046" y="573532"/>
                  </a:lnTo>
                  <a:lnTo>
                    <a:pt x="730046" y="572846"/>
                  </a:lnTo>
                  <a:lnTo>
                    <a:pt x="730199" y="572846"/>
                  </a:lnTo>
                  <a:lnTo>
                    <a:pt x="730249" y="573532"/>
                  </a:lnTo>
                  <a:lnTo>
                    <a:pt x="730389" y="573532"/>
                  </a:lnTo>
                  <a:lnTo>
                    <a:pt x="730440" y="572846"/>
                  </a:lnTo>
                  <a:lnTo>
                    <a:pt x="730592" y="572846"/>
                  </a:lnTo>
                  <a:lnTo>
                    <a:pt x="730643" y="573532"/>
                  </a:lnTo>
                  <a:lnTo>
                    <a:pt x="730986" y="573532"/>
                  </a:lnTo>
                  <a:lnTo>
                    <a:pt x="731088" y="574180"/>
                  </a:lnTo>
                  <a:lnTo>
                    <a:pt x="731291" y="574180"/>
                  </a:lnTo>
                  <a:lnTo>
                    <a:pt x="731291" y="573532"/>
                  </a:lnTo>
                  <a:lnTo>
                    <a:pt x="731329" y="573532"/>
                  </a:lnTo>
                  <a:lnTo>
                    <a:pt x="731380" y="574180"/>
                  </a:lnTo>
                  <a:lnTo>
                    <a:pt x="731583" y="574180"/>
                  </a:lnTo>
                  <a:lnTo>
                    <a:pt x="731583" y="573532"/>
                  </a:lnTo>
                  <a:lnTo>
                    <a:pt x="731634" y="574180"/>
                  </a:lnTo>
                  <a:lnTo>
                    <a:pt x="731735" y="574180"/>
                  </a:lnTo>
                  <a:lnTo>
                    <a:pt x="731735" y="573532"/>
                  </a:lnTo>
                  <a:lnTo>
                    <a:pt x="731786" y="573532"/>
                  </a:lnTo>
                  <a:lnTo>
                    <a:pt x="731837" y="572846"/>
                  </a:lnTo>
                  <a:lnTo>
                    <a:pt x="731837" y="572249"/>
                  </a:lnTo>
                  <a:lnTo>
                    <a:pt x="731875" y="572846"/>
                  </a:lnTo>
                  <a:lnTo>
                    <a:pt x="731875" y="572249"/>
                  </a:lnTo>
                  <a:lnTo>
                    <a:pt x="732231" y="572249"/>
                  </a:lnTo>
                  <a:lnTo>
                    <a:pt x="732231" y="572846"/>
                  </a:lnTo>
                  <a:lnTo>
                    <a:pt x="732282" y="572249"/>
                  </a:lnTo>
                  <a:lnTo>
                    <a:pt x="732472" y="572249"/>
                  </a:lnTo>
                  <a:lnTo>
                    <a:pt x="732523" y="570954"/>
                  </a:lnTo>
                  <a:lnTo>
                    <a:pt x="732523" y="570256"/>
                  </a:lnTo>
                  <a:lnTo>
                    <a:pt x="732574" y="570954"/>
                  </a:lnTo>
                  <a:lnTo>
                    <a:pt x="733171" y="570954"/>
                  </a:lnTo>
                  <a:lnTo>
                    <a:pt x="733171" y="572249"/>
                  </a:lnTo>
                  <a:lnTo>
                    <a:pt x="733374" y="572249"/>
                  </a:lnTo>
                  <a:lnTo>
                    <a:pt x="733374" y="570954"/>
                  </a:lnTo>
                  <a:lnTo>
                    <a:pt x="733424" y="570954"/>
                  </a:lnTo>
                  <a:lnTo>
                    <a:pt x="733463" y="572249"/>
                  </a:lnTo>
                  <a:lnTo>
                    <a:pt x="733767" y="572249"/>
                  </a:lnTo>
                  <a:lnTo>
                    <a:pt x="733767" y="572846"/>
                  </a:lnTo>
                  <a:lnTo>
                    <a:pt x="733869" y="572846"/>
                  </a:lnTo>
                  <a:lnTo>
                    <a:pt x="733869" y="572249"/>
                  </a:lnTo>
                  <a:lnTo>
                    <a:pt x="734059" y="572249"/>
                  </a:lnTo>
                  <a:lnTo>
                    <a:pt x="734059" y="570954"/>
                  </a:lnTo>
                  <a:lnTo>
                    <a:pt x="734161" y="570954"/>
                  </a:lnTo>
                  <a:lnTo>
                    <a:pt x="734263" y="572249"/>
                  </a:lnTo>
                  <a:lnTo>
                    <a:pt x="734364" y="572249"/>
                  </a:lnTo>
                  <a:lnTo>
                    <a:pt x="734466" y="570954"/>
                  </a:lnTo>
                  <a:lnTo>
                    <a:pt x="734466" y="572249"/>
                  </a:lnTo>
                  <a:lnTo>
                    <a:pt x="734504" y="570954"/>
                  </a:lnTo>
                  <a:lnTo>
                    <a:pt x="734555" y="570954"/>
                  </a:lnTo>
                  <a:lnTo>
                    <a:pt x="734555" y="572249"/>
                  </a:lnTo>
                  <a:lnTo>
                    <a:pt x="734606" y="572249"/>
                  </a:lnTo>
                  <a:lnTo>
                    <a:pt x="734606" y="570954"/>
                  </a:lnTo>
                  <a:lnTo>
                    <a:pt x="734707" y="572249"/>
                  </a:lnTo>
                  <a:lnTo>
                    <a:pt x="734707" y="570954"/>
                  </a:lnTo>
                  <a:lnTo>
                    <a:pt x="734910" y="570954"/>
                  </a:lnTo>
                  <a:lnTo>
                    <a:pt x="734910" y="572249"/>
                  </a:lnTo>
                  <a:lnTo>
                    <a:pt x="735012" y="572249"/>
                  </a:lnTo>
                  <a:lnTo>
                    <a:pt x="735050" y="570954"/>
                  </a:lnTo>
                  <a:lnTo>
                    <a:pt x="735253" y="570954"/>
                  </a:lnTo>
                  <a:lnTo>
                    <a:pt x="735253" y="572249"/>
                  </a:lnTo>
                  <a:lnTo>
                    <a:pt x="735355" y="570954"/>
                  </a:lnTo>
                  <a:lnTo>
                    <a:pt x="735355" y="572249"/>
                  </a:lnTo>
                  <a:lnTo>
                    <a:pt x="735406" y="572249"/>
                  </a:lnTo>
                  <a:lnTo>
                    <a:pt x="735406" y="570954"/>
                  </a:lnTo>
                  <a:lnTo>
                    <a:pt x="736053" y="570954"/>
                  </a:lnTo>
                  <a:lnTo>
                    <a:pt x="736092" y="572249"/>
                  </a:lnTo>
                  <a:lnTo>
                    <a:pt x="736295" y="572249"/>
                  </a:lnTo>
                  <a:lnTo>
                    <a:pt x="736346" y="570954"/>
                  </a:lnTo>
                  <a:lnTo>
                    <a:pt x="736396" y="572249"/>
                  </a:lnTo>
                  <a:lnTo>
                    <a:pt x="736599" y="572249"/>
                  </a:lnTo>
                  <a:lnTo>
                    <a:pt x="736638" y="572846"/>
                  </a:lnTo>
                  <a:lnTo>
                    <a:pt x="736739" y="572846"/>
                  </a:lnTo>
                  <a:lnTo>
                    <a:pt x="736790" y="572249"/>
                  </a:lnTo>
                  <a:lnTo>
                    <a:pt x="736841" y="572249"/>
                  </a:lnTo>
                  <a:lnTo>
                    <a:pt x="736942" y="572846"/>
                  </a:lnTo>
                  <a:lnTo>
                    <a:pt x="736942" y="572249"/>
                  </a:lnTo>
                  <a:lnTo>
                    <a:pt x="736993" y="572846"/>
                  </a:lnTo>
                  <a:lnTo>
                    <a:pt x="737044" y="572249"/>
                  </a:lnTo>
                  <a:lnTo>
                    <a:pt x="737095" y="572846"/>
                  </a:lnTo>
                  <a:lnTo>
                    <a:pt x="737488" y="572846"/>
                  </a:lnTo>
                  <a:lnTo>
                    <a:pt x="737488" y="572249"/>
                  </a:lnTo>
                  <a:lnTo>
                    <a:pt x="737539" y="572249"/>
                  </a:lnTo>
                  <a:lnTo>
                    <a:pt x="737641" y="572846"/>
                  </a:lnTo>
                  <a:lnTo>
                    <a:pt x="737679" y="572846"/>
                  </a:lnTo>
                  <a:lnTo>
                    <a:pt x="737679" y="573532"/>
                  </a:lnTo>
                  <a:lnTo>
                    <a:pt x="737730" y="573532"/>
                  </a:lnTo>
                  <a:lnTo>
                    <a:pt x="737730" y="572846"/>
                  </a:lnTo>
                  <a:lnTo>
                    <a:pt x="737781" y="572249"/>
                  </a:lnTo>
                  <a:lnTo>
                    <a:pt x="737882" y="570256"/>
                  </a:lnTo>
                  <a:lnTo>
                    <a:pt x="737933" y="570256"/>
                  </a:lnTo>
                  <a:lnTo>
                    <a:pt x="737933" y="569621"/>
                  </a:lnTo>
                  <a:lnTo>
                    <a:pt x="738085" y="569621"/>
                  </a:lnTo>
                  <a:lnTo>
                    <a:pt x="738085" y="570256"/>
                  </a:lnTo>
                  <a:lnTo>
                    <a:pt x="738136" y="570256"/>
                  </a:lnTo>
                  <a:lnTo>
                    <a:pt x="738136" y="570954"/>
                  </a:lnTo>
                  <a:lnTo>
                    <a:pt x="738225" y="570954"/>
                  </a:lnTo>
                  <a:lnTo>
                    <a:pt x="738327" y="572249"/>
                  </a:lnTo>
                  <a:lnTo>
                    <a:pt x="738378" y="572846"/>
                  </a:lnTo>
                  <a:lnTo>
                    <a:pt x="738428" y="572249"/>
                  </a:lnTo>
                  <a:lnTo>
                    <a:pt x="738428" y="570954"/>
                  </a:lnTo>
                  <a:lnTo>
                    <a:pt x="738530" y="570256"/>
                  </a:lnTo>
                  <a:lnTo>
                    <a:pt x="738581" y="569621"/>
                  </a:lnTo>
                  <a:lnTo>
                    <a:pt x="738581" y="567627"/>
                  </a:lnTo>
                  <a:lnTo>
                    <a:pt x="738632" y="567627"/>
                  </a:lnTo>
                  <a:lnTo>
                    <a:pt x="738632" y="568973"/>
                  </a:lnTo>
                  <a:lnTo>
                    <a:pt x="738682" y="567627"/>
                  </a:lnTo>
                  <a:lnTo>
                    <a:pt x="738682" y="568973"/>
                  </a:lnTo>
                  <a:lnTo>
                    <a:pt x="738873" y="568973"/>
                  </a:lnTo>
                  <a:lnTo>
                    <a:pt x="738924" y="569621"/>
                  </a:lnTo>
                  <a:lnTo>
                    <a:pt x="739025" y="570256"/>
                  </a:lnTo>
                  <a:lnTo>
                    <a:pt x="739025" y="570954"/>
                  </a:lnTo>
                  <a:lnTo>
                    <a:pt x="739228" y="570954"/>
                  </a:lnTo>
                  <a:lnTo>
                    <a:pt x="739267" y="570256"/>
                  </a:lnTo>
                  <a:lnTo>
                    <a:pt x="739470" y="570256"/>
                  </a:lnTo>
                  <a:lnTo>
                    <a:pt x="739521" y="569621"/>
                  </a:lnTo>
                  <a:lnTo>
                    <a:pt x="739571" y="570256"/>
                  </a:lnTo>
                  <a:lnTo>
                    <a:pt x="739571" y="569621"/>
                  </a:lnTo>
                  <a:lnTo>
                    <a:pt x="739673" y="570256"/>
                  </a:lnTo>
                  <a:lnTo>
                    <a:pt x="739724" y="570954"/>
                  </a:lnTo>
                  <a:lnTo>
                    <a:pt x="739914" y="570954"/>
                  </a:lnTo>
                  <a:lnTo>
                    <a:pt x="739965" y="570256"/>
                  </a:lnTo>
                  <a:lnTo>
                    <a:pt x="739965" y="570954"/>
                  </a:lnTo>
                  <a:lnTo>
                    <a:pt x="740117" y="570954"/>
                  </a:lnTo>
                  <a:lnTo>
                    <a:pt x="740117" y="570256"/>
                  </a:lnTo>
                  <a:lnTo>
                    <a:pt x="740359" y="570256"/>
                  </a:lnTo>
                  <a:lnTo>
                    <a:pt x="740359" y="569621"/>
                  </a:lnTo>
                  <a:lnTo>
                    <a:pt x="740854" y="569621"/>
                  </a:lnTo>
                  <a:lnTo>
                    <a:pt x="740854" y="568973"/>
                  </a:lnTo>
                  <a:lnTo>
                    <a:pt x="740956" y="568973"/>
                  </a:lnTo>
                  <a:lnTo>
                    <a:pt x="741057" y="569621"/>
                  </a:lnTo>
                  <a:lnTo>
                    <a:pt x="741311" y="569621"/>
                  </a:lnTo>
                  <a:lnTo>
                    <a:pt x="741311" y="570256"/>
                  </a:lnTo>
                  <a:lnTo>
                    <a:pt x="741362" y="569621"/>
                  </a:lnTo>
                  <a:lnTo>
                    <a:pt x="741553" y="569621"/>
                  </a:lnTo>
                  <a:lnTo>
                    <a:pt x="741603" y="568973"/>
                  </a:lnTo>
                  <a:lnTo>
                    <a:pt x="741756" y="568973"/>
                  </a:lnTo>
                  <a:lnTo>
                    <a:pt x="741807" y="569621"/>
                  </a:lnTo>
                  <a:lnTo>
                    <a:pt x="741997" y="569621"/>
                  </a:lnTo>
                  <a:lnTo>
                    <a:pt x="741997" y="570256"/>
                  </a:lnTo>
                  <a:lnTo>
                    <a:pt x="742048" y="570256"/>
                  </a:lnTo>
                  <a:lnTo>
                    <a:pt x="742048" y="569621"/>
                  </a:lnTo>
                  <a:lnTo>
                    <a:pt x="742251" y="569621"/>
                  </a:lnTo>
                  <a:lnTo>
                    <a:pt x="742251" y="570256"/>
                  </a:lnTo>
                  <a:lnTo>
                    <a:pt x="742543" y="570256"/>
                  </a:lnTo>
                  <a:lnTo>
                    <a:pt x="742543" y="570954"/>
                  </a:lnTo>
                  <a:lnTo>
                    <a:pt x="742645" y="570256"/>
                  </a:lnTo>
                  <a:lnTo>
                    <a:pt x="742696" y="570256"/>
                  </a:lnTo>
                  <a:lnTo>
                    <a:pt x="742696" y="569621"/>
                  </a:lnTo>
                  <a:lnTo>
                    <a:pt x="742746" y="570256"/>
                  </a:lnTo>
                  <a:lnTo>
                    <a:pt x="742848" y="570256"/>
                  </a:lnTo>
                  <a:lnTo>
                    <a:pt x="742899" y="570954"/>
                  </a:lnTo>
                  <a:lnTo>
                    <a:pt x="742949" y="570954"/>
                  </a:lnTo>
                  <a:lnTo>
                    <a:pt x="742988" y="570256"/>
                  </a:lnTo>
                  <a:lnTo>
                    <a:pt x="743140" y="570256"/>
                  </a:lnTo>
                  <a:lnTo>
                    <a:pt x="743140" y="570954"/>
                  </a:lnTo>
                  <a:lnTo>
                    <a:pt x="743191" y="570954"/>
                  </a:lnTo>
                  <a:lnTo>
                    <a:pt x="743191" y="570256"/>
                  </a:lnTo>
                  <a:lnTo>
                    <a:pt x="743292" y="570256"/>
                  </a:lnTo>
                  <a:lnTo>
                    <a:pt x="743343" y="570954"/>
                  </a:lnTo>
                  <a:lnTo>
                    <a:pt x="743394" y="570954"/>
                  </a:lnTo>
                  <a:lnTo>
                    <a:pt x="743445" y="570256"/>
                  </a:lnTo>
                  <a:lnTo>
                    <a:pt x="743534" y="570954"/>
                  </a:lnTo>
                  <a:lnTo>
                    <a:pt x="743635" y="570954"/>
                  </a:lnTo>
                  <a:lnTo>
                    <a:pt x="743686" y="572249"/>
                  </a:lnTo>
                  <a:lnTo>
                    <a:pt x="743838" y="572249"/>
                  </a:lnTo>
                  <a:lnTo>
                    <a:pt x="743838" y="570954"/>
                  </a:lnTo>
                  <a:lnTo>
                    <a:pt x="743889" y="570954"/>
                  </a:lnTo>
                  <a:lnTo>
                    <a:pt x="743889" y="570256"/>
                  </a:lnTo>
                  <a:lnTo>
                    <a:pt x="743991" y="569621"/>
                  </a:lnTo>
                  <a:lnTo>
                    <a:pt x="744029" y="568973"/>
                  </a:lnTo>
                  <a:lnTo>
                    <a:pt x="744080" y="569621"/>
                  </a:lnTo>
                  <a:lnTo>
                    <a:pt x="744131" y="569621"/>
                  </a:lnTo>
                  <a:lnTo>
                    <a:pt x="744232" y="570256"/>
                  </a:lnTo>
                  <a:lnTo>
                    <a:pt x="744283" y="570256"/>
                  </a:lnTo>
                  <a:lnTo>
                    <a:pt x="744334" y="570954"/>
                  </a:lnTo>
                  <a:lnTo>
                    <a:pt x="744334" y="570256"/>
                  </a:lnTo>
                  <a:lnTo>
                    <a:pt x="744435" y="570954"/>
                  </a:lnTo>
                  <a:lnTo>
                    <a:pt x="744486" y="570256"/>
                  </a:lnTo>
                  <a:lnTo>
                    <a:pt x="744537" y="568973"/>
                  </a:lnTo>
                  <a:lnTo>
                    <a:pt x="744575" y="567627"/>
                  </a:lnTo>
                  <a:lnTo>
                    <a:pt x="744575" y="567042"/>
                  </a:lnTo>
                  <a:lnTo>
                    <a:pt x="744677" y="566395"/>
                  </a:lnTo>
                  <a:lnTo>
                    <a:pt x="744677" y="567042"/>
                  </a:lnTo>
                  <a:lnTo>
                    <a:pt x="744778" y="567042"/>
                  </a:lnTo>
                  <a:lnTo>
                    <a:pt x="744778" y="567627"/>
                  </a:lnTo>
                  <a:lnTo>
                    <a:pt x="744982" y="567627"/>
                  </a:lnTo>
                  <a:lnTo>
                    <a:pt x="744982" y="568973"/>
                  </a:lnTo>
                  <a:lnTo>
                    <a:pt x="745121" y="568973"/>
                  </a:lnTo>
                  <a:lnTo>
                    <a:pt x="745172" y="569621"/>
                  </a:lnTo>
                  <a:lnTo>
                    <a:pt x="745274" y="569621"/>
                  </a:lnTo>
                  <a:lnTo>
                    <a:pt x="745375" y="568973"/>
                  </a:lnTo>
                  <a:lnTo>
                    <a:pt x="745426" y="568973"/>
                  </a:lnTo>
                  <a:lnTo>
                    <a:pt x="745477" y="567627"/>
                  </a:lnTo>
                  <a:lnTo>
                    <a:pt x="745667" y="567627"/>
                  </a:lnTo>
                  <a:lnTo>
                    <a:pt x="745667" y="568973"/>
                  </a:lnTo>
                  <a:lnTo>
                    <a:pt x="746124" y="568973"/>
                  </a:lnTo>
                  <a:lnTo>
                    <a:pt x="746124" y="567627"/>
                  </a:lnTo>
                  <a:lnTo>
                    <a:pt x="746163" y="568973"/>
                  </a:lnTo>
                  <a:lnTo>
                    <a:pt x="746163" y="567627"/>
                  </a:lnTo>
                  <a:lnTo>
                    <a:pt x="746315" y="567627"/>
                  </a:lnTo>
                  <a:lnTo>
                    <a:pt x="746315" y="567042"/>
                  </a:lnTo>
                  <a:lnTo>
                    <a:pt x="746366" y="567627"/>
                  </a:lnTo>
                  <a:lnTo>
                    <a:pt x="746759" y="567627"/>
                  </a:lnTo>
                  <a:lnTo>
                    <a:pt x="746759" y="567042"/>
                  </a:lnTo>
                  <a:lnTo>
                    <a:pt x="747013" y="567042"/>
                  </a:lnTo>
                  <a:lnTo>
                    <a:pt x="747064" y="567627"/>
                  </a:lnTo>
                  <a:lnTo>
                    <a:pt x="747255" y="567627"/>
                  </a:lnTo>
                  <a:lnTo>
                    <a:pt x="747306" y="567042"/>
                  </a:lnTo>
                  <a:lnTo>
                    <a:pt x="747306" y="567627"/>
                  </a:lnTo>
                  <a:lnTo>
                    <a:pt x="747407" y="567627"/>
                  </a:lnTo>
                  <a:lnTo>
                    <a:pt x="747407" y="567042"/>
                  </a:lnTo>
                  <a:lnTo>
                    <a:pt x="747509" y="567042"/>
                  </a:lnTo>
                  <a:lnTo>
                    <a:pt x="747509" y="567627"/>
                  </a:lnTo>
                  <a:lnTo>
                    <a:pt x="747610" y="567627"/>
                  </a:lnTo>
                  <a:lnTo>
                    <a:pt x="747661" y="567042"/>
                  </a:lnTo>
                  <a:lnTo>
                    <a:pt x="747661" y="567627"/>
                  </a:lnTo>
                  <a:lnTo>
                    <a:pt x="747712" y="567042"/>
                  </a:lnTo>
                  <a:lnTo>
                    <a:pt x="747852" y="567042"/>
                  </a:lnTo>
                  <a:lnTo>
                    <a:pt x="747903" y="567627"/>
                  </a:lnTo>
                  <a:lnTo>
                    <a:pt x="748753" y="567627"/>
                  </a:lnTo>
                  <a:lnTo>
                    <a:pt x="748753" y="568973"/>
                  </a:lnTo>
                  <a:lnTo>
                    <a:pt x="748792" y="567627"/>
                  </a:lnTo>
                  <a:lnTo>
                    <a:pt x="748842" y="568973"/>
                  </a:lnTo>
                  <a:lnTo>
                    <a:pt x="749541" y="568973"/>
                  </a:lnTo>
                  <a:lnTo>
                    <a:pt x="749541" y="569621"/>
                  </a:lnTo>
                  <a:lnTo>
                    <a:pt x="749744" y="569621"/>
                  </a:lnTo>
                  <a:lnTo>
                    <a:pt x="749795" y="570256"/>
                  </a:lnTo>
                  <a:lnTo>
                    <a:pt x="749795" y="569621"/>
                  </a:lnTo>
                  <a:lnTo>
                    <a:pt x="749884" y="568973"/>
                  </a:lnTo>
                  <a:lnTo>
                    <a:pt x="749884" y="567627"/>
                  </a:lnTo>
                  <a:lnTo>
                    <a:pt x="749934" y="567042"/>
                  </a:lnTo>
                  <a:lnTo>
                    <a:pt x="749985" y="567627"/>
                  </a:lnTo>
                  <a:lnTo>
                    <a:pt x="750036" y="567042"/>
                  </a:lnTo>
                  <a:lnTo>
                    <a:pt x="750188" y="567042"/>
                  </a:lnTo>
                  <a:lnTo>
                    <a:pt x="750188" y="567627"/>
                  </a:lnTo>
                  <a:lnTo>
                    <a:pt x="750239" y="567627"/>
                  </a:lnTo>
                  <a:lnTo>
                    <a:pt x="750239" y="568973"/>
                  </a:lnTo>
                  <a:lnTo>
                    <a:pt x="750481" y="568973"/>
                  </a:lnTo>
                  <a:lnTo>
                    <a:pt x="750481" y="567627"/>
                  </a:lnTo>
                  <a:lnTo>
                    <a:pt x="750582" y="567042"/>
                  </a:lnTo>
                  <a:lnTo>
                    <a:pt x="750582" y="566395"/>
                  </a:lnTo>
                  <a:lnTo>
                    <a:pt x="750633" y="565747"/>
                  </a:lnTo>
                  <a:lnTo>
                    <a:pt x="750684" y="565747"/>
                  </a:lnTo>
                  <a:lnTo>
                    <a:pt x="750684" y="566395"/>
                  </a:lnTo>
                  <a:lnTo>
                    <a:pt x="750785" y="565747"/>
                  </a:lnTo>
                  <a:lnTo>
                    <a:pt x="750836" y="566395"/>
                  </a:lnTo>
                  <a:lnTo>
                    <a:pt x="750887" y="566395"/>
                  </a:lnTo>
                  <a:lnTo>
                    <a:pt x="750925" y="567042"/>
                  </a:lnTo>
                  <a:lnTo>
                    <a:pt x="752271" y="567042"/>
                  </a:lnTo>
                  <a:lnTo>
                    <a:pt x="752373" y="567627"/>
                  </a:lnTo>
                  <a:lnTo>
                    <a:pt x="752424" y="567042"/>
                  </a:lnTo>
                  <a:lnTo>
                    <a:pt x="752474" y="567042"/>
                  </a:lnTo>
                  <a:lnTo>
                    <a:pt x="752513" y="566395"/>
                  </a:lnTo>
                  <a:lnTo>
                    <a:pt x="752513" y="567042"/>
                  </a:lnTo>
                  <a:lnTo>
                    <a:pt x="752614" y="567042"/>
                  </a:lnTo>
                  <a:lnTo>
                    <a:pt x="752614" y="566395"/>
                  </a:lnTo>
                  <a:lnTo>
                    <a:pt x="752665" y="567042"/>
                  </a:lnTo>
                  <a:lnTo>
                    <a:pt x="752716" y="566395"/>
                  </a:lnTo>
                  <a:lnTo>
                    <a:pt x="752817" y="566395"/>
                  </a:lnTo>
                  <a:lnTo>
                    <a:pt x="752817" y="567042"/>
                  </a:lnTo>
                  <a:lnTo>
                    <a:pt x="752868" y="566395"/>
                  </a:lnTo>
                  <a:lnTo>
                    <a:pt x="752868" y="567042"/>
                  </a:lnTo>
                  <a:lnTo>
                    <a:pt x="752919" y="566395"/>
                  </a:lnTo>
                  <a:lnTo>
                    <a:pt x="753211" y="566395"/>
                  </a:lnTo>
                  <a:lnTo>
                    <a:pt x="753211" y="567042"/>
                  </a:lnTo>
                  <a:lnTo>
                    <a:pt x="753313" y="567042"/>
                  </a:lnTo>
                  <a:lnTo>
                    <a:pt x="753313" y="566395"/>
                  </a:lnTo>
                  <a:lnTo>
                    <a:pt x="753516" y="566395"/>
                  </a:lnTo>
                  <a:lnTo>
                    <a:pt x="753554" y="565747"/>
                  </a:lnTo>
                  <a:lnTo>
                    <a:pt x="753656" y="565747"/>
                  </a:lnTo>
                  <a:lnTo>
                    <a:pt x="753757" y="566395"/>
                  </a:lnTo>
                  <a:lnTo>
                    <a:pt x="753808" y="566395"/>
                  </a:lnTo>
                  <a:lnTo>
                    <a:pt x="753859" y="567042"/>
                  </a:lnTo>
                  <a:lnTo>
                    <a:pt x="753960" y="567042"/>
                  </a:lnTo>
                  <a:lnTo>
                    <a:pt x="754011" y="566395"/>
                  </a:lnTo>
                  <a:lnTo>
                    <a:pt x="754062" y="567042"/>
                  </a:lnTo>
                  <a:lnTo>
                    <a:pt x="754202" y="567042"/>
                  </a:lnTo>
                  <a:lnTo>
                    <a:pt x="754202" y="566395"/>
                  </a:lnTo>
                  <a:lnTo>
                    <a:pt x="754405" y="566395"/>
                  </a:lnTo>
                  <a:lnTo>
                    <a:pt x="754456" y="567042"/>
                  </a:lnTo>
                  <a:lnTo>
                    <a:pt x="754646" y="567042"/>
                  </a:lnTo>
                  <a:lnTo>
                    <a:pt x="754646" y="566395"/>
                  </a:lnTo>
                  <a:lnTo>
                    <a:pt x="754748" y="566395"/>
                  </a:lnTo>
                  <a:lnTo>
                    <a:pt x="754748" y="567042"/>
                  </a:lnTo>
                  <a:lnTo>
                    <a:pt x="754799" y="566395"/>
                  </a:lnTo>
                  <a:lnTo>
                    <a:pt x="754951" y="566395"/>
                  </a:lnTo>
                  <a:lnTo>
                    <a:pt x="754951" y="567042"/>
                  </a:lnTo>
                  <a:lnTo>
                    <a:pt x="755192" y="567042"/>
                  </a:lnTo>
                  <a:lnTo>
                    <a:pt x="755243" y="567627"/>
                  </a:lnTo>
                  <a:lnTo>
                    <a:pt x="755548" y="567627"/>
                  </a:lnTo>
                  <a:lnTo>
                    <a:pt x="755599" y="568973"/>
                  </a:lnTo>
                  <a:lnTo>
                    <a:pt x="755688" y="568973"/>
                  </a:lnTo>
                  <a:lnTo>
                    <a:pt x="755688" y="567627"/>
                  </a:lnTo>
                  <a:lnTo>
                    <a:pt x="755789" y="567042"/>
                  </a:lnTo>
                  <a:lnTo>
                    <a:pt x="755840" y="567042"/>
                  </a:lnTo>
                  <a:lnTo>
                    <a:pt x="755840" y="566395"/>
                  </a:lnTo>
                  <a:lnTo>
                    <a:pt x="756094" y="566395"/>
                  </a:lnTo>
                  <a:lnTo>
                    <a:pt x="756145" y="567042"/>
                  </a:lnTo>
                  <a:lnTo>
                    <a:pt x="756234" y="567042"/>
                  </a:lnTo>
                  <a:lnTo>
                    <a:pt x="756234" y="567627"/>
                  </a:lnTo>
                  <a:lnTo>
                    <a:pt x="756386" y="567627"/>
                  </a:lnTo>
                  <a:lnTo>
                    <a:pt x="756488" y="567042"/>
                  </a:lnTo>
                  <a:lnTo>
                    <a:pt x="756488" y="566395"/>
                  </a:lnTo>
                  <a:lnTo>
                    <a:pt x="756538" y="565747"/>
                  </a:lnTo>
                  <a:lnTo>
                    <a:pt x="756538" y="565048"/>
                  </a:lnTo>
                  <a:lnTo>
                    <a:pt x="756589" y="563766"/>
                  </a:lnTo>
                  <a:lnTo>
                    <a:pt x="756691" y="563169"/>
                  </a:lnTo>
                  <a:lnTo>
                    <a:pt x="756691" y="563766"/>
                  </a:lnTo>
                  <a:lnTo>
                    <a:pt x="756780" y="563766"/>
                  </a:lnTo>
                  <a:lnTo>
                    <a:pt x="756780" y="565048"/>
                  </a:lnTo>
                  <a:lnTo>
                    <a:pt x="756831" y="563766"/>
                  </a:lnTo>
                  <a:lnTo>
                    <a:pt x="756831" y="565048"/>
                  </a:lnTo>
                  <a:lnTo>
                    <a:pt x="756932" y="565048"/>
                  </a:lnTo>
                  <a:lnTo>
                    <a:pt x="756983" y="565747"/>
                  </a:lnTo>
                  <a:lnTo>
                    <a:pt x="757186" y="565747"/>
                  </a:lnTo>
                  <a:lnTo>
                    <a:pt x="757186" y="566395"/>
                  </a:lnTo>
                  <a:lnTo>
                    <a:pt x="757377" y="566395"/>
                  </a:lnTo>
                  <a:lnTo>
                    <a:pt x="757377" y="565747"/>
                  </a:lnTo>
                  <a:lnTo>
                    <a:pt x="757732" y="565747"/>
                  </a:lnTo>
                  <a:lnTo>
                    <a:pt x="757821" y="566395"/>
                  </a:lnTo>
                  <a:lnTo>
                    <a:pt x="757821" y="565747"/>
                  </a:lnTo>
                  <a:lnTo>
                    <a:pt x="757872" y="565747"/>
                  </a:lnTo>
                  <a:lnTo>
                    <a:pt x="757872" y="566395"/>
                  </a:lnTo>
                  <a:lnTo>
                    <a:pt x="757974" y="566395"/>
                  </a:lnTo>
                  <a:lnTo>
                    <a:pt x="758075" y="565747"/>
                  </a:lnTo>
                  <a:lnTo>
                    <a:pt x="758126" y="565747"/>
                  </a:lnTo>
                  <a:lnTo>
                    <a:pt x="758126" y="565048"/>
                  </a:lnTo>
                  <a:lnTo>
                    <a:pt x="758177" y="565048"/>
                  </a:lnTo>
                  <a:lnTo>
                    <a:pt x="758177" y="565747"/>
                  </a:lnTo>
                  <a:lnTo>
                    <a:pt x="758278" y="565747"/>
                  </a:lnTo>
                  <a:lnTo>
                    <a:pt x="758317" y="566395"/>
                  </a:lnTo>
                  <a:lnTo>
                    <a:pt x="758367" y="565747"/>
                  </a:lnTo>
                  <a:lnTo>
                    <a:pt x="758723" y="565747"/>
                  </a:lnTo>
                  <a:lnTo>
                    <a:pt x="758774" y="565048"/>
                  </a:lnTo>
                  <a:lnTo>
                    <a:pt x="758863" y="565048"/>
                  </a:lnTo>
                  <a:lnTo>
                    <a:pt x="758964" y="565747"/>
                  </a:lnTo>
                  <a:lnTo>
                    <a:pt x="759409" y="565747"/>
                  </a:lnTo>
                  <a:lnTo>
                    <a:pt x="759409" y="565048"/>
                  </a:lnTo>
                  <a:lnTo>
                    <a:pt x="759663" y="565048"/>
                  </a:lnTo>
                  <a:lnTo>
                    <a:pt x="759713" y="565747"/>
                  </a:lnTo>
                  <a:lnTo>
                    <a:pt x="759713" y="565048"/>
                  </a:lnTo>
                  <a:lnTo>
                    <a:pt x="759866" y="565048"/>
                  </a:lnTo>
                  <a:lnTo>
                    <a:pt x="759904" y="565747"/>
                  </a:lnTo>
                  <a:lnTo>
                    <a:pt x="760107" y="565747"/>
                  </a:lnTo>
                  <a:lnTo>
                    <a:pt x="760158" y="566395"/>
                  </a:lnTo>
                  <a:lnTo>
                    <a:pt x="760158" y="565747"/>
                  </a:lnTo>
                  <a:lnTo>
                    <a:pt x="760209" y="565747"/>
                  </a:lnTo>
                  <a:lnTo>
                    <a:pt x="760209" y="566395"/>
                  </a:lnTo>
                  <a:lnTo>
                    <a:pt x="760310" y="566395"/>
                  </a:lnTo>
                  <a:lnTo>
                    <a:pt x="760361" y="567042"/>
                  </a:lnTo>
                  <a:lnTo>
                    <a:pt x="760412" y="566395"/>
                  </a:lnTo>
                  <a:lnTo>
                    <a:pt x="760450" y="566395"/>
                  </a:lnTo>
                  <a:lnTo>
                    <a:pt x="760450" y="565747"/>
                  </a:lnTo>
                  <a:lnTo>
                    <a:pt x="760552" y="565048"/>
                  </a:lnTo>
                  <a:lnTo>
                    <a:pt x="760653" y="565048"/>
                  </a:lnTo>
                  <a:lnTo>
                    <a:pt x="760755" y="565747"/>
                  </a:lnTo>
                  <a:lnTo>
                    <a:pt x="760806" y="565747"/>
                  </a:lnTo>
                  <a:lnTo>
                    <a:pt x="760806" y="566395"/>
                  </a:lnTo>
                  <a:lnTo>
                    <a:pt x="760857" y="565747"/>
                  </a:lnTo>
                  <a:lnTo>
                    <a:pt x="760857" y="566395"/>
                  </a:lnTo>
                  <a:lnTo>
                    <a:pt x="760907" y="566395"/>
                  </a:lnTo>
                  <a:lnTo>
                    <a:pt x="760907" y="565747"/>
                  </a:lnTo>
                  <a:lnTo>
                    <a:pt x="761098" y="565747"/>
                  </a:lnTo>
                  <a:lnTo>
                    <a:pt x="761149" y="566395"/>
                  </a:lnTo>
                  <a:lnTo>
                    <a:pt x="761301" y="566395"/>
                  </a:lnTo>
                  <a:lnTo>
                    <a:pt x="761301" y="565747"/>
                  </a:lnTo>
                  <a:lnTo>
                    <a:pt x="761352" y="566395"/>
                  </a:lnTo>
                  <a:lnTo>
                    <a:pt x="761695" y="566395"/>
                  </a:lnTo>
                  <a:lnTo>
                    <a:pt x="761695" y="565747"/>
                  </a:lnTo>
                  <a:lnTo>
                    <a:pt x="761746" y="565048"/>
                  </a:lnTo>
                  <a:lnTo>
                    <a:pt x="761746" y="563766"/>
                  </a:lnTo>
                  <a:lnTo>
                    <a:pt x="761796" y="563169"/>
                  </a:lnTo>
                  <a:lnTo>
                    <a:pt x="761898" y="563169"/>
                  </a:lnTo>
                  <a:lnTo>
                    <a:pt x="761949" y="562420"/>
                  </a:lnTo>
                  <a:lnTo>
                    <a:pt x="761999" y="563169"/>
                  </a:lnTo>
                  <a:lnTo>
                    <a:pt x="762038" y="563169"/>
                  </a:lnTo>
                  <a:lnTo>
                    <a:pt x="762038" y="563766"/>
                  </a:lnTo>
                  <a:lnTo>
                    <a:pt x="762139" y="563766"/>
                  </a:lnTo>
                  <a:lnTo>
                    <a:pt x="762139" y="565048"/>
                  </a:lnTo>
                  <a:lnTo>
                    <a:pt x="762342" y="565048"/>
                  </a:lnTo>
                  <a:lnTo>
                    <a:pt x="762342" y="563766"/>
                  </a:lnTo>
                  <a:lnTo>
                    <a:pt x="762444" y="563766"/>
                  </a:lnTo>
                  <a:lnTo>
                    <a:pt x="762444" y="563169"/>
                  </a:lnTo>
                  <a:lnTo>
                    <a:pt x="762888" y="563169"/>
                  </a:lnTo>
                  <a:lnTo>
                    <a:pt x="762939" y="563766"/>
                  </a:lnTo>
                  <a:lnTo>
                    <a:pt x="763041" y="563766"/>
                  </a:lnTo>
                  <a:lnTo>
                    <a:pt x="763079" y="565048"/>
                  </a:lnTo>
                  <a:lnTo>
                    <a:pt x="763130" y="565048"/>
                  </a:lnTo>
                  <a:lnTo>
                    <a:pt x="763130" y="563766"/>
                  </a:lnTo>
                  <a:lnTo>
                    <a:pt x="763181" y="563766"/>
                  </a:lnTo>
                  <a:lnTo>
                    <a:pt x="763282" y="565048"/>
                  </a:lnTo>
                  <a:lnTo>
                    <a:pt x="763384" y="565048"/>
                  </a:lnTo>
                  <a:lnTo>
                    <a:pt x="763485" y="563766"/>
                  </a:lnTo>
                  <a:lnTo>
                    <a:pt x="763485" y="565048"/>
                  </a:lnTo>
                  <a:lnTo>
                    <a:pt x="763727" y="565048"/>
                  </a:lnTo>
                  <a:lnTo>
                    <a:pt x="763778" y="563766"/>
                  </a:lnTo>
                  <a:lnTo>
                    <a:pt x="763828" y="563766"/>
                  </a:lnTo>
                  <a:lnTo>
                    <a:pt x="763828" y="565048"/>
                  </a:lnTo>
                  <a:lnTo>
                    <a:pt x="763930" y="563766"/>
                  </a:lnTo>
                  <a:lnTo>
                    <a:pt x="763930" y="565048"/>
                  </a:lnTo>
                  <a:lnTo>
                    <a:pt x="763981" y="565048"/>
                  </a:lnTo>
                  <a:lnTo>
                    <a:pt x="764032" y="563766"/>
                  </a:lnTo>
                  <a:lnTo>
                    <a:pt x="764032" y="565048"/>
                  </a:lnTo>
                  <a:lnTo>
                    <a:pt x="764082" y="563766"/>
                  </a:lnTo>
                  <a:lnTo>
                    <a:pt x="764171" y="565048"/>
                  </a:lnTo>
                  <a:lnTo>
                    <a:pt x="764222" y="565048"/>
                  </a:lnTo>
                  <a:lnTo>
                    <a:pt x="764273" y="563766"/>
                  </a:lnTo>
                  <a:lnTo>
                    <a:pt x="764324" y="565048"/>
                  </a:lnTo>
                  <a:lnTo>
                    <a:pt x="764324" y="563766"/>
                  </a:lnTo>
                  <a:lnTo>
                    <a:pt x="764717" y="563766"/>
                  </a:lnTo>
                  <a:lnTo>
                    <a:pt x="764717" y="565048"/>
                  </a:lnTo>
                  <a:lnTo>
                    <a:pt x="764768" y="563766"/>
                  </a:lnTo>
                  <a:lnTo>
                    <a:pt x="764768" y="565048"/>
                  </a:lnTo>
                  <a:lnTo>
                    <a:pt x="764870" y="563766"/>
                  </a:lnTo>
                  <a:lnTo>
                    <a:pt x="765619" y="563766"/>
                  </a:lnTo>
                  <a:lnTo>
                    <a:pt x="765619" y="563169"/>
                  </a:lnTo>
                  <a:lnTo>
                    <a:pt x="765670" y="563766"/>
                  </a:lnTo>
                  <a:lnTo>
                    <a:pt x="765860" y="563766"/>
                  </a:lnTo>
                  <a:lnTo>
                    <a:pt x="765860" y="565048"/>
                  </a:lnTo>
                  <a:lnTo>
                    <a:pt x="766559" y="565048"/>
                  </a:lnTo>
                  <a:lnTo>
                    <a:pt x="766660" y="565747"/>
                  </a:lnTo>
                  <a:lnTo>
                    <a:pt x="766660" y="565048"/>
                  </a:lnTo>
                  <a:lnTo>
                    <a:pt x="766953" y="565048"/>
                  </a:lnTo>
                  <a:lnTo>
                    <a:pt x="766953" y="565747"/>
                  </a:lnTo>
                  <a:lnTo>
                    <a:pt x="767257" y="565747"/>
                  </a:lnTo>
                  <a:lnTo>
                    <a:pt x="767346" y="566395"/>
                  </a:lnTo>
                  <a:lnTo>
                    <a:pt x="767448" y="566395"/>
                  </a:lnTo>
                  <a:lnTo>
                    <a:pt x="767499" y="565747"/>
                  </a:lnTo>
                  <a:lnTo>
                    <a:pt x="767600" y="566395"/>
                  </a:lnTo>
                  <a:lnTo>
                    <a:pt x="767600" y="565747"/>
                  </a:lnTo>
                  <a:lnTo>
                    <a:pt x="767702" y="565747"/>
                  </a:lnTo>
                  <a:lnTo>
                    <a:pt x="767803" y="565048"/>
                  </a:lnTo>
                  <a:lnTo>
                    <a:pt x="767803" y="563766"/>
                  </a:lnTo>
                  <a:lnTo>
                    <a:pt x="767842" y="563169"/>
                  </a:lnTo>
                  <a:lnTo>
                    <a:pt x="767842" y="562420"/>
                  </a:lnTo>
                  <a:lnTo>
                    <a:pt x="768045" y="562420"/>
                  </a:lnTo>
                  <a:lnTo>
                    <a:pt x="768096" y="563169"/>
                  </a:lnTo>
                  <a:lnTo>
                    <a:pt x="768146" y="563169"/>
                  </a:lnTo>
                  <a:lnTo>
                    <a:pt x="768248" y="563766"/>
                  </a:lnTo>
                  <a:lnTo>
                    <a:pt x="768248" y="565048"/>
                  </a:lnTo>
                  <a:lnTo>
                    <a:pt x="768299" y="563766"/>
                  </a:lnTo>
                  <a:lnTo>
                    <a:pt x="768349" y="563766"/>
                  </a:lnTo>
                  <a:lnTo>
                    <a:pt x="768349" y="563169"/>
                  </a:lnTo>
                  <a:lnTo>
                    <a:pt x="768388" y="562420"/>
                  </a:lnTo>
                  <a:lnTo>
                    <a:pt x="768489" y="562420"/>
                  </a:lnTo>
                  <a:lnTo>
                    <a:pt x="768540" y="561823"/>
                  </a:lnTo>
                  <a:lnTo>
                    <a:pt x="768591" y="562420"/>
                  </a:lnTo>
                  <a:lnTo>
                    <a:pt x="768692" y="561823"/>
                  </a:lnTo>
                  <a:lnTo>
                    <a:pt x="768692" y="562420"/>
                  </a:lnTo>
                  <a:lnTo>
                    <a:pt x="768934" y="562420"/>
                  </a:lnTo>
                  <a:lnTo>
                    <a:pt x="768934" y="563169"/>
                  </a:lnTo>
                  <a:lnTo>
                    <a:pt x="769086" y="563169"/>
                  </a:lnTo>
                  <a:lnTo>
                    <a:pt x="769086" y="563766"/>
                  </a:lnTo>
                  <a:lnTo>
                    <a:pt x="769188" y="563766"/>
                  </a:lnTo>
                  <a:lnTo>
                    <a:pt x="769238" y="563169"/>
                  </a:lnTo>
                  <a:lnTo>
                    <a:pt x="769531" y="563169"/>
                  </a:lnTo>
                  <a:lnTo>
                    <a:pt x="769531" y="562420"/>
                  </a:lnTo>
                  <a:lnTo>
                    <a:pt x="769683" y="562420"/>
                  </a:lnTo>
                  <a:lnTo>
                    <a:pt x="769683" y="563169"/>
                  </a:lnTo>
                  <a:lnTo>
                    <a:pt x="770280" y="563169"/>
                  </a:lnTo>
                  <a:lnTo>
                    <a:pt x="770280" y="562420"/>
                  </a:lnTo>
                  <a:lnTo>
                    <a:pt x="770331" y="562420"/>
                  </a:lnTo>
                  <a:lnTo>
                    <a:pt x="770331" y="563169"/>
                  </a:lnTo>
                  <a:lnTo>
                    <a:pt x="770382" y="562420"/>
                  </a:lnTo>
                  <a:lnTo>
                    <a:pt x="770432" y="562420"/>
                  </a:lnTo>
                  <a:lnTo>
                    <a:pt x="770432" y="563169"/>
                  </a:lnTo>
                  <a:lnTo>
                    <a:pt x="770521" y="562420"/>
                  </a:lnTo>
                  <a:lnTo>
                    <a:pt x="770521" y="563169"/>
                  </a:lnTo>
                  <a:lnTo>
                    <a:pt x="771118" y="563169"/>
                  </a:lnTo>
                  <a:lnTo>
                    <a:pt x="771118" y="562420"/>
                  </a:lnTo>
                  <a:lnTo>
                    <a:pt x="771474" y="562420"/>
                  </a:lnTo>
                  <a:lnTo>
                    <a:pt x="771474" y="561823"/>
                  </a:lnTo>
                  <a:lnTo>
                    <a:pt x="771524" y="562420"/>
                  </a:lnTo>
                  <a:lnTo>
                    <a:pt x="771524" y="561823"/>
                  </a:lnTo>
                  <a:lnTo>
                    <a:pt x="771563" y="562420"/>
                  </a:lnTo>
                  <a:lnTo>
                    <a:pt x="771664" y="562420"/>
                  </a:lnTo>
                  <a:lnTo>
                    <a:pt x="771715" y="563169"/>
                  </a:lnTo>
                  <a:lnTo>
                    <a:pt x="772159" y="563169"/>
                  </a:lnTo>
                  <a:lnTo>
                    <a:pt x="772159" y="563766"/>
                  </a:lnTo>
                  <a:lnTo>
                    <a:pt x="772210" y="563169"/>
                  </a:lnTo>
                  <a:lnTo>
                    <a:pt x="772261" y="563169"/>
                  </a:lnTo>
                  <a:lnTo>
                    <a:pt x="772261" y="563766"/>
                  </a:lnTo>
                  <a:lnTo>
                    <a:pt x="772363" y="563169"/>
                  </a:lnTo>
                  <a:lnTo>
                    <a:pt x="772413" y="563169"/>
                  </a:lnTo>
                  <a:lnTo>
                    <a:pt x="772413" y="563766"/>
                  </a:lnTo>
                  <a:lnTo>
                    <a:pt x="772464" y="563169"/>
                  </a:lnTo>
                  <a:lnTo>
                    <a:pt x="772566" y="563169"/>
                  </a:lnTo>
                  <a:lnTo>
                    <a:pt x="772566" y="563766"/>
                  </a:lnTo>
                  <a:lnTo>
                    <a:pt x="772604" y="563169"/>
                  </a:lnTo>
                  <a:lnTo>
                    <a:pt x="772604" y="563766"/>
                  </a:lnTo>
                  <a:lnTo>
                    <a:pt x="773150" y="563766"/>
                  </a:lnTo>
                  <a:lnTo>
                    <a:pt x="773252" y="565048"/>
                  </a:lnTo>
                  <a:lnTo>
                    <a:pt x="773303" y="565747"/>
                  </a:lnTo>
                  <a:lnTo>
                    <a:pt x="773353" y="565747"/>
                  </a:lnTo>
                  <a:lnTo>
                    <a:pt x="773353" y="565048"/>
                  </a:lnTo>
                  <a:lnTo>
                    <a:pt x="773455" y="565747"/>
                  </a:lnTo>
                  <a:lnTo>
                    <a:pt x="773607" y="565747"/>
                  </a:lnTo>
                  <a:lnTo>
                    <a:pt x="773696" y="566395"/>
                  </a:lnTo>
                  <a:lnTo>
                    <a:pt x="773696" y="565747"/>
                  </a:lnTo>
                  <a:lnTo>
                    <a:pt x="773747" y="565048"/>
                  </a:lnTo>
                  <a:lnTo>
                    <a:pt x="773798" y="563766"/>
                  </a:lnTo>
                  <a:lnTo>
                    <a:pt x="773798" y="562420"/>
                  </a:lnTo>
                  <a:lnTo>
                    <a:pt x="773849" y="561823"/>
                  </a:lnTo>
                  <a:lnTo>
                    <a:pt x="773950" y="561823"/>
                  </a:lnTo>
                  <a:lnTo>
                    <a:pt x="773950" y="562420"/>
                  </a:lnTo>
                  <a:lnTo>
                    <a:pt x="774052" y="562420"/>
                  </a:lnTo>
                  <a:lnTo>
                    <a:pt x="774052" y="563169"/>
                  </a:lnTo>
                  <a:lnTo>
                    <a:pt x="774153" y="563169"/>
                  </a:lnTo>
                  <a:lnTo>
                    <a:pt x="774192" y="562420"/>
                  </a:lnTo>
                  <a:lnTo>
                    <a:pt x="774192" y="563169"/>
                  </a:lnTo>
                  <a:lnTo>
                    <a:pt x="774242" y="563169"/>
                  </a:lnTo>
                  <a:lnTo>
                    <a:pt x="774242" y="563766"/>
                  </a:lnTo>
                  <a:lnTo>
                    <a:pt x="774293" y="563766"/>
                  </a:lnTo>
                  <a:lnTo>
                    <a:pt x="774395" y="563169"/>
                  </a:lnTo>
                  <a:lnTo>
                    <a:pt x="774395" y="562420"/>
                  </a:lnTo>
                  <a:lnTo>
                    <a:pt x="774446" y="562420"/>
                  </a:lnTo>
                  <a:lnTo>
                    <a:pt x="774446" y="561823"/>
                  </a:lnTo>
                  <a:lnTo>
                    <a:pt x="774496" y="561823"/>
                  </a:lnTo>
                  <a:lnTo>
                    <a:pt x="774496" y="561188"/>
                  </a:lnTo>
                  <a:lnTo>
                    <a:pt x="774598" y="561188"/>
                  </a:lnTo>
                  <a:lnTo>
                    <a:pt x="774649" y="561823"/>
                  </a:lnTo>
                  <a:lnTo>
                    <a:pt x="774738" y="561823"/>
                  </a:lnTo>
                  <a:lnTo>
                    <a:pt x="774839" y="561188"/>
                  </a:lnTo>
                  <a:lnTo>
                    <a:pt x="774839" y="561823"/>
                  </a:lnTo>
                  <a:lnTo>
                    <a:pt x="774890" y="561823"/>
                  </a:lnTo>
                  <a:lnTo>
                    <a:pt x="774941" y="562420"/>
                  </a:lnTo>
                  <a:lnTo>
                    <a:pt x="775042" y="563169"/>
                  </a:lnTo>
                  <a:lnTo>
                    <a:pt x="775093" y="563169"/>
                  </a:lnTo>
                  <a:lnTo>
                    <a:pt x="775144" y="562420"/>
                  </a:lnTo>
                  <a:lnTo>
                    <a:pt x="775639" y="562420"/>
                  </a:lnTo>
                  <a:lnTo>
                    <a:pt x="775639" y="563169"/>
                  </a:lnTo>
                  <a:lnTo>
                    <a:pt x="775779" y="563169"/>
                  </a:lnTo>
                  <a:lnTo>
                    <a:pt x="775830" y="562420"/>
                  </a:lnTo>
                  <a:lnTo>
                    <a:pt x="776325" y="562420"/>
                  </a:lnTo>
                  <a:lnTo>
                    <a:pt x="776325" y="561823"/>
                  </a:lnTo>
                  <a:lnTo>
                    <a:pt x="776427" y="561823"/>
                  </a:lnTo>
                  <a:lnTo>
                    <a:pt x="776427" y="562420"/>
                  </a:lnTo>
                  <a:lnTo>
                    <a:pt x="776528" y="562420"/>
                  </a:lnTo>
                  <a:lnTo>
                    <a:pt x="776528" y="561823"/>
                  </a:lnTo>
                  <a:lnTo>
                    <a:pt x="776922" y="561823"/>
                  </a:lnTo>
                  <a:lnTo>
                    <a:pt x="776973" y="562420"/>
                  </a:lnTo>
                  <a:lnTo>
                    <a:pt x="777024" y="562420"/>
                  </a:lnTo>
                  <a:lnTo>
                    <a:pt x="777125" y="561823"/>
                  </a:lnTo>
                  <a:lnTo>
                    <a:pt x="777417" y="561823"/>
                  </a:lnTo>
                  <a:lnTo>
                    <a:pt x="777468" y="562420"/>
                  </a:lnTo>
                  <a:lnTo>
                    <a:pt x="777570" y="561823"/>
                  </a:lnTo>
                  <a:lnTo>
                    <a:pt x="777773" y="561823"/>
                  </a:lnTo>
                  <a:lnTo>
                    <a:pt x="777824" y="562420"/>
                  </a:lnTo>
                  <a:lnTo>
                    <a:pt x="777874" y="562420"/>
                  </a:lnTo>
                  <a:lnTo>
                    <a:pt x="777913" y="561823"/>
                  </a:lnTo>
                  <a:lnTo>
                    <a:pt x="778065" y="561823"/>
                  </a:lnTo>
                  <a:lnTo>
                    <a:pt x="778116" y="562420"/>
                  </a:lnTo>
                  <a:lnTo>
                    <a:pt x="778370" y="562420"/>
                  </a:lnTo>
                  <a:lnTo>
                    <a:pt x="778370" y="563169"/>
                  </a:lnTo>
                  <a:lnTo>
                    <a:pt x="778763" y="563169"/>
                  </a:lnTo>
                  <a:lnTo>
                    <a:pt x="778814" y="562420"/>
                  </a:lnTo>
                  <a:lnTo>
                    <a:pt x="778916" y="563169"/>
                  </a:lnTo>
                  <a:lnTo>
                    <a:pt x="779056" y="563169"/>
                  </a:lnTo>
                  <a:lnTo>
                    <a:pt x="779157" y="563766"/>
                  </a:lnTo>
                  <a:lnTo>
                    <a:pt x="779462" y="563766"/>
                  </a:lnTo>
                  <a:lnTo>
                    <a:pt x="779500" y="565048"/>
                  </a:lnTo>
                  <a:lnTo>
                    <a:pt x="779602" y="563766"/>
                  </a:lnTo>
                  <a:lnTo>
                    <a:pt x="779602" y="565048"/>
                  </a:lnTo>
                  <a:lnTo>
                    <a:pt x="779907" y="565048"/>
                  </a:lnTo>
                  <a:lnTo>
                    <a:pt x="779957" y="565747"/>
                  </a:lnTo>
                  <a:lnTo>
                    <a:pt x="780046" y="566395"/>
                  </a:lnTo>
                  <a:lnTo>
                    <a:pt x="780046" y="565747"/>
                  </a:lnTo>
                  <a:lnTo>
                    <a:pt x="780148" y="565747"/>
                  </a:lnTo>
                  <a:lnTo>
                    <a:pt x="780148" y="565048"/>
                  </a:lnTo>
                  <a:lnTo>
                    <a:pt x="780199" y="565048"/>
                  </a:lnTo>
                  <a:lnTo>
                    <a:pt x="780199" y="563766"/>
                  </a:lnTo>
                  <a:lnTo>
                    <a:pt x="780300" y="562420"/>
                  </a:lnTo>
                  <a:lnTo>
                    <a:pt x="780351" y="562420"/>
                  </a:lnTo>
                  <a:lnTo>
                    <a:pt x="780351" y="561823"/>
                  </a:lnTo>
                  <a:lnTo>
                    <a:pt x="780592" y="561823"/>
                  </a:lnTo>
                  <a:lnTo>
                    <a:pt x="780592" y="562420"/>
                  </a:lnTo>
                  <a:lnTo>
                    <a:pt x="780643" y="562420"/>
                  </a:lnTo>
                  <a:lnTo>
                    <a:pt x="780643" y="563169"/>
                  </a:lnTo>
                  <a:lnTo>
                    <a:pt x="780796" y="563169"/>
                  </a:lnTo>
                  <a:lnTo>
                    <a:pt x="780846" y="562420"/>
                  </a:lnTo>
                  <a:lnTo>
                    <a:pt x="780846" y="561823"/>
                  </a:lnTo>
                  <a:lnTo>
                    <a:pt x="780948" y="561188"/>
                  </a:lnTo>
                  <a:lnTo>
                    <a:pt x="780948" y="559842"/>
                  </a:lnTo>
                  <a:lnTo>
                    <a:pt x="781088" y="559842"/>
                  </a:lnTo>
                  <a:lnTo>
                    <a:pt x="781189" y="561188"/>
                  </a:lnTo>
                  <a:lnTo>
                    <a:pt x="781392" y="561188"/>
                  </a:lnTo>
                  <a:lnTo>
                    <a:pt x="781392" y="561823"/>
                  </a:lnTo>
                  <a:lnTo>
                    <a:pt x="781634" y="561823"/>
                  </a:lnTo>
                  <a:lnTo>
                    <a:pt x="781684" y="561188"/>
                  </a:lnTo>
                  <a:lnTo>
                    <a:pt x="781735" y="561823"/>
                  </a:lnTo>
                  <a:lnTo>
                    <a:pt x="781735" y="561188"/>
                  </a:lnTo>
                  <a:lnTo>
                    <a:pt x="781786" y="561823"/>
                  </a:lnTo>
                  <a:lnTo>
                    <a:pt x="782091" y="561823"/>
                  </a:lnTo>
                  <a:lnTo>
                    <a:pt x="782129" y="561188"/>
                  </a:lnTo>
                  <a:lnTo>
                    <a:pt x="782129" y="561823"/>
                  </a:lnTo>
                  <a:lnTo>
                    <a:pt x="782180" y="561188"/>
                  </a:lnTo>
                  <a:lnTo>
                    <a:pt x="782332" y="561188"/>
                  </a:lnTo>
                  <a:lnTo>
                    <a:pt x="782332" y="561823"/>
                  </a:lnTo>
                  <a:lnTo>
                    <a:pt x="782434" y="561823"/>
                  </a:lnTo>
                  <a:lnTo>
                    <a:pt x="782434" y="561188"/>
                  </a:lnTo>
                  <a:lnTo>
                    <a:pt x="782535" y="561823"/>
                  </a:lnTo>
                  <a:lnTo>
                    <a:pt x="782675" y="561823"/>
                  </a:lnTo>
                  <a:lnTo>
                    <a:pt x="782675" y="562420"/>
                  </a:lnTo>
                  <a:lnTo>
                    <a:pt x="782777" y="562420"/>
                  </a:lnTo>
                  <a:lnTo>
                    <a:pt x="782777" y="561823"/>
                  </a:lnTo>
                  <a:lnTo>
                    <a:pt x="782878" y="561823"/>
                  </a:lnTo>
                  <a:lnTo>
                    <a:pt x="782980" y="561188"/>
                  </a:lnTo>
                  <a:lnTo>
                    <a:pt x="783082" y="561188"/>
                  </a:lnTo>
                  <a:lnTo>
                    <a:pt x="783082" y="559842"/>
                  </a:lnTo>
                  <a:lnTo>
                    <a:pt x="783132" y="559842"/>
                  </a:lnTo>
                  <a:lnTo>
                    <a:pt x="783221" y="559194"/>
                  </a:lnTo>
                  <a:lnTo>
                    <a:pt x="783221" y="559842"/>
                  </a:lnTo>
                  <a:lnTo>
                    <a:pt x="783374" y="559842"/>
                  </a:lnTo>
                  <a:lnTo>
                    <a:pt x="783374" y="561188"/>
                  </a:lnTo>
                  <a:lnTo>
                    <a:pt x="783818" y="561188"/>
                  </a:lnTo>
                  <a:lnTo>
                    <a:pt x="783818" y="559842"/>
                  </a:lnTo>
                  <a:lnTo>
                    <a:pt x="784224" y="559842"/>
                  </a:lnTo>
                  <a:lnTo>
                    <a:pt x="784263" y="561188"/>
                  </a:lnTo>
                  <a:lnTo>
                    <a:pt x="784364" y="561188"/>
                  </a:lnTo>
                  <a:lnTo>
                    <a:pt x="784415" y="561823"/>
                  </a:lnTo>
                  <a:lnTo>
                    <a:pt x="784961" y="561823"/>
                  </a:lnTo>
                  <a:lnTo>
                    <a:pt x="785063" y="561188"/>
                  </a:lnTo>
                  <a:lnTo>
                    <a:pt x="785063" y="561823"/>
                  </a:lnTo>
                  <a:lnTo>
                    <a:pt x="785355" y="561823"/>
                  </a:lnTo>
                  <a:lnTo>
                    <a:pt x="785406" y="562420"/>
                  </a:lnTo>
                  <a:lnTo>
                    <a:pt x="785507" y="562420"/>
                  </a:lnTo>
                  <a:lnTo>
                    <a:pt x="785558" y="561823"/>
                  </a:lnTo>
                  <a:lnTo>
                    <a:pt x="785710" y="561823"/>
                  </a:lnTo>
                  <a:lnTo>
                    <a:pt x="785710" y="562420"/>
                  </a:lnTo>
                  <a:lnTo>
                    <a:pt x="785761" y="562420"/>
                  </a:lnTo>
                  <a:lnTo>
                    <a:pt x="785812" y="563169"/>
                  </a:lnTo>
                  <a:lnTo>
                    <a:pt x="785952" y="563169"/>
                  </a:lnTo>
                  <a:lnTo>
                    <a:pt x="786003" y="563766"/>
                  </a:lnTo>
                  <a:lnTo>
                    <a:pt x="786053" y="563169"/>
                  </a:lnTo>
                  <a:lnTo>
                    <a:pt x="786053" y="562420"/>
                  </a:lnTo>
                  <a:lnTo>
                    <a:pt x="786155" y="561823"/>
                  </a:lnTo>
                  <a:lnTo>
                    <a:pt x="786155" y="561188"/>
                  </a:lnTo>
                  <a:lnTo>
                    <a:pt x="786206" y="559842"/>
                  </a:lnTo>
                  <a:lnTo>
                    <a:pt x="786257" y="561188"/>
                  </a:lnTo>
                  <a:lnTo>
                    <a:pt x="786307" y="559842"/>
                  </a:lnTo>
                  <a:lnTo>
                    <a:pt x="786307" y="561188"/>
                  </a:lnTo>
                  <a:lnTo>
                    <a:pt x="786396" y="561188"/>
                  </a:lnTo>
                  <a:lnTo>
                    <a:pt x="786447" y="561823"/>
                  </a:lnTo>
                  <a:lnTo>
                    <a:pt x="786549" y="561823"/>
                  </a:lnTo>
                  <a:lnTo>
                    <a:pt x="786650" y="562420"/>
                  </a:lnTo>
                  <a:lnTo>
                    <a:pt x="786701" y="562420"/>
                  </a:lnTo>
                  <a:lnTo>
                    <a:pt x="786701" y="561823"/>
                  </a:lnTo>
                  <a:lnTo>
                    <a:pt x="786752" y="561188"/>
                  </a:lnTo>
                  <a:lnTo>
                    <a:pt x="786853" y="559842"/>
                  </a:lnTo>
                  <a:lnTo>
                    <a:pt x="786853" y="558559"/>
                  </a:lnTo>
                  <a:lnTo>
                    <a:pt x="786892" y="557860"/>
                  </a:lnTo>
                  <a:lnTo>
                    <a:pt x="786942" y="558559"/>
                  </a:lnTo>
                  <a:lnTo>
                    <a:pt x="786993" y="558559"/>
                  </a:lnTo>
                  <a:lnTo>
                    <a:pt x="786993" y="559194"/>
                  </a:lnTo>
                  <a:lnTo>
                    <a:pt x="787146" y="559194"/>
                  </a:lnTo>
                  <a:lnTo>
                    <a:pt x="787196" y="559842"/>
                  </a:lnTo>
                  <a:lnTo>
                    <a:pt x="787349" y="559842"/>
                  </a:lnTo>
                  <a:lnTo>
                    <a:pt x="787399" y="561188"/>
                  </a:lnTo>
                  <a:lnTo>
                    <a:pt x="787438" y="561188"/>
                  </a:lnTo>
                  <a:lnTo>
                    <a:pt x="787438" y="559842"/>
                  </a:lnTo>
                  <a:lnTo>
                    <a:pt x="787539" y="561188"/>
                  </a:lnTo>
                  <a:lnTo>
                    <a:pt x="787590" y="561188"/>
                  </a:lnTo>
                  <a:lnTo>
                    <a:pt x="787590" y="561823"/>
                  </a:lnTo>
                  <a:lnTo>
                    <a:pt x="787641" y="561823"/>
                  </a:lnTo>
                  <a:lnTo>
                    <a:pt x="787641" y="561188"/>
                  </a:lnTo>
                  <a:lnTo>
                    <a:pt x="788034" y="561188"/>
                  </a:lnTo>
                  <a:lnTo>
                    <a:pt x="788034" y="559842"/>
                  </a:lnTo>
                  <a:lnTo>
                    <a:pt x="788085" y="559842"/>
                  </a:lnTo>
                  <a:lnTo>
                    <a:pt x="788085" y="561188"/>
                  </a:lnTo>
                  <a:lnTo>
                    <a:pt x="788682" y="561188"/>
                  </a:lnTo>
                  <a:lnTo>
                    <a:pt x="788682" y="561823"/>
                  </a:lnTo>
                  <a:lnTo>
                    <a:pt x="788733" y="561188"/>
                  </a:lnTo>
                  <a:lnTo>
                    <a:pt x="788885" y="561188"/>
                  </a:lnTo>
                  <a:lnTo>
                    <a:pt x="788885" y="559842"/>
                  </a:lnTo>
                  <a:lnTo>
                    <a:pt x="788936" y="559842"/>
                  </a:lnTo>
                  <a:lnTo>
                    <a:pt x="788987" y="559194"/>
                  </a:lnTo>
                  <a:lnTo>
                    <a:pt x="789025" y="559842"/>
                  </a:lnTo>
                  <a:lnTo>
                    <a:pt x="789025" y="559194"/>
                  </a:lnTo>
                  <a:lnTo>
                    <a:pt x="789178" y="559194"/>
                  </a:lnTo>
                  <a:lnTo>
                    <a:pt x="789228" y="559842"/>
                  </a:lnTo>
                  <a:lnTo>
                    <a:pt x="789432" y="559842"/>
                  </a:lnTo>
                  <a:lnTo>
                    <a:pt x="789482" y="561188"/>
                  </a:lnTo>
                  <a:lnTo>
                    <a:pt x="789571" y="559842"/>
                  </a:lnTo>
                  <a:lnTo>
                    <a:pt x="789673" y="559842"/>
                  </a:lnTo>
                  <a:lnTo>
                    <a:pt x="789724" y="559194"/>
                  </a:lnTo>
                  <a:lnTo>
                    <a:pt x="790067" y="559194"/>
                  </a:lnTo>
                  <a:lnTo>
                    <a:pt x="790117" y="559842"/>
                  </a:lnTo>
                  <a:lnTo>
                    <a:pt x="790168" y="559842"/>
                  </a:lnTo>
                  <a:lnTo>
                    <a:pt x="790168" y="559194"/>
                  </a:lnTo>
                  <a:lnTo>
                    <a:pt x="790321" y="559194"/>
                  </a:lnTo>
                  <a:lnTo>
                    <a:pt x="790321" y="559842"/>
                  </a:lnTo>
                  <a:lnTo>
                    <a:pt x="790473" y="559842"/>
                  </a:lnTo>
                  <a:lnTo>
                    <a:pt x="790524" y="559194"/>
                  </a:lnTo>
                  <a:lnTo>
                    <a:pt x="790524" y="559842"/>
                  </a:lnTo>
                  <a:lnTo>
                    <a:pt x="790574" y="559194"/>
                  </a:lnTo>
                  <a:lnTo>
                    <a:pt x="790613" y="559194"/>
                  </a:lnTo>
                  <a:lnTo>
                    <a:pt x="790714" y="559842"/>
                  </a:lnTo>
                  <a:lnTo>
                    <a:pt x="790765" y="559194"/>
                  </a:lnTo>
                  <a:lnTo>
                    <a:pt x="790816" y="559194"/>
                  </a:lnTo>
                  <a:lnTo>
                    <a:pt x="790917" y="559842"/>
                  </a:lnTo>
                  <a:lnTo>
                    <a:pt x="791019" y="559842"/>
                  </a:lnTo>
                  <a:lnTo>
                    <a:pt x="791070" y="561188"/>
                  </a:lnTo>
                  <a:lnTo>
                    <a:pt x="791413" y="561188"/>
                  </a:lnTo>
                  <a:lnTo>
                    <a:pt x="791413" y="559842"/>
                  </a:lnTo>
                  <a:lnTo>
                    <a:pt x="791463" y="561188"/>
                  </a:lnTo>
                  <a:lnTo>
                    <a:pt x="791463" y="559842"/>
                  </a:lnTo>
                  <a:lnTo>
                    <a:pt x="791514" y="561188"/>
                  </a:lnTo>
                  <a:lnTo>
                    <a:pt x="791514" y="559842"/>
                  </a:lnTo>
                  <a:lnTo>
                    <a:pt x="791616" y="559842"/>
                  </a:lnTo>
                  <a:lnTo>
                    <a:pt x="791616" y="561188"/>
                  </a:lnTo>
                  <a:lnTo>
                    <a:pt x="792111" y="561188"/>
                  </a:lnTo>
                  <a:lnTo>
                    <a:pt x="792111" y="559842"/>
                  </a:lnTo>
                  <a:lnTo>
                    <a:pt x="792200" y="559842"/>
                  </a:lnTo>
                  <a:lnTo>
                    <a:pt x="792200" y="559194"/>
                  </a:lnTo>
                  <a:lnTo>
                    <a:pt x="792302" y="559194"/>
                  </a:lnTo>
                  <a:lnTo>
                    <a:pt x="792353" y="558559"/>
                  </a:lnTo>
                  <a:lnTo>
                    <a:pt x="792505" y="558559"/>
                  </a:lnTo>
                  <a:lnTo>
                    <a:pt x="792505" y="559194"/>
                  </a:lnTo>
                  <a:lnTo>
                    <a:pt x="792746" y="559194"/>
                  </a:lnTo>
                  <a:lnTo>
                    <a:pt x="792797" y="558559"/>
                  </a:lnTo>
                  <a:lnTo>
                    <a:pt x="792848" y="558559"/>
                  </a:lnTo>
                  <a:lnTo>
                    <a:pt x="792899" y="557860"/>
                  </a:lnTo>
                  <a:lnTo>
                    <a:pt x="793000" y="556616"/>
                  </a:lnTo>
                  <a:lnTo>
                    <a:pt x="793102" y="556616"/>
                  </a:lnTo>
                  <a:lnTo>
                    <a:pt x="793102" y="557860"/>
                  </a:lnTo>
                  <a:lnTo>
                    <a:pt x="793203" y="557860"/>
                  </a:lnTo>
                  <a:lnTo>
                    <a:pt x="793242" y="558559"/>
                  </a:lnTo>
                  <a:lnTo>
                    <a:pt x="793343" y="558559"/>
                  </a:lnTo>
                  <a:lnTo>
                    <a:pt x="793445" y="559194"/>
                  </a:lnTo>
                  <a:lnTo>
                    <a:pt x="793546" y="559194"/>
                  </a:lnTo>
                  <a:lnTo>
                    <a:pt x="793546" y="558559"/>
                  </a:lnTo>
                  <a:lnTo>
                    <a:pt x="793648" y="558559"/>
                  </a:lnTo>
                  <a:lnTo>
                    <a:pt x="793648" y="557860"/>
                  </a:lnTo>
                  <a:lnTo>
                    <a:pt x="793699" y="558559"/>
                  </a:lnTo>
                  <a:lnTo>
                    <a:pt x="793749" y="558559"/>
                  </a:lnTo>
                  <a:lnTo>
                    <a:pt x="793788" y="559194"/>
                  </a:lnTo>
                  <a:lnTo>
                    <a:pt x="793991" y="559194"/>
                  </a:lnTo>
                  <a:lnTo>
                    <a:pt x="793991" y="559842"/>
                  </a:lnTo>
                  <a:lnTo>
                    <a:pt x="794092" y="559194"/>
                  </a:lnTo>
                  <a:lnTo>
                    <a:pt x="794486" y="559194"/>
                  </a:lnTo>
                  <a:lnTo>
                    <a:pt x="794588" y="559842"/>
                  </a:lnTo>
                  <a:lnTo>
                    <a:pt x="794638" y="559194"/>
                  </a:lnTo>
                  <a:lnTo>
                    <a:pt x="794829" y="559194"/>
                  </a:lnTo>
                  <a:lnTo>
                    <a:pt x="794880" y="558559"/>
                  </a:lnTo>
                  <a:lnTo>
                    <a:pt x="794931" y="558559"/>
                  </a:lnTo>
                  <a:lnTo>
                    <a:pt x="795032" y="557860"/>
                  </a:lnTo>
                  <a:lnTo>
                    <a:pt x="795083" y="557860"/>
                  </a:lnTo>
                  <a:lnTo>
                    <a:pt x="795083" y="558559"/>
                  </a:lnTo>
                  <a:lnTo>
                    <a:pt x="795134" y="558559"/>
                  </a:lnTo>
                  <a:lnTo>
                    <a:pt x="795235" y="559194"/>
                  </a:lnTo>
                  <a:lnTo>
                    <a:pt x="795235" y="558559"/>
                  </a:lnTo>
                  <a:lnTo>
                    <a:pt x="795286" y="558559"/>
                  </a:lnTo>
                  <a:lnTo>
                    <a:pt x="795337" y="559194"/>
                  </a:lnTo>
                  <a:lnTo>
                    <a:pt x="795337" y="558559"/>
                  </a:lnTo>
                  <a:lnTo>
                    <a:pt x="795477" y="558559"/>
                  </a:lnTo>
                  <a:lnTo>
                    <a:pt x="795477" y="559194"/>
                  </a:lnTo>
                  <a:lnTo>
                    <a:pt x="795528" y="558559"/>
                  </a:lnTo>
                  <a:lnTo>
                    <a:pt x="795528" y="559194"/>
                  </a:lnTo>
                  <a:lnTo>
                    <a:pt x="795578" y="558559"/>
                  </a:lnTo>
                  <a:lnTo>
                    <a:pt x="795680" y="559194"/>
                  </a:lnTo>
                  <a:lnTo>
                    <a:pt x="795731" y="559194"/>
                  </a:lnTo>
                  <a:lnTo>
                    <a:pt x="795782" y="558559"/>
                  </a:lnTo>
                  <a:lnTo>
                    <a:pt x="795921" y="558559"/>
                  </a:lnTo>
                  <a:lnTo>
                    <a:pt x="795972" y="557860"/>
                  </a:lnTo>
                  <a:lnTo>
                    <a:pt x="795972" y="558559"/>
                  </a:lnTo>
                  <a:lnTo>
                    <a:pt x="796175" y="558559"/>
                  </a:lnTo>
                  <a:lnTo>
                    <a:pt x="796175" y="559194"/>
                  </a:lnTo>
                  <a:lnTo>
                    <a:pt x="796378" y="559194"/>
                  </a:lnTo>
                  <a:lnTo>
                    <a:pt x="796417" y="558559"/>
                  </a:lnTo>
                  <a:lnTo>
                    <a:pt x="796518" y="558559"/>
                  </a:lnTo>
                  <a:lnTo>
                    <a:pt x="796518" y="559194"/>
                  </a:lnTo>
                  <a:lnTo>
                    <a:pt x="796721" y="559194"/>
                  </a:lnTo>
                  <a:lnTo>
                    <a:pt x="796721" y="558559"/>
                  </a:lnTo>
                  <a:lnTo>
                    <a:pt x="797064" y="558559"/>
                  </a:lnTo>
                  <a:lnTo>
                    <a:pt x="797115" y="559194"/>
                  </a:lnTo>
                  <a:lnTo>
                    <a:pt x="797267" y="559194"/>
                  </a:lnTo>
                  <a:lnTo>
                    <a:pt x="797318" y="559842"/>
                  </a:lnTo>
                  <a:lnTo>
                    <a:pt x="797318" y="559194"/>
                  </a:lnTo>
                  <a:lnTo>
                    <a:pt x="797369" y="559194"/>
                  </a:lnTo>
                  <a:lnTo>
                    <a:pt x="797369" y="559842"/>
                  </a:lnTo>
                  <a:lnTo>
                    <a:pt x="797813" y="559842"/>
                  </a:lnTo>
                  <a:lnTo>
                    <a:pt x="797813" y="559194"/>
                  </a:lnTo>
                  <a:lnTo>
                    <a:pt x="797864" y="559194"/>
                  </a:lnTo>
                  <a:lnTo>
                    <a:pt x="797966" y="559842"/>
                  </a:lnTo>
                  <a:lnTo>
                    <a:pt x="798004" y="559842"/>
                  </a:lnTo>
                  <a:lnTo>
                    <a:pt x="798055" y="561188"/>
                  </a:lnTo>
                  <a:lnTo>
                    <a:pt x="798106" y="559842"/>
                  </a:lnTo>
                  <a:lnTo>
                    <a:pt x="798106" y="559194"/>
                  </a:lnTo>
                  <a:lnTo>
                    <a:pt x="798207" y="557860"/>
                  </a:lnTo>
                  <a:lnTo>
                    <a:pt x="798207" y="556616"/>
                  </a:lnTo>
                  <a:lnTo>
                    <a:pt x="798258" y="555968"/>
                  </a:lnTo>
                  <a:lnTo>
                    <a:pt x="798309" y="555282"/>
                  </a:lnTo>
                  <a:lnTo>
                    <a:pt x="798410" y="555968"/>
                  </a:lnTo>
                  <a:lnTo>
                    <a:pt x="798461" y="555968"/>
                  </a:lnTo>
                  <a:lnTo>
                    <a:pt x="798461" y="556616"/>
                  </a:lnTo>
                  <a:lnTo>
                    <a:pt x="798512" y="556616"/>
                  </a:lnTo>
                  <a:lnTo>
                    <a:pt x="798512" y="557860"/>
                  </a:lnTo>
                  <a:lnTo>
                    <a:pt x="798550" y="557860"/>
                  </a:lnTo>
                  <a:lnTo>
                    <a:pt x="798550" y="558559"/>
                  </a:lnTo>
                  <a:lnTo>
                    <a:pt x="798703" y="558559"/>
                  </a:lnTo>
                  <a:lnTo>
                    <a:pt x="798703" y="557860"/>
                  </a:lnTo>
                  <a:lnTo>
                    <a:pt x="798753" y="556616"/>
                  </a:lnTo>
                  <a:lnTo>
                    <a:pt x="798753" y="555968"/>
                  </a:lnTo>
                  <a:lnTo>
                    <a:pt x="798855" y="555282"/>
                  </a:lnTo>
                  <a:lnTo>
                    <a:pt x="798855" y="554634"/>
                  </a:lnTo>
                  <a:lnTo>
                    <a:pt x="799007" y="554634"/>
                  </a:lnTo>
                  <a:lnTo>
                    <a:pt x="799007" y="555282"/>
                  </a:lnTo>
                  <a:lnTo>
                    <a:pt x="799198" y="555282"/>
                  </a:lnTo>
                  <a:lnTo>
                    <a:pt x="799249" y="555968"/>
                  </a:lnTo>
                  <a:lnTo>
                    <a:pt x="799350" y="555968"/>
                  </a:lnTo>
                  <a:lnTo>
                    <a:pt x="799401" y="556616"/>
                  </a:lnTo>
                  <a:lnTo>
                    <a:pt x="799553" y="556616"/>
                  </a:lnTo>
                  <a:lnTo>
                    <a:pt x="799592" y="555968"/>
                  </a:lnTo>
                  <a:lnTo>
                    <a:pt x="799795" y="555968"/>
                  </a:lnTo>
                  <a:lnTo>
                    <a:pt x="799795" y="556616"/>
                  </a:lnTo>
                  <a:lnTo>
                    <a:pt x="799846" y="556616"/>
                  </a:lnTo>
                  <a:lnTo>
                    <a:pt x="799896" y="555968"/>
                  </a:lnTo>
                  <a:lnTo>
                    <a:pt x="799998" y="555968"/>
                  </a:lnTo>
                  <a:lnTo>
                    <a:pt x="799998" y="556616"/>
                  </a:lnTo>
                  <a:lnTo>
                    <a:pt x="800049" y="556616"/>
                  </a:lnTo>
                  <a:lnTo>
                    <a:pt x="800099" y="557860"/>
                  </a:lnTo>
                  <a:lnTo>
                    <a:pt x="800138" y="556616"/>
                  </a:lnTo>
                  <a:lnTo>
                    <a:pt x="800239" y="556616"/>
                  </a:lnTo>
                  <a:lnTo>
                    <a:pt x="800239" y="555968"/>
                  </a:lnTo>
                  <a:lnTo>
                    <a:pt x="800341" y="555968"/>
                  </a:lnTo>
                  <a:lnTo>
                    <a:pt x="800341" y="556616"/>
                  </a:lnTo>
                  <a:lnTo>
                    <a:pt x="800493" y="556616"/>
                  </a:lnTo>
                  <a:lnTo>
                    <a:pt x="800544" y="557860"/>
                  </a:lnTo>
                  <a:lnTo>
                    <a:pt x="800684" y="557860"/>
                  </a:lnTo>
                  <a:lnTo>
                    <a:pt x="800684" y="556616"/>
                  </a:lnTo>
                  <a:lnTo>
                    <a:pt x="800785" y="556616"/>
                  </a:lnTo>
                  <a:lnTo>
                    <a:pt x="800785" y="555968"/>
                  </a:lnTo>
                  <a:lnTo>
                    <a:pt x="800938" y="555968"/>
                  </a:lnTo>
                  <a:lnTo>
                    <a:pt x="800938" y="555282"/>
                  </a:lnTo>
                  <a:lnTo>
                    <a:pt x="800988" y="555282"/>
                  </a:lnTo>
                  <a:lnTo>
                    <a:pt x="801039" y="555968"/>
                  </a:lnTo>
                  <a:lnTo>
                    <a:pt x="801230" y="555968"/>
                  </a:lnTo>
                  <a:lnTo>
                    <a:pt x="801281" y="556616"/>
                  </a:lnTo>
                  <a:lnTo>
                    <a:pt x="801382" y="556616"/>
                  </a:lnTo>
                  <a:lnTo>
                    <a:pt x="801433" y="557860"/>
                  </a:lnTo>
                  <a:lnTo>
                    <a:pt x="801484" y="557860"/>
                  </a:lnTo>
                  <a:lnTo>
                    <a:pt x="801585" y="556616"/>
                  </a:lnTo>
                  <a:lnTo>
                    <a:pt x="801585" y="555968"/>
                  </a:lnTo>
                  <a:lnTo>
                    <a:pt x="801725" y="555968"/>
                  </a:lnTo>
                  <a:lnTo>
                    <a:pt x="801725" y="555282"/>
                  </a:lnTo>
                  <a:lnTo>
                    <a:pt x="801878" y="555282"/>
                  </a:lnTo>
                  <a:lnTo>
                    <a:pt x="801878" y="555968"/>
                  </a:lnTo>
                  <a:lnTo>
                    <a:pt x="802424" y="555968"/>
                  </a:lnTo>
                  <a:lnTo>
                    <a:pt x="802424" y="556616"/>
                  </a:lnTo>
                  <a:lnTo>
                    <a:pt x="802525" y="556616"/>
                  </a:lnTo>
                  <a:lnTo>
                    <a:pt x="802525" y="555968"/>
                  </a:lnTo>
                  <a:lnTo>
                    <a:pt x="802728" y="555968"/>
                  </a:lnTo>
                  <a:lnTo>
                    <a:pt x="802728" y="556616"/>
                  </a:lnTo>
                  <a:lnTo>
                    <a:pt x="802970" y="556616"/>
                  </a:lnTo>
                  <a:lnTo>
                    <a:pt x="802970" y="557860"/>
                  </a:lnTo>
                  <a:lnTo>
                    <a:pt x="803224" y="557860"/>
                  </a:lnTo>
                  <a:lnTo>
                    <a:pt x="803274" y="558559"/>
                  </a:lnTo>
                  <a:lnTo>
                    <a:pt x="803414" y="558559"/>
                  </a:lnTo>
                  <a:lnTo>
                    <a:pt x="803465" y="559194"/>
                  </a:lnTo>
                  <a:lnTo>
                    <a:pt x="803516" y="558559"/>
                  </a:lnTo>
                  <a:lnTo>
                    <a:pt x="803668" y="558559"/>
                  </a:lnTo>
                  <a:lnTo>
                    <a:pt x="803668" y="559194"/>
                  </a:lnTo>
                  <a:lnTo>
                    <a:pt x="803770" y="559194"/>
                  </a:lnTo>
                  <a:lnTo>
                    <a:pt x="803859" y="558559"/>
                  </a:lnTo>
                  <a:lnTo>
                    <a:pt x="803960" y="558559"/>
                  </a:lnTo>
                  <a:lnTo>
                    <a:pt x="803960" y="559194"/>
                  </a:lnTo>
                  <a:lnTo>
                    <a:pt x="804011" y="559194"/>
                  </a:lnTo>
                  <a:lnTo>
                    <a:pt x="804113" y="558559"/>
                  </a:lnTo>
                  <a:lnTo>
                    <a:pt x="804163" y="558559"/>
                  </a:lnTo>
                  <a:lnTo>
                    <a:pt x="804163" y="557860"/>
                  </a:lnTo>
                  <a:lnTo>
                    <a:pt x="804214" y="556616"/>
                  </a:lnTo>
                  <a:lnTo>
                    <a:pt x="804316" y="556616"/>
                  </a:lnTo>
                  <a:lnTo>
                    <a:pt x="804316" y="555968"/>
                  </a:lnTo>
                  <a:lnTo>
                    <a:pt x="804354" y="555968"/>
                  </a:lnTo>
                  <a:lnTo>
                    <a:pt x="804405" y="555282"/>
                  </a:lnTo>
                  <a:lnTo>
                    <a:pt x="804456" y="555968"/>
                  </a:lnTo>
                  <a:lnTo>
                    <a:pt x="804456" y="555282"/>
                  </a:lnTo>
                  <a:lnTo>
                    <a:pt x="804608" y="555282"/>
                  </a:lnTo>
                  <a:lnTo>
                    <a:pt x="804659" y="555968"/>
                  </a:lnTo>
                  <a:lnTo>
                    <a:pt x="804811" y="555968"/>
                  </a:lnTo>
                  <a:lnTo>
                    <a:pt x="804862" y="555282"/>
                  </a:lnTo>
                  <a:lnTo>
                    <a:pt x="804862" y="554634"/>
                  </a:lnTo>
                  <a:lnTo>
                    <a:pt x="805205" y="554634"/>
                  </a:lnTo>
                  <a:lnTo>
                    <a:pt x="805256" y="553987"/>
                  </a:lnTo>
                  <a:lnTo>
                    <a:pt x="805256" y="554634"/>
                  </a:lnTo>
                  <a:lnTo>
                    <a:pt x="805307" y="554634"/>
                  </a:lnTo>
                  <a:lnTo>
                    <a:pt x="805357" y="553987"/>
                  </a:lnTo>
                  <a:lnTo>
                    <a:pt x="805357" y="554634"/>
                  </a:lnTo>
                  <a:lnTo>
                    <a:pt x="805700" y="554634"/>
                  </a:lnTo>
                  <a:lnTo>
                    <a:pt x="805751" y="555282"/>
                  </a:lnTo>
                  <a:lnTo>
                    <a:pt x="805802" y="555282"/>
                  </a:lnTo>
                  <a:lnTo>
                    <a:pt x="805802" y="554634"/>
                  </a:lnTo>
                  <a:lnTo>
                    <a:pt x="806043" y="554634"/>
                  </a:lnTo>
                  <a:lnTo>
                    <a:pt x="806043" y="555282"/>
                  </a:lnTo>
                  <a:lnTo>
                    <a:pt x="806348" y="555282"/>
                  </a:lnTo>
                  <a:lnTo>
                    <a:pt x="806399" y="555968"/>
                  </a:lnTo>
                  <a:lnTo>
                    <a:pt x="806399" y="555282"/>
                  </a:lnTo>
                  <a:lnTo>
                    <a:pt x="806449" y="555282"/>
                  </a:lnTo>
                  <a:lnTo>
                    <a:pt x="806449" y="555968"/>
                  </a:lnTo>
                  <a:lnTo>
                    <a:pt x="806488" y="555282"/>
                  </a:lnTo>
                  <a:lnTo>
                    <a:pt x="806589" y="555282"/>
                  </a:lnTo>
                  <a:lnTo>
                    <a:pt x="806589" y="555968"/>
                  </a:lnTo>
                  <a:lnTo>
                    <a:pt x="806640" y="555282"/>
                  </a:lnTo>
                  <a:lnTo>
                    <a:pt x="806640" y="555968"/>
                  </a:lnTo>
                  <a:lnTo>
                    <a:pt x="806691" y="555282"/>
                  </a:lnTo>
                  <a:lnTo>
                    <a:pt x="806792" y="555282"/>
                  </a:lnTo>
                  <a:lnTo>
                    <a:pt x="806843" y="554634"/>
                  </a:lnTo>
                  <a:lnTo>
                    <a:pt x="806945" y="554634"/>
                  </a:lnTo>
                  <a:lnTo>
                    <a:pt x="806945" y="553987"/>
                  </a:lnTo>
                  <a:lnTo>
                    <a:pt x="807034" y="554634"/>
                  </a:lnTo>
                  <a:lnTo>
                    <a:pt x="807288" y="554634"/>
                  </a:lnTo>
                  <a:lnTo>
                    <a:pt x="807288" y="555282"/>
                  </a:lnTo>
                  <a:lnTo>
                    <a:pt x="807338" y="554634"/>
                  </a:lnTo>
                  <a:lnTo>
                    <a:pt x="807338" y="555282"/>
                  </a:lnTo>
                  <a:lnTo>
                    <a:pt x="807389" y="554634"/>
                  </a:lnTo>
                  <a:lnTo>
                    <a:pt x="807491" y="555282"/>
                  </a:lnTo>
                  <a:lnTo>
                    <a:pt x="807580" y="553987"/>
                  </a:lnTo>
                  <a:lnTo>
                    <a:pt x="807631" y="554634"/>
                  </a:lnTo>
                  <a:lnTo>
                    <a:pt x="807732" y="555282"/>
                  </a:lnTo>
                  <a:lnTo>
                    <a:pt x="807834" y="555282"/>
                  </a:lnTo>
                  <a:lnTo>
                    <a:pt x="807834" y="554634"/>
                  </a:lnTo>
                  <a:lnTo>
                    <a:pt x="808177" y="554634"/>
                  </a:lnTo>
                  <a:lnTo>
                    <a:pt x="808177" y="555282"/>
                  </a:lnTo>
                  <a:lnTo>
                    <a:pt x="808482" y="555282"/>
                  </a:lnTo>
                  <a:lnTo>
                    <a:pt x="808532" y="554634"/>
                  </a:lnTo>
                  <a:lnTo>
                    <a:pt x="808621" y="554634"/>
                  </a:lnTo>
                  <a:lnTo>
                    <a:pt x="808672" y="555282"/>
                  </a:lnTo>
                  <a:lnTo>
                    <a:pt x="808723" y="555282"/>
                  </a:lnTo>
                  <a:lnTo>
                    <a:pt x="808723" y="555968"/>
                  </a:lnTo>
                  <a:lnTo>
                    <a:pt x="809167" y="555968"/>
                  </a:lnTo>
                  <a:lnTo>
                    <a:pt x="809167" y="556616"/>
                  </a:lnTo>
                  <a:lnTo>
                    <a:pt x="809371" y="556616"/>
                  </a:lnTo>
                  <a:lnTo>
                    <a:pt x="809421" y="557860"/>
                  </a:lnTo>
                  <a:lnTo>
                    <a:pt x="809764" y="557860"/>
                  </a:lnTo>
                  <a:lnTo>
                    <a:pt x="809815" y="558559"/>
                  </a:lnTo>
                  <a:lnTo>
                    <a:pt x="809866" y="558559"/>
                  </a:lnTo>
                  <a:lnTo>
                    <a:pt x="809967" y="559194"/>
                  </a:lnTo>
                  <a:lnTo>
                    <a:pt x="810018" y="558559"/>
                  </a:lnTo>
                  <a:lnTo>
                    <a:pt x="810018" y="557860"/>
                  </a:lnTo>
                  <a:lnTo>
                    <a:pt x="810069" y="556616"/>
                  </a:lnTo>
                  <a:lnTo>
                    <a:pt x="810069" y="555968"/>
                  </a:lnTo>
                  <a:lnTo>
                    <a:pt x="810120" y="555282"/>
                  </a:lnTo>
                  <a:lnTo>
                    <a:pt x="810120" y="554634"/>
                  </a:lnTo>
                  <a:lnTo>
                    <a:pt x="810259" y="554634"/>
                  </a:lnTo>
                  <a:lnTo>
                    <a:pt x="810310" y="555282"/>
                  </a:lnTo>
                  <a:lnTo>
                    <a:pt x="810310" y="554634"/>
                  </a:lnTo>
                  <a:lnTo>
                    <a:pt x="810361" y="554634"/>
                  </a:lnTo>
                  <a:lnTo>
                    <a:pt x="810361" y="555282"/>
                  </a:lnTo>
                  <a:lnTo>
                    <a:pt x="810463" y="555282"/>
                  </a:lnTo>
                  <a:lnTo>
                    <a:pt x="810513" y="555968"/>
                  </a:lnTo>
                  <a:lnTo>
                    <a:pt x="810564" y="555968"/>
                  </a:lnTo>
                  <a:lnTo>
                    <a:pt x="810666" y="555282"/>
                  </a:lnTo>
                  <a:lnTo>
                    <a:pt x="810704" y="554634"/>
                  </a:lnTo>
                  <a:lnTo>
                    <a:pt x="810755" y="554634"/>
                  </a:lnTo>
                  <a:lnTo>
                    <a:pt x="810806" y="553987"/>
                  </a:lnTo>
                  <a:lnTo>
                    <a:pt x="810907" y="552653"/>
                  </a:lnTo>
                  <a:lnTo>
                    <a:pt x="810958" y="552653"/>
                  </a:lnTo>
                  <a:lnTo>
                    <a:pt x="810958" y="553987"/>
                  </a:lnTo>
                  <a:lnTo>
                    <a:pt x="811009" y="553987"/>
                  </a:lnTo>
                  <a:lnTo>
                    <a:pt x="811009" y="554634"/>
                  </a:lnTo>
                  <a:lnTo>
                    <a:pt x="811212" y="554634"/>
                  </a:lnTo>
                  <a:lnTo>
                    <a:pt x="811212" y="555282"/>
                  </a:lnTo>
                  <a:lnTo>
                    <a:pt x="811250" y="554634"/>
                  </a:lnTo>
                  <a:lnTo>
                    <a:pt x="811403" y="554634"/>
                  </a:lnTo>
                  <a:lnTo>
                    <a:pt x="811453" y="555282"/>
                  </a:lnTo>
                  <a:lnTo>
                    <a:pt x="811453" y="554634"/>
                  </a:lnTo>
                  <a:lnTo>
                    <a:pt x="811606" y="554634"/>
                  </a:lnTo>
                  <a:lnTo>
                    <a:pt x="811657" y="555282"/>
                  </a:lnTo>
                  <a:lnTo>
                    <a:pt x="811796" y="555282"/>
                  </a:lnTo>
                  <a:lnTo>
                    <a:pt x="811847" y="554634"/>
                  </a:lnTo>
                  <a:lnTo>
                    <a:pt x="811847" y="555282"/>
                  </a:lnTo>
                  <a:lnTo>
                    <a:pt x="811898" y="555282"/>
                  </a:lnTo>
                  <a:lnTo>
                    <a:pt x="811898" y="554634"/>
                  </a:lnTo>
                  <a:lnTo>
                    <a:pt x="812342" y="554634"/>
                  </a:lnTo>
                  <a:lnTo>
                    <a:pt x="812393" y="555282"/>
                  </a:lnTo>
                  <a:lnTo>
                    <a:pt x="812393" y="554634"/>
                  </a:lnTo>
                  <a:lnTo>
                    <a:pt x="812698" y="554634"/>
                  </a:lnTo>
                  <a:lnTo>
                    <a:pt x="812749" y="553987"/>
                  </a:lnTo>
                  <a:lnTo>
                    <a:pt x="812838" y="553987"/>
                  </a:lnTo>
                  <a:lnTo>
                    <a:pt x="812939" y="554634"/>
                  </a:lnTo>
                  <a:lnTo>
                    <a:pt x="813041" y="554634"/>
                  </a:lnTo>
                  <a:lnTo>
                    <a:pt x="813142" y="553987"/>
                  </a:lnTo>
                  <a:lnTo>
                    <a:pt x="813193" y="554634"/>
                  </a:lnTo>
                  <a:lnTo>
                    <a:pt x="813295" y="554634"/>
                  </a:lnTo>
                  <a:lnTo>
                    <a:pt x="813384" y="553987"/>
                  </a:lnTo>
                  <a:lnTo>
                    <a:pt x="813434" y="554634"/>
                  </a:lnTo>
                  <a:lnTo>
                    <a:pt x="813434" y="553987"/>
                  </a:lnTo>
                  <a:lnTo>
                    <a:pt x="813879" y="553987"/>
                  </a:lnTo>
                  <a:lnTo>
                    <a:pt x="813930" y="554634"/>
                  </a:lnTo>
                  <a:lnTo>
                    <a:pt x="814285" y="554634"/>
                  </a:lnTo>
                  <a:lnTo>
                    <a:pt x="814285" y="553987"/>
                  </a:lnTo>
                  <a:lnTo>
                    <a:pt x="814336" y="553987"/>
                  </a:lnTo>
                  <a:lnTo>
                    <a:pt x="814387" y="554634"/>
                  </a:lnTo>
                  <a:lnTo>
                    <a:pt x="814527" y="554634"/>
                  </a:lnTo>
                  <a:lnTo>
                    <a:pt x="814527" y="553987"/>
                  </a:lnTo>
                  <a:lnTo>
                    <a:pt x="814628" y="553987"/>
                  </a:lnTo>
                  <a:lnTo>
                    <a:pt x="814628" y="554634"/>
                  </a:lnTo>
                  <a:lnTo>
                    <a:pt x="814882" y="554634"/>
                  </a:lnTo>
                  <a:lnTo>
                    <a:pt x="814971" y="555282"/>
                  </a:lnTo>
                  <a:lnTo>
                    <a:pt x="815073" y="555282"/>
                  </a:lnTo>
                  <a:lnTo>
                    <a:pt x="815073" y="555968"/>
                  </a:lnTo>
                  <a:lnTo>
                    <a:pt x="815225" y="555968"/>
                  </a:lnTo>
                  <a:lnTo>
                    <a:pt x="815225" y="555282"/>
                  </a:lnTo>
                  <a:lnTo>
                    <a:pt x="815721" y="555282"/>
                  </a:lnTo>
                  <a:lnTo>
                    <a:pt x="815721" y="555968"/>
                  </a:lnTo>
                  <a:lnTo>
                    <a:pt x="815924" y="555968"/>
                  </a:lnTo>
                  <a:lnTo>
                    <a:pt x="815974" y="556616"/>
                  </a:lnTo>
                  <a:lnTo>
                    <a:pt x="816114" y="556616"/>
                  </a:lnTo>
                  <a:lnTo>
                    <a:pt x="816114" y="555968"/>
                  </a:lnTo>
                  <a:lnTo>
                    <a:pt x="816165" y="555282"/>
                  </a:lnTo>
                  <a:lnTo>
                    <a:pt x="816165" y="553987"/>
                  </a:lnTo>
                  <a:lnTo>
                    <a:pt x="816317" y="553987"/>
                  </a:lnTo>
                  <a:lnTo>
                    <a:pt x="816317" y="552653"/>
                  </a:lnTo>
                  <a:lnTo>
                    <a:pt x="816368" y="553987"/>
                  </a:lnTo>
                  <a:lnTo>
                    <a:pt x="816470" y="553987"/>
                  </a:lnTo>
                  <a:lnTo>
                    <a:pt x="816470" y="554634"/>
                  </a:lnTo>
                  <a:lnTo>
                    <a:pt x="816660" y="554634"/>
                  </a:lnTo>
                  <a:lnTo>
                    <a:pt x="816660" y="553987"/>
                  </a:lnTo>
                  <a:lnTo>
                    <a:pt x="816711" y="553987"/>
                  </a:lnTo>
                  <a:lnTo>
                    <a:pt x="816813" y="552653"/>
                  </a:lnTo>
                  <a:lnTo>
                    <a:pt x="816863" y="552653"/>
                  </a:lnTo>
                  <a:lnTo>
                    <a:pt x="816914" y="552056"/>
                  </a:lnTo>
                  <a:lnTo>
                    <a:pt x="817054" y="552056"/>
                  </a:lnTo>
                  <a:lnTo>
                    <a:pt x="817054" y="552653"/>
                  </a:lnTo>
                  <a:lnTo>
                    <a:pt x="817308" y="552653"/>
                  </a:lnTo>
                  <a:lnTo>
                    <a:pt x="817359" y="553987"/>
                  </a:lnTo>
                  <a:lnTo>
                    <a:pt x="817956" y="553987"/>
                  </a:lnTo>
                  <a:lnTo>
                    <a:pt x="817956" y="554634"/>
                  </a:lnTo>
                  <a:lnTo>
                    <a:pt x="818197" y="554634"/>
                  </a:lnTo>
                  <a:lnTo>
                    <a:pt x="818197" y="553987"/>
                  </a:lnTo>
                  <a:lnTo>
                    <a:pt x="818451" y="553987"/>
                  </a:lnTo>
                  <a:lnTo>
                    <a:pt x="818502" y="552653"/>
                  </a:lnTo>
                  <a:lnTo>
                    <a:pt x="818502" y="553987"/>
                  </a:lnTo>
                  <a:lnTo>
                    <a:pt x="818603" y="552653"/>
                  </a:lnTo>
                  <a:lnTo>
                    <a:pt x="818642" y="553987"/>
                  </a:lnTo>
                  <a:lnTo>
                    <a:pt x="818692" y="553987"/>
                  </a:lnTo>
                  <a:lnTo>
                    <a:pt x="818743" y="552653"/>
                  </a:lnTo>
                  <a:lnTo>
                    <a:pt x="819048" y="552653"/>
                  </a:lnTo>
                  <a:lnTo>
                    <a:pt x="819099" y="553987"/>
                  </a:lnTo>
                  <a:lnTo>
                    <a:pt x="819188" y="553987"/>
                  </a:lnTo>
                  <a:lnTo>
                    <a:pt x="819188" y="552653"/>
                  </a:lnTo>
                  <a:lnTo>
                    <a:pt x="819289" y="553987"/>
                  </a:lnTo>
                  <a:lnTo>
                    <a:pt x="819391" y="553987"/>
                  </a:lnTo>
                  <a:lnTo>
                    <a:pt x="819391" y="552653"/>
                  </a:lnTo>
                  <a:lnTo>
                    <a:pt x="819645" y="552653"/>
                  </a:lnTo>
                  <a:lnTo>
                    <a:pt x="819645" y="553987"/>
                  </a:lnTo>
                  <a:lnTo>
                    <a:pt x="819734" y="553987"/>
                  </a:lnTo>
                  <a:lnTo>
                    <a:pt x="819784" y="552653"/>
                  </a:lnTo>
                  <a:lnTo>
                    <a:pt x="819784" y="553987"/>
                  </a:lnTo>
                  <a:lnTo>
                    <a:pt x="819886" y="553987"/>
                  </a:lnTo>
                  <a:lnTo>
                    <a:pt x="819988" y="552653"/>
                  </a:lnTo>
                  <a:lnTo>
                    <a:pt x="820038" y="552653"/>
                  </a:lnTo>
                  <a:lnTo>
                    <a:pt x="820038" y="553987"/>
                  </a:lnTo>
                  <a:lnTo>
                    <a:pt x="820089" y="553987"/>
                  </a:lnTo>
                  <a:lnTo>
                    <a:pt x="820089" y="552653"/>
                  </a:lnTo>
                  <a:lnTo>
                    <a:pt x="820191" y="553987"/>
                  </a:lnTo>
                  <a:lnTo>
                    <a:pt x="820191" y="552653"/>
                  </a:lnTo>
                  <a:lnTo>
                    <a:pt x="820229" y="552653"/>
                  </a:lnTo>
                  <a:lnTo>
                    <a:pt x="820280" y="553987"/>
                  </a:lnTo>
                  <a:lnTo>
                    <a:pt x="820280" y="552653"/>
                  </a:lnTo>
                  <a:lnTo>
                    <a:pt x="820331" y="552653"/>
                  </a:lnTo>
                  <a:lnTo>
                    <a:pt x="820331" y="553987"/>
                  </a:lnTo>
                  <a:lnTo>
                    <a:pt x="820432" y="552653"/>
                  </a:lnTo>
                  <a:lnTo>
                    <a:pt x="820686" y="552653"/>
                  </a:lnTo>
                  <a:lnTo>
                    <a:pt x="820737" y="553987"/>
                  </a:lnTo>
                  <a:lnTo>
                    <a:pt x="820928" y="553987"/>
                  </a:lnTo>
                  <a:lnTo>
                    <a:pt x="820928" y="554634"/>
                  </a:lnTo>
                  <a:lnTo>
                    <a:pt x="821080" y="554634"/>
                  </a:lnTo>
                  <a:lnTo>
                    <a:pt x="821080" y="553987"/>
                  </a:lnTo>
                  <a:lnTo>
                    <a:pt x="821182" y="553987"/>
                  </a:lnTo>
                  <a:lnTo>
                    <a:pt x="821232" y="554634"/>
                  </a:lnTo>
                  <a:lnTo>
                    <a:pt x="821778" y="554634"/>
                  </a:lnTo>
                  <a:lnTo>
                    <a:pt x="821817" y="555282"/>
                  </a:lnTo>
                  <a:lnTo>
                    <a:pt x="821867" y="555282"/>
                  </a:lnTo>
                  <a:lnTo>
                    <a:pt x="821918" y="555968"/>
                  </a:lnTo>
                  <a:lnTo>
                    <a:pt x="821918" y="555282"/>
                  </a:lnTo>
                  <a:lnTo>
                    <a:pt x="822020" y="555968"/>
                  </a:lnTo>
                  <a:lnTo>
                    <a:pt x="822071" y="555968"/>
                  </a:lnTo>
                  <a:lnTo>
                    <a:pt x="822071" y="555282"/>
                  </a:lnTo>
                  <a:lnTo>
                    <a:pt x="822121" y="554634"/>
                  </a:lnTo>
                  <a:lnTo>
                    <a:pt x="822121" y="553987"/>
                  </a:lnTo>
                  <a:lnTo>
                    <a:pt x="822223" y="552653"/>
                  </a:lnTo>
                  <a:lnTo>
                    <a:pt x="822274" y="552056"/>
                  </a:lnTo>
                  <a:lnTo>
                    <a:pt x="822363" y="552056"/>
                  </a:lnTo>
                  <a:lnTo>
                    <a:pt x="822363" y="552653"/>
                  </a:lnTo>
                  <a:lnTo>
                    <a:pt x="822464" y="552653"/>
                  </a:lnTo>
                  <a:lnTo>
                    <a:pt x="822515" y="553987"/>
                  </a:lnTo>
                  <a:lnTo>
                    <a:pt x="822566" y="554634"/>
                  </a:lnTo>
                  <a:lnTo>
                    <a:pt x="822718" y="554634"/>
                  </a:lnTo>
                  <a:lnTo>
                    <a:pt x="822769" y="552653"/>
                  </a:lnTo>
                  <a:lnTo>
                    <a:pt x="822769" y="552056"/>
                  </a:lnTo>
                  <a:lnTo>
                    <a:pt x="822820" y="551409"/>
                  </a:lnTo>
                  <a:lnTo>
                    <a:pt x="822909" y="550761"/>
                  </a:lnTo>
                  <a:lnTo>
                    <a:pt x="823010" y="550761"/>
                  </a:lnTo>
                  <a:lnTo>
                    <a:pt x="823010" y="551409"/>
                  </a:lnTo>
                  <a:lnTo>
                    <a:pt x="823213" y="551409"/>
                  </a:lnTo>
                  <a:lnTo>
                    <a:pt x="823264" y="552056"/>
                  </a:lnTo>
                  <a:lnTo>
                    <a:pt x="823366" y="552056"/>
                  </a:lnTo>
                  <a:lnTo>
                    <a:pt x="823404" y="552653"/>
                  </a:lnTo>
                  <a:lnTo>
                    <a:pt x="823455" y="552653"/>
                  </a:lnTo>
                  <a:lnTo>
                    <a:pt x="823506" y="552056"/>
                  </a:lnTo>
                  <a:lnTo>
                    <a:pt x="823607" y="552056"/>
                  </a:lnTo>
                  <a:lnTo>
                    <a:pt x="823658" y="552653"/>
                  </a:lnTo>
                  <a:lnTo>
                    <a:pt x="824255" y="552653"/>
                  </a:lnTo>
                  <a:lnTo>
                    <a:pt x="824306" y="552056"/>
                  </a:lnTo>
                  <a:lnTo>
                    <a:pt x="824547" y="552056"/>
                  </a:lnTo>
                  <a:lnTo>
                    <a:pt x="824547" y="552653"/>
                  </a:lnTo>
                  <a:lnTo>
                    <a:pt x="824598" y="552653"/>
                  </a:lnTo>
                  <a:lnTo>
                    <a:pt x="824598" y="552056"/>
                  </a:lnTo>
                  <a:lnTo>
                    <a:pt x="824649" y="552653"/>
                  </a:lnTo>
                  <a:lnTo>
                    <a:pt x="824801" y="552653"/>
                  </a:lnTo>
                  <a:lnTo>
                    <a:pt x="824852" y="552056"/>
                  </a:lnTo>
                  <a:lnTo>
                    <a:pt x="824852" y="552653"/>
                  </a:lnTo>
                  <a:lnTo>
                    <a:pt x="824992" y="552653"/>
                  </a:lnTo>
                  <a:lnTo>
                    <a:pt x="824992" y="552056"/>
                  </a:lnTo>
                  <a:lnTo>
                    <a:pt x="825246" y="552056"/>
                  </a:lnTo>
                  <a:lnTo>
                    <a:pt x="825296" y="551409"/>
                  </a:lnTo>
                  <a:lnTo>
                    <a:pt x="825538" y="551409"/>
                  </a:lnTo>
                  <a:lnTo>
                    <a:pt x="825639" y="552056"/>
                  </a:lnTo>
                  <a:lnTo>
                    <a:pt x="825690" y="551409"/>
                  </a:lnTo>
                  <a:lnTo>
                    <a:pt x="825741" y="552056"/>
                  </a:lnTo>
                  <a:lnTo>
                    <a:pt x="825995" y="552056"/>
                  </a:lnTo>
                  <a:lnTo>
                    <a:pt x="825995" y="551409"/>
                  </a:lnTo>
                  <a:lnTo>
                    <a:pt x="826084" y="551409"/>
                  </a:lnTo>
                  <a:lnTo>
                    <a:pt x="826084" y="552056"/>
                  </a:lnTo>
                  <a:lnTo>
                    <a:pt x="826134" y="551409"/>
                  </a:lnTo>
                  <a:lnTo>
                    <a:pt x="826134" y="552056"/>
                  </a:lnTo>
                  <a:lnTo>
                    <a:pt x="826185" y="552056"/>
                  </a:lnTo>
                  <a:lnTo>
                    <a:pt x="826236" y="551409"/>
                  </a:lnTo>
                  <a:lnTo>
                    <a:pt x="826388" y="551409"/>
                  </a:lnTo>
                  <a:lnTo>
                    <a:pt x="826388" y="552056"/>
                  </a:lnTo>
                  <a:lnTo>
                    <a:pt x="826833" y="552056"/>
                  </a:lnTo>
                  <a:lnTo>
                    <a:pt x="826833" y="552653"/>
                  </a:lnTo>
                  <a:lnTo>
                    <a:pt x="827125" y="552653"/>
                  </a:lnTo>
                  <a:lnTo>
                    <a:pt x="827227" y="553987"/>
                  </a:lnTo>
                  <a:lnTo>
                    <a:pt x="827278" y="553987"/>
                  </a:lnTo>
                  <a:lnTo>
                    <a:pt x="827278" y="552653"/>
                  </a:lnTo>
                  <a:lnTo>
                    <a:pt x="827328" y="552653"/>
                  </a:lnTo>
                  <a:lnTo>
                    <a:pt x="827328" y="552056"/>
                  </a:lnTo>
                  <a:lnTo>
                    <a:pt x="827430" y="552056"/>
                  </a:lnTo>
                  <a:lnTo>
                    <a:pt x="827481" y="552653"/>
                  </a:lnTo>
                  <a:lnTo>
                    <a:pt x="827532" y="552653"/>
                  </a:lnTo>
                  <a:lnTo>
                    <a:pt x="827532" y="553987"/>
                  </a:lnTo>
                  <a:lnTo>
                    <a:pt x="827824" y="553987"/>
                  </a:lnTo>
                  <a:lnTo>
                    <a:pt x="827824" y="552653"/>
                  </a:lnTo>
                  <a:lnTo>
                    <a:pt x="827925" y="552653"/>
                  </a:lnTo>
                  <a:lnTo>
                    <a:pt x="827976" y="552056"/>
                  </a:lnTo>
                  <a:lnTo>
                    <a:pt x="828128" y="552056"/>
                  </a:lnTo>
                  <a:lnTo>
                    <a:pt x="828167" y="551409"/>
                  </a:lnTo>
                  <a:lnTo>
                    <a:pt x="828217" y="551409"/>
                  </a:lnTo>
                  <a:lnTo>
                    <a:pt x="828268" y="552056"/>
                  </a:lnTo>
                  <a:lnTo>
                    <a:pt x="828268" y="551409"/>
                  </a:lnTo>
                  <a:lnTo>
                    <a:pt x="828370" y="552056"/>
                  </a:lnTo>
                  <a:lnTo>
                    <a:pt x="828624" y="552056"/>
                  </a:lnTo>
                  <a:lnTo>
                    <a:pt x="828624" y="552653"/>
                  </a:lnTo>
                  <a:lnTo>
                    <a:pt x="828674" y="552056"/>
                  </a:lnTo>
                  <a:lnTo>
                    <a:pt x="828713" y="551409"/>
                  </a:lnTo>
                  <a:lnTo>
                    <a:pt x="828814" y="549427"/>
                  </a:lnTo>
                  <a:lnTo>
                    <a:pt x="828916" y="549427"/>
                  </a:lnTo>
                  <a:lnTo>
                    <a:pt x="829017" y="550761"/>
                  </a:lnTo>
                  <a:lnTo>
                    <a:pt x="829119" y="550761"/>
                  </a:lnTo>
                  <a:lnTo>
                    <a:pt x="829119" y="549427"/>
                  </a:lnTo>
                  <a:lnTo>
                    <a:pt x="829259" y="549427"/>
                  </a:lnTo>
                  <a:lnTo>
                    <a:pt x="829309" y="550761"/>
                  </a:lnTo>
                  <a:lnTo>
                    <a:pt x="829360" y="551409"/>
                  </a:lnTo>
                  <a:lnTo>
                    <a:pt x="830160" y="551409"/>
                  </a:lnTo>
                  <a:lnTo>
                    <a:pt x="830160" y="552056"/>
                  </a:lnTo>
                  <a:lnTo>
                    <a:pt x="830211" y="551409"/>
                  </a:lnTo>
                  <a:lnTo>
                    <a:pt x="830262" y="551409"/>
                  </a:lnTo>
                  <a:lnTo>
                    <a:pt x="830300" y="550761"/>
                  </a:lnTo>
                  <a:lnTo>
                    <a:pt x="830453" y="550761"/>
                  </a:lnTo>
                  <a:lnTo>
                    <a:pt x="830453" y="551409"/>
                  </a:lnTo>
                  <a:lnTo>
                    <a:pt x="830503" y="550761"/>
                  </a:lnTo>
                  <a:lnTo>
                    <a:pt x="830656" y="550761"/>
                  </a:lnTo>
                  <a:lnTo>
                    <a:pt x="830656" y="551409"/>
                  </a:lnTo>
                  <a:lnTo>
                    <a:pt x="831202" y="551409"/>
                  </a:lnTo>
                  <a:lnTo>
                    <a:pt x="831202" y="550761"/>
                  </a:lnTo>
                  <a:lnTo>
                    <a:pt x="831303" y="550761"/>
                  </a:lnTo>
                  <a:lnTo>
                    <a:pt x="831342" y="551409"/>
                  </a:lnTo>
                  <a:lnTo>
                    <a:pt x="831545" y="551409"/>
                  </a:lnTo>
                  <a:lnTo>
                    <a:pt x="831545" y="550761"/>
                  </a:lnTo>
                  <a:lnTo>
                    <a:pt x="831646" y="550761"/>
                  </a:lnTo>
                  <a:lnTo>
                    <a:pt x="831646" y="551409"/>
                  </a:lnTo>
                  <a:lnTo>
                    <a:pt x="831748" y="550761"/>
                  </a:lnTo>
                  <a:lnTo>
                    <a:pt x="831799" y="551409"/>
                  </a:lnTo>
                  <a:lnTo>
                    <a:pt x="831849" y="550761"/>
                  </a:lnTo>
                  <a:lnTo>
                    <a:pt x="831849" y="551409"/>
                  </a:lnTo>
                  <a:lnTo>
                    <a:pt x="831888" y="550761"/>
                  </a:lnTo>
                  <a:lnTo>
                    <a:pt x="831888" y="549427"/>
                  </a:lnTo>
                  <a:lnTo>
                    <a:pt x="831989" y="549427"/>
                  </a:lnTo>
                  <a:lnTo>
                    <a:pt x="831989" y="550761"/>
                  </a:lnTo>
                  <a:lnTo>
                    <a:pt x="832243" y="550761"/>
                  </a:lnTo>
                  <a:lnTo>
                    <a:pt x="832243" y="551409"/>
                  </a:lnTo>
                  <a:lnTo>
                    <a:pt x="832434" y="551409"/>
                  </a:lnTo>
                  <a:lnTo>
                    <a:pt x="832484" y="552056"/>
                  </a:lnTo>
                  <a:lnTo>
                    <a:pt x="832484" y="551409"/>
                  </a:lnTo>
                  <a:lnTo>
                    <a:pt x="832688" y="551409"/>
                  </a:lnTo>
                  <a:lnTo>
                    <a:pt x="832738" y="550761"/>
                  </a:lnTo>
                  <a:lnTo>
                    <a:pt x="832738" y="551409"/>
                  </a:lnTo>
                  <a:lnTo>
                    <a:pt x="832789" y="551409"/>
                  </a:lnTo>
                  <a:lnTo>
                    <a:pt x="832789" y="552056"/>
                  </a:lnTo>
                  <a:lnTo>
                    <a:pt x="833234" y="552056"/>
                  </a:lnTo>
                  <a:lnTo>
                    <a:pt x="833335" y="551409"/>
                  </a:lnTo>
                  <a:lnTo>
                    <a:pt x="833386" y="552056"/>
                  </a:lnTo>
                  <a:lnTo>
                    <a:pt x="833437" y="552056"/>
                  </a:lnTo>
                  <a:lnTo>
                    <a:pt x="833437" y="552653"/>
                  </a:lnTo>
                  <a:lnTo>
                    <a:pt x="833628" y="552653"/>
                  </a:lnTo>
                  <a:lnTo>
                    <a:pt x="833628" y="552056"/>
                  </a:lnTo>
                  <a:lnTo>
                    <a:pt x="833780" y="552056"/>
                  </a:lnTo>
                  <a:lnTo>
                    <a:pt x="833780" y="552653"/>
                  </a:lnTo>
                  <a:lnTo>
                    <a:pt x="833831" y="552653"/>
                  </a:lnTo>
                  <a:lnTo>
                    <a:pt x="833882" y="552056"/>
                  </a:lnTo>
                  <a:lnTo>
                    <a:pt x="833932" y="551409"/>
                  </a:lnTo>
                  <a:lnTo>
                    <a:pt x="834021" y="550761"/>
                  </a:lnTo>
                  <a:lnTo>
                    <a:pt x="834021" y="549427"/>
                  </a:lnTo>
                  <a:lnTo>
                    <a:pt x="834326" y="549427"/>
                  </a:lnTo>
                  <a:lnTo>
                    <a:pt x="834377" y="548780"/>
                  </a:lnTo>
                  <a:lnTo>
                    <a:pt x="834377" y="549427"/>
                  </a:lnTo>
                  <a:lnTo>
                    <a:pt x="834478" y="549427"/>
                  </a:lnTo>
                  <a:lnTo>
                    <a:pt x="834517" y="550761"/>
                  </a:lnTo>
                  <a:lnTo>
                    <a:pt x="834517" y="551409"/>
                  </a:lnTo>
                  <a:lnTo>
                    <a:pt x="834567" y="551409"/>
                  </a:lnTo>
                  <a:lnTo>
                    <a:pt x="834567" y="550761"/>
                  </a:lnTo>
                  <a:lnTo>
                    <a:pt x="834618" y="549427"/>
                  </a:lnTo>
                  <a:lnTo>
                    <a:pt x="834618" y="548780"/>
                  </a:lnTo>
                  <a:lnTo>
                    <a:pt x="834720" y="548780"/>
                  </a:lnTo>
                  <a:lnTo>
                    <a:pt x="834720" y="548081"/>
                  </a:lnTo>
                  <a:lnTo>
                    <a:pt x="834771" y="548780"/>
                  </a:lnTo>
                  <a:lnTo>
                    <a:pt x="835215" y="548780"/>
                  </a:lnTo>
                  <a:lnTo>
                    <a:pt x="835215" y="549427"/>
                  </a:lnTo>
                  <a:lnTo>
                    <a:pt x="835367" y="549427"/>
                  </a:lnTo>
                  <a:lnTo>
                    <a:pt x="835367" y="550761"/>
                  </a:lnTo>
                  <a:lnTo>
                    <a:pt x="835418" y="549427"/>
                  </a:lnTo>
                  <a:lnTo>
                    <a:pt x="835469" y="550761"/>
                  </a:lnTo>
                  <a:lnTo>
                    <a:pt x="835469" y="549427"/>
                  </a:lnTo>
                  <a:lnTo>
                    <a:pt x="835520" y="549427"/>
                  </a:lnTo>
                  <a:lnTo>
                    <a:pt x="835609" y="550761"/>
                  </a:lnTo>
                  <a:lnTo>
                    <a:pt x="835710" y="550761"/>
                  </a:lnTo>
                  <a:lnTo>
                    <a:pt x="835761" y="551409"/>
                  </a:lnTo>
                  <a:lnTo>
                    <a:pt x="835863" y="551409"/>
                  </a:lnTo>
                  <a:lnTo>
                    <a:pt x="835863" y="550761"/>
                  </a:lnTo>
                  <a:lnTo>
                    <a:pt x="835913" y="550761"/>
                  </a:lnTo>
                  <a:lnTo>
                    <a:pt x="835964" y="551409"/>
                  </a:lnTo>
                  <a:lnTo>
                    <a:pt x="836104" y="551409"/>
                  </a:lnTo>
                  <a:lnTo>
                    <a:pt x="836104" y="550761"/>
                  </a:lnTo>
                  <a:lnTo>
                    <a:pt x="836650" y="550761"/>
                  </a:lnTo>
                  <a:lnTo>
                    <a:pt x="836650" y="551409"/>
                  </a:lnTo>
                  <a:lnTo>
                    <a:pt x="836752" y="551409"/>
                  </a:lnTo>
                  <a:lnTo>
                    <a:pt x="836803" y="550761"/>
                  </a:lnTo>
                  <a:lnTo>
                    <a:pt x="836955" y="550761"/>
                  </a:lnTo>
                  <a:lnTo>
                    <a:pt x="837006" y="551409"/>
                  </a:lnTo>
                  <a:lnTo>
                    <a:pt x="837006" y="550761"/>
                  </a:lnTo>
                  <a:lnTo>
                    <a:pt x="837107" y="550761"/>
                  </a:lnTo>
                  <a:lnTo>
                    <a:pt x="837196" y="549427"/>
                  </a:lnTo>
                  <a:lnTo>
                    <a:pt x="837247" y="549427"/>
                  </a:lnTo>
                  <a:lnTo>
                    <a:pt x="837247" y="550761"/>
                  </a:lnTo>
                  <a:lnTo>
                    <a:pt x="837298" y="549427"/>
                  </a:lnTo>
                  <a:lnTo>
                    <a:pt x="837298" y="550761"/>
                  </a:lnTo>
                  <a:lnTo>
                    <a:pt x="837349" y="550761"/>
                  </a:lnTo>
                  <a:lnTo>
                    <a:pt x="837349" y="549427"/>
                  </a:lnTo>
                  <a:lnTo>
                    <a:pt x="837450" y="550761"/>
                  </a:lnTo>
                  <a:lnTo>
                    <a:pt x="837793" y="550761"/>
                  </a:lnTo>
                  <a:lnTo>
                    <a:pt x="837895" y="549427"/>
                  </a:lnTo>
                  <a:lnTo>
                    <a:pt x="837996" y="549427"/>
                  </a:lnTo>
                  <a:lnTo>
                    <a:pt x="837996" y="550761"/>
                  </a:lnTo>
                  <a:lnTo>
                    <a:pt x="838238" y="550761"/>
                  </a:lnTo>
                  <a:lnTo>
                    <a:pt x="838238" y="549427"/>
                  </a:lnTo>
                  <a:lnTo>
                    <a:pt x="838339" y="549427"/>
                  </a:lnTo>
                  <a:lnTo>
                    <a:pt x="838390" y="550761"/>
                  </a:lnTo>
                  <a:lnTo>
                    <a:pt x="838441" y="550761"/>
                  </a:lnTo>
                  <a:lnTo>
                    <a:pt x="838542" y="551409"/>
                  </a:lnTo>
                  <a:lnTo>
                    <a:pt x="838644" y="551409"/>
                  </a:lnTo>
                  <a:lnTo>
                    <a:pt x="838644" y="550761"/>
                  </a:lnTo>
                  <a:lnTo>
                    <a:pt x="838695" y="551409"/>
                  </a:lnTo>
                  <a:lnTo>
                    <a:pt x="838784" y="551409"/>
                  </a:lnTo>
                  <a:lnTo>
                    <a:pt x="838784" y="552056"/>
                  </a:lnTo>
                  <a:lnTo>
                    <a:pt x="838834" y="551409"/>
                  </a:lnTo>
                  <a:lnTo>
                    <a:pt x="838885" y="551409"/>
                  </a:lnTo>
                  <a:lnTo>
                    <a:pt x="838936" y="552056"/>
                  </a:lnTo>
                  <a:lnTo>
                    <a:pt x="838936" y="551409"/>
                  </a:lnTo>
                  <a:lnTo>
                    <a:pt x="839241" y="551409"/>
                  </a:lnTo>
                  <a:lnTo>
                    <a:pt x="839279" y="552056"/>
                  </a:lnTo>
                  <a:lnTo>
                    <a:pt x="839482" y="552056"/>
                  </a:lnTo>
                  <a:lnTo>
                    <a:pt x="839482" y="551409"/>
                  </a:lnTo>
                  <a:lnTo>
                    <a:pt x="839533" y="552056"/>
                  </a:lnTo>
                  <a:lnTo>
                    <a:pt x="839584" y="551409"/>
                  </a:lnTo>
                  <a:lnTo>
                    <a:pt x="839584" y="552056"/>
                  </a:lnTo>
                  <a:lnTo>
                    <a:pt x="839787" y="552056"/>
                  </a:lnTo>
                  <a:lnTo>
                    <a:pt x="839825" y="551409"/>
                  </a:lnTo>
                  <a:lnTo>
                    <a:pt x="839927" y="550761"/>
                  </a:lnTo>
                  <a:lnTo>
                    <a:pt x="839978" y="549427"/>
                  </a:lnTo>
                  <a:lnTo>
                    <a:pt x="840028" y="548780"/>
                  </a:lnTo>
                  <a:lnTo>
                    <a:pt x="840028" y="549427"/>
                  </a:lnTo>
                  <a:lnTo>
                    <a:pt x="840130" y="549427"/>
                  </a:lnTo>
                  <a:lnTo>
                    <a:pt x="840181" y="548780"/>
                  </a:lnTo>
                  <a:lnTo>
                    <a:pt x="840282" y="548780"/>
                  </a:lnTo>
                  <a:lnTo>
                    <a:pt x="840371" y="549427"/>
                  </a:lnTo>
                  <a:lnTo>
                    <a:pt x="840422" y="548780"/>
                  </a:lnTo>
                  <a:lnTo>
                    <a:pt x="840473" y="548081"/>
                  </a:lnTo>
                  <a:lnTo>
                    <a:pt x="840473" y="547446"/>
                  </a:lnTo>
                  <a:lnTo>
                    <a:pt x="840524" y="548081"/>
                  </a:lnTo>
                  <a:lnTo>
                    <a:pt x="840828" y="548081"/>
                  </a:lnTo>
                  <a:lnTo>
                    <a:pt x="840828" y="548780"/>
                  </a:lnTo>
                  <a:lnTo>
                    <a:pt x="840867" y="548081"/>
                  </a:lnTo>
                  <a:lnTo>
                    <a:pt x="840917" y="548780"/>
                  </a:lnTo>
                  <a:lnTo>
                    <a:pt x="841070" y="548780"/>
                  </a:lnTo>
                  <a:lnTo>
                    <a:pt x="841070" y="549427"/>
                  </a:lnTo>
                  <a:lnTo>
                    <a:pt x="841374" y="549427"/>
                  </a:lnTo>
                  <a:lnTo>
                    <a:pt x="841413" y="548780"/>
                  </a:lnTo>
                  <a:lnTo>
                    <a:pt x="841514" y="549427"/>
                  </a:lnTo>
                  <a:lnTo>
                    <a:pt x="841514" y="548780"/>
                  </a:lnTo>
                  <a:lnTo>
                    <a:pt x="841565" y="549427"/>
                  </a:lnTo>
                  <a:lnTo>
                    <a:pt x="841768" y="549427"/>
                  </a:lnTo>
                  <a:lnTo>
                    <a:pt x="841819" y="550761"/>
                  </a:lnTo>
                  <a:lnTo>
                    <a:pt x="842111" y="550761"/>
                  </a:lnTo>
                  <a:lnTo>
                    <a:pt x="842111" y="549427"/>
                  </a:lnTo>
                  <a:lnTo>
                    <a:pt x="842314" y="549427"/>
                  </a:lnTo>
                  <a:lnTo>
                    <a:pt x="842416" y="548780"/>
                  </a:lnTo>
                  <a:lnTo>
                    <a:pt x="842454" y="548780"/>
                  </a:lnTo>
                  <a:lnTo>
                    <a:pt x="842454" y="549427"/>
                  </a:lnTo>
                  <a:lnTo>
                    <a:pt x="843102" y="549427"/>
                  </a:lnTo>
                  <a:lnTo>
                    <a:pt x="843102" y="548780"/>
                  </a:lnTo>
                  <a:lnTo>
                    <a:pt x="843153" y="549427"/>
                  </a:lnTo>
                  <a:lnTo>
                    <a:pt x="843305" y="549427"/>
                  </a:lnTo>
                  <a:lnTo>
                    <a:pt x="843356" y="548780"/>
                  </a:lnTo>
                  <a:lnTo>
                    <a:pt x="843407" y="548780"/>
                  </a:lnTo>
                  <a:lnTo>
                    <a:pt x="843457" y="549427"/>
                  </a:lnTo>
                  <a:lnTo>
                    <a:pt x="843546" y="549427"/>
                  </a:lnTo>
                  <a:lnTo>
                    <a:pt x="843546" y="550761"/>
                  </a:lnTo>
                  <a:lnTo>
                    <a:pt x="843597" y="549427"/>
                  </a:lnTo>
                  <a:lnTo>
                    <a:pt x="843699" y="549427"/>
                  </a:lnTo>
                  <a:lnTo>
                    <a:pt x="843699" y="550761"/>
                  </a:lnTo>
                  <a:lnTo>
                    <a:pt x="843800" y="549427"/>
                  </a:lnTo>
                  <a:lnTo>
                    <a:pt x="843851" y="549427"/>
                  </a:lnTo>
                  <a:lnTo>
                    <a:pt x="843851" y="548780"/>
                  </a:lnTo>
                  <a:lnTo>
                    <a:pt x="843902" y="549427"/>
                  </a:lnTo>
                  <a:lnTo>
                    <a:pt x="844296" y="549427"/>
                  </a:lnTo>
                  <a:lnTo>
                    <a:pt x="844296" y="550761"/>
                  </a:lnTo>
                  <a:lnTo>
                    <a:pt x="844588" y="550761"/>
                  </a:lnTo>
                  <a:lnTo>
                    <a:pt x="844588" y="551409"/>
                  </a:lnTo>
                  <a:lnTo>
                    <a:pt x="844689" y="550761"/>
                  </a:lnTo>
                  <a:lnTo>
                    <a:pt x="844740" y="550761"/>
                  </a:lnTo>
                  <a:lnTo>
                    <a:pt x="844740" y="551409"/>
                  </a:lnTo>
                  <a:lnTo>
                    <a:pt x="844943" y="551409"/>
                  </a:lnTo>
                  <a:lnTo>
                    <a:pt x="844994" y="552056"/>
                  </a:lnTo>
                  <a:lnTo>
                    <a:pt x="845045" y="552056"/>
                  </a:lnTo>
                  <a:lnTo>
                    <a:pt x="845134" y="551409"/>
                  </a:lnTo>
                  <a:lnTo>
                    <a:pt x="845184" y="551409"/>
                  </a:lnTo>
                  <a:lnTo>
                    <a:pt x="845184" y="550761"/>
                  </a:lnTo>
                  <a:lnTo>
                    <a:pt x="845235" y="551409"/>
                  </a:lnTo>
                  <a:lnTo>
                    <a:pt x="845489" y="551409"/>
                  </a:lnTo>
                  <a:lnTo>
                    <a:pt x="845591" y="552056"/>
                  </a:lnTo>
                  <a:lnTo>
                    <a:pt x="845680" y="552056"/>
                  </a:lnTo>
                  <a:lnTo>
                    <a:pt x="845731" y="551409"/>
                  </a:lnTo>
                  <a:lnTo>
                    <a:pt x="845731" y="550761"/>
                  </a:lnTo>
                  <a:lnTo>
                    <a:pt x="845832" y="550761"/>
                  </a:lnTo>
                  <a:lnTo>
                    <a:pt x="845832" y="549427"/>
                  </a:lnTo>
                  <a:lnTo>
                    <a:pt x="845883" y="549427"/>
                  </a:lnTo>
                  <a:lnTo>
                    <a:pt x="845883" y="548780"/>
                  </a:lnTo>
                  <a:lnTo>
                    <a:pt x="846035" y="548780"/>
                  </a:lnTo>
                  <a:lnTo>
                    <a:pt x="846086" y="549427"/>
                  </a:lnTo>
                  <a:lnTo>
                    <a:pt x="846086" y="548780"/>
                  </a:lnTo>
                  <a:lnTo>
                    <a:pt x="846137" y="549427"/>
                  </a:lnTo>
                  <a:lnTo>
                    <a:pt x="846137" y="550761"/>
                  </a:lnTo>
                  <a:lnTo>
                    <a:pt x="846175" y="549427"/>
                  </a:lnTo>
                  <a:lnTo>
                    <a:pt x="846175" y="550761"/>
                  </a:lnTo>
                  <a:lnTo>
                    <a:pt x="846277" y="549427"/>
                  </a:lnTo>
                  <a:lnTo>
                    <a:pt x="846328" y="549427"/>
                  </a:lnTo>
                  <a:lnTo>
                    <a:pt x="846378" y="548780"/>
                  </a:lnTo>
                  <a:lnTo>
                    <a:pt x="846480" y="547446"/>
                  </a:lnTo>
                  <a:lnTo>
                    <a:pt x="846531" y="547446"/>
                  </a:lnTo>
                  <a:lnTo>
                    <a:pt x="846531" y="546849"/>
                  </a:lnTo>
                  <a:lnTo>
                    <a:pt x="846582" y="546849"/>
                  </a:lnTo>
                  <a:lnTo>
                    <a:pt x="846582" y="547446"/>
                  </a:lnTo>
                  <a:lnTo>
                    <a:pt x="846721" y="547446"/>
                  </a:lnTo>
                  <a:lnTo>
                    <a:pt x="846772" y="548081"/>
                  </a:lnTo>
                  <a:lnTo>
                    <a:pt x="846975" y="548081"/>
                  </a:lnTo>
                  <a:lnTo>
                    <a:pt x="846975" y="548780"/>
                  </a:lnTo>
                  <a:lnTo>
                    <a:pt x="847026" y="548780"/>
                  </a:lnTo>
                  <a:lnTo>
                    <a:pt x="847026" y="548081"/>
                  </a:lnTo>
                  <a:lnTo>
                    <a:pt x="847077" y="548780"/>
                  </a:lnTo>
                  <a:lnTo>
                    <a:pt x="847267" y="548780"/>
                  </a:lnTo>
                  <a:lnTo>
                    <a:pt x="847267" y="548081"/>
                  </a:lnTo>
                  <a:lnTo>
                    <a:pt x="847318" y="548780"/>
                  </a:lnTo>
                  <a:lnTo>
                    <a:pt x="847674" y="548780"/>
                  </a:lnTo>
                  <a:lnTo>
                    <a:pt x="847724" y="549427"/>
                  </a:lnTo>
                  <a:lnTo>
                    <a:pt x="847915" y="549427"/>
                  </a:lnTo>
                  <a:lnTo>
                    <a:pt x="847966" y="548780"/>
                  </a:lnTo>
                  <a:lnTo>
                    <a:pt x="848169" y="548780"/>
                  </a:lnTo>
                  <a:lnTo>
                    <a:pt x="848220" y="548081"/>
                  </a:lnTo>
                  <a:lnTo>
                    <a:pt x="848220" y="548780"/>
                  </a:lnTo>
                  <a:lnTo>
                    <a:pt x="848309" y="548081"/>
                  </a:lnTo>
                  <a:lnTo>
                    <a:pt x="848359" y="548081"/>
                  </a:lnTo>
                  <a:lnTo>
                    <a:pt x="848410" y="548780"/>
                  </a:lnTo>
                  <a:lnTo>
                    <a:pt x="849109" y="548780"/>
                  </a:lnTo>
                  <a:lnTo>
                    <a:pt x="849109" y="548081"/>
                  </a:lnTo>
                  <a:lnTo>
                    <a:pt x="849210" y="548081"/>
                  </a:lnTo>
                  <a:lnTo>
                    <a:pt x="849210" y="547446"/>
                  </a:lnTo>
                  <a:lnTo>
                    <a:pt x="849261" y="548081"/>
                  </a:lnTo>
                  <a:lnTo>
                    <a:pt x="850201" y="548081"/>
                  </a:lnTo>
                  <a:lnTo>
                    <a:pt x="850201" y="548780"/>
                  </a:lnTo>
                  <a:lnTo>
                    <a:pt x="850392" y="548780"/>
                  </a:lnTo>
                  <a:lnTo>
                    <a:pt x="850442" y="549427"/>
                  </a:lnTo>
                  <a:lnTo>
                    <a:pt x="850798" y="549427"/>
                  </a:lnTo>
                  <a:lnTo>
                    <a:pt x="850849" y="550761"/>
                  </a:lnTo>
                  <a:lnTo>
                    <a:pt x="850899" y="550761"/>
                  </a:lnTo>
                  <a:lnTo>
                    <a:pt x="850938" y="549427"/>
                  </a:lnTo>
                  <a:lnTo>
                    <a:pt x="851293" y="549427"/>
                  </a:lnTo>
                  <a:lnTo>
                    <a:pt x="851293" y="550761"/>
                  </a:lnTo>
                  <a:lnTo>
                    <a:pt x="851636" y="550761"/>
                  </a:lnTo>
                  <a:lnTo>
                    <a:pt x="851636" y="549427"/>
                  </a:lnTo>
                  <a:lnTo>
                    <a:pt x="851738" y="548081"/>
                  </a:lnTo>
                  <a:lnTo>
                    <a:pt x="851788" y="547446"/>
                  </a:lnTo>
                  <a:lnTo>
                    <a:pt x="851839" y="547446"/>
                  </a:lnTo>
                  <a:lnTo>
                    <a:pt x="851941" y="546849"/>
                  </a:lnTo>
                  <a:lnTo>
                    <a:pt x="851941" y="547446"/>
                  </a:lnTo>
                  <a:lnTo>
                    <a:pt x="852030" y="547446"/>
                  </a:lnTo>
                  <a:lnTo>
                    <a:pt x="852030" y="548081"/>
                  </a:lnTo>
                  <a:lnTo>
                    <a:pt x="852081" y="548081"/>
                  </a:lnTo>
                  <a:lnTo>
                    <a:pt x="852182" y="548780"/>
                  </a:lnTo>
                  <a:lnTo>
                    <a:pt x="852233" y="548780"/>
                  </a:lnTo>
                  <a:lnTo>
                    <a:pt x="852284" y="548081"/>
                  </a:lnTo>
                  <a:lnTo>
                    <a:pt x="852284" y="547446"/>
                  </a:lnTo>
                  <a:lnTo>
                    <a:pt x="852385" y="547446"/>
                  </a:lnTo>
                  <a:lnTo>
                    <a:pt x="852385" y="546849"/>
                  </a:lnTo>
                  <a:lnTo>
                    <a:pt x="852436" y="546849"/>
                  </a:lnTo>
                  <a:lnTo>
                    <a:pt x="852487" y="545503"/>
                  </a:lnTo>
                  <a:lnTo>
                    <a:pt x="852525" y="545503"/>
                  </a:lnTo>
                  <a:lnTo>
                    <a:pt x="852525" y="546849"/>
                  </a:lnTo>
                  <a:lnTo>
                    <a:pt x="852728" y="546849"/>
                  </a:lnTo>
                  <a:lnTo>
                    <a:pt x="852728" y="547446"/>
                  </a:lnTo>
                  <a:lnTo>
                    <a:pt x="852982" y="547446"/>
                  </a:lnTo>
                  <a:lnTo>
                    <a:pt x="853071" y="548081"/>
                  </a:lnTo>
                  <a:lnTo>
                    <a:pt x="853173" y="548081"/>
                  </a:lnTo>
                  <a:lnTo>
                    <a:pt x="853173" y="547446"/>
                  </a:lnTo>
                  <a:lnTo>
                    <a:pt x="853325" y="547446"/>
                  </a:lnTo>
                  <a:lnTo>
                    <a:pt x="853376" y="548081"/>
                  </a:lnTo>
                  <a:lnTo>
                    <a:pt x="853376" y="547446"/>
                  </a:lnTo>
                  <a:lnTo>
                    <a:pt x="853427" y="548081"/>
                  </a:lnTo>
                  <a:lnTo>
                    <a:pt x="853973" y="548081"/>
                  </a:lnTo>
                  <a:lnTo>
                    <a:pt x="854024" y="547446"/>
                  </a:lnTo>
                  <a:lnTo>
                    <a:pt x="854113" y="547446"/>
                  </a:lnTo>
                  <a:lnTo>
                    <a:pt x="854214" y="548081"/>
                  </a:lnTo>
                  <a:lnTo>
                    <a:pt x="854265" y="548081"/>
                  </a:lnTo>
                  <a:lnTo>
                    <a:pt x="854316" y="547446"/>
                  </a:lnTo>
                  <a:lnTo>
                    <a:pt x="854417" y="547446"/>
                  </a:lnTo>
                  <a:lnTo>
                    <a:pt x="854468" y="548081"/>
                  </a:lnTo>
                  <a:lnTo>
                    <a:pt x="854468" y="547446"/>
                  </a:lnTo>
                  <a:lnTo>
                    <a:pt x="854659" y="547446"/>
                  </a:lnTo>
                  <a:lnTo>
                    <a:pt x="854659" y="548081"/>
                  </a:lnTo>
                  <a:lnTo>
                    <a:pt x="854709" y="547446"/>
                  </a:lnTo>
                  <a:lnTo>
                    <a:pt x="854760" y="548081"/>
                  </a:lnTo>
                  <a:lnTo>
                    <a:pt x="854760" y="547446"/>
                  </a:lnTo>
                  <a:lnTo>
                    <a:pt x="854811" y="548081"/>
                  </a:lnTo>
                  <a:lnTo>
                    <a:pt x="855014" y="548081"/>
                  </a:lnTo>
                  <a:lnTo>
                    <a:pt x="855014" y="547446"/>
                  </a:lnTo>
                  <a:lnTo>
                    <a:pt x="855116" y="547446"/>
                  </a:lnTo>
                  <a:lnTo>
                    <a:pt x="855154" y="546849"/>
                  </a:lnTo>
                  <a:lnTo>
                    <a:pt x="855205" y="547446"/>
                  </a:lnTo>
                  <a:lnTo>
                    <a:pt x="855256" y="546849"/>
                  </a:lnTo>
                  <a:lnTo>
                    <a:pt x="855256" y="547446"/>
                  </a:lnTo>
                  <a:lnTo>
                    <a:pt x="855560" y="547446"/>
                  </a:lnTo>
                  <a:lnTo>
                    <a:pt x="855560" y="548081"/>
                  </a:lnTo>
                  <a:lnTo>
                    <a:pt x="855611" y="547446"/>
                  </a:lnTo>
                  <a:lnTo>
                    <a:pt x="855700" y="547446"/>
                  </a:lnTo>
                  <a:lnTo>
                    <a:pt x="855802" y="548081"/>
                  </a:lnTo>
                  <a:lnTo>
                    <a:pt x="855853" y="548081"/>
                  </a:lnTo>
                  <a:lnTo>
                    <a:pt x="855853" y="547446"/>
                  </a:lnTo>
                  <a:lnTo>
                    <a:pt x="856005" y="547446"/>
                  </a:lnTo>
                  <a:lnTo>
                    <a:pt x="856005" y="548081"/>
                  </a:lnTo>
                  <a:lnTo>
                    <a:pt x="856399" y="548081"/>
                  </a:lnTo>
                  <a:lnTo>
                    <a:pt x="856500" y="548780"/>
                  </a:lnTo>
                  <a:lnTo>
                    <a:pt x="856602" y="548780"/>
                  </a:lnTo>
                  <a:lnTo>
                    <a:pt x="856602" y="548081"/>
                  </a:lnTo>
                  <a:lnTo>
                    <a:pt x="856703" y="548780"/>
                  </a:lnTo>
                  <a:lnTo>
                    <a:pt x="856843" y="548780"/>
                  </a:lnTo>
                  <a:lnTo>
                    <a:pt x="856945" y="549427"/>
                  </a:lnTo>
                  <a:lnTo>
                    <a:pt x="857046" y="549427"/>
                  </a:lnTo>
                  <a:lnTo>
                    <a:pt x="857046" y="548780"/>
                  </a:lnTo>
                  <a:lnTo>
                    <a:pt x="857249" y="548780"/>
                  </a:lnTo>
                  <a:lnTo>
                    <a:pt x="857288" y="549427"/>
                  </a:lnTo>
                  <a:lnTo>
                    <a:pt x="857389" y="549427"/>
                  </a:lnTo>
                  <a:lnTo>
                    <a:pt x="857389" y="548780"/>
                  </a:lnTo>
                  <a:lnTo>
                    <a:pt x="857440" y="548780"/>
                  </a:lnTo>
                  <a:lnTo>
                    <a:pt x="857491" y="549427"/>
                  </a:lnTo>
                  <a:lnTo>
                    <a:pt x="857694" y="549427"/>
                  </a:lnTo>
                  <a:lnTo>
                    <a:pt x="857694" y="548780"/>
                  </a:lnTo>
                  <a:lnTo>
                    <a:pt x="857745" y="548081"/>
                  </a:lnTo>
                  <a:lnTo>
                    <a:pt x="857986" y="548081"/>
                  </a:lnTo>
                  <a:lnTo>
                    <a:pt x="857986" y="548780"/>
                  </a:lnTo>
                  <a:lnTo>
                    <a:pt x="858088" y="548081"/>
                  </a:lnTo>
                  <a:lnTo>
                    <a:pt x="858138" y="548780"/>
                  </a:lnTo>
                  <a:lnTo>
                    <a:pt x="858189" y="548081"/>
                  </a:lnTo>
                  <a:lnTo>
                    <a:pt x="858189" y="548780"/>
                  </a:lnTo>
                  <a:lnTo>
                    <a:pt x="858329" y="548780"/>
                  </a:lnTo>
                  <a:lnTo>
                    <a:pt x="858329" y="548081"/>
                  </a:lnTo>
                  <a:lnTo>
                    <a:pt x="858380" y="548081"/>
                  </a:lnTo>
                  <a:lnTo>
                    <a:pt x="858380" y="547446"/>
                  </a:lnTo>
                  <a:lnTo>
                    <a:pt x="858431" y="546849"/>
                  </a:lnTo>
                  <a:lnTo>
                    <a:pt x="858532" y="545503"/>
                  </a:lnTo>
                  <a:lnTo>
                    <a:pt x="858532" y="544856"/>
                  </a:lnTo>
                  <a:lnTo>
                    <a:pt x="858583" y="544856"/>
                  </a:lnTo>
                  <a:lnTo>
                    <a:pt x="858583" y="545503"/>
                  </a:lnTo>
                  <a:lnTo>
                    <a:pt x="858634" y="545503"/>
                  </a:lnTo>
                  <a:lnTo>
                    <a:pt x="858634" y="546849"/>
                  </a:lnTo>
                  <a:lnTo>
                    <a:pt x="858875" y="546849"/>
                  </a:lnTo>
                  <a:lnTo>
                    <a:pt x="858875" y="545503"/>
                  </a:lnTo>
                  <a:lnTo>
                    <a:pt x="858977" y="545503"/>
                  </a:lnTo>
                  <a:lnTo>
                    <a:pt x="859028" y="546849"/>
                  </a:lnTo>
                  <a:lnTo>
                    <a:pt x="859078" y="547446"/>
                  </a:lnTo>
                  <a:lnTo>
                    <a:pt x="859332" y="547446"/>
                  </a:lnTo>
                  <a:lnTo>
                    <a:pt x="859332" y="548081"/>
                  </a:lnTo>
                  <a:lnTo>
                    <a:pt x="859726" y="548081"/>
                  </a:lnTo>
                  <a:lnTo>
                    <a:pt x="859726" y="547446"/>
                  </a:lnTo>
                  <a:lnTo>
                    <a:pt x="859777" y="548081"/>
                  </a:lnTo>
                  <a:lnTo>
                    <a:pt x="859777" y="547446"/>
                  </a:lnTo>
                  <a:lnTo>
                    <a:pt x="860018" y="547446"/>
                  </a:lnTo>
                  <a:lnTo>
                    <a:pt x="860120" y="546849"/>
                  </a:lnTo>
                  <a:lnTo>
                    <a:pt x="860120" y="547446"/>
                  </a:lnTo>
                  <a:lnTo>
                    <a:pt x="860323" y="547446"/>
                  </a:lnTo>
                  <a:lnTo>
                    <a:pt x="860374" y="548081"/>
                  </a:lnTo>
                  <a:lnTo>
                    <a:pt x="860424" y="547446"/>
                  </a:lnTo>
                  <a:lnTo>
                    <a:pt x="860564" y="547446"/>
                  </a:lnTo>
                  <a:lnTo>
                    <a:pt x="860615" y="546849"/>
                  </a:lnTo>
                  <a:lnTo>
                    <a:pt x="860666" y="546849"/>
                  </a:lnTo>
                  <a:lnTo>
                    <a:pt x="860666" y="547446"/>
                  </a:lnTo>
                  <a:lnTo>
                    <a:pt x="860767" y="546849"/>
                  </a:lnTo>
                  <a:lnTo>
                    <a:pt x="861110" y="546849"/>
                  </a:lnTo>
                  <a:lnTo>
                    <a:pt x="861110" y="547446"/>
                  </a:lnTo>
                  <a:lnTo>
                    <a:pt x="861161" y="546849"/>
                  </a:lnTo>
                  <a:lnTo>
                    <a:pt x="861263" y="546849"/>
                  </a:lnTo>
                  <a:lnTo>
                    <a:pt x="861263" y="547446"/>
                  </a:lnTo>
                  <a:lnTo>
                    <a:pt x="861313" y="546849"/>
                  </a:lnTo>
                  <a:lnTo>
                    <a:pt x="861466" y="546849"/>
                  </a:lnTo>
                  <a:lnTo>
                    <a:pt x="861504" y="547446"/>
                  </a:lnTo>
                  <a:lnTo>
                    <a:pt x="861555" y="546849"/>
                  </a:lnTo>
                  <a:lnTo>
                    <a:pt x="861707" y="546849"/>
                  </a:lnTo>
                  <a:lnTo>
                    <a:pt x="861707" y="547446"/>
                  </a:lnTo>
                  <a:lnTo>
                    <a:pt x="861758" y="546849"/>
                  </a:lnTo>
                  <a:lnTo>
                    <a:pt x="861758" y="547446"/>
                  </a:lnTo>
                  <a:lnTo>
                    <a:pt x="861809" y="547446"/>
                  </a:lnTo>
                  <a:lnTo>
                    <a:pt x="861910" y="546849"/>
                  </a:lnTo>
                  <a:lnTo>
                    <a:pt x="862012" y="546849"/>
                  </a:lnTo>
                  <a:lnTo>
                    <a:pt x="862012" y="547446"/>
                  </a:lnTo>
                  <a:lnTo>
                    <a:pt x="862050" y="547446"/>
                  </a:lnTo>
                  <a:lnTo>
                    <a:pt x="862050" y="546849"/>
                  </a:lnTo>
                  <a:lnTo>
                    <a:pt x="862152" y="546849"/>
                  </a:lnTo>
                  <a:lnTo>
                    <a:pt x="862203" y="547446"/>
                  </a:lnTo>
                  <a:lnTo>
                    <a:pt x="862457" y="547446"/>
                  </a:lnTo>
                  <a:lnTo>
                    <a:pt x="862457" y="548081"/>
                  </a:lnTo>
                  <a:lnTo>
                    <a:pt x="862901" y="548081"/>
                  </a:lnTo>
                  <a:lnTo>
                    <a:pt x="862901" y="547446"/>
                  </a:lnTo>
                  <a:lnTo>
                    <a:pt x="862952" y="547446"/>
                  </a:lnTo>
                  <a:lnTo>
                    <a:pt x="863053" y="548081"/>
                  </a:lnTo>
                  <a:lnTo>
                    <a:pt x="863193" y="548081"/>
                  </a:lnTo>
                  <a:lnTo>
                    <a:pt x="863193" y="548780"/>
                  </a:lnTo>
                  <a:lnTo>
                    <a:pt x="863396" y="548780"/>
                  </a:lnTo>
                  <a:lnTo>
                    <a:pt x="863396" y="548081"/>
                  </a:lnTo>
                  <a:lnTo>
                    <a:pt x="863498" y="548780"/>
                  </a:lnTo>
                  <a:lnTo>
                    <a:pt x="863599" y="548780"/>
                  </a:lnTo>
                  <a:lnTo>
                    <a:pt x="863638" y="548081"/>
                  </a:lnTo>
                  <a:lnTo>
                    <a:pt x="863739" y="548780"/>
                  </a:lnTo>
                  <a:lnTo>
                    <a:pt x="863790" y="548081"/>
                  </a:lnTo>
                  <a:lnTo>
                    <a:pt x="863790" y="547446"/>
                  </a:lnTo>
                  <a:lnTo>
                    <a:pt x="863841" y="546849"/>
                  </a:lnTo>
                  <a:lnTo>
                    <a:pt x="863841" y="545503"/>
                  </a:lnTo>
                  <a:lnTo>
                    <a:pt x="863993" y="545503"/>
                  </a:lnTo>
                  <a:lnTo>
                    <a:pt x="864044" y="546849"/>
                  </a:lnTo>
                  <a:lnTo>
                    <a:pt x="864095" y="545503"/>
                  </a:lnTo>
                  <a:lnTo>
                    <a:pt x="864095" y="546849"/>
                  </a:lnTo>
                  <a:lnTo>
                    <a:pt x="864234" y="546849"/>
                  </a:lnTo>
                  <a:lnTo>
                    <a:pt x="864285" y="547446"/>
                  </a:lnTo>
                  <a:lnTo>
                    <a:pt x="864336" y="546849"/>
                  </a:lnTo>
                  <a:lnTo>
                    <a:pt x="864336" y="545503"/>
                  </a:lnTo>
                  <a:lnTo>
                    <a:pt x="864438" y="545503"/>
                  </a:lnTo>
                  <a:lnTo>
                    <a:pt x="864438" y="544221"/>
                  </a:lnTo>
                  <a:lnTo>
                    <a:pt x="864488" y="544856"/>
                  </a:lnTo>
                  <a:lnTo>
                    <a:pt x="864539" y="544221"/>
                  </a:lnTo>
                  <a:lnTo>
                    <a:pt x="864641" y="544856"/>
                  </a:lnTo>
                  <a:lnTo>
                    <a:pt x="864679" y="544856"/>
                  </a:lnTo>
                  <a:lnTo>
                    <a:pt x="864730" y="545503"/>
                  </a:lnTo>
                  <a:lnTo>
                    <a:pt x="864781" y="544856"/>
                  </a:lnTo>
                  <a:lnTo>
                    <a:pt x="864933" y="544856"/>
                  </a:lnTo>
                  <a:lnTo>
                    <a:pt x="864933" y="545503"/>
                  </a:lnTo>
                  <a:lnTo>
                    <a:pt x="864984" y="545503"/>
                  </a:lnTo>
                  <a:lnTo>
                    <a:pt x="865085" y="546849"/>
                  </a:lnTo>
                  <a:lnTo>
                    <a:pt x="865632" y="546849"/>
                  </a:lnTo>
                  <a:lnTo>
                    <a:pt x="865682" y="547446"/>
                  </a:lnTo>
                  <a:lnTo>
                    <a:pt x="865822" y="547446"/>
                  </a:lnTo>
                  <a:lnTo>
                    <a:pt x="865822" y="546849"/>
                  </a:lnTo>
                  <a:lnTo>
                    <a:pt x="866076" y="546849"/>
                  </a:lnTo>
                  <a:lnTo>
                    <a:pt x="866127" y="547446"/>
                  </a:lnTo>
                  <a:lnTo>
                    <a:pt x="866267" y="547446"/>
                  </a:lnTo>
                  <a:lnTo>
                    <a:pt x="866267" y="546849"/>
                  </a:lnTo>
                  <a:lnTo>
                    <a:pt x="866317" y="546849"/>
                  </a:lnTo>
                  <a:lnTo>
                    <a:pt x="866368" y="547446"/>
                  </a:lnTo>
                  <a:lnTo>
                    <a:pt x="866521" y="547446"/>
                  </a:lnTo>
                  <a:lnTo>
                    <a:pt x="866521" y="546849"/>
                  </a:lnTo>
                  <a:lnTo>
                    <a:pt x="866724" y="546849"/>
                  </a:lnTo>
                  <a:lnTo>
                    <a:pt x="866724" y="547446"/>
                  </a:lnTo>
                  <a:lnTo>
                    <a:pt x="866813" y="547446"/>
                  </a:lnTo>
                  <a:lnTo>
                    <a:pt x="866914" y="546849"/>
                  </a:lnTo>
                  <a:lnTo>
                    <a:pt x="867168" y="546849"/>
                  </a:lnTo>
                  <a:lnTo>
                    <a:pt x="867219" y="547446"/>
                  </a:lnTo>
                  <a:lnTo>
                    <a:pt x="867219" y="546849"/>
                  </a:lnTo>
                  <a:lnTo>
                    <a:pt x="867714" y="546849"/>
                  </a:lnTo>
                  <a:lnTo>
                    <a:pt x="867714" y="547446"/>
                  </a:lnTo>
                  <a:lnTo>
                    <a:pt x="867956" y="547446"/>
                  </a:lnTo>
                  <a:lnTo>
                    <a:pt x="867956" y="548081"/>
                  </a:lnTo>
                  <a:lnTo>
                    <a:pt x="868108" y="548081"/>
                  </a:lnTo>
                  <a:lnTo>
                    <a:pt x="868159" y="547446"/>
                  </a:lnTo>
                  <a:lnTo>
                    <a:pt x="868362" y="547446"/>
                  </a:lnTo>
                  <a:lnTo>
                    <a:pt x="868362" y="548081"/>
                  </a:lnTo>
                  <a:lnTo>
                    <a:pt x="868553" y="548081"/>
                  </a:lnTo>
                  <a:lnTo>
                    <a:pt x="868603" y="548780"/>
                  </a:lnTo>
                  <a:lnTo>
                    <a:pt x="868705" y="548780"/>
                  </a:lnTo>
                  <a:lnTo>
                    <a:pt x="868756" y="548081"/>
                  </a:lnTo>
                  <a:lnTo>
                    <a:pt x="869251" y="548081"/>
                  </a:lnTo>
                  <a:lnTo>
                    <a:pt x="869302" y="548780"/>
                  </a:lnTo>
                  <a:lnTo>
                    <a:pt x="869645" y="548780"/>
                  </a:lnTo>
                  <a:lnTo>
                    <a:pt x="869696" y="549427"/>
                  </a:lnTo>
                  <a:lnTo>
                    <a:pt x="869746" y="548780"/>
                  </a:lnTo>
                  <a:lnTo>
                    <a:pt x="869848" y="547446"/>
                  </a:lnTo>
                  <a:lnTo>
                    <a:pt x="869848" y="546849"/>
                  </a:lnTo>
                  <a:lnTo>
                    <a:pt x="869899" y="546849"/>
                  </a:lnTo>
                  <a:lnTo>
                    <a:pt x="869899" y="545503"/>
                  </a:lnTo>
                  <a:lnTo>
                    <a:pt x="869949" y="545503"/>
                  </a:lnTo>
                  <a:lnTo>
                    <a:pt x="869988" y="546849"/>
                  </a:lnTo>
                  <a:lnTo>
                    <a:pt x="870089" y="546849"/>
                  </a:lnTo>
                  <a:lnTo>
                    <a:pt x="870140" y="547446"/>
                  </a:lnTo>
                  <a:lnTo>
                    <a:pt x="870343" y="547446"/>
                  </a:lnTo>
                  <a:lnTo>
                    <a:pt x="870394" y="546849"/>
                  </a:lnTo>
                  <a:lnTo>
                    <a:pt x="870445" y="545503"/>
                  </a:lnTo>
                  <a:lnTo>
                    <a:pt x="870584" y="545503"/>
                  </a:lnTo>
                  <a:lnTo>
                    <a:pt x="870635" y="546849"/>
                  </a:lnTo>
                  <a:lnTo>
                    <a:pt x="870686" y="546849"/>
                  </a:lnTo>
                  <a:lnTo>
                    <a:pt x="870788" y="545503"/>
                  </a:lnTo>
                  <a:lnTo>
                    <a:pt x="870838" y="545503"/>
                  </a:lnTo>
                  <a:lnTo>
                    <a:pt x="870889" y="546849"/>
                  </a:lnTo>
                  <a:lnTo>
                    <a:pt x="870991" y="545503"/>
                  </a:lnTo>
                  <a:lnTo>
                    <a:pt x="870991" y="546849"/>
                  </a:lnTo>
                  <a:lnTo>
                    <a:pt x="871080" y="546849"/>
                  </a:lnTo>
                  <a:lnTo>
                    <a:pt x="871080" y="547446"/>
                  </a:lnTo>
                  <a:lnTo>
                    <a:pt x="871131" y="547446"/>
                  </a:lnTo>
                  <a:lnTo>
                    <a:pt x="871131" y="546849"/>
                  </a:lnTo>
                  <a:lnTo>
                    <a:pt x="871232" y="547446"/>
                  </a:lnTo>
                  <a:lnTo>
                    <a:pt x="871575" y="547446"/>
                  </a:lnTo>
                  <a:lnTo>
                    <a:pt x="871677" y="546849"/>
                  </a:lnTo>
                  <a:lnTo>
                    <a:pt x="871931" y="546849"/>
                  </a:lnTo>
                  <a:lnTo>
                    <a:pt x="871931" y="547446"/>
                  </a:lnTo>
                  <a:lnTo>
                    <a:pt x="871982" y="547446"/>
                  </a:lnTo>
                  <a:lnTo>
                    <a:pt x="871982" y="546849"/>
                  </a:lnTo>
                  <a:lnTo>
                    <a:pt x="872032" y="546849"/>
                  </a:lnTo>
                  <a:lnTo>
                    <a:pt x="872121" y="547446"/>
                  </a:lnTo>
                  <a:lnTo>
                    <a:pt x="872375" y="547446"/>
                  </a:lnTo>
                  <a:lnTo>
                    <a:pt x="872375" y="546849"/>
                  </a:lnTo>
                  <a:lnTo>
                    <a:pt x="872426" y="547446"/>
                  </a:lnTo>
                  <a:lnTo>
                    <a:pt x="872617" y="547446"/>
                  </a:lnTo>
                  <a:lnTo>
                    <a:pt x="872617" y="546849"/>
                  </a:lnTo>
                  <a:lnTo>
                    <a:pt x="872921" y="546849"/>
                  </a:lnTo>
                  <a:lnTo>
                    <a:pt x="873023" y="547446"/>
                  </a:lnTo>
                  <a:lnTo>
                    <a:pt x="873023" y="546849"/>
                  </a:lnTo>
                  <a:lnTo>
                    <a:pt x="873074" y="546849"/>
                  </a:lnTo>
                  <a:lnTo>
                    <a:pt x="873124" y="547446"/>
                  </a:lnTo>
                  <a:lnTo>
                    <a:pt x="873163" y="547446"/>
                  </a:lnTo>
                  <a:lnTo>
                    <a:pt x="873264" y="546849"/>
                  </a:lnTo>
                  <a:lnTo>
                    <a:pt x="873264" y="547446"/>
                  </a:lnTo>
                  <a:lnTo>
                    <a:pt x="873366" y="547446"/>
                  </a:lnTo>
                  <a:lnTo>
                    <a:pt x="873467" y="546849"/>
                  </a:lnTo>
                  <a:lnTo>
                    <a:pt x="873467" y="547446"/>
                  </a:lnTo>
                  <a:lnTo>
                    <a:pt x="873518" y="546849"/>
                  </a:lnTo>
                  <a:lnTo>
                    <a:pt x="873620" y="546849"/>
                  </a:lnTo>
                  <a:lnTo>
                    <a:pt x="873709" y="547446"/>
                  </a:lnTo>
                  <a:lnTo>
                    <a:pt x="873810" y="547446"/>
                  </a:lnTo>
                  <a:lnTo>
                    <a:pt x="873810" y="546849"/>
                  </a:lnTo>
                  <a:lnTo>
                    <a:pt x="873861" y="546849"/>
                  </a:lnTo>
                  <a:lnTo>
                    <a:pt x="873861" y="547446"/>
                  </a:lnTo>
                  <a:lnTo>
                    <a:pt x="874166" y="547446"/>
                  </a:lnTo>
                  <a:lnTo>
                    <a:pt x="874204" y="546849"/>
                  </a:lnTo>
                  <a:lnTo>
                    <a:pt x="874255" y="547446"/>
                  </a:lnTo>
                  <a:lnTo>
                    <a:pt x="874407" y="547446"/>
                  </a:lnTo>
                  <a:lnTo>
                    <a:pt x="874458" y="548081"/>
                  </a:lnTo>
                  <a:lnTo>
                    <a:pt x="874509" y="548081"/>
                  </a:lnTo>
                  <a:lnTo>
                    <a:pt x="874610" y="547446"/>
                  </a:lnTo>
                  <a:lnTo>
                    <a:pt x="874712" y="547446"/>
                  </a:lnTo>
                  <a:lnTo>
                    <a:pt x="874750" y="548081"/>
                  </a:lnTo>
                  <a:lnTo>
                    <a:pt x="874903" y="548081"/>
                  </a:lnTo>
                  <a:lnTo>
                    <a:pt x="874953" y="547446"/>
                  </a:lnTo>
                  <a:lnTo>
                    <a:pt x="875157" y="547446"/>
                  </a:lnTo>
                  <a:lnTo>
                    <a:pt x="875207" y="548081"/>
                  </a:lnTo>
                  <a:lnTo>
                    <a:pt x="875296" y="548081"/>
                  </a:lnTo>
                  <a:lnTo>
                    <a:pt x="875296" y="548780"/>
                  </a:lnTo>
                  <a:lnTo>
                    <a:pt x="875347" y="548780"/>
                  </a:lnTo>
                  <a:lnTo>
                    <a:pt x="875347" y="548081"/>
                  </a:lnTo>
                  <a:lnTo>
                    <a:pt x="875601" y="548081"/>
                  </a:lnTo>
                  <a:lnTo>
                    <a:pt x="875652" y="547446"/>
                  </a:lnTo>
                  <a:lnTo>
                    <a:pt x="875652" y="546849"/>
                  </a:lnTo>
                  <a:lnTo>
                    <a:pt x="875753" y="545503"/>
                  </a:lnTo>
                  <a:lnTo>
                    <a:pt x="875893" y="545503"/>
                  </a:lnTo>
                  <a:lnTo>
                    <a:pt x="875893" y="544856"/>
                  </a:lnTo>
                  <a:lnTo>
                    <a:pt x="875995" y="544856"/>
                  </a:lnTo>
                  <a:lnTo>
                    <a:pt x="875995" y="545503"/>
                  </a:lnTo>
                  <a:lnTo>
                    <a:pt x="876046" y="544856"/>
                  </a:lnTo>
                  <a:lnTo>
                    <a:pt x="876046" y="545503"/>
                  </a:lnTo>
                  <a:lnTo>
                    <a:pt x="876096" y="545503"/>
                  </a:lnTo>
                  <a:lnTo>
                    <a:pt x="876198" y="546849"/>
                  </a:lnTo>
                  <a:lnTo>
                    <a:pt x="876299" y="546849"/>
                  </a:lnTo>
                  <a:lnTo>
                    <a:pt x="876299" y="545503"/>
                  </a:lnTo>
                  <a:lnTo>
                    <a:pt x="876338" y="545503"/>
                  </a:lnTo>
                  <a:lnTo>
                    <a:pt x="876439" y="544856"/>
                  </a:lnTo>
                  <a:lnTo>
                    <a:pt x="876541" y="544856"/>
                  </a:lnTo>
                  <a:lnTo>
                    <a:pt x="876642" y="545503"/>
                  </a:lnTo>
                  <a:lnTo>
                    <a:pt x="876642" y="544856"/>
                  </a:lnTo>
                  <a:lnTo>
                    <a:pt x="876795" y="544856"/>
                  </a:lnTo>
                  <a:lnTo>
                    <a:pt x="876884" y="545503"/>
                  </a:lnTo>
                  <a:lnTo>
                    <a:pt x="876985" y="545503"/>
                  </a:lnTo>
                  <a:lnTo>
                    <a:pt x="877036" y="546849"/>
                  </a:lnTo>
                  <a:lnTo>
                    <a:pt x="877188" y="546849"/>
                  </a:lnTo>
                  <a:lnTo>
                    <a:pt x="877188" y="545503"/>
                  </a:lnTo>
                  <a:lnTo>
                    <a:pt x="877341" y="545503"/>
                  </a:lnTo>
                  <a:lnTo>
                    <a:pt x="877379" y="546849"/>
                  </a:lnTo>
                  <a:lnTo>
                    <a:pt x="877430" y="547446"/>
                  </a:lnTo>
                  <a:lnTo>
                    <a:pt x="877430" y="546849"/>
                  </a:lnTo>
                  <a:lnTo>
                    <a:pt x="877785" y="546849"/>
                  </a:lnTo>
                  <a:lnTo>
                    <a:pt x="877785" y="545503"/>
                  </a:lnTo>
                  <a:lnTo>
                    <a:pt x="878281" y="545503"/>
                  </a:lnTo>
                  <a:lnTo>
                    <a:pt x="878281" y="546849"/>
                  </a:lnTo>
                  <a:lnTo>
                    <a:pt x="878471" y="546849"/>
                  </a:lnTo>
                  <a:lnTo>
                    <a:pt x="878522" y="545503"/>
                  </a:lnTo>
                  <a:lnTo>
                    <a:pt x="878573" y="545503"/>
                  </a:lnTo>
                  <a:lnTo>
                    <a:pt x="878624" y="544856"/>
                  </a:lnTo>
                  <a:lnTo>
                    <a:pt x="878725" y="545503"/>
                  </a:lnTo>
                  <a:lnTo>
                    <a:pt x="878928" y="545503"/>
                  </a:lnTo>
                  <a:lnTo>
                    <a:pt x="878928" y="546849"/>
                  </a:lnTo>
                  <a:lnTo>
                    <a:pt x="878967" y="545503"/>
                  </a:lnTo>
                  <a:lnTo>
                    <a:pt x="879017" y="546849"/>
                  </a:lnTo>
                  <a:lnTo>
                    <a:pt x="879017" y="545503"/>
                  </a:lnTo>
                  <a:lnTo>
                    <a:pt x="879068" y="546849"/>
                  </a:lnTo>
                  <a:lnTo>
                    <a:pt x="879170" y="545503"/>
                  </a:lnTo>
                  <a:lnTo>
                    <a:pt x="879665" y="545503"/>
                  </a:lnTo>
                  <a:lnTo>
                    <a:pt x="879665" y="544856"/>
                  </a:lnTo>
                  <a:lnTo>
                    <a:pt x="879716" y="545503"/>
                  </a:lnTo>
                  <a:lnTo>
                    <a:pt x="879817" y="545503"/>
                  </a:lnTo>
                  <a:lnTo>
                    <a:pt x="879868" y="546849"/>
                  </a:lnTo>
                  <a:lnTo>
                    <a:pt x="879970" y="546849"/>
                  </a:lnTo>
                  <a:lnTo>
                    <a:pt x="880059" y="547446"/>
                  </a:lnTo>
                  <a:lnTo>
                    <a:pt x="880109" y="547446"/>
                  </a:lnTo>
                  <a:lnTo>
                    <a:pt x="880160" y="546849"/>
                  </a:lnTo>
                  <a:lnTo>
                    <a:pt x="880211" y="546849"/>
                  </a:lnTo>
                  <a:lnTo>
                    <a:pt x="880313" y="547446"/>
                  </a:lnTo>
                  <a:lnTo>
                    <a:pt x="880554" y="547446"/>
                  </a:lnTo>
                  <a:lnTo>
                    <a:pt x="880605" y="548081"/>
                  </a:lnTo>
                  <a:lnTo>
                    <a:pt x="880656" y="548081"/>
                  </a:lnTo>
                  <a:lnTo>
                    <a:pt x="880656" y="547446"/>
                  </a:lnTo>
                  <a:lnTo>
                    <a:pt x="881100" y="547446"/>
                  </a:lnTo>
                  <a:lnTo>
                    <a:pt x="881202" y="548081"/>
                  </a:lnTo>
                  <a:lnTo>
                    <a:pt x="881405" y="548081"/>
                  </a:lnTo>
                  <a:lnTo>
                    <a:pt x="881456" y="547446"/>
                  </a:lnTo>
                  <a:lnTo>
                    <a:pt x="881456" y="546849"/>
                  </a:lnTo>
                  <a:lnTo>
                    <a:pt x="881507" y="545503"/>
                  </a:lnTo>
                  <a:lnTo>
                    <a:pt x="881557" y="544856"/>
                  </a:lnTo>
                  <a:lnTo>
                    <a:pt x="881646" y="545503"/>
                  </a:lnTo>
                  <a:lnTo>
                    <a:pt x="881697" y="545503"/>
                  </a:lnTo>
                  <a:lnTo>
                    <a:pt x="881748" y="544856"/>
                  </a:lnTo>
                  <a:lnTo>
                    <a:pt x="881799" y="545503"/>
                  </a:lnTo>
                  <a:lnTo>
                    <a:pt x="881799" y="544856"/>
                  </a:lnTo>
                  <a:lnTo>
                    <a:pt x="881900" y="544856"/>
                  </a:lnTo>
                  <a:lnTo>
                    <a:pt x="881951" y="545503"/>
                  </a:lnTo>
                  <a:lnTo>
                    <a:pt x="882002" y="545503"/>
                  </a:lnTo>
                  <a:lnTo>
                    <a:pt x="882002" y="546849"/>
                  </a:lnTo>
                  <a:lnTo>
                    <a:pt x="882103" y="546849"/>
                  </a:lnTo>
                  <a:lnTo>
                    <a:pt x="882103" y="545503"/>
                  </a:lnTo>
                  <a:lnTo>
                    <a:pt x="882142" y="544856"/>
                  </a:lnTo>
                  <a:lnTo>
                    <a:pt x="882192" y="544856"/>
                  </a:lnTo>
                  <a:lnTo>
                    <a:pt x="882192" y="544221"/>
                  </a:lnTo>
                  <a:lnTo>
                    <a:pt x="882243" y="544221"/>
                  </a:lnTo>
                  <a:lnTo>
                    <a:pt x="882243" y="544856"/>
                  </a:lnTo>
                  <a:lnTo>
                    <a:pt x="882345" y="544856"/>
                  </a:lnTo>
                  <a:lnTo>
                    <a:pt x="882396" y="545503"/>
                  </a:lnTo>
                  <a:lnTo>
                    <a:pt x="882396" y="544856"/>
                  </a:lnTo>
                  <a:lnTo>
                    <a:pt x="882548" y="544856"/>
                  </a:lnTo>
                  <a:lnTo>
                    <a:pt x="882548" y="544221"/>
                  </a:lnTo>
                  <a:lnTo>
                    <a:pt x="882649" y="544221"/>
                  </a:lnTo>
                  <a:lnTo>
                    <a:pt x="882649" y="544856"/>
                  </a:lnTo>
                  <a:lnTo>
                    <a:pt x="882688" y="544856"/>
                  </a:lnTo>
                  <a:lnTo>
                    <a:pt x="882789" y="545503"/>
                  </a:lnTo>
                  <a:lnTo>
                    <a:pt x="883043" y="545503"/>
                  </a:lnTo>
                  <a:lnTo>
                    <a:pt x="883094" y="546849"/>
                  </a:lnTo>
                  <a:lnTo>
                    <a:pt x="883780" y="546849"/>
                  </a:lnTo>
                  <a:lnTo>
                    <a:pt x="883780" y="545503"/>
                  </a:lnTo>
                  <a:lnTo>
                    <a:pt x="883831" y="544856"/>
                  </a:lnTo>
                  <a:lnTo>
                    <a:pt x="883932" y="544856"/>
                  </a:lnTo>
                  <a:lnTo>
                    <a:pt x="883983" y="545503"/>
                  </a:lnTo>
                  <a:lnTo>
                    <a:pt x="884034" y="545503"/>
                  </a:lnTo>
                  <a:lnTo>
                    <a:pt x="884135" y="546849"/>
                  </a:lnTo>
                  <a:lnTo>
                    <a:pt x="884275" y="546849"/>
                  </a:lnTo>
                  <a:lnTo>
                    <a:pt x="884377" y="545503"/>
                  </a:lnTo>
                  <a:lnTo>
                    <a:pt x="885075" y="545503"/>
                  </a:lnTo>
                  <a:lnTo>
                    <a:pt x="885075" y="546849"/>
                  </a:lnTo>
                  <a:lnTo>
                    <a:pt x="885126" y="545503"/>
                  </a:lnTo>
                  <a:lnTo>
                    <a:pt x="885177" y="546849"/>
                  </a:lnTo>
                  <a:lnTo>
                    <a:pt x="885278" y="545503"/>
                  </a:lnTo>
                  <a:lnTo>
                    <a:pt x="885723" y="545503"/>
                  </a:lnTo>
                  <a:lnTo>
                    <a:pt x="885723" y="546849"/>
                  </a:lnTo>
                  <a:lnTo>
                    <a:pt x="886218" y="546849"/>
                  </a:lnTo>
                  <a:lnTo>
                    <a:pt x="886269" y="547446"/>
                  </a:lnTo>
                  <a:lnTo>
                    <a:pt x="886459" y="547446"/>
                  </a:lnTo>
                  <a:lnTo>
                    <a:pt x="886510" y="546849"/>
                  </a:lnTo>
                  <a:lnTo>
                    <a:pt x="886561" y="547446"/>
                  </a:lnTo>
                  <a:lnTo>
                    <a:pt x="887107" y="547446"/>
                  </a:lnTo>
                  <a:lnTo>
                    <a:pt x="887107" y="548081"/>
                  </a:lnTo>
                  <a:lnTo>
                    <a:pt x="887310" y="548081"/>
                  </a:lnTo>
                  <a:lnTo>
                    <a:pt x="887310" y="547446"/>
                  </a:lnTo>
                  <a:lnTo>
                    <a:pt x="887361" y="545503"/>
                  </a:lnTo>
                  <a:lnTo>
                    <a:pt x="887412" y="545503"/>
                  </a:lnTo>
                  <a:lnTo>
                    <a:pt x="887412" y="544856"/>
                  </a:lnTo>
                  <a:lnTo>
                    <a:pt x="887450" y="545503"/>
                  </a:lnTo>
                  <a:lnTo>
                    <a:pt x="887603" y="545503"/>
                  </a:lnTo>
                  <a:lnTo>
                    <a:pt x="887653" y="544856"/>
                  </a:lnTo>
                  <a:lnTo>
                    <a:pt x="887755" y="544856"/>
                  </a:lnTo>
                  <a:lnTo>
                    <a:pt x="887755" y="545503"/>
                  </a:lnTo>
                  <a:lnTo>
                    <a:pt x="887857" y="545503"/>
                  </a:lnTo>
                  <a:lnTo>
                    <a:pt x="887907" y="544856"/>
                  </a:lnTo>
                  <a:lnTo>
                    <a:pt x="887996" y="544856"/>
                  </a:lnTo>
                  <a:lnTo>
                    <a:pt x="887996" y="544221"/>
                  </a:lnTo>
                  <a:lnTo>
                    <a:pt x="888047" y="543573"/>
                  </a:lnTo>
                  <a:lnTo>
                    <a:pt x="888149" y="543573"/>
                  </a:lnTo>
                  <a:lnTo>
                    <a:pt x="888149" y="544221"/>
                  </a:lnTo>
                  <a:lnTo>
                    <a:pt x="888250" y="544221"/>
                  </a:lnTo>
                  <a:lnTo>
                    <a:pt x="888301" y="544856"/>
                  </a:lnTo>
                  <a:lnTo>
                    <a:pt x="888593" y="544856"/>
                  </a:lnTo>
                  <a:lnTo>
                    <a:pt x="888593" y="545503"/>
                  </a:lnTo>
                  <a:lnTo>
                    <a:pt x="888796" y="545503"/>
                  </a:lnTo>
                  <a:lnTo>
                    <a:pt x="888796" y="546849"/>
                  </a:lnTo>
                  <a:lnTo>
                    <a:pt x="888949" y="546849"/>
                  </a:lnTo>
                  <a:lnTo>
                    <a:pt x="888949" y="545503"/>
                  </a:lnTo>
                  <a:lnTo>
                    <a:pt x="889139" y="545503"/>
                  </a:lnTo>
                  <a:lnTo>
                    <a:pt x="889190" y="546849"/>
                  </a:lnTo>
                  <a:lnTo>
                    <a:pt x="889342" y="546849"/>
                  </a:lnTo>
                  <a:lnTo>
                    <a:pt x="889342" y="545503"/>
                  </a:lnTo>
                  <a:lnTo>
                    <a:pt x="889393" y="546849"/>
                  </a:lnTo>
                  <a:lnTo>
                    <a:pt x="889393" y="545503"/>
                  </a:lnTo>
                  <a:lnTo>
                    <a:pt x="889495" y="545503"/>
                  </a:lnTo>
                  <a:lnTo>
                    <a:pt x="889584" y="544856"/>
                  </a:lnTo>
                  <a:lnTo>
                    <a:pt x="889685" y="544856"/>
                  </a:lnTo>
                  <a:lnTo>
                    <a:pt x="889685" y="545503"/>
                  </a:lnTo>
                  <a:lnTo>
                    <a:pt x="889838" y="545503"/>
                  </a:lnTo>
                  <a:lnTo>
                    <a:pt x="889888" y="544856"/>
                  </a:lnTo>
                  <a:lnTo>
                    <a:pt x="889888" y="545503"/>
                  </a:lnTo>
                  <a:lnTo>
                    <a:pt x="889939" y="545503"/>
                  </a:lnTo>
                  <a:lnTo>
                    <a:pt x="890041" y="546849"/>
                  </a:lnTo>
                  <a:lnTo>
                    <a:pt x="890041" y="545503"/>
                  </a:lnTo>
                  <a:lnTo>
                    <a:pt x="890181" y="545503"/>
                  </a:lnTo>
                  <a:lnTo>
                    <a:pt x="890282" y="546849"/>
                  </a:lnTo>
                  <a:lnTo>
                    <a:pt x="890384" y="546849"/>
                  </a:lnTo>
                  <a:lnTo>
                    <a:pt x="890485" y="545503"/>
                  </a:lnTo>
                  <a:lnTo>
                    <a:pt x="890536" y="545503"/>
                  </a:lnTo>
                  <a:lnTo>
                    <a:pt x="890587" y="544856"/>
                  </a:lnTo>
                  <a:lnTo>
                    <a:pt x="890727" y="544856"/>
                  </a:lnTo>
                  <a:lnTo>
                    <a:pt x="890778" y="545503"/>
                  </a:lnTo>
                  <a:lnTo>
                    <a:pt x="890778" y="544856"/>
                  </a:lnTo>
                  <a:lnTo>
                    <a:pt x="890828" y="545503"/>
                  </a:lnTo>
                  <a:lnTo>
                    <a:pt x="891032" y="545503"/>
                  </a:lnTo>
                  <a:lnTo>
                    <a:pt x="891082" y="546849"/>
                  </a:lnTo>
                  <a:lnTo>
                    <a:pt x="891082" y="545503"/>
                  </a:lnTo>
                  <a:lnTo>
                    <a:pt x="891476" y="545503"/>
                  </a:lnTo>
                  <a:lnTo>
                    <a:pt x="891476" y="546849"/>
                  </a:lnTo>
                  <a:lnTo>
                    <a:pt x="891527" y="546849"/>
                  </a:lnTo>
                  <a:lnTo>
                    <a:pt x="891628" y="545503"/>
                  </a:lnTo>
                  <a:lnTo>
                    <a:pt x="891717" y="545503"/>
                  </a:lnTo>
                  <a:lnTo>
                    <a:pt x="891768" y="546849"/>
                  </a:lnTo>
                  <a:lnTo>
                    <a:pt x="891971" y="546849"/>
                  </a:lnTo>
                  <a:lnTo>
                    <a:pt x="891971" y="547446"/>
                  </a:lnTo>
                  <a:lnTo>
                    <a:pt x="892073" y="547446"/>
                  </a:lnTo>
                  <a:lnTo>
                    <a:pt x="892124" y="546849"/>
                  </a:lnTo>
                  <a:lnTo>
                    <a:pt x="892314" y="546849"/>
                  </a:lnTo>
                  <a:lnTo>
                    <a:pt x="892365" y="547446"/>
                  </a:lnTo>
                  <a:lnTo>
                    <a:pt x="892809" y="547446"/>
                  </a:lnTo>
                  <a:lnTo>
                    <a:pt x="892860" y="548081"/>
                  </a:lnTo>
                  <a:lnTo>
                    <a:pt x="892860" y="547446"/>
                  </a:lnTo>
                  <a:lnTo>
                    <a:pt x="893013" y="547446"/>
                  </a:lnTo>
                  <a:lnTo>
                    <a:pt x="893063" y="548081"/>
                  </a:lnTo>
                  <a:lnTo>
                    <a:pt x="893114" y="548081"/>
                  </a:lnTo>
                  <a:lnTo>
                    <a:pt x="893216" y="547446"/>
                  </a:lnTo>
                  <a:lnTo>
                    <a:pt x="893254" y="546849"/>
                  </a:lnTo>
                  <a:lnTo>
                    <a:pt x="893305" y="545503"/>
                  </a:lnTo>
                  <a:lnTo>
                    <a:pt x="893559" y="545503"/>
                  </a:lnTo>
                  <a:lnTo>
                    <a:pt x="893559" y="544856"/>
                  </a:lnTo>
                  <a:lnTo>
                    <a:pt x="893660" y="544856"/>
                  </a:lnTo>
                  <a:lnTo>
                    <a:pt x="893660" y="545503"/>
                  </a:lnTo>
                  <a:lnTo>
                    <a:pt x="893711" y="545503"/>
                  </a:lnTo>
                  <a:lnTo>
                    <a:pt x="893762" y="546849"/>
                  </a:lnTo>
                  <a:lnTo>
                    <a:pt x="893800" y="545503"/>
                  </a:lnTo>
                  <a:lnTo>
                    <a:pt x="893800" y="544856"/>
                  </a:lnTo>
                  <a:lnTo>
                    <a:pt x="893902" y="544856"/>
                  </a:lnTo>
                  <a:lnTo>
                    <a:pt x="893953" y="544221"/>
                  </a:lnTo>
                  <a:lnTo>
                    <a:pt x="893953" y="544856"/>
                  </a:lnTo>
                  <a:lnTo>
                    <a:pt x="894003" y="544221"/>
                  </a:lnTo>
                  <a:lnTo>
                    <a:pt x="894257" y="544221"/>
                  </a:lnTo>
                  <a:lnTo>
                    <a:pt x="894346" y="544856"/>
                  </a:lnTo>
                  <a:lnTo>
                    <a:pt x="894499" y="544856"/>
                  </a:lnTo>
                  <a:lnTo>
                    <a:pt x="894499" y="545503"/>
                  </a:lnTo>
                  <a:lnTo>
                    <a:pt x="895096" y="545503"/>
                  </a:lnTo>
                  <a:lnTo>
                    <a:pt x="895146" y="546849"/>
                  </a:lnTo>
                  <a:lnTo>
                    <a:pt x="895299" y="546849"/>
                  </a:lnTo>
                  <a:lnTo>
                    <a:pt x="895349" y="545503"/>
                  </a:lnTo>
                  <a:lnTo>
                    <a:pt x="895692" y="545503"/>
                  </a:lnTo>
                  <a:lnTo>
                    <a:pt x="895692" y="544856"/>
                  </a:lnTo>
                  <a:lnTo>
                    <a:pt x="895743" y="544856"/>
                  </a:lnTo>
                  <a:lnTo>
                    <a:pt x="895743" y="545503"/>
                  </a:lnTo>
                  <a:lnTo>
                    <a:pt x="895845" y="545503"/>
                  </a:lnTo>
                  <a:lnTo>
                    <a:pt x="895934" y="546849"/>
                  </a:lnTo>
                  <a:lnTo>
                    <a:pt x="895934" y="545503"/>
                  </a:lnTo>
                  <a:lnTo>
                    <a:pt x="895984" y="546849"/>
                  </a:lnTo>
                  <a:lnTo>
                    <a:pt x="896035" y="545503"/>
                  </a:lnTo>
                  <a:lnTo>
                    <a:pt x="896035" y="546849"/>
                  </a:lnTo>
                  <a:lnTo>
                    <a:pt x="896086" y="545503"/>
                  </a:lnTo>
                  <a:lnTo>
                    <a:pt x="896391" y="545503"/>
                  </a:lnTo>
                  <a:lnTo>
                    <a:pt x="896391" y="544856"/>
                  </a:lnTo>
                  <a:lnTo>
                    <a:pt x="896480" y="544856"/>
                  </a:lnTo>
                  <a:lnTo>
                    <a:pt x="896480" y="545503"/>
                  </a:lnTo>
                  <a:lnTo>
                    <a:pt x="896937" y="545503"/>
                  </a:lnTo>
                  <a:lnTo>
                    <a:pt x="896937" y="544856"/>
                  </a:lnTo>
                  <a:lnTo>
                    <a:pt x="896975" y="545503"/>
                  </a:lnTo>
                  <a:lnTo>
                    <a:pt x="897432" y="545503"/>
                  </a:lnTo>
                  <a:lnTo>
                    <a:pt x="897521" y="546849"/>
                  </a:lnTo>
                  <a:lnTo>
                    <a:pt x="897674" y="546849"/>
                  </a:lnTo>
                  <a:lnTo>
                    <a:pt x="897674" y="547446"/>
                  </a:lnTo>
                  <a:lnTo>
                    <a:pt x="897775" y="547446"/>
                  </a:lnTo>
                  <a:lnTo>
                    <a:pt x="897775" y="546849"/>
                  </a:lnTo>
                  <a:lnTo>
                    <a:pt x="898118" y="546849"/>
                  </a:lnTo>
                  <a:lnTo>
                    <a:pt x="898118" y="547446"/>
                  </a:lnTo>
                  <a:lnTo>
                    <a:pt x="898423" y="547446"/>
                  </a:lnTo>
                  <a:lnTo>
                    <a:pt x="898474" y="546849"/>
                  </a:lnTo>
                  <a:lnTo>
                    <a:pt x="898664" y="546849"/>
                  </a:lnTo>
                  <a:lnTo>
                    <a:pt x="898715" y="547446"/>
                  </a:lnTo>
                  <a:lnTo>
                    <a:pt x="898766" y="547446"/>
                  </a:lnTo>
                  <a:lnTo>
                    <a:pt x="898766" y="548081"/>
                  </a:lnTo>
                  <a:lnTo>
                    <a:pt x="898969" y="548081"/>
                  </a:lnTo>
                  <a:lnTo>
                    <a:pt x="898969" y="548780"/>
                  </a:lnTo>
                  <a:lnTo>
                    <a:pt x="899020" y="548780"/>
                  </a:lnTo>
                  <a:lnTo>
                    <a:pt x="899020" y="548081"/>
                  </a:lnTo>
                  <a:lnTo>
                    <a:pt x="899109" y="547446"/>
                  </a:lnTo>
                  <a:lnTo>
                    <a:pt x="899109" y="546849"/>
                  </a:lnTo>
                  <a:lnTo>
                    <a:pt x="899159" y="545503"/>
                  </a:lnTo>
                  <a:lnTo>
                    <a:pt x="899210" y="544856"/>
                  </a:lnTo>
                  <a:lnTo>
                    <a:pt x="899261" y="544856"/>
                  </a:lnTo>
                  <a:lnTo>
                    <a:pt x="899261" y="545503"/>
                  </a:lnTo>
                  <a:lnTo>
                    <a:pt x="899363" y="545503"/>
                  </a:lnTo>
                  <a:lnTo>
                    <a:pt x="899363" y="546849"/>
                  </a:lnTo>
                  <a:lnTo>
                    <a:pt x="899413" y="545503"/>
                  </a:lnTo>
                  <a:lnTo>
                    <a:pt x="899464" y="546849"/>
                  </a:lnTo>
                  <a:lnTo>
                    <a:pt x="899604" y="546849"/>
                  </a:lnTo>
                  <a:lnTo>
                    <a:pt x="899604" y="547446"/>
                  </a:lnTo>
                  <a:lnTo>
                    <a:pt x="899655" y="547446"/>
                  </a:lnTo>
                  <a:lnTo>
                    <a:pt x="899655" y="548081"/>
                  </a:lnTo>
                  <a:lnTo>
                    <a:pt x="899706" y="548081"/>
                  </a:lnTo>
                  <a:lnTo>
                    <a:pt x="899706" y="546849"/>
                  </a:lnTo>
                  <a:lnTo>
                    <a:pt x="899807" y="545503"/>
                  </a:lnTo>
                  <a:lnTo>
                    <a:pt x="899858" y="544221"/>
                  </a:lnTo>
                  <a:lnTo>
                    <a:pt x="899858" y="543573"/>
                  </a:lnTo>
                  <a:lnTo>
                    <a:pt x="899909" y="542227"/>
                  </a:lnTo>
                  <a:lnTo>
                    <a:pt x="900010" y="542227"/>
                  </a:lnTo>
                  <a:lnTo>
                    <a:pt x="900010" y="543573"/>
                  </a:lnTo>
                  <a:lnTo>
                    <a:pt x="900061" y="543573"/>
                  </a:lnTo>
                  <a:lnTo>
                    <a:pt x="900061" y="544221"/>
                  </a:lnTo>
                  <a:lnTo>
                    <a:pt x="900112" y="544856"/>
                  </a:lnTo>
                  <a:lnTo>
                    <a:pt x="900150" y="544856"/>
                  </a:lnTo>
                  <a:lnTo>
                    <a:pt x="900252" y="544221"/>
                  </a:lnTo>
                  <a:lnTo>
                    <a:pt x="900303" y="544221"/>
                  </a:lnTo>
                  <a:lnTo>
                    <a:pt x="900353" y="544856"/>
                  </a:lnTo>
                  <a:lnTo>
                    <a:pt x="900455" y="544856"/>
                  </a:lnTo>
                  <a:lnTo>
                    <a:pt x="900506" y="545503"/>
                  </a:lnTo>
                  <a:lnTo>
                    <a:pt x="900506" y="544856"/>
                  </a:lnTo>
                  <a:lnTo>
                    <a:pt x="900798" y="544856"/>
                  </a:lnTo>
                  <a:lnTo>
                    <a:pt x="900849" y="545503"/>
                  </a:lnTo>
                  <a:lnTo>
                    <a:pt x="901052" y="545503"/>
                  </a:lnTo>
                  <a:lnTo>
                    <a:pt x="901153" y="546849"/>
                  </a:lnTo>
                  <a:lnTo>
                    <a:pt x="901192" y="546849"/>
                  </a:lnTo>
                  <a:lnTo>
                    <a:pt x="901242" y="545503"/>
                  </a:lnTo>
                  <a:lnTo>
                    <a:pt x="901293" y="544856"/>
                  </a:lnTo>
                  <a:lnTo>
                    <a:pt x="901446" y="544856"/>
                  </a:lnTo>
                  <a:lnTo>
                    <a:pt x="901446" y="545503"/>
                  </a:lnTo>
                  <a:lnTo>
                    <a:pt x="901496" y="545503"/>
                  </a:lnTo>
                  <a:lnTo>
                    <a:pt x="901598" y="544856"/>
                  </a:lnTo>
                  <a:lnTo>
                    <a:pt x="901699" y="544856"/>
                  </a:lnTo>
                  <a:lnTo>
                    <a:pt x="901699" y="545503"/>
                  </a:lnTo>
                  <a:lnTo>
                    <a:pt x="901839" y="545503"/>
                  </a:lnTo>
                  <a:lnTo>
                    <a:pt x="901839" y="544856"/>
                  </a:lnTo>
                  <a:lnTo>
                    <a:pt x="901941" y="544856"/>
                  </a:lnTo>
                  <a:lnTo>
                    <a:pt x="901941" y="545503"/>
                  </a:lnTo>
                  <a:lnTo>
                    <a:pt x="902042" y="545503"/>
                  </a:lnTo>
                  <a:lnTo>
                    <a:pt x="902093" y="544856"/>
                  </a:lnTo>
                  <a:lnTo>
                    <a:pt x="902144" y="545503"/>
                  </a:lnTo>
                  <a:lnTo>
                    <a:pt x="902195" y="544856"/>
                  </a:lnTo>
                  <a:lnTo>
                    <a:pt x="902334" y="544856"/>
                  </a:lnTo>
                  <a:lnTo>
                    <a:pt x="902334" y="545503"/>
                  </a:lnTo>
                  <a:lnTo>
                    <a:pt x="902588" y="545503"/>
                  </a:lnTo>
                  <a:lnTo>
                    <a:pt x="902639" y="544856"/>
                  </a:lnTo>
                  <a:lnTo>
                    <a:pt x="902741" y="544856"/>
                  </a:lnTo>
                  <a:lnTo>
                    <a:pt x="902779" y="545503"/>
                  </a:lnTo>
                  <a:lnTo>
                    <a:pt x="902982" y="545503"/>
                  </a:lnTo>
                  <a:lnTo>
                    <a:pt x="902982" y="544856"/>
                  </a:lnTo>
                  <a:lnTo>
                    <a:pt x="903287" y="544856"/>
                  </a:lnTo>
                  <a:lnTo>
                    <a:pt x="903287" y="545503"/>
                  </a:lnTo>
                  <a:lnTo>
                    <a:pt x="903681" y="545503"/>
                  </a:lnTo>
                  <a:lnTo>
                    <a:pt x="903681" y="544856"/>
                  </a:lnTo>
                  <a:lnTo>
                    <a:pt x="903782" y="544856"/>
                  </a:lnTo>
                  <a:lnTo>
                    <a:pt x="903782" y="545503"/>
                  </a:lnTo>
                  <a:lnTo>
                    <a:pt x="903922" y="545503"/>
                  </a:lnTo>
                  <a:lnTo>
                    <a:pt x="903922" y="546849"/>
                  </a:lnTo>
                  <a:lnTo>
                    <a:pt x="904125" y="546849"/>
                  </a:lnTo>
                  <a:lnTo>
                    <a:pt x="904125" y="547446"/>
                  </a:lnTo>
                  <a:lnTo>
                    <a:pt x="904176" y="547446"/>
                  </a:lnTo>
                  <a:lnTo>
                    <a:pt x="904176" y="546849"/>
                  </a:lnTo>
                  <a:lnTo>
                    <a:pt x="904328" y="546849"/>
                  </a:lnTo>
                  <a:lnTo>
                    <a:pt x="904328" y="547446"/>
                  </a:lnTo>
                  <a:lnTo>
                    <a:pt x="904367" y="546849"/>
                  </a:lnTo>
                  <a:lnTo>
                    <a:pt x="904570" y="546849"/>
                  </a:lnTo>
                  <a:lnTo>
                    <a:pt x="904621" y="547446"/>
                  </a:lnTo>
                  <a:lnTo>
                    <a:pt x="904874" y="547446"/>
                  </a:lnTo>
                  <a:lnTo>
                    <a:pt x="904913" y="546849"/>
                  </a:lnTo>
                  <a:lnTo>
                    <a:pt x="905014" y="545503"/>
                  </a:lnTo>
                  <a:lnTo>
                    <a:pt x="905014" y="544856"/>
                  </a:lnTo>
                  <a:lnTo>
                    <a:pt x="905065" y="544856"/>
                  </a:lnTo>
                  <a:lnTo>
                    <a:pt x="905065" y="544221"/>
                  </a:lnTo>
                  <a:lnTo>
                    <a:pt x="905268" y="544221"/>
                  </a:lnTo>
                  <a:lnTo>
                    <a:pt x="905370" y="545503"/>
                  </a:lnTo>
                  <a:lnTo>
                    <a:pt x="905459" y="544856"/>
                  </a:lnTo>
                  <a:lnTo>
                    <a:pt x="905509" y="544856"/>
                  </a:lnTo>
                  <a:lnTo>
                    <a:pt x="905560" y="544221"/>
                  </a:lnTo>
                  <a:lnTo>
                    <a:pt x="905611" y="544221"/>
                  </a:lnTo>
                  <a:lnTo>
                    <a:pt x="905713" y="543573"/>
                  </a:lnTo>
                  <a:lnTo>
                    <a:pt x="905954" y="543573"/>
                  </a:lnTo>
                  <a:lnTo>
                    <a:pt x="905954" y="544221"/>
                  </a:lnTo>
                  <a:lnTo>
                    <a:pt x="906005" y="544856"/>
                  </a:lnTo>
                  <a:lnTo>
                    <a:pt x="906360" y="544856"/>
                  </a:lnTo>
                  <a:lnTo>
                    <a:pt x="906360" y="545503"/>
                  </a:lnTo>
                  <a:lnTo>
                    <a:pt x="906411" y="545503"/>
                  </a:lnTo>
                  <a:lnTo>
                    <a:pt x="906411" y="544856"/>
                  </a:lnTo>
                  <a:lnTo>
                    <a:pt x="906602" y="544856"/>
                  </a:lnTo>
                  <a:lnTo>
                    <a:pt x="906653" y="545503"/>
                  </a:lnTo>
                  <a:lnTo>
                    <a:pt x="907046" y="545503"/>
                  </a:lnTo>
                  <a:lnTo>
                    <a:pt x="907046" y="546849"/>
                  </a:lnTo>
                  <a:lnTo>
                    <a:pt x="907097" y="545503"/>
                  </a:lnTo>
                  <a:lnTo>
                    <a:pt x="907148" y="545503"/>
                  </a:lnTo>
                  <a:lnTo>
                    <a:pt x="907148" y="544856"/>
                  </a:lnTo>
                  <a:lnTo>
                    <a:pt x="907199" y="544221"/>
                  </a:lnTo>
                  <a:lnTo>
                    <a:pt x="907199" y="544856"/>
                  </a:lnTo>
                  <a:lnTo>
                    <a:pt x="907351" y="544856"/>
                  </a:lnTo>
                  <a:lnTo>
                    <a:pt x="907402" y="545503"/>
                  </a:lnTo>
                  <a:lnTo>
                    <a:pt x="907402" y="544856"/>
                  </a:lnTo>
                  <a:lnTo>
                    <a:pt x="907948" y="544856"/>
                  </a:lnTo>
                  <a:lnTo>
                    <a:pt x="907999" y="545503"/>
                  </a:lnTo>
                  <a:lnTo>
                    <a:pt x="908049" y="544856"/>
                  </a:lnTo>
                  <a:lnTo>
                    <a:pt x="908088" y="544856"/>
                  </a:lnTo>
                  <a:lnTo>
                    <a:pt x="908189" y="545503"/>
                  </a:lnTo>
                  <a:lnTo>
                    <a:pt x="908189" y="544856"/>
                  </a:lnTo>
                  <a:lnTo>
                    <a:pt x="908392" y="544856"/>
                  </a:lnTo>
                  <a:lnTo>
                    <a:pt x="908443" y="544221"/>
                  </a:lnTo>
                  <a:lnTo>
                    <a:pt x="908443" y="544856"/>
                  </a:lnTo>
                  <a:lnTo>
                    <a:pt x="908494" y="544856"/>
                  </a:lnTo>
                  <a:lnTo>
                    <a:pt x="908545" y="544221"/>
                  </a:lnTo>
                  <a:lnTo>
                    <a:pt x="908634" y="544221"/>
                  </a:lnTo>
                  <a:lnTo>
                    <a:pt x="908684" y="544856"/>
                  </a:lnTo>
                  <a:lnTo>
                    <a:pt x="908735" y="544856"/>
                  </a:lnTo>
                  <a:lnTo>
                    <a:pt x="908735" y="545503"/>
                  </a:lnTo>
                  <a:lnTo>
                    <a:pt x="909129" y="545503"/>
                  </a:lnTo>
                  <a:lnTo>
                    <a:pt x="909180" y="544856"/>
                  </a:lnTo>
                  <a:lnTo>
                    <a:pt x="909332" y="544856"/>
                  </a:lnTo>
                  <a:lnTo>
                    <a:pt x="909383" y="545503"/>
                  </a:lnTo>
                  <a:lnTo>
                    <a:pt x="909586" y="545503"/>
                  </a:lnTo>
                  <a:lnTo>
                    <a:pt x="909586" y="544856"/>
                  </a:lnTo>
                  <a:lnTo>
                    <a:pt x="909675" y="544856"/>
                  </a:lnTo>
                  <a:lnTo>
                    <a:pt x="909675" y="545503"/>
                  </a:lnTo>
                  <a:lnTo>
                    <a:pt x="909878" y="545503"/>
                  </a:lnTo>
                  <a:lnTo>
                    <a:pt x="909878" y="546849"/>
                  </a:lnTo>
                  <a:lnTo>
                    <a:pt x="909980" y="545503"/>
                  </a:lnTo>
                  <a:lnTo>
                    <a:pt x="909980" y="546849"/>
                  </a:lnTo>
                  <a:lnTo>
                    <a:pt x="910323" y="546849"/>
                  </a:lnTo>
                  <a:lnTo>
                    <a:pt x="910374" y="547446"/>
                  </a:lnTo>
                  <a:lnTo>
                    <a:pt x="910577" y="547446"/>
                  </a:lnTo>
                  <a:lnTo>
                    <a:pt x="910678" y="546849"/>
                  </a:lnTo>
                  <a:lnTo>
                    <a:pt x="910717" y="546849"/>
                  </a:lnTo>
                  <a:lnTo>
                    <a:pt x="910767" y="547446"/>
                  </a:lnTo>
                  <a:lnTo>
                    <a:pt x="910818" y="548081"/>
                  </a:lnTo>
                  <a:lnTo>
                    <a:pt x="910920" y="547446"/>
                  </a:lnTo>
                  <a:lnTo>
                    <a:pt x="910971" y="546849"/>
                  </a:lnTo>
                  <a:lnTo>
                    <a:pt x="911021" y="545503"/>
                  </a:lnTo>
                  <a:lnTo>
                    <a:pt x="911123" y="544856"/>
                  </a:lnTo>
                  <a:lnTo>
                    <a:pt x="911174" y="544221"/>
                  </a:lnTo>
                  <a:lnTo>
                    <a:pt x="911415" y="544221"/>
                  </a:lnTo>
                  <a:lnTo>
                    <a:pt x="911415" y="544856"/>
                  </a:lnTo>
                  <a:lnTo>
                    <a:pt x="911466" y="544856"/>
                  </a:lnTo>
                  <a:lnTo>
                    <a:pt x="911466" y="545503"/>
                  </a:lnTo>
                  <a:lnTo>
                    <a:pt x="911567" y="544856"/>
                  </a:lnTo>
                  <a:lnTo>
                    <a:pt x="911669" y="543573"/>
                  </a:lnTo>
                  <a:lnTo>
                    <a:pt x="911809" y="543573"/>
                  </a:lnTo>
                  <a:lnTo>
                    <a:pt x="911809" y="542227"/>
                  </a:lnTo>
                  <a:lnTo>
                    <a:pt x="911859" y="543573"/>
                  </a:lnTo>
                  <a:lnTo>
                    <a:pt x="911910" y="544221"/>
                  </a:lnTo>
                  <a:lnTo>
                    <a:pt x="911961" y="544221"/>
                  </a:lnTo>
                  <a:lnTo>
                    <a:pt x="911961" y="543573"/>
                  </a:lnTo>
                  <a:lnTo>
                    <a:pt x="912164" y="543573"/>
                  </a:lnTo>
                  <a:lnTo>
                    <a:pt x="912266" y="544221"/>
                  </a:lnTo>
                  <a:lnTo>
                    <a:pt x="912304" y="544221"/>
                  </a:lnTo>
                  <a:lnTo>
                    <a:pt x="912304" y="544856"/>
                  </a:lnTo>
                  <a:lnTo>
                    <a:pt x="912812" y="544856"/>
                  </a:lnTo>
                  <a:lnTo>
                    <a:pt x="912812" y="545503"/>
                  </a:lnTo>
                  <a:lnTo>
                    <a:pt x="912952" y="545503"/>
                  </a:lnTo>
                  <a:lnTo>
                    <a:pt x="913003" y="544856"/>
                  </a:lnTo>
                  <a:lnTo>
                    <a:pt x="913053" y="545503"/>
                  </a:lnTo>
                  <a:lnTo>
                    <a:pt x="913155" y="544856"/>
                  </a:lnTo>
                  <a:lnTo>
                    <a:pt x="913498" y="544856"/>
                  </a:lnTo>
                  <a:lnTo>
                    <a:pt x="913498" y="544221"/>
                  </a:lnTo>
                  <a:lnTo>
                    <a:pt x="913549" y="544221"/>
                  </a:lnTo>
                  <a:lnTo>
                    <a:pt x="913549" y="544856"/>
                  </a:lnTo>
                  <a:lnTo>
                    <a:pt x="914298" y="544856"/>
                  </a:lnTo>
                  <a:lnTo>
                    <a:pt x="914349" y="545503"/>
                  </a:lnTo>
                  <a:lnTo>
                    <a:pt x="914438" y="545503"/>
                  </a:lnTo>
                  <a:lnTo>
                    <a:pt x="914539" y="544856"/>
                  </a:lnTo>
                  <a:lnTo>
                    <a:pt x="914984" y="544856"/>
                  </a:lnTo>
                  <a:lnTo>
                    <a:pt x="915034" y="545503"/>
                  </a:lnTo>
                  <a:lnTo>
                    <a:pt x="915136" y="545503"/>
                  </a:lnTo>
                  <a:lnTo>
                    <a:pt x="915136" y="544856"/>
                  </a:lnTo>
                  <a:lnTo>
                    <a:pt x="915238" y="544856"/>
                  </a:lnTo>
                  <a:lnTo>
                    <a:pt x="915288" y="545503"/>
                  </a:lnTo>
                  <a:lnTo>
                    <a:pt x="915479" y="545503"/>
                  </a:lnTo>
                  <a:lnTo>
                    <a:pt x="915479" y="546849"/>
                  </a:lnTo>
                  <a:lnTo>
                    <a:pt x="915530" y="545503"/>
                  </a:lnTo>
                  <a:lnTo>
                    <a:pt x="915530" y="546849"/>
                  </a:lnTo>
                  <a:lnTo>
                    <a:pt x="915733" y="546849"/>
                  </a:lnTo>
                  <a:lnTo>
                    <a:pt x="915784" y="547446"/>
                  </a:lnTo>
                  <a:lnTo>
                    <a:pt x="915885" y="546849"/>
                  </a:lnTo>
                  <a:lnTo>
                    <a:pt x="915936" y="546849"/>
                  </a:lnTo>
                  <a:lnTo>
                    <a:pt x="915987" y="547446"/>
                  </a:lnTo>
                  <a:lnTo>
                    <a:pt x="916127" y="547446"/>
                  </a:lnTo>
                  <a:lnTo>
                    <a:pt x="916178" y="548081"/>
                  </a:lnTo>
                  <a:lnTo>
                    <a:pt x="916228" y="547446"/>
                  </a:lnTo>
                  <a:lnTo>
                    <a:pt x="916432" y="547446"/>
                  </a:lnTo>
                  <a:lnTo>
                    <a:pt x="916482" y="548081"/>
                  </a:lnTo>
                  <a:lnTo>
                    <a:pt x="916724" y="548081"/>
                  </a:lnTo>
                  <a:lnTo>
                    <a:pt x="916825" y="547446"/>
                  </a:lnTo>
                  <a:lnTo>
                    <a:pt x="916876" y="547446"/>
                  </a:lnTo>
                  <a:lnTo>
                    <a:pt x="916927" y="546849"/>
                  </a:lnTo>
                  <a:lnTo>
                    <a:pt x="916927" y="545503"/>
                  </a:lnTo>
                  <a:lnTo>
                    <a:pt x="917028" y="545503"/>
                  </a:lnTo>
                  <a:lnTo>
                    <a:pt x="917028" y="544856"/>
                  </a:lnTo>
                  <a:lnTo>
                    <a:pt x="917067" y="544856"/>
                  </a:lnTo>
                  <a:lnTo>
                    <a:pt x="917067" y="545503"/>
                  </a:lnTo>
                  <a:lnTo>
                    <a:pt x="917270" y="545503"/>
                  </a:lnTo>
                  <a:lnTo>
                    <a:pt x="917321" y="544856"/>
                  </a:lnTo>
                  <a:lnTo>
                    <a:pt x="917321" y="545503"/>
                  </a:lnTo>
                  <a:lnTo>
                    <a:pt x="917473" y="545503"/>
                  </a:lnTo>
                  <a:lnTo>
                    <a:pt x="917473" y="546849"/>
                  </a:lnTo>
                  <a:lnTo>
                    <a:pt x="917524" y="546849"/>
                  </a:lnTo>
                  <a:lnTo>
                    <a:pt x="917524" y="545503"/>
                  </a:lnTo>
                  <a:lnTo>
                    <a:pt x="917574" y="544856"/>
                  </a:lnTo>
                  <a:lnTo>
                    <a:pt x="917574" y="544221"/>
                  </a:lnTo>
                  <a:lnTo>
                    <a:pt x="917613" y="543573"/>
                  </a:lnTo>
                  <a:lnTo>
                    <a:pt x="917714" y="543573"/>
                  </a:lnTo>
                  <a:lnTo>
                    <a:pt x="917765" y="544221"/>
                  </a:lnTo>
                  <a:lnTo>
                    <a:pt x="917917" y="544221"/>
                  </a:lnTo>
                  <a:lnTo>
                    <a:pt x="917917" y="544856"/>
                  </a:lnTo>
                  <a:lnTo>
                    <a:pt x="918019" y="544856"/>
                  </a:lnTo>
                  <a:lnTo>
                    <a:pt x="918070" y="545503"/>
                  </a:lnTo>
                  <a:lnTo>
                    <a:pt x="918070" y="544856"/>
                  </a:lnTo>
                  <a:lnTo>
                    <a:pt x="918159" y="544856"/>
                  </a:lnTo>
                  <a:lnTo>
                    <a:pt x="918159" y="545503"/>
                  </a:lnTo>
                  <a:lnTo>
                    <a:pt x="918209" y="544856"/>
                  </a:lnTo>
                  <a:lnTo>
                    <a:pt x="918209" y="545503"/>
                  </a:lnTo>
                  <a:lnTo>
                    <a:pt x="918260" y="545503"/>
                  </a:lnTo>
                  <a:lnTo>
                    <a:pt x="918260" y="544856"/>
                  </a:lnTo>
                  <a:lnTo>
                    <a:pt x="918413" y="544856"/>
                  </a:lnTo>
                  <a:lnTo>
                    <a:pt x="918413" y="545503"/>
                  </a:lnTo>
                  <a:lnTo>
                    <a:pt x="918463" y="545503"/>
                  </a:lnTo>
                  <a:lnTo>
                    <a:pt x="918514" y="546849"/>
                  </a:lnTo>
                  <a:lnTo>
                    <a:pt x="918514" y="545503"/>
                  </a:lnTo>
                  <a:lnTo>
                    <a:pt x="918857" y="545503"/>
                  </a:lnTo>
                  <a:lnTo>
                    <a:pt x="918908" y="546849"/>
                  </a:lnTo>
                  <a:lnTo>
                    <a:pt x="918959" y="545503"/>
                  </a:lnTo>
                  <a:lnTo>
                    <a:pt x="919111" y="545503"/>
                  </a:lnTo>
                  <a:lnTo>
                    <a:pt x="919111" y="544856"/>
                  </a:lnTo>
                  <a:lnTo>
                    <a:pt x="919162" y="545503"/>
                  </a:lnTo>
                  <a:lnTo>
                    <a:pt x="919302" y="545503"/>
                  </a:lnTo>
                  <a:lnTo>
                    <a:pt x="919302" y="544856"/>
                  </a:lnTo>
                  <a:lnTo>
                    <a:pt x="919353" y="544856"/>
                  </a:lnTo>
                  <a:lnTo>
                    <a:pt x="919403" y="545503"/>
                  </a:lnTo>
                  <a:lnTo>
                    <a:pt x="919556" y="545503"/>
                  </a:lnTo>
                  <a:lnTo>
                    <a:pt x="919607" y="546849"/>
                  </a:lnTo>
                  <a:lnTo>
                    <a:pt x="919607" y="545503"/>
                  </a:lnTo>
                  <a:lnTo>
                    <a:pt x="919746" y="545503"/>
                  </a:lnTo>
                  <a:lnTo>
                    <a:pt x="919797" y="546849"/>
                  </a:lnTo>
                  <a:lnTo>
                    <a:pt x="919797" y="545503"/>
                  </a:lnTo>
                  <a:lnTo>
                    <a:pt x="920940" y="545503"/>
                  </a:lnTo>
                  <a:lnTo>
                    <a:pt x="920940" y="544856"/>
                  </a:lnTo>
                  <a:lnTo>
                    <a:pt x="920991" y="544856"/>
                  </a:lnTo>
                  <a:lnTo>
                    <a:pt x="920991" y="545503"/>
                  </a:lnTo>
                  <a:lnTo>
                    <a:pt x="921092" y="544856"/>
                  </a:lnTo>
                  <a:lnTo>
                    <a:pt x="921143" y="545503"/>
                  </a:lnTo>
                  <a:lnTo>
                    <a:pt x="921143" y="544856"/>
                  </a:lnTo>
                  <a:lnTo>
                    <a:pt x="921194" y="544856"/>
                  </a:lnTo>
                  <a:lnTo>
                    <a:pt x="921194" y="545503"/>
                  </a:lnTo>
                  <a:lnTo>
                    <a:pt x="921245" y="545503"/>
                  </a:lnTo>
                  <a:lnTo>
                    <a:pt x="921245" y="546849"/>
                  </a:lnTo>
                  <a:lnTo>
                    <a:pt x="921334" y="545503"/>
                  </a:lnTo>
                  <a:lnTo>
                    <a:pt x="921334" y="546849"/>
                  </a:lnTo>
                  <a:lnTo>
                    <a:pt x="921486" y="546849"/>
                  </a:lnTo>
                  <a:lnTo>
                    <a:pt x="921486" y="547446"/>
                  </a:lnTo>
                  <a:lnTo>
                    <a:pt x="921880" y="547446"/>
                  </a:lnTo>
                  <a:lnTo>
                    <a:pt x="921931" y="546849"/>
                  </a:lnTo>
                  <a:lnTo>
                    <a:pt x="922083" y="546849"/>
                  </a:lnTo>
                  <a:lnTo>
                    <a:pt x="922083" y="547446"/>
                  </a:lnTo>
                  <a:lnTo>
                    <a:pt x="922375" y="547446"/>
                  </a:lnTo>
                  <a:lnTo>
                    <a:pt x="922477" y="548081"/>
                  </a:lnTo>
                  <a:lnTo>
                    <a:pt x="922477" y="547446"/>
                  </a:lnTo>
                  <a:lnTo>
                    <a:pt x="922528" y="547446"/>
                  </a:lnTo>
                  <a:lnTo>
                    <a:pt x="922528" y="548081"/>
                  </a:lnTo>
                  <a:lnTo>
                    <a:pt x="922782" y="548081"/>
                  </a:lnTo>
                  <a:lnTo>
                    <a:pt x="922832" y="547446"/>
                  </a:lnTo>
                  <a:lnTo>
                    <a:pt x="922921" y="546849"/>
                  </a:lnTo>
                  <a:lnTo>
                    <a:pt x="922921" y="545503"/>
                  </a:lnTo>
                  <a:lnTo>
                    <a:pt x="922972" y="544856"/>
                  </a:lnTo>
                  <a:lnTo>
                    <a:pt x="922972" y="544221"/>
                  </a:lnTo>
                  <a:lnTo>
                    <a:pt x="923023" y="544856"/>
                  </a:lnTo>
                  <a:lnTo>
                    <a:pt x="923074" y="544856"/>
                  </a:lnTo>
                  <a:lnTo>
                    <a:pt x="923175" y="545503"/>
                  </a:lnTo>
                  <a:lnTo>
                    <a:pt x="923226" y="544856"/>
                  </a:lnTo>
                  <a:lnTo>
                    <a:pt x="923226" y="545503"/>
                  </a:lnTo>
                  <a:lnTo>
                    <a:pt x="923277" y="545503"/>
                  </a:lnTo>
                  <a:lnTo>
                    <a:pt x="923378" y="546849"/>
                  </a:lnTo>
                  <a:lnTo>
                    <a:pt x="923417" y="546849"/>
                  </a:lnTo>
                  <a:lnTo>
                    <a:pt x="923417" y="545503"/>
                  </a:lnTo>
                  <a:lnTo>
                    <a:pt x="923467" y="545503"/>
                  </a:lnTo>
                  <a:lnTo>
                    <a:pt x="923518" y="544856"/>
                  </a:lnTo>
                  <a:lnTo>
                    <a:pt x="923518" y="544221"/>
                  </a:lnTo>
                  <a:lnTo>
                    <a:pt x="923620" y="544221"/>
                  </a:lnTo>
                  <a:lnTo>
                    <a:pt x="923671" y="543573"/>
                  </a:lnTo>
                  <a:lnTo>
                    <a:pt x="923721" y="543573"/>
                  </a:lnTo>
                  <a:lnTo>
                    <a:pt x="923721" y="544221"/>
                  </a:lnTo>
                  <a:lnTo>
                    <a:pt x="923874" y="544221"/>
                  </a:lnTo>
                  <a:lnTo>
                    <a:pt x="923874" y="544856"/>
                  </a:lnTo>
                  <a:lnTo>
                    <a:pt x="923924" y="544221"/>
                  </a:lnTo>
                  <a:lnTo>
                    <a:pt x="923963" y="544856"/>
                  </a:lnTo>
                  <a:lnTo>
                    <a:pt x="923963" y="544221"/>
                  </a:lnTo>
                  <a:lnTo>
                    <a:pt x="924064" y="544856"/>
                  </a:lnTo>
                  <a:lnTo>
                    <a:pt x="924064" y="544221"/>
                  </a:lnTo>
                  <a:lnTo>
                    <a:pt x="924115" y="544221"/>
                  </a:lnTo>
                  <a:lnTo>
                    <a:pt x="924166" y="544856"/>
                  </a:lnTo>
                  <a:lnTo>
                    <a:pt x="924318" y="544856"/>
                  </a:lnTo>
                  <a:lnTo>
                    <a:pt x="924318" y="545503"/>
                  </a:lnTo>
                  <a:lnTo>
                    <a:pt x="924369" y="544856"/>
                  </a:lnTo>
                  <a:lnTo>
                    <a:pt x="924420" y="545503"/>
                  </a:lnTo>
                  <a:lnTo>
                    <a:pt x="924763" y="545503"/>
                  </a:lnTo>
                  <a:lnTo>
                    <a:pt x="924813" y="546849"/>
                  </a:lnTo>
                  <a:lnTo>
                    <a:pt x="924813" y="545503"/>
                  </a:lnTo>
                  <a:lnTo>
                    <a:pt x="924864" y="546849"/>
                  </a:lnTo>
                  <a:lnTo>
                    <a:pt x="924966" y="546849"/>
                  </a:lnTo>
                  <a:lnTo>
                    <a:pt x="924966" y="545503"/>
                  </a:lnTo>
                  <a:lnTo>
                    <a:pt x="925207" y="545503"/>
                  </a:lnTo>
                  <a:lnTo>
                    <a:pt x="925258" y="544856"/>
                  </a:lnTo>
                  <a:lnTo>
                    <a:pt x="925461" y="544856"/>
                  </a:lnTo>
                  <a:lnTo>
                    <a:pt x="925512" y="545503"/>
                  </a:lnTo>
                  <a:lnTo>
                    <a:pt x="925550" y="544856"/>
                  </a:lnTo>
                  <a:lnTo>
                    <a:pt x="925652" y="544856"/>
                  </a:lnTo>
                  <a:lnTo>
                    <a:pt x="925703" y="545503"/>
                  </a:lnTo>
                  <a:lnTo>
                    <a:pt x="925957" y="545503"/>
                  </a:lnTo>
                  <a:lnTo>
                    <a:pt x="926007" y="544856"/>
                  </a:lnTo>
                  <a:lnTo>
                    <a:pt x="926007" y="545503"/>
                  </a:lnTo>
                  <a:lnTo>
                    <a:pt x="926096" y="545503"/>
                  </a:lnTo>
                  <a:lnTo>
                    <a:pt x="926096" y="544856"/>
                  </a:lnTo>
                  <a:lnTo>
                    <a:pt x="926147" y="545503"/>
                  </a:lnTo>
                  <a:lnTo>
                    <a:pt x="926147" y="544856"/>
                  </a:lnTo>
                  <a:lnTo>
                    <a:pt x="926592" y="544856"/>
                  </a:lnTo>
                  <a:lnTo>
                    <a:pt x="926592" y="545503"/>
                  </a:lnTo>
                  <a:lnTo>
                    <a:pt x="926642" y="545503"/>
                  </a:lnTo>
                  <a:lnTo>
                    <a:pt x="926642" y="544856"/>
                  </a:lnTo>
                  <a:lnTo>
                    <a:pt x="926693" y="544856"/>
                  </a:lnTo>
                  <a:lnTo>
                    <a:pt x="926795" y="545503"/>
                  </a:lnTo>
                  <a:lnTo>
                    <a:pt x="926846" y="544856"/>
                  </a:lnTo>
                  <a:lnTo>
                    <a:pt x="927493" y="544856"/>
                  </a:lnTo>
                  <a:lnTo>
                    <a:pt x="927544" y="545503"/>
                  </a:lnTo>
                  <a:lnTo>
                    <a:pt x="927785" y="545503"/>
                  </a:lnTo>
                  <a:lnTo>
                    <a:pt x="927785" y="546849"/>
                  </a:lnTo>
                  <a:lnTo>
                    <a:pt x="927988" y="546849"/>
                  </a:lnTo>
                  <a:lnTo>
                    <a:pt x="927988" y="547446"/>
                  </a:lnTo>
                  <a:lnTo>
                    <a:pt x="928039" y="547446"/>
                  </a:lnTo>
                  <a:lnTo>
                    <a:pt x="928141" y="546849"/>
                  </a:lnTo>
                  <a:lnTo>
                    <a:pt x="928141" y="547446"/>
                  </a:lnTo>
                  <a:lnTo>
                    <a:pt x="928179" y="547446"/>
                  </a:lnTo>
                  <a:lnTo>
                    <a:pt x="928179" y="546849"/>
                  </a:lnTo>
                  <a:lnTo>
                    <a:pt x="928585" y="546849"/>
                  </a:lnTo>
                  <a:lnTo>
                    <a:pt x="928636" y="547446"/>
                  </a:lnTo>
                  <a:lnTo>
                    <a:pt x="928687" y="547446"/>
                  </a:lnTo>
                  <a:lnTo>
                    <a:pt x="928725" y="546849"/>
                  </a:lnTo>
                  <a:lnTo>
                    <a:pt x="928725" y="545503"/>
                  </a:lnTo>
                  <a:lnTo>
                    <a:pt x="928827" y="544856"/>
                  </a:lnTo>
                  <a:lnTo>
                    <a:pt x="929081" y="544856"/>
                  </a:lnTo>
                  <a:lnTo>
                    <a:pt x="929132" y="545503"/>
                  </a:lnTo>
                  <a:lnTo>
                    <a:pt x="929182" y="545503"/>
                  </a:lnTo>
                  <a:lnTo>
                    <a:pt x="929182" y="546849"/>
                  </a:lnTo>
                  <a:lnTo>
                    <a:pt x="929271" y="546849"/>
                  </a:lnTo>
                  <a:lnTo>
                    <a:pt x="929322" y="547446"/>
                  </a:lnTo>
                  <a:lnTo>
                    <a:pt x="929373" y="546849"/>
                  </a:lnTo>
                  <a:lnTo>
                    <a:pt x="929373" y="545503"/>
                  </a:lnTo>
                  <a:lnTo>
                    <a:pt x="929424" y="544221"/>
                  </a:lnTo>
                  <a:lnTo>
                    <a:pt x="929424" y="542227"/>
                  </a:lnTo>
                  <a:lnTo>
                    <a:pt x="929627" y="542227"/>
                  </a:lnTo>
                  <a:lnTo>
                    <a:pt x="929627" y="543573"/>
                  </a:lnTo>
                  <a:lnTo>
                    <a:pt x="929817" y="543573"/>
                  </a:lnTo>
                  <a:lnTo>
                    <a:pt x="929868" y="544221"/>
                  </a:lnTo>
                  <a:lnTo>
                    <a:pt x="930021" y="544221"/>
                  </a:lnTo>
                  <a:lnTo>
                    <a:pt x="930021" y="544856"/>
                  </a:lnTo>
                  <a:lnTo>
                    <a:pt x="930173" y="544856"/>
                  </a:lnTo>
                  <a:lnTo>
                    <a:pt x="930224" y="544221"/>
                  </a:lnTo>
                  <a:lnTo>
                    <a:pt x="930313" y="544221"/>
                  </a:lnTo>
                  <a:lnTo>
                    <a:pt x="930414" y="544856"/>
                  </a:lnTo>
                  <a:lnTo>
                    <a:pt x="930516" y="544856"/>
                  </a:lnTo>
                  <a:lnTo>
                    <a:pt x="930516" y="545503"/>
                  </a:lnTo>
                  <a:lnTo>
                    <a:pt x="930719" y="545503"/>
                  </a:lnTo>
                  <a:lnTo>
                    <a:pt x="930719" y="544856"/>
                  </a:lnTo>
                  <a:lnTo>
                    <a:pt x="930909" y="544856"/>
                  </a:lnTo>
                  <a:lnTo>
                    <a:pt x="930909" y="544221"/>
                  </a:lnTo>
                  <a:lnTo>
                    <a:pt x="930960" y="544221"/>
                  </a:lnTo>
                  <a:lnTo>
                    <a:pt x="930960" y="544856"/>
                  </a:lnTo>
                  <a:lnTo>
                    <a:pt x="931405" y="544856"/>
                  </a:lnTo>
                  <a:lnTo>
                    <a:pt x="931405" y="545503"/>
                  </a:lnTo>
                  <a:lnTo>
                    <a:pt x="931456" y="544856"/>
                  </a:lnTo>
                  <a:lnTo>
                    <a:pt x="931456" y="545503"/>
                  </a:lnTo>
                  <a:lnTo>
                    <a:pt x="931557" y="545503"/>
                  </a:lnTo>
                  <a:lnTo>
                    <a:pt x="931557" y="544856"/>
                  </a:lnTo>
                  <a:lnTo>
                    <a:pt x="931862" y="544856"/>
                  </a:lnTo>
                  <a:lnTo>
                    <a:pt x="931862" y="544221"/>
                  </a:lnTo>
                  <a:lnTo>
                    <a:pt x="931900" y="544221"/>
                  </a:lnTo>
                  <a:lnTo>
                    <a:pt x="932002" y="544856"/>
                  </a:lnTo>
                  <a:lnTo>
                    <a:pt x="932053" y="544856"/>
                  </a:lnTo>
                  <a:lnTo>
                    <a:pt x="932053" y="544221"/>
                  </a:lnTo>
                  <a:lnTo>
                    <a:pt x="932103" y="544221"/>
                  </a:lnTo>
                  <a:lnTo>
                    <a:pt x="932205" y="544856"/>
                  </a:lnTo>
                  <a:lnTo>
                    <a:pt x="932548" y="544856"/>
                  </a:lnTo>
                  <a:lnTo>
                    <a:pt x="932599" y="544221"/>
                  </a:lnTo>
                  <a:lnTo>
                    <a:pt x="932700" y="544856"/>
                  </a:lnTo>
                  <a:lnTo>
                    <a:pt x="932903" y="544856"/>
                  </a:lnTo>
                  <a:lnTo>
                    <a:pt x="932942" y="545503"/>
                  </a:lnTo>
                  <a:lnTo>
                    <a:pt x="932942" y="544856"/>
                  </a:lnTo>
                  <a:lnTo>
                    <a:pt x="933043" y="544856"/>
                  </a:lnTo>
                  <a:lnTo>
                    <a:pt x="933145" y="545503"/>
                  </a:lnTo>
                  <a:lnTo>
                    <a:pt x="933449" y="545503"/>
                  </a:lnTo>
                  <a:lnTo>
                    <a:pt x="933449" y="546849"/>
                  </a:lnTo>
                  <a:lnTo>
                    <a:pt x="933589" y="546849"/>
                  </a:lnTo>
                  <a:lnTo>
                    <a:pt x="933640" y="545503"/>
                  </a:lnTo>
                  <a:lnTo>
                    <a:pt x="933894" y="545503"/>
                  </a:lnTo>
                  <a:lnTo>
                    <a:pt x="933894" y="546849"/>
                  </a:lnTo>
                  <a:lnTo>
                    <a:pt x="934288" y="546849"/>
                  </a:lnTo>
                  <a:lnTo>
                    <a:pt x="934338" y="547446"/>
                  </a:lnTo>
                  <a:lnTo>
                    <a:pt x="934580" y="547446"/>
                  </a:lnTo>
                  <a:lnTo>
                    <a:pt x="934580" y="546849"/>
                  </a:lnTo>
                  <a:lnTo>
                    <a:pt x="934631" y="545503"/>
                  </a:lnTo>
                  <a:lnTo>
                    <a:pt x="934631" y="544856"/>
                  </a:lnTo>
                  <a:lnTo>
                    <a:pt x="934732" y="544221"/>
                  </a:lnTo>
                  <a:lnTo>
                    <a:pt x="934935" y="544221"/>
                  </a:lnTo>
                  <a:lnTo>
                    <a:pt x="934935" y="544856"/>
                  </a:lnTo>
                  <a:lnTo>
                    <a:pt x="934986" y="544856"/>
                  </a:lnTo>
                  <a:lnTo>
                    <a:pt x="934986" y="545503"/>
                  </a:lnTo>
                  <a:lnTo>
                    <a:pt x="935037" y="544856"/>
                  </a:lnTo>
                  <a:lnTo>
                    <a:pt x="935075" y="545503"/>
                  </a:lnTo>
                  <a:lnTo>
                    <a:pt x="935177" y="545503"/>
                  </a:lnTo>
                  <a:lnTo>
                    <a:pt x="935228" y="544856"/>
                  </a:lnTo>
                  <a:lnTo>
                    <a:pt x="935228" y="544221"/>
                  </a:lnTo>
                  <a:lnTo>
                    <a:pt x="935278" y="543573"/>
                  </a:lnTo>
                  <a:lnTo>
                    <a:pt x="935278" y="542227"/>
                  </a:lnTo>
                  <a:lnTo>
                    <a:pt x="935431" y="542227"/>
                  </a:lnTo>
                  <a:lnTo>
                    <a:pt x="935482" y="543573"/>
                  </a:lnTo>
                  <a:lnTo>
                    <a:pt x="935672" y="543573"/>
                  </a:lnTo>
                  <a:lnTo>
                    <a:pt x="935672" y="544221"/>
                  </a:lnTo>
                  <a:lnTo>
                    <a:pt x="935875" y="544221"/>
                  </a:lnTo>
                  <a:lnTo>
                    <a:pt x="935875" y="544856"/>
                  </a:lnTo>
                  <a:lnTo>
                    <a:pt x="935926" y="544856"/>
                  </a:lnTo>
                  <a:lnTo>
                    <a:pt x="935977" y="544221"/>
                  </a:lnTo>
                  <a:lnTo>
                    <a:pt x="936117" y="544221"/>
                  </a:lnTo>
                  <a:lnTo>
                    <a:pt x="936167" y="544856"/>
                  </a:lnTo>
                  <a:lnTo>
                    <a:pt x="936218" y="544856"/>
                  </a:lnTo>
                  <a:lnTo>
                    <a:pt x="936320" y="545503"/>
                  </a:lnTo>
                  <a:lnTo>
                    <a:pt x="936663" y="545503"/>
                  </a:lnTo>
                  <a:lnTo>
                    <a:pt x="936764" y="544856"/>
                  </a:lnTo>
                  <a:lnTo>
                    <a:pt x="936815" y="544856"/>
                  </a:lnTo>
                  <a:lnTo>
                    <a:pt x="936866" y="545503"/>
                  </a:lnTo>
                  <a:lnTo>
                    <a:pt x="936967" y="544856"/>
                  </a:lnTo>
                  <a:lnTo>
                    <a:pt x="937259" y="544856"/>
                  </a:lnTo>
                  <a:lnTo>
                    <a:pt x="937259" y="544221"/>
                  </a:lnTo>
                  <a:lnTo>
                    <a:pt x="937361" y="545503"/>
                  </a:lnTo>
                  <a:lnTo>
                    <a:pt x="937564" y="545503"/>
                  </a:lnTo>
                  <a:lnTo>
                    <a:pt x="937564" y="544856"/>
                  </a:lnTo>
                  <a:lnTo>
                    <a:pt x="938110" y="544856"/>
                  </a:lnTo>
                  <a:lnTo>
                    <a:pt x="938161" y="545503"/>
                  </a:lnTo>
                  <a:lnTo>
                    <a:pt x="938212" y="544856"/>
                  </a:lnTo>
                  <a:lnTo>
                    <a:pt x="938212" y="545503"/>
                  </a:lnTo>
                  <a:lnTo>
                    <a:pt x="938250" y="544856"/>
                  </a:lnTo>
                  <a:lnTo>
                    <a:pt x="938352" y="545503"/>
                  </a:lnTo>
                  <a:lnTo>
                    <a:pt x="938403" y="544856"/>
                  </a:lnTo>
                  <a:lnTo>
                    <a:pt x="938555" y="544856"/>
                  </a:lnTo>
                  <a:lnTo>
                    <a:pt x="938606" y="545503"/>
                  </a:lnTo>
                  <a:lnTo>
                    <a:pt x="938707" y="545503"/>
                  </a:lnTo>
                  <a:lnTo>
                    <a:pt x="938796" y="544856"/>
                  </a:lnTo>
                  <a:lnTo>
                    <a:pt x="938898" y="544856"/>
                  </a:lnTo>
                  <a:lnTo>
                    <a:pt x="938898" y="545503"/>
                  </a:lnTo>
                  <a:lnTo>
                    <a:pt x="939101" y="545503"/>
                  </a:lnTo>
                  <a:lnTo>
                    <a:pt x="939152" y="546849"/>
                  </a:lnTo>
                  <a:lnTo>
                    <a:pt x="939253" y="545503"/>
                  </a:lnTo>
                  <a:lnTo>
                    <a:pt x="939342" y="545503"/>
                  </a:lnTo>
                  <a:lnTo>
                    <a:pt x="939342" y="546849"/>
                  </a:lnTo>
                  <a:lnTo>
                    <a:pt x="939546" y="546849"/>
                  </a:lnTo>
                  <a:lnTo>
                    <a:pt x="939596" y="547446"/>
                  </a:lnTo>
                  <a:lnTo>
                    <a:pt x="939749" y="547446"/>
                  </a:lnTo>
                  <a:lnTo>
                    <a:pt x="939749" y="546849"/>
                  </a:lnTo>
                  <a:lnTo>
                    <a:pt x="940041" y="546849"/>
                  </a:lnTo>
                  <a:lnTo>
                    <a:pt x="940041" y="547446"/>
                  </a:lnTo>
                  <a:lnTo>
                    <a:pt x="940142" y="548081"/>
                  </a:lnTo>
                  <a:lnTo>
                    <a:pt x="940384" y="548081"/>
                  </a:lnTo>
                  <a:lnTo>
                    <a:pt x="940384" y="547446"/>
                  </a:lnTo>
                  <a:lnTo>
                    <a:pt x="940434" y="547446"/>
                  </a:lnTo>
                  <a:lnTo>
                    <a:pt x="940434" y="546849"/>
                  </a:lnTo>
                  <a:lnTo>
                    <a:pt x="940485" y="545503"/>
                  </a:lnTo>
                  <a:lnTo>
                    <a:pt x="940536" y="544856"/>
                  </a:lnTo>
                  <a:lnTo>
                    <a:pt x="940536" y="544221"/>
                  </a:lnTo>
                  <a:lnTo>
                    <a:pt x="940739" y="544221"/>
                  </a:lnTo>
                  <a:lnTo>
                    <a:pt x="940739" y="544856"/>
                  </a:lnTo>
                  <a:lnTo>
                    <a:pt x="940879" y="544856"/>
                  </a:lnTo>
                  <a:lnTo>
                    <a:pt x="940930" y="545503"/>
                  </a:lnTo>
                  <a:lnTo>
                    <a:pt x="940981" y="545503"/>
                  </a:lnTo>
                  <a:lnTo>
                    <a:pt x="941082" y="544856"/>
                  </a:lnTo>
                  <a:lnTo>
                    <a:pt x="941133" y="544221"/>
                  </a:lnTo>
                  <a:lnTo>
                    <a:pt x="941133" y="543573"/>
                  </a:lnTo>
                  <a:lnTo>
                    <a:pt x="941184" y="543573"/>
                  </a:lnTo>
                  <a:lnTo>
                    <a:pt x="941184" y="542227"/>
                  </a:lnTo>
                  <a:lnTo>
                    <a:pt x="941285" y="542227"/>
                  </a:lnTo>
                  <a:lnTo>
                    <a:pt x="941285" y="543573"/>
                  </a:lnTo>
                  <a:lnTo>
                    <a:pt x="941425" y="543573"/>
                  </a:lnTo>
                  <a:lnTo>
                    <a:pt x="941527" y="544221"/>
                  </a:lnTo>
                  <a:lnTo>
                    <a:pt x="941578" y="544221"/>
                  </a:lnTo>
                  <a:lnTo>
                    <a:pt x="941578" y="544856"/>
                  </a:lnTo>
                  <a:lnTo>
                    <a:pt x="941628" y="544221"/>
                  </a:lnTo>
                  <a:lnTo>
                    <a:pt x="941781" y="544221"/>
                  </a:lnTo>
                  <a:lnTo>
                    <a:pt x="941781" y="544856"/>
                  </a:lnTo>
                  <a:lnTo>
                    <a:pt x="941832" y="544856"/>
                  </a:lnTo>
                  <a:lnTo>
                    <a:pt x="941882" y="544221"/>
                  </a:lnTo>
                  <a:lnTo>
                    <a:pt x="941971" y="544856"/>
                  </a:lnTo>
                  <a:lnTo>
                    <a:pt x="942276" y="544856"/>
                  </a:lnTo>
                  <a:lnTo>
                    <a:pt x="942276" y="545503"/>
                  </a:lnTo>
                  <a:lnTo>
                    <a:pt x="942428" y="545503"/>
                  </a:lnTo>
                  <a:lnTo>
                    <a:pt x="942467" y="546849"/>
                  </a:lnTo>
                  <a:lnTo>
                    <a:pt x="942467" y="545503"/>
                  </a:lnTo>
                  <a:lnTo>
                    <a:pt x="942517" y="546849"/>
                  </a:lnTo>
                  <a:lnTo>
                    <a:pt x="942517" y="545503"/>
                  </a:lnTo>
                  <a:lnTo>
                    <a:pt x="942873" y="545503"/>
                  </a:lnTo>
                  <a:lnTo>
                    <a:pt x="942873" y="544856"/>
                  </a:lnTo>
                  <a:lnTo>
                    <a:pt x="943165" y="544856"/>
                  </a:lnTo>
                  <a:lnTo>
                    <a:pt x="943165" y="545503"/>
                  </a:lnTo>
                  <a:lnTo>
                    <a:pt x="943216" y="544856"/>
                  </a:lnTo>
                  <a:lnTo>
                    <a:pt x="943317" y="545503"/>
                  </a:lnTo>
                  <a:lnTo>
                    <a:pt x="943609" y="545503"/>
                  </a:lnTo>
                  <a:lnTo>
                    <a:pt x="943660" y="544856"/>
                  </a:lnTo>
                  <a:lnTo>
                    <a:pt x="943711" y="545503"/>
                  </a:lnTo>
                  <a:lnTo>
                    <a:pt x="943813" y="544856"/>
                  </a:lnTo>
                  <a:lnTo>
                    <a:pt x="943863" y="545503"/>
                  </a:lnTo>
                  <a:lnTo>
                    <a:pt x="943863" y="544856"/>
                  </a:lnTo>
                  <a:lnTo>
                    <a:pt x="944016" y="544856"/>
                  </a:lnTo>
                  <a:lnTo>
                    <a:pt x="944016" y="545503"/>
                  </a:lnTo>
                  <a:lnTo>
                    <a:pt x="944105" y="545503"/>
                  </a:lnTo>
                  <a:lnTo>
                    <a:pt x="944156" y="544856"/>
                  </a:lnTo>
                  <a:lnTo>
                    <a:pt x="944156" y="545503"/>
                  </a:lnTo>
                  <a:lnTo>
                    <a:pt x="944257" y="544856"/>
                  </a:lnTo>
                  <a:lnTo>
                    <a:pt x="944257" y="545503"/>
                  </a:lnTo>
                  <a:lnTo>
                    <a:pt x="944359" y="545503"/>
                  </a:lnTo>
                  <a:lnTo>
                    <a:pt x="944359" y="544856"/>
                  </a:lnTo>
                  <a:lnTo>
                    <a:pt x="944600" y="544856"/>
                  </a:lnTo>
                  <a:lnTo>
                    <a:pt x="944600" y="545503"/>
                  </a:lnTo>
                  <a:lnTo>
                    <a:pt x="944905" y="545503"/>
                  </a:lnTo>
                  <a:lnTo>
                    <a:pt x="944956" y="546849"/>
                  </a:lnTo>
                  <a:lnTo>
                    <a:pt x="944956" y="545503"/>
                  </a:lnTo>
                  <a:lnTo>
                    <a:pt x="945007" y="546849"/>
                  </a:lnTo>
                  <a:lnTo>
                    <a:pt x="945248" y="546849"/>
                  </a:lnTo>
                  <a:lnTo>
                    <a:pt x="945299" y="547446"/>
                  </a:lnTo>
                  <a:lnTo>
                    <a:pt x="945845" y="547446"/>
                  </a:lnTo>
                  <a:lnTo>
                    <a:pt x="945896" y="546849"/>
                  </a:lnTo>
                  <a:lnTo>
                    <a:pt x="945896" y="547446"/>
                  </a:lnTo>
                  <a:lnTo>
                    <a:pt x="945946" y="546849"/>
                  </a:lnTo>
                  <a:lnTo>
                    <a:pt x="946048" y="546849"/>
                  </a:lnTo>
                  <a:lnTo>
                    <a:pt x="946048" y="547446"/>
                  </a:lnTo>
                  <a:lnTo>
                    <a:pt x="946099" y="547446"/>
                  </a:lnTo>
                  <a:lnTo>
                    <a:pt x="946099" y="548081"/>
                  </a:lnTo>
                  <a:lnTo>
                    <a:pt x="946188" y="548081"/>
                  </a:lnTo>
                  <a:lnTo>
                    <a:pt x="946289" y="547446"/>
                  </a:lnTo>
                  <a:lnTo>
                    <a:pt x="946340" y="547446"/>
                  </a:lnTo>
                  <a:lnTo>
                    <a:pt x="946340" y="546849"/>
                  </a:lnTo>
                  <a:lnTo>
                    <a:pt x="946391" y="545503"/>
                  </a:lnTo>
                  <a:lnTo>
                    <a:pt x="946391" y="544856"/>
                  </a:lnTo>
                  <a:lnTo>
                    <a:pt x="946492" y="544221"/>
                  </a:lnTo>
                  <a:lnTo>
                    <a:pt x="946645" y="544221"/>
                  </a:lnTo>
                  <a:lnTo>
                    <a:pt x="946645" y="544856"/>
                  </a:lnTo>
                  <a:lnTo>
                    <a:pt x="946734" y="544856"/>
                  </a:lnTo>
                  <a:lnTo>
                    <a:pt x="946784" y="545503"/>
                  </a:lnTo>
                  <a:lnTo>
                    <a:pt x="946835" y="546849"/>
                  </a:lnTo>
                  <a:lnTo>
                    <a:pt x="946988" y="546849"/>
                  </a:lnTo>
                  <a:lnTo>
                    <a:pt x="946988" y="545503"/>
                  </a:lnTo>
                  <a:lnTo>
                    <a:pt x="947038" y="544856"/>
                  </a:lnTo>
                  <a:lnTo>
                    <a:pt x="947038" y="544221"/>
                  </a:lnTo>
                  <a:lnTo>
                    <a:pt x="947089" y="543573"/>
                  </a:lnTo>
                  <a:lnTo>
                    <a:pt x="947331" y="543573"/>
                  </a:lnTo>
                  <a:lnTo>
                    <a:pt x="947331" y="544221"/>
                  </a:lnTo>
                  <a:lnTo>
                    <a:pt x="947432" y="544221"/>
                  </a:lnTo>
                  <a:lnTo>
                    <a:pt x="947432" y="544856"/>
                  </a:lnTo>
                  <a:lnTo>
                    <a:pt x="947534" y="544856"/>
                  </a:lnTo>
                  <a:lnTo>
                    <a:pt x="947534" y="545503"/>
                  </a:lnTo>
                  <a:lnTo>
                    <a:pt x="947635" y="545503"/>
                  </a:lnTo>
                  <a:lnTo>
                    <a:pt x="947635" y="544856"/>
                  </a:lnTo>
                  <a:lnTo>
                    <a:pt x="947737" y="544856"/>
                  </a:lnTo>
                  <a:lnTo>
                    <a:pt x="947737" y="545503"/>
                  </a:lnTo>
                  <a:lnTo>
                    <a:pt x="947775" y="545503"/>
                  </a:lnTo>
                  <a:lnTo>
                    <a:pt x="947877" y="544856"/>
                  </a:lnTo>
                  <a:lnTo>
                    <a:pt x="947877" y="545503"/>
                  </a:lnTo>
                  <a:lnTo>
                    <a:pt x="947978" y="545503"/>
                  </a:lnTo>
                  <a:lnTo>
                    <a:pt x="948080" y="544856"/>
                  </a:lnTo>
                  <a:lnTo>
                    <a:pt x="948131" y="545503"/>
                  </a:lnTo>
                  <a:lnTo>
                    <a:pt x="948232" y="545503"/>
                  </a:lnTo>
                  <a:lnTo>
                    <a:pt x="948321" y="546849"/>
                  </a:lnTo>
                  <a:lnTo>
                    <a:pt x="948423" y="546849"/>
                  </a:lnTo>
                  <a:lnTo>
                    <a:pt x="948474" y="547446"/>
                  </a:lnTo>
                  <a:lnTo>
                    <a:pt x="948575" y="546849"/>
                  </a:lnTo>
                  <a:lnTo>
                    <a:pt x="948626" y="546849"/>
                  </a:lnTo>
                  <a:lnTo>
                    <a:pt x="948677" y="545503"/>
                  </a:lnTo>
                  <a:lnTo>
                    <a:pt x="948778" y="546849"/>
                  </a:lnTo>
                  <a:lnTo>
                    <a:pt x="948817" y="546849"/>
                  </a:lnTo>
                  <a:lnTo>
                    <a:pt x="948867" y="545503"/>
                  </a:lnTo>
                  <a:lnTo>
                    <a:pt x="949020" y="545503"/>
                  </a:lnTo>
                  <a:lnTo>
                    <a:pt x="949071" y="546849"/>
                  </a:lnTo>
                  <a:lnTo>
                    <a:pt x="949121" y="546849"/>
                  </a:lnTo>
                  <a:lnTo>
                    <a:pt x="949121" y="545503"/>
                  </a:lnTo>
                  <a:lnTo>
                    <a:pt x="949363" y="545503"/>
                  </a:lnTo>
                  <a:lnTo>
                    <a:pt x="949363" y="546849"/>
                  </a:lnTo>
                  <a:lnTo>
                    <a:pt x="949464" y="545503"/>
                  </a:lnTo>
                  <a:lnTo>
                    <a:pt x="949515" y="546849"/>
                  </a:lnTo>
                  <a:lnTo>
                    <a:pt x="949667" y="546849"/>
                  </a:lnTo>
                  <a:lnTo>
                    <a:pt x="949718" y="545503"/>
                  </a:lnTo>
                  <a:lnTo>
                    <a:pt x="949769" y="545503"/>
                  </a:lnTo>
                  <a:lnTo>
                    <a:pt x="949769" y="546849"/>
                  </a:lnTo>
                  <a:lnTo>
                    <a:pt x="949820" y="545503"/>
                  </a:lnTo>
                  <a:lnTo>
                    <a:pt x="950061" y="545503"/>
                  </a:lnTo>
                  <a:lnTo>
                    <a:pt x="950061" y="546849"/>
                  </a:lnTo>
                  <a:lnTo>
                    <a:pt x="950264" y="546849"/>
                  </a:lnTo>
                  <a:lnTo>
                    <a:pt x="950264" y="547446"/>
                  </a:lnTo>
                  <a:lnTo>
                    <a:pt x="950404" y="547446"/>
                  </a:lnTo>
                  <a:lnTo>
                    <a:pt x="950404" y="546849"/>
                  </a:lnTo>
                  <a:lnTo>
                    <a:pt x="950810" y="546849"/>
                  </a:lnTo>
                  <a:lnTo>
                    <a:pt x="950810" y="547446"/>
                  </a:lnTo>
                  <a:lnTo>
                    <a:pt x="950861" y="546849"/>
                  </a:lnTo>
                  <a:lnTo>
                    <a:pt x="950912" y="547446"/>
                  </a:lnTo>
                  <a:lnTo>
                    <a:pt x="950912" y="546849"/>
                  </a:lnTo>
                  <a:lnTo>
                    <a:pt x="950950" y="546849"/>
                  </a:lnTo>
                  <a:lnTo>
                    <a:pt x="951052" y="547446"/>
                  </a:lnTo>
                  <a:lnTo>
                    <a:pt x="951153" y="547446"/>
                  </a:lnTo>
                  <a:lnTo>
                    <a:pt x="951255" y="548081"/>
                  </a:lnTo>
                  <a:lnTo>
                    <a:pt x="951407" y="548081"/>
                  </a:lnTo>
                  <a:lnTo>
                    <a:pt x="951496" y="548780"/>
                  </a:lnTo>
                  <a:lnTo>
                    <a:pt x="951547" y="548780"/>
                  </a:lnTo>
                  <a:lnTo>
                    <a:pt x="951547" y="548081"/>
                  </a:lnTo>
                  <a:lnTo>
                    <a:pt x="951598" y="548081"/>
                  </a:lnTo>
                  <a:lnTo>
                    <a:pt x="951598" y="548780"/>
                  </a:lnTo>
                  <a:lnTo>
                    <a:pt x="951801" y="548780"/>
                  </a:lnTo>
                  <a:lnTo>
                    <a:pt x="951801" y="549427"/>
                  </a:lnTo>
                  <a:lnTo>
                    <a:pt x="951852" y="549427"/>
                  </a:lnTo>
                  <a:lnTo>
                    <a:pt x="951852" y="548780"/>
                  </a:lnTo>
                  <a:lnTo>
                    <a:pt x="952195" y="548780"/>
                  </a:lnTo>
                  <a:lnTo>
                    <a:pt x="952195" y="549427"/>
                  </a:lnTo>
                  <a:lnTo>
                    <a:pt x="952246" y="548780"/>
                  </a:lnTo>
                  <a:lnTo>
                    <a:pt x="952296" y="548081"/>
                  </a:lnTo>
                  <a:lnTo>
                    <a:pt x="952398" y="547446"/>
                  </a:lnTo>
                  <a:lnTo>
                    <a:pt x="952398" y="546849"/>
                  </a:lnTo>
                  <a:lnTo>
                    <a:pt x="952499" y="546849"/>
                  </a:lnTo>
                  <a:lnTo>
                    <a:pt x="952499" y="547446"/>
                  </a:lnTo>
                  <a:lnTo>
                    <a:pt x="952690" y="547446"/>
                  </a:lnTo>
                  <a:lnTo>
                    <a:pt x="952741" y="546849"/>
                  </a:lnTo>
                  <a:lnTo>
                    <a:pt x="952741" y="547446"/>
                  </a:lnTo>
                  <a:lnTo>
                    <a:pt x="952842" y="547446"/>
                  </a:lnTo>
                  <a:lnTo>
                    <a:pt x="952842" y="548081"/>
                  </a:lnTo>
                  <a:lnTo>
                    <a:pt x="952893" y="548081"/>
                  </a:lnTo>
                  <a:lnTo>
                    <a:pt x="952944" y="547446"/>
                  </a:lnTo>
                  <a:lnTo>
                    <a:pt x="952995" y="546849"/>
                  </a:lnTo>
                  <a:lnTo>
                    <a:pt x="952995" y="545503"/>
                  </a:lnTo>
                  <a:lnTo>
                    <a:pt x="953185" y="545503"/>
                  </a:lnTo>
                  <a:lnTo>
                    <a:pt x="953185" y="546849"/>
                  </a:lnTo>
                  <a:lnTo>
                    <a:pt x="953439" y="546849"/>
                  </a:lnTo>
                  <a:lnTo>
                    <a:pt x="953439" y="547446"/>
                  </a:lnTo>
                  <a:lnTo>
                    <a:pt x="953541" y="546849"/>
                  </a:lnTo>
                  <a:lnTo>
                    <a:pt x="953541" y="547446"/>
                  </a:lnTo>
                  <a:lnTo>
                    <a:pt x="953681" y="547446"/>
                  </a:lnTo>
                  <a:lnTo>
                    <a:pt x="953681" y="548081"/>
                  </a:lnTo>
                  <a:lnTo>
                    <a:pt x="953782" y="547446"/>
                  </a:lnTo>
                  <a:lnTo>
                    <a:pt x="953833" y="547446"/>
                  </a:lnTo>
                  <a:lnTo>
                    <a:pt x="953884" y="546849"/>
                  </a:lnTo>
                  <a:lnTo>
                    <a:pt x="953985" y="547446"/>
                  </a:lnTo>
                  <a:lnTo>
                    <a:pt x="954087" y="547446"/>
                  </a:lnTo>
                  <a:lnTo>
                    <a:pt x="954125" y="548081"/>
                  </a:lnTo>
                  <a:lnTo>
                    <a:pt x="954227" y="548081"/>
                  </a:lnTo>
                  <a:lnTo>
                    <a:pt x="954227" y="547446"/>
                  </a:lnTo>
                  <a:lnTo>
                    <a:pt x="954481" y="547446"/>
                  </a:lnTo>
                  <a:lnTo>
                    <a:pt x="954532" y="548081"/>
                  </a:lnTo>
                  <a:lnTo>
                    <a:pt x="954532" y="547446"/>
                  </a:lnTo>
                  <a:lnTo>
                    <a:pt x="955421" y="547446"/>
                  </a:lnTo>
                  <a:lnTo>
                    <a:pt x="955421" y="548081"/>
                  </a:lnTo>
                  <a:lnTo>
                    <a:pt x="955471" y="548081"/>
                  </a:lnTo>
                  <a:lnTo>
                    <a:pt x="955573" y="547446"/>
                  </a:lnTo>
                  <a:lnTo>
                    <a:pt x="955865" y="547446"/>
                  </a:lnTo>
                  <a:lnTo>
                    <a:pt x="955865" y="546849"/>
                  </a:lnTo>
                  <a:lnTo>
                    <a:pt x="956119" y="546849"/>
                  </a:lnTo>
                  <a:lnTo>
                    <a:pt x="956170" y="547446"/>
                  </a:lnTo>
                  <a:lnTo>
                    <a:pt x="956259" y="547446"/>
                  </a:lnTo>
                  <a:lnTo>
                    <a:pt x="956259" y="548081"/>
                  </a:lnTo>
                  <a:lnTo>
                    <a:pt x="956309" y="547446"/>
                  </a:lnTo>
                  <a:lnTo>
                    <a:pt x="956411" y="547446"/>
                  </a:lnTo>
                  <a:lnTo>
                    <a:pt x="956411" y="548081"/>
                  </a:lnTo>
                  <a:lnTo>
                    <a:pt x="956614" y="548081"/>
                  </a:lnTo>
                  <a:lnTo>
                    <a:pt x="956716" y="547446"/>
                  </a:lnTo>
                  <a:lnTo>
                    <a:pt x="956716" y="548081"/>
                  </a:lnTo>
                  <a:lnTo>
                    <a:pt x="956856" y="548081"/>
                  </a:lnTo>
                  <a:lnTo>
                    <a:pt x="956957" y="548780"/>
                  </a:lnTo>
                  <a:lnTo>
                    <a:pt x="957262" y="548780"/>
                  </a:lnTo>
                  <a:lnTo>
                    <a:pt x="957300" y="549427"/>
                  </a:lnTo>
                  <a:lnTo>
                    <a:pt x="957656" y="549427"/>
                  </a:lnTo>
                  <a:lnTo>
                    <a:pt x="957707" y="548780"/>
                  </a:lnTo>
                  <a:lnTo>
                    <a:pt x="957757" y="549427"/>
                  </a:lnTo>
                  <a:lnTo>
                    <a:pt x="957846" y="550761"/>
                  </a:lnTo>
                  <a:lnTo>
                    <a:pt x="957897" y="550761"/>
                  </a:lnTo>
                  <a:lnTo>
                    <a:pt x="957948" y="549427"/>
                  </a:lnTo>
                  <a:lnTo>
                    <a:pt x="957948" y="550761"/>
                  </a:lnTo>
                  <a:lnTo>
                    <a:pt x="957999" y="550761"/>
                  </a:lnTo>
                  <a:lnTo>
                    <a:pt x="957999" y="549427"/>
                  </a:lnTo>
                  <a:lnTo>
                    <a:pt x="958151" y="549427"/>
                  </a:lnTo>
                  <a:lnTo>
                    <a:pt x="958202" y="550761"/>
                  </a:lnTo>
                  <a:lnTo>
                    <a:pt x="958342" y="550761"/>
                  </a:lnTo>
                  <a:lnTo>
                    <a:pt x="958342" y="549427"/>
                  </a:lnTo>
                  <a:lnTo>
                    <a:pt x="958392" y="548081"/>
                  </a:lnTo>
                  <a:lnTo>
                    <a:pt x="958545" y="548081"/>
                  </a:lnTo>
                  <a:lnTo>
                    <a:pt x="958596" y="548780"/>
                  </a:lnTo>
                  <a:lnTo>
                    <a:pt x="958596" y="548081"/>
                  </a:lnTo>
                  <a:lnTo>
                    <a:pt x="958646" y="548081"/>
                  </a:lnTo>
                  <a:lnTo>
                    <a:pt x="958748" y="548780"/>
                  </a:lnTo>
                  <a:lnTo>
                    <a:pt x="958799" y="548780"/>
                  </a:lnTo>
                  <a:lnTo>
                    <a:pt x="958799" y="548081"/>
                  </a:lnTo>
                  <a:lnTo>
                    <a:pt x="958849" y="548780"/>
                  </a:lnTo>
                  <a:lnTo>
                    <a:pt x="958888" y="548081"/>
                  </a:lnTo>
                  <a:lnTo>
                    <a:pt x="958989" y="547446"/>
                  </a:lnTo>
                  <a:lnTo>
                    <a:pt x="958989" y="546849"/>
                  </a:lnTo>
                  <a:lnTo>
                    <a:pt x="959040" y="545503"/>
                  </a:lnTo>
                  <a:lnTo>
                    <a:pt x="959192" y="545503"/>
                  </a:lnTo>
                  <a:lnTo>
                    <a:pt x="959192" y="546849"/>
                  </a:lnTo>
                  <a:lnTo>
                    <a:pt x="959243" y="546849"/>
                  </a:lnTo>
                  <a:lnTo>
                    <a:pt x="959294" y="547446"/>
                  </a:lnTo>
                  <a:lnTo>
                    <a:pt x="959345" y="547446"/>
                  </a:lnTo>
                  <a:lnTo>
                    <a:pt x="959434" y="548081"/>
                  </a:lnTo>
                  <a:lnTo>
                    <a:pt x="959484" y="547446"/>
                  </a:lnTo>
                  <a:lnTo>
                    <a:pt x="959484" y="548081"/>
                  </a:lnTo>
                  <a:lnTo>
                    <a:pt x="959535" y="547446"/>
                  </a:lnTo>
                  <a:lnTo>
                    <a:pt x="959586" y="548081"/>
                  </a:lnTo>
                  <a:lnTo>
                    <a:pt x="959688" y="548081"/>
                  </a:lnTo>
                  <a:lnTo>
                    <a:pt x="959688" y="548780"/>
                  </a:lnTo>
                  <a:lnTo>
                    <a:pt x="959738" y="548780"/>
                  </a:lnTo>
                  <a:lnTo>
                    <a:pt x="959789" y="548081"/>
                  </a:lnTo>
                  <a:lnTo>
                    <a:pt x="959891" y="548081"/>
                  </a:lnTo>
                  <a:lnTo>
                    <a:pt x="959929" y="548780"/>
                  </a:lnTo>
                  <a:lnTo>
                    <a:pt x="959980" y="548780"/>
                  </a:lnTo>
                  <a:lnTo>
                    <a:pt x="960031" y="549427"/>
                  </a:lnTo>
                  <a:lnTo>
                    <a:pt x="960132" y="549427"/>
                  </a:lnTo>
                  <a:lnTo>
                    <a:pt x="960132" y="548780"/>
                  </a:lnTo>
                  <a:lnTo>
                    <a:pt x="960335" y="548780"/>
                  </a:lnTo>
                  <a:lnTo>
                    <a:pt x="960386" y="548081"/>
                  </a:lnTo>
                  <a:lnTo>
                    <a:pt x="960437" y="548081"/>
                  </a:lnTo>
                  <a:lnTo>
                    <a:pt x="960437" y="548780"/>
                  </a:lnTo>
                  <a:lnTo>
                    <a:pt x="960577" y="548780"/>
                  </a:lnTo>
                  <a:lnTo>
                    <a:pt x="960628" y="548081"/>
                  </a:lnTo>
                  <a:lnTo>
                    <a:pt x="961021" y="548081"/>
                  </a:lnTo>
                  <a:lnTo>
                    <a:pt x="961021" y="548780"/>
                  </a:lnTo>
                  <a:lnTo>
                    <a:pt x="961072" y="548780"/>
                  </a:lnTo>
                  <a:lnTo>
                    <a:pt x="961072" y="548081"/>
                  </a:lnTo>
                  <a:lnTo>
                    <a:pt x="961275" y="548081"/>
                  </a:lnTo>
                  <a:lnTo>
                    <a:pt x="961275" y="547446"/>
                  </a:lnTo>
                  <a:lnTo>
                    <a:pt x="961326" y="547446"/>
                  </a:lnTo>
                  <a:lnTo>
                    <a:pt x="961326" y="548081"/>
                  </a:lnTo>
                  <a:lnTo>
                    <a:pt x="961567" y="548081"/>
                  </a:lnTo>
                  <a:lnTo>
                    <a:pt x="961618" y="547446"/>
                  </a:lnTo>
                  <a:lnTo>
                    <a:pt x="961618" y="548081"/>
                  </a:lnTo>
                  <a:lnTo>
                    <a:pt x="961720" y="548081"/>
                  </a:lnTo>
                  <a:lnTo>
                    <a:pt x="961720" y="547446"/>
                  </a:lnTo>
                  <a:lnTo>
                    <a:pt x="961821" y="547446"/>
                  </a:lnTo>
                  <a:lnTo>
                    <a:pt x="961821" y="548081"/>
                  </a:lnTo>
                  <a:lnTo>
                    <a:pt x="962215" y="548081"/>
                  </a:lnTo>
                  <a:lnTo>
                    <a:pt x="962215" y="547446"/>
                  </a:lnTo>
                  <a:lnTo>
                    <a:pt x="962266" y="548081"/>
                  </a:lnTo>
                  <a:lnTo>
                    <a:pt x="962266" y="547446"/>
                  </a:lnTo>
                  <a:lnTo>
                    <a:pt x="962469" y="547446"/>
                  </a:lnTo>
                  <a:lnTo>
                    <a:pt x="962520" y="548081"/>
                  </a:lnTo>
                  <a:lnTo>
                    <a:pt x="962863" y="548081"/>
                  </a:lnTo>
                  <a:lnTo>
                    <a:pt x="962863" y="548780"/>
                  </a:lnTo>
                  <a:lnTo>
                    <a:pt x="963066" y="548780"/>
                  </a:lnTo>
                  <a:lnTo>
                    <a:pt x="963104" y="549427"/>
                  </a:lnTo>
                  <a:lnTo>
                    <a:pt x="963561" y="549427"/>
                  </a:lnTo>
                  <a:lnTo>
                    <a:pt x="963561" y="548780"/>
                  </a:lnTo>
                  <a:lnTo>
                    <a:pt x="963650" y="548780"/>
                  </a:lnTo>
                  <a:lnTo>
                    <a:pt x="963650" y="549427"/>
                  </a:lnTo>
                  <a:lnTo>
                    <a:pt x="963752" y="549427"/>
                  </a:lnTo>
                  <a:lnTo>
                    <a:pt x="963803" y="550761"/>
                  </a:lnTo>
                  <a:lnTo>
                    <a:pt x="964006" y="550761"/>
                  </a:lnTo>
                  <a:lnTo>
                    <a:pt x="964006" y="549427"/>
                  </a:lnTo>
                  <a:lnTo>
                    <a:pt x="964057" y="549427"/>
                  </a:lnTo>
                  <a:lnTo>
                    <a:pt x="964057" y="550761"/>
                  </a:lnTo>
                  <a:lnTo>
                    <a:pt x="964107" y="550761"/>
                  </a:lnTo>
                  <a:lnTo>
                    <a:pt x="964196" y="551409"/>
                  </a:lnTo>
                  <a:lnTo>
                    <a:pt x="964247" y="550761"/>
                  </a:lnTo>
                  <a:lnTo>
                    <a:pt x="964298" y="549427"/>
                  </a:lnTo>
                  <a:lnTo>
                    <a:pt x="964349" y="548780"/>
                  </a:lnTo>
                  <a:lnTo>
                    <a:pt x="964552" y="548780"/>
                  </a:lnTo>
                  <a:lnTo>
                    <a:pt x="964552" y="548081"/>
                  </a:lnTo>
                  <a:lnTo>
                    <a:pt x="964653" y="548081"/>
                  </a:lnTo>
                  <a:lnTo>
                    <a:pt x="964692" y="547446"/>
                  </a:lnTo>
                  <a:lnTo>
                    <a:pt x="964692" y="548081"/>
                  </a:lnTo>
                  <a:lnTo>
                    <a:pt x="964742" y="548081"/>
                  </a:lnTo>
                  <a:lnTo>
                    <a:pt x="964793" y="548780"/>
                  </a:lnTo>
                  <a:lnTo>
                    <a:pt x="964946" y="548780"/>
                  </a:lnTo>
                  <a:lnTo>
                    <a:pt x="964946" y="548081"/>
                  </a:lnTo>
                  <a:lnTo>
                    <a:pt x="964996" y="547446"/>
                  </a:lnTo>
                  <a:lnTo>
                    <a:pt x="965149" y="547446"/>
                  </a:lnTo>
                  <a:lnTo>
                    <a:pt x="965149" y="546849"/>
                  </a:lnTo>
                  <a:lnTo>
                    <a:pt x="965199" y="547446"/>
                  </a:lnTo>
                  <a:lnTo>
                    <a:pt x="965339" y="547446"/>
                  </a:lnTo>
                  <a:lnTo>
                    <a:pt x="965390" y="546849"/>
                  </a:lnTo>
                  <a:lnTo>
                    <a:pt x="965441" y="547446"/>
                  </a:lnTo>
                  <a:lnTo>
                    <a:pt x="965542" y="547446"/>
                  </a:lnTo>
                  <a:lnTo>
                    <a:pt x="965542" y="548081"/>
                  </a:lnTo>
                  <a:lnTo>
                    <a:pt x="965593" y="548780"/>
                  </a:lnTo>
                  <a:lnTo>
                    <a:pt x="965695" y="548780"/>
                  </a:lnTo>
                  <a:lnTo>
                    <a:pt x="965784" y="548081"/>
                  </a:lnTo>
                  <a:lnTo>
                    <a:pt x="965784" y="548780"/>
                  </a:lnTo>
                  <a:lnTo>
                    <a:pt x="966241" y="548780"/>
                  </a:lnTo>
                  <a:lnTo>
                    <a:pt x="966279" y="549427"/>
                  </a:lnTo>
                  <a:lnTo>
                    <a:pt x="966279" y="548780"/>
                  </a:lnTo>
                  <a:lnTo>
                    <a:pt x="966381" y="548780"/>
                  </a:lnTo>
                  <a:lnTo>
                    <a:pt x="966381" y="548081"/>
                  </a:lnTo>
                  <a:lnTo>
                    <a:pt x="966685" y="548081"/>
                  </a:lnTo>
                  <a:lnTo>
                    <a:pt x="966685" y="547446"/>
                  </a:lnTo>
                  <a:lnTo>
                    <a:pt x="966736" y="548081"/>
                  </a:lnTo>
                  <a:lnTo>
                    <a:pt x="966787" y="548081"/>
                  </a:lnTo>
                  <a:lnTo>
                    <a:pt x="966787" y="548780"/>
                  </a:lnTo>
                  <a:lnTo>
                    <a:pt x="966825" y="548780"/>
                  </a:lnTo>
                  <a:lnTo>
                    <a:pt x="966927" y="548081"/>
                  </a:lnTo>
                  <a:lnTo>
                    <a:pt x="967232" y="548081"/>
                  </a:lnTo>
                  <a:lnTo>
                    <a:pt x="967282" y="548780"/>
                  </a:lnTo>
                  <a:lnTo>
                    <a:pt x="967371" y="548081"/>
                  </a:lnTo>
                  <a:lnTo>
                    <a:pt x="967422" y="547446"/>
                  </a:lnTo>
                  <a:lnTo>
                    <a:pt x="967625" y="547446"/>
                  </a:lnTo>
                  <a:lnTo>
                    <a:pt x="967676" y="548081"/>
                  </a:lnTo>
                  <a:lnTo>
                    <a:pt x="968121" y="548081"/>
                  </a:lnTo>
                  <a:lnTo>
                    <a:pt x="968171" y="547446"/>
                  </a:lnTo>
                  <a:lnTo>
                    <a:pt x="968324" y="547446"/>
                  </a:lnTo>
                  <a:lnTo>
                    <a:pt x="968324" y="548081"/>
                  </a:lnTo>
                  <a:lnTo>
                    <a:pt x="968768" y="548081"/>
                  </a:lnTo>
                  <a:lnTo>
                    <a:pt x="968819" y="548780"/>
                  </a:lnTo>
                  <a:lnTo>
                    <a:pt x="969314" y="548780"/>
                  </a:lnTo>
                  <a:lnTo>
                    <a:pt x="969416" y="549427"/>
                  </a:lnTo>
                  <a:lnTo>
                    <a:pt x="969454" y="548780"/>
                  </a:lnTo>
                  <a:lnTo>
                    <a:pt x="969505" y="548780"/>
                  </a:lnTo>
                  <a:lnTo>
                    <a:pt x="969505" y="548081"/>
                  </a:lnTo>
                  <a:lnTo>
                    <a:pt x="969556" y="548780"/>
                  </a:lnTo>
                  <a:lnTo>
                    <a:pt x="969556" y="549427"/>
                  </a:lnTo>
                  <a:lnTo>
                    <a:pt x="969708" y="549427"/>
                  </a:lnTo>
                  <a:lnTo>
                    <a:pt x="969708" y="548780"/>
                  </a:lnTo>
                  <a:lnTo>
                    <a:pt x="969759" y="548780"/>
                  </a:lnTo>
                  <a:lnTo>
                    <a:pt x="969860" y="549427"/>
                  </a:lnTo>
                  <a:lnTo>
                    <a:pt x="969962" y="549427"/>
                  </a:lnTo>
                  <a:lnTo>
                    <a:pt x="970000" y="550761"/>
                  </a:lnTo>
                  <a:lnTo>
                    <a:pt x="970102" y="549427"/>
                  </a:lnTo>
                  <a:lnTo>
                    <a:pt x="970153" y="549427"/>
                  </a:lnTo>
                  <a:lnTo>
                    <a:pt x="970153" y="550761"/>
                  </a:lnTo>
                  <a:lnTo>
                    <a:pt x="970203" y="550761"/>
                  </a:lnTo>
                  <a:lnTo>
                    <a:pt x="970305" y="549427"/>
                  </a:lnTo>
                  <a:lnTo>
                    <a:pt x="970356" y="549427"/>
                  </a:lnTo>
                  <a:lnTo>
                    <a:pt x="970356" y="548780"/>
                  </a:lnTo>
                  <a:lnTo>
                    <a:pt x="970407" y="548081"/>
                  </a:lnTo>
                  <a:lnTo>
                    <a:pt x="970407" y="547446"/>
                  </a:lnTo>
                  <a:lnTo>
                    <a:pt x="970597" y="547446"/>
                  </a:lnTo>
                  <a:lnTo>
                    <a:pt x="970648" y="548081"/>
                  </a:lnTo>
                  <a:lnTo>
                    <a:pt x="970699" y="548780"/>
                  </a:lnTo>
                  <a:lnTo>
                    <a:pt x="970800" y="548780"/>
                  </a:lnTo>
                  <a:lnTo>
                    <a:pt x="970800" y="549427"/>
                  </a:lnTo>
                  <a:lnTo>
                    <a:pt x="970902" y="549427"/>
                  </a:lnTo>
                  <a:lnTo>
                    <a:pt x="970902" y="548780"/>
                  </a:lnTo>
                  <a:lnTo>
                    <a:pt x="971003" y="548780"/>
                  </a:lnTo>
                  <a:lnTo>
                    <a:pt x="971042" y="548081"/>
                  </a:lnTo>
                  <a:lnTo>
                    <a:pt x="971042" y="547446"/>
                  </a:lnTo>
                  <a:lnTo>
                    <a:pt x="971092" y="546849"/>
                  </a:lnTo>
                  <a:lnTo>
                    <a:pt x="971143" y="545503"/>
                  </a:lnTo>
                  <a:lnTo>
                    <a:pt x="971296" y="545503"/>
                  </a:lnTo>
                  <a:lnTo>
                    <a:pt x="971296" y="546849"/>
                  </a:lnTo>
                  <a:lnTo>
                    <a:pt x="971448" y="546849"/>
                  </a:lnTo>
                  <a:lnTo>
                    <a:pt x="971448" y="547446"/>
                  </a:lnTo>
                  <a:lnTo>
                    <a:pt x="971549" y="547446"/>
                  </a:lnTo>
                  <a:lnTo>
                    <a:pt x="971588" y="546849"/>
                  </a:lnTo>
                  <a:lnTo>
                    <a:pt x="971689" y="547446"/>
                  </a:lnTo>
                  <a:lnTo>
                    <a:pt x="971740" y="548081"/>
                  </a:lnTo>
                  <a:lnTo>
                    <a:pt x="971943" y="548081"/>
                  </a:lnTo>
                  <a:lnTo>
                    <a:pt x="971994" y="548780"/>
                  </a:lnTo>
                  <a:lnTo>
                    <a:pt x="972134" y="548780"/>
                  </a:lnTo>
                  <a:lnTo>
                    <a:pt x="972134" y="548081"/>
                  </a:lnTo>
                  <a:lnTo>
                    <a:pt x="972388" y="548081"/>
                  </a:lnTo>
                  <a:lnTo>
                    <a:pt x="972438" y="548780"/>
                  </a:lnTo>
                  <a:lnTo>
                    <a:pt x="972489" y="548780"/>
                  </a:lnTo>
                  <a:lnTo>
                    <a:pt x="972489" y="548081"/>
                  </a:lnTo>
                  <a:lnTo>
                    <a:pt x="972591" y="548081"/>
                  </a:lnTo>
                  <a:lnTo>
                    <a:pt x="972591" y="547446"/>
                  </a:lnTo>
                  <a:lnTo>
                    <a:pt x="972680" y="547446"/>
                  </a:lnTo>
                  <a:lnTo>
                    <a:pt x="972731" y="548081"/>
                  </a:lnTo>
                  <a:lnTo>
                    <a:pt x="972934" y="548081"/>
                  </a:lnTo>
                  <a:lnTo>
                    <a:pt x="972934" y="548780"/>
                  </a:lnTo>
                  <a:lnTo>
                    <a:pt x="973035" y="548780"/>
                  </a:lnTo>
                  <a:lnTo>
                    <a:pt x="973086" y="548081"/>
                  </a:lnTo>
                  <a:lnTo>
                    <a:pt x="973175" y="548081"/>
                  </a:lnTo>
                  <a:lnTo>
                    <a:pt x="973175" y="547446"/>
                  </a:lnTo>
                  <a:lnTo>
                    <a:pt x="973480" y="547446"/>
                  </a:lnTo>
                  <a:lnTo>
                    <a:pt x="973531" y="548081"/>
                  </a:lnTo>
                  <a:lnTo>
                    <a:pt x="973721" y="548081"/>
                  </a:lnTo>
                  <a:lnTo>
                    <a:pt x="973721" y="547446"/>
                  </a:lnTo>
                  <a:lnTo>
                    <a:pt x="973772" y="547446"/>
                  </a:lnTo>
                  <a:lnTo>
                    <a:pt x="973772" y="548081"/>
                  </a:lnTo>
                  <a:lnTo>
                    <a:pt x="973874" y="548081"/>
                  </a:lnTo>
                  <a:lnTo>
                    <a:pt x="973975" y="547446"/>
                  </a:lnTo>
                  <a:lnTo>
                    <a:pt x="973975" y="548081"/>
                  </a:lnTo>
                  <a:lnTo>
                    <a:pt x="974026" y="547446"/>
                  </a:lnTo>
                  <a:lnTo>
                    <a:pt x="974077" y="547446"/>
                  </a:lnTo>
                  <a:lnTo>
                    <a:pt x="974178" y="548081"/>
                  </a:lnTo>
                  <a:lnTo>
                    <a:pt x="974217" y="548081"/>
                  </a:lnTo>
                  <a:lnTo>
                    <a:pt x="974267" y="547446"/>
                  </a:lnTo>
                  <a:lnTo>
                    <a:pt x="974420" y="547446"/>
                  </a:lnTo>
                  <a:lnTo>
                    <a:pt x="974420" y="546849"/>
                  </a:lnTo>
                  <a:lnTo>
                    <a:pt x="974471" y="547446"/>
                  </a:lnTo>
                  <a:lnTo>
                    <a:pt x="974521" y="547446"/>
                  </a:lnTo>
                  <a:lnTo>
                    <a:pt x="974623" y="548081"/>
                  </a:lnTo>
                  <a:lnTo>
                    <a:pt x="975067" y="548081"/>
                  </a:lnTo>
                  <a:lnTo>
                    <a:pt x="975118" y="548780"/>
                  </a:lnTo>
                  <a:lnTo>
                    <a:pt x="975359" y="548780"/>
                  </a:lnTo>
                  <a:lnTo>
                    <a:pt x="975410" y="549427"/>
                  </a:lnTo>
                  <a:lnTo>
                    <a:pt x="975461" y="548780"/>
                  </a:lnTo>
                  <a:lnTo>
                    <a:pt x="975664" y="548780"/>
                  </a:lnTo>
                  <a:lnTo>
                    <a:pt x="975766" y="549427"/>
                  </a:lnTo>
                  <a:lnTo>
                    <a:pt x="975855" y="549427"/>
                  </a:lnTo>
                  <a:lnTo>
                    <a:pt x="975855" y="550761"/>
                  </a:lnTo>
                  <a:lnTo>
                    <a:pt x="975906" y="550761"/>
                  </a:lnTo>
                  <a:lnTo>
                    <a:pt x="975906" y="549427"/>
                  </a:lnTo>
                  <a:lnTo>
                    <a:pt x="976007" y="550761"/>
                  </a:lnTo>
                  <a:lnTo>
                    <a:pt x="976210" y="550761"/>
                  </a:lnTo>
                  <a:lnTo>
                    <a:pt x="976261" y="549427"/>
                  </a:lnTo>
                  <a:lnTo>
                    <a:pt x="976312" y="548780"/>
                  </a:lnTo>
                  <a:lnTo>
                    <a:pt x="976350" y="548081"/>
                  </a:lnTo>
                  <a:lnTo>
                    <a:pt x="976350" y="547446"/>
                  </a:lnTo>
                  <a:lnTo>
                    <a:pt x="976452" y="547446"/>
                  </a:lnTo>
                  <a:lnTo>
                    <a:pt x="976503" y="546849"/>
                  </a:lnTo>
                  <a:lnTo>
                    <a:pt x="976503" y="547446"/>
                  </a:lnTo>
                  <a:lnTo>
                    <a:pt x="976553" y="546849"/>
                  </a:lnTo>
                  <a:lnTo>
                    <a:pt x="976553" y="547446"/>
                  </a:lnTo>
                  <a:lnTo>
                    <a:pt x="976706" y="547446"/>
                  </a:lnTo>
                  <a:lnTo>
                    <a:pt x="976706" y="548081"/>
                  </a:lnTo>
                  <a:lnTo>
                    <a:pt x="976896" y="548081"/>
                  </a:lnTo>
                  <a:lnTo>
                    <a:pt x="976896" y="548780"/>
                  </a:lnTo>
                  <a:lnTo>
                    <a:pt x="976998" y="548780"/>
                  </a:lnTo>
                  <a:lnTo>
                    <a:pt x="976998" y="548081"/>
                  </a:lnTo>
                  <a:lnTo>
                    <a:pt x="977049" y="547446"/>
                  </a:lnTo>
                  <a:lnTo>
                    <a:pt x="977150" y="547446"/>
                  </a:lnTo>
                  <a:lnTo>
                    <a:pt x="977201" y="546849"/>
                  </a:lnTo>
                  <a:lnTo>
                    <a:pt x="977252" y="546849"/>
                  </a:lnTo>
                  <a:lnTo>
                    <a:pt x="977353" y="547446"/>
                  </a:lnTo>
                  <a:lnTo>
                    <a:pt x="977392" y="547446"/>
                  </a:lnTo>
                  <a:lnTo>
                    <a:pt x="977392" y="548081"/>
                  </a:lnTo>
                  <a:lnTo>
                    <a:pt x="977696" y="548081"/>
                  </a:lnTo>
                  <a:lnTo>
                    <a:pt x="977696" y="548780"/>
                  </a:lnTo>
                  <a:lnTo>
                    <a:pt x="977938" y="548780"/>
                  </a:lnTo>
                  <a:lnTo>
                    <a:pt x="977938" y="549427"/>
                  </a:lnTo>
                  <a:lnTo>
                    <a:pt x="978293" y="549427"/>
                  </a:lnTo>
                  <a:lnTo>
                    <a:pt x="978293" y="548780"/>
                  </a:lnTo>
                  <a:lnTo>
                    <a:pt x="978738" y="548780"/>
                  </a:lnTo>
                  <a:lnTo>
                    <a:pt x="978788" y="549427"/>
                  </a:lnTo>
                  <a:lnTo>
                    <a:pt x="978941" y="549427"/>
                  </a:lnTo>
                  <a:lnTo>
                    <a:pt x="978979" y="548780"/>
                  </a:lnTo>
                  <a:lnTo>
                    <a:pt x="978979" y="549427"/>
                  </a:lnTo>
                  <a:lnTo>
                    <a:pt x="979030" y="548780"/>
                  </a:lnTo>
                  <a:lnTo>
                    <a:pt x="979081" y="549427"/>
                  </a:lnTo>
                  <a:lnTo>
                    <a:pt x="979182" y="549427"/>
                  </a:lnTo>
                  <a:lnTo>
                    <a:pt x="979182" y="548780"/>
                  </a:lnTo>
                  <a:lnTo>
                    <a:pt x="979525" y="548780"/>
                  </a:lnTo>
                  <a:lnTo>
                    <a:pt x="979627" y="549427"/>
                  </a:lnTo>
                  <a:lnTo>
                    <a:pt x="979627" y="548780"/>
                  </a:lnTo>
                  <a:lnTo>
                    <a:pt x="979728" y="548780"/>
                  </a:lnTo>
                  <a:lnTo>
                    <a:pt x="979728" y="549427"/>
                  </a:lnTo>
                  <a:lnTo>
                    <a:pt x="979932" y="549427"/>
                  </a:lnTo>
                  <a:lnTo>
                    <a:pt x="979982" y="548780"/>
                  </a:lnTo>
                  <a:lnTo>
                    <a:pt x="980071" y="548780"/>
                  </a:lnTo>
                  <a:lnTo>
                    <a:pt x="980122" y="549427"/>
                  </a:lnTo>
                  <a:lnTo>
                    <a:pt x="980325" y="549427"/>
                  </a:lnTo>
                  <a:lnTo>
                    <a:pt x="980376" y="548780"/>
                  </a:lnTo>
                  <a:lnTo>
                    <a:pt x="980376" y="549427"/>
                  </a:lnTo>
                  <a:lnTo>
                    <a:pt x="980427" y="549427"/>
                  </a:lnTo>
                  <a:lnTo>
                    <a:pt x="980528" y="550761"/>
                  </a:lnTo>
                  <a:lnTo>
                    <a:pt x="980668" y="550761"/>
                  </a:lnTo>
                  <a:lnTo>
                    <a:pt x="980668" y="549427"/>
                  </a:lnTo>
                  <a:lnTo>
                    <a:pt x="980770" y="549427"/>
                  </a:lnTo>
                  <a:lnTo>
                    <a:pt x="980770" y="550761"/>
                  </a:lnTo>
                  <a:lnTo>
                    <a:pt x="980821" y="549427"/>
                  </a:lnTo>
                  <a:lnTo>
                    <a:pt x="980821" y="550761"/>
                  </a:lnTo>
                  <a:lnTo>
                    <a:pt x="981074" y="550761"/>
                  </a:lnTo>
                  <a:lnTo>
                    <a:pt x="981113" y="551409"/>
                  </a:lnTo>
                  <a:lnTo>
                    <a:pt x="981113" y="550761"/>
                  </a:lnTo>
                  <a:lnTo>
                    <a:pt x="981265" y="550761"/>
                  </a:lnTo>
                  <a:lnTo>
                    <a:pt x="981316" y="551409"/>
                  </a:lnTo>
                  <a:lnTo>
                    <a:pt x="981468" y="551409"/>
                  </a:lnTo>
                  <a:lnTo>
                    <a:pt x="981519" y="550761"/>
                  </a:lnTo>
                  <a:lnTo>
                    <a:pt x="981709" y="550761"/>
                  </a:lnTo>
                  <a:lnTo>
                    <a:pt x="981760" y="551409"/>
                  </a:lnTo>
                  <a:lnTo>
                    <a:pt x="981913" y="551409"/>
                  </a:lnTo>
                  <a:lnTo>
                    <a:pt x="981913" y="552056"/>
                  </a:lnTo>
                  <a:lnTo>
                    <a:pt x="982014" y="552056"/>
                  </a:lnTo>
                  <a:lnTo>
                    <a:pt x="982116" y="551409"/>
                  </a:lnTo>
                  <a:lnTo>
                    <a:pt x="982154" y="551409"/>
                  </a:lnTo>
                  <a:lnTo>
                    <a:pt x="982154" y="552056"/>
                  </a:lnTo>
                  <a:lnTo>
                    <a:pt x="982256" y="552056"/>
                  </a:lnTo>
                  <a:lnTo>
                    <a:pt x="982256" y="551409"/>
                  </a:lnTo>
                  <a:lnTo>
                    <a:pt x="982357" y="550761"/>
                  </a:lnTo>
                  <a:lnTo>
                    <a:pt x="982408" y="549427"/>
                  </a:lnTo>
                  <a:lnTo>
                    <a:pt x="982459" y="549427"/>
                  </a:lnTo>
                  <a:lnTo>
                    <a:pt x="982560" y="548780"/>
                  </a:lnTo>
                  <a:lnTo>
                    <a:pt x="982611" y="548780"/>
                  </a:lnTo>
                  <a:lnTo>
                    <a:pt x="982662" y="549427"/>
                  </a:lnTo>
                  <a:lnTo>
                    <a:pt x="982802" y="549427"/>
                  </a:lnTo>
                  <a:lnTo>
                    <a:pt x="982802" y="548780"/>
                  </a:lnTo>
                  <a:lnTo>
                    <a:pt x="982853" y="549427"/>
                  </a:lnTo>
                  <a:lnTo>
                    <a:pt x="982903" y="548780"/>
                  </a:lnTo>
                  <a:lnTo>
                    <a:pt x="982903" y="549427"/>
                  </a:lnTo>
                  <a:lnTo>
                    <a:pt x="983005" y="548780"/>
                  </a:lnTo>
                  <a:lnTo>
                    <a:pt x="983005" y="548081"/>
                  </a:lnTo>
                  <a:lnTo>
                    <a:pt x="983107" y="548081"/>
                  </a:lnTo>
                  <a:lnTo>
                    <a:pt x="983157" y="547446"/>
                  </a:lnTo>
                  <a:lnTo>
                    <a:pt x="983246" y="547446"/>
                  </a:lnTo>
                  <a:lnTo>
                    <a:pt x="983246" y="548081"/>
                  </a:lnTo>
                  <a:lnTo>
                    <a:pt x="983297" y="548081"/>
                  </a:lnTo>
                  <a:lnTo>
                    <a:pt x="983348" y="548780"/>
                  </a:lnTo>
                  <a:lnTo>
                    <a:pt x="983348" y="548081"/>
                  </a:lnTo>
                  <a:lnTo>
                    <a:pt x="983399" y="548081"/>
                  </a:lnTo>
                  <a:lnTo>
                    <a:pt x="983399" y="548780"/>
                  </a:lnTo>
                  <a:lnTo>
                    <a:pt x="983500" y="548081"/>
                  </a:lnTo>
                  <a:lnTo>
                    <a:pt x="983500" y="548780"/>
                  </a:lnTo>
                  <a:lnTo>
                    <a:pt x="983703" y="548780"/>
                  </a:lnTo>
                  <a:lnTo>
                    <a:pt x="983703" y="549427"/>
                  </a:lnTo>
                  <a:lnTo>
                    <a:pt x="983742" y="549427"/>
                  </a:lnTo>
                  <a:lnTo>
                    <a:pt x="983792" y="550761"/>
                  </a:lnTo>
                  <a:lnTo>
                    <a:pt x="983792" y="549427"/>
                  </a:lnTo>
                  <a:lnTo>
                    <a:pt x="984046" y="549427"/>
                  </a:lnTo>
                  <a:lnTo>
                    <a:pt x="984046" y="550761"/>
                  </a:lnTo>
                  <a:lnTo>
                    <a:pt x="984148" y="550761"/>
                  </a:lnTo>
                  <a:lnTo>
                    <a:pt x="984199" y="549427"/>
                  </a:lnTo>
                  <a:lnTo>
                    <a:pt x="984440" y="549427"/>
                  </a:lnTo>
                  <a:lnTo>
                    <a:pt x="984491" y="548780"/>
                  </a:lnTo>
                  <a:lnTo>
                    <a:pt x="984592" y="548780"/>
                  </a:lnTo>
                  <a:lnTo>
                    <a:pt x="984643" y="549427"/>
                  </a:lnTo>
                  <a:lnTo>
                    <a:pt x="984986" y="549427"/>
                  </a:lnTo>
                  <a:lnTo>
                    <a:pt x="985088" y="550761"/>
                  </a:lnTo>
                  <a:lnTo>
                    <a:pt x="985189" y="550761"/>
                  </a:lnTo>
                  <a:lnTo>
                    <a:pt x="985189" y="549427"/>
                  </a:lnTo>
                  <a:lnTo>
                    <a:pt x="985634" y="549427"/>
                  </a:lnTo>
                  <a:lnTo>
                    <a:pt x="985735" y="550761"/>
                  </a:lnTo>
                  <a:lnTo>
                    <a:pt x="985837" y="550761"/>
                  </a:lnTo>
                  <a:lnTo>
                    <a:pt x="985837" y="549427"/>
                  </a:lnTo>
                  <a:lnTo>
                    <a:pt x="986231" y="549427"/>
                  </a:lnTo>
                  <a:lnTo>
                    <a:pt x="986231" y="550761"/>
                  </a:lnTo>
                  <a:lnTo>
                    <a:pt x="986282" y="550761"/>
                  </a:lnTo>
                  <a:lnTo>
                    <a:pt x="986282" y="549427"/>
                  </a:lnTo>
                  <a:lnTo>
                    <a:pt x="986574" y="549427"/>
                  </a:lnTo>
                  <a:lnTo>
                    <a:pt x="986574" y="550761"/>
                  </a:lnTo>
                  <a:lnTo>
                    <a:pt x="987018" y="550761"/>
                  </a:lnTo>
                  <a:lnTo>
                    <a:pt x="987120" y="551409"/>
                  </a:lnTo>
                  <a:lnTo>
                    <a:pt x="987171" y="551409"/>
                  </a:lnTo>
                  <a:lnTo>
                    <a:pt x="987221" y="550761"/>
                  </a:lnTo>
                  <a:lnTo>
                    <a:pt x="987221" y="551409"/>
                  </a:lnTo>
                  <a:lnTo>
                    <a:pt x="987323" y="550761"/>
                  </a:lnTo>
                  <a:lnTo>
                    <a:pt x="987564" y="550761"/>
                  </a:lnTo>
                  <a:lnTo>
                    <a:pt x="987615" y="551409"/>
                  </a:lnTo>
                  <a:lnTo>
                    <a:pt x="987615" y="550761"/>
                  </a:lnTo>
                  <a:lnTo>
                    <a:pt x="987666" y="550761"/>
                  </a:lnTo>
                  <a:lnTo>
                    <a:pt x="987666" y="551409"/>
                  </a:lnTo>
                  <a:lnTo>
                    <a:pt x="987767" y="551409"/>
                  </a:lnTo>
                  <a:lnTo>
                    <a:pt x="987818" y="552056"/>
                  </a:lnTo>
                  <a:lnTo>
                    <a:pt x="988009" y="552056"/>
                  </a:lnTo>
                  <a:lnTo>
                    <a:pt x="988009" y="551409"/>
                  </a:lnTo>
                  <a:lnTo>
                    <a:pt x="988110" y="551409"/>
                  </a:lnTo>
                  <a:lnTo>
                    <a:pt x="988161" y="550761"/>
                  </a:lnTo>
                  <a:lnTo>
                    <a:pt x="988263" y="549427"/>
                  </a:lnTo>
                  <a:lnTo>
                    <a:pt x="988263" y="548780"/>
                  </a:lnTo>
                  <a:lnTo>
                    <a:pt x="988313" y="548780"/>
                  </a:lnTo>
                  <a:lnTo>
                    <a:pt x="988313" y="548081"/>
                  </a:lnTo>
                  <a:lnTo>
                    <a:pt x="988364" y="548081"/>
                  </a:lnTo>
                  <a:lnTo>
                    <a:pt x="988466" y="548780"/>
                  </a:lnTo>
                  <a:lnTo>
                    <a:pt x="988466" y="549427"/>
                  </a:lnTo>
                  <a:lnTo>
                    <a:pt x="988504" y="549427"/>
                  </a:lnTo>
                  <a:lnTo>
                    <a:pt x="988555" y="550761"/>
                  </a:lnTo>
                  <a:lnTo>
                    <a:pt x="988555" y="549427"/>
                  </a:lnTo>
                  <a:lnTo>
                    <a:pt x="988606" y="550761"/>
                  </a:lnTo>
                  <a:lnTo>
                    <a:pt x="988707" y="549427"/>
                  </a:lnTo>
                  <a:lnTo>
                    <a:pt x="988758" y="548780"/>
                  </a:lnTo>
                  <a:lnTo>
                    <a:pt x="988758" y="548081"/>
                  </a:lnTo>
                  <a:lnTo>
                    <a:pt x="989152" y="548081"/>
                  </a:lnTo>
                  <a:lnTo>
                    <a:pt x="989203" y="548780"/>
                  </a:lnTo>
                  <a:lnTo>
                    <a:pt x="989253" y="549427"/>
                  </a:lnTo>
                  <a:lnTo>
                    <a:pt x="989253" y="548780"/>
                  </a:lnTo>
                  <a:lnTo>
                    <a:pt x="989355" y="549427"/>
                  </a:lnTo>
                  <a:lnTo>
                    <a:pt x="989355" y="548780"/>
                  </a:lnTo>
                  <a:lnTo>
                    <a:pt x="989507" y="548780"/>
                  </a:lnTo>
                  <a:lnTo>
                    <a:pt x="989507" y="549427"/>
                  </a:lnTo>
                  <a:lnTo>
                    <a:pt x="989850" y="549427"/>
                  </a:lnTo>
                  <a:lnTo>
                    <a:pt x="989850" y="550761"/>
                  </a:lnTo>
                  <a:lnTo>
                    <a:pt x="990092" y="550761"/>
                  </a:lnTo>
                  <a:lnTo>
                    <a:pt x="990092" y="549427"/>
                  </a:lnTo>
                  <a:lnTo>
                    <a:pt x="990396" y="549427"/>
                  </a:lnTo>
                  <a:lnTo>
                    <a:pt x="990396" y="548780"/>
                  </a:lnTo>
                  <a:lnTo>
                    <a:pt x="990549" y="548780"/>
                  </a:lnTo>
                  <a:lnTo>
                    <a:pt x="990549" y="549427"/>
                  </a:lnTo>
                  <a:lnTo>
                    <a:pt x="990638" y="549427"/>
                  </a:lnTo>
                  <a:lnTo>
                    <a:pt x="990739" y="550761"/>
                  </a:lnTo>
                  <a:lnTo>
                    <a:pt x="990790" y="550761"/>
                  </a:lnTo>
                  <a:lnTo>
                    <a:pt x="990790" y="549427"/>
                  </a:lnTo>
                  <a:lnTo>
                    <a:pt x="990993" y="549427"/>
                  </a:lnTo>
                  <a:lnTo>
                    <a:pt x="990993" y="548780"/>
                  </a:lnTo>
                  <a:lnTo>
                    <a:pt x="991184" y="548780"/>
                  </a:lnTo>
                  <a:lnTo>
                    <a:pt x="991234" y="549427"/>
                  </a:lnTo>
                  <a:lnTo>
                    <a:pt x="991438" y="549427"/>
                  </a:lnTo>
                  <a:lnTo>
                    <a:pt x="991488" y="548780"/>
                  </a:lnTo>
                  <a:lnTo>
                    <a:pt x="991539" y="549427"/>
                  </a:lnTo>
                  <a:lnTo>
                    <a:pt x="992085" y="549427"/>
                  </a:lnTo>
                  <a:lnTo>
                    <a:pt x="992085" y="548780"/>
                  </a:lnTo>
                  <a:lnTo>
                    <a:pt x="992136" y="549427"/>
                  </a:lnTo>
                  <a:lnTo>
                    <a:pt x="992378" y="549427"/>
                  </a:lnTo>
                  <a:lnTo>
                    <a:pt x="992378" y="550761"/>
                  </a:lnTo>
                  <a:lnTo>
                    <a:pt x="992530" y="550761"/>
                  </a:lnTo>
                  <a:lnTo>
                    <a:pt x="992581" y="549427"/>
                  </a:lnTo>
                  <a:lnTo>
                    <a:pt x="992581" y="550761"/>
                  </a:lnTo>
                  <a:lnTo>
                    <a:pt x="992632" y="549427"/>
                  </a:lnTo>
                  <a:lnTo>
                    <a:pt x="992822" y="549427"/>
                  </a:lnTo>
                  <a:lnTo>
                    <a:pt x="992822" y="550761"/>
                  </a:lnTo>
                  <a:lnTo>
                    <a:pt x="992873" y="549427"/>
                  </a:lnTo>
                  <a:lnTo>
                    <a:pt x="992924" y="549427"/>
                  </a:lnTo>
                  <a:lnTo>
                    <a:pt x="993025" y="550761"/>
                  </a:lnTo>
                  <a:lnTo>
                    <a:pt x="993076" y="551409"/>
                  </a:lnTo>
                  <a:lnTo>
                    <a:pt x="993127" y="551409"/>
                  </a:lnTo>
                  <a:lnTo>
                    <a:pt x="993228" y="550761"/>
                  </a:lnTo>
                  <a:lnTo>
                    <a:pt x="993724" y="550761"/>
                  </a:lnTo>
                  <a:lnTo>
                    <a:pt x="993774" y="551409"/>
                  </a:lnTo>
                  <a:lnTo>
                    <a:pt x="994117" y="551409"/>
                  </a:lnTo>
                  <a:lnTo>
                    <a:pt x="994117" y="550761"/>
                  </a:lnTo>
                  <a:lnTo>
                    <a:pt x="994168" y="551409"/>
                  </a:lnTo>
                  <a:lnTo>
                    <a:pt x="994219" y="551409"/>
                  </a:lnTo>
                  <a:lnTo>
                    <a:pt x="994270" y="550761"/>
                  </a:lnTo>
                  <a:lnTo>
                    <a:pt x="994359" y="550761"/>
                  </a:lnTo>
                  <a:lnTo>
                    <a:pt x="994359" y="549427"/>
                  </a:lnTo>
                  <a:lnTo>
                    <a:pt x="994409" y="548780"/>
                  </a:lnTo>
                  <a:lnTo>
                    <a:pt x="994460" y="548081"/>
                  </a:lnTo>
                  <a:lnTo>
                    <a:pt x="994460" y="548780"/>
                  </a:lnTo>
                  <a:lnTo>
                    <a:pt x="994511" y="548780"/>
                  </a:lnTo>
                  <a:lnTo>
                    <a:pt x="994613" y="549427"/>
                  </a:lnTo>
                  <a:lnTo>
                    <a:pt x="994663" y="548780"/>
                  </a:lnTo>
                  <a:lnTo>
                    <a:pt x="994663" y="549427"/>
                  </a:lnTo>
                  <a:lnTo>
                    <a:pt x="994816" y="549427"/>
                  </a:lnTo>
                  <a:lnTo>
                    <a:pt x="994854" y="548780"/>
                  </a:lnTo>
                  <a:lnTo>
                    <a:pt x="994905" y="549427"/>
                  </a:lnTo>
                  <a:lnTo>
                    <a:pt x="994905" y="548780"/>
                  </a:lnTo>
                  <a:lnTo>
                    <a:pt x="994956" y="548780"/>
                  </a:lnTo>
                  <a:lnTo>
                    <a:pt x="994956" y="548081"/>
                  </a:lnTo>
                  <a:lnTo>
                    <a:pt x="995057" y="547446"/>
                  </a:lnTo>
                  <a:lnTo>
                    <a:pt x="995108" y="546849"/>
                  </a:lnTo>
                  <a:lnTo>
                    <a:pt x="995108" y="547446"/>
                  </a:lnTo>
                  <a:lnTo>
                    <a:pt x="995362" y="547446"/>
                  </a:lnTo>
                  <a:lnTo>
                    <a:pt x="995362" y="548081"/>
                  </a:lnTo>
                  <a:lnTo>
                    <a:pt x="995553" y="548081"/>
                  </a:lnTo>
                  <a:lnTo>
                    <a:pt x="995603" y="548780"/>
                  </a:lnTo>
                  <a:lnTo>
                    <a:pt x="995603" y="548081"/>
                  </a:lnTo>
                  <a:lnTo>
                    <a:pt x="995705" y="548081"/>
                  </a:lnTo>
                  <a:lnTo>
                    <a:pt x="995705" y="548780"/>
                  </a:lnTo>
                  <a:lnTo>
                    <a:pt x="995756" y="548780"/>
                  </a:lnTo>
                  <a:lnTo>
                    <a:pt x="995756" y="549427"/>
                  </a:lnTo>
                  <a:lnTo>
                    <a:pt x="995997" y="549427"/>
                  </a:lnTo>
                  <a:lnTo>
                    <a:pt x="995997" y="548780"/>
                  </a:lnTo>
                  <a:lnTo>
                    <a:pt x="996099" y="548780"/>
                  </a:lnTo>
                  <a:lnTo>
                    <a:pt x="996200" y="548081"/>
                  </a:lnTo>
                  <a:lnTo>
                    <a:pt x="996251" y="548780"/>
                  </a:lnTo>
                  <a:lnTo>
                    <a:pt x="996251" y="548081"/>
                  </a:lnTo>
                  <a:lnTo>
                    <a:pt x="996302" y="548081"/>
                  </a:lnTo>
                  <a:lnTo>
                    <a:pt x="996302" y="548780"/>
                  </a:lnTo>
                  <a:lnTo>
                    <a:pt x="996403" y="548081"/>
                  </a:lnTo>
                  <a:lnTo>
                    <a:pt x="996492" y="548081"/>
                  </a:lnTo>
                  <a:lnTo>
                    <a:pt x="996492" y="548780"/>
                  </a:lnTo>
                  <a:lnTo>
                    <a:pt x="996543" y="548780"/>
                  </a:lnTo>
                  <a:lnTo>
                    <a:pt x="996645" y="548081"/>
                  </a:lnTo>
                  <a:lnTo>
                    <a:pt x="996645" y="548780"/>
                  </a:lnTo>
                  <a:lnTo>
                    <a:pt x="996746" y="548780"/>
                  </a:lnTo>
                  <a:lnTo>
                    <a:pt x="996848" y="549427"/>
                  </a:lnTo>
                  <a:lnTo>
                    <a:pt x="996848" y="548780"/>
                  </a:lnTo>
                  <a:lnTo>
                    <a:pt x="996899" y="549427"/>
                  </a:lnTo>
                  <a:lnTo>
                    <a:pt x="996899" y="548780"/>
                  </a:lnTo>
                  <a:lnTo>
                    <a:pt x="997140" y="548780"/>
                  </a:lnTo>
                  <a:lnTo>
                    <a:pt x="997191" y="548081"/>
                  </a:lnTo>
                  <a:lnTo>
                    <a:pt x="997445" y="548081"/>
                  </a:lnTo>
                  <a:lnTo>
                    <a:pt x="997534" y="548780"/>
                  </a:lnTo>
                  <a:lnTo>
                    <a:pt x="997686" y="548780"/>
                  </a:lnTo>
                  <a:lnTo>
                    <a:pt x="997788" y="548081"/>
                  </a:lnTo>
                  <a:lnTo>
                    <a:pt x="997788" y="548780"/>
                  </a:lnTo>
                  <a:lnTo>
                    <a:pt x="997991" y="548780"/>
                  </a:lnTo>
                  <a:lnTo>
                    <a:pt x="997991" y="548081"/>
                  </a:lnTo>
                  <a:lnTo>
                    <a:pt x="998029" y="548081"/>
                  </a:lnTo>
                  <a:lnTo>
                    <a:pt x="998029" y="548780"/>
                  </a:lnTo>
                  <a:lnTo>
                    <a:pt x="998080" y="548780"/>
                  </a:lnTo>
                  <a:lnTo>
                    <a:pt x="998080" y="548081"/>
                  </a:lnTo>
                  <a:lnTo>
                    <a:pt x="998131" y="548780"/>
                  </a:lnTo>
                  <a:lnTo>
                    <a:pt x="998232" y="548081"/>
                  </a:lnTo>
                  <a:lnTo>
                    <a:pt x="998435" y="548081"/>
                  </a:lnTo>
                  <a:lnTo>
                    <a:pt x="998435" y="548780"/>
                  </a:lnTo>
                  <a:lnTo>
                    <a:pt x="998677" y="548780"/>
                  </a:lnTo>
                  <a:lnTo>
                    <a:pt x="998677" y="549427"/>
                  </a:lnTo>
                  <a:lnTo>
                    <a:pt x="998982" y="549427"/>
                  </a:lnTo>
                  <a:lnTo>
                    <a:pt x="998982" y="548780"/>
                  </a:lnTo>
                  <a:lnTo>
                    <a:pt x="999032" y="548780"/>
                  </a:lnTo>
                  <a:lnTo>
                    <a:pt x="999032" y="549427"/>
                  </a:lnTo>
                  <a:lnTo>
                    <a:pt x="999121" y="549427"/>
                  </a:lnTo>
                  <a:lnTo>
                    <a:pt x="999172" y="550761"/>
                  </a:lnTo>
                  <a:lnTo>
                    <a:pt x="999172" y="549427"/>
                  </a:lnTo>
                  <a:lnTo>
                    <a:pt x="999223" y="549427"/>
                  </a:lnTo>
                  <a:lnTo>
                    <a:pt x="999274" y="548780"/>
                  </a:lnTo>
                  <a:lnTo>
                    <a:pt x="999375" y="548780"/>
                  </a:lnTo>
                  <a:lnTo>
                    <a:pt x="999426" y="549427"/>
                  </a:lnTo>
                  <a:lnTo>
                    <a:pt x="999578" y="549427"/>
                  </a:lnTo>
                  <a:lnTo>
                    <a:pt x="999578" y="550761"/>
                  </a:lnTo>
                  <a:lnTo>
                    <a:pt x="1000023" y="550761"/>
                  </a:lnTo>
                  <a:lnTo>
                    <a:pt x="1000023" y="551409"/>
                  </a:lnTo>
                  <a:lnTo>
                    <a:pt x="1000124" y="551409"/>
                  </a:lnTo>
                  <a:lnTo>
                    <a:pt x="1000124" y="550761"/>
                  </a:lnTo>
                  <a:lnTo>
                    <a:pt x="1000163" y="550761"/>
                  </a:lnTo>
                  <a:lnTo>
                    <a:pt x="1000163" y="548780"/>
                  </a:lnTo>
                  <a:lnTo>
                    <a:pt x="1000366" y="548780"/>
                  </a:lnTo>
                  <a:lnTo>
                    <a:pt x="1000467" y="549427"/>
                  </a:lnTo>
                  <a:lnTo>
                    <a:pt x="1000709" y="549427"/>
                  </a:lnTo>
                  <a:lnTo>
                    <a:pt x="1000759" y="550761"/>
                  </a:lnTo>
                  <a:lnTo>
                    <a:pt x="1000810" y="549427"/>
                  </a:lnTo>
                  <a:lnTo>
                    <a:pt x="1000810" y="548780"/>
                  </a:lnTo>
                  <a:lnTo>
                    <a:pt x="1000861" y="548081"/>
                  </a:lnTo>
                  <a:lnTo>
                    <a:pt x="1000861" y="547446"/>
                  </a:lnTo>
                  <a:lnTo>
                    <a:pt x="1001064" y="547446"/>
                  </a:lnTo>
                  <a:lnTo>
                    <a:pt x="1001064" y="548081"/>
                  </a:lnTo>
                  <a:lnTo>
                    <a:pt x="1001407" y="548081"/>
                  </a:lnTo>
                  <a:lnTo>
                    <a:pt x="1001458" y="548780"/>
                  </a:lnTo>
                  <a:lnTo>
                    <a:pt x="1001509" y="549427"/>
                  </a:lnTo>
                  <a:lnTo>
                    <a:pt x="1001750" y="549427"/>
                  </a:lnTo>
                  <a:lnTo>
                    <a:pt x="1001750" y="548780"/>
                  </a:lnTo>
                  <a:lnTo>
                    <a:pt x="1001852" y="549427"/>
                  </a:lnTo>
                  <a:lnTo>
                    <a:pt x="1001903" y="549427"/>
                  </a:lnTo>
                  <a:lnTo>
                    <a:pt x="1001903" y="548780"/>
                  </a:lnTo>
                  <a:lnTo>
                    <a:pt x="1002055" y="548780"/>
                  </a:lnTo>
                  <a:lnTo>
                    <a:pt x="1002055" y="549427"/>
                  </a:lnTo>
                  <a:lnTo>
                    <a:pt x="1002207" y="549427"/>
                  </a:lnTo>
                  <a:lnTo>
                    <a:pt x="1002296" y="548780"/>
                  </a:lnTo>
                  <a:lnTo>
                    <a:pt x="1002398" y="548780"/>
                  </a:lnTo>
                  <a:lnTo>
                    <a:pt x="1002398" y="549427"/>
                  </a:lnTo>
                  <a:lnTo>
                    <a:pt x="1002753" y="549427"/>
                  </a:lnTo>
                  <a:lnTo>
                    <a:pt x="1002753" y="550761"/>
                  </a:lnTo>
                  <a:lnTo>
                    <a:pt x="1002792" y="549427"/>
                  </a:lnTo>
                  <a:lnTo>
                    <a:pt x="1002842" y="550761"/>
                  </a:lnTo>
                  <a:lnTo>
                    <a:pt x="1002842" y="549427"/>
                  </a:lnTo>
                  <a:lnTo>
                    <a:pt x="1002893" y="549427"/>
                  </a:lnTo>
                  <a:lnTo>
                    <a:pt x="1002893" y="548780"/>
                  </a:lnTo>
                  <a:lnTo>
                    <a:pt x="1003096" y="548780"/>
                  </a:lnTo>
                  <a:lnTo>
                    <a:pt x="1003096" y="548081"/>
                  </a:lnTo>
                  <a:lnTo>
                    <a:pt x="1003198" y="548780"/>
                  </a:lnTo>
                  <a:lnTo>
                    <a:pt x="1003299" y="548780"/>
                  </a:lnTo>
                  <a:lnTo>
                    <a:pt x="1003338" y="549427"/>
                  </a:lnTo>
                  <a:lnTo>
                    <a:pt x="1003439" y="548780"/>
                  </a:lnTo>
                  <a:lnTo>
                    <a:pt x="1003541" y="548780"/>
                  </a:lnTo>
                  <a:lnTo>
                    <a:pt x="1003642" y="549427"/>
                  </a:lnTo>
                  <a:lnTo>
                    <a:pt x="1003693" y="549427"/>
                  </a:lnTo>
                  <a:lnTo>
                    <a:pt x="1003744" y="548780"/>
                  </a:lnTo>
                  <a:lnTo>
                    <a:pt x="1004239" y="548780"/>
                  </a:lnTo>
                  <a:lnTo>
                    <a:pt x="1004341" y="549427"/>
                  </a:lnTo>
                  <a:lnTo>
                    <a:pt x="1004379" y="549427"/>
                  </a:lnTo>
                  <a:lnTo>
                    <a:pt x="1004379" y="548780"/>
                  </a:lnTo>
                  <a:lnTo>
                    <a:pt x="1004430" y="549427"/>
                  </a:lnTo>
                  <a:lnTo>
                    <a:pt x="1004836" y="549427"/>
                  </a:lnTo>
                  <a:lnTo>
                    <a:pt x="1004836" y="550761"/>
                  </a:lnTo>
                  <a:lnTo>
                    <a:pt x="1004925" y="550761"/>
                  </a:lnTo>
                  <a:lnTo>
                    <a:pt x="1005027" y="549427"/>
                  </a:lnTo>
                  <a:lnTo>
                    <a:pt x="1005027" y="550761"/>
                  </a:lnTo>
                  <a:lnTo>
                    <a:pt x="1005078" y="549427"/>
                  </a:lnTo>
                  <a:lnTo>
                    <a:pt x="1005230" y="549427"/>
                  </a:lnTo>
                  <a:lnTo>
                    <a:pt x="1005281" y="550761"/>
                  </a:lnTo>
                  <a:lnTo>
                    <a:pt x="1005624" y="550761"/>
                  </a:lnTo>
                  <a:lnTo>
                    <a:pt x="1005624" y="551409"/>
                  </a:lnTo>
                  <a:lnTo>
                    <a:pt x="1005776" y="551409"/>
                  </a:lnTo>
                  <a:lnTo>
                    <a:pt x="1005827" y="550761"/>
                  </a:lnTo>
                  <a:lnTo>
                    <a:pt x="1005928" y="550761"/>
                  </a:lnTo>
                  <a:lnTo>
                    <a:pt x="1005967" y="551409"/>
                  </a:lnTo>
                  <a:lnTo>
                    <a:pt x="1006221" y="551409"/>
                  </a:lnTo>
                  <a:lnTo>
                    <a:pt x="1006271" y="550761"/>
                  </a:lnTo>
                  <a:lnTo>
                    <a:pt x="1006373" y="550761"/>
                  </a:lnTo>
                  <a:lnTo>
                    <a:pt x="1006373" y="549427"/>
                  </a:lnTo>
                  <a:lnTo>
                    <a:pt x="1006424" y="549427"/>
                  </a:lnTo>
                  <a:lnTo>
                    <a:pt x="1006474" y="548780"/>
                  </a:lnTo>
                  <a:lnTo>
                    <a:pt x="1006513" y="549427"/>
                  </a:lnTo>
                  <a:lnTo>
                    <a:pt x="1006868" y="549427"/>
                  </a:lnTo>
                  <a:lnTo>
                    <a:pt x="1006868" y="548780"/>
                  </a:lnTo>
                  <a:lnTo>
                    <a:pt x="1006919" y="548081"/>
                  </a:lnTo>
                  <a:lnTo>
                    <a:pt x="1006919" y="547446"/>
                  </a:lnTo>
                  <a:lnTo>
                    <a:pt x="1007109" y="547446"/>
                  </a:lnTo>
                  <a:lnTo>
                    <a:pt x="1007160" y="548081"/>
                  </a:lnTo>
                  <a:lnTo>
                    <a:pt x="1007414" y="548081"/>
                  </a:lnTo>
                  <a:lnTo>
                    <a:pt x="1007414" y="548780"/>
                  </a:lnTo>
                  <a:lnTo>
                    <a:pt x="1007516" y="548780"/>
                  </a:lnTo>
                  <a:lnTo>
                    <a:pt x="1007516" y="549427"/>
                  </a:lnTo>
                  <a:lnTo>
                    <a:pt x="1007554" y="549427"/>
                  </a:lnTo>
                  <a:lnTo>
                    <a:pt x="1007605" y="550761"/>
                  </a:lnTo>
                  <a:lnTo>
                    <a:pt x="1007808" y="550761"/>
                  </a:lnTo>
                  <a:lnTo>
                    <a:pt x="1007808" y="549427"/>
                  </a:lnTo>
                  <a:lnTo>
                    <a:pt x="1008011" y="549427"/>
                  </a:lnTo>
                  <a:lnTo>
                    <a:pt x="1008011" y="548780"/>
                  </a:lnTo>
                  <a:lnTo>
                    <a:pt x="1008062" y="549427"/>
                  </a:lnTo>
                  <a:lnTo>
                    <a:pt x="1008062" y="548780"/>
                  </a:lnTo>
                  <a:lnTo>
                    <a:pt x="1008202" y="548780"/>
                  </a:lnTo>
                  <a:lnTo>
                    <a:pt x="1008202" y="549427"/>
                  </a:lnTo>
                  <a:lnTo>
                    <a:pt x="1008697" y="549427"/>
                  </a:lnTo>
                  <a:lnTo>
                    <a:pt x="1008697" y="550761"/>
                  </a:lnTo>
                  <a:lnTo>
                    <a:pt x="1008900" y="550761"/>
                  </a:lnTo>
                  <a:lnTo>
                    <a:pt x="1008900" y="549427"/>
                  </a:lnTo>
                  <a:lnTo>
                    <a:pt x="1009192" y="549427"/>
                  </a:lnTo>
                  <a:lnTo>
                    <a:pt x="1009243" y="548780"/>
                  </a:lnTo>
                  <a:lnTo>
                    <a:pt x="1009345" y="549427"/>
                  </a:lnTo>
                  <a:lnTo>
                    <a:pt x="1009891" y="549427"/>
                  </a:lnTo>
                  <a:lnTo>
                    <a:pt x="1009992" y="548780"/>
                  </a:lnTo>
                  <a:lnTo>
                    <a:pt x="1010043" y="548780"/>
                  </a:lnTo>
                  <a:lnTo>
                    <a:pt x="1010094" y="549427"/>
                  </a:lnTo>
                  <a:lnTo>
                    <a:pt x="1010386" y="549427"/>
                  </a:lnTo>
                  <a:lnTo>
                    <a:pt x="1010488" y="550761"/>
                  </a:lnTo>
                  <a:lnTo>
                    <a:pt x="1010983" y="550761"/>
                  </a:lnTo>
                  <a:lnTo>
                    <a:pt x="1011034" y="549427"/>
                  </a:lnTo>
                  <a:lnTo>
                    <a:pt x="1011135" y="549427"/>
                  </a:lnTo>
                  <a:lnTo>
                    <a:pt x="1011186" y="550761"/>
                  </a:lnTo>
                  <a:lnTo>
                    <a:pt x="1011237" y="550761"/>
                  </a:lnTo>
                  <a:lnTo>
                    <a:pt x="1011275" y="551409"/>
                  </a:lnTo>
                  <a:lnTo>
                    <a:pt x="1011377" y="550761"/>
                  </a:lnTo>
                  <a:lnTo>
                    <a:pt x="1011377" y="551409"/>
                  </a:lnTo>
                  <a:lnTo>
                    <a:pt x="1011631" y="551409"/>
                  </a:lnTo>
                  <a:lnTo>
                    <a:pt x="1011682" y="550761"/>
                  </a:lnTo>
                  <a:lnTo>
                    <a:pt x="1011732" y="550761"/>
                  </a:lnTo>
                  <a:lnTo>
                    <a:pt x="1011732" y="551409"/>
                  </a:lnTo>
                  <a:lnTo>
                    <a:pt x="1011923" y="551409"/>
                  </a:lnTo>
                  <a:lnTo>
                    <a:pt x="1011923" y="550761"/>
                  </a:lnTo>
                  <a:lnTo>
                    <a:pt x="1011974" y="549427"/>
                  </a:lnTo>
                  <a:lnTo>
                    <a:pt x="1012075" y="548780"/>
                  </a:lnTo>
                  <a:lnTo>
                    <a:pt x="1012075" y="548081"/>
                  </a:lnTo>
                  <a:lnTo>
                    <a:pt x="1012126" y="548081"/>
                  </a:lnTo>
                  <a:lnTo>
                    <a:pt x="1012177" y="548780"/>
                  </a:lnTo>
                  <a:lnTo>
                    <a:pt x="1012278" y="548780"/>
                  </a:lnTo>
                  <a:lnTo>
                    <a:pt x="1012278" y="549427"/>
                  </a:lnTo>
                  <a:lnTo>
                    <a:pt x="1012317" y="549427"/>
                  </a:lnTo>
                  <a:lnTo>
                    <a:pt x="1012317" y="548780"/>
                  </a:lnTo>
                  <a:lnTo>
                    <a:pt x="1012418" y="548780"/>
                  </a:lnTo>
                  <a:lnTo>
                    <a:pt x="1012418" y="549427"/>
                  </a:lnTo>
                  <a:lnTo>
                    <a:pt x="1012571" y="549427"/>
                  </a:lnTo>
                  <a:lnTo>
                    <a:pt x="1012571" y="548780"/>
                  </a:lnTo>
                  <a:lnTo>
                    <a:pt x="1012621" y="548780"/>
                  </a:lnTo>
                  <a:lnTo>
                    <a:pt x="1012621" y="547446"/>
                  </a:lnTo>
                  <a:lnTo>
                    <a:pt x="1012863" y="547446"/>
                  </a:lnTo>
                  <a:lnTo>
                    <a:pt x="1012863" y="548081"/>
                  </a:lnTo>
                  <a:lnTo>
                    <a:pt x="1013015" y="548081"/>
                  </a:lnTo>
                  <a:lnTo>
                    <a:pt x="1013015" y="547446"/>
                  </a:lnTo>
                  <a:lnTo>
                    <a:pt x="1013066" y="548081"/>
                  </a:lnTo>
                  <a:lnTo>
                    <a:pt x="1013167" y="548081"/>
                  </a:lnTo>
                  <a:lnTo>
                    <a:pt x="1013218" y="548780"/>
                  </a:lnTo>
                  <a:lnTo>
                    <a:pt x="1013459" y="548780"/>
                  </a:lnTo>
                  <a:lnTo>
                    <a:pt x="1013459" y="549427"/>
                  </a:lnTo>
                  <a:lnTo>
                    <a:pt x="1013663" y="549427"/>
                  </a:lnTo>
                  <a:lnTo>
                    <a:pt x="1013713" y="550761"/>
                  </a:lnTo>
                  <a:lnTo>
                    <a:pt x="1013866" y="550761"/>
                  </a:lnTo>
                  <a:lnTo>
                    <a:pt x="1013904" y="549427"/>
                  </a:lnTo>
                  <a:lnTo>
                    <a:pt x="1014107" y="549427"/>
                  </a:lnTo>
                  <a:lnTo>
                    <a:pt x="1014158" y="548780"/>
                  </a:lnTo>
                  <a:lnTo>
                    <a:pt x="1014209" y="548780"/>
                  </a:lnTo>
                  <a:lnTo>
                    <a:pt x="1014310" y="549427"/>
                  </a:lnTo>
                  <a:lnTo>
                    <a:pt x="1014361" y="549427"/>
                  </a:lnTo>
                  <a:lnTo>
                    <a:pt x="1014412" y="550761"/>
                  </a:lnTo>
                  <a:lnTo>
                    <a:pt x="1014552" y="550761"/>
                  </a:lnTo>
                  <a:lnTo>
                    <a:pt x="1014603" y="549427"/>
                  </a:lnTo>
                  <a:lnTo>
                    <a:pt x="1014996" y="549427"/>
                  </a:lnTo>
                  <a:lnTo>
                    <a:pt x="1014996" y="548780"/>
                  </a:lnTo>
                  <a:lnTo>
                    <a:pt x="1015098" y="548780"/>
                  </a:lnTo>
                  <a:lnTo>
                    <a:pt x="1015098" y="549427"/>
                  </a:lnTo>
                  <a:lnTo>
                    <a:pt x="1015250" y="549427"/>
                  </a:lnTo>
                  <a:lnTo>
                    <a:pt x="1015301" y="548780"/>
                  </a:lnTo>
                  <a:lnTo>
                    <a:pt x="1015352" y="548780"/>
                  </a:lnTo>
                  <a:lnTo>
                    <a:pt x="1015352" y="549427"/>
                  </a:lnTo>
                  <a:lnTo>
                    <a:pt x="1015492" y="549427"/>
                  </a:lnTo>
                  <a:lnTo>
                    <a:pt x="1015492" y="548780"/>
                  </a:lnTo>
                  <a:lnTo>
                    <a:pt x="1015542" y="548780"/>
                  </a:lnTo>
                  <a:lnTo>
                    <a:pt x="1015593" y="549427"/>
                  </a:lnTo>
                  <a:lnTo>
                    <a:pt x="1015695" y="548780"/>
                  </a:lnTo>
                  <a:lnTo>
                    <a:pt x="1015746" y="548780"/>
                  </a:lnTo>
                  <a:lnTo>
                    <a:pt x="1015796" y="549427"/>
                  </a:lnTo>
                  <a:lnTo>
                    <a:pt x="1016190" y="549427"/>
                  </a:lnTo>
                  <a:lnTo>
                    <a:pt x="1016190" y="550761"/>
                  </a:lnTo>
                  <a:lnTo>
                    <a:pt x="1016241" y="549427"/>
                  </a:lnTo>
                  <a:lnTo>
                    <a:pt x="1016393" y="549427"/>
                  </a:lnTo>
                  <a:lnTo>
                    <a:pt x="1016393" y="550761"/>
                  </a:lnTo>
                  <a:lnTo>
                    <a:pt x="1016634" y="550761"/>
                  </a:lnTo>
                  <a:lnTo>
                    <a:pt x="1016634" y="551409"/>
                  </a:lnTo>
                  <a:lnTo>
                    <a:pt x="1016685" y="550761"/>
                  </a:lnTo>
                  <a:lnTo>
                    <a:pt x="1016685" y="551409"/>
                  </a:lnTo>
                  <a:lnTo>
                    <a:pt x="1016736" y="551409"/>
                  </a:lnTo>
                  <a:lnTo>
                    <a:pt x="1016838" y="550761"/>
                  </a:lnTo>
                  <a:lnTo>
                    <a:pt x="1017079" y="550761"/>
                  </a:lnTo>
                  <a:lnTo>
                    <a:pt x="1017130" y="551409"/>
                  </a:lnTo>
                  <a:lnTo>
                    <a:pt x="1017181" y="550761"/>
                  </a:lnTo>
                  <a:lnTo>
                    <a:pt x="1017181" y="551409"/>
                  </a:lnTo>
                  <a:lnTo>
                    <a:pt x="1017282" y="550761"/>
                  </a:lnTo>
                  <a:lnTo>
                    <a:pt x="1017282" y="551409"/>
                  </a:lnTo>
                  <a:lnTo>
                    <a:pt x="1017485" y="551409"/>
                  </a:lnTo>
                  <a:lnTo>
                    <a:pt x="1017485" y="552056"/>
                  </a:lnTo>
                  <a:lnTo>
                    <a:pt x="1017536" y="552056"/>
                  </a:lnTo>
                  <a:lnTo>
                    <a:pt x="1017587" y="551409"/>
                  </a:lnTo>
                  <a:lnTo>
                    <a:pt x="1017727" y="551409"/>
                  </a:lnTo>
                  <a:lnTo>
                    <a:pt x="1017778" y="552056"/>
                  </a:lnTo>
                  <a:lnTo>
                    <a:pt x="1017778" y="551409"/>
                  </a:lnTo>
                  <a:lnTo>
                    <a:pt x="1017930" y="551409"/>
                  </a:lnTo>
                  <a:lnTo>
                    <a:pt x="1017930" y="550761"/>
                  </a:lnTo>
                  <a:lnTo>
                    <a:pt x="1017981" y="550761"/>
                  </a:lnTo>
                  <a:lnTo>
                    <a:pt x="1018032" y="549427"/>
                  </a:lnTo>
                  <a:lnTo>
                    <a:pt x="1018082" y="549427"/>
                  </a:lnTo>
                  <a:lnTo>
                    <a:pt x="1018171" y="548780"/>
                  </a:lnTo>
                  <a:lnTo>
                    <a:pt x="1018324" y="548780"/>
                  </a:lnTo>
                  <a:lnTo>
                    <a:pt x="1018324" y="548081"/>
                  </a:lnTo>
                  <a:lnTo>
                    <a:pt x="1018425" y="548780"/>
                  </a:lnTo>
                  <a:lnTo>
                    <a:pt x="1018476" y="548780"/>
                  </a:lnTo>
                  <a:lnTo>
                    <a:pt x="1018476" y="549427"/>
                  </a:lnTo>
                  <a:lnTo>
                    <a:pt x="1018527" y="548780"/>
                  </a:lnTo>
                  <a:lnTo>
                    <a:pt x="1018628" y="549427"/>
                  </a:lnTo>
                  <a:lnTo>
                    <a:pt x="1018628" y="548780"/>
                  </a:lnTo>
                  <a:lnTo>
                    <a:pt x="1018667" y="548081"/>
                  </a:lnTo>
                  <a:lnTo>
                    <a:pt x="1018717" y="547446"/>
                  </a:lnTo>
                  <a:lnTo>
                    <a:pt x="1019124" y="547446"/>
                  </a:lnTo>
                  <a:lnTo>
                    <a:pt x="1019124" y="548081"/>
                  </a:lnTo>
                  <a:lnTo>
                    <a:pt x="1019314" y="548081"/>
                  </a:lnTo>
                  <a:lnTo>
                    <a:pt x="1019314" y="548780"/>
                  </a:lnTo>
                  <a:lnTo>
                    <a:pt x="1019365" y="548780"/>
                  </a:lnTo>
                  <a:lnTo>
                    <a:pt x="1019416" y="549427"/>
                  </a:lnTo>
                  <a:lnTo>
                    <a:pt x="1019517" y="549427"/>
                  </a:lnTo>
                  <a:lnTo>
                    <a:pt x="1019568" y="550761"/>
                  </a:lnTo>
                  <a:lnTo>
                    <a:pt x="1019619" y="549427"/>
                  </a:lnTo>
                  <a:lnTo>
                    <a:pt x="1019670" y="548780"/>
                  </a:lnTo>
                  <a:lnTo>
                    <a:pt x="1019809" y="548780"/>
                  </a:lnTo>
                  <a:lnTo>
                    <a:pt x="1019809" y="549427"/>
                  </a:lnTo>
                  <a:lnTo>
                    <a:pt x="1019860" y="548780"/>
                  </a:lnTo>
                  <a:lnTo>
                    <a:pt x="1020013" y="548780"/>
                  </a:lnTo>
                  <a:lnTo>
                    <a:pt x="1020063" y="548081"/>
                  </a:lnTo>
                  <a:lnTo>
                    <a:pt x="1020114" y="548081"/>
                  </a:lnTo>
                  <a:lnTo>
                    <a:pt x="1020114" y="548780"/>
                  </a:lnTo>
                  <a:lnTo>
                    <a:pt x="1020356" y="548780"/>
                  </a:lnTo>
                  <a:lnTo>
                    <a:pt x="1020457" y="549427"/>
                  </a:lnTo>
                  <a:lnTo>
                    <a:pt x="1020762" y="549427"/>
                  </a:lnTo>
                  <a:lnTo>
                    <a:pt x="1020762" y="548780"/>
                  </a:lnTo>
                  <a:lnTo>
                    <a:pt x="1020902" y="548780"/>
                  </a:lnTo>
                  <a:lnTo>
                    <a:pt x="1020902" y="549427"/>
                  </a:lnTo>
                  <a:lnTo>
                    <a:pt x="1020953" y="548780"/>
                  </a:lnTo>
                  <a:lnTo>
                    <a:pt x="1021397" y="548780"/>
                  </a:lnTo>
                  <a:lnTo>
                    <a:pt x="1021448" y="549427"/>
                  </a:lnTo>
                  <a:lnTo>
                    <a:pt x="1021448" y="548780"/>
                  </a:lnTo>
                  <a:lnTo>
                    <a:pt x="1021892" y="548780"/>
                  </a:lnTo>
                  <a:lnTo>
                    <a:pt x="1021943" y="549427"/>
                  </a:lnTo>
                  <a:lnTo>
                    <a:pt x="1022096" y="549427"/>
                  </a:lnTo>
                  <a:lnTo>
                    <a:pt x="1022146" y="550761"/>
                  </a:lnTo>
                  <a:lnTo>
                    <a:pt x="1022248" y="550761"/>
                  </a:lnTo>
                  <a:lnTo>
                    <a:pt x="1022299" y="549427"/>
                  </a:lnTo>
                  <a:lnTo>
                    <a:pt x="1022388" y="549427"/>
                  </a:lnTo>
                  <a:lnTo>
                    <a:pt x="1022388" y="550761"/>
                  </a:lnTo>
                  <a:lnTo>
                    <a:pt x="1022591" y="550761"/>
                  </a:lnTo>
                  <a:lnTo>
                    <a:pt x="1022692" y="551409"/>
                  </a:lnTo>
                  <a:lnTo>
                    <a:pt x="1022743" y="551409"/>
                  </a:lnTo>
                  <a:lnTo>
                    <a:pt x="1022743" y="550761"/>
                  </a:lnTo>
                  <a:lnTo>
                    <a:pt x="1023238" y="550761"/>
                  </a:lnTo>
                  <a:lnTo>
                    <a:pt x="1023289" y="551409"/>
                  </a:lnTo>
                  <a:lnTo>
                    <a:pt x="1023480" y="551409"/>
                  </a:lnTo>
                  <a:lnTo>
                    <a:pt x="1023480" y="552056"/>
                  </a:lnTo>
                  <a:lnTo>
                    <a:pt x="1023632" y="552056"/>
                  </a:lnTo>
                  <a:lnTo>
                    <a:pt x="1023683" y="551409"/>
                  </a:lnTo>
                  <a:lnTo>
                    <a:pt x="1023683" y="550761"/>
                  </a:lnTo>
                  <a:lnTo>
                    <a:pt x="1023734" y="549427"/>
                  </a:lnTo>
                  <a:lnTo>
                    <a:pt x="1023835" y="548780"/>
                  </a:lnTo>
                  <a:lnTo>
                    <a:pt x="1023835" y="548081"/>
                  </a:lnTo>
                  <a:lnTo>
                    <a:pt x="1023975" y="548081"/>
                  </a:lnTo>
                  <a:lnTo>
                    <a:pt x="1024077" y="548780"/>
                  </a:lnTo>
                  <a:lnTo>
                    <a:pt x="1024128" y="548780"/>
                  </a:lnTo>
                  <a:lnTo>
                    <a:pt x="1024178" y="549427"/>
                  </a:lnTo>
                  <a:lnTo>
                    <a:pt x="1024280" y="550761"/>
                  </a:lnTo>
                  <a:lnTo>
                    <a:pt x="1024331" y="550761"/>
                  </a:lnTo>
                  <a:lnTo>
                    <a:pt x="1024382" y="549427"/>
                  </a:lnTo>
                  <a:lnTo>
                    <a:pt x="1024382" y="548780"/>
                  </a:lnTo>
                  <a:lnTo>
                    <a:pt x="1024432" y="548081"/>
                  </a:lnTo>
                  <a:lnTo>
                    <a:pt x="1024432" y="547446"/>
                  </a:lnTo>
                  <a:lnTo>
                    <a:pt x="1024775" y="547446"/>
                  </a:lnTo>
                  <a:lnTo>
                    <a:pt x="1024775" y="548081"/>
                  </a:lnTo>
                  <a:lnTo>
                    <a:pt x="1024877" y="548081"/>
                  </a:lnTo>
                  <a:lnTo>
                    <a:pt x="1024877" y="548780"/>
                  </a:lnTo>
                  <a:lnTo>
                    <a:pt x="1024978" y="548081"/>
                  </a:lnTo>
                  <a:lnTo>
                    <a:pt x="1025017" y="548780"/>
                  </a:lnTo>
                  <a:lnTo>
                    <a:pt x="1025118" y="548780"/>
                  </a:lnTo>
                  <a:lnTo>
                    <a:pt x="1025220" y="549427"/>
                  </a:lnTo>
                  <a:lnTo>
                    <a:pt x="1025766" y="549427"/>
                  </a:lnTo>
                  <a:lnTo>
                    <a:pt x="1025766" y="548780"/>
                  </a:lnTo>
                  <a:lnTo>
                    <a:pt x="1026020" y="548780"/>
                  </a:lnTo>
                  <a:lnTo>
                    <a:pt x="1026109" y="549427"/>
                  </a:lnTo>
                  <a:lnTo>
                    <a:pt x="1026464" y="549427"/>
                  </a:lnTo>
                  <a:lnTo>
                    <a:pt x="1026566" y="548780"/>
                  </a:lnTo>
                  <a:lnTo>
                    <a:pt x="1027010" y="548780"/>
                  </a:lnTo>
                  <a:lnTo>
                    <a:pt x="1027061" y="548081"/>
                  </a:lnTo>
                  <a:lnTo>
                    <a:pt x="1027112" y="548780"/>
                  </a:lnTo>
                  <a:lnTo>
                    <a:pt x="1027150" y="548780"/>
                  </a:lnTo>
                  <a:lnTo>
                    <a:pt x="1027150" y="549427"/>
                  </a:lnTo>
                  <a:lnTo>
                    <a:pt x="1027252" y="549427"/>
                  </a:lnTo>
                  <a:lnTo>
                    <a:pt x="1027252" y="548780"/>
                  </a:lnTo>
                  <a:lnTo>
                    <a:pt x="1027607" y="548780"/>
                  </a:lnTo>
                  <a:lnTo>
                    <a:pt x="1027696" y="548081"/>
                  </a:lnTo>
                  <a:lnTo>
                    <a:pt x="1027747" y="548081"/>
                  </a:lnTo>
                  <a:lnTo>
                    <a:pt x="1027747" y="548780"/>
                  </a:lnTo>
                  <a:lnTo>
                    <a:pt x="1028052" y="548780"/>
                  </a:lnTo>
                  <a:lnTo>
                    <a:pt x="1028153" y="549427"/>
                  </a:lnTo>
                  <a:lnTo>
                    <a:pt x="1028153" y="548780"/>
                  </a:lnTo>
                  <a:lnTo>
                    <a:pt x="1028192" y="548780"/>
                  </a:lnTo>
                  <a:lnTo>
                    <a:pt x="1028192" y="549427"/>
                  </a:lnTo>
                  <a:lnTo>
                    <a:pt x="1028242" y="548780"/>
                  </a:lnTo>
                  <a:lnTo>
                    <a:pt x="1028293" y="549427"/>
                  </a:lnTo>
                  <a:lnTo>
                    <a:pt x="1028446" y="549427"/>
                  </a:lnTo>
                  <a:lnTo>
                    <a:pt x="1028496" y="550761"/>
                  </a:lnTo>
                  <a:lnTo>
                    <a:pt x="1028649" y="550761"/>
                  </a:lnTo>
                  <a:lnTo>
                    <a:pt x="1028649" y="549427"/>
                  </a:lnTo>
                  <a:lnTo>
                    <a:pt x="1028699" y="549427"/>
                  </a:lnTo>
                  <a:lnTo>
                    <a:pt x="1028699" y="550761"/>
                  </a:lnTo>
                  <a:lnTo>
                    <a:pt x="1028839" y="550761"/>
                  </a:lnTo>
                  <a:lnTo>
                    <a:pt x="1028890" y="549427"/>
                  </a:lnTo>
                  <a:lnTo>
                    <a:pt x="1029144" y="549427"/>
                  </a:lnTo>
                  <a:lnTo>
                    <a:pt x="1029144" y="550761"/>
                  </a:lnTo>
                  <a:lnTo>
                    <a:pt x="1029334" y="550761"/>
                  </a:lnTo>
                  <a:lnTo>
                    <a:pt x="1029334" y="551409"/>
                  </a:lnTo>
                  <a:lnTo>
                    <a:pt x="1029538" y="551409"/>
                  </a:lnTo>
                  <a:lnTo>
                    <a:pt x="1029588" y="550761"/>
                  </a:lnTo>
                  <a:lnTo>
                    <a:pt x="1029741" y="550761"/>
                  </a:lnTo>
                  <a:lnTo>
                    <a:pt x="1029779" y="551409"/>
                  </a:lnTo>
                  <a:lnTo>
                    <a:pt x="1029830" y="550761"/>
                  </a:lnTo>
                  <a:lnTo>
                    <a:pt x="1029830" y="552056"/>
                  </a:lnTo>
                  <a:lnTo>
                    <a:pt x="1029881" y="551409"/>
                  </a:lnTo>
                  <a:lnTo>
                    <a:pt x="1029881" y="550761"/>
                  </a:lnTo>
                  <a:lnTo>
                    <a:pt x="1029982" y="549427"/>
                  </a:lnTo>
                  <a:lnTo>
                    <a:pt x="1029982" y="548780"/>
                  </a:lnTo>
                  <a:lnTo>
                    <a:pt x="1030033" y="548780"/>
                  </a:lnTo>
                  <a:lnTo>
                    <a:pt x="1030033" y="548081"/>
                  </a:lnTo>
                  <a:lnTo>
                    <a:pt x="1030236" y="548081"/>
                  </a:lnTo>
                  <a:lnTo>
                    <a:pt x="1030236" y="548780"/>
                  </a:lnTo>
                  <a:lnTo>
                    <a:pt x="1030287" y="548780"/>
                  </a:lnTo>
                  <a:lnTo>
                    <a:pt x="1030325" y="549427"/>
                  </a:lnTo>
                  <a:lnTo>
                    <a:pt x="1030478" y="549427"/>
                  </a:lnTo>
                  <a:lnTo>
                    <a:pt x="1030478" y="548780"/>
                  </a:lnTo>
                  <a:lnTo>
                    <a:pt x="1030528" y="548081"/>
                  </a:lnTo>
                  <a:lnTo>
                    <a:pt x="1030630" y="547446"/>
                  </a:lnTo>
                  <a:lnTo>
                    <a:pt x="1030630" y="546849"/>
                  </a:lnTo>
                  <a:lnTo>
                    <a:pt x="1030782" y="546849"/>
                  </a:lnTo>
                  <a:lnTo>
                    <a:pt x="1030782" y="547446"/>
                  </a:lnTo>
                  <a:lnTo>
                    <a:pt x="1030871" y="546849"/>
                  </a:lnTo>
                  <a:lnTo>
                    <a:pt x="1030871" y="547446"/>
                  </a:lnTo>
                  <a:lnTo>
                    <a:pt x="1030922" y="547446"/>
                  </a:lnTo>
                  <a:lnTo>
                    <a:pt x="1030973" y="548081"/>
                  </a:lnTo>
                  <a:lnTo>
                    <a:pt x="1031024" y="548081"/>
                  </a:lnTo>
                  <a:lnTo>
                    <a:pt x="1031024" y="548780"/>
                  </a:lnTo>
                  <a:lnTo>
                    <a:pt x="1031125" y="548780"/>
                  </a:lnTo>
                  <a:lnTo>
                    <a:pt x="1031176" y="549427"/>
                  </a:lnTo>
                  <a:lnTo>
                    <a:pt x="1031417" y="549427"/>
                  </a:lnTo>
                  <a:lnTo>
                    <a:pt x="1031417" y="548780"/>
                  </a:lnTo>
                  <a:lnTo>
                    <a:pt x="1031570" y="548780"/>
                  </a:lnTo>
                  <a:lnTo>
                    <a:pt x="1031570" y="548081"/>
                  </a:lnTo>
                  <a:lnTo>
                    <a:pt x="1032065" y="548081"/>
                  </a:lnTo>
                  <a:lnTo>
                    <a:pt x="1032065" y="548780"/>
                  </a:lnTo>
                  <a:lnTo>
                    <a:pt x="1032116" y="548780"/>
                  </a:lnTo>
                  <a:lnTo>
                    <a:pt x="1032217" y="549427"/>
                  </a:lnTo>
                  <a:lnTo>
                    <a:pt x="1032268" y="548780"/>
                  </a:lnTo>
                  <a:lnTo>
                    <a:pt x="1032560" y="548780"/>
                  </a:lnTo>
                  <a:lnTo>
                    <a:pt x="1032560" y="548081"/>
                  </a:lnTo>
                  <a:lnTo>
                    <a:pt x="1033056" y="548081"/>
                  </a:lnTo>
                  <a:lnTo>
                    <a:pt x="1033157" y="548780"/>
                  </a:lnTo>
                  <a:lnTo>
                    <a:pt x="1033259" y="548780"/>
                  </a:lnTo>
                  <a:lnTo>
                    <a:pt x="1033259" y="548081"/>
                  </a:lnTo>
                  <a:lnTo>
                    <a:pt x="1033360" y="548081"/>
                  </a:lnTo>
                  <a:lnTo>
                    <a:pt x="1033360" y="548780"/>
                  </a:lnTo>
                  <a:lnTo>
                    <a:pt x="1033411" y="548081"/>
                  </a:lnTo>
                  <a:lnTo>
                    <a:pt x="1033703" y="548081"/>
                  </a:lnTo>
                  <a:lnTo>
                    <a:pt x="1033805" y="547446"/>
                  </a:lnTo>
                  <a:lnTo>
                    <a:pt x="1033805" y="548081"/>
                  </a:lnTo>
                  <a:lnTo>
                    <a:pt x="1033856" y="548081"/>
                  </a:lnTo>
                  <a:lnTo>
                    <a:pt x="1033907" y="548780"/>
                  </a:lnTo>
                  <a:lnTo>
                    <a:pt x="1033957" y="548081"/>
                  </a:lnTo>
                  <a:lnTo>
                    <a:pt x="1033957" y="548780"/>
                  </a:lnTo>
                  <a:lnTo>
                    <a:pt x="1034046" y="548081"/>
                  </a:lnTo>
                  <a:lnTo>
                    <a:pt x="1034097" y="548780"/>
                  </a:lnTo>
                  <a:lnTo>
                    <a:pt x="1034148" y="548780"/>
                  </a:lnTo>
                  <a:lnTo>
                    <a:pt x="1034148" y="549427"/>
                  </a:lnTo>
                  <a:lnTo>
                    <a:pt x="1034199" y="549427"/>
                  </a:lnTo>
                  <a:lnTo>
                    <a:pt x="1034199" y="548780"/>
                  </a:lnTo>
                  <a:lnTo>
                    <a:pt x="1034351" y="548780"/>
                  </a:lnTo>
                  <a:lnTo>
                    <a:pt x="1034402" y="549427"/>
                  </a:lnTo>
                  <a:lnTo>
                    <a:pt x="1034542" y="549427"/>
                  </a:lnTo>
                  <a:lnTo>
                    <a:pt x="1034542" y="548780"/>
                  </a:lnTo>
                  <a:lnTo>
                    <a:pt x="1034592" y="548780"/>
                  </a:lnTo>
                  <a:lnTo>
                    <a:pt x="1034592" y="549427"/>
                  </a:lnTo>
                  <a:lnTo>
                    <a:pt x="1034643" y="548780"/>
                  </a:lnTo>
                  <a:lnTo>
                    <a:pt x="1034796" y="548780"/>
                  </a:lnTo>
                  <a:lnTo>
                    <a:pt x="1034796" y="549427"/>
                  </a:lnTo>
                  <a:lnTo>
                    <a:pt x="1035088" y="549427"/>
                  </a:lnTo>
                  <a:lnTo>
                    <a:pt x="1035189" y="550761"/>
                  </a:lnTo>
                  <a:lnTo>
                    <a:pt x="1035240" y="549427"/>
                  </a:lnTo>
                  <a:lnTo>
                    <a:pt x="1035392" y="549427"/>
                  </a:lnTo>
                  <a:lnTo>
                    <a:pt x="1035392" y="550761"/>
                  </a:lnTo>
                  <a:lnTo>
                    <a:pt x="1035634" y="550761"/>
                  </a:lnTo>
                  <a:lnTo>
                    <a:pt x="1035634" y="551409"/>
                  </a:lnTo>
                  <a:lnTo>
                    <a:pt x="1035684" y="551409"/>
                  </a:lnTo>
                  <a:lnTo>
                    <a:pt x="1035684" y="550761"/>
                  </a:lnTo>
                  <a:lnTo>
                    <a:pt x="1035735" y="549427"/>
                  </a:lnTo>
                  <a:lnTo>
                    <a:pt x="1035735" y="548780"/>
                  </a:lnTo>
                  <a:lnTo>
                    <a:pt x="1035786" y="548081"/>
                  </a:lnTo>
                  <a:lnTo>
                    <a:pt x="1035989" y="548081"/>
                  </a:lnTo>
                  <a:lnTo>
                    <a:pt x="1035989" y="548780"/>
                  </a:lnTo>
                  <a:lnTo>
                    <a:pt x="1036180" y="548780"/>
                  </a:lnTo>
                  <a:lnTo>
                    <a:pt x="1036231" y="549427"/>
                  </a:lnTo>
                  <a:lnTo>
                    <a:pt x="1036332" y="550761"/>
                  </a:lnTo>
                  <a:lnTo>
                    <a:pt x="1036332" y="549427"/>
                  </a:lnTo>
                  <a:lnTo>
                    <a:pt x="1036383" y="548780"/>
                  </a:lnTo>
                  <a:lnTo>
                    <a:pt x="1036383" y="548081"/>
                  </a:lnTo>
                  <a:lnTo>
                    <a:pt x="1036434" y="547446"/>
                  </a:lnTo>
                  <a:lnTo>
                    <a:pt x="1036777" y="547446"/>
                  </a:lnTo>
                  <a:lnTo>
                    <a:pt x="1036828" y="548081"/>
                  </a:lnTo>
                  <a:lnTo>
                    <a:pt x="1036878" y="548081"/>
                  </a:lnTo>
                  <a:lnTo>
                    <a:pt x="1036878" y="548780"/>
                  </a:lnTo>
                  <a:lnTo>
                    <a:pt x="1037082" y="548780"/>
                  </a:lnTo>
                  <a:lnTo>
                    <a:pt x="1037132" y="549427"/>
                  </a:lnTo>
                  <a:lnTo>
                    <a:pt x="1037577" y="549427"/>
                  </a:lnTo>
                  <a:lnTo>
                    <a:pt x="1037577" y="548780"/>
                  </a:lnTo>
                  <a:lnTo>
                    <a:pt x="1037678" y="549427"/>
                  </a:lnTo>
                  <a:lnTo>
                    <a:pt x="1037678" y="548780"/>
                  </a:lnTo>
                  <a:lnTo>
                    <a:pt x="1037717" y="549427"/>
                  </a:lnTo>
                  <a:lnTo>
                    <a:pt x="1038466" y="549427"/>
                  </a:lnTo>
                  <a:lnTo>
                    <a:pt x="1038567" y="548780"/>
                  </a:lnTo>
                  <a:lnTo>
                    <a:pt x="1038669" y="548780"/>
                  </a:lnTo>
                  <a:lnTo>
                    <a:pt x="1038720" y="548081"/>
                  </a:lnTo>
                  <a:lnTo>
                    <a:pt x="1038720" y="548780"/>
                  </a:lnTo>
                  <a:lnTo>
                    <a:pt x="1039406" y="548780"/>
                  </a:lnTo>
                  <a:lnTo>
                    <a:pt x="1039406" y="549427"/>
                  </a:lnTo>
                  <a:lnTo>
                    <a:pt x="1039558" y="549427"/>
                  </a:lnTo>
                  <a:lnTo>
                    <a:pt x="1039558" y="548780"/>
                  </a:lnTo>
                  <a:lnTo>
                    <a:pt x="1039710" y="548780"/>
                  </a:lnTo>
                  <a:lnTo>
                    <a:pt x="1039761" y="549427"/>
                  </a:lnTo>
                  <a:lnTo>
                    <a:pt x="1039812" y="549427"/>
                  </a:lnTo>
                  <a:lnTo>
                    <a:pt x="1039850" y="550761"/>
                  </a:lnTo>
                  <a:lnTo>
                    <a:pt x="1039952" y="549427"/>
                  </a:lnTo>
                  <a:lnTo>
                    <a:pt x="1040003" y="549427"/>
                  </a:lnTo>
                  <a:lnTo>
                    <a:pt x="1040053" y="550761"/>
                  </a:lnTo>
                  <a:lnTo>
                    <a:pt x="1040396" y="550761"/>
                  </a:lnTo>
                  <a:lnTo>
                    <a:pt x="1040447" y="549427"/>
                  </a:lnTo>
                  <a:lnTo>
                    <a:pt x="1040498" y="550761"/>
                  </a:lnTo>
                  <a:lnTo>
                    <a:pt x="1040549" y="550761"/>
                  </a:lnTo>
                  <a:lnTo>
                    <a:pt x="1040650" y="549427"/>
                  </a:lnTo>
                  <a:lnTo>
                    <a:pt x="1040701" y="549427"/>
                  </a:lnTo>
                  <a:lnTo>
                    <a:pt x="1040752" y="550761"/>
                  </a:lnTo>
                  <a:lnTo>
                    <a:pt x="1040892" y="550761"/>
                  </a:lnTo>
                  <a:lnTo>
                    <a:pt x="1040892" y="551409"/>
                  </a:lnTo>
                  <a:lnTo>
                    <a:pt x="1040942" y="550761"/>
                  </a:lnTo>
                  <a:lnTo>
                    <a:pt x="1040942" y="551409"/>
                  </a:lnTo>
                  <a:lnTo>
                    <a:pt x="1041590" y="551409"/>
                  </a:lnTo>
                  <a:lnTo>
                    <a:pt x="1041641" y="550761"/>
                  </a:lnTo>
                  <a:lnTo>
                    <a:pt x="1041742" y="550761"/>
                  </a:lnTo>
                  <a:lnTo>
                    <a:pt x="1041742" y="549427"/>
                  </a:lnTo>
                  <a:lnTo>
                    <a:pt x="1042085" y="549427"/>
                  </a:lnTo>
                  <a:lnTo>
                    <a:pt x="1042136" y="550761"/>
                  </a:lnTo>
                  <a:lnTo>
                    <a:pt x="1042136" y="551409"/>
                  </a:lnTo>
                  <a:lnTo>
                    <a:pt x="1042339" y="551409"/>
                  </a:lnTo>
                  <a:lnTo>
                    <a:pt x="1042339" y="550761"/>
                  </a:lnTo>
                  <a:lnTo>
                    <a:pt x="1042441" y="549427"/>
                  </a:lnTo>
                  <a:lnTo>
                    <a:pt x="1042441" y="548780"/>
                  </a:lnTo>
                  <a:lnTo>
                    <a:pt x="1042479" y="548081"/>
                  </a:lnTo>
                  <a:lnTo>
                    <a:pt x="1042733" y="548081"/>
                  </a:lnTo>
                  <a:lnTo>
                    <a:pt x="1042784" y="548780"/>
                  </a:lnTo>
                  <a:lnTo>
                    <a:pt x="1042784" y="548081"/>
                  </a:lnTo>
                  <a:lnTo>
                    <a:pt x="1042885" y="548780"/>
                  </a:lnTo>
                  <a:lnTo>
                    <a:pt x="1042936" y="548780"/>
                  </a:lnTo>
                  <a:lnTo>
                    <a:pt x="1042987" y="549427"/>
                  </a:lnTo>
                  <a:lnTo>
                    <a:pt x="1043025" y="549427"/>
                  </a:lnTo>
                  <a:lnTo>
                    <a:pt x="1043127" y="550761"/>
                  </a:lnTo>
                  <a:lnTo>
                    <a:pt x="1043622" y="550761"/>
                  </a:lnTo>
                  <a:lnTo>
                    <a:pt x="1043673" y="549427"/>
                  </a:lnTo>
                  <a:lnTo>
                    <a:pt x="1043673" y="548780"/>
                  </a:lnTo>
                  <a:lnTo>
                    <a:pt x="1043825" y="548780"/>
                  </a:lnTo>
                  <a:lnTo>
                    <a:pt x="1043825" y="549427"/>
                  </a:lnTo>
                  <a:lnTo>
                    <a:pt x="1043876" y="550761"/>
                  </a:lnTo>
                  <a:lnTo>
                    <a:pt x="1043927" y="550761"/>
                  </a:lnTo>
                  <a:lnTo>
                    <a:pt x="1043927" y="549427"/>
                  </a:lnTo>
                  <a:lnTo>
                    <a:pt x="1044028" y="550761"/>
                  </a:lnTo>
                  <a:lnTo>
                    <a:pt x="1044270" y="550761"/>
                  </a:lnTo>
                  <a:lnTo>
                    <a:pt x="1044270" y="551409"/>
                  </a:lnTo>
                  <a:lnTo>
                    <a:pt x="1044321" y="551409"/>
                  </a:lnTo>
                  <a:lnTo>
                    <a:pt x="1044371" y="550761"/>
                  </a:lnTo>
                  <a:lnTo>
                    <a:pt x="1044613" y="550761"/>
                  </a:lnTo>
                  <a:lnTo>
                    <a:pt x="1044714" y="549427"/>
                  </a:lnTo>
                  <a:lnTo>
                    <a:pt x="1044816" y="549427"/>
                  </a:lnTo>
                  <a:lnTo>
                    <a:pt x="1044917" y="550761"/>
                  </a:lnTo>
                  <a:lnTo>
                    <a:pt x="1044968" y="549427"/>
                  </a:lnTo>
                  <a:lnTo>
                    <a:pt x="1045070" y="549427"/>
                  </a:lnTo>
                  <a:lnTo>
                    <a:pt x="1045070" y="550761"/>
                  </a:lnTo>
                  <a:lnTo>
                    <a:pt x="1045311" y="550761"/>
                  </a:lnTo>
                  <a:lnTo>
                    <a:pt x="1045413" y="549427"/>
                  </a:lnTo>
                  <a:lnTo>
                    <a:pt x="1045463" y="550761"/>
                  </a:lnTo>
                  <a:lnTo>
                    <a:pt x="1045463" y="551409"/>
                  </a:lnTo>
                  <a:lnTo>
                    <a:pt x="1045616" y="551409"/>
                  </a:lnTo>
                  <a:lnTo>
                    <a:pt x="1045654" y="550761"/>
                  </a:lnTo>
                  <a:lnTo>
                    <a:pt x="1045654" y="551409"/>
                  </a:lnTo>
                  <a:lnTo>
                    <a:pt x="1045756" y="551409"/>
                  </a:lnTo>
                  <a:lnTo>
                    <a:pt x="1045756" y="552056"/>
                  </a:lnTo>
                  <a:lnTo>
                    <a:pt x="1045857" y="551409"/>
                  </a:lnTo>
                  <a:lnTo>
                    <a:pt x="1045908" y="551409"/>
                  </a:lnTo>
                  <a:lnTo>
                    <a:pt x="1045959" y="550761"/>
                  </a:lnTo>
                  <a:lnTo>
                    <a:pt x="1045959" y="551409"/>
                  </a:lnTo>
                  <a:lnTo>
                    <a:pt x="1046403" y="551409"/>
                  </a:lnTo>
                  <a:lnTo>
                    <a:pt x="1046403" y="552056"/>
                  </a:lnTo>
                  <a:lnTo>
                    <a:pt x="1046657" y="552056"/>
                  </a:lnTo>
                  <a:lnTo>
                    <a:pt x="1046746" y="552653"/>
                  </a:lnTo>
                  <a:lnTo>
                    <a:pt x="1046797" y="552056"/>
                  </a:lnTo>
                  <a:lnTo>
                    <a:pt x="1046848" y="552056"/>
                  </a:lnTo>
                  <a:lnTo>
                    <a:pt x="1046848" y="551409"/>
                  </a:lnTo>
                  <a:lnTo>
                    <a:pt x="1046899" y="551409"/>
                  </a:lnTo>
                  <a:lnTo>
                    <a:pt x="1046899" y="552056"/>
                  </a:lnTo>
                  <a:lnTo>
                    <a:pt x="1047242" y="552056"/>
                  </a:lnTo>
                  <a:lnTo>
                    <a:pt x="1047292" y="552653"/>
                  </a:lnTo>
                  <a:lnTo>
                    <a:pt x="1047343" y="552653"/>
                  </a:lnTo>
                  <a:lnTo>
                    <a:pt x="1047343" y="553987"/>
                  </a:lnTo>
                  <a:lnTo>
                    <a:pt x="1047445" y="552653"/>
                  </a:lnTo>
                  <a:lnTo>
                    <a:pt x="1047496" y="552056"/>
                  </a:lnTo>
                  <a:lnTo>
                    <a:pt x="1047496" y="551409"/>
                  </a:lnTo>
                  <a:lnTo>
                    <a:pt x="1047546" y="549427"/>
                  </a:lnTo>
                  <a:lnTo>
                    <a:pt x="1047648" y="548780"/>
                  </a:lnTo>
                  <a:lnTo>
                    <a:pt x="1047699" y="548780"/>
                  </a:lnTo>
                  <a:lnTo>
                    <a:pt x="1047749" y="549427"/>
                  </a:lnTo>
                  <a:lnTo>
                    <a:pt x="1047788" y="550761"/>
                  </a:lnTo>
                  <a:lnTo>
                    <a:pt x="1047788" y="549427"/>
                  </a:lnTo>
                  <a:lnTo>
                    <a:pt x="1047940" y="549427"/>
                  </a:lnTo>
                  <a:lnTo>
                    <a:pt x="1047940" y="550761"/>
                  </a:lnTo>
                  <a:lnTo>
                    <a:pt x="1047991" y="551409"/>
                  </a:lnTo>
                  <a:lnTo>
                    <a:pt x="1048092" y="551409"/>
                  </a:lnTo>
                  <a:lnTo>
                    <a:pt x="1048143" y="550761"/>
                  </a:lnTo>
                  <a:lnTo>
                    <a:pt x="1048194" y="550761"/>
                  </a:lnTo>
                  <a:lnTo>
                    <a:pt x="1048194" y="549427"/>
                  </a:lnTo>
                  <a:lnTo>
                    <a:pt x="1048334" y="549427"/>
                  </a:lnTo>
                  <a:lnTo>
                    <a:pt x="1048384" y="548780"/>
                  </a:lnTo>
                  <a:lnTo>
                    <a:pt x="1048435" y="548780"/>
                  </a:lnTo>
                  <a:lnTo>
                    <a:pt x="1048435" y="549427"/>
                  </a:lnTo>
                  <a:lnTo>
                    <a:pt x="1048588" y="549427"/>
                  </a:lnTo>
                  <a:lnTo>
                    <a:pt x="1048588" y="550761"/>
                  </a:lnTo>
                  <a:lnTo>
                    <a:pt x="1048689" y="550761"/>
                  </a:lnTo>
                  <a:lnTo>
                    <a:pt x="1048791" y="551409"/>
                  </a:lnTo>
                  <a:lnTo>
                    <a:pt x="1048829" y="552056"/>
                  </a:lnTo>
                  <a:lnTo>
                    <a:pt x="1048829" y="551409"/>
                  </a:lnTo>
                  <a:lnTo>
                    <a:pt x="1048880" y="551409"/>
                  </a:lnTo>
                  <a:lnTo>
                    <a:pt x="1048880" y="552056"/>
                  </a:lnTo>
                  <a:lnTo>
                    <a:pt x="1048931" y="551409"/>
                  </a:lnTo>
                  <a:lnTo>
                    <a:pt x="1049032" y="552056"/>
                  </a:lnTo>
                  <a:lnTo>
                    <a:pt x="1049134" y="552056"/>
                  </a:lnTo>
                  <a:lnTo>
                    <a:pt x="1049134" y="552653"/>
                  </a:lnTo>
                  <a:lnTo>
                    <a:pt x="1049235" y="552056"/>
                  </a:lnTo>
                  <a:lnTo>
                    <a:pt x="1049286" y="552653"/>
                  </a:lnTo>
                  <a:lnTo>
                    <a:pt x="1049337" y="552056"/>
                  </a:lnTo>
                  <a:lnTo>
                    <a:pt x="1049337" y="552653"/>
                  </a:lnTo>
                  <a:lnTo>
                    <a:pt x="1049477" y="552653"/>
                  </a:lnTo>
                  <a:lnTo>
                    <a:pt x="1049528" y="552056"/>
                  </a:lnTo>
                  <a:lnTo>
                    <a:pt x="1049782" y="552056"/>
                  </a:lnTo>
                  <a:lnTo>
                    <a:pt x="1049832" y="552653"/>
                  </a:lnTo>
                  <a:lnTo>
                    <a:pt x="1050023" y="552653"/>
                  </a:lnTo>
                  <a:lnTo>
                    <a:pt x="1050074" y="553987"/>
                  </a:lnTo>
                  <a:lnTo>
                    <a:pt x="1050175" y="552653"/>
                  </a:lnTo>
                  <a:lnTo>
                    <a:pt x="1050226" y="553987"/>
                  </a:lnTo>
                  <a:lnTo>
                    <a:pt x="1050277" y="553987"/>
                  </a:lnTo>
                  <a:lnTo>
                    <a:pt x="1050378" y="552653"/>
                  </a:lnTo>
                  <a:lnTo>
                    <a:pt x="1050417" y="552653"/>
                  </a:lnTo>
                  <a:lnTo>
                    <a:pt x="1050417" y="553987"/>
                  </a:lnTo>
                  <a:lnTo>
                    <a:pt x="1050467" y="553987"/>
                  </a:lnTo>
                  <a:lnTo>
                    <a:pt x="1050518" y="552653"/>
                  </a:lnTo>
                  <a:lnTo>
                    <a:pt x="1050518" y="553987"/>
                  </a:lnTo>
                  <a:lnTo>
                    <a:pt x="1050671" y="553987"/>
                  </a:lnTo>
                  <a:lnTo>
                    <a:pt x="1050671" y="552653"/>
                  </a:lnTo>
                  <a:lnTo>
                    <a:pt x="1050721" y="552653"/>
                  </a:lnTo>
                  <a:lnTo>
                    <a:pt x="1050823" y="553987"/>
                  </a:lnTo>
                  <a:lnTo>
                    <a:pt x="1050874" y="553987"/>
                  </a:lnTo>
                  <a:lnTo>
                    <a:pt x="1050924" y="554634"/>
                  </a:lnTo>
                  <a:lnTo>
                    <a:pt x="1050963" y="554634"/>
                  </a:lnTo>
                  <a:lnTo>
                    <a:pt x="1050963" y="553987"/>
                  </a:lnTo>
                  <a:lnTo>
                    <a:pt x="1051420" y="553987"/>
                  </a:lnTo>
                  <a:lnTo>
                    <a:pt x="1051420" y="554634"/>
                  </a:lnTo>
                  <a:lnTo>
                    <a:pt x="1051763" y="554634"/>
                  </a:lnTo>
                  <a:lnTo>
                    <a:pt x="1051813" y="555282"/>
                  </a:lnTo>
                  <a:lnTo>
                    <a:pt x="1052550" y="555282"/>
                  </a:lnTo>
                  <a:lnTo>
                    <a:pt x="1052652" y="555968"/>
                  </a:lnTo>
                  <a:lnTo>
                    <a:pt x="1052703" y="555968"/>
                  </a:lnTo>
                  <a:lnTo>
                    <a:pt x="1052753" y="556616"/>
                  </a:lnTo>
                  <a:lnTo>
                    <a:pt x="1052855" y="556616"/>
                  </a:lnTo>
                  <a:lnTo>
                    <a:pt x="1052855" y="557860"/>
                  </a:lnTo>
                  <a:lnTo>
                    <a:pt x="1052957" y="557860"/>
                  </a:lnTo>
                  <a:lnTo>
                    <a:pt x="1052957" y="558559"/>
                  </a:lnTo>
                  <a:lnTo>
                    <a:pt x="1053007" y="557860"/>
                  </a:lnTo>
                  <a:lnTo>
                    <a:pt x="1053007" y="556616"/>
                  </a:lnTo>
                  <a:lnTo>
                    <a:pt x="1053147" y="556616"/>
                  </a:lnTo>
                  <a:lnTo>
                    <a:pt x="1053147" y="557860"/>
                  </a:lnTo>
                  <a:lnTo>
                    <a:pt x="1053198" y="557860"/>
                  </a:lnTo>
                  <a:lnTo>
                    <a:pt x="1053249" y="558559"/>
                  </a:lnTo>
                  <a:lnTo>
                    <a:pt x="1053401" y="558559"/>
                  </a:lnTo>
                  <a:lnTo>
                    <a:pt x="1053401" y="559194"/>
                  </a:lnTo>
                  <a:lnTo>
                    <a:pt x="1053452" y="559194"/>
                  </a:lnTo>
                  <a:lnTo>
                    <a:pt x="1053553" y="558559"/>
                  </a:lnTo>
                  <a:lnTo>
                    <a:pt x="1053592" y="557860"/>
                  </a:lnTo>
                  <a:lnTo>
                    <a:pt x="1053592" y="556616"/>
                  </a:lnTo>
                  <a:lnTo>
                    <a:pt x="1053642" y="555968"/>
                  </a:lnTo>
                  <a:lnTo>
                    <a:pt x="1053642" y="555282"/>
                  </a:lnTo>
                  <a:lnTo>
                    <a:pt x="1053693" y="554634"/>
                  </a:lnTo>
                  <a:lnTo>
                    <a:pt x="1053795" y="555282"/>
                  </a:lnTo>
                  <a:lnTo>
                    <a:pt x="1053896" y="555282"/>
                  </a:lnTo>
                  <a:lnTo>
                    <a:pt x="1053998" y="555968"/>
                  </a:lnTo>
                  <a:lnTo>
                    <a:pt x="1054049" y="555968"/>
                  </a:lnTo>
                  <a:lnTo>
                    <a:pt x="1054049" y="556616"/>
                  </a:lnTo>
                  <a:lnTo>
                    <a:pt x="1054099" y="555968"/>
                  </a:lnTo>
                  <a:lnTo>
                    <a:pt x="1054138" y="555968"/>
                  </a:lnTo>
                  <a:lnTo>
                    <a:pt x="1054138" y="555282"/>
                  </a:lnTo>
                  <a:lnTo>
                    <a:pt x="1054239" y="553987"/>
                  </a:lnTo>
                  <a:lnTo>
                    <a:pt x="1054544" y="553987"/>
                  </a:lnTo>
                  <a:lnTo>
                    <a:pt x="1054544" y="554634"/>
                  </a:lnTo>
                  <a:lnTo>
                    <a:pt x="1054684" y="554634"/>
                  </a:lnTo>
                  <a:lnTo>
                    <a:pt x="1054734" y="555282"/>
                  </a:lnTo>
                  <a:lnTo>
                    <a:pt x="1054938" y="555282"/>
                  </a:lnTo>
                  <a:lnTo>
                    <a:pt x="1054988" y="555968"/>
                  </a:lnTo>
                  <a:lnTo>
                    <a:pt x="1055039" y="555282"/>
                  </a:lnTo>
                  <a:lnTo>
                    <a:pt x="1055039" y="555968"/>
                  </a:lnTo>
                  <a:lnTo>
                    <a:pt x="1055687" y="555968"/>
                  </a:lnTo>
                  <a:lnTo>
                    <a:pt x="1055725" y="555282"/>
                  </a:lnTo>
                  <a:lnTo>
                    <a:pt x="1055827" y="555282"/>
                  </a:lnTo>
                  <a:lnTo>
                    <a:pt x="1055827" y="554634"/>
                  </a:lnTo>
                  <a:lnTo>
                    <a:pt x="1055878" y="555282"/>
                  </a:lnTo>
                  <a:lnTo>
                    <a:pt x="1055928" y="555968"/>
                  </a:lnTo>
                  <a:lnTo>
                    <a:pt x="1056081" y="555968"/>
                  </a:lnTo>
                  <a:lnTo>
                    <a:pt x="1056081" y="556616"/>
                  </a:lnTo>
                  <a:lnTo>
                    <a:pt x="1056132" y="556616"/>
                  </a:lnTo>
                  <a:lnTo>
                    <a:pt x="1056132" y="557860"/>
                  </a:lnTo>
                  <a:lnTo>
                    <a:pt x="1056271" y="557860"/>
                  </a:lnTo>
                  <a:lnTo>
                    <a:pt x="1056322" y="556616"/>
                  </a:lnTo>
                  <a:lnTo>
                    <a:pt x="1056373" y="555968"/>
                  </a:lnTo>
                  <a:lnTo>
                    <a:pt x="1056728" y="555968"/>
                  </a:lnTo>
                  <a:lnTo>
                    <a:pt x="1056728" y="556616"/>
                  </a:lnTo>
                  <a:lnTo>
                    <a:pt x="1056767" y="555968"/>
                  </a:lnTo>
                  <a:lnTo>
                    <a:pt x="1056767" y="556616"/>
                  </a:lnTo>
                  <a:lnTo>
                    <a:pt x="1056970" y="556616"/>
                  </a:lnTo>
                  <a:lnTo>
                    <a:pt x="1057021" y="555968"/>
                  </a:lnTo>
                  <a:lnTo>
                    <a:pt x="1057021" y="556616"/>
                  </a:lnTo>
                  <a:lnTo>
                    <a:pt x="1057071" y="556616"/>
                  </a:lnTo>
                  <a:lnTo>
                    <a:pt x="1057173" y="557860"/>
                  </a:lnTo>
                  <a:lnTo>
                    <a:pt x="1057224" y="557860"/>
                  </a:lnTo>
                  <a:lnTo>
                    <a:pt x="1057224" y="558559"/>
                  </a:lnTo>
                  <a:lnTo>
                    <a:pt x="1057274" y="558559"/>
                  </a:lnTo>
                  <a:lnTo>
                    <a:pt x="1057313" y="557860"/>
                  </a:lnTo>
                  <a:lnTo>
                    <a:pt x="1057414" y="557860"/>
                  </a:lnTo>
                  <a:lnTo>
                    <a:pt x="1057465" y="558559"/>
                  </a:lnTo>
                  <a:lnTo>
                    <a:pt x="1057770" y="558559"/>
                  </a:lnTo>
                  <a:lnTo>
                    <a:pt x="1057859" y="559194"/>
                  </a:lnTo>
                  <a:lnTo>
                    <a:pt x="1058316" y="559194"/>
                  </a:lnTo>
                  <a:lnTo>
                    <a:pt x="1058316" y="559842"/>
                  </a:lnTo>
                  <a:lnTo>
                    <a:pt x="1058608" y="559842"/>
                  </a:lnTo>
                  <a:lnTo>
                    <a:pt x="1058608" y="559194"/>
                  </a:lnTo>
                  <a:lnTo>
                    <a:pt x="1058659" y="559842"/>
                  </a:lnTo>
                  <a:lnTo>
                    <a:pt x="1058862" y="559842"/>
                  </a:lnTo>
                  <a:lnTo>
                    <a:pt x="1058862" y="561188"/>
                  </a:lnTo>
                  <a:lnTo>
                    <a:pt x="1059205" y="561188"/>
                  </a:lnTo>
                  <a:lnTo>
                    <a:pt x="1059205" y="561823"/>
                  </a:lnTo>
                  <a:lnTo>
                    <a:pt x="1059357" y="561823"/>
                  </a:lnTo>
                  <a:lnTo>
                    <a:pt x="1059357" y="561188"/>
                  </a:lnTo>
                  <a:lnTo>
                    <a:pt x="1059446" y="559842"/>
                  </a:lnTo>
                  <a:lnTo>
                    <a:pt x="1059446" y="559194"/>
                  </a:lnTo>
                  <a:lnTo>
                    <a:pt x="1059497" y="558559"/>
                  </a:lnTo>
                  <a:lnTo>
                    <a:pt x="1059548" y="558559"/>
                  </a:lnTo>
                  <a:lnTo>
                    <a:pt x="1059599" y="557860"/>
                  </a:lnTo>
                  <a:lnTo>
                    <a:pt x="1059599" y="558559"/>
                  </a:lnTo>
                  <a:lnTo>
                    <a:pt x="1059802" y="558559"/>
                  </a:lnTo>
                  <a:lnTo>
                    <a:pt x="1059802" y="559194"/>
                  </a:lnTo>
                  <a:lnTo>
                    <a:pt x="1059942" y="559194"/>
                  </a:lnTo>
                  <a:lnTo>
                    <a:pt x="1059942" y="559842"/>
                  </a:lnTo>
                  <a:lnTo>
                    <a:pt x="1059992" y="559194"/>
                  </a:lnTo>
                  <a:lnTo>
                    <a:pt x="1059992" y="558559"/>
                  </a:lnTo>
                  <a:lnTo>
                    <a:pt x="1060043" y="557860"/>
                  </a:lnTo>
                  <a:lnTo>
                    <a:pt x="1060043" y="556616"/>
                  </a:lnTo>
                  <a:lnTo>
                    <a:pt x="1060145" y="556616"/>
                  </a:lnTo>
                  <a:lnTo>
                    <a:pt x="1060145" y="555968"/>
                  </a:lnTo>
                  <a:lnTo>
                    <a:pt x="1060348" y="555968"/>
                  </a:lnTo>
                  <a:lnTo>
                    <a:pt x="1060348" y="556616"/>
                  </a:lnTo>
                  <a:lnTo>
                    <a:pt x="1060488" y="556616"/>
                  </a:lnTo>
                  <a:lnTo>
                    <a:pt x="1060488" y="557860"/>
                  </a:lnTo>
                  <a:lnTo>
                    <a:pt x="1060589" y="557860"/>
                  </a:lnTo>
                  <a:lnTo>
                    <a:pt x="1060589" y="558559"/>
                  </a:lnTo>
                  <a:lnTo>
                    <a:pt x="1060691" y="558559"/>
                  </a:lnTo>
                  <a:lnTo>
                    <a:pt x="1060691" y="559194"/>
                  </a:lnTo>
                  <a:lnTo>
                    <a:pt x="1060843" y="559194"/>
                  </a:lnTo>
                  <a:lnTo>
                    <a:pt x="1060894" y="558559"/>
                  </a:lnTo>
                  <a:lnTo>
                    <a:pt x="1061034" y="558559"/>
                  </a:lnTo>
                  <a:lnTo>
                    <a:pt x="1061034" y="559194"/>
                  </a:lnTo>
                  <a:lnTo>
                    <a:pt x="1061580" y="559194"/>
                  </a:lnTo>
                  <a:lnTo>
                    <a:pt x="1061580" y="558559"/>
                  </a:lnTo>
                  <a:lnTo>
                    <a:pt x="1061631" y="559194"/>
                  </a:lnTo>
                  <a:lnTo>
                    <a:pt x="1061834" y="559194"/>
                  </a:lnTo>
                  <a:lnTo>
                    <a:pt x="1061834" y="559842"/>
                  </a:lnTo>
                  <a:lnTo>
                    <a:pt x="1062037" y="559842"/>
                  </a:lnTo>
                  <a:lnTo>
                    <a:pt x="1062037" y="559194"/>
                  </a:lnTo>
                  <a:lnTo>
                    <a:pt x="1062774" y="559194"/>
                  </a:lnTo>
                  <a:lnTo>
                    <a:pt x="1062875" y="559842"/>
                  </a:lnTo>
                  <a:lnTo>
                    <a:pt x="1062926" y="559194"/>
                  </a:lnTo>
                  <a:lnTo>
                    <a:pt x="1063421" y="559194"/>
                  </a:lnTo>
                  <a:lnTo>
                    <a:pt x="1063421" y="559842"/>
                  </a:lnTo>
                  <a:lnTo>
                    <a:pt x="1063663" y="559842"/>
                  </a:lnTo>
                  <a:lnTo>
                    <a:pt x="1063764" y="559194"/>
                  </a:lnTo>
                  <a:lnTo>
                    <a:pt x="1063764" y="559842"/>
                  </a:lnTo>
                  <a:lnTo>
                    <a:pt x="1064310" y="559842"/>
                  </a:lnTo>
                  <a:lnTo>
                    <a:pt x="1064310" y="561188"/>
                  </a:lnTo>
                  <a:lnTo>
                    <a:pt x="1064361" y="559842"/>
                  </a:lnTo>
                  <a:lnTo>
                    <a:pt x="1064564" y="559842"/>
                  </a:lnTo>
                  <a:lnTo>
                    <a:pt x="1064564" y="561188"/>
                  </a:lnTo>
                  <a:lnTo>
                    <a:pt x="1064907" y="561188"/>
                  </a:lnTo>
                  <a:lnTo>
                    <a:pt x="1064907" y="561823"/>
                  </a:lnTo>
                  <a:lnTo>
                    <a:pt x="1064958" y="561823"/>
                  </a:lnTo>
                  <a:lnTo>
                    <a:pt x="1064958" y="561188"/>
                  </a:lnTo>
                  <a:lnTo>
                    <a:pt x="1065110" y="561188"/>
                  </a:lnTo>
                  <a:lnTo>
                    <a:pt x="1065110" y="561823"/>
                  </a:lnTo>
                  <a:lnTo>
                    <a:pt x="1065161" y="561823"/>
                  </a:lnTo>
                  <a:lnTo>
                    <a:pt x="1065212" y="562420"/>
                  </a:lnTo>
                  <a:lnTo>
                    <a:pt x="1065352" y="562420"/>
                  </a:lnTo>
                  <a:lnTo>
                    <a:pt x="1065403" y="561823"/>
                  </a:lnTo>
                  <a:lnTo>
                    <a:pt x="1065453" y="561823"/>
                  </a:lnTo>
                  <a:lnTo>
                    <a:pt x="1065453" y="561188"/>
                  </a:lnTo>
                  <a:lnTo>
                    <a:pt x="1065555" y="561188"/>
                  </a:lnTo>
                  <a:lnTo>
                    <a:pt x="1065555" y="559842"/>
                  </a:lnTo>
                  <a:lnTo>
                    <a:pt x="1065657" y="558559"/>
                  </a:lnTo>
                  <a:lnTo>
                    <a:pt x="1065707" y="558559"/>
                  </a:lnTo>
                  <a:lnTo>
                    <a:pt x="1065796" y="559194"/>
                  </a:lnTo>
                  <a:lnTo>
                    <a:pt x="1065847" y="559842"/>
                  </a:lnTo>
                  <a:lnTo>
                    <a:pt x="1066050" y="559842"/>
                  </a:lnTo>
                  <a:lnTo>
                    <a:pt x="1066050" y="559194"/>
                  </a:lnTo>
                  <a:lnTo>
                    <a:pt x="1066101" y="559842"/>
                  </a:lnTo>
                  <a:lnTo>
                    <a:pt x="1066101" y="559194"/>
                  </a:lnTo>
                  <a:lnTo>
                    <a:pt x="1066152" y="559194"/>
                  </a:lnTo>
                  <a:lnTo>
                    <a:pt x="1066253" y="558559"/>
                  </a:lnTo>
                  <a:lnTo>
                    <a:pt x="1066292" y="558559"/>
                  </a:lnTo>
                  <a:lnTo>
                    <a:pt x="1066292" y="557860"/>
                  </a:lnTo>
                  <a:lnTo>
                    <a:pt x="1066342" y="557860"/>
                  </a:lnTo>
                  <a:lnTo>
                    <a:pt x="1066393" y="556616"/>
                  </a:lnTo>
                  <a:lnTo>
                    <a:pt x="1066393" y="557860"/>
                  </a:lnTo>
                  <a:lnTo>
                    <a:pt x="1066495" y="558559"/>
                  </a:lnTo>
                  <a:lnTo>
                    <a:pt x="1066546" y="559194"/>
                  </a:lnTo>
                  <a:lnTo>
                    <a:pt x="1066749" y="559194"/>
                  </a:lnTo>
                  <a:lnTo>
                    <a:pt x="1066799" y="559842"/>
                  </a:lnTo>
                  <a:lnTo>
                    <a:pt x="1066939" y="559842"/>
                  </a:lnTo>
                  <a:lnTo>
                    <a:pt x="1066990" y="559194"/>
                  </a:lnTo>
                  <a:lnTo>
                    <a:pt x="1066990" y="559842"/>
                  </a:lnTo>
                  <a:lnTo>
                    <a:pt x="1067244" y="559842"/>
                  </a:lnTo>
                  <a:lnTo>
                    <a:pt x="1067295" y="559194"/>
                  </a:lnTo>
                  <a:lnTo>
                    <a:pt x="1067295" y="559842"/>
                  </a:lnTo>
                  <a:lnTo>
                    <a:pt x="1067384" y="559842"/>
                  </a:lnTo>
                  <a:lnTo>
                    <a:pt x="1067434" y="559194"/>
                  </a:lnTo>
                  <a:lnTo>
                    <a:pt x="1067536" y="559194"/>
                  </a:lnTo>
                  <a:lnTo>
                    <a:pt x="1067536" y="559842"/>
                  </a:lnTo>
                  <a:lnTo>
                    <a:pt x="1067688" y="559842"/>
                  </a:lnTo>
                  <a:lnTo>
                    <a:pt x="1067739" y="559194"/>
                  </a:lnTo>
                  <a:lnTo>
                    <a:pt x="1067841" y="559194"/>
                  </a:lnTo>
                  <a:lnTo>
                    <a:pt x="1067879" y="559842"/>
                  </a:lnTo>
                  <a:lnTo>
                    <a:pt x="1067930" y="559842"/>
                  </a:lnTo>
                  <a:lnTo>
                    <a:pt x="1067981" y="561188"/>
                  </a:lnTo>
                  <a:lnTo>
                    <a:pt x="1067981" y="559842"/>
                  </a:lnTo>
                  <a:lnTo>
                    <a:pt x="1068082" y="561188"/>
                  </a:lnTo>
                  <a:lnTo>
                    <a:pt x="1068184" y="561188"/>
                  </a:lnTo>
                  <a:lnTo>
                    <a:pt x="1068285" y="559842"/>
                  </a:lnTo>
                  <a:lnTo>
                    <a:pt x="1068336" y="559842"/>
                  </a:lnTo>
                  <a:lnTo>
                    <a:pt x="1068336" y="559194"/>
                  </a:lnTo>
                  <a:lnTo>
                    <a:pt x="1068425" y="559194"/>
                  </a:lnTo>
                  <a:lnTo>
                    <a:pt x="1068425" y="559842"/>
                  </a:lnTo>
                  <a:lnTo>
                    <a:pt x="1068527" y="559194"/>
                  </a:lnTo>
                  <a:lnTo>
                    <a:pt x="1068527" y="559842"/>
                  </a:lnTo>
                  <a:lnTo>
                    <a:pt x="1068578" y="559194"/>
                  </a:lnTo>
                  <a:lnTo>
                    <a:pt x="1068628" y="559842"/>
                  </a:lnTo>
                  <a:lnTo>
                    <a:pt x="1069022" y="559842"/>
                  </a:lnTo>
                  <a:lnTo>
                    <a:pt x="1069022" y="559194"/>
                  </a:lnTo>
                  <a:lnTo>
                    <a:pt x="1069073" y="559194"/>
                  </a:lnTo>
                  <a:lnTo>
                    <a:pt x="1069124" y="559842"/>
                  </a:lnTo>
                  <a:lnTo>
                    <a:pt x="1069225" y="559842"/>
                  </a:lnTo>
                  <a:lnTo>
                    <a:pt x="1069225" y="561188"/>
                  </a:lnTo>
                  <a:lnTo>
                    <a:pt x="1069327" y="561188"/>
                  </a:lnTo>
                  <a:lnTo>
                    <a:pt x="1069327" y="559842"/>
                  </a:lnTo>
                  <a:lnTo>
                    <a:pt x="1069467" y="559842"/>
                  </a:lnTo>
                  <a:lnTo>
                    <a:pt x="1069467" y="561188"/>
                  </a:lnTo>
                  <a:lnTo>
                    <a:pt x="1069670" y="561188"/>
                  </a:lnTo>
                  <a:lnTo>
                    <a:pt x="1069721" y="561823"/>
                  </a:lnTo>
                  <a:lnTo>
                    <a:pt x="1069771" y="561188"/>
                  </a:lnTo>
                  <a:lnTo>
                    <a:pt x="1069873" y="561823"/>
                  </a:lnTo>
                  <a:lnTo>
                    <a:pt x="1069873" y="561188"/>
                  </a:lnTo>
                  <a:lnTo>
                    <a:pt x="1069924" y="561823"/>
                  </a:lnTo>
                  <a:lnTo>
                    <a:pt x="1070660" y="561823"/>
                  </a:lnTo>
                  <a:lnTo>
                    <a:pt x="1070660" y="562420"/>
                  </a:lnTo>
                  <a:lnTo>
                    <a:pt x="1070863" y="562420"/>
                  </a:lnTo>
                  <a:lnTo>
                    <a:pt x="1070914" y="561823"/>
                  </a:lnTo>
                  <a:lnTo>
                    <a:pt x="1071016" y="562420"/>
                  </a:lnTo>
                  <a:lnTo>
                    <a:pt x="1071054" y="563169"/>
                  </a:lnTo>
                  <a:lnTo>
                    <a:pt x="1071054" y="562420"/>
                  </a:lnTo>
                  <a:lnTo>
                    <a:pt x="1071105" y="563169"/>
                  </a:lnTo>
                  <a:lnTo>
                    <a:pt x="1071156" y="562420"/>
                  </a:lnTo>
                  <a:lnTo>
                    <a:pt x="1071257" y="562420"/>
                  </a:lnTo>
                  <a:lnTo>
                    <a:pt x="1071257" y="561188"/>
                  </a:lnTo>
                  <a:lnTo>
                    <a:pt x="1071460" y="561188"/>
                  </a:lnTo>
                  <a:lnTo>
                    <a:pt x="1071511" y="561823"/>
                  </a:lnTo>
                  <a:lnTo>
                    <a:pt x="1071600" y="561823"/>
                  </a:lnTo>
                  <a:lnTo>
                    <a:pt x="1071600" y="562420"/>
                  </a:lnTo>
                  <a:lnTo>
                    <a:pt x="1071753" y="562420"/>
                  </a:lnTo>
                  <a:lnTo>
                    <a:pt x="1071753" y="563169"/>
                  </a:lnTo>
                  <a:lnTo>
                    <a:pt x="1071803" y="562420"/>
                  </a:lnTo>
                  <a:lnTo>
                    <a:pt x="1071803" y="563169"/>
                  </a:lnTo>
                  <a:lnTo>
                    <a:pt x="1071905" y="563169"/>
                  </a:lnTo>
                  <a:lnTo>
                    <a:pt x="1071905" y="562420"/>
                  </a:lnTo>
                  <a:lnTo>
                    <a:pt x="1071956" y="561188"/>
                  </a:lnTo>
                  <a:lnTo>
                    <a:pt x="1071956" y="559842"/>
                  </a:lnTo>
                  <a:lnTo>
                    <a:pt x="1072007" y="558559"/>
                  </a:lnTo>
                  <a:lnTo>
                    <a:pt x="1072146" y="558559"/>
                  </a:lnTo>
                  <a:lnTo>
                    <a:pt x="1072248" y="559842"/>
                  </a:lnTo>
                  <a:lnTo>
                    <a:pt x="1072299" y="559842"/>
                  </a:lnTo>
                  <a:lnTo>
                    <a:pt x="1072400" y="561188"/>
                  </a:lnTo>
                  <a:lnTo>
                    <a:pt x="1072603" y="561188"/>
                  </a:lnTo>
                  <a:lnTo>
                    <a:pt x="1072603" y="561823"/>
                  </a:lnTo>
                  <a:lnTo>
                    <a:pt x="1073099" y="561823"/>
                  </a:lnTo>
                  <a:lnTo>
                    <a:pt x="1073099" y="562420"/>
                  </a:lnTo>
                  <a:lnTo>
                    <a:pt x="1073149" y="561823"/>
                  </a:lnTo>
                  <a:lnTo>
                    <a:pt x="1073289" y="561823"/>
                  </a:lnTo>
                  <a:lnTo>
                    <a:pt x="1073289" y="562420"/>
                  </a:lnTo>
                  <a:lnTo>
                    <a:pt x="1073340" y="562420"/>
                  </a:lnTo>
                  <a:lnTo>
                    <a:pt x="1073391" y="561823"/>
                  </a:lnTo>
                  <a:lnTo>
                    <a:pt x="1073492" y="561823"/>
                  </a:lnTo>
                  <a:lnTo>
                    <a:pt x="1073543" y="562420"/>
                  </a:lnTo>
                  <a:lnTo>
                    <a:pt x="1074229" y="562420"/>
                  </a:lnTo>
                  <a:lnTo>
                    <a:pt x="1074280" y="561823"/>
                  </a:lnTo>
                  <a:lnTo>
                    <a:pt x="1074331" y="561823"/>
                  </a:lnTo>
                  <a:lnTo>
                    <a:pt x="1074331" y="562420"/>
                  </a:lnTo>
                  <a:lnTo>
                    <a:pt x="1074534" y="562420"/>
                  </a:lnTo>
                  <a:lnTo>
                    <a:pt x="1074635" y="563169"/>
                  </a:lnTo>
                  <a:lnTo>
                    <a:pt x="1074635" y="562420"/>
                  </a:lnTo>
                  <a:lnTo>
                    <a:pt x="1074686" y="562420"/>
                  </a:lnTo>
                  <a:lnTo>
                    <a:pt x="1074737" y="561823"/>
                  </a:lnTo>
                  <a:lnTo>
                    <a:pt x="1074775" y="561823"/>
                  </a:lnTo>
                  <a:lnTo>
                    <a:pt x="1074775" y="562420"/>
                  </a:lnTo>
                  <a:lnTo>
                    <a:pt x="1074877" y="562420"/>
                  </a:lnTo>
                  <a:lnTo>
                    <a:pt x="1074928" y="561823"/>
                  </a:lnTo>
                  <a:lnTo>
                    <a:pt x="1074978" y="561823"/>
                  </a:lnTo>
                  <a:lnTo>
                    <a:pt x="1075080" y="562420"/>
                  </a:lnTo>
                  <a:lnTo>
                    <a:pt x="1075372" y="562420"/>
                  </a:lnTo>
                  <a:lnTo>
                    <a:pt x="1075423" y="563169"/>
                  </a:lnTo>
                  <a:lnTo>
                    <a:pt x="1075474" y="563169"/>
                  </a:lnTo>
                  <a:lnTo>
                    <a:pt x="1075575" y="562420"/>
                  </a:lnTo>
                  <a:lnTo>
                    <a:pt x="1075626" y="562420"/>
                  </a:lnTo>
                  <a:lnTo>
                    <a:pt x="1075626" y="563169"/>
                  </a:lnTo>
                  <a:lnTo>
                    <a:pt x="1075817" y="563169"/>
                  </a:lnTo>
                  <a:lnTo>
                    <a:pt x="1075817" y="562420"/>
                  </a:lnTo>
                  <a:lnTo>
                    <a:pt x="1075918" y="562420"/>
                  </a:lnTo>
                  <a:lnTo>
                    <a:pt x="1075918" y="563169"/>
                  </a:lnTo>
                  <a:lnTo>
                    <a:pt x="1076121" y="563169"/>
                  </a:lnTo>
                  <a:lnTo>
                    <a:pt x="1076223" y="562420"/>
                  </a:lnTo>
                  <a:lnTo>
                    <a:pt x="1076223" y="563169"/>
                  </a:lnTo>
                  <a:lnTo>
                    <a:pt x="1076274" y="562420"/>
                  </a:lnTo>
                  <a:lnTo>
                    <a:pt x="1076324" y="562420"/>
                  </a:lnTo>
                  <a:lnTo>
                    <a:pt x="1076324" y="563169"/>
                  </a:lnTo>
                  <a:lnTo>
                    <a:pt x="1076667" y="563169"/>
                  </a:lnTo>
                  <a:lnTo>
                    <a:pt x="1076667" y="563766"/>
                  </a:lnTo>
                  <a:lnTo>
                    <a:pt x="1076718" y="563766"/>
                  </a:lnTo>
                  <a:lnTo>
                    <a:pt x="1076718" y="565048"/>
                  </a:lnTo>
                  <a:lnTo>
                    <a:pt x="1076820" y="565048"/>
                  </a:lnTo>
                  <a:lnTo>
                    <a:pt x="1076820" y="563766"/>
                  </a:lnTo>
                  <a:lnTo>
                    <a:pt x="1076909" y="565048"/>
                  </a:lnTo>
                  <a:lnTo>
                    <a:pt x="1076959" y="565048"/>
                  </a:lnTo>
                  <a:lnTo>
                    <a:pt x="1076959" y="563766"/>
                  </a:lnTo>
                  <a:lnTo>
                    <a:pt x="1077010" y="563766"/>
                  </a:lnTo>
                  <a:lnTo>
                    <a:pt x="1077061" y="563169"/>
                  </a:lnTo>
                  <a:lnTo>
                    <a:pt x="1077061" y="563766"/>
                  </a:lnTo>
                  <a:lnTo>
                    <a:pt x="1077163" y="563766"/>
                  </a:lnTo>
                  <a:lnTo>
                    <a:pt x="1077163" y="565048"/>
                  </a:lnTo>
                  <a:lnTo>
                    <a:pt x="1077264" y="565048"/>
                  </a:lnTo>
                  <a:lnTo>
                    <a:pt x="1077264" y="563766"/>
                  </a:lnTo>
                  <a:lnTo>
                    <a:pt x="1077366" y="563766"/>
                  </a:lnTo>
                  <a:lnTo>
                    <a:pt x="1077404" y="563169"/>
                  </a:lnTo>
                  <a:lnTo>
                    <a:pt x="1077506" y="563169"/>
                  </a:lnTo>
                  <a:lnTo>
                    <a:pt x="1077506" y="562420"/>
                  </a:lnTo>
                  <a:lnTo>
                    <a:pt x="1077607" y="561823"/>
                  </a:lnTo>
                  <a:lnTo>
                    <a:pt x="1077709" y="561823"/>
                  </a:lnTo>
                  <a:lnTo>
                    <a:pt x="1077810" y="562420"/>
                  </a:lnTo>
                  <a:lnTo>
                    <a:pt x="1077861" y="562420"/>
                  </a:lnTo>
                  <a:lnTo>
                    <a:pt x="1077861" y="563169"/>
                  </a:lnTo>
                  <a:lnTo>
                    <a:pt x="1077912" y="563169"/>
                  </a:lnTo>
                  <a:lnTo>
                    <a:pt x="1077912" y="562420"/>
                  </a:lnTo>
                  <a:lnTo>
                    <a:pt x="1077950" y="562420"/>
                  </a:lnTo>
                  <a:lnTo>
                    <a:pt x="1077950" y="561823"/>
                  </a:lnTo>
                  <a:lnTo>
                    <a:pt x="1078052" y="561188"/>
                  </a:lnTo>
                  <a:lnTo>
                    <a:pt x="1078255" y="561188"/>
                  </a:lnTo>
                  <a:lnTo>
                    <a:pt x="1078255" y="559842"/>
                  </a:lnTo>
                  <a:lnTo>
                    <a:pt x="1078306" y="561188"/>
                  </a:lnTo>
                  <a:lnTo>
                    <a:pt x="1078357" y="561188"/>
                  </a:lnTo>
                  <a:lnTo>
                    <a:pt x="1078357" y="561823"/>
                  </a:lnTo>
                  <a:lnTo>
                    <a:pt x="1078407" y="561823"/>
                  </a:lnTo>
                  <a:lnTo>
                    <a:pt x="1078496" y="562420"/>
                  </a:lnTo>
                  <a:lnTo>
                    <a:pt x="1078598" y="562420"/>
                  </a:lnTo>
                  <a:lnTo>
                    <a:pt x="1078649" y="563169"/>
                  </a:lnTo>
                  <a:lnTo>
                    <a:pt x="1078852" y="563169"/>
                  </a:lnTo>
                  <a:lnTo>
                    <a:pt x="1078953" y="562420"/>
                  </a:lnTo>
                  <a:lnTo>
                    <a:pt x="1079195" y="562420"/>
                  </a:lnTo>
                  <a:lnTo>
                    <a:pt x="1079246" y="563169"/>
                  </a:lnTo>
                  <a:lnTo>
                    <a:pt x="1079246" y="562420"/>
                  </a:lnTo>
                  <a:lnTo>
                    <a:pt x="1079296" y="563169"/>
                  </a:lnTo>
                  <a:lnTo>
                    <a:pt x="1079449" y="563169"/>
                  </a:lnTo>
                  <a:lnTo>
                    <a:pt x="1079499" y="562420"/>
                  </a:lnTo>
                  <a:lnTo>
                    <a:pt x="1079538" y="562420"/>
                  </a:lnTo>
                  <a:lnTo>
                    <a:pt x="1079538" y="563169"/>
                  </a:lnTo>
                  <a:lnTo>
                    <a:pt x="1079893" y="563169"/>
                  </a:lnTo>
                  <a:lnTo>
                    <a:pt x="1079893" y="562420"/>
                  </a:lnTo>
                  <a:lnTo>
                    <a:pt x="1079995" y="562420"/>
                  </a:lnTo>
                  <a:lnTo>
                    <a:pt x="1080084" y="563169"/>
                  </a:lnTo>
                  <a:lnTo>
                    <a:pt x="1080084" y="562420"/>
                  </a:lnTo>
                  <a:lnTo>
                    <a:pt x="1080236" y="562420"/>
                  </a:lnTo>
                  <a:lnTo>
                    <a:pt x="1080236" y="563169"/>
                  </a:lnTo>
                  <a:lnTo>
                    <a:pt x="1080338" y="562420"/>
                  </a:lnTo>
                  <a:lnTo>
                    <a:pt x="1080681" y="562420"/>
                  </a:lnTo>
                  <a:lnTo>
                    <a:pt x="1080782" y="563169"/>
                  </a:lnTo>
                  <a:lnTo>
                    <a:pt x="1080884" y="563169"/>
                  </a:lnTo>
                  <a:lnTo>
                    <a:pt x="1080884" y="562420"/>
                  </a:lnTo>
                  <a:lnTo>
                    <a:pt x="1080985" y="562420"/>
                  </a:lnTo>
                  <a:lnTo>
                    <a:pt x="1080985" y="563169"/>
                  </a:lnTo>
                  <a:lnTo>
                    <a:pt x="1081036" y="562420"/>
                  </a:lnTo>
                  <a:lnTo>
                    <a:pt x="1081227" y="562420"/>
                  </a:lnTo>
                  <a:lnTo>
                    <a:pt x="1081227" y="563169"/>
                  </a:lnTo>
                  <a:lnTo>
                    <a:pt x="1081582" y="563169"/>
                  </a:lnTo>
                  <a:lnTo>
                    <a:pt x="1081671" y="563766"/>
                  </a:lnTo>
                  <a:lnTo>
                    <a:pt x="1081671" y="563169"/>
                  </a:lnTo>
                  <a:lnTo>
                    <a:pt x="1081773" y="563169"/>
                  </a:lnTo>
                  <a:lnTo>
                    <a:pt x="1081824" y="563766"/>
                  </a:lnTo>
                  <a:lnTo>
                    <a:pt x="1081824" y="563169"/>
                  </a:lnTo>
                  <a:lnTo>
                    <a:pt x="1082128" y="563169"/>
                  </a:lnTo>
                  <a:lnTo>
                    <a:pt x="1082128" y="563766"/>
                  </a:lnTo>
                  <a:lnTo>
                    <a:pt x="1082268" y="563766"/>
                  </a:lnTo>
                  <a:lnTo>
                    <a:pt x="1082370" y="563169"/>
                  </a:lnTo>
                  <a:lnTo>
                    <a:pt x="1082421" y="563766"/>
                  </a:lnTo>
                  <a:lnTo>
                    <a:pt x="1082471" y="563766"/>
                  </a:lnTo>
                  <a:lnTo>
                    <a:pt x="1082471" y="565048"/>
                  </a:lnTo>
                  <a:lnTo>
                    <a:pt x="1082573" y="563766"/>
                  </a:lnTo>
                  <a:lnTo>
                    <a:pt x="1082573" y="565048"/>
                  </a:lnTo>
                  <a:lnTo>
                    <a:pt x="1082865" y="565048"/>
                  </a:lnTo>
                  <a:lnTo>
                    <a:pt x="1082865" y="563766"/>
                  </a:lnTo>
                  <a:lnTo>
                    <a:pt x="1083119" y="563766"/>
                  </a:lnTo>
                  <a:lnTo>
                    <a:pt x="1083170" y="563169"/>
                  </a:lnTo>
                  <a:lnTo>
                    <a:pt x="1083170" y="562420"/>
                  </a:lnTo>
                  <a:lnTo>
                    <a:pt x="1083259" y="561823"/>
                  </a:lnTo>
                  <a:lnTo>
                    <a:pt x="1083309" y="561823"/>
                  </a:lnTo>
                  <a:lnTo>
                    <a:pt x="1083360" y="562420"/>
                  </a:lnTo>
                  <a:lnTo>
                    <a:pt x="1083614" y="562420"/>
                  </a:lnTo>
                  <a:lnTo>
                    <a:pt x="1083614" y="563169"/>
                  </a:lnTo>
                  <a:lnTo>
                    <a:pt x="1083754" y="563169"/>
                  </a:lnTo>
                  <a:lnTo>
                    <a:pt x="1083754" y="562420"/>
                  </a:lnTo>
                  <a:lnTo>
                    <a:pt x="1083805" y="561823"/>
                  </a:lnTo>
                  <a:lnTo>
                    <a:pt x="1083856" y="561188"/>
                  </a:lnTo>
                  <a:lnTo>
                    <a:pt x="1083957" y="561188"/>
                  </a:lnTo>
                  <a:lnTo>
                    <a:pt x="1084008" y="559842"/>
                  </a:lnTo>
                  <a:lnTo>
                    <a:pt x="1084008" y="561188"/>
                  </a:lnTo>
                  <a:lnTo>
                    <a:pt x="1084059" y="561188"/>
                  </a:lnTo>
                  <a:lnTo>
                    <a:pt x="1084160" y="561823"/>
                  </a:lnTo>
                  <a:lnTo>
                    <a:pt x="1084262" y="561823"/>
                  </a:lnTo>
                  <a:lnTo>
                    <a:pt x="1084300" y="562420"/>
                  </a:lnTo>
                  <a:lnTo>
                    <a:pt x="1084605" y="562420"/>
                  </a:lnTo>
                  <a:lnTo>
                    <a:pt x="1084605" y="563169"/>
                  </a:lnTo>
                  <a:lnTo>
                    <a:pt x="1084656" y="563169"/>
                  </a:lnTo>
                  <a:lnTo>
                    <a:pt x="1084707" y="562420"/>
                  </a:lnTo>
                  <a:lnTo>
                    <a:pt x="1085151" y="562420"/>
                  </a:lnTo>
                  <a:lnTo>
                    <a:pt x="1085151" y="563169"/>
                  </a:lnTo>
                  <a:lnTo>
                    <a:pt x="1085342" y="563169"/>
                  </a:lnTo>
                  <a:lnTo>
                    <a:pt x="1085392" y="563766"/>
                  </a:lnTo>
                  <a:lnTo>
                    <a:pt x="1085545" y="563766"/>
                  </a:lnTo>
                  <a:lnTo>
                    <a:pt x="1085545" y="563169"/>
                  </a:lnTo>
                  <a:lnTo>
                    <a:pt x="1086891" y="563169"/>
                  </a:lnTo>
                  <a:lnTo>
                    <a:pt x="1086891" y="563766"/>
                  </a:lnTo>
                  <a:lnTo>
                    <a:pt x="1086929" y="563766"/>
                  </a:lnTo>
                  <a:lnTo>
                    <a:pt x="1086980" y="563169"/>
                  </a:lnTo>
                  <a:lnTo>
                    <a:pt x="1087031" y="563766"/>
                  </a:lnTo>
                  <a:lnTo>
                    <a:pt x="1087031" y="563169"/>
                  </a:lnTo>
                  <a:lnTo>
                    <a:pt x="1087132" y="563766"/>
                  </a:lnTo>
                  <a:lnTo>
                    <a:pt x="1087234" y="563766"/>
                  </a:lnTo>
                  <a:lnTo>
                    <a:pt x="1087234" y="565048"/>
                  </a:lnTo>
                  <a:lnTo>
                    <a:pt x="1087335" y="563766"/>
                  </a:lnTo>
                  <a:lnTo>
                    <a:pt x="1087386" y="563766"/>
                  </a:lnTo>
                  <a:lnTo>
                    <a:pt x="1087437" y="565048"/>
                  </a:lnTo>
                  <a:lnTo>
                    <a:pt x="1087437" y="563766"/>
                  </a:lnTo>
                  <a:lnTo>
                    <a:pt x="1087475" y="565048"/>
                  </a:lnTo>
                  <a:lnTo>
                    <a:pt x="1087628" y="565048"/>
                  </a:lnTo>
                  <a:lnTo>
                    <a:pt x="1087628" y="563766"/>
                  </a:lnTo>
                  <a:lnTo>
                    <a:pt x="1087932" y="563766"/>
                  </a:lnTo>
                  <a:lnTo>
                    <a:pt x="1088021" y="565048"/>
                  </a:lnTo>
                  <a:lnTo>
                    <a:pt x="1088123" y="565048"/>
                  </a:lnTo>
                  <a:lnTo>
                    <a:pt x="1088174" y="563766"/>
                  </a:lnTo>
                  <a:lnTo>
                    <a:pt x="1088275" y="565048"/>
                  </a:lnTo>
                  <a:lnTo>
                    <a:pt x="1088478" y="565048"/>
                  </a:lnTo>
                  <a:lnTo>
                    <a:pt x="1088517" y="565747"/>
                  </a:lnTo>
                  <a:lnTo>
                    <a:pt x="1089024" y="565747"/>
                  </a:lnTo>
                  <a:lnTo>
                    <a:pt x="1089063" y="566395"/>
                  </a:lnTo>
                  <a:lnTo>
                    <a:pt x="1089164" y="566395"/>
                  </a:lnTo>
                  <a:lnTo>
                    <a:pt x="1089164" y="565747"/>
                  </a:lnTo>
                  <a:lnTo>
                    <a:pt x="1089215" y="565048"/>
                  </a:lnTo>
                  <a:lnTo>
                    <a:pt x="1089215" y="563766"/>
                  </a:lnTo>
                  <a:lnTo>
                    <a:pt x="1089266" y="563169"/>
                  </a:lnTo>
                  <a:lnTo>
                    <a:pt x="1089367" y="563169"/>
                  </a:lnTo>
                  <a:lnTo>
                    <a:pt x="1089418" y="562420"/>
                  </a:lnTo>
                  <a:lnTo>
                    <a:pt x="1089520" y="562420"/>
                  </a:lnTo>
                  <a:lnTo>
                    <a:pt x="1089609" y="563169"/>
                  </a:lnTo>
                  <a:lnTo>
                    <a:pt x="1089710" y="563169"/>
                  </a:lnTo>
                  <a:lnTo>
                    <a:pt x="1089761" y="562420"/>
                  </a:lnTo>
                  <a:lnTo>
                    <a:pt x="1089863" y="562420"/>
                  </a:lnTo>
                  <a:lnTo>
                    <a:pt x="1089863" y="561823"/>
                  </a:lnTo>
                  <a:lnTo>
                    <a:pt x="1089913" y="562420"/>
                  </a:lnTo>
                  <a:lnTo>
                    <a:pt x="1089913" y="561823"/>
                  </a:lnTo>
                  <a:lnTo>
                    <a:pt x="1090155" y="561823"/>
                  </a:lnTo>
                  <a:lnTo>
                    <a:pt x="1090155" y="562420"/>
                  </a:lnTo>
                  <a:lnTo>
                    <a:pt x="1090358" y="562420"/>
                  </a:lnTo>
                  <a:lnTo>
                    <a:pt x="1090358" y="563169"/>
                  </a:lnTo>
                  <a:lnTo>
                    <a:pt x="1090409" y="563766"/>
                  </a:lnTo>
                  <a:lnTo>
                    <a:pt x="1090510" y="563766"/>
                  </a:lnTo>
                  <a:lnTo>
                    <a:pt x="1090561" y="565048"/>
                  </a:lnTo>
                  <a:lnTo>
                    <a:pt x="1090612" y="565048"/>
                  </a:lnTo>
                  <a:lnTo>
                    <a:pt x="1090650" y="563766"/>
                  </a:lnTo>
                  <a:lnTo>
                    <a:pt x="1090752" y="563766"/>
                  </a:lnTo>
                  <a:lnTo>
                    <a:pt x="1090752" y="563169"/>
                  </a:lnTo>
                  <a:lnTo>
                    <a:pt x="1090803" y="563169"/>
                  </a:lnTo>
                  <a:lnTo>
                    <a:pt x="1090803" y="563766"/>
                  </a:lnTo>
                  <a:lnTo>
                    <a:pt x="1090853" y="563766"/>
                  </a:lnTo>
                  <a:lnTo>
                    <a:pt x="1090955" y="563169"/>
                  </a:lnTo>
                  <a:lnTo>
                    <a:pt x="1091057" y="563169"/>
                  </a:lnTo>
                  <a:lnTo>
                    <a:pt x="1091057" y="563766"/>
                  </a:lnTo>
                  <a:lnTo>
                    <a:pt x="1091107" y="563766"/>
                  </a:lnTo>
                  <a:lnTo>
                    <a:pt x="1091107" y="563169"/>
                  </a:lnTo>
                  <a:lnTo>
                    <a:pt x="1091196" y="563766"/>
                  </a:lnTo>
                  <a:lnTo>
                    <a:pt x="1091247" y="563169"/>
                  </a:lnTo>
                  <a:lnTo>
                    <a:pt x="1091298" y="563766"/>
                  </a:lnTo>
                  <a:lnTo>
                    <a:pt x="1091742" y="563766"/>
                  </a:lnTo>
                  <a:lnTo>
                    <a:pt x="1091793" y="565048"/>
                  </a:lnTo>
                  <a:lnTo>
                    <a:pt x="1091895" y="565048"/>
                  </a:lnTo>
                  <a:lnTo>
                    <a:pt x="1091946" y="563766"/>
                  </a:lnTo>
                  <a:lnTo>
                    <a:pt x="1091996" y="563766"/>
                  </a:lnTo>
                  <a:lnTo>
                    <a:pt x="1091996" y="563169"/>
                  </a:lnTo>
                  <a:lnTo>
                    <a:pt x="1092199" y="563169"/>
                  </a:lnTo>
                  <a:lnTo>
                    <a:pt x="1092238" y="563766"/>
                  </a:lnTo>
                  <a:lnTo>
                    <a:pt x="1092238" y="563169"/>
                  </a:lnTo>
                  <a:lnTo>
                    <a:pt x="1092339" y="563169"/>
                  </a:lnTo>
                  <a:lnTo>
                    <a:pt x="1092339" y="563766"/>
                  </a:lnTo>
                  <a:lnTo>
                    <a:pt x="1092441" y="563766"/>
                  </a:lnTo>
                  <a:lnTo>
                    <a:pt x="1092441" y="565048"/>
                  </a:lnTo>
                  <a:lnTo>
                    <a:pt x="1092542" y="563766"/>
                  </a:lnTo>
                  <a:lnTo>
                    <a:pt x="1092834" y="563766"/>
                  </a:lnTo>
                  <a:lnTo>
                    <a:pt x="1092834" y="563169"/>
                  </a:lnTo>
                  <a:lnTo>
                    <a:pt x="1092885" y="563169"/>
                  </a:lnTo>
                  <a:lnTo>
                    <a:pt x="1092885" y="563766"/>
                  </a:lnTo>
                  <a:lnTo>
                    <a:pt x="1093038" y="563766"/>
                  </a:lnTo>
                  <a:lnTo>
                    <a:pt x="1093088" y="563169"/>
                  </a:lnTo>
                  <a:lnTo>
                    <a:pt x="1093088" y="563766"/>
                  </a:lnTo>
                  <a:lnTo>
                    <a:pt x="1093330" y="563766"/>
                  </a:lnTo>
                  <a:lnTo>
                    <a:pt x="1093330" y="565048"/>
                  </a:lnTo>
                  <a:lnTo>
                    <a:pt x="1093736" y="565048"/>
                  </a:lnTo>
                  <a:lnTo>
                    <a:pt x="1093736" y="565747"/>
                  </a:lnTo>
                  <a:lnTo>
                    <a:pt x="1093787" y="565747"/>
                  </a:lnTo>
                  <a:lnTo>
                    <a:pt x="1093787" y="565048"/>
                  </a:lnTo>
                  <a:lnTo>
                    <a:pt x="1094232" y="565048"/>
                  </a:lnTo>
                  <a:lnTo>
                    <a:pt x="1094232" y="565747"/>
                  </a:lnTo>
                  <a:lnTo>
                    <a:pt x="1094422" y="565747"/>
                  </a:lnTo>
                  <a:lnTo>
                    <a:pt x="1094422" y="566395"/>
                  </a:lnTo>
                  <a:lnTo>
                    <a:pt x="1094473" y="566395"/>
                  </a:lnTo>
                  <a:lnTo>
                    <a:pt x="1094524" y="565747"/>
                  </a:lnTo>
                  <a:lnTo>
                    <a:pt x="1094625" y="565747"/>
                  </a:lnTo>
                  <a:lnTo>
                    <a:pt x="1094625" y="565048"/>
                  </a:lnTo>
                  <a:lnTo>
                    <a:pt x="1094676" y="565048"/>
                  </a:lnTo>
                  <a:lnTo>
                    <a:pt x="1094727" y="565747"/>
                  </a:lnTo>
                  <a:lnTo>
                    <a:pt x="1094867" y="565747"/>
                  </a:lnTo>
                  <a:lnTo>
                    <a:pt x="1094917" y="565048"/>
                  </a:lnTo>
                  <a:lnTo>
                    <a:pt x="1094917" y="563766"/>
                  </a:lnTo>
                  <a:lnTo>
                    <a:pt x="1094968" y="563169"/>
                  </a:lnTo>
                  <a:lnTo>
                    <a:pt x="1095171" y="563169"/>
                  </a:lnTo>
                  <a:lnTo>
                    <a:pt x="1095171" y="563766"/>
                  </a:lnTo>
                  <a:lnTo>
                    <a:pt x="1095273" y="563766"/>
                  </a:lnTo>
                  <a:lnTo>
                    <a:pt x="1095273" y="563169"/>
                  </a:lnTo>
                  <a:lnTo>
                    <a:pt x="1095374" y="563169"/>
                  </a:lnTo>
                  <a:lnTo>
                    <a:pt x="1095374" y="563766"/>
                  </a:lnTo>
                  <a:lnTo>
                    <a:pt x="1095514" y="563766"/>
                  </a:lnTo>
                  <a:lnTo>
                    <a:pt x="1095514" y="565048"/>
                  </a:lnTo>
                  <a:lnTo>
                    <a:pt x="1095565" y="565048"/>
                  </a:lnTo>
                  <a:lnTo>
                    <a:pt x="1095565" y="563766"/>
                  </a:lnTo>
                  <a:lnTo>
                    <a:pt x="1095616" y="563766"/>
                  </a:lnTo>
                  <a:lnTo>
                    <a:pt x="1095616" y="562420"/>
                  </a:lnTo>
                  <a:lnTo>
                    <a:pt x="1095717" y="561823"/>
                  </a:lnTo>
                  <a:lnTo>
                    <a:pt x="1095768" y="562420"/>
                  </a:lnTo>
                  <a:lnTo>
                    <a:pt x="1095768" y="561823"/>
                  </a:lnTo>
                  <a:lnTo>
                    <a:pt x="1095819" y="561823"/>
                  </a:lnTo>
                  <a:lnTo>
                    <a:pt x="1095819" y="562420"/>
                  </a:lnTo>
                  <a:lnTo>
                    <a:pt x="1096009" y="562420"/>
                  </a:lnTo>
                  <a:lnTo>
                    <a:pt x="1096060" y="563169"/>
                  </a:lnTo>
                  <a:lnTo>
                    <a:pt x="1096213" y="563169"/>
                  </a:lnTo>
                  <a:lnTo>
                    <a:pt x="1096213" y="563766"/>
                  </a:lnTo>
                  <a:lnTo>
                    <a:pt x="1096263" y="563766"/>
                  </a:lnTo>
                  <a:lnTo>
                    <a:pt x="1096314" y="565048"/>
                  </a:lnTo>
                  <a:lnTo>
                    <a:pt x="1096416" y="563766"/>
                  </a:lnTo>
                  <a:lnTo>
                    <a:pt x="1096708" y="563766"/>
                  </a:lnTo>
                  <a:lnTo>
                    <a:pt x="1096708" y="563169"/>
                  </a:lnTo>
                  <a:lnTo>
                    <a:pt x="1096860" y="563169"/>
                  </a:lnTo>
                  <a:lnTo>
                    <a:pt x="1096911" y="563766"/>
                  </a:lnTo>
                  <a:lnTo>
                    <a:pt x="1097102" y="563766"/>
                  </a:lnTo>
                  <a:lnTo>
                    <a:pt x="1097153" y="565048"/>
                  </a:lnTo>
                  <a:lnTo>
                    <a:pt x="1097153" y="563766"/>
                  </a:lnTo>
                  <a:lnTo>
                    <a:pt x="1097203" y="565048"/>
                  </a:lnTo>
                  <a:lnTo>
                    <a:pt x="1097407" y="565048"/>
                  </a:lnTo>
                  <a:lnTo>
                    <a:pt x="1097407" y="563766"/>
                  </a:lnTo>
                  <a:lnTo>
                    <a:pt x="1098296" y="563766"/>
                  </a:lnTo>
                  <a:lnTo>
                    <a:pt x="1098346" y="563169"/>
                  </a:lnTo>
                  <a:lnTo>
                    <a:pt x="1098448" y="563766"/>
                  </a:lnTo>
                  <a:lnTo>
                    <a:pt x="1098499" y="563766"/>
                  </a:lnTo>
                  <a:lnTo>
                    <a:pt x="1098549" y="565048"/>
                  </a:lnTo>
                  <a:lnTo>
                    <a:pt x="1098588" y="563766"/>
                  </a:lnTo>
                  <a:lnTo>
                    <a:pt x="1098892" y="563766"/>
                  </a:lnTo>
                  <a:lnTo>
                    <a:pt x="1098892" y="565048"/>
                  </a:lnTo>
                  <a:lnTo>
                    <a:pt x="1099045" y="565048"/>
                  </a:lnTo>
                  <a:lnTo>
                    <a:pt x="1099134" y="563766"/>
                  </a:lnTo>
                  <a:lnTo>
                    <a:pt x="1099134" y="565048"/>
                  </a:lnTo>
                  <a:lnTo>
                    <a:pt x="1099184" y="563766"/>
                  </a:lnTo>
                  <a:lnTo>
                    <a:pt x="1099184" y="565048"/>
                  </a:lnTo>
                  <a:lnTo>
                    <a:pt x="1099629" y="565048"/>
                  </a:lnTo>
                  <a:lnTo>
                    <a:pt x="1099629" y="563766"/>
                  </a:lnTo>
                  <a:lnTo>
                    <a:pt x="1099680" y="565048"/>
                  </a:lnTo>
                  <a:lnTo>
                    <a:pt x="1099832" y="565048"/>
                  </a:lnTo>
                  <a:lnTo>
                    <a:pt x="1099883" y="565747"/>
                  </a:lnTo>
                  <a:lnTo>
                    <a:pt x="1099934" y="565048"/>
                  </a:lnTo>
                  <a:lnTo>
                    <a:pt x="1100035" y="565048"/>
                  </a:lnTo>
                  <a:lnTo>
                    <a:pt x="1100086" y="565747"/>
                  </a:lnTo>
                  <a:lnTo>
                    <a:pt x="1100175" y="565747"/>
                  </a:lnTo>
                  <a:lnTo>
                    <a:pt x="1100175" y="566395"/>
                  </a:lnTo>
                  <a:lnTo>
                    <a:pt x="1100277" y="566395"/>
                  </a:lnTo>
                  <a:lnTo>
                    <a:pt x="1100328" y="565747"/>
                  </a:lnTo>
                  <a:lnTo>
                    <a:pt x="1100328" y="566395"/>
                  </a:lnTo>
                  <a:lnTo>
                    <a:pt x="1100378" y="565747"/>
                  </a:lnTo>
                  <a:lnTo>
                    <a:pt x="1100378" y="566395"/>
                  </a:lnTo>
                  <a:lnTo>
                    <a:pt x="1100772" y="566395"/>
                  </a:lnTo>
                  <a:lnTo>
                    <a:pt x="1100772" y="567042"/>
                  </a:lnTo>
                  <a:lnTo>
                    <a:pt x="1100823" y="567042"/>
                  </a:lnTo>
                  <a:lnTo>
                    <a:pt x="1100823" y="566395"/>
                  </a:lnTo>
                  <a:lnTo>
                    <a:pt x="1100874" y="567042"/>
                  </a:lnTo>
                  <a:lnTo>
                    <a:pt x="1100975" y="566395"/>
                  </a:lnTo>
                  <a:lnTo>
                    <a:pt x="1101026" y="565747"/>
                  </a:lnTo>
                  <a:lnTo>
                    <a:pt x="1101026" y="565048"/>
                  </a:lnTo>
                  <a:lnTo>
                    <a:pt x="1101077" y="565048"/>
                  </a:lnTo>
                  <a:lnTo>
                    <a:pt x="1101077" y="563766"/>
                  </a:lnTo>
                  <a:lnTo>
                    <a:pt x="1101267" y="563766"/>
                  </a:lnTo>
                  <a:lnTo>
                    <a:pt x="1101318" y="565048"/>
                  </a:lnTo>
                  <a:lnTo>
                    <a:pt x="1101420" y="565747"/>
                  </a:lnTo>
                  <a:lnTo>
                    <a:pt x="1101521" y="565747"/>
                  </a:lnTo>
                  <a:lnTo>
                    <a:pt x="1101521" y="565048"/>
                  </a:lnTo>
                  <a:lnTo>
                    <a:pt x="1101623" y="563766"/>
                  </a:lnTo>
                  <a:lnTo>
                    <a:pt x="1101623" y="563169"/>
                  </a:lnTo>
                  <a:lnTo>
                    <a:pt x="1101674" y="562420"/>
                  </a:lnTo>
                  <a:lnTo>
                    <a:pt x="1101864" y="562420"/>
                  </a:lnTo>
                  <a:lnTo>
                    <a:pt x="1101915" y="563169"/>
                  </a:lnTo>
                  <a:lnTo>
                    <a:pt x="1101966" y="563169"/>
                  </a:lnTo>
                  <a:lnTo>
                    <a:pt x="1102067" y="563766"/>
                  </a:lnTo>
                  <a:lnTo>
                    <a:pt x="1102118" y="565048"/>
                  </a:lnTo>
                  <a:lnTo>
                    <a:pt x="1102169" y="565048"/>
                  </a:lnTo>
                  <a:lnTo>
                    <a:pt x="1102169" y="565747"/>
                  </a:lnTo>
                  <a:lnTo>
                    <a:pt x="1102359" y="565747"/>
                  </a:lnTo>
                  <a:lnTo>
                    <a:pt x="1102359" y="565048"/>
                  </a:lnTo>
                  <a:lnTo>
                    <a:pt x="1102461" y="565048"/>
                  </a:lnTo>
                  <a:lnTo>
                    <a:pt x="1102461" y="563766"/>
                  </a:lnTo>
                  <a:lnTo>
                    <a:pt x="1102855" y="563766"/>
                  </a:lnTo>
                  <a:lnTo>
                    <a:pt x="1102855" y="565048"/>
                  </a:lnTo>
                  <a:lnTo>
                    <a:pt x="1103109" y="565048"/>
                  </a:lnTo>
                  <a:lnTo>
                    <a:pt x="1103210" y="565747"/>
                  </a:lnTo>
                  <a:lnTo>
                    <a:pt x="1103261" y="565048"/>
                  </a:lnTo>
                  <a:lnTo>
                    <a:pt x="1103261" y="565747"/>
                  </a:lnTo>
                  <a:lnTo>
                    <a:pt x="1103312" y="565048"/>
                  </a:lnTo>
                  <a:lnTo>
                    <a:pt x="1103350" y="565048"/>
                  </a:lnTo>
                  <a:lnTo>
                    <a:pt x="1103350" y="565747"/>
                  </a:lnTo>
                  <a:lnTo>
                    <a:pt x="1103452" y="565048"/>
                  </a:lnTo>
                  <a:lnTo>
                    <a:pt x="1103896" y="565048"/>
                  </a:lnTo>
                  <a:lnTo>
                    <a:pt x="1103947" y="563766"/>
                  </a:lnTo>
                  <a:lnTo>
                    <a:pt x="1103998" y="563766"/>
                  </a:lnTo>
                  <a:lnTo>
                    <a:pt x="1104049" y="565048"/>
                  </a:lnTo>
                  <a:lnTo>
                    <a:pt x="1104150" y="565048"/>
                  </a:lnTo>
                  <a:lnTo>
                    <a:pt x="1104201" y="565747"/>
                  </a:lnTo>
                  <a:lnTo>
                    <a:pt x="1104252" y="565048"/>
                  </a:lnTo>
                  <a:lnTo>
                    <a:pt x="1104442" y="565048"/>
                  </a:lnTo>
                  <a:lnTo>
                    <a:pt x="1104493" y="563766"/>
                  </a:lnTo>
                  <a:lnTo>
                    <a:pt x="1104595" y="563766"/>
                  </a:lnTo>
                  <a:lnTo>
                    <a:pt x="1104646" y="565048"/>
                  </a:lnTo>
                  <a:lnTo>
                    <a:pt x="1104696" y="565048"/>
                  </a:lnTo>
                  <a:lnTo>
                    <a:pt x="1104696" y="563766"/>
                  </a:lnTo>
                  <a:lnTo>
                    <a:pt x="1104938" y="563766"/>
                  </a:lnTo>
                  <a:lnTo>
                    <a:pt x="1105039" y="565048"/>
                  </a:lnTo>
                  <a:lnTo>
                    <a:pt x="1105395" y="565048"/>
                  </a:lnTo>
                  <a:lnTo>
                    <a:pt x="1105484" y="565747"/>
                  </a:lnTo>
                  <a:lnTo>
                    <a:pt x="1105636" y="565747"/>
                  </a:lnTo>
                  <a:lnTo>
                    <a:pt x="1105738" y="565048"/>
                  </a:lnTo>
                  <a:lnTo>
                    <a:pt x="1105839" y="565048"/>
                  </a:lnTo>
                  <a:lnTo>
                    <a:pt x="1105941" y="565747"/>
                  </a:lnTo>
                  <a:lnTo>
                    <a:pt x="1105979" y="565747"/>
                  </a:lnTo>
                  <a:lnTo>
                    <a:pt x="1106030" y="566395"/>
                  </a:lnTo>
                  <a:lnTo>
                    <a:pt x="1106233" y="566395"/>
                  </a:lnTo>
                  <a:lnTo>
                    <a:pt x="1106284" y="567042"/>
                  </a:lnTo>
                  <a:lnTo>
                    <a:pt x="1106284" y="566395"/>
                  </a:lnTo>
                  <a:lnTo>
                    <a:pt x="1106436" y="566395"/>
                  </a:lnTo>
                  <a:lnTo>
                    <a:pt x="1106436" y="565747"/>
                  </a:lnTo>
                  <a:lnTo>
                    <a:pt x="1106487" y="566395"/>
                  </a:lnTo>
                  <a:lnTo>
                    <a:pt x="1106487" y="567042"/>
                  </a:lnTo>
                  <a:lnTo>
                    <a:pt x="1106830" y="567042"/>
                  </a:lnTo>
                  <a:lnTo>
                    <a:pt x="1106881" y="566395"/>
                  </a:lnTo>
                  <a:lnTo>
                    <a:pt x="1106881" y="565747"/>
                  </a:lnTo>
                  <a:lnTo>
                    <a:pt x="1106932" y="565048"/>
                  </a:lnTo>
                  <a:lnTo>
                    <a:pt x="1106982" y="563766"/>
                  </a:lnTo>
                  <a:lnTo>
                    <a:pt x="1107224" y="563766"/>
                  </a:lnTo>
                  <a:lnTo>
                    <a:pt x="1107325" y="565048"/>
                  </a:lnTo>
                  <a:lnTo>
                    <a:pt x="1107376" y="565747"/>
                  </a:lnTo>
                  <a:lnTo>
                    <a:pt x="1107427" y="565747"/>
                  </a:lnTo>
                  <a:lnTo>
                    <a:pt x="1107427" y="566395"/>
                  </a:lnTo>
                  <a:lnTo>
                    <a:pt x="1107528" y="565747"/>
                  </a:lnTo>
                  <a:lnTo>
                    <a:pt x="1107528" y="565048"/>
                  </a:lnTo>
                  <a:lnTo>
                    <a:pt x="1107567" y="563766"/>
                  </a:lnTo>
                  <a:lnTo>
                    <a:pt x="1107617" y="562420"/>
                  </a:lnTo>
                  <a:lnTo>
                    <a:pt x="1107617" y="561823"/>
                  </a:lnTo>
                  <a:lnTo>
                    <a:pt x="1107668" y="562420"/>
                  </a:lnTo>
                  <a:lnTo>
                    <a:pt x="1107821" y="562420"/>
                  </a:lnTo>
                  <a:lnTo>
                    <a:pt x="1107871" y="563169"/>
                  </a:lnTo>
                  <a:lnTo>
                    <a:pt x="1107973" y="563169"/>
                  </a:lnTo>
                  <a:lnTo>
                    <a:pt x="1107973" y="563766"/>
                  </a:lnTo>
                  <a:lnTo>
                    <a:pt x="1108074" y="563766"/>
                  </a:lnTo>
                  <a:lnTo>
                    <a:pt x="1108113" y="565048"/>
                  </a:lnTo>
                  <a:lnTo>
                    <a:pt x="1108214" y="563766"/>
                  </a:lnTo>
                  <a:lnTo>
                    <a:pt x="1108468" y="563766"/>
                  </a:lnTo>
                  <a:lnTo>
                    <a:pt x="1108519" y="565048"/>
                  </a:lnTo>
                  <a:lnTo>
                    <a:pt x="1108570" y="563766"/>
                  </a:lnTo>
                  <a:lnTo>
                    <a:pt x="1108570" y="565048"/>
                  </a:lnTo>
                  <a:lnTo>
                    <a:pt x="1108709" y="565048"/>
                  </a:lnTo>
                  <a:lnTo>
                    <a:pt x="1108760" y="565747"/>
                  </a:lnTo>
                  <a:lnTo>
                    <a:pt x="1108811" y="565048"/>
                  </a:lnTo>
                  <a:lnTo>
                    <a:pt x="1108811" y="565747"/>
                  </a:lnTo>
                  <a:lnTo>
                    <a:pt x="1108913" y="565048"/>
                  </a:lnTo>
                  <a:lnTo>
                    <a:pt x="1109802" y="565048"/>
                  </a:lnTo>
                  <a:lnTo>
                    <a:pt x="1109853" y="563766"/>
                  </a:lnTo>
                  <a:lnTo>
                    <a:pt x="1109853" y="565048"/>
                  </a:lnTo>
                  <a:lnTo>
                    <a:pt x="1110005" y="565048"/>
                  </a:lnTo>
                  <a:lnTo>
                    <a:pt x="1110056" y="563766"/>
                  </a:lnTo>
                  <a:lnTo>
                    <a:pt x="1110107" y="563766"/>
                  </a:lnTo>
                  <a:lnTo>
                    <a:pt x="1110157" y="565048"/>
                  </a:lnTo>
                  <a:lnTo>
                    <a:pt x="1110246" y="565048"/>
                  </a:lnTo>
                  <a:lnTo>
                    <a:pt x="1110297" y="563766"/>
                  </a:lnTo>
                  <a:lnTo>
                    <a:pt x="1110399" y="563766"/>
                  </a:lnTo>
                  <a:lnTo>
                    <a:pt x="1110500" y="565048"/>
                  </a:lnTo>
                  <a:lnTo>
                    <a:pt x="1110602" y="565048"/>
                  </a:lnTo>
                  <a:lnTo>
                    <a:pt x="1110703" y="563766"/>
                  </a:lnTo>
                  <a:lnTo>
                    <a:pt x="1110703" y="565048"/>
                  </a:lnTo>
                  <a:lnTo>
                    <a:pt x="1111046" y="565048"/>
                  </a:lnTo>
                  <a:lnTo>
                    <a:pt x="1111046" y="565747"/>
                  </a:lnTo>
                  <a:lnTo>
                    <a:pt x="1111148" y="565048"/>
                  </a:lnTo>
                  <a:lnTo>
                    <a:pt x="1111199" y="565048"/>
                  </a:lnTo>
                  <a:lnTo>
                    <a:pt x="1111249" y="563766"/>
                  </a:lnTo>
                  <a:lnTo>
                    <a:pt x="1111249" y="565048"/>
                  </a:lnTo>
                  <a:lnTo>
                    <a:pt x="1111288" y="565048"/>
                  </a:lnTo>
                  <a:lnTo>
                    <a:pt x="1111389" y="565747"/>
                  </a:lnTo>
                  <a:lnTo>
                    <a:pt x="1111389" y="565048"/>
                  </a:lnTo>
                  <a:lnTo>
                    <a:pt x="1111491" y="565048"/>
                  </a:lnTo>
                  <a:lnTo>
                    <a:pt x="1111592" y="565747"/>
                  </a:lnTo>
                  <a:lnTo>
                    <a:pt x="1111592" y="565048"/>
                  </a:lnTo>
                  <a:lnTo>
                    <a:pt x="1111694" y="565048"/>
                  </a:lnTo>
                  <a:lnTo>
                    <a:pt x="1111745" y="565747"/>
                  </a:lnTo>
                  <a:lnTo>
                    <a:pt x="1111935" y="565747"/>
                  </a:lnTo>
                  <a:lnTo>
                    <a:pt x="1111986" y="565048"/>
                  </a:lnTo>
                  <a:lnTo>
                    <a:pt x="1111986" y="565747"/>
                  </a:lnTo>
                  <a:lnTo>
                    <a:pt x="1112088" y="565048"/>
                  </a:lnTo>
                  <a:lnTo>
                    <a:pt x="1112088" y="565747"/>
                  </a:lnTo>
                  <a:lnTo>
                    <a:pt x="1112431" y="565747"/>
                  </a:lnTo>
                  <a:lnTo>
                    <a:pt x="1112431" y="566395"/>
                  </a:lnTo>
                  <a:lnTo>
                    <a:pt x="1112532" y="565747"/>
                  </a:lnTo>
                  <a:lnTo>
                    <a:pt x="1112583" y="566395"/>
                  </a:lnTo>
                  <a:lnTo>
                    <a:pt x="1112634" y="566395"/>
                  </a:lnTo>
                  <a:lnTo>
                    <a:pt x="1112735" y="565747"/>
                  </a:lnTo>
                  <a:lnTo>
                    <a:pt x="1112786" y="565048"/>
                  </a:lnTo>
                  <a:lnTo>
                    <a:pt x="1112837" y="565048"/>
                  </a:lnTo>
                  <a:lnTo>
                    <a:pt x="1112837" y="563766"/>
                  </a:lnTo>
                  <a:lnTo>
                    <a:pt x="1113180" y="563766"/>
                  </a:lnTo>
                  <a:lnTo>
                    <a:pt x="1113180" y="565048"/>
                  </a:lnTo>
                  <a:lnTo>
                    <a:pt x="1113231" y="565048"/>
                  </a:lnTo>
                  <a:lnTo>
                    <a:pt x="1113231" y="565747"/>
                  </a:lnTo>
                  <a:lnTo>
                    <a:pt x="1113421" y="565747"/>
                  </a:lnTo>
                  <a:lnTo>
                    <a:pt x="1113421" y="565048"/>
                  </a:lnTo>
                  <a:lnTo>
                    <a:pt x="1113472" y="563766"/>
                  </a:lnTo>
                  <a:lnTo>
                    <a:pt x="1113472" y="562420"/>
                  </a:lnTo>
                  <a:lnTo>
                    <a:pt x="1113523" y="561823"/>
                  </a:lnTo>
                  <a:lnTo>
                    <a:pt x="1113675" y="561823"/>
                  </a:lnTo>
                  <a:lnTo>
                    <a:pt x="1113726" y="562420"/>
                  </a:lnTo>
                  <a:lnTo>
                    <a:pt x="1113777" y="562420"/>
                  </a:lnTo>
                  <a:lnTo>
                    <a:pt x="1113878" y="563169"/>
                  </a:lnTo>
                  <a:lnTo>
                    <a:pt x="1113967" y="563169"/>
                  </a:lnTo>
                  <a:lnTo>
                    <a:pt x="1113967" y="563766"/>
                  </a:lnTo>
                  <a:lnTo>
                    <a:pt x="1114018" y="563766"/>
                  </a:lnTo>
                  <a:lnTo>
                    <a:pt x="1114120" y="565048"/>
                  </a:lnTo>
                  <a:lnTo>
                    <a:pt x="1114171" y="565048"/>
                  </a:lnTo>
                  <a:lnTo>
                    <a:pt x="1114221" y="563766"/>
                  </a:lnTo>
                  <a:lnTo>
                    <a:pt x="1114323" y="565048"/>
                  </a:lnTo>
                  <a:lnTo>
                    <a:pt x="1114323" y="563766"/>
                  </a:lnTo>
                  <a:lnTo>
                    <a:pt x="1114374" y="563766"/>
                  </a:lnTo>
                  <a:lnTo>
                    <a:pt x="1114374" y="565048"/>
                  </a:lnTo>
                  <a:lnTo>
                    <a:pt x="1114666" y="565048"/>
                  </a:lnTo>
                  <a:lnTo>
                    <a:pt x="1114666" y="563766"/>
                  </a:lnTo>
                  <a:lnTo>
                    <a:pt x="1114767" y="563766"/>
                  </a:lnTo>
                  <a:lnTo>
                    <a:pt x="1114818" y="565048"/>
                  </a:lnTo>
                  <a:lnTo>
                    <a:pt x="1115161" y="565048"/>
                  </a:lnTo>
                  <a:lnTo>
                    <a:pt x="1115161" y="563766"/>
                  </a:lnTo>
                  <a:lnTo>
                    <a:pt x="1115263" y="563766"/>
                  </a:lnTo>
                  <a:lnTo>
                    <a:pt x="1115263" y="565048"/>
                  </a:lnTo>
                  <a:lnTo>
                    <a:pt x="1115364" y="565048"/>
                  </a:lnTo>
                  <a:lnTo>
                    <a:pt x="1115364" y="563766"/>
                  </a:lnTo>
                  <a:lnTo>
                    <a:pt x="1115466" y="565048"/>
                  </a:lnTo>
                  <a:lnTo>
                    <a:pt x="1115504" y="565747"/>
                  </a:lnTo>
                  <a:lnTo>
                    <a:pt x="1115504" y="565048"/>
                  </a:lnTo>
                  <a:lnTo>
                    <a:pt x="1115555" y="565048"/>
                  </a:lnTo>
                  <a:lnTo>
                    <a:pt x="1115606" y="563766"/>
                  </a:lnTo>
                  <a:lnTo>
                    <a:pt x="1115707" y="565048"/>
                  </a:lnTo>
                  <a:lnTo>
                    <a:pt x="1115758" y="565048"/>
                  </a:lnTo>
                  <a:lnTo>
                    <a:pt x="1115809" y="563766"/>
                  </a:lnTo>
                  <a:lnTo>
                    <a:pt x="1115910" y="563766"/>
                  </a:lnTo>
                  <a:lnTo>
                    <a:pt x="1115961" y="565048"/>
                  </a:lnTo>
                  <a:lnTo>
                    <a:pt x="1115961" y="563766"/>
                  </a:lnTo>
                  <a:lnTo>
                    <a:pt x="1116050" y="563766"/>
                  </a:lnTo>
                  <a:lnTo>
                    <a:pt x="1116152" y="565048"/>
                  </a:lnTo>
                  <a:lnTo>
                    <a:pt x="1116203" y="565048"/>
                  </a:lnTo>
                  <a:lnTo>
                    <a:pt x="1116253" y="563766"/>
                  </a:lnTo>
                  <a:lnTo>
                    <a:pt x="1116253" y="565048"/>
                  </a:lnTo>
                  <a:lnTo>
                    <a:pt x="1116355" y="563766"/>
                  </a:lnTo>
                  <a:lnTo>
                    <a:pt x="1116355" y="565048"/>
                  </a:lnTo>
                  <a:lnTo>
                    <a:pt x="1116406" y="565048"/>
                  </a:lnTo>
                  <a:lnTo>
                    <a:pt x="1116457" y="563766"/>
                  </a:lnTo>
                  <a:lnTo>
                    <a:pt x="1116457" y="565048"/>
                  </a:lnTo>
                  <a:lnTo>
                    <a:pt x="1116901" y="565048"/>
                  </a:lnTo>
                  <a:lnTo>
                    <a:pt x="1116952" y="565747"/>
                  </a:lnTo>
                  <a:lnTo>
                    <a:pt x="1117092" y="565747"/>
                  </a:lnTo>
                  <a:lnTo>
                    <a:pt x="1117142" y="565048"/>
                  </a:lnTo>
                  <a:lnTo>
                    <a:pt x="1117193" y="565048"/>
                  </a:lnTo>
                  <a:lnTo>
                    <a:pt x="1117295" y="565747"/>
                  </a:lnTo>
                  <a:lnTo>
                    <a:pt x="1117739" y="565747"/>
                  </a:lnTo>
                  <a:lnTo>
                    <a:pt x="1117790" y="566395"/>
                  </a:lnTo>
                  <a:lnTo>
                    <a:pt x="1117841" y="566395"/>
                  </a:lnTo>
                  <a:lnTo>
                    <a:pt x="1117841" y="565747"/>
                  </a:lnTo>
                  <a:lnTo>
                    <a:pt x="1117993" y="565747"/>
                  </a:lnTo>
                  <a:lnTo>
                    <a:pt x="1118044" y="566395"/>
                  </a:lnTo>
                  <a:lnTo>
                    <a:pt x="1118095" y="566395"/>
                  </a:lnTo>
                  <a:lnTo>
                    <a:pt x="1118184" y="565747"/>
                  </a:lnTo>
                  <a:lnTo>
                    <a:pt x="1118234" y="566395"/>
                  </a:lnTo>
                  <a:lnTo>
                    <a:pt x="1118285" y="566395"/>
                  </a:lnTo>
                  <a:lnTo>
                    <a:pt x="1118285" y="567042"/>
                  </a:lnTo>
                  <a:lnTo>
                    <a:pt x="1118336" y="566395"/>
                  </a:lnTo>
                  <a:lnTo>
                    <a:pt x="1118488" y="566395"/>
                  </a:lnTo>
                  <a:lnTo>
                    <a:pt x="1118539" y="567042"/>
                  </a:lnTo>
                  <a:lnTo>
                    <a:pt x="1118539" y="566395"/>
                  </a:lnTo>
                  <a:lnTo>
                    <a:pt x="1118641" y="566395"/>
                  </a:lnTo>
                  <a:lnTo>
                    <a:pt x="1118641" y="565747"/>
                  </a:lnTo>
                  <a:lnTo>
                    <a:pt x="1118679" y="565048"/>
                  </a:lnTo>
                  <a:lnTo>
                    <a:pt x="1118679" y="563766"/>
                  </a:lnTo>
                  <a:lnTo>
                    <a:pt x="1118730" y="563169"/>
                  </a:lnTo>
                  <a:lnTo>
                    <a:pt x="1118984" y="563169"/>
                  </a:lnTo>
                  <a:lnTo>
                    <a:pt x="1119085" y="563766"/>
                  </a:lnTo>
                  <a:lnTo>
                    <a:pt x="1119136" y="565048"/>
                  </a:lnTo>
                  <a:lnTo>
                    <a:pt x="1119225" y="565048"/>
                  </a:lnTo>
                  <a:lnTo>
                    <a:pt x="1119225" y="563766"/>
                  </a:lnTo>
                  <a:lnTo>
                    <a:pt x="1119327" y="563766"/>
                  </a:lnTo>
                  <a:lnTo>
                    <a:pt x="1119327" y="563169"/>
                  </a:lnTo>
                  <a:lnTo>
                    <a:pt x="1119378" y="562420"/>
                  </a:lnTo>
                  <a:lnTo>
                    <a:pt x="1119682" y="562420"/>
                  </a:lnTo>
                  <a:lnTo>
                    <a:pt x="1119771" y="563169"/>
                  </a:lnTo>
                  <a:lnTo>
                    <a:pt x="1119822" y="563169"/>
                  </a:lnTo>
                  <a:lnTo>
                    <a:pt x="1119822" y="563766"/>
                  </a:lnTo>
                  <a:lnTo>
                    <a:pt x="1119873" y="565048"/>
                  </a:lnTo>
                  <a:lnTo>
                    <a:pt x="1120076" y="565048"/>
                  </a:lnTo>
                  <a:lnTo>
                    <a:pt x="1120076" y="563766"/>
                  </a:lnTo>
                  <a:lnTo>
                    <a:pt x="1120127" y="565048"/>
                  </a:lnTo>
                  <a:lnTo>
                    <a:pt x="1120127" y="563766"/>
                  </a:lnTo>
                  <a:lnTo>
                    <a:pt x="1120470" y="563766"/>
                  </a:lnTo>
                  <a:lnTo>
                    <a:pt x="1120470" y="565048"/>
                  </a:lnTo>
                  <a:lnTo>
                    <a:pt x="1120521" y="565048"/>
                  </a:lnTo>
                  <a:lnTo>
                    <a:pt x="1120521" y="563766"/>
                  </a:lnTo>
                  <a:lnTo>
                    <a:pt x="1120571" y="565048"/>
                  </a:lnTo>
                  <a:lnTo>
                    <a:pt x="1120673" y="565048"/>
                  </a:lnTo>
                  <a:lnTo>
                    <a:pt x="1120724" y="565747"/>
                  </a:lnTo>
                  <a:lnTo>
                    <a:pt x="1120724" y="565048"/>
                  </a:lnTo>
                  <a:lnTo>
                    <a:pt x="1121359" y="565048"/>
                  </a:lnTo>
                  <a:lnTo>
                    <a:pt x="1121359" y="563766"/>
                  </a:lnTo>
                  <a:lnTo>
                    <a:pt x="1121854" y="563766"/>
                  </a:lnTo>
                  <a:lnTo>
                    <a:pt x="1121905" y="565048"/>
                  </a:lnTo>
                  <a:lnTo>
                    <a:pt x="1122311" y="565048"/>
                  </a:lnTo>
                  <a:lnTo>
                    <a:pt x="1122362" y="563766"/>
                  </a:lnTo>
                  <a:lnTo>
                    <a:pt x="1122400" y="565048"/>
                  </a:lnTo>
                  <a:lnTo>
                    <a:pt x="1122756" y="565048"/>
                  </a:lnTo>
                  <a:lnTo>
                    <a:pt x="1122807" y="565747"/>
                  </a:lnTo>
                  <a:lnTo>
                    <a:pt x="1122807" y="565048"/>
                  </a:lnTo>
                  <a:lnTo>
                    <a:pt x="1122946" y="565048"/>
                  </a:lnTo>
                  <a:lnTo>
                    <a:pt x="1122946" y="565747"/>
                  </a:lnTo>
                  <a:lnTo>
                    <a:pt x="1123200" y="565747"/>
                  </a:lnTo>
                  <a:lnTo>
                    <a:pt x="1123200" y="565048"/>
                  </a:lnTo>
                  <a:lnTo>
                    <a:pt x="1123251" y="565048"/>
                  </a:lnTo>
                  <a:lnTo>
                    <a:pt x="1123251" y="565747"/>
                  </a:lnTo>
                  <a:lnTo>
                    <a:pt x="1123442" y="565747"/>
                  </a:lnTo>
                  <a:lnTo>
                    <a:pt x="1123442" y="565048"/>
                  </a:lnTo>
                  <a:lnTo>
                    <a:pt x="1123543" y="565048"/>
                  </a:lnTo>
                  <a:lnTo>
                    <a:pt x="1123543" y="565747"/>
                  </a:lnTo>
                  <a:lnTo>
                    <a:pt x="1123696" y="565747"/>
                  </a:lnTo>
                  <a:lnTo>
                    <a:pt x="1123746" y="566395"/>
                  </a:lnTo>
                  <a:lnTo>
                    <a:pt x="1123899" y="566395"/>
                  </a:lnTo>
                  <a:lnTo>
                    <a:pt x="1123899" y="567042"/>
                  </a:lnTo>
                  <a:lnTo>
                    <a:pt x="1123949" y="566395"/>
                  </a:lnTo>
                  <a:lnTo>
                    <a:pt x="1124140" y="566395"/>
                  </a:lnTo>
                  <a:lnTo>
                    <a:pt x="1124191" y="565747"/>
                  </a:lnTo>
                  <a:lnTo>
                    <a:pt x="1124292" y="566395"/>
                  </a:lnTo>
                  <a:lnTo>
                    <a:pt x="1124445" y="566395"/>
                  </a:lnTo>
                  <a:lnTo>
                    <a:pt x="1124534" y="565747"/>
                  </a:lnTo>
                  <a:lnTo>
                    <a:pt x="1124584" y="565048"/>
                  </a:lnTo>
                  <a:lnTo>
                    <a:pt x="1124635" y="565048"/>
                  </a:lnTo>
                  <a:lnTo>
                    <a:pt x="1124635" y="563766"/>
                  </a:lnTo>
                  <a:lnTo>
                    <a:pt x="1124889" y="563766"/>
                  </a:lnTo>
                  <a:lnTo>
                    <a:pt x="1124991" y="563169"/>
                  </a:lnTo>
                  <a:lnTo>
                    <a:pt x="1124991" y="563766"/>
                  </a:lnTo>
                  <a:lnTo>
                    <a:pt x="1125029" y="565048"/>
                  </a:lnTo>
                  <a:lnTo>
                    <a:pt x="1125029" y="563766"/>
                  </a:lnTo>
                  <a:lnTo>
                    <a:pt x="1125080" y="565048"/>
                  </a:lnTo>
                  <a:lnTo>
                    <a:pt x="1125080" y="563766"/>
                  </a:lnTo>
                  <a:lnTo>
                    <a:pt x="1125131" y="563169"/>
                  </a:lnTo>
                  <a:lnTo>
                    <a:pt x="1125283" y="563169"/>
                  </a:lnTo>
                  <a:lnTo>
                    <a:pt x="1125283" y="562420"/>
                  </a:lnTo>
                  <a:lnTo>
                    <a:pt x="1125435" y="562420"/>
                  </a:lnTo>
                  <a:lnTo>
                    <a:pt x="1125435" y="563169"/>
                  </a:lnTo>
                  <a:lnTo>
                    <a:pt x="1125537" y="563169"/>
                  </a:lnTo>
                  <a:lnTo>
                    <a:pt x="1125575" y="563766"/>
                  </a:lnTo>
                  <a:lnTo>
                    <a:pt x="1125677" y="563766"/>
                  </a:lnTo>
                  <a:lnTo>
                    <a:pt x="1125728" y="565048"/>
                  </a:lnTo>
                  <a:lnTo>
                    <a:pt x="1125778" y="565747"/>
                  </a:lnTo>
                  <a:lnTo>
                    <a:pt x="1125931" y="565747"/>
                  </a:lnTo>
                  <a:lnTo>
                    <a:pt x="1125931" y="566395"/>
                  </a:lnTo>
                  <a:lnTo>
                    <a:pt x="1125982" y="565747"/>
                  </a:lnTo>
                  <a:lnTo>
                    <a:pt x="1125982" y="566395"/>
                  </a:lnTo>
                  <a:lnTo>
                    <a:pt x="1126032" y="566395"/>
                  </a:lnTo>
                  <a:lnTo>
                    <a:pt x="1126032" y="565747"/>
                  </a:lnTo>
                  <a:lnTo>
                    <a:pt x="1126172" y="565747"/>
                  </a:lnTo>
                  <a:lnTo>
                    <a:pt x="1126172" y="565048"/>
                  </a:lnTo>
                  <a:lnTo>
                    <a:pt x="1126223" y="565747"/>
                  </a:lnTo>
                  <a:lnTo>
                    <a:pt x="1126375" y="565747"/>
                  </a:lnTo>
                  <a:lnTo>
                    <a:pt x="1126375" y="565048"/>
                  </a:lnTo>
                  <a:lnTo>
                    <a:pt x="1126617" y="565048"/>
                  </a:lnTo>
                  <a:lnTo>
                    <a:pt x="1126617" y="565747"/>
                  </a:lnTo>
                  <a:lnTo>
                    <a:pt x="1126667" y="565048"/>
                  </a:lnTo>
                  <a:lnTo>
                    <a:pt x="1126718" y="565048"/>
                  </a:lnTo>
                  <a:lnTo>
                    <a:pt x="1126718" y="565747"/>
                  </a:lnTo>
                  <a:lnTo>
                    <a:pt x="1126820" y="565048"/>
                  </a:lnTo>
                  <a:lnTo>
                    <a:pt x="1126820" y="565747"/>
                  </a:lnTo>
                  <a:lnTo>
                    <a:pt x="1126871" y="565747"/>
                  </a:lnTo>
                  <a:lnTo>
                    <a:pt x="1126871" y="566395"/>
                  </a:lnTo>
                  <a:lnTo>
                    <a:pt x="1127023" y="566395"/>
                  </a:lnTo>
                  <a:lnTo>
                    <a:pt x="1127074" y="565747"/>
                  </a:lnTo>
                  <a:lnTo>
                    <a:pt x="1127124" y="565747"/>
                  </a:lnTo>
                  <a:lnTo>
                    <a:pt x="1127163" y="566395"/>
                  </a:lnTo>
                  <a:lnTo>
                    <a:pt x="1127264" y="565747"/>
                  </a:lnTo>
                  <a:lnTo>
                    <a:pt x="1127366" y="565747"/>
                  </a:lnTo>
                  <a:lnTo>
                    <a:pt x="1127366" y="565048"/>
                  </a:lnTo>
                  <a:lnTo>
                    <a:pt x="1127518" y="565048"/>
                  </a:lnTo>
                  <a:lnTo>
                    <a:pt x="1127569" y="565747"/>
                  </a:lnTo>
                  <a:lnTo>
                    <a:pt x="1127709" y="565747"/>
                  </a:lnTo>
                  <a:lnTo>
                    <a:pt x="1127709" y="565048"/>
                  </a:lnTo>
                  <a:lnTo>
                    <a:pt x="1127759" y="565747"/>
                  </a:lnTo>
                  <a:lnTo>
                    <a:pt x="1127810" y="565747"/>
                  </a:lnTo>
                  <a:lnTo>
                    <a:pt x="1127810" y="566395"/>
                  </a:lnTo>
                  <a:lnTo>
                    <a:pt x="1128064" y="566395"/>
                  </a:lnTo>
                  <a:lnTo>
                    <a:pt x="1128166" y="565747"/>
                  </a:lnTo>
                  <a:lnTo>
                    <a:pt x="1128306" y="565747"/>
                  </a:lnTo>
                  <a:lnTo>
                    <a:pt x="1128306" y="566395"/>
                  </a:lnTo>
                  <a:lnTo>
                    <a:pt x="1128610" y="566395"/>
                  </a:lnTo>
                  <a:lnTo>
                    <a:pt x="1128610" y="567042"/>
                  </a:lnTo>
                  <a:lnTo>
                    <a:pt x="1128661" y="566395"/>
                  </a:lnTo>
                  <a:lnTo>
                    <a:pt x="1128712" y="567042"/>
                  </a:lnTo>
                  <a:lnTo>
                    <a:pt x="1128750" y="567042"/>
                  </a:lnTo>
                  <a:lnTo>
                    <a:pt x="1128750" y="566395"/>
                  </a:lnTo>
                  <a:lnTo>
                    <a:pt x="1128852" y="567042"/>
                  </a:lnTo>
                  <a:lnTo>
                    <a:pt x="1129157" y="567042"/>
                  </a:lnTo>
                  <a:lnTo>
                    <a:pt x="1129207" y="567627"/>
                  </a:lnTo>
                  <a:lnTo>
                    <a:pt x="1129347" y="567627"/>
                  </a:lnTo>
                  <a:lnTo>
                    <a:pt x="1129398" y="567042"/>
                  </a:lnTo>
                  <a:lnTo>
                    <a:pt x="1129601" y="567042"/>
                  </a:lnTo>
                  <a:lnTo>
                    <a:pt x="1129601" y="567627"/>
                  </a:lnTo>
                  <a:lnTo>
                    <a:pt x="1129792" y="567627"/>
                  </a:lnTo>
                  <a:lnTo>
                    <a:pt x="1129792" y="567042"/>
                  </a:lnTo>
                  <a:lnTo>
                    <a:pt x="1129842" y="567627"/>
                  </a:lnTo>
                  <a:lnTo>
                    <a:pt x="1129842" y="568973"/>
                  </a:lnTo>
                  <a:lnTo>
                    <a:pt x="1130249" y="568973"/>
                  </a:lnTo>
                  <a:lnTo>
                    <a:pt x="1130249" y="567627"/>
                  </a:lnTo>
                  <a:lnTo>
                    <a:pt x="1130299" y="567042"/>
                  </a:lnTo>
                  <a:lnTo>
                    <a:pt x="1130299" y="566395"/>
                  </a:lnTo>
                  <a:lnTo>
                    <a:pt x="1130338" y="565747"/>
                  </a:lnTo>
                  <a:lnTo>
                    <a:pt x="1130439" y="565747"/>
                  </a:lnTo>
                  <a:lnTo>
                    <a:pt x="1130439" y="565048"/>
                  </a:lnTo>
                  <a:lnTo>
                    <a:pt x="1130490" y="565048"/>
                  </a:lnTo>
                  <a:lnTo>
                    <a:pt x="1130541" y="565747"/>
                  </a:lnTo>
                  <a:lnTo>
                    <a:pt x="1130744" y="565747"/>
                  </a:lnTo>
                  <a:lnTo>
                    <a:pt x="1130744" y="566395"/>
                  </a:lnTo>
                  <a:lnTo>
                    <a:pt x="1130884" y="566395"/>
                  </a:lnTo>
                  <a:lnTo>
                    <a:pt x="1130884" y="565747"/>
                  </a:lnTo>
                  <a:lnTo>
                    <a:pt x="1130934" y="565048"/>
                  </a:lnTo>
                  <a:lnTo>
                    <a:pt x="1130985" y="565048"/>
                  </a:lnTo>
                  <a:lnTo>
                    <a:pt x="1130985" y="563766"/>
                  </a:lnTo>
                  <a:lnTo>
                    <a:pt x="1131138" y="563766"/>
                  </a:lnTo>
                  <a:lnTo>
                    <a:pt x="1131188" y="565048"/>
                  </a:lnTo>
                  <a:lnTo>
                    <a:pt x="1131239" y="565048"/>
                  </a:lnTo>
                  <a:lnTo>
                    <a:pt x="1131341" y="565747"/>
                  </a:lnTo>
                  <a:lnTo>
                    <a:pt x="1131430" y="565747"/>
                  </a:lnTo>
                  <a:lnTo>
                    <a:pt x="1131481" y="566395"/>
                  </a:lnTo>
                  <a:lnTo>
                    <a:pt x="1131684" y="566395"/>
                  </a:lnTo>
                  <a:lnTo>
                    <a:pt x="1131684" y="567042"/>
                  </a:lnTo>
                  <a:lnTo>
                    <a:pt x="1131785" y="567042"/>
                  </a:lnTo>
                  <a:lnTo>
                    <a:pt x="1131785" y="566395"/>
                  </a:lnTo>
                  <a:lnTo>
                    <a:pt x="1131836" y="567042"/>
                  </a:lnTo>
                  <a:lnTo>
                    <a:pt x="1132078" y="567042"/>
                  </a:lnTo>
                  <a:lnTo>
                    <a:pt x="1132078" y="566395"/>
                  </a:lnTo>
                  <a:lnTo>
                    <a:pt x="1132332" y="566395"/>
                  </a:lnTo>
                  <a:lnTo>
                    <a:pt x="1132382" y="567042"/>
                  </a:lnTo>
                  <a:lnTo>
                    <a:pt x="1132522" y="567042"/>
                  </a:lnTo>
                  <a:lnTo>
                    <a:pt x="1132573" y="567627"/>
                  </a:lnTo>
                  <a:lnTo>
                    <a:pt x="1132776" y="567627"/>
                  </a:lnTo>
                  <a:lnTo>
                    <a:pt x="1132827" y="567042"/>
                  </a:lnTo>
                  <a:lnTo>
                    <a:pt x="1133017" y="567042"/>
                  </a:lnTo>
                  <a:lnTo>
                    <a:pt x="1133068" y="566395"/>
                  </a:lnTo>
                  <a:lnTo>
                    <a:pt x="1133170" y="566395"/>
                  </a:lnTo>
                  <a:lnTo>
                    <a:pt x="1133170" y="567042"/>
                  </a:lnTo>
                  <a:lnTo>
                    <a:pt x="1133373" y="567042"/>
                  </a:lnTo>
                  <a:lnTo>
                    <a:pt x="1133373" y="566395"/>
                  </a:lnTo>
                  <a:lnTo>
                    <a:pt x="1133424" y="566395"/>
                  </a:lnTo>
                  <a:lnTo>
                    <a:pt x="1133474" y="567042"/>
                  </a:lnTo>
                  <a:lnTo>
                    <a:pt x="1133474" y="566395"/>
                  </a:lnTo>
                  <a:lnTo>
                    <a:pt x="1133513" y="567042"/>
                  </a:lnTo>
                  <a:lnTo>
                    <a:pt x="1134109" y="567042"/>
                  </a:lnTo>
                  <a:lnTo>
                    <a:pt x="1134160" y="567627"/>
                  </a:lnTo>
                  <a:lnTo>
                    <a:pt x="1134160" y="567042"/>
                  </a:lnTo>
                  <a:lnTo>
                    <a:pt x="1134211" y="567627"/>
                  </a:lnTo>
                  <a:lnTo>
                    <a:pt x="1134808" y="567627"/>
                  </a:lnTo>
                  <a:lnTo>
                    <a:pt x="1134859" y="568973"/>
                  </a:lnTo>
                  <a:lnTo>
                    <a:pt x="1135011" y="568973"/>
                  </a:lnTo>
                  <a:lnTo>
                    <a:pt x="1135062" y="567627"/>
                  </a:lnTo>
                  <a:lnTo>
                    <a:pt x="1135100" y="567627"/>
                  </a:lnTo>
                  <a:lnTo>
                    <a:pt x="1135202" y="568973"/>
                  </a:lnTo>
                  <a:lnTo>
                    <a:pt x="1135303" y="568973"/>
                  </a:lnTo>
                  <a:lnTo>
                    <a:pt x="1135303" y="569621"/>
                  </a:lnTo>
                  <a:lnTo>
                    <a:pt x="1135405" y="569621"/>
                  </a:lnTo>
                  <a:lnTo>
                    <a:pt x="1135405" y="568973"/>
                  </a:lnTo>
                  <a:lnTo>
                    <a:pt x="1135799" y="568973"/>
                  </a:lnTo>
                  <a:lnTo>
                    <a:pt x="1135900" y="569621"/>
                  </a:lnTo>
                  <a:lnTo>
                    <a:pt x="1135951" y="569621"/>
                  </a:lnTo>
                  <a:lnTo>
                    <a:pt x="1135951" y="568973"/>
                  </a:lnTo>
                  <a:lnTo>
                    <a:pt x="1136002" y="569621"/>
                  </a:lnTo>
                  <a:lnTo>
                    <a:pt x="1136103" y="568973"/>
                  </a:lnTo>
                  <a:lnTo>
                    <a:pt x="1136103" y="569621"/>
                  </a:lnTo>
                  <a:lnTo>
                    <a:pt x="1136142" y="568973"/>
                  </a:lnTo>
                  <a:lnTo>
                    <a:pt x="1136192" y="567627"/>
                  </a:lnTo>
                  <a:lnTo>
                    <a:pt x="1136192" y="567042"/>
                  </a:lnTo>
                  <a:lnTo>
                    <a:pt x="1136243" y="566395"/>
                  </a:lnTo>
                  <a:lnTo>
                    <a:pt x="1136446" y="566395"/>
                  </a:lnTo>
                  <a:lnTo>
                    <a:pt x="1136446" y="567042"/>
                  </a:lnTo>
                  <a:lnTo>
                    <a:pt x="1136599" y="567042"/>
                  </a:lnTo>
                  <a:lnTo>
                    <a:pt x="1136649" y="567627"/>
                  </a:lnTo>
                  <a:lnTo>
                    <a:pt x="1136649" y="567042"/>
                  </a:lnTo>
                  <a:lnTo>
                    <a:pt x="1136789" y="567042"/>
                  </a:lnTo>
                  <a:lnTo>
                    <a:pt x="1136789" y="566395"/>
                  </a:lnTo>
                  <a:lnTo>
                    <a:pt x="1136840" y="565747"/>
                  </a:lnTo>
                  <a:lnTo>
                    <a:pt x="1136891" y="565747"/>
                  </a:lnTo>
                  <a:lnTo>
                    <a:pt x="1136891" y="565048"/>
                  </a:lnTo>
                  <a:lnTo>
                    <a:pt x="1136992" y="565048"/>
                  </a:lnTo>
                  <a:lnTo>
                    <a:pt x="1136992" y="565747"/>
                  </a:lnTo>
                  <a:lnTo>
                    <a:pt x="1137043" y="565747"/>
                  </a:lnTo>
                  <a:lnTo>
                    <a:pt x="1137094" y="566395"/>
                  </a:lnTo>
                  <a:lnTo>
                    <a:pt x="1137284" y="566395"/>
                  </a:lnTo>
                  <a:lnTo>
                    <a:pt x="1137284" y="567042"/>
                  </a:lnTo>
                  <a:lnTo>
                    <a:pt x="1137488" y="567042"/>
                  </a:lnTo>
                  <a:lnTo>
                    <a:pt x="1137538" y="567627"/>
                  </a:lnTo>
                  <a:lnTo>
                    <a:pt x="1137538" y="567042"/>
                  </a:lnTo>
                  <a:lnTo>
                    <a:pt x="1137589" y="567627"/>
                  </a:lnTo>
                  <a:lnTo>
                    <a:pt x="1137691" y="568973"/>
                  </a:lnTo>
                  <a:lnTo>
                    <a:pt x="1137729" y="568973"/>
                  </a:lnTo>
                  <a:lnTo>
                    <a:pt x="1137729" y="567627"/>
                  </a:lnTo>
                  <a:lnTo>
                    <a:pt x="1137780" y="567627"/>
                  </a:lnTo>
                  <a:lnTo>
                    <a:pt x="1137831" y="568973"/>
                  </a:lnTo>
                  <a:lnTo>
                    <a:pt x="1138135" y="568973"/>
                  </a:lnTo>
                  <a:lnTo>
                    <a:pt x="1138135" y="567627"/>
                  </a:lnTo>
                  <a:lnTo>
                    <a:pt x="1138377" y="567627"/>
                  </a:lnTo>
                  <a:lnTo>
                    <a:pt x="1138428" y="567042"/>
                  </a:lnTo>
                  <a:lnTo>
                    <a:pt x="1138428" y="567627"/>
                  </a:lnTo>
                  <a:lnTo>
                    <a:pt x="1138478" y="567627"/>
                  </a:lnTo>
                  <a:lnTo>
                    <a:pt x="1138478" y="568973"/>
                  </a:lnTo>
                  <a:lnTo>
                    <a:pt x="1138631" y="568973"/>
                  </a:lnTo>
                  <a:lnTo>
                    <a:pt x="1138631" y="569621"/>
                  </a:lnTo>
                  <a:lnTo>
                    <a:pt x="1138682" y="569621"/>
                  </a:lnTo>
                  <a:lnTo>
                    <a:pt x="1138732" y="568973"/>
                  </a:lnTo>
                  <a:lnTo>
                    <a:pt x="1139075" y="568973"/>
                  </a:lnTo>
                  <a:lnTo>
                    <a:pt x="1139075" y="567627"/>
                  </a:lnTo>
                  <a:lnTo>
                    <a:pt x="1139177" y="567627"/>
                  </a:lnTo>
                  <a:lnTo>
                    <a:pt x="1139177" y="568973"/>
                  </a:lnTo>
                  <a:lnTo>
                    <a:pt x="1139824" y="568973"/>
                  </a:lnTo>
                  <a:lnTo>
                    <a:pt x="1139863" y="569621"/>
                  </a:lnTo>
                  <a:lnTo>
                    <a:pt x="1140409" y="569621"/>
                  </a:lnTo>
                  <a:lnTo>
                    <a:pt x="1140459" y="570256"/>
                  </a:lnTo>
                  <a:lnTo>
                    <a:pt x="1140561" y="570256"/>
                  </a:lnTo>
                  <a:lnTo>
                    <a:pt x="1140561" y="569621"/>
                  </a:lnTo>
                  <a:lnTo>
                    <a:pt x="1140663" y="570256"/>
                  </a:lnTo>
                  <a:lnTo>
                    <a:pt x="1140955" y="570256"/>
                  </a:lnTo>
                  <a:lnTo>
                    <a:pt x="1141006" y="570954"/>
                  </a:lnTo>
                  <a:lnTo>
                    <a:pt x="1141107" y="570954"/>
                  </a:lnTo>
                  <a:lnTo>
                    <a:pt x="1141107" y="570256"/>
                  </a:lnTo>
                  <a:lnTo>
                    <a:pt x="1141158" y="570256"/>
                  </a:lnTo>
                  <a:lnTo>
                    <a:pt x="1141209" y="570954"/>
                  </a:lnTo>
                  <a:lnTo>
                    <a:pt x="1141310" y="570256"/>
                  </a:lnTo>
                  <a:lnTo>
                    <a:pt x="1141361" y="570954"/>
                  </a:lnTo>
                  <a:lnTo>
                    <a:pt x="1141552" y="570954"/>
                  </a:lnTo>
                  <a:lnTo>
                    <a:pt x="1141552" y="572249"/>
                  </a:lnTo>
                  <a:lnTo>
                    <a:pt x="1141857" y="572249"/>
                  </a:lnTo>
                  <a:lnTo>
                    <a:pt x="1141857" y="570954"/>
                  </a:lnTo>
                  <a:lnTo>
                    <a:pt x="1141907" y="570954"/>
                  </a:lnTo>
                  <a:lnTo>
                    <a:pt x="1141996" y="570256"/>
                  </a:lnTo>
                  <a:lnTo>
                    <a:pt x="1141996" y="569621"/>
                  </a:lnTo>
                  <a:lnTo>
                    <a:pt x="1142098" y="569621"/>
                  </a:lnTo>
                  <a:lnTo>
                    <a:pt x="1142098" y="570256"/>
                  </a:lnTo>
                  <a:lnTo>
                    <a:pt x="1142542" y="570256"/>
                  </a:lnTo>
                  <a:lnTo>
                    <a:pt x="1142593" y="569621"/>
                  </a:lnTo>
                  <a:lnTo>
                    <a:pt x="1142593" y="567627"/>
                  </a:lnTo>
                  <a:lnTo>
                    <a:pt x="1142695" y="567627"/>
                  </a:lnTo>
                  <a:lnTo>
                    <a:pt x="1142695" y="567042"/>
                  </a:lnTo>
                  <a:lnTo>
                    <a:pt x="1142746" y="567042"/>
                  </a:lnTo>
                  <a:lnTo>
                    <a:pt x="1142746" y="567627"/>
                  </a:lnTo>
                  <a:lnTo>
                    <a:pt x="1142999" y="567627"/>
                  </a:lnTo>
                  <a:lnTo>
                    <a:pt x="1143038" y="568973"/>
                  </a:lnTo>
                  <a:lnTo>
                    <a:pt x="1143139" y="569621"/>
                  </a:lnTo>
                  <a:lnTo>
                    <a:pt x="1143241" y="569621"/>
                  </a:lnTo>
                  <a:lnTo>
                    <a:pt x="1143342" y="570256"/>
                  </a:lnTo>
                  <a:lnTo>
                    <a:pt x="1143393" y="569621"/>
                  </a:lnTo>
                  <a:lnTo>
                    <a:pt x="1143495" y="569621"/>
                  </a:lnTo>
                  <a:lnTo>
                    <a:pt x="1143584" y="570256"/>
                  </a:lnTo>
                  <a:lnTo>
                    <a:pt x="1143888" y="570256"/>
                  </a:lnTo>
                  <a:lnTo>
                    <a:pt x="1143888" y="569621"/>
                  </a:lnTo>
                  <a:lnTo>
                    <a:pt x="1144079" y="569621"/>
                  </a:lnTo>
                  <a:lnTo>
                    <a:pt x="1144079" y="568973"/>
                  </a:lnTo>
                  <a:lnTo>
                    <a:pt x="1144130" y="569621"/>
                  </a:lnTo>
                  <a:lnTo>
                    <a:pt x="1144181" y="569621"/>
                  </a:lnTo>
                  <a:lnTo>
                    <a:pt x="1144181" y="570256"/>
                  </a:lnTo>
                  <a:lnTo>
                    <a:pt x="1144485" y="570256"/>
                  </a:lnTo>
                  <a:lnTo>
                    <a:pt x="1144485" y="570954"/>
                  </a:lnTo>
                  <a:lnTo>
                    <a:pt x="1144587" y="570954"/>
                  </a:lnTo>
                  <a:lnTo>
                    <a:pt x="1144625" y="570256"/>
                  </a:lnTo>
                  <a:lnTo>
                    <a:pt x="1144727" y="570256"/>
                  </a:lnTo>
                  <a:lnTo>
                    <a:pt x="1144778" y="569621"/>
                  </a:lnTo>
                  <a:lnTo>
                    <a:pt x="1144778" y="568973"/>
                  </a:lnTo>
                  <a:lnTo>
                    <a:pt x="1144981" y="568973"/>
                  </a:lnTo>
                  <a:lnTo>
                    <a:pt x="1144981" y="569621"/>
                  </a:lnTo>
                  <a:lnTo>
                    <a:pt x="1145082" y="569621"/>
                  </a:lnTo>
                  <a:lnTo>
                    <a:pt x="1145171" y="570256"/>
                  </a:lnTo>
                  <a:lnTo>
                    <a:pt x="1145324" y="570256"/>
                  </a:lnTo>
                  <a:lnTo>
                    <a:pt x="1145324" y="569621"/>
                  </a:lnTo>
                  <a:lnTo>
                    <a:pt x="1145425" y="569621"/>
                  </a:lnTo>
                  <a:lnTo>
                    <a:pt x="1145425" y="570256"/>
                  </a:lnTo>
                  <a:lnTo>
                    <a:pt x="1145476" y="569621"/>
                  </a:lnTo>
                  <a:lnTo>
                    <a:pt x="1145527" y="569621"/>
                  </a:lnTo>
                  <a:lnTo>
                    <a:pt x="1145628" y="568973"/>
                  </a:lnTo>
                  <a:lnTo>
                    <a:pt x="1145667" y="568973"/>
                  </a:lnTo>
                  <a:lnTo>
                    <a:pt x="1145717" y="569621"/>
                  </a:lnTo>
                  <a:lnTo>
                    <a:pt x="1145768" y="569621"/>
                  </a:lnTo>
                  <a:lnTo>
                    <a:pt x="1145870" y="568973"/>
                  </a:lnTo>
                  <a:lnTo>
                    <a:pt x="1145921" y="569621"/>
                  </a:lnTo>
                  <a:lnTo>
                    <a:pt x="1145971" y="569621"/>
                  </a:lnTo>
                  <a:lnTo>
                    <a:pt x="1145971" y="570256"/>
                  </a:lnTo>
                  <a:lnTo>
                    <a:pt x="1146124" y="570256"/>
                  </a:lnTo>
                  <a:lnTo>
                    <a:pt x="1146124" y="570954"/>
                  </a:lnTo>
                  <a:lnTo>
                    <a:pt x="1146174" y="570256"/>
                  </a:lnTo>
                  <a:lnTo>
                    <a:pt x="1146416" y="570256"/>
                  </a:lnTo>
                  <a:lnTo>
                    <a:pt x="1146517" y="570954"/>
                  </a:lnTo>
                  <a:lnTo>
                    <a:pt x="1146568" y="570954"/>
                  </a:lnTo>
                  <a:lnTo>
                    <a:pt x="1146568" y="570256"/>
                  </a:lnTo>
                  <a:lnTo>
                    <a:pt x="1146860" y="570256"/>
                  </a:lnTo>
                  <a:lnTo>
                    <a:pt x="1146860" y="570954"/>
                  </a:lnTo>
                  <a:lnTo>
                    <a:pt x="1147216" y="570954"/>
                  </a:lnTo>
                  <a:lnTo>
                    <a:pt x="1147216" y="570256"/>
                  </a:lnTo>
                  <a:lnTo>
                    <a:pt x="1147254" y="570954"/>
                  </a:lnTo>
                  <a:lnTo>
                    <a:pt x="1147457" y="570954"/>
                  </a:lnTo>
                  <a:lnTo>
                    <a:pt x="1147508" y="572249"/>
                  </a:lnTo>
                  <a:lnTo>
                    <a:pt x="1147559" y="570954"/>
                  </a:lnTo>
                  <a:lnTo>
                    <a:pt x="1147559" y="572249"/>
                  </a:lnTo>
                  <a:lnTo>
                    <a:pt x="1147902" y="572249"/>
                  </a:lnTo>
                  <a:lnTo>
                    <a:pt x="1147902" y="570954"/>
                  </a:lnTo>
                  <a:lnTo>
                    <a:pt x="1147953" y="570954"/>
                  </a:lnTo>
                  <a:lnTo>
                    <a:pt x="1148003" y="570256"/>
                  </a:lnTo>
                  <a:lnTo>
                    <a:pt x="1148003" y="569621"/>
                  </a:lnTo>
                  <a:lnTo>
                    <a:pt x="1148156" y="569621"/>
                  </a:lnTo>
                  <a:lnTo>
                    <a:pt x="1148207" y="568973"/>
                  </a:lnTo>
                  <a:lnTo>
                    <a:pt x="1148207" y="569621"/>
                  </a:lnTo>
                  <a:lnTo>
                    <a:pt x="1148397" y="569621"/>
                  </a:lnTo>
                  <a:lnTo>
                    <a:pt x="1148448" y="570256"/>
                  </a:lnTo>
                  <a:lnTo>
                    <a:pt x="1148499" y="570256"/>
                  </a:lnTo>
                  <a:lnTo>
                    <a:pt x="1148600" y="569621"/>
                  </a:lnTo>
                  <a:lnTo>
                    <a:pt x="1148651" y="569621"/>
                  </a:lnTo>
                  <a:lnTo>
                    <a:pt x="1148651" y="567627"/>
                  </a:lnTo>
                  <a:lnTo>
                    <a:pt x="1148702" y="567627"/>
                  </a:lnTo>
                  <a:lnTo>
                    <a:pt x="1148803" y="567042"/>
                  </a:lnTo>
                  <a:lnTo>
                    <a:pt x="1148842" y="567627"/>
                  </a:lnTo>
                  <a:lnTo>
                    <a:pt x="1148842" y="567042"/>
                  </a:lnTo>
                  <a:lnTo>
                    <a:pt x="1148892" y="567627"/>
                  </a:lnTo>
                  <a:lnTo>
                    <a:pt x="1148943" y="567627"/>
                  </a:lnTo>
                  <a:lnTo>
                    <a:pt x="1149045" y="568973"/>
                  </a:lnTo>
                  <a:lnTo>
                    <a:pt x="1149096" y="568973"/>
                  </a:lnTo>
                  <a:lnTo>
                    <a:pt x="1149146" y="569621"/>
                  </a:lnTo>
                  <a:lnTo>
                    <a:pt x="1149540" y="569621"/>
                  </a:lnTo>
                  <a:lnTo>
                    <a:pt x="1149591" y="570256"/>
                  </a:lnTo>
                  <a:lnTo>
                    <a:pt x="1149692" y="570256"/>
                  </a:lnTo>
                  <a:lnTo>
                    <a:pt x="1149692" y="570954"/>
                  </a:lnTo>
                  <a:lnTo>
                    <a:pt x="1149845" y="570954"/>
                  </a:lnTo>
                  <a:lnTo>
                    <a:pt x="1149845" y="570256"/>
                  </a:lnTo>
                  <a:lnTo>
                    <a:pt x="1149984" y="570256"/>
                  </a:lnTo>
                  <a:lnTo>
                    <a:pt x="1149984" y="569621"/>
                  </a:lnTo>
                  <a:lnTo>
                    <a:pt x="1150086" y="569621"/>
                  </a:lnTo>
                  <a:lnTo>
                    <a:pt x="1150188" y="570256"/>
                  </a:lnTo>
                  <a:lnTo>
                    <a:pt x="1150289" y="570256"/>
                  </a:lnTo>
                  <a:lnTo>
                    <a:pt x="1150289" y="570954"/>
                  </a:lnTo>
                  <a:lnTo>
                    <a:pt x="1150632" y="570954"/>
                  </a:lnTo>
                  <a:lnTo>
                    <a:pt x="1150683" y="570256"/>
                  </a:lnTo>
                  <a:lnTo>
                    <a:pt x="1150975" y="570256"/>
                  </a:lnTo>
                  <a:lnTo>
                    <a:pt x="1151077" y="569621"/>
                  </a:lnTo>
                  <a:lnTo>
                    <a:pt x="1151128" y="570256"/>
                  </a:lnTo>
                  <a:lnTo>
                    <a:pt x="1152017" y="570256"/>
                  </a:lnTo>
                  <a:lnTo>
                    <a:pt x="1152017" y="570954"/>
                  </a:lnTo>
                  <a:lnTo>
                    <a:pt x="1152118" y="570954"/>
                  </a:lnTo>
                  <a:lnTo>
                    <a:pt x="1152220" y="570256"/>
                  </a:lnTo>
                  <a:lnTo>
                    <a:pt x="1152271" y="570954"/>
                  </a:lnTo>
                  <a:lnTo>
                    <a:pt x="1152563" y="570954"/>
                  </a:lnTo>
                  <a:lnTo>
                    <a:pt x="1152563" y="572249"/>
                  </a:lnTo>
                  <a:lnTo>
                    <a:pt x="1153109" y="572249"/>
                  </a:lnTo>
                  <a:lnTo>
                    <a:pt x="1153109" y="572846"/>
                  </a:lnTo>
                  <a:lnTo>
                    <a:pt x="1153159" y="572249"/>
                  </a:lnTo>
                  <a:lnTo>
                    <a:pt x="1153210" y="572249"/>
                  </a:lnTo>
                  <a:lnTo>
                    <a:pt x="1153210" y="572846"/>
                  </a:lnTo>
                  <a:lnTo>
                    <a:pt x="1153261" y="572249"/>
                  </a:lnTo>
                  <a:lnTo>
                    <a:pt x="1153261" y="572846"/>
                  </a:lnTo>
                  <a:lnTo>
                    <a:pt x="1153363" y="572846"/>
                  </a:lnTo>
                  <a:lnTo>
                    <a:pt x="1153363" y="572249"/>
                  </a:lnTo>
                  <a:lnTo>
                    <a:pt x="1153413" y="572846"/>
                  </a:lnTo>
                  <a:lnTo>
                    <a:pt x="1153464" y="572249"/>
                  </a:lnTo>
                  <a:lnTo>
                    <a:pt x="1153566" y="572846"/>
                  </a:lnTo>
                  <a:lnTo>
                    <a:pt x="1153655" y="572846"/>
                  </a:lnTo>
                  <a:lnTo>
                    <a:pt x="1153655" y="572249"/>
                  </a:lnTo>
                  <a:lnTo>
                    <a:pt x="1153706" y="570954"/>
                  </a:lnTo>
                  <a:lnTo>
                    <a:pt x="1153807" y="570954"/>
                  </a:lnTo>
                  <a:lnTo>
                    <a:pt x="1153807" y="570256"/>
                  </a:lnTo>
                  <a:lnTo>
                    <a:pt x="1153858" y="570256"/>
                  </a:lnTo>
                  <a:lnTo>
                    <a:pt x="1153858" y="569621"/>
                  </a:lnTo>
                  <a:lnTo>
                    <a:pt x="1154061" y="569621"/>
                  </a:lnTo>
                  <a:lnTo>
                    <a:pt x="1154112" y="570256"/>
                  </a:lnTo>
                  <a:lnTo>
                    <a:pt x="1154112" y="570954"/>
                  </a:lnTo>
                  <a:lnTo>
                    <a:pt x="1154303" y="570954"/>
                  </a:lnTo>
                  <a:lnTo>
                    <a:pt x="1154303" y="570256"/>
                  </a:lnTo>
                  <a:lnTo>
                    <a:pt x="1154353" y="570256"/>
                  </a:lnTo>
                  <a:lnTo>
                    <a:pt x="1154455" y="569621"/>
                  </a:lnTo>
                  <a:lnTo>
                    <a:pt x="1154506" y="568973"/>
                  </a:lnTo>
                  <a:lnTo>
                    <a:pt x="1154557" y="568973"/>
                  </a:lnTo>
                  <a:lnTo>
                    <a:pt x="1154607" y="569621"/>
                  </a:lnTo>
                  <a:lnTo>
                    <a:pt x="1154798" y="569621"/>
                  </a:lnTo>
                  <a:lnTo>
                    <a:pt x="1154849" y="570256"/>
                  </a:lnTo>
                  <a:lnTo>
                    <a:pt x="1155242" y="570256"/>
                  </a:lnTo>
                  <a:lnTo>
                    <a:pt x="1155293" y="570954"/>
                  </a:lnTo>
                  <a:lnTo>
                    <a:pt x="1155395" y="570954"/>
                  </a:lnTo>
                  <a:lnTo>
                    <a:pt x="1155446" y="572249"/>
                  </a:lnTo>
                  <a:lnTo>
                    <a:pt x="1155699" y="572249"/>
                  </a:lnTo>
                  <a:lnTo>
                    <a:pt x="1155699" y="570954"/>
                  </a:lnTo>
                  <a:lnTo>
                    <a:pt x="1155738" y="570954"/>
                  </a:lnTo>
                  <a:lnTo>
                    <a:pt x="1155738" y="570256"/>
                  </a:lnTo>
                  <a:lnTo>
                    <a:pt x="1155839" y="570256"/>
                  </a:lnTo>
                  <a:lnTo>
                    <a:pt x="1155839" y="570954"/>
                  </a:lnTo>
                  <a:lnTo>
                    <a:pt x="1155941" y="570954"/>
                  </a:lnTo>
                  <a:lnTo>
                    <a:pt x="1156042" y="572249"/>
                  </a:lnTo>
                  <a:lnTo>
                    <a:pt x="1156093" y="570954"/>
                  </a:lnTo>
                  <a:lnTo>
                    <a:pt x="1156195" y="570954"/>
                  </a:lnTo>
                  <a:lnTo>
                    <a:pt x="1156195" y="572249"/>
                  </a:lnTo>
                  <a:lnTo>
                    <a:pt x="1156284" y="572846"/>
                  </a:lnTo>
                  <a:lnTo>
                    <a:pt x="1156284" y="572249"/>
                  </a:lnTo>
                  <a:lnTo>
                    <a:pt x="1156385" y="572249"/>
                  </a:lnTo>
                  <a:lnTo>
                    <a:pt x="1156436" y="570954"/>
                  </a:lnTo>
                  <a:lnTo>
                    <a:pt x="1156538" y="570954"/>
                  </a:lnTo>
                  <a:lnTo>
                    <a:pt x="1156538" y="572249"/>
                  </a:lnTo>
                  <a:lnTo>
                    <a:pt x="1156588" y="572249"/>
                  </a:lnTo>
                  <a:lnTo>
                    <a:pt x="1156639" y="570954"/>
                  </a:lnTo>
                  <a:lnTo>
                    <a:pt x="1156830" y="570954"/>
                  </a:lnTo>
                  <a:lnTo>
                    <a:pt x="1156830" y="570256"/>
                  </a:lnTo>
                  <a:lnTo>
                    <a:pt x="1156881" y="570256"/>
                  </a:lnTo>
                  <a:lnTo>
                    <a:pt x="1156982" y="570954"/>
                  </a:lnTo>
                  <a:lnTo>
                    <a:pt x="1157033" y="570954"/>
                  </a:lnTo>
                  <a:lnTo>
                    <a:pt x="1157033" y="572249"/>
                  </a:lnTo>
                  <a:lnTo>
                    <a:pt x="1157084" y="570954"/>
                  </a:lnTo>
                  <a:lnTo>
                    <a:pt x="1157478" y="570954"/>
                  </a:lnTo>
                  <a:lnTo>
                    <a:pt x="1157528" y="572249"/>
                  </a:lnTo>
                  <a:lnTo>
                    <a:pt x="1157732" y="572249"/>
                  </a:lnTo>
                  <a:lnTo>
                    <a:pt x="1157782" y="570954"/>
                  </a:lnTo>
                  <a:lnTo>
                    <a:pt x="1158024" y="570954"/>
                  </a:lnTo>
                  <a:lnTo>
                    <a:pt x="1158024" y="572249"/>
                  </a:lnTo>
                  <a:lnTo>
                    <a:pt x="1158125" y="572249"/>
                  </a:lnTo>
                  <a:lnTo>
                    <a:pt x="1158176" y="572846"/>
                  </a:lnTo>
                  <a:lnTo>
                    <a:pt x="1158176" y="572249"/>
                  </a:lnTo>
                  <a:lnTo>
                    <a:pt x="1158227" y="572249"/>
                  </a:lnTo>
                  <a:lnTo>
                    <a:pt x="1158227" y="572846"/>
                  </a:lnTo>
                  <a:lnTo>
                    <a:pt x="1158367" y="572846"/>
                  </a:lnTo>
                  <a:lnTo>
                    <a:pt x="1158367" y="573532"/>
                  </a:lnTo>
                  <a:lnTo>
                    <a:pt x="1158417" y="573532"/>
                  </a:lnTo>
                  <a:lnTo>
                    <a:pt x="1158417" y="572846"/>
                  </a:lnTo>
                  <a:lnTo>
                    <a:pt x="1158468" y="572846"/>
                  </a:lnTo>
                  <a:lnTo>
                    <a:pt x="1158570" y="572249"/>
                  </a:lnTo>
                  <a:lnTo>
                    <a:pt x="1158621" y="572846"/>
                  </a:lnTo>
                  <a:lnTo>
                    <a:pt x="1158913" y="572846"/>
                  </a:lnTo>
                  <a:lnTo>
                    <a:pt x="1159014" y="573532"/>
                  </a:lnTo>
                  <a:lnTo>
                    <a:pt x="1159065" y="573532"/>
                  </a:lnTo>
                  <a:lnTo>
                    <a:pt x="1159065" y="572846"/>
                  </a:lnTo>
                  <a:lnTo>
                    <a:pt x="1159116" y="572846"/>
                  </a:lnTo>
                  <a:lnTo>
                    <a:pt x="1159116" y="573532"/>
                  </a:lnTo>
                  <a:lnTo>
                    <a:pt x="1159268" y="573532"/>
                  </a:lnTo>
                  <a:lnTo>
                    <a:pt x="1159268" y="574180"/>
                  </a:lnTo>
                  <a:lnTo>
                    <a:pt x="1159319" y="574180"/>
                  </a:lnTo>
                  <a:lnTo>
                    <a:pt x="1159319" y="573532"/>
                  </a:lnTo>
                  <a:lnTo>
                    <a:pt x="1159370" y="574180"/>
                  </a:lnTo>
                  <a:lnTo>
                    <a:pt x="1159611" y="574180"/>
                  </a:lnTo>
                  <a:lnTo>
                    <a:pt x="1159713" y="573532"/>
                  </a:lnTo>
                  <a:lnTo>
                    <a:pt x="1159713" y="574180"/>
                  </a:lnTo>
                  <a:lnTo>
                    <a:pt x="1159763" y="573532"/>
                  </a:lnTo>
                  <a:lnTo>
                    <a:pt x="1159763" y="572846"/>
                  </a:lnTo>
                  <a:lnTo>
                    <a:pt x="1159814" y="572249"/>
                  </a:lnTo>
                  <a:lnTo>
                    <a:pt x="1159916" y="570954"/>
                  </a:lnTo>
                  <a:lnTo>
                    <a:pt x="1160056" y="570954"/>
                  </a:lnTo>
                  <a:lnTo>
                    <a:pt x="1160056" y="572249"/>
                  </a:lnTo>
                  <a:lnTo>
                    <a:pt x="1160360" y="572249"/>
                  </a:lnTo>
                  <a:lnTo>
                    <a:pt x="1160360" y="572846"/>
                  </a:lnTo>
                  <a:lnTo>
                    <a:pt x="1160411" y="572846"/>
                  </a:lnTo>
                  <a:lnTo>
                    <a:pt x="1160462" y="572249"/>
                  </a:lnTo>
                  <a:lnTo>
                    <a:pt x="1160500" y="570954"/>
                  </a:lnTo>
                  <a:lnTo>
                    <a:pt x="1160500" y="572249"/>
                  </a:lnTo>
                  <a:lnTo>
                    <a:pt x="1160602" y="570954"/>
                  </a:lnTo>
                  <a:lnTo>
                    <a:pt x="1160602" y="570256"/>
                  </a:lnTo>
                  <a:lnTo>
                    <a:pt x="1160653" y="570954"/>
                  </a:lnTo>
                  <a:lnTo>
                    <a:pt x="1160653" y="570256"/>
                  </a:lnTo>
                  <a:lnTo>
                    <a:pt x="1160856" y="570256"/>
                  </a:lnTo>
                  <a:lnTo>
                    <a:pt x="1160907" y="570954"/>
                  </a:lnTo>
                  <a:lnTo>
                    <a:pt x="1160957" y="570954"/>
                  </a:lnTo>
                  <a:lnTo>
                    <a:pt x="1160957" y="572249"/>
                  </a:lnTo>
                  <a:lnTo>
                    <a:pt x="1161148" y="572249"/>
                  </a:lnTo>
                  <a:lnTo>
                    <a:pt x="1161199" y="572846"/>
                  </a:lnTo>
                  <a:lnTo>
                    <a:pt x="1161300" y="573532"/>
                  </a:lnTo>
                  <a:lnTo>
                    <a:pt x="1161300" y="572846"/>
                  </a:lnTo>
                  <a:lnTo>
                    <a:pt x="1161402" y="572846"/>
                  </a:lnTo>
                  <a:lnTo>
                    <a:pt x="1161503" y="573532"/>
                  </a:lnTo>
                  <a:lnTo>
                    <a:pt x="1161503" y="572846"/>
                  </a:lnTo>
                  <a:lnTo>
                    <a:pt x="1161542" y="572846"/>
                  </a:lnTo>
                  <a:lnTo>
                    <a:pt x="1161542" y="573532"/>
                  </a:lnTo>
                  <a:lnTo>
                    <a:pt x="1161592" y="572846"/>
                  </a:lnTo>
                  <a:lnTo>
                    <a:pt x="1161592" y="573532"/>
                  </a:lnTo>
                  <a:lnTo>
                    <a:pt x="1161796" y="573532"/>
                  </a:lnTo>
                  <a:lnTo>
                    <a:pt x="1161846" y="572846"/>
                  </a:lnTo>
                  <a:lnTo>
                    <a:pt x="1161948" y="573532"/>
                  </a:lnTo>
                  <a:lnTo>
                    <a:pt x="1161999" y="572846"/>
                  </a:lnTo>
                  <a:lnTo>
                    <a:pt x="1162049" y="572846"/>
                  </a:lnTo>
                  <a:lnTo>
                    <a:pt x="1162049" y="572249"/>
                  </a:lnTo>
                  <a:lnTo>
                    <a:pt x="1162189" y="572249"/>
                  </a:lnTo>
                  <a:lnTo>
                    <a:pt x="1162189" y="572846"/>
                  </a:lnTo>
                  <a:lnTo>
                    <a:pt x="1162240" y="572846"/>
                  </a:lnTo>
                  <a:lnTo>
                    <a:pt x="1162291" y="573532"/>
                  </a:lnTo>
                  <a:lnTo>
                    <a:pt x="1162291" y="572846"/>
                  </a:lnTo>
                  <a:lnTo>
                    <a:pt x="1162392" y="572846"/>
                  </a:lnTo>
                  <a:lnTo>
                    <a:pt x="1162392" y="573532"/>
                  </a:lnTo>
                  <a:lnTo>
                    <a:pt x="1162443" y="572846"/>
                  </a:lnTo>
                  <a:lnTo>
                    <a:pt x="1162443" y="573532"/>
                  </a:lnTo>
                  <a:lnTo>
                    <a:pt x="1162494" y="573532"/>
                  </a:lnTo>
                  <a:lnTo>
                    <a:pt x="1162545" y="572846"/>
                  </a:lnTo>
                  <a:lnTo>
                    <a:pt x="1162684" y="572846"/>
                  </a:lnTo>
                  <a:lnTo>
                    <a:pt x="1162735" y="573532"/>
                  </a:lnTo>
                  <a:lnTo>
                    <a:pt x="1162786" y="572846"/>
                  </a:lnTo>
                  <a:lnTo>
                    <a:pt x="1163180" y="572846"/>
                  </a:lnTo>
                  <a:lnTo>
                    <a:pt x="1163231" y="573532"/>
                  </a:lnTo>
                  <a:lnTo>
                    <a:pt x="1163332" y="573532"/>
                  </a:lnTo>
                  <a:lnTo>
                    <a:pt x="1163332" y="572846"/>
                  </a:lnTo>
                  <a:lnTo>
                    <a:pt x="1163434" y="572846"/>
                  </a:lnTo>
                  <a:lnTo>
                    <a:pt x="1163535" y="573532"/>
                  </a:lnTo>
                  <a:lnTo>
                    <a:pt x="1163535" y="572846"/>
                  </a:lnTo>
                  <a:lnTo>
                    <a:pt x="1163828" y="572846"/>
                  </a:lnTo>
                  <a:lnTo>
                    <a:pt x="1163828" y="573532"/>
                  </a:lnTo>
                  <a:lnTo>
                    <a:pt x="1163980" y="573532"/>
                  </a:lnTo>
                  <a:lnTo>
                    <a:pt x="1164031" y="574180"/>
                  </a:lnTo>
                  <a:lnTo>
                    <a:pt x="1164082" y="573532"/>
                  </a:lnTo>
                  <a:lnTo>
                    <a:pt x="1164272" y="573532"/>
                  </a:lnTo>
                  <a:lnTo>
                    <a:pt x="1164323" y="574180"/>
                  </a:lnTo>
                  <a:lnTo>
                    <a:pt x="1164526" y="574180"/>
                  </a:lnTo>
                  <a:lnTo>
                    <a:pt x="1164577" y="574827"/>
                  </a:lnTo>
                  <a:lnTo>
                    <a:pt x="1164717" y="574827"/>
                  </a:lnTo>
                  <a:lnTo>
                    <a:pt x="1164717" y="574180"/>
                  </a:lnTo>
                  <a:lnTo>
                    <a:pt x="1164767" y="574180"/>
                  </a:lnTo>
                  <a:lnTo>
                    <a:pt x="1164767" y="574827"/>
                  </a:lnTo>
                  <a:lnTo>
                    <a:pt x="1164920" y="574827"/>
                  </a:lnTo>
                  <a:lnTo>
                    <a:pt x="1164920" y="574180"/>
                  </a:lnTo>
                  <a:lnTo>
                    <a:pt x="1164971" y="574180"/>
                  </a:lnTo>
                  <a:lnTo>
                    <a:pt x="1165021" y="574827"/>
                  </a:lnTo>
                  <a:lnTo>
                    <a:pt x="1165123" y="574827"/>
                  </a:lnTo>
                  <a:lnTo>
                    <a:pt x="1165174" y="576161"/>
                  </a:lnTo>
                  <a:lnTo>
                    <a:pt x="1165263" y="576161"/>
                  </a:lnTo>
                  <a:lnTo>
                    <a:pt x="1165364" y="574827"/>
                  </a:lnTo>
                  <a:lnTo>
                    <a:pt x="1165415" y="576161"/>
                  </a:lnTo>
                  <a:lnTo>
                    <a:pt x="1165466" y="576161"/>
                  </a:lnTo>
                  <a:lnTo>
                    <a:pt x="1165466" y="576809"/>
                  </a:lnTo>
                  <a:lnTo>
                    <a:pt x="1165567" y="576161"/>
                  </a:lnTo>
                  <a:lnTo>
                    <a:pt x="1165618" y="574827"/>
                  </a:lnTo>
                  <a:lnTo>
                    <a:pt x="1165669" y="574180"/>
                  </a:lnTo>
                  <a:lnTo>
                    <a:pt x="1165669" y="573532"/>
                  </a:lnTo>
                  <a:lnTo>
                    <a:pt x="1165910" y="573532"/>
                  </a:lnTo>
                  <a:lnTo>
                    <a:pt x="1165910" y="572846"/>
                  </a:lnTo>
                  <a:lnTo>
                    <a:pt x="1165961" y="572846"/>
                  </a:lnTo>
                  <a:lnTo>
                    <a:pt x="1166063" y="573532"/>
                  </a:lnTo>
                  <a:lnTo>
                    <a:pt x="1166113" y="574180"/>
                  </a:lnTo>
                  <a:lnTo>
                    <a:pt x="1166266" y="574180"/>
                  </a:lnTo>
                  <a:lnTo>
                    <a:pt x="1166266" y="573532"/>
                  </a:lnTo>
                  <a:lnTo>
                    <a:pt x="1166304" y="572846"/>
                  </a:lnTo>
                  <a:lnTo>
                    <a:pt x="1166355" y="572249"/>
                  </a:lnTo>
                  <a:lnTo>
                    <a:pt x="1166406" y="572249"/>
                  </a:lnTo>
                  <a:lnTo>
                    <a:pt x="1166406" y="570954"/>
                  </a:lnTo>
                  <a:lnTo>
                    <a:pt x="1166507" y="572249"/>
                  </a:lnTo>
                  <a:lnTo>
                    <a:pt x="1166609" y="572249"/>
                  </a:lnTo>
                  <a:lnTo>
                    <a:pt x="1166710" y="572846"/>
                  </a:lnTo>
                  <a:lnTo>
                    <a:pt x="1166761" y="572846"/>
                  </a:lnTo>
                  <a:lnTo>
                    <a:pt x="1166812" y="573532"/>
                  </a:lnTo>
                  <a:lnTo>
                    <a:pt x="1167206" y="573532"/>
                  </a:lnTo>
                  <a:lnTo>
                    <a:pt x="1167307" y="574827"/>
                  </a:lnTo>
                  <a:lnTo>
                    <a:pt x="1167396" y="574827"/>
                  </a:lnTo>
                  <a:lnTo>
                    <a:pt x="1167447" y="574180"/>
                  </a:lnTo>
                  <a:lnTo>
                    <a:pt x="1167498" y="574180"/>
                  </a:lnTo>
                  <a:lnTo>
                    <a:pt x="1167498" y="573532"/>
                  </a:lnTo>
                  <a:lnTo>
                    <a:pt x="1167853" y="573532"/>
                  </a:lnTo>
                  <a:lnTo>
                    <a:pt x="1167892" y="574180"/>
                  </a:lnTo>
                  <a:lnTo>
                    <a:pt x="1167942" y="573532"/>
                  </a:lnTo>
                  <a:lnTo>
                    <a:pt x="1167993" y="573532"/>
                  </a:lnTo>
                  <a:lnTo>
                    <a:pt x="1168095" y="574180"/>
                  </a:lnTo>
                  <a:lnTo>
                    <a:pt x="1168349" y="574180"/>
                  </a:lnTo>
                  <a:lnTo>
                    <a:pt x="1168399" y="573532"/>
                  </a:lnTo>
                  <a:lnTo>
                    <a:pt x="1168438" y="573532"/>
                  </a:lnTo>
                  <a:lnTo>
                    <a:pt x="1168539" y="574180"/>
                  </a:lnTo>
                  <a:lnTo>
                    <a:pt x="1168590" y="574180"/>
                  </a:lnTo>
                  <a:lnTo>
                    <a:pt x="1168590" y="573532"/>
                  </a:lnTo>
                  <a:lnTo>
                    <a:pt x="1168742" y="573532"/>
                  </a:lnTo>
                  <a:lnTo>
                    <a:pt x="1168742" y="572846"/>
                  </a:lnTo>
                  <a:lnTo>
                    <a:pt x="1168793" y="573532"/>
                  </a:lnTo>
                  <a:lnTo>
                    <a:pt x="1168984" y="573532"/>
                  </a:lnTo>
                  <a:lnTo>
                    <a:pt x="1168984" y="574180"/>
                  </a:lnTo>
                  <a:lnTo>
                    <a:pt x="1169034" y="574180"/>
                  </a:lnTo>
                  <a:lnTo>
                    <a:pt x="1169034" y="573532"/>
                  </a:lnTo>
                  <a:lnTo>
                    <a:pt x="1169136" y="573532"/>
                  </a:lnTo>
                  <a:lnTo>
                    <a:pt x="1169136" y="574180"/>
                  </a:lnTo>
                  <a:lnTo>
                    <a:pt x="1169288" y="574180"/>
                  </a:lnTo>
                  <a:lnTo>
                    <a:pt x="1169288" y="573532"/>
                  </a:lnTo>
                  <a:lnTo>
                    <a:pt x="1169682" y="573532"/>
                  </a:lnTo>
                  <a:lnTo>
                    <a:pt x="1169682" y="574180"/>
                  </a:lnTo>
                  <a:lnTo>
                    <a:pt x="1169784" y="574180"/>
                  </a:lnTo>
                  <a:lnTo>
                    <a:pt x="1169885" y="573532"/>
                  </a:lnTo>
                  <a:lnTo>
                    <a:pt x="1169936" y="574180"/>
                  </a:lnTo>
                  <a:lnTo>
                    <a:pt x="1170228" y="574180"/>
                  </a:lnTo>
                  <a:lnTo>
                    <a:pt x="1170330" y="574827"/>
                  </a:lnTo>
                  <a:lnTo>
                    <a:pt x="1170825" y="574827"/>
                  </a:lnTo>
                  <a:lnTo>
                    <a:pt x="1170876" y="576161"/>
                  </a:lnTo>
                  <a:lnTo>
                    <a:pt x="1171028" y="576161"/>
                  </a:lnTo>
                  <a:lnTo>
                    <a:pt x="1171067" y="576809"/>
                  </a:lnTo>
                  <a:lnTo>
                    <a:pt x="1171117" y="576161"/>
                  </a:lnTo>
                  <a:lnTo>
                    <a:pt x="1171321" y="576161"/>
                  </a:lnTo>
                  <a:lnTo>
                    <a:pt x="1171321" y="576809"/>
                  </a:lnTo>
                  <a:lnTo>
                    <a:pt x="1171371" y="576809"/>
                  </a:lnTo>
                  <a:lnTo>
                    <a:pt x="1171473" y="576161"/>
                  </a:lnTo>
                  <a:lnTo>
                    <a:pt x="1171473" y="576809"/>
                  </a:lnTo>
                  <a:lnTo>
                    <a:pt x="1171714" y="576809"/>
                  </a:lnTo>
                  <a:lnTo>
                    <a:pt x="1171765" y="576161"/>
                  </a:lnTo>
                  <a:lnTo>
                    <a:pt x="1171765" y="574180"/>
                  </a:lnTo>
                  <a:lnTo>
                    <a:pt x="1171816" y="574180"/>
                  </a:lnTo>
                  <a:lnTo>
                    <a:pt x="1171816" y="573532"/>
                  </a:lnTo>
                  <a:lnTo>
                    <a:pt x="1171917" y="574180"/>
                  </a:lnTo>
                  <a:lnTo>
                    <a:pt x="1171968" y="574180"/>
                  </a:lnTo>
                  <a:lnTo>
                    <a:pt x="1172019" y="574827"/>
                  </a:lnTo>
                  <a:lnTo>
                    <a:pt x="1172070" y="574180"/>
                  </a:lnTo>
                  <a:lnTo>
                    <a:pt x="1172070" y="574827"/>
                  </a:lnTo>
                  <a:lnTo>
                    <a:pt x="1172210" y="574827"/>
                  </a:lnTo>
                  <a:lnTo>
                    <a:pt x="1172311" y="573532"/>
                  </a:lnTo>
                  <a:lnTo>
                    <a:pt x="1172413" y="572846"/>
                  </a:lnTo>
                  <a:lnTo>
                    <a:pt x="1172413" y="572249"/>
                  </a:lnTo>
                  <a:lnTo>
                    <a:pt x="1172616" y="572249"/>
                  </a:lnTo>
                  <a:lnTo>
                    <a:pt x="1172654" y="572846"/>
                  </a:lnTo>
                  <a:lnTo>
                    <a:pt x="1172705" y="572846"/>
                  </a:lnTo>
                  <a:lnTo>
                    <a:pt x="1172705" y="573532"/>
                  </a:lnTo>
                  <a:lnTo>
                    <a:pt x="1172756" y="572846"/>
                  </a:lnTo>
                  <a:lnTo>
                    <a:pt x="1172756" y="573532"/>
                  </a:lnTo>
                  <a:lnTo>
                    <a:pt x="1172857" y="573532"/>
                  </a:lnTo>
                  <a:lnTo>
                    <a:pt x="1172908" y="574180"/>
                  </a:lnTo>
                  <a:lnTo>
                    <a:pt x="1173060" y="574180"/>
                  </a:lnTo>
                  <a:lnTo>
                    <a:pt x="1173111" y="574827"/>
                  </a:lnTo>
                  <a:lnTo>
                    <a:pt x="1173111" y="574180"/>
                  </a:lnTo>
                  <a:lnTo>
                    <a:pt x="1173162" y="574180"/>
                  </a:lnTo>
                  <a:lnTo>
                    <a:pt x="1173200" y="574827"/>
                  </a:lnTo>
                  <a:lnTo>
                    <a:pt x="1173353" y="574827"/>
                  </a:lnTo>
                  <a:lnTo>
                    <a:pt x="1173403" y="576161"/>
                  </a:lnTo>
                  <a:lnTo>
                    <a:pt x="1173505" y="574827"/>
                  </a:lnTo>
                  <a:lnTo>
                    <a:pt x="1173606" y="574827"/>
                  </a:lnTo>
                  <a:lnTo>
                    <a:pt x="1173606" y="574180"/>
                  </a:lnTo>
                  <a:lnTo>
                    <a:pt x="1173657" y="574180"/>
                  </a:lnTo>
                  <a:lnTo>
                    <a:pt x="1173746" y="573532"/>
                  </a:lnTo>
                  <a:lnTo>
                    <a:pt x="1173746" y="574180"/>
                  </a:lnTo>
                  <a:lnTo>
                    <a:pt x="1174051" y="574180"/>
                  </a:lnTo>
                  <a:lnTo>
                    <a:pt x="1174102" y="574827"/>
                  </a:lnTo>
                  <a:lnTo>
                    <a:pt x="1174203" y="574827"/>
                  </a:lnTo>
                  <a:lnTo>
                    <a:pt x="1174241" y="576161"/>
                  </a:lnTo>
                  <a:lnTo>
                    <a:pt x="1174241" y="574827"/>
                  </a:lnTo>
                  <a:lnTo>
                    <a:pt x="1174292" y="576161"/>
                  </a:lnTo>
                  <a:lnTo>
                    <a:pt x="1174343" y="574827"/>
                  </a:lnTo>
                  <a:lnTo>
                    <a:pt x="1174445" y="574827"/>
                  </a:lnTo>
                  <a:lnTo>
                    <a:pt x="1174445" y="574180"/>
                  </a:lnTo>
                  <a:lnTo>
                    <a:pt x="1174496" y="574180"/>
                  </a:lnTo>
                  <a:lnTo>
                    <a:pt x="1174546" y="573532"/>
                  </a:lnTo>
                  <a:lnTo>
                    <a:pt x="1174788" y="573532"/>
                  </a:lnTo>
                  <a:lnTo>
                    <a:pt x="1174788" y="574180"/>
                  </a:lnTo>
                  <a:lnTo>
                    <a:pt x="1175245" y="574180"/>
                  </a:lnTo>
                  <a:lnTo>
                    <a:pt x="1175245" y="574827"/>
                  </a:lnTo>
                  <a:lnTo>
                    <a:pt x="1175334" y="574827"/>
                  </a:lnTo>
                  <a:lnTo>
                    <a:pt x="1175385" y="574180"/>
                  </a:lnTo>
                  <a:lnTo>
                    <a:pt x="1175435" y="574180"/>
                  </a:lnTo>
                  <a:lnTo>
                    <a:pt x="1175435" y="573532"/>
                  </a:lnTo>
                  <a:lnTo>
                    <a:pt x="1175486" y="574180"/>
                  </a:lnTo>
                  <a:lnTo>
                    <a:pt x="1175689" y="574180"/>
                  </a:lnTo>
                  <a:lnTo>
                    <a:pt x="1175791" y="573532"/>
                  </a:lnTo>
                  <a:lnTo>
                    <a:pt x="1175829" y="573532"/>
                  </a:lnTo>
                  <a:lnTo>
                    <a:pt x="1175829" y="574180"/>
                  </a:lnTo>
                  <a:lnTo>
                    <a:pt x="1175880" y="574180"/>
                  </a:lnTo>
                  <a:lnTo>
                    <a:pt x="1175931" y="574827"/>
                  </a:lnTo>
                  <a:lnTo>
                    <a:pt x="1175931" y="574180"/>
                  </a:lnTo>
                  <a:lnTo>
                    <a:pt x="1176032" y="574827"/>
                  </a:lnTo>
                  <a:lnTo>
                    <a:pt x="1176083" y="574827"/>
                  </a:lnTo>
                  <a:lnTo>
                    <a:pt x="1176134" y="574180"/>
                  </a:lnTo>
                  <a:lnTo>
                    <a:pt x="1176235" y="574827"/>
                  </a:lnTo>
                  <a:lnTo>
                    <a:pt x="1176528" y="574827"/>
                  </a:lnTo>
                  <a:lnTo>
                    <a:pt x="1176578" y="576161"/>
                  </a:lnTo>
                  <a:lnTo>
                    <a:pt x="1176680" y="576161"/>
                  </a:lnTo>
                  <a:lnTo>
                    <a:pt x="1176731" y="574827"/>
                  </a:lnTo>
                  <a:lnTo>
                    <a:pt x="1176731" y="574180"/>
                  </a:lnTo>
                  <a:lnTo>
                    <a:pt x="1176781" y="574827"/>
                  </a:lnTo>
                  <a:lnTo>
                    <a:pt x="1176832" y="574827"/>
                  </a:lnTo>
                  <a:lnTo>
                    <a:pt x="1176921" y="576161"/>
                  </a:lnTo>
                  <a:lnTo>
                    <a:pt x="1177226" y="576161"/>
                  </a:lnTo>
                  <a:lnTo>
                    <a:pt x="1177277" y="576809"/>
                  </a:lnTo>
                  <a:lnTo>
                    <a:pt x="1177467" y="576809"/>
                  </a:lnTo>
                  <a:lnTo>
                    <a:pt x="1177467" y="576161"/>
                  </a:lnTo>
                  <a:lnTo>
                    <a:pt x="1177518" y="574827"/>
                  </a:lnTo>
                  <a:lnTo>
                    <a:pt x="1177518" y="574180"/>
                  </a:lnTo>
                  <a:lnTo>
                    <a:pt x="1177620" y="574180"/>
                  </a:lnTo>
                  <a:lnTo>
                    <a:pt x="1177671" y="573532"/>
                  </a:lnTo>
                  <a:lnTo>
                    <a:pt x="1177823" y="573532"/>
                  </a:lnTo>
                  <a:lnTo>
                    <a:pt x="1177823" y="574180"/>
                  </a:lnTo>
                  <a:lnTo>
                    <a:pt x="1177874" y="574180"/>
                  </a:lnTo>
                  <a:lnTo>
                    <a:pt x="1177925" y="574827"/>
                  </a:lnTo>
                  <a:lnTo>
                    <a:pt x="1178115" y="574827"/>
                  </a:lnTo>
                  <a:lnTo>
                    <a:pt x="1178166" y="574180"/>
                  </a:lnTo>
                  <a:lnTo>
                    <a:pt x="1178166" y="573532"/>
                  </a:lnTo>
                  <a:lnTo>
                    <a:pt x="1178267" y="572846"/>
                  </a:lnTo>
                  <a:lnTo>
                    <a:pt x="1178267" y="572249"/>
                  </a:lnTo>
                  <a:lnTo>
                    <a:pt x="1178318" y="572846"/>
                  </a:lnTo>
                  <a:lnTo>
                    <a:pt x="1178509" y="572846"/>
                  </a:lnTo>
                  <a:lnTo>
                    <a:pt x="1178509" y="573532"/>
                  </a:lnTo>
                  <a:lnTo>
                    <a:pt x="1178560" y="572846"/>
                  </a:lnTo>
                  <a:lnTo>
                    <a:pt x="1178560" y="573532"/>
                  </a:lnTo>
                  <a:lnTo>
                    <a:pt x="1178661" y="573532"/>
                  </a:lnTo>
                  <a:lnTo>
                    <a:pt x="1178661" y="574180"/>
                  </a:lnTo>
                  <a:lnTo>
                    <a:pt x="1178763" y="573532"/>
                  </a:lnTo>
                  <a:lnTo>
                    <a:pt x="1178864" y="573532"/>
                  </a:lnTo>
                  <a:lnTo>
                    <a:pt x="1178966" y="574180"/>
                  </a:lnTo>
                  <a:lnTo>
                    <a:pt x="1179004" y="574827"/>
                  </a:lnTo>
                  <a:lnTo>
                    <a:pt x="1179309" y="574827"/>
                  </a:lnTo>
                  <a:lnTo>
                    <a:pt x="1179410" y="574180"/>
                  </a:lnTo>
                  <a:lnTo>
                    <a:pt x="1179410" y="574827"/>
                  </a:lnTo>
                  <a:lnTo>
                    <a:pt x="1179512" y="574827"/>
                  </a:lnTo>
                  <a:lnTo>
                    <a:pt x="1179512" y="574180"/>
                  </a:lnTo>
                  <a:lnTo>
                    <a:pt x="1179753" y="574180"/>
                  </a:lnTo>
                  <a:lnTo>
                    <a:pt x="1179753" y="574827"/>
                  </a:lnTo>
                  <a:lnTo>
                    <a:pt x="1179906" y="574827"/>
                  </a:lnTo>
                  <a:lnTo>
                    <a:pt x="1179906" y="576161"/>
                  </a:lnTo>
                  <a:lnTo>
                    <a:pt x="1180198" y="576161"/>
                  </a:lnTo>
                  <a:lnTo>
                    <a:pt x="1180198" y="574827"/>
                  </a:lnTo>
                  <a:lnTo>
                    <a:pt x="1180249" y="576161"/>
                  </a:lnTo>
                  <a:lnTo>
                    <a:pt x="1180249" y="574827"/>
                  </a:lnTo>
                  <a:lnTo>
                    <a:pt x="1180350" y="574827"/>
                  </a:lnTo>
                  <a:lnTo>
                    <a:pt x="1180401" y="574180"/>
                  </a:lnTo>
                  <a:lnTo>
                    <a:pt x="1180401" y="574827"/>
                  </a:lnTo>
                  <a:lnTo>
                    <a:pt x="1180896" y="574827"/>
                  </a:lnTo>
                  <a:lnTo>
                    <a:pt x="1180998" y="576161"/>
                  </a:lnTo>
                  <a:lnTo>
                    <a:pt x="1181049" y="574827"/>
                  </a:lnTo>
                  <a:lnTo>
                    <a:pt x="1181493" y="574827"/>
                  </a:lnTo>
                  <a:lnTo>
                    <a:pt x="1181544" y="576161"/>
                  </a:lnTo>
                  <a:lnTo>
                    <a:pt x="1181595" y="574827"/>
                  </a:lnTo>
                  <a:lnTo>
                    <a:pt x="1181684" y="574827"/>
                  </a:lnTo>
                  <a:lnTo>
                    <a:pt x="1181735" y="576161"/>
                  </a:lnTo>
                  <a:lnTo>
                    <a:pt x="1182039" y="576161"/>
                  </a:lnTo>
                  <a:lnTo>
                    <a:pt x="1182141" y="576809"/>
                  </a:lnTo>
                  <a:lnTo>
                    <a:pt x="1182179" y="576161"/>
                  </a:lnTo>
                  <a:lnTo>
                    <a:pt x="1182230" y="576161"/>
                  </a:lnTo>
                  <a:lnTo>
                    <a:pt x="1182281" y="576809"/>
                  </a:lnTo>
                  <a:lnTo>
                    <a:pt x="1182827" y="576809"/>
                  </a:lnTo>
                  <a:lnTo>
                    <a:pt x="1182827" y="577456"/>
                  </a:lnTo>
                  <a:lnTo>
                    <a:pt x="1182878" y="577456"/>
                  </a:lnTo>
                  <a:lnTo>
                    <a:pt x="1182928" y="576809"/>
                  </a:lnTo>
                  <a:lnTo>
                    <a:pt x="1182928" y="577456"/>
                  </a:lnTo>
                  <a:lnTo>
                    <a:pt x="1183131" y="577456"/>
                  </a:lnTo>
                  <a:lnTo>
                    <a:pt x="1183131" y="578155"/>
                  </a:lnTo>
                  <a:lnTo>
                    <a:pt x="1183182" y="578155"/>
                  </a:lnTo>
                  <a:lnTo>
                    <a:pt x="1183271" y="577456"/>
                  </a:lnTo>
                  <a:lnTo>
                    <a:pt x="1183271" y="578155"/>
                  </a:lnTo>
                  <a:lnTo>
                    <a:pt x="1183322" y="577456"/>
                  </a:lnTo>
                  <a:lnTo>
                    <a:pt x="1183322" y="576809"/>
                  </a:lnTo>
                  <a:lnTo>
                    <a:pt x="1183373" y="577456"/>
                  </a:lnTo>
                  <a:lnTo>
                    <a:pt x="1183373" y="576809"/>
                  </a:lnTo>
                  <a:lnTo>
                    <a:pt x="1183424" y="576809"/>
                  </a:lnTo>
                  <a:lnTo>
                    <a:pt x="1183424" y="576161"/>
                  </a:lnTo>
                  <a:lnTo>
                    <a:pt x="1183525" y="574827"/>
                  </a:lnTo>
                  <a:lnTo>
                    <a:pt x="1183627" y="574827"/>
                  </a:lnTo>
                  <a:lnTo>
                    <a:pt x="1183627" y="576161"/>
                  </a:lnTo>
                  <a:lnTo>
                    <a:pt x="1183817" y="576161"/>
                  </a:lnTo>
                  <a:lnTo>
                    <a:pt x="1183868" y="576809"/>
                  </a:lnTo>
                  <a:lnTo>
                    <a:pt x="1184021" y="576809"/>
                  </a:lnTo>
                  <a:lnTo>
                    <a:pt x="1184071" y="577456"/>
                  </a:lnTo>
                  <a:lnTo>
                    <a:pt x="1184173" y="576809"/>
                  </a:lnTo>
                  <a:lnTo>
                    <a:pt x="1184224" y="574827"/>
                  </a:lnTo>
                  <a:lnTo>
                    <a:pt x="1184224" y="573532"/>
                  </a:lnTo>
                  <a:lnTo>
                    <a:pt x="1184465" y="573532"/>
                  </a:lnTo>
                  <a:lnTo>
                    <a:pt x="1184465" y="574180"/>
                  </a:lnTo>
                  <a:lnTo>
                    <a:pt x="1184516" y="574180"/>
                  </a:lnTo>
                  <a:lnTo>
                    <a:pt x="1184617" y="574827"/>
                  </a:lnTo>
                  <a:lnTo>
                    <a:pt x="1184668" y="574827"/>
                  </a:lnTo>
                  <a:lnTo>
                    <a:pt x="1184668" y="576161"/>
                  </a:lnTo>
                  <a:lnTo>
                    <a:pt x="1184719" y="576161"/>
                  </a:lnTo>
                  <a:lnTo>
                    <a:pt x="1184770" y="574827"/>
                  </a:lnTo>
                  <a:lnTo>
                    <a:pt x="1184770" y="576161"/>
                  </a:lnTo>
                  <a:lnTo>
                    <a:pt x="1184859" y="576161"/>
                  </a:lnTo>
                  <a:lnTo>
                    <a:pt x="1184859" y="574827"/>
                  </a:lnTo>
                  <a:lnTo>
                    <a:pt x="1184910" y="576161"/>
                  </a:lnTo>
                  <a:lnTo>
                    <a:pt x="1184960" y="576161"/>
                  </a:lnTo>
                  <a:lnTo>
                    <a:pt x="1184960" y="576809"/>
                  </a:lnTo>
                  <a:lnTo>
                    <a:pt x="1185456" y="576809"/>
                  </a:lnTo>
                  <a:lnTo>
                    <a:pt x="1185557" y="576161"/>
                  </a:lnTo>
                  <a:lnTo>
                    <a:pt x="1185760" y="576161"/>
                  </a:lnTo>
                  <a:lnTo>
                    <a:pt x="1185760" y="576809"/>
                  </a:lnTo>
                  <a:lnTo>
                    <a:pt x="1185811" y="576161"/>
                  </a:lnTo>
                  <a:lnTo>
                    <a:pt x="1185862" y="576161"/>
                  </a:lnTo>
                  <a:lnTo>
                    <a:pt x="1185900" y="576809"/>
                  </a:lnTo>
                  <a:lnTo>
                    <a:pt x="1186306" y="576809"/>
                  </a:lnTo>
                  <a:lnTo>
                    <a:pt x="1186357" y="576161"/>
                  </a:lnTo>
                  <a:lnTo>
                    <a:pt x="1186497" y="576161"/>
                  </a:lnTo>
                  <a:lnTo>
                    <a:pt x="1186548" y="576809"/>
                  </a:lnTo>
                  <a:lnTo>
                    <a:pt x="1186599" y="576809"/>
                  </a:lnTo>
                  <a:lnTo>
                    <a:pt x="1186700" y="576161"/>
                  </a:lnTo>
                  <a:lnTo>
                    <a:pt x="1187145" y="576161"/>
                  </a:lnTo>
                  <a:lnTo>
                    <a:pt x="1187196" y="574827"/>
                  </a:lnTo>
                  <a:lnTo>
                    <a:pt x="1187246" y="576161"/>
                  </a:lnTo>
                  <a:lnTo>
                    <a:pt x="1187348" y="576161"/>
                  </a:lnTo>
                  <a:lnTo>
                    <a:pt x="1187399" y="576809"/>
                  </a:lnTo>
                  <a:lnTo>
                    <a:pt x="1187450" y="576161"/>
                  </a:lnTo>
                  <a:lnTo>
                    <a:pt x="1187488" y="576809"/>
                  </a:lnTo>
                  <a:lnTo>
                    <a:pt x="1187488" y="576161"/>
                  </a:lnTo>
                  <a:lnTo>
                    <a:pt x="1187589" y="576161"/>
                  </a:lnTo>
                  <a:lnTo>
                    <a:pt x="1187589" y="576809"/>
                  </a:lnTo>
                  <a:lnTo>
                    <a:pt x="1187691" y="576809"/>
                  </a:lnTo>
                  <a:lnTo>
                    <a:pt x="1187691" y="576161"/>
                  </a:lnTo>
                  <a:lnTo>
                    <a:pt x="1187894" y="576161"/>
                  </a:lnTo>
                  <a:lnTo>
                    <a:pt x="1187894" y="576809"/>
                  </a:lnTo>
                  <a:lnTo>
                    <a:pt x="1188288" y="576809"/>
                  </a:lnTo>
                  <a:lnTo>
                    <a:pt x="1188288" y="577456"/>
                  </a:lnTo>
                  <a:lnTo>
                    <a:pt x="1188338" y="576809"/>
                  </a:lnTo>
                  <a:lnTo>
                    <a:pt x="1188529" y="576809"/>
                  </a:lnTo>
                  <a:lnTo>
                    <a:pt x="1188529" y="577456"/>
                  </a:lnTo>
                  <a:lnTo>
                    <a:pt x="1188580" y="577456"/>
                  </a:lnTo>
                  <a:lnTo>
                    <a:pt x="1188580" y="576809"/>
                  </a:lnTo>
                  <a:lnTo>
                    <a:pt x="1188732" y="576809"/>
                  </a:lnTo>
                  <a:lnTo>
                    <a:pt x="1188783" y="577456"/>
                  </a:lnTo>
                  <a:lnTo>
                    <a:pt x="1188935" y="577456"/>
                  </a:lnTo>
                  <a:lnTo>
                    <a:pt x="1188986" y="578155"/>
                  </a:lnTo>
                  <a:lnTo>
                    <a:pt x="1189075" y="578155"/>
                  </a:lnTo>
                  <a:lnTo>
                    <a:pt x="1189075" y="577456"/>
                  </a:lnTo>
                  <a:lnTo>
                    <a:pt x="1189177" y="576809"/>
                  </a:lnTo>
                  <a:lnTo>
                    <a:pt x="1189228" y="576161"/>
                  </a:lnTo>
                  <a:lnTo>
                    <a:pt x="1189228" y="574827"/>
                  </a:lnTo>
                  <a:lnTo>
                    <a:pt x="1189278" y="574180"/>
                  </a:lnTo>
                  <a:lnTo>
                    <a:pt x="1189380" y="573532"/>
                  </a:lnTo>
                  <a:lnTo>
                    <a:pt x="1189431" y="573532"/>
                  </a:lnTo>
                  <a:lnTo>
                    <a:pt x="1189431" y="574180"/>
                  </a:lnTo>
                  <a:lnTo>
                    <a:pt x="1189481" y="574180"/>
                  </a:lnTo>
                  <a:lnTo>
                    <a:pt x="1189481" y="574827"/>
                  </a:lnTo>
                  <a:lnTo>
                    <a:pt x="1189672" y="574827"/>
                  </a:lnTo>
                  <a:lnTo>
                    <a:pt x="1189723" y="576161"/>
                  </a:lnTo>
                  <a:lnTo>
                    <a:pt x="1189774" y="576809"/>
                  </a:lnTo>
                  <a:lnTo>
                    <a:pt x="1189774" y="576161"/>
                  </a:lnTo>
                  <a:lnTo>
                    <a:pt x="1189875" y="576161"/>
                  </a:lnTo>
                  <a:lnTo>
                    <a:pt x="1189926" y="574827"/>
                  </a:lnTo>
                  <a:lnTo>
                    <a:pt x="1189977" y="574180"/>
                  </a:lnTo>
                  <a:lnTo>
                    <a:pt x="1190078" y="573532"/>
                  </a:lnTo>
                  <a:lnTo>
                    <a:pt x="1190218" y="573532"/>
                  </a:lnTo>
                  <a:lnTo>
                    <a:pt x="1190218" y="574180"/>
                  </a:lnTo>
                  <a:lnTo>
                    <a:pt x="1190320" y="574180"/>
                  </a:lnTo>
                  <a:lnTo>
                    <a:pt x="1190371" y="574827"/>
                  </a:lnTo>
                  <a:lnTo>
                    <a:pt x="1190574" y="574827"/>
                  </a:lnTo>
                  <a:lnTo>
                    <a:pt x="1190625" y="576161"/>
                  </a:lnTo>
                  <a:lnTo>
                    <a:pt x="1190663" y="576161"/>
                  </a:lnTo>
                  <a:lnTo>
                    <a:pt x="1190764" y="574827"/>
                  </a:lnTo>
                  <a:lnTo>
                    <a:pt x="1190815" y="574827"/>
                  </a:lnTo>
                  <a:lnTo>
                    <a:pt x="1190866" y="576161"/>
                  </a:lnTo>
                  <a:lnTo>
                    <a:pt x="1190967" y="576161"/>
                  </a:lnTo>
                  <a:lnTo>
                    <a:pt x="1190967" y="576809"/>
                  </a:lnTo>
                  <a:lnTo>
                    <a:pt x="1191018" y="576161"/>
                  </a:lnTo>
                  <a:lnTo>
                    <a:pt x="1191209" y="576161"/>
                  </a:lnTo>
                  <a:lnTo>
                    <a:pt x="1191209" y="576809"/>
                  </a:lnTo>
                  <a:lnTo>
                    <a:pt x="1191260" y="576809"/>
                  </a:lnTo>
                  <a:lnTo>
                    <a:pt x="1191260" y="576161"/>
                  </a:lnTo>
                  <a:lnTo>
                    <a:pt x="1191463" y="576161"/>
                  </a:lnTo>
                  <a:lnTo>
                    <a:pt x="1191463" y="574827"/>
                  </a:lnTo>
                  <a:lnTo>
                    <a:pt x="1191564" y="574827"/>
                  </a:lnTo>
                  <a:lnTo>
                    <a:pt x="1191564" y="576161"/>
                  </a:lnTo>
                  <a:lnTo>
                    <a:pt x="1191907" y="576161"/>
                  </a:lnTo>
                  <a:lnTo>
                    <a:pt x="1191907" y="576809"/>
                  </a:lnTo>
                  <a:lnTo>
                    <a:pt x="1191958" y="576809"/>
                  </a:lnTo>
                  <a:lnTo>
                    <a:pt x="1192009" y="576161"/>
                  </a:lnTo>
                  <a:lnTo>
                    <a:pt x="1192161" y="576161"/>
                  </a:lnTo>
                  <a:lnTo>
                    <a:pt x="1192161" y="574827"/>
                  </a:lnTo>
                  <a:lnTo>
                    <a:pt x="1192453" y="574827"/>
                  </a:lnTo>
                  <a:lnTo>
                    <a:pt x="1192555" y="576161"/>
                  </a:lnTo>
                  <a:lnTo>
                    <a:pt x="1192656" y="576161"/>
                  </a:lnTo>
                  <a:lnTo>
                    <a:pt x="1192656" y="574827"/>
                  </a:lnTo>
                  <a:lnTo>
                    <a:pt x="1192707" y="574827"/>
                  </a:lnTo>
                  <a:lnTo>
                    <a:pt x="1192707" y="576161"/>
                  </a:lnTo>
                  <a:lnTo>
                    <a:pt x="1192796" y="576161"/>
                  </a:lnTo>
                  <a:lnTo>
                    <a:pt x="1192796" y="576809"/>
                  </a:lnTo>
                  <a:lnTo>
                    <a:pt x="1192847" y="576161"/>
                  </a:lnTo>
                  <a:lnTo>
                    <a:pt x="1192898" y="576161"/>
                  </a:lnTo>
                  <a:lnTo>
                    <a:pt x="1192949" y="574827"/>
                  </a:lnTo>
                  <a:lnTo>
                    <a:pt x="1193101" y="574827"/>
                  </a:lnTo>
                  <a:lnTo>
                    <a:pt x="1193152" y="576161"/>
                  </a:lnTo>
                  <a:lnTo>
                    <a:pt x="1193253" y="576161"/>
                  </a:lnTo>
                  <a:lnTo>
                    <a:pt x="1193291" y="576809"/>
                  </a:lnTo>
                  <a:lnTo>
                    <a:pt x="1193291" y="576161"/>
                  </a:lnTo>
                  <a:lnTo>
                    <a:pt x="1193342" y="576809"/>
                  </a:lnTo>
                  <a:lnTo>
                    <a:pt x="1193342" y="576161"/>
                  </a:lnTo>
                  <a:lnTo>
                    <a:pt x="1193393" y="576161"/>
                  </a:lnTo>
                  <a:lnTo>
                    <a:pt x="1193393" y="576809"/>
                  </a:lnTo>
                  <a:lnTo>
                    <a:pt x="1193800" y="576809"/>
                  </a:lnTo>
                  <a:lnTo>
                    <a:pt x="1193838" y="577456"/>
                  </a:lnTo>
                  <a:lnTo>
                    <a:pt x="1193990" y="577456"/>
                  </a:lnTo>
                  <a:lnTo>
                    <a:pt x="1194041" y="576809"/>
                  </a:lnTo>
                  <a:lnTo>
                    <a:pt x="1194041" y="577456"/>
                  </a:lnTo>
                  <a:lnTo>
                    <a:pt x="1194142" y="577456"/>
                  </a:lnTo>
                  <a:lnTo>
                    <a:pt x="1194193" y="576809"/>
                  </a:lnTo>
                  <a:lnTo>
                    <a:pt x="1194295" y="576809"/>
                  </a:lnTo>
                  <a:lnTo>
                    <a:pt x="1194295" y="577456"/>
                  </a:lnTo>
                  <a:lnTo>
                    <a:pt x="1194435" y="577456"/>
                  </a:lnTo>
                  <a:lnTo>
                    <a:pt x="1194485" y="576809"/>
                  </a:lnTo>
                  <a:lnTo>
                    <a:pt x="1194536" y="576809"/>
                  </a:lnTo>
                  <a:lnTo>
                    <a:pt x="1194536" y="577456"/>
                  </a:lnTo>
                  <a:lnTo>
                    <a:pt x="1194930" y="577456"/>
                  </a:lnTo>
                  <a:lnTo>
                    <a:pt x="1194981" y="578155"/>
                  </a:lnTo>
                  <a:lnTo>
                    <a:pt x="1195133" y="578155"/>
                  </a:lnTo>
                  <a:lnTo>
                    <a:pt x="1195133" y="577456"/>
                  </a:lnTo>
                  <a:lnTo>
                    <a:pt x="1195184" y="577456"/>
                  </a:lnTo>
                  <a:lnTo>
                    <a:pt x="1195184" y="578155"/>
                  </a:lnTo>
                  <a:lnTo>
                    <a:pt x="1195285" y="578155"/>
                  </a:lnTo>
                  <a:lnTo>
                    <a:pt x="1195285" y="577456"/>
                  </a:lnTo>
                  <a:lnTo>
                    <a:pt x="1195387" y="576161"/>
                  </a:lnTo>
                  <a:lnTo>
                    <a:pt x="1195387" y="574827"/>
                  </a:lnTo>
                  <a:lnTo>
                    <a:pt x="1195425" y="574827"/>
                  </a:lnTo>
                  <a:lnTo>
                    <a:pt x="1195527" y="574180"/>
                  </a:lnTo>
                  <a:lnTo>
                    <a:pt x="1195578" y="574827"/>
                  </a:lnTo>
                  <a:lnTo>
                    <a:pt x="1195578" y="574180"/>
                  </a:lnTo>
                  <a:lnTo>
                    <a:pt x="1195730" y="574180"/>
                  </a:lnTo>
                  <a:lnTo>
                    <a:pt x="1195781" y="574827"/>
                  </a:lnTo>
                  <a:lnTo>
                    <a:pt x="1195831" y="574827"/>
                  </a:lnTo>
                  <a:lnTo>
                    <a:pt x="1195831" y="576161"/>
                  </a:lnTo>
                  <a:lnTo>
                    <a:pt x="1195882" y="576161"/>
                  </a:lnTo>
                  <a:lnTo>
                    <a:pt x="1195882" y="574827"/>
                  </a:lnTo>
                  <a:lnTo>
                    <a:pt x="1195971" y="574180"/>
                  </a:lnTo>
                  <a:lnTo>
                    <a:pt x="1196022" y="573532"/>
                  </a:lnTo>
                  <a:lnTo>
                    <a:pt x="1196073" y="573532"/>
                  </a:lnTo>
                  <a:lnTo>
                    <a:pt x="1196073" y="572846"/>
                  </a:lnTo>
                  <a:lnTo>
                    <a:pt x="1196124" y="572846"/>
                  </a:lnTo>
                  <a:lnTo>
                    <a:pt x="1196124" y="573532"/>
                  </a:lnTo>
                  <a:lnTo>
                    <a:pt x="1196225" y="573532"/>
                  </a:lnTo>
                  <a:lnTo>
                    <a:pt x="1196276" y="574180"/>
                  </a:lnTo>
                  <a:lnTo>
                    <a:pt x="1196327" y="573532"/>
                  </a:lnTo>
                  <a:lnTo>
                    <a:pt x="1196428" y="574180"/>
                  </a:lnTo>
                  <a:lnTo>
                    <a:pt x="1196428" y="573532"/>
                  </a:lnTo>
                  <a:lnTo>
                    <a:pt x="1196466" y="574180"/>
                  </a:lnTo>
                  <a:lnTo>
                    <a:pt x="1196517" y="574180"/>
                  </a:lnTo>
                  <a:lnTo>
                    <a:pt x="1196517" y="574827"/>
                  </a:lnTo>
                  <a:lnTo>
                    <a:pt x="1196873" y="574827"/>
                  </a:lnTo>
                  <a:lnTo>
                    <a:pt x="1196924" y="576161"/>
                  </a:lnTo>
                  <a:lnTo>
                    <a:pt x="1197013" y="576161"/>
                  </a:lnTo>
                  <a:lnTo>
                    <a:pt x="1197114" y="576809"/>
                  </a:lnTo>
                  <a:lnTo>
                    <a:pt x="1197114" y="576161"/>
                  </a:lnTo>
                  <a:lnTo>
                    <a:pt x="1197317" y="576161"/>
                  </a:lnTo>
                  <a:lnTo>
                    <a:pt x="1197317" y="574827"/>
                  </a:lnTo>
                  <a:lnTo>
                    <a:pt x="1197368" y="574827"/>
                  </a:lnTo>
                  <a:lnTo>
                    <a:pt x="1197419" y="574180"/>
                  </a:lnTo>
                  <a:lnTo>
                    <a:pt x="1197419" y="574827"/>
                  </a:lnTo>
                  <a:lnTo>
                    <a:pt x="1197470" y="574180"/>
                  </a:lnTo>
                  <a:lnTo>
                    <a:pt x="1197660" y="574180"/>
                  </a:lnTo>
                  <a:lnTo>
                    <a:pt x="1197660" y="574827"/>
                  </a:lnTo>
                  <a:lnTo>
                    <a:pt x="1197711" y="574827"/>
                  </a:lnTo>
                  <a:lnTo>
                    <a:pt x="1197813" y="576161"/>
                  </a:lnTo>
                  <a:lnTo>
                    <a:pt x="1198054" y="576161"/>
                  </a:lnTo>
                  <a:lnTo>
                    <a:pt x="1198105" y="574827"/>
                  </a:lnTo>
                  <a:lnTo>
                    <a:pt x="1198308" y="574827"/>
                  </a:lnTo>
                  <a:lnTo>
                    <a:pt x="1198308" y="574180"/>
                  </a:lnTo>
                  <a:lnTo>
                    <a:pt x="1198460" y="574180"/>
                  </a:lnTo>
                  <a:lnTo>
                    <a:pt x="1198511" y="574827"/>
                  </a:lnTo>
                  <a:lnTo>
                    <a:pt x="1199006" y="574827"/>
                  </a:lnTo>
                  <a:lnTo>
                    <a:pt x="1199057" y="576161"/>
                  </a:lnTo>
                  <a:lnTo>
                    <a:pt x="1199057" y="574827"/>
                  </a:lnTo>
                  <a:lnTo>
                    <a:pt x="1199400" y="574827"/>
                  </a:lnTo>
                  <a:lnTo>
                    <a:pt x="1199400" y="576161"/>
                  </a:lnTo>
                  <a:lnTo>
                    <a:pt x="1199641" y="576161"/>
                  </a:lnTo>
                  <a:lnTo>
                    <a:pt x="1199692" y="576809"/>
                  </a:lnTo>
                  <a:lnTo>
                    <a:pt x="1199692" y="576161"/>
                  </a:lnTo>
                  <a:lnTo>
                    <a:pt x="1199743" y="576161"/>
                  </a:lnTo>
                  <a:lnTo>
                    <a:pt x="1199845" y="574827"/>
                  </a:lnTo>
                  <a:lnTo>
                    <a:pt x="1199845" y="576161"/>
                  </a:lnTo>
                  <a:lnTo>
                    <a:pt x="1199946" y="576161"/>
                  </a:lnTo>
                  <a:lnTo>
                    <a:pt x="1199946" y="576809"/>
                  </a:lnTo>
                  <a:lnTo>
                    <a:pt x="1200340" y="576809"/>
                  </a:lnTo>
                  <a:lnTo>
                    <a:pt x="1200391" y="577456"/>
                  </a:lnTo>
                  <a:lnTo>
                    <a:pt x="1200391" y="576809"/>
                  </a:lnTo>
                  <a:lnTo>
                    <a:pt x="1200594" y="576809"/>
                  </a:lnTo>
                  <a:lnTo>
                    <a:pt x="1200594" y="577456"/>
                  </a:lnTo>
                  <a:lnTo>
                    <a:pt x="1200785" y="577456"/>
                  </a:lnTo>
                  <a:lnTo>
                    <a:pt x="1200835" y="578155"/>
                  </a:lnTo>
                  <a:lnTo>
                    <a:pt x="1200886" y="578155"/>
                  </a:lnTo>
                  <a:lnTo>
                    <a:pt x="1200886" y="577456"/>
                  </a:lnTo>
                  <a:lnTo>
                    <a:pt x="1201038" y="577456"/>
                  </a:lnTo>
                  <a:lnTo>
                    <a:pt x="1201089" y="578155"/>
                  </a:lnTo>
                  <a:lnTo>
                    <a:pt x="1201191" y="577456"/>
                  </a:lnTo>
                  <a:lnTo>
                    <a:pt x="1201229" y="576809"/>
                  </a:lnTo>
                  <a:lnTo>
                    <a:pt x="1201229" y="576161"/>
                  </a:lnTo>
                  <a:lnTo>
                    <a:pt x="1201280" y="574827"/>
                  </a:lnTo>
                  <a:lnTo>
                    <a:pt x="1201331" y="574180"/>
                  </a:lnTo>
                  <a:lnTo>
                    <a:pt x="1201483" y="574180"/>
                  </a:lnTo>
                  <a:lnTo>
                    <a:pt x="1201483" y="574827"/>
                  </a:lnTo>
                  <a:lnTo>
                    <a:pt x="1201635" y="574827"/>
                  </a:lnTo>
                  <a:lnTo>
                    <a:pt x="1201635" y="576161"/>
                  </a:lnTo>
                  <a:lnTo>
                    <a:pt x="1201775" y="576161"/>
                  </a:lnTo>
                  <a:lnTo>
                    <a:pt x="1201775" y="574827"/>
                  </a:lnTo>
                  <a:lnTo>
                    <a:pt x="1201877" y="574827"/>
                  </a:lnTo>
                  <a:lnTo>
                    <a:pt x="1201928" y="574180"/>
                  </a:lnTo>
                  <a:lnTo>
                    <a:pt x="1201978" y="574180"/>
                  </a:lnTo>
                  <a:lnTo>
                    <a:pt x="1201978" y="573532"/>
                  </a:lnTo>
                  <a:lnTo>
                    <a:pt x="1202131" y="573532"/>
                  </a:lnTo>
                  <a:lnTo>
                    <a:pt x="1202181" y="574180"/>
                  </a:lnTo>
                  <a:lnTo>
                    <a:pt x="1202321" y="574180"/>
                  </a:lnTo>
                  <a:lnTo>
                    <a:pt x="1202372" y="574827"/>
                  </a:lnTo>
                  <a:lnTo>
                    <a:pt x="1202474" y="574827"/>
                  </a:lnTo>
                  <a:lnTo>
                    <a:pt x="1202575" y="576161"/>
                  </a:lnTo>
                  <a:lnTo>
                    <a:pt x="1202575" y="574827"/>
                  </a:lnTo>
                  <a:lnTo>
                    <a:pt x="1203020" y="574827"/>
                  </a:lnTo>
                  <a:lnTo>
                    <a:pt x="1203020" y="576161"/>
                  </a:lnTo>
                  <a:lnTo>
                    <a:pt x="1203274" y="576161"/>
                  </a:lnTo>
                  <a:lnTo>
                    <a:pt x="1203325" y="574827"/>
                  </a:lnTo>
                  <a:lnTo>
                    <a:pt x="1203325" y="574180"/>
                  </a:lnTo>
                  <a:lnTo>
                    <a:pt x="1203464" y="574180"/>
                  </a:lnTo>
                  <a:lnTo>
                    <a:pt x="1203464" y="574827"/>
                  </a:lnTo>
                  <a:lnTo>
                    <a:pt x="1203515" y="574827"/>
                  </a:lnTo>
                  <a:lnTo>
                    <a:pt x="1203515" y="574180"/>
                  </a:lnTo>
                  <a:lnTo>
                    <a:pt x="1203566" y="574180"/>
                  </a:lnTo>
                  <a:lnTo>
                    <a:pt x="1203667" y="574827"/>
                  </a:lnTo>
                  <a:lnTo>
                    <a:pt x="1203718" y="574827"/>
                  </a:lnTo>
                  <a:lnTo>
                    <a:pt x="1203718" y="576161"/>
                  </a:lnTo>
                  <a:lnTo>
                    <a:pt x="1203769" y="574827"/>
                  </a:lnTo>
                  <a:lnTo>
                    <a:pt x="1203820" y="576161"/>
                  </a:lnTo>
                  <a:lnTo>
                    <a:pt x="1203960" y="576161"/>
                  </a:lnTo>
                  <a:lnTo>
                    <a:pt x="1203960" y="574827"/>
                  </a:lnTo>
                  <a:lnTo>
                    <a:pt x="1204010" y="574827"/>
                  </a:lnTo>
                  <a:lnTo>
                    <a:pt x="1204061" y="574180"/>
                  </a:lnTo>
                  <a:lnTo>
                    <a:pt x="1204404" y="574180"/>
                  </a:lnTo>
                  <a:lnTo>
                    <a:pt x="1204455" y="573532"/>
                  </a:lnTo>
                  <a:lnTo>
                    <a:pt x="1204506" y="574180"/>
                  </a:lnTo>
                  <a:lnTo>
                    <a:pt x="1204709" y="574180"/>
                  </a:lnTo>
                  <a:lnTo>
                    <a:pt x="1204709" y="574827"/>
                  </a:lnTo>
                  <a:lnTo>
                    <a:pt x="1204810" y="574180"/>
                  </a:lnTo>
                  <a:lnTo>
                    <a:pt x="1205103" y="574180"/>
                  </a:lnTo>
                  <a:lnTo>
                    <a:pt x="1205153" y="574827"/>
                  </a:lnTo>
                  <a:lnTo>
                    <a:pt x="1205153" y="574180"/>
                  </a:lnTo>
                  <a:lnTo>
                    <a:pt x="1205255" y="574827"/>
                  </a:lnTo>
                  <a:lnTo>
                    <a:pt x="1205306" y="574827"/>
                  </a:lnTo>
                  <a:lnTo>
                    <a:pt x="1205306" y="576161"/>
                  </a:lnTo>
                  <a:lnTo>
                    <a:pt x="1205356" y="576161"/>
                  </a:lnTo>
                  <a:lnTo>
                    <a:pt x="1205407" y="574827"/>
                  </a:lnTo>
                  <a:lnTo>
                    <a:pt x="1205547" y="574827"/>
                  </a:lnTo>
                  <a:lnTo>
                    <a:pt x="1205547" y="576161"/>
                  </a:lnTo>
                  <a:lnTo>
                    <a:pt x="1205750" y="576161"/>
                  </a:lnTo>
                  <a:lnTo>
                    <a:pt x="1205750" y="574827"/>
                  </a:lnTo>
                  <a:lnTo>
                    <a:pt x="1205852" y="574827"/>
                  </a:lnTo>
                  <a:lnTo>
                    <a:pt x="1205953" y="576161"/>
                  </a:lnTo>
                  <a:lnTo>
                    <a:pt x="1206042" y="576161"/>
                  </a:lnTo>
                  <a:lnTo>
                    <a:pt x="1206042" y="574827"/>
                  </a:lnTo>
                  <a:lnTo>
                    <a:pt x="1206093" y="576161"/>
                  </a:lnTo>
                  <a:lnTo>
                    <a:pt x="1207084" y="576161"/>
                  </a:lnTo>
                  <a:lnTo>
                    <a:pt x="1207084" y="576809"/>
                  </a:lnTo>
                  <a:lnTo>
                    <a:pt x="1207135" y="576809"/>
                  </a:lnTo>
                  <a:lnTo>
                    <a:pt x="1207185" y="577456"/>
                  </a:lnTo>
                  <a:lnTo>
                    <a:pt x="1207236" y="576809"/>
                  </a:lnTo>
                  <a:lnTo>
                    <a:pt x="1207236" y="576161"/>
                  </a:lnTo>
                  <a:lnTo>
                    <a:pt x="1207338" y="574827"/>
                  </a:lnTo>
                  <a:lnTo>
                    <a:pt x="1207338" y="574180"/>
                  </a:lnTo>
                  <a:lnTo>
                    <a:pt x="1207388" y="573532"/>
                  </a:lnTo>
                  <a:lnTo>
                    <a:pt x="1207681" y="573532"/>
                  </a:lnTo>
                  <a:lnTo>
                    <a:pt x="1207681" y="574180"/>
                  </a:lnTo>
                  <a:lnTo>
                    <a:pt x="1207782" y="573532"/>
                  </a:lnTo>
                  <a:lnTo>
                    <a:pt x="1207833" y="574180"/>
                  </a:lnTo>
                  <a:lnTo>
                    <a:pt x="1207884" y="573532"/>
                  </a:lnTo>
                  <a:lnTo>
                    <a:pt x="1207985" y="573532"/>
                  </a:lnTo>
                  <a:lnTo>
                    <a:pt x="1207985" y="572846"/>
                  </a:lnTo>
                  <a:lnTo>
                    <a:pt x="1208036" y="573532"/>
                  </a:lnTo>
                  <a:lnTo>
                    <a:pt x="1208036" y="572846"/>
                  </a:lnTo>
                  <a:lnTo>
                    <a:pt x="1208481" y="572846"/>
                  </a:lnTo>
                  <a:lnTo>
                    <a:pt x="1208481" y="573532"/>
                  </a:lnTo>
                  <a:lnTo>
                    <a:pt x="1208582" y="573532"/>
                  </a:lnTo>
                  <a:lnTo>
                    <a:pt x="1208671" y="574180"/>
                  </a:lnTo>
                  <a:lnTo>
                    <a:pt x="1208773" y="574180"/>
                  </a:lnTo>
                  <a:lnTo>
                    <a:pt x="1208824" y="574827"/>
                  </a:lnTo>
                  <a:lnTo>
                    <a:pt x="1208976" y="574827"/>
                  </a:lnTo>
                  <a:lnTo>
                    <a:pt x="1208976" y="574180"/>
                  </a:lnTo>
                  <a:lnTo>
                    <a:pt x="1209128" y="574180"/>
                  </a:lnTo>
                  <a:lnTo>
                    <a:pt x="1209128" y="573532"/>
                  </a:lnTo>
                  <a:lnTo>
                    <a:pt x="1209421" y="573532"/>
                  </a:lnTo>
                  <a:lnTo>
                    <a:pt x="1209421" y="572846"/>
                  </a:lnTo>
                  <a:lnTo>
                    <a:pt x="1209471" y="573532"/>
                  </a:lnTo>
                  <a:lnTo>
                    <a:pt x="1209573" y="573532"/>
                  </a:lnTo>
                  <a:lnTo>
                    <a:pt x="1209573" y="574180"/>
                  </a:lnTo>
                  <a:lnTo>
                    <a:pt x="1209624" y="573532"/>
                  </a:lnTo>
                  <a:lnTo>
                    <a:pt x="1209713" y="573532"/>
                  </a:lnTo>
                  <a:lnTo>
                    <a:pt x="1209713" y="574180"/>
                  </a:lnTo>
                  <a:lnTo>
                    <a:pt x="1209865" y="574180"/>
                  </a:lnTo>
                  <a:lnTo>
                    <a:pt x="1209916" y="573532"/>
                  </a:lnTo>
                  <a:lnTo>
                    <a:pt x="1210017" y="574180"/>
                  </a:lnTo>
                  <a:lnTo>
                    <a:pt x="1210068" y="574180"/>
                  </a:lnTo>
                  <a:lnTo>
                    <a:pt x="1210068" y="573532"/>
                  </a:lnTo>
                  <a:lnTo>
                    <a:pt x="1210170" y="573532"/>
                  </a:lnTo>
                  <a:lnTo>
                    <a:pt x="1210259" y="572846"/>
                  </a:lnTo>
                  <a:lnTo>
                    <a:pt x="1210360" y="572846"/>
                  </a:lnTo>
                  <a:lnTo>
                    <a:pt x="1210360" y="573532"/>
                  </a:lnTo>
                  <a:lnTo>
                    <a:pt x="1210411" y="572846"/>
                  </a:lnTo>
                  <a:lnTo>
                    <a:pt x="1210411" y="573532"/>
                  </a:lnTo>
                  <a:lnTo>
                    <a:pt x="1210957" y="573532"/>
                  </a:lnTo>
                  <a:lnTo>
                    <a:pt x="1211008" y="572846"/>
                  </a:lnTo>
                  <a:lnTo>
                    <a:pt x="1211008" y="573532"/>
                  </a:lnTo>
                  <a:lnTo>
                    <a:pt x="1211211" y="573532"/>
                  </a:lnTo>
                  <a:lnTo>
                    <a:pt x="1211211" y="572846"/>
                  </a:lnTo>
                  <a:lnTo>
                    <a:pt x="1211262" y="573532"/>
                  </a:lnTo>
                  <a:lnTo>
                    <a:pt x="1211402" y="573532"/>
                  </a:lnTo>
                  <a:lnTo>
                    <a:pt x="1211453" y="572846"/>
                  </a:lnTo>
                  <a:lnTo>
                    <a:pt x="1211605" y="572846"/>
                  </a:lnTo>
                  <a:lnTo>
                    <a:pt x="1211605" y="573532"/>
                  </a:lnTo>
                  <a:lnTo>
                    <a:pt x="1211656" y="573532"/>
                  </a:lnTo>
                  <a:lnTo>
                    <a:pt x="1211706" y="574180"/>
                  </a:lnTo>
                  <a:lnTo>
                    <a:pt x="1211757" y="574180"/>
                  </a:lnTo>
                  <a:lnTo>
                    <a:pt x="1211846" y="573532"/>
                  </a:lnTo>
                  <a:lnTo>
                    <a:pt x="1211846" y="574180"/>
                  </a:lnTo>
                  <a:lnTo>
                    <a:pt x="1211897" y="573532"/>
                  </a:lnTo>
                  <a:lnTo>
                    <a:pt x="1211948" y="574180"/>
                  </a:lnTo>
                  <a:lnTo>
                    <a:pt x="1211999" y="573532"/>
                  </a:lnTo>
                  <a:lnTo>
                    <a:pt x="1211999" y="574180"/>
                  </a:lnTo>
                  <a:lnTo>
                    <a:pt x="1212100" y="573532"/>
                  </a:lnTo>
                  <a:lnTo>
                    <a:pt x="1212151" y="573532"/>
                  </a:lnTo>
                  <a:lnTo>
                    <a:pt x="1212151" y="574180"/>
                  </a:lnTo>
                  <a:lnTo>
                    <a:pt x="1212392" y="574180"/>
                  </a:lnTo>
                  <a:lnTo>
                    <a:pt x="1212443" y="573532"/>
                  </a:lnTo>
                  <a:lnTo>
                    <a:pt x="1212748" y="573532"/>
                  </a:lnTo>
                  <a:lnTo>
                    <a:pt x="1212799" y="574180"/>
                  </a:lnTo>
                  <a:lnTo>
                    <a:pt x="1212799" y="574827"/>
                  </a:lnTo>
                  <a:lnTo>
                    <a:pt x="1212888" y="574827"/>
                  </a:lnTo>
                  <a:lnTo>
                    <a:pt x="1212888" y="574180"/>
                  </a:lnTo>
                  <a:lnTo>
                    <a:pt x="1212989" y="574827"/>
                  </a:lnTo>
                  <a:lnTo>
                    <a:pt x="1213091" y="574827"/>
                  </a:lnTo>
                  <a:lnTo>
                    <a:pt x="1213091" y="574180"/>
                  </a:lnTo>
                  <a:lnTo>
                    <a:pt x="1213192" y="574180"/>
                  </a:lnTo>
                  <a:lnTo>
                    <a:pt x="1213192" y="572846"/>
                  </a:lnTo>
                  <a:lnTo>
                    <a:pt x="1213345" y="572846"/>
                  </a:lnTo>
                  <a:lnTo>
                    <a:pt x="1213434" y="573532"/>
                  </a:lnTo>
                  <a:lnTo>
                    <a:pt x="1213586" y="573532"/>
                  </a:lnTo>
                  <a:lnTo>
                    <a:pt x="1213586" y="574180"/>
                  </a:lnTo>
                  <a:lnTo>
                    <a:pt x="1213688" y="574180"/>
                  </a:lnTo>
                  <a:lnTo>
                    <a:pt x="1213688" y="574827"/>
                  </a:lnTo>
                  <a:lnTo>
                    <a:pt x="1213738" y="574827"/>
                  </a:lnTo>
                  <a:lnTo>
                    <a:pt x="1213789" y="574180"/>
                  </a:lnTo>
                  <a:lnTo>
                    <a:pt x="1213789" y="573532"/>
                  </a:lnTo>
                  <a:lnTo>
                    <a:pt x="1213891" y="572846"/>
                  </a:lnTo>
                  <a:lnTo>
                    <a:pt x="1213929" y="572249"/>
                  </a:lnTo>
                  <a:lnTo>
                    <a:pt x="1213929" y="570954"/>
                  </a:lnTo>
                  <a:lnTo>
                    <a:pt x="1213980" y="570954"/>
                  </a:lnTo>
                  <a:lnTo>
                    <a:pt x="1213980" y="570256"/>
                  </a:lnTo>
                  <a:lnTo>
                    <a:pt x="1214031" y="570256"/>
                  </a:lnTo>
                  <a:lnTo>
                    <a:pt x="1214031" y="570954"/>
                  </a:lnTo>
                  <a:lnTo>
                    <a:pt x="1214132" y="570954"/>
                  </a:lnTo>
                  <a:lnTo>
                    <a:pt x="1214132" y="572249"/>
                  </a:lnTo>
                  <a:lnTo>
                    <a:pt x="1214183" y="572249"/>
                  </a:lnTo>
                  <a:lnTo>
                    <a:pt x="1214234" y="570954"/>
                  </a:lnTo>
                  <a:lnTo>
                    <a:pt x="1214234" y="572249"/>
                  </a:lnTo>
                  <a:lnTo>
                    <a:pt x="1214335" y="572249"/>
                  </a:lnTo>
                  <a:lnTo>
                    <a:pt x="1214335" y="572846"/>
                  </a:lnTo>
                  <a:lnTo>
                    <a:pt x="1214386" y="572846"/>
                  </a:lnTo>
                  <a:lnTo>
                    <a:pt x="1214437" y="573532"/>
                  </a:lnTo>
                  <a:lnTo>
                    <a:pt x="1214437" y="572846"/>
                  </a:lnTo>
                  <a:lnTo>
                    <a:pt x="1214475" y="573532"/>
                  </a:lnTo>
                  <a:lnTo>
                    <a:pt x="1214577" y="573532"/>
                  </a:lnTo>
                  <a:lnTo>
                    <a:pt x="1214577" y="572846"/>
                  </a:lnTo>
                  <a:lnTo>
                    <a:pt x="1214628" y="573532"/>
                  </a:lnTo>
                  <a:lnTo>
                    <a:pt x="1214678" y="573532"/>
                  </a:lnTo>
                  <a:lnTo>
                    <a:pt x="1214678" y="572846"/>
                  </a:lnTo>
                  <a:lnTo>
                    <a:pt x="1215072" y="572846"/>
                  </a:lnTo>
                  <a:lnTo>
                    <a:pt x="1215123" y="573532"/>
                  </a:lnTo>
                  <a:lnTo>
                    <a:pt x="1215275" y="573532"/>
                  </a:lnTo>
                  <a:lnTo>
                    <a:pt x="1215326" y="572846"/>
                  </a:lnTo>
                  <a:lnTo>
                    <a:pt x="1215478" y="572846"/>
                  </a:lnTo>
                  <a:lnTo>
                    <a:pt x="1215478" y="573532"/>
                  </a:lnTo>
                  <a:lnTo>
                    <a:pt x="1215516" y="572846"/>
                  </a:lnTo>
                  <a:lnTo>
                    <a:pt x="1215516" y="573532"/>
                  </a:lnTo>
                  <a:lnTo>
                    <a:pt x="1215821" y="573532"/>
                  </a:lnTo>
                  <a:lnTo>
                    <a:pt x="1215821" y="572846"/>
                  </a:lnTo>
                  <a:lnTo>
                    <a:pt x="1215974" y="572846"/>
                  </a:lnTo>
                  <a:lnTo>
                    <a:pt x="1215974" y="572249"/>
                  </a:lnTo>
                  <a:lnTo>
                    <a:pt x="1216469" y="572249"/>
                  </a:lnTo>
                  <a:lnTo>
                    <a:pt x="1216520" y="572846"/>
                  </a:lnTo>
                  <a:lnTo>
                    <a:pt x="1216609" y="572249"/>
                  </a:lnTo>
                  <a:lnTo>
                    <a:pt x="1216660" y="572846"/>
                  </a:lnTo>
                  <a:lnTo>
                    <a:pt x="1216660" y="572249"/>
                  </a:lnTo>
                  <a:lnTo>
                    <a:pt x="1216913" y="572249"/>
                  </a:lnTo>
                  <a:lnTo>
                    <a:pt x="1216964" y="572846"/>
                  </a:lnTo>
                  <a:lnTo>
                    <a:pt x="1217066" y="572846"/>
                  </a:lnTo>
                  <a:lnTo>
                    <a:pt x="1217066" y="572249"/>
                  </a:lnTo>
                  <a:lnTo>
                    <a:pt x="1217307" y="572249"/>
                  </a:lnTo>
                  <a:lnTo>
                    <a:pt x="1217307" y="572846"/>
                  </a:lnTo>
                  <a:lnTo>
                    <a:pt x="1217650" y="572846"/>
                  </a:lnTo>
                  <a:lnTo>
                    <a:pt x="1217650" y="572249"/>
                  </a:lnTo>
                  <a:lnTo>
                    <a:pt x="1217752" y="572249"/>
                  </a:lnTo>
                  <a:lnTo>
                    <a:pt x="1217803" y="572846"/>
                  </a:lnTo>
                  <a:lnTo>
                    <a:pt x="1217853" y="572846"/>
                  </a:lnTo>
                  <a:lnTo>
                    <a:pt x="1217955" y="573532"/>
                  </a:lnTo>
                  <a:lnTo>
                    <a:pt x="1217955" y="572846"/>
                  </a:lnTo>
                  <a:lnTo>
                    <a:pt x="1218006" y="572846"/>
                  </a:lnTo>
                  <a:lnTo>
                    <a:pt x="1218056" y="572249"/>
                  </a:lnTo>
                  <a:lnTo>
                    <a:pt x="1218056" y="572846"/>
                  </a:lnTo>
                  <a:lnTo>
                    <a:pt x="1218196" y="572846"/>
                  </a:lnTo>
                  <a:lnTo>
                    <a:pt x="1218196" y="573532"/>
                  </a:lnTo>
                  <a:lnTo>
                    <a:pt x="1218247" y="572846"/>
                  </a:lnTo>
                  <a:lnTo>
                    <a:pt x="1218349" y="572846"/>
                  </a:lnTo>
                  <a:lnTo>
                    <a:pt x="1218450" y="573532"/>
                  </a:lnTo>
                  <a:lnTo>
                    <a:pt x="1218552" y="573532"/>
                  </a:lnTo>
                  <a:lnTo>
                    <a:pt x="1218552" y="572846"/>
                  </a:lnTo>
                  <a:lnTo>
                    <a:pt x="1218653" y="572846"/>
                  </a:lnTo>
                  <a:lnTo>
                    <a:pt x="1218691" y="573532"/>
                  </a:lnTo>
                  <a:lnTo>
                    <a:pt x="1218691" y="572846"/>
                  </a:lnTo>
                  <a:lnTo>
                    <a:pt x="1218742" y="573532"/>
                  </a:lnTo>
                  <a:lnTo>
                    <a:pt x="1219098" y="573532"/>
                  </a:lnTo>
                  <a:lnTo>
                    <a:pt x="1219149" y="574180"/>
                  </a:lnTo>
                  <a:lnTo>
                    <a:pt x="1219200" y="573532"/>
                  </a:lnTo>
                  <a:lnTo>
                    <a:pt x="1219200" y="572846"/>
                  </a:lnTo>
                  <a:lnTo>
                    <a:pt x="1219238" y="572249"/>
                  </a:lnTo>
                  <a:lnTo>
                    <a:pt x="1219238" y="570954"/>
                  </a:lnTo>
                  <a:lnTo>
                    <a:pt x="1219339" y="570256"/>
                  </a:lnTo>
                  <a:lnTo>
                    <a:pt x="1219390" y="570954"/>
                  </a:lnTo>
                  <a:lnTo>
                    <a:pt x="1219593" y="570954"/>
                  </a:lnTo>
                  <a:lnTo>
                    <a:pt x="1219593" y="572249"/>
                  </a:lnTo>
                  <a:lnTo>
                    <a:pt x="1219644" y="572846"/>
                  </a:lnTo>
                  <a:lnTo>
                    <a:pt x="1219695" y="572249"/>
                  </a:lnTo>
                  <a:lnTo>
                    <a:pt x="1219784" y="572846"/>
                  </a:lnTo>
                  <a:lnTo>
                    <a:pt x="1219784" y="572249"/>
                  </a:lnTo>
                  <a:lnTo>
                    <a:pt x="1219835" y="570954"/>
                  </a:lnTo>
                  <a:lnTo>
                    <a:pt x="1219835" y="570256"/>
                  </a:lnTo>
                  <a:lnTo>
                    <a:pt x="1219936" y="568973"/>
                  </a:lnTo>
                  <a:lnTo>
                    <a:pt x="1220088" y="568973"/>
                  </a:lnTo>
                  <a:lnTo>
                    <a:pt x="1220088" y="569621"/>
                  </a:lnTo>
                  <a:lnTo>
                    <a:pt x="1220139" y="569621"/>
                  </a:lnTo>
                  <a:lnTo>
                    <a:pt x="1220241" y="570256"/>
                  </a:lnTo>
                  <a:lnTo>
                    <a:pt x="1220279" y="570954"/>
                  </a:lnTo>
                  <a:lnTo>
                    <a:pt x="1220533" y="570954"/>
                  </a:lnTo>
                  <a:lnTo>
                    <a:pt x="1220584" y="572249"/>
                  </a:lnTo>
                  <a:lnTo>
                    <a:pt x="1220685" y="572249"/>
                  </a:lnTo>
                  <a:lnTo>
                    <a:pt x="1220685" y="572846"/>
                  </a:lnTo>
                  <a:lnTo>
                    <a:pt x="1220736" y="572249"/>
                  </a:lnTo>
                  <a:lnTo>
                    <a:pt x="1221028" y="572249"/>
                  </a:lnTo>
                  <a:lnTo>
                    <a:pt x="1221028" y="570954"/>
                  </a:lnTo>
                  <a:lnTo>
                    <a:pt x="1221422" y="570954"/>
                  </a:lnTo>
                  <a:lnTo>
                    <a:pt x="1221473" y="572249"/>
                  </a:lnTo>
                  <a:lnTo>
                    <a:pt x="1221524" y="570954"/>
                  </a:lnTo>
                  <a:lnTo>
                    <a:pt x="1221625" y="572249"/>
                  </a:lnTo>
                  <a:lnTo>
                    <a:pt x="1221866" y="572249"/>
                  </a:lnTo>
                  <a:lnTo>
                    <a:pt x="1221917" y="570954"/>
                  </a:lnTo>
                  <a:lnTo>
                    <a:pt x="1221968" y="570954"/>
                  </a:lnTo>
                  <a:lnTo>
                    <a:pt x="1222070" y="572249"/>
                  </a:lnTo>
                  <a:lnTo>
                    <a:pt x="1222121" y="570954"/>
                  </a:lnTo>
                  <a:lnTo>
                    <a:pt x="1222171" y="570954"/>
                  </a:lnTo>
                  <a:lnTo>
                    <a:pt x="1222273" y="570256"/>
                  </a:lnTo>
                  <a:lnTo>
                    <a:pt x="1222324" y="570954"/>
                  </a:lnTo>
                  <a:lnTo>
                    <a:pt x="1222413" y="570954"/>
                  </a:lnTo>
                  <a:lnTo>
                    <a:pt x="1222514" y="570256"/>
                  </a:lnTo>
                  <a:lnTo>
                    <a:pt x="1222514" y="570954"/>
                  </a:lnTo>
                  <a:lnTo>
                    <a:pt x="1222565" y="572249"/>
                  </a:lnTo>
                  <a:lnTo>
                    <a:pt x="1222616" y="572249"/>
                  </a:lnTo>
                  <a:lnTo>
                    <a:pt x="1222717" y="570954"/>
                  </a:lnTo>
                  <a:lnTo>
                    <a:pt x="1223010" y="570954"/>
                  </a:lnTo>
                  <a:lnTo>
                    <a:pt x="1223060" y="572249"/>
                  </a:lnTo>
                  <a:lnTo>
                    <a:pt x="1223111" y="572249"/>
                  </a:lnTo>
                  <a:lnTo>
                    <a:pt x="1223111" y="570954"/>
                  </a:lnTo>
                  <a:lnTo>
                    <a:pt x="1223263" y="570954"/>
                  </a:lnTo>
                  <a:lnTo>
                    <a:pt x="1223314" y="572249"/>
                  </a:lnTo>
                  <a:lnTo>
                    <a:pt x="1223416" y="570954"/>
                  </a:lnTo>
                  <a:lnTo>
                    <a:pt x="1223454" y="570954"/>
                  </a:lnTo>
                  <a:lnTo>
                    <a:pt x="1223505" y="572249"/>
                  </a:lnTo>
                  <a:lnTo>
                    <a:pt x="1223962" y="572249"/>
                  </a:lnTo>
                  <a:lnTo>
                    <a:pt x="1223962" y="570954"/>
                  </a:lnTo>
                  <a:lnTo>
                    <a:pt x="1224102" y="570954"/>
                  </a:lnTo>
                  <a:lnTo>
                    <a:pt x="1224102" y="572249"/>
                  </a:lnTo>
                  <a:lnTo>
                    <a:pt x="1224305" y="572249"/>
                  </a:lnTo>
                  <a:lnTo>
                    <a:pt x="1224356" y="570954"/>
                  </a:lnTo>
                  <a:lnTo>
                    <a:pt x="1224356" y="572249"/>
                  </a:lnTo>
                  <a:lnTo>
                    <a:pt x="1224597" y="572249"/>
                  </a:lnTo>
                  <a:lnTo>
                    <a:pt x="1224597" y="572846"/>
                  </a:lnTo>
                  <a:lnTo>
                    <a:pt x="1224800" y="572846"/>
                  </a:lnTo>
                  <a:lnTo>
                    <a:pt x="1224851" y="572249"/>
                  </a:lnTo>
                  <a:lnTo>
                    <a:pt x="1224851" y="572846"/>
                  </a:lnTo>
                  <a:lnTo>
                    <a:pt x="1224902" y="572846"/>
                  </a:lnTo>
                  <a:lnTo>
                    <a:pt x="1224902" y="572249"/>
                  </a:lnTo>
                  <a:lnTo>
                    <a:pt x="1225003" y="572249"/>
                  </a:lnTo>
                  <a:lnTo>
                    <a:pt x="1225003" y="570954"/>
                  </a:lnTo>
                  <a:lnTo>
                    <a:pt x="1225041" y="570256"/>
                  </a:lnTo>
                  <a:lnTo>
                    <a:pt x="1225041" y="569621"/>
                  </a:lnTo>
                  <a:lnTo>
                    <a:pt x="1225092" y="569621"/>
                  </a:lnTo>
                  <a:lnTo>
                    <a:pt x="1225143" y="568973"/>
                  </a:lnTo>
                  <a:lnTo>
                    <a:pt x="1225245" y="568973"/>
                  </a:lnTo>
                  <a:lnTo>
                    <a:pt x="1225245" y="569621"/>
                  </a:lnTo>
                  <a:lnTo>
                    <a:pt x="1225296" y="569621"/>
                  </a:lnTo>
                  <a:lnTo>
                    <a:pt x="1225296" y="570256"/>
                  </a:lnTo>
                  <a:lnTo>
                    <a:pt x="1225499" y="570256"/>
                  </a:lnTo>
                  <a:lnTo>
                    <a:pt x="1225499" y="570954"/>
                  </a:lnTo>
                  <a:lnTo>
                    <a:pt x="1225550" y="572249"/>
                  </a:lnTo>
                  <a:lnTo>
                    <a:pt x="1225550" y="570954"/>
                  </a:lnTo>
                  <a:lnTo>
                    <a:pt x="1225588" y="570256"/>
                  </a:lnTo>
                  <a:lnTo>
                    <a:pt x="1225588" y="569621"/>
                  </a:lnTo>
                  <a:lnTo>
                    <a:pt x="1225689" y="568973"/>
                  </a:lnTo>
                  <a:lnTo>
                    <a:pt x="1225740" y="567627"/>
                  </a:lnTo>
                  <a:lnTo>
                    <a:pt x="1225892" y="567627"/>
                  </a:lnTo>
                  <a:lnTo>
                    <a:pt x="1225943" y="568973"/>
                  </a:lnTo>
                  <a:lnTo>
                    <a:pt x="1225994" y="569621"/>
                  </a:lnTo>
                  <a:lnTo>
                    <a:pt x="1226045" y="569621"/>
                  </a:lnTo>
                  <a:lnTo>
                    <a:pt x="1226134" y="570256"/>
                  </a:lnTo>
                  <a:lnTo>
                    <a:pt x="1226286" y="570256"/>
                  </a:lnTo>
                  <a:lnTo>
                    <a:pt x="1226388" y="569621"/>
                  </a:lnTo>
                  <a:lnTo>
                    <a:pt x="1226388" y="570256"/>
                  </a:lnTo>
                  <a:lnTo>
                    <a:pt x="1226489" y="570256"/>
                  </a:lnTo>
                  <a:lnTo>
                    <a:pt x="1226591" y="570954"/>
                  </a:lnTo>
                  <a:lnTo>
                    <a:pt x="1226629" y="570256"/>
                  </a:lnTo>
                  <a:lnTo>
                    <a:pt x="1226680" y="570256"/>
                  </a:lnTo>
                  <a:lnTo>
                    <a:pt x="1226731" y="570954"/>
                  </a:lnTo>
                  <a:lnTo>
                    <a:pt x="1227035" y="570954"/>
                  </a:lnTo>
                  <a:lnTo>
                    <a:pt x="1227035" y="570256"/>
                  </a:lnTo>
                  <a:lnTo>
                    <a:pt x="1227086" y="570954"/>
                  </a:lnTo>
                  <a:lnTo>
                    <a:pt x="1227086" y="570256"/>
                  </a:lnTo>
                  <a:lnTo>
                    <a:pt x="1227137" y="570256"/>
                  </a:lnTo>
                  <a:lnTo>
                    <a:pt x="1227175" y="570954"/>
                  </a:lnTo>
                  <a:lnTo>
                    <a:pt x="1227328" y="570954"/>
                  </a:lnTo>
                  <a:lnTo>
                    <a:pt x="1227328" y="570256"/>
                  </a:lnTo>
                  <a:lnTo>
                    <a:pt x="1227378" y="570256"/>
                  </a:lnTo>
                  <a:lnTo>
                    <a:pt x="1227378" y="570954"/>
                  </a:lnTo>
                  <a:lnTo>
                    <a:pt x="1227581" y="570954"/>
                  </a:lnTo>
                  <a:lnTo>
                    <a:pt x="1227581" y="570256"/>
                  </a:lnTo>
                  <a:lnTo>
                    <a:pt x="1227874" y="570256"/>
                  </a:lnTo>
                  <a:lnTo>
                    <a:pt x="1227975" y="569621"/>
                  </a:lnTo>
                  <a:lnTo>
                    <a:pt x="1228026" y="569621"/>
                  </a:lnTo>
                  <a:lnTo>
                    <a:pt x="1228077" y="570256"/>
                  </a:lnTo>
                  <a:lnTo>
                    <a:pt x="1228267" y="570256"/>
                  </a:lnTo>
                  <a:lnTo>
                    <a:pt x="1228267" y="570954"/>
                  </a:lnTo>
                  <a:lnTo>
                    <a:pt x="1228318" y="570954"/>
                  </a:lnTo>
                  <a:lnTo>
                    <a:pt x="1228420" y="570256"/>
                  </a:lnTo>
                  <a:lnTo>
                    <a:pt x="1228864" y="570256"/>
                  </a:lnTo>
                  <a:lnTo>
                    <a:pt x="1228915" y="570954"/>
                  </a:lnTo>
                  <a:lnTo>
                    <a:pt x="1229118" y="570954"/>
                  </a:lnTo>
                  <a:lnTo>
                    <a:pt x="1229118" y="570256"/>
                  </a:lnTo>
                  <a:lnTo>
                    <a:pt x="1229169" y="570954"/>
                  </a:lnTo>
                  <a:lnTo>
                    <a:pt x="1229360" y="570954"/>
                  </a:lnTo>
                  <a:lnTo>
                    <a:pt x="1229410" y="572249"/>
                  </a:lnTo>
                  <a:lnTo>
                    <a:pt x="1229410" y="570954"/>
                  </a:lnTo>
                  <a:lnTo>
                    <a:pt x="1229613" y="570954"/>
                  </a:lnTo>
                  <a:lnTo>
                    <a:pt x="1229613" y="572249"/>
                  </a:lnTo>
                  <a:lnTo>
                    <a:pt x="1229766" y="572249"/>
                  </a:lnTo>
                  <a:lnTo>
                    <a:pt x="1229804" y="570954"/>
                  </a:lnTo>
                  <a:lnTo>
                    <a:pt x="1229855" y="572249"/>
                  </a:lnTo>
                  <a:lnTo>
                    <a:pt x="1230007" y="572249"/>
                  </a:lnTo>
                  <a:lnTo>
                    <a:pt x="1230058" y="570954"/>
                  </a:lnTo>
                  <a:lnTo>
                    <a:pt x="1230109" y="570954"/>
                  </a:lnTo>
                  <a:lnTo>
                    <a:pt x="1230210" y="572249"/>
                  </a:lnTo>
                  <a:lnTo>
                    <a:pt x="1230350" y="572249"/>
                  </a:lnTo>
                  <a:lnTo>
                    <a:pt x="1230350" y="572846"/>
                  </a:lnTo>
                  <a:lnTo>
                    <a:pt x="1230503" y="572846"/>
                  </a:lnTo>
                  <a:lnTo>
                    <a:pt x="1230503" y="572249"/>
                  </a:lnTo>
                  <a:lnTo>
                    <a:pt x="1230655" y="572249"/>
                  </a:lnTo>
                  <a:lnTo>
                    <a:pt x="1230655" y="572846"/>
                  </a:lnTo>
                  <a:lnTo>
                    <a:pt x="1230807" y="572846"/>
                  </a:lnTo>
                  <a:lnTo>
                    <a:pt x="1230896" y="572249"/>
                  </a:lnTo>
                  <a:lnTo>
                    <a:pt x="1230947" y="572249"/>
                  </a:lnTo>
                  <a:lnTo>
                    <a:pt x="1230947" y="570954"/>
                  </a:lnTo>
                  <a:lnTo>
                    <a:pt x="1230998" y="570256"/>
                  </a:lnTo>
                  <a:lnTo>
                    <a:pt x="1231049" y="569621"/>
                  </a:lnTo>
                  <a:lnTo>
                    <a:pt x="1231150" y="568973"/>
                  </a:lnTo>
                  <a:lnTo>
                    <a:pt x="1231252" y="568973"/>
                  </a:lnTo>
                  <a:lnTo>
                    <a:pt x="1231252" y="569621"/>
                  </a:lnTo>
                  <a:lnTo>
                    <a:pt x="1231353" y="569621"/>
                  </a:lnTo>
                  <a:lnTo>
                    <a:pt x="1231353" y="570256"/>
                  </a:lnTo>
                  <a:lnTo>
                    <a:pt x="1231442" y="570256"/>
                  </a:lnTo>
                  <a:lnTo>
                    <a:pt x="1231493" y="570954"/>
                  </a:lnTo>
                  <a:lnTo>
                    <a:pt x="1231595" y="570954"/>
                  </a:lnTo>
                  <a:lnTo>
                    <a:pt x="1231595" y="570256"/>
                  </a:lnTo>
                  <a:lnTo>
                    <a:pt x="1231646" y="569621"/>
                  </a:lnTo>
                  <a:lnTo>
                    <a:pt x="1231646" y="568973"/>
                  </a:lnTo>
                  <a:lnTo>
                    <a:pt x="1231696" y="568973"/>
                  </a:lnTo>
                  <a:lnTo>
                    <a:pt x="1231798" y="567627"/>
                  </a:lnTo>
                  <a:lnTo>
                    <a:pt x="1231900" y="567627"/>
                  </a:lnTo>
                  <a:lnTo>
                    <a:pt x="1231938" y="568973"/>
                  </a:lnTo>
                  <a:lnTo>
                    <a:pt x="1232090" y="568973"/>
                  </a:lnTo>
                  <a:lnTo>
                    <a:pt x="1232141" y="569621"/>
                  </a:lnTo>
                  <a:lnTo>
                    <a:pt x="1232293" y="569621"/>
                  </a:lnTo>
                  <a:lnTo>
                    <a:pt x="1232293" y="570256"/>
                  </a:lnTo>
                  <a:lnTo>
                    <a:pt x="1232395" y="570256"/>
                  </a:lnTo>
                  <a:lnTo>
                    <a:pt x="1232484" y="569621"/>
                  </a:lnTo>
                  <a:lnTo>
                    <a:pt x="1232484" y="570256"/>
                  </a:lnTo>
                  <a:lnTo>
                    <a:pt x="1232585" y="570256"/>
                  </a:lnTo>
                  <a:lnTo>
                    <a:pt x="1232636" y="570954"/>
                  </a:lnTo>
                  <a:lnTo>
                    <a:pt x="1232636" y="570256"/>
                  </a:lnTo>
                  <a:lnTo>
                    <a:pt x="1232738" y="570954"/>
                  </a:lnTo>
                  <a:lnTo>
                    <a:pt x="1232788" y="570954"/>
                  </a:lnTo>
                  <a:lnTo>
                    <a:pt x="1232788" y="570256"/>
                  </a:lnTo>
                  <a:lnTo>
                    <a:pt x="1232839" y="570256"/>
                  </a:lnTo>
                  <a:lnTo>
                    <a:pt x="1232941" y="569621"/>
                  </a:lnTo>
                  <a:lnTo>
                    <a:pt x="1233081" y="569621"/>
                  </a:lnTo>
                  <a:lnTo>
                    <a:pt x="1233081" y="568973"/>
                  </a:lnTo>
                  <a:lnTo>
                    <a:pt x="1233182" y="568973"/>
                  </a:lnTo>
                  <a:lnTo>
                    <a:pt x="1233233" y="569621"/>
                  </a:lnTo>
                  <a:lnTo>
                    <a:pt x="1233284" y="569621"/>
                  </a:lnTo>
                  <a:lnTo>
                    <a:pt x="1233385" y="570256"/>
                  </a:lnTo>
                  <a:lnTo>
                    <a:pt x="1233525" y="570256"/>
                  </a:lnTo>
                  <a:lnTo>
                    <a:pt x="1233525" y="570954"/>
                  </a:lnTo>
                  <a:lnTo>
                    <a:pt x="1233627" y="570256"/>
                  </a:lnTo>
                  <a:lnTo>
                    <a:pt x="1233830" y="570256"/>
                  </a:lnTo>
                  <a:lnTo>
                    <a:pt x="1233830" y="570954"/>
                  </a:lnTo>
                  <a:lnTo>
                    <a:pt x="1233881" y="570256"/>
                  </a:lnTo>
                  <a:lnTo>
                    <a:pt x="1233931" y="570256"/>
                  </a:lnTo>
                  <a:lnTo>
                    <a:pt x="1233982" y="569621"/>
                  </a:lnTo>
                  <a:lnTo>
                    <a:pt x="1234071" y="570256"/>
                  </a:lnTo>
                  <a:lnTo>
                    <a:pt x="1234071" y="569621"/>
                  </a:lnTo>
                  <a:lnTo>
                    <a:pt x="1234325" y="569621"/>
                  </a:lnTo>
                  <a:lnTo>
                    <a:pt x="1234325" y="570256"/>
                  </a:lnTo>
                  <a:lnTo>
                    <a:pt x="1234427" y="570256"/>
                  </a:lnTo>
                  <a:lnTo>
                    <a:pt x="1234427" y="569621"/>
                  </a:lnTo>
                  <a:lnTo>
                    <a:pt x="1234528" y="570256"/>
                  </a:lnTo>
                  <a:lnTo>
                    <a:pt x="1235024" y="570256"/>
                  </a:lnTo>
                  <a:lnTo>
                    <a:pt x="1235075" y="570954"/>
                  </a:lnTo>
                  <a:lnTo>
                    <a:pt x="1235316" y="570954"/>
                  </a:lnTo>
                  <a:lnTo>
                    <a:pt x="1235417" y="570256"/>
                  </a:lnTo>
                  <a:lnTo>
                    <a:pt x="1235417" y="570954"/>
                  </a:lnTo>
                  <a:lnTo>
                    <a:pt x="1235811" y="570954"/>
                  </a:lnTo>
                  <a:lnTo>
                    <a:pt x="1235913" y="572249"/>
                  </a:lnTo>
                  <a:lnTo>
                    <a:pt x="1235963" y="570954"/>
                  </a:lnTo>
                  <a:lnTo>
                    <a:pt x="1236256" y="570954"/>
                  </a:lnTo>
                  <a:lnTo>
                    <a:pt x="1236256" y="572249"/>
                  </a:lnTo>
                  <a:lnTo>
                    <a:pt x="1236560" y="572249"/>
                  </a:lnTo>
                  <a:lnTo>
                    <a:pt x="1236560" y="570954"/>
                  </a:lnTo>
                  <a:lnTo>
                    <a:pt x="1236700" y="570954"/>
                  </a:lnTo>
                  <a:lnTo>
                    <a:pt x="1236700" y="570256"/>
                  </a:lnTo>
                  <a:lnTo>
                    <a:pt x="1236802" y="569621"/>
                  </a:lnTo>
                  <a:lnTo>
                    <a:pt x="1236853" y="569621"/>
                  </a:lnTo>
                  <a:lnTo>
                    <a:pt x="1236853" y="568973"/>
                  </a:lnTo>
                  <a:lnTo>
                    <a:pt x="1236903" y="568973"/>
                  </a:lnTo>
                  <a:lnTo>
                    <a:pt x="1236903" y="569621"/>
                  </a:lnTo>
                  <a:lnTo>
                    <a:pt x="1237106" y="569621"/>
                  </a:lnTo>
                  <a:lnTo>
                    <a:pt x="1237157" y="570256"/>
                  </a:lnTo>
                  <a:lnTo>
                    <a:pt x="1237348" y="570256"/>
                  </a:lnTo>
                  <a:lnTo>
                    <a:pt x="1237348" y="569621"/>
                  </a:lnTo>
                  <a:lnTo>
                    <a:pt x="1237399" y="568973"/>
                  </a:lnTo>
                  <a:lnTo>
                    <a:pt x="1237500" y="567627"/>
                  </a:lnTo>
                  <a:lnTo>
                    <a:pt x="1237500" y="568973"/>
                  </a:lnTo>
                  <a:lnTo>
                    <a:pt x="1237551" y="567627"/>
                  </a:lnTo>
                  <a:lnTo>
                    <a:pt x="1237703" y="567627"/>
                  </a:lnTo>
                  <a:lnTo>
                    <a:pt x="1237741" y="568973"/>
                  </a:lnTo>
                  <a:lnTo>
                    <a:pt x="1237792" y="568973"/>
                  </a:lnTo>
                  <a:lnTo>
                    <a:pt x="1237843" y="569621"/>
                  </a:lnTo>
                  <a:lnTo>
                    <a:pt x="1237945" y="569621"/>
                  </a:lnTo>
                  <a:lnTo>
                    <a:pt x="1237996" y="570256"/>
                  </a:lnTo>
                  <a:lnTo>
                    <a:pt x="1238046" y="570256"/>
                  </a:lnTo>
                  <a:lnTo>
                    <a:pt x="1238148" y="569621"/>
                  </a:lnTo>
                  <a:lnTo>
                    <a:pt x="1238389" y="569621"/>
                  </a:lnTo>
                  <a:lnTo>
                    <a:pt x="1238440" y="570256"/>
                  </a:lnTo>
                  <a:lnTo>
                    <a:pt x="1238440" y="569621"/>
                  </a:lnTo>
                  <a:lnTo>
                    <a:pt x="1238491" y="570256"/>
                  </a:lnTo>
                  <a:lnTo>
                    <a:pt x="1238592" y="570256"/>
                  </a:lnTo>
                  <a:lnTo>
                    <a:pt x="1238643" y="570954"/>
                  </a:lnTo>
                  <a:lnTo>
                    <a:pt x="1238643" y="570256"/>
                  </a:lnTo>
                  <a:lnTo>
                    <a:pt x="1238694" y="570256"/>
                  </a:lnTo>
                  <a:lnTo>
                    <a:pt x="1238694" y="569621"/>
                  </a:lnTo>
                  <a:lnTo>
                    <a:pt x="1239189" y="569621"/>
                  </a:lnTo>
                  <a:lnTo>
                    <a:pt x="1239291" y="570256"/>
                  </a:lnTo>
                  <a:lnTo>
                    <a:pt x="1239380" y="570256"/>
                  </a:lnTo>
                  <a:lnTo>
                    <a:pt x="1239431" y="569621"/>
                  </a:lnTo>
                  <a:lnTo>
                    <a:pt x="1239532" y="569621"/>
                  </a:lnTo>
                  <a:lnTo>
                    <a:pt x="1239583" y="568973"/>
                  </a:lnTo>
                  <a:lnTo>
                    <a:pt x="1239634" y="569621"/>
                  </a:lnTo>
                  <a:lnTo>
                    <a:pt x="1239977" y="569621"/>
                  </a:lnTo>
                  <a:lnTo>
                    <a:pt x="1240028" y="568973"/>
                  </a:lnTo>
                  <a:lnTo>
                    <a:pt x="1240180" y="568973"/>
                  </a:lnTo>
                  <a:lnTo>
                    <a:pt x="1240180" y="569621"/>
                  </a:lnTo>
                  <a:lnTo>
                    <a:pt x="1240523" y="569621"/>
                  </a:lnTo>
                  <a:lnTo>
                    <a:pt x="1240574" y="568973"/>
                  </a:lnTo>
                  <a:lnTo>
                    <a:pt x="1240675" y="569621"/>
                  </a:lnTo>
                  <a:lnTo>
                    <a:pt x="1240726" y="569621"/>
                  </a:lnTo>
                  <a:lnTo>
                    <a:pt x="1240726" y="570256"/>
                  </a:lnTo>
                  <a:lnTo>
                    <a:pt x="1240777" y="569621"/>
                  </a:lnTo>
                  <a:lnTo>
                    <a:pt x="1240777" y="570256"/>
                  </a:lnTo>
                  <a:lnTo>
                    <a:pt x="1241120" y="570256"/>
                  </a:lnTo>
                  <a:lnTo>
                    <a:pt x="1241120" y="569621"/>
                  </a:lnTo>
                  <a:lnTo>
                    <a:pt x="1241221" y="569621"/>
                  </a:lnTo>
                  <a:lnTo>
                    <a:pt x="1241323" y="570256"/>
                  </a:lnTo>
                  <a:lnTo>
                    <a:pt x="1241425" y="570256"/>
                  </a:lnTo>
                  <a:lnTo>
                    <a:pt x="1241463" y="570954"/>
                  </a:lnTo>
                  <a:lnTo>
                    <a:pt x="1241615" y="570954"/>
                  </a:lnTo>
                  <a:lnTo>
                    <a:pt x="1241615" y="570256"/>
                  </a:lnTo>
                  <a:lnTo>
                    <a:pt x="1241767" y="570256"/>
                  </a:lnTo>
                  <a:lnTo>
                    <a:pt x="1241818" y="570954"/>
                  </a:lnTo>
                  <a:lnTo>
                    <a:pt x="1241920" y="570954"/>
                  </a:lnTo>
                  <a:lnTo>
                    <a:pt x="1242009" y="570256"/>
                  </a:lnTo>
                  <a:lnTo>
                    <a:pt x="1242009" y="570954"/>
                  </a:lnTo>
                  <a:lnTo>
                    <a:pt x="1242060" y="570954"/>
                  </a:lnTo>
                  <a:lnTo>
                    <a:pt x="1242110" y="572249"/>
                  </a:lnTo>
                  <a:lnTo>
                    <a:pt x="1242263" y="572249"/>
                  </a:lnTo>
                  <a:lnTo>
                    <a:pt x="1242263" y="570954"/>
                  </a:lnTo>
                  <a:lnTo>
                    <a:pt x="1242313" y="572249"/>
                  </a:lnTo>
                  <a:lnTo>
                    <a:pt x="1242364" y="572249"/>
                  </a:lnTo>
                  <a:lnTo>
                    <a:pt x="1242466" y="572846"/>
                  </a:lnTo>
                  <a:lnTo>
                    <a:pt x="1242555" y="572846"/>
                  </a:lnTo>
                  <a:lnTo>
                    <a:pt x="1242555" y="572249"/>
                  </a:lnTo>
                  <a:lnTo>
                    <a:pt x="1242606" y="572249"/>
                  </a:lnTo>
                  <a:lnTo>
                    <a:pt x="1242707" y="570954"/>
                  </a:lnTo>
                  <a:lnTo>
                    <a:pt x="1242707" y="572249"/>
                  </a:lnTo>
                  <a:lnTo>
                    <a:pt x="1242809" y="572249"/>
                  </a:lnTo>
                  <a:lnTo>
                    <a:pt x="1242910" y="570954"/>
                  </a:lnTo>
                  <a:lnTo>
                    <a:pt x="1242910" y="570256"/>
                  </a:lnTo>
                  <a:lnTo>
                    <a:pt x="1242961" y="570256"/>
                  </a:lnTo>
                  <a:lnTo>
                    <a:pt x="1242961" y="569621"/>
                  </a:lnTo>
                  <a:lnTo>
                    <a:pt x="1243152" y="569621"/>
                  </a:lnTo>
                  <a:lnTo>
                    <a:pt x="1243152" y="570256"/>
                  </a:lnTo>
                  <a:lnTo>
                    <a:pt x="1243203" y="570954"/>
                  </a:lnTo>
                  <a:lnTo>
                    <a:pt x="1243355" y="570954"/>
                  </a:lnTo>
                  <a:lnTo>
                    <a:pt x="1243406" y="570256"/>
                  </a:lnTo>
                  <a:lnTo>
                    <a:pt x="1243456" y="569621"/>
                  </a:lnTo>
                  <a:lnTo>
                    <a:pt x="1243456" y="568973"/>
                  </a:lnTo>
                  <a:lnTo>
                    <a:pt x="1243507" y="567627"/>
                  </a:lnTo>
                  <a:lnTo>
                    <a:pt x="1243596" y="567042"/>
                  </a:lnTo>
                  <a:lnTo>
                    <a:pt x="1243596" y="567627"/>
                  </a:lnTo>
                  <a:lnTo>
                    <a:pt x="1243698" y="567627"/>
                  </a:lnTo>
                  <a:lnTo>
                    <a:pt x="1243749" y="568973"/>
                  </a:lnTo>
                  <a:lnTo>
                    <a:pt x="1243749" y="569621"/>
                  </a:lnTo>
                  <a:lnTo>
                    <a:pt x="1243850" y="569621"/>
                  </a:lnTo>
                  <a:lnTo>
                    <a:pt x="1243850" y="568973"/>
                  </a:lnTo>
                  <a:lnTo>
                    <a:pt x="1243952" y="568973"/>
                  </a:lnTo>
                  <a:lnTo>
                    <a:pt x="1244053" y="569621"/>
                  </a:lnTo>
                  <a:lnTo>
                    <a:pt x="1244053" y="568973"/>
                  </a:lnTo>
                  <a:lnTo>
                    <a:pt x="1244091" y="568973"/>
                  </a:lnTo>
                  <a:lnTo>
                    <a:pt x="1244091" y="569621"/>
                  </a:lnTo>
                  <a:lnTo>
                    <a:pt x="1244142" y="569621"/>
                  </a:lnTo>
                  <a:lnTo>
                    <a:pt x="1244193" y="570256"/>
                  </a:lnTo>
                  <a:lnTo>
                    <a:pt x="1244600" y="570256"/>
                  </a:lnTo>
                  <a:lnTo>
                    <a:pt x="1244600" y="569621"/>
                  </a:lnTo>
                  <a:lnTo>
                    <a:pt x="1244638" y="570256"/>
                  </a:lnTo>
                  <a:lnTo>
                    <a:pt x="1244638" y="569621"/>
                  </a:lnTo>
                  <a:lnTo>
                    <a:pt x="1244739" y="569621"/>
                  </a:lnTo>
                  <a:lnTo>
                    <a:pt x="1244790" y="568973"/>
                  </a:lnTo>
                  <a:lnTo>
                    <a:pt x="1244790" y="569621"/>
                  </a:lnTo>
                  <a:lnTo>
                    <a:pt x="1245044" y="569621"/>
                  </a:lnTo>
                  <a:lnTo>
                    <a:pt x="1245095" y="570256"/>
                  </a:lnTo>
                  <a:lnTo>
                    <a:pt x="1245285" y="570256"/>
                  </a:lnTo>
                  <a:lnTo>
                    <a:pt x="1245285" y="570954"/>
                  </a:lnTo>
                  <a:lnTo>
                    <a:pt x="1245336" y="570256"/>
                  </a:lnTo>
                  <a:lnTo>
                    <a:pt x="1245539" y="570256"/>
                  </a:lnTo>
                  <a:lnTo>
                    <a:pt x="1245539" y="569621"/>
                  </a:lnTo>
                  <a:lnTo>
                    <a:pt x="1245984" y="569621"/>
                  </a:lnTo>
                  <a:lnTo>
                    <a:pt x="1245984" y="570256"/>
                  </a:lnTo>
                  <a:lnTo>
                    <a:pt x="1246085" y="569621"/>
                  </a:lnTo>
                  <a:lnTo>
                    <a:pt x="1246136" y="570256"/>
                  </a:lnTo>
                  <a:lnTo>
                    <a:pt x="1246187" y="569621"/>
                  </a:lnTo>
                  <a:lnTo>
                    <a:pt x="1246581" y="569621"/>
                  </a:lnTo>
                  <a:lnTo>
                    <a:pt x="1246581" y="570256"/>
                  </a:lnTo>
                  <a:lnTo>
                    <a:pt x="1246682" y="570256"/>
                  </a:lnTo>
                  <a:lnTo>
                    <a:pt x="1246771" y="569621"/>
                  </a:lnTo>
                  <a:lnTo>
                    <a:pt x="1246822" y="570256"/>
                  </a:lnTo>
                  <a:lnTo>
                    <a:pt x="1246822" y="569621"/>
                  </a:lnTo>
                  <a:lnTo>
                    <a:pt x="1246873" y="569621"/>
                  </a:lnTo>
                  <a:lnTo>
                    <a:pt x="1246924" y="570256"/>
                  </a:lnTo>
                  <a:lnTo>
                    <a:pt x="1247076" y="570256"/>
                  </a:lnTo>
                  <a:lnTo>
                    <a:pt x="1247127" y="570954"/>
                  </a:lnTo>
                  <a:lnTo>
                    <a:pt x="1247228" y="570954"/>
                  </a:lnTo>
                  <a:lnTo>
                    <a:pt x="1247228" y="570256"/>
                  </a:lnTo>
                  <a:lnTo>
                    <a:pt x="1247470" y="570256"/>
                  </a:lnTo>
                  <a:lnTo>
                    <a:pt x="1247470" y="570954"/>
                  </a:lnTo>
                  <a:lnTo>
                    <a:pt x="1247521" y="570954"/>
                  </a:lnTo>
                  <a:lnTo>
                    <a:pt x="1247521" y="570256"/>
                  </a:lnTo>
                  <a:lnTo>
                    <a:pt x="1247673" y="570256"/>
                  </a:lnTo>
                  <a:lnTo>
                    <a:pt x="1247724" y="570954"/>
                  </a:lnTo>
                  <a:lnTo>
                    <a:pt x="1247775" y="570954"/>
                  </a:lnTo>
                  <a:lnTo>
                    <a:pt x="1247813" y="570256"/>
                  </a:lnTo>
                  <a:lnTo>
                    <a:pt x="1247965" y="570256"/>
                  </a:lnTo>
                  <a:lnTo>
                    <a:pt x="1247965" y="570954"/>
                  </a:lnTo>
                  <a:lnTo>
                    <a:pt x="1248016" y="570256"/>
                  </a:lnTo>
                  <a:lnTo>
                    <a:pt x="1248117" y="570954"/>
                  </a:lnTo>
                  <a:lnTo>
                    <a:pt x="1248460" y="570954"/>
                  </a:lnTo>
                  <a:lnTo>
                    <a:pt x="1248511" y="572249"/>
                  </a:lnTo>
                  <a:lnTo>
                    <a:pt x="1248663" y="572249"/>
                  </a:lnTo>
                  <a:lnTo>
                    <a:pt x="1248714" y="570954"/>
                  </a:lnTo>
                  <a:lnTo>
                    <a:pt x="1248714" y="570256"/>
                  </a:lnTo>
                  <a:lnTo>
                    <a:pt x="1248816" y="569621"/>
                  </a:lnTo>
                  <a:lnTo>
                    <a:pt x="1248956" y="569621"/>
                  </a:lnTo>
                  <a:lnTo>
                    <a:pt x="1249057" y="570256"/>
                  </a:lnTo>
                  <a:lnTo>
                    <a:pt x="1249057" y="569621"/>
                  </a:lnTo>
                  <a:lnTo>
                    <a:pt x="1249311" y="569621"/>
                  </a:lnTo>
                  <a:lnTo>
                    <a:pt x="1249362" y="568973"/>
                  </a:lnTo>
                  <a:lnTo>
                    <a:pt x="1249362" y="567627"/>
                  </a:lnTo>
                  <a:lnTo>
                    <a:pt x="1249603" y="567627"/>
                  </a:lnTo>
                  <a:lnTo>
                    <a:pt x="1249603" y="568973"/>
                  </a:lnTo>
                  <a:lnTo>
                    <a:pt x="1249946" y="568973"/>
                  </a:lnTo>
                  <a:lnTo>
                    <a:pt x="1249946" y="569621"/>
                  </a:lnTo>
                  <a:lnTo>
                    <a:pt x="1250200" y="569621"/>
                  </a:lnTo>
                  <a:lnTo>
                    <a:pt x="1250251" y="570256"/>
                  </a:lnTo>
                  <a:lnTo>
                    <a:pt x="1250403" y="570256"/>
                  </a:lnTo>
                  <a:lnTo>
                    <a:pt x="1250403" y="569621"/>
                  </a:lnTo>
                  <a:lnTo>
                    <a:pt x="1250645" y="569621"/>
                  </a:lnTo>
                  <a:lnTo>
                    <a:pt x="1250696" y="568973"/>
                  </a:lnTo>
                  <a:lnTo>
                    <a:pt x="1250696" y="569621"/>
                  </a:lnTo>
                  <a:lnTo>
                    <a:pt x="1250746" y="569621"/>
                  </a:lnTo>
                  <a:lnTo>
                    <a:pt x="1250848" y="570256"/>
                  </a:lnTo>
                  <a:lnTo>
                    <a:pt x="1250899" y="570256"/>
                  </a:lnTo>
                  <a:lnTo>
                    <a:pt x="1250950" y="569621"/>
                  </a:lnTo>
                  <a:lnTo>
                    <a:pt x="1250988" y="570256"/>
                  </a:lnTo>
                  <a:lnTo>
                    <a:pt x="1251343" y="570256"/>
                  </a:lnTo>
                  <a:lnTo>
                    <a:pt x="1251394" y="569621"/>
                  </a:lnTo>
                  <a:lnTo>
                    <a:pt x="1252080" y="569621"/>
                  </a:lnTo>
                  <a:lnTo>
                    <a:pt x="1252080" y="568973"/>
                  </a:lnTo>
                  <a:lnTo>
                    <a:pt x="1252131" y="569621"/>
                  </a:lnTo>
                  <a:lnTo>
                    <a:pt x="1252486" y="569621"/>
                  </a:lnTo>
                  <a:lnTo>
                    <a:pt x="1252537" y="568973"/>
                  </a:lnTo>
                  <a:lnTo>
                    <a:pt x="1252575" y="569621"/>
                  </a:lnTo>
                  <a:lnTo>
                    <a:pt x="1252677" y="569621"/>
                  </a:lnTo>
                  <a:lnTo>
                    <a:pt x="1252677" y="570256"/>
                  </a:lnTo>
                  <a:lnTo>
                    <a:pt x="1252981" y="570256"/>
                  </a:lnTo>
                  <a:lnTo>
                    <a:pt x="1252981" y="569621"/>
                  </a:lnTo>
                  <a:lnTo>
                    <a:pt x="1253032" y="569621"/>
                  </a:lnTo>
                  <a:lnTo>
                    <a:pt x="1253121" y="570256"/>
                  </a:lnTo>
                  <a:lnTo>
                    <a:pt x="1253121" y="569621"/>
                  </a:lnTo>
                  <a:lnTo>
                    <a:pt x="1253616" y="569621"/>
                  </a:lnTo>
                  <a:lnTo>
                    <a:pt x="1253616" y="570256"/>
                  </a:lnTo>
                  <a:lnTo>
                    <a:pt x="1253820" y="570256"/>
                  </a:lnTo>
                  <a:lnTo>
                    <a:pt x="1253820" y="569621"/>
                  </a:lnTo>
                  <a:lnTo>
                    <a:pt x="1253871" y="569621"/>
                  </a:lnTo>
                  <a:lnTo>
                    <a:pt x="1253871" y="570256"/>
                  </a:lnTo>
                  <a:lnTo>
                    <a:pt x="1254023" y="570256"/>
                  </a:lnTo>
                  <a:lnTo>
                    <a:pt x="1254074" y="570954"/>
                  </a:lnTo>
                  <a:lnTo>
                    <a:pt x="1254125" y="570954"/>
                  </a:lnTo>
                  <a:lnTo>
                    <a:pt x="1254163" y="570256"/>
                  </a:lnTo>
                  <a:lnTo>
                    <a:pt x="1254163" y="570954"/>
                  </a:lnTo>
                  <a:lnTo>
                    <a:pt x="1254467" y="570954"/>
                  </a:lnTo>
                  <a:lnTo>
                    <a:pt x="1254518" y="572249"/>
                  </a:lnTo>
                  <a:lnTo>
                    <a:pt x="1254518" y="570954"/>
                  </a:lnTo>
                  <a:lnTo>
                    <a:pt x="1254569" y="572249"/>
                  </a:lnTo>
                  <a:lnTo>
                    <a:pt x="1254620" y="572249"/>
                  </a:lnTo>
                  <a:lnTo>
                    <a:pt x="1254709" y="572846"/>
                  </a:lnTo>
                  <a:lnTo>
                    <a:pt x="1254709" y="572249"/>
                  </a:lnTo>
                  <a:lnTo>
                    <a:pt x="1254760" y="572249"/>
                  </a:lnTo>
                  <a:lnTo>
                    <a:pt x="1254810" y="570954"/>
                  </a:lnTo>
                  <a:lnTo>
                    <a:pt x="1254810" y="572249"/>
                  </a:lnTo>
                  <a:lnTo>
                    <a:pt x="1254963" y="572249"/>
                  </a:lnTo>
                  <a:lnTo>
                    <a:pt x="1255013" y="570954"/>
                  </a:lnTo>
                  <a:lnTo>
                    <a:pt x="1255013" y="569621"/>
                  </a:lnTo>
                  <a:lnTo>
                    <a:pt x="1255166" y="569621"/>
                  </a:lnTo>
                  <a:lnTo>
                    <a:pt x="1255166" y="570256"/>
                  </a:lnTo>
                  <a:lnTo>
                    <a:pt x="1255306" y="570256"/>
                  </a:lnTo>
                  <a:lnTo>
                    <a:pt x="1255306" y="570954"/>
                  </a:lnTo>
                  <a:lnTo>
                    <a:pt x="1255610" y="570954"/>
                  </a:lnTo>
                  <a:lnTo>
                    <a:pt x="1255661" y="570256"/>
                  </a:lnTo>
                  <a:lnTo>
                    <a:pt x="1255661" y="569621"/>
                  </a:lnTo>
                  <a:lnTo>
                    <a:pt x="1255712" y="568973"/>
                  </a:lnTo>
                  <a:lnTo>
                    <a:pt x="1255712" y="567627"/>
                  </a:lnTo>
                  <a:lnTo>
                    <a:pt x="1255903" y="567627"/>
                  </a:lnTo>
                  <a:lnTo>
                    <a:pt x="1255953" y="568973"/>
                  </a:lnTo>
                  <a:lnTo>
                    <a:pt x="1256055" y="568973"/>
                  </a:lnTo>
                  <a:lnTo>
                    <a:pt x="1256106" y="569621"/>
                  </a:lnTo>
                  <a:lnTo>
                    <a:pt x="1256207" y="569621"/>
                  </a:lnTo>
                  <a:lnTo>
                    <a:pt x="1256207" y="570256"/>
                  </a:lnTo>
                  <a:lnTo>
                    <a:pt x="1256347" y="570256"/>
                  </a:lnTo>
                  <a:lnTo>
                    <a:pt x="1256347" y="569621"/>
                  </a:lnTo>
                  <a:lnTo>
                    <a:pt x="1256652" y="569621"/>
                  </a:lnTo>
                  <a:lnTo>
                    <a:pt x="1256753" y="568973"/>
                  </a:lnTo>
                  <a:lnTo>
                    <a:pt x="1256842" y="568973"/>
                  </a:lnTo>
                  <a:lnTo>
                    <a:pt x="1256893" y="569621"/>
                  </a:lnTo>
                  <a:lnTo>
                    <a:pt x="1257046" y="569621"/>
                  </a:lnTo>
                  <a:lnTo>
                    <a:pt x="1257046" y="570256"/>
                  </a:lnTo>
                  <a:lnTo>
                    <a:pt x="1257096" y="570256"/>
                  </a:lnTo>
                  <a:lnTo>
                    <a:pt x="1257198" y="569621"/>
                  </a:lnTo>
                  <a:lnTo>
                    <a:pt x="1257490" y="569621"/>
                  </a:lnTo>
                  <a:lnTo>
                    <a:pt x="1257490" y="570256"/>
                  </a:lnTo>
                  <a:lnTo>
                    <a:pt x="1257541" y="569621"/>
                  </a:lnTo>
                  <a:lnTo>
                    <a:pt x="1258036" y="569621"/>
                  </a:lnTo>
                  <a:lnTo>
                    <a:pt x="1258138" y="568973"/>
                  </a:lnTo>
                  <a:lnTo>
                    <a:pt x="1258188" y="568973"/>
                  </a:lnTo>
                  <a:lnTo>
                    <a:pt x="1258239" y="569621"/>
                  </a:lnTo>
                  <a:lnTo>
                    <a:pt x="1258430" y="569621"/>
                  </a:lnTo>
                  <a:lnTo>
                    <a:pt x="1258430" y="568973"/>
                  </a:lnTo>
                  <a:lnTo>
                    <a:pt x="1258481" y="568973"/>
                  </a:lnTo>
                  <a:lnTo>
                    <a:pt x="1258582" y="569621"/>
                  </a:lnTo>
                  <a:lnTo>
                    <a:pt x="1258633" y="569621"/>
                  </a:lnTo>
                  <a:lnTo>
                    <a:pt x="1258633" y="568973"/>
                  </a:lnTo>
                  <a:lnTo>
                    <a:pt x="1258684" y="569621"/>
                  </a:lnTo>
                  <a:lnTo>
                    <a:pt x="1258684" y="568973"/>
                  </a:lnTo>
                  <a:lnTo>
                    <a:pt x="1258785" y="568973"/>
                  </a:lnTo>
                  <a:lnTo>
                    <a:pt x="1258785" y="569621"/>
                  </a:lnTo>
                  <a:lnTo>
                    <a:pt x="1258836" y="568973"/>
                  </a:lnTo>
                  <a:lnTo>
                    <a:pt x="1258887" y="569621"/>
                  </a:lnTo>
                  <a:lnTo>
                    <a:pt x="1258925" y="569621"/>
                  </a:lnTo>
                  <a:lnTo>
                    <a:pt x="1259027" y="568973"/>
                  </a:lnTo>
                  <a:lnTo>
                    <a:pt x="1259027" y="569621"/>
                  </a:lnTo>
                  <a:lnTo>
                    <a:pt x="1259078" y="568973"/>
                  </a:lnTo>
                  <a:lnTo>
                    <a:pt x="1259078" y="569621"/>
                  </a:lnTo>
                  <a:lnTo>
                    <a:pt x="1259230" y="569621"/>
                  </a:lnTo>
                  <a:lnTo>
                    <a:pt x="1259230" y="570256"/>
                  </a:lnTo>
                  <a:lnTo>
                    <a:pt x="1259382" y="570256"/>
                  </a:lnTo>
                  <a:lnTo>
                    <a:pt x="1259471" y="569621"/>
                  </a:lnTo>
                  <a:lnTo>
                    <a:pt x="1259573" y="569621"/>
                  </a:lnTo>
                  <a:lnTo>
                    <a:pt x="1259573" y="570256"/>
                  </a:lnTo>
                  <a:lnTo>
                    <a:pt x="1259624" y="569621"/>
                  </a:lnTo>
                  <a:lnTo>
                    <a:pt x="1259827" y="569621"/>
                  </a:lnTo>
                  <a:lnTo>
                    <a:pt x="1259827" y="570256"/>
                  </a:lnTo>
                  <a:lnTo>
                    <a:pt x="1259966" y="570256"/>
                  </a:lnTo>
                  <a:lnTo>
                    <a:pt x="1260017" y="569621"/>
                  </a:lnTo>
                  <a:lnTo>
                    <a:pt x="1260068" y="570256"/>
                  </a:lnTo>
                  <a:lnTo>
                    <a:pt x="1260068" y="569621"/>
                  </a:lnTo>
                  <a:lnTo>
                    <a:pt x="1260170" y="569621"/>
                  </a:lnTo>
                  <a:lnTo>
                    <a:pt x="1260170" y="570256"/>
                  </a:lnTo>
                  <a:lnTo>
                    <a:pt x="1260271" y="570256"/>
                  </a:lnTo>
                  <a:lnTo>
                    <a:pt x="1260373" y="570954"/>
                  </a:lnTo>
                  <a:lnTo>
                    <a:pt x="1260424" y="570954"/>
                  </a:lnTo>
                  <a:lnTo>
                    <a:pt x="1260475" y="572249"/>
                  </a:lnTo>
                  <a:lnTo>
                    <a:pt x="1260513" y="572249"/>
                  </a:lnTo>
                  <a:lnTo>
                    <a:pt x="1260513" y="570954"/>
                  </a:lnTo>
                  <a:lnTo>
                    <a:pt x="1260614" y="570954"/>
                  </a:lnTo>
                  <a:lnTo>
                    <a:pt x="1260665" y="570256"/>
                  </a:lnTo>
                  <a:lnTo>
                    <a:pt x="1260716" y="570954"/>
                  </a:lnTo>
                  <a:lnTo>
                    <a:pt x="1260817" y="570256"/>
                  </a:lnTo>
                  <a:lnTo>
                    <a:pt x="1260868" y="568973"/>
                  </a:lnTo>
                  <a:lnTo>
                    <a:pt x="1260919" y="567627"/>
                  </a:lnTo>
                  <a:lnTo>
                    <a:pt x="1261059" y="567627"/>
                  </a:lnTo>
                  <a:lnTo>
                    <a:pt x="1261110" y="568973"/>
                  </a:lnTo>
                  <a:lnTo>
                    <a:pt x="1261414" y="568973"/>
                  </a:lnTo>
                  <a:lnTo>
                    <a:pt x="1261516" y="567627"/>
                  </a:lnTo>
                  <a:lnTo>
                    <a:pt x="1261554" y="567627"/>
                  </a:lnTo>
                  <a:lnTo>
                    <a:pt x="1261605" y="567042"/>
                  </a:lnTo>
                  <a:lnTo>
                    <a:pt x="1261808" y="567042"/>
                  </a:lnTo>
                  <a:lnTo>
                    <a:pt x="1261859" y="567627"/>
                  </a:lnTo>
                  <a:lnTo>
                    <a:pt x="1261960" y="567627"/>
                  </a:lnTo>
                  <a:lnTo>
                    <a:pt x="1261960" y="568973"/>
                  </a:lnTo>
                  <a:lnTo>
                    <a:pt x="1262100" y="568973"/>
                  </a:lnTo>
                  <a:lnTo>
                    <a:pt x="1262100" y="569621"/>
                  </a:lnTo>
                  <a:lnTo>
                    <a:pt x="1262405" y="569621"/>
                  </a:lnTo>
                  <a:lnTo>
                    <a:pt x="1262405" y="568973"/>
                  </a:lnTo>
                  <a:lnTo>
                    <a:pt x="1262557" y="568973"/>
                  </a:lnTo>
                  <a:lnTo>
                    <a:pt x="1262557" y="569621"/>
                  </a:lnTo>
                  <a:lnTo>
                    <a:pt x="1262646" y="569621"/>
                  </a:lnTo>
                  <a:lnTo>
                    <a:pt x="1262646" y="568973"/>
                  </a:lnTo>
                  <a:lnTo>
                    <a:pt x="1262748" y="568973"/>
                  </a:lnTo>
                  <a:lnTo>
                    <a:pt x="1262799" y="569621"/>
                  </a:lnTo>
                  <a:lnTo>
                    <a:pt x="1262900" y="570256"/>
                  </a:lnTo>
                  <a:lnTo>
                    <a:pt x="1262951" y="570256"/>
                  </a:lnTo>
                  <a:lnTo>
                    <a:pt x="1263002" y="569621"/>
                  </a:lnTo>
                  <a:lnTo>
                    <a:pt x="1263446" y="569621"/>
                  </a:lnTo>
                  <a:lnTo>
                    <a:pt x="1263446" y="568973"/>
                  </a:lnTo>
                  <a:lnTo>
                    <a:pt x="1263548" y="568973"/>
                  </a:lnTo>
                  <a:lnTo>
                    <a:pt x="1263548" y="569621"/>
                  </a:lnTo>
                  <a:lnTo>
                    <a:pt x="1263599" y="568973"/>
                  </a:lnTo>
                  <a:lnTo>
                    <a:pt x="1264094" y="568973"/>
                  </a:lnTo>
                  <a:lnTo>
                    <a:pt x="1264145" y="567627"/>
                  </a:lnTo>
                  <a:lnTo>
                    <a:pt x="1264145" y="568973"/>
                  </a:lnTo>
                  <a:lnTo>
                    <a:pt x="1264335" y="568973"/>
                  </a:lnTo>
                  <a:lnTo>
                    <a:pt x="1264386" y="569621"/>
                  </a:lnTo>
                  <a:lnTo>
                    <a:pt x="1264386" y="568973"/>
                  </a:lnTo>
                  <a:lnTo>
                    <a:pt x="1264488" y="568973"/>
                  </a:lnTo>
                  <a:lnTo>
                    <a:pt x="1264538" y="569621"/>
                  </a:lnTo>
                  <a:lnTo>
                    <a:pt x="1265377" y="569621"/>
                  </a:lnTo>
                  <a:lnTo>
                    <a:pt x="1265377" y="570256"/>
                  </a:lnTo>
                  <a:lnTo>
                    <a:pt x="1265428" y="570256"/>
                  </a:lnTo>
                  <a:lnTo>
                    <a:pt x="1265428" y="569621"/>
                  </a:lnTo>
                  <a:lnTo>
                    <a:pt x="1265478" y="570256"/>
                  </a:lnTo>
                  <a:lnTo>
                    <a:pt x="1265580" y="570256"/>
                  </a:lnTo>
                  <a:lnTo>
                    <a:pt x="1265631" y="569621"/>
                  </a:lnTo>
                  <a:lnTo>
                    <a:pt x="1265681" y="569621"/>
                  </a:lnTo>
                  <a:lnTo>
                    <a:pt x="1265681" y="570256"/>
                  </a:lnTo>
                  <a:lnTo>
                    <a:pt x="1265872" y="570256"/>
                  </a:lnTo>
                  <a:lnTo>
                    <a:pt x="1265872" y="570954"/>
                  </a:lnTo>
                  <a:lnTo>
                    <a:pt x="1265923" y="570256"/>
                  </a:lnTo>
                  <a:lnTo>
                    <a:pt x="1265974" y="570256"/>
                  </a:lnTo>
                  <a:lnTo>
                    <a:pt x="1266075" y="570954"/>
                  </a:lnTo>
                  <a:lnTo>
                    <a:pt x="1266418" y="570954"/>
                  </a:lnTo>
                  <a:lnTo>
                    <a:pt x="1266520" y="570256"/>
                  </a:lnTo>
                  <a:lnTo>
                    <a:pt x="1266571" y="570954"/>
                  </a:lnTo>
                  <a:lnTo>
                    <a:pt x="1266621" y="570954"/>
                  </a:lnTo>
                  <a:lnTo>
                    <a:pt x="1266723" y="572249"/>
                  </a:lnTo>
                  <a:lnTo>
                    <a:pt x="1266723" y="570954"/>
                  </a:lnTo>
                  <a:lnTo>
                    <a:pt x="1266774" y="572249"/>
                  </a:lnTo>
                  <a:lnTo>
                    <a:pt x="1266825" y="572249"/>
                  </a:lnTo>
                  <a:lnTo>
                    <a:pt x="1266863" y="570954"/>
                  </a:lnTo>
                  <a:lnTo>
                    <a:pt x="1266863" y="570256"/>
                  </a:lnTo>
                  <a:lnTo>
                    <a:pt x="1266964" y="570256"/>
                  </a:lnTo>
                  <a:lnTo>
                    <a:pt x="1266964" y="569621"/>
                  </a:lnTo>
                  <a:lnTo>
                    <a:pt x="1267015" y="569621"/>
                  </a:lnTo>
                  <a:lnTo>
                    <a:pt x="1267066" y="568973"/>
                  </a:lnTo>
                  <a:lnTo>
                    <a:pt x="1267066" y="567627"/>
                  </a:lnTo>
                  <a:lnTo>
                    <a:pt x="1267167" y="567042"/>
                  </a:lnTo>
                  <a:lnTo>
                    <a:pt x="1267218" y="567627"/>
                  </a:lnTo>
                  <a:lnTo>
                    <a:pt x="1267218" y="568973"/>
                  </a:lnTo>
                  <a:lnTo>
                    <a:pt x="1267320" y="568973"/>
                  </a:lnTo>
                  <a:lnTo>
                    <a:pt x="1267409" y="569621"/>
                  </a:lnTo>
                  <a:lnTo>
                    <a:pt x="1267409" y="568973"/>
                  </a:lnTo>
                  <a:lnTo>
                    <a:pt x="1267460" y="568973"/>
                  </a:lnTo>
                  <a:lnTo>
                    <a:pt x="1267460" y="569621"/>
                  </a:lnTo>
                  <a:lnTo>
                    <a:pt x="1267510" y="568973"/>
                  </a:lnTo>
                  <a:lnTo>
                    <a:pt x="1267510" y="567627"/>
                  </a:lnTo>
                  <a:lnTo>
                    <a:pt x="1267561" y="567627"/>
                  </a:lnTo>
                  <a:lnTo>
                    <a:pt x="1267561" y="567042"/>
                  </a:lnTo>
                  <a:lnTo>
                    <a:pt x="1267866" y="567042"/>
                  </a:lnTo>
                  <a:lnTo>
                    <a:pt x="1267866" y="567627"/>
                  </a:lnTo>
                  <a:lnTo>
                    <a:pt x="1267904" y="567627"/>
                  </a:lnTo>
                  <a:lnTo>
                    <a:pt x="1267955" y="568973"/>
                  </a:lnTo>
                  <a:lnTo>
                    <a:pt x="1268158" y="568973"/>
                  </a:lnTo>
                  <a:lnTo>
                    <a:pt x="1268158" y="569621"/>
                  </a:lnTo>
                  <a:lnTo>
                    <a:pt x="1268310" y="569621"/>
                  </a:lnTo>
                  <a:lnTo>
                    <a:pt x="1268361" y="568973"/>
                  </a:lnTo>
                  <a:lnTo>
                    <a:pt x="1268412" y="568973"/>
                  </a:lnTo>
                  <a:lnTo>
                    <a:pt x="1268450" y="567627"/>
                  </a:lnTo>
                  <a:lnTo>
                    <a:pt x="1268450" y="568973"/>
                  </a:lnTo>
                  <a:lnTo>
                    <a:pt x="1268552" y="567627"/>
                  </a:lnTo>
                  <a:lnTo>
                    <a:pt x="1268603" y="567627"/>
                  </a:lnTo>
                  <a:lnTo>
                    <a:pt x="1268653" y="568973"/>
                  </a:lnTo>
                  <a:lnTo>
                    <a:pt x="1268806" y="568973"/>
                  </a:lnTo>
                  <a:lnTo>
                    <a:pt x="1268856" y="569621"/>
                  </a:lnTo>
                  <a:lnTo>
                    <a:pt x="1268907" y="569621"/>
                  </a:lnTo>
                  <a:lnTo>
                    <a:pt x="1268907" y="568973"/>
                  </a:lnTo>
                  <a:lnTo>
                    <a:pt x="1269047" y="568973"/>
                  </a:lnTo>
                  <a:lnTo>
                    <a:pt x="1269047" y="569621"/>
                  </a:lnTo>
                  <a:lnTo>
                    <a:pt x="1269250" y="569621"/>
                  </a:lnTo>
                  <a:lnTo>
                    <a:pt x="1269301" y="568973"/>
                  </a:lnTo>
                  <a:lnTo>
                    <a:pt x="1269301" y="569621"/>
                  </a:lnTo>
                  <a:lnTo>
                    <a:pt x="1269352" y="569621"/>
                  </a:lnTo>
                  <a:lnTo>
                    <a:pt x="1269352" y="568973"/>
                  </a:lnTo>
                  <a:lnTo>
                    <a:pt x="1269453" y="569621"/>
                  </a:lnTo>
                  <a:lnTo>
                    <a:pt x="1269593" y="569621"/>
                  </a:lnTo>
                  <a:lnTo>
                    <a:pt x="1269593" y="568973"/>
                  </a:lnTo>
                  <a:lnTo>
                    <a:pt x="1269695" y="569621"/>
                  </a:lnTo>
                  <a:lnTo>
                    <a:pt x="1269796" y="569621"/>
                  </a:lnTo>
                  <a:lnTo>
                    <a:pt x="1269796" y="568973"/>
                  </a:lnTo>
                  <a:lnTo>
                    <a:pt x="1269898" y="568973"/>
                  </a:lnTo>
                  <a:lnTo>
                    <a:pt x="1269898" y="567627"/>
                  </a:lnTo>
                  <a:lnTo>
                    <a:pt x="1269949" y="567627"/>
                  </a:lnTo>
                  <a:lnTo>
                    <a:pt x="1269949" y="568973"/>
                  </a:lnTo>
                  <a:lnTo>
                    <a:pt x="1270241" y="568973"/>
                  </a:lnTo>
                  <a:lnTo>
                    <a:pt x="1270342" y="569621"/>
                  </a:lnTo>
                  <a:lnTo>
                    <a:pt x="1270393" y="569621"/>
                  </a:lnTo>
                  <a:lnTo>
                    <a:pt x="1270444" y="568973"/>
                  </a:lnTo>
                  <a:lnTo>
                    <a:pt x="1270584" y="568973"/>
                  </a:lnTo>
                  <a:lnTo>
                    <a:pt x="1270635" y="569621"/>
                  </a:lnTo>
                  <a:lnTo>
                    <a:pt x="1270635" y="568973"/>
                  </a:lnTo>
                  <a:lnTo>
                    <a:pt x="1270685" y="569621"/>
                  </a:lnTo>
                  <a:lnTo>
                    <a:pt x="1270736" y="569621"/>
                  </a:lnTo>
                  <a:lnTo>
                    <a:pt x="1270736" y="568973"/>
                  </a:lnTo>
                  <a:lnTo>
                    <a:pt x="1270838" y="569621"/>
                  </a:lnTo>
                  <a:lnTo>
                    <a:pt x="1271727" y="569621"/>
                  </a:lnTo>
                  <a:lnTo>
                    <a:pt x="1271778" y="570256"/>
                  </a:lnTo>
                  <a:lnTo>
                    <a:pt x="1272031" y="570256"/>
                  </a:lnTo>
                  <a:lnTo>
                    <a:pt x="1272031" y="570954"/>
                  </a:lnTo>
                  <a:lnTo>
                    <a:pt x="1272171" y="570954"/>
                  </a:lnTo>
                  <a:lnTo>
                    <a:pt x="1272222" y="570256"/>
                  </a:lnTo>
                  <a:lnTo>
                    <a:pt x="1272628" y="570256"/>
                  </a:lnTo>
                  <a:lnTo>
                    <a:pt x="1272628" y="570954"/>
                  </a:lnTo>
                  <a:lnTo>
                    <a:pt x="1272870" y="570954"/>
                  </a:lnTo>
                  <a:lnTo>
                    <a:pt x="1272870" y="570256"/>
                  </a:lnTo>
                  <a:lnTo>
                    <a:pt x="1272921" y="569621"/>
                  </a:lnTo>
                  <a:lnTo>
                    <a:pt x="1272921" y="568973"/>
                  </a:lnTo>
                  <a:lnTo>
                    <a:pt x="1272971" y="568973"/>
                  </a:lnTo>
                  <a:lnTo>
                    <a:pt x="1273073" y="567627"/>
                  </a:lnTo>
                  <a:lnTo>
                    <a:pt x="1273213" y="567627"/>
                  </a:lnTo>
                  <a:lnTo>
                    <a:pt x="1273213" y="568973"/>
                  </a:lnTo>
                  <a:lnTo>
                    <a:pt x="1273314" y="568973"/>
                  </a:lnTo>
                  <a:lnTo>
                    <a:pt x="1273314" y="569621"/>
                  </a:lnTo>
                  <a:lnTo>
                    <a:pt x="1273517" y="569621"/>
                  </a:lnTo>
                  <a:lnTo>
                    <a:pt x="1273517" y="568973"/>
                  </a:lnTo>
                  <a:lnTo>
                    <a:pt x="1273568" y="568973"/>
                  </a:lnTo>
                  <a:lnTo>
                    <a:pt x="1273568" y="567042"/>
                  </a:lnTo>
                  <a:lnTo>
                    <a:pt x="1273619" y="567042"/>
                  </a:lnTo>
                  <a:lnTo>
                    <a:pt x="1273670" y="566395"/>
                  </a:lnTo>
                  <a:lnTo>
                    <a:pt x="1273759" y="567042"/>
                  </a:lnTo>
                  <a:lnTo>
                    <a:pt x="1273810" y="567042"/>
                  </a:lnTo>
                  <a:lnTo>
                    <a:pt x="1273810" y="567627"/>
                  </a:lnTo>
                  <a:lnTo>
                    <a:pt x="1273911" y="567627"/>
                  </a:lnTo>
                  <a:lnTo>
                    <a:pt x="1274013" y="568973"/>
                  </a:lnTo>
                  <a:lnTo>
                    <a:pt x="1274356" y="568973"/>
                  </a:lnTo>
                  <a:lnTo>
                    <a:pt x="1274356" y="567627"/>
                  </a:lnTo>
                  <a:lnTo>
                    <a:pt x="1274457" y="567627"/>
                  </a:lnTo>
                  <a:lnTo>
                    <a:pt x="1274457" y="568973"/>
                  </a:lnTo>
                  <a:lnTo>
                    <a:pt x="1274762" y="568973"/>
                  </a:lnTo>
                  <a:lnTo>
                    <a:pt x="1274800" y="569621"/>
                  </a:lnTo>
                  <a:lnTo>
                    <a:pt x="1274800" y="568973"/>
                  </a:lnTo>
                  <a:lnTo>
                    <a:pt x="1274902" y="569621"/>
                  </a:lnTo>
                  <a:lnTo>
                    <a:pt x="1274953" y="568973"/>
                  </a:lnTo>
                  <a:lnTo>
                    <a:pt x="1275156" y="568973"/>
                  </a:lnTo>
                  <a:lnTo>
                    <a:pt x="1275156" y="569621"/>
                  </a:lnTo>
                  <a:lnTo>
                    <a:pt x="1275206" y="568973"/>
                  </a:lnTo>
                  <a:lnTo>
                    <a:pt x="1275257" y="569621"/>
                  </a:lnTo>
                  <a:lnTo>
                    <a:pt x="1275397" y="569621"/>
                  </a:lnTo>
                  <a:lnTo>
                    <a:pt x="1275397" y="568973"/>
                  </a:lnTo>
                  <a:lnTo>
                    <a:pt x="1275892" y="568973"/>
                  </a:lnTo>
                  <a:lnTo>
                    <a:pt x="1275892" y="567627"/>
                  </a:lnTo>
                  <a:lnTo>
                    <a:pt x="1275943" y="567627"/>
                  </a:lnTo>
                  <a:lnTo>
                    <a:pt x="1276045" y="568973"/>
                  </a:lnTo>
                  <a:lnTo>
                    <a:pt x="1276045" y="567627"/>
                  </a:lnTo>
                  <a:lnTo>
                    <a:pt x="1276146" y="567627"/>
                  </a:lnTo>
                  <a:lnTo>
                    <a:pt x="1276248" y="568973"/>
                  </a:lnTo>
                  <a:lnTo>
                    <a:pt x="1276388" y="568973"/>
                  </a:lnTo>
                  <a:lnTo>
                    <a:pt x="1276489" y="569621"/>
                  </a:lnTo>
                  <a:lnTo>
                    <a:pt x="1276540" y="569621"/>
                  </a:lnTo>
                  <a:lnTo>
                    <a:pt x="1276591" y="568973"/>
                  </a:lnTo>
                  <a:lnTo>
                    <a:pt x="1276934" y="568973"/>
                  </a:lnTo>
                  <a:lnTo>
                    <a:pt x="1276985" y="569621"/>
                  </a:lnTo>
                  <a:lnTo>
                    <a:pt x="1277238" y="569621"/>
                  </a:lnTo>
                  <a:lnTo>
                    <a:pt x="1277289" y="568973"/>
                  </a:lnTo>
                  <a:lnTo>
                    <a:pt x="1277429" y="568973"/>
                  </a:lnTo>
                  <a:lnTo>
                    <a:pt x="1277429" y="569621"/>
                  </a:lnTo>
                  <a:lnTo>
                    <a:pt x="1277734" y="569621"/>
                  </a:lnTo>
                  <a:lnTo>
                    <a:pt x="1277734" y="570256"/>
                  </a:lnTo>
                  <a:lnTo>
                    <a:pt x="1277835" y="569621"/>
                  </a:lnTo>
                  <a:lnTo>
                    <a:pt x="1278077" y="569621"/>
                  </a:lnTo>
                  <a:lnTo>
                    <a:pt x="1278077" y="570256"/>
                  </a:lnTo>
                  <a:lnTo>
                    <a:pt x="1278128" y="570256"/>
                  </a:lnTo>
                  <a:lnTo>
                    <a:pt x="1278178" y="570954"/>
                  </a:lnTo>
                  <a:lnTo>
                    <a:pt x="1278331" y="570954"/>
                  </a:lnTo>
                  <a:lnTo>
                    <a:pt x="1278381" y="570256"/>
                  </a:lnTo>
                  <a:lnTo>
                    <a:pt x="1278432" y="570256"/>
                  </a:lnTo>
                  <a:lnTo>
                    <a:pt x="1278521" y="570954"/>
                  </a:lnTo>
                  <a:lnTo>
                    <a:pt x="1278826" y="570954"/>
                  </a:lnTo>
                  <a:lnTo>
                    <a:pt x="1278826" y="572249"/>
                  </a:lnTo>
                  <a:lnTo>
                    <a:pt x="1278877" y="570954"/>
                  </a:lnTo>
                  <a:lnTo>
                    <a:pt x="1278978" y="570256"/>
                  </a:lnTo>
                  <a:lnTo>
                    <a:pt x="1278978" y="569621"/>
                  </a:lnTo>
                  <a:lnTo>
                    <a:pt x="1279016" y="568973"/>
                  </a:lnTo>
                  <a:lnTo>
                    <a:pt x="1279016" y="567627"/>
                  </a:lnTo>
                  <a:lnTo>
                    <a:pt x="1279067" y="567042"/>
                  </a:lnTo>
                  <a:lnTo>
                    <a:pt x="1279118" y="567042"/>
                  </a:lnTo>
                  <a:lnTo>
                    <a:pt x="1279220" y="567627"/>
                  </a:lnTo>
                  <a:lnTo>
                    <a:pt x="1279271" y="567627"/>
                  </a:lnTo>
                  <a:lnTo>
                    <a:pt x="1279321" y="568973"/>
                  </a:lnTo>
                  <a:lnTo>
                    <a:pt x="1279474" y="568973"/>
                  </a:lnTo>
                  <a:lnTo>
                    <a:pt x="1279474" y="569621"/>
                  </a:lnTo>
                  <a:lnTo>
                    <a:pt x="1279525" y="568973"/>
                  </a:lnTo>
                  <a:lnTo>
                    <a:pt x="1279563" y="568973"/>
                  </a:lnTo>
                  <a:lnTo>
                    <a:pt x="1279664" y="567042"/>
                  </a:lnTo>
                  <a:lnTo>
                    <a:pt x="1279715" y="567042"/>
                  </a:lnTo>
                  <a:lnTo>
                    <a:pt x="1279766" y="567627"/>
                  </a:lnTo>
                  <a:lnTo>
                    <a:pt x="1279867" y="567042"/>
                  </a:lnTo>
                  <a:lnTo>
                    <a:pt x="1279867" y="567627"/>
                  </a:lnTo>
                  <a:lnTo>
                    <a:pt x="1279918" y="567627"/>
                  </a:lnTo>
                  <a:lnTo>
                    <a:pt x="1279969" y="568973"/>
                  </a:lnTo>
                  <a:lnTo>
                    <a:pt x="1280020" y="568973"/>
                  </a:lnTo>
                  <a:lnTo>
                    <a:pt x="1280109" y="567627"/>
                  </a:lnTo>
                  <a:lnTo>
                    <a:pt x="1280160" y="568973"/>
                  </a:lnTo>
                  <a:lnTo>
                    <a:pt x="1280210" y="567627"/>
                  </a:lnTo>
                  <a:lnTo>
                    <a:pt x="1280413" y="567627"/>
                  </a:lnTo>
                  <a:lnTo>
                    <a:pt x="1280464" y="567042"/>
                  </a:lnTo>
                  <a:lnTo>
                    <a:pt x="1280464" y="567627"/>
                  </a:lnTo>
                  <a:lnTo>
                    <a:pt x="1280566" y="567627"/>
                  </a:lnTo>
                  <a:lnTo>
                    <a:pt x="1280604" y="568973"/>
                  </a:lnTo>
                  <a:lnTo>
                    <a:pt x="1280706" y="568973"/>
                  </a:lnTo>
                  <a:lnTo>
                    <a:pt x="1280807" y="569621"/>
                  </a:lnTo>
                  <a:lnTo>
                    <a:pt x="1280807" y="568973"/>
                  </a:lnTo>
                  <a:lnTo>
                    <a:pt x="1280858" y="569621"/>
                  </a:lnTo>
                  <a:lnTo>
                    <a:pt x="1280909" y="568973"/>
                  </a:lnTo>
                  <a:lnTo>
                    <a:pt x="1280909" y="569621"/>
                  </a:lnTo>
                  <a:lnTo>
                    <a:pt x="1281010" y="568973"/>
                  </a:lnTo>
                  <a:lnTo>
                    <a:pt x="1281061" y="568973"/>
                  </a:lnTo>
                  <a:lnTo>
                    <a:pt x="1281061" y="569621"/>
                  </a:lnTo>
                  <a:lnTo>
                    <a:pt x="1281112" y="568973"/>
                  </a:lnTo>
                  <a:lnTo>
                    <a:pt x="1281150" y="568973"/>
                  </a:lnTo>
                  <a:lnTo>
                    <a:pt x="1281150" y="567627"/>
                  </a:lnTo>
                  <a:lnTo>
                    <a:pt x="1281303" y="567627"/>
                  </a:lnTo>
                  <a:lnTo>
                    <a:pt x="1281353" y="568973"/>
                  </a:lnTo>
                  <a:lnTo>
                    <a:pt x="1281455" y="568973"/>
                  </a:lnTo>
                  <a:lnTo>
                    <a:pt x="1281506" y="567627"/>
                  </a:lnTo>
                  <a:lnTo>
                    <a:pt x="1281556" y="567627"/>
                  </a:lnTo>
                  <a:lnTo>
                    <a:pt x="1281556" y="568973"/>
                  </a:lnTo>
                  <a:lnTo>
                    <a:pt x="1281607" y="568973"/>
                  </a:lnTo>
                  <a:lnTo>
                    <a:pt x="1281696" y="569621"/>
                  </a:lnTo>
                  <a:lnTo>
                    <a:pt x="1281747" y="568973"/>
                  </a:lnTo>
                  <a:lnTo>
                    <a:pt x="1281798" y="567627"/>
                  </a:lnTo>
                  <a:lnTo>
                    <a:pt x="1281950" y="567627"/>
                  </a:lnTo>
                  <a:lnTo>
                    <a:pt x="1282001" y="568973"/>
                  </a:lnTo>
                  <a:lnTo>
                    <a:pt x="1282052" y="568973"/>
                  </a:lnTo>
                  <a:lnTo>
                    <a:pt x="1282052" y="567627"/>
                  </a:lnTo>
                  <a:lnTo>
                    <a:pt x="1282191" y="567627"/>
                  </a:lnTo>
                  <a:lnTo>
                    <a:pt x="1282191" y="568973"/>
                  </a:lnTo>
                  <a:lnTo>
                    <a:pt x="1282446" y="568973"/>
                  </a:lnTo>
                  <a:lnTo>
                    <a:pt x="1282446" y="567627"/>
                  </a:lnTo>
                  <a:lnTo>
                    <a:pt x="1282598" y="567627"/>
                  </a:lnTo>
                  <a:lnTo>
                    <a:pt x="1282649" y="568973"/>
                  </a:lnTo>
                  <a:lnTo>
                    <a:pt x="1282738" y="568973"/>
                  </a:lnTo>
                  <a:lnTo>
                    <a:pt x="1282738" y="569621"/>
                  </a:lnTo>
                  <a:lnTo>
                    <a:pt x="1282839" y="569621"/>
                  </a:lnTo>
                  <a:lnTo>
                    <a:pt x="1282890" y="568973"/>
                  </a:lnTo>
                  <a:lnTo>
                    <a:pt x="1282941" y="569621"/>
                  </a:lnTo>
                  <a:lnTo>
                    <a:pt x="1282941" y="568973"/>
                  </a:lnTo>
                  <a:lnTo>
                    <a:pt x="1283195" y="568973"/>
                  </a:lnTo>
                  <a:lnTo>
                    <a:pt x="1283284" y="569621"/>
                  </a:lnTo>
                  <a:lnTo>
                    <a:pt x="1283335" y="569621"/>
                  </a:lnTo>
                  <a:lnTo>
                    <a:pt x="1283385" y="568973"/>
                  </a:lnTo>
                  <a:lnTo>
                    <a:pt x="1283538" y="568973"/>
                  </a:lnTo>
                  <a:lnTo>
                    <a:pt x="1283538" y="569621"/>
                  </a:lnTo>
                  <a:lnTo>
                    <a:pt x="1283588" y="568973"/>
                  </a:lnTo>
                  <a:lnTo>
                    <a:pt x="1283639" y="569621"/>
                  </a:lnTo>
                  <a:lnTo>
                    <a:pt x="1283639" y="568973"/>
                  </a:lnTo>
                  <a:lnTo>
                    <a:pt x="1283741" y="569621"/>
                  </a:lnTo>
                  <a:lnTo>
                    <a:pt x="1283830" y="569621"/>
                  </a:lnTo>
                  <a:lnTo>
                    <a:pt x="1283830" y="568973"/>
                  </a:lnTo>
                  <a:lnTo>
                    <a:pt x="1283881" y="568973"/>
                  </a:lnTo>
                  <a:lnTo>
                    <a:pt x="1283881" y="569621"/>
                  </a:lnTo>
                  <a:lnTo>
                    <a:pt x="1284630" y="569621"/>
                  </a:lnTo>
                  <a:lnTo>
                    <a:pt x="1284630" y="568973"/>
                  </a:lnTo>
                  <a:lnTo>
                    <a:pt x="1284681" y="567627"/>
                  </a:lnTo>
                  <a:lnTo>
                    <a:pt x="1284922" y="567627"/>
                  </a:lnTo>
                  <a:lnTo>
                    <a:pt x="1284973" y="568973"/>
                  </a:lnTo>
                  <a:lnTo>
                    <a:pt x="1285176" y="568973"/>
                  </a:lnTo>
                  <a:lnTo>
                    <a:pt x="1285227" y="569621"/>
                  </a:lnTo>
                  <a:lnTo>
                    <a:pt x="1285227" y="568973"/>
                  </a:lnTo>
                  <a:lnTo>
                    <a:pt x="1285328" y="567627"/>
                  </a:lnTo>
                  <a:lnTo>
                    <a:pt x="1285366" y="567627"/>
                  </a:lnTo>
                  <a:lnTo>
                    <a:pt x="1285366" y="566395"/>
                  </a:lnTo>
                  <a:lnTo>
                    <a:pt x="1285570" y="566395"/>
                  </a:lnTo>
                  <a:lnTo>
                    <a:pt x="1285621" y="567042"/>
                  </a:lnTo>
                  <a:lnTo>
                    <a:pt x="1285671" y="566395"/>
                  </a:lnTo>
                  <a:lnTo>
                    <a:pt x="1285671" y="567042"/>
                  </a:lnTo>
                  <a:lnTo>
                    <a:pt x="1285773" y="567042"/>
                  </a:lnTo>
                  <a:lnTo>
                    <a:pt x="1285824" y="567627"/>
                  </a:lnTo>
                  <a:lnTo>
                    <a:pt x="1285824" y="567042"/>
                  </a:lnTo>
                  <a:lnTo>
                    <a:pt x="1285913" y="567042"/>
                  </a:lnTo>
                  <a:lnTo>
                    <a:pt x="1285913" y="567627"/>
                  </a:lnTo>
                  <a:lnTo>
                    <a:pt x="1286014" y="568973"/>
                  </a:lnTo>
                  <a:lnTo>
                    <a:pt x="1286014" y="567627"/>
                  </a:lnTo>
                  <a:lnTo>
                    <a:pt x="1286268" y="567627"/>
                  </a:lnTo>
                  <a:lnTo>
                    <a:pt x="1286319" y="568973"/>
                  </a:lnTo>
                  <a:lnTo>
                    <a:pt x="1286370" y="568973"/>
                  </a:lnTo>
                  <a:lnTo>
                    <a:pt x="1286370" y="567627"/>
                  </a:lnTo>
                  <a:lnTo>
                    <a:pt x="1286459" y="567627"/>
                  </a:lnTo>
                  <a:lnTo>
                    <a:pt x="1286510" y="568973"/>
                  </a:lnTo>
                  <a:lnTo>
                    <a:pt x="1286560" y="569621"/>
                  </a:lnTo>
                  <a:lnTo>
                    <a:pt x="1286560" y="568973"/>
                  </a:lnTo>
                  <a:lnTo>
                    <a:pt x="1286611" y="569621"/>
                  </a:lnTo>
                  <a:lnTo>
                    <a:pt x="1286763" y="569621"/>
                  </a:lnTo>
                  <a:lnTo>
                    <a:pt x="1286814" y="568973"/>
                  </a:lnTo>
                  <a:lnTo>
                    <a:pt x="1286814" y="567627"/>
                  </a:lnTo>
                  <a:lnTo>
                    <a:pt x="1287005" y="567627"/>
                  </a:lnTo>
                  <a:lnTo>
                    <a:pt x="1287056" y="568973"/>
                  </a:lnTo>
                  <a:lnTo>
                    <a:pt x="1287157" y="568973"/>
                  </a:lnTo>
                  <a:lnTo>
                    <a:pt x="1287208" y="567627"/>
                  </a:lnTo>
                  <a:lnTo>
                    <a:pt x="1287208" y="568973"/>
                  </a:lnTo>
                  <a:lnTo>
                    <a:pt x="1287462" y="568973"/>
                  </a:lnTo>
                  <a:lnTo>
                    <a:pt x="1287500" y="567627"/>
                  </a:lnTo>
                  <a:lnTo>
                    <a:pt x="1287906" y="567627"/>
                  </a:lnTo>
                  <a:lnTo>
                    <a:pt x="1287906" y="568973"/>
                  </a:lnTo>
                  <a:lnTo>
                    <a:pt x="1287957" y="567627"/>
                  </a:lnTo>
                  <a:lnTo>
                    <a:pt x="1288541" y="567627"/>
                  </a:lnTo>
                  <a:lnTo>
                    <a:pt x="1288592" y="568973"/>
                  </a:lnTo>
                  <a:lnTo>
                    <a:pt x="1288948" y="568973"/>
                  </a:lnTo>
                  <a:lnTo>
                    <a:pt x="1288999" y="567627"/>
                  </a:lnTo>
                  <a:lnTo>
                    <a:pt x="1289050" y="567627"/>
                  </a:lnTo>
                  <a:lnTo>
                    <a:pt x="1289088" y="568973"/>
                  </a:lnTo>
                  <a:lnTo>
                    <a:pt x="1289291" y="568973"/>
                  </a:lnTo>
                  <a:lnTo>
                    <a:pt x="1289291" y="567627"/>
                  </a:lnTo>
                  <a:lnTo>
                    <a:pt x="1289392" y="568973"/>
                  </a:lnTo>
                  <a:lnTo>
                    <a:pt x="1289735" y="568973"/>
                  </a:lnTo>
                  <a:lnTo>
                    <a:pt x="1289735" y="569621"/>
                  </a:lnTo>
                  <a:lnTo>
                    <a:pt x="1289989" y="569621"/>
                  </a:lnTo>
                  <a:lnTo>
                    <a:pt x="1290091" y="568973"/>
                  </a:lnTo>
                  <a:lnTo>
                    <a:pt x="1290180" y="568973"/>
                  </a:lnTo>
                  <a:lnTo>
                    <a:pt x="1290180" y="569621"/>
                  </a:lnTo>
                  <a:lnTo>
                    <a:pt x="1290332" y="569621"/>
                  </a:lnTo>
                  <a:lnTo>
                    <a:pt x="1290332" y="568973"/>
                  </a:lnTo>
                  <a:lnTo>
                    <a:pt x="1290383" y="568973"/>
                  </a:lnTo>
                  <a:lnTo>
                    <a:pt x="1290383" y="567627"/>
                  </a:lnTo>
                  <a:lnTo>
                    <a:pt x="1290434" y="567042"/>
                  </a:lnTo>
                  <a:lnTo>
                    <a:pt x="1290637" y="567042"/>
                  </a:lnTo>
                  <a:lnTo>
                    <a:pt x="1290675" y="566395"/>
                  </a:lnTo>
                  <a:lnTo>
                    <a:pt x="1290828" y="566395"/>
                  </a:lnTo>
                  <a:lnTo>
                    <a:pt x="1290828" y="567042"/>
                  </a:lnTo>
                  <a:lnTo>
                    <a:pt x="1290980" y="567042"/>
                  </a:lnTo>
                  <a:lnTo>
                    <a:pt x="1291031" y="566395"/>
                  </a:lnTo>
                  <a:lnTo>
                    <a:pt x="1291081" y="566395"/>
                  </a:lnTo>
                  <a:lnTo>
                    <a:pt x="1291081" y="565747"/>
                  </a:lnTo>
                  <a:lnTo>
                    <a:pt x="1291132" y="565048"/>
                  </a:lnTo>
                  <a:lnTo>
                    <a:pt x="1291221" y="565048"/>
                  </a:lnTo>
                  <a:lnTo>
                    <a:pt x="1291272" y="565747"/>
                  </a:lnTo>
                  <a:lnTo>
                    <a:pt x="1291272" y="566395"/>
                  </a:lnTo>
                  <a:lnTo>
                    <a:pt x="1291323" y="565747"/>
                  </a:lnTo>
                  <a:lnTo>
                    <a:pt x="1291374" y="565747"/>
                  </a:lnTo>
                  <a:lnTo>
                    <a:pt x="1291374" y="566395"/>
                  </a:lnTo>
                  <a:lnTo>
                    <a:pt x="1291475" y="565747"/>
                  </a:lnTo>
                  <a:lnTo>
                    <a:pt x="1291526" y="565747"/>
                  </a:lnTo>
                  <a:lnTo>
                    <a:pt x="1291526" y="566395"/>
                  </a:lnTo>
                  <a:lnTo>
                    <a:pt x="1291577" y="566395"/>
                  </a:lnTo>
                  <a:lnTo>
                    <a:pt x="1291577" y="567042"/>
                  </a:lnTo>
                  <a:lnTo>
                    <a:pt x="1291716" y="567042"/>
                  </a:lnTo>
                  <a:lnTo>
                    <a:pt x="1291716" y="567627"/>
                  </a:lnTo>
                  <a:lnTo>
                    <a:pt x="1292021" y="567627"/>
                  </a:lnTo>
                  <a:lnTo>
                    <a:pt x="1292021" y="567042"/>
                  </a:lnTo>
                  <a:lnTo>
                    <a:pt x="1292174" y="567042"/>
                  </a:lnTo>
                  <a:lnTo>
                    <a:pt x="1292174" y="566395"/>
                  </a:lnTo>
                  <a:lnTo>
                    <a:pt x="1292225" y="567042"/>
                  </a:lnTo>
                  <a:lnTo>
                    <a:pt x="1292364" y="567042"/>
                  </a:lnTo>
                  <a:lnTo>
                    <a:pt x="1292415" y="567627"/>
                  </a:lnTo>
                  <a:lnTo>
                    <a:pt x="1292466" y="567627"/>
                  </a:lnTo>
                  <a:lnTo>
                    <a:pt x="1292466" y="568973"/>
                  </a:lnTo>
                  <a:lnTo>
                    <a:pt x="1292567" y="567627"/>
                  </a:lnTo>
                  <a:lnTo>
                    <a:pt x="1292618" y="568973"/>
                  </a:lnTo>
                  <a:lnTo>
                    <a:pt x="1292618" y="567627"/>
                  </a:lnTo>
                  <a:lnTo>
                    <a:pt x="1292669" y="567627"/>
                  </a:lnTo>
                  <a:lnTo>
                    <a:pt x="1292669" y="568973"/>
                  </a:lnTo>
                  <a:lnTo>
                    <a:pt x="1292720" y="567627"/>
                  </a:lnTo>
                  <a:lnTo>
                    <a:pt x="1293113" y="567627"/>
                  </a:lnTo>
                  <a:lnTo>
                    <a:pt x="1293113" y="567042"/>
                  </a:lnTo>
                  <a:lnTo>
                    <a:pt x="1293304" y="567042"/>
                  </a:lnTo>
                  <a:lnTo>
                    <a:pt x="1293355" y="567627"/>
                  </a:lnTo>
                  <a:lnTo>
                    <a:pt x="1294206" y="567627"/>
                  </a:lnTo>
                  <a:lnTo>
                    <a:pt x="1294206" y="568973"/>
                  </a:lnTo>
                  <a:lnTo>
                    <a:pt x="1294256" y="567627"/>
                  </a:lnTo>
                  <a:lnTo>
                    <a:pt x="1294396" y="567627"/>
                  </a:lnTo>
                  <a:lnTo>
                    <a:pt x="1294447" y="568973"/>
                  </a:lnTo>
                  <a:lnTo>
                    <a:pt x="1294447" y="567627"/>
                  </a:lnTo>
                  <a:lnTo>
                    <a:pt x="1294498" y="567627"/>
                  </a:lnTo>
                  <a:lnTo>
                    <a:pt x="1294549" y="568973"/>
                  </a:lnTo>
                  <a:lnTo>
                    <a:pt x="1294549" y="567627"/>
                  </a:lnTo>
                  <a:lnTo>
                    <a:pt x="1294650" y="568973"/>
                  </a:lnTo>
                  <a:lnTo>
                    <a:pt x="1294701" y="568973"/>
                  </a:lnTo>
                  <a:lnTo>
                    <a:pt x="1294752" y="569621"/>
                  </a:lnTo>
                  <a:lnTo>
                    <a:pt x="1294853" y="568973"/>
                  </a:lnTo>
                  <a:lnTo>
                    <a:pt x="1295349" y="568973"/>
                  </a:lnTo>
                  <a:lnTo>
                    <a:pt x="1295349" y="569621"/>
                  </a:lnTo>
                  <a:lnTo>
                    <a:pt x="1295895" y="569621"/>
                  </a:lnTo>
                  <a:lnTo>
                    <a:pt x="1295984" y="570256"/>
                  </a:lnTo>
                  <a:lnTo>
                    <a:pt x="1296035" y="570256"/>
                  </a:lnTo>
                  <a:lnTo>
                    <a:pt x="1296035" y="570954"/>
                  </a:lnTo>
                  <a:lnTo>
                    <a:pt x="1296085" y="570256"/>
                  </a:lnTo>
                  <a:lnTo>
                    <a:pt x="1296085" y="569621"/>
                  </a:lnTo>
                  <a:lnTo>
                    <a:pt x="1296136" y="569621"/>
                  </a:lnTo>
                  <a:lnTo>
                    <a:pt x="1296136" y="568973"/>
                  </a:lnTo>
                  <a:lnTo>
                    <a:pt x="1296288" y="568973"/>
                  </a:lnTo>
                  <a:lnTo>
                    <a:pt x="1296288" y="567627"/>
                  </a:lnTo>
                  <a:lnTo>
                    <a:pt x="1296339" y="567042"/>
                  </a:lnTo>
                  <a:lnTo>
                    <a:pt x="1296479" y="567042"/>
                  </a:lnTo>
                  <a:lnTo>
                    <a:pt x="1296479" y="567627"/>
                  </a:lnTo>
                  <a:lnTo>
                    <a:pt x="1296682" y="567627"/>
                  </a:lnTo>
                  <a:lnTo>
                    <a:pt x="1296682" y="567042"/>
                  </a:lnTo>
                  <a:lnTo>
                    <a:pt x="1296733" y="567627"/>
                  </a:lnTo>
                  <a:lnTo>
                    <a:pt x="1296784" y="567042"/>
                  </a:lnTo>
                  <a:lnTo>
                    <a:pt x="1296885" y="567627"/>
                  </a:lnTo>
                  <a:lnTo>
                    <a:pt x="1296885" y="567042"/>
                  </a:lnTo>
                  <a:lnTo>
                    <a:pt x="1296936" y="567042"/>
                  </a:lnTo>
                  <a:lnTo>
                    <a:pt x="1296936" y="566395"/>
                  </a:lnTo>
                  <a:lnTo>
                    <a:pt x="1296987" y="565747"/>
                  </a:lnTo>
                  <a:lnTo>
                    <a:pt x="1297178" y="565747"/>
                  </a:lnTo>
                  <a:lnTo>
                    <a:pt x="1297178" y="566395"/>
                  </a:lnTo>
                  <a:lnTo>
                    <a:pt x="1297330" y="566395"/>
                  </a:lnTo>
                  <a:lnTo>
                    <a:pt x="1297330" y="567042"/>
                  </a:lnTo>
                  <a:lnTo>
                    <a:pt x="1297381" y="567042"/>
                  </a:lnTo>
                  <a:lnTo>
                    <a:pt x="1297431" y="567627"/>
                  </a:lnTo>
                  <a:lnTo>
                    <a:pt x="1297825" y="567627"/>
                  </a:lnTo>
                  <a:lnTo>
                    <a:pt x="1297876" y="567042"/>
                  </a:lnTo>
                  <a:lnTo>
                    <a:pt x="1297927" y="567627"/>
                  </a:lnTo>
                  <a:lnTo>
                    <a:pt x="1297927" y="567042"/>
                  </a:lnTo>
                  <a:lnTo>
                    <a:pt x="1298028" y="567627"/>
                  </a:lnTo>
                  <a:lnTo>
                    <a:pt x="1298066" y="567627"/>
                  </a:lnTo>
                  <a:lnTo>
                    <a:pt x="1298066" y="567042"/>
                  </a:lnTo>
                  <a:lnTo>
                    <a:pt x="1298117" y="567042"/>
                  </a:lnTo>
                  <a:lnTo>
                    <a:pt x="1298117" y="567627"/>
                  </a:lnTo>
                  <a:lnTo>
                    <a:pt x="1298321" y="567627"/>
                  </a:lnTo>
                  <a:lnTo>
                    <a:pt x="1298371" y="568973"/>
                  </a:lnTo>
                  <a:lnTo>
                    <a:pt x="1298473" y="568973"/>
                  </a:lnTo>
                  <a:lnTo>
                    <a:pt x="1298524" y="567627"/>
                  </a:lnTo>
                  <a:lnTo>
                    <a:pt x="1298575" y="567627"/>
                  </a:lnTo>
                  <a:lnTo>
                    <a:pt x="1298613" y="568973"/>
                  </a:lnTo>
                  <a:lnTo>
                    <a:pt x="1298714" y="567627"/>
                  </a:lnTo>
                  <a:lnTo>
                    <a:pt x="1299070" y="567627"/>
                  </a:lnTo>
                  <a:lnTo>
                    <a:pt x="1299159" y="567042"/>
                  </a:lnTo>
                  <a:lnTo>
                    <a:pt x="1299159" y="567627"/>
                  </a:lnTo>
                  <a:lnTo>
                    <a:pt x="1299756" y="567627"/>
                  </a:lnTo>
                  <a:lnTo>
                    <a:pt x="1299756" y="567042"/>
                  </a:lnTo>
                  <a:lnTo>
                    <a:pt x="1299857" y="567627"/>
                  </a:lnTo>
                  <a:lnTo>
                    <a:pt x="1300111" y="567627"/>
                  </a:lnTo>
                  <a:lnTo>
                    <a:pt x="1300162" y="568973"/>
                  </a:lnTo>
                  <a:lnTo>
                    <a:pt x="1300200" y="568973"/>
                  </a:lnTo>
                  <a:lnTo>
                    <a:pt x="1300302" y="567627"/>
                  </a:lnTo>
                  <a:lnTo>
                    <a:pt x="1300353" y="568973"/>
                  </a:lnTo>
                  <a:lnTo>
                    <a:pt x="1301203" y="568973"/>
                  </a:lnTo>
                  <a:lnTo>
                    <a:pt x="1301203" y="569621"/>
                  </a:lnTo>
                  <a:lnTo>
                    <a:pt x="1301241" y="568973"/>
                  </a:lnTo>
                  <a:lnTo>
                    <a:pt x="1301292" y="569621"/>
                  </a:lnTo>
                  <a:lnTo>
                    <a:pt x="1301292" y="568973"/>
                  </a:lnTo>
                  <a:lnTo>
                    <a:pt x="1301343" y="568973"/>
                  </a:lnTo>
                  <a:lnTo>
                    <a:pt x="1301445" y="569621"/>
                  </a:lnTo>
                  <a:lnTo>
                    <a:pt x="1301648" y="569621"/>
                  </a:lnTo>
                  <a:lnTo>
                    <a:pt x="1301699" y="570256"/>
                  </a:lnTo>
                  <a:lnTo>
                    <a:pt x="1301788" y="570256"/>
                  </a:lnTo>
                  <a:lnTo>
                    <a:pt x="1301889" y="569621"/>
                  </a:lnTo>
                  <a:lnTo>
                    <a:pt x="1301940" y="570256"/>
                  </a:lnTo>
                  <a:lnTo>
                    <a:pt x="1302092" y="570256"/>
                  </a:lnTo>
                  <a:lnTo>
                    <a:pt x="1302143" y="569621"/>
                  </a:lnTo>
                  <a:lnTo>
                    <a:pt x="1302143" y="568973"/>
                  </a:lnTo>
                  <a:lnTo>
                    <a:pt x="1302194" y="567627"/>
                  </a:lnTo>
                  <a:lnTo>
                    <a:pt x="1302194" y="567042"/>
                  </a:lnTo>
                  <a:lnTo>
                    <a:pt x="1302486" y="567042"/>
                  </a:lnTo>
                  <a:lnTo>
                    <a:pt x="1302486" y="567627"/>
                  </a:lnTo>
                  <a:lnTo>
                    <a:pt x="1302588" y="567627"/>
                  </a:lnTo>
                  <a:lnTo>
                    <a:pt x="1302638" y="568973"/>
                  </a:lnTo>
                  <a:lnTo>
                    <a:pt x="1302689" y="568973"/>
                  </a:lnTo>
                  <a:lnTo>
                    <a:pt x="1302791" y="567627"/>
                  </a:lnTo>
                  <a:lnTo>
                    <a:pt x="1302791" y="567042"/>
                  </a:lnTo>
                  <a:lnTo>
                    <a:pt x="1302829" y="566395"/>
                  </a:lnTo>
                  <a:lnTo>
                    <a:pt x="1302829" y="565747"/>
                  </a:lnTo>
                  <a:lnTo>
                    <a:pt x="1302931" y="565747"/>
                  </a:lnTo>
                  <a:lnTo>
                    <a:pt x="1303032" y="566395"/>
                  </a:lnTo>
                  <a:lnTo>
                    <a:pt x="1303134" y="566395"/>
                  </a:lnTo>
                  <a:lnTo>
                    <a:pt x="1303235" y="567042"/>
                  </a:lnTo>
                  <a:lnTo>
                    <a:pt x="1303337" y="567042"/>
                  </a:lnTo>
                  <a:lnTo>
                    <a:pt x="1303337" y="567627"/>
                  </a:lnTo>
                  <a:lnTo>
                    <a:pt x="1303477" y="567627"/>
                  </a:lnTo>
                  <a:lnTo>
                    <a:pt x="1303528" y="568973"/>
                  </a:lnTo>
                  <a:lnTo>
                    <a:pt x="1303578" y="567627"/>
                  </a:lnTo>
                  <a:lnTo>
                    <a:pt x="1303578" y="568973"/>
                  </a:lnTo>
                  <a:lnTo>
                    <a:pt x="1303680" y="567627"/>
                  </a:lnTo>
                  <a:lnTo>
                    <a:pt x="1303921" y="567627"/>
                  </a:lnTo>
                  <a:lnTo>
                    <a:pt x="1303972" y="568973"/>
                  </a:lnTo>
                  <a:lnTo>
                    <a:pt x="1303972" y="567627"/>
                  </a:lnTo>
                  <a:lnTo>
                    <a:pt x="1304175" y="567627"/>
                  </a:lnTo>
                  <a:lnTo>
                    <a:pt x="1304226" y="567042"/>
                  </a:lnTo>
                  <a:lnTo>
                    <a:pt x="1304277" y="567042"/>
                  </a:lnTo>
                  <a:lnTo>
                    <a:pt x="1304378" y="567627"/>
                  </a:lnTo>
                  <a:lnTo>
                    <a:pt x="1304467" y="567627"/>
                  </a:lnTo>
                  <a:lnTo>
                    <a:pt x="1304467" y="568973"/>
                  </a:lnTo>
                  <a:lnTo>
                    <a:pt x="1304620" y="568973"/>
                  </a:lnTo>
                  <a:lnTo>
                    <a:pt x="1304671" y="569621"/>
                  </a:lnTo>
                  <a:lnTo>
                    <a:pt x="1304721" y="568973"/>
                  </a:lnTo>
                  <a:lnTo>
                    <a:pt x="1304823" y="568973"/>
                  </a:lnTo>
                  <a:lnTo>
                    <a:pt x="1304823" y="567627"/>
                  </a:lnTo>
                  <a:lnTo>
                    <a:pt x="1304874" y="567627"/>
                  </a:lnTo>
                  <a:lnTo>
                    <a:pt x="1304874" y="567042"/>
                  </a:lnTo>
                  <a:lnTo>
                    <a:pt x="1305267" y="567042"/>
                  </a:lnTo>
                  <a:lnTo>
                    <a:pt x="1305318" y="567627"/>
                  </a:lnTo>
                  <a:lnTo>
                    <a:pt x="1305661" y="567627"/>
                  </a:lnTo>
                  <a:lnTo>
                    <a:pt x="1305661" y="568973"/>
                  </a:lnTo>
                  <a:lnTo>
                    <a:pt x="1305763" y="567627"/>
                  </a:lnTo>
                  <a:lnTo>
                    <a:pt x="1305813" y="567627"/>
                  </a:lnTo>
                  <a:lnTo>
                    <a:pt x="1305813" y="568973"/>
                  </a:lnTo>
                  <a:lnTo>
                    <a:pt x="1305864" y="568973"/>
                  </a:lnTo>
                  <a:lnTo>
                    <a:pt x="1305864" y="567627"/>
                  </a:lnTo>
                  <a:lnTo>
                    <a:pt x="1306004" y="567627"/>
                  </a:lnTo>
                  <a:lnTo>
                    <a:pt x="1306055" y="568973"/>
                  </a:lnTo>
                  <a:lnTo>
                    <a:pt x="1306055" y="567627"/>
                  </a:lnTo>
                  <a:lnTo>
                    <a:pt x="1306106" y="567627"/>
                  </a:lnTo>
                  <a:lnTo>
                    <a:pt x="1306106" y="568973"/>
                  </a:lnTo>
                  <a:lnTo>
                    <a:pt x="1306652" y="568973"/>
                  </a:lnTo>
                  <a:lnTo>
                    <a:pt x="1306652" y="569621"/>
                  </a:lnTo>
                  <a:lnTo>
                    <a:pt x="1306703" y="569621"/>
                  </a:lnTo>
                  <a:lnTo>
                    <a:pt x="1306703" y="570256"/>
                  </a:lnTo>
                  <a:lnTo>
                    <a:pt x="1306753" y="569621"/>
                  </a:lnTo>
                  <a:lnTo>
                    <a:pt x="1307007" y="569621"/>
                  </a:lnTo>
                  <a:lnTo>
                    <a:pt x="1307007" y="568973"/>
                  </a:lnTo>
                  <a:lnTo>
                    <a:pt x="1307096" y="569621"/>
                  </a:lnTo>
                  <a:lnTo>
                    <a:pt x="1307350" y="569621"/>
                  </a:lnTo>
                  <a:lnTo>
                    <a:pt x="1307350" y="570256"/>
                  </a:lnTo>
                  <a:lnTo>
                    <a:pt x="1307642" y="570256"/>
                  </a:lnTo>
                  <a:lnTo>
                    <a:pt x="1307693" y="570954"/>
                  </a:lnTo>
                  <a:lnTo>
                    <a:pt x="1307795" y="570954"/>
                  </a:lnTo>
                  <a:lnTo>
                    <a:pt x="1307795" y="570256"/>
                  </a:lnTo>
                  <a:lnTo>
                    <a:pt x="1307896" y="570256"/>
                  </a:lnTo>
                  <a:lnTo>
                    <a:pt x="1307998" y="569621"/>
                  </a:lnTo>
                  <a:lnTo>
                    <a:pt x="1308049" y="567627"/>
                  </a:lnTo>
                  <a:lnTo>
                    <a:pt x="1308100" y="567627"/>
                  </a:lnTo>
                  <a:lnTo>
                    <a:pt x="1308100" y="567042"/>
                  </a:lnTo>
                  <a:lnTo>
                    <a:pt x="1308239" y="567042"/>
                  </a:lnTo>
                  <a:lnTo>
                    <a:pt x="1308290" y="567627"/>
                  </a:lnTo>
                  <a:lnTo>
                    <a:pt x="1308341" y="567627"/>
                  </a:lnTo>
                  <a:lnTo>
                    <a:pt x="1308442" y="568973"/>
                  </a:lnTo>
                  <a:lnTo>
                    <a:pt x="1308595" y="568973"/>
                  </a:lnTo>
                  <a:lnTo>
                    <a:pt x="1308684" y="567627"/>
                  </a:lnTo>
                  <a:lnTo>
                    <a:pt x="1308735" y="567042"/>
                  </a:lnTo>
                  <a:lnTo>
                    <a:pt x="1308735" y="566395"/>
                  </a:lnTo>
                  <a:lnTo>
                    <a:pt x="1308938" y="566395"/>
                  </a:lnTo>
                  <a:lnTo>
                    <a:pt x="1308988" y="567042"/>
                  </a:lnTo>
                  <a:lnTo>
                    <a:pt x="1309039" y="567042"/>
                  </a:lnTo>
                  <a:lnTo>
                    <a:pt x="1309039" y="567627"/>
                  </a:lnTo>
                  <a:lnTo>
                    <a:pt x="1309141" y="567042"/>
                  </a:lnTo>
                  <a:lnTo>
                    <a:pt x="1309179" y="567627"/>
                  </a:lnTo>
                  <a:lnTo>
                    <a:pt x="1309281" y="567627"/>
                  </a:lnTo>
                  <a:lnTo>
                    <a:pt x="1309281" y="568973"/>
                  </a:lnTo>
                  <a:lnTo>
                    <a:pt x="1309382" y="568973"/>
                  </a:lnTo>
                  <a:lnTo>
                    <a:pt x="1309433" y="567627"/>
                  </a:lnTo>
                  <a:lnTo>
                    <a:pt x="1309433" y="568973"/>
                  </a:lnTo>
                  <a:lnTo>
                    <a:pt x="1309878" y="568973"/>
                  </a:lnTo>
                  <a:lnTo>
                    <a:pt x="1309928" y="567627"/>
                  </a:lnTo>
                  <a:lnTo>
                    <a:pt x="1310131" y="567627"/>
                  </a:lnTo>
                  <a:lnTo>
                    <a:pt x="1310182" y="568973"/>
                  </a:lnTo>
                  <a:lnTo>
                    <a:pt x="1310322" y="568973"/>
                  </a:lnTo>
                  <a:lnTo>
                    <a:pt x="1310322" y="569621"/>
                  </a:lnTo>
                  <a:lnTo>
                    <a:pt x="1310373" y="569621"/>
                  </a:lnTo>
                  <a:lnTo>
                    <a:pt x="1310373" y="568973"/>
                  </a:lnTo>
                  <a:lnTo>
                    <a:pt x="1310424" y="569621"/>
                  </a:lnTo>
                  <a:lnTo>
                    <a:pt x="1310525" y="568973"/>
                  </a:lnTo>
                  <a:lnTo>
                    <a:pt x="1310576" y="568973"/>
                  </a:lnTo>
                  <a:lnTo>
                    <a:pt x="1310627" y="567627"/>
                  </a:lnTo>
                  <a:lnTo>
                    <a:pt x="1310627" y="568973"/>
                  </a:lnTo>
                  <a:lnTo>
                    <a:pt x="1310728" y="568973"/>
                  </a:lnTo>
                  <a:lnTo>
                    <a:pt x="1310728" y="567627"/>
                  </a:lnTo>
                  <a:lnTo>
                    <a:pt x="1311617" y="567627"/>
                  </a:lnTo>
                  <a:lnTo>
                    <a:pt x="1311617" y="568973"/>
                  </a:lnTo>
                  <a:lnTo>
                    <a:pt x="1311668" y="568973"/>
                  </a:lnTo>
                  <a:lnTo>
                    <a:pt x="1311668" y="567627"/>
                  </a:lnTo>
                  <a:lnTo>
                    <a:pt x="1311910" y="567627"/>
                  </a:lnTo>
                  <a:lnTo>
                    <a:pt x="1311910" y="568973"/>
                  </a:lnTo>
                  <a:lnTo>
                    <a:pt x="1312011" y="568973"/>
                  </a:lnTo>
                  <a:lnTo>
                    <a:pt x="1312113" y="567627"/>
                  </a:lnTo>
                  <a:lnTo>
                    <a:pt x="1312163" y="567627"/>
                  </a:lnTo>
                  <a:lnTo>
                    <a:pt x="1312163" y="568973"/>
                  </a:lnTo>
                  <a:lnTo>
                    <a:pt x="1312354" y="568973"/>
                  </a:lnTo>
                  <a:lnTo>
                    <a:pt x="1312405" y="569621"/>
                  </a:lnTo>
                  <a:lnTo>
                    <a:pt x="1312405" y="568973"/>
                  </a:lnTo>
                  <a:lnTo>
                    <a:pt x="1312557" y="568973"/>
                  </a:lnTo>
                  <a:lnTo>
                    <a:pt x="1312608" y="569621"/>
                  </a:lnTo>
                  <a:lnTo>
                    <a:pt x="1312659" y="569621"/>
                  </a:lnTo>
                  <a:lnTo>
                    <a:pt x="1312760" y="568973"/>
                  </a:lnTo>
                  <a:lnTo>
                    <a:pt x="1312862" y="568973"/>
                  </a:lnTo>
                  <a:lnTo>
                    <a:pt x="1312900" y="569621"/>
                  </a:lnTo>
                  <a:lnTo>
                    <a:pt x="1313053" y="569621"/>
                  </a:lnTo>
                  <a:lnTo>
                    <a:pt x="1313053" y="568973"/>
                  </a:lnTo>
                  <a:lnTo>
                    <a:pt x="1313103" y="569621"/>
                  </a:lnTo>
                  <a:lnTo>
                    <a:pt x="1313446" y="569621"/>
                  </a:lnTo>
                  <a:lnTo>
                    <a:pt x="1313446" y="570256"/>
                  </a:lnTo>
                  <a:lnTo>
                    <a:pt x="1313599" y="570256"/>
                  </a:lnTo>
                  <a:lnTo>
                    <a:pt x="1313700" y="570954"/>
                  </a:lnTo>
                  <a:lnTo>
                    <a:pt x="1313751" y="570954"/>
                  </a:lnTo>
                  <a:lnTo>
                    <a:pt x="1313751" y="570256"/>
                  </a:lnTo>
                  <a:lnTo>
                    <a:pt x="1313802" y="570954"/>
                  </a:lnTo>
                  <a:lnTo>
                    <a:pt x="1313903" y="570954"/>
                  </a:lnTo>
                  <a:lnTo>
                    <a:pt x="1313941" y="570256"/>
                  </a:lnTo>
                  <a:lnTo>
                    <a:pt x="1313941" y="569621"/>
                  </a:lnTo>
                  <a:lnTo>
                    <a:pt x="1313992" y="568973"/>
                  </a:lnTo>
                  <a:lnTo>
                    <a:pt x="1313992" y="567627"/>
                  </a:lnTo>
                  <a:lnTo>
                    <a:pt x="1314196" y="567627"/>
                  </a:lnTo>
                  <a:lnTo>
                    <a:pt x="1314246" y="568973"/>
                  </a:lnTo>
                  <a:lnTo>
                    <a:pt x="1314348" y="569621"/>
                  </a:lnTo>
                  <a:lnTo>
                    <a:pt x="1314399" y="569621"/>
                  </a:lnTo>
                  <a:lnTo>
                    <a:pt x="1314399" y="570256"/>
                  </a:lnTo>
                  <a:lnTo>
                    <a:pt x="1314488" y="568973"/>
                  </a:lnTo>
                  <a:lnTo>
                    <a:pt x="1314488" y="567042"/>
                  </a:lnTo>
                  <a:lnTo>
                    <a:pt x="1314589" y="566395"/>
                  </a:lnTo>
                  <a:lnTo>
                    <a:pt x="1314589" y="565747"/>
                  </a:lnTo>
                  <a:lnTo>
                    <a:pt x="1314640" y="566395"/>
                  </a:lnTo>
                  <a:lnTo>
                    <a:pt x="1314792" y="566395"/>
                  </a:lnTo>
                  <a:lnTo>
                    <a:pt x="1314843" y="567042"/>
                  </a:lnTo>
                  <a:lnTo>
                    <a:pt x="1314894" y="567042"/>
                  </a:lnTo>
                  <a:lnTo>
                    <a:pt x="1314945" y="567627"/>
                  </a:lnTo>
                  <a:lnTo>
                    <a:pt x="1315085" y="567627"/>
                  </a:lnTo>
                  <a:lnTo>
                    <a:pt x="1315135" y="568973"/>
                  </a:lnTo>
                  <a:lnTo>
                    <a:pt x="1315288" y="568973"/>
                  </a:lnTo>
                  <a:lnTo>
                    <a:pt x="1315288" y="569621"/>
                  </a:lnTo>
                  <a:lnTo>
                    <a:pt x="1315338" y="569621"/>
                  </a:lnTo>
                  <a:lnTo>
                    <a:pt x="1315389" y="568973"/>
                  </a:lnTo>
                  <a:lnTo>
                    <a:pt x="1315529" y="568973"/>
                  </a:lnTo>
                  <a:lnTo>
                    <a:pt x="1315580" y="569621"/>
                  </a:lnTo>
                  <a:lnTo>
                    <a:pt x="1315580" y="568973"/>
                  </a:lnTo>
                  <a:lnTo>
                    <a:pt x="1315783" y="568973"/>
                  </a:lnTo>
                  <a:lnTo>
                    <a:pt x="1315783" y="569621"/>
                  </a:lnTo>
                  <a:lnTo>
                    <a:pt x="1315834" y="568973"/>
                  </a:lnTo>
                  <a:lnTo>
                    <a:pt x="1315986" y="568973"/>
                  </a:lnTo>
                  <a:lnTo>
                    <a:pt x="1316037" y="567627"/>
                  </a:lnTo>
                  <a:lnTo>
                    <a:pt x="1316037" y="568973"/>
                  </a:lnTo>
                  <a:lnTo>
                    <a:pt x="1316228" y="568973"/>
                  </a:lnTo>
                  <a:lnTo>
                    <a:pt x="1316278" y="569621"/>
                  </a:lnTo>
                  <a:lnTo>
                    <a:pt x="1316431" y="569621"/>
                  </a:lnTo>
                  <a:lnTo>
                    <a:pt x="1316431" y="568973"/>
                  </a:lnTo>
                  <a:lnTo>
                    <a:pt x="1316621" y="568973"/>
                  </a:lnTo>
                  <a:lnTo>
                    <a:pt x="1316621" y="569621"/>
                  </a:lnTo>
                  <a:lnTo>
                    <a:pt x="1316672" y="568973"/>
                  </a:lnTo>
                  <a:lnTo>
                    <a:pt x="1316774" y="568973"/>
                  </a:lnTo>
                  <a:lnTo>
                    <a:pt x="1316774" y="567627"/>
                  </a:lnTo>
                  <a:lnTo>
                    <a:pt x="1316926" y="567627"/>
                  </a:lnTo>
                  <a:lnTo>
                    <a:pt x="1316977" y="568973"/>
                  </a:lnTo>
                  <a:lnTo>
                    <a:pt x="1316977" y="567627"/>
                  </a:lnTo>
                  <a:lnTo>
                    <a:pt x="1317078" y="568973"/>
                  </a:lnTo>
                  <a:lnTo>
                    <a:pt x="1317167" y="568973"/>
                  </a:lnTo>
                  <a:lnTo>
                    <a:pt x="1317218" y="567627"/>
                  </a:lnTo>
                  <a:lnTo>
                    <a:pt x="1317218" y="568973"/>
                  </a:lnTo>
                  <a:lnTo>
                    <a:pt x="1317663" y="568973"/>
                  </a:lnTo>
                  <a:lnTo>
                    <a:pt x="1317663" y="569621"/>
                  </a:lnTo>
                  <a:lnTo>
                    <a:pt x="1317866" y="569621"/>
                  </a:lnTo>
                  <a:lnTo>
                    <a:pt x="1317866" y="568973"/>
                  </a:lnTo>
                  <a:lnTo>
                    <a:pt x="1318120" y="568973"/>
                  </a:lnTo>
                  <a:lnTo>
                    <a:pt x="1318120" y="569621"/>
                  </a:lnTo>
                  <a:lnTo>
                    <a:pt x="1318361" y="569621"/>
                  </a:lnTo>
                  <a:lnTo>
                    <a:pt x="1318463" y="570256"/>
                  </a:lnTo>
                  <a:lnTo>
                    <a:pt x="1318666" y="570256"/>
                  </a:lnTo>
                  <a:lnTo>
                    <a:pt x="1318666" y="569621"/>
                  </a:lnTo>
                  <a:lnTo>
                    <a:pt x="1318755" y="569621"/>
                  </a:lnTo>
                  <a:lnTo>
                    <a:pt x="1318806" y="570256"/>
                  </a:lnTo>
                  <a:lnTo>
                    <a:pt x="1318806" y="569621"/>
                  </a:lnTo>
                  <a:lnTo>
                    <a:pt x="1318907" y="569621"/>
                  </a:lnTo>
                  <a:lnTo>
                    <a:pt x="1318907" y="570256"/>
                  </a:lnTo>
                  <a:lnTo>
                    <a:pt x="1319352" y="570256"/>
                  </a:lnTo>
                  <a:lnTo>
                    <a:pt x="1319403" y="570954"/>
                  </a:lnTo>
                  <a:lnTo>
                    <a:pt x="1319707" y="570954"/>
                  </a:lnTo>
                  <a:lnTo>
                    <a:pt x="1319707" y="572249"/>
                  </a:lnTo>
                  <a:lnTo>
                    <a:pt x="1319796" y="570954"/>
                  </a:lnTo>
                  <a:lnTo>
                    <a:pt x="1319847" y="570954"/>
                  </a:lnTo>
                  <a:lnTo>
                    <a:pt x="1319847" y="570256"/>
                  </a:lnTo>
                  <a:lnTo>
                    <a:pt x="1319898" y="570256"/>
                  </a:lnTo>
                  <a:lnTo>
                    <a:pt x="1319949" y="569621"/>
                  </a:lnTo>
                  <a:lnTo>
                    <a:pt x="1320050" y="569621"/>
                  </a:lnTo>
                  <a:lnTo>
                    <a:pt x="1320050" y="568973"/>
                  </a:lnTo>
                  <a:lnTo>
                    <a:pt x="1320101" y="568973"/>
                  </a:lnTo>
                  <a:lnTo>
                    <a:pt x="1320101" y="567627"/>
                  </a:lnTo>
                  <a:lnTo>
                    <a:pt x="1320152" y="568973"/>
                  </a:lnTo>
                  <a:lnTo>
                    <a:pt x="1320253" y="568973"/>
                  </a:lnTo>
                  <a:lnTo>
                    <a:pt x="1320291" y="569621"/>
                  </a:lnTo>
                  <a:lnTo>
                    <a:pt x="1320393" y="569621"/>
                  </a:lnTo>
                  <a:lnTo>
                    <a:pt x="1320393" y="570256"/>
                  </a:lnTo>
                  <a:lnTo>
                    <a:pt x="1320546" y="570256"/>
                  </a:lnTo>
                  <a:lnTo>
                    <a:pt x="1320546" y="569621"/>
                  </a:lnTo>
                  <a:lnTo>
                    <a:pt x="1320596" y="568973"/>
                  </a:lnTo>
                  <a:lnTo>
                    <a:pt x="1320596" y="567042"/>
                  </a:lnTo>
                  <a:lnTo>
                    <a:pt x="1320698" y="566395"/>
                  </a:lnTo>
                  <a:lnTo>
                    <a:pt x="1320749" y="566395"/>
                  </a:lnTo>
                  <a:lnTo>
                    <a:pt x="1320749" y="567042"/>
                  </a:lnTo>
                  <a:lnTo>
                    <a:pt x="1320838" y="567042"/>
                  </a:lnTo>
                  <a:lnTo>
                    <a:pt x="1320939" y="567627"/>
                  </a:lnTo>
                  <a:lnTo>
                    <a:pt x="1320990" y="567627"/>
                  </a:lnTo>
                  <a:lnTo>
                    <a:pt x="1320990" y="568973"/>
                  </a:lnTo>
                  <a:lnTo>
                    <a:pt x="1321041" y="568973"/>
                  </a:lnTo>
                  <a:lnTo>
                    <a:pt x="1321142" y="569621"/>
                  </a:lnTo>
                  <a:lnTo>
                    <a:pt x="1321244" y="569621"/>
                  </a:lnTo>
                  <a:lnTo>
                    <a:pt x="1321295" y="568973"/>
                  </a:lnTo>
                  <a:lnTo>
                    <a:pt x="1321688" y="568973"/>
                  </a:lnTo>
                  <a:lnTo>
                    <a:pt x="1321739" y="569621"/>
                  </a:lnTo>
                  <a:lnTo>
                    <a:pt x="1321841" y="569621"/>
                  </a:lnTo>
                  <a:lnTo>
                    <a:pt x="1321879" y="568973"/>
                  </a:lnTo>
                  <a:lnTo>
                    <a:pt x="1321930" y="568973"/>
                  </a:lnTo>
                  <a:lnTo>
                    <a:pt x="1321981" y="569621"/>
                  </a:lnTo>
                  <a:lnTo>
                    <a:pt x="1322133" y="569621"/>
                  </a:lnTo>
                  <a:lnTo>
                    <a:pt x="1322133" y="568973"/>
                  </a:lnTo>
                  <a:lnTo>
                    <a:pt x="1322184" y="569621"/>
                  </a:lnTo>
                  <a:lnTo>
                    <a:pt x="1322184" y="568973"/>
                  </a:lnTo>
                  <a:lnTo>
                    <a:pt x="1322336" y="568973"/>
                  </a:lnTo>
                  <a:lnTo>
                    <a:pt x="1322387" y="569621"/>
                  </a:lnTo>
                  <a:lnTo>
                    <a:pt x="1322425" y="569621"/>
                  </a:lnTo>
                  <a:lnTo>
                    <a:pt x="1322527" y="568973"/>
                  </a:lnTo>
                  <a:lnTo>
                    <a:pt x="1322730" y="568973"/>
                  </a:lnTo>
                  <a:lnTo>
                    <a:pt x="1322781" y="569621"/>
                  </a:lnTo>
                  <a:lnTo>
                    <a:pt x="1322781" y="568973"/>
                  </a:lnTo>
                  <a:lnTo>
                    <a:pt x="1322882" y="568973"/>
                  </a:lnTo>
                  <a:lnTo>
                    <a:pt x="1322882" y="569621"/>
                  </a:lnTo>
                  <a:lnTo>
                    <a:pt x="1322971" y="568973"/>
                  </a:lnTo>
                  <a:lnTo>
                    <a:pt x="1323022" y="569621"/>
                  </a:lnTo>
                  <a:lnTo>
                    <a:pt x="1323073" y="569621"/>
                  </a:lnTo>
                  <a:lnTo>
                    <a:pt x="1323124" y="568973"/>
                  </a:lnTo>
                  <a:lnTo>
                    <a:pt x="1323225" y="569621"/>
                  </a:lnTo>
                  <a:lnTo>
                    <a:pt x="1323466" y="569621"/>
                  </a:lnTo>
                  <a:lnTo>
                    <a:pt x="1323466" y="568973"/>
                  </a:lnTo>
                  <a:lnTo>
                    <a:pt x="1323670" y="568973"/>
                  </a:lnTo>
                  <a:lnTo>
                    <a:pt x="1323670" y="569621"/>
                  </a:lnTo>
                  <a:lnTo>
                    <a:pt x="1323721" y="568973"/>
                  </a:lnTo>
                  <a:lnTo>
                    <a:pt x="1323771" y="568973"/>
                  </a:lnTo>
                  <a:lnTo>
                    <a:pt x="1323873" y="569621"/>
                  </a:lnTo>
                  <a:lnTo>
                    <a:pt x="1323975" y="569621"/>
                  </a:lnTo>
                  <a:lnTo>
                    <a:pt x="1323975" y="568973"/>
                  </a:lnTo>
                  <a:lnTo>
                    <a:pt x="1324013" y="569621"/>
                  </a:lnTo>
                  <a:lnTo>
                    <a:pt x="1324013" y="568973"/>
                  </a:lnTo>
                  <a:lnTo>
                    <a:pt x="1324114" y="568973"/>
                  </a:lnTo>
                  <a:lnTo>
                    <a:pt x="1324114" y="569621"/>
                  </a:lnTo>
                  <a:lnTo>
                    <a:pt x="1324317" y="569621"/>
                  </a:lnTo>
                  <a:lnTo>
                    <a:pt x="1324317" y="568973"/>
                  </a:lnTo>
                  <a:lnTo>
                    <a:pt x="1324368" y="568973"/>
                  </a:lnTo>
                  <a:lnTo>
                    <a:pt x="1324368" y="569621"/>
                  </a:lnTo>
                  <a:lnTo>
                    <a:pt x="1324559" y="569621"/>
                  </a:lnTo>
                  <a:lnTo>
                    <a:pt x="1324610" y="570256"/>
                  </a:lnTo>
                  <a:lnTo>
                    <a:pt x="1324813" y="570256"/>
                  </a:lnTo>
                  <a:lnTo>
                    <a:pt x="1324813" y="569621"/>
                  </a:lnTo>
                  <a:lnTo>
                    <a:pt x="1324914" y="569621"/>
                  </a:lnTo>
                  <a:lnTo>
                    <a:pt x="1325016" y="570256"/>
                  </a:lnTo>
                  <a:lnTo>
                    <a:pt x="1325359" y="570256"/>
                  </a:lnTo>
                  <a:lnTo>
                    <a:pt x="1325460" y="570954"/>
                  </a:lnTo>
                  <a:lnTo>
                    <a:pt x="1325460" y="570256"/>
                  </a:lnTo>
                  <a:lnTo>
                    <a:pt x="1325511" y="570954"/>
                  </a:lnTo>
                  <a:lnTo>
                    <a:pt x="1325562" y="570954"/>
                  </a:lnTo>
                  <a:lnTo>
                    <a:pt x="1325562" y="572249"/>
                  </a:lnTo>
                  <a:lnTo>
                    <a:pt x="1325600" y="570954"/>
                  </a:lnTo>
                  <a:lnTo>
                    <a:pt x="1325753" y="570954"/>
                  </a:lnTo>
                  <a:lnTo>
                    <a:pt x="1325803" y="570256"/>
                  </a:lnTo>
                  <a:lnTo>
                    <a:pt x="1325905" y="569621"/>
                  </a:lnTo>
                  <a:lnTo>
                    <a:pt x="1325905" y="568973"/>
                  </a:lnTo>
                  <a:lnTo>
                    <a:pt x="1325956" y="568973"/>
                  </a:lnTo>
                  <a:lnTo>
                    <a:pt x="1325956" y="567627"/>
                  </a:lnTo>
                  <a:lnTo>
                    <a:pt x="1326006" y="568973"/>
                  </a:lnTo>
                  <a:lnTo>
                    <a:pt x="1326146" y="568973"/>
                  </a:lnTo>
                  <a:lnTo>
                    <a:pt x="1326197" y="569621"/>
                  </a:lnTo>
                  <a:lnTo>
                    <a:pt x="1326197" y="570256"/>
                  </a:lnTo>
                  <a:lnTo>
                    <a:pt x="1326248" y="570256"/>
                  </a:lnTo>
                  <a:lnTo>
                    <a:pt x="1326299" y="570954"/>
                  </a:lnTo>
                  <a:lnTo>
                    <a:pt x="1326299" y="570256"/>
                  </a:lnTo>
                  <a:lnTo>
                    <a:pt x="1326400" y="570256"/>
                  </a:lnTo>
                  <a:lnTo>
                    <a:pt x="1326451" y="569621"/>
                  </a:lnTo>
                  <a:lnTo>
                    <a:pt x="1326451" y="570256"/>
                  </a:lnTo>
                  <a:lnTo>
                    <a:pt x="1326502" y="569621"/>
                  </a:lnTo>
                  <a:lnTo>
                    <a:pt x="1326502" y="568973"/>
                  </a:lnTo>
                  <a:lnTo>
                    <a:pt x="1326603" y="568973"/>
                  </a:lnTo>
                  <a:lnTo>
                    <a:pt x="1326641" y="567627"/>
                  </a:lnTo>
                  <a:lnTo>
                    <a:pt x="1326641" y="567042"/>
                  </a:lnTo>
                  <a:lnTo>
                    <a:pt x="1326845" y="567042"/>
                  </a:lnTo>
                  <a:lnTo>
                    <a:pt x="1326896" y="567627"/>
                  </a:lnTo>
                  <a:lnTo>
                    <a:pt x="1327048" y="567627"/>
                  </a:lnTo>
                  <a:lnTo>
                    <a:pt x="1327048" y="568973"/>
                  </a:lnTo>
                  <a:lnTo>
                    <a:pt x="1327099" y="568973"/>
                  </a:lnTo>
                  <a:lnTo>
                    <a:pt x="1327150" y="569621"/>
                  </a:lnTo>
                  <a:lnTo>
                    <a:pt x="1327289" y="569621"/>
                  </a:lnTo>
                  <a:lnTo>
                    <a:pt x="1327340" y="570256"/>
                  </a:lnTo>
                  <a:lnTo>
                    <a:pt x="1327340" y="569621"/>
                  </a:lnTo>
                  <a:lnTo>
                    <a:pt x="1327391" y="570256"/>
                  </a:lnTo>
                  <a:lnTo>
                    <a:pt x="1327391" y="569621"/>
                  </a:lnTo>
                  <a:lnTo>
                    <a:pt x="1327492" y="569621"/>
                  </a:lnTo>
                  <a:lnTo>
                    <a:pt x="1327543" y="568973"/>
                  </a:lnTo>
                  <a:lnTo>
                    <a:pt x="1327594" y="568973"/>
                  </a:lnTo>
                  <a:lnTo>
                    <a:pt x="1327594" y="569621"/>
                  </a:lnTo>
                  <a:lnTo>
                    <a:pt x="1327785" y="569621"/>
                  </a:lnTo>
                  <a:lnTo>
                    <a:pt x="1327835" y="568973"/>
                  </a:lnTo>
                  <a:lnTo>
                    <a:pt x="1327886" y="568973"/>
                  </a:lnTo>
                  <a:lnTo>
                    <a:pt x="1327988" y="569621"/>
                  </a:lnTo>
                  <a:lnTo>
                    <a:pt x="1328038" y="569621"/>
                  </a:lnTo>
                  <a:lnTo>
                    <a:pt x="1328089" y="570256"/>
                  </a:lnTo>
                  <a:lnTo>
                    <a:pt x="1328191" y="569621"/>
                  </a:lnTo>
                  <a:lnTo>
                    <a:pt x="1328331" y="569621"/>
                  </a:lnTo>
                  <a:lnTo>
                    <a:pt x="1328432" y="570256"/>
                  </a:lnTo>
                  <a:lnTo>
                    <a:pt x="1328483" y="570256"/>
                  </a:lnTo>
                  <a:lnTo>
                    <a:pt x="1328483" y="569621"/>
                  </a:lnTo>
                  <a:lnTo>
                    <a:pt x="1328686" y="569621"/>
                  </a:lnTo>
                  <a:lnTo>
                    <a:pt x="1328737" y="568973"/>
                  </a:lnTo>
                  <a:lnTo>
                    <a:pt x="1328928" y="568973"/>
                  </a:lnTo>
                  <a:lnTo>
                    <a:pt x="1328928" y="569621"/>
                  </a:lnTo>
                  <a:lnTo>
                    <a:pt x="1328978" y="568973"/>
                  </a:lnTo>
                  <a:lnTo>
                    <a:pt x="1329131" y="568973"/>
                  </a:lnTo>
                  <a:lnTo>
                    <a:pt x="1329131" y="569621"/>
                  </a:lnTo>
                  <a:lnTo>
                    <a:pt x="1329232" y="569621"/>
                  </a:lnTo>
                  <a:lnTo>
                    <a:pt x="1329321" y="568973"/>
                  </a:lnTo>
                  <a:lnTo>
                    <a:pt x="1329372" y="569621"/>
                  </a:lnTo>
                  <a:lnTo>
                    <a:pt x="1329423" y="568973"/>
                  </a:lnTo>
                  <a:lnTo>
                    <a:pt x="1329575" y="568973"/>
                  </a:lnTo>
                  <a:lnTo>
                    <a:pt x="1329575" y="569621"/>
                  </a:lnTo>
                  <a:lnTo>
                    <a:pt x="1329626" y="569621"/>
                  </a:lnTo>
                  <a:lnTo>
                    <a:pt x="1329677" y="568973"/>
                  </a:lnTo>
                  <a:lnTo>
                    <a:pt x="1329677" y="569621"/>
                  </a:lnTo>
                  <a:lnTo>
                    <a:pt x="1329778" y="568973"/>
                  </a:lnTo>
                  <a:lnTo>
                    <a:pt x="1329816" y="568973"/>
                  </a:lnTo>
                  <a:lnTo>
                    <a:pt x="1329867" y="569621"/>
                  </a:lnTo>
                  <a:lnTo>
                    <a:pt x="1330363" y="569621"/>
                  </a:lnTo>
                  <a:lnTo>
                    <a:pt x="1330363" y="570256"/>
                  </a:lnTo>
                  <a:lnTo>
                    <a:pt x="1330464" y="570256"/>
                  </a:lnTo>
                  <a:lnTo>
                    <a:pt x="1330464" y="569621"/>
                  </a:lnTo>
                  <a:lnTo>
                    <a:pt x="1330769" y="569621"/>
                  </a:lnTo>
                  <a:lnTo>
                    <a:pt x="1330769" y="570256"/>
                  </a:lnTo>
                  <a:lnTo>
                    <a:pt x="1330820" y="569621"/>
                  </a:lnTo>
                  <a:lnTo>
                    <a:pt x="1330909" y="569621"/>
                  </a:lnTo>
                  <a:lnTo>
                    <a:pt x="1330909" y="570256"/>
                  </a:lnTo>
                  <a:lnTo>
                    <a:pt x="1330960" y="569621"/>
                  </a:lnTo>
                  <a:lnTo>
                    <a:pt x="1331010" y="570256"/>
                  </a:lnTo>
                  <a:lnTo>
                    <a:pt x="1331213" y="570256"/>
                  </a:lnTo>
                  <a:lnTo>
                    <a:pt x="1331264" y="570954"/>
                  </a:lnTo>
                  <a:lnTo>
                    <a:pt x="1331264" y="570256"/>
                  </a:lnTo>
                  <a:lnTo>
                    <a:pt x="1331366" y="570256"/>
                  </a:lnTo>
                  <a:lnTo>
                    <a:pt x="1331366" y="570954"/>
                  </a:lnTo>
                  <a:lnTo>
                    <a:pt x="1331607" y="570954"/>
                  </a:lnTo>
                  <a:lnTo>
                    <a:pt x="1331658" y="572249"/>
                  </a:lnTo>
                  <a:lnTo>
                    <a:pt x="1331658" y="570954"/>
                  </a:lnTo>
                  <a:lnTo>
                    <a:pt x="1331709" y="570256"/>
                  </a:lnTo>
                  <a:lnTo>
                    <a:pt x="1331810" y="568973"/>
                  </a:lnTo>
                  <a:lnTo>
                    <a:pt x="1331810" y="567627"/>
                  </a:lnTo>
                  <a:lnTo>
                    <a:pt x="1331861" y="567042"/>
                  </a:lnTo>
                  <a:lnTo>
                    <a:pt x="1331912" y="567627"/>
                  </a:lnTo>
                  <a:lnTo>
                    <a:pt x="1332103" y="567627"/>
                  </a:lnTo>
                  <a:lnTo>
                    <a:pt x="1332103" y="568973"/>
                  </a:lnTo>
                  <a:lnTo>
                    <a:pt x="1332255" y="568973"/>
                  </a:lnTo>
                  <a:lnTo>
                    <a:pt x="1332306" y="569621"/>
                  </a:lnTo>
                  <a:lnTo>
                    <a:pt x="1332356" y="569621"/>
                  </a:lnTo>
                  <a:lnTo>
                    <a:pt x="1332407" y="568973"/>
                  </a:lnTo>
                  <a:lnTo>
                    <a:pt x="1332407" y="567627"/>
                  </a:lnTo>
                  <a:lnTo>
                    <a:pt x="1332496" y="567042"/>
                  </a:lnTo>
                  <a:lnTo>
                    <a:pt x="1332801" y="567042"/>
                  </a:lnTo>
                  <a:lnTo>
                    <a:pt x="1332852" y="567627"/>
                  </a:lnTo>
                  <a:lnTo>
                    <a:pt x="1332852" y="568973"/>
                  </a:lnTo>
                  <a:lnTo>
                    <a:pt x="1332953" y="568973"/>
                  </a:lnTo>
                  <a:lnTo>
                    <a:pt x="1332991" y="569621"/>
                  </a:lnTo>
                  <a:lnTo>
                    <a:pt x="1333195" y="569621"/>
                  </a:lnTo>
                  <a:lnTo>
                    <a:pt x="1333246" y="568973"/>
                  </a:lnTo>
                  <a:lnTo>
                    <a:pt x="1333500" y="568973"/>
                  </a:lnTo>
                  <a:lnTo>
                    <a:pt x="1333538" y="569621"/>
                  </a:lnTo>
                  <a:lnTo>
                    <a:pt x="1333639" y="568973"/>
                  </a:lnTo>
                  <a:lnTo>
                    <a:pt x="1333690" y="568973"/>
                  </a:lnTo>
                  <a:lnTo>
                    <a:pt x="1333741" y="569621"/>
                  </a:lnTo>
                  <a:lnTo>
                    <a:pt x="1333893" y="569621"/>
                  </a:lnTo>
                  <a:lnTo>
                    <a:pt x="1333944" y="568973"/>
                  </a:lnTo>
                  <a:lnTo>
                    <a:pt x="1333995" y="568973"/>
                  </a:lnTo>
                  <a:lnTo>
                    <a:pt x="1333995" y="569621"/>
                  </a:lnTo>
                  <a:lnTo>
                    <a:pt x="1334236" y="569621"/>
                  </a:lnTo>
                  <a:lnTo>
                    <a:pt x="1334236" y="568973"/>
                  </a:lnTo>
                  <a:lnTo>
                    <a:pt x="1334338" y="568973"/>
                  </a:lnTo>
                  <a:lnTo>
                    <a:pt x="1334338" y="569621"/>
                  </a:lnTo>
                  <a:lnTo>
                    <a:pt x="1334541" y="569621"/>
                  </a:lnTo>
                  <a:lnTo>
                    <a:pt x="1334541" y="568973"/>
                  </a:lnTo>
                  <a:lnTo>
                    <a:pt x="1334579" y="568973"/>
                  </a:lnTo>
                  <a:lnTo>
                    <a:pt x="1334630" y="567627"/>
                  </a:lnTo>
                  <a:lnTo>
                    <a:pt x="1334630" y="568973"/>
                  </a:lnTo>
                  <a:lnTo>
                    <a:pt x="1334833" y="568973"/>
                  </a:lnTo>
                  <a:lnTo>
                    <a:pt x="1334833" y="569621"/>
                  </a:lnTo>
                  <a:lnTo>
                    <a:pt x="1334985" y="569621"/>
                  </a:lnTo>
                  <a:lnTo>
                    <a:pt x="1334985" y="568973"/>
                  </a:lnTo>
                  <a:lnTo>
                    <a:pt x="1335278" y="568973"/>
                  </a:lnTo>
                  <a:lnTo>
                    <a:pt x="1335278" y="569621"/>
                  </a:lnTo>
                  <a:lnTo>
                    <a:pt x="1335430" y="569621"/>
                  </a:lnTo>
                  <a:lnTo>
                    <a:pt x="1335481" y="568973"/>
                  </a:lnTo>
                  <a:lnTo>
                    <a:pt x="1335481" y="569621"/>
                  </a:lnTo>
                  <a:lnTo>
                    <a:pt x="1335976" y="569621"/>
                  </a:lnTo>
                  <a:lnTo>
                    <a:pt x="1336027" y="570256"/>
                  </a:lnTo>
                  <a:lnTo>
                    <a:pt x="1336128" y="570256"/>
                  </a:lnTo>
                  <a:lnTo>
                    <a:pt x="1336166" y="569621"/>
                  </a:lnTo>
                  <a:lnTo>
                    <a:pt x="1336166" y="570256"/>
                  </a:lnTo>
                  <a:lnTo>
                    <a:pt x="1336217" y="570256"/>
                  </a:lnTo>
                  <a:lnTo>
                    <a:pt x="1336268" y="569621"/>
                  </a:lnTo>
                  <a:lnTo>
                    <a:pt x="1336675" y="569621"/>
                  </a:lnTo>
                  <a:lnTo>
                    <a:pt x="1336675" y="570256"/>
                  </a:lnTo>
                  <a:lnTo>
                    <a:pt x="1336814" y="570256"/>
                  </a:lnTo>
                  <a:lnTo>
                    <a:pt x="1336865" y="569621"/>
                  </a:lnTo>
                  <a:lnTo>
                    <a:pt x="1337017" y="569621"/>
                  </a:lnTo>
                  <a:lnTo>
                    <a:pt x="1337017" y="570256"/>
                  </a:lnTo>
                  <a:lnTo>
                    <a:pt x="1337068" y="570954"/>
                  </a:lnTo>
                  <a:lnTo>
                    <a:pt x="1337068" y="570256"/>
                  </a:lnTo>
                  <a:lnTo>
                    <a:pt x="1337259" y="570256"/>
                  </a:lnTo>
                  <a:lnTo>
                    <a:pt x="1337310" y="570954"/>
                  </a:lnTo>
                  <a:lnTo>
                    <a:pt x="1337360" y="572249"/>
                  </a:lnTo>
                  <a:lnTo>
                    <a:pt x="1337411" y="570954"/>
                  </a:lnTo>
                  <a:lnTo>
                    <a:pt x="1337563" y="570954"/>
                  </a:lnTo>
                  <a:lnTo>
                    <a:pt x="1337563" y="572249"/>
                  </a:lnTo>
                  <a:lnTo>
                    <a:pt x="1337614" y="570954"/>
                  </a:lnTo>
                  <a:lnTo>
                    <a:pt x="1337614" y="570256"/>
                  </a:lnTo>
                  <a:lnTo>
                    <a:pt x="1337716" y="570256"/>
                  </a:lnTo>
                  <a:lnTo>
                    <a:pt x="1337716" y="568973"/>
                  </a:lnTo>
                  <a:lnTo>
                    <a:pt x="1337754" y="568973"/>
                  </a:lnTo>
                  <a:lnTo>
                    <a:pt x="1337754" y="567627"/>
                  </a:lnTo>
                  <a:lnTo>
                    <a:pt x="1337805" y="567042"/>
                  </a:lnTo>
                  <a:lnTo>
                    <a:pt x="1337856" y="567627"/>
                  </a:lnTo>
                  <a:lnTo>
                    <a:pt x="1337957" y="567627"/>
                  </a:lnTo>
                  <a:lnTo>
                    <a:pt x="1337957" y="568973"/>
                  </a:lnTo>
                  <a:lnTo>
                    <a:pt x="1338008" y="568973"/>
                  </a:lnTo>
                  <a:lnTo>
                    <a:pt x="1338059" y="569621"/>
                  </a:lnTo>
                  <a:lnTo>
                    <a:pt x="1338211" y="569621"/>
                  </a:lnTo>
                  <a:lnTo>
                    <a:pt x="1338211" y="568973"/>
                  </a:lnTo>
                  <a:lnTo>
                    <a:pt x="1338262" y="567627"/>
                  </a:lnTo>
                  <a:lnTo>
                    <a:pt x="1338262" y="567042"/>
                  </a:lnTo>
                  <a:lnTo>
                    <a:pt x="1338300" y="567042"/>
                  </a:lnTo>
                  <a:lnTo>
                    <a:pt x="1338300" y="566395"/>
                  </a:lnTo>
                  <a:lnTo>
                    <a:pt x="1338402" y="567042"/>
                  </a:lnTo>
                  <a:lnTo>
                    <a:pt x="1338656" y="567042"/>
                  </a:lnTo>
                  <a:lnTo>
                    <a:pt x="1338656" y="567627"/>
                  </a:lnTo>
                  <a:lnTo>
                    <a:pt x="1338757" y="567627"/>
                  </a:lnTo>
                  <a:lnTo>
                    <a:pt x="1338757" y="568973"/>
                  </a:lnTo>
                  <a:lnTo>
                    <a:pt x="1338846" y="567627"/>
                  </a:lnTo>
                  <a:lnTo>
                    <a:pt x="1338846" y="568973"/>
                  </a:lnTo>
                  <a:lnTo>
                    <a:pt x="1339100" y="568973"/>
                  </a:lnTo>
                  <a:lnTo>
                    <a:pt x="1339100" y="569621"/>
                  </a:lnTo>
                  <a:lnTo>
                    <a:pt x="1339151" y="569621"/>
                  </a:lnTo>
                  <a:lnTo>
                    <a:pt x="1339202" y="568973"/>
                  </a:lnTo>
                  <a:lnTo>
                    <a:pt x="1339303" y="568973"/>
                  </a:lnTo>
                  <a:lnTo>
                    <a:pt x="1339341" y="569621"/>
                  </a:lnTo>
                  <a:lnTo>
                    <a:pt x="1339392" y="569621"/>
                  </a:lnTo>
                  <a:lnTo>
                    <a:pt x="1339443" y="568973"/>
                  </a:lnTo>
                  <a:lnTo>
                    <a:pt x="1339888" y="568973"/>
                  </a:lnTo>
                  <a:lnTo>
                    <a:pt x="1339888" y="569621"/>
                  </a:lnTo>
                  <a:lnTo>
                    <a:pt x="1339989" y="570256"/>
                  </a:lnTo>
                  <a:lnTo>
                    <a:pt x="1340040" y="569621"/>
                  </a:lnTo>
                  <a:lnTo>
                    <a:pt x="1340040" y="570256"/>
                  </a:lnTo>
                  <a:lnTo>
                    <a:pt x="1340091" y="569621"/>
                  </a:lnTo>
                  <a:lnTo>
                    <a:pt x="1340345" y="569621"/>
                  </a:lnTo>
                  <a:lnTo>
                    <a:pt x="1340345" y="568973"/>
                  </a:lnTo>
                  <a:lnTo>
                    <a:pt x="1340434" y="569621"/>
                  </a:lnTo>
                  <a:lnTo>
                    <a:pt x="1340485" y="568973"/>
                  </a:lnTo>
                  <a:lnTo>
                    <a:pt x="1340485" y="569621"/>
                  </a:lnTo>
                  <a:lnTo>
                    <a:pt x="1340535" y="568973"/>
                  </a:lnTo>
                  <a:lnTo>
                    <a:pt x="1340586" y="568973"/>
                  </a:lnTo>
                  <a:lnTo>
                    <a:pt x="1340688" y="569621"/>
                  </a:lnTo>
                  <a:lnTo>
                    <a:pt x="1341234" y="569621"/>
                  </a:lnTo>
                  <a:lnTo>
                    <a:pt x="1341335" y="568973"/>
                  </a:lnTo>
                  <a:lnTo>
                    <a:pt x="1341335" y="569621"/>
                  </a:lnTo>
                  <a:lnTo>
                    <a:pt x="1341678" y="569621"/>
                  </a:lnTo>
                  <a:lnTo>
                    <a:pt x="1341678" y="570256"/>
                  </a:lnTo>
                  <a:lnTo>
                    <a:pt x="1341831" y="570256"/>
                  </a:lnTo>
                  <a:lnTo>
                    <a:pt x="1341881" y="569621"/>
                  </a:lnTo>
                  <a:lnTo>
                    <a:pt x="1341932" y="569621"/>
                  </a:lnTo>
                  <a:lnTo>
                    <a:pt x="1342021" y="570256"/>
                  </a:lnTo>
                  <a:lnTo>
                    <a:pt x="1342123" y="570256"/>
                  </a:lnTo>
                  <a:lnTo>
                    <a:pt x="1342123" y="569621"/>
                  </a:lnTo>
                  <a:lnTo>
                    <a:pt x="1342174" y="570256"/>
                  </a:lnTo>
                  <a:lnTo>
                    <a:pt x="1342516" y="570256"/>
                  </a:lnTo>
                  <a:lnTo>
                    <a:pt x="1342567" y="569621"/>
                  </a:lnTo>
                  <a:lnTo>
                    <a:pt x="1342567" y="570256"/>
                  </a:lnTo>
                  <a:lnTo>
                    <a:pt x="1342618" y="570256"/>
                  </a:lnTo>
                  <a:lnTo>
                    <a:pt x="1342720" y="570954"/>
                  </a:lnTo>
                  <a:lnTo>
                    <a:pt x="1342821" y="570954"/>
                  </a:lnTo>
                  <a:lnTo>
                    <a:pt x="1342821" y="570256"/>
                  </a:lnTo>
                  <a:lnTo>
                    <a:pt x="1342923" y="570954"/>
                  </a:lnTo>
                  <a:lnTo>
                    <a:pt x="1343266" y="570954"/>
                  </a:lnTo>
                  <a:lnTo>
                    <a:pt x="1343367" y="572249"/>
                  </a:lnTo>
                  <a:lnTo>
                    <a:pt x="1343418" y="572249"/>
                  </a:lnTo>
                  <a:lnTo>
                    <a:pt x="1343418" y="570954"/>
                  </a:lnTo>
                  <a:lnTo>
                    <a:pt x="1343469" y="570954"/>
                  </a:lnTo>
                  <a:lnTo>
                    <a:pt x="1343469" y="570256"/>
                  </a:lnTo>
                  <a:lnTo>
                    <a:pt x="1343520" y="569621"/>
                  </a:lnTo>
                  <a:lnTo>
                    <a:pt x="1343520" y="568973"/>
                  </a:lnTo>
                  <a:lnTo>
                    <a:pt x="1343660" y="568973"/>
                  </a:lnTo>
                  <a:lnTo>
                    <a:pt x="1343710" y="567627"/>
                  </a:lnTo>
                  <a:lnTo>
                    <a:pt x="1343710" y="568973"/>
                  </a:lnTo>
                  <a:lnTo>
                    <a:pt x="1343863" y="568973"/>
                  </a:lnTo>
                  <a:lnTo>
                    <a:pt x="1343863" y="569621"/>
                  </a:lnTo>
                  <a:lnTo>
                    <a:pt x="1343964" y="569621"/>
                  </a:lnTo>
                  <a:lnTo>
                    <a:pt x="1343964" y="570256"/>
                  </a:lnTo>
                  <a:lnTo>
                    <a:pt x="1344066" y="570256"/>
                  </a:lnTo>
                  <a:lnTo>
                    <a:pt x="1344066" y="569621"/>
                  </a:lnTo>
                  <a:lnTo>
                    <a:pt x="1344104" y="568973"/>
                  </a:lnTo>
                  <a:lnTo>
                    <a:pt x="1344104" y="567627"/>
                  </a:lnTo>
                  <a:lnTo>
                    <a:pt x="1344155" y="567042"/>
                  </a:lnTo>
                  <a:lnTo>
                    <a:pt x="1344409" y="567042"/>
                  </a:lnTo>
                  <a:lnTo>
                    <a:pt x="1344510" y="567627"/>
                  </a:lnTo>
                  <a:lnTo>
                    <a:pt x="1344612" y="567627"/>
                  </a:lnTo>
                  <a:lnTo>
                    <a:pt x="1344612" y="568973"/>
                  </a:lnTo>
                  <a:lnTo>
                    <a:pt x="1344752" y="568973"/>
                  </a:lnTo>
                  <a:lnTo>
                    <a:pt x="1344803" y="569621"/>
                  </a:lnTo>
                  <a:lnTo>
                    <a:pt x="1344853" y="569621"/>
                  </a:lnTo>
                  <a:lnTo>
                    <a:pt x="1344853" y="568973"/>
                  </a:lnTo>
                  <a:lnTo>
                    <a:pt x="1344955" y="568973"/>
                  </a:lnTo>
                  <a:lnTo>
                    <a:pt x="1345006" y="569621"/>
                  </a:lnTo>
                  <a:lnTo>
                    <a:pt x="1345450" y="569621"/>
                  </a:lnTo>
                  <a:lnTo>
                    <a:pt x="1345501" y="568973"/>
                  </a:lnTo>
                  <a:lnTo>
                    <a:pt x="1345742" y="568973"/>
                  </a:lnTo>
                  <a:lnTo>
                    <a:pt x="1345742" y="569621"/>
                  </a:lnTo>
                  <a:lnTo>
                    <a:pt x="1345996" y="569621"/>
                  </a:lnTo>
                  <a:lnTo>
                    <a:pt x="1346098" y="568973"/>
                  </a:lnTo>
                  <a:lnTo>
                    <a:pt x="1346098" y="569621"/>
                  </a:lnTo>
                  <a:lnTo>
                    <a:pt x="1346149" y="569621"/>
                  </a:lnTo>
                  <a:lnTo>
                    <a:pt x="1346149" y="568973"/>
                  </a:lnTo>
                  <a:lnTo>
                    <a:pt x="1346238" y="568973"/>
                  </a:lnTo>
                  <a:lnTo>
                    <a:pt x="1346339" y="569621"/>
                  </a:lnTo>
                  <a:lnTo>
                    <a:pt x="1346390" y="568973"/>
                  </a:lnTo>
                  <a:lnTo>
                    <a:pt x="1346441" y="568973"/>
                  </a:lnTo>
                  <a:lnTo>
                    <a:pt x="1346542" y="569621"/>
                  </a:lnTo>
                  <a:lnTo>
                    <a:pt x="1346593" y="569621"/>
                  </a:lnTo>
                  <a:lnTo>
                    <a:pt x="1346593" y="568973"/>
                  </a:lnTo>
                  <a:lnTo>
                    <a:pt x="1346644" y="568973"/>
                  </a:lnTo>
                  <a:lnTo>
                    <a:pt x="1346695" y="569621"/>
                  </a:lnTo>
                  <a:lnTo>
                    <a:pt x="1346784" y="569621"/>
                  </a:lnTo>
                  <a:lnTo>
                    <a:pt x="1346835" y="568973"/>
                  </a:lnTo>
                  <a:lnTo>
                    <a:pt x="1346885" y="569621"/>
                  </a:lnTo>
                  <a:lnTo>
                    <a:pt x="1347038" y="569621"/>
                  </a:lnTo>
                  <a:lnTo>
                    <a:pt x="1347088" y="568973"/>
                  </a:lnTo>
                  <a:lnTo>
                    <a:pt x="1347139" y="569621"/>
                  </a:lnTo>
                  <a:lnTo>
                    <a:pt x="1347139" y="568973"/>
                  </a:lnTo>
                  <a:lnTo>
                    <a:pt x="1347241" y="569621"/>
                  </a:lnTo>
                  <a:lnTo>
                    <a:pt x="1347381" y="569621"/>
                  </a:lnTo>
                  <a:lnTo>
                    <a:pt x="1347482" y="570256"/>
                  </a:lnTo>
                  <a:lnTo>
                    <a:pt x="1347736" y="570256"/>
                  </a:lnTo>
                  <a:lnTo>
                    <a:pt x="1347736" y="569621"/>
                  </a:lnTo>
                  <a:lnTo>
                    <a:pt x="1347787" y="569621"/>
                  </a:lnTo>
                  <a:lnTo>
                    <a:pt x="1347787" y="570256"/>
                  </a:lnTo>
                  <a:lnTo>
                    <a:pt x="1347825" y="569621"/>
                  </a:lnTo>
                  <a:lnTo>
                    <a:pt x="1348028" y="569621"/>
                  </a:lnTo>
                  <a:lnTo>
                    <a:pt x="1348130" y="570256"/>
                  </a:lnTo>
                  <a:lnTo>
                    <a:pt x="1348371" y="570256"/>
                  </a:lnTo>
                  <a:lnTo>
                    <a:pt x="1348422" y="570954"/>
                  </a:lnTo>
                  <a:lnTo>
                    <a:pt x="1348422" y="570256"/>
                  </a:lnTo>
                  <a:lnTo>
                    <a:pt x="1348625" y="570256"/>
                  </a:lnTo>
                  <a:lnTo>
                    <a:pt x="1348676" y="570954"/>
                  </a:lnTo>
                  <a:lnTo>
                    <a:pt x="1348727" y="570954"/>
                  </a:lnTo>
                  <a:lnTo>
                    <a:pt x="1348828" y="572249"/>
                  </a:lnTo>
                  <a:lnTo>
                    <a:pt x="1348828" y="570954"/>
                  </a:lnTo>
                  <a:lnTo>
                    <a:pt x="1348866" y="570954"/>
                  </a:lnTo>
                  <a:lnTo>
                    <a:pt x="1348917" y="570256"/>
                  </a:lnTo>
                  <a:lnTo>
                    <a:pt x="1348917" y="570954"/>
                  </a:lnTo>
                  <a:lnTo>
                    <a:pt x="1349171" y="570954"/>
                  </a:lnTo>
                  <a:lnTo>
                    <a:pt x="1349273" y="572249"/>
                  </a:lnTo>
                  <a:lnTo>
                    <a:pt x="1349324" y="572249"/>
                  </a:lnTo>
                  <a:lnTo>
                    <a:pt x="1349375" y="570954"/>
                  </a:lnTo>
                  <a:lnTo>
                    <a:pt x="1349413" y="570256"/>
                  </a:lnTo>
                  <a:lnTo>
                    <a:pt x="1349413" y="569621"/>
                  </a:lnTo>
                  <a:lnTo>
                    <a:pt x="1349514" y="568973"/>
                  </a:lnTo>
                  <a:lnTo>
                    <a:pt x="1349768" y="568973"/>
                  </a:lnTo>
                  <a:lnTo>
                    <a:pt x="1349768" y="569621"/>
                  </a:lnTo>
                  <a:lnTo>
                    <a:pt x="1349819" y="568973"/>
                  </a:lnTo>
                  <a:lnTo>
                    <a:pt x="1349870" y="569621"/>
                  </a:lnTo>
                  <a:lnTo>
                    <a:pt x="1349959" y="570256"/>
                  </a:lnTo>
                  <a:lnTo>
                    <a:pt x="1350010" y="570256"/>
                  </a:lnTo>
                  <a:lnTo>
                    <a:pt x="1350010" y="569621"/>
                  </a:lnTo>
                  <a:lnTo>
                    <a:pt x="1350060" y="569621"/>
                  </a:lnTo>
                  <a:lnTo>
                    <a:pt x="1350060" y="567627"/>
                  </a:lnTo>
                  <a:lnTo>
                    <a:pt x="1350454" y="567627"/>
                  </a:lnTo>
                  <a:lnTo>
                    <a:pt x="1350505" y="568973"/>
                  </a:lnTo>
                  <a:lnTo>
                    <a:pt x="1350556" y="569621"/>
                  </a:lnTo>
                  <a:lnTo>
                    <a:pt x="1350657" y="569621"/>
                  </a:lnTo>
                  <a:lnTo>
                    <a:pt x="1350657" y="568973"/>
                  </a:lnTo>
                  <a:lnTo>
                    <a:pt x="1350708" y="569621"/>
                  </a:lnTo>
                  <a:lnTo>
                    <a:pt x="1350759" y="569621"/>
                  </a:lnTo>
                  <a:lnTo>
                    <a:pt x="1350860" y="570256"/>
                  </a:lnTo>
                  <a:lnTo>
                    <a:pt x="1350860" y="570954"/>
                  </a:lnTo>
                  <a:lnTo>
                    <a:pt x="1350911" y="570954"/>
                  </a:lnTo>
                  <a:lnTo>
                    <a:pt x="1350962" y="570256"/>
                  </a:lnTo>
                  <a:lnTo>
                    <a:pt x="1351000" y="569621"/>
                  </a:lnTo>
                  <a:lnTo>
                    <a:pt x="1351203" y="569621"/>
                  </a:lnTo>
                  <a:lnTo>
                    <a:pt x="1351305" y="568973"/>
                  </a:lnTo>
                  <a:lnTo>
                    <a:pt x="1351356" y="569621"/>
                  </a:lnTo>
                  <a:lnTo>
                    <a:pt x="1351648" y="569621"/>
                  </a:lnTo>
                  <a:lnTo>
                    <a:pt x="1351648" y="570256"/>
                  </a:lnTo>
                  <a:lnTo>
                    <a:pt x="1351699" y="569621"/>
                  </a:lnTo>
                  <a:lnTo>
                    <a:pt x="1351800" y="570256"/>
                  </a:lnTo>
                  <a:lnTo>
                    <a:pt x="1352143" y="570256"/>
                  </a:lnTo>
                  <a:lnTo>
                    <a:pt x="1352143" y="569621"/>
                  </a:lnTo>
                  <a:lnTo>
                    <a:pt x="1352740" y="569621"/>
                  </a:lnTo>
                  <a:lnTo>
                    <a:pt x="1352791" y="570256"/>
                  </a:lnTo>
                  <a:lnTo>
                    <a:pt x="1352791" y="569621"/>
                  </a:lnTo>
                  <a:lnTo>
                    <a:pt x="1352892" y="570256"/>
                  </a:lnTo>
                  <a:lnTo>
                    <a:pt x="1352943" y="570256"/>
                  </a:lnTo>
                  <a:lnTo>
                    <a:pt x="1352994" y="569621"/>
                  </a:lnTo>
                  <a:lnTo>
                    <a:pt x="1353134" y="569621"/>
                  </a:lnTo>
                  <a:lnTo>
                    <a:pt x="1353185" y="568973"/>
                  </a:lnTo>
                  <a:lnTo>
                    <a:pt x="1353185" y="569621"/>
                  </a:lnTo>
                  <a:lnTo>
                    <a:pt x="1353235" y="569621"/>
                  </a:lnTo>
                  <a:lnTo>
                    <a:pt x="1353235" y="570256"/>
                  </a:lnTo>
                  <a:lnTo>
                    <a:pt x="1353832" y="570256"/>
                  </a:lnTo>
                  <a:lnTo>
                    <a:pt x="1353883" y="570954"/>
                  </a:lnTo>
                  <a:lnTo>
                    <a:pt x="1354035" y="570954"/>
                  </a:lnTo>
                  <a:lnTo>
                    <a:pt x="1354035" y="570256"/>
                  </a:lnTo>
                  <a:lnTo>
                    <a:pt x="1354086" y="570256"/>
                  </a:lnTo>
                  <a:lnTo>
                    <a:pt x="1354086" y="570954"/>
                  </a:lnTo>
                  <a:lnTo>
                    <a:pt x="1354137" y="570256"/>
                  </a:lnTo>
                  <a:lnTo>
                    <a:pt x="1354277" y="570256"/>
                  </a:lnTo>
                  <a:lnTo>
                    <a:pt x="1354277" y="570954"/>
                  </a:lnTo>
                  <a:lnTo>
                    <a:pt x="1354328" y="570256"/>
                  </a:lnTo>
                  <a:lnTo>
                    <a:pt x="1354378" y="570954"/>
                  </a:lnTo>
                  <a:lnTo>
                    <a:pt x="1354480" y="572249"/>
                  </a:lnTo>
                  <a:lnTo>
                    <a:pt x="1354480" y="570954"/>
                  </a:lnTo>
                  <a:lnTo>
                    <a:pt x="1354772" y="570954"/>
                  </a:lnTo>
                  <a:lnTo>
                    <a:pt x="1354772" y="572249"/>
                  </a:lnTo>
                  <a:lnTo>
                    <a:pt x="1354823" y="570954"/>
                  </a:lnTo>
                  <a:lnTo>
                    <a:pt x="1354874" y="570954"/>
                  </a:lnTo>
                  <a:lnTo>
                    <a:pt x="1354874" y="572249"/>
                  </a:lnTo>
                  <a:lnTo>
                    <a:pt x="1355178" y="572249"/>
                  </a:lnTo>
                  <a:lnTo>
                    <a:pt x="1355216" y="570954"/>
                  </a:lnTo>
                  <a:lnTo>
                    <a:pt x="1355267" y="570256"/>
                  </a:lnTo>
                  <a:lnTo>
                    <a:pt x="1355267" y="569621"/>
                  </a:lnTo>
                  <a:lnTo>
                    <a:pt x="1355318" y="569621"/>
                  </a:lnTo>
                  <a:lnTo>
                    <a:pt x="1355318" y="570256"/>
                  </a:lnTo>
                  <a:lnTo>
                    <a:pt x="1355674" y="570256"/>
                  </a:lnTo>
                  <a:lnTo>
                    <a:pt x="1355725" y="570954"/>
                  </a:lnTo>
                  <a:lnTo>
                    <a:pt x="1355763" y="570954"/>
                  </a:lnTo>
                  <a:lnTo>
                    <a:pt x="1355864" y="572249"/>
                  </a:lnTo>
                  <a:lnTo>
                    <a:pt x="1355864" y="570954"/>
                  </a:lnTo>
                  <a:lnTo>
                    <a:pt x="1355915" y="570954"/>
                  </a:lnTo>
                  <a:lnTo>
                    <a:pt x="1355915" y="570256"/>
                  </a:lnTo>
                  <a:lnTo>
                    <a:pt x="1355966" y="569621"/>
                  </a:lnTo>
                  <a:lnTo>
                    <a:pt x="1355966" y="567627"/>
                  </a:lnTo>
                  <a:lnTo>
                    <a:pt x="1356169" y="567627"/>
                  </a:lnTo>
                  <a:lnTo>
                    <a:pt x="1356220" y="568973"/>
                  </a:lnTo>
                  <a:lnTo>
                    <a:pt x="1356410" y="568973"/>
                  </a:lnTo>
                  <a:lnTo>
                    <a:pt x="1356461" y="569621"/>
                  </a:lnTo>
                  <a:lnTo>
                    <a:pt x="1356461" y="568973"/>
                  </a:lnTo>
                  <a:lnTo>
                    <a:pt x="1356563" y="569621"/>
                  </a:lnTo>
                  <a:lnTo>
                    <a:pt x="1356563" y="570256"/>
                  </a:lnTo>
                  <a:lnTo>
                    <a:pt x="1357109" y="570256"/>
                  </a:lnTo>
                  <a:lnTo>
                    <a:pt x="1357109" y="569621"/>
                  </a:lnTo>
                  <a:lnTo>
                    <a:pt x="1357210" y="569621"/>
                  </a:lnTo>
                  <a:lnTo>
                    <a:pt x="1357210" y="568973"/>
                  </a:lnTo>
                  <a:lnTo>
                    <a:pt x="1357261" y="569621"/>
                  </a:lnTo>
                  <a:lnTo>
                    <a:pt x="1357452" y="569621"/>
                  </a:lnTo>
                  <a:lnTo>
                    <a:pt x="1357452" y="570256"/>
                  </a:lnTo>
                  <a:lnTo>
                    <a:pt x="1357553" y="570256"/>
                  </a:lnTo>
                  <a:lnTo>
                    <a:pt x="1357655" y="570954"/>
                  </a:lnTo>
                  <a:lnTo>
                    <a:pt x="1357756" y="570954"/>
                  </a:lnTo>
                  <a:lnTo>
                    <a:pt x="1357756" y="570256"/>
                  </a:lnTo>
                  <a:lnTo>
                    <a:pt x="1357807" y="570256"/>
                  </a:lnTo>
                  <a:lnTo>
                    <a:pt x="1357807" y="569621"/>
                  </a:lnTo>
                  <a:lnTo>
                    <a:pt x="1357896" y="569621"/>
                  </a:lnTo>
                  <a:lnTo>
                    <a:pt x="1357947" y="570256"/>
                  </a:lnTo>
                  <a:lnTo>
                    <a:pt x="1357998" y="570256"/>
                  </a:lnTo>
                  <a:lnTo>
                    <a:pt x="1358049" y="569621"/>
                  </a:lnTo>
                  <a:lnTo>
                    <a:pt x="1358353" y="569621"/>
                  </a:lnTo>
                  <a:lnTo>
                    <a:pt x="1358391" y="570256"/>
                  </a:lnTo>
                  <a:lnTo>
                    <a:pt x="1358442" y="570256"/>
                  </a:lnTo>
                  <a:lnTo>
                    <a:pt x="1358493" y="569621"/>
                  </a:lnTo>
                  <a:lnTo>
                    <a:pt x="1358595" y="569621"/>
                  </a:lnTo>
                  <a:lnTo>
                    <a:pt x="1358595" y="570256"/>
                  </a:lnTo>
                  <a:lnTo>
                    <a:pt x="1358646" y="570256"/>
                  </a:lnTo>
                  <a:lnTo>
                    <a:pt x="1358696" y="569621"/>
                  </a:lnTo>
                  <a:lnTo>
                    <a:pt x="1358696" y="570256"/>
                  </a:lnTo>
                  <a:lnTo>
                    <a:pt x="1358798" y="569621"/>
                  </a:lnTo>
                  <a:lnTo>
                    <a:pt x="1359039" y="569621"/>
                  </a:lnTo>
                  <a:lnTo>
                    <a:pt x="1359090" y="570256"/>
                  </a:lnTo>
                  <a:lnTo>
                    <a:pt x="1359242" y="570256"/>
                  </a:lnTo>
                  <a:lnTo>
                    <a:pt x="1359242" y="569621"/>
                  </a:lnTo>
                  <a:lnTo>
                    <a:pt x="1359344" y="569621"/>
                  </a:lnTo>
                  <a:lnTo>
                    <a:pt x="1359344" y="570256"/>
                  </a:lnTo>
                  <a:lnTo>
                    <a:pt x="1359484" y="570256"/>
                  </a:lnTo>
                  <a:lnTo>
                    <a:pt x="1359535" y="569621"/>
                  </a:lnTo>
                  <a:lnTo>
                    <a:pt x="1359585" y="570256"/>
                  </a:lnTo>
                  <a:lnTo>
                    <a:pt x="1359839" y="570256"/>
                  </a:lnTo>
                  <a:lnTo>
                    <a:pt x="1359941" y="569621"/>
                  </a:lnTo>
                  <a:lnTo>
                    <a:pt x="1359941" y="570256"/>
                  </a:lnTo>
                  <a:lnTo>
                    <a:pt x="1360385" y="570256"/>
                  </a:lnTo>
                  <a:lnTo>
                    <a:pt x="1360436" y="570954"/>
                  </a:lnTo>
                  <a:lnTo>
                    <a:pt x="1360728" y="570954"/>
                  </a:lnTo>
                  <a:lnTo>
                    <a:pt x="1360830" y="570256"/>
                  </a:lnTo>
                  <a:lnTo>
                    <a:pt x="1360830" y="570954"/>
                  </a:lnTo>
                  <a:lnTo>
                    <a:pt x="1360982" y="570954"/>
                  </a:lnTo>
                  <a:lnTo>
                    <a:pt x="1360982" y="570256"/>
                  </a:lnTo>
                  <a:lnTo>
                    <a:pt x="1361071" y="570954"/>
                  </a:lnTo>
                  <a:lnTo>
                    <a:pt x="1361224" y="570954"/>
                  </a:lnTo>
                  <a:lnTo>
                    <a:pt x="1361224" y="570256"/>
                  </a:lnTo>
                  <a:lnTo>
                    <a:pt x="1361325" y="570256"/>
                  </a:lnTo>
                  <a:lnTo>
                    <a:pt x="1361325" y="569621"/>
                  </a:lnTo>
                  <a:lnTo>
                    <a:pt x="1361376" y="569621"/>
                  </a:lnTo>
                  <a:lnTo>
                    <a:pt x="1361427" y="568973"/>
                  </a:lnTo>
                  <a:lnTo>
                    <a:pt x="1361617" y="568973"/>
                  </a:lnTo>
                  <a:lnTo>
                    <a:pt x="1361668" y="569621"/>
                  </a:lnTo>
                  <a:lnTo>
                    <a:pt x="1361770" y="569621"/>
                  </a:lnTo>
                  <a:lnTo>
                    <a:pt x="1361821" y="570256"/>
                  </a:lnTo>
                  <a:lnTo>
                    <a:pt x="1361871" y="569621"/>
                  </a:lnTo>
                  <a:lnTo>
                    <a:pt x="1361973" y="568973"/>
                  </a:lnTo>
                  <a:lnTo>
                    <a:pt x="1361973" y="567042"/>
                  </a:lnTo>
                  <a:lnTo>
                    <a:pt x="1362024" y="567042"/>
                  </a:lnTo>
                  <a:lnTo>
                    <a:pt x="1362024" y="567627"/>
                  </a:lnTo>
                  <a:lnTo>
                    <a:pt x="1362417" y="567627"/>
                  </a:lnTo>
                  <a:lnTo>
                    <a:pt x="1362417" y="568973"/>
                  </a:lnTo>
                  <a:lnTo>
                    <a:pt x="1362468" y="568973"/>
                  </a:lnTo>
                  <a:lnTo>
                    <a:pt x="1362519" y="569621"/>
                  </a:lnTo>
                  <a:lnTo>
                    <a:pt x="1362570" y="569621"/>
                  </a:lnTo>
                  <a:lnTo>
                    <a:pt x="1362570" y="570256"/>
                  </a:lnTo>
                  <a:lnTo>
                    <a:pt x="1362659" y="569621"/>
                  </a:lnTo>
                  <a:lnTo>
                    <a:pt x="1362659" y="570256"/>
                  </a:lnTo>
                  <a:lnTo>
                    <a:pt x="1362963" y="570256"/>
                  </a:lnTo>
                  <a:lnTo>
                    <a:pt x="1362963" y="569621"/>
                  </a:lnTo>
                  <a:lnTo>
                    <a:pt x="1363014" y="569621"/>
                  </a:lnTo>
                  <a:lnTo>
                    <a:pt x="1363116" y="570256"/>
                  </a:lnTo>
                  <a:lnTo>
                    <a:pt x="1363116" y="569621"/>
                  </a:lnTo>
                  <a:lnTo>
                    <a:pt x="1363256" y="569621"/>
                  </a:lnTo>
                  <a:lnTo>
                    <a:pt x="1363256" y="568973"/>
                  </a:lnTo>
                  <a:lnTo>
                    <a:pt x="1363357" y="569621"/>
                  </a:lnTo>
                  <a:lnTo>
                    <a:pt x="1363560" y="569621"/>
                  </a:lnTo>
                  <a:lnTo>
                    <a:pt x="1363560" y="570256"/>
                  </a:lnTo>
                  <a:lnTo>
                    <a:pt x="1364056" y="570256"/>
                  </a:lnTo>
                  <a:lnTo>
                    <a:pt x="1364056" y="569621"/>
                  </a:lnTo>
                  <a:lnTo>
                    <a:pt x="1364106" y="569621"/>
                  </a:lnTo>
                  <a:lnTo>
                    <a:pt x="1364106" y="568973"/>
                  </a:lnTo>
                  <a:lnTo>
                    <a:pt x="1364297" y="568973"/>
                  </a:lnTo>
                  <a:lnTo>
                    <a:pt x="1364348" y="569621"/>
                  </a:lnTo>
                  <a:lnTo>
                    <a:pt x="1364703" y="569621"/>
                  </a:lnTo>
                  <a:lnTo>
                    <a:pt x="1364703" y="570256"/>
                  </a:lnTo>
                  <a:lnTo>
                    <a:pt x="1364741" y="570256"/>
                  </a:lnTo>
                  <a:lnTo>
                    <a:pt x="1364792" y="569621"/>
                  </a:lnTo>
                  <a:lnTo>
                    <a:pt x="1365389" y="569621"/>
                  </a:lnTo>
                  <a:lnTo>
                    <a:pt x="1365389" y="570256"/>
                  </a:lnTo>
                  <a:lnTo>
                    <a:pt x="1365935" y="570256"/>
                  </a:lnTo>
                  <a:lnTo>
                    <a:pt x="1365935" y="570954"/>
                  </a:lnTo>
                  <a:lnTo>
                    <a:pt x="1365986" y="570954"/>
                  </a:lnTo>
                  <a:lnTo>
                    <a:pt x="1366088" y="572249"/>
                  </a:lnTo>
                  <a:lnTo>
                    <a:pt x="1366138" y="570954"/>
                  </a:lnTo>
                  <a:lnTo>
                    <a:pt x="1366634" y="570954"/>
                  </a:lnTo>
                  <a:lnTo>
                    <a:pt x="1366634" y="572249"/>
                  </a:lnTo>
                  <a:lnTo>
                    <a:pt x="1366837" y="572249"/>
                  </a:lnTo>
                  <a:lnTo>
                    <a:pt x="1366837" y="570954"/>
                  </a:lnTo>
                  <a:lnTo>
                    <a:pt x="1366875" y="572249"/>
                  </a:lnTo>
                  <a:lnTo>
                    <a:pt x="1367078" y="572249"/>
                  </a:lnTo>
                  <a:lnTo>
                    <a:pt x="1367180" y="570954"/>
                  </a:lnTo>
                  <a:lnTo>
                    <a:pt x="1367231" y="570256"/>
                  </a:lnTo>
                  <a:lnTo>
                    <a:pt x="1367281" y="570256"/>
                  </a:lnTo>
                  <a:lnTo>
                    <a:pt x="1367332" y="569621"/>
                  </a:lnTo>
                  <a:lnTo>
                    <a:pt x="1367421" y="569621"/>
                  </a:lnTo>
                  <a:lnTo>
                    <a:pt x="1367421" y="568973"/>
                  </a:lnTo>
                  <a:lnTo>
                    <a:pt x="1367523" y="568973"/>
                  </a:lnTo>
                  <a:lnTo>
                    <a:pt x="1367523" y="569621"/>
                  </a:lnTo>
                  <a:lnTo>
                    <a:pt x="1367675" y="569621"/>
                  </a:lnTo>
                  <a:lnTo>
                    <a:pt x="1367726" y="570256"/>
                  </a:lnTo>
                  <a:lnTo>
                    <a:pt x="1367777" y="569621"/>
                  </a:lnTo>
                  <a:lnTo>
                    <a:pt x="1367878" y="568973"/>
                  </a:lnTo>
                  <a:lnTo>
                    <a:pt x="1367878" y="567627"/>
                  </a:lnTo>
                  <a:lnTo>
                    <a:pt x="1368171" y="567627"/>
                  </a:lnTo>
                  <a:lnTo>
                    <a:pt x="1368221" y="568973"/>
                  </a:lnTo>
                  <a:lnTo>
                    <a:pt x="1368374" y="568973"/>
                  </a:lnTo>
                  <a:lnTo>
                    <a:pt x="1368374" y="569621"/>
                  </a:lnTo>
                  <a:lnTo>
                    <a:pt x="1368666" y="569621"/>
                  </a:lnTo>
                  <a:lnTo>
                    <a:pt x="1368666" y="570256"/>
                  </a:lnTo>
                  <a:lnTo>
                    <a:pt x="1368767" y="570256"/>
                  </a:lnTo>
                  <a:lnTo>
                    <a:pt x="1368818" y="569621"/>
                  </a:lnTo>
                  <a:lnTo>
                    <a:pt x="1368869" y="570256"/>
                  </a:lnTo>
                  <a:lnTo>
                    <a:pt x="1368869" y="569621"/>
                  </a:lnTo>
                  <a:lnTo>
                    <a:pt x="1368920" y="570256"/>
                  </a:lnTo>
                  <a:lnTo>
                    <a:pt x="1369009" y="570256"/>
                  </a:lnTo>
                  <a:lnTo>
                    <a:pt x="1369060" y="569621"/>
                  </a:lnTo>
                  <a:lnTo>
                    <a:pt x="1369263" y="569621"/>
                  </a:lnTo>
                  <a:lnTo>
                    <a:pt x="1369313" y="570256"/>
                  </a:lnTo>
                  <a:lnTo>
                    <a:pt x="1369809" y="570256"/>
                  </a:lnTo>
                  <a:lnTo>
                    <a:pt x="1369910" y="569621"/>
                  </a:lnTo>
                  <a:lnTo>
                    <a:pt x="1369961" y="569621"/>
                  </a:lnTo>
                  <a:lnTo>
                    <a:pt x="1370012" y="570256"/>
                  </a:lnTo>
                  <a:lnTo>
                    <a:pt x="1370050" y="570256"/>
                  </a:lnTo>
                  <a:lnTo>
                    <a:pt x="1370050" y="569621"/>
                  </a:lnTo>
                  <a:lnTo>
                    <a:pt x="1370456" y="569621"/>
                  </a:lnTo>
                  <a:lnTo>
                    <a:pt x="1370507" y="570256"/>
                  </a:lnTo>
                  <a:lnTo>
                    <a:pt x="1370647" y="570256"/>
                  </a:lnTo>
                  <a:lnTo>
                    <a:pt x="1370698" y="570954"/>
                  </a:lnTo>
                  <a:lnTo>
                    <a:pt x="1370698" y="570256"/>
                  </a:lnTo>
                  <a:lnTo>
                    <a:pt x="1370749" y="570256"/>
                  </a:lnTo>
                  <a:lnTo>
                    <a:pt x="1370749" y="569621"/>
                  </a:lnTo>
                  <a:lnTo>
                    <a:pt x="1370952" y="569621"/>
                  </a:lnTo>
                  <a:lnTo>
                    <a:pt x="1370952" y="570256"/>
                  </a:lnTo>
                  <a:lnTo>
                    <a:pt x="1371053" y="569621"/>
                  </a:lnTo>
                  <a:lnTo>
                    <a:pt x="1371053" y="570256"/>
                  </a:lnTo>
                  <a:lnTo>
                    <a:pt x="1371346" y="570256"/>
                  </a:lnTo>
                  <a:lnTo>
                    <a:pt x="1371396" y="570954"/>
                  </a:lnTo>
                  <a:lnTo>
                    <a:pt x="1371600" y="570954"/>
                  </a:lnTo>
                  <a:lnTo>
                    <a:pt x="1371600" y="570256"/>
                  </a:lnTo>
                  <a:lnTo>
                    <a:pt x="1371638" y="570954"/>
                  </a:lnTo>
                  <a:lnTo>
                    <a:pt x="1371739" y="570256"/>
                  </a:lnTo>
                  <a:lnTo>
                    <a:pt x="1371739" y="570954"/>
                  </a:lnTo>
                  <a:lnTo>
                    <a:pt x="1371841" y="570954"/>
                  </a:lnTo>
                  <a:lnTo>
                    <a:pt x="1371942" y="570256"/>
                  </a:lnTo>
                  <a:lnTo>
                    <a:pt x="1371993" y="570954"/>
                  </a:lnTo>
                  <a:lnTo>
                    <a:pt x="1372285" y="570954"/>
                  </a:lnTo>
                  <a:lnTo>
                    <a:pt x="1372285" y="572249"/>
                  </a:lnTo>
                  <a:lnTo>
                    <a:pt x="1372488" y="572249"/>
                  </a:lnTo>
                  <a:lnTo>
                    <a:pt x="1372539" y="570954"/>
                  </a:lnTo>
                  <a:lnTo>
                    <a:pt x="1372539" y="572249"/>
                  </a:lnTo>
                  <a:lnTo>
                    <a:pt x="1372984" y="572249"/>
                  </a:lnTo>
                  <a:lnTo>
                    <a:pt x="1372984" y="572846"/>
                  </a:lnTo>
                  <a:lnTo>
                    <a:pt x="1373136" y="572846"/>
                  </a:lnTo>
                  <a:lnTo>
                    <a:pt x="1373136" y="573532"/>
                  </a:lnTo>
                  <a:lnTo>
                    <a:pt x="1373187" y="572846"/>
                  </a:lnTo>
                  <a:lnTo>
                    <a:pt x="1373225" y="572846"/>
                  </a:lnTo>
                  <a:lnTo>
                    <a:pt x="1373225" y="572249"/>
                  </a:lnTo>
                  <a:lnTo>
                    <a:pt x="1373327" y="570954"/>
                  </a:lnTo>
                  <a:lnTo>
                    <a:pt x="1373327" y="570256"/>
                  </a:lnTo>
                  <a:lnTo>
                    <a:pt x="1373428" y="568973"/>
                  </a:lnTo>
                  <a:lnTo>
                    <a:pt x="1373530" y="568973"/>
                  </a:lnTo>
                  <a:lnTo>
                    <a:pt x="1373530" y="569621"/>
                  </a:lnTo>
                  <a:lnTo>
                    <a:pt x="1373771" y="569621"/>
                  </a:lnTo>
                  <a:lnTo>
                    <a:pt x="1373771" y="570256"/>
                  </a:lnTo>
                  <a:lnTo>
                    <a:pt x="1373822" y="570256"/>
                  </a:lnTo>
                  <a:lnTo>
                    <a:pt x="1373822" y="570954"/>
                  </a:lnTo>
                  <a:lnTo>
                    <a:pt x="1373873" y="570954"/>
                  </a:lnTo>
                  <a:lnTo>
                    <a:pt x="1373873" y="570256"/>
                  </a:lnTo>
                  <a:lnTo>
                    <a:pt x="1373924" y="570256"/>
                  </a:lnTo>
                  <a:lnTo>
                    <a:pt x="1374025" y="569621"/>
                  </a:lnTo>
                  <a:lnTo>
                    <a:pt x="1374025" y="568973"/>
                  </a:lnTo>
                  <a:lnTo>
                    <a:pt x="1374076" y="568973"/>
                  </a:lnTo>
                  <a:lnTo>
                    <a:pt x="1374127" y="567627"/>
                  </a:lnTo>
                  <a:lnTo>
                    <a:pt x="1374228" y="568973"/>
                  </a:lnTo>
                  <a:lnTo>
                    <a:pt x="1374266" y="568973"/>
                  </a:lnTo>
                  <a:lnTo>
                    <a:pt x="1374317" y="569621"/>
                  </a:lnTo>
                  <a:lnTo>
                    <a:pt x="1374368" y="569621"/>
                  </a:lnTo>
                  <a:lnTo>
                    <a:pt x="1374470" y="570256"/>
                  </a:lnTo>
                  <a:lnTo>
                    <a:pt x="1374521" y="570954"/>
                  </a:lnTo>
                  <a:lnTo>
                    <a:pt x="1374571" y="570256"/>
                  </a:lnTo>
                  <a:lnTo>
                    <a:pt x="1374673" y="570954"/>
                  </a:lnTo>
                  <a:lnTo>
                    <a:pt x="1374724" y="570954"/>
                  </a:lnTo>
                  <a:lnTo>
                    <a:pt x="1374775" y="570256"/>
                  </a:lnTo>
                  <a:lnTo>
                    <a:pt x="1375219" y="570256"/>
                  </a:lnTo>
                  <a:lnTo>
                    <a:pt x="1375219" y="569621"/>
                  </a:lnTo>
                  <a:lnTo>
                    <a:pt x="1375270" y="569621"/>
                  </a:lnTo>
                  <a:lnTo>
                    <a:pt x="1375270" y="570256"/>
                  </a:lnTo>
                  <a:lnTo>
                    <a:pt x="1375613" y="570256"/>
                  </a:lnTo>
                  <a:lnTo>
                    <a:pt x="1375613" y="570954"/>
                  </a:lnTo>
                  <a:lnTo>
                    <a:pt x="1375714" y="570954"/>
                  </a:lnTo>
                  <a:lnTo>
                    <a:pt x="1375714" y="570256"/>
                  </a:lnTo>
                  <a:lnTo>
                    <a:pt x="1375816" y="570954"/>
                  </a:lnTo>
                  <a:lnTo>
                    <a:pt x="1375956" y="570954"/>
                  </a:lnTo>
                  <a:lnTo>
                    <a:pt x="1376057" y="570256"/>
                  </a:lnTo>
                  <a:lnTo>
                    <a:pt x="1376553" y="570256"/>
                  </a:lnTo>
                  <a:lnTo>
                    <a:pt x="1376553" y="569621"/>
                  </a:lnTo>
                  <a:lnTo>
                    <a:pt x="1376603" y="569621"/>
                  </a:lnTo>
                  <a:lnTo>
                    <a:pt x="1376603" y="570256"/>
                  </a:lnTo>
                  <a:lnTo>
                    <a:pt x="1376946" y="570256"/>
                  </a:lnTo>
                  <a:lnTo>
                    <a:pt x="1376997" y="570954"/>
                  </a:lnTo>
                  <a:lnTo>
                    <a:pt x="1377048" y="570256"/>
                  </a:lnTo>
                  <a:lnTo>
                    <a:pt x="1377099" y="570256"/>
                  </a:lnTo>
                  <a:lnTo>
                    <a:pt x="1377099" y="570954"/>
                  </a:lnTo>
                  <a:lnTo>
                    <a:pt x="1377200" y="570256"/>
                  </a:lnTo>
                  <a:lnTo>
                    <a:pt x="1377251" y="570954"/>
                  </a:lnTo>
                  <a:lnTo>
                    <a:pt x="1377696" y="570954"/>
                  </a:lnTo>
                  <a:lnTo>
                    <a:pt x="1377696" y="572249"/>
                  </a:lnTo>
                  <a:lnTo>
                    <a:pt x="1377848" y="572249"/>
                  </a:lnTo>
                  <a:lnTo>
                    <a:pt x="1377848" y="570954"/>
                  </a:lnTo>
                  <a:lnTo>
                    <a:pt x="1377899" y="570954"/>
                  </a:lnTo>
                  <a:lnTo>
                    <a:pt x="1377899" y="572249"/>
                  </a:lnTo>
                  <a:lnTo>
                    <a:pt x="1378089" y="572249"/>
                  </a:lnTo>
                  <a:lnTo>
                    <a:pt x="1378140" y="570954"/>
                  </a:lnTo>
                  <a:lnTo>
                    <a:pt x="1378140" y="572249"/>
                  </a:lnTo>
                  <a:lnTo>
                    <a:pt x="1378292" y="572249"/>
                  </a:lnTo>
                  <a:lnTo>
                    <a:pt x="1378292" y="572846"/>
                  </a:lnTo>
                  <a:lnTo>
                    <a:pt x="1378585" y="572846"/>
                  </a:lnTo>
                  <a:lnTo>
                    <a:pt x="1378635" y="573532"/>
                  </a:lnTo>
                  <a:lnTo>
                    <a:pt x="1378686" y="573532"/>
                  </a:lnTo>
                  <a:lnTo>
                    <a:pt x="1378788" y="572846"/>
                  </a:lnTo>
                  <a:lnTo>
                    <a:pt x="1378838" y="573532"/>
                  </a:lnTo>
                  <a:lnTo>
                    <a:pt x="1378889" y="572846"/>
                  </a:lnTo>
                  <a:lnTo>
                    <a:pt x="1379029" y="572846"/>
                  </a:lnTo>
                  <a:lnTo>
                    <a:pt x="1379029" y="573532"/>
                  </a:lnTo>
                  <a:lnTo>
                    <a:pt x="1379131" y="573532"/>
                  </a:lnTo>
                  <a:lnTo>
                    <a:pt x="1379232" y="572846"/>
                  </a:lnTo>
                  <a:lnTo>
                    <a:pt x="1379232" y="572249"/>
                  </a:lnTo>
                  <a:lnTo>
                    <a:pt x="1379283" y="570954"/>
                  </a:lnTo>
                  <a:lnTo>
                    <a:pt x="1379283" y="570256"/>
                  </a:lnTo>
                  <a:lnTo>
                    <a:pt x="1379334" y="570256"/>
                  </a:lnTo>
                  <a:lnTo>
                    <a:pt x="1379334" y="569621"/>
                  </a:lnTo>
                  <a:lnTo>
                    <a:pt x="1379486" y="569621"/>
                  </a:lnTo>
                  <a:lnTo>
                    <a:pt x="1379486" y="570256"/>
                  </a:lnTo>
                  <a:lnTo>
                    <a:pt x="1379575" y="570256"/>
                  </a:lnTo>
                  <a:lnTo>
                    <a:pt x="1379677" y="570954"/>
                  </a:lnTo>
                  <a:lnTo>
                    <a:pt x="1379728" y="572249"/>
                  </a:lnTo>
                  <a:lnTo>
                    <a:pt x="1379880" y="572249"/>
                  </a:lnTo>
                  <a:lnTo>
                    <a:pt x="1379880" y="570954"/>
                  </a:lnTo>
                  <a:lnTo>
                    <a:pt x="1379931" y="570256"/>
                  </a:lnTo>
                  <a:lnTo>
                    <a:pt x="1379931" y="569621"/>
                  </a:lnTo>
                  <a:lnTo>
                    <a:pt x="1379981" y="568973"/>
                  </a:lnTo>
                  <a:lnTo>
                    <a:pt x="1380172" y="568973"/>
                  </a:lnTo>
                  <a:lnTo>
                    <a:pt x="1380274" y="570256"/>
                  </a:lnTo>
                  <a:lnTo>
                    <a:pt x="1380375" y="570954"/>
                  </a:lnTo>
                  <a:lnTo>
                    <a:pt x="1380426" y="570256"/>
                  </a:lnTo>
                  <a:lnTo>
                    <a:pt x="1380426" y="570954"/>
                  </a:lnTo>
                  <a:lnTo>
                    <a:pt x="1380477" y="570954"/>
                  </a:lnTo>
                  <a:lnTo>
                    <a:pt x="1380578" y="572249"/>
                  </a:lnTo>
                  <a:lnTo>
                    <a:pt x="1380718" y="572249"/>
                  </a:lnTo>
                  <a:lnTo>
                    <a:pt x="1380820" y="570954"/>
                  </a:lnTo>
                  <a:lnTo>
                    <a:pt x="1381074" y="570954"/>
                  </a:lnTo>
                  <a:lnTo>
                    <a:pt x="1381074" y="572249"/>
                  </a:lnTo>
                  <a:lnTo>
                    <a:pt x="1381125" y="572249"/>
                  </a:lnTo>
                  <a:lnTo>
                    <a:pt x="1381163" y="570954"/>
                  </a:lnTo>
                  <a:lnTo>
                    <a:pt x="1381810" y="570954"/>
                  </a:lnTo>
                  <a:lnTo>
                    <a:pt x="1381810" y="570256"/>
                  </a:lnTo>
                  <a:lnTo>
                    <a:pt x="1381861" y="570256"/>
                  </a:lnTo>
                  <a:lnTo>
                    <a:pt x="1381963" y="570954"/>
                  </a:lnTo>
                  <a:lnTo>
                    <a:pt x="1382064" y="570954"/>
                  </a:lnTo>
                  <a:lnTo>
                    <a:pt x="1382166" y="570256"/>
                  </a:lnTo>
                  <a:lnTo>
                    <a:pt x="1382407" y="570256"/>
                  </a:lnTo>
                  <a:lnTo>
                    <a:pt x="1382458" y="570954"/>
                  </a:lnTo>
                  <a:lnTo>
                    <a:pt x="1383207" y="570954"/>
                  </a:lnTo>
                  <a:lnTo>
                    <a:pt x="1383296" y="572249"/>
                  </a:lnTo>
                  <a:lnTo>
                    <a:pt x="1383296" y="570954"/>
                  </a:lnTo>
                  <a:lnTo>
                    <a:pt x="1383398" y="570954"/>
                  </a:lnTo>
                  <a:lnTo>
                    <a:pt x="1383449" y="572249"/>
                  </a:lnTo>
                  <a:lnTo>
                    <a:pt x="1383550" y="572249"/>
                  </a:lnTo>
                  <a:lnTo>
                    <a:pt x="1383550" y="570954"/>
                  </a:lnTo>
                  <a:lnTo>
                    <a:pt x="1383601" y="570954"/>
                  </a:lnTo>
                  <a:lnTo>
                    <a:pt x="1383652" y="572249"/>
                  </a:lnTo>
                  <a:lnTo>
                    <a:pt x="1384198" y="572249"/>
                  </a:lnTo>
                  <a:lnTo>
                    <a:pt x="1384249" y="572846"/>
                  </a:lnTo>
                  <a:lnTo>
                    <a:pt x="1384490" y="572846"/>
                  </a:lnTo>
                  <a:lnTo>
                    <a:pt x="1384541" y="572249"/>
                  </a:lnTo>
                  <a:lnTo>
                    <a:pt x="1384541" y="572846"/>
                  </a:lnTo>
                  <a:lnTo>
                    <a:pt x="1384642" y="572846"/>
                  </a:lnTo>
                  <a:lnTo>
                    <a:pt x="1384693" y="572249"/>
                  </a:lnTo>
                  <a:lnTo>
                    <a:pt x="1384693" y="572846"/>
                  </a:lnTo>
                  <a:lnTo>
                    <a:pt x="1384744" y="572846"/>
                  </a:lnTo>
                  <a:lnTo>
                    <a:pt x="1384795" y="573532"/>
                  </a:lnTo>
                  <a:lnTo>
                    <a:pt x="1384985" y="573532"/>
                  </a:lnTo>
                  <a:lnTo>
                    <a:pt x="1385036" y="572846"/>
                  </a:lnTo>
                  <a:lnTo>
                    <a:pt x="1385138" y="573532"/>
                  </a:lnTo>
                  <a:lnTo>
                    <a:pt x="1385138" y="574180"/>
                  </a:lnTo>
                  <a:lnTo>
                    <a:pt x="1385239" y="574180"/>
                  </a:lnTo>
                  <a:lnTo>
                    <a:pt x="1385341" y="573532"/>
                  </a:lnTo>
                  <a:lnTo>
                    <a:pt x="1385379" y="572846"/>
                  </a:lnTo>
                  <a:lnTo>
                    <a:pt x="1385379" y="572249"/>
                  </a:lnTo>
                  <a:lnTo>
                    <a:pt x="1385430" y="570954"/>
                  </a:lnTo>
                  <a:lnTo>
                    <a:pt x="1385430" y="570256"/>
                  </a:lnTo>
                  <a:lnTo>
                    <a:pt x="1385582" y="570256"/>
                  </a:lnTo>
                  <a:lnTo>
                    <a:pt x="1385633" y="570954"/>
                  </a:lnTo>
                  <a:lnTo>
                    <a:pt x="1385684" y="570954"/>
                  </a:lnTo>
                  <a:lnTo>
                    <a:pt x="1385785" y="572249"/>
                  </a:lnTo>
                  <a:lnTo>
                    <a:pt x="1385836" y="572846"/>
                  </a:lnTo>
                  <a:lnTo>
                    <a:pt x="1385887" y="572249"/>
                  </a:lnTo>
                  <a:lnTo>
                    <a:pt x="1385925" y="570954"/>
                  </a:lnTo>
                  <a:lnTo>
                    <a:pt x="1385925" y="570256"/>
                  </a:lnTo>
                  <a:lnTo>
                    <a:pt x="1386027" y="569621"/>
                  </a:lnTo>
                  <a:lnTo>
                    <a:pt x="1386078" y="569621"/>
                  </a:lnTo>
                  <a:lnTo>
                    <a:pt x="1386128" y="570256"/>
                  </a:lnTo>
                  <a:lnTo>
                    <a:pt x="1386230" y="570256"/>
                  </a:lnTo>
                  <a:lnTo>
                    <a:pt x="1386230" y="569621"/>
                  </a:lnTo>
                  <a:lnTo>
                    <a:pt x="1386281" y="570256"/>
                  </a:lnTo>
                  <a:lnTo>
                    <a:pt x="1386281" y="570954"/>
                  </a:lnTo>
                  <a:lnTo>
                    <a:pt x="1386471" y="570954"/>
                  </a:lnTo>
                  <a:lnTo>
                    <a:pt x="1386522" y="572249"/>
                  </a:lnTo>
                  <a:lnTo>
                    <a:pt x="1386573" y="570954"/>
                  </a:lnTo>
                  <a:lnTo>
                    <a:pt x="1386573" y="572249"/>
                  </a:lnTo>
                  <a:lnTo>
                    <a:pt x="1386624" y="572249"/>
                  </a:lnTo>
                  <a:lnTo>
                    <a:pt x="1386624" y="570954"/>
                  </a:lnTo>
                  <a:lnTo>
                    <a:pt x="1386725" y="570954"/>
                  </a:lnTo>
                  <a:lnTo>
                    <a:pt x="1386776" y="572249"/>
                  </a:lnTo>
                  <a:lnTo>
                    <a:pt x="1386776" y="570954"/>
                  </a:lnTo>
                  <a:lnTo>
                    <a:pt x="1386827" y="570954"/>
                  </a:lnTo>
                  <a:lnTo>
                    <a:pt x="1386928" y="570256"/>
                  </a:lnTo>
                  <a:lnTo>
                    <a:pt x="1386928" y="570954"/>
                  </a:lnTo>
                  <a:lnTo>
                    <a:pt x="1387017" y="570954"/>
                  </a:lnTo>
                  <a:lnTo>
                    <a:pt x="1387068" y="572249"/>
                  </a:lnTo>
                  <a:lnTo>
                    <a:pt x="1387475" y="572249"/>
                  </a:lnTo>
                  <a:lnTo>
                    <a:pt x="1387513" y="570954"/>
                  </a:lnTo>
                  <a:lnTo>
                    <a:pt x="1387614" y="572249"/>
                  </a:lnTo>
                  <a:lnTo>
                    <a:pt x="1387614" y="570954"/>
                  </a:lnTo>
                  <a:lnTo>
                    <a:pt x="1387817" y="570954"/>
                  </a:lnTo>
                  <a:lnTo>
                    <a:pt x="1387817" y="572249"/>
                  </a:lnTo>
                  <a:lnTo>
                    <a:pt x="1387868" y="570954"/>
                  </a:lnTo>
                  <a:lnTo>
                    <a:pt x="1387919" y="572249"/>
                  </a:lnTo>
                  <a:lnTo>
                    <a:pt x="1387970" y="570954"/>
                  </a:lnTo>
                  <a:lnTo>
                    <a:pt x="1387970" y="572249"/>
                  </a:lnTo>
                  <a:lnTo>
                    <a:pt x="1388059" y="572249"/>
                  </a:lnTo>
                  <a:lnTo>
                    <a:pt x="1388059" y="570954"/>
                  </a:lnTo>
                  <a:lnTo>
                    <a:pt x="1388211" y="570954"/>
                  </a:lnTo>
                  <a:lnTo>
                    <a:pt x="1388313" y="572249"/>
                  </a:lnTo>
                  <a:lnTo>
                    <a:pt x="1388313" y="570954"/>
                  </a:lnTo>
                  <a:lnTo>
                    <a:pt x="1389062" y="570954"/>
                  </a:lnTo>
                  <a:lnTo>
                    <a:pt x="1389062" y="572249"/>
                  </a:lnTo>
                  <a:lnTo>
                    <a:pt x="1389100" y="570954"/>
                  </a:lnTo>
                  <a:lnTo>
                    <a:pt x="1389303" y="570954"/>
                  </a:lnTo>
                  <a:lnTo>
                    <a:pt x="1389303" y="572249"/>
                  </a:lnTo>
                  <a:lnTo>
                    <a:pt x="1389646" y="572249"/>
                  </a:lnTo>
                  <a:lnTo>
                    <a:pt x="1389697" y="570954"/>
                  </a:lnTo>
                  <a:lnTo>
                    <a:pt x="1389697" y="572249"/>
                  </a:lnTo>
                  <a:lnTo>
                    <a:pt x="1389951" y="572249"/>
                  </a:lnTo>
                  <a:lnTo>
                    <a:pt x="1390002" y="572846"/>
                  </a:lnTo>
                  <a:lnTo>
                    <a:pt x="1390002" y="572249"/>
                  </a:lnTo>
                  <a:lnTo>
                    <a:pt x="1390103" y="572846"/>
                  </a:lnTo>
                  <a:lnTo>
                    <a:pt x="1390141" y="572846"/>
                  </a:lnTo>
                  <a:lnTo>
                    <a:pt x="1390141" y="572249"/>
                  </a:lnTo>
                  <a:lnTo>
                    <a:pt x="1390243" y="572249"/>
                  </a:lnTo>
                  <a:lnTo>
                    <a:pt x="1390243" y="572846"/>
                  </a:lnTo>
                  <a:lnTo>
                    <a:pt x="1390345" y="572846"/>
                  </a:lnTo>
                  <a:lnTo>
                    <a:pt x="1390396" y="572249"/>
                  </a:lnTo>
                  <a:lnTo>
                    <a:pt x="1390548" y="572249"/>
                  </a:lnTo>
                  <a:lnTo>
                    <a:pt x="1390548" y="572846"/>
                  </a:lnTo>
                  <a:lnTo>
                    <a:pt x="1390891" y="572846"/>
                  </a:lnTo>
                  <a:lnTo>
                    <a:pt x="1390891" y="573532"/>
                  </a:lnTo>
                  <a:lnTo>
                    <a:pt x="1390992" y="573532"/>
                  </a:lnTo>
                  <a:lnTo>
                    <a:pt x="1391043" y="572846"/>
                  </a:lnTo>
                  <a:lnTo>
                    <a:pt x="1391043" y="573532"/>
                  </a:lnTo>
                  <a:lnTo>
                    <a:pt x="1391094" y="573532"/>
                  </a:lnTo>
                  <a:lnTo>
                    <a:pt x="1391145" y="574180"/>
                  </a:lnTo>
                  <a:lnTo>
                    <a:pt x="1391234" y="574180"/>
                  </a:lnTo>
                  <a:lnTo>
                    <a:pt x="1391285" y="573532"/>
                  </a:lnTo>
                  <a:lnTo>
                    <a:pt x="1391335" y="572846"/>
                  </a:lnTo>
                  <a:lnTo>
                    <a:pt x="1391335" y="572249"/>
                  </a:lnTo>
                  <a:lnTo>
                    <a:pt x="1391386" y="572249"/>
                  </a:lnTo>
                  <a:lnTo>
                    <a:pt x="1391386" y="570954"/>
                  </a:lnTo>
                  <a:lnTo>
                    <a:pt x="1391691" y="570954"/>
                  </a:lnTo>
                  <a:lnTo>
                    <a:pt x="1391691" y="572249"/>
                  </a:lnTo>
                  <a:lnTo>
                    <a:pt x="1391729" y="572249"/>
                  </a:lnTo>
                  <a:lnTo>
                    <a:pt x="1391729" y="572846"/>
                  </a:lnTo>
                  <a:lnTo>
                    <a:pt x="1391780" y="572846"/>
                  </a:lnTo>
                  <a:lnTo>
                    <a:pt x="1391780" y="573532"/>
                  </a:lnTo>
                  <a:lnTo>
                    <a:pt x="1391831" y="573532"/>
                  </a:lnTo>
                  <a:lnTo>
                    <a:pt x="1391932" y="572846"/>
                  </a:lnTo>
                  <a:lnTo>
                    <a:pt x="1391983" y="570954"/>
                  </a:lnTo>
                  <a:lnTo>
                    <a:pt x="1391983" y="570256"/>
                  </a:lnTo>
                  <a:lnTo>
                    <a:pt x="1392034" y="569621"/>
                  </a:lnTo>
                  <a:lnTo>
                    <a:pt x="1392237" y="569621"/>
                  </a:lnTo>
                  <a:lnTo>
                    <a:pt x="1392237" y="570256"/>
                  </a:lnTo>
                  <a:lnTo>
                    <a:pt x="1392275" y="570256"/>
                  </a:lnTo>
                  <a:lnTo>
                    <a:pt x="1392275" y="570954"/>
                  </a:lnTo>
                  <a:lnTo>
                    <a:pt x="1392377" y="570954"/>
                  </a:lnTo>
                  <a:lnTo>
                    <a:pt x="1392428" y="572249"/>
                  </a:lnTo>
                  <a:lnTo>
                    <a:pt x="1392478" y="570954"/>
                  </a:lnTo>
                  <a:lnTo>
                    <a:pt x="1392974" y="570954"/>
                  </a:lnTo>
                  <a:lnTo>
                    <a:pt x="1392974" y="572249"/>
                  </a:lnTo>
                  <a:lnTo>
                    <a:pt x="1393177" y="572249"/>
                  </a:lnTo>
                  <a:lnTo>
                    <a:pt x="1393177" y="572846"/>
                  </a:lnTo>
                  <a:lnTo>
                    <a:pt x="1393316" y="572846"/>
                  </a:lnTo>
                  <a:lnTo>
                    <a:pt x="1393316" y="572249"/>
                  </a:lnTo>
                  <a:lnTo>
                    <a:pt x="1393418" y="572249"/>
                  </a:lnTo>
                  <a:lnTo>
                    <a:pt x="1393418" y="570954"/>
                  </a:lnTo>
                  <a:lnTo>
                    <a:pt x="1393520" y="570954"/>
                  </a:lnTo>
                  <a:lnTo>
                    <a:pt x="1393571" y="572249"/>
                  </a:lnTo>
                  <a:lnTo>
                    <a:pt x="1393825" y="572249"/>
                  </a:lnTo>
                  <a:lnTo>
                    <a:pt x="1393825" y="570954"/>
                  </a:lnTo>
                  <a:lnTo>
                    <a:pt x="1393863" y="572249"/>
                  </a:lnTo>
                  <a:lnTo>
                    <a:pt x="1394218" y="572249"/>
                  </a:lnTo>
                  <a:lnTo>
                    <a:pt x="1394269" y="570954"/>
                  </a:lnTo>
                  <a:lnTo>
                    <a:pt x="1394510" y="570954"/>
                  </a:lnTo>
                  <a:lnTo>
                    <a:pt x="1394510" y="572249"/>
                  </a:lnTo>
                  <a:lnTo>
                    <a:pt x="1394561" y="570954"/>
                  </a:lnTo>
                  <a:lnTo>
                    <a:pt x="1394663" y="572249"/>
                  </a:lnTo>
                  <a:lnTo>
                    <a:pt x="1394713" y="572249"/>
                  </a:lnTo>
                  <a:lnTo>
                    <a:pt x="1394764" y="572846"/>
                  </a:lnTo>
                  <a:lnTo>
                    <a:pt x="1394764" y="572249"/>
                  </a:lnTo>
                  <a:lnTo>
                    <a:pt x="1395107" y="572249"/>
                  </a:lnTo>
                  <a:lnTo>
                    <a:pt x="1395107" y="572846"/>
                  </a:lnTo>
                  <a:lnTo>
                    <a:pt x="1395158" y="572249"/>
                  </a:lnTo>
                  <a:lnTo>
                    <a:pt x="1395361" y="572249"/>
                  </a:lnTo>
                  <a:lnTo>
                    <a:pt x="1395412" y="572846"/>
                  </a:lnTo>
                  <a:lnTo>
                    <a:pt x="1395450" y="572249"/>
                  </a:lnTo>
                  <a:lnTo>
                    <a:pt x="1395653" y="572249"/>
                  </a:lnTo>
                  <a:lnTo>
                    <a:pt x="1395653" y="572846"/>
                  </a:lnTo>
                  <a:lnTo>
                    <a:pt x="1395755" y="572846"/>
                  </a:lnTo>
                  <a:lnTo>
                    <a:pt x="1395755" y="572249"/>
                  </a:lnTo>
                  <a:lnTo>
                    <a:pt x="1395806" y="572846"/>
                  </a:lnTo>
                  <a:lnTo>
                    <a:pt x="1395806" y="572249"/>
                  </a:lnTo>
                  <a:lnTo>
                    <a:pt x="1395907" y="572249"/>
                  </a:lnTo>
                  <a:lnTo>
                    <a:pt x="1395907" y="572846"/>
                  </a:lnTo>
                  <a:lnTo>
                    <a:pt x="1395996" y="572846"/>
                  </a:lnTo>
                  <a:lnTo>
                    <a:pt x="1396047" y="573532"/>
                  </a:lnTo>
                  <a:lnTo>
                    <a:pt x="1396047" y="572846"/>
                  </a:lnTo>
                  <a:lnTo>
                    <a:pt x="1396301" y="572846"/>
                  </a:lnTo>
                  <a:lnTo>
                    <a:pt x="1396301" y="573532"/>
                  </a:lnTo>
                  <a:lnTo>
                    <a:pt x="1396491" y="573532"/>
                  </a:lnTo>
                  <a:lnTo>
                    <a:pt x="1396491" y="572846"/>
                  </a:lnTo>
                  <a:lnTo>
                    <a:pt x="1396542" y="573532"/>
                  </a:lnTo>
                  <a:lnTo>
                    <a:pt x="1396542" y="572846"/>
                  </a:lnTo>
                  <a:lnTo>
                    <a:pt x="1396593" y="573532"/>
                  </a:lnTo>
                  <a:lnTo>
                    <a:pt x="1396695" y="572846"/>
                  </a:lnTo>
                  <a:lnTo>
                    <a:pt x="1396695" y="573532"/>
                  </a:lnTo>
                  <a:lnTo>
                    <a:pt x="1396796" y="573532"/>
                  </a:lnTo>
                  <a:lnTo>
                    <a:pt x="1396796" y="574180"/>
                  </a:lnTo>
                  <a:lnTo>
                    <a:pt x="1396949" y="574180"/>
                  </a:lnTo>
                  <a:lnTo>
                    <a:pt x="1397000" y="573532"/>
                  </a:lnTo>
                  <a:lnTo>
                    <a:pt x="1397038" y="574180"/>
                  </a:lnTo>
                  <a:lnTo>
                    <a:pt x="1397139" y="574180"/>
                  </a:lnTo>
                  <a:lnTo>
                    <a:pt x="1397139" y="573532"/>
                  </a:lnTo>
                  <a:lnTo>
                    <a:pt x="1397190" y="573532"/>
                  </a:lnTo>
                  <a:lnTo>
                    <a:pt x="1397190" y="572846"/>
                  </a:lnTo>
                  <a:lnTo>
                    <a:pt x="1397241" y="572249"/>
                  </a:lnTo>
                  <a:lnTo>
                    <a:pt x="1397342" y="570954"/>
                  </a:lnTo>
                  <a:lnTo>
                    <a:pt x="1397393" y="570954"/>
                  </a:lnTo>
                  <a:lnTo>
                    <a:pt x="1397444" y="572249"/>
                  </a:lnTo>
                  <a:lnTo>
                    <a:pt x="1397495" y="572846"/>
                  </a:lnTo>
                  <a:lnTo>
                    <a:pt x="1397584" y="572846"/>
                  </a:lnTo>
                  <a:lnTo>
                    <a:pt x="1397584" y="573532"/>
                  </a:lnTo>
                  <a:lnTo>
                    <a:pt x="1397838" y="573532"/>
                  </a:lnTo>
                  <a:lnTo>
                    <a:pt x="1397838" y="572846"/>
                  </a:lnTo>
                  <a:lnTo>
                    <a:pt x="1397888" y="572846"/>
                  </a:lnTo>
                  <a:lnTo>
                    <a:pt x="1397888" y="572249"/>
                  </a:lnTo>
                  <a:lnTo>
                    <a:pt x="1397939" y="570954"/>
                  </a:lnTo>
                  <a:lnTo>
                    <a:pt x="1398079" y="570954"/>
                  </a:lnTo>
                  <a:lnTo>
                    <a:pt x="1398130" y="572249"/>
                  </a:lnTo>
                  <a:lnTo>
                    <a:pt x="1398181" y="572249"/>
                  </a:lnTo>
                  <a:lnTo>
                    <a:pt x="1398181" y="572846"/>
                  </a:lnTo>
                  <a:lnTo>
                    <a:pt x="1398485" y="572846"/>
                  </a:lnTo>
                  <a:lnTo>
                    <a:pt x="1398485" y="573532"/>
                  </a:lnTo>
                  <a:lnTo>
                    <a:pt x="1398625" y="573532"/>
                  </a:lnTo>
                  <a:lnTo>
                    <a:pt x="1398625" y="572846"/>
                  </a:lnTo>
                  <a:lnTo>
                    <a:pt x="1398727" y="572846"/>
                  </a:lnTo>
                  <a:lnTo>
                    <a:pt x="1398727" y="573532"/>
                  </a:lnTo>
                  <a:lnTo>
                    <a:pt x="1398778" y="572846"/>
                  </a:lnTo>
                  <a:lnTo>
                    <a:pt x="1398778" y="573532"/>
                  </a:lnTo>
                  <a:lnTo>
                    <a:pt x="1398828" y="572846"/>
                  </a:lnTo>
                  <a:lnTo>
                    <a:pt x="1398930" y="573532"/>
                  </a:lnTo>
                  <a:lnTo>
                    <a:pt x="1399031" y="573532"/>
                  </a:lnTo>
                  <a:lnTo>
                    <a:pt x="1399031" y="574180"/>
                  </a:lnTo>
                  <a:lnTo>
                    <a:pt x="1399273" y="574180"/>
                  </a:lnTo>
                  <a:lnTo>
                    <a:pt x="1399273" y="574827"/>
                  </a:lnTo>
                  <a:lnTo>
                    <a:pt x="1400073" y="574827"/>
                  </a:lnTo>
                  <a:lnTo>
                    <a:pt x="1400073" y="576161"/>
                  </a:lnTo>
                  <a:lnTo>
                    <a:pt x="1400124" y="574827"/>
                  </a:lnTo>
                  <a:lnTo>
                    <a:pt x="1400175" y="574827"/>
                  </a:lnTo>
                  <a:lnTo>
                    <a:pt x="1400213" y="576161"/>
                  </a:lnTo>
                  <a:lnTo>
                    <a:pt x="1400314" y="574827"/>
                  </a:lnTo>
                  <a:lnTo>
                    <a:pt x="1400314" y="576161"/>
                  </a:lnTo>
                  <a:lnTo>
                    <a:pt x="1400365" y="576161"/>
                  </a:lnTo>
                  <a:lnTo>
                    <a:pt x="1400416" y="576809"/>
                  </a:lnTo>
                  <a:lnTo>
                    <a:pt x="1400670" y="576809"/>
                  </a:lnTo>
                  <a:lnTo>
                    <a:pt x="1400759" y="577456"/>
                  </a:lnTo>
                  <a:lnTo>
                    <a:pt x="1400810" y="577456"/>
                  </a:lnTo>
                  <a:lnTo>
                    <a:pt x="1400810" y="578155"/>
                  </a:lnTo>
                  <a:lnTo>
                    <a:pt x="1400860" y="577456"/>
                  </a:lnTo>
                  <a:lnTo>
                    <a:pt x="1400860" y="578155"/>
                  </a:lnTo>
                  <a:lnTo>
                    <a:pt x="1401063" y="578155"/>
                  </a:lnTo>
                  <a:lnTo>
                    <a:pt x="1401114" y="577456"/>
                  </a:lnTo>
                  <a:lnTo>
                    <a:pt x="1401216" y="577456"/>
                  </a:lnTo>
                  <a:lnTo>
                    <a:pt x="1401254" y="578155"/>
                  </a:lnTo>
                  <a:lnTo>
                    <a:pt x="1401305" y="579387"/>
                  </a:lnTo>
                  <a:lnTo>
                    <a:pt x="1401356" y="579387"/>
                  </a:lnTo>
                  <a:lnTo>
                    <a:pt x="1401356" y="580034"/>
                  </a:lnTo>
                  <a:lnTo>
                    <a:pt x="1401457" y="579387"/>
                  </a:lnTo>
                  <a:lnTo>
                    <a:pt x="1401559" y="579387"/>
                  </a:lnTo>
                  <a:lnTo>
                    <a:pt x="1401559" y="580034"/>
                  </a:lnTo>
                  <a:lnTo>
                    <a:pt x="1401711" y="580034"/>
                  </a:lnTo>
                  <a:lnTo>
                    <a:pt x="1401711" y="580733"/>
                  </a:lnTo>
                  <a:lnTo>
                    <a:pt x="1401800" y="580733"/>
                  </a:lnTo>
                  <a:lnTo>
                    <a:pt x="1401902" y="580034"/>
                  </a:lnTo>
                  <a:lnTo>
                    <a:pt x="1401953" y="580733"/>
                  </a:lnTo>
                  <a:lnTo>
                    <a:pt x="1402003" y="580733"/>
                  </a:lnTo>
                  <a:lnTo>
                    <a:pt x="1402003" y="581368"/>
                  </a:lnTo>
                  <a:lnTo>
                    <a:pt x="1402257" y="581368"/>
                  </a:lnTo>
                  <a:lnTo>
                    <a:pt x="1402346" y="582016"/>
                  </a:lnTo>
                  <a:lnTo>
                    <a:pt x="1402448" y="582016"/>
                  </a:lnTo>
                  <a:lnTo>
                    <a:pt x="1402448" y="583362"/>
                  </a:lnTo>
                  <a:lnTo>
                    <a:pt x="1402499" y="583959"/>
                  </a:lnTo>
                  <a:lnTo>
                    <a:pt x="1402600" y="583959"/>
                  </a:lnTo>
                  <a:lnTo>
                    <a:pt x="1402600" y="584594"/>
                  </a:lnTo>
                  <a:lnTo>
                    <a:pt x="1402651" y="585242"/>
                  </a:lnTo>
                  <a:lnTo>
                    <a:pt x="1402702" y="585242"/>
                  </a:lnTo>
                  <a:lnTo>
                    <a:pt x="1402803" y="586588"/>
                  </a:lnTo>
                  <a:lnTo>
                    <a:pt x="1403045" y="586588"/>
                  </a:lnTo>
                  <a:lnTo>
                    <a:pt x="1403045" y="587223"/>
                  </a:lnTo>
                  <a:lnTo>
                    <a:pt x="1403146" y="587223"/>
                  </a:lnTo>
                  <a:lnTo>
                    <a:pt x="1403248" y="586588"/>
                  </a:lnTo>
                  <a:lnTo>
                    <a:pt x="1403248" y="585242"/>
                  </a:lnTo>
                  <a:lnTo>
                    <a:pt x="1403299" y="583959"/>
                  </a:lnTo>
                  <a:lnTo>
                    <a:pt x="1403350" y="583959"/>
                  </a:lnTo>
                  <a:lnTo>
                    <a:pt x="1403350" y="584594"/>
                  </a:lnTo>
                  <a:lnTo>
                    <a:pt x="1403489" y="584594"/>
                  </a:lnTo>
                  <a:lnTo>
                    <a:pt x="1403489" y="585242"/>
                  </a:lnTo>
                  <a:lnTo>
                    <a:pt x="1403692" y="585242"/>
                  </a:lnTo>
                  <a:lnTo>
                    <a:pt x="1403692" y="586588"/>
                  </a:lnTo>
                  <a:lnTo>
                    <a:pt x="1403743" y="586588"/>
                  </a:lnTo>
                  <a:lnTo>
                    <a:pt x="1403794" y="587223"/>
                  </a:lnTo>
                  <a:lnTo>
                    <a:pt x="1403845" y="587223"/>
                  </a:lnTo>
                  <a:lnTo>
                    <a:pt x="1403845" y="586588"/>
                  </a:lnTo>
                  <a:lnTo>
                    <a:pt x="1403934" y="585242"/>
                  </a:lnTo>
                  <a:lnTo>
                    <a:pt x="1403934" y="584594"/>
                  </a:lnTo>
                  <a:lnTo>
                    <a:pt x="1403985" y="585242"/>
                  </a:lnTo>
                  <a:lnTo>
                    <a:pt x="1404035" y="586588"/>
                  </a:lnTo>
                  <a:lnTo>
                    <a:pt x="1404086" y="586588"/>
                  </a:lnTo>
                  <a:lnTo>
                    <a:pt x="1404188" y="587223"/>
                  </a:lnTo>
                  <a:lnTo>
                    <a:pt x="1404238" y="586588"/>
                  </a:lnTo>
                  <a:lnTo>
                    <a:pt x="1404289" y="587223"/>
                  </a:lnTo>
                  <a:lnTo>
                    <a:pt x="1404391" y="587921"/>
                  </a:lnTo>
                  <a:lnTo>
                    <a:pt x="1404429" y="588569"/>
                  </a:lnTo>
                  <a:lnTo>
                    <a:pt x="1404480" y="588569"/>
                  </a:lnTo>
                  <a:lnTo>
                    <a:pt x="1404480" y="589166"/>
                  </a:lnTo>
                  <a:lnTo>
                    <a:pt x="1404531" y="588569"/>
                  </a:lnTo>
                  <a:lnTo>
                    <a:pt x="1404683" y="588569"/>
                  </a:lnTo>
                  <a:lnTo>
                    <a:pt x="1404683" y="589166"/>
                  </a:lnTo>
                  <a:lnTo>
                    <a:pt x="1404734" y="589166"/>
                  </a:lnTo>
                  <a:lnTo>
                    <a:pt x="1404734" y="588569"/>
                  </a:lnTo>
                  <a:lnTo>
                    <a:pt x="1404835" y="589166"/>
                  </a:lnTo>
                  <a:lnTo>
                    <a:pt x="1404886" y="589166"/>
                  </a:lnTo>
                  <a:lnTo>
                    <a:pt x="1404886" y="590499"/>
                  </a:lnTo>
                  <a:lnTo>
                    <a:pt x="1404937" y="589166"/>
                  </a:lnTo>
                  <a:lnTo>
                    <a:pt x="1404975" y="590499"/>
                  </a:lnTo>
                  <a:lnTo>
                    <a:pt x="1405077" y="590499"/>
                  </a:lnTo>
                  <a:lnTo>
                    <a:pt x="1405077" y="591147"/>
                  </a:lnTo>
                  <a:lnTo>
                    <a:pt x="1405128" y="591147"/>
                  </a:lnTo>
                  <a:lnTo>
                    <a:pt x="1405178" y="591795"/>
                  </a:lnTo>
                  <a:lnTo>
                    <a:pt x="1405280" y="591147"/>
                  </a:lnTo>
                  <a:lnTo>
                    <a:pt x="1405331" y="591147"/>
                  </a:lnTo>
                  <a:lnTo>
                    <a:pt x="1405331" y="591795"/>
                  </a:lnTo>
                  <a:lnTo>
                    <a:pt x="1405432" y="591795"/>
                  </a:lnTo>
                  <a:lnTo>
                    <a:pt x="1405432" y="591147"/>
                  </a:lnTo>
                  <a:lnTo>
                    <a:pt x="1405521" y="591147"/>
                  </a:lnTo>
                  <a:lnTo>
                    <a:pt x="1405572" y="591795"/>
                  </a:lnTo>
                  <a:lnTo>
                    <a:pt x="1405775" y="591795"/>
                  </a:lnTo>
                  <a:lnTo>
                    <a:pt x="1405826" y="592442"/>
                  </a:lnTo>
                  <a:lnTo>
                    <a:pt x="1405978" y="592442"/>
                  </a:lnTo>
                  <a:lnTo>
                    <a:pt x="1405978" y="593725"/>
                  </a:lnTo>
                  <a:lnTo>
                    <a:pt x="1406016" y="593725"/>
                  </a:lnTo>
                  <a:lnTo>
                    <a:pt x="1406016" y="594373"/>
                  </a:lnTo>
                  <a:lnTo>
                    <a:pt x="1406220" y="594373"/>
                  </a:lnTo>
                  <a:lnTo>
                    <a:pt x="1406271" y="593725"/>
                  </a:lnTo>
                  <a:lnTo>
                    <a:pt x="1406321" y="593725"/>
                  </a:lnTo>
                  <a:lnTo>
                    <a:pt x="1406321" y="594373"/>
                  </a:lnTo>
                  <a:lnTo>
                    <a:pt x="1406423" y="594373"/>
                  </a:lnTo>
                  <a:lnTo>
                    <a:pt x="1406474" y="593725"/>
                  </a:lnTo>
                  <a:lnTo>
                    <a:pt x="1406563" y="595021"/>
                  </a:lnTo>
                  <a:lnTo>
                    <a:pt x="1406664" y="595021"/>
                  </a:lnTo>
                  <a:lnTo>
                    <a:pt x="1406715" y="595706"/>
                  </a:lnTo>
                  <a:lnTo>
                    <a:pt x="1406766" y="595021"/>
                  </a:lnTo>
                  <a:lnTo>
                    <a:pt x="1406867" y="595706"/>
                  </a:lnTo>
                  <a:lnTo>
                    <a:pt x="1406969" y="595706"/>
                  </a:lnTo>
                  <a:lnTo>
                    <a:pt x="1407020" y="596354"/>
                  </a:lnTo>
                  <a:lnTo>
                    <a:pt x="1407109" y="596354"/>
                  </a:lnTo>
                  <a:lnTo>
                    <a:pt x="1407160" y="595706"/>
                  </a:lnTo>
                  <a:lnTo>
                    <a:pt x="1407160" y="596354"/>
                  </a:lnTo>
                  <a:lnTo>
                    <a:pt x="1407261" y="596354"/>
                  </a:lnTo>
                  <a:lnTo>
                    <a:pt x="1407363" y="597649"/>
                  </a:lnTo>
                  <a:lnTo>
                    <a:pt x="1407413" y="597649"/>
                  </a:lnTo>
                  <a:lnTo>
                    <a:pt x="1407464" y="596354"/>
                  </a:lnTo>
                  <a:lnTo>
                    <a:pt x="1407464" y="597649"/>
                  </a:lnTo>
                  <a:lnTo>
                    <a:pt x="1407604" y="597649"/>
                  </a:lnTo>
                  <a:lnTo>
                    <a:pt x="1407655" y="598335"/>
                  </a:lnTo>
                  <a:lnTo>
                    <a:pt x="1407807" y="598335"/>
                  </a:lnTo>
                  <a:lnTo>
                    <a:pt x="1407807" y="597649"/>
                  </a:lnTo>
                  <a:lnTo>
                    <a:pt x="1407858" y="598335"/>
                  </a:lnTo>
                  <a:lnTo>
                    <a:pt x="1407909" y="598335"/>
                  </a:lnTo>
                  <a:lnTo>
                    <a:pt x="1408010" y="598932"/>
                  </a:lnTo>
                  <a:lnTo>
                    <a:pt x="1408061" y="598932"/>
                  </a:lnTo>
                  <a:lnTo>
                    <a:pt x="1408061" y="599580"/>
                  </a:lnTo>
                  <a:lnTo>
                    <a:pt x="1408112" y="598932"/>
                  </a:lnTo>
                  <a:lnTo>
                    <a:pt x="1408252" y="598932"/>
                  </a:lnTo>
                  <a:lnTo>
                    <a:pt x="1408252" y="599580"/>
                  </a:lnTo>
                  <a:lnTo>
                    <a:pt x="1408353" y="599580"/>
                  </a:lnTo>
                  <a:lnTo>
                    <a:pt x="1408455" y="600926"/>
                  </a:lnTo>
                  <a:lnTo>
                    <a:pt x="1408506" y="601561"/>
                  </a:lnTo>
                  <a:lnTo>
                    <a:pt x="1408556" y="601561"/>
                  </a:lnTo>
                  <a:lnTo>
                    <a:pt x="1408556" y="600926"/>
                  </a:lnTo>
                  <a:lnTo>
                    <a:pt x="1408696" y="600926"/>
                  </a:lnTo>
                  <a:lnTo>
                    <a:pt x="1408747" y="601561"/>
                  </a:lnTo>
                  <a:lnTo>
                    <a:pt x="1408849" y="601561"/>
                  </a:lnTo>
                  <a:lnTo>
                    <a:pt x="1408950" y="602209"/>
                  </a:lnTo>
                  <a:lnTo>
                    <a:pt x="1409001" y="602907"/>
                  </a:lnTo>
                  <a:lnTo>
                    <a:pt x="1409052" y="602907"/>
                  </a:lnTo>
                  <a:lnTo>
                    <a:pt x="1409052" y="602209"/>
                  </a:lnTo>
                  <a:lnTo>
                    <a:pt x="1409153" y="602209"/>
                  </a:lnTo>
                  <a:lnTo>
                    <a:pt x="1409153" y="601561"/>
                  </a:lnTo>
                  <a:lnTo>
                    <a:pt x="1409191" y="600926"/>
                  </a:lnTo>
                  <a:lnTo>
                    <a:pt x="1409242" y="600926"/>
                  </a:lnTo>
                  <a:lnTo>
                    <a:pt x="1409242" y="599580"/>
                  </a:lnTo>
                  <a:lnTo>
                    <a:pt x="1409446" y="599580"/>
                  </a:lnTo>
                  <a:lnTo>
                    <a:pt x="1409446" y="600926"/>
                  </a:lnTo>
                  <a:lnTo>
                    <a:pt x="1409496" y="601561"/>
                  </a:lnTo>
                  <a:lnTo>
                    <a:pt x="1409649" y="601561"/>
                  </a:lnTo>
                  <a:lnTo>
                    <a:pt x="1409649" y="600926"/>
                  </a:lnTo>
                  <a:lnTo>
                    <a:pt x="1409700" y="600926"/>
                  </a:lnTo>
                  <a:lnTo>
                    <a:pt x="1409738" y="599580"/>
                  </a:lnTo>
                  <a:lnTo>
                    <a:pt x="1409738" y="600926"/>
                  </a:lnTo>
                  <a:lnTo>
                    <a:pt x="1409890" y="600926"/>
                  </a:lnTo>
                  <a:lnTo>
                    <a:pt x="1409890" y="599580"/>
                  </a:lnTo>
                  <a:lnTo>
                    <a:pt x="1409941" y="599580"/>
                  </a:lnTo>
                  <a:lnTo>
                    <a:pt x="1409941" y="600926"/>
                  </a:lnTo>
                  <a:lnTo>
                    <a:pt x="1410042" y="600926"/>
                  </a:lnTo>
                  <a:lnTo>
                    <a:pt x="1410042" y="601561"/>
                  </a:lnTo>
                  <a:lnTo>
                    <a:pt x="1410195" y="601561"/>
                  </a:lnTo>
                  <a:lnTo>
                    <a:pt x="1410195" y="602209"/>
                  </a:lnTo>
                  <a:lnTo>
                    <a:pt x="1410284" y="602209"/>
                  </a:lnTo>
                  <a:lnTo>
                    <a:pt x="1410284" y="602907"/>
                  </a:lnTo>
                  <a:lnTo>
                    <a:pt x="1410335" y="603555"/>
                  </a:lnTo>
                  <a:lnTo>
                    <a:pt x="1410436" y="603555"/>
                  </a:lnTo>
                  <a:lnTo>
                    <a:pt x="1410538" y="604787"/>
                  </a:lnTo>
                  <a:lnTo>
                    <a:pt x="1410588" y="604787"/>
                  </a:lnTo>
                  <a:lnTo>
                    <a:pt x="1410588" y="603555"/>
                  </a:lnTo>
                  <a:lnTo>
                    <a:pt x="1410639" y="603555"/>
                  </a:lnTo>
                  <a:lnTo>
                    <a:pt x="1410639" y="604787"/>
                  </a:lnTo>
                  <a:lnTo>
                    <a:pt x="1410741" y="603555"/>
                  </a:lnTo>
                  <a:lnTo>
                    <a:pt x="1410830" y="603555"/>
                  </a:lnTo>
                  <a:lnTo>
                    <a:pt x="1410830" y="604787"/>
                  </a:lnTo>
                  <a:lnTo>
                    <a:pt x="1410881" y="604787"/>
                  </a:lnTo>
                  <a:lnTo>
                    <a:pt x="1410881" y="605485"/>
                  </a:lnTo>
                  <a:lnTo>
                    <a:pt x="1410982" y="605485"/>
                  </a:lnTo>
                  <a:lnTo>
                    <a:pt x="1410982" y="606133"/>
                  </a:lnTo>
                  <a:lnTo>
                    <a:pt x="1411084" y="606133"/>
                  </a:lnTo>
                  <a:lnTo>
                    <a:pt x="1411185" y="606768"/>
                  </a:lnTo>
                  <a:lnTo>
                    <a:pt x="1411287" y="606768"/>
                  </a:lnTo>
                  <a:lnTo>
                    <a:pt x="1411287" y="606133"/>
                  </a:lnTo>
                  <a:lnTo>
                    <a:pt x="1411325" y="606768"/>
                  </a:lnTo>
                  <a:lnTo>
                    <a:pt x="1411427" y="606133"/>
                  </a:lnTo>
                  <a:lnTo>
                    <a:pt x="1411427" y="606768"/>
                  </a:lnTo>
                  <a:lnTo>
                    <a:pt x="1411528" y="606768"/>
                  </a:lnTo>
                  <a:lnTo>
                    <a:pt x="1411528" y="608114"/>
                  </a:lnTo>
                  <a:lnTo>
                    <a:pt x="1411681" y="608114"/>
                  </a:lnTo>
                  <a:lnTo>
                    <a:pt x="1411681" y="608762"/>
                  </a:lnTo>
                  <a:lnTo>
                    <a:pt x="1411782" y="608762"/>
                  </a:lnTo>
                  <a:lnTo>
                    <a:pt x="1411782" y="609359"/>
                  </a:lnTo>
                  <a:lnTo>
                    <a:pt x="1412125" y="609359"/>
                  </a:lnTo>
                  <a:lnTo>
                    <a:pt x="1412176" y="609994"/>
                  </a:lnTo>
                  <a:lnTo>
                    <a:pt x="1412227" y="609994"/>
                  </a:lnTo>
                  <a:lnTo>
                    <a:pt x="1412328" y="610692"/>
                  </a:lnTo>
                  <a:lnTo>
                    <a:pt x="1412328" y="611988"/>
                  </a:lnTo>
                  <a:lnTo>
                    <a:pt x="1412366" y="611988"/>
                  </a:lnTo>
                  <a:lnTo>
                    <a:pt x="1412366" y="612673"/>
                  </a:lnTo>
                  <a:lnTo>
                    <a:pt x="1412417" y="612673"/>
                  </a:lnTo>
                  <a:lnTo>
                    <a:pt x="1412417" y="613321"/>
                  </a:lnTo>
                  <a:lnTo>
                    <a:pt x="1412468" y="613321"/>
                  </a:lnTo>
                  <a:lnTo>
                    <a:pt x="1412468" y="613969"/>
                  </a:lnTo>
                  <a:lnTo>
                    <a:pt x="1412621" y="613969"/>
                  </a:lnTo>
                  <a:lnTo>
                    <a:pt x="1412621" y="615252"/>
                  </a:lnTo>
                  <a:lnTo>
                    <a:pt x="1412671" y="615252"/>
                  </a:lnTo>
                  <a:lnTo>
                    <a:pt x="1412773" y="615899"/>
                  </a:lnTo>
                  <a:lnTo>
                    <a:pt x="1412824" y="615899"/>
                  </a:lnTo>
                  <a:lnTo>
                    <a:pt x="1412824" y="616547"/>
                  </a:lnTo>
                  <a:lnTo>
                    <a:pt x="1412875" y="616547"/>
                  </a:lnTo>
                  <a:lnTo>
                    <a:pt x="1412913" y="617195"/>
                  </a:lnTo>
                  <a:lnTo>
                    <a:pt x="1412913" y="617881"/>
                  </a:lnTo>
                  <a:lnTo>
                    <a:pt x="1413014" y="617881"/>
                  </a:lnTo>
                  <a:lnTo>
                    <a:pt x="1413014" y="619125"/>
                  </a:lnTo>
                  <a:lnTo>
                    <a:pt x="1413065" y="619125"/>
                  </a:lnTo>
                  <a:lnTo>
                    <a:pt x="1413065" y="619773"/>
                  </a:lnTo>
                  <a:lnTo>
                    <a:pt x="1413217" y="619773"/>
                  </a:lnTo>
                  <a:lnTo>
                    <a:pt x="1413268" y="620471"/>
                  </a:lnTo>
                  <a:lnTo>
                    <a:pt x="1413268" y="621106"/>
                  </a:lnTo>
                  <a:lnTo>
                    <a:pt x="1413319" y="622402"/>
                  </a:lnTo>
                  <a:lnTo>
                    <a:pt x="1413370" y="623100"/>
                  </a:lnTo>
                  <a:lnTo>
                    <a:pt x="1413459" y="623100"/>
                  </a:lnTo>
                  <a:lnTo>
                    <a:pt x="1413510" y="623735"/>
                  </a:lnTo>
                  <a:lnTo>
                    <a:pt x="1413560" y="624332"/>
                  </a:lnTo>
                  <a:lnTo>
                    <a:pt x="1413560" y="625081"/>
                  </a:lnTo>
                  <a:lnTo>
                    <a:pt x="1413611" y="626326"/>
                  </a:lnTo>
                  <a:lnTo>
                    <a:pt x="1413611" y="626961"/>
                  </a:lnTo>
                  <a:lnTo>
                    <a:pt x="1413713" y="626961"/>
                  </a:lnTo>
                  <a:lnTo>
                    <a:pt x="1413763" y="627659"/>
                  </a:lnTo>
                  <a:lnTo>
                    <a:pt x="1413814" y="627659"/>
                  </a:lnTo>
                  <a:lnTo>
                    <a:pt x="1413814" y="628307"/>
                  </a:lnTo>
                  <a:lnTo>
                    <a:pt x="1413916" y="628307"/>
                  </a:lnTo>
                  <a:lnTo>
                    <a:pt x="1413916" y="629539"/>
                  </a:lnTo>
                  <a:lnTo>
                    <a:pt x="1413954" y="630238"/>
                  </a:lnTo>
                  <a:lnTo>
                    <a:pt x="1414005" y="630885"/>
                  </a:lnTo>
                  <a:lnTo>
                    <a:pt x="1414005" y="631533"/>
                  </a:lnTo>
                  <a:lnTo>
                    <a:pt x="1414056" y="631533"/>
                  </a:lnTo>
                  <a:lnTo>
                    <a:pt x="1414157" y="632168"/>
                  </a:lnTo>
                  <a:lnTo>
                    <a:pt x="1414208" y="633514"/>
                  </a:lnTo>
                  <a:lnTo>
                    <a:pt x="1414208" y="634162"/>
                  </a:lnTo>
                  <a:lnTo>
                    <a:pt x="1414259" y="634759"/>
                  </a:lnTo>
                  <a:lnTo>
                    <a:pt x="1414259" y="635445"/>
                  </a:lnTo>
                  <a:lnTo>
                    <a:pt x="1414360" y="636092"/>
                  </a:lnTo>
                  <a:lnTo>
                    <a:pt x="1414360" y="637438"/>
                  </a:lnTo>
                  <a:lnTo>
                    <a:pt x="1414462" y="638721"/>
                  </a:lnTo>
                  <a:lnTo>
                    <a:pt x="1414462" y="639369"/>
                  </a:lnTo>
                  <a:lnTo>
                    <a:pt x="1414500" y="640652"/>
                  </a:lnTo>
                  <a:lnTo>
                    <a:pt x="1414602" y="641299"/>
                  </a:lnTo>
                  <a:lnTo>
                    <a:pt x="1414653" y="641947"/>
                  </a:lnTo>
                  <a:lnTo>
                    <a:pt x="1414703" y="641947"/>
                  </a:lnTo>
                  <a:lnTo>
                    <a:pt x="1414703" y="642646"/>
                  </a:lnTo>
                  <a:lnTo>
                    <a:pt x="1414805" y="643281"/>
                  </a:lnTo>
                  <a:lnTo>
                    <a:pt x="1414856" y="645274"/>
                  </a:lnTo>
                  <a:lnTo>
                    <a:pt x="1414906" y="645274"/>
                  </a:lnTo>
                  <a:lnTo>
                    <a:pt x="1414906" y="645871"/>
                  </a:lnTo>
                  <a:lnTo>
                    <a:pt x="1415046" y="645871"/>
                  </a:lnTo>
                  <a:lnTo>
                    <a:pt x="1415097" y="646506"/>
                  </a:lnTo>
                  <a:lnTo>
                    <a:pt x="1415097" y="647852"/>
                  </a:lnTo>
                  <a:lnTo>
                    <a:pt x="1415148" y="647852"/>
                  </a:lnTo>
                  <a:lnTo>
                    <a:pt x="1415148" y="648500"/>
                  </a:lnTo>
                  <a:lnTo>
                    <a:pt x="1415199" y="648500"/>
                  </a:lnTo>
                  <a:lnTo>
                    <a:pt x="1415300" y="649135"/>
                  </a:lnTo>
                  <a:lnTo>
                    <a:pt x="1415351" y="649834"/>
                  </a:lnTo>
                  <a:lnTo>
                    <a:pt x="1415351" y="650481"/>
                  </a:lnTo>
                  <a:lnTo>
                    <a:pt x="1415402" y="651726"/>
                  </a:lnTo>
                  <a:lnTo>
                    <a:pt x="1415402" y="652412"/>
                  </a:lnTo>
                  <a:lnTo>
                    <a:pt x="1415503" y="653059"/>
                  </a:lnTo>
                  <a:lnTo>
                    <a:pt x="1415592" y="653059"/>
                  </a:lnTo>
                  <a:lnTo>
                    <a:pt x="1415643" y="653707"/>
                  </a:lnTo>
                  <a:lnTo>
                    <a:pt x="1415643" y="655041"/>
                  </a:lnTo>
                  <a:lnTo>
                    <a:pt x="1415745" y="655041"/>
                  </a:lnTo>
                  <a:lnTo>
                    <a:pt x="1415745" y="655638"/>
                  </a:lnTo>
                  <a:lnTo>
                    <a:pt x="1415796" y="656933"/>
                  </a:lnTo>
                  <a:lnTo>
                    <a:pt x="1415796" y="657619"/>
                  </a:lnTo>
                  <a:lnTo>
                    <a:pt x="1415846" y="658914"/>
                  </a:lnTo>
                  <a:lnTo>
                    <a:pt x="1415948" y="659562"/>
                  </a:lnTo>
                  <a:lnTo>
                    <a:pt x="1415948" y="660248"/>
                  </a:lnTo>
                  <a:lnTo>
                    <a:pt x="1415999" y="660845"/>
                  </a:lnTo>
                  <a:lnTo>
                    <a:pt x="1416050" y="662191"/>
                  </a:lnTo>
                  <a:lnTo>
                    <a:pt x="1416050" y="662838"/>
                  </a:lnTo>
                  <a:lnTo>
                    <a:pt x="1416088" y="664121"/>
                  </a:lnTo>
                  <a:lnTo>
                    <a:pt x="1416088" y="664820"/>
                  </a:lnTo>
                  <a:lnTo>
                    <a:pt x="1416189" y="664820"/>
                  </a:lnTo>
                  <a:lnTo>
                    <a:pt x="1416240" y="666052"/>
                  </a:lnTo>
                  <a:lnTo>
                    <a:pt x="1416240" y="666699"/>
                  </a:lnTo>
                  <a:lnTo>
                    <a:pt x="1416291" y="667398"/>
                  </a:lnTo>
                  <a:lnTo>
                    <a:pt x="1416291" y="668046"/>
                  </a:lnTo>
                  <a:lnTo>
                    <a:pt x="1416392" y="669328"/>
                  </a:lnTo>
                  <a:lnTo>
                    <a:pt x="1416392" y="670027"/>
                  </a:lnTo>
                  <a:lnTo>
                    <a:pt x="1416443" y="670674"/>
                  </a:lnTo>
                  <a:lnTo>
                    <a:pt x="1416443" y="671271"/>
                  </a:lnTo>
                  <a:lnTo>
                    <a:pt x="1416494" y="671906"/>
                  </a:lnTo>
                  <a:lnTo>
                    <a:pt x="1416634" y="671906"/>
                  </a:lnTo>
                  <a:lnTo>
                    <a:pt x="1416634" y="673252"/>
                  </a:lnTo>
                  <a:lnTo>
                    <a:pt x="1416685" y="673900"/>
                  </a:lnTo>
                  <a:lnTo>
                    <a:pt x="1416685" y="674586"/>
                  </a:lnTo>
                  <a:lnTo>
                    <a:pt x="1416735" y="675234"/>
                  </a:lnTo>
                  <a:lnTo>
                    <a:pt x="1416735" y="676478"/>
                  </a:lnTo>
                  <a:lnTo>
                    <a:pt x="1416786" y="677164"/>
                  </a:lnTo>
                  <a:lnTo>
                    <a:pt x="1416888" y="677812"/>
                  </a:lnTo>
                  <a:lnTo>
                    <a:pt x="1416888" y="678459"/>
                  </a:lnTo>
                  <a:lnTo>
                    <a:pt x="1416938" y="679107"/>
                  </a:lnTo>
                  <a:lnTo>
                    <a:pt x="1416938" y="681038"/>
                  </a:lnTo>
                  <a:lnTo>
                    <a:pt x="1416989" y="681685"/>
                  </a:lnTo>
                  <a:lnTo>
                    <a:pt x="1417091" y="682384"/>
                  </a:lnTo>
                  <a:lnTo>
                    <a:pt x="1417091" y="683667"/>
                  </a:lnTo>
                  <a:lnTo>
                    <a:pt x="1417129" y="683667"/>
                  </a:lnTo>
                  <a:lnTo>
                    <a:pt x="1417180" y="684314"/>
                  </a:lnTo>
                  <a:lnTo>
                    <a:pt x="1417180" y="685013"/>
                  </a:lnTo>
                  <a:lnTo>
                    <a:pt x="1417231" y="685648"/>
                  </a:lnTo>
                  <a:lnTo>
                    <a:pt x="1417231" y="686245"/>
                  </a:lnTo>
                  <a:lnTo>
                    <a:pt x="1417332" y="687591"/>
                  </a:lnTo>
                  <a:lnTo>
                    <a:pt x="1417434" y="688873"/>
                  </a:lnTo>
                  <a:lnTo>
                    <a:pt x="1417434" y="689572"/>
                  </a:lnTo>
                  <a:lnTo>
                    <a:pt x="1417535" y="690867"/>
                  </a:lnTo>
                  <a:lnTo>
                    <a:pt x="1417535" y="691452"/>
                  </a:lnTo>
                  <a:lnTo>
                    <a:pt x="1417586" y="692150"/>
                  </a:lnTo>
                  <a:lnTo>
                    <a:pt x="1417637" y="692798"/>
                  </a:lnTo>
                  <a:lnTo>
                    <a:pt x="1417637" y="693446"/>
                  </a:lnTo>
                  <a:lnTo>
                    <a:pt x="1417675" y="694779"/>
                  </a:lnTo>
                  <a:lnTo>
                    <a:pt x="1417777" y="695427"/>
                  </a:lnTo>
                  <a:lnTo>
                    <a:pt x="1417777" y="696074"/>
                  </a:lnTo>
                  <a:lnTo>
                    <a:pt x="1417828" y="696074"/>
                  </a:lnTo>
                  <a:lnTo>
                    <a:pt x="1417828" y="696760"/>
                  </a:lnTo>
                  <a:lnTo>
                    <a:pt x="1417878" y="698005"/>
                  </a:lnTo>
                  <a:lnTo>
                    <a:pt x="1417878" y="698652"/>
                  </a:lnTo>
                  <a:lnTo>
                    <a:pt x="1417980" y="699351"/>
                  </a:lnTo>
                  <a:lnTo>
                    <a:pt x="1417980" y="699986"/>
                  </a:lnTo>
                  <a:lnTo>
                    <a:pt x="1418031" y="700634"/>
                  </a:lnTo>
                  <a:lnTo>
                    <a:pt x="1418081" y="700634"/>
                  </a:lnTo>
                  <a:lnTo>
                    <a:pt x="1418081" y="701980"/>
                  </a:lnTo>
                  <a:lnTo>
                    <a:pt x="1418132" y="702564"/>
                  </a:lnTo>
                  <a:lnTo>
                    <a:pt x="1418132" y="703212"/>
                  </a:lnTo>
                  <a:lnTo>
                    <a:pt x="1418221" y="703859"/>
                  </a:lnTo>
                  <a:lnTo>
                    <a:pt x="1418221" y="705193"/>
                  </a:lnTo>
                  <a:lnTo>
                    <a:pt x="1418272" y="705841"/>
                  </a:lnTo>
                  <a:lnTo>
                    <a:pt x="1418272" y="706438"/>
                  </a:lnTo>
                  <a:lnTo>
                    <a:pt x="1418323" y="706438"/>
                  </a:lnTo>
                  <a:lnTo>
                    <a:pt x="1418374" y="707187"/>
                  </a:lnTo>
                  <a:lnTo>
                    <a:pt x="1418374" y="709117"/>
                  </a:lnTo>
                  <a:lnTo>
                    <a:pt x="1418475" y="709765"/>
                  </a:lnTo>
                  <a:lnTo>
                    <a:pt x="1418475" y="710413"/>
                  </a:lnTo>
                  <a:lnTo>
                    <a:pt x="1418526" y="710413"/>
                  </a:lnTo>
                  <a:lnTo>
                    <a:pt x="1418526" y="711048"/>
                  </a:lnTo>
                  <a:lnTo>
                    <a:pt x="1418577" y="712991"/>
                  </a:lnTo>
                  <a:lnTo>
                    <a:pt x="1418577" y="713638"/>
                  </a:lnTo>
                  <a:lnTo>
                    <a:pt x="1418678" y="714324"/>
                  </a:lnTo>
                  <a:lnTo>
                    <a:pt x="1418716" y="714972"/>
                  </a:lnTo>
                  <a:lnTo>
                    <a:pt x="1418767" y="716267"/>
                  </a:lnTo>
                  <a:lnTo>
                    <a:pt x="1418767" y="716953"/>
                  </a:lnTo>
                  <a:lnTo>
                    <a:pt x="1418818" y="716953"/>
                  </a:lnTo>
                  <a:lnTo>
                    <a:pt x="1418818" y="717550"/>
                  </a:lnTo>
                  <a:lnTo>
                    <a:pt x="1418920" y="718198"/>
                  </a:lnTo>
                  <a:lnTo>
                    <a:pt x="1418971" y="718846"/>
                  </a:lnTo>
                  <a:lnTo>
                    <a:pt x="1418971" y="720179"/>
                  </a:lnTo>
                  <a:lnTo>
                    <a:pt x="1419021" y="720827"/>
                  </a:lnTo>
                  <a:lnTo>
                    <a:pt x="1419021" y="721525"/>
                  </a:lnTo>
                  <a:lnTo>
                    <a:pt x="1419123" y="722160"/>
                  </a:lnTo>
                  <a:lnTo>
                    <a:pt x="1419123" y="723405"/>
                  </a:lnTo>
                  <a:lnTo>
                    <a:pt x="1419174" y="724103"/>
                  </a:lnTo>
                  <a:lnTo>
                    <a:pt x="1419174" y="724751"/>
                  </a:lnTo>
                  <a:lnTo>
                    <a:pt x="1419263" y="726034"/>
                  </a:lnTo>
                  <a:lnTo>
                    <a:pt x="1419263" y="727380"/>
                  </a:lnTo>
                  <a:lnTo>
                    <a:pt x="1419364" y="727964"/>
                  </a:lnTo>
                  <a:lnTo>
                    <a:pt x="1419364" y="728612"/>
                  </a:lnTo>
                  <a:lnTo>
                    <a:pt x="1419415" y="729310"/>
                  </a:lnTo>
                  <a:lnTo>
                    <a:pt x="1419415" y="730593"/>
                  </a:lnTo>
                  <a:lnTo>
                    <a:pt x="1419466" y="731241"/>
                  </a:lnTo>
                  <a:lnTo>
                    <a:pt x="1419567" y="731939"/>
                  </a:lnTo>
                  <a:lnTo>
                    <a:pt x="1419618" y="732587"/>
                  </a:lnTo>
                  <a:lnTo>
                    <a:pt x="1419618" y="733184"/>
                  </a:lnTo>
                  <a:lnTo>
                    <a:pt x="1419669" y="734517"/>
                  </a:lnTo>
                  <a:lnTo>
                    <a:pt x="1419669" y="735165"/>
                  </a:lnTo>
                  <a:lnTo>
                    <a:pt x="1419720" y="735813"/>
                  </a:lnTo>
                  <a:lnTo>
                    <a:pt x="1419720" y="736498"/>
                  </a:lnTo>
                  <a:lnTo>
                    <a:pt x="1419809" y="737794"/>
                  </a:lnTo>
                  <a:lnTo>
                    <a:pt x="1419809" y="738391"/>
                  </a:lnTo>
                  <a:lnTo>
                    <a:pt x="1419860" y="739077"/>
                  </a:lnTo>
                  <a:lnTo>
                    <a:pt x="1419910" y="739724"/>
                  </a:lnTo>
                  <a:lnTo>
                    <a:pt x="1419910" y="740372"/>
                  </a:lnTo>
                  <a:lnTo>
                    <a:pt x="1419961" y="741706"/>
                  </a:lnTo>
                  <a:lnTo>
                    <a:pt x="1419961" y="742353"/>
                  </a:lnTo>
                  <a:lnTo>
                    <a:pt x="1420063" y="742950"/>
                  </a:lnTo>
                  <a:lnTo>
                    <a:pt x="1420063" y="743598"/>
                  </a:lnTo>
                  <a:lnTo>
                    <a:pt x="1420113" y="744931"/>
                  </a:lnTo>
                  <a:lnTo>
                    <a:pt x="1420164" y="745579"/>
                  </a:lnTo>
                  <a:lnTo>
                    <a:pt x="1420164" y="746277"/>
                  </a:lnTo>
                  <a:lnTo>
                    <a:pt x="1420266" y="746925"/>
                  </a:lnTo>
                  <a:lnTo>
                    <a:pt x="1420266" y="748906"/>
                  </a:lnTo>
                  <a:lnTo>
                    <a:pt x="1420304" y="748906"/>
                  </a:lnTo>
                  <a:lnTo>
                    <a:pt x="1420304" y="750151"/>
                  </a:lnTo>
                  <a:lnTo>
                    <a:pt x="1420355" y="750786"/>
                  </a:lnTo>
                  <a:lnTo>
                    <a:pt x="1420355" y="752132"/>
                  </a:lnTo>
                  <a:lnTo>
                    <a:pt x="1420406" y="752780"/>
                  </a:lnTo>
                  <a:lnTo>
                    <a:pt x="1420507" y="753364"/>
                  </a:lnTo>
                  <a:lnTo>
                    <a:pt x="1420507" y="754063"/>
                  </a:lnTo>
                  <a:lnTo>
                    <a:pt x="1420558" y="754710"/>
                  </a:lnTo>
                  <a:lnTo>
                    <a:pt x="1420558" y="755993"/>
                  </a:lnTo>
                  <a:lnTo>
                    <a:pt x="1420609" y="756692"/>
                  </a:lnTo>
                  <a:lnTo>
                    <a:pt x="1420609" y="757339"/>
                  </a:lnTo>
                  <a:lnTo>
                    <a:pt x="1420710" y="757339"/>
                  </a:lnTo>
                  <a:lnTo>
                    <a:pt x="1420710" y="757987"/>
                  </a:lnTo>
                  <a:lnTo>
                    <a:pt x="1420761" y="759270"/>
                  </a:lnTo>
                  <a:lnTo>
                    <a:pt x="1420812" y="759917"/>
                  </a:lnTo>
                  <a:lnTo>
                    <a:pt x="1420850" y="759917"/>
                  </a:lnTo>
                  <a:lnTo>
                    <a:pt x="1420952" y="760565"/>
                  </a:lnTo>
                  <a:lnTo>
                    <a:pt x="1420952" y="761263"/>
                  </a:lnTo>
                  <a:lnTo>
                    <a:pt x="1421003" y="761263"/>
                  </a:lnTo>
                  <a:lnTo>
                    <a:pt x="1421003" y="761898"/>
                  </a:lnTo>
                  <a:lnTo>
                    <a:pt x="1421053" y="763194"/>
                  </a:lnTo>
                  <a:lnTo>
                    <a:pt x="1421155" y="763892"/>
                  </a:lnTo>
                  <a:lnTo>
                    <a:pt x="1421155" y="765124"/>
                  </a:lnTo>
                  <a:lnTo>
                    <a:pt x="1421206" y="766471"/>
                  </a:lnTo>
                  <a:lnTo>
                    <a:pt x="1421206" y="767753"/>
                  </a:lnTo>
                  <a:lnTo>
                    <a:pt x="1421256" y="768350"/>
                  </a:lnTo>
                  <a:lnTo>
                    <a:pt x="1421307" y="769099"/>
                  </a:lnTo>
                  <a:lnTo>
                    <a:pt x="1421307" y="770331"/>
                  </a:lnTo>
                  <a:lnTo>
                    <a:pt x="1421396" y="771030"/>
                  </a:lnTo>
                  <a:lnTo>
                    <a:pt x="1421447" y="771677"/>
                  </a:lnTo>
                  <a:lnTo>
                    <a:pt x="1421447" y="773659"/>
                  </a:lnTo>
                  <a:lnTo>
                    <a:pt x="1421549" y="773659"/>
                  </a:lnTo>
                  <a:lnTo>
                    <a:pt x="1421650" y="774306"/>
                  </a:lnTo>
                  <a:lnTo>
                    <a:pt x="1421701" y="775551"/>
                  </a:lnTo>
                  <a:lnTo>
                    <a:pt x="1421701" y="776237"/>
                  </a:lnTo>
                  <a:lnTo>
                    <a:pt x="1421752" y="777532"/>
                  </a:lnTo>
                  <a:lnTo>
                    <a:pt x="1421752" y="778866"/>
                  </a:lnTo>
                  <a:lnTo>
                    <a:pt x="1421853" y="779463"/>
                  </a:lnTo>
                  <a:lnTo>
                    <a:pt x="1421853" y="780110"/>
                  </a:lnTo>
                  <a:lnTo>
                    <a:pt x="1421891" y="781444"/>
                  </a:lnTo>
                  <a:lnTo>
                    <a:pt x="1421891" y="782092"/>
                  </a:lnTo>
                  <a:lnTo>
                    <a:pt x="1421942" y="782739"/>
                  </a:lnTo>
                  <a:lnTo>
                    <a:pt x="1421993" y="783438"/>
                  </a:lnTo>
                  <a:lnTo>
                    <a:pt x="1421993" y="784670"/>
                  </a:lnTo>
                  <a:lnTo>
                    <a:pt x="1422095" y="786016"/>
                  </a:lnTo>
                  <a:lnTo>
                    <a:pt x="1422146" y="787298"/>
                  </a:lnTo>
                  <a:lnTo>
                    <a:pt x="1422146" y="788645"/>
                  </a:lnTo>
                  <a:lnTo>
                    <a:pt x="1422196" y="789292"/>
                  </a:lnTo>
                  <a:lnTo>
                    <a:pt x="1422196" y="789877"/>
                  </a:lnTo>
                  <a:lnTo>
                    <a:pt x="1422298" y="790524"/>
                  </a:lnTo>
                  <a:lnTo>
                    <a:pt x="1422349" y="791871"/>
                  </a:lnTo>
                  <a:lnTo>
                    <a:pt x="1422349" y="792506"/>
                  </a:lnTo>
                  <a:lnTo>
                    <a:pt x="1422400" y="793153"/>
                  </a:lnTo>
                  <a:lnTo>
                    <a:pt x="1422400" y="793852"/>
                  </a:lnTo>
                  <a:lnTo>
                    <a:pt x="1422539" y="795782"/>
                  </a:lnTo>
                  <a:lnTo>
                    <a:pt x="1422539" y="796430"/>
                  </a:lnTo>
                  <a:lnTo>
                    <a:pt x="1422641" y="797725"/>
                  </a:lnTo>
                  <a:lnTo>
                    <a:pt x="1422641" y="799706"/>
                  </a:lnTo>
                  <a:lnTo>
                    <a:pt x="1422742" y="800303"/>
                  </a:lnTo>
                  <a:lnTo>
                    <a:pt x="1422742" y="800989"/>
                  </a:lnTo>
                  <a:lnTo>
                    <a:pt x="1422793" y="801637"/>
                  </a:lnTo>
                  <a:lnTo>
                    <a:pt x="1422793" y="802932"/>
                  </a:lnTo>
                  <a:lnTo>
                    <a:pt x="1422844" y="804266"/>
                  </a:lnTo>
                  <a:lnTo>
                    <a:pt x="1422895" y="804863"/>
                  </a:lnTo>
                  <a:lnTo>
                    <a:pt x="1422895" y="806209"/>
                  </a:lnTo>
                  <a:lnTo>
                    <a:pt x="1422984" y="806844"/>
                  </a:lnTo>
                  <a:lnTo>
                    <a:pt x="1422984" y="807492"/>
                  </a:lnTo>
                  <a:lnTo>
                    <a:pt x="1423035" y="807492"/>
                  </a:lnTo>
                  <a:lnTo>
                    <a:pt x="1423035" y="808190"/>
                  </a:lnTo>
                  <a:lnTo>
                    <a:pt x="1423085" y="808838"/>
                  </a:lnTo>
                  <a:lnTo>
                    <a:pt x="1423085" y="810070"/>
                  </a:lnTo>
                  <a:lnTo>
                    <a:pt x="1423136" y="810819"/>
                  </a:lnTo>
                  <a:lnTo>
                    <a:pt x="1423238" y="811416"/>
                  </a:lnTo>
                  <a:lnTo>
                    <a:pt x="1423238" y="812063"/>
                  </a:lnTo>
                  <a:lnTo>
                    <a:pt x="1423288" y="813397"/>
                  </a:lnTo>
                  <a:lnTo>
                    <a:pt x="1423288" y="814045"/>
                  </a:lnTo>
                  <a:lnTo>
                    <a:pt x="1423339" y="814692"/>
                  </a:lnTo>
                  <a:lnTo>
                    <a:pt x="1423339" y="815277"/>
                  </a:lnTo>
                  <a:lnTo>
                    <a:pt x="1423441" y="815975"/>
                  </a:lnTo>
                  <a:lnTo>
                    <a:pt x="1423441" y="817271"/>
                  </a:lnTo>
                  <a:lnTo>
                    <a:pt x="1423479" y="817906"/>
                  </a:lnTo>
                  <a:lnTo>
                    <a:pt x="1423530" y="818604"/>
                  </a:lnTo>
                  <a:lnTo>
                    <a:pt x="1423530" y="819252"/>
                  </a:lnTo>
                  <a:lnTo>
                    <a:pt x="1423581" y="820585"/>
                  </a:lnTo>
                  <a:lnTo>
                    <a:pt x="1423581" y="821182"/>
                  </a:lnTo>
                  <a:lnTo>
                    <a:pt x="1423682" y="821830"/>
                  </a:lnTo>
                  <a:lnTo>
                    <a:pt x="1423682" y="822477"/>
                  </a:lnTo>
                  <a:lnTo>
                    <a:pt x="1423733" y="823176"/>
                  </a:lnTo>
                  <a:lnTo>
                    <a:pt x="1423733" y="825106"/>
                  </a:lnTo>
                  <a:lnTo>
                    <a:pt x="1423784" y="825805"/>
                  </a:lnTo>
                  <a:lnTo>
                    <a:pt x="1423885" y="825805"/>
                  </a:lnTo>
                  <a:lnTo>
                    <a:pt x="1423885" y="826389"/>
                  </a:lnTo>
                  <a:lnTo>
                    <a:pt x="1423936" y="827684"/>
                  </a:lnTo>
                  <a:lnTo>
                    <a:pt x="1423936" y="828383"/>
                  </a:lnTo>
                  <a:lnTo>
                    <a:pt x="1423987" y="829018"/>
                  </a:lnTo>
                  <a:lnTo>
                    <a:pt x="1423987" y="829666"/>
                  </a:lnTo>
                  <a:lnTo>
                    <a:pt x="1424025" y="829666"/>
                  </a:lnTo>
                  <a:lnTo>
                    <a:pt x="1424025" y="830263"/>
                  </a:lnTo>
                  <a:lnTo>
                    <a:pt x="1424127" y="831609"/>
                  </a:lnTo>
                  <a:lnTo>
                    <a:pt x="1424178" y="832942"/>
                  </a:lnTo>
                  <a:lnTo>
                    <a:pt x="1424178" y="833590"/>
                  </a:lnTo>
                  <a:lnTo>
                    <a:pt x="1424228" y="834873"/>
                  </a:lnTo>
                  <a:lnTo>
                    <a:pt x="1424228" y="835571"/>
                  </a:lnTo>
                  <a:lnTo>
                    <a:pt x="1424330" y="836219"/>
                  </a:lnTo>
                  <a:lnTo>
                    <a:pt x="1424381" y="836816"/>
                  </a:lnTo>
                  <a:lnTo>
                    <a:pt x="1424431" y="838797"/>
                  </a:lnTo>
                  <a:lnTo>
                    <a:pt x="1424431" y="839445"/>
                  </a:lnTo>
                  <a:lnTo>
                    <a:pt x="1424482" y="840092"/>
                  </a:lnTo>
                  <a:lnTo>
                    <a:pt x="1424482" y="840778"/>
                  </a:lnTo>
                  <a:lnTo>
                    <a:pt x="1424571" y="842023"/>
                  </a:lnTo>
                  <a:lnTo>
                    <a:pt x="1424571" y="842671"/>
                  </a:lnTo>
                  <a:lnTo>
                    <a:pt x="1424622" y="843356"/>
                  </a:lnTo>
                  <a:lnTo>
                    <a:pt x="1424673" y="844652"/>
                  </a:lnTo>
                  <a:lnTo>
                    <a:pt x="1424724" y="845985"/>
                  </a:lnTo>
                  <a:lnTo>
                    <a:pt x="1424724" y="846582"/>
                  </a:lnTo>
                  <a:lnTo>
                    <a:pt x="1424825" y="847230"/>
                  </a:lnTo>
                  <a:lnTo>
                    <a:pt x="1424825" y="847928"/>
                  </a:lnTo>
                  <a:lnTo>
                    <a:pt x="1424876" y="847928"/>
                  </a:lnTo>
                  <a:lnTo>
                    <a:pt x="1424876" y="849211"/>
                  </a:lnTo>
                  <a:lnTo>
                    <a:pt x="1424927" y="849859"/>
                  </a:lnTo>
                  <a:lnTo>
                    <a:pt x="1424927" y="850557"/>
                  </a:lnTo>
                  <a:lnTo>
                    <a:pt x="1425028" y="851789"/>
                  </a:lnTo>
                  <a:lnTo>
                    <a:pt x="1425066" y="853135"/>
                  </a:lnTo>
                  <a:lnTo>
                    <a:pt x="1425066" y="853783"/>
                  </a:lnTo>
                  <a:lnTo>
                    <a:pt x="1425117" y="854418"/>
                  </a:lnTo>
                  <a:lnTo>
                    <a:pt x="1425168" y="855764"/>
                  </a:lnTo>
                  <a:lnTo>
                    <a:pt x="1425270" y="857009"/>
                  </a:lnTo>
                  <a:lnTo>
                    <a:pt x="1425270" y="857695"/>
                  </a:lnTo>
                  <a:lnTo>
                    <a:pt x="1425371" y="858990"/>
                  </a:lnTo>
                  <a:lnTo>
                    <a:pt x="1425371" y="860323"/>
                  </a:lnTo>
                  <a:lnTo>
                    <a:pt x="1425473" y="860971"/>
                  </a:lnTo>
                  <a:lnTo>
                    <a:pt x="1425473" y="861619"/>
                  </a:lnTo>
                  <a:lnTo>
                    <a:pt x="1425524" y="861619"/>
                  </a:lnTo>
                  <a:lnTo>
                    <a:pt x="1425524" y="862216"/>
                  </a:lnTo>
                  <a:lnTo>
                    <a:pt x="1425575" y="864197"/>
                  </a:lnTo>
                  <a:lnTo>
                    <a:pt x="1425613" y="864845"/>
                  </a:lnTo>
                  <a:lnTo>
                    <a:pt x="1425613" y="865531"/>
                  </a:lnTo>
                  <a:lnTo>
                    <a:pt x="1425714" y="866178"/>
                  </a:lnTo>
                  <a:lnTo>
                    <a:pt x="1425714" y="867423"/>
                  </a:lnTo>
                  <a:lnTo>
                    <a:pt x="1425765" y="868121"/>
                  </a:lnTo>
                  <a:lnTo>
                    <a:pt x="1425765" y="868756"/>
                  </a:lnTo>
                  <a:lnTo>
                    <a:pt x="1425816" y="869404"/>
                  </a:lnTo>
                  <a:lnTo>
                    <a:pt x="1425816" y="870102"/>
                  </a:lnTo>
                  <a:lnTo>
                    <a:pt x="1425917" y="871385"/>
                  </a:lnTo>
                  <a:lnTo>
                    <a:pt x="1425968" y="871982"/>
                  </a:lnTo>
                  <a:lnTo>
                    <a:pt x="1426019" y="873328"/>
                  </a:lnTo>
                  <a:lnTo>
                    <a:pt x="1426019" y="874611"/>
                  </a:lnTo>
                  <a:lnTo>
                    <a:pt x="1426070" y="875309"/>
                  </a:lnTo>
                  <a:lnTo>
                    <a:pt x="1426070" y="875957"/>
                  </a:lnTo>
                  <a:lnTo>
                    <a:pt x="1426159" y="875957"/>
                  </a:lnTo>
                  <a:lnTo>
                    <a:pt x="1426159" y="876605"/>
                  </a:lnTo>
                  <a:lnTo>
                    <a:pt x="1426210" y="877189"/>
                  </a:lnTo>
                  <a:lnTo>
                    <a:pt x="1426260" y="878535"/>
                  </a:lnTo>
                  <a:lnTo>
                    <a:pt x="1426260" y="879183"/>
                  </a:lnTo>
                  <a:lnTo>
                    <a:pt x="1426311" y="879818"/>
                  </a:lnTo>
                  <a:lnTo>
                    <a:pt x="1426311" y="880517"/>
                  </a:lnTo>
                  <a:lnTo>
                    <a:pt x="1426413" y="881812"/>
                  </a:lnTo>
                  <a:lnTo>
                    <a:pt x="1426413" y="882498"/>
                  </a:lnTo>
                  <a:lnTo>
                    <a:pt x="1426463" y="883095"/>
                  </a:lnTo>
                  <a:lnTo>
                    <a:pt x="1426463" y="883742"/>
                  </a:lnTo>
                  <a:lnTo>
                    <a:pt x="1426514" y="884390"/>
                  </a:lnTo>
                  <a:lnTo>
                    <a:pt x="1426616" y="885723"/>
                  </a:lnTo>
                  <a:lnTo>
                    <a:pt x="1426616" y="886371"/>
                  </a:lnTo>
                  <a:lnTo>
                    <a:pt x="1426654" y="886371"/>
                  </a:lnTo>
                  <a:lnTo>
                    <a:pt x="1426705" y="887019"/>
                  </a:lnTo>
                  <a:lnTo>
                    <a:pt x="1426756" y="887717"/>
                  </a:lnTo>
                  <a:lnTo>
                    <a:pt x="1426857" y="888949"/>
                  </a:lnTo>
                  <a:lnTo>
                    <a:pt x="1426908" y="889597"/>
                  </a:lnTo>
                  <a:lnTo>
                    <a:pt x="1426908" y="890296"/>
                  </a:lnTo>
                  <a:lnTo>
                    <a:pt x="1426959" y="890931"/>
                  </a:lnTo>
                  <a:lnTo>
                    <a:pt x="1426959" y="891578"/>
                  </a:lnTo>
                  <a:lnTo>
                    <a:pt x="1427060" y="893521"/>
                  </a:lnTo>
                  <a:lnTo>
                    <a:pt x="1427060" y="894156"/>
                  </a:lnTo>
                  <a:lnTo>
                    <a:pt x="1427111" y="896150"/>
                  </a:lnTo>
                  <a:lnTo>
                    <a:pt x="1427111" y="896785"/>
                  </a:lnTo>
                  <a:lnTo>
                    <a:pt x="1427162" y="897484"/>
                  </a:lnTo>
                  <a:lnTo>
                    <a:pt x="1427200" y="898131"/>
                  </a:lnTo>
                  <a:lnTo>
                    <a:pt x="1427200" y="900062"/>
                  </a:lnTo>
                  <a:lnTo>
                    <a:pt x="1427302" y="900062"/>
                  </a:lnTo>
                  <a:lnTo>
                    <a:pt x="1427302" y="900709"/>
                  </a:lnTo>
                  <a:lnTo>
                    <a:pt x="1427403" y="900709"/>
                  </a:lnTo>
                  <a:lnTo>
                    <a:pt x="1427505" y="900062"/>
                  </a:lnTo>
                  <a:lnTo>
                    <a:pt x="1427606" y="901357"/>
                  </a:lnTo>
                  <a:lnTo>
                    <a:pt x="1427606" y="903288"/>
                  </a:lnTo>
                  <a:lnTo>
                    <a:pt x="1427657" y="903935"/>
                  </a:lnTo>
                  <a:lnTo>
                    <a:pt x="1427657" y="904634"/>
                  </a:lnTo>
                  <a:lnTo>
                    <a:pt x="1427746" y="905917"/>
                  </a:lnTo>
                  <a:lnTo>
                    <a:pt x="1427797" y="907263"/>
                  </a:lnTo>
                  <a:lnTo>
                    <a:pt x="1427848" y="907898"/>
                  </a:lnTo>
                  <a:lnTo>
                    <a:pt x="1427848" y="908495"/>
                  </a:lnTo>
                  <a:lnTo>
                    <a:pt x="1427899" y="909142"/>
                  </a:lnTo>
                  <a:lnTo>
                    <a:pt x="1427899" y="910488"/>
                  </a:lnTo>
                  <a:lnTo>
                    <a:pt x="1428000" y="911123"/>
                  </a:lnTo>
                  <a:lnTo>
                    <a:pt x="1428000" y="911771"/>
                  </a:lnTo>
                  <a:lnTo>
                    <a:pt x="1428051" y="912470"/>
                  </a:lnTo>
                  <a:lnTo>
                    <a:pt x="1428102" y="913117"/>
                  </a:lnTo>
                  <a:lnTo>
                    <a:pt x="1428203" y="914349"/>
                  </a:lnTo>
                  <a:lnTo>
                    <a:pt x="1428203" y="915048"/>
                  </a:lnTo>
                  <a:lnTo>
                    <a:pt x="1428292" y="916331"/>
                  </a:lnTo>
                  <a:lnTo>
                    <a:pt x="1428292" y="917677"/>
                  </a:lnTo>
                  <a:lnTo>
                    <a:pt x="1428343" y="918324"/>
                  </a:lnTo>
                  <a:lnTo>
                    <a:pt x="1428445" y="918921"/>
                  </a:lnTo>
                  <a:lnTo>
                    <a:pt x="1428445" y="919607"/>
                  </a:lnTo>
                  <a:lnTo>
                    <a:pt x="1428496" y="920255"/>
                  </a:lnTo>
                  <a:lnTo>
                    <a:pt x="1428496" y="921550"/>
                  </a:lnTo>
                  <a:lnTo>
                    <a:pt x="1428546" y="922236"/>
                  </a:lnTo>
                  <a:lnTo>
                    <a:pt x="1428546" y="923531"/>
                  </a:lnTo>
                  <a:lnTo>
                    <a:pt x="1428648" y="923531"/>
                  </a:lnTo>
                  <a:lnTo>
                    <a:pt x="1428699" y="924128"/>
                  </a:lnTo>
                  <a:lnTo>
                    <a:pt x="1428699" y="925462"/>
                  </a:lnTo>
                  <a:lnTo>
                    <a:pt x="1428750" y="925462"/>
                  </a:lnTo>
                  <a:lnTo>
                    <a:pt x="1428750" y="926109"/>
                  </a:lnTo>
                  <a:lnTo>
                    <a:pt x="1428788" y="926757"/>
                  </a:lnTo>
                  <a:lnTo>
                    <a:pt x="1428889" y="927443"/>
                  </a:lnTo>
                  <a:lnTo>
                    <a:pt x="1428889" y="928688"/>
                  </a:lnTo>
                  <a:lnTo>
                    <a:pt x="1428940" y="929437"/>
                  </a:lnTo>
                  <a:lnTo>
                    <a:pt x="1428991" y="930034"/>
                  </a:lnTo>
                  <a:lnTo>
                    <a:pt x="1429092" y="930669"/>
                  </a:lnTo>
                  <a:lnTo>
                    <a:pt x="1429092" y="931317"/>
                  </a:lnTo>
                  <a:lnTo>
                    <a:pt x="1429143" y="932663"/>
                  </a:lnTo>
                  <a:lnTo>
                    <a:pt x="1429143" y="933298"/>
                  </a:lnTo>
                  <a:lnTo>
                    <a:pt x="1429194" y="933895"/>
                  </a:lnTo>
                  <a:lnTo>
                    <a:pt x="1429194" y="934644"/>
                  </a:lnTo>
                  <a:lnTo>
                    <a:pt x="1429334" y="934644"/>
                  </a:lnTo>
                  <a:lnTo>
                    <a:pt x="1429334" y="935888"/>
                  </a:lnTo>
                  <a:lnTo>
                    <a:pt x="1429385" y="935888"/>
                  </a:lnTo>
                  <a:lnTo>
                    <a:pt x="1429385" y="937222"/>
                  </a:lnTo>
                  <a:lnTo>
                    <a:pt x="1429435" y="937222"/>
                  </a:lnTo>
                  <a:lnTo>
                    <a:pt x="1429435" y="937870"/>
                  </a:lnTo>
                  <a:lnTo>
                    <a:pt x="1429486" y="938517"/>
                  </a:lnTo>
                  <a:lnTo>
                    <a:pt x="1429486" y="939800"/>
                  </a:lnTo>
                  <a:lnTo>
                    <a:pt x="1429588" y="940448"/>
                  </a:lnTo>
                  <a:lnTo>
                    <a:pt x="1429638" y="941096"/>
                  </a:lnTo>
                  <a:lnTo>
                    <a:pt x="1429689" y="941781"/>
                  </a:lnTo>
                  <a:lnTo>
                    <a:pt x="1429689" y="943077"/>
                  </a:lnTo>
                  <a:lnTo>
                    <a:pt x="1429791" y="943724"/>
                  </a:lnTo>
                  <a:lnTo>
                    <a:pt x="1429829" y="944410"/>
                  </a:lnTo>
                  <a:lnTo>
                    <a:pt x="1429829" y="945007"/>
                  </a:lnTo>
                  <a:lnTo>
                    <a:pt x="1429880" y="945007"/>
                  </a:lnTo>
                  <a:lnTo>
                    <a:pt x="1429931" y="945655"/>
                  </a:lnTo>
                  <a:lnTo>
                    <a:pt x="1429931" y="947001"/>
                  </a:lnTo>
                  <a:lnTo>
                    <a:pt x="1430032" y="947001"/>
                  </a:lnTo>
                  <a:lnTo>
                    <a:pt x="1430032" y="948284"/>
                  </a:lnTo>
                  <a:lnTo>
                    <a:pt x="1430083" y="948931"/>
                  </a:lnTo>
                  <a:lnTo>
                    <a:pt x="1430083" y="950214"/>
                  </a:lnTo>
                  <a:lnTo>
                    <a:pt x="1430134" y="950214"/>
                  </a:lnTo>
                  <a:lnTo>
                    <a:pt x="1430235" y="950862"/>
                  </a:lnTo>
                  <a:lnTo>
                    <a:pt x="1430235" y="951509"/>
                  </a:lnTo>
                  <a:lnTo>
                    <a:pt x="1430286" y="951509"/>
                  </a:lnTo>
                  <a:lnTo>
                    <a:pt x="1430286" y="952208"/>
                  </a:lnTo>
                  <a:lnTo>
                    <a:pt x="1430337" y="952843"/>
                  </a:lnTo>
                  <a:lnTo>
                    <a:pt x="1430375" y="954189"/>
                  </a:lnTo>
                  <a:lnTo>
                    <a:pt x="1430375" y="954837"/>
                  </a:lnTo>
                  <a:lnTo>
                    <a:pt x="1430477" y="954837"/>
                  </a:lnTo>
                  <a:lnTo>
                    <a:pt x="1430528" y="955434"/>
                  </a:lnTo>
                  <a:lnTo>
                    <a:pt x="1430578" y="956069"/>
                  </a:lnTo>
                  <a:lnTo>
                    <a:pt x="1430680" y="957415"/>
                  </a:lnTo>
                  <a:lnTo>
                    <a:pt x="1430680" y="958063"/>
                  </a:lnTo>
                  <a:lnTo>
                    <a:pt x="1430731" y="958698"/>
                  </a:lnTo>
                  <a:lnTo>
                    <a:pt x="1430731" y="959396"/>
                  </a:lnTo>
                  <a:lnTo>
                    <a:pt x="1430832" y="959396"/>
                  </a:lnTo>
                  <a:lnTo>
                    <a:pt x="1430832" y="960044"/>
                  </a:lnTo>
                  <a:lnTo>
                    <a:pt x="1430921" y="961288"/>
                  </a:lnTo>
                  <a:lnTo>
                    <a:pt x="1430921" y="961974"/>
                  </a:lnTo>
                  <a:lnTo>
                    <a:pt x="1430972" y="961974"/>
                  </a:lnTo>
                  <a:lnTo>
                    <a:pt x="1430972" y="962622"/>
                  </a:lnTo>
                  <a:lnTo>
                    <a:pt x="1431023" y="963270"/>
                  </a:lnTo>
                  <a:lnTo>
                    <a:pt x="1431023" y="964603"/>
                  </a:lnTo>
                  <a:lnTo>
                    <a:pt x="1431074" y="965200"/>
                  </a:lnTo>
                  <a:lnTo>
                    <a:pt x="1431175" y="965848"/>
                  </a:lnTo>
                  <a:lnTo>
                    <a:pt x="1431226" y="966546"/>
                  </a:lnTo>
                  <a:lnTo>
                    <a:pt x="1431226" y="967181"/>
                  </a:lnTo>
                  <a:lnTo>
                    <a:pt x="1431277" y="968477"/>
                  </a:lnTo>
                  <a:lnTo>
                    <a:pt x="1431277" y="969175"/>
                  </a:lnTo>
                  <a:lnTo>
                    <a:pt x="1431378" y="969810"/>
                  </a:lnTo>
                  <a:lnTo>
                    <a:pt x="1431416" y="969810"/>
                  </a:lnTo>
                  <a:lnTo>
                    <a:pt x="1431416" y="970407"/>
                  </a:lnTo>
                  <a:lnTo>
                    <a:pt x="1431467" y="971753"/>
                  </a:lnTo>
                  <a:lnTo>
                    <a:pt x="1431518" y="972401"/>
                  </a:lnTo>
                  <a:lnTo>
                    <a:pt x="1431620" y="973036"/>
                  </a:lnTo>
                  <a:lnTo>
                    <a:pt x="1431671" y="973684"/>
                  </a:lnTo>
                  <a:lnTo>
                    <a:pt x="1431721" y="974382"/>
                  </a:lnTo>
                  <a:lnTo>
                    <a:pt x="1431721" y="975614"/>
                  </a:lnTo>
                  <a:lnTo>
                    <a:pt x="1431823" y="976262"/>
                  </a:lnTo>
                  <a:lnTo>
                    <a:pt x="1431874" y="976960"/>
                  </a:lnTo>
                  <a:lnTo>
                    <a:pt x="1431874" y="977608"/>
                  </a:lnTo>
                  <a:lnTo>
                    <a:pt x="1431925" y="978942"/>
                  </a:lnTo>
                  <a:lnTo>
                    <a:pt x="1431963" y="979589"/>
                  </a:lnTo>
                  <a:lnTo>
                    <a:pt x="1432064" y="980237"/>
                  </a:lnTo>
                  <a:lnTo>
                    <a:pt x="1432115" y="980834"/>
                  </a:lnTo>
                  <a:lnTo>
                    <a:pt x="1432115" y="981520"/>
                  </a:lnTo>
                  <a:lnTo>
                    <a:pt x="1432166" y="981520"/>
                  </a:lnTo>
                  <a:lnTo>
                    <a:pt x="1432166" y="982815"/>
                  </a:lnTo>
                  <a:lnTo>
                    <a:pt x="1432267" y="983463"/>
                  </a:lnTo>
                  <a:lnTo>
                    <a:pt x="1432267" y="984148"/>
                  </a:lnTo>
                  <a:lnTo>
                    <a:pt x="1432318" y="984148"/>
                  </a:lnTo>
                  <a:lnTo>
                    <a:pt x="1432369" y="984796"/>
                  </a:lnTo>
                  <a:lnTo>
                    <a:pt x="1432369" y="986041"/>
                  </a:lnTo>
                  <a:lnTo>
                    <a:pt x="1432420" y="986041"/>
                  </a:lnTo>
                  <a:lnTo>
                    <a:pt x="1432509" y="984796"/>
                  </a:lnTo>
                  <a:lnTo>
                    <a:pt x="1432509" y="986041"/>
                  </a:lnTo>
                  <a:lnTo>
                    <a:pt x="1432560" y="984796"/>
                  </a:lnTo>
                  <a:lnTo>
                    <a:pt x="1432661" y="984796"/>
                  </a:lnTo>
                  <a:lnTo>
                    <a:pt x="1432661" y="986041"/>
                  </a:lnTo>
                  <a:lnTo>
                    <a:pt x="1432763" y="986041"/>
                  </a:lnTo>
                  <a:lnTo>
                    <a:pt x="1432763" y="986727"/>
                  </a:lnTo>
                  <a:lnTo>
                    <a:pt x="1432813" y="987374"/>
                  </a:lnTo>
                  <a:lnTo>
                    <a:pt x="1432813" y="988022"/>
                  </a:lnTo>
                  <a:lnTo>
                    <a:pt x="1432864" y="988670"/>
                  </a:lnTo>
                  <a:lnTo>
                    <a:pt x="1432966" y="990003"/>
                  </a:lnTo>
                  <a:lnTo>
                    <a:pt x="1432966" y="990600"/>
                  </a:lnTo>
                  <a:lnTo>
                    <a:pt x="1433004" y="991349"/>
                  </a:lnTo>
                  <a:lnTo>
                    <a:pt x="1433004" y="991946"/>
                  </a:lnTo>
                  <a:lnTo>
                    <a:pt x="1433055" y="993229"/>
                  </a:lnTo>
                  <a:lnTo>
                    <a:pt x="1433055" y="993927"/>
                  </a:lnTo>
                  <a:lnTo>
                    <a:pt x="1433106" y="993229"/>
                  </a:lnTo>
                  <a:lnTo>
                    <a:pt x="1433207" y="991946"/>
                  </a:lnTo>
                  <a:lnTo>
                    <a:pt x="1433258" y="991946"/>
                  </a:lnTo>
                  <a:lnTo>
                    <a:pt x="1433258" y="991349"/>
                  </a:lnTo>
                  <a:lnTo>
                    <a:pt x="1433309" y="991946"/>
                  </a:lnTo>
                  <a:lnTo>
                    <a:pt x="1433309" y="993229"/>
                  </a:lnTo>
                  <a:lnTo>
                    <a:pt x="1433410" y="993927"/>
                  </a:lnTo>
                  <a:lnTo>
                    <a:pt x="1433410" y="994575"/>
                  </a:lnTo>
                  <a:lnTo>
                    <a:pt x="1433461" y="995210"/>
                  </a:lnTo>
                  <a:lnTo>
                    <a:pt x="1433461" y="995807"/>
                  </a:lnTo>
                  <a:lnTo>
                    <a:pt x="1433512" y="997153"/>
                  </a:lnTo>
                  <a:lnTo>
                    <a:pt x="1433550" y="997801"/>
                  </a:lnTo>
                  <a:lnTo>
                    <a:pt x="1433550" y="998436"/>
                  </a:lnTo>
                  <a:lnTo>
                    <a:pt x="1433652" y="998436"/>
                  </a:lnTo>
                  <a:lnTo>
                    <a:pt x="1433652" y="999134"/>
                  </a:lnTo>
                  <a:lnTo>
                    <a:pt x="1433703" y="999782"/>
                  </a:lnTo>
                  <a:lnTo>
                    <a:pt x="1433703" y="1001014"/>
                  </a:lnTo>
                  <a:lnTo>
                    <a:pt x="1433753" y="1001713"/>
                  </a:lnTo>
                  <a:lnTo>
                    <a:pt x="1433753" y="1002360"/>
                  </a:lnTo>
                  <a:lnTo>
                    <a:pt x="1433855" y="1002360"/>
                  </a:lnTo>
                  <a:lnTo>
                    <a:pt x="1433906" y="1003008"/>
                  </a:lnTo>
                  <a:lnTo>
                    <a:pt x="1433906" y="1002360"/>
                  </a:lnTo>
                  <a:lnTo>
                    <a:pt x="1433956" y="1002360"/>
                  </a:lnTo>
                  <a:lnTo>
                    <a:pt x="1433956" y="1003008"/>
                  </a:lnTo>
                  <a:lnTo>
                    <a:pt x="1434007" y="1003008"/>
                  </a:lnTo>
                  <a:lnTo>
                    <a:pt x="1434007" y="1004342"/>
                  </a:lnTo>
                  <a:lnTo>
                    <a:pt x="1434147" y="1004342"/>
                  </a:lnTo>
                  <a:lnTo>
                    <a:pt x="1434147" y="1004989"/>
                  </a:lnTo>
                  <a:lnTo>
                    <a:pt x="1434198" y="1004989"/>
                  </a:lnTo>
                  <a:lnTo>
                    <a:pt x="1434198" y="1005637"/>
                  </a:lnTo>
                  <a:lnTo>
                    <a:pt x="1434249" y="1006323"/>
                  </a:lnTo>
                  <a:lnTo>
                    <a:pt x="1434350" y="1006920"/>
                  </a:lnTo>
                  <a:lnTo>
                    <a:pt x="1434401" y="1006920"/>
                  </a:lnTo>
                  <a:lnTo>
                    <a:pt x="1434452" y="1008215"/>
                  </a:lnTo>
                  <a:lnTo>
                    <a:pt x="1434452" y="1008913"/>
                  </a:lnTo>
                  <a:lnTo>
                    <a:pt x="1434553" y="1009548"/>
                  </a:lnTo>
                  <a:lnTo>
                    <a:pt x="1434553" y="1010196"/>
                  </a:lnTo>
                  <a:lnTo>
                    <a:pt x="1434642" y="1010196"/>
                  </a:lnTo>
                  <a:lnTo>
                    <a:pt x="1434642" y="1012127"/>
                  </a:lnTo>
                  <a:lnTo>
                    <a:pt x="1434693" y="1012127"/>
                  </a:lnTo>
                  <a:lnTo>
                    <a:pt x="1434795" y="1012774"/>
                  </a:lnTo>
                  <a:lnTo>
                    <a:pt x="1434846" y="1013422"/>
                  </a:lnTo>
                  <a:lnTo>
                    <a:pt x="1434896" y="1013422"/>
                  </a:lnTo>
                  <a:lnTo>
                    <a:pt x="1434896" y="1014121"/>
                  </a:lnTo>
                  <a:lnTo>
                    <a:pt x="1434998" y="1014121"/>
                  </a:lnTo>
                  <a:lnTo>
                    <a:pt x="1434998" y="1015403"/>
                  </a:lnTo>
                  <a:lnTo>
                    <a:pt x="1435049" y="1016102"/>
                  </a:lnTo>
                  <a:lnTo>
                    <a:pt x="1435100" y="1016102"/>
                  </a:lnTo>
                  <a:lnTo>
                    <a:pt x="1435138" y="1016749"/>
                  </a:lnTo>
                  <a:lnTo>
                    <a:pt x="1435239" y="1017346"/>
                  </a:lnTo>
                  <a:lnTo>
                    <a:pt x="1435290" y="1017346"/>
                  </a:lnTo>
                  <a:lnTo>
                    <a:pt x="1435290" y="1018680"/>
                  </a:lnTo>
                  <a:lnTo>
                    <a:pt x="1435341" y="1018680"/>
                  </a:lnTo>
                  <a:lnTo>
                    <a:pt x="1435442" y="1019327"/>
                  </a:lnTo>
                  <a:lnTo>
                    <a:pt x="1435442" y="1019975"/>
                  </a:lnTo>
                  <a:lnTo>
                    <a:pt x="1435493" y="1019975"/>
                  </a:lnTo>
                  <a:lnTo>
                    <a:pt x="1435544" y="1020610"/>
                  </a:lnTo>
                  <a:lnTo>
                    <a:pt x="1435595" y="1020610"/>
                  </a:lnTo>
                  <a:lnTo>
                    <a:pt x="1435684" y="1021309"/>
                  </a:lnTo>
                  <a:lnTo>
                    <a:pt x="1435684" y="1022553"/>
                  </a:lnTo>
                  <a:lnTo>
                    <a:pt x="1435735" y="1022553"/>
                  </a:lnTo>
                  <a:lnTo>
                    <a:pt x="1435735" y="1023201"/>
                  </a:lnTo>
                  <a:lnTo>
                    <a:pt x="1435785" y="1023201"/>
                  </a:lnTo>
                  <a:lnTo>
                    <a:pt x="1435785" y="1023887"/>
                  </a:lnTo>
                  <a:lnTo>
                    <a:pt x="1435938" y="1025830"/>
                  </a:lnTo>
                  <a:lnTo>
                    <a:pt x="1435988" y="1025830"/>
                  </a:lnTo>
                  <a:lnTo>
                    <a:pt x="1435988" y="1026516"/>
                  </a:lnTo>
                  <a:lnTo>
                    <a:pt x="1436141" y="1026516"/>
                  </a:lnTo>
                  <a:lnTo>
                    <a:pt x="1436179" y="1027113"/>
                  </a:lnTo>
                  <a:lnTo>
                    <a:pt x="1436230" y="1027113"/>
                  </a:lnTo>
                  <a:lnTo>
                    <a:pt x="1436281" y="1027760"/>
                  </a:lnTo>
                  <a:lnTo>
                    <a:pt x="1436382" y="1028459"/>
                  </a:lnTo>
                  <a:lnTo>
                    <a:pt x="1436382" y="1029742"/>
                  </a:lnTo>
                  <a:lnTo>
                    <a:pt x="1436484" y="1029742"/>
                  </a:lnTo>
                  <a:lnTo>
                    <a:pt x="1436484" y="1030389"/>
                  </a:lnTo>
                  <a:lnTo>
                    <a:pt x="1436585" y="1031088"/>
                  </a:lnTo>
                  <a:lnTo>
                    <a:pt x="1436636" y="1031088"/>
                  </a:lnTo>
                  <a:lnTo>
                    <a:pt x="1436687" y="1031723"/>
                  </a:lnTo>
                  <a:lnTo>
                    <a:pt x="1436725" y="1032967"/>
                  </a:lnTo>
                  <a:lnTo>
                    <a:pt x="1436878" y="1032967"/>
                  </a:lnTo>
                  <a:lnTo>
                    <a:pt x="1436928" y="1033666"/>
                  </a:lnTo>
                  <a:lnTo>
                    <a:pt x="1436928" y="1034313"/>
                  </a:lnTo>
                  <a:lnTo>
                    <a:pt x="1437030" y="1034313"/>
                  </a:lnTo>
                  <a:lnTo>
                    <a:pt x="1437030" y="1034948"/>
                  </a:lnTo>
                  <a:lnTo>
                    <a:pt x="1437131" y="1034948"/>
                  </a:lnTo>
                  <a:lnTo>
                    <a:pt x="1437182" y="1035596"/>
                  </a:lnTo>
                  <a:lnTo>
                    <a:pt x="1437271" y="1035596"/>
                  </a:lnTo>
                  <a:lnTo>
                    <a:pt x="1437271" y="1036942"/>
                  </a:lnTo>
                  <a:lnTo>
                    <a:pt x="1437322" y="1036942"/>
                  </a:lnTo>
                  <a:lnTo>
                    <a:pt x="1437322" y="1037527"/>
                  </a:lnTo>
                  <a:lnTo>
                    <a:pt x="1437373" y="1038174"/>
                  </a:lnTo>
                  <a:lnTo>
                    <a:pt x="1437424" y="1038873"/>
                  </a:lnTo>
                  <a:lnTo>
                    <a:pt x="1437576" y="1038873"/>
                  </a:lnTo>
                  <a:lnTo>
                    <a:pt x="1437627" y="1040156"/>
                  </a:lnTo>
                  <a:lnTo>
                    <a:pt x="1437627" y="1040854"/>
                  </a:lnTo>
                  <a:lnTo>
                    <a:pt x="1437728" y="1040854"/>
                  </a:lnTo>
                  <a:lnTo>
                    <a:pt x="1437728" y="1041502"/>
                  </a:lnTo>
                  <a:lnTo>
                    <a:pt x="1437766" y="1041502"/>
                  </a:lnTo>
                  <a:lnTo>
                    <a:pt x="1437817" y="1042149"/>
                  </a:lnTo>
                  <a:lnTo>
                    <a:pt x="1437868" y="1042746"/>
                  </a:lnTo>
                  <a:lnTo>
                    <a:pt x="1437970" y="1044080"/>
                  </a:lnTo>
                  <a:lnTo>
                    <a:pt x="1438021" y="1044727"/>
                  </a:lnTo>
                  <a:lnTo>
                    <a:pt x="1438021" y="1045375"/>
                  </a:lnTo>
                  <a:lnTo>
                    <a:pt x="1438071" y="1045375"/>
                  </a:lnTo>
                  <a:lnTo>
                    <a:pt x="1438173" y="1046061"/>
                  </a:lnTo>
                  <a:lnTo>
                    <a:pt x="1438224" y="1046061"/>
                  </a:lnTo>
                  <a:lnTo>
                    <a:pt x="1438224" y="1045375"/>
                  </a:lnTo>
                  <a:lnTo>
                    <a:pt x="1438275" y="1044080"/>
                  </a:lnTo>
                  <a:lnTo>
                    <a:pt x="1438313" y="1044080"/>
                  </a:lnTo>
                  <a:lnTo>
                    <a:pt x="1438414" y="1044727"/>
                  </a:lnTo>
                  <a:lnTo>
                    <a:pt x="1438465" y="1045375"/>
                  </a:lnTo>
                  <a:lnTo>
                    <a:pt x="1438516" y="1045375"/>
                  </a:lnTo>
                  <a:lnTo>
                    <a:pt x="1438516" y="1046061"/>
                  </a:lnTo>
                  <a:lnTo>
                    <a:pt x="1438617" y="1046061"/>
                  </a:lnTo>
                  <a:lnTo>
                    <a:pt x="1438668" y="1047356"/>
                  </a:lnTo>
                  <a:lnTo>
                    <a:pt x="1438719" y="1047953"/>
                  </a:lnTo>
                  <a:lnTo>
                    <a:pt x="1438960" y="1047953"/>
                  </a:lnTo>
                  <a:lnTo>
                    <a:pt x="1439011" y="1048639"/>
                  </a:lnTo>
                  <a:lnTo>
                    <a:pt x="1439113" y="1048639"/>
                  </a:lnTo>
                  <a:lnTo>
                    <a:pt x="1439113" y="1049287"/>
                  </a:lnTo>
                  <a:lnTo>
                    <a:pt x="1439163" y="1049287"/>
                  </a:lnTo>
                  <a:lnTo>
                    <a:pt x="1439214" y="1049934"/>
                  </a:lnTo>
                  <a:lnTo>
                    <a:pt x="1439316" y="1049934"/>
                  </a:lnTo>
                  <a:lnTo>
                    <a:pt x="1439354" y="1051268"/>
                  </a:lnTo>
                  <a:lnTo>
                    <a:pt x="1439354" y="1051916"/>
                  </a:lnTo>
                  <a:lnTo>
                    <a:pt x="1439405" y="1052513"/>
                  </a:lnTo>
                  <a:lnTo>
                    <a:pt x="1439456" y="1053262"/>
                  </a:lnTo>
                  <a:lnTo>
                    <a:pt x="1439557" y="1053262"/>
                  </a:lnTo>
                  <a:lnTo>
                    <a:pt x="1439557" y="1054494"/>
                  </a:lnTo>
                  <a:lnTo>
                    <a:pt x="1439659" y="1054494"/>
                  </a:lnTo>
                  <a:lnTo>
                    <a:pt x="1439659" y="1055142"/>
                  </a:lnTo>
                  <a:lnTo>
                    <a:pt x="1439811" y="1055142"/>
                  </a:lnTo>
                  <a:lnTo>
                    <a:pt x="1439811" y="1055840"/>
                  </a:lnTo>
                  <a:lnTo>
                    <a:pt x="1440002" y="1055840"/>
                  </a:lnTo>
                  <a:lnTo>
                    <a:pt x="1440053" y="1056488"/>
                  </a:lnTo>
                  <a:lnTo>
                    <a:pt x="1440053" y="1057123"/>
                  </a:lnTo>
                  <a:lnTo>
                    <a:pt x="1440256" y="1057123"/>
                  </a:lnTo>
                  <a:lnTo>
                    <a:pt x="1440256" y="1058469"/>
                  </a:lnTo>
                  <a:lnTo>
                    <a:pt x="1440306" y="1058469"/>
                  </a:lnTo>
                  <a:lnTo>
                    <a:pt x="1440306" y="1059066"/>
                  </a:lnTo>
                  <a:lnTo>
                    <a:pt x="1440357" y="1059066"/>
                  </a:lnTo>
                  <a:lnTo>
                    <a:pt x="1440446" y="1059713"/>
                  </a:lnTo>
                  <a:lnTo>
                    <a:pt x="1440548" y="1059713"/>
                  </a:lnTo>
                  <a:lnTo>
                    <a:pt x="1440548" y="1060348"/>
                  </a:lnTo>
                  <a:lnTo>
                    <a:pt x="1440700" y="1060348"/>
                  </a:lnTo>
                  <a:lnTo>
                    <a:pt x="1440700" y="1061695"/>
                  </a:lnTo>
                  <a:lnTo>
                    <a:pt x="1440903" y="1061695"/>
                  </a:lnTo>
                  <a:lnTo>
                    <a:pt x="1440941" y="1062342"/>
                  </a:lnTo>
                  <a:lnTo>
                    <a:pt x="1440992" y="1062342"/>
                  </a:lnTo>
                  <a:lnTo>
                    <a:pt x="1440992" y="1062927"/>
                  </a:lnTo>
                  <a:lnTo>
                    <a:pt x="1441246" y="1062927"/>
                  </a:lnTo>
                  <a:lnTo>
                    <a:pt x="1441348" y="1063625"/>
                  </a:lnTo>
                  <a:lnTo>
                    <a:pt x="1441450" y="1063625"/>
                  </a:lnTo>
                  <a:lnTo>
                    <a:pt x="1441450" y="1064273"/>
                  </a:lnTo>
                  <a:lnTo>
                    <a:pt x="1441589" y="1064273"/>
                  </a:lnTo>
                  <a:lnTo>
                    <a:pt x="1441640" y="1065606"/>
                  </a:lnTo>
                  <a:lnTo>
                    <a:pt x="1441640" y="1066254"/>
                  </a:lnTo>
                  <a:lnTo>
                    <a:pt x="1441691" y="1066254"/>
                  </a:lnTo>
                  <a:lnTo>
                    <a:pt x="1441792" y="1066902"/>
                  </a:lnTo>
                  <a:lnTo>
                    <a:pt x="1441792" y="1067549"/>
                  </a:lnTo>
                  <a:lnTo>
                    <a:pt x="1441945" y="1067549"/>
                  </a:lnTo>
                  <a:lnTo>
                    <a:pt x="1441945" y="1068235"/>
                  </a:lnTo>
                  <a:lnTo>
                    <a:pt x="1442034" y="1068235"/>
                  </a:lnTo>
                  <a:lnTo>
                    <a:pt x="1442085" y="1069480"/>
                  </a:lnTo>
                  <a:lnTo>
                    <a:pt x="1442135" y="1070127"/>
                  </a:lnTo>
                  <a:lnTo>
                    <a:pt x="1442288" y="1070127"/>
                  </a:lnTo>
                  <a:lnTo>
                    <a:pt x="1442338" y="1070826"/>
                  </a:lnTo>
                  <a:lnTo>
                    <a:pt x="1442389" y="1070826"/>
                  </a:lnTo>
                  <a:lnTo>
                    <a:pt x="1442389" y="1071461"/>
                  </a:lnTo>
                  <a:lnTo>
                    <a:pt x="1442732" y="1071461"/>
                  </a:lnTo>
                  <a:lnTo>
                    <a:pt x="1442732" y="1072756"/>
                  </a:lnTo>
                  <a:lnTo>
                    <a:pt x="1442783" y="1072756"/>
                  </a:lnTo>
                  <a:lnTo>
                    <a:pt x="1442783" y="1073455"/>
                  </a:lnTo>
                  <a:lnTo>
                    <a:pt x="1442986" y="1073455"/>
                  </a:lnTo>
                  <a:lnTo>
                    <a:pt x="1443037" y="1074039"/>
                  </a:lnTo>
                  <a:lnTo>
                    <a:pt x="1443037" y="1074687"/>
                  </a:lnTo>
                  <a:lnTo>
                    <a:pt x="1443075" y="1074687"/>
                  </a:lnTo>
                  <a:lnTo>
                    <a:pt x="1443177" y="1075334"/>
                  </a:lnTo>
                  <a:lnTo>
                    <a:pt x="1443177" y="1074687"/>
                  </a:lnTo>
                  <a:lnTo>
                    <a:pt x="1443228" y="1075334"/>
                  </a:lnTo>
                  <a:lnTo>
                    <a:pt x="1443380" y="1075334"/>
                  </a:lnTo>
                  <a:lnTo>
                    <a:pt x="1443431" y="1076668"/>
                  </a:lnTo>
                  <a:lnTo>
                    <a:pt x="1443621" y="1076668"/>
                  </a:lnTo>
                  <a:lnTo>
                    <a:pt x="1443621" y="1077316"/>
                  </a:lnTo>
                  <a:lnTo>
                    <a:pt x="1443723" y="1077316"/>
                  </a:lnTo>
                  <a:lnTo>
                    <a:pt x="1443723" y="1078014"/>
                  </a:lnTo>
                  <a:lnTo>
                    <a:pt x="1443774" y="1078014"/>
                  </a:lnTo>
                  <a:lnTo>
                    <a:pt x="1443875" y="1078662"/>
                  </a:lnTo>
                  <a:lnTo>
                    <a:pt x="1443926" y="1078662"/>
                  </a:lnTo>
                  <a:lnTo>
                    <a:pt x="1443926" y="1078014"/>
                  </a:lnTo>
                  <a:lnTo>
                    <a:pt x="1443977" y="1077316"/>
                  </a:lnTo>
                  <a:lnTo>
                    <a:pt x="1443977" y="1076668"/>
                  </a:lnTo>
                  <a:lnTo>
                    <a:pt x="1444078" y="1075334"/>
                  </a:lnTo>
                  <a:lnTo>
                    <a:pt x="1444167" y="1075334"/>
                  </a:lnTo>
                  <a:lnTo>
                    <a:pt x="1444167" y="1076668"/>
                  </a:lnTo>
                  <a:lnTo>
                    <a:pt x="1444218" y="1076668"/>
                  </a:lnTo>
                  <a:lnTo>
                    <a:pt x="1444320" y="1077316"/>
                  </a:lnTo>
                  <a:lnTo>
                    <a:pt x="1444421" y="1077316"/>
                  </a:lnTo>
                  <a:lnTo>
                    <a:pt x="1444523" y="1078014"/>
                  </a:lnTo>
                  <a:lnTo>
                    <a:pt x="1444574" y="1078014"/>
                  </a:lnTo>
                  <a:lnTo>
                    <a:pt x="1444625" y="1077316"/>
                  </a:lnTo>
                  <a:lnTo>
                    <a:pt x="1444663" y="1076668"/>
                  </a:lnTo>
                  <a:lnTo>
                    <a:pt x="1444866" y="1076668"/>
                  </a:lnTo>
                  <a:lnTo>
                    <a:pt x="1444967" y="1077316"/>
                  </a:lnTo>
                  <a:lnTo>
                    <a:pt x="1445069" y="1077316"/>
                  </a:lnTo>
                  <a:lnTo>
                    <a:pt x="1445120" y="1078014"/>
                  </a:lnTo>
                  <a:lnTo>
                    <a:pt x="1445209" y="1078662"/>
                  </a:lnTo>
                  <a:lnTo>
                    <a:pt x="1445260" y="1078662"/>
                  </a:lnTo>
                  <a:lnTo>
                    <a:pt x="1445310" y="1079894"/>
                  </a:lnTo>
                  <a:lnTo>
                    <a:pt x="1445361" y="1079894"/>
                  </a:lnTo>
                  <a:lnTo>
                    <a:pt x="1445463" y="1080592"/>
                  </a:lnTo>
                  <a:lnTo>
                    <a:pt x="1445513" y="1081240"/>
                  </a:lnTo>
                  <a:lnTo>
                    <a:pt x="1445564" y="1081240"/>
                  </a:lnTo>
                  <a:lnTo>
                    <a:pt x="1445564" y="1080592"/>
                  </a:lnTo>
                  <a:lnTo>
                    <a:pt x="1445666" y="1081240"/>
                  </a:lnTo>
                  <a:lnTo>
                    <a:pt x="1445755" y="1081240"/>
                  </a:lnTo>
                  <a:lnTo>
                    <a:pt x="1445755" y="1080592"/>
                  </a:lnTo>
                  <a:lnTo>
                    <a:pt x="1446110" y="1080592"/>
                  </a:lnTo>
                  <a:lnTo>
                    <a:pt x="1446110" y="1081240"/>
                  </a:lnTo>
                  <a:lnTo>
                    <a:pt x="1446250" y="1081240"/>
                  </a:lnTo>
                  <a:lnTo>
                    <a:pt x="1446352" y="1081888"/>
                  </a:lnTo>
                  <a:lnTo>
                    <a:pt x="1446403" y="1081888"/>
                  </a:lnTo>
                  <a:lnTo>
                    <a:pt x="1446453" y="1082523"/>
                  </a:lnTo>
                  <a:lnTo>
                    <a:pt x="1446847" y="1082523"/>
                  </a:lnTo>
                  <a:lnTo>
                    <a:pt x="1446898" y="1081888"/>
                  </a:lnTo>
                  <a:lnTo>
                    <a:pt x="1446949" y="1082523"/>
                  </a:lnTo>
                  <a:lnTo>
                    <a:pt x="1447291" y="1082523"/>
                  </a:lnTo>
                  <a:lnTo>
                    <a:pt x="1447342" y="1083869"/>
                  </a:lnTo>
                  <a:lnTo>
                    <a:pt x="1447596" y="1083869"/>
                  </a:lnTo>
                  <a:lnTo>
                    <a:pt x="1447698" y="1084466"/>
                  </a:lnTo>
                  <a:lnTo>
                    <a:pt x="1447698" y="1083869"/>
                  </a:lnTo>
                  <a:lnTo>
                    <a:pt x="1447749" y="1084466"/>
                  </a:lnTo>
                  <a:lnTo>
                    <a:pt x="1447800" y="1084466"/>
                  </a:lnTo>
                  <a:lnTo>
                    <a:pt x="1447838" y="1085113"/>
                  </a:lnTo>
                  <a:lnTo>
                    <a:pt x="1447838" y="1084466"/>
                  </a:lnTo>
                  <a:lnTo>
                    <a:pt x="1448435" y="1084466"/>
                  </a:lnTo>
                  <a:lnTo>
                    <a:pt x="1448485" y="1085113"/>
                  </a:lnTo>
                  <a:lnTo>
                    <a:pt x="1448536" y="1085113"/>
                  </a:lnTo>
                  <a:lnTo>
                    <a:pt x="1448536" y="1084466"/>
                  </a:lnTo>
                  <a:lnTo>
                    <a:pt x="1448638" y="1084466"/>
                  </a:lnTo>
                  <a:lnTo>
                    <a:pt x="1448638" y="1085113"/>
                  </a:lnTo>
                  <a:lnTo>
                    <a:pt x="1448930" y="1085113"/>
                  </a:lnTo>
                  <a:lnTo>
                    <a:pt x="1448981" y="1085799"/>
                  </a:lnTo>
                  <a:lnTo>
                    <a:pt x="1449527" y="1085799"/>
                  </a:lnTo>
                  <a:lnTo>
                    <a:pt x="1449578" y="1087095"/>
                  </a:lnTo>
                  <a:lnTo>
                    <a:pt x="1449730" y="1087095"/>
                  </a:lnTo>
                  <a:lnTo>
                    <a:pt x="1449730" y="1085799"/>
                  </a:lnTo>
                  <a:lnTo>
                    <a:pt x="1449781" y="1085113"/>
                  </a:lnTo>
                  <a:lnTo>
                    <a:pt x="1449781" y="1084466"/>
                  </a:lnTo>
                  <a:lnTo>
                    <a:pt x="1449831" y="1084466"/>
                  </a:lnTo>
                  <a:lnTo>
                    <a:pt x="1449831" y="1083869"/>
                  </a:lnTo>
                  <a:lnTo>
                    <a:pt x="1449971" y="1083869"/>
                  </a:lnTo>
                  <a:lnTo>
                    <a:pt x="1450022" y="1082523"/>
                  </a:lnTo>
                  <a:lnTo>
                    <a:pt x="1450124" y="1082523"/>
                  </a:lnTo>
                  <a:lnTo>
                    <a:pt x="1450225" y="1083869"/>
                  </a:lnTo>
                  <a:lnTo>
                    <a:pt x="1450276" y="1083869"/>
                  </a:lnTo>
                  <a:lnTo>
                    <a:pt x="1450327" y="1084466"/>
                  </a:lnTo>
                  <a:lnTo>
                    <a:pt x="1450428" y="1083869"/>
                  </a:lnTo>
                  <a:lnTo>
                    <a:pt x="1450428" y="1082523"/>
                  </a:lnTo>
                  <a:lnTo>
                    <a:pt x="1450466" y="1081888"/>
                  </a:lnTo>
                  <a:lnTo>
                    <a:pt x="1450466" y="1081240"/>
                  </a:lnTo>
                  <a:lnTo>
                    <a:pt x="1450568" y="1081240"/>
                  </a:lnTo>
                  <a:lnTo>
                    <a:pt x="1450568" y="1081888"/>
                  </a:lnTo>
                  <a:lnTo>
                    <a:pt x="1450721" y="1081888"/>
                  </a:lnTo>
                  <a:lnTo>
                    <a:pt x="1450721" y="1082523"/>
                  </a:lnTo>
                  <a:lnTo>
                    <a:pt x="1450771" y="1081888"/>
                  </a:lnTo>
                  <a:lnTo>
                    <a:pt x="1450873" y="1081888"/>
                  </a:lnTo>
                  <a:lnTo>
                    <a:pt x="1450924" y="1081240"/>
                  </a:lnTo>
                  <a:lnTo>
                    <a:pt x="1450975" y="1081888"/>
                  </a:lnTo>
                  <a:lnTo>
                    <a:pt x="1451013" y="1081888"/>
                  </a:lnTo>
                  <a:lnTo>
                    <a:pt x="1451114" y="1082523"/>
                  </a:lnTo>
                  <a:lnTo>
                    <a:pt x="1451165" y="1082523"/>
                  </a:lnTo>
                  <a:lnTo>
                    <a:pt x="1451165" y="1081888"/>
                  </a:lnTo>
                  <a:lnTo>
                    <a:pt x="1451216" y="1082523"/>
                  </a:lnTo>
                  <a:lnTo>
                    <a:pt x="1451216" y="1081888"/>
                  </a:lnTo>
                  <a:lnTo>
                    <a:pt x="1451368" y="1081888"/>
                  </a:lnTo>
                  <a:lnTo>
                    <a:pt x="1451419" y="1082523"/>
                  </a:lnTo>
                  <a:lnTo>
                    <a:pt x="1451470" y="1082523"/>
                  </a:lnTo>
                  <a:lnTo>
                    <a:pt x="1451470" y="1081888"/>
                  </a:lnTo>
                  <a:lnTo>
                    <a:pt x="1451559" y="1081888"/>
                  </a:lnTo>
                  <a:lnTo>
                    <a:pt x="1451610" y="1081240"/>
                  </a:lnTo>
                  <a:lnTo>
                    <a:pt x="1451813" y="1081240"/>
                  </a:lnTo>
                  <a:lnTo>
                    <a:pt x="1451813" y="1080592"/>
                  </a:lnTo>
                  <a:lnTo>
                    <a:pt x="1451914" y="1080592"/>
                  </a:lnTo>
                  <a:lnTo>
                    <a:pt x="1451914" y="1081240"/>
                  </a:lnTo>
                  <a:lnTo>
                    <a:pt x="1452016" y="1081240"/>
                  </a:lnTo>
                  <a:lnTo>
                    <a:pt x="1452054" y="1080592"/>
                  </a:lnTo>
                  <a:lnTo>
                    <a:pt x="1452511" y="1080592"/>
                  </a:lnTo>
                  <a:lnTo>
                    <a:pt x="1452511" y="1079894"/>
                  </a:lnTo>
                  <a:lnTo>
                    <a:pt x="1452600" y="1079894"/>
                  </a:lnTo>
                  <a:lnTo>
                    <a:pt x="1452702" y="1078662"/>
                  </a:lnTo>
                  <a:lnTo>
                    <a:pt x="1452803" y="1078662"/>
                  </a:lnTo>
                  <a:lnTo>
                    <a:pt x="1452905" y="1078014"/>
                  </a:lnTo>
                  <a:lnTo>
                    <a:pt x="1453146" y="1078014"/>
                  </a:lnTo>
                  <a:lnTo>
                    <a:pt x="1453146" y="1077316"/>
                  </a:lnTo>
                  <a:lnTo>
                    <a:pt x="1453299" y="1077316"/>
                  </a:lnTo>
                  <a:lnTo>
                    <a:pt x="1453299" y="1076668"/>
                  </a:lnTo>
                  <a:lnTo>
                    <a:pt x="1453400" y="1076668"/>
                  </a:lnTo>
                  <a:lnTo>
                    <a:pt x="1453451" y="1077316"/>
                  </a:lnTo>
                  <a:lnTo>
                    <a:pt x="1453451" y="1076668"/>
                  </a:lnTo>
                  <a:lnTo>
                    <a:pt x="1453743" y="1076668"/>
                  </a:lnTo>
                  <a:lnTo>
                    <a:pt x="1453743" y="1077316"/>
                  </a:lnTo>
                  <a:lnTo>
                    <a:pt x="1453845" y="1076668"/>
                  </a:lnTo>
                  <a:lnTo>
                    <a:pt x="1453896" y="1076668"/>
                  </a:lnTo>
                  <a:lnTo>
                    <a:pt x="1453946" y="1075334"/>
                  </a:lnTo>
                  <a:lnTo>
                    <a:pt x="1454099" y="1075334"/>
                  </a:lnTo>
                  <a:lnTo>
                    <a:pt x="1454150" y="1074687"/>
                  </a:lnTo>
                  <a:lnTo>
                    <a:pt x="1454289" y="1074687"/>
                  </a:lnTo>
                  <a:lnTo>
                    <a:pt x="1454340" y="1074039"/>
                  </a:lnTo>
                  <a:lnTo>
                    <a:pt x="1454391" y="1074039"/>
                  </a:lnTo>
                  <a:lnTo>
                    <a:pt x="1454391" y="1074687"/>
                  </a:lnTo>
                  <a:lnTo>
                    <a:pt x="1454492" y="1074687"/>
                  </a:lnTo>
                  <a:lnTo>
                    <a:pt x="1454543" y="1074039"/>
                  </a:lnTo>
                  <a:lnTo>
                    <a:pt x="1454543" y="1074687"/>
                  </a:lnTo>
                  <a:lnTo>
                    <a:pt x="1454594" y="1074039"/>
                  </a:lnTo>
                  <a:lnTo>
                    <a:pt x="1454835" y="1074039"/>
                  </a:lnTo>
                  <a:lnTo>
                    <a:pt x="1454835" y="1073455"/>
                  </a:lnTo>
                  <a:lnTo>
                    <a:pt x="1454988" y="1073455"/>
                  </a:lnTo>
                  <a:lnTo>
                    <a:pt x="1455038" y="1072756"/>
                  </a:lnTo>
                  <a:lnTo>
                    <a:pt x="1455089" y="1072756"/>
                  </a:lnTo>
                  <a:lnTo>
                    <a:pt x="1455191" y="1073455"/>
                  </a:lnTo>
                  <a:lnTo>
                    <a:pt x="1455191" y="1072756"/>
                  </a:lnTo>
                  <a:lnTo>
                    <a:pt x="1455534" y="1072756"/>
                  </a:lnTo>
                  <a:lnTo>
                    <a:pt x="1455534" y="1071461"/>
                  </a:lnTo>
                  <a:lnTo>
                    <a:pt x="1455635" y="1071461"/>
                  </a:lnTo>
                  <a:lnTo>
                    <a:pt x="1455635" y="1070826"/>
                  </a:lnTo>
                  <a:lnTo>
                    <a:pt x="1455686" y="1070127"/>
                  </a:lnTo>
                  <a:lnTo>
                    <a:pt x="1455737" y="1070127"/>
                  </a:lnTo>
                  <a:lnTo>
                    <a:pt x="1455737" y="1069480"/>
                  </a:lnTo>
                  <a:lnTo>
                    <a:pt x="1455775" y="1068235"/>
                  </a:lnTo>
                  <a:lnTo>
                    <a:pt x="1455877" y="1067549"/>
                  </a:lnTo>
                  <a:lnTo>
                    <a:pt x="1455928" y="1068235"/>
                  </a:lnTo>
                  <a:lnTo>
                    <a:pt x="1456131" y="1068235"/>
                  </a:lnTo>
                  <a:lnTo>
                    <a:pt x="1456131" y="1067549"/>
                  </a:lnTo>
                  <a:lnTo>
                    <a:pt x="1456181" y="1066902"/>
                  </a:lnTo>
                  <a:lnTo>
                    <a:pt x="1456181" y="1066254"/>
                  </a:lnTo>
                  <a:lnTo>
                    <a:pt x="1456232" y="1064273"/>
                  </a:lnTo>
                  <a:lnTo>
                    <a:pt x="1456321" y="1063625"/>
                  </a:lnTo>
                  <a:lnTo>
                    <a:pt x="1456372" y="1063625"/>
                  </a:lnTo>
                  <a:lnTo>
                    <a:pt x="1456372" y="1062927"/>
                  </a:lnTo>
                  <a:lnTo>
                    <a:pt x="1456423" y="1063625"/>
                  </a:lnTo>
                  <a:lnTo>
                    <a:pt x="1456423" y="1062927"/>
                  </a:lnTo>
                  <a:lnTo>
                    <a:pt x="1456575" y="1062927"/>
                  </a:lnTo>
                  <a:lnTo>
                    <a:pt x="1456575" y="1063625"/>
                  </a:lnTo>
                  <a:lnTo>
                    <a:pt x="1456677" y="1063625"/>
                  </a:lnTo>
                  <a:lnTo>
                    <a:pt x="1456677" y="1062927"/>
                  </a:lnTo>
                  <a:lnTo>
                    <a:pt x="1456778" y="1063625"/>
                  </a:lnTo>
                  <a:lnTo>
                    <a:pt x="1456816" y="1062927"/>
                  </a:lnTo>
                  <a:lnTo>
                    <a:pt x="1456816" y="1062342"/>
                  </a:lnTo>
                  <a:lnTo>
                    <a:pt x="1457121" y="1062342"/>
                  </a:lnTo>
                  <a:lnTo>
                    <a:pt x="1457121" y="1061695"/>
                  </a:lnTo>
                  <a:lnTo>
                    <a:pt x="1457274" y="1061695"/>
                  </a:lnTo>
                  <a:lnTo>
                    <a:pt x="1457274" y="1062342"/>
                  </a:lnTo>
                  <a:lnTo>
                    <a:pt x="1457363" y="1062342"/>
                  </a:lnTo>
                  <a:lnTo>
                    <a:pt x="1457363" y="1061695"/>
                  </a:lnTo>
                  <a:lnTo>
                    <a:pt x="1457464" y="1061695"/>
                  </a:lnTo>
                  <a:lnTo>
                    <a:pt x="1457464" y="1060348"/>
                  </a:lnTo>
                  <a:lnTo>
                    <a:pt x="1457515" y="1059713"/>
                  </a:lnTo>
                  <a:lnTo>
                    <a:pt x="1457667" y="1059713"/>
                  </a:lnTo>
                  <a:lnTo>
                    <a:pt x="1457667" y="1059066"/>
                  </a:lnTo>
                  <a:lnTo>
                    <a:pt x="1457718" y="1059066"/>
                  </a:lnTo>
                  <a:lnTo>
                    <a:pt x="1457769" y="1058469"/>
                  </a:lnTo>
                  <a:lnTo>
                    <a:pt x="1457909" y="1058469"/>
                  </a:lnTo>
                  <a:lnTo>
                    <a:pt x="1457909" y="1059066"/>
                  </a:lnTo>
                  <a:lnTo>
                    <a:pt x="1457960" y="1059066"/>
                  </a:lnTo>
                  <a:lnTo>
                    <a:pt x="1458010" y="1058469"/>
                  </a:lnTo>
                  <a:lnTo>
                    <a:pt x="1458264" y="1058469"/>
                  </a:lnTo>
                  <a:lnTo>
                    <a:pt x="1458264" y="1057123"/>
                  </a:lnTo>
                  <a:lnTo>
                    <a:pt x="1458366" y="1056488"/>
                  </a:lnTo>
                  <a:lnTo>
                    <a:pt x="1458455" y="1056488"/>
                  </a:lnTo>
                  <a:lnTo>
                    <a:pt x="1458506" y="1055840"/>
                  </a:lnTo>
                  <a:lnTo>
                    <a:pt x="1458506" y="1056488"/>
                  </a:lnTo>
                  <a:lnTo>
                    <a:pt x="1458607" y="1055840"/>
                  </a:lnTo>
                  <a:lnTo>
                    <a:pt x="1458658" y="1055840"/>
                  </a:lnTo>
                  <a:lnTo>
                    <a:pt x="1458658" y="1055142"/>
                  </a:lnTo>
                  <a:lnTo>
                    <a:pt x="1458810" y="1055142"/>
                  </a:lnTo>
                  <a:lnTo>
                    <a:pt x="1458810" y="1054494"/>
                  </a:lnTo>
                  <a:lnTo>
                    <a:pt x="1458912" y="1054494"/>
                  </a:lnTo>
                  <a:lnTo>
                    <a:pt x="1458950" y="1053262"/>
                  </a:lnTo>
                  <a:lnTo>
                    <a:pt x="1458950" y="1054494"/>
                  </a:lnTo>
                  <a:lnTo>
                    <a:pt x="1459052" y="1053262"/>
                  </a:lnTo>
                  <a:lnTo>
                    <a:pt x="1459255" y="1053262"/>
                  </a:lnTo>
                  <a:lnTo>
                    <a:pt x="1459255" y="1052513"/>
                  </a:lnTo>
                  <a:lnTo>
                    <a:pt x="1459306" y="1052513"/>
                  </a:lnTo>
                  <a:lnTo>
                    <a:pt x="1459356" y="1053262"/>
                  </a:lnTo>
                  <a:lnTo>
                    <a:pt x="1459496" y="1053262"/>
                  </a:lnTo>
                  <a:lnTo>
                    <a:pt x="1459496" y="1052513"/>
                  </a:lnTo>
                  <a:lnTo>
                    <a:pt x="1459547" y="1052513"/>
                  </a:lnTo>
                  <a:lnTo>
                    <a:pt x="1459598" y="1051916"/>
                  </a:lnTo>
                  <a:lnTo>
                    <a:pt x="1459750" y="1051916"/>
                  </a:lnTo>
                  <a:lnTo>
                    <a:pt x="1459801" y="1051268"/>
                  </a:lnTo>
                  <a:lnTo>
                    <a:pt x="1459852" y="1049934"/>
                  </a:lnTo>
                  <a:lnTo>
                    <a:pt x="1460042" y="1049934"/>
                  </a:lnTo>
                  <a:lnTo>
                    <a:pt x="1460042" y="1049287"/>
                  </a:lnTo>
                  <a:lnTo>
                    <a:pt x="1460093" y="1049934"/>
                  </a:lnTo>
                  <a:lnTo>
                    <a:pt x="1460093" y="1049287"/>
                  </a:lnTo>
                  <a:lnTo>
                    <a:pt x="1460449" y="1049287"/>
                  </a:lnTo>
                  <a:lnTo>
                    <a:pt x="1460449" y="1048639"/>
                  </a:lnTo>
                  <a:lnTo>
                    <a:pt x="1460639" y="1048639"/>
                  </a:lnTo>
                  <a:lnTo>
                    <a:pt x="1460690" y="1047953"/>
                  </a:lnTo>
                  <a:lnTo>
                    <a:pt x="1460741" y="1047953"/>
                  </a:lnTo>
                  <a:lnTo>
                    <a:pt x="1460741" y="1047356"/>
                  </a:lnTo>
                  <a:lnTo>
                    <a:pt x="1460893" y="1047356"/>
                  </a:lnTo>
                  <a:lnTo>
                    <a:pt x="1460944" y="1046061"/>
                  </a:lnTo>
                  <a:lnTo>
                    <a:pt x="1460995" y="1046061"/>
                  </a:lnTo>
                  <a:lnTo>
                    <a:pt x="1460995" y="1047356"/>
                  </a:lnTo>
                  <a:lnTo>
                    <a:pt x="1461084" y="1046061"/>
                  </a:lnTo>
                  <a:lnTo>
                    <a:pt x="1461084" y="1047356"/>
                  </a:lnTo>
                  <a:lnTo>
                    <a:pt x="1461135" y="1047356"/>
                  </a:lnTo>
                  <a:lnTo>
                    <a:pt x="1461185" y="1046061"/>
                  </a:lnTo>
                  <a:lnTo>
                    <a:pt x="1461185" y="1047356"/>
                  </a:lnTo>
                  <a:lnTo>
                    <a:pt x="1461236" y="1046061"/>
                  </a:lnTo>
                  <a:lnTo>
                    <a:pt x="1461338" y="1045375"/>
                  </a:lnTo>
                  <a:lnTo>
                    <a:pt x="1461338" y="1044727"/>
                  </a:lnTo>
                  <a:lnTo>
                    <a:pt x="1461388" y="1044727"/>
                  </a:lnTo>
                  <a:lnTo>
                    <a:pt x="1461388" y="1044080"/>
                  </a:lnTo>
                  <a:lnTo>
                    <a:pt x="1461439" y="1042746"/>
                  </a:lnTo>
                  <a:lnTo>
                    <a:pt x="1461541" y="1042149"/>
                  </a:lnTo>
                  <a:lnTo>
                    <a:pt x="1461579" y="1042149"/>
                  </a:lnTo>
                  <a:lnTo>
                    <a:pt x="1461579" y="1041502"/>
                  </a:lnTo>
                  <a:lnTo>
                    <a:pt x="1461681" y="1041502"/>
                  </a:lnTo>
                  <a:lnTo>
                    <a:pt x="1461782" y="1040854"/>
                  </a:lnTo>
                  <a:lnTo>
                    <a:pt x="1461833" y="1040854"/>
                  </a:lnTo>
                  <a:lnTo>
                    <a:pt x="1461833" y="1041502"/>
                  </a:lnTo>
                  <a:lnTo>
                    <a:pt x="1461884" y="1041502"/>
                  </a:lnTo>
                  <a:lnTo>
                    <a:pt x="1461985" y="1040854"/>
                  </a:lnTo>
                  <a:lnTo>
                    <a:pt x="1461985" y="1038873"/>
                  </a:lnTo>
                  <a:lnTo>
                    <a:pt x="1462036" y="1038174"/>
                  </a:lnTo>
                  <a:lnTo>
                    <a:pt x="1462036" y="1037527"/>
                  </a:lnTo>
                  <a:lnTo>
                    <a:pt x="1462087" y="1037527"/>
                  </a:lnTo>
                  <a:lnTo>
                    <a:pt x="1462125" y="1036942"/>
                  </a:lnTo>
                  <a:lnTo>
                    <a:pt x="1462227" y="1036942"/>
                  </a:lnTo>
                  <a:lnTo>
                    <a:pt x="1462278" y="1035596"/>
                  </a:lnTo>
                  <a:lnTo>
                    <a:pt x="1462430" y="1035596"/>
                  </a:lnTo>
                  <a:lnTo>
                    <a:pt x="1462430" y="1036942"/>
                  </a:lnTo>
                  <a:lnTo>
                    <a:pt x="1462531" y="1036942"/>
                  </a:lnTo>
                  <a:lnTo>
                    <a:pt x="1462582" y="1035596"/>
                  </a:lnTo>
                  <a:lnTo>
                    <a:pt x="1462722" y="1035596"/>
                  </a:lnTo>
                  <a:lnTo>
                    <a:pt x="1462773" y="1034948"/>
                  </a:lnTo>
                  <a:lnTo>
                    <a:pt x="1462925" y="1034948"/>
                  </a:lnTo>
                  <a:lnTo>
                    <a:pt x="1462925" y="1034313"/>
                  </a:lnTo>
                  <a:lnTo>
                    <a:pt x="1462976" y="1034313"/>
                  </a:lnTo>
                  <a:lnTo>
                    <a:pt x="1463027" y="1034948"/>
                  </a:lnTo>
                  <a:lnTo>
                    <a:pt x="1463128" y="1034313"/>
                  </a:lnTo>
                  <a:lnTo>
                    <a:pt x="1463217" y="1034313"/>
                  </a:lnTo>
                  <a:lnTo>
                    <a:pt x="1463217" y="1033666"/>
                  </a:lnTo>
                  <a:lnTo>
                    <a:pt x="1463268" y="1033666"/>
                  </a:lnTo>
                  <a:lnTo>
                    <a:pt x="1463370" y="1032967"/>
                  </a:lnTo>
                  <a:lnTo>
                    <a:pt x="1463573" y="1032967"/>
                  </a:lnTo>
                  <a:lnTo>
                    <a:pt x="1463624" y="1031723"/>
                  </a:lnTo>
                  <a:lnTo>
                    <a:pt x="1463814" y="1031723"/>
                  </a:lnTo>
                  <a:lnTo>
                    <a:pt x="1463814" y="1031088"/>
                  </a:lnTo>
                  <a:lnTo>
                    <a:pt x="1464017" y="1031088"/>
                  </a:lnTo>
                  <a:lnTo>
                    <a:pt x="1464017" y="1030389"/>
                  </a:lnTo>
                  <a:lnTo>
                    <a:pt x="1464068" y="1030389"/>
                  </a:lnTo>
                  <a:lnTo>
                    <a:pt x="1464119" y="1029742"/>
                  </a:lnTo>
                  <a:lnTo>
                    <a:pt x="1464259" y="1029742"/>
                  </a:lnTo>
                  <a:lnTo>
                    <a:pt x="1464259" y="1028459"/>
                  </a:lnTo>
                  <a:lnTo>
                    <a:pt x="1464310" y="1028459"/>
                  </a:lnTo>
                  <a:lnTo>
                    <a:pt x="1464310" y="1027760"/>
                  </a:lnTo>
                  <a:lnTo>
                    <a:pt x="1464563" y="1027760"/>
                  </a:lnTo>
                  <a:lnTo>
                    <a:pt x="1464614" y="1027113"/>
                  </a:lnTo>
                  <a:lnTo>
                    <a:pt x="1464716" y="1026516"/>
                  </a:lnTo>
                  <a:lnTo>
                    <a:pt x="1464856" y="1026516"/>
                  </a:lnTo>
                  <a:lnTo>
                    <a:pt x="1464957" y="1025830"/>
                  </a:lnTo>
                  <a:lnTo>
                    <a:pt x="1465008" y="1025830"/>
                  </a:lnTo>
                  <a:lnTo>
                    <a:pt x="1465059" y="1024534"/>
                  </a:lnTo>
                  <a:lnTo>
                    <a:pt x="1465262" y="1024534"/>
                  </a:lnTo>
                  <a:lnTo>
                    <a:pt x="1465300" y="1023887"/>
                  </a:lnTo>
                  <a:lnTo>
                    <a:pt x="1465503" y="1023887"/>
                  </a:lnTo>
                  <a:lnTo>
                    <a:pt x="1465605" y="1023201"/>
                  </a:lnTo>
                  <a:lnTo>
                    <a:pt x="1465757" y="1023201"/>
                  </a:lnTo>
                  <a:lnTo>
                    <a:pt x="1465757" y="1022553"/>
                  </a:lnTo>
                  <a:lnTo>
                    <a:pt x="1465897" y="1022553"/>
                  </a:lnTo>
                  <a:lnTo>
                    <a:pt x="1465948" y="1021309"/>
                  </a:lnTo>
                  <a:lnTo>
                    <a:pt x="1465999" y="1020610"/>
                  </a:lnTo>
                  <a:lnTo>
                    <a:pt x="1466100" y="1021309"/>
                  </a:lnTo>
                  <a:lnTo>
                    <a:pt x="1466151" y="1020610"/>
                  </a:lnTo>
                  <a:lnTo>
                    <a:pt x="1466151" y="1021309"/>
                  </a:lnTo>
                  <a:lnTo>
                    <a:pt x="1466303" y="1021309"/>
                  </a:lnTo>
                  <a:lnTo>
                    <a:pt x="1466303" y="1020610"/>
                  </a:lnTo>
                  <a:lnTo>
                    <a:pt x="1466392" y="1020610"/>
                  </a:lnTo>
                  <a:lnTo>
                    <a:pt x="1466443" y="1019975"/>
                  </a:lnTo>
                  <a:lnTo>
                    <a:pt x="1466646" y="1019975"/>
                  </a:lnTo>
                  <a:lnTo>
                    <a:pt x="1466646" y="1019327"/>
                  </a:lnTo>
                  <a:lnTo>
                    <a:pt x="1466850" y="1019327"/>
                  </a:lnTo>
                  <a:lnTo>
                    <a:pt x="1466850" y="1019975"/>
                  </a:lnTo>
                  <a:lnTo>
                    <a:pt x="1466888" y="1019327"/>
                  </a:lnTo>
                  <a:lnTo>
                    <a:pt x="1466989" y="1019327"/>
                  </a:lnTo>
                  <a:lnTo>
                    <a:pt x="1467040" y="1018680"/>
                  </a:lnTo>
                  <a:lnTo>
                    <a:pt x="1467091" y="1019327"/>
                  </a:lnTo>
                  <a:lnTo>
                    <a:pt x="1467091" y="1018680"/>
                  </a:lnTo>
                  <a:lnTo>
                    <a:pt x="1467192" y="1017346"/>
                  </a:lnTo>
                  <a:lnTo>
                    <a:pt x="1467192" y="1016749"/>
                  </a:lnTo>
                  <a:lnTo>
                    <a:pt x="1467243" y="1015403"/>
                  </a:lnTo>
                  <a:lnTo>
                    <a:pt x="1467294" y="1015403"/>
                  </a:lnTo>
                  <a:lnTo>
                    <a:pt x="1467345" y="1014121"/>
                  </a:lnTo>
                  <a:lnTo>
                    <a:pt x="1467586" y="1014121"/>
                  </a:lnTo>
                  <a:lnTo>
                    <a:pt x="1467586" y="1013422"/>
                  </a:lnTo>
                  <a:lnTo>
                    <a:pt x="1467738" y="1013422"/>
                  </a:lnTo>
                  <a:lnTo>
                    <a:pt x="1467738" y="1012774"/>
                  </a:lnTo>
                  <a:lnTo>
                    <a:pt x="1467789" y="1012127"/>
                  </a:lnTo>
                  <a:lnTo>
                    <a:pt x="1467789" y="1011542"/>
                  </a:lnTo>
                  <a:lnTo>
                    <a:pt x="1467891" y="1010196"/>
                  </a:lnTo>
                  <a:lnTo>
                    <a:pt x="1467980" y="1008913"/>
                  </a:lnTo>
                  <a:lnTo>
                    <a:pt x="1467980" y="1008215"/>
                  </a:lnTo>
                  <a:lnTo>
                    <a:pt x="1468031" y="1008215"/>
                  </a:lnTo>
                  <a:lnTo>
                    <a:pt x="1468132" y="1008913"/>
                  </a:lnTo>
                  <a:lnTo>
                    <a:pt x="1468335" y="1008913"/>
                  </a:lnTo>
                  <a:lnTo>
                    <a:pt x="1468335" y="1008215"/>
                  </a:lnTo>
                  <a:lnTo>
                    <a:pt x="1468475" y="1008215"/>
                  </a:lnTo>
                  <a:lnTo>
                    <a:pt x="1468577" y="1006920"/>
                  </a:lnTo>
                  <a:lnTo>
                    <a:pt x="1468881" y="1006920"/>
                  </a:lnTo>
                  <a:lnTo>
                    <a:pt x="1468932" y="1006323"/>
                  </a:lnTo>
                  <a:lnTo>
                    <a:pt x="1469021" y="1005637"/>
                  </a:lnTo>
                  <a:lnTo>
                    <a:pt x="1469021" y="1004989"/>
                  </a:lnTo>
                  <a:lnTo>
                    <a:pt x="1469072" y="1005637"/>
                  </a:lnTo>
                  <a:lnTo>
                    <a:pt x="1469123" y="1004989"/>
                  </a:lnTo>
                  <a:lnTo>
                    <a:pt x="1469377" y="1004989"/>
                  </a:lnTo>
                  <a:lnTo>
                    <a:pt x="1469377" y="1004342"/>
                  </a:lnTo>
                  <a:lnTo>
                    <a:pt x="1469720" y="1004342"/>
                  </a:lnTo>
                  <a:lnTo>
                    <a:pt x="1469720" y="1003008"/>
                  </a:lnTo>
                  <a:lnTo>
                    <a:pt x="1469821" y="1003008"/>
                  </a:lnTo>
                  <a:lnTo>
                    <a:pt x="1469821" y="1002360"/>
                  </a:lnTo>
                  <a:lnTo>
                    <a:pt x="1469923" y="1003008"/>
                  </a:lnTo>
                  <a:lnTo>
                    <a:pt x="1469923" y="1002360"/>
                  </a:lnTo>
                  <a:lnTo>
                    <a:pt x="1469974" y="1001713"/>
                  </a:lnTo>
                  <a:lnTo>
                    <a:pt x="1470063" y="1001713"/>
                  </a:lnTo>
                  <a:lnTo>
                    <a:pt x="1470164" y="1001014"/>
                  </a:lnTo>
                  <a:lnTo>
                    <a:pt x="1470418" y="1001014"/>
                  </a:lnTo>
                  <a:lnTo>
                    <a:pt x="1470418" y="999782"/>
                  </a:lnTo>
                  <a:lnTo>
                    <a:pt x="1470520" y="999782"/>
                  </a:lnTo>
                  <a:lnTo>
                    <a:pt x="1470520" y="999134"/>
                  </a:lnTo>
                  <a:lnTo>
                    <a:pt x="1470710" y="999134"/>
                  </a:lnTo>
                  <a:lnTo>
                    <a:pt x="1470761" y="998436"/>
                  </a:lnTo>
                  <a:lnTo>
                    <a:pt x="1470863" y="998436"/>
                  </a:lnTo>
                  <a:lnTo>
                    <a:pt x="1470964" y="997153"/>
                  </a:lnTo>
                  <a:lnTo>
                    <a:pt x="1471104" y="997153"/>
                  </a:lnTo>
                  <a:lnTo>
                    <a:pt x="1471155" y="995807"/>
                  </a:lnTo>
                  <a:lnTo>
                    <a:pt x="1471358" y="995807"/>
                  </a:lnTo>
                  <a:lnTo>
                    <a:pt x="1471358" y="995210"/>
                  </a:lnTo>
                  <a:lnTo>
                    <a:pt x="1471409" y="995807"/>
                  </a:lnTo>
                  <a:lnTo>
                    <a:pt x="1471561" y="995807"/>
                  </a:lnTo>
                  <a:lnTo>
                    <a:pt x="1471561" y="995210"/>
                  </a:lnTo>
                  <a:lnTo>
                    <a:pt x="1471650" y="995210"/>
                  </a:lnTo>
                  <a:lnTo>
                    <a:pt x="1471752" y="994575"/>
                  </a:lnTo>
                  <a:lnTo>
                    <a:pt x="1471955" y="994575"/>
                  </a:lnTo>
                  <a:lnTo>
                    <a:pt x="1472006" y="993927"/>
                  </a:lnTo>
                  <a:lnTo>
                    <a:pt x="1472056" y="993229"/>
                  </a:lnTo>
                  <a:lnTo>
                    <a:pt x="1472107" y="993229"/>
                  </a:lnTo>
                  <a:lnTo>
                    <a:pt x="1472107" y="993927"/>
                  </a:lnTo>
                  <a:lnTo>
                    <a:pt x="1472196" y="993229"/>
                  </a:lnTo>
                  <a:lnTo>
                    <a:pt x="1472298" y="993229"/>
                  </a:lnTo>
                  <a:lnTo>
                    <a:pt x="1472298" y="993927"/>
                  </a:lnTo>
                  <a:lnTo>
                    <a:pt x="1472349" y="993229"/>
                  </a:lnTo>
                  <a:lnTo>
                    <a:pt x="1472450" y="993229"/>
                  </a:lnTo>
                  <a:lnTo>
                    <a:pt x="1472501" y="991946"/>
                  </a:lnTo>
                  <a:lnTo>
                    <a:pt x="1472691" y="991946"/>
                  </a:lnTo>
                  <a:lnTo>
                    <a:pt x="1472742" y="990600"/>
                  </a:lnTo>
                  <a:lnTo>
                    <a:pt x="1472742" y="990003"/>
                  </a:lnTo>
                  <a:lnTo>
                    <a:pt x="1472793" y="988670"/>
                  </a:lnTo>
                  <a:lnTo>
                    <a:pt x="1472793" y="988022"/>
                  </a:lnTo>
                  <a:lnTo>
                    <a:pt x="1472895" y="988022"/>
                  </a:lnTo>
                  <a:lnTo>
                    <a:pt x="1472895" y="987374"/>
                  </a:lnTo>
                  <a:lnTo>
                    <a:pt x="1472946" y="986727"/>
                  </a:lnTo>
                  <a:lnTo>
                    <a:pt x="1472946" y="986041"/>
                  </a:lnTo>
                  <a:lnTo>
                    <a:pt x="1473098" y="986041"/>
                  </a:lnTo>
                  <a:lnTo>
                    <a:pt x="1473098" y="984796"/>
                  </a:lnTo>
                  <a:lnTo>
                    <a:pt x="1473238" y="984796"/>
                  </a:lnTo>
                  <a:lnTo>
                    <a:pt x="1473238" y="986041"/>
                  </a:lnTo>
                  <a:lnTo>
                    <a:pt x="1473390" y="986041"/>
                  </a:lnTo>
                  <a:lnTo>
                    <a:pt x="1473390" y="984796"/>
                  </a:lnTo>
                  <a:lnTo>
                    <a:pt x="1473441" y="984148"/>
                  </a:lnTo>
                  <a:lnTo>
                    <a:pt x="1473441" y="983463"/>
                  </a:lnTo>
                  <a:lnTo>
                    <a:pt x="1473542" y="983463"/>
                  </a:lnTo>
                  <a:lnTo>
                    <a:pt x="1473542" y="981520"/>
                  </a:lnTo>
                  <a:lnTo>
                    <a:pt x="1473695" y="981520"/>
                  </a:lnTo>
                  <a:lnTo>
                    <a:pt x="1473695" y="980834"/>
                  </a:lnTo>
                  <a:lnTo>
                    <a:pt x="1473784" y="980834"/>
                  </a:lnTo>
                  <a:lnTo>
                    <a:pt x="1473835" y="981520"/>
                  </a:lnTo>
                  <a:lnTo>
                    <a:pt x="1473885" y="980834"/>
                  </a:lnTo>
                  <a:lnTo>
                    <a:pt x="1474241" y="980834"/>
                  </a:lnTo>
                  <a:lnTo>
                    <a:pt x="1474279" y="980237"/>
                  </a:lnTo>
                  <a:lnTo>
                    <a:pt x="1474330" y="980237"/>
                  </a:lnTo>
                  <a:lnTo>
                    <a:pt x="1474381" y="979589"/>
                  </a:lnTo>
                  <a:lnTo>
                    <a:pt x="1474381" y="980237"/>
                  </a:lnTo>
                  <a:lnTo>
                    <a:pt x="1474482" y="979589"/>
                  </a:lnTo>
                  <a:lnTo>
                    <a:pt x="1474482" y="980237"/>
                  </a:lnTo>
                  <a:lnTo>
                    <a:pt x="1474533" y="980237"/>
                  </a:lnTo>
                  <a:lnTo>
                    <a:pt x="1474584" y="979589"/>
                  </a:lnTo>
                  <a:lnTo>
                    <a:pt x="1474787" y="979589"/>
                  </a:lnTo>
                  <a:lnTo>
                    <a:pt x="1474825" y="978942"/>
                  </a:lnTo>
                  <a:lnTo>
                    <a:pt x="1474927" y="977608"/>
                  </a:lnTo>
                  <a:lnTo>
                    <a:pt x="1474927" y="976960"/>
                  </a:lnTo>
                  <a:lnTo>
                    <a:pt x="1475028" y="976960"/>
                  </a:lnTo>
                  <a:lnTo>
                    <a:pt x="1475028" y="976262"/>
                  </a:lnTo>
                  <a:lnTo>
                    <a:pt x="1475130" y="976262"/>
                  </a:lnTo>
                  <a:lnTo>
                    <a:pt x="1475181" y="976960"/>
                  </a:lnTo>
                  <a:lnTo>
                    <a:pt x="1475231" y="976960"/>
                  </a:lnTo>
                  <a:lnTo>
                    <a:pt x="1475231" y="976262"/>
                  </a:lnTo>
                  <a:lnTo>
                    <a:pt x="1475422" y="976262"/>
                  </a:lnTo>
                  <a:lnTo>
                    <a:pt x="1475473" y="975614"/>
                  </a:lnTo>
                  <a:lnTo>
                    <a:pt x="1475473" y="976262"/>
                  </a:lnTo>
                  <a:lnTo>
                    <a:pt x="1475524" y="975614"/>
                  </a:lnTo>
                  <a:lnTo>
                    <a:pt x="1475625" y="975614"/>
                  </a:lnTo>
                  <a:lnTo>
                    <a:pt x="1475625" y="974382"/>
                  </a:lnTo>
                  <a:lnTo>
                    <a:pt x="1475676" y="974382"/>
                  </a:lnTo>
                  <a:lnTo>
                    <a:pt x="1475727" y="973684"/>
                  </a:lnTo>
                  <a:lnTo>
                    <a:pt x="1475866" y="973684"/>
                  </a:lnTo>
                  <a:lnTo>
                    <a:pt x="1475866" y="974382"/>
                  </a:lnTo>
                  <a:lnTo>
                    <a:pt x="1475917" y="973684"/>
                  </a:lnTo>
                  <a:lnTo>
                    <a:pt x="1475968" y="973684"/>
                  </a:lnTo>
                  <a:lnTo>
                    <a:pt x="1475968" y="973036"/>
                  </a:lnTo>
                  <a:lnTo>
                    <a:pt x="1476171" y="973036"/>
                  </a:lnTo>
                  <a:lnTo>
                    <a:pt x="1476171" y="972401"/>
                  </a:lnTo>
                  <a:lnTo>
                    <a:pt x="1476273" y="971753"/>
                  </a:lnTo>
                  <a:lnTo>
                    <a:pt x="1476375" y="971753"/>
                  </a:lnTo>
                  <a:lnTo>
                    <a:pt x="1476413" y="970407"/>
                  </a:lnTo>
                  <a:lnTo>
                    <a:pt x="1476565" y="970407"/>
                  </a:lnTo>
                  <a:lnTo>
                    <a:pt x="1476565" y="969810"/>
                  </a:lnTo>
                  <a:lnTo>
                    <a:pt x="1476717" y="969810"/>
                  </a:lnTo>
                  <a:lnTo>
                    <a:pt x="1476768" y="969175"/>
                  </a:lnTo>
                  <a:lnTo>
                    <a:pt x="1476819" y="969175"/>
                  </a:lnTo>
                  <a:lnTo>
                    <a:pt x="1476819" y="969810"/>
                  </a:lnTo>
                  <a:lnTo>
                    <a:pt x="1476870" y="969810"/>
                  </a:lnTo>
                  <a:lnTo>
                    <a:pt x="1476870" y="969175"/>
                  </a:lnTo>
                  <a:lnTo>
                    <a:pt x="1477060" y="969175"/>
                  </a:lnTo>
                  <a:lnTo>
                    <a:pt x="1477060" y="968477"/>
                  </a:lnTo>
                  <a:lnTo>
                    <a:pt x="1477111" y="968477"/>
                  </a:lnTo>
                  <a:lnTo>
                    <a:pt x="1477213" y="967181"/>
                  </a:lnTo>
                  <a:lnTo>
                    <a:pt x="1477314" y="967181"/>
                  </a:lnTo>
                  <a:lnTo>
                    <a:pt x="1477314" y="966546"/>
                  </a:lnTo>
                  <a:lnTo>
                    <a:pt x="1477505" y="966546"/>
                  </a:lnTo>
                  <a:lnTo>
                    <a:pt x="1477556" y="965848"/>
                  </a:lnTo>
                  <a:lnTo>
                    <a:pt x="1477657" y="965848"/>
                  </a:lnTo>
                  <a:lnTo>
                    <a:pt x="1477708" y="966546"/>
                  </a:lnTo>
                  <a:lnTo>
                    <a:pt x="1477708" y="965848"/>
                  </a:lnTo>
                  <a:lnTo>
                    <a:pt x="1477759" y="966546"/>
                  </a:lnTo>
                  <a:lnTo>
                    <a:pt x="1477860" y="965848"/>
                  </a:lnTo>
                  <a:lnTo>
                    <a:pt x="1477911" y="965848"/>
                  </a:lnTo>
                  <a:lnTo>
                    <a:pt x="1477962" y="965200"/>
                  </a:lnTo>
                  <a:lnTo>
                    <a:pt x="1478153" y="965200"/>
                  </a:lnTo>
                  <a:lnTo>
                    <a:pt x="1478203" y="964603"/>
                  </a:lnTo>
                  <a:lnTo>
                    <a:pt x="1478305" y="964603"/>
                  </a:lnTo>
                  <a:lnTo>
                    <a:pt x="1478305" y="963270"/>
                  </a:lnTo>
                  <a:lnTo>
                    <a:pt x="1478406" y="963270"/>
                  </a:lnTo>
                  <a:lnTo>
                    <a:pt x="1478406" y="962622"/>
                  </a:lnTo>
                  <a:lnTo>
                    <a:pt x="1478457" y="962622"/>
                  </a:lnTo>
                  <a:lnTo>
                    <a:pt x="1478546" y="961974"/>
                  </a:lnTo>
                  <a:lnTo>
                    <a:pt x="1478546" y="961288"/>
                  </a:lnTo>
                  <a:lnTo>
                    <a:pt x="1478597" y="960044"/>
                  </a:lnTo>
                  <a:lnTo>
                    <a:pt x="1478597" y="959396"/>
                  </a:lnTo>
                  <a:lnTo>
                    <a:pt x="1478648" y="958698"/>
                  </a:lnTo>
                  <a:lnTo>
                    <a:pt x="1478648" y="958063"/>
                  </a:lnTo>
                  <a:lnTo>
                    <a:pt x="1479041" y="958063"/>
                  </a:lnTo>
                  <a:lnTo>
                    <a:pt x="1479041" y="957415"/>
                  </a:lnTo>
                  <a:lnTo>
                    <a:pt x="1479092" y="956069"/>
                  </a:lnTo>
                  <a:lnTo>
                    <a:pt x="1479143" y="955434"/>
                  </a:lnTo>
                  <a:lnTo>
                    <a:pt x="1479143" y="954837"/>
                  </a:lnTo>
                  <a:lnTo>
                    <a:pt x="1479245" y="954189"/>
                  </a:lnTo>
                  <a:lnTo>
                    <a:pt x="1479296" y="952843"/>
                  </a:lnTo>
                  <a:lnTo>
                    <a:pt x="1479296" y="954189"/>
                  </a:lnTo>
                  <a:lnTo>
                    <a:pt x="1479499" y="954189"/>
                  </a:lnTo>
                  <a:lnTo>
                    <a:pt x="1479550" y="954837"/>
                  </a:lnTo>
                  <a:lnTo>
                    <a:pt x="1479550" y="954189"/>
                  </a:lnTo>
                  <a:lnTo>
                    <a:pt x="1479588" y="954189"/>
                  </a:lnTo>
                  <a:lnTo>
                    <a:pt x="1479689" y="952843"/>
                  </a:lnTo>
                  <a:lnTo>
                    <a:pt x="1479994" y="952843"/>
                  </a:lnTo>
                  <a:lnTo>
                    <a:pt x="1480045" y="952208"/>
                  </a:lnTo>
                  <a:lnTo>
                    <a:pt x="1480045" y="951509"/>
                  </a:lnTo>
                  <a:lnTo>
                    <a:pt x="1480134" y="951509"/>
                  </a:lnTo>
                  <a:lnTo>
                    <a:pt x="1480185" y="952208"/>
                  </a:lnTo>
                  <a:lnTo>
                    <a:pt x="1480185" y="951509"/>
                  </a:lnTo>
                  <a:lnTo>
                    <a:pt x="1480438" y="951509"/>
                  </a:lnTo>
                  <a:lnTo>
                    <a:pt x="1480489" y="950862"/>
                  </a:lnTo>
                  <a:lnTo>
                    <a:pt x="1480629" y="950862"/>
                  </a:lnTo>
                  <a:lnTo>
                    <a:pt x="1480629" y="950214"/>
                  </a:lnTo>
                  <a:lnTo>
                    <a:pt x="1480680" y="950214"/>
                  </a:lnTo>
                  <a:lnTo>
                    <a:pt x="1480731" y="948931"/>
                  </a:lnTo>
                  <a:lnTo>
                    <a:pt x="1480832" y="948931"/>
                  </a:lnTo>
                  <a:lnTo>
                    <a:pt x="1480832" y="950214"/>
                  </a:lnTo>
                  <a:lnTo>
                    <a:pt x="1480883" y="948931"/>
                  </a:lnTo>
                  <a:lnTo>
                    <a:pt x="1481086" y="948931"/>
                  </a:lnTo>
                  <a:lnTo>
                    <a:pt x="1481086" y="948284"/>
                  </a:lnTo>
                  <a:lnTo>
                    <a:pt x="1481137" y="948284"/>
                  </a:lnTo>
                  <a:lnTo>
                    <a:pt x="1481175" y="947636"/>
                  </a:lnTo>
                  <a:lnTo>
                    <a:pt x="1481277" y="947001"/>
                  </a:lnTo>
                  <a:lnTo>
                    <a:pt x="1481328" y="945655"/>
                  </a:lnTo>
                  <a:lnTo>
                    <a:pt x="1481378" y="945007"/>
                  </a:lnTo>
                  <a:lnTo>
                    <a:pt x="1481480" y="945007"/>
                  </a:lnTo>
                  <a:lnTo>
                    <a:pt x="1481531" y="945655"/>
                  </a:lnTo>
                  <a:lnTo>
                    <a:pt x="1481581" y="945007"/>
                  </a:lnTo>
                  <a:lnTo>
                    <a:pt x="1481772" y="945007"/>
                  </a:lnTo>
                  <a:lnTo>
                    <a:pt x="1481823" y="944410"/>
                  </a:lnTo>
                  <a:lnTo>
                    <a:pt x="1481975" y="944410"/>
                  </a:lnTo>
                  <a:lnTo>
                    <a:pt x="1482026" y="943724"/>
                  </a:lnTo>
                  <a:lnTo>
                    <a:pt x="1482178" y="943724"/>
                  </a:lnTo>
                  <a:lnTo>
                    <a:pt x="1482178" y="943077"/>
                  </a:lnTo>
                  <a:lnTo>
                    <a:pt x="1482216" y="943077"/>
                  </a:lnTo>
                  <a:lnTo>
                    <a:pt x="1482267" y="941781"/>
                  </a:lnTo>
                  <a:lnTo>
                    <a:pt x="1482471" y="941781"/>
                  </a:lnTo>
                  <a:lnTo>
                    <a:pt x="1482521" y="941096"/>
                  </a:lnTo>
                  <a:lnTo>
                    <a:pt x="1482674" y="941096"/>
                  </a:lnTo>
                  <a:lnTo>
                    <a:pt x="1482674" y="940448"/>
                  </a:lnTo>
                  <a:lnTo>
                    <a:pt x="1482915" y="940448"/>
                  </a:lnTo>
                  <a:lnTo>
                    <a:pt x="1482915" y="939800"/>
                  </a:lnTo>
                  <a:lnTo>
                    <a:pt x="1482966" y="939800"/>
                  </a:lnTo>
                  <a:lnTo>
                    <a:pt x="1483118" y="937870"/>
                  </a:lnTo>
                  <a:lnTo>
                    <a:pt x="1483169" y="937870"/>
                  </a:lnTo>
                  <a:lnTo>
                    <a:pt x="1483169" y="937222"/>
                  </a:lnTo>
                  <a:lnTo>
                    <a:pt x="1483360" y="937222"/>
                  </a:lnTo>
                  <a:lnTo>
                    <a:pt x="1483410" y="936523"/>
                  </a:lnTo>
                  <a:lnTo>
                    <a:pt x="1483461" y="936523"/>
                  </a:lnTo>
                  <a:lnTo>
                    <a:pt x="1483563" y="935888"/>
                  </a:lnTo>
                  <a:lnTo>
                    <a:pt x="1483563" y="936523"/>
                  </a:lnTo>
                  <a:lnTo>
                    <a:pt x="1483664" y="936523"/>
                  </a:lnTo>
                  <a:lnTo>
                    <a:pt x="1483766" y="935888"/>
                  </a:lnTo>
                  <a:lnTo>
                    <a:pt x="1483804" y="935888"/>
                  </a:lnTo>
                  <a:lnTo>
                    <a:pt x="1483855" y="934644"/>
                  </a:lnTo>
                  <a:lnTo>
                    <a:pt x="1483906" y="934644"/>
                  </a:lnTo>
                  <a:lnTo>
                    <a:pt x="1484007" y="935888"/>
                  </a:lnTo>
                  <a:lnTo>
                    <a:pt x="1484007" y="934644"/>
                  </a:lnTo>
                  <a:lnTo>
                    <a:pt x="1484058" y="934644"/>
                  </a:lnTo>
                  <a:lnTo>
                    <a:pt x="1484058" y="933895"/>
                  </a:lnTo>
                  <a:lnTo>
                    <a:pt x="1484109" y="933895"/>
                  </a:lnTo>
                  <a:lnTo>
                    <a:pt x="1484109" y="933298"/>
                  </a:lnTo>
                  <a:lnTo>
                    <a:pt x="1484210" y="931317"/>
                  </a:lnTo>
                  <a:lnTo>
                    <a:pt x="1484210" y="930669"/>
                  </a:lnTo>
                  <a:lnTo>
                    <a:pt x="1484261" y="930034"/>
                  </a:lnTo>
                  <a:lnTo>
                    <a:pt x="1484350" y="930034"/>
                  </a:lnTo>
                  <a:lnTo>
                    <a:pt x="1484452" y="929437"/>
                  </a:lnTo>
                  <a:lnTo>
                    <a:pt x="1484452" y="930034"/>
                  </a:lnTo>
                  <a:lnTo>
                    <a:pt x="1484503" y="929437"/>
                  </a:lnTo>
                  <a:lnTo>
                    <a:pt x="1484503" y="930034"/>
                  </a:lnTo>
                  <a:lnTo>
                    <a:pt x="1484655" y="930034"/>
                  </a:lnTo>
                  <a:lnTo>
                    <a:pt x="1484706" y="929437"/>
                  </a:lnTo>
                  <a:lnTo>
                    <a:pt x="1484706" y="927443"/>
                  </a:lnTo>
                  <a:lnTo>
                    <a:pt x="1484756" y="927443"/>
                  </a:lnTo>
                  <a:lnTo>
                    <a:pt x="1484756" y="926757"/>
                  </a:lnTo>
                  <a:lnTo>
                    <a:pt x="1484807" y="926109"/>
                  </a:lnTo>
                  <a:lnTo>
                    <a:pt x="1485201" y="926109"/>
                  </a:lnTo>
                  <a:lnTo>
                    <a:pt x="1485201" y="926757"/>
                  </a:lnTo>
                  <a:lnTo>
                    <a:pt x="1485252" y="926757"/>
                  </a:lnTo>
                  <a:lnTo>
                    <a:pt x="1485252" y="926109"/>
                  </a:lnTo>
                  <a:lnTo>
                    <a:pt x="1485353" y="926109"/>
                  </a:lnTo>
                  <a:lnTo>
                    <a:pt x="1485353" y="925462"/>
                  </a:lnTo>
                  <a:lnTo>
                    <a:pt x="1485595" y="925462"/>
                  </a:lnTo>
                  <a:lnTo>
                    <a:pt x="1485646" y="924128"/>
                  </a:lnTo>
                  <a:lnTo>
                    <a:pt x="1485696" y="924128"/>
                  </a:lnTo>
                  <a:lnTo>
                    <a:pt x="1485696" y="923531"/>
                  </a:lnTo>
                  <a:lnTo>
                    <a:pt x="1485798" y="924128"/>
                  </a:lnTo>
                  <a:lnTo>
                    <a:pt x="1485849" y="924128"/>
                  </a:lnTo>
                  <a:lnTo>
                    <a:pt x="1485849" y="923531"/>
                  </a:lnTo>
                  <a:lnTo>
                    <a:pt x="1485938" y="923531"/>
                  </a:lnTo>
                  <a:lnTo>
                    <a:pt x="1485938" y="922884"/>
                  </a:lnTo>
                  <a:lnTo>
                    <a:pt x="1486141" y="922884"/>
                  </a:lnTo>
                  <a:lnTo>
                    <a:pt x="1486242" y="922236"/>
                  </a:lnTo>
                  <a:lnTo>
                    <a:pt x="1486293" y="922236"/>
                  </a:lnTo>
                  <a:lnTo>
                    <a:pt x="1486293" y="921550"/>
                  </a:lnTo>
                  <a:lnTo>
                    <a:pt x="1486344" y="921550"/>
                  </a:lnTo>
                  <a:lnTo>
                    <a:pt x="1486395" y="920255"/>
                  </a:lnTo>
                  <a:lnTo>
                    <a:pt x="1486585" y="920255"/>
                  </a:lnTo>
                  <a:lnTo>
                    <a:pt x="1486585" y="919607"/>
                  </a:lnTo>
                  <a:lnTo>
                    <a:pt x="1486839" y="919607"/>
                  </a:lnTo>
                  <a:lnTo>
                    <a:pt x="1486839" y="918921"/>
                  </a:lnTo>
                  <a:lnTo>
                    <a:pt x="1486941" y="918921"/>
                  </a:lnTo>
                  <a:lnTo>
                    <a:pt x="1486941" y="918324"/>
                  </a:lnTo>
                  <a:lnTo>
                    <a:pt x="1487182" y="918324"/>
                  </a:lnTo>
                  <a:lnTo>
                    <a:pt x="1487182" y="917677"/>
                  </a:lnTo>
                  <a:lnTo>
                    <a:pt x="1487385" y="917677"/>
                  </a:lnTo>
                  <a:lnTo>
                    <a:pt x="1487385" y="916331"/>
                  </a:lnTo>
                  <a:lnTo>
                    <a:pt x="1487436" y="916331"/>
                  </a:lnTo>
                  <a:lnTo>
                    <a:pt x="1487436" y="915696"/>
                  </a:lnTo>
                  <a:lnTo>
                    <a:pt x="1487627" y="915696"/>
                  </a:lnTo>
                  <a:lnTo>
                    <a:pt x="1487627" y="915048"/>
                  </a:lnTo>
                  <a:lnTo>
                    <a:pt x="1487678" y="915048"/>
                  </a:lnTo>
                  <a:lnTo>
                    <a:pt x="1487728" y="914349"/>
                  </a:lnTo>
                  <a:lnTo>
                    <a:pt x="1487830" y="914349"/>
                  </a:lnTo>
                  <a:lnTo>
                    <a:pt x="1487830" y="913117"/>
                  </a:lnTo>
                  <a:lnTo>
                    <a:pt x="1487982" y="913117"/>
                  </a:lnTo>
                  <a:lnTo>
                    <a:pt x="1487982" y="912470"/>
                  </a:lnTo>
                  <a:lnTo>
                    <a:pt x="1488071" y="912470"/>
                  </a:lnTo>
                  <a:lnTo>
                    <a:pt x="1488071" y="911771"/>
                  </a:lnTo>
                  <a:lnTo>
                    <a:pt x="1488224" y="911771"/>
                  </a:lnTo>
                  <a:lnTo>
                    <a:pt x="1488224" y="911123"/>
                  </a:lnTo>
                  <a:lnTo>
                    <a:pt x="1488376" y="911123"/>
                  </a:lnTo>
                  <a:lnTo>
                    <a:pt x="1488376" y="910488"/>
                  </a:lnTo>
                  <a:lnTo>
                    <a:pt x="1488566" y="910488"/>
                  </a:lnTo>
                  <a:lnTo>
                    <a:pt x="1488617" y="909142"/>
                  </a:lnTo>
                  <a:lnTo>
                    <a:pt x="1488668" y="909142"/>
                  </a:lnTo>
                  <a:lnTo>
                    <a:pt x="1488668" y="908495"/>
                  </a:lnTo>
                  <a:lnTo>
                    <a:pt x="1488770" y="908495"/>
                  </a:lnTo>
                  <a:lnTo>
                    <a:pt x="1488821" y="907898"/>
                  </a:lnTo>
                  <a:lnTo>
                    <a:pt x="1488973" y="907898"/>
                  </a:lnTo>
                  <a:lnTo>
                    <a:pt x="1489024" y="907263"/>
                  </a:lnTo>
                  <a:lnTo>
                    <a:pt x="1489468" y="907263"/>
                  </a:lnTo>
                  <a:lnTo>
                    <a:pt x="1489468" y="905917"/>
                  </a:lnTo>
                  <a:lnTo>
                    <a:pt x="1489570" y="904634"/>
                  </a:lnTo>
                  <a:lnTo>
                    <a:pt x="1489659" y="903935"/>
                  </a:lnTo>
                  <a:lnTo>
                    <a:pt x="1489659" y="902005"/>
                  </a:lnTo>
                  <a:lnTo>
                    <a:pt x="1489710" y="901357"/>
                  </a:lnTo>
                  <a:lnTo>
                    <a:pt x="1489760" y="901357"/>
                  </a:lnTo>
                  <a:lnTo>
                    <a:pt x="1489760" y="900709"/>
                  </a:lnTo>
                  <a:lnTo>
                    <a:pt x="1490154" y="900709"/>
                  </a:lnTo>
                  <a:lnTo>
                    <a:pt x="1490205" y="900062"/>
                  </a:lnTo>
                  <a:lnTo>
                    <a:pt x="1490256" y="898131"/>
                  </a:lnTo>
                  <a:lnTo>
                    <a:pt x="1490357" y="897484"/>
                  </a:lnTo>
                  <a:lnTo>
                    <a:pt x="1490408" y="896785"/>
                  </a:lnTo>
                  <a:lnTo>
                    <a:pt x="1490408" y="896150"/>
                  </a:lnTo>
                  <a:lnTo>
                    <a:pt x="1490459" y="896150"/>
                  </a:lnTo>
                  <a:lnTo>
                    <a:pt x="1490560" y="894855"/>
                  </a:lnTo>
                  <a:lnTo>
                    <a:pt x="1490560" y="896150"/>
                  </a:lnTo>
                  <a:lnTo>
                    <a:pt x="1490802" y="896150"/>
                  </a:lnTo>
                  <a:lnTo>
                    <a:pt x="1490802" y="896785"/>
                  </a:lnTo>
                  <a:lnTo>
                    <a:pt x="1490853" y="896785"/>
                  </a:lnTo>
                  <a:lnTo>
                    <a:pt x="1490853" y="896150"/>
                  </a:lnTo>
                  <a:lnTo>
                    <a:pt x="1490903" y="896150"/>
                  </a:lnTo>
                  <a:lnTo>
                    <a:pt x="1491005" y="894855"/>
                  </a:lnTo>
                  <a:lnTo>
                    <a:pt x="1491056" y="894855"/>
                  </a:lnTo>
                  <a:lnTo>
                    <a:pt x="1491056" y="894156"/>
                  </a:lnTo>
                  <a:lnTo>
                    <a:pt x="1491106" y="894156"/>
                  </a:lnTo>
                  <a:lnTo>
                    <a:pt x="1491157" y="893521"/>
                  </a:lnTo>
                  <a:lnTo>
                    <a:pt x="1491399" y="893521"/>
                  </a:lnTo>
                  <a:lnTo>
                    <a:pt x="1491399" y="892924"/>
                  </a:lnTo>
                  <a:lnTo>
                    <a:pt x="1491551" y="892924"/>
                  </a:lnTo>
                  <a:lnTo>
                    <a:pt x="1491602" y="891578"/>
                  </a:lnTo>
                  <a:lnTo>
                    <a:pt x="1491703" y="890931"/>
                  </a:lnTo>
                  <a:lnTo>
                    <a:pt x="1491741" y="890931"/>
                  </a:lnTo>
                  <a:lnTo>
                    <a:pt x="1491792" y="890296"/>
                  </a:lnTo>
                  <a:lnTo>
                    <a:pt x="1491996" y="890296"/>
                  </a:lnTo>
                  <a:lnTo>
                    <a:pt x="1491996" y="889597"/>
                  </a:lnTo>
                  <a:lnTo>
                    <a:pt x="1492046" y="889597"/>
                  </a:lnTo>
                  <a:lnTo>
                    <a:pt x="1492046" y="888949"/>
                  </a:lnTo>
                  <a:lnTo>
                    <a:pt x="1492148" y="888949"/>
                  </a:lnTo>
                  <a:lnTo>
                    <a:pt x="1492199" y="887717"/>
                  </a:lnTo>
                  <a:lnTo>
                    <a:pt x="1492250" y="887717"/>
                  </a:lnTo>
                  <a:lnTo>
                    <a:pt x="1492288" y="887019"/>
                  </a:lnTo>
                  <a:lnTo>
                    <a:pt x="1492440" y="887019"/>
                  </a:lnTo>
                  <a:lnTo>
                    <a:pt x="1492491" y="886371"/>
                  </a:lnTo>
                  <a:lnTo>
                    <a:pt x="1492592" y="885723"/>
                  </a:lnTo>
                  <a:lnTo>
                    <a:pt x="1492643" y="884390"/>
                  </a:lnTo>
                  <a:lnTo>
                    <a:pt x="1492745" y="884390"/>
                  </a:lnTo>
                  <a:lnTo>
                    <a:pt x="1492834" y="883742"/>
                  </a:lnTo>
                  <a:lnTo>
                    <a:pt x="1492885" y="883742"/>
                  </a:lnTo>
                  <a:lnTo>
                    <a:pt x="1492935" y="883095"/>
                  </a:lnTo>
                  <a:lnTo>
                    <a:pt x="1492986" y="882498"/>
                  </a:lnTo>
                  <a:lnTo>
                    <a:pt x="1493088" y="881812"/>
                  </a:lnTo>
                  <a:lnTo>
                    <a:pt x="1493138" y="881812"/>
                  </a:lnTo>
                  <a:lnTo>
                    <a:pt x="1493138" y="880517"/>
                  </a:lnTo>
                  <a:lnTo>
                    <a:pt x="1493291" y="880517"/>
                  </a:lnTo>
                  <a:lnTo>
                    <a:pt x="1493329" y="879818"/>
                  </a:lnTo>
                  <a:lnTo>
                    <a:pt x="1493380" y="879818"/>
                  </a:lnTo>
                  <a:lnTo>
                    <a:pt x="1493380" y="879183"/>
                  </a:lnTo>
                  <a:lnTo>
                    <a:pt x="1493532" y="879183"/>
                  </a:lnTo>
                  <a:lnTo>
                    <a:pt x="1493583" y="879818"/>
                  </a:lnTo>
                  <a:lnTo>
                    <a:pt x="1493583" y="879183"/>
                  </a:lnTo>
                  <a:lnTo>
                    <a:pt x="1493786" y="879183"/>
                  </a:lnTo>
                  <a:lnTo>
                    <a:pt x="1493786" y="878535"/>
                  </a:lnTo>
                  <a:lnTo>
                    <a:pt x="1493875" y="878535"/>
                  </a:lnTo>
                  <a:lnTo>
                    <a:pt x="1493875" y="877189"/>
                  </a:lnTo>
                  <a:lnTo>
                    <a:pt x="1493977" y="876605"/>
                  </a:lnTo>
                  <a:lnTo>
                    <a:pt x="1494078" y="876605"/>
                  </a:lnTo>
                  <a:lnTo>
                    <a:pt x="1494180" y="875957"/>
                  </a:lnTo>
                  <a:lnTo>
                    <a:pt x="1494231" y="875957"/>
                  </a:lnTo>
                  <a:lnTo>
                    <a:pt x="1494231" y="875309"/>
                  </a:lnTo>
                  <a:lnTo>
                    <a:pt x="1494332" y="875309"/>
                  </a:lnTo>
                  <a:lnTo>
                    <a:pt x="1494332" y="874611"/>
                  </a:lnTo>
                  <a:lnTo>
                    <a:pt x="1494421" y="875309"/>
                  </a:lnTo>
                  <a:lnTo>
                    <a:pt x="1494421" y="874611"/>
                  </a:lnTo>
                  <a:lnTo>
                    <a:pt x="1494675" y="874611"/>
                  </a:lnTo>
                  <a:lnTo>
                    <a:pt x="1494675" y="873328"/>
                  </a:lnTo>
                  <a:lnTo>
                    <a:pt x="1494777" y="873328"/>
                  </a:lnTo>
                  <a:lnTo>
                    <a:pt x="1494777" y="872731"/>
                  </a:lnTo>
                  <a:lnTo>
                    <a:pt x="1494916" y="872731"/>
                  </a:lnTo>
                  <a:lnTo>
                    <a:pt x="1494916" y="871982"/>
                  </a:lnTo>
                  <a:lnTo>
                    <a:pt x="1495018" y="871982"/>
                  </a:lnTo>
                  <a:lnTo>
                    <a:pt x="1495120" y="871385"/>
                  </a:lnTo>
                  <a:lnTo>
                    <a:pt x="1495221" y="871385"/>
                  </a:lnTo>
                  <a:lnTo>
                    <a:pt x="1495323" y="870102"/>
                  </a:lnTo>
                  <a:lnTo>
                    <a:pt x="1495323" y="869404"/>
                  </a:lnTo>
                  <a:lnTo>
                    <a:pt x="1495374" y="869404"/>
                  </a:lnTo>
                  <a:lnTo>
                    <a:pt x="1495374" y="868756"/>
                  </a:lnTo>
                  <a:lnTo>
                    <a:pt x="1495425" y="868756"/>
                  </a:lnTo>
                  <a:lnTo>
                    <a:pt x="1495425" y="868121"/>
                  </a:lnTo>
                  <a:lnTo>
                    <a:pt x="1495463" y="868121"/>
                  </a:lnTo>
                  <a:lnTo>
                    <a:pt x="1495564" y="867423"/>
                  </a:lnTo>
                  <a:lnTo>
                    <a:pt x="1495615" y="866178"/>
                  </a:lnTo>
                  <a:lnTo>
                    <a:pt x="1495767" y="866178"/>
                  </a:lnTo>
                  <a:lnTo>
                    <a:pt x="1495767" y="867423"/>
                  </a:lnTo>
                  <a:lnTo>
                    <a:pt x="1495818" y="866178"/>
                  </a:lnTo>
                  <a:lnTo>
                    <a:pt x="1495869" y="867423"/>
                  </a:lnTo>
                  <a:lnTo>
                    <a:pt x="1495920" y="867423"/>
                  </a:lnTo>
                  <a:lnTo>
                    <a:pt x="1496009" y="866178"/>
                  </a:lnTo>
                  <a:lnTo>
                    <a:pt x="1496009" y="864845"/>
                  </a:lnTo>
                  <a:lnTo>
                    <a:pt x="1496060" y="864197"/>
                  </a:lnTo>
                  <a:lnTo>
                    <a:pt x="1496110" y="862902"/>
                  </a:lnTo>
                  <a:lnTo>
                    <a:pt x="1496110" y="861619"/>
                  </a:lnTo>
                  <a:lnTo>
                    <a:pt x="1496161" y="860971"/>
                  </a:lnTo>
                  <a:lnTo>
                    <a:pt x="1496161" y="860323"/>
                  </a:lnTo>
                  <a:lnTo>
                    <a:pt x="1496263" y="858990"/>
                  </a:lnTo>
                  <a:lnTo>
                    <a:pt x="1496466" y="858990"/>
                  </a:lnTo>
                  <a:lnTo>
                    <a:pt x="1496466" y="858342"/>
                  </a:lnTo>
                  <a:lnTo>
                    <a:pt x="1496555" y="858342"/>
                  </a:lnTo>
                  <a:lnTo>
                    <a:pt x="1496555" y="858990"/>
                  </a:lnTo>
                  <a:lnTo>
                    <a:pt x="1496606" y="858990"/>
                  </a:lnTo>
                  <a:lnTo>
                    <a:pt x="1496606" y="858342"/>
                  </a:lnTo>
                  <a:lnTo>
                    <a:pt x="1496707" y="858342"/>
                  </a:lnTo>
                  <a:lnTo>
                    <a:pt x="1496758" y="857695"/>
                  </a:lnTo>
                  <a:lnTo>
                    <a:pt x="1496809" y="857009"/>
                  </a:lnTo>
                  <a:lnTo>
                    <a:pt x="1496961" y="857009"/>
                  </a:lnTo>
                  <a:lnTo>
                    <a:pt x="1496961" y="855764"/>
                  </a:lnTo>
                  <a:lnTo>
                    <a:pt x="1497012" y="855764"/>
                  </a:lnTo>
                  <a:lnTo>
                    <a:pt x="1497050" y="857009"/>
                  </a:lnTo>
                  <a:lnTo>
                    <a:pt x="1497050" y="855764"/>
                  </a:lnTo>
                  <a:lnTo>
                    <a:pt x="1497152" y="855764"/>
                  </a:lnTo>
                  <a:lnTo>
                    <a:pt x="1497152" y="855066"/>
                  </a:lnTo>
                  <a:lnTo>
                    <a:pt x="1497253" y="855066"/>
                  </a:lnTo>
                  <a:lnTo>
                    <a:pt x="1497355" y="854418"/>
                  </a:lnTo>
                  <a:lnTo>
                    <a:pt x="1497406" y="853783"/>
                  </a:lnTo>
                  <a:lnTo>
                    <a:pt x="1497406" y="854418"/>
                  </a:lnTo>
                  <a:lnTo>
                    <a:pt x="1497456" y="853783"/>
                  </a:lnTo>
                  <a:lnTo>
                    <a:pt x="1497596" y="853783"/>
                  </a:lnTo>
                  <a:lnTo>
                    <a:pt x="1497647" y="853135"/>
                  </a:lnTo>
                  <a:lnTo>
                    <a:pt x="1497749" y="853135"/>
                  </a:lnTo>
                  <a:lnTo>
                    <a:pt x="1497850" y="851789"/>
                  </a:lnTo>
                  <a:lnTo>
                    <a:pt x="1497952" y="851789"/>
                  </a:lnTo>
                  <a:lnTo>
                    <a:pt x="1497952" y="851205"/>
                  </a:lnTo>
                  <a:lnTo>
                    <a:pt x="1498053" y="850557"/>
                  </a:lnTo>
                  <a:lnTo>
                    <a:pt x="1498091" y="850557"/>
                  </a:lnTo>
                  <a:lnTo>
                    <a:pt x="1498091" y="849859"/>
                  </a:lnTo>
                  <a:lnTo>
                    <a:pt x="1498142" y="849859"/>
                  </a:lnTo>
                  <a:lnTo>
                    <a:pt x="1498193" y="849211"/>
                  </a:lnTo>
                  <a:lnTo>
                    <a:pt x="1498346" y="849211"/>
                  </a:lnTo>
                  <a:lnTo>
                    <a:pt x="1498396" y="847928"/>
                  </a:lnTo>
                  <a:lnTo>
                    <a:pt x="1498498" y="847230"/>
                  </a:lnTo>
                  <a:lnTo>
                    <a:pt x="1498600" y="847230"/>
                  </a:lnTo>
                  <a:lnTo>
                    <a:pt x="1498638" y="846582"/>
                  </a:lnTo>
                  <a:lnTo>
                    <a:pt x="1498841" y="846582"/>
                  </a:lnTo>
                  <a:lnTo>
                    <a:pt x="1498942" y="845985"/>
                  </a:lnTo>
                  <a:lnTo>
                    <a:pt x="1498993" y="845985"/>
                  </a:lnTo>
                  <a:lnTo>
                    <a:pt x="1498993" y="844652"/>
                  </a:lnTo>
                  <a:lnTo>
                    <a:pt x="1499044" y="844652"/>
                  </a:lnTo>
                  <a:lnTo>
                    <a:pt x="1499044" y="844004"/>
                  </a:lnTo>
                  <a:lnTo>
                    <a:pt x="1499184" y="844004"/>
                  </a:lnTo>
                  <a:lnTo>
                    <a:pt x="1499235" y="843356"/>
                  </a:lnTo>
                  <a:lnTo>
                    <a:pt x="1499336" y="843356"/>
                  </a:lnTo>
                  <a:lnTo>
                    <a:pt x="1499336" y="842671"/>
                  </a:lnTo>
                  <a:lnTo>
                    <a:pt x="1499438" y="842671"/>
                  </a:lnTo>
                  <a:lnTo>
                    <a:pt x="1499488" y="842023"/>
                  </a:lnTo>
                  <a:lnTo>
                    <a:pt x="1499539" y="842023"/>
                  </a:lnTo>
                  <a:lnTo>
                    <a:pt x="1499641" y="840778"/>
                  </a:lnTo>
                  <a:lnTo>
                    <a:pt x="1499679" y="840778"/>
                  </a:lnTo>
                  <a:lnTo>
                    <a:pt x="1499679" y="840092"/>
                  </a:lnTo>
                  <a:lnTo>
                    <a:pt x="1499781" y="840092"/>
                  </a:lnTo>
                  <a:lnTo>
                    <a:pt x="1499781" y="839445"/>
                  </a:lnTo>
                  <a:lnTo>
                    <a:pt x="1499882" y="840092"/>
                  </a:lnTo>
                  <a:lnTo>
                    <a:pt x="1499933" y="839445"/>
                  </a:lnTo>
                  <a:lnTo>
                    <a:pt x="1500136" y="839445"/>
                  </a:lnTo>
                  <a:lnTo>
                    <a:pt x="1500136" y="838797"/>
                  </a:lnTo>
                  <a:lnTo>
                    <a:pt x="1500187" y="838797"/>
                  </a:lnTo>
                  <a:lnTo>
                    <a:pt x="1500225" y="837463"/>
                  </a:lnTo>
                  <a:lnTo>
                    <a:pt x="1500428" y="837463"/>
                  </a:lnTo>
                  <a:lnTo>
                    <a:pt x="1500530" y="836816"/>
                  </a:lnTo>
                  <a:lnTo>
                    <a:pt x="1500581" y="836816"/>
                  </a:lnTo>
                  <a:lnTo>
                    <a:pt x="1500581" y="836219"/>
                  </a:lnTo>
                  <a:lnTo>
                    <a:pt x="1500682" y="836219"/>
                  </a:lnTo>
                  <a:lnTo>
                    <a:pt x="1500682" y="835571"/>
                  </a:lnTo>
                  <a:lnTo>
                    <a:pt x="1500822" y="835571"/>
                  </a:lnTo>
                  <a:lnTo>
                    <a:pt x="1500822" y="834873"/>
                  </a:lnTo>
                  <a:lnTo>
                    <a:pt x="1500873" y="834873"/>
                  </a:lnTo>
                  <a:lnTo>
                    <a:pt x="1500924" y="833590"/>
                  </a:lnTo>
                  <a:lnTo>
                    <a:pt x="1501025" y="833590"/>
                  </a:lnTo>
                  <a:lnTo>
                    <a:pt x="1501076" y="832942"/>
                  </a:lnTo>
                  <a:lnTo>
                    <a:pt x="1501127" y="832244"/>
                  </a:lnTo>
                  <a:lnTo>
                    <a:pt x="1501127" y="830263"/>
                  </a:lnTo>
                  <a:lnTo>
                    <a:pt x="1501228" y="830263"/>
                  </a:lnTo>
                  <a:lnTo>
                    <a:pt x="1501228" y="829666"/>
                  </a:lnTo>
                  <a:lnTo>
                    <a:pt x="1501266" y="829666"/>
                  </a:lnTo>
                  <a:lnTo>
                    <a:pt x="1501317" y="829018"/>
                  </a:lnTo>
                  <a:lnTo>
                    <a:pt x="1501470" y="829018"/>
                  </a:lnTo>
                  <a:lnTo>
                    <a:pt x="1501470" y="828383"/>
                  </a:lnTo>
                  <a:lnTo>
                    <a:pt x="1501724" y="828383"/>
                  </a:lnTo>
                  <a:lnTo>
                    <a:pt x="1501724" y="826389"/>
                  </a:lnTo>
                  <a:lnTo>
                    <a:pt x="1501775" y="825805"/>
                  </a:lnTo>
                  <a:lnTo>
                    <a:pt x="1501775" y="824459"/>
                  </a:lnTo>
                  <a:lnTo>
                    <a:pt x="1502117" y="824459"/>
                  </a:lnTo>
                  <a:lnTo>
                    <a:pt x="1502168" y="825106"/>
                  </a:lnTo>
                  <a:lnTo>
                    <a:pt x="1502219" y="825106"/>
                  </a:lnTo>
                  <a:lnTo>
                    <a:pt x="1502219" y="824459"/>
                  </a:lnTo>
                  <a:lnTo>
                    <a:pt x="1502270" y="824459"/>
                  </a:lnTo>
                  <a:lnTo>
                    <a:pt x="1502270" y="823176"/>
                  </a:lnTo>
                  <a:lnTo>
                    <a:pt x="1502359" y="823176"/>
                  </a:lnTo>
                  <a:lnTo>
                    <a:pt x="1502359" y="822477"/>
                  </a:lnTo>
                  <a:lnTo>
                    <a:pt x="1502460" y="822477"/>
                  </a:lnTo>
                  <a:lnTo>
                    <a:pt x="1502511" y="823176"/>
                  </a:lnTo>
                  <a:lnTo>
                    <a:pt x="1502511" y="822477"/>
                  </a:lnTo>
                  <a:lnTo>
                    <a:pt x="1502613" y="822477"/>
                  </a:lnTo>
                  <a:lnTo>
                    <a:pt x="1502663" y="821830"/>
                  </a:lnTo>
                  <a:lnTo>
                    <a:pt x="1502905" y="821830"/>
                  </a:lnTo>
                  <a:lnTo>
                    <a:pt x="1502905" y="821182"/>
                  </a:lnTo>
                  <a:lnTo>
                    <a:pt x="1502956" y="821182"/>
                  </a:lnTo>
                  <a:lnTo>
                    <a:pt x="1503057" y="820585"/>
                  </a:lnTo>
                  <a:lnTo>
                    <a:pt x="1503108" y="819252"/>
                  </a:lnTo>
                  <a:lnTo>
                    <a:pt x="1503260" y="819252"/>
                  </a:lnTo>
                  <a:lnTo>
                    <a:pt x="1503311" y="818604"/>
                  </a:lnTo>
                  <a:lnTo>
                    <a:pt x="1503400" y="818604"/>
                  </a:lnTo>
                  <a:lnTo>
                    <a:pt x="1503400" y="817906"/>
                  </a:lnTo>
                  <a:lnTo>
                    <a:pt x="1503553" y="817906"/>
                  </a:lnTo>
                  <a:lnTo>
                    <a:pt x="1503603" y="817271"/>
                  </a:lnTo>
                  <a:lnTo>
                    <a:pt x="1503756" y="817271"/>
                  </a:lnTo>
                  <a:lnTo>
                    <a:pt x="1503756" y="815975"/>
                  </a:lnTo>
                  <a:lnTo>
                    <a:pt x="1503806" y="815975"/>
                  </a:lnTo>
                  <a:lnTo>
                    <a:pt x="1503806" y="815277"/>
                  </a:lnTo>
                  <a:lnTo>
                    <a:pt x="1504048" y="815277"/>
                  </a:lnTo>
                  <a:lnTo>
                    <a:pt x="1504099" y="814692"/>
                  </a:lnTo>
                  <a:lnTo>
                    <a:pt x="1504099" y="815277"/>
                  </a:lnTo>
                  <a:lnTo>
                    <a:pt x="1504200" y="815277"/>
                  </a:lnTo>
                  <a:lnTo>
                    <a:pt x="1504200" y="814692"/>
                  </a:lnTo>
                  <a:lnTo>
                    <a:pt x="1504251" y="814692"/>
                  </a:lnTo>
                  <a:lnTo>
                    <a:pt x="1504251" y="814045"/>
                  </a:lnTo>
                  <a:lnTo>
                    <a:pt x="1504403" y="814045"/>
                  </a:lnTo>
                  <a:lnTo>
                    <a:pt x="1504441" y="813397"/>
                  </a:lnTo>
                  <a:lnTo>
                    <a:pt x="1504492" y="812063"/>
                  </a:lnTo>
                  <a:lnTo>
                    <a:pt x="1504543" y="811416"/>
                  </a:lnTo>
                  <a:lnTo>
                    <a:pt x="1504696" y="811416"/>
                  </a:lnTo>
                  <a:lnTo>
                    <a:pt x="1504746" y="810819"/>
                  </a:lnTo>
                  <a:lnTo>
                    <a:pt x="1504746" y="810070"/>
                  </a:lnTo>
                  <a:lnTo>
                    <a:pt x="1504848" y="810070"/>
                  </a:lnTo>
                  <a:lnTo>
                    <a:pt x="1504899" y="808838"/>
                  </a:lnTo>
                  <a:lnTo>
                    <a:pt x="1504988" y="808838"/>
                  </a:lnTo>
                  <a:lnTo>
                    <a:pt x="1505089" y="808190"/>
                  </a:lnTo>
                  <a:lnTo>
                    <a:pt x="1505140" y="807492"/>
                  </a:lnTo>
                  <a:lnTo>
                    <a:pt x="1505140" y="808190"/>
                  </a:lnTo>
                  <a:lnTo>
                    <a:pt x="1505191" y="808190"/>
                  </a:lnTo>
                  <a:lnTo>
                    <a:pt x="1505292" y="807492"/>
                  </a:lnTo>
                  <a:lnTo>
                    <a:pt x="1505343" y="807492"/>
                  </a:lnTo>
                  <a:lnTo>
                    <a:pt x="1505343" y="806844"/>
                  </a:lnTo>
                  <a:lnTo>
                    <a:pt x="1505394" y="806844"/>
                  </a:lnTo>
                  <a:lnTo>
                    <a:pt x="1505394" y="806209"/>
                  </a:lnTo>
                  <a:lnTo>
                    <a:pt x="1505585" y="806209"/>
                  </a:lnTo>
                  <a:lnTo>
                    <a:pt x="1505585" y="804863"/>
                  </a:lnTo>
                  <a:lnTo>
                    <a:pt x="1505788" y="804863"/>
                  </a:lnTo>
                  <a:lnTo>
                    <a:pt x="1505788" y="804266"/>
                  </a:lnTo>
                  <a:lnTo>
                    <a:pt x="1505838" y="804863"/>
                  </a:lnTo>
                  <a:lnTo>
                    <a:pt x="1505889" y="804863"/>
                  </a:lnTo>
                  <a:lnTo>
                    <a:pt x="1505889" y="804266"/>
                  </a:lnTo>
                  <a:lnTo>
                    <a:pt x="1505991" y="804266"/>
                  </a:lnTo>
                  <a:lnTo>
                    <a:pt x="1505991" y="803618"/>
                  </a:lnTo>
                  <a:lnTo>
                    <a:pt x="1506232" y="803618"/>
                  </a:lnTo>
                  <a:lnTo>
                    <a:pt x="1506283" y="802932"/>
                  </a:lnTo>
                  <a:lnTo>
                    <a:pt x="1506435" y="802932"/>
                  </a:lnTo>
                  <a:lnTo>
                    <a:pt x="1506486" y="801637"/>
                  </a:lnTo>
                  <a:lnTo>
                    <a:pt x="1506486" y="802932"/>
                  </a:lnTo>
                  <a:lnTo>
                    <a:pt x="1506537" y="802932"/>
                  </a:lnTo>
                  <a:lnTo>
                    <a:pt x="1506575" y="801637"/>
                  </a:lnTo>
                  <a:lnTo>
                    <a:pt x="1506677" y="801637"/>
                  </a:lnTo>
                  <a:lnTo>
                    <a:pt x="1506677" y="800989"/>
                  </a:lnTo>
                  <a:lnTo>
                    <a:pt x="1506778" y="800989"/>
                  </a:lnTo>
                  <a:lnTo>
                    <a:pt x="1506880" y="801637"/>
                  </a:lnTo>
                  <a:lnTo>
                    <a:pt x="1506880" y="800989"/>
                  </a:lnTo>
                  <a:lnTo>
                    <a:pt x="1506931" y="800303"/>
                  </a:lnTo>
                  <a:lnTo>
                    <a:pt x="1506931" y="799706"/>
                  </a:lnTo>
                  <a:lnTo>
                    <a:pt x="1506981" y="797725"/>
                  </a:lnTo>
                  <a:lnTo>
                    <a:pt x="1506981" y="797077"/>
                  </a:lnTo>
                  <a:lnTo>
                    <a:pt x="1507032" y="797077"/>
                  </a:lnTo>
                  <a:lnTo>
                    <a:pt x="1507121" y="796430"/>
                  </a:lnTo>
                  <a:lnTo>
                    <a:pt x="1507121" y="797077"/>
                  </a:lnTo>
                  <a:lnTo>
                    <a:pt x="1507172" y="797077"/>
                  </a:lnTo>
                  <a:lnTo>
                    <a:pt x="1507172" y="797725"/>
                  </a:lnTo>
                  <a:lnTo>
                    <a:pt x="1507223" y="797725"/>
                  </a:lnTo>
                  <a:lnTo>
                    <a:pt x="1507223" y="797077"/>
                  </a:lnTo>
                  <a:lnTo>
                    <a:pt x="1507426" y="797077"/>
                  </a:lnTo>
                  <a:lnTo>
                    <a:pt x="1507426" y="795782"/>
                  </a:lnTo>
                  <a:lnTo>
                    <a:pt x="1507477" y="795782"/>
                  </a:lnTo>
                  <a:lnTo>
                    <a:pt x="1507477" y="794499"/>
                  </a:lnTo>
                  <a:lnTo>
                    <a:pt x="1507578" y="793852"/>
                  </a:lnTo>
                  <a:lnTo>
                    <a:pt x="1507578" y="793153"/>
                  </a:lnTo>
                  <a:lnTo>
                    <a:pt x="1508074" y="793153"/>
                  </a:lnTo>
                  <a:lnTo>
                    <a:pt x="1508074" y="792506"/>
                  </a:lnTo>
                  <a:lnTo>
                    <a:pt x="1508125" y="793153"/>
                  </a:lnTo>
                  <a:lnTo>
                    <a:pt x="1508125" y="792506"/>
                  </a:lnTo>
                  <a:lnTo>
                    <a:pt x="1508163" y="792506"/>
                  </a:lnTo>
                  <a:lnTo>
                    <a:pt x="1508264" y="791871"/>
                  </a:lnTo>
                  <a:lnTo>
                    <a:pt x="1508366" y="791871"/>
                  </a:lnTo>
                  <a:lnTo>
                    <a:pt x="1508366" y="790524"/>
                  </a:lnTo>
                  <a:lnTo>
                    <a:pt x="1508467" y="790524"/>
                  </a:lnTo>
                  <a:lnTo>
                    <a:pt x="1508467" y="791871"/>
                  </a:lnTo>
                  <a:lnTo>
                    <a:pt x="1508569" y="791871"/>
                  </a:lnTo>
                  <a:lnTo>
                    <a:pt x="1508620" y="790524"/>
                  </a:lnTo>
                  <a:lnTo>
                    <a:pt x="1508709" y="790524"/>
                  </a:lnTo>
                  <a:lnTo>
                    <a:pt x="1508760" y="789877"/>
                  </a:lnTo>
                  <a:lnTo>
                    <a:pt x="1508861" y="789877"/>
                  </a:lnTo>
                  <a:lnTo>
                    <a:pt x="1508963" y="789292"/>
                  </a:lnTo>
                  <a:lnTo>
                    <a:pt x="1509013" y="789292"/>
                  </a:lnTo>
                  <a:lnTo>
                    <a:pt x="1509064" y="788645"/>
                  </a:lnTo>
                  <a:lnTo>
                    <a:pt x="1509166" y="789292"/>
                  </a:lnTo>
                  <a:lnTo>
                    <a:pt x="1509204" y="788645"/>
                  </a:lnTo>
                  <a:lnTo>
                    <a:pt x="1509255" y="788645"/>
                  </a:lnTo>
                  <a:lnTo>
                    <a:pt x="1509306" y="787298"/>
                  </a:lnTo>
                  <a:lnTo>
                    <a:pt x="1509407" y="787298"/>
                  </a:lnTo>
                  <a:lnTo>
                    <a:pt x="1509407" y="786663"/>
                  </a:lnTo>
                  <a:lnTo>
                    <a:pt x="1509509" y="786663"/>
                  </a:lnTo>
                  <a:lnTo>
                    <a:pt x="1509509" y="786016"/>
                  </a:lnTo>
                  <a:lnTo>
                    <a:pt x="1509610" y="786016"/>
                  </a:lnTo>
                  <a:lnTo>
                    <a:pt x="1509610" y="785317"/>
                  </a:lnTo>
                  <a:lnTo>
                    <a:pt x="1509661" y="785317"/>
                  </a:lnTo>
                  <a:lnTo>
                    <a:pt x="1509712" y="784670"/>
                  </a:lnTo>
                  <a:lnTo>
                    <a:pt x="1509852" y="784670"/>
                  </a:lnTo>
                  <a:lnTo>
                    <a:pt x="1509852" y="783438"/>
                  </a:lnTo>
                  <a:lnTo>
                    <a:pt x="1509903" y="783438"/>
                  </a:lnTo>
                  <a:lnTo>
                    <a:pt x="1509903" y="782739"/>
                  </a:lnTo>
                  <a:lnTo>
                    <a:pt x="1509953" y="783438"/>
                  </a:lnTo>
                  <a:lnTo>
                    <a:pt x="1509953" y="782739"/>
                  </a:lnTo>
                  <a:lnTo>
                    <a:pt x="1510106" y="782739"/>
                  </a:lnTo>
                  <a:lnTo>
                    <a:pt x="1510106" y="782092"/>
                  </a:lnTo>
                  <a:lnTo>
                    <a:pt x="1510347" y="782092"/>
                  </a:lnTo>
                  <a:lnTo>
                    <a:pt x="1510398" y="781444"/>
                  </a:lnTo>
                  <a:lnTo>
                    <a:pt x="1510449" y="781444"/>
                  </a:lnTo>
                  <a:lnTo>
                    <a:pt x="1510449" y="780110"/>
                  </a:lnTo>
                  <a:lnTo>
                    <a:pt x="1510601" y="780110"/>
                  </a:lnTo>
                  <a:lnTo>
                    <a:pt x="1510601" y="779463"/>
                  </a:lnTo>
                  <a:lnTo>
                    <a:pt x="1510652" y="778866"/>
                  </a:lnTo>
                  <a:lnTo>
                    <a:pt x="1510791" y="778866"/>
                  </a:lnTo>
                  <a:lnTo>
                    <a:pt x="1510791" y="779463"/>
                  </a:lnTo>
                  <a:lnTo>
                    <a:pt x="1510842" y="778866"/>
                  </a:lnTo>
                  <a:lnTo>
                    <a:pt x="1511046" y="778866"/>
                  </a:lnTo>
                  <a:lnTo>
                    <a:pt x="1511046" y="778180"/>
                  </a:lnTo>
                  <a:lnTo>
                    <a:pt x="1511249" y="778180"/>
                  </a:lnTo>
                  <a:lnTo>
                    <a:pt x="1511249" y="777532"/>
                  </a:lnTo>
                  <a:lnTo>
                    <a:pt x="1511490" y="777532"/>
                  </a:lnTo>
                  <a:lnTo>
                    <a:pt x="1511490" y="776237"/>
                  </a:lnTo>
                  <a:lnTo>
                    <a:pt x="1511693" y="776237"/>
                  </a:lnTo>
                  <a:lnTo>
                    <a:pt x="1511693" y="775551"/>
                  </a:lnTo>
                  <a:lnTo>
                    <a:pt x="1511744" y="775551"/>
                  </a:lnTo>
                  <a:lnTo>
                    <a:pt x="1511744" y="776237"/>
                  </a:lnTo>
                  <a:lnTo>
                    <a:pt x="1511795" y="776237"/>
                  </a:lnTo>
                  <a:lnTo>
                    <a:pt x="1511884" y="775551"/>
                  </a:lnTo>
                  <a:lnTo>
                    <a:pt x="1512138" y="775551"/>
                  </a:lnTo>
                  <a:lnTo>
                    <a:pt x="1512188" y="774903"/>
                  </a:lnTo>
                  <a:lnTo>
                    <a:pt x="1512239" y="774903"/>
                  </a:lnTo>
                  <a:lnTo>
                    <a:pt x="1512239" y="774306"/>
                  </a:lnTo>
                  <a:lnTo>
                    <a:pt x="1512379" y="774306"/>
                  </a:lnTo>
                  <a:lnTo>
                    <a:pt x="1512379" y="774903"/>
                  </a:lnTo>
                  <a:lnTo>
                    <a:pt x="1512430" y="774903"/>
                  </a:lnTo>
                  <a:lnTo>
                    <a:pt x="1512481" y="774306"/>
                  </a:lnTo>
                  <a:lnTo>
                    <a:pt x="1512582" y="772325"/>
                  </a:lnTo>
                  <a:lnTo>
                    <a:pt x="1512582" y="771677"/>
                  </a:lnTo>
                  <a:lnTo>
                    <a:pt x="1512633" y="771030"/>
                  </a:lnTo>
                  <a:lnTo>
                    <a:pt x="1512684" y="770331"/>
                  </a:lnTo>
                  <a:lnTo>
                    <a:pt x="1513128" y="770331"/>
                  </a:lnTo>
                  <a:lnTo>
                    <a:pt x="1513128" y="769099"/>
                  </a:lnTo>
                  <a:lnTo>
                    <a:pt x="1513230" y="767753"/>
                  </a:lnTo>
                  <a:lnTo>
                    <a:pt x="1513230" y="767106"/>
                  </a:lnTo>
                  <a:lnTo>
                    <a:pt x="1513281" y="766471"/>
                  </a:lnTo>
                  <a:lnTo>
                    <a:pt x="1513382" y="766471"/>
                  </a:lnTo>
                  <a:lnTo>
                    <a:pt x="1513471" y="767106"/>
                  </a:lnTo>
                  <a:lnTo>
                    <a:pt x="1513471" y="766471"/>
                  </a:lnTo>
                  <a:lnTo>
                    <a:pt x="1513522" y="766471"/>
                  </a:lnTo>
                  <a:lnTo>
                    <a:pt x="1513573" y="765124"/>
                  </a:lnTo>
                  <a:lnTo>
                    <a:pt x="1513573" y="766471"/>
                  </a:lnTo>
                  <a:lnTo>
                    <a:pt x="1513624" y="767106"/>
                  </a:lnTo>
                  <a:lnTo>
                    <a:pt x="1513725" y="766471"/>
                  </a:lnTo>
                  <a:lnTo>
                    <a:pt x="1513928" y="766471"/>
                  </a:lnTo>
                  <a:lnTo>
                    <a:pt x="1513928" y="767106"/>
                  </a:lnTo>
                  <a:lnTo>
                    <a:pt x="1513966" y="766471"/>
                  </a:lnTo>
                  <a:lnTo>
                    <a:pt x="1514017" y="765124"/>
                  </a:lnTo>
                  <a:lnTo>
                    <a:pt x="1514068" y="764477"/>
                  </a:lnTo>
                  <a:lnTo>
                    <a:pt x="1514068" y="765124"/>
                  </a:lnTo>
                  <a:lnTo>
                    <a:pt x="1514221" y="765124"/>
                  </a:lnTo>
                  <a:lnTo>
                    <a:pt x="1514221" y="764477"/>
                  </a:lnTo>
                  <a:lnTo>
                    <a:pt x="1514271" y="765124"/>
                  </a:lnTo>
                  <a:lnTo>
                    <a:pt x="1514373" y="764477"/>
                  </a:lnTo>
                  <a:lnTo>
                    <a:pt x="1514475" y="764477"/>
                  </a:lnTo>
                  <a:lnTo>
                    <a:pt x="1514513" y="763892"/>
                  </a:lnTo>
                  <a:lnTo>
                    <a:pt x="1514665" y="763892"/>
                  </a:lnTo>
                  <a:lnTo>
                    <a:pt x="1514716" y="763194"/>
                  </a:lnTo>
                  <a:lnTo>
                    <a:pt x="1514868" y="763194"/>
                  </a:lnTo>
                  <a:lnTo>
                    <a:pt x="1514868" y="761898"/>
                  </a:lnTo>
                  <a:lnTo>
                    <a:pt x="1515110" y="761898"/>
                  </a:lnTo>
                  <a:lnTo>
                    <a:pt x="1515160" y="761263"/>
                  </a:lnTo>
                  <a:lnTo>
                    <a:pt x="1515211" y="761263"/>
                  </a:lnTo>
                  <a:lnTo>
                    <a:pt x="1515313" y="760565"/>
                  </a:lnTo>
                  <a:lnTo>
                    <a:pt x="1515363" y="759917"/>
                  </a:lnTo>
                  <a:lnTo>
                    <a:pt x="1515554" y="759917"/>
                  </a:lnTo>
                  <a:lnTo>
                    <a:pt x="1515605" y="759270"/>
                  </a:lnTo>
                  <a:lnTo>
                    <a:pt x="1515656" y="759270"/>
                  </a:lnTo>
                  <a:lnTo>
                    <a:pt x="1515656" y="757987"/>
                  </a:lnTo>
                  <a:lnTo>
                    <a:pt x="1515757" y="759270"/>
                  </a:lnTo>
                  <a:lnTo>
                    <a:pt x="1515808" y="757987"/>
                  </a:lnTo>
                  <a:lnTo>
                    <a:pt x="1515960" y="757987"/>
                  </a:lnTo>
                  <a:lnTo>
                    <a:pt x="1516011" y="757339"/>
                  </a:lnTo>
                  <a:lnTo>
                    <a:pt x="1516253" y="757339"/>
                  </a:lnTo>
                  <a:lnTo>
                    <a:pt x="1516303" y="756692"/>
                  </a:lnTo>
                  <a:lnTo>
                    <a:pt x="1516405" y="756692"/>
                  </a:lnTo>
                  <a:lnTo>
                    <a:pt x="1516405" y="755993"/>
                  </a:lnTo>
                  <a:lnTo>
                    <a:pt x="1516506" y="755993"/>
                  </a:lnTo>
                  <a:lnTo>
                    <a:pt x="1516506" y="754710"/>
                  </a:lnTo>
                  <a:lnTo>
                    <a:pt x="1516557" y="755993"/>
                  </a:lnTo>
                  <a:lnTo>
                    <a:pt x="1516646" y="754710"/>
                  </a:lnTo>
                  <a:lnTo>
                    <a:pt x="1516646" y="755993"/>
                  </a:lnTo>
                  <a:lnTo>
                    <a:pt x="1516697" y="754710"/>
                  </a:lnTo>
                  <a:lnTo>
                    <a:pt x="1517002" y="754710"/>
                  </a:lnTo>
                  <a:lnTo>
                    <a:pt x="1517103" y="754063"/>
                  </a:lnTo>
                  <a:lnTo>
                    <a:pt x="1517141" y="754063"/>
                  </a:lnTo>
                  <a:lnTo>
                    <a:pt x="1517192" y="753364"/>
                  </a:lnTo>
                  <a:lnTo>
                    <a:pt x="1517688" y="753364"/>
                  </a:lnTo>
                  <a:lnTo>
                    <a:pt x="1517789" y="752780"/>
                  </a:lnTo>
                  <a:lnTo>
                    <a:pt x="1517840" y="752780"/>
                  </a:lnTo>
                  <a:lnTo>
                    <a:pt x="1517840" y="753364"/>
                  </a:lnTo>
                  <a:lnTo>
                    <a:pt x="1517891" y="752780"/>
                  </a:lnTo>
                  <a:lnTo>
                    <a:pt x="1518094" y="752780"/>
                  </a:lnTo>
                  <a:lnTo>
                    <a:pt x="1518145" y="752132"/>
                  </a:lnTo>
                  <a:lnTo>
                    <a:pt x="1518234" y="750786"/>
                  </a:lnTo>
                  <a:lnTo>
                    <a:pt x="1518234" y="749503"/>
                  </a:lnTo>
                  <a:lnTo>
                    <a:pt x="1518285" y="749503"/>
                  </a:lnTo>
                  <a:lnTo>
                    <a:pt x="1518335" y="748906"/>
                  </a:lnTo>
                  <a:lnTo>
                    <a:pt x="1518386" y="748906"/>
                  </a:lnTo>
                  <a:lnTo>
                    <a:pt x="1518386" y="747560"/>
                  </a:lnTo>
                  <a:lnTo>
                    <a:pt x="1518538" y="747560"/>
                  </a:lnTo>
                  <a:lnTo>
                    <a:pt x="1518589" y="748906"/>
                  </a:lnTo>
                  <a:lnTo>
                    <a:pt x="1518691" y="748906"/>
                  </a:lnTo>
                  <a:lnTo>
                    <a:pt x="1518729" y="747560"/>
                  </a:lnTo>
                  <a:lnTo>
                    <a:pt x="1518780" y="748906"/>
                  </a:lnTo>
                  <a:lnTo>
                    <a:pt x="1518831" y="747560"/>
                  </a:lnTo>
                  <a:lnTo>
                    <a:pt x="1518932" y="747560"/>
                  </a:lnTo>
                  <a:lnTo>
                    <a:pt x="1518932" y="746277"/>
                  </a:lnTo>
                  <a:lnTo>
                    <a:pt x="1518983" y="745579"/>
                  </a:lnTo>
                  <a:lnTo>
                    <a:pt x="1519034" y="745579"/>
                  </a:lnTo>
                  <a:lnTo>
                    <a:pt x="1519034" y="744931"/>
                  </a:lnTo>
                  <a:lnTo>
                    <a:pt x="1519135" y="745579"/>
                  </a:lnTo>
                  <a:lnTo>
                    <a:pt x="1519186" y="744931"/>
                  </a:lnTo>
                  <a:lnTo>
                    <a:pt x="1519237" y="745579"/>
                  </a:lnTo>
                  <a:lnTo>
                    <a:pt x="1519237" y="744931"/>
                  </a:lnTo>
                  <a:lnTo>
                    <a:pt x="1519275" y="744931"/>
                  </a:lnTo>
                  <a:lnTo>
                    <a:pt x="1519275" y="745579"/>
                  </a:lnTo>
                  <a:lnTo>
                    <a:pt x="1519377" y="745579"/>
                  </a:lnTo>
                  <a:lnTo>
                    <a:pt x="1519377" y="746277"/>
                  </a:lnTo>
                  <a:lnTo>
                    <a:pt x="1519428" y="745579"/>
                  </a:lnTo>
                  <a:lnTo>
                    <a:pt x="1519478" y="746277"/>
                  </a:lnTo>
                  <a:lnTo>
                    <a:pt x="1519631" y="746277"/>
                  </a:lnTo>
                  <a:lnTo>
                    <a:pt x="1519631" y="745579"/>
                  </a:lnTo>
                  <a:lnTo>
                    <a:pt x="1519681" y="745579"/>
                  </a:lnTo>
                  <a:lnTo>
                    <a:pt x="1519732" y="744931"/>
                  </a:lnTo>
                  <a:lnTo>
                    <a:pt x="1519923" y="744931"/>
                  </a:lnTo>
                  <a:lnTo>
                    <a:pt x="1519923" y="743598"/>
                  </a:lnTo>
                  <a:lnTo>
                    <a:pt x="1520126" y="743598"/>
                  </a:lnTo>
                  <a:lnTo>
                    <a:pt x="1520177" y="742950"/>
                  </a:lnTo>
                  <a:lnTo>
                    <a:pt x="1520367" y="742950"/>
                  </a:lnTo>
                  <a:lnTo>
                    <a:pt x="1520418" y="742353"/>
                  </a:lnTo>
                  <a:lnTo>
                    <a:pt x="1520520" y="742950"/>
                  </a:lnTo>
                  <a:lnTo>
                    <a:pt x="1520520" y="742353"/>
                  </a:lnTo>
                  <a:lnTo>
                    <a:pt x="1520571" y="742950"/>
                  </a:lnTo>
                  <a:lnTo>
                    <a:pt x="1520571" y="742353"/>
                  </a:lnTo>
                  <a:lnTo>
                    <a:pt x="1520621" y="742353"/>
                  </a:lnTo>
                  <a:lnTo>
                    <a:pt x="1520723" y="741706"/>
                  </a:lnTo>
                  <a:lnTo>
                    <a:pt x="1520774" y="742353"/>
                  </a:lnTo>
                  <a:lnTo>
                    <a:pt x="1520774" y="742950"/>
                  </a:lnTo>
                  <a:lnTo>
                    <a:pt x="1520825" y="742353"/>
                  </a:lnTo>
                  <a:lnTo>
                    <a:pt x="1520863" y="742353"/>
                  </a:lnTo>
                  <a:lnTo>
                    <a:pt x="1520863" y="741706"/>
                  </a:lnTo>
                  <a:lnTo>
                    <a:pt x="1520964" y="742353"/>
                  </a:lnTo>
                  <a:lnTo>
                    <a:pt x="1521015" y="741706"/>
                  </a:lnTo>
                  <a:lnTo>
                    <a:pt x="1521066" y="741706"/>
                  </a:lnTo>
                  <a:lnTo>
                    <a:pt x="1521066" y="740372"/>
                  </a:lnTo>
                  <a:lnTo>
                    <a:pt x="1521167" y="740372"/>
                  </a:lnTo>
                  <a:lnTo>
                    <a:pt x="1521167" y="739724"/>
                  </a:lnTo>
                  <a:lnTo>
                    <a:pt x="1521269" y="739724"/>
                  </a:lnTo>
                  <a:lnTo>
                    <a:pt x="1521320" y="739077"/>
                  </a:lnTo>
                  <a:lnTo>
                    <a:pt x="1521409" y="739077"/>
                  </a:lnTo>
                  <a:lnTo>
                    <a:pt x="1521460" y="739724"/>
                  </a:lnTo>
                  <a:lnTo>
                    <a:pt x="1521460" y="739077"/>
                  </a:lnTo>
                  <a:lnTo>
                    <a:pt x="1521663" y="739077"/>
                  </a:lnTo>
                  <a:lnTo>
                    <a:pt x="1521713" y="739724"/>
                  </a:lnTo>
                  <a:lnTo>
                    <a:pt x="1521713" y="739077"/>
                  </a:lnTo>
                  <a:lnTo>
                    <a:pt x="1521764" y="739077"/>
                  </a:lnTo>
                  <a:lnTo>
                    <a:pt x="1521866" y="738391"/>
                  </a:lnTo>
                  <a:lnTo>
                    <a:pt x="1522006" y="738391"/>
                  </a:lnTo>
                  <a:lnTo>
                    <a:pt x="1522107" y="737794"/>
                  </a:lnTo>
                  <a:lnTo>
                    <a:pt x="1522310" y="737794"/>
                  </a:lnTo>
                  <a:lnTo>
                    <a:pt x="1522361" y="736498"/>
                  </a:lnTo>
                  <a:lnTo>
                    <a:pt x="1522412" y="736498"/>
                  </a:lnTo>
                  <a:lnTo>
                    <a:pt x="1522412" y="737794"/>
                  </a:lnTo>
                  <a:lnTo>
                    <a:pt x="1522450" y="736498"/>
                  </a:lnTo>
                  <a:lnTo>
                    <a:pt x="1522907" y="736498"/>
                  </a:lnTo>
                  <a:lnTo>
                    <a:pt x="1522907" y="735813"/>
                  </a:lnTo>
                  <a:lnTo>
                    <a:pt x="1522996" y="736498"/>
                  </a:lnTo>
                  <a:lnTo>
                    <a:pt x="1522996" y="735813"/>
                  </a:lnTo>
                  <a:lnTo>
                    <a:pt x="1523301" y="735813"/>
                  </a:lnTo>
                  <a:lnTo>
                    <a:pt x="1523352" y="735165"/>
                  </a:lnTo>
                  <a:lnTo>
                    <a:pt x="1523453" y="734517"/>
                  </a:lnTo>
                  <a:lnTo>
                    <a:pt x="1523491" y="734517"/>
                  </a:lnTo>
                  <a:lnTo>
                    <a:pt x="1523542" y="735165"/>
                  </a:lnTo>
                  <a:lnTo>
                    <a:pt x="1523593" y="735165"/>
                  </a:lnTo>
                  <a:lnTo>
                    <a:pt x="1523695" y="734517"/>
                  </a:lnTo>
                  <a:lnTo>
                    <a:pt x="1523796" y="734517"/>
                  </a:lnTo>
                  <a:lnTo>
                    <a:pt x="1523796" y="733184"/>
                  </a:lnTo>
                  <a:lnTo>
                    <a:pt x="1524000" y="733184"/>
                  </a:lnTo>
                  <a:lnTo>
                    <a:pt x="1524000" y="732587"/>
                  </a:lnTo>
                  <a:lnTo>
                    <a:pt x="1524038" y="732587"/>
                  </a:lnTo>
                  <a:lnTo>
                    <a:pt x="1524139" y="731939"/>
                  </a:lnTo>
                  <a:lnTo>
                    <a:pt x="1524139" y="731241"/>
                  </a:lnTo>
                  <a:lnTo>
                    <a:pt x="1524190" y="730593"/>
                  </a:lnTo>
                  <a:lnTo>
                    <a:pt x="1524241" y="730593"/>
                  </a:lnTo>
                  <a:lnTo>
                    <a:pt x="1524342" y="729310"/>
                  </a:lnTo>
                  <a:lnTo>
                    <a:pt x="1524495" y="729310"/>
                  </a:lnTo>
                  <a:lnTo>
                    <a:pt x="1524584" y="730593"/>
                  </a:lnTo>
                  <a:lnTo>
                    <a:pt x="1524635" y="729310"/>
                  </a:lnTo>
                  <a:lnTo>
                    <a:pt x="1524685" y="728612"/>
                  </a:lnTo>
                  <a:lnTo>
                    <a:pt x="1524685" y="727964"/>
                  </a:lnTo>
                  <a:lnTo>
                    <a:pt x="1524736" y="727380"/>
                  </a:lnTo>
                  <a:lnTo>
                    <a:pt x="1524736" y="726034"/>
                  </a:lnTo>
                  <a:lnTo>
                    <a:pt x="1524838" y="726034"/>
                  </a:lnTo>
                  <a:lnTo>
                    <a:pt x="1524838" y="725386"/>
                  </a:lnTo>
                  <a:lnTo>
                    <a:pt x="1524888" y="725386"/>
                  </a:lnTo>
                  <a:lnTo>
                    <a:pt x="1524888" y="726034"/>
                  </a:lnTo>
                  <a:lnTo>
                    <a:pt x="1525130" y="726034"/>
                  </a:lnTo>
                  <a:lnTo>
                    <a:pt x="1525181" y="727380"/>
                  </a:lnTo>
                  <a:lnTo>
                    <a:pt x="1525282" y="727964"/>
                  </a:lnTo>
                  <a:lnTo>
                    <a:pt x="1525333" y="727964"/>
                  </a:lnTo>
                  <a:lnTo>
                    <a:pt x="1525333" y="727380"/>
                  </a:lnTo>
                  <a:lnTo>
                    <a:pt x="1525384" y="727964"/>
                  </a:lnTo>
                  <a:lnTo>
                    <a:pt x="1525384" y="727380"/>
                  </a:lnTo>
                  <a:lnTo>
                    <a:pt x="1525485" y="727380"/>
                  </a:lnTo>
                  <a:lnTo>
                    <a:pt x="1525485" y="726034"/>
                  </a:lnTo>
                  <a:lnTo>
                    <a:pt x="1525536" y="726034"/>
                  </a:lnTo>
                  <a:lnTo>
                    <a:pt x="1525587" y="725386"/>
                  </a:lnTo>
                  <a:lnTo>
                    <a:pt x="1525625" y="726034"/>
                  </a:lnTo>
                  <a:lnTo>
                    <a:pt x="1525625" y="725386"/>
                  </a:lnTo>
                  <a:lnTo>
                    <a:pt x="1525727" y="725386"/>
                  </a:lnTo>
                  <a:lnTo>
                    <a:pt x="1525727" y="726034"/>
                  </a:lnTo>
                  <a:lnTo>
                    <a:pt x="1525778" y="725386"/>
                  </a:lnTo>
                  <a:lnTo>
                    <a:pt x="1525930" y="725386"/>
                  </a:lnTo>
                  <a:lnTo>
                    <a:pt x="1525981" y="726034"/>
                  </a:lnTo>
                  <a:lnTo>
                    <a:pt x="1526031" y="725386"/>
                  </a:lnTo>
                  <a:lnTo>
                    <a:pt x="1526082" y="725386"/>
                  </a:lnTo>
                  <a:lnTo>
                    <a:pt x="1526082" y="724751"/>
                  </a:lnTo>
                  <a:lnTo>
                    <a:pt x="1526222" y="724751"/>
                  </a:lnTo>
                  <a:lnTo>
                    <a:pt x="1526222" y="724103"/>
                  </a:lnTo>
                  <a:lnTo>
                    <a:pt x="1526476" y="724103"/>
                  </a:lnTo>
                  <a:lnTo>
                    <a:pt x="1526527" y="723405"/>
                  </a:lnTo>
                  <a:lnTo>
                    <a:pt x="1526527" y="724103"/>
                  </a:lnTo>
                  <a:lnTo>
                    <a:pt x="1526666" y="724103"/>
                  </a:lnTo>
                  <a:lnTo>
                    <a:pt x="1526666" y="723405"/>
                  </a:lnTo>
                  <a:lnTo>
                    <a:pt x="1526921" y="723405"/>
                  </a:lnTo>
                  <a:lnTo>
                    <a:pt x="1526921" y="722160"/>
                  </a:lnTo>
                  <a:lnTo>
                    <a:pt x="1527213" y="722160"/>
                  </a:lnTo>
                  <a:lnTo>
                    <a:pt x="1527314" y="721525"/>
                  </a:lnTo>
                  <a:lnTo>
                    <a:pt x="1527568" y="721525"/>
                  </a:lnTo>
                  <a:lnTo>
                    <a:pt x="1527568" y="720827"/>
                  </a:lnTo>
                  <a:lnTo>
                    <a:pt x="1527619" y="720827"/>
                  </a:lnTo>
                  <a:lnTo>
                    <a:pt x="1527619" y="721525"/>
                  </a:lnTo>
                  <a:lnTo>
                    <a:pt x="1527670" y="720827"/>
                  </a:lnTo>
                  <a:lnTo>
                    <a:pt x="1527759" y="721525"/>
                  </a:lnTo>
                  <a:lnTo>
                    <a:pt x="1527810" y="721525"/>
                  </a:lnTo>
                  <a:lnTo>
                    <a:pt x="1527860" y="720827"/>
                  </a:lnTo>
                  <a:lnTo>
                    <a:pt x="1527911" y="720827"/>
                  </a:lnTo>
                  <a:lnTo>
                    <a:pt x="1527911" y="720179"/>
                  </a:lnTo>
                  <a:lnTo>
                    <a:pt x="1528305" y="720179"/>
                  </a:lnTo>
                  <a:lnTo>
                    <a:pt x="1528305" y="718846"/>
                  </a:lnTo>
                  <a:lnTo>
                    <a:pt x="1528762" y="718846"/>
                  </a:lnTo>
                  <a:lnTo>
                    <a:pt x="1528762" y="718198"/>
                  </a:lnTo>
                  <a:lnTo>
                    <a:pt x="1529257" y="718198"/>
                  </a:lnTo>
                  <a:lnTo>
                    <a:pt x="1529257" y="718846"/>
                  </a:lnTo>
                  <a:lnTo>
                    <a:pt x="1529346" y="718198"/>
                  </a:lnTo>
                  <a:lnTo>
                    <a:pt x="1529346" y="718846"/>
                  </a:lnTo>
                  <a:lnTo>
                    <a:pt x="1529397" y="718846"/>
                  </a:lnTo>
                  <a:lnTo>
                    <a:pt x="1529397" y="718198"/>
                  </a:lnTo>
                  <a:lnTo>
                    <a:pt x="1529448" y="718846"/>
                  </a:lnTo>
                  <a:lnTo>
                    <a:pt x="1529448" y="718198"/>
                  </a:lnTo>
                  <a:lnTo>
                    <a:pt x="1529651" y="718198"/>
                  </a:lnTo>
                  <a:lnTo>
                    <a:pt x="1529651" y="717550"/>
                  </a:lnTo>
                  <a:lnTo>
                    <a:pt x="1530045" y="717550"/>
                  </a:lnTo>
                  <a:lnTo>
                    <a:pt x="1530045" y="716953"/>
                  </a:lnTo>
                  <a:lnTo>
                    <a:pt x="1530096" y="716267"/>
                  </a:lnTo>
                  <a:lnTo>
                    <a:pt x="1530146" y="714972"/>
                  </a:lnTo>
                  <a:lnTo>
                    <a:pt x="1530146" y="714324"/>
                  </a:lnTo>
                  <a:lnTo>
                    <a:pt x="1530350" y="714324"/>
                  </a:lnTo>
                  <a:lnTo>
                    <a:pt x="1530350" y="714972"/>
                  </a:lnTo>
                  <a:lnTo>
                    <a:pt x="1530591" y="714972"/>
                  </a:lnTo>
                  <a:lnTo>
                    <a:pt x="1530591" y="714324"/>
                  </a:lnTo>
                  <a:lnTo>
                    <a:pt x="1530692" y="712991"/>
                  </a:lnTo>
                  <a:lnTo>
                    <a:pt x="1530692" y="711746"/>
                  </a:lnTo>
                  <a:lnTo>
                    <a:pt x="1530743" y="710413"/>
                  </a:lnTo>
                  <a:lnTo>
                    <a:pt x="1530845" y="710413"/>
                  </a:lnTo>
                  <a:lnTo>
                    <a:pt x="1530934" y="711048"/>
                  </a:lnTo>
                  <a:lnTo>
                    <a:pt x="1530934" y="710413"/>
                  </a:lnTo>
                  <a:lnTo>
                    <a:pt x="1530985" y="711048"/>
                  </a:lnTo>
                  <a:lnTo>
                    <a:pt x="1531086" y="711048"/>
                  </a:lnTo>
                  <a:lnTo>
                    <a:pt x="1531188" y="711746"/>
                  </a:lnTo>
                  <a:lnTo>
                    <a:pt x="1531238" y="712991"/>
                  </a:lnTo>
                  <a:lnTo>
                    <a:pt x="1531238" y="711746"/>
                  </a:lnTo>
                  <a:lnTo>
                    <a:pt x="1531429" y="711746"/>
                  </a:lnTo>
                  <a:lnTo>
                    <a:pt x="1531429" y="711048"/>
                  </a:lnTo>
                  <a:lnTo>
                    <a:pt x="1531937" y="711048"/>
                  </a:lnTo>
                  <a:lnTo>
                    <a:pt x="1531975" y="710413"/>
                  </a:lnTo>
                  <a:lnTo>
                    <a:pt x="1532077" y="710413"/>
                  </a:lnTo>
                  <a:lnTo>
                    <a:pt x="1532128" y="709765"/>
                  </a:lnTo>
                  <a:lnTo>
                    <a:pt x="1532280" y="709765"/>
                  </a:lnTo>
                  <a:lnTo>
                    <a:pt x="1532331" y="709117"/>
                  </a:lnTo>
                  <a:lnTo>
                    <a:pt x="1532521" y="709117"/>
                  </a:lnTo>
                  <a:lnTo>
                    <a:pt x="1532521" y="707784"/>
                  </a:lnTo>
                  <a:lnTo>
                    <a:pt x="1532572" y="707784"/>
                  </a:lnTo>
                  <a:lnTo>
                    <a:pt x="1532623" y="707187"/>
                  </a:lnTo>
                  <a:lnTo>
                    <a:pt x="1532674" y="707187"/>
                  </a:lnTo>
                  <a:lnTo>
                    <a:pt x="1532674" y="707784"/>
                  </a:lnTo>
                  <a:lnTo>
                    <a:pt x="1532775" y="707784"/>
                  </a:lnTo>
                  <a:lnTo>
                    <a:pt x="1532775" y="707187"/>
                  </a:lnTo>
                  <a:lnTo>
                    <a:pt x="1532978" y="707187"/>
                  </a:lnTo>
                  <a:lnTo>
                    <a:pt x="1533016" y="706438"/>
                  </a:lnTo>
                  <a:lnTo>
                    <a:pt x="1533067" y="705841"/>
                  </a:lnTo>
                  <a:lnTo>
                    <a:pt x="1533118" y="705841"/>
                  </a:lnTo>
                  <a:lnTo>
                    <a:pt x="1533220" y="706438"/>
                  </a:lnTo>
                  <a:lnTo>
                    <a:pt x="1533271" y="705841"/>
                  </a:lnTo>
                  <a:lnTo>
                    <a:pt x="1533474" y="705841"/>
                  </a:lnTo>
                  <a:lnTo>
                    <a:pt x="1533525" y="705193"/>
                  </a:lnTo>
                  <a:lnTo>
                    <a:pt x="1533563" y="705193"/>
                  </a:lnTo>
                  <a:lnTo>
                    <a:pt x="1533563" y="703859"/>
                  </a:lnTo>
                  <a:lnTo>
                    <a:pt x="1533664" y="705193"/>
                  </a:lnTo>
                  <a:lnTo>
                    <a:pt x="1533715" y="705193"/>
                  </a:lnTo>
                  <a:lnTo>
                    <a:pt x="1533766" y="703859"/>
                  </a:lnTo>
                  <a:lnTo>
                    <a:pt x="1533918" y="703859"/>
                  </a:lnTo>
                  <a:lnTo>
                    <a:pt x="1533969" y="703212"/>
                  </a:lnTo>
                  <a:lnTo>
                    <a:pt x="1533969" y="703859"/>
                  </a:lnTo>
                  <a:lnTo>
                    <a:pt x="1534109" y="703859"/>
                  </a:lnTo>
                  <a:lnTo>
                    <a:pt x="1534109" y="703212"/>
                  </a:lnTo>
                  <a:lnTo>
                    <a:pt x="1534261" y="703212"/>
                  </a:lnTo>
                  <a:lnTo>
                    <a:pt x="1534363" y="703859"/>
                  </a:lnTo>
                  <a:lnTo>
                    <a:pt x="1534413" y="703212"/>
                  </a:lnTo>
                  <a:lnTo>
                    <a:pt x="1534604" y="703212"/>
                  </a:lnTo>
                  <a:lnTo>
                    <a:pt x="1534604" y="702564"/>
                  </a:lnTo>
                  <a:lnTo>
                    <a:pt x="1534655" y="702564"/>
                  </a:lnTo>
                  <a:lnTo>
                    <a:pt x="1534706" y="703212"/>
                  </a:lnTo>
                  <a:lnTo>
                    <a:pt x="1534858" y="703212"/>
                  </a:lnTo>
                  <a:lnTo>
                    <a:pt x="1534909" y="703859"/>
                  </a:lnTo>
                  <a:lnTo>
                    <a:pt x="1534909" y="703212"/>
                  </a:lnTo>
                  <a:lnTo>
                    <a:pt x="1535061" y="703212"/>
                  </a:lnTo>
                  <a:lnTo>
                    <a:pt x="1535112" y="702564"/>
                  </a:lnTo>
                  <a:lnTo>
                    <a:pt x="1535150" y="702564"/>
                  </a:lnTo>
                  <a:lnTo>
                    <a:pt x="1535252" y="703212"/>
                  </a:lnTo>
                  <a:lnTo>
                    <a:pt x="1535303" y="702564"/>
                  </a:lnTo>
                  <a:lnTo>
                    <a:pt x="1535353" y="702564"/>
                  </a:lnTo>
                  <a:lnTo>
                    <a:pt x="1535353" y="703212"/>
                  </a:lnTo>
                  <a:lnTo>
                    <a:pt x="1535455" y="703212"/>
                  </a:lnTo>
                  <a:lnTo>
                    <a:pt x="1535455" y="702564"/>
                  </a:lnTo>
                  <a:lnTo>
                    <a:pt x="1535506" y="701980"/>
                  </a:lnTo>
                  <a:lnTo>
                    <a:pt x="1535506" y="700634"/>
                  </a:lnTo>
                  <a:lnTo>
                    <a:pt x="1535556" y="699986"/>
                  </a:lnTo>
                  <a:lnTo>
                    <a:pt x="1535607" y="699986"/>
                  </a:lnTo>
                  <a:lnTo>
                    <a:pt x="1535696" y="699351"/>
                  </a:lnTo>
                  <a:lnTo>
                    <a:pt x="1535747" y="699986"/>
                  </a:lnTo>
                  <a:lnTo>
                    <a:pt x="1535747" y="699351"/>
                  </a:lnTo>
                  <a:lnTo>
                    <a:pt x="1535798" y="699986"/>
                  </a:lnTo>
                  <a:lnTo>
                    <a:pt x="1536153" y="699986"/>
                  </a:lnTo>
                  <a:lnTo>
                    <a:pt x="1536153" y="699351"/>
                  </a:lnTo>
                  <a:lnTo>
                    <a:pt x="1536191" y="698652"/>
                  </a:lnTo>
                  <a:lnTo>
                    <a:pt x="1536242" y="696760"/>
                  </a:lnTo>
                  <a:lnTo>
                    <a:pt x="1536242" y="696074"/>
                  </a:lnTo>
                  <a:lnTo>
                    <a:pt x="1536293" y="696074"/>
                  </a:lnTo>
                  <a:lnTo>
                    <a:pt x="1536395" y="696760"/>
                  </a:lnTo>
                  <a:lnTo>
                    <a:pt x="1536446" y="696760"/>
                  </a:lnTo>
                  <a:lnTo>
                    <a:pt x="1536446" y="696074"/>
                  </a:lnTo>
                  <a:lnTo>
                    <a:pt x="1536496" y="696074"/>
                  </a:lnTo>
                  <a:lnTo>
                    <a:pt x="1536598" y="696760"/>
                  </a:lnTo>
                  <a:lnTo>
                    <a:pt x="1536649" y="698005"/>
                  </a:lnTo>
                  <a:lnTo>
                    <a:pt x="1536738" y="698005"/>
                  </a:lnTo>
                  <a:lnTo>
                    <a:pt x="1536839" y="696760"/>
                  </a:lnTo>
                  <a:lnTo>
                    <a:pt x="1537144" y="696760"/>
                  </a:lnTo>
                  <a:lnTo>
                    <a:pt x="1537195" y="698005"/>
                  </a:lnTo>
                  <a:lnTo>
                    <a:pt x="1537195" y="696760"/>
                  </a:lnTo>
                  <a:lnTo>
                    <a:pt x="1537436" y="696760"/>
                  </a:lnTo>
                  <a:lnTo>
                    <a:pt x="1537538" y="696074"/>
                  </a:lnTo>
                  <a:lnTo>
                    <a:pt x="1537881" y="696074"/>
                  </a:lnTo>
                  <a:lnTo>
                    <a:pt x="1537982" y="695427"/>
                  </a:lnTo>
                  <a:lnTo>
                    <a:pt x="1538325" y="695427"/>
                  </a:lnTo>
                  <a:lnTo>
                    <a:pt x="1538325" y="694779"/>
                  </a:lnTo>
                  <a:lnTo>
                    <a:pt x="1538731" y="694779"/>
                  </a:lnTo>
                  <a:lnTo>
                    <a:pt x="1538731" y="693446"/>
                  </a:lnTo>
                  <a:lnTo>
                    <a:pt x="1538922" y="693446"/>
                  </a:lnTo>
                  <a:lnTo>
                    <a:pt x="1538973" y="692798"/>
                  </a:lnTo>
                  <a:lnTo>
                    <a:pt x="1539024" y="692798"/>
                  </a:lnTo>
                  <a:lnTo>
                    <a:pt x="1539125" y="693446"/>
                  </a:lnTo>
                  <a:lnTo>
                    <a:pt x="1539125" y="692798"/>
                  </a:lnTo>
                  <a:lnTo>
                    <a:pt x="1539328" y="692798"/>
                  </a:lnTo>
                  <a:lnTo>
                    <a:pt x="1539366" y="693446"/>
                  </a:lnTo>
                  <a:lnTo>
                    <a:pt x="1539366" y="692798"/>
                  </a:lnTo>
                  <a:lnTo>
                    <a:pt x="1539621" y="692798"/>
                  </a:lnTo>
                  <a:lnTo>
                    <a:pt x="1539621" y="692150"/>
                  </a:lnTo>
                  <a:lnTo>
                    <a:pt x="1540065" y="692150"/>
                  </a:lnTo>
                  <a:lnTo>
                    <a:pt x="1540116" y="691452"/>
                  </a:lnTo>
                  <a:lnTo>
                    <a:pt x="1540459" y="691452"/>
                  </a:lnTo>
                  <a:lnTo>
                    <a:pt x="1540510" y="692150"/>
                  </a:lnTo>
                  <a:lnTo>
                    <a:pt x="1540510" y="691452"/>
                  </a:lnTo>
                  <a:lnTo>
                    <a:pt x="1540713" y="691452"/>
                  </a:lnTo>
                  <a:lnTo>
                    <a:pt x="1540713" y="690867"/>
                  </a:lnTo>
                  <a:lnTo>
                    <a:pt x="1540763" y="691452"/>
                  </a:lnTo>
                  <a:lnTo>
                    <a:pt x="1540916" y="691452"/>
                  </a:lnTo>
                  <a:lnTo>
                    <a:pt x="1540916" y="690867"/>
                  </a:lnTo>
                  <a:lnTo>
                    <a:pt x="1541157" y="690867"/>
                  </a:lnTo>
                  <a:lnTo>
                    <a:pt x="1541157" y="691452"/>
                  </a:lnTo>
                  <a:lnTo>
                    <a:pt x="1541259" y="691452"/>
                  </a:lnTo>
                  <a:lnTo>
                    <a:pt x="1541360" y="690867"/>
                  </a:lnTo>
                  <a:lnTo>
                    <a:pt x="1541411" y="689572"/>
                  </a:lnTo>
                  <a:lnTo>
                    <a:pt x="1541411" y="688873"/>
                  </a:lnTo>
                  <a:lnTo>
                    <a:pt x="1541462" y="688238"/>
                  </a:lnTo>
                  <a:lnTo>
                    <a:pt x="1541462" y="687591"/>
                  </a:lnTo>
                  <a:lnTo>
                    <a:pt x="1541500" y="687591"/>
                  </a:lnTo>
                  <a:lnTo>
                    <a:pt x="1541500" y="686245"/>
                  </a:lnTo>
                  <a:lnTo>
                    <a:pt x="1541703" y="686245"/>
                  </a:lnTo>
                  <a:lnTo>
                    <a:pt x="1541805" y="687591"/>
                  </a:lnTo>
                  <a:lnTo>
                    <a:pt x="1541856" y="688238"/>
                  </a:lnTo>
                  <a:lnTo>
                    <a:pt x="1541906" y="687591"/>
                  </a:lnTo>
                  <a:lnTo>
                    <a:pt x="1541957" y="686245"/>
                  </a:lnTo>
                  <a:lnTo>
                    <a:pt x="1542046" y="685648"/>
                  </a:lnTo>
                  <a:lnTo>
                    <a:pt x="1542097" y="685013"/>
                  </a:lnTo>
                  <a:lnTo>
                    <a:pt x="1542097" y="685648"/>
                  </a:lnTo>
                  <a:lnTo>
                    <a:pt x="1542148" y="685013"/>
                  </a:lnTo>
                  <a:lnTo>
                    <a:pt x="1542199" y="685013"/>
                  </a:lnTo>
                  <a:lnTo>
                    <a:pt x="1542300" y="684314"/>
                  </a:lnTo>
                  <a:lnTo>
                    <a:pt x="1542351" y="685013"/>
                  </a:lnTo>
                  <a:lnTo>
                    <a:pt x="1542402" y="685013"/>
                  </a:lnTo>
                  <a:lnTo>
                    <a:pt x="1542503" y="685648"/>
                  </a:lnTo>
                  <a:lnTo>
                    <a:pt x="1542592" y="685648"/>
                  </a:lnTo>
                  <a:lnTo>
                    <a:pt x="1542592" y="685013"/>
                  </a:lnTo>
                  <a:lnTo>
                    <a:pt x="1542643" y="685013"/>
                  </a:lnTo>
                  <a:lnTo>
                    <a:pt x="1542745" y="685648"/>
                  </a:lnTo>
                  <a:lnTo>
                    <a:pt x="1542796" y="685648"/>
                  </a:lnTo>
                  <a:lnTo>
                    <a:pt x="1542846" y="685013"/>
                  </a:lnTo>
                  <a:lnTo>
                    <a:pt x="1543050" y="685013"/>
                  </a:lnTo>
                  <a:lnTo>
                    <a:pt x="1543050" y="684314"/>
                  </a:lnTo>
                  <a:lnTo>
                    <a:pt x="1543088" y="684314"/>
                  </a:lnTo>
                  <a:lnTo>
                    <a:pt x="1543088" y="685013"/>
                  </a:lnTo>
                  <a:lnTo>
                    <a:pt x="1543240" y="685013"/>
                  </a:lnTo>
                  <a:lnTo>
                    <a:pt x="1543291" y="684314"/>
                  </a:lnTo>
                  <a:lnTo>
                    <a:pt x="1543291" y="683667"/>
                  </a:lnTo>
                  <a:lnTo>
                    <a:pt x="1543685" y="683667"/>
                  </a:lnTo>
                  <a:lnTo>
                    <a:pt x="1543685" y="682384"/>
                  </a:lnTo>
                  <a:lnTo>
                    <a:pt x="1544091" y="682384"/>
                  </a:lnTo>
                  <a:lnTo>
                    <a:pt x="1544129" y="681685"/>
                  </a:lnTo>
                  <a:lnTo>
                    <a:pt x="1544231" y="681685"/>
                  </a:lnTo>
                  <a:lnTo>
                    <a:pt x="1544231" y="681038"/>
                  </a:lnTo>
                  <a:lnTo>
                    <a:pt x="1544332" y="681038"/>
                  </a:lnTo>
                  <a:lnTo>
                    <a:pt x="1544332" y="681685"/>
                  </a:lnTo>
                  <a:lnTo>
                    <a:pt x="1544383" y="681038"/>
                  </a:lnTo>
                  <a:lnTo>
                    <a:pt x="1544434" y="681038"/>
                  </a:lnTo>
                  <a:lnTo>
                    <a:pt x="1544434" y="681685"/>
                  </a:lnTo>
                  <a:lnTo>
                    <a:pt x="1544535" y="681038"/>
                  </a:lnTo>
                  <a:lnTo>
                    <a:pt x="1544675" y="681038"/>
                  </a:lnTo>
                  <a:lnTo>
                    <a:pt x="1544777" y="680441"/>
                  </a:lnTo>
                  <a:lnTo>
                    <a:pt x="1544828" y="681038"/>
                  </a:lnTo>
                  <a:lnTo>
                    <a:pt x="1544878" y="680441"/>
                  </a:lnTo>
                  <a:lnTo>
                    <a:pt x="1544980" y="680441"/>
                  </a:lnTo>
                  <a:lnTo>
                    <a:pt x="1544980" y="681038"/>
                  </a:lnTo>
                  <a:lnTo>
                    <a:pt x="1545081" y="681038"/>
                  </a:lnTo>
                  <a:lnTo>
                    <a:pt x="1545081" y="680441"/>
                  </a:lnTo>
                  <a:lnTo>
                    <a:pt x="1545132" y="680441"/>
                  </a:lnTo>
                  <a:lnTo>
                    <a:pt x="1545132" y="681038"/>
                  </a:lnTo>
                  <a:lnTo>
                    <a:pt x="1545221" y="680441"/>
                  </a:lnTo>
                  <a:lnTo>
                    <a:pt x="1545272" y="679107"/>
                  </a:lnTo>
                  <a:lnTo>
                    <a:pt x="1545323" y="678459"/>
                  </a:lnTo>
                  <a:lnTo>
                    <a:pt x="1545323" y="679107"/>
                  </a:lnTo>
                  <a:lnTo>
                    <a:pt x="1545475" y="679107"/>
                  </a:lnTo>
                  <a:lnTo>
                    <a:pt x="1545526" y="680441"/>
                  </a:lnTo>
                  <a:lnTo>
                    <a:pt x="1545526" y="679107"/>
                  </a:lnTo>
                  <a:lnTo>
                    <a:pt x="1545577" y="679107"/>
                  </a:lnTo>
                  <a:lnTo>
                    <a:pt x="1545678" y="680441"/>
                  </a:lnTo>
                  <a:lnTo>
                    <a:pt x="1545678" y="679107"/>
                  </a:lnTo>
                  <a:lnTo>
                    <a:pt x="1545716" y="680441"/>
                  </a:lnTo>
                  <a:lnTo>
                    <a:pt x="1545767" y="679107"/>
                  </a:lnTo>
                  <a:lnTo>
                    <a:pt x="1546225" y="679107"/>
                  </a:lnTo>
                  <a:lnTo>
                    <a:pt x="1546263" y="678459"/>
                  </a:lnTo>
                  <a:lnTo>
                    <a:pt x="1546263" y="679107"/>
                  </a:lnTo>
                  <a:lnTo>
                    <a:pt x="1546567" y="679107"/>
                  </a:lnTo>
                  <a:lnTo>
                    <a:pt x="1546618" y="678459"/>
                  </a:lnTo>
                  <a:lnTo>
                    <a:pt x="1546618" y="679107"/>
                  </a:lnTo>
                  <a:lnTo>
                    <a:pt x="1546961" y="679107"/>
                  </a:lnTo>
                  <a:lnTo>
                    <a:pt x="1547063" y="678459"/>
                  </a:lnTo>
                  <a:lnTo>
                    <a:pt x="1547063" y="677812"/>
                  </a:lnTo>
                  <a:lnTo>
                    <a:pt x="1547113" y="677812"/>
                  </a:lnTo>
                  <a:lnTo>
                    <a:pt x="1547164" y="677164"/>
                  </a:lnTo>
                  <a:lnTo>
                    <a:pt x="1547164" y="676478"/>
                  </a:lnTo>
                  <a:lnTo>
                    <a:pt x="1547266" y="676478"/>
                  </a:lnTo>
                  <a:lnTo>
                    <a:pt x="1547266" y="675234"/>
                  </a:lnTo>
                  <a:lnTo>
                    <a:pt x="1547304" y="674586"/>
                  </a:lnTo>
                  <a:lnTo>
                    <a:pt x="1547406" y="674586"/>
                  </a:lnTo>
                  <a:lnTo>
                    <a:pt x="1547507" y="675234"/>
                  </a:lnTo>
                  <a:lnTo>
                    <a:pt x="1547710" y="675234"/>
                  </a:lnTo>
                  <a:lnTo>
                    <a:pt x="1547710" y="674586"/>
                  </a:lnTo>
                  <a:lnTo>
                    <a:pt x="1547761" y="673900"/>
                  </a:lnTo>
                  <a:lnTo>
                    <a:pt x="1547812" y="673900"/>
                  </a:lnTo>
                  <a:lnTo>
                    <a:pt x="1547850" y="673252"/>
                  </a:lnTo>
                  <a:lnTo>
                    <a:pt x="1548206" y="673252"/>
                  </a:lnTo>
                  <a:lnTo>
                    <a:pt x="1548256" y="673900"/>
                  </a:lnTo>
                  <a:lnTo>
                    <a:pt x="1548701" y="673900"/>
                  </a:lnTo>
                  <a:lnTo>
                    <a:pt x="1548752" y="673252"/>
                  </a:lnTo>
                  <a:lnTo>
                    <a:pt x="1548942" y="673252"/>
                  </a:lnTo>
                  <a:lnTo>
                    <a:pt x="1548993" y="673900"/>
                  </a:lnTo>
                  <a:lnTo>
                    <a:pt x="1549095" y="673252"/>
                  </a:lnTo>
                  <a:lnTo>
                    <a:pt x="1549095" y="673900"/>
                  </a:lnTo>
                  <a:lnTo>
                    <a:pt x="1549146" y="673252"/>
                  </a:lnTo>
                  <a:lnTo>
                    <a:pt x="1549146" y="673900"/>
                  </a:lnTo>
                  <a:lnTo>
                    <a:pt x="1549196" y="673900"/>
                  </a:lnTo>
                  <a:lnTo>
                    <a:pt x="1549196" y="673252"/>
                  </a:lnTo>
                  <a:lnTo>
                    <a:pt x="1549298" y="673252"/>
                  </a:lnTo>
                  <a:lnTo>
                    <a:pt x="1549349" y="671906"/>
                  </a:lnTo>
                  <a:lnTo>
                    <a:pt x="1549349" y="673252"/>
                  </a:lnTo>
                  <a:lnTo>
                    <a:pt x="1549400" y="671906"/>
                  </a:lnTo>
                  <a:lnTo>
                    <a:pt x="1549641" y="671906"/>
                  </a:lnTo>
                  <a:lnTo>
                    <a:pt x="1549742" y="671271"/>
                  </a:lnTo>
                  <a:lnTo>
                    <a:pt x="1550035" y="671271"/>
                  </a:lnTo>
                  <a:lnTo>
                    <a:pt x="1550035" y="670674"/>
                  </a:lnTo>
                  <a:lnTo>
                    <a:pt x="1550085" y="671271"/>
                  </a:lnTo>
                  <a:lnTo>
                    <a:pt x="1550085" y="670674"/>
                  </a:lnTo>
                  <a:lnTo>
                    <a:pt x="1550136" y="671271"/>
                  </a:lnTo>
                  <a:lnTo>
                    <a:pt x="1550339" y="671271"/>
                  </a:lnTo>
                  <a:lnTo>
                    <a:pt x="1550441" y="670674"/>
                  </a:lnTo>
                  <a:lnTo>
                    <a:pt x="1550581" y="670674"/>
                  </a:lnTo>
                  <a:lnTo>
                    <a:pt x="1550682" y="670027"/>
                  </a:lnTo>
                  <a:lnTo>
                    <a:pt x="1550784" y="670027"/>
                  </a:lnTo>
                  <a:lnTo>
                    <a:pt x="1550885" y="670674"/>
                  </a:lnTo>
                  <a:lnTo>
                    <a:pt x="1550885" y="670027"/>
                  </a:lnTo>
                  <a:lnTo>
                    <a:pt x="1551381" y="670027"/>
                  </a:lnTo>
                  <a:lnTo>
                    <a:pt x="1551431" y="670674"/>
                  </a:lnTo>
                  <a:lnTo>
                    <a:pt x="1551482" y="670674"/>
                  </a:lnTo>
                  <a:lnTo>
                    <a:pt x="1551482" y="670027"/>
                  </a:lnTo>
                  <a:lnTo>
                    <a:pt x="1551571" y="670027"/>
                  </a:lnTo>
                  <a:lnTo>
                    <a:pt x="1551622" y="670674"/>
                  </a:lnTo>
                  <a:lnTo>
                    <a:pt x="1551825" y="670674"/>
                  </a:lnTo>
                  <a:lnTo>
                    <a:pt x="1551825" y="670027"/>
                  </a:lnTo>
                  <a:lnTo>
                    <a:pt x="1552066" y="670027"/>
                  </a:lnTo>
                  <a:lnTo>
                    <a:pt x="1552066" y="669328"/>
                  </a:lnTo>
                  <a:lnTo>
                    <a:pt x="1552117" y="670027"/>
                  </a:lnTo>
                  <a:lnTo>
                    <a:pt x="1552117" y="669328"/>
                  </a:lnTo>
                  <a:lnTo>
                    <a:pt x="1552168" y="669328"/>
                  </a:lnTo>
                  <a:lnTo>
                    <a:pt x="1552168" y="670027"/>
                  </a:lnTo>
                  <a:lnTo>
                    <a:pt x="1552524" y="670027"/>
                  </a:lnTo>
                  <a:lnTo>
                    <a:pt x="1552575" y="670674"/>
                  </a:lnTo>
                  <a:lnTo>
                    <a:pt x="1552613" y="670674"/>
                  </a:lnTo>
                  <a:lnTo>
                    <a:pt x="1552613" y="670027"/>
                  </a:lnTo>
                  <a:lnTo>
                    <a:pt x="1552714" y="670027"/>
                  </a:lnTo>
                  <a:lnTo>
                    <a:pt x="1552765" y="670674"/>
                  </a:lnTo>
                  <a:lnTo>
                    <a:pt x="1552816" y="670674"/>
                  </a:lnTo>
                  <a:lnTo>
                    <a:pt x="1552917" y="670027"/>
                  </a:lnTo>
                  <a:lnTo>
                    <a:pt x="1552968" y="670027"/>
                  </a:lnTo>
                  <a:lnTo>
                    <a:pt x="1552968" y="669328"/>
                  </a:lnTo>
                  <a:lnTo>
                    <a:pt x="1553019" y="668046"/>
                  </a:lnTo>
                  <a:lnTo>
                    <a:pt x="1553019" y="667398"/>
                  </a:lnTo>
                  <a:lnTo>
                    <a:pt x="1553070" y="666699"/>
                  </a:lnTo>
                  <a:lnTo>
                    <a:pt x="1553159" y="666052"/>
                  </a:lnTo>
                  <a:lnTo>
                    <a:pt x="1553260" y="666052"/>
                  </a:lnTo>
                  <a:lnTo>
                    <a:pt x="1553311" y="666699"/>
                  </a:lnTo>
                  <a:lnTo>
                    <a:pt x="1553413" y="666699"/>
                  </a:lnTo>
                  <a:lnTo>
                    <a:pt x="1553413" y="667398"/>
                  </a:lnTo>
                  <a:lnTo>
                    <a:pt x="1553463" y="666699"/>
                  </a:lnTo>
                  <a:lnTo>
                    <a:pt x="1553514" y="666052"/>
                  </a:lnTo>
                  <a:lnTo>
                    <a:pt x="1553616" y="664820"/>
                  </a:lnTo>
                  <a:lnTo>
                    <a:pt x="1553908" y="664820"/>
                  </a:lnTo>
                  <a:lnTo>
                    <a:pt x="1553908" y="664121"/>
                  </a:lnTo>
                  <a:lnTo>
                    <a:pt x="1553959" y="664820"/>
                  </a:lnTo>
                  <a:lnTo>
                    <a:pt x="1554162" y="664820"/>
                  </a:lnTo>
                  <a:lnTo>
                    <a:pt x="1554200" y="666052"/>
                  </a:lnTo>
                  <a:lnTo>
                    <a:pt x="1554353" y="666052"/>
                  </a:lnTo>
                  <a:lnTo>
                    <a:pt x="1554353" y="664820"/>
                  </a:lnTo>
                  <a:lnTo>
                    <a:pt x="1554606" y="664820"/>
                  </a:lnTo>
                  <a:lnTo>
                    <a:pt x="1554606" y="664121"/>
                  </a:lnTo>
                  <a:lnTo>
                    <a:pt x="1554657" y="664121"/>
                  </a:lnTo>
                  <a:lnTo>
                    <a:pt x="1554657" y="664820"/>
                  </a:lnTo>
                  <a:lnTo>
                    <a:pt x="1554848" y="664820"/>
                  </a:lnTo>
                  <a:lnTo>
                    <a:pt x="1554848" y="666052"/>
                  </a:lnTo>
                  <a:lnTo>
                    <a:pt x="1554899" y="664820"/>
                  </a:lnTo>
                  <a:lnTo>
                    <a:pt x="1555051" y="664820"/>
                  </a:lnTo>
                  <a:lnTo>
                    <a:pt x="1555102" y="664121"/>
                  </a:lnTo>
                  <a:lnTo>
                    <a:pt x="1555648" y="664121"/>
                  </a:lnTo>
                  <a:lnTo>
                    <a:pt x="1555699" y="663473"/>
                  </a:lnTo>
                  <a:lnTo>
                    <a:pt x="1555991" y="663473"/>
                  </a:lnTo>
                  <a:lnTo>
                    <a:pt x="1555991" y="662838"/>
                  </a:lnTo>
                  <a:lnTo>
                    <a:pt x="1556092" y="662838"/>
                  </a:lnTo>
                  <a:lnTo>
                    <a:pt x="1556143" y="663473"/>
                  </a:lnTo>
                  <a:lnTo>
                    <a:pt x="1556194" y="662838"/>
                  </a:lnTo>
                  <a:lnTo>
                    <a:pt x="1556194" y="663473"/>
                  </a:lnTo>
                  <a:lnTo>
                    <a:pt x="1556245" y="662838"/>
                  </a:lnTo>
                  <a:lnTo>
                    <a:pt x="1556435" y="662838"/>
                  </a:lnTo>
                  <a:lnTo>
                    <a:pt x="1556435" y="662191"/>
                  </a:lnTo>
                  <a:lnTo>
                    <a:pt x="1556638" y="662191"/>
                  </a:lnTo>
                  <a:lnTo>
                    <a:pt x="1556689" y="662838"/>
                  </a:lnTo>
                  <a:lnTo>
                    <a:pt x="1556791" y="662838"/>
                  </a:lnTo>
                  <a:lnTo>
                    <a:pt x="1556829" y="662191"/>
                  </a:lnTo>
                  <a:lnTo>
                    <a:pt x="1557235" y="662191"/>
                  </a:lnTo>
                  <a:lnTo>
                    <a:pt x="1557286" y="662838"/>
                  </a:lnTo>
                  <a:lnTo>
                    <a:pt x="1557286" y="662191"/>
                  </a:lnTo>
                  <a:lnTo>
                    <a:pt x="1557337" y="662191"/>
                  </a:lnTo>
                  <a:lnTo>
                    <a:pt x="1557375" y="660845"/>
                  </a:lnTo>
                  <a:lnTo>
                    <a:pt x="1557528" y="660845"/>
                  </a:lnTo>
                  <a:lnTo>
                    <a:pt x="1557578" y="662191"/>
                  </a:lnTo>
                  <a:lnTo>
                    <a:pt x="1557680" y="662191"/>
                  </a:lnTo>
                  <a:lnTo>
                    <a:pt x="1557731" y="660845"/>
                  </a:lnTo>
                  <a:lnTo>
                    <a:pt x="1557781" y="662191"/>
                  </a:lnTo>
                  <a:lnTo>
                    <a:pt x="1557832" y="660845"/>
                  </a:lnTo>
                  <a:lnTo>
                    <a:pt x="1557921" y="660845"/>
                  </a:lnTo>
                  <a:lnTo>
                    <a:pt x="1557921" y="662191"/>
                  </a:lnTo>
                  <a:lnTo>
                    <a:pt x="1558620" y="662191"/>
                  </a:lnTo>
                  <a:lnTo>
                    <a:pt x="1558671" y="660845"/>
                  </a:lnTo>
                  <a:lnTo>
                    <a:pt x="1558721" y="660845"/>
                  </a:lnTo>
                  <a:lnTo>
                    <a:pt x="1558874" y="658914"/>
                  </a:lnTo>
                  <a:lnTo>
                    <a:pt x="1558874" y="657619"/>
                  </a:lnTo>
                  <a:lnTo>
                    <a:pt x="1559369" y="657619"/>
                  </a:lnTo>
                  <a:lnTo>
                    <a:pt x="1559369" y="656933"/>
                  </a:lnTo>
                  <a:lnTo>
                    <a:pt x="1559420" y="656285"/>
                  </a:lnTo>
                  <a:lnTo>
                    <a:pt x="1559509" y="655638"/>
                  </a:lnTo>
                  <a:lnTo>
                    <a:pt x="1559509" y="656285"/>
                  </a:lnTo>
                  <a:lnTo>
                    <a:pt x="1559813" y="656285"/>
                  </a:lnTo>
                  <a:lnTo>
                    <a:pt x="1559813" y="655638"/>
                  </a:lnTo>
                  <a:lnTo>
                    <a:pt x="1559966" y="655638"/>
                  </a:lnTo>
                  <a:lnTo>
                    <a:pt x="1560004" y="656285"/>
                  </a:lnTo>
                  <a:lnTo>
                    <a:pt x="1560004" y="656933"/>
                  </a:lnTo>
                  <a:lnTo>
                    <a:pt x="1560461" y="656933"/>
                  </a:lnTo>
                  <a:lnTo>
                    <a:pt x="1560461" y="656285"/>
                  </a:lnTo>
                  <a:lnTo>
                    <a:pt x="1560855" y="656285"/>
                  </a:lnTo>
                  <a:lnTo>
                    <a:pt x="1560906" y="655638"/>
                  </a:lnTo>
                  <a:lnTo>
                    <a:pt x="1561401" y="655638"/>
                  </a:lnTo>
                  <a:lnTo>
                    <a:pt x="1561452" y="655041"/>
                  </a:lnTo>
                  <a:lnTo>
                    <a:pt x="1561553" y="655041"/>
                  </a:lnTo>
                  <a:lnTo>
                    <a:pt x="1561591" y="653707"/>
                  </a:lnTo>
                  <a:lnTo>
                    <a:pt x="1561642" y="653707"/>
                  </a:lnTo>
                  <a:lnTo>
                    <a:pt x="1561693" y="655041"/>
                  </a:lnTo>
                  <a:lnTo>
                    <a:pt x="1561795" y="655041"/>
                  </a:lnTo>
                  <a:lnTo>
                    <a:pt x="1561795" y="653707"/>
                  </a:lnTo>
                  <a:lnTo>
                    <a:pt x="1562049" y="653707"/>
                  </a:lnTo>
                  <a:lnTo>
                    <a:pt x="1562100" y="655041"/>
                  </a:lnTo>
                  <a:lnTo>
                    <a:pt x="1562100" y="653707"/>
                  </a:lnTo>
                  <a:lnTo>
                    <a:pt x="1562544" y="653707"/>
                  </a:lnTo>
                  <a:lnTo>
                    <a:pt x="1562544" y="653059"/>
                  </a:lnTo>
                  <a:lnTo>
                    <a:pt x="1562595" y="653059"/>
                  </a:lnTo>
                  <a:lnTo>
                    <a:pt x="1562684" y="652412"/>
                  </a:lnTo>
                  <a:lnTo>
                    <a:pt x="1562684" y="653059"/>
                  </a:lnTo>
                  <a:lnTo>
                    <a:pt x="1562735" y="653059"/>
                  </a:lnTo>
                  <a:lnTo>
                    <a:pt x="1562785" y="653707"/>
                  </a:lnTo>
                  <a:lnTo>
                    <a:pt x="1562785" y="653059"/>
                  </a:lnTo>
                  <a:lnTo>
                    <a:pt x="1562836" y="653707"/>
                  </a:lnTo>
                  <a:lnTo>
                    <a:pt x="1563281" y="653707"/>
                  </a:lnTo>
                  <a:lnTo>
                    <a:pt x="1563281" y="653059"/>
                  </a:lnTo>
                  <a:lnTo>
                    <a:pt x="1563687" y="653059"/>
                  </a:lnTo>
                  <a:lnTo>
                    <a:pt x="1563687" y="653707"/>
                  </a:lnTo>
                  <a:lnTo>
                    <a:pt x="1563878" y="653707"/>
                  </a:lnTo>
                  <a:lnTo>
                    <a:pt x="1563878" y="653059"/>
                  </a:lnTo>
                  <a:lnTo>
                    <a:pt x="1564030" y="653059"/>
                  </a:lnTo>
                  <a:lnTo>
                    <a:pt x="1564030" y="653707"/>
                  </a:lnTo>
                  <a:lnTo>
                    <a:pt x="1564131" y="653707"/>
                  </a:lnTo>
                  <a:lnTo>
                    <a:pt x="1564182" y="653059"/>
                  </a:lnTo>
                  <a:lnTo>
                    <a:pt x="1564576" y="653059"/>
                  </a:lnTo>
                  <a:lnTo>
                    <a:pt x="1564576" y="653707"/>
                  </a:lnTo>
                  <a:lnTo>
                    <a:pt x="1564627" y="653059"/>
                  </a:lnTo>
                  <a:lnTo>
                    <a:pt x="1564627" y="653707"/>
                  </a:lnTo>
                  <a:lnTo>
                    <a:pt x="1564728" y="653059"/>
                  </a:lnTo>
                  <a:lnTo>
                    <a:pt x="1564817" y="653059"/>
                  </a:lnTo>
                  <a:lnTo>
                    <a:pt x="1564868" y="653707"/>
                  </a:lnTo>
                  <a:lnTo>
                    <a:pt x="1564868" y="653059"/>
                  </a:lnTo>
                  <a:lnTo>
                    <a:pt x="1565224" y="653059"/>
                  </a:lnTo>
                  <a:lnTo>
                    <a:pt x="1565275" y="652412"/>
                  </a:lnTo>
                  <a:lnTo>
                    <a:pt x="1565465" y="652412"/>
                  </a:lnTo>
                  <a:lnTo>
                    <a:pt x="1565465" y="653059"/>
                  </a:lnTo>
                  <a:lnTo>
                    <a:pt x="1565770" y="653059"/>
                  </a:lnTo>
                  <a:lnTo>
                    <a:pt x="1565859" y="652412"/>
                  </a:lnTo>
                  <a:lnTo>
                    <a:pt x="1566011" y="652412"/>
                  </a:lnTo>
                  <a:lnTo>
                    <a:pt x="1566011" y="653059"/>
                  </a:lnTo>
                  <a:lnTo>
                    <a:pt x="1566113" y="652412"/>
                  </a:lnTo>
                  <a:lnTo>
                    <a:pt x="1566811" y="652412"/>
                  </a:lnTo>
                  <a:lnTo>
                    <a:pt x="1566811" y="651726"/>
                  </a:lnTo>
                  <a:lnTo>
                    <a:pt x="1566900" y="651726"/>
                  </a:lnTo>
                  <a:lnTo>
                    <a:pt x="1567002" y="652412"/>
                  </a:lnTo>
                  <a:lnTo>
                    <a:pt x="1567002" y="651726"/>
                  </a:lnTo>
                  <a:lnTo>
                    <a:pt x="1567053" y="652412"/>
                  </a:lnTo>
                  <a:lnTo>
                    <a:pt x="1567103" y="652412"/>
                  </a:lnTo>
                  <a:lnTo>
                    <a:pt x="1567205" y="651726"/>
                  </a:lnTo>
                  <a:lnTo>
                    <a:pt x="1567256" y="651726"/>
                  </a:lnTo>
                  <a:lnTo>
                    <a:pt x="1567306" y="650481"/>
                  </a:lnTo>
                  <a:lnTo>
                    <a:pt x="1567357" y="651726"/>
                  </a:lnTo>
                  <a:lnTo>
                    <a:pt x="1567599" y="651726"/>
                  </a:lnTo>
                  <a:lnTo>
                    <a:pt x="1567599" y="650481"/>
                  </a:lnTo>
                  <a:lnTo>
                    <a:pt x="1567941" y="650481"/>
                  </a:lnTo>
                  <a:lnTo>
                    <a:pt x="1567941" y="649834"/>
                  </a:lnTo>
                  <a:lnTo>
                    <a:pt x="1567992" y="649834"/>
                  </a:lnTo>
                  <a:lnTo>
                    <a:pt x="1567992" y="650481"/>
                  </a:lnTo>
                  <a:lnTo>
                    <a:pt x="1568043" y="649834"/>
                  </a:lnTo>
                  <a:lnTo>
                    <a:pt x="1568196" y="649834"/>
                  </a:lnTo>
                  <a:lnTo>
                    <a:pt x="1568196" y="650481"/>
                  </a:lnTo>
                  <a:lnTo>
                    <a:pt x="1568246" y="649834"/>
                  </a:lnTo>
                  <a:lnTo>
                    <a:pt x="1568348" y="649135"/>
                  </a:lnTo>
                  <a:lnTo>
                    <a:pt x="1568399" y="649135"/>
                  </a:lnTo>
                  <a:lnTo>
                    <a:pt x="1568450" y="648500"/>
                  </a:lnTo>
                  <a:lnTo>
                    <a:pt x="1568488" y="648500"/>
                  </a:lnTo>
                  <a:lnTo>
                    <a:pt x="1568488" y="647852"/>
                  </a:lnTo>
                  <a:lnTo>
                    <a:pt x="1568792" y="647852"/>
                  </a:lnTo>
                  <a:lnTo>
                    <a:pt x="1568792" y="646506"/>
                  </a:lnTo>
                  <a:lnTo>
                    <a:pt x="1568894" y="646506"/>
                  </a:lnTo>
                  <a:lnTo>
                    <a:pt x="1568894" y="645871"/>
                  </a:lnTo>
                  <a:lnTo>
                    <a:pt x="1569135" y="645871"/>
                  </a:lnTo>
                  <a:lnTo>
                    <a:pt x="1569186" y="646506"/>
                  </a:lnTo>
                  <a:lnTo>
                    <a:pt x="1569288" y="646506"/>
                  </a:lnTo>
                  <a:lnTo>
                    <a:pt x="1569338" y="647852"/>
                  </a:lnTo>
                  <a:lnTo>
                    <a:pt x="1569389" y="647852"/>
                  </a:lnTo>
                  <a:lnTo>
                    <a:pt x="1569491" y="646506"/>
                  </a:lnTo>
                  <a:lnTo>
                    <a:pt x="1569529" y="645871"/>
                  </a:lnTo>
                  <a:lnTo>
                    <a:pt x="1569834" y="645871"/>
                  </a:lnTo>
                  <a:lnTo>
                    <a:pt x="1569834" y="646506"/>
                  </a:lnTo>
                  <a:lnTo>
                    <a:pt x="1569935" y="645871"/>
                  </a:lnTo>
                  <a:lnTo>
                    <a:pt x="1570037" y="645871"/>
                  </a:lnTo>
                  <a:lnTo>
                    <a:pt x="1570075" y="646506"/>
                  </a:lnTo>
                  <a:lnTo>
                    <a:pt x="1570075" y="645871"/>
                  </a:lnTo>
                  <a:lnTo>
                    <a:pt x="1570278" y="645871"/>
                  </a:lnTo>
                  <a:lnTo>
                    <a:pt x="1570278" y="645274"/>
                  </a:lnTo>
                  <a:lnTo>
                    <a:pt x="1570380" y="645871"/>
                  </a:lnTo>
                  <a:lnTo>
                    <a:pt x="1570875" y="645871"/>
                  </a:lnTo>
                  <a:lnTo>
                    <a:pt x="1570875" y="645274"/>
                  </a:lnTo>
                  <a:lnTo>
                    <a:pt x="1570926" y="645274"/>
                  </a:lnTo>
                  <a:lnTo>
                    <a:pt x="1570926" y="645871"/>
                  </a:lnTo>
                  <a:lnTo>
                    <a:pt x="1570977" y="645274"/>
                  </a:lnTo>
                  <a:lnTo>
                    <a:pt x="1571078" y="645274"/>
                  </a:lnTo>
                  <a:lnTo>
                    <a:pt x="1571116" y="645871"/>
                  </a:lnTo>
                  <a:lnTo>
                    <a:pt x="1571167" y="645871"/>
                  </a:lnTo>
                  <a:lnTo>
                    <a:pt x="1571167" y="645274"/>
                  </a:lnTo>
                  <a:lnTo>
                    <a:pt x="1571218" y="645274"/>
                  </a:lnTo>
                  <a:lnTo>
                    <a:pt x="1571218" y="644525"/>
                  </a:lnTo>
                  <a:lnTo>
                    <a:pt x="1571320" y="645274"/>
                  </a:lnTo>
                  <a:lnTo>
                    <a:pt x="1571574" y="645274"/>
                  </a:lnTo>
                  <a:lnTo>
                    <a:pt x="1571625" y="644525"/>
                  </a:lnTo>
                  <a:lnTo>
                    <a:pt x="1571663" y="645274"/>
                  </a:lnTo>
                  <a:lnTo>
                    <a:pt x="1571815" y="645274"/>
                  </a:lnTo>
                  <a:lnTo>
                    <a:pt x="1571866" y="644525"/>
                  </a:lnTo>
                  <a:lnTo>
                    <a:pt x="1571866" y="645274"/>
                  </a:lnTo>
                  <a:lnTo>
                    <a:pt x="1571967" y="645274"/>
                  </a:lnTo>
                  <a:lnTo>
                    <a:pt x="1571967" y="644525"/>
                  </a:lnTo>
                  <a:lnTo>
                    <a:pt x="1572120" y="644525"/>
                  </a:lnTo>
                  <a:lnTo>
                    <a:pt x="1572120" y="645274"/>
                  </a:lnTo>
                  <a:lnTo>
                    <a:pt x="1572209" y="645274"/>
                  </a:lnTo>
                  <a:lnTo>
                    <a:pt x="1572260" y="644525"/>
                  </a:lnTo>
                  <a:lnTo>
                    <a:pt x="1572513" y="644525"/>
                  </a:lnTo>
                  <a:lnTo>
                    <a:pt x="1572564" y="645274"/>
                  </a:lnTo>
                  <a:lnTo>
                    <a:pt x="1572564" y="644525"/>
                  </a:lnTo>
                  <a:lnTo>
                    <a:pt x="1572666" y="644525"/>
                  </a:lnTo>
                  <a:lnTo>
                    <a:pt x="1572704" y="645274"/>
                  </a:lnTo>
                  <a:lnTo>
                    <a:pt x="1572704" y="644525"/>
                  </a:lnTo>
                  <a:lnTo>
                    <a:pt x="1572958" y="644525"/>
                  </a:lnTo>
                  <a:lnTo>
                    <a:pt x="1573009" y="645274"/>
                  </a:lnTo>
                  <a:lnTo>
                    <a:pt x="1573110" y="644525"/>
                  </a:lnTo>
                  <a:lnTo>
                    <a:pt x="1573606" y="644525"/>
                  </a:lnTo>
                  <a:lnTo>
                    <a:pt x="1573656" y="643281"/>
                  </a:lnTo>
                  <a:lnTo>
                    <a:pt x="1573656" y="644525"/>
                  </a:lnTo>
                  <a:lnTo>
                    <a:pt x="1573707" y="644525"/>
                  </a:lnTo>
                  <a:lnTo>
                    <a:pt x="1573707" y="643281"/>
                  </a:lnTo>
                  <a:lnTo>
                    <a:pt x="1573898" y="643281"/>
                  </a:lnTo>
                  <a:lnTo>
                    <a:pt x="1573949" y="644525"/>
                  </a:lnTo>
                  <a:lnTo>
                    <a:pt x="1574050" y="644525"/>
                  </a:lnTo>
                  <a:lnTo>
                    <a:pt x="1574101" y="643281"/>
                  </a:lnTo>
                  <a:lnTo>
                    <a:pt x="1574495" y="643281"/>
                  </a:lnTo>
                  <a:lnTo>
                    <a:pt x="1574546" y="642646"/>
                  </a:lnTo>
                  <a:lnTo>
                    <a:pt x="1574596" y="642646"/>
                  </a:lnTo>
                  <a:lnTo>
                    <a:pt x="1574698" y="643281"/>
                  </a:lnTo>
                  <a:lnTo>
                    <a:pt x="1574800" y="643281"/>
                  </a:lnTo>
                  <a:lnTo>
                    <a:pt x="1574800" y="642646"/>
                  </a:lnTo>
                  <a:lnTo>
                    <a:pt x="1575041" y="642646"/>
                  </a:lnTo>
                  <a:lnTo>
                    <a:pt x="1575142" y="641947"/>
                  </a:lnTo>
                  <a:lnTo>
                    <a:pt x="1575193" y="641947"/>
                  </a:lnTo>
                  <a:lnTo>
                    <a:pt x="1575193" y="641299"/>
                  </a:lnTo>
                  <a:lnTo>
                    <a:pt x="1575244" y="641299"/>
                  </a:lnTo>
                  <a:lnTo>
                    <a:pt x="1575244" y="640652"/>
                  </a:lnTo>
                  <a:lnTo>
                    <a:pt x="1575638" y="640652"/>
                  </a:lnTo>
                  <a:lnTo>
                    <a:pt x="1575688" y="641299"/>
                  </a:lnTo>
                  <a:lnTo>
                    <a:pt x="1575739" y="640652"/>
                  </a:lnTo>
                  <a:lnTo>
                    <a:pt x="1576082" y="640652"/>
                  </a:lnTo>
                  <a:lnTo>
                    <a:pt x="1576082" y="639369"/>
                  </a:lnTo>
                  <a:lnTo>
                    <a:pt x="1576133" y="639369"/>
                  </a:lnTo>
                  <a:lnTo>
                    <a:pt x="1576133" y="640652"/>
                  </a:lnTo>
                  <a:lnTo>
                    <a:pt x="1576184" y="639369"/>
                  </a:lnTo>
                  <a:lnTo>
                    <a:pt x="1576285" y="639369"/>
                  </a:lnTo>
                  <a:lnTo>
                    <a:pt x="1576336" y="638721"/>
                  </a:lnTo>
                  <a:lnTo>
                    <a:pt x="1577022" y="638721"/>
                  </a:lnTo>
                  <a:lnTo>
                    <a:pt x="1577073" y="638073"/>
                  </a:lnTo>
                  <a:lnTo>
                    <a:pt x="1577124" y="638073"/>
                  </a:lnTo>
                  <a:lnTo>
                    <a:pt x="1577225" y="638721"/>
                  </a:lnTo>
                  <a:lnTo>
                    <a:pt x="1577276" y="638073"/>
                  </a:lnTo>
                  <a:lnTo>
                    <a:pt x="1577276" y="638721"/>
                  </a:lnTo>
                  <a:lnTo>
                    <a:pt x="1577428" y="638721"/>
                  </a:lnTo>
                  <a:lnTo>
                    <a:pt x="1577466" y="638073"/>
                  </a:lnTo>
                  <a:lnTo>
                    <a:pt x="1577721" y="638073"/>
                  </a:lnTo>
                  <a:lnTo>
                    <a:pt x="1577721" y="637438"/>
                  </a:lnTo>
                  <a:lnTo>
                    <a:pt x="1577873" y="637438"/>
                  </a:lnTo>
                  <a:lnTo>
                    <a:pt x="1577873" y="638073"/>
                  </a:lnTo>
                  <a:lnTo>
                    <a:pt x="1578013" y="638073"/>
                  </a:lnTo>
                  <a:lnTo>
                    <a:pt x="1578114" y="637438"/>
                  </a:lnTo>
                  <a:lnTo>
                    <a:pt x="1578165" y="638073"/>
                  </a:lnTo>
                  <a:lnTo>
                    <a:pt x="1578165" y="637438"/>
                  </a:lnTo>
                  <a:lnTo>
                    <a:pt x="1578216" y="637438"/>
                  </a:lnTo>
                  <a:lnTo>
                    <a:pt x="1578317" y="636092"/>
                  </a:lnTo>
                  <a:lnTo>
                    <a:pt x="1578470" y="636092"/>
                  </a:lnTo>
                  <a:lnTo>
                    <a:pt x="1578470" y="637438"/>
                  </a:lnTo>
                  <a:lnTo>
                    <a:pt x="1578559" y="637438"/>
                  </a:lnTo>
                  <a:lnTo>
                    <a:pt x="1578559" y="636092"/>
                  </a:lnTo>
                  <a:lnTo>
                    <a:pt x="1578610" y="637438"/>
                  </a:lnTo>
                  <a:lnTo>
                    <a:pt x="1578711" y="637438"/>
                  </a:lnTo>
                  <a:lnTo>
                    <a:pt x="1578711" y="636092"/>
                  </a:lnTo>
                  <a:lnTo>
                    <a:pt x="1579016" y="636092"/>
                  </a:lnTo>
                  <a:lnTo>
                    <a:pt x="1579054" y="637438"/>
                  </a:lnTo>
                  <a:lnTo>
                    <a:pt x="1579105" y="637438"/>
                  </a:lnTo>
                  <a:lnTo>
                    <a:pt x="1579156" y="636092"/>
                  </a:lnTo>
                  <a:lnTo>
                    <a:pt x="1579359" y="636092"/>
                  </a:lnTo>
                  <a:lnTo>
                    <a:pt x="1579460" y="637438"/>
                  </a:lnTo>
                  <a:lnTo>
                    <a:pt x="1579460" y="636092"/>
                  </a:lnTo>
                  <a:lnTo>
                    <a:pt x="1579753" y="636092"/>
                  </a:lnTo>
                  <a:lnTo>
                    <a:pt x="1579753" y="637438"/>
                  </a:lnTo>
                  <a:lnTo>
                    <a:pt x="1579803" y="637438"/>
                  </a:lnTo>
                  <a:lnTo>
                    <a:pt x="1579803" y="636092"/>
                  </a:lnTo>
                  <a:lnTo>
                    <a:pt x="1579905" y="636092"/>
                  </a:lnTo>
                  <a:lnTo>
                    <a:pt x="1579905" y="635445"/>
                  </a:lnTo>
                  <a:lnTo>
                    <a:pt x="1580057" y="635445"/>
                  </a:lnTo>
                  <a:lnTo>
                    <a:pt x="1580146" y="636092"/>
                  </a:lnTo>
                  <a:lnTo>
                    <a:pt x="1580197" y="635445"/>
                  </a:lnTo>
                  <a:lnTo>
                    <a:pt x="1580248" y="635445"/>
                  </a:lnTo>
                  <a:lnTo>
                    <a:pt x="1580299" y="636092"/>
                  </a:lnTo>
                  <a:lnTo>
                    <a:pt x="1580400" y="636092"/>
                  </a:lnTo>
                  <a:lnTo>
                    <a:pt x="1580400" y="635445"/>
                  </a:lnTo>
                  <a:lnTo>
                    <a:pt x="1580743" y="635445"/>
                  </a:lnTo>
                  <a:lnTo>
                    <a:pt x="1580845" y="636092"/>
                  </a:lnTo>
                  <a:lnTo>
                    <a:pt x="1580896" y="635445"/>
                  </a:lnTo>
                  <a:lnTo>
                    <a:pt x="1580946" y="635445"/>
                  </a:lnTo>
                  <a:lnTo>
                    <a:pt x="1581048" y="636092"/>
                  </a:lnTo>
                  <a:lnTo>
                    <a:pt x="1581099" y="636092"/>
                  </a:lnTo>
                  <a:lnTo>
                    <a:pt x="1581150" y="635445"/>
                  </a:lnTo>
                  <a:lnTo>
                    <a:pt x="1581391" y="635445"/>
                  </a:lnTo>
                  <a:lnTo>
                    <a:pt x="1581391" y="634759"/>
                  </a:lnTo>
                  <a:lnTo>
                    <a:pt x="1581543" y="634759"/>
                  </a:lnTo>
                  <a:lnTo>
                    <a:pt x="1581543" y="635445"/>
                  </a:lnTo>
                  <a:lnTo>
                    <a:pt x="1581594" y="635445"/>
                  </a:lnTo>
                  <a:lnTo>
                    <a:pt x="1581645" y="634759"/>
                  </a:lnTo>
                  <a:lnTo>
                    <a:pt x="1582089" y="634759"/>
                  </a:lnTo>
                  <a:lnTo>
                    <a:pt x="1582089" y="634162"/>
                  </a:lnTo>
                  <a:lnTo>
                    <a:pt x="1582229" y="634162"/>
                  </a:lnTo>
                  <a:lnTo>
                    <a:pt x="1582229" y="634759"/>
                  </a:lnTo>
                  <a:lnTo>
                    <a:pt x="1582331" y="634759"/>
                  </a:lnTo>
                  <a:lnTo>
                    <a:pt x="1582432" y="634162"/>
                  </a:lnTo>
                  <a:lnTo>
                    <a:pt x="1582686" y="634162"/>
                  </a:lnTo>
                  <a:lnTo>
                    <a:pt x="1582737" y="633514"/>
                  </a:lnTo>
                  <a:lnTo>
                    <a:pt x="1582978" y="633514"/>
                  </a:lnTo>
                  <a:lnTo>
                    <a:pt x="1583080" y="632168"/>
                  </a:lnTo>
                  <a:lnTo>
                    <a:pt x="1583181" y="632168"/>
                  </a:lnTo>
                  <a:lnTo>
                    <a:pt x="1583181" y="631533"/>
                  </a:lnTo>
                  <a:lnTo>
                    <a:pt x="1583232" y="632168"/>
                  </a:lnTo>
                  <a:lnTo>
                    <a:pt x="1583321" y="632168"/>
                  </a:lnTo>
                  <a:lnTo>
                    <a:pt x="1583372" y="633514"/>
                  </a:lnTo>
                  <a:lnTo>
                    <a:pt x="1583372" y="632168"/>
                  </a:lnTo>
                  <a:lnTo>
                    <a:pt x="1583423" y="632168"/>
                  </a:lnTo>
                  <a:lnTo>
                    <a:pt x="1583474" y="631533"/>
                  </a:lnTo>
                  <a:lnTo>
                    <a:pt x="1583677" y="631533"/>
                  </a:lnTo>
                  <a:lnTo>
                    <a:pt x="1583778" y="630885"/>
                  </a:lnTo>
                  <a:lnTo>
                    <a:pt x="1584020" y="630885"/>
                  </a:lnTo>
                  <a:lnTo>
                    <a:pt x="1584020" y="631533"/>
                  </a:lnTo>
                  <a:lnTo>
                    <a:pt x="1584071" y="630885"/>
                  </a:lnTo>
                  <a:lnTo>
                    <a:pt x="1584223" y="630885"/>
                  </a:lnTo>
                  <a:lnTo>
                    <a:pt x="1584274" y="630238"/>
                  </a:lnTo>
                  <a:lnTo>
                    <a:pt x="1584274" y="630885"/>
                  </a:lnTo>
                  <a:lnTo>
                    <a:pt x="1584566" y="630885"/>
                  </a:lnTo>
                  <a:lnTo>
                    <a:pt x="1584667" y="630238"/>
                  </a:lnTo>
                  <a:lnTo>
                    <a:pt x="1584667" y="630885"/>
                  </a:lnTo>
                  <a:lnTo>
                    <a:pt x="1584718" y="630238"/>
                  </a:lnTo>
                  <a:lnTo>
                    <a:pt x="1584909" y="630238"/>
                  </a:lnTo>
                  <a:lnTo>
                    <a:pt x="1584909" y="629539"/>
                  </a:lnTo>
                  <a:lnTo>
                    <a:pt x="1584960" y="630238"/>
                  </a:lnTo>
                  <a:lnTo>
                    <a:pt x="1585213" y="630238"/>
                  </a:lnTo>
                  <a:lnTo>
                    <a:pt x="1585264" y="629539"/>
                  </a:lnTo>
                  <a:lnTo>
                    <a:pt x="1585264" y="630238"/>
                  </a:lnTo>
                  <a:lnTo>
                    <a:pt x="1585455" y="630238"/>
                  </a:lnTo>
                  <a:lnTo>
                    <a:pt x="1585506" y="629539"/>
                  </a:lnTo>
                  <a:lnTo>
                    <a:pt x="1585506" y="630238"/>
                  </a:lnTo>
                  <a:lnTo>
                    <a:pt x="1585607" y="630238"/>
                  </a:lnTo>
                  <a:lnTo>
                    <a:pt x="1585607" y="629539"/>
                  </a:lnTo>
                  <a:lnTo>
                    <a:pt x="1585658" y="630238"/>
                  </a:lnTo>
                  <a:lnTo>
                    <a:pt x="1585810" y="630238"/>
                  </a:lnTo>
                  <a:lnTo>
                    <a:pt x="1585810" y="629539"/>
                  </a:lnTo>
                  <a:lnTo>
                    <a:pt x="1585861" y="629539"/>
                  </a:lnTo>
                  <a:lnTo>
                    <a:pt x="1585861" y="628307"/>
                  </a:lnTo>
                  <a:lnTo>
                    <a:pt x="1585912" y="629539"/>
                  </a:lnTo>
                  <a:lnTo>
                    <a:pt x="1585950" y="629539"/>
                  </a:lnTo>
                  <a:lnTo>
                    <a:pt x="1586052" y="630238"/>
                  </a:lnTo>
                  <a:lnTo>
                    <a:pt x="1586103" y="629539"/>
                  </a:lnTo>
                  <a:lnTo>
                    <a:pt x="1586103" y="630238"/>
                  </a:lnTo>
                  <a:lnTo>
                    <a:pt x="1586255" y="630238"/>
                  </a:lnTo>
                  <a:lnTo>
                    <a:pt x="1586306" y="629539"/>
                  </a:lnTo>
                  <a:lnTo>
                    <a:pt x="1586407" y="629539"/>
                  </a:lnTo>
                  <a:lnTo>
                    <a:pt x="1586407" y="628307"/>
                  </a:lnTo>
                  <a:lnTo>
                    <a:pt x="1586547" y="628307"/>
                  </a:lnTo>
                  <a:lnTo>
                    <a:pt x="1586598" y="629539"/>
                  </a:lnTo>
                  <a:lnTo>
                    <a:pt x="1586649" y="629539"/>
                  </a:lnTo>
                  <a:lnTo>
                    <a:pt x="1586750" y="630238"/>
                  </a:lnTo>
                  <a:lnTo>
                    <a:pt x="1586801" y="629539"/>
                  </a:lnTo>
                  <a:lnTo>
                    <a:pt x="1586852" y="629539"/>
                  </a:lnTo>
                  <a:lnTo>
                    <a:pt x="1586852" y="628307"/>
                  </a:lnTo>
                  <a:lnTo>
                    <a:pt x="1586991" y="628307"/>
                  </a:lnTo>
                  <a:lnTo>
                    <a:pt x="1587042" y="629539"/>
                  </a:lnTo>
                  <a:lnTo>
                    <a:pt x="1587296" y="629539"/>
                  </a:lnTo>
                  <a:lnTo>
                    <a:pt x="1587398" y="628307"/>
                  </a:lnTo>
                  <a:lnTo>
                    <a:pt x="1587398" y="629539"/>
                  </a:lnTo>
                  <a:lnTo>
                    <a:pt x="1587449" y="629539"/>
                  </a:lnTo>
                  <a:lnTo>
                    <a:pt x="1587500" y="628307"/>
                  </a:lnTo>
                  <a:lnTo>
                    <a:pt x="1587639" y="628307"/>
                  </a:lnTo>
                  <a:lnTo>
                    <a:pt x="1587639" y="629539"/>
                  </a:lnTo>
                  <a:lnTo>
                    <a:pt x="1587690" y="629539"/>
                  </a:lnTo>
                  <a:lnTo>
                    <a:pt x="1587690" y="628307"/>
                  </a:lnTo>
                  <a:lnTo>
                    <a:pt x="1587741" y="628307"/>
                  </a:lnTo>
                  <a:lnTo>
                    <a:pt x="1587741" y="629539"/>
                  </a:lnTo>
                  <a:lnTo>
                    <a:pt x="1587995" y="629539"/>
                  </a:lnTo>
                  <a:lnTo>
                    <a:pt x="1588084" y="628307"/>
                  </a:lnTo>
                  <a:lnTo>
                    <a:pt x="1588084" y="629539"/>
                  </a:lnTo>
                  <a:lnTo>
                    <a:pt x="1588135" y="629539"/>
                  </a:lnTo>
                  <a:lnTo>
                    <a:pt x="1588185" y="628307"/>
                  </a:lnTo>
                  <a:lnTo>
                    <a:pt x="1588185" y="629539"/>
                  </a:lnTo>
                  <a:lnTo>
                    <a:pt x="1588236" y="628307"/>
                  </a:lnTo>
                  <a:lnTo>
                    <a:pt x="1589125" y="628307"/>
                  </a:lnTo>
                  <a:lnTo>
                    <a:pt x="1589125" y="627659"/>
                  </a:lnTo>
                  <a:lnTo>
                    <a:pt x="1589278" y="627659"/>
                  </a:lnTo>
                  <a:lnTo>
                    <a:pt x="1589278" y="628307"/>
                  </a:lnTo>
                  <a:lnTo>
                    <a:pt x="1589430" y="628307"/>
                  </a:lnTo>
                  <a:lnTo>
                    <a:pt x="1589430" y="627659"/>
                  </a:lnTo>
                  <a:lnTo>
                    <a:pt x="1589481" y="627659"/>
                  </a:lnTo>
                  <a:lnTo>
                    <a:pt x="1589531" y="628307"/>
                  </a:lnTo>
                  <a:lnTo>
                    <a:pt x="1589671" y="628307"/>
                  </a:lnTo>
                  <a:lnTo>
                    <a:pt x="1589722" y="627659"/>
                  </a:lnTo>
                  <a:lnTo>
                    <a:pt x="1589722" y="628307"/>
                  </a:lnTo>
                  <a:lnTo>
                    <a:pt x="1589773" y="627659"/>
                  </a:lnTo>
                  <a:lnTo>
                    <a:pt x="1590128" y="627659"/>
                  </a:lnTo>
                  <a:lnTo>
                    <a:pt x="1590166" y="626961"/>
                  </a:lnTo>
                  <a:lnTo>
                    <a:pt x="1590166" y="627659"/>
                  </a:lnTo>
                  <a:lnTo>
                    <a:pt x="1590217" y="626961"/>
                  </a:lnTo>
                  <a:lnTo>
                    <a:pt x="1590268" y="627659"/>
                  </a:lnTo>
                  <a:lnTo>
                    <a:pt x="1590421" y="627659"/>
                  </a:lnTo>
                  <a:lnTo>
                    <a:pt x="1590421" y="626961"/>
                  </a:lnTo>
                  <a:lnTo>
                    <a:pt x="1590624" y="626961"/>
                  </a:lnTo>
                  <a:lnTo>
                    <a:pt x="1590675" y="627659"/>
                  </a:lnTo>
                  <a:lnTo>
                    <a:pt x="1590713" y="626961"/>
                  </a:lnTo>
                  <a:lnTo>
                    <a:pt x="1590713" y="627659"/>
                  </a:lnTo>
                  <a:lnTo>
                    <a:pt x="1590814" y="626961"/>
                  </a:lnTo>
                  <a:lnTo>
                    <a:pt x="1590865" y="626326"/>
                  </a:lnTo>
                  <a:lnTo>
                    <a:pt x="1591017" y="626326"/>
                  </a:lnTo>
                  <a:lnTo>
                    <a:pt x="1591017" y="626961"/>
                  </a:lnTo>
                  <a:lnTo>
                    <a:pt x="1591259" y="626961"/>
                  </a:lnTo>
                  <a:lnTo>
                    <a:pt x="1591259" y="627659"/>
                  </a:lnTo>
                  <a:lnTo>
                    <a:pt x="1591360" y="627659"/>
                  </a:lnTo>
                  <a:lnTo>
                    <a:pt x="1591360" y="626961"/>
                  </a:lnTo>
                  <a:lnTo>
                    <a:pt x="1591513" y="626961"/>
                  </a:lnTo>
                  <a:lnTo>
                    <a:pt x="1591513" y="626326"/>
                  </a:lnTo>
                  <a:lnTo>
                    <a:pt x="1591563" y="626326"/>
                  </a:lnTo>
                  <a:lnTo>
                    <a:pt x="1591614" y="626961"/>
                  </a:lnTo>
                  <a:lnTo>
                    <a:pt x="1591614" y="626326"/>
                  </a:lnTo>
                  <a:lnTo>
                    <a:pt x="1591805" y="626326"/>
                  </a:lnTo>
                  <a:lnTo>
                    <a:pt x="1591805" y="626961"/>
                  </a:lnTo>
                  <a:lnTo>
                    <a:pt x="1591856" y="626326"/>
                  </a:lnTo>
                  <a:lnTo>
                    <a:pt x="1592300" y="626326"/>
                  </a:lnTo>
                  <a:lnTo>
                    <a:pt x="1592402" y="626961"/>
                  </a:lnTo>
                  <a:lnTo>
                    <a:pt x="1592453" y="626961"/>
                  </a:lnTo>
                  <a:lnTo>
                    <a:pt x="1592503" y="626326"/>
                  </a:lnTo>
                  <a:lnTo>
                    <a:pt x="1592605" y="626326"/>
                  </a:lnTo>
                  <a:lnTo>
                    <a:pt x="1592605" y="625081"/>
                  </a:lnTo>
                  <a:lnTo>
                    <a:pt x="1592656" y="626326"/>
                  </a:lnTo>
                  <a:lnTo>
                    <a:pt x="1592656" y="625081"/>
                  </a:lnTo>
                  <a:lnTo>
                    <a:pt x="1592706" y="626326"/>
                  </a:lnTo>
                  <a:lnTo>
                    <a:pt x="1592757" y="626326"/>
                  </a:lnTo>
                  <a:lnTo>
                    <a:pt x="1592757" y="625081"/>
                  </a:lnTo>
                  <a:lnTo>
                    <a:pt x="1592846" y="625081"/>
                  </a:lnTo>
                  <a:lnTo>
                    <a:pt x="1592897" y="626326"/>
                  </a:lnTo>
                  <a:lnTo>
                    <a:pt x="1593151" y="626326"/>
                  </a:lnTo>
                  <a:lnTo>
                    <a:pt x="1593151" y="625081"/>
                  </a:lnTo>
                  <a:lnTo>
                    <a:pt x="1593799" y="625081"/>
                  </a:lnTo>
                  <a:lnTo>
                    <a:pt x="1593850" y="624332"/>
                  </a:lnTo>
                  <a:lnTo>
                    <a:pt x="1593888" y="625081"/>
                  </a:lnTo>
                  <a:lnTo>
                    <a:pt x="1594192" y="625081"/>
                  </a:lnTo>
                  <a:lnTo>
                    <a:pt x="1594192" y="624332"/>
                  </a:lnTo>
                  <a:lnTo>
                    <a:pt x="1594243" y="625081"/>
                  </a:lnTo>
                  <a:lnTo>
                    <a:pt x="1594688" y="625081"/>
                  </a:lnTo>
                  <a:lnTo>
                    <a:pt x="1594688" y="624332"/>
                  </a:lnTo>
                  <a:lnTo>
                    <a:pt x="1594738" y="625081"/>
                  </a:lnTo>
                  <a:lnTo>
                    <a:pt x="1594980" y="625081"/>
                  </a:lnTo>
                  <a:lnTo>
                    <a:pt x="1594980" y="624332"/>
                  </a:lnTo>
                  <a:lnTo>
                    <a:pt x="1595183" y="624332"/>
                  </a:lnTo>
                  <a:lnTo>
                    <a:pt x="1595183" y="625081"/>
                  </a:lnTo>
                  <a:lnTo>
                    <a:pt x="1595386" y="625081"/>
                  </a:lnTo>
                  <a:lnTo>
                    <a:pt x="1595386" y="624332"/>
                  </a:lnTo>
                  <a:lnTo>
                    <a:pt x="1595437" y="624332"/>
                  </a:lnTo>
                  <a:lnTo>
                    <a:pt x="1595475" y="625081"/>
                  </a:lnTo>
                  <a:lnTo>
                    <a:pt x="1595475" y="624332"/>
                  </a:lnTo>
                  <a:lnTo>
                    <a:pt x="1595577" y="625081"/>
                  </a:lnTo>
                  <a:lnTo>
                    <a:pt x="1595628" y="624332"/>
                  </a:lnTo>
                  <a:lnTo>
                    <a:pt x="1595628" y="625081"/>
                  </a:lnTo>
                  <a:lnTo>
                    <a:pt x="1595831" y="625081"/>
                  </a:lnTo>
                  <a:lnTo>
                    <a:pt x="1595831" y="624332"/>
                  </a:lnTo>
                  <a:lnTo>
                    <a:pt x="1595881" y="625081"/>
                  </a:lnTo>
                  <a:lnTo>
                    <a:pt x="1596021" y="625081"/>
                  </a:lnTo>
                  <a:lnTo>
                    <a:pt x="1596072" y="624332"/>
                  </a:lnTo>
                  <a:lnTo>
                    <a:pt x="1596174" y="624332"/>
                  </a:lnTo>
                  <a:lnTo>
                    <a:pt x="1596174" y="625081"/>
                  </a:lnTo>
                  <a:lnTo>
                    <a:pt x="1596478" y="625081"/>
                  </a:lnTo>
                  <a:lnTo>
                    <a:pt x="1596516" y="624332"/>
                  </a:lnTo>
                  <a:lnTo>
                    <a:pt x="1596567" y="624332"/>
                  </a:lnTo>
                  <a:lnTo>
                    <a:pt x="1596618" y="625081"/>
                  </a:lnTo>
                  <a:lnTo>
                    <a:pt x="1596720" y="624332"/>
                  </a:lnTo>
                  <a:lnTo>
                    <a:pt x="1596771" y="624332"/>
                  </a:lnTo>
                  <a:lnTo>
                    <a:pt x="1596821" y="625081"/>
                  </a:lnTo>
                  <a:lnTo>
                    <a:pt x="1596821" y="624332"/>
                  </a:lnTo>
                  <a:lnTo>
                    <a:pt x="1597266" y="624332"/>
                  </a:lnTo>
                  <a:lnTo>
                    <a:pt x="1597367" y="623735"/>
                  </a:lnTo>
                  <a:lnTo>
                    <a:pt x="1597418" y="624332"/>
                  </a:lnTo>
                  <a:lnTo>
                    <a:pt x="1597469" y="623735"/>
                  </a:lnTo>
                  <a:lnTo>
                    <a:pt x="1597520" y="624332"/>
                  </a:lnTo>
                  <a:lnTo>
                    <a:pt x="1597609" y="624332"/>
                  </a:lnTo>
                  <a:lnTo>
                    <a:pt x="1597660" y="623735"/>
                  </a:lnTo>
                  <a:lnTo>
                    <a:pt x="1598206" y="623735"/>
                  </a:lnTo>
                  <a:lnTo>
                    <a:pt x="1598206" y="623100"/>
                  </a:lnTo>
                  <a:lnTo>
                    <a:pt x="1598307" y="623735"/>
                  </a:lnTo>
                  <a:lnTo>
                    <a:pt x="1598409" y="623735"/>
                  </a:lnTo>
                  <a:lnTo>
                    <a:pt x="1598409" y="623100"/>
                  </a:lnTo>
                  <a:lnTo>
                    <a:pt x="1598612" y="623100"/>
                  </a:lnTo>
                  <a:lnTo>
                    <a:pt x="1598650" y="623735"/>
                  </a:lnTo>
                  <a:lnTo>
                    <a:pt x="1598803" y="623735"/>
                  </a:lnTo>
                  <a:lnTo>
                    <a:pt x="1598853" y="623100"/>
                  </a:lnTo>
                  <a:lnTo>
                    <a:pt x="1598955" y="623100"/>
                  </a:lnTo>
                  <a:lnTo>
                    <a:pt x="1598955" y="623735"/>
                  </a:lnTo>
                  <a:lnTo>
                    <a:pt x="1599107" y="623735"/>
                  </a:lnTo>
                  <a:lnTo>
                    <a:pt x="1599107" y="623100"/>
                  </a:lnTo>
                  <a:lnTo>
                    <a:pt x="1599247" y="623100"/>
                  </a:lnTo>
                  <a:lnTo>
                    <a:pt x="1599247" y="623735"/>
                  </a:lnTo>
                  <a:lnTo>
                    <a:pt x="1599298" y="623100"/>
                  </a:lnTo>
                  <a:lnTo>
                    <a:pt x="1599349" y="623735"/>
                  </a:lnTo>
                  <a:lnTo>
                    <a:pt x="1599450" y="623100"/>
                  </a:lnTo>
                  <a:lnTo>
                    <a:pt x="1599450" y="623735"/>
                  </a:lnTo>
                  <a:lnTo>
                    <a:pt x="1599742" y="623735"/>
                  </a:lnTo>
                  <a:lnTo>
                    <a:pt x="1599742" y="623100"/>
                  </a:lnTo>
                  <a:lnTo>
                    <a:pt x="1599793" y="623100"/>
                  </a:lnTo>
                  <a:lnTo>
                    <a:pt x="1599793" y="623735"/>
                  </a:lnTo>
                  <a:lnTo>
                    <a:pt x="1599895" y="623100"/>
                  </a:lnTo>
                  <a:lnTo>
                    <a:pt x="1600149" y="623100"/>
                  </a:lnTo>
                  <a:lnTo>
                    <a:pt x="1600149" y="623735"/>
                  </a:lnTo>
                  <a:lnTo>
                    <a:pt x="1600200" y="623735"/>
                  </a:lnTo>
                  <a:lnTo>
                    <a:pt x="1600238" y="623100"/>
                  </a:lnTo>
                  <a:lnTo>
                    <a:pt x="1600339" y="622402"/>
                  </a:lnTo>
                  <a:lnTo>
                    <a:pt x="1600339" y="623100"/>
                  </a:lnTo>
                  <a:lnTo>
                    <a:pt x="1600542" y="623100"/>
                  </a:lnTo>
                  <a:lnTo>
                    <a:pt x="1600593" y="623735"/>
                  </a:lnTo>
                  <a:lnTo>
                    <a:pt x="1600644" y="623735"/>
                  </a:lnTo>
                  <a:lnTo>
                    <a:pt x="1600695" y="623100"/>
                  </a:lnTo>
                  <a:lnTo>
                    <a:pt x="1600784" y="623735"/>
                  </a:lnTo>
                  <a:lnTo>
                    <a:pt x="1600835" y="623735"/>
                  </a:lnTo>
                  <a:lnTo>
                    <a:pt x="1600835" y="623100"/>
                  </a:lnTo>
                  <a:lnTo>
                    <a:pt x="1601482" y="623100"/>
                  </a:lnTo>
                  <a:lnTo>
                    <a:pt x="1601533" y="623735"/>
                  </a:lnTo>
                  <a:lnTo>
                    <a:pt x="1601533" y="623100"/>
                  </a:lnTo>
                  <a:lnTo>
                    <a:pt x="1601787" y="623100"/>
                  </a:lnTo>
                  <a:lnTo>
                    <a:pt x="1601825" y="622402"/>
                  </a:lnTo>
                  <a:lnTo>
                    <a:pt x="1601825" y="623100"/>
                  </a:lnTo>
                  <a:lnTo>
                    <a:pt x="1602181" y="623100"/>
                  </a:lnTo>
                  <a:lnTo>
                    <a:pt x="1602181" y="622402"/>
                  </a:lnTo>
                  <a:lnTo>
                    <a:pt x="1602231" y="622402"/>
                  </a:lnTo>
                  <a:lnTo>
                    <a:pt x="1602282" y="623100"/>
                  </a:lnTo>
                  <a:lnTo>
                    <a:pt x="1602282" y="622402"/>
                  </a:lnTo>
                  <a:lnTo>
                    <a:pt x="1602371" y="622402"/>
                  </a:lnTo>
                  <a:lnTo>
                    <a:pt x="1602371" y="623100"/>
                  </a:lnTo>
                  <a:lnTo>
                    <a:pt x="1602422" y="622402"/>
                  </a:lnTo>
                  <a:lnTo>
                    <a:pt x="1602473" y="623100"/>
                  </a:lnTo>
                  <a:lnTo>
                    <a:pt x="1602727" y="623100"/>
                  </a:lnTo>
                  <a:lnTo>
                    <a:pt x="1602828" y="622402"/>
                  </a:lnTo>
                  <a:lnTo>
                    <a:pt x="1602866" y="623100"/>
                  </a:lnTo>
                  <a:lnTo>
                    <a:pt x="1603121" y="623100"/>
                  </a:lnTo>
                  <a:lnTo>
                    <a:pt x="1603121" y="622402"/>
                  </a:lnTo>
                  <a:lnTo>
                    <a:pt x="1603324" y="622402"/>
                  </a:lnTo>
                  <a:lnTo>
                    <a:pt x="1603375" y="623100"/>
                  </a:lnTo>
                  <a:lnTo>
                    <a:pt x="1603413" y="622402"/>
                  </a:lnTo>
                  <a:lnTo>
                    <a:pt x="1604263" y="622402"/>
                  </a:lnTo>
                  <a:lnTo>
                    <a:pt x="1604263" y="623100"/>
                  </a:lnTo>
                  <a:lnTo>
                    <a:pt x="1604314" y="622402"/>
                  </a:lnTo>
                  <a:lnTo>
                    <a:pt x="1604505" y="622402"/>
                  </a:lnTo>
                  <a:lnTo>
                    <a:pt x="1604556" y="623100"/>
                  </a:lnTo>
                  <a:lnTo>
                    <a:pt x="1604556" y="622402"/>
                  </a:lnTo>
                  <a:lnTo>
                    <a:pt x="1604708" y="622402"/>
                  </a:lnTo>
                  <a:lnTo>
                    <a:pt x="1604759" y="623100"/>
                  </a:lnTo>
                  <a:lnTo>
                    <a:pt x="1604911" y="623100"/>
                  </a:lnTo>
                  <a:lnTo>
                    <a:pt x="1604911" y="622402"/>
                  </a:lnTo>
                  <a:lnTo>
                    <a:pt x="1605153" y="622402"/>
                  </a:lnTo>
                  <a:lnTo>
                    <a:pt x="1605203" y="623100"/>
                  </a:lnTo>
                  <a:lnTo>
                    <a:pt x="1605203" y="622402"/>
                  </a:lnTo>
                  <a:lnTo>
                    <a:pt x="1605457" y="622402"/>
                  </a:lnTo>
                  <a:lnTo>
                    <a:pt x="1605457" y="621106"/>
                  </a:lnTo>
                  <a:lnTo>
                    <a:pt x="1605546" y="621106"/>
                  </a:lnTo>
                  <a:lnTo>
                    <a:pt x="1605546" y="622402"/>
                  </a:lnTo>
                  <a:lnTo>
                    <a:pt x="1605597" y="621106"/>
                  </a:lnTo>
                  <a:lnTo>
                    <a:pt x="1605597" y="622402"/>
                  </a:lnTo>
                  <a:lnTo>
                    <a:pt x="1605800" y="622402"/>
                  </a:lnTo>
                  <a:lnTo>
                    <a:pt x="1605800" y="621106"/>
                  </a:lnTo>
                  <a:lnTo>
                    <a:pt x="1606143" y="621106"/>
                  </a:lnTo>
                  <a:lnTo>
                    <a:pt x="1606143" y="622402"/>
                  </a:lnTo>
                  <a:lnTo>
                    <a:pt x="1606499" y="622402"/>
                  </a:lnTo>
                  <a:lnTo>
                    <a:pt x="1606499" y="621106"/>
                  </a:lnTo>
                  <a:lnTo>
                    <a:pt x="1606588" y="621106"/>
                  </a:lnTo>
                  <a:lnTo>
                    <a:pt x="1606588" y="622402"/>
                  </a:lnTo>
                  <a:lnTo>
                    <a:pt x="1606740" y="622402"/>
                  </a:lnTo>
                  <a:lnTo>
                    <a:pt x="1606740" y="621106"/>
                  </a:lnTo>
                  <a:lnTo>
                    <a:pt x="1607731" y="621106"/>
                  </a:lnTo>
                  <a:lnTo>
                    <a:pt x="1607731" y="620471"/>
                  </a:lnTo>
                  <a:lnTo>
                    <a:pt x="1607934" y="620471"/>
                  </a:lnTo>
                  <a:lnTo>
                    <a:pt x="1608035" y="621106"/>
                  </a:lnTo>
                  <a:lnTo>
                    <a:pt x="1609026" y="621106"/>
                  </a:lnTo>
                  <a:lnTo>
                    <a:pt x="1609026" y="620471"/>
                  </a:lnTo>
                  <a:lnTo>
                    <a:pt x="1609267" y="620471"/>
                  </a:lnTo>
                  <a:lnTo>
                    <a:pt x="1609267" y="621106"/>
                  </a:lnTo>
                  <a:lnTo>
                    <a:pt x="1609623" y="621106"/>
                  </a:lnTo>
                  <a:lnTo>
                    <a:pt x="1609623" y="620471"/>
                  </a:lnTo>
                  <a:lnTo>
                    <a:pt x="1609725" y="620471"/>
                  </a:lnTo>
                  <a:lnTo>
                    <a:pt x="1609763" y="621106"/>
                  </a:lnTo>
                  <a:lnTo>
                    <a:pt x="1610563" y="621106"/>
                  </a:lnTo>
                  <a:lnTo>
                    <a:pt x="1610563" y="620471"/>
                  </a:lnTo>
                  <a:lnTo>
                    <a:pt x="1611452" y="620471"/>
                  </a:lnTo>
                  <a:lnTo>
                    <a:pt x="1611452" y="621106"/>
                  </a:lnTo>
                  <a:lnTo>
                    <a:pt x="1611503" y="620471"/>
                  </a:lnTo>
                  <a:lnTo>
                    <a:pt x="1611553" y="620471"/>
                  </a:lnTo>
                  <a:lnTo>
                    <a:pt x="1611655" y="619773"/>
                  </a:lnTo>
                  <a:lnTo>
                    <a:pt x="1611655" y="620471"/>
                  </a:lnTo>
                  <a:lnTo>
                    <a:pt x="1611896" y="620471"/>
                  </a:lnTo>
                  <a:lnTo>
                    <a:pt x="1611896" y="621106"/>
                  </a:lnTo>
                  <a:lnTo>
                    <a:pt x="1611947" y="621106"/>
                  </a:lnTo>
                  <a:lnTo>
                    <a:pt x="1611947" y="620471"/>
                  </a:lnTo>
                  <a:lnTo>
                    <a:pt x="1611998" y="620471"/>
                  </a:lnTo>
                  <a:lnTo>
                    <a:pt x="1611998" y="621106"/>
                  </a:lnTo>
                  <a:lnTo>
                    <a:pt x="1612049" y="620471"/>
                  </a:lnTo>
                  <a:lnTo>
                    <a:pt x="1612150" y="621106"/>
                  </a:lnTo>
                  <a:lnTo>
                    <a:pt x="1612201" y="620471"/>
                  </a:lnTo>
                  <a:lnTo>
                    <a:pt x="1612595" y="620471"/>
                  </a:lnTo>
                  <a:lnTo>
                    <a:pt x="1612646" y="619773"/>
                  </a:lnTo>
                  <a:lnTo>
                    <a:pt x="1612798" y="619773"/>
                  </a:lnTo>
                  <a:lnTo>
                    <a:pt x="1612849" y="620471"/>
                  </a:lnTo>
                  <a:lnTo>
                    <a:pt x="1612900" y="619773"/>
                  </a:lnTo>
                  <a:lnTo>
                    <a:pt x="1612900" y="620471"/>
                  </a:lnTo>
                  <a:lnTo>
                    <a:pt x="1612938" y="620471"/>
                  </a:lnTo>
                  <a:lnTo>
                    <a:pt x="1612938" y="619773"/>
                  </a:lnTo>
                  <a:lnTo>
                    <a:pt x="1613141" y="619773"/>
                  </a:lnTo>
                  <a:lnTo>
                    <a:pt x="1613141" y="620471"/>
                  </a:lnTo>
                  <a:lnTo>
                    <a:pt x="1613293" y="620471"/>
                  </a:lnTo>
                  <a:lnTo>
                    <a:pt x="1613344" y="619773"/>
                  </a:lnTo>
                  <a:lnTo>
                    <a:pt x="1613585" y="619773"/>
                  </a:lnTo>
                  <a:lnTo>
                    <a:pt x="1613585" y="620471"/>
                  </a:lnTo>
                  <a:lnTo>
                    <a:pt x="1613636" y="620471"/>
                  </a:lnTo>
                  <a:lnTo>
                    <a:pt x="1613738" y="619773"/>
                  </a:lnTo>
                  <a:lnTo>
                    <a:pt x="1614284" y="619773"/>
                  </a:lnTo>
                  <a:lnTo>
                    <a:pt x="1614385" y="620471"/>
                  </a:lnTo>
                  <a:lnTo>
                    <a:pt x="1614385" y="619773"/>
                  </a:lnTo>
                  <a:lnTo>
                    <a:pt x="1614436" y="619773"/>
                  </a:lnTo>
                  <a:lnTo>
                    <a:pt x="1614436" y="620471"/>
                  </a:lnTo>
                  <a:lnTo>
                    <a:pt x="1614487" y="619773"/>
                  </a:lnTo>
                  <a:lnTo>
                    <a:pt x="1614627" y="619773"/>
                  </a:lnTo>
                  <a:lnTo>
                    <a:pt x="1614627" y="620471"/>
                  </a:lnTo>
                  <a:lnTo>
                    <a:pt x="1614678" y="619773"/>
                  </a:lnTo>
                  <a:lnTo>
                    <a:pt x="1614678" y="620471"/>
                  </a:lnTo>
                  <a:lnTo>
                    <a:pt x="1614728" y="620471"/>
                  </a:lnTo>
                  <a:lnTo>
                    <a:pt x="1614728" y="619773"/>
                  </a:lnTo>
                  <a:lnTo>
                    <a:pt x="1614830" y="620471"/>
                  </a:lnTo>
                  <a:lnTo>
                    <a:pt x="1614830" y="619773"/>
                  </a:lnTo>
                  <a:lnTo>
                    <a:pt x="1614931" y="619773"/>
                  </a:lnTo>
                  <a:lnTo>
                    <a:pt x="1614931" y="619125"/>
                  </a:lnTo>
                  <a:lnTo>
                    <a:pt x="1614982" y="619125"/>
                  </a:lnTo>
                  <a:lnTo>
                    <a:pt x="1614982" y="619773"/>
                  </a:lnTo>
                  <a:lnTo>
                    <a:pt x="1615668" y="619773"/>
                  </a:lnTo>
                  <a:lnTo>
                    <a:pt x="1615770" y="619125"/>
                  </a:lnTo>
                  <a:lnTo>
                    <a:pt x="1615821" y="619773"/>
                  </a:lnTo>
                  <a:lnTo>
                    <a:pt x="1615821" y="619125"/>
                  </a:lnTo>
                  <a:lnTo>
                    <a:pt x="1615871" y="619125"/>
                  </a:lnTo>
                  <a:lnTo>
                    <a:pt x="1615871" y="619773"/>
                  </a:lnTo>
                  <a:lnTo>
                    <a:pt x="1616113" y="619773"/>
                  </a:lnTo>
                  <a:lnTo>
                    <a:pt x="1616214" y="620471"/>
                  </a:lnTo>
                  <a:lnTo>
                    <a:pt x="1616214" y="619773"/>
                  </a:lnTo>
                  <a:lnTo>
                    <a:pt x="1617014" y="619773"/>
                  </a:lnTo>
                  <a:lnTo>
                    <a:pt x="1617014" y="619125"/>
                  </a:lnTo>
                  <a:lnTo>
                    <a:pt x="1617154" y="619125"/>
                  </a:lnTo>
                  <a:lnTo>
                    <a:pt x="1617154" y="619773"/>
                  </a:lnTo>
                  <a:lnTo>
                    <a:pt x="1617205" y="619125"/>
                  </a:lnTo>
                  <a:lnTo>
                    <a:pt x="1617408" y="619125"/>
                  </a:lnTo>
                  <a:lnTo>
                    <a:pt x="1617459" y="619773"/>
                  </a:lnTo>
                  <a:lnTo>
                    <a:pt x="1617662" y="619773"/>
                  </a:lnTo>
                  <a:lnTo>
                    <a:pt x="1617700" y="619125"/>
                  </a:lnTo>
                  <a:lnTo>
                    <a:pt x="1617802" y="619125"/>
                  </a:lnTo>
                  <a:lnTo>
                    <a:pt x="1617853" y="619773"/>
                  </a:lnTo>
                  <a:lnTo>
                    <a:pt x="1617853" y="619125"/>
                  </a:lnTo>
                  <a:lnTo>
                    <a:pt x="1617903" y="619125"/>
                  </a:lnTo>
                  <a:lnTo>
                    <a:pt x="1618005" y="619773"/>
                  </a:lnTo>
                  <a:lnTo>
                    <a:pt x="1618056" y="619125"/>
                  </a:lnTo>
                  <a:lnTo>
                    <a:pt x="1618106" y="619125"/>
                  </a:lnTo>
                  <a:lnTo>
                    <a:pt x="1618157" y="619773"/>
                  </a:lnTo>
                  <a:lnTo>
                    <a:pt x="1618246" y="619773"/>
                  </a:lnTo>
                  <a:lnTo>
                    <a:pt x="1618246" y="619125"/>
                  </a:lnTo>
                  <a:lnTo>
                    <a:pt x="1618348" y="619125"/>
                  </a:lnTo>
                  <a:lnTo>
                    <a:pt x="1618348" y="619773"/>
                  </a:lnTo>
                  <a:lnTo>
                    <a:pt x="1618602" y="619773"/>
                  </a:lnTo>
                  <a:lnTo>
                    <a:pt x="1618602" y="619125"/>
                  </a:lnTo>
                  <a:lnTo>
                    <a:pt x="1618945" y="619125"/>
                  </a:lnTo>
                  <a:lnTo>
                    <a:pt x="1618996" y="619773"/>
                  </a:lnTo>
                  <a:lnTo>
                    <a:pt x="1619046" y="619125"/>
                  </a:lnTo>
                  <a:lnTo>
                    <a:pt x="1619046" y="619773"/>
                  </a:lnTo>
                  <a:lnTo>
                    <a:pt x="1619148" y="619125"/>
                  </a:lnTo>
                  <a:lnTo>
                    <a:pt x="1619199" y="619125"/>
                  </a:lnTo>
                  <a:lnTo>
                    <a:pt x="1619199" y="619773"/>
                  </a:lnTo>
                  <a:lnTo>
                    <a:pt x="1619389" y="619773"/>
                  </a:lnTo>
                  <a:lnTo>
                    <a:pt x="1619389" y="619125"/>
                  </a:lnTo>
                  <a:lnTo>
                    <a:pt x="1619440" y="619125"/>
                  </a:lnTo>
                  <a:lnTo>
                    <a:pt x="1619491" y="619773"/>
                  </a:lnTo>
                  <a:lnTo>
                    <a:pt x="1619491" y="619125"/>
                  </a:lnTo>
                  <a:lnTo>
                    <a:pt x="1619592" y="619773"/>
                  </a:lnTo>
                  <a:lnTo>
                    <a:pt x="1619592" y="619125"/>
                  </a:lnTo>
                  <a:lnTo>
                    <a:pt x="1619694" y="619125"/>
                  </a:lnTo>
                  <a:lnTo>
                    <a:pt x="1619745" y="619773"/>
                  </a:lnTo>
                  <a:lnTo>
                    <a:pt x="1619834" y="619773"/>
                  </a:lnTo>
                  <a:lnTo>
                    <a:pt x="1619885" y="619125"/>
                  </a:lnTo>
                  <a:lnTo>
                    <a:pt x="1619885" y="619773"/>
                  </a:lnTo>
                  <a:lnTo>
                    <a:pt x="1619935" y="619773"/>
                  </a:lnTo>
                  <a:lnTo>
                    <a:pt x="1619935" y="619125"/>
                  </a:lnTo>
                  <a:lnTo>
                    <a:pt x="1620380" y="619125"/>
                  </a:lnTo>
                  <a:lnTo>
                    <a:pt x="1620431" y="617881"/>
                  </a:lnTo>
                  <a:lnTo>
                    <a:pt x="1620431" y="619125"/>
                  </a:lnTo>
                  <a:lnTo>
                    <a:pt x="1620634" y="619125"/>
                  </a:lnTo>
                  <a:lnTo>
                    <a:pt x="1620735" y="617881"/>
                  </a:lnTo>
                  <a:lnTo>
                    <a:pt x="1620786" y="617881"/>
                  </a:lnTo>
                  <a:lnTo>
                    <a:pt x="1620837" y="619125"/>
                  </a:lnTo>
                  <a:lnTo>
                    <a:pt x="1621028" y="619125"/>
                  </a:lnTo>
                  <a:lnTo>
                    <a:pt x="1621028" y="617881"/>
                  </a:lnTo>
                  <a:lnTo>
                    <a:pt x="1621078" y="619125"/>
                  </a:lnTo>
                  <a:lnTo>
                    <a:pt x="1621180" y="617881"/>
                  </a:lnTo>
                  <a:lnTo>
                    <a:pt x="1621231" y="619125"/>
                  </a:lnTo>
                  <a:lnTo>
                    <a:pt x="1621281" y="619125"/>
                  </a:lnTo>
                  <a:lnTo>
                    <a:pt x="1621332" y="619773"/>
                  </a:lnTo>
                  <a:lnTo>
                    <a:pt x="1621332" y="619125"/>
                  </a:lnTo>
                  <a:lnTo>
                    <a:pt x="1621574" y="619125"/>
                  </a:lnTo>
                  <a:lnTo>
                    <a:pt x="1621675" y="617881"/>
                  </a:lnTo>
                  <a:lnTo>
                    <a:pt x="1621916" y="617881"/>
                  </a:lnTo>
                  <a:lnTo>
                    <a:pt x="1621916" y="619125"/>
                  </a:lnTo>
                  <a:lnTo>
                    <a:pt x="1621967" y="617881"/>
                  </a:lnTo>
                  <a:lnTo>
                    <a:pt x="1622564" y="617881"/>
                  </a:lnTo>
                  <a:lnTo>
                    <a:pt x="1622615" y="619125"/>
                  </a:lnTo>
                  <a:lnTo>
                    <a:pt x="1622666" y="619125"/>
                  </a:lnTo>
                  <a:lnTo>
                    <a:pt x="1622767" y="617881"/>
                  </a:lnTo>
                  <a:lnTo>
                    <a:pt x="1624203" y="617881"/>
                  </a:lnTo>
                  <a:lnTo>
                    <a:pt x="1624253" y="617195"/>
                  </a:lnTo>
                  <a:lnTo>
                    <a:pt x="1624355" y="617195"/>
                  </a:lnTo>
                  <a:lnTo>
                    <a:pt x="1624355" y="617881"/>
                  </a:lnTo>
                  <a:lnTo>
                    <a:pt x="1625053" y="617881"/>
                  </a:lnTo>
                  <a:lnTo>
                    <a:pt x="1625053" y="617195"/>
                  </a:lnTo>
                  <a:lnTo>
                    <a:pt x="1625193" y="617195"/>
                  </a:lnTo>
                  <a:lnTo>
                    <a:pt x="1625295" y="617881"/>
                  </a:lnTo>
                  <a:lnTo>
                    <a:pt x="1625739" y="617881"/>
                  </a:lnTo>
                  <a:lnTo>
                    <a:pt x="1625739" y="617195"/>
                  </a:lnTo>
                  <a:lnTo>
                    <a:pt x="1625841" y="617195"/>
                  </a:lnTo>
                  <a:lnTo>
                    <a:pt x="1625841" y="617881"/>
                  </a:lnTo>
                  <a:lnTo>
                    <a:pt x="1625993" y="617881"/>
                  </a:lnTo>
                  <a:lnTo>
                    <a:pt x="1626044" y="617195"/>
                  </a:lnTo>
                  <a:lnTo>
                    <a:pt x="1626044" y="617881"/>
                  </a:lnTo>
                  <a:lnTo>
                    <a:pt x="1626095" y="617195"/>
                  </a:lnTo>
                  <a:lnTo>
                    <a:pt x="1626235" y="617195"/>
                  </a:lnTo>
                  <a:lnTo>
                    <a:pt x="1626235" y="617881"/>
                  </a:lnTo>
                  <a:lnTo>
                    <a:pt x="1626336" y="617881"/>
                  </a:lnTo>
                  <a:lnTo>
                    <a:pt x="1626336" y="617195"/>
                  </a:lnTo>
                  <a:lnTo>
                    <a:pt x="1626488" y="617195"/>
                  </a:lnTo>
                  <a:lnTo>
                    <a:pt x="1626539" y="617881"/>
                  </a:lnTo>
                  <a:lnTo>
                    <a:pt x="1626641" y="617195"/>
                  </a:lnTo>
                  <a:lnTo>
                    <a:pt x="1627187" y="617195"/>
                  </a:lnTo>
                  <a:lnTo>
                    <a:pt x="1627225" y="617881"/>
                  </a:lnTo>
                  <a:lnTo>
                    <a:pt x="1627225" y="617195"/>
                  </a:lnTo>
                  <a:lnTo>
                    <a:pt x="1628317" y="617195"/>
                  </a:lnTo>
                  <a:lnTo>
                    <a:pt x="1628368" y="616547"/>
                  </a:lnTo>
                  <a:lnTo>
                    <a:pt x="1628965" y="616547"/>
                  </a:lnTo>
                  <a:lnTo>
                    <a:pt x="1628965" y="617195"/>
                  </a:lnTo>
                  <a:lnTo>
                    <a:pt x="1629016" y="616547"/>
                  </a:lnTo>
                  <a:lnTo>
                    <a:pt x="1629117" y="617195"/>
                  </a:lnTo>
                  <a:lnTo>
                    <a:pt x="1629117" y="616547"/>
                  </a:lnTo>
                  <a:lnTo>
                    <a:pt x="1629168" y="616547"/>
                  </a:lnTo>
                  <a:lnTo>
                    <a:pt x="1629219" y="617195"/>
                  </a:lnTo>
                  <a:lnTo>
                    <a:pt x="1629460" y="617195"/>
                  </a:lnTo>
                  <a:lnTo>
                    <a:pt x="1629460" y="616547"/>
                  </a:lnTo>
                  <a:lnTo>
                    <a:pt x="1629613" y="616547"/>
                  </a:lnTo>
                  <a:lnTo>
                    <a:pt x="1629613" y="617195"/>
                  </a:lnTo>
                  <a:lnTo>
                    <a:pt x="1629714" y="617195"/>
                  </a:lnTo>
                  <a:lnTo>
                    <a:pt x="1629816" y="616547"/>
                  </a:lnTo>
                  <a:lnTo>
                    <a:pt x="1629854" y="616547"/>
                  </a:lnTo>
                  <a:lnTo>
                    <a:pt x="1629905" y="615899"/>
                  </a:lnTo>
                  <a:lnTo>
                    <a:pt x="1629956" y="615899"/>
                  </a:lnTo>
                  <a:lnTo>
                    <a:pt x="1630057" y="616547"/>
                  </a:lnTo>
                  <a:lnTo>
                    <a:pt x="1630260" y="616547"/>
                  </a:lnTo>
                  <a:lnTo>
                    <a:pt x="1630311" y="617195"/>
                  </a:lnTo>
                  <a:lnTo>
                    <a:pt x="1630400" y="617195"/>
                  </a:lnTo>
                  <a:lnTo>
                    <a:pt x="1630400" y="616547"/>
                  </a:lnTo>
                  <a:lnTo>
                    <a:pt x="1630502" y="616547"/>
                  </a:lnTo>
                  <a:lnTo>
                    <a:pt x="1630553" y="617195"/>
                  </a:lnTo>
                  <a:lnTo>
                    <a:pt x="1630553" y="616547"/>
                  </a:lnTo>
                  <a:lnTo>
                    <a:pt x="1630603" y="617195"/>
                  </a:lnTo>
                  <a:lnTo>
                    <a:pt x="1630603" y="616547"/>
                  </a:lnTo>
                  <a:lnTo>
                    <a:pt x="1631200" y="616547"/>
                  </a:lnTo>
                  <a:lnTo>
                    <a:pt x="1631251" y="615899"/>
                  </a:lnTo>
                  <a:lnTo>
                    <a:pt x="1631302" y="616547"/>
                  </a:lnTo>
                  <a:lnTo>
                    <a:pt x="1631302" y="615899"/>
                  </a:lnTo>
                  <a:lnTo>
                    <a:pt x="1631441" y="615899"/>
                  </a:lnTo>
                  <a:lnTo>
                    <a:pt x="1631492" y="616547"/>
                  </a:lnTo>
                  <a:lnTo>
                    <a:pt x="1631543" y="616547"/>
                  </a:lnTo>
                  <a:lnTo>
                    <a:pt x="1631645" y="615899"/>
                  </a:lnTo>
                  <a:lnTo>
                    <a:pt x="1631696" y="615899"/>
                  </a:lnTo>
                  <a:lnTo>
                    <a:pt x="1631746" y="616547"/>
                  </a:lnTo>
                  <a:lnTo>
                    <a:pt x="1631848" y="616547"/>
                  </a:lnTo>
                  <a:lnTo>
                    <a:pt x="1631848" y="615899"/>
                  </a:lnTo>
                  <a:lnTo>
                    <a:pt x="1631950" y="615899"/>
                  </a:lnTo>
                  <a:lnTo>
                    <a:pt x="1631950" y="615252"/>
                  </a:lnTo>
                  <a:lnTo>
                    <a:pt x="1631988" y="615899"/>
                  </a:lnTo>
                  <a:lnTo>
                    <a:pt x="1632089" y="615899"/>
                  </a:lnTo>
                  <a:lnTo>
                    <a:pt x="1632089" y="616547"/>
                  </a:lnTo>
                  <a:lnTo>
                    <a:pt x="1632191" y="616547"/>
                  </a:lnTo>
                  <a:lnTo>
                    <a:pt x="1632292" y="615899"/>
                  </a:lnTo>
                  <a:lnTo>
                    <a:pt x="1632292" y="616547"/>
                  </a:lnTo>
                  <a:lnTo>
                    <a:pt x="1632343" y="615899"/>
                  </a:lnTo>
                  <a:lnTo>
                    <a:pt x="1632343" y="616547"/>
                  </a:lnTo>
                  <a:lnTo>
                    <a:pt x="1632394" y="616547"/>
                  </a:lnTo>
                  <a:lnTo>
                    <a:pt x="1632394" y="615899"/>
                  </a:lnTo>
                  <a:lnTo>
                    <a:pt x="1632838" y="615899"/>
                  </a:lnTo>
                  <a:lnTo>
                    <a:pt x="1632889" y="616547"/>
                  </a:lnTo>
                  <a:lnTo>
                    <a:pt x="1632991" y="616547"/>
                  </a:lnTo>
                  <a:lnTo>
                    <a:pt x="1633080" y="615252"/>
                  </a:lnTo>
                  <a:lnTo>
                    <a:pt x="1633131" y="615899"/>
                  </a:lnTo>
                  <a:lnTo>
                    <a:pt x="1633131" y="615252"/>
                  </a:lnTo>
                  <a:lnTo>
                    <a:pt x="1633232" y="615899"/>
                  </a:lnTo>
                  <a:lnTo>
                    <a:pt x="1633575" y="615899"/>
                  </a:lnTo>
                  <a:lnTo>
                    <a:pt x="1633677" y="616547"/>
                  </a:lnTo>
                  <a:lnTo>
                    <a:pt x="1633728" y="615899"/>
                  </a:lnTo>
                  <a:lnTo>
                    <a:pt x="1633981" y="615899"/>
                  </a:lnTo>
                  <a:lnTo>
                    <a:pt x="1634032" y="615252"/>
                  </a:lnTo>
                  <a:lnTo>
                    <a:pt x="1634032" y="615899"/>
                  </a:lnTo>
                  <a:lnTo>
                    <a:pt x="1634172" y="615899"/>
                  </a:lnTo>
                  <a:lnTo>
                    <a:pt x="1634223" y="616547"/>
                  </a:lnTo>
                  <a:lnTo>
                    <a:pt x="1634375" y="616547"/>
                  </a:lnTo>
                  <a:lnTo>
                    <a:pt x="1634375" y="615899"/>
                  </a:lnTo>
                  <a:lnTo>
                    <a:pt x="1634477" y="615899"/>
                  </a:lnTo>
                  <a:lnTo>
                    <a:pt x="1634578" y="616547"/>
                  </a:lnTo>
                  <a:lnTo>
                    <a:pt x="1634578" y="615899"/>
                  </a:lnTo>
                  <a:lnTo>
                    <a:pt x="1634921" y="615899"/>
                  </a:lnTo>
                  <a:lnTo>
                    <a:pt x="1635023" y="615252"/>
                  </a:lnTo>
                  <a:lnTo>
                    <a:pt x="1635074" y="615252"/>
                  </a:lnTo>
                  <a:lnTo>
                    <a:pt x="1635125" y="615899"/>
                  </a:lnTo>
                  <a:lnTo>
                    <a:pt x="1635264" y="615899"/>
                  </a:lnTo>
                  <a:lnTo>
                    <a:pt x="1635315" y="615252"/>
                  </a:lnTo>
                  <a:lnTo>
                    <a:pt x="1635366" y="615252"/>
                  </a:lnTo>
                  <a:lnTo>
                    <a:pt x="1635366" y="615899"/>
                  </a:lnTo>
                  <a:lnTo>
                    <a:pt x="1635467" y="615899"/>
                  </a:lnTo>
                  <a:lnTo>
                    <a:pt x="1635467" y="615252"/>
                  </a:lnTo>
                  <a:lnTo>
                    <a:pt x="1635569" y="615252"/>
                  </a:lnTo>
                  <a:lnTo>
                    <a:pt x="1635620" y="615899"/>
                  </a:lnTo>
                  <a:lnTo>
                    <a:pt x="1635620" y="615252"/>
                  </a:lnTo>
                  <a:lnTo>
                    <a:pt x="1635760" y="615252"/>
                  </a:lnTo>
                  <a:lnTo>
                    <a:pt x="1635760" y="615899"/>
                  </a:lnTo>
                  <a:lnTo>
                    <a:pt x="1635963" y="615899"/>
                  </a:lnTo>
                  <a:lnTo>
                    <a:pt x="1636013" y="615252"/>
                  </a:lnTo>
                  <a:lnTo>
                    <a:pt x="1636064" y="615252"/>
                  </a:lnTo>
                  <a:lnTo>
                    <a:pt x="1636166" y="615899"/>
                  </a:lnTo>
                  <a:lnTo>
                    <a:pt x="1636204" y="615899"/>
                  </a:lnTo>
                  <a:lnTo>
                    <a:pt x="1636204" y="615252"/>
                  </a:lnTo>
                  <a:lnTo>
                    <a:pt x="1636750" y="615252"/>
                  </a:lnTo>
                  <a:lnTo>
                    <a:pt x="1636750" y="615899"/>
                  </a:lnTo>
                  <a:lnTo>
                    <a:pt x="1636852" y="615252"/>
                  </a:lnTo>
                  <a:lnTo>
                    <a:pt x="1636903" y="615899"/>
                  </a:lnTo>
                  <a:lnTo>
                    <a:pt x="1636903" y="615252"/>
                  </a:lnTo>
                  <a:lnTo>
                    <a:pt x="1637055" y="615252"/>
                  </a:lnTo>
                  <a:lnTo>
                    <a:pt x="1637106" y="613969"/>
                  </a:lnTo>
                  <a:lnTo>
                    <a:pt x="1637106" y="615252"/>
                  </a:lnTo>
                  <a:lnTo>
                    <a:pt x="1637753" y="615252"/>
                  </a:lnTo>
                  <a:lnTo>
                    <a:pt x="1637753" y="613969"/>
                  </a:lnTo>
                  <a:lnTo>
                    <a:pt x="1637791" y="613969"/>
                  </a:lnTo>
                  <a:lnTo>
                    <a:pt x="1637791" y="615252"/>
                  </a:lnTo>
                  <a:lnTo>
                    <a:pt x="1637842" y="615252"/>
                  </a:lnTo>
                  <a:lnTo>
                    <a:pt x="1637893" y="613969"/>
                  </a:lnTo>
                  <a:lnTo>
                    <a:pt x="1637995" y="613969"/>
                  </a:lnTo>
                  <a:lnTo>
                    <a:pt x="1637995" y="615252"/>
                  </a:lnTo>
                  <a:lnTo>
                    <a:pt x="1638046" y="615252"/>
                  </a:lnTo>
                  <a:lnTo>
                    <a:pt x="1638046" y="615899"/>
                  </a:lnTo>
                  <a:lnTo>
                    <a:pt x="1638096" y="615252"/>
                  </a:lnTo>
                  <a:lnTo>
                    <a:pt x="1638198" y="615252"/>
                  </a:lnTo>
                  <a:lnTo>
                    <a:pt x="1638198" y="613969"/>
                  </a:lnTo>
                  <a:lnTo>
                    <a:pt x="1638249" y="615252"/>
                  </a:lnTo>
                  <a:lnTo>
                    <a:pt x="1638795" y="615252"/>
                  </a:lnTo>
                  <a:lnTo>
                    <a:pt x="1638795" y="615899"/>
                  </a:lnTo>
                  <a:lnTo>
                    <a:pt x="1638884" y="615899"/>
                  </a:lnTo>
                  <a:lnTo>
                    <a:pt x="1638935" y="615252"/>
                  </a:lnTo>
                  <a:lnTo>
                    <a:pt x="1638985" y="615252"/>
                  </a:lnTo>
                  <a:lnTo>
                    <a:pt x="1638985" y="613969"/>
                  </a:lnTo>
                  <a:lnTo>
                    <a:pt x="1639036" y="615252"/>
                  </a:lnTo>
                  <a:lnTo>
                    <a:pt x="1639138" y="613969"/>
                  </a:lnTo>
                  <a:lnTo>
                    <a:pt x="1639188" y="613969"/>
                  </a:lnTo>
                  <a:lnTo>
                    <a:pt x="1639239" y="615252"/>
                  </a:lnTo>
                  <a:lnTo>
                    <a:pt x="1639430" y="615252"/>
                  </a:lnTo>
                  <a:lnTo>
                    <a:pt x="1639481" y="613969"/>
                  </a:lnTo>
                  <a:lnTo>
                    <a:pt x="1639481" y="615252"/>
                  </a:lnTo>
                  <a:lnTo>
                    <a:pt x="1639582" y="615252"/>
                  </a:lnTo>
                  <a:lnTo>
                    <a:pt x="1639582" y="613969"/>
                  </a:lnTo>
                  <a:lnTo>
                    <a:pt x="1639684" y="613969"/>
                  </a:lnTo>
                  <a:lnTo>
                    <a:pt x="1639684" y="615252"/>
                  </a:lnTo>
                  <a:lnTo>
                    <a:pt x="1639785" y="615252"/>
                  </a:lnTo>
                  <a:lnTo>
                    <a:pt x="1639836" y="615899"/>
                  </a:lnTo>
                  <a:lnTo>
                    <a:pt x="1639887" y="615899"/>
                  </a:lnTo>
                  <a:lnTo>
                    <a:pt x="1639925" y="615252"/>
                  </a:lnTo>
                  <a:lnTo>
                    <a:pt x="1640027" y="615252"/>
                  </a:lnTo>
                  <a:lnTo>
                    <a:pt x="1640027" y="613969"/>
                  </a:lnTo>
                  <a:lnTo>
                    <a:pt x="1640128" y="613969"/>
                  </a:lnTo>
                  <a:lnTo>
                    <a:pt x="1640128" y="615252"/>
                  </a:lnTo>
                  <a:lnTo>
                    <a:pt x="1640281" y="615252"/>
                  </a:lnTo>
                  <a:lnTo>
                    <a:pt x="1640281" y="613969"/>
                  </a:lnTo>
                  <a:lnTo>
                    <a:pt x="1640331" y="615252"/>
                  </a:lnTo>
                  <a:lnTo>
                    <a:pt x="1640382" y="615252"/>
                  </a:lnTo>
                  <a:lnTo>
                    <a:pt x="1640471" y="613969"/>
                  </a:lnTo>
                  <a:lnTo>
                    <a:pt x="1640725" y="613969"/>
                  </a:lnTo>
                  <a:lnTo>
                    <a:pt x="1640725" y="615252"/>
                  </a:lnTo>
                  <a:lnTo>
                    <a:pt x="1640827" y="615252"/>
                  </a:lnTo>
                  <a:lnTo>
                    <a:pt x="1640827" y="613969"/>
                  </a:lnTo>
                  <a:lnTo>
                    <a:pt x="1641475" y="613969"/>
                  </a:lnTo>
                  <a:lnTo>
                    <a:pt x="1641475" y="615252"/>
                  </a:lnTo>
                  <a:lnTo>
                    <a:pt x="1641513" y="615252"/>
                  </a:lnTo>
                  <a:lnTo>
                    <a:pt x="1641513" y="613969"/>
                  </a:lnTo>
                  <a:lnTo>
                    <a:pt x="1642059" y="613969"/>
                  </a:lnTo>
                  <a:lnTo>
                    <a:pt x="1642059" y="613321"/>
                  </a:lnTo>
                  <a:lnTo>
                    <a:pt x="1642110" y="613969"/>
                  </a:lnTo>
                  <a:lnTo>
                    <a:pt x="1642363" y="613969"/>
                  </a:lnTo>
                  <a:lnTo>
                    <a:pt x="1642363" y="613321"/>
                  </a:lnTo>
                  <a:lnTo>
                    <a:pt x="1642414" y="613321"/>
                  </a:lnTo>
                  <a:lnTo>
                    <a:pt x="1642516" y="613969"/>
                  </a:lnTo>
                  <a:lnTo>
                    <a:pt x="1642554" y="613321"/>
                  </a:lnTo>
                  <a:lnTo>
                    <a:pt x="1642605" y="613969"/>
                  </a:lnTo>
                  <a:lnTo>
                    <a:pt x="1642656" y="613969"/>
                  </a:lnTo>
                  <a:lnTo>
                    <a:pt x="1642656" y="615252"/>
                  </a:lnTo>
                  <a:lnTo>
                    <a:pt x="1642757" y="613969"/>
                  </a:lnTo>
                  <a:lnTo>
                    <a:pt x="1643062" y="613969"/>
                  </a:lnTo>
                  <a:lnTo>
                    <a:pt x="1643062" y="613321"/>
                  </a:lnTo>
                  <a:lnTo>
                    <a:pt x="1643100" y="613321"/>
                  </a:lnTo>
                  <a:lnTo>
                    <a:pt x="1643202" y="613969"/>
                  </a:lnTo>
                  <a:lnTo>
                    <a:pt x="1643253" y="613969"/>
                  </a:lnTo>
                  <a:lnTo>
                    <a:pt x="1643303" y="613321"/>
                  </a:lnTo>
                  <a:lnTo>
                    <a:pt x="1643557" y="613321"/>
                  </a:lnTo>
                  <a:lnTo>
                    <a:pt x="1643646" y="613969"/>
                  </a:lnTo>
                  <a:lnTo>
                    <a:pt x="1643646" y="613321"/>
                  </a:lnTo>
                  <a:lnTo>
                    <a:pt x="1643697" y="613321"/>
                  </a:lnTo>
                  <a:lnTo>
                    <a:pt x="1643748" y="613969"/>
                  </a:lnTo>
                  <a:lnTo>
                    <a:pt x="1643748" y="613321"/>
                  </a:lnTo>
                  <a:lnTo>
                    <a:pt x="1643799" y="613969"/>
                  </a:lnTo>
                  <a:lnTo>
                    <a:pt x="1643900" y="613969"/>
                  </a:lnTo>
                  <a:lnTo>
                    <a:pt x="1643900" y="613321"/>
                  </a:lnTo>
                  <a:lnTo>
                    <a:pt x="1644243" y="613321"/>
                  </a:lnTo>
                  <a:lnTo>
                    <a:pt x="1644345" y="613969"/>
                  </a:lnTo>
                  <a:lnTo>
                    <a:pt x="1644396" y="613321"/>
                  </a:lnTo>
                  <a:lnTo>
                    <a:pt x="1644396" y="613969"/>
                  </a:lnTo>
                  <a:lnTo>
                    <a:pt x="1644599" y="613969"/>
                  </a:lnTo>
                  <a:lnTo>
                    <a:pt x="1644599" y="613321"/>
                  </a:lnTo>
                  <a:lnTo>
                    <a:pt x="1644840" y="613321"/>
                  </a:lnTo>
                  <a:lnTo>
                    <a:pt x="1644840" y="613969"/>
                  </a:lnTo>
                  <a:lnTo>
                    <a:pt x="1644992" y="613969"/>
                  </a:lnTo>
                  <a:lnTo>
                    <a:pt x="1644992" y="613321"/>
                  </a:lnTo>
                  <a:lnTo>
                    <a:pt x="1645043" y="613321"/>
                  </a:lnTo>
                  <a:lnTo>
                    <a:pt x="1645094" y="612673"/>
                  </a:lnTo>
                  <a:lnTo>
                    <a:pt x="1645094" y="613321"/>
                  </a:lnTo>
                  <a:lnTo>
                    <a:pt x="1645335" y="613321"/>
                  </a:lnTo>
                  <a:lnTo>
                    <a:pt x="1645386" y="612673"/>
                  </a:lnTo>
                  <a:lnTo>
                    <a:pt x="1645488" y="612673"/>
                  </a:lnTo>
                  <a:lnTo>
                    <a:pt x="1645538" y="613321"/>
                  </a:lnTo>
                  <a:lnTo>
                    <a:pt x="1645589" y="613321"/>
                  </a:lnTo>
                  <a:lnTo>
                    <a:pt x="1645691" y="612673"/>
                  </a:lnTo>
                  <a:lnTo>
                    <a:pt x="1645691" y="613321"/>
                  </a:lnTo>
                  <a:lnTo>
                    <a:pt x="1645729" y="612673"/>
                  </a:lnTo>
                  <a:lnTo>
                    <a:pt x="1645780" y="613321"/>
                  </a:lnTo>
                  <a:lnTo>
                    <a:pt x="1645983" y="613321"/>
                  </a:lnTo>
                  <a:lnTo>
                    <a:pt x="1645983" y="612673"/>
                  </a:lnTo>
                  <a:lnTo>
                    <a:pt x="1646034" y="613321"/>
                  </a:lnTo>
                  <a:lnTo>
                    <a:pt x="1646237" y="613321"/>
                  </a:lnTo>
                  <a:lnTo>
                    <a:pt x="1646237" y="612673"/>
                  </a:lnTo>
                  <a:lnTo>
                    <a:pt x="1646275" y="613321"/>
                  </a:lnTo>
                  <a:lnTo>
                    <a:pt x="1646377" y="612673"/>
                  </a:lnTo>
                  <a:lnTo>
                    <a:pt x="1646478" y="612673"/>
                  </a:lnTo>
                  <a:lnTo>
                    <a:pt x="1646580" y="613321"/>
                  </a:lnTo>
                  <a:lnTo>
                    <a:pt x="1646580" y="612673"/>
                  </a:lnTo>
                  <a:lnTo>
                    <a:pt x="1646631" y="613321"/>
                  </a:lnTo>
                  <a:lnTo>
                    <a:pt x="1646681" y="613321"/>
                  </a:lnTo>
                  <a:lnTo>
                    <a:pt x="1646732" y="612673"/>
                  </a:lnTo>
                  <a:lnTo>
                    <a:pt x="1646821" y="613321"/>
                  </a:lnTo>
                  <a:lnTo>
                    <a:pt x="1646923" y="613321"/>
                  </a:lnTo>
                  <a:lnTo>
                    <a:pt x="1646974" y="612673"/>
                  </a:lnTo>
                  <a:lnTo>
                    <a:pt x="1646974" y="613321"/>
                  </a:lnTo>
                  <a:lnTo>
                    <a:pt x="1647075" y="612673"/>
                  </a:lnTo>
                  <a:lnTo>
                    <a:pt x="1647774" y="612673"/>
                  </a:lnTo>
                  <a:lnTo>
                    <a:pt x="1647774" y="613321"/>
                  </a:lnTo>
                  <a:lnTo>
                    <a:pt x="1647863" y="613321"/>
                  </a:lnTo>
                  <a:lnTo>
                    <a:pt x="1647964" y="612673"/>
                  </a:lnTo>
                  <a:lnTo>
                    <a:pt x="1648066" y="612673"/>
                  </a:lnTo>
                  <a:lnTo>
                    <a:pt x="1648167" y="613321"/>
                  </a:lnTo>
                  <a:lnTo>
                    <a:pt x="1648409" y="613321"/>
                  </a:lnTo>
                  <a:lnTo>
                    <a:pt x="1648409" y="612673"/>
                  </a:lnTo>
                  <a:lnTo>
                    <a:pt x="1648510" y="612673"/>
                  </a:lnTo>
                  <a:lnTo>
                    <a:pt x="1648561" y="613321"/>
                  </a:lnTo>
                  <a:lnTo>
                    <a:pt x="1648663" y="612673"/>
                  </a:lnTo>
                  <a:lnTo>
                    <a:pt x="1648955" y="612673"/>
                  </a:lnTo>
                  <a:lnTo>
                    <a:pt x="1648955" y="613321"/>
                  </a:lnTo>
                  <a:lnTo>
                    <a:pt x="1649006" y="612673"/>
                  </a:lnTo>
                  <a:lnTo>
                    <a:pt x="1649310" y="612673"/>
                  </a:lnTo>
                  <a:lnTo>
                    <a:pt x="1649310" y="611988"/>
                  </a:lnTo>
                  <a:lnTo>
                    <a:pt x="1649361" y="612673"/>
                  </a:lnTo>
                  <a:lnTo>
                    <a:pt x="1649361" y="611988"/>
                  </a:lnTo>
                  <a:lnTo>
                    <a:pt x="1649412" y="611988"/>
                  </a:lnTo>
                  <a:lnTo>
                    <a:pt x="1649412" y="612673"/>
                  </a:lnTo>
                  <a:lnTo>
                    <a:pt x="1649450" y="612673"/>
                  </a:lnTo>
                  <a:lnTo>
                    <a:pt x="1649552" y="613321"/>
                  </a:lnTo>
                  <a:lnTo>
                    <a:pt x="1649603" y="612673"/>
                  </a:lnTo>
                  <a:lnTo>
                    <a:pt x="1649653" y="611988"/>
                  </a:lnTo>
                  <a:lnTo>
                    <a:pt x="1650098" y="611988"/>
                  </a:lnTo>
                  <a:lnTo>
                    <a:pt x="1650149" y="612673"/>
                  </a:lnTo>
                  <a:lnTo>
                    <a:pt x="1650149" y="611988"/>
                  </a:lnTo>
                  <a:lnTo>
                    <a:pt x="1650491" y="611988"/>
                  </a:lnTo>
                  <a:lnTo>
                    <a:pt x="1650491" y="612673"/>
                  </a:lnTo>
                  <a:lnTo>
                    <a:pt x="1650746" y="612673"/>
                  </a:lnTo>
                  <a:lnTo>
                    <a:pt x="1650746" y="611988"/>
                  </a:lnTo>
                  <a:lnTo>
                    <a:pt x="1651685" y="611988"/>
                  </a:lnTo>
                  <a:lnTo>
                    <a:pt x="1651685" y="610692"/>
                  </a:lnTo>
                  <a:lnTo>
                    <a:pt x="1651736" y="611988"/>
                  </a:lnTo>
                  <a:lnTo>
                    <a:pt x="1652181" y="611988"/>
                  </a:lnTo>
                  <a:lnTo>
                    <a:pt x="1652282" y="610692"/>
                  </a:lnTo>
                  <a:lnTo>
                    <a:pt x="1652282" y="611988"/>
                  </a:lnTo>
                  <a:lnTo>
                    <a:pt x="1652333" y="610692"/>
                  </a:lnTo>
                  <a:lnTo>
                    <a:pt x="1652384" y="610692"/>
                  </a:lnTo>
                  <a:lnTo>
                    <a:pt x="1652485" y="611988"/>
                  </a:lnTo>
                  <a:lnTo>
                    <a:pt x="1652587" y="611988"/>
                  </a:lnTo>
                  <a:lnTo>
                    <a:pt x="1652625" y="610692"/>
                  </a:lnTo>
                  <a:lnTo>
                    <a:pt x="1652625" y="611988"/>
                  </a:lnTo>
                  <a:lnTo>
                    <a:pt x="1653031" y="611988"/>
                  </a:lnTo>
                  <a:lnTo>
                    <a:pt x="1653031" y="610692"/>
                  </a:lnTo>
                  <a:lnTo>
                    <a:pt x="1653222" y="610692"/>
                  </a:lnTo>
                  <a:lnTo>
                    <a:pt x="1653273" y="611988"/>
                  </a:lnTo>
                  <a:lnTo>
                    <a:pt x="1653324" y="610692"/>
                  </a:lnTo>
                  <a:lnTo>
                    <a:pt x="1653476" y="610692"/>
                  </a:lnTo>
                  <a:lnTo>
                    <a:pt x="1653476" y="611988"/>
                  </a:lnTo>
                  <a:lnTo>
                    <a:pt x="1653666" y="611988"/>
                  </a:lnTo>
                  <a:lnTo>
                    <a:pt x="1653717" y="610692"/>
                  </a:lnTo>
                  <a:lnTo>
                    <a:pt x="1653768" y="610692"/>
                  </a:lnTo>
                  <a:lnTo>
                    <a:pt x="1653870" y="609994"/>
                  </a:lnTo>
                  <a:lnTo>
                    <a:pt x="1653870" y="610692"/>
                  </a:lnTo>
                  <a:lnTo>
                    <a:pt x="1653971" y="610692"/>
                  </a:lnTo>
                  <a:lnTo>
                    <a:pt x="1654073" y="611988"/>
                  </a:lnTo>
                  <a:lnTo>
                    <a:pt x="1654124" y="610692"/>
                  </a:lnTo>
                  <a:lnTo>
                    <a:pt x="1654124" y="611988"/>
                  </a:lnTo>
                  <a:lnTo>
                    <a:pt x="1654175" y="610692"/>
                  </a:lnTo>
                  <a:lnTo>
                    <a:pt x="1654213" y="610692"/>
                  </a:lnTo>
                  <a:lnTo>
                    <a:pt x="1654314" y="611988"/>
                  </a:lnTo>
                  <a:lnTo>
                    <a:pt x="1654365" y="610692"/>
                  </a:lnTo>
                  <a:lnTo>
                    <a:pt x="1654416" y="611988"/>
                  </a:lnTo>
                  <a:lnTo>
                    <a:pt x="1654416" y="610692"/>
                  </a:lnTo>
                  <a:lnTo>
                    <a:pt x="1654517" y="610692"/>
                  </a:lnTo>
                  <a:lnTo>
                    <a:pt x="1654517" y="611988"/>
                  </a:lnTo>
                  <a:lnTo>
                    <a:pt x="1654568" y="610692"/>
                  </a:lnTo>
                  <a:lnTo>
                    <a:pt x="1654860" y="610692"/>
                  </a:lnTo>
                  <a:lnTo>
                    <a:pt x="1654860" y="611988"/>
                  </a:lnTo>
                  <a:lnTo>
                    <a:pt x="1655013" y="611988"/>
                  </a:lnTo>
                  <a:lnTo>
                    <a:pt x="1655013" y="610692"/>
                  </a:lnTo>
                  <a:lnTo>
                    <a:pt x="1655063" y="610692"/>
                  </a:lnTo>
                  <a:lnTo>
                    <a:pt x="1655114" y="609994"/>
                  </a:lnTo>
                  <a:lnTo>
                    <a:pt x="1655114" y="610692"/>
                  </a:lnTo>
                  <a:lnTo>
                    <a:pt x="1655216" y="609994"/>
                  </a:lnTo>
                  <a:lnTo>
                    <a:pt x="1655254" y="610692"/>
                  </a:lnTo>
                  <a:lnTo>
                    <a:pt x="1655559" y="610692"/>
                  </a:lnTo>
                  <a:lnTo>
                    <a:pt x="1655660" y="609994"/>
                  </a:lnTo>
                  <a:lnTo>
                    <a:pt x="1655762" y="609994"/>
                  </a:lnTo>
                  <a:lnTo>
                    <a:pt x="1655800" y="610692"/>
                  </a:lnTo>
                  <a:lnTo>
                    <a:pt x="1655953" y="610692"/>
                  </a:lnTo>
                  <a:lnTo>
                    <a:pt x="1656003" y="609994"/>
                  </a:lnTo>
                  <a:lnTo>
                    <a:pt x="1656003" y="610692"/>
                  </a:lnTo>
                  <a:lnTo>
                    <a:pt x="1656105" y="609994"/>
                  </a:lnTo>
                  <a:lnTo>
                    <a:pt x="1656156" y="610692"/>
                  </a:lnTo>
                  <a:lnTo>
                    <a:pt x="1656206" y="609994"/>
                  </a:lnTo>
                  <a:lnTo>
                    <a:pt x="1656346" y="609994"/>
                  </a:lnTo>
                  <a:lnTo>
                    <a:pt x="1656397" y="610692"/>
                  </a:lnTo>
                  <a:lnTo>
                    <a:pt x="1656499" y="610692"/>
                  </a:lnTo>
                  <a:lnTo>
                    <a:pt x="1656499" y="609994"/>
                  </a:lnTo>
                  <a:lnTo>
                    <a:pt x="1656841" y="609994"/>
                  </a:lnTo>
                  <a:lnTo>
                    <a:pt x="1656841" y="610692"/>
                  </a:lnTo>
                  <a:lnTo>
                    <a:pt x="1656892" y="610692"/>
                  </a:lnTo>
                  <a:lnTo>
                    <a:pt x="1656892" y="609994"/>
                  </a:lnTo>
                  <a:lnTo>
                    <a:pt x="1656943" y="610692"/>
                  </a:lnTo>
                  <a:lnTo>
                    <a:pt x="1657248" y="610692"/>
                  </a:lnTo>
                  <a:lnTo>
                    <a:pt x="1657299" y="609994"/>
                  </a:lnTo>
                  <a:lnTo>
                    <a:pt x="1657299" y="610692"/>
                  </a:lnTo>
                  <a:lnTo>
                    <a:pt x="1657350" y="609994"/>
                  </a:lnTo>
                  <a:lnTo>
                    <a:pt x="1657540" y="609994"/>
                  </a:lnTo>
                  <a:lnTo>
                    <a:pt x="1657591" y="610692"/>
                  </a:lnTo>
                  <a:lnTo>
                    <a:pt x="1657591" y="609994"/>
                  </a:lnTo>
                  <a:lnTo>
                    <a:pt x="1658429" y="609994"/>
                  </a:lnTo>
                  <a:lnTo>
                    <a:pt x="1658429" y="609359"/>
                  </a:lnTo>
                  <a:lnTo>
                    <a:pt x="1658480" y="609359"/>
                  </a:lnTo>
                  <a:lnTo>
                    <a:pt x="1658480" y="609994"/>
                  </a:lnTo>
                  <a:lnTo>
                    <a:pt x="1658632" y="609994"/>
                  </a:lnTo>
                  <a:lnTo>
                    <a:pt x="1658683" y="609359"/>
                  </a:lnTo>
                  <a:lnTo>
                    <a:pt x="1658683" y="609994"/>
                  </a:lnTo>
                  <a:lnTo>
                    <a:pt x="1658734" y="609994"/>
                  </a:lnTo>
                  <a:lnTo>
                    <a:pt x="1658734" y="609359"/>
                  </a:lnTo>
                  <a:lnTo>
                    <a:pt x="1658886" y="609359"/>
                  </a:lnTo>
                  <a:lnTo>
                    <a:pt x="1658886" y="609994"/>
                  </a:lnTo>
                  <a:lnTo>
                    <a:pt x="1659128" y="609994"/>
                  </a:lnTo>
                  <a:lnTo>
                    <a:pt x="1659128" y="609359"/>
                  </a:lnTo>
                  <a:lnTo>
                    <a:pt x="1659178" y="609359"/>
                  </a:lnTo>
                  <a:lnTo>
                    <a:pt x="1659280" y="609994"/>
                  </a:lnTo>
                  <a:lnTo>
                    <a:pt x="1659331" y="609994"/>
                  </a:lnTo>
                  <a:lnTo>
                    <a:pt x="1659381" y="609359"/>
                  </a:lnTo>
                  <a:lnTo>
                    <a:pt x="1659381" y="609994"/>
                  </a:lnTo>
                  <a:lnTo>
                    <a:pt x="1659623" y="609994"/>
                  </a:lnTo>
                  <a:lnTo>
                    <a:pt x="1659623" y="609359"/>
                  </a:lnTo>
                  <a:lnTo>
                    <a:pt x="1659674" y="609359"/>
                  </a:lnTo>
                  <a:lnTo>
                    <a:pt x="1659674" y="609994"/>
                  </a:lnTo>
                  <a:lnTo>
                    <a:pt x="1659877" y="609994"/>
                  </a:lnTo>
                  <a:lnTo>
                    <a:pt x="1659877" y="609359"/>
                  </a:lnTo>
                  <a:lnTo>
                    <a:pt x="1659978" y="609994"/>
                  </a:lnTo>
                  <a:lnTo>
                    <a:pt x="1660016" y="609359"/>
                  </a:lnTo>
                  <a:lnTo>
                    <a:pt x="1660016" y="609994"/>
                  </a:lnTo>
                  <a:lnTo>
                    <a:pt x="1660067" y="609359"/>
                  </a:lnTo>
                  <a:lnTo>
                    <a:pt x="1660220" y="609359"/>
                  </a:lnTo>
                  <a:lnTo>
                    <a:pt x="1660271" y="609994"/>
                  </a:lnTo>
                  <a:lnTo>
                    <a:pt x="1660271" y="609359"/>
                  </a:lnTo>
                  <a:lnTo>
                    <a:pt x="1660321" y="609994"/>
                  </a:lnTo>
                  <a:lnTo>
                    <a:pt x="1660321" y="609359"/>
                  </a:lnTo>
                  <a:lnTo>
                    <a:pt x="1660474" y="609359"/>
                  </a:lnTo>
                  <a:lnTo>
                    <a:pt x="1660474" y="609994"/>
                  </a:lnTo>
                  <a:lnTo>
                    <a:pt x="1660563" y="609994"/>
                  </a:lnTo>
                  <a:lnTo>
                    <a:pt x="1660563" y="609359"/>
                  </a:lnTo>
                  <a:lnTo>
                    <a:pt x="1660969" y="609359"/>
                  </a:lnTo>
                  <a:lnTo>
                    <a:pt x="1661020" y="609994"/>
                  </a:lnTo>
                  <a:lnTo>
                    <a:pt x="1661109" y="609994"/>
                  </a:lnTo>
                  <a:lnTo>
                    <a:pt x="1661109" y="609359"/>
                  </a:lnTo>
                  <a:lnTo>
                    <a:pt x="1661413" y="609359"/>
                  </a:lnTo>
                  <a:lnTo>
                    <a:pt x="1661413" y="608762"/>
                  </a:lnTo>
                  <a:lnTo>
                    <a:pt x="1661464" y="608762"/>
                  </a:lnTo>
                  <a:lnTo>
                    <a:pt x="1661464" y="609359"/>
                  </a:lnTo>
                  <a:lnTo>
                    <a:pt x="1662747" y="609359"/>
                  </a:lnTo>
                  <a:lnTo>
                    <a:pt x="1662798" y="608762"/>
                  </a:lnTo>
                  <a:lnTo>
                    <a:pt x="1662798" y="609359"/>
                  </a:lnTo>
                  <a:lnTo>
                    <a:pt x="1662950" y="609359"/>
                  </a:lnTo>
                  <a:lnTo>
                    <a:pt x="1663001" y="608762"/>
                  </a:lnTo>
                  <a:lnTo>
                    <a:pt x="1663052" y="608762"/>
                  </a:lnTo>
                  <a:lnTo>
                    <a:pt x="1663052" y="609359"/>
                  </a:lnTo>
                  <a:lnTo>
                    <a:pt x="1663446" y="609359"/>
                  </a:lnTo>
                  <a:lnTo>
                    <a:pt x="1663496" y="608762"/>
                  </a:lnTo>
                  <a:lnTo>
                    <a:pt x="1663598" y="608762"/>
                  </a:lnTo>
                  <a:lnTo>
                    <a:pt x="1663598" y="609359"/>
                  </a:lnTo>
                  <a:lnTo>
                    <a:pt x="1663649" y="608762"/>
                  </a:lnTo>
                  <a:lnTo>
                    <a:pt x="1663839" y="608762"/>
                  </a:lnTo>
                  <a:lnTo>
                    <a:pt x="1663839" y="609359"/>
                  </a:lnTo>
                  <a:lnTo>
                    <a:pt x="1663890" y="608762"/>
                  </a:lnTo>
                  <a:lnTo>
                    <a:pt x="1663941" y="608762"/>
                  </a:lnTo>
                  <a:lnTo>
                    <a:pt x="1664042" y="608114"/>
                  </a:lnTo>
                  <a:lnTo>
                    <a:pt x="1664042" y="608762"/>
                  </a:lnTo>
                  <a:lnTo>
                    <a:pt x="1664093" y="608762"/>
                  </a:lnTo>
                  <a:lnTo>
                    <a:pt x="1664144" y="609359"/>
                  </a:lnTo>
                  <a:lnTo>
                    <a:pt x="1664195" y="609359"/>
                  </a:lnTo>
                  <a:lnTo>
                    <a:pt x="1664284" y="608762"/>
                  </a:lnTo>
                  <a:lnTo>
                    <a:pt x="1665033" y="608762"/>
                  </a:lnTo>
                  <a:lnTo>
                    <a:pt x="1665033" y="608114"/>
                  </a:lnTo>
                  <a:lnTo>
                    <a:pt x="1665084" y="608762"/>
                  </a:lnTo>
                  <a:lnTo>
                    <a:pt x="1665185" y="608762"/>
                  </a:lnTo>
                  <a:lnTo>
                    <a:pt x="1665185" y="609359"/>
                  </a:lnTo>
                  <a:lnTo>
                    <a:pt x="1665236" y="609359"/>
                  </a:lnTo>
                  <a:lnTo>
                    <a:pt x="1665236" y="608762"/>
                  </a:lnTo>
                  <a:lnTo>
                    <a:pt x="1665427" y="608762"/>
                  </a:lnTo>
                  <a:lnTo>
                    <a:pt x="1665478" y="609359"/>
                  </a:lnTo>
                  <a:lnTo>
                    <a:pt x="1665478" y="608762"/>
                  </a:lnTo>
                  <a:lnTo>
                    <a:pt x="1665681" y="608762"/>
                  </a:lnTo>
                  <a:lnTo>
                    <a:pt x="1665731" y="608114"/>
                  </a:lnTo>
                  <a:lnTo>
                    <a:pt x="1665731" y="608762"/>
                  </a:lnTo>
                  <a:lnTo>
                    <a:pt x="1665782" y="608762"/>
                  </a:lnTo>
                  <a:lnTo>
                    <a:pt x="1665871" y="609359"/>
                  </a:lnTo>
                  <a:lnTo>
                    <a:pt x="1665871" y="608762"/>
                  </a:lnTo>
                  <a:lnTo>
                    <a:pt x="1666227" y="608762"/>
                  </a:lnTo>
                  <a:lnTo>
                    <a:pt x="1666227" y="609359"/>
                  </a:lnTo>
                  <a:lnTo>
                    <a:pt x="1666328" y="608762"/>
                  </a:lnTo>
                  <a:lnTo>
                    <a:pt x="1666621" y="608762"/>
                  </a:lnTo>
                  <a:lnTo>
                    <a:pt x="1666621" y="608114"/>
                  </a:lnTo>
                  <a:lnTo>
                    <a:pt x="1666671" y="608114"/>
                  </a:lnTo>
                  <a:lnTo>
                    <a:pt x="1666671" y="608762"/>
                  </a:lnTo>
                  <a:lnTo>
                    <a:pt x="1666773" y="608762"/>
                  </a:lnTo>
                  <a:lnTo>
                    <a:pt x="1666773" y="608114"/>
                  </a:lnTo>
                  <a:lnTo>
                    <a:pt x="1666824" y="608762"/>
                  </a:lnTo>
                  <a:lnTo>
                    <a:pt x="1666875" y="608762"/>
                  </a:lnTo>
                  <a:lnTo>
                    <a:pt x="1666913" y="609359"/>
                  </a:lnTo>
                  <a:lnTo>
                    <a:pt x="1666913" y="608762"/>
                  </a:lnTo>
                  <a:lnTo>
                    <a:pt x="1667116" y="608762"/>
                  </a:lnTo>
                  <a:lnTo>
                    <a:pt x="1667217" y="608114"/>
                  </a:lnTo>
                  <a:lnTo>
                    <a:pt x="1667217" y="609359"/>
                  </a:lnTo>
                  <a:lnTo>
                    <a:pt x="1667268" y="608762"/>
                  </a:lnTo>
                  <a:lnTo>
                    <a:pt x="1667319" y="609359"/>
                  </a:lnTo>
                  <a:lnTo>
                    <a:pt x="1667319" y="608114"/>
                  </a:lnTo>
                  <a:lnTo>
                    <a:pt x="1667370" y="608762"/>
                  </a:lnTo>
                  <a:lnTo>
                    <a:pt x="1667459" y="608114"/>
                  </a:lnTo>
                  <a:lnTo>
                    <a:pt x="1667459" y="608762"/>
                  </a:lnTo>
                  <a:lnTo>
                    <a:pt x="1667560" y="608762"/>
                  </a:lnTo>
                  <a:lnTo>
                    <a:pt x="1667611" y="608114"/>
                  </a:lnTo>
                  <a:lnTo>
                    <a:pt x="1667763" y="608114"/>
                  </a:lnTo>
                  <a:lnTo>
                    <a:pt x="1667763" y="608762"/>
                  </a:lnTo>
                  <a:lnTo>
                    <a:pt x="1668056" y="608762"/>
                  </a:lnTo>
                  <a:lnTo>
                    <a:pt x="1668056" y="609359"/>
                  </a:lnTo>
                  <a:lnTo>
                    <a:pt x="1668157" y="608762"/>
                  </a:lnTo>
                  <a:lnTo>
                    <a:pt x="1668411" y="608762"/>
                  </a:lnTo>
                  <a:lnTo>
                    <a:pt x="1668462" y="608114"/>
                  </a:lnTo>
                  <a:lnTo>
                    <a:pt x="1668462" y="608762"/>
                  </a:lnTo>
                  <a:lnTo>
                    <a:pt x="1668500" y="608114"/>
                  </a:lnTo>
                  <a:lnTo>
                    <a:pt x="1668500" y="608762"/>
                  </a:lnTo>
                  <a:lnTo>
                    <a:pt x="1668703" y="608762"/>
                  </a:lnTo>
                  <a:lnTo>
                    <a:pt x="1668805" y="608114"/>
                  </a:lnTo>
                  <a:lnTo>
                    <a:pt x="1668805" y="608762"/>
                  </a:lnTo>
                  <a:lnTo>
                    <a:pt x="1669046" y="608762"/>
                  </a:lnTo>
                  <a:lnTo>
                    <a:pt x="1669097" y="608114"/>
                  </a:lnTo>
                  <a:lnTo>
                    <a:pt x="1669351" y="608114"/>
                  </a:lnTo>
                  <a:lnTo>
                    <a:pt x="1669351" y="608762"/>
                  </a:lnTo>
                  <a:lnTo>
                    <a:pt x="1669402" y="608762"/>
                  </a:lnTo>
                  <a:lnTo>
                    <a:pt x="1669402" y="608114"/>
                  </a:lnTo>
                  <a:lnTo>
                    <a:pt x="1669503" y="608762"/>
                  </a:lnTo>
                  <a:lnTo>
                    <a:pt x="1669592" y="608762"/>
                  </a:lnTo>
                  <a:lnTo>
                    <a:pt x="1669592" y="608114"/>
                  </a:lnTo>
                  <a:lnTo>
                    <a:pt x="1669643" y="608762"/>
                  </a:lnTo>
                  <a:lnTo>
                    <a:pt x="1669643" y="608114"/>
                  </a:lnTo>
                  <a:lnTo>
                    <a:pt x="1669745" y="608114"/>
                  </a:lnTo>
                  <a:lnTo>
                    <a:pt x="1669745" y="608762"/>
                  </a:lnTo>
                  <a:lnTo>
                    <a:pt x="1669796" y="608114"/>
                  </a:lnTo>
                  <a:lnTo>
                    <a:pt x="1670291" y="608114"/>
                  </a:lnTo>
                  <a:lnTo>
                    <a:pt x="1670291" y="608762"/>
                  </a:lnTo>
                  <a:lnTo>
                    <a:pt x="1670392" y="608114"/>
                  </a:lnTo>
                  <a:lnTo>
                    <a:pt x="1670494" y="608114"/>
                  </a:lnTo>
                  <a:lnTo>
                    <a:pt x="1670545" y="608762"/>
                  </a:lnTo>
                  <a:lnTo>
                    <a:pt x="1670545" y="608114"/>
                  </a:lnTo>
                  <a:lnTo>
                    <a:pt x="1670634" y="608762"/>
                  </a:lnTo>
                  <a:lnTo>
                    <a:pt x="1670634" y="608114"/>
                  </a:lnTo>
                  <a:lnTo>
                    <a:pt x="1670685" y="608762"/>
                  </a:lnTo>
                  <a:lnTo>
                    <a:pt x="1670735" y="608114"/>
                  </a:lnTo>
                  <a:lnTo>
                    <a:pt x="1670888" y="608114"/>
                  </a:lnTo>
                  <a:lnTo>
                    <a:pt x="1670938" y="608762"/>
                  </a:lnTo>
                  <a:lnTo>
                    <a:pt x="1670938" y="608114"/>
                  </a:lnTo>
                  <a:lnTo>
                    <a:pt x="1671332" y="608114"/>
                  </a:lnTo>
                  <a:lnTo>
                    <a:pt x="1671383" y="608762"/>
                  </a:lnTo>
                  <a:lnTo>
                    <a:pt x="1671434" y="608114"/>
                  </a:lnTo>
                  <a:lnTo>
                    <a:pt x="1671434" y="608762"/>
                  </a:lnTo>
                  <a:lnTo>
                    <a:pt x="1671535" y="608114"/>
                  </a:lnTo>
                  <a:lnTo>
                    <a:pt x="1671828" y="608114"/>
                  </a:lnTo>
                  <a:lnTo>
                    <a:pt x="1671828" y="608762"/>
                  </a:lnTo>
                  <a:lnTo>
                    <a:pt x="1671878" y="608114"/>
                  </a:lnTo>
                  <a:lnTo>
                    <a:pt x="1671980" y="608114"/>
                  </a:lnTo>
                  <a:lnTo>
                    <a:pt x="1672031" y="606768"/>
                  </a:lnTo>
                  <a:lnTo>
                    <a:pt x="1672031" y="608114"/>
                  </a:lnTo>
                  <a:lnTo>
                    <a:pt x="1672818" y="608114"/>
                  </a:lnTo>
                  <a:lnTo>
                    <a:pt x="1672818" y="608762"/>
                  </a:lnTo>
                  <a:lnTo>
                    <a:pt x="1672920" y="608114"/>
                  </a:lnTo>
                  <a:lnTo>
                    <a:pt x="1673618" y="608114"/>
                  </a:lnTo>
                  <a:lnTo>
                    <a:pt x="1673618" y="606768"/>
                  </a:lnTo>
                  <a:lnTo>
                    <a:pt x="1673669" y="606768"/>
                  </a:lnTo>
                  <a:lnTo>
                    <a:pt x="1673669" y="608114"/>
                  </a:lnTo>
                  <a:lnTo>
                    <a:pt x="1673720" y="606768"/>
                  </a:lnTo>
                  <a:lnTo>
                    <a:pt x="1673720" y="608114"/>
                  </a:lnTo>
                  <a:lnTo>
                    <a:pt x="1673809" y="608114"/>
                  </a:lnTo>
                  <a:lnTo>
                    <a:pt x="1673860" y="606768"/>
                  </a:lnTo>
                  <a:lnTo>
                    <a:pt x="1674266" y="606768"/>
                  </a:lnTo>
                  <a:lnTo>
                    <a:pt x="1674304" y="608114"/>
                  </a:lnTo>
                  <a:lnTo>
                    <a:pt x="1674304" y="606768"/>
                  </a:lnTo>
                  <a:lnTo>
                    <a:pt x="1674355" y="608114"/>
                  </a:lnTo>
                  <a:lnTo>
                    <a:pt x="1674355" y="606768"/>
                  </a:lnTo>
                  <a:lnTo>
                    <a:pt x="1674406" y="608114"/>
                  </a:lnTo>
                  <a:lnTo>
                    <a:pt x="1674507" y="606768"/>
                  </a:lnTo>
                  <a:lnTo>
                    <a:pt x="1674558" y="606768"/>
                  </a:lnTo>
                  <a:lnTo>
                    <a:pt x="1674609" y="608114"/>
                  </a:lnTo>
                  <a:lnTo>
                    <a:pt x="1674710" y="606768"/>
                  </a:lnTo>
                  <a:lnTo>
                    <a:pt x="1674850" y="606768"/>
                  </a:lnTo>
                  <a:lnTo>
                    <a:pt x="1674952" y="608114"/>
                  </a:lnTo>
                  <a:lnTo>
                    <a:pt x="1675003" y="606768"/>
                  </a:lnTo>
                  <a:lnTo>
                    <a:pt x="1675155" y="606768"/>
                  </a:lnTo>
                  <a:lnTo>
                    <a:pt x="1675206" y="608114"/>
                  </a:lnTo>
                  <a:lnTo>
                    <a:pt x="1675256" y="606768"/>
                  </a:lnTo>
                  <a:lnTo>
                    <a:pt x="1675256" y="608114"/>
                  </a:lnTo>
                  <a:lnTo>
                    <a:pt x="1675307" y="606768"/>
                  </a:lnTo>
                  <a:lnTo>
                    <a:pt x="1675650" y="606768"/>
                  </a:lnTo>
                  <a:lnTo>
                    <a:pt x="1675701" y="606133"/>
                  </a:lnTo>
                  <a:lnTo>
                    <a:pt x="1675701" y="606768"/>
                  </a:lnTo>
                  <a:lnTo>
                    <a:pt x="1675752" y="606768"/>
                  </a:lnTo>
                  <a:lnTo>
                    <a:pt x="1675752" y="606133"/>
                  </a:lnTo>
                  <a:lnTo>
                    <a:pt x="1675853" y="606768"/>
                  </a:lnTo>
                  <a:lnTo>
                    <a:pt x="1675942" y="606768"/>
                  </a:lnTo>
                  <a:lnTo>
                    <a:pt x="1675993" y="608114"/>
                  </a:lnTo>
                  <a:lnTo>
                    <a:pt x="1676095" y="606768"/>
                  </a:lnTo>
                  <a:lnTo>
                    <a:pt x="1676298" y="606768"/>
                  </a:lnTo>
                  <a:lnTo>
                    <a:pt x="1676298" y="608114"/>
                  </a:lnTo>
                  <a:lnTo>
                    <a:pt x="1676349" y="606768"/>
                  </a:lnTo>
                  <a:lnTo>
                    <a:pt x="1676400" y="608114"/>
                  </a:lnTo>
                  <a:lnTo>
                    <a:pt x="1676400" y="606768"/>
                  </a:lnTo>
                  <a:lnTo>
                    <a:pt x="1676438" y="608114"/>
                  </a:lnTo>
                  <a:lnTo>
                    <a:pt x="1676539" y="606768"/>
                  </a:lnTo>
                  <a:lnTo>
                    <a:pt x="1676590" y="608114"/>
                  </a:lnTo>
                  <a:lnTo>
                    <a:pt x="1676590" y="606133"/>
                  </a:lnTo>
                  <a:lnTo>
                    <a:pt x="1676641" y="606768"/>
                  </a:lnTo>
                  <a:lnTo>
                    <a:pt x="1676742" y="606768"/>
                  </a:lnTo>
                  <a:lnTo>
                    <a:pt x="1676793" y="606133"/>
                  </a:lnTo>
                  <a:lnTo>
                    <a:pt x="1676793" y="606768"/>
                  </a:lnTo>
                  <a:lnTo>
                    <a:pt x="1677288" y="606768"/>
                  </a:lnTo>
                  <a:lnTo>
                    <a:pt x="1677339" y="606133"/>
                  </a:lnTo>
                  <a:lnTo>
                    <a:pt x="1677339" y="606768"/>
                  </a:lnTo>
                  <a:lnTo>
                    <a:pt x="1677581" y="606768"/>
                  </a:lnTo>
                  <a:lnTo>
                    <a:pt x="1677682" y="608114"/>
                  </a:lnTo>
                  <a:lnTo>
                    <a:pt x="1677682" y="606768"/>
                  </a:lnTo>
                  <a:lnTo>
                    <a:pt x="1677936" y="606768"/>
                  </a:lnTo>
                  <a:lnTo>
                    <a:pt x="1677936" y="606133"/>
                  </a:lnTo>
                  <a:lnTo>
                    <a:pt x="1677987" y="606768"/>
                  </a:lnTo>
                  <a:lnTo>
                    <a:pt x="1678127" y="606768"/>
                  </a:lnTo>
                  <a:lnTo>
                    <a:pt x="1678178" y="606133"/>
                  </a:lnTo>
                  <a:lnTo>
                    <a:pt x="1678178" y="606768"/>
                  </a:lnTo>
                  <a:lnTo>
                    <a:pt x="1678330" y="606768"/>
                  </a:lnTo>
                  <a:lnTo>
                    <a:pt x="1678330" y="606133"/>
                  </a:lnTo>
                  <a:lnTo>
                    <a:pt x="1678381" y="606768"/>
                  </a:lnTo>
                  <a:lnTo>
                    <a:pt x="1678571" y="606768"/>
                  </a:lnTo>
                  <a:lnTo>
                    <a:pt x="1678571" y="608114"/>
                  </a:lnTo>
                  <a:lnTo>
                    <a:pt x="1678622" y="606768"/>
                  </a:lnTo>
                  <a:lnTo>
                    <a:pt x="1678673" y="606768"/>
                  </a:lnTo>
                  <a:lnTo>
                    <a:pt x="1678724" y="606133"/>
                  </a:lnTo>
                  <a:lnTo>
                    <a:pt x="1678724" y="606768"/>
                  </a:lnTo>
                  <a:lnTo>
                    <a:pt x="1679028" y="606768"/>
                  </a:lnTo>
                  <a:lnTo>
                    <a:pt x="1679066" y="606133"/>
                  </a:lnTo>
                  <a:lnTo>
                    <a:pt x="1679066" y="606768"/>
                  </a:lnTo>
                  <a:lnTo>
                    <a:pt x="1679168" y="606768"/>
                  </a:lnTo>
                  <a:lnTo>
                    <a:pt x="1679270" y="606133"/>
                  </a:lnTo>
                  <a:lnTo>
                    <a:pt x="1679321" y="606768"/>
                  </a:lnTo>
                  <a:lnTo>
                    <a:pt x="1679371" y="606768"/>
                  </a:lnTo>
                  <a:lnTo>
                    <a:pt x="1679371" y="608114"/>
                  </a:lnTo>
                  <a:lnTo>
                    <a:pt x="1679473" y="606768"/>
                  </a:lnTo>
                  <a:lnTo>
                    <a:pt x="1679575" y="606768"/>
                  </a:lnTo>
                  <a:lnTo>
                    <a:pt x="1679613" y="606133"/>
                  </a:lnTo>
                  <a:lnTo>
                    <a:pt x="1679613" y="606768"/>
                  </a:lnTo>
                  <a:lnTo>
                    <a:pt x="1679714" y="606133"/>
                  </a:lnTo>
                  <a:lnTo>
                    <a:pt x="1679765" y="606768"/>
                  </a:lnTo>
                  <a:lnTo>
                    <a:pt x="1679765" y="606133"/>
                  </a:lnTo>
                  <a:lnTo>
                    <a:pt x="1679816" y="606768"/>
                  </a:lnTo>
                  <a:lnTo>
                    <a:pt x="1679917" y="606133"/>
                  </a:lnTo>
                  <a:lnTo>
                    <a:pt x="1679968" y="606768"/>
                  </a:lnTo>
                  <a:lnTo>
                    <a:pt x="1680019" y="606133"/>
                  </a:lnTo>
                  <a:lnTo>
                    <a:pt x="1680019" y="606768"/>
                  </a:lnTo>
                  <a:lnTo>
                    <a:pt x="1680159" y="606768"/>
                  </a:lnTo>
                  <a:lnTo>
                    <a:pt x="1680210" y="606133"/>
                  </a:lnTo>
                  <a:lnTo>
                    <a:pt x="1680210" y="606768"/>
                  </a:lnTo>
                  <a:lnTo>
                    <a:pt x="1680260" y="606133"/>
                  </a:lnTo>
                  <a:lnTo>
                    <a:pt x="1680260" y="606768"/>
                  </a:lnTo>
                  <a:lnTo>
                    <a:pt x="1680857" y="606768"/>
                  </a:lnTo>
                  <a:lnTo>
                    <a:pt x="1680908" y="606133"/>
                  </a:lnTo>
                  <a:lnTo>
                    <a:pt x="1681403" y="606133"/>
                  </a:lnTo>
                  <a:lnTo>
                    <a:pt x="1681505" y="606768"/>
                  </a:lnTo>
                  <a:lnTo>
                    <a:pt x="1681556" y="606133"/>
                  </a:lnTo>
                  <a:lnTo>
                    <a:pt x="1681797" y="606133"/>
                  </a:lnTo>
                  <a:lnTo>
                    <a:pt x="1681848" y="606768"/>
                  </a:lnTo>
                  <a:lnTo>
                    <a:pt x="1682241" y="606768"/>
                  </a:lnTo>
                  <a:lnTo>
                    <a:pt x="1682241" y="606133"/>
                  </a:lnTo>
                  <a:lnTo>
                    <a:pt x="1682750" y="606133"/>
                  </a:lnTo>
                  <a:lnTo>
                    <a:pt x="1682750" y="606768"/>
                  </a:lnTo>
                  <a:lnTo>
                    <a:pt x="1682788" y="606768"/>
                  </a:lnTo>
                  <a:lnTo>
                    <a:pt x="1682788" y="606133"/>
                  </a:lnTo>
                  <a:lnTo>
                    <a:pt x="1682940" y="606133"/>
                  </a:lnTo>
                  <a:lnTo>
                    <a:pt x="1682991" y="606768"/>
                  </a:lnTo>
                  <a:lnTo>
                    <a:pt x="1683092" y="606133"/>
                  </a:lnTo>
                  <a:lnTo>
                    <a:pt x="1683143" y="606133"/>
                  </a:lnTo>
                  <a:lnTo>
                    <a:pt x="1683194" y="606768"/>
                  </a:lnTo>
                  <a:lnTo>
                    <a:pt x="1683245" y="606768"/>
                  </a:lnTo>
                  <a:lnTo>
                    <a:pt x="1683245" y="606133"/>
                  </a:lnTo>
                  <a:lnTo>
                    <a:pt x="1683638" y="606133"/>
                  </a:lnTo>
                  <a:lnTo>
                    <a:pt x="1683638" y="606768"/>
                  </a:lnTo>
                  <a:lnTo>
                    <a:pt x="1683689" y="606768"/>
                  </a:lnTo>
                  <a:lnTo>
                    <a:pt x="1683689" y="606133"/>
                  </a:lnTo>
                  <a:lnTo>
                    <a:pt x="1684083" y="606133"/>
                  </a:lnTo>
                  <a:lnTo>
                    <a:pt x="1684083" y="606768"/>
                  </a:lnTo>
                  <a:lnTo>
                    <a:pt x="1684134" y="606133"/>
                  </a:lnTo>
                  <a:lnTo>
                    <a:pt x="1684477" y="606133"/>
                  </a:lnTo>
                  <a:lnTo>
                    <a:pt x="1684528" y="606768"/>
                  </a:lnTo>
                  <a:lnTo>
                    <a:pt x="1684528" y="606133"/>
                  </a:lnTo>
                  <a:lnTo>
                    <a:pt x="1684578" y="606133"/>
                  </a:lnTo>
                  <a:lnTo>
                    <a:pt x="1684578" y="606768"/>
                  </a:lnTo>
                  <a:lnTo>
                    <a:pt x="1684680" y="606133"/>
                  </a:lnTo>
                  <a:lnTo>
                    <a:pt x="1684680" y="606768"/>
                  </a:lnTo>
                  <a:lnTo>
                    <a:pt x="1684731" y="606768"/>
                  </a:lnTo>
                  <a:lnTo>
                    <a:pt x="1684781" y="606133"/>
                  </a:lnTo>
                  <a:lnTo>
                    <a:pt x="1684832" y="606768"/>
                  </a:lnTo>
                  <a:lnTo>
                    <a:pt x="1684832" y="606133"/>
                  </a:lnTo>
                  <a:lnTo>
                    <a:pt x="1685023" y="606133"/>
                  </a:lnTo>
                  <a:lnTo>
                    <a:pt x="1685074" y="606768"/>
                  </a:lnTo>
                  <a:lnTo>
                    <a:pt x="1685074" y="606133"/>
                  </a:lnTo>
                  <a:lnTo>
                    <a:pt x="1686115" y="606133"/>
                  </a:lnTo>
                  <a:lnTo>
                    <a:pt x="1686115" y="605485"/>
                  </a:lnTo>
                  <a:lnTo>
                    <a:pt x="1686166" y="606133"/>
                  </a:lnTo>
                  <a:lnTo>
                    <a:pt x="1686267" y="606768"/>
                  </a:lnTo>
                  <a:lnTo>
                    <a:pt x="1686369" y="606768"/>
                  </a:lnTo>
                  <a:lnTo>
                    <a:pt x="1686369" y="606133"/>
                  </a:lnTo>
                  <a:lnTo>
                    <a:pt x="1686420" y="606133"/>
                  </a:lnTo>
                  <a:lnTo>
                    <a:pt x="1686509" y="605485"/>
                  </a:lnTo>
                  <a:lnTo>
                    <a:pt x="1686509" y="606133"/>
                  </a:lnTo>
                  <a:lnTo>
                    <a:pt x="1687055" y="606133"/>
                  </a:lnTo>
                  <a:lnTo>
                    <a:pt x="1687106" y="605485"/>
                  </a:lnTo>
                  <a:lnTo>
                    <a:pt x="1687207" y="606133"/>
                  </a:lnTo>
                  <a:lnTo>
                    <a:pt x="1687258" y="605485"/>
                  </a:lnTo>
                  <a:lnTo>
                    <a:pt x="1687258" y="606133"/>
                  </a:lnTo>
                  <a:lnTo>
                    <a:pt x="1687652" y="606133"/>
                  </a:lnTo>
                  <a:lnTo>
                    <a:pt x="1687703" y="605485"/>
                  </a:lnTo>
                  <a:lnTo>
                    <a:pt x="1687703" y="606133"/>
                  </a:lnTo>
                  <a:lnTo>
                    <a:pt x="1688007" y="606133"/>
                  </a:lnTo>
                  <a:lnTo>
                    <a:pt x="1688007" y="605485"/>
                  </a:lnTo>
                  <a:lnTo>
                    <a:pt x="1688096" y="606133"/>
                  </a:lnTo>
                  <a:lnTo>
                    <a:pt x="1688198" y="606133"/>
                  </a:lnTo>
                  <a:lnTo>
                    <a:pt x="1688198" y="605485"/>
                  </a:lnTo>
                  <a:lnTo>
                    <a:pt x="1688401" y="605485"/>
                  </a:lnTo>
                  <a:lnTo>
                    <a:pt x="1688452" y="606133"/>
                  </a:lnTo>
                  <a:lnTo>
                    <a:pt x="1688591" y="606133"/>
                  </a:lnTo>
                  <a:lnTo>
                    <a:pt x="1688591" y="605485"/>
                  </a:lnTo>
                  <a:lnTo>
                    <a:pt x="1688642" y="606133"/>
                  </a:lnTo>
                  <a:lnTo>
                    <a:pt x="1688846" y="606133"/>
                  </a:lnTo>
                  <a:lnTo>
                    <a:pt x="1688846" y="605485"/>
                  </a:lnTo>
                  <a:lnTo>
                    <a:pt x="1688896" y="606133"/>
                  </a:lnTo>
                  <a:lnTo>
                    <a:pt x="1688896" y="605485"/>
                  </a:lnTo>
                  <a:lnTo>
                    <a:pt x="1689049" y="605485"/>
                  </a:lnTo>
                  <a:lnTo>
                    <a:pt x="1689049" y="606133"/>
                  </a:lnTo>
                  <a:lnTo>
                    <a:pt x="1689290" y="606133"/>
                  </a:lnTo>
                  <a:lnTo>
                    <a:pt x="1689341" y="605485"/>
                  </a:lnTo>
                  <a:lnTo>
                    <a:pt x="1689341" y="606133"/>
                  </a:lnTo>
                  <a:lnTo>
                    <a:pt x="1689442" y="605485"/>
                  </a:lnTo>
                  <a:lnTo>
                    <a:pt x="1689493" y="606133"/>
                  </a:lnTo>
                  <a:lnTo>
                    <a:pt x="1689493" y="605485"/>
                  </a:lnTo>
                  <a:lnTo>
                    <a:pt x="1689544" y="606133"/>
                  </a:lnTo>
                  <a:lnTo>
                    <a:pt x="1689735" y="606133"/>
                  </a:lnTo>
                  <a:lnTo>
                    <a:pt x="1689785" y="605485"/>
                  </a:lnTo>
                  <a:lnTo>
                    <a:pt x="1689785" y="606133"/>
                  </a:lnTo>
                  <a:lnTo>
                    <a:pt x="1689938" y="606133"/>
                  </a:lnTo>
                  <a:lnTo>
                    <a:pt x="1689988" y="605485"/>
                  </a:lnTo>
                  <a:lnTo>
                    <a:pt x="1690141" y="605485"/>
                  </a:lnTo>
                  <a:lnTo>
                    <a:pt x="1690179" y="606133"/>
                  </a:lnTo>
                  <a:lnTo>
                    <a:pt x="1690281" y="606133"/>
                  </a:lnTo>
                  <a:lnTo>
                    <a:pt x="1690382" y="605485"/>
                  </a:lnTo>
                  <a:lnTo>
                    <a:pt x="1690433" y="605485"/>
                  </a:lnTo>
                  <a:lnTo>
                    <a:pt x="1690433" y="606133"/>
                  </a:lnTo>
                  <a:lnTo>
                    <a:pt x="1690687" y="606133"/>
                  </a:lnTo>
                  <a:lnTo>
                    <a:pt x="1690687" y="605485"/>
                  </a:lnTo>
                  <a:lnTo>
                    <a:pt x="1690725" y="606133"/>
                  </a:lnTo>
                  <a:lnTo>
                    <a:pt x="1690827" y="605485"/>
                  </a:lnTo>
                  <a:lnTo>
                    <a:pt x="1690878" y="605485"/>
                  </a:lnTo>
                  <a:lnTo>
                    <a:pt x="1690928" y="606133"/>
                  </a:lnTo>
                  <a:lnTo>
                    <a:pt x="1690928" y="605485"/>
                  </a:lnTo>
                  <a:lnTo>
                    <a:pt x="1691030" y="606133"/>
                  </a:lnTo>
                  <a:lnTo>
                    <a:pt x="1691081" y="605485"/>
                  </a:lnTo>
                  <a:lnTo>
                    <a:pt x="1691081" y="606133"/>
                  </a:lnTo>
                  <a:lnTo>
                    <a:pt x="1691373" y="606133"/>
                  </a:lnTo>
                  <a:lnTo>
                    <a:pt x="1691424" y="605485"/>
                  </a:lnTo>
                  <a:lnTo>
                    <a:pt x="1691525" y="605485"/>
                  </a:lnTo>
                  <a:lnTo>
                    <a:pt x="1691576" y="606133"/>
                  </a:lnTo>
                  <a:lnTo>
                    <a:pt x="1691627" y="605485"/>
                  </a:lnTo>
                  <a:lnTo>
                    <a:pt x="1691627" y="606133"/>
                  </a:lnTo>
                  <a:lnTo>
                    <a:pt x="1691728" y="606133"/>
                  </a:lnTo>
                  <a:lnTo>
                    <a:pt x="1691766" y="605485"/>
                  </a:lnTo>
                  <a:lnTo>
                    <a:pt x="1691766" y="606133"/>
                  </a:lnTo>
                  <a:lnTo>
                    <a:pt x="1691817" y="605485"/>
                  </a:lnTo>
                  <a:lnTo>
                    <a:pt x="1691868" y="606133"/>
                  </a:lnTo>
                  <a:lnTo>
                    <a:pt x="1692071" y="606133"/>
                  </a:lnTo>
                  <a:lnTo>
                    <a:pt x="1692071" y="605485"/>
                  </a:lnTo>
                  <a:lnTo>
                    <a:pt x="1692173" y="606133"/>
                  </a:lnTo>
                  <a:lnTo>
                    <a:pt x="1692465" y="606133"/>
                  </a:lnTo>
                  <a:lnTo>
                    <a:pt x="1692516" y="606768"/>
                  </a:lnTo>
                  <a:lnTo>
                    <a:pt x="1692516" y="606133"/>
                  </a:lnTo>
                  <a:lnTo>
                    <a:pt x="1692617" y="606133"/>
                  </a:lnTo>
                  <a:lnTo>
                    <a:pt x="1692668" y="605485"/>
                  </a:lnTo>
                  <a:lnTo>
                    <a:pt x="1692719" y="606133"/>
                  </a:lnTo>
                  <a:lnTo>
                    <a:pt x="1692770" y="606133"/>
                  </a:lnTo>
                  <a:lnTo>
                    <a:pt x="1692770" y="605485"/>
                  </a:lnTo>
                  <a:lnTo>
                    <a:pt x="1693011" y="605485"/>
                  </a:lnTo>
                  <a:lnTo>
                    <a:pt x="1693011" y="606133"/>
                  </a:lnTo>
                  <a:lnTo>
                    <a:pt x="1693760" y="606133"/>
                  </a:lnTo>
                  <a:lnTo>
                    <a:pt x="1693811" y="605485"/>
                  </a:lnTo>
                  <a:lnTo>
                    <a:pt x="1693862" y="605485"/>
                  </a:lnTo>
                  <a:lnTo>
                    <a:pt x="1693900" y="606133"/>
                  </a:lnTo>
                  <a:lnTo>
                    <a:pt x="1694002" y="606133"/>
                  </a:lnTo>
                  <a:lnTo>
                    <a:pt x="1694053" y="605485"/>
                  </a:lnTo>
                  <a:lnTo>
                    <a:pt x="1694053" y="606133"/>
                  </a:lnTo>
                  <a:lnTo>
                    <a:pt x="1694497" y="606133"/>
                  </a:lnTo>
                  <a:lnTo>
                    <a:pt x="1694497" y="605485"/>
                  </a:lnTo>
                  <a:lnTo>
                    <a:pt x="1694548" y="606133"/>
                  </a:lnTo>
                  <a:lnTo>
                    <a:pt x="1694903" y="606133"/>
                  </a:lnTo>
                  <a:lnTo>
                    <a:pt x="1694903" y="605485"/>
                  </a:lnTo>
                  <a:lnTo>
                    <a:pt x="1694941" y="606133"/>
                  </a:lnTo>
                  <a:lnTo>
                    <a:pt x="1695145" y="606133"/>
                  </a:lnTo>
                  <a:lnTo>
                    <a:pt x="1695196" y="605485"/>
                  </a:lnTo>
                  <a:lnTo>
                    <a:pt x="1695196" y="606133"/>
                  </a:lnTo>
                  <a:lnTo>
                    <a:pt x="1695246" y="605485"/>
                  </a:lnTo>
                  <a:lnTo>
                    <a:pt x="1695246" y="606133"/>
                  </a:lnTo>
                  <a:lnTo>
                    <a:pt x="1695792" y="606133"/>
                  </a:lnTo>
                  <a:lnTo>
                    <a:pt x="1695843" y="605485"/>
                  </a:lnTo>
                  <a:lnTo>
                    <a:pt x="1695894" y="606133"/>
                  </a:lnTo>
                  <a:lnTo>
                    <a:pt x="1696085" y="606133"/>
                  </a:lnTo>
                  <a:lnTo>
                    <a:pt x="1696085" y="605485"/>
                  </a:lnTo>
                  <a:lnTo>
                    <a:pt x="1696135" y="605485"/>
                  </a:lnTo>
                  <a:lnTo>
                    <a:pt x="1696135" y="606133"/>
                  </a:lnTo>
                  <a:lnTo>
                    <a:pt x="1696338" y="606133"/>
                  </a:lnTo>
                  <a:lnTo>
                    <a:pt x="1696338" y="606768"/>
                  </a:lnTo>
                  <a:lnTo>
                    <a:pt x="1696389" y="606133"/>
                  </a:lnTo>
                  <a:lnTo>
                    <a:pt x="1696491" y="605485"/>
                  </a:lnTo>
                  <a:lnTo>
                    <a:pt x="1696529" y="606133"/>
                  </a:lnTo>
                  <a:lnTo>
                    <a:pt x="1696935" y="606133"/>
                  </a:lnTo>
                  <a:lnTo>
                    <a:pt x="1696986" y="605485"/>
                  </a:lnTo>
                  <a:lnTo>
                    <a:pt x="1696986" y="606133"/>
                  </a:lnTo>
                  <a:lnTo>
                    <a:pt x="1697228" y="606133"/>
                  </a:lnTo>
                  <a:lnTo>
                    <a:pt x="1697228" y="605485"/>
                  </a:lnTo>
                  <a:lnTo>
                    <a:pt x="1697278" y="606133"/>
                  </a:lnTo>
                  <a:lnTo>
                    <a:pt x="1697431" y="606133"/>
                  </a:lnTo>
                  <a:lnTo>
                    <a:pt x="1697431" y="605485"/>
                  </a:lnTo>
                  <a:lnTo>
                    <a:pt x="1697481" y="605485"/>
                  </a:lnTo>
                  <a:lnTo>
                    <a:pt x="1697532" y="606133"/>
                  </a:lnTo>
                  <a:lnTo>
                    <a:pt x="1697532" y="605485"/>
                  </a:lnTo>
                  <a:lnTo>
                    <a:pt x="1697621" y="606133"/>
                  </a:lnTo>
                  <a:lnTo>
                    <a:pt x="1698078" y="606133"/>
                  </a:lnTo>
                  <a:lnTo>
                    <a:pt x="1698078" y="606768"/>
                  </a:lnTo>
                  <a:lnTo>
                    <a:pt x="1698116" y="606133"/>
                  </a:lnTo>
                  <a:lnTo>
                    <a:pt x="1698421" y="606133"/>
                  </a:lnTo>
                  <a:lnTo>
                    <a:pt x="1698421" y="605485"/>
                  </a:lnTo>
                  <a:lnTo>
                    <a:pt x="1698574" y="605485"/>
                  </a:lnTo>
                  <a:lnTo>
                    <a:pt x="1698574" y="606133"/>
                  </a:lnTo>
                  <a:lnTo>
                    <a:pt x="1698967" y="606133"/>
                  </a:lnTo>
                  <a:lnTo>
                    <a:pt x="1699018" y="606768"/>
                  </a:lnTo>
                  <a:lnTo>
                    <a:pt x="1699069" y="606133"/>
                  </a:lnTo>
                  <a:lnTo>
                    <a:pt x="1699120" y="606133"/>
                  </a:lnTo>
                  <a:lnTo>
                    <a:pt x="1699120" y="605485"/>
                  </a:lnTo>
                  <a:lnTo>
                    <a:pt x="1699209" y="606133"/>
                  </a:lnTo>
                  <a:lnTo>
                    <a:pt x="1699361" y="606133"/>
                  </a:lnTo>
                  <a:lnTo>
                    <a:pt x="1699463" y="605485"/>
                  </a:lnTo>
                  <a:lnTo>
                    <a:pt x="1699463" y="606133"/>
                  </a:lnTo>
                  <a:lnTo>
                    <a:pt x="1699513" y="606133"/>
                  </a:lnTo>
                  <a:lnTo>
                    <a:pt x="1699513" y="606768"/>
                  </a:lnTo>
                  <a:lnTo>
                    <a:pt x="1699666" y="606768"/>
                  </a:lnTo>
                  <a:lnTo>
                    <a:pt x="1699704" y="606133"/>
                  </a:lnTo>
                  <a:lnTo>
                    <a:pt x="1700453" y="606133"/>
                  </a:lnTo>
                  <a:lnTo>
                    <a:pt x="1700555" y="606768"/>
                  </a:lnTo>
                  <a:lnTo>
                    <a:pt x="1700606" y="606133"/>
                  </a:lnTo>
                  <a:lnTo>
                    <a:pt x="1700796" y="606133"/>
                  </a:lnTo>
                  <a:lnTo>
                    <a:pt x="1700796" y="605485"/>
                  </a:lnTo>
                  <a:lnTo>
                    <a:pt x="1700847" y="606133"/>
                  </a:lnTo>
                  <a:lnTo>
                    <a:pt x="1701050" y="606133"/>
                  </a:lnTo>
                  <a:lnTo>
                    <a:pt x="1701101" y="606768"/>
                  </a:lnTo>
                  <a:lnTo>
                    <a:pt x="1701101" y="606133"/>
                  </a:lnTo>
                  <a:lnTo>
                    <a:pt x="1701253" y="606133"/>
                  </a:lnTo>
                  <a:lnTo>
                    <a:pt x="1701291" y="605485"/>
                  </a:lnTo>
                  <a:lnTo>
                    <a:pt x="1701291" y="606133"/>
                  </a:lnTo>
                  <a:lnTo>
                    <a:pt x="1701495" y="606133"/>
                  </a:lnTo>
                  <a:lnTo>
                    <a:pt x="1701495" y="606768"/>
                  </a:lnTo>
                  <a:lnTo>
                    <a:pt x="1701698" y="606768"/>
                  </a:lnTo>
                  <a:lnTo>
                    <a:pt x="1701698" y="606133"/>
                  </a:lnTo>
                  <a:lnTo>
                    <a:pt x="1702193" y="606133"/>
                  </a:lnTo>
                  <a:lnTo>
                    <a:pt x="1702193" y="606768"/>
                  </a:lnTo>
                  <a:lnTo>
                    <a:pt x="1702244" y="606768"/>
                  </a:lnTo>
                  <a:lnTo>
                    <a:pt x="1702295" y="606133"/>
                  </a:lnTo>
                  <a:lnTo>
                    <a:pt x="1702739" y="606133"/>
                  </a:lnTo>
                  <a:lnTo>
                    <a:pt x="1702841" y="605485"/>
                  </a:lnTo>
                  <a:lnTo>
                    <a:pt x="1702879" y="606133"/>
                  </a:lnTo>
                  <a:lnTo>
                    <a:pt x="1703082" y="606133"/>
                  </a:lnTo>
                  <a:lnTo>
                    <a:pt x="1703082" y="605485"/>
                  </a:lnTo>
                  <a:lnTo>
                    <a:pt x="1703133" y="605485"/>
                  </a:lnTo>
                  <a:lnTo>
                    <a:pt x="1703133" y="606133"/>
                  </a:lnTo>
                  <a:lnTo>
                    <a:pt x="1703336" y="606133"/>
                  </a:lnTo>
                  <a:lnTo>
                    <a:pt x="1703336" y="606768"/>
                  </a:lnTo>
                  <a:lnTo>
                    <a:pt x="1703387" y="606133"/>
                  </a:lnTo>
                  <a:lnTo>
                    <a:pt x="1703425" y="606133"/>
                  </a:lnTo>
                  <a:lnTo>
                    <a:pt x="1703425" y="605485"/>
                  </a:lnTo>
                  <a:lnTo>
                    <a:pt x="1703527" y="605485"/>
                  </a:lnTo>
                  <a:lnTo>
                    <a:pt x="1703527" y="606133"/>
                  </a:lnTo>
                  <a:lnTo>
                    <a:pt x="1703831" y="606133"/>
                  </a:lnTo>
                  <a:lnTo>
                    <a:pt x="1703882" y="606768"/>
                  </a:lnTo>
                  <a:lnTo>
                    <a:pt x="1703971" y="606133"/>
                  </a:lnTo>
                  <a:lnTo>
                    <a:pt x="1704073" y="606133"/>
                  </a:lnTo>
                  <a:lnTo>
                    <a:pt x="1704124" y="606768"/>
                  </a:lnTo>
                  <a:lnTo>
                    <a:pt x="1704225" y="606133"/>
                  </a:lnTo>
                  <a:lnTo>
                    <a:pt x="1704276" y="606133"/>
                  </a:lnTo>
                  <a:lnTo>
                    <a:pt x="1704276" y="605485"/>
                  </a:lnTo>
                  <a:lnTo>
                    <a:pt x="1704327" y="606133"/>
                  </a:lnTo>
                  <a:lnTo>
                    <a:pt x="1704721" y="606133"/>
                  </a:lnTo>
                  <a:lnTo>
                    <a:pt x="1704721" y="605485"/>
                  </a:lnTo>
                  <a:lnTo>
                    <a:pt x="1704873" y="605485"/>
                  </a:lnTo>
                  <a:lnTo>
                    <a:pt x="1704873" y="606133"/>
                  </a:lnTo>
                  <a:lnTo>
                    <a:pt x="1705317" y="606133"/>
                  </a:lnTo>
                  <a:lnTo>
                    <a:pt x="1705368" y="605485"/>
                  </a:lnTo>
                  <a:lnTo>
                    <a:pt x="1705419" y="606133"/>
                  </a:lnTo>
                  <a:lnTo>
                    <a:pt x="1705559" y="606133"/>
                  </a:lnTo>
                  <a:lnTo>
                    <a:pt x="1705559" y="605485"/>
                  </a:lnTo>
                  <a:lnTo>
                    <a:pt x="1705610" y="606133"/>
                  </a:lnTo>
                  <a:lnTo>
                    <a:pt x="1705660" y="605485"/>
                  </a:lnTo>
                  <a:lnTo>
                    <a:pt x="1705711" y="606133"/>
                  </a:lnTo>
                  <a:lnTo>
                    <a:pt x="1706016" y="606133"/>
                  </a:lnTo>
                  <a:lnTo>
                    <a:pt x="1706054" y="605485"/>
                  </a:lnTo>
                  <a:lnTo>
                    <a:pt x="1706105" y="605485"/>
                  </a:lnTo>
                  <a:lnTo>
                    <a:pt x="1706105" y="606133"/>
                  </a:lnTo>
                  <a:lnTo>
                    <a:pt x="1706359" y="606133"/>
                  </a:lnTo>
                  <a:lnTo>
                    <a:pt x="1706359" y="605485"/>
                  </a:lnTo>
                  <a:lnTo>
                    <a:pt x="1706562" y="605485"/>
                  </a:lnTo>
                  <a:lnTo>
                    <a:pt x="1706562" y="606133"/>
                  </a:lnTo>
                  <a:lnTo>
                    <a:pt x="1706600" y="606133"/>
                  </a:lnTo>
                  <a:lnTo>
                    <a:pt x="1706702" y="605485"/>
                  </a:lnTo>
                  <a:lnTo>
                    <a:pt x="1706702" y="606133"/>
                  </a:lnTo>
                  <a:lnTo>
                    <a:pt x="1706753" y="605485"/>
                  </a:lnTo>
                  <a:lnTo>
                    <a:pt x="1706803" y="606133"/>
                  </a:lnTo>
                  <a:lnTo>
                    <a:pt x="1707057" y="606133"/>
                  </a:lnTo>
                  <a:lnTo>
                    <a:pt x="1707057" y="605485"/>
                  </a:lnTo>
                  <a:lnTo>
                    <a:pt x="1707248" y="605485"/>
                  </a:lnTo>
                  <a:lnTo>
                    <a:pt x="1707248" y="606133"/>
                  </a:lnTo>
                  <a:lnTo>
                    <a:pt x="1707400" y="606133"/>
                  </a:lnTo>
                  <a:lnTo>
                    <a:pt x="1707400" y="605485"/>
                  </a:lnTo>
                  <a:lnTo>
                    <a:pt x="1707451" y="606133"/>
                  </a:lnTo>
                  <a:lnTo>
                    <a:pt x="1707502" y="606133"/>
                  </a:lnTo>
                  <a:lnTo>
                    <a:pt x="1707603" y="605485"/>
                  </a:lnTo>
                  <a:lnTo>
                    <a:pt x="1707641" y="606133"/>
                  </a:lnTo>
                  <a:lnTo>
                    <a:pt x="1707692" y="606133"/>
                  </a:lnTo>
                  <a:lnTo>
                    <a:pt x="1707692" y="605485"/>
                  </a:lnTo>
                  <a:lnTo>
                    <a:pt x="1707845" y="605485"/>
                  </a:lnTo>
                  <a:lnTo>
                    <a:pt x="1707896" y="606133"/>
                  </a:lnTo>
                  <a:lnTo>
                    <a:pt x="1707946" y="606133"/>
                  </a:lnTo>
                  <a:lnTo>
                    <a:pt x="1708048" y="605485"/>
                  </a:lnTo>
                  <a:lnTo>
                    <a:pt x="1708048" y="606133"/>
                  </a:lnTo>
                  <a:lnTo>
                    <a:pt x="1708099" y="606133"/>
                  </a:lnTo>
                  <a:lnTo>
                    <a:pt x="1708150" y="605485"/>
                  </a:lnTo>
                  <a:lnTo>
                    <a:pt x="1708150" y="606133"/>
                  </a:lnTo>
                  <a:lnTo>
                    <a:pt x="1708188" y="606133"/>
                  </a:lnTo>
                  <a:lnTo>
                    <a:pt x="1708188" y="605485"/>
                  </a:lnTo>
                  <a:lnTo>
                    <a:pt x="1708289" y="606133"/>
                  </a:lnTo>
                  <a:lnTo>
                    <a:pt x="1708340" y="606133"/>
                  </a:lnTo>
                  <a:lnTo>
                    <a:pt x="1708340" y="605485"/>
                  </a:lnTo>
                  <a:lnTo>
                    <a:pt x="1708492" y="605485"/>
                  </a:lnTo>
                  <a:lnTo>
                    <a:pt x="1708543" y="606133"/>
                  </a:lnTo>
                  <a:lnTo>
                    <a:pt x="1708645" y="606133"/>
                  </a:lnTo>
                  <a:lnTo>
                    <a:pt x="1708645" y="605485"/>
                  </a:lnTo>
                  <a:lnTo>
                    <a:pt x="1708785" y="605485"/>
                  </a:lnTo>
                  <a:lnTo>
                    <a:pt x="1708785" y="606133"/>
                  </a:lnTo>
                  <a:lnTo>
                    <a:pt x="1708835" y="606133"/>
                  </a:lnTo>
                  <a:lnTo>
                    <a:pt x="1708835" y="605485"/>
                  </a:lnTo>
                  <a:lnTo>
                    <a:pt x="1709038" y="605485"/>
                  </a:lnTo>
                  <a:lnTo>
                    <a:pt x="1709089" y="606133"/>
                  </a:lnTo>
                  <a:lnTo>
                    <a:pt x="1709089" y="605485"/>
                  </a:lnTo>
                  <a:lnTo>
                    <a:pt x="1709191" y="606133"/>
                  </a:lnTo>
                  <a:lnTo>
                    <a:pt x="1709331" y="606133"/>
                  </a:lnTo>
                  <a:lnTo>
                    <a:pt x="1709432" y="605485"/>
                  </a:lnTo>
                  <a:lnTo>
                    <a:pt x="1709686" y="605485"/>
                  </a:lnTo>
                  <a:lnTo>
                    <a:pt x="1709686" y="606133"/>
                  </a:lnTo>
                  <a:lnTo>
                    <a:pt x="1709737" y="606133"/>
                  </a:lnTo>
                  <a:lnTo>
                    <a:pt x="1709775" y="605485"/>
                  </a:lnTo>
                  <a:lnTo>
                    <a:pt x="1710918" y="605485"/>
                  </a:lnTo>
                  <a:lnTo>
                    <a:pt x="1711020" y="606133"/>
                  </a:lnTo>
                  <a:lnTo>
                    <a:pt x="1711020" y="605485"/>
                  </a:lnTo>
                  <a:lnTo>
                    <a:pt x="1711325" y="605485"/>
                  </a:lnTo>
                  <a:lnTo>
                    <a:pt x="1711325" y="606133"/>
                  </a:lnTo>
                  <a:lnTo>
                    <a:pt x="1711363" y="605485"/>
                  </a:lnTo>
                  <a:lnTo>
                    <a:pt x="1711464" y="606133"/>
                  </a:lnTo>
                  <a:lnTo>
                    <a:pt x="1711515" y="605485"/>
                  </a:lnTo>
                  <a:lnTo>
                    <a:pt x="1711960" y="605485"/>
                  </a:lnTo>
                  <a:lnTo>
                    <a:pt x="1712010" y="606133"/>
                  </a:lnTo>
                  <a:lnTo>
                    <a:pt x="1712010" y="605485"/>
                  </a:lnTo>
                  <a:lnTo>
                    <a:pt x="1712061" y="604787"/>
                  </a:lnTo>
                  <a:lnTo>
                    <a:pt x="1712163" y="604787"/>
                  </a:lnTo>
                  <a:lnTo>
                    <a:pt x="1712213" y="605485"/>
                  </a:lnTo>
                  <a:lnTo>
                    <a:pt x="1712366" y="605485"/>
                  </a:lnTo>
                  <a:lnTo>
                    <a:pt x="1712404" y="606133"/>
                  </a:lnTo>
                  <a:lnTo>
                    <a:pt x="1712404" y="605485"/>
                  </a:lnTo>
                  <a:lnTo>
                    <a:pt x="1712607" y="605485"/>
                  </a:lnTo>
                  <a:lnTo>
                    <a:pt x="1712607" y="606133"/>
                  </a:lnTo>
                  <a:lnTo>
                    <a:pt x="1712658" y="605485"/>
                  </a:lnTo>
                  <a:lnTo>
                    <a:pt x="1713306" y="605485"/>
                  </a:lnTo>
                  <a:lnTo>
                    <a:pt x="1713356" y="604787"/>
                  </a:lnTo>
                  <a:lnTo>
                    <a:pt x="1713407" y="605485"/>
                  </a:lnTo>
                  <a:lnTo>
                    <a:pt x="1713649" y="605485"/>
                  </a:lnTo>
                  <a:lnTo>
                    <a:pt x="1713750" y="604787"/>
                  </a:lnTo>
                  <a:lnTo>
                    <a:pt x="1713750" y="605485"/>
                  </a:lnTo>
                  <a:lnTo>
                    <a:pt x="1713991" y="605485"/>
                  </a:lnTo>
                  <a:lnTo>
                    <a:pt x="1713991" y="604787"/>
                  </a:lnTo>
                  <a:lnTo>
                    <a:pt x="1714042" y="604787"/>
                  </a:lnTo>
                  <a:lnTo>
                    <a:pt x="1714093" y="605485"/>
                  </a:lnTo>
                  <a:lnTo>
                    <a:pt x="1714195" y="604787"/>
                  </a:lnTo>
                  <a:lnTo>
                    <a:pt x="1714246" y="605485"/>
                  </a:lnTo>
                  <a:lnTo>
                    <a:pt x="1714741" y="605485"/>
                  </a:lnTo>
                  <a:lnTo>
                    <a:pt x="1714842" y="606133"/>
                  </a:lnTo>
                  <a:lnTo>
                    <a:pt x="1714893" y="606133"/>
                  </a:lnTo>
                  <a:lnTo>
                    <a:pt x="1714893" y="605485"/>
                  </a:lnTo>
                  <a:lnTo>
                    <a:pt x="1715236" y="605485"/>
                  </a:lnTo>
                  <a:lnTo>
                    <a:pt x="1715338" y="606133"/>
                  </a:lnTo>
                  <a:lnTo>
                    <a:pt x="1715388" y="605485"/>
                  </a:lnTo>
                  <a:lnTo>
                    <a:pt x="1716278" y="605485"/>
                  </a:lnTo>
                  <a:lnTo>
                    <a:pt x="1716278" y="604787"/>
                  </a:lnTo>
                  <a:lnTo>
                    <a:pt x="1716328" y="604787"/>
                  </a:lnTo>
                  <a:lnTo>
                    <a:pt x="1716430" y="605485"/>
                  </a:lnTo>
                  <a:lnTo>
                    <a:pt x="1716722" y="605485"/>
                  </a:lnTo>
                  <a:lnTo>
                    <a:pt x="1716722" y="604787"/>
                  </a:lnTo>
                  <a:lnTo>
                    <a:pt x="1716925" y="604787"/>
                  </a:lnTo>
                  <a:lnTo>
                    <a:pt x="1716976" y="605485"/>
                  </a:lnTo>
                  <a:lnTo>
                    <a:pt x="1717027" y="605485"/>
                  </a:lnTo>
                  <a:lnTo>
                    <a:pt x="1717128" y="604787"/>
                  </a:lnTo>
                  <a:lnTo>
                    <a:pt x="1717128" y="605485"/>
                  </a:lnTo>
                  <a:lnTo>
                    <a:pt x="1717166" y="604787"/>
                  </a:lnTo>
                  <a:lnTo>
                    <a:pt x="1717217" y="605485"/>
                  </a:lnTo>
                  <a:lnTo>
                    <a:pt x="1717268" y="604787"/>
                  </a:lnTo>
                  <a:lnTo>
                    <a:pt x="1717370" y="604787"/>
                  </a:lnTo>
                  <a:lnTo>
                    <a:pt x="1717421" y="605485"/>
                  </a:lnTo>
                  <a:lnTo>
                    <a:pt x="1717814" y="605485"/>
                  </a:lnTo>
                  <a:lnTo>
                    <a:pt x="1717814" y="604787"/>
                  </a:lnTo>
                  <a:lnTo>
                    <a:pt x="1717865" y="604787"/>
                  </a:lnTo>
                  <a:lnTo>
                    <a:pt x="1717916" y="605485"/>
                  </a:lnTo>
                  <a:lnTo>
                    <a:pt x="1718310" y="605485"/>
                  </a:lnTo>
                  <a:lnTo>
                    <a:pt x="1718360" y="604787"/>
                  </a:lnTo>
                  <a:lnTo>
                    <a:pt x="1718411" y="605485"/>
                  </a:lnTo>
                  <a:lnTo>
                    <a:pt x="1718957" y="605485"/>
                  </a:lnTo>
                  <a:lnTo>
                    <a:pt x="1719008" y="604787"/>
                  </a:lnTo>
                  <a:lnTo>
                    <a:pt x="1719211" y="604787"/>
                  </a:lnTo>
                  <a:lnTo>
                    <a:pt x="1719262" y="605485"/>
                  </a:lnTo>
                  <a:lnTo>
                    <a:pt x="1719300" y="605485"/>
                  </a:lnTo>
                  <a:lnTo>
                    <a:pt x="1719402" y="604787"/>
                  </a:lnTo>
                  <a:lnTo>
                    <a:pt x="1719453" y="604787"/>
                  </a:lnTo>
                  <a:lnTo>
                    <a:pt x="1719503" y="605485"/>
                  </a:lnTo>
                  <a:lnTo>
                    <a:pt x="1719706" y="605485"/>
                  </a:lnTo>
                  <a:lnTo>
                    <a:pt x="1719706" y="604787"/>
                  </a:lnTo>
                  <a:lnTo>
                    <a:pt x="1719757" y="604787"/>
                  </a:lnTo>
                  <a:lnTo>
                    <a:pt x="1719846" y="605485"/>
                  </a:lnTo>
                  <a:lnTo>
                    <a:pt x="1719846" y="604787"/>
                  </a:lnTo>
                  <a:lnTo>
                    <a:pt x="1719897" y="605485"/>
                  </a:lnTo>
                  <a:lnTo>
                    <a:pt x="1719948" y="604787"/>
                  </a:lnTo>
                  <a:lnTo>
                    <a:pt x="1719999" y="605485"/>
                  </a:lnTo>
                  <a:lnTo>
                    <a:pt x="1720100" y="604787"/>
                  </a:lnTo>
                  <a:lnTo>
                    <a:pt x="1720151" y="605485"/>
                  </a:lnTo>
                  <a:lnTo>
                    <a:pt x="1720151" y="604787"/>
                  </a:lnTo>
                  <a:lnTo>
                    <a:pt x="1720888" y="604787"/>
                  </a:lnTo>
                  <a:lnTo>
                    <a:pt x="1720888" y="605485"/>
                  </a:lnTo>
                  <a:lnTo>
                    <a:pt x="1720989" y="605485"/>
                  </a:lnTo>
                  <a:lnTo>
                    <a:pt x="1721040" y="604787"/>
                  </a:lnTo>
                  <a:lnTo>
                    <a:pt x="1721091" y="604787"/>
                  </a:lnTo>
                  <a:lnTo>
                    <a:pt x="1721192" y="605485"/>
                  </a:lnTo>
                  <a:lnTo>
                    <a:pt x="1721243" y="604787"/>
                  </a:lnTo>
                  <a:lnTo>
                    <a:pt x="1721345" y="604787"/>
                  </a:lnTo>
                  <a:lnTo>
                    <a:pt x="1721434" y="605485"/>
                  </a:lnTo>
                  <a:lnTo>
                    <a:pt x="1721485" y="604787"/>
                  </a:lnTo>
                  <a:lnTo>
                    <a:pt x="1721535" y="605485"/>
                  </a:lnTo>
                  <a:lnTo>
                    <a:pt x="1721789" y="605485"/>
                  </a:lnTo>
                  <a:lnTo>
                    <a:pt x="1721891" y="604787"/>
                  </a:lnTo>
                  <a:lnTo>
                    <a:pt x="1722335" y="604787"/>
                  </a:lnTo>
                  <a:lnTo>
                    <a:pt x="1722386" y="605485"/>
                  </a:lnTo>
                  <a:lnTo>
                    <a:pt x="1722437" y="604787"/>
                  </a:lnTo>
                  <a:lnTo>
                    <a:pt x="1722437" y="605485"/>
                  </a:lnTo>
                  <a:lnTo>
                    <a:pt x="1722475" y="604787"/>
                  </a:lnTo>
                  <a:lnTo>
                    <a:pt x="1722831" y="604787"/>
                  </a:lnTo>
                  <a:lnTo>
                    <a:pt x="1722831" y="605485"/>
                  </a:lnTo>
                  <a:lnTo>
                    <a:pt x="1722881" y="604787"/>
                  </a:lnTo>
                  <a:lnTo>
                    <a:pt x="1722881" y="605485"/>
                  </a:lnTo>
                  <a:lnTo>
                    <a:pt x="1722932" y="605485"/>
                  </a:lnTo>
                  <a:lnTo>
                    <a:pt x="1723021" y="604787"/>
                  </a:lnTo>
                  <a:lnTo>
                    <a:pt x="1723275" y="604787"/>
                  </a:lnTo>
                  <a:lnTo>
                    <a:pt x="1723275" y="605485"/>
                  </a:lnTo>
                  <a:lnTo>
                    <a:pt x="1723516" y="605485"/>
                  </a:lnTo>
                  <a:lnTo>
                    <a:pt x="1723516" y="604787"/>
                  </a:lnTo>
                  <a:lnTo>
                    <a:pt x="1723618" y="604787"/>
                  </a:lnTo>
                  <a:lnTo>
                    <a:pt x="1723618" y="605485"/>
                  </a:lnTo>
                  <a:lnTo>
                    <a:pt x="1723771" y="605485"/>
                  </a:lnTo>
                  <a:lnTo>
                    <a:pt x="1723771" y="604787"/>
                  </a:lnTo>
                  <a:lnTo>
                    <a:pt x="1723974" y="604787"/>
                  </a:lnTo>
                  <a:lnTo>
                    <a:pt x="1723974" y="605485"/>
                  </a:lnTo>
                  <a:lnTo>
                    <a:pt x="1724164" y="605485"/>
                  </a:lnTo>
                  <a:lnTo>
                    <a:pt x="1724164" y="604787"/>
                  </a:lnTo>
                  <a:lnTo>
                    <a:pt x="1724266" y="604787"/>
                  </a:lnTo>
                  <a:lnTo>
                    <a:pt x="1724367" y="605485"/>
                  </a:lnTo>
                  <a:lnTo>
                    <a:pt x="1724660" y="605485"/>
                  </a:lnTo>
                  <a:lnTo>
                    <a:pt x="1724660" y="606133"/>
                  </a:lnTo>
                  <a:lnTo>
                    <a:pt x="1724710" y="605485"/>
                  </a:lnTo>
                  <a:lnTo>
                    <a:pt x="1724761" y="605485"/>
                  </a:lnTo>
                  <a:lnTo>
                    <a:pt x="1724761" y="604787"/>
                  </a:lnTo>
                  <a:lnTo>
                    <a:pt x="1724964" y="604787"/>
                  </a:lnTo>
                  <a:lnTo>
                    <a:pt x="1725066" y="605485"/>
                  </a:lnTo>
                  <a:lnTo>
                    <a:pt x="1725155" y="605485"/>
                  </a:lnTo>
                  <a:lnTo>
                    <a:pt x="1725155" y="604787"/>
                  </a:lnTo>
                  <a:lnTo>
                    <a:pt x="1725206" y="604787"/>
                  </a:lnTo>
                  <a:lnTo>
                    <a:pt x="1725206" y="605485"/>
                  </a:lnTo>
                  <a:lnTo>
                    <a:pt x="1725307" y="605485"/>
                  </a:lnTo>
                  <a:lnTo>
                    <a:pt x="1725358" y="604787"/>
                  </a:lnTo>
                  <a:lnTo>
                    <a:pt x="1725752" y="604787"/>
                  </a:lnTo>
                  <a:lnTo>
                    <a:pt x="1725803" y="605485"/>
                  </a:lnTo>
                  <a:lnTo>
                    <a:pt x="1725853" y="604787"/>
                  </a:lnTo>
                  <a:lnTo>
                    <a:pt x="1726196" y="604787"/>
                  </a:lnTo>
                  <a:lnTo>
                    <a:pt x="1726196" y="605485"/>
                  </a:lnTo>
                  <a:lnTo>
                    <a:pt x="1726247" y="604787"/>
                  </a:lnTo>
                  <a:lnTo>
                    <a:pt x="1726298" y="605485"/>
                  </a:lnTo>
                  <a:lnTo>
                    <a:pt x="1726349" y="605485"/>
                  </a:lnTo>
                  <a:lnTo>
                    <a:pt x="1726450" y="604787"/>
                  </a:lnTo>
                  <a:lnTo>
                    <a:pt x="1726450" y="603555"/>
                  </a:lnTo>
                  <a:lnTo>
                    <a:pt x="1726501" y="603555"/>
                  </a:lnTo>
                  <a:lnTo>
                    <a:pt x="1726501" y="604787"/>
                  </a:lnTo>
                  <a:lnTo>
                    <a:pt x="1726742" y="604787"/>
                  </a:lnTo>
                  <a:lnTo>
                    <a:pt x="1726742" y="605485"/>
                  </a:lnTo>
                  <a:lnTo>
                    <a:pt x="1726793" y="604787"/>
                  </a:lnTo>
                  <a:lnTo>
                    <a:pt x="1726895" y="605485"/>
                  </a:lnTo>
                  <a:lnTo>
                    <a:pt x="1726996" y="605485"/>
                  </a:lnTo>
                  <a:lnTo>
                    <a:pt x="1727098" y="604787"/>
                  </a:lnTo>
                  <a:lnTo>
                    <a:pt x="1727542" y="604787"/>
                  </a:lnTo>
                  <a:lnTo>
                    <a:pt x="1727542" y="605485"/>
                  </a:lnTo>
                  <a:lnTo>
                    <a:pt x="1727593" y="605485"/>
                  </a:lnTo>
                  <a:lnTo>
                    <a:pt x="1727644" y="604787"/>
                  </a:lnTo>
                  <a:lnTo>
                    <a:pt x="1727885" y="604787"/>
                  </a:lnTo>
                  <a:lnTo>
                    <a:pt x="1727885" y="605485"/>
                  </a:lnTo>
                  <a:lnTo>
                    <a:pt x="1728038" y="605485"/>
                  </a:lnTo>
                  <a:lnTo>
                    <a:pt x="1728088" y="604787"/>
                  </a:lnTo>
                  <a:lnTo>
                    <a:pt x="1728241" y="604787"/>
                  </a:lnTo>
                  <a:lnTo>
                    <a:pt x="1728241" y="605485"/>
                  </a:lnTo>
                  <a:lnTo>
                    <a:pt x="1728279" y="605485"/>
                  </a:lnTo>
                  <a:lnTo>
                    <a:pt x="1728279" y="604787"/>
                  </a:lnTo>
                  <a:lnTo>
                    <a:pt x="1728787" y="604787"/>
                  </a:lnTo>
                  <a:lnTo>
                    <a:pt x="1728825" y="603555"/>
                  </a:lnTo>
                  <a:lnTo>
                    <a:pt x="1728825" y="604787"/>
                  </a:lnTo>
                  <a:lnTo>
                    <a:pt x="1729181" y="604787"/>
                  </a:lnTo>
                  <a:lnTo>
                    <a:pt x="1729231" y="605485"/>
                  </a:lnTo>
                  <a:lnTo>
                    <a:pt x="1729231" y="604787"/>
                  </a:lnTo>
                  <a:lnTo>
                    <a:pt x="1729422" y="604787"/>
                  </a:lnTo>
                  <a:lnTo>
                    <a:pt x="1729422" y="605485"/>
                  </a:lnTo>
                  <a:lnTo>
                    <a:pt x="1729473" y="605485"/>
                  </a:lnTo>
                  <a:lnTo>
                    <a:pt x="1729473" y="604787"/>
                  </a:lnTo>
                  <a:lnTo>
                    <a:pt x="1729524" y="604787"/>
                  </a:lnTo>
                  <a:lnTo>
                    <a:pt x="1729524" y="605485"/>
                  </a:lnTo>
                  <a:lnTo>
                    <a:pt x="1729625" y="604787"/>
                  </a:lnTo>
                  <a:lnTo>
                    <a:pt x="1730070" y="604787"/>
                  </a:lnTo>
                  <a:lnTo>
                    <a:pt x="1730070" y="603555"/>
                  </a:lnTo>
                  <a:lnTo>
                    <a:pt x="1730121" y="604787"/>
                  </a:lnTo>
                  <a:lnTo>
                    <a:pt x="1730616" y="604787"/>
                  </a:lnTo>
                  <a:lnTo>
                    <a:pt x="1730717" y="603555"/>
                  </a:lnTo>
                  <a:lnTo>
                    <a:pt x="1730717" y="604787"/>
                  </a:lnTo>
                  <a:lnTo>
                    <a:pt x="1730959" y="604787"/>
                  </a:lnTo>
                  <a:lnTo>
                    <a:pt x="1731010" y="603555"/>
                  </a:lnTo>
                  <a:lnTo>
                    <a:pt x="1731010" y="604787"/>
                  </a:lnTo>
                  <a:lnTo>
                    <a:pt x="1731657" y="604787"/>
                  </a:lnTo>
                  <a:lnTo>
                    <a:pt x="1731657" y="603555"/>
                  </a:lnTo>
                  <a:lnTo>
                    <a:pt x="1731708" y="604787"/>
                  </a:lnTo>
                  <a:lnTo>
                    <a:pt x="1731759" y="604787"/>
                  </a:lnTo>
                  <a:lnTo>
                    <a:pt x="1731759" y="603555"/>
                  </a:lnTo>
                  <a:lnTo>
                    <a:pt x="1731860" y="603555"/>
                  </a:lnTo>
                  <a:lnTo>
                    <a:pt x="1731911" y="604787"/>
                  </a:lnTo>
                  <a:lnTo>
                    <a:pt x="1732457" y="604787"/>
                  </a:lnTo>
                  <a:lnTo>
                    <a:pt x="1732546" y="603555"/>
                  </a:lnTo>
                  <a:lnTo>
                    <a:pt x="1732597" y="604787"/>
                  </a:lnTo>
                  <a:lnTo>
                    <a:pt x="1732902" y="604787"/>
                  </a:lnTo>
                  <a:lnTo>
                    <a:pt x="1732902" y="603555"/>
                  </a:lnTo>
                  <a:lnTo>
                    <a:pt x="1733003" y="603555"/>
                  </a:lnTo>
                  <a:lnTo>
                    <a:pt x="1733041" y="604787"/>
                  </a:lnTo>
                  <a:lnTo>
                    <a:pt x="1733245" y="604787"/>
                  </a:lnTo>
                  <a:lnTo>
                    <a:pt x="1733245" y="603555"/>
                  </a:lnTo>
                  <a:lnTo>
                    <a:pt x="1733346" y="603555"/>
                  </a:lnTo>
                  <a:lnTo>
                    <a:pt x="1733448" y="604787"/>
                  </a:lnTo>
                  <a:lnTo>
                    <a:pt x="1733448" y="603555"/>
                  </a:lnTo>
                  <a:lnTo>
                    <a:pt x="1733499" y="603555"/>
                  </a:lnTo>
                  <a:lnTo>
                    <a:pt x="1733499" y="604787"/>
                  </a:lnTo>
                  <a:lnTo>
                    <a:pt x="1733550" y="603555"/>
                  </a:lnTo>
                  <a:lnTo>
                    <a:pt x="1733588" y="604787"/>
                  </a:lnTo>
                  <a:lnTo>
                    <a:pt x="1733689" y="603555"/>
                  </a:lnTo>
                  <a:lnTo>
                    <a:pt x="1733740" y="604787"/>
                  </a:lnTo>
                  <a:lnTo>
                    <a:pt x="1733791" y="604787"/>
                  </a:lnTo>
                  <a:lnTo>
                    <a:pt x="1733892" y="603555"/>
                  </a:lnTo>
                  <a:lnTo>
                    <a:pt x="1733994" y="603555"/>
                  </a:lnTo>
                  <a:lnTo>
                    <a:pt x="1733994" y="604787"/>
                  </a:lnTo>
                  <a:lnTo>
                    <a:pt x="1734045" y="604787"/>
                  </a:lnTo>
                  <a:lnTo>
                    <a:pt x="1734134" y="603555"/>
                  </a:lnTo>
                  <a:lnTo>
                    <a:pt x="1734185" y="604787"/>
                  </a:lnTo>
                  <a:lnTo>
                    <a:pt x="1734235" y="604787"/>
                  </a:lnTo>
                  <a:lnTo>
                    <a:pt x="1734286" y="603555"/>
                  </a:lnTo>
                  <a:lnTo>
                    <a:pt x="1734286" y="604787"/>
                  </a:lnTo>
                  <a:lnTo>
                    <a:pt x="1734438" y="604787"/>
                  </a:lnTo>
                  <a:lnTo>
                    <a:pt x="1734438" y="603555"/>
                  </a:lnTo>
                  <a:lnTo>
                    <a:pt x="1734591" y="603555"/>
                  </a:lnTo>
                  <a:lnTo>
                    <a:pt x="1734629" y="604787"/>
                  </a:lnTo>
                  <a:lnTo>
                    <a:pt x="1734680" y="604787"/>
                  </a:lnTo>
                  <a:lnTo>
                    <a:pt x="1734680" y="603555"/>
                  </a:lnTo>
                  <a:lnTo>
                    <a:pt x="1734731" y="603555"/>
                  </a:lnTo>
                  <a:lnTo>
                    <a:pt x="1734731" y="604787"/>
                  </a:lnTo>
                  <a:lnTo>
                    <a:pt x="1735035" y="604787"/>
                  </a:lnTo>
                  <a:lnTo>
                    <a:pt x="1735086" y="603555"/>
                  </a:lnTo>
                  <a:lnTo>
                    <a:pt x="1735086" y="604787"/>
                  </a:lnTo>
                  <a:lnTo>
                    <a:pt x="1735137" y="603555"/>
                  </a:lnTo>
                  <a:lnTo>
                    <a:pt x="1735277" y="603555"/>
                  </a:lnTo>
                  <a:lnTo>
                    <a:pt x="1735277" y="604787"/>
                  </a:lnTo>
                  <a:lnTo>
                    <a:pt x="1735581" y="604787"/>
                  </a:lnTo>
                  <a:lnTo>
                    <a:pt x="1735632" y="603555"/>
                  </a:lnTo>
                  <a:lnTo>
                    <a:pt x="1735874" y="603555"/>
                  </a:lnTo>
                  <a:lnTo>
                    <a:pt x="1735874" y="604787"/>
                  </a:lnTo>
                  <a:lnTo>
                    <a:pt x="1736026" y="604787"/>
                  </a:lnTo>
                  <a:lnTo>
                    <a:pt x="1736077" y="603555"/>
                  </a:lnTo>
                  <a:lnTo>
                    <a:pt x="1736216" y="603555"/>
                  </a:lnTo>
                  <a:lnTo>
                    <a:pt x="1736267" y="604787"/>
                  </a:lnTo>
                  <a:lnTo>
                    <a:pt x="1736420" y="604787"/>
                  </a:lnTo>
                  <a:lnTo>
                    <a:pt x="1736471" y="603555"/>
                  </a:lnTo>
                  <a:lnTo>
                    <a:pt x="1736623" y="603555"/>
                  </a:lnTo>
                  <a:lnTo>
                    <a:pt x="1736623" y="604787"/>
                  </a:lnTo>
                  <a:lnTo>
                    <a:pt x="1736674" y="604787"/>
                  </a:lnTo>
                  <a:lnTo>
                    <a:pt x="1736725" y="603555"/>
                  </a:lnTo>
                  <a:lnTo>
                    <a:pt x="1736864" y="603555"/>
                  </a:lnTo>
                  <a:lnTo>
                    <a:pt x="1736864" y="604787"/>
                  </a:lnTo>
                  <a:lnTo>
                    <a:pt x="1737118" y="604787"/>
                  </a:lnTo>
                  <a:lnTo>
                    <a:pt x="1737169" y="603555"/>
                  </a:lnTo>
                  <a:lnTo>
                    <a:pt x="1737220" y="604787"/>
                  </a:lnTo>
                  <a:lnTo>
                    <a:pt x="1737220" y="603555"/>
                  </a:lnTo>
                  <a:lnTo>
                    <a:pt x="1737309" y="604787"/>
                  </a:lnTo>
                  <a:lnTo>
                    <a:pt x="1737360" y="604787"/>
                  </a:lnTo>
                  <a:lnTo>
                    <a:pt x="1737360" y="603555"/>
                  </a:lnTo>
                  <a:lnTo>
                    <a:pt x="1737563" y="603555"/>
                  </a:lnTo>
                  <a:lnTo>
                    <a:pt x="1737613" y="604787"/>
                  </a:lnTo>
                  <a:lnTo>
                    <a:pt x="1737613" y="603555"/>
                  </a:lnTo>
                  <a:lnTo>
                    <a:pt x="1737664" y="604787"/>
                  </a:lnTo>
                  <a:lnTo>
                    <a:pt x="1737766" y="603555"/>
                  </a:lnTo>
                  <a:lnTo>
                    <a:pt x="1737804" y="603555"/>
                  </a:lnTo>
                  <a:lnTo>
                    <a:pt x="1737804" y="604787"/>
                  </a:lnTo>
                  <a:lnTo>
                    <a:pt x="1737855" y="604787"/>
                  </a:lnTo>
                  <a:lnTo>
                    <a:pt x="1737906" y="603555"/>
                  </a:lnTo>
                  <a:lnTo>
                    <a:pt x="1738007" y="602907"/>
                  </a:lnTo>
                  <a:lnTo>
                    <a:pt x="1738007" y="603555"/>
                  </a:lnTo>
                  <a:lnTo>
                    <a:pt x="1738109" y="603555"/>
                  </a:lnTo>
                  <a:lnTo>
                    <a:pt x="1738109" y="604787"/>
                  </a:lnTo>
                  <a:lnTo>
                    <a:pt x="1738261" y="604787"/>
                  </a:lnTo>
                  <a:lnTo>
                    <a:pt x="1738261" y="603555"/>
                  </a:lnTo>
                  <a:lnTo>
                    <a:pt x="1738312" y="603555"/>
                  </a:lnTo>
                  <a:lnTo>
                    <a:pt x="1738312" y="604787"/>
                  </a:lnTo>
                  <a:lnTo>
                    <a:pt x="1738350" y="604787"/>
                  </a:lnTo>
                  <a:lnTo>
                    <a:pt x="1738452" y="603555"/>
                  </a:lnTo>
                  <a:lnTo>
                    <a:pt x="1738503" y="603555"/>
                  </a:lnTo>
                  <a:lnTo>
                    <a:pt x="1738553" y="602907"/>
                  </a:lnTo>
                  <a:lnTo>
                    <a:pt x="1738553" y="603555"/>
                  </a:lnTo>
                  <a:lnTo>
                    <a:pt x="1738655" y="602907"/>
                  </a:lnTo>
                  <a:lnTo>
                    <a:pt x="1738655" y="603555"/>
                  </a:lnTo>
                  <a:lnTo>
                    <a:pt x="1738706" y="603555"/>
                  </a:lnTo>
                  <a:lnTo>
                    <a:pt x="1738756" y="604787"/>
                  </a:lnTo>
                  <a:lnTo>
                    <a:pt x="1738756" y="603555"/>
                  </a:lnTo>
                  <a:lnTo>
                    <a:pt x="1738807" y="604787"/>
                  </a:lnTo>
                  <a:lnTo>
                    <a:pt x="1738947" y="604787"/>
                  </a:lnTo>
                  <a:lnTo>
                    <a:pt x="1738998" y="603555"/>
                  </a:lnTo>
                  <a:lnTo>
                    <a:pt x="1739150" y="603555"/>
                  </a:lnTo>
                  <a:lnTo>
                    <a:pt x="1739150" y="604787"/>
                  </a:lnTo>
                  <a:lnTo>
                    <a:pt x="1739201" y="604787"/>
                  </a:lnTo>
                  <a:lnTo>
                    <a:pt x="1739252" y="603555"/>
                  </a:lnTo>
                  <a:lnTo>
                    <a:pt x="1739353" y="604787"/>
                  </a:lnTo>
                  <a:lnTo>
                    <a:pt x="1739353" y="603555"/>
                  </a:lnTo>
                  <a:lnTo>
                    <a:pt x="1739493" y="603555"/>
                  </a:lnTo>
                  <a:lnTo>
                    <a:pt x="1739493" y="604787"/>
                  </a:lnTo>
                  <a:lnTo>
                    <a:pt x="1739595" y="604787"/>
                  </a:lnTo>
                  <a:lnTo>
                    <a:pt x="1739595" y="603555"/>
                  </a:lnTo>
                  <a:lnTo>
                    <a:pt x="1739646" y="604787"/>
                  </a:lnTo>
                  <a:lnTo>
                    <a:pt x="1739696" y="603555"/>
                  </a:lnTo>
                  <a:lnTo>
                    <a:pt x="1739798" y="604787"/>
                  </a:lnTo>
                  <a:lnTo>
                    <a:pt x="1739798" y="603555"/>
                  </a:lnTo>
                  <a:lnTo>
                    <a:pt x="1740395" y="603555"/>
                  </a:lnTo>
                  <a:lnTo>
                    <a:pt x="1740484" y="604787"/>
                  </a:lnTo>
                  <a:lnTo>
                    <a:pt x="1740535" y="603555"/>
                  </a:lnTo>
                  <a:lnTo>
                    <a:pt x="1740585" y="603555"/>
                  </a:lnTo>
                  <a:lnTo>
                    <a:pt x="1740636" y="604787"/>
                  </a:lnTo>
                  <a:lnTo>
                    <a:pt x="1740738" y="604787"/>
                  </a:lnTo>
                  <a:lnTo>
                    <a:pt x="1740738" y="603555"/>
                  </a:lnTo>
                  <a:lnTo>
                    <a:pt x="1740979" y="603555"/>
                  </a:lnTo>
                  <a:lnTo>
                    <a:pt x="1740979" y="602907"/>
                  </a:lnTo>
                  <a:lnTo>
                    <a:pt x="1741030" y="603555"/>
                  </a:lnTo>
                  <a:lnTo>
                    <a:pt x="1741284" y="603555"/>
                  </a:lnTo>
                  <a:lnTo>
                    <a:pt x="1741284" y="604787"/>
                  </a:lnTo>
                  <a:lnTo>
                    <a:pt x="1741385" y="604787"/>
                  </a:lnTo>
                  <a:lnTo>
                    <a:pt x="1741385" y="603555"/>
                  </a:lnTo>
                  <a:lnTo>
                    <a:pt x="1741830" y="603555"/>
                  </a:lnTo>
                  <a:lnTo>
                    <a:pt x="1741881" y="604787"/>
                  </a:lnTo>
                  <a:lnTo>
                    <a:pt x="1741881" y="603555"/>
                  </a:lnTo>
                  <a:lnTo>
                    <a:pt x="1742122" y="603555"/>
                  </a:lnTo>
                  <a:lnTo>
                    <a:pt x="1742173" y="602907"/>
                  </a:lnTo>
                  <a:lnTo>
                    <a:pt x="1742173" y="603555"/>
                  </a:lnTo>
                  <a:lnTo>
                    <a:pt x="1742325" y="603555"/>
                  </a:lnTo>
                  <a:lnTo>
                    <a:pt x="1742325" y="604787"/>
                  </a:lnTo>
                  <a:lnTo>
                    <a:pt x="1742376" y="603555"/>
                  </a:lnTo>
                  <a:lnTo>
                    <a:pt x="1742528" y="603555"/>
                  </a:lnTo>
                  <a:lnTo>
                    <a:pt x="1742566" y="604787"/>
                  </a:lnTo>
                  <a:lnTo>
                    <a:pt x="1742566" y="603555"/>
                  </a:lnTo>
                  <a:lnTo>
                    <a:pt x="1742617" y="603555"/>
                  </a:lnTo>
                  <a:lnTo>
                    <a:pt x="1742617" y="604787"/>
                  </a:lnTo>
                  <a:lnTo>
                    <a:pt x="1742668" y="603555"/>
                  </a:lnTo>
                  <a:lnTo>
                    <a:pt x="1744205" y="603555"/>
                  </a:lnTo>
                  <a:lnTo>
                    <a:pt x="1744205" y="604787"/>
                  </a:lnTo>
                  <a:lnTo>
                    <a:pt x="1744357" y="604787"/>
                  </a:lnTo>
                  <a:lnTo>
                    <a:pt x="1744357" y="603555"/>
                  </a:lnTo>
                  <a:lnTo>
                    <a:pt x="1744853" y="603555"/>
                  </a:lnTo>
                  <a:lnTo>
                    <a:pt x="1744903" y="604787"/>
                  </a:lnTo>
                  <a:lnTo>
                    <a:pt x="1745005" y="603555"/>
                  </a:lnTo>
                  <a:lnTo>
                    <a:pt x="1745246" y="603555"/>
                  </a:lnTo>
                  <a:lnTo>
                    <a:pt x="1745246" y="604787"/>
                  </a:lnTo>
                  <a:lnTo>
                    <a:pt x="1745348" y="604787"/>
                  </a:lnTo>
                  <a:lnTo>
                    <a:pt x="1745348" y="603555"/>
                  </a:lnTo>
                  <a:lnTo>
                    <a:pt x="1745551" y="603555"/>
                  </a:lnTo>
                  <a:lnTo>
                    <a:pt x="1745602" y="604787"/>
                  </a:lnTo>
                  <a:lnTo>
                    <a:pt x="1745703" y="604787"/>
                  </a:lnTo>
                  <a:lnTo>
                    <a:pt x="1745703" y="603555"/>
                  </a:lnTo>
                  <a:lnTo>
                    <a:pt x="1745996" y="603555"/>
                  </a:lnTo>
                  <a:lnTo>
                    <a:pt x="1746046" y="602907"/>
                  </a:lnTo>
                  <a:lnTo>
                    <a:pt x="1746250" y="602907"/>
                  </a:lnTo>
                  <a:lnTo>
                    <a:pt x="1746250" y="603555"/>
                  </a:lnTo>
                  <a:lnTo>
                    <a:pt x="1746491" y="603555"/>
                  </a:lnTo>
                  <a:lnTo>
                    <a:pt x="1746491" y="602907"/>
                  </a:lnTo>
                  <a:lnTo>
                    <a:pt x="1746643" y="602907"/>
                  </a:lnTo>
                  <a:lnTo>
                    <a:pt x="1746643" y="603555"/>
                  </a:lnTo>
                  <a:lnTo>
                    <a:pt x="1746694" y="602907"/>
                  </a:lnTo>
                  <a:lnTo>
                    <a:pt x="1746745" y="603555"/>
                  </a:lnTo>
                  <a:lnTo>
                    <a:pt x="1747431" y="603555"/>
                  </a:lnTo>
                  <a:lnTo>
                    <a:pt x="1747431" y="604787"/>
                  </a:lnTo>
                  <a:lnTo>
                    <a:pt x="1747532" y="603555"/>
                  </a:lnTo>
                  <a:lnTo>
                    <a:pt x="1747532" y="604787"/>
                  </a:lnTo>
                  <a:lnTo>
                    <a:pt x="1747583" y="603555"/>
                  </a:lnTo>
                  <a:lnTo>
                    <a:pt x="1747786" y="603555"/>
                  </a:lnTo>
                  <a:lnTo>
                    <a:pt x="1747837" y="602907"/>
                  </a:lnTo>
                  <a:lnTo>
                    <a:pt x="1747875" y="603555"/>
                  </a:lnTo>
                  <a:lnTo>
                    <a:pt x="1748281" y="603555"/>
                  </a:lnTo>
                  <a:lnTo>
                    <a:pt x="1748332" y="602907"/>
                  </a:lnTo>
                  <a:lnTo>
                    <a:pt x="1748472" y="602907"/>
                  </a:lnTo>
                  <a:lnTo>
                    <a:pt x="1748472" y="603555"/>
                  </a:lnTo>
                  <a:lnTo>
                    <a:pt x="1748523" y="602907"/>
                  </a:lnTo>
                  <a:lnTo>
                    <a:pt x="1748574" y="603555"/>
                  </a:lnTo>
                  <a:lnTo>
                    <a:pt x="1749323" y="603555"/>
                  </a:lnTo>
                  <a:lnTo>
                    <a:pt x="1749374" y="602907"/>
                  </a:lnTo>
                  <a:lnTo>
                    <a:pt x="1749564" y="602907"/>
                  </a:lnTo>
                  <a:lnTo>
                    <a:pt x="1749615" y="603555"/>
                  </a:lnTo>
                  <a:lnTo>
                    <a:pt x="1750009" y="603555"/>
                  </a:lnTo>
                  <a:lnTo>
                    <a:pt x="1750060" y="602907"/>
                  </a:lnTo>
                  <a:lnTo>
                    <a:pt x="1750110" y="603555"/>
                  </a:lnTo>
                  <a:lnTo>
                    <a:pt x="1750466" y="603555"/>
                  </a:lnTo>
                  <a:lnTo>
                    <a:pt x="1750504" y="602907"/>
                  </a:lnTo>
                  <a:lnTo>
                    <a:pt x="1750555" y="602907"/>
                  </a:lnTo>
                  <a:lnTo>
                    <a:pt x="1750555" y="603555"/>
                  </a:lnTo>
                  <a:lnTo>
                    <a:pt x="1750707" y="603555"/>
                  </a:lnTo>
                  <a:lnTo>
                    <a:pt x="1750707" y="602907"/>
                  </a:lnTo>
                  <a:lnTo>
                    <a:pt x="1750809" y="602907"/>
                  </a:lnTo>
                  <a:lnTo>
                    <a:pt x="1750809" y="603555"/>
                  </a:lnTo>
                  <a:lnTo>
                    <a:pt x="1750910" y="602907"/>
                  </a:lnTo>
                  <a:lnTo>
                    <a:pt x="1750910" y="603555"/>
                  </a:lnTo>
                  <a:lnTo>
                    <a:pt x="1751012" y="603555"/>
                  </a:lnTo>
                  <a:lnTo>
                    <a:pt x="1751012" y="602907"/>
                  </a:lnTo>
                  <a:lnTo>
                    <a:pt x="1751253" y="602907"/>
                  </a:lnTo>
                  <a:lnTo>
                    <a:pt x="1751355" y="603555"/>
                  </a:lnTo>
                  <a:lnTo>
                    <a:pt x="1751355" y="602907"/>
                  </a:lnTo>
                  <a:lnTo>
                    <a:pt x="1751456" y="602907"/>
                  </a:lnTo>
                  <a:lnTo>
                    <a:pt x="1751456" y="603555"/>
                  </a:lnTo>
                  <a:lnTo>
                    <a:pt x="1751647" y="603555"/>
                  </a:lnTo>
                  <a:lnTo>
                    <a:pt x="1751698" y="602907"/>
                  </a:lnTo>
                  <a:lnTo>
                    <a:pt x="1751698" y="603555"/>
                  </a:lnTo>
                  <a:lnTo>
                    <a:pt x="1751749" y="602907"/>
                  </a:lnTo>
                  <a:lnTo>
                    <a:pt x="1751901" y="602907"/>
                  </a:lnTo>
                  <a:lnTo>
                    <a:pt x="1751952" y="603555"/>
                  </a:lnTo>
                  <a:lnTo>
                    <a:pt x="1752346" y="603555"/>
                  </a:lnTo>
                  <a:lnTo>
                    <a:pt x="1752396" y="602907"/>
                  </a:lnTo>
                  <a:lnTo>
                    <a:pt x="1752396" y="603555"/>
                  </a:lnTo>
                  <a:lnTo>
                    <a:pt x="1752498" y="602907"/>
                  </a:lnTo>
                  <a:lnTo>
                    <a:pt x="1752549" y="602907"/>
                  </a:lnTo>
                  <a:lnTo>
                    <a:pt x="1752549" y="603555"/>
                  </a:lnTo>
                  <a:lnTo>
                    <a:pt x="1752638" y="603555"/>
                  </a:lnTo>
                  <a:lnTo>
                    <a:pt x="1752638" y="602907"/>
                  </a:lnTo>
                  <a:lnTo>
                    <a:pt x="1752942" y="602907"/>
                  </a:lnTo>
                  <a:lnTo>
                    <a:pt x="1752942" y="603555"/>
                  </a:lnTo>
                  <a:lnTo>
                    <a:pt x="1753488" y="603555"/>
                  </a:lnTo>
                  <a:lnTo>
                    <a:pt x="1753539" y="602907"/>
                  </a:lnTo>
                  <a:lnTo>
                    <a:pt x="1753641" y="603555"/>
                  </a:lnTo>
                  <a:lnTo>
                    <a:pt x="1753641" y="602907"/>
                  </a:lnTo>
                  <a:lnTo>
                    <a:pt x="1753679" y="602907"/>
                  </a:lnTo>
                  <a:lnTo>
                    <a:pt x="1753730" y="603555"/>
                  </a:lnTo>
                  <a:lnTo>
                    <a:pt x="1753781" y="603555"/>
                  </a:lnTo>
                  <a:lnTo>
                    <a:pt x="1753882" y="602907"/>
                  </a:lnTo>
                  <a:lnTo>
                    <a:pt x="1753933" y="602907"/>
                  </a:lnTo>
                  <a:lnTo>
                    <a:pt x="1753933" y="603555"/>
                  </a:lnTo>
                  <a:lnTo>
                    <a:pt x="1753984" y="602907"/>
                  </a:lnTo>
                  <a:lnTo>
                    <a:pt x="1755317" y="602907"/>
                  </a:lnTo>
                  <a:lnTo>
                    <a:pt x="1755368" y="603555"/>
                  </a:lnTo>
                  <a:lnTo>
                    <a:pt x="1755470" y="603555"/>
                  </a:lnTo>
                  <a:lnTo>
                    <a:pt x="1755521" y="602907"/>
                  </a:lnTo>
                  <a:lnTo>
                    <a:pt x="1755571" y="603555"/>
                  </a:lnTo>
                  <a:lnTo>
                    <a:pt x="1755673" y="602907"/>
                  </a:lnTo>
                  <a:lnTo>
                    <a:pt x="1755673" y="603555"/>
                  </a:lnTo>
                  <a:lnTo>
                    <a:pt x="1755724" y="602907"/>
                  </a:lnTo>
                  <a:lnTo>
                    <a:pt x="1756663" y="602907"/>
                  </a:lnTo>
                  <a:lnTo>
                    <a:pt x="1756714" y="603555"/>
                  </a:lnTo>
                  <a:lnTo>
                    <a:pt x="1756816" y="603555"/>
                  </a:lnTo>
                  <a:lnTo>
                    <a:pt x="1756816" y="602907"/>
                  </a:lnTo>
                  <a:lnTo>
                    <a:pt x="1756956" y="602907"/>
                  </a:lnTo>
                  <a:lnTo>
                    <a:pt x="1756956" y="603555"/>
                  </a:lnTo>
                  <a:lnTo>
                    <a:pt x="1757159" y="603555"/>
                  </a:lnTo>
                  <a:lnTo>
                    <a:pt x="1757159" y="602907"/>
                  </a:lnTo>
                  <a:lnTo>
                    <a:pt x="1758441" y="602907"/>
                  </a:lnTo>
                  <a:lnTo>
                    <a:pt x="1758441" y="603555"/>
                  </a:lnTo>
                  <a:lnTo>
                    <a:pt x="1758492" y="602907"/>
                  </a:lnTo>
                  <a:lnTo>
                    <a:pt x="1758696" y="602907"/>
                  </a:lnTo>
                  <a:lnTo>
                    <a:pt x="1758696" y="603555"/>
                  </a:lnTo>
                  <a:lnTo>
                    <a:pt x="1758746" y="603555"/>
                  </a:lnTo>
                  <a:lnTo>
                    <a:pt x="1758746" y="602907"/>
                  </a:lnTo>
                  <a:lnTo>
                    <a:pt x="1758848" y="603555"/>
                  </a:lnTo>
                  <a:lnTo>
                    <a:pt x="1758899" y="602907"/>
                  </a:lnTo>
                  <a:lnTo>
                    <a:pt x="1759585" y="602907"/>
                  </a:lnTo>
                  <a:lnTo>
                    <a:pt x="1759585" y="603555"/>
                  </a:lnTo>
                  <a:lnTo>
                    <a:pt x="1759635" y="603555"/>
                  </a:lnTo>
                  <a:lnTo>
                    <a:pt x="1759635" y="602907"/>
                  </a:lnTo>
                  <a:lnTo>
                    <a:pt x="1759788" y="602907"/>
                  </a:lnTo>
                  <a:lnTo>
                    <a:pt x="1759838" y="602209"/>
                  </a:lnTo>
                  <a:lnTo>
                    <a:pt x="1759838" y="602907"/>
                  </a:lnTo>
                  <a:lnTo>
                    <a:pt x="1759991" y="602907"/>
                  </a:lnTo>
                  <a:lnTo>
                    <a:pt x="1760029" y="603555"/>
                  </a:lnTo>
                  <a:lnTo>
                    <a:pt x="1760080" y="603555"/>
                  </a:lnTo>
                  <a:lnTo>
                    <a:pt x="1760131" y="602907"/>
                  </a:lnTo>
                  <a:lnTo>
                    <a:pt x="1760575" y="602907"/>
                  </a:lnTo>
                  <a:lnTo>
                    <a:pt x="1760575" y="602209"/>
                  </a:lnTo>
                  <a:lnTo>
                    <a:pt x="1760677" y="602209"/>
                  </a:lnTo>
                  <a:lnTo>
                    <a:pt x="1760728" y="602907"/>
                  </a:lnTo>
                  <a:lnTo>
                    <a:pt x="1760728" y="602209"/>
                  </a:lnTo>
                  <a:lnTo>
                    <a:pt x="1760778" y="602907"/>
                  </a:lnTo>
                  <a:lnTo>
                    <a:pt x="1760880" y="602209"/>
                  </a:lnTo>
                  <a:lnTo>
                    <a:pt x="1760880" y="602907"/>
                  </a:lnTo>
                  <a:lnTo>
                    <a:pt x="1761121" y="602907"/>
                  </a:lnTo>
                  <a:lnTo>
                    <a:pt x="1761121" y="603555"/>
                  </a:lnTo>
                  <a:lnTo>
                    <a:pt x="1761172" y="602907"/>
                  </a:lnTo>
                  <a:lnTo>
                    <a:pt x="1761274" y="602907"/>
                  </a:lnTo>
                  <a:lnTo>
                    <a:pt x="1761375" y="602209"/>
                  </a:lnTo>
                  <a:lnTo>
                    <a:pt x="1761375" y="602907"/>
                  </a:lnTo>
                  <a:lnTo>
                    <a:pt x="1761426" y="602209"/>
                  </a:lnTo>
                  <a:lnTo>
                    <a:pt x="1761477" y="602209"/>
                  </a:lnTo>
                  <a:lnTo>
                    <a:pt x="1761578" y="602907"/>
                  </a:lnTo>
                  <a:lnTo>
                    <a:pt x="1762366" y="602907"/>
                  </a:lnTo>
                  <a:lnTo>
                    <a:pt x="1762366" y="603555"/>
                  </a:lnTo>
                  <a:lnTo>
                    <a:pt x="1762467" y="602907"/>
                  </a:lnTo>
                  <a:lnTo>
                    <a:pt x="1762569" y="602907"/>
                  </a:lnTo>
                  <a:lnTo>
                    <a:pt x="1762569" y="602209"/>
                  </a:lnTo>
                  <a:lnTo>
                    <a:pt x="1762620" y="602209"/>
                  </a:lnTo>
                  <a:lnTo>
                    <a:pt x="1762620" y="602907"/>
                  </a:lnTo>
                  <a:lnTo>
                    <a:pt x="1762709" y="602907"/>
                  </a:lnTo>
                  <a:lnTo>
                    <a:pt x="1762760" y="603555"/>
                  </a:lnTo>
                  <a:lnTo>
                    <a:pt x="1762810" y="602907"/>
                  </a:lnTo>
                  <a:lnTo>
                    <a:pt x="1762861" y="603555"/>
                  </a:lnTo>
                  <a:lnTo>
                    <a:pt x="1762963" y="602907"/>
                  </a:lnTo>
                  <a:lnTo>
                    <a:pt x="1763166" y="602907"/>
                  </a:lnTo>
                  <a:lnTo>
                    <a:pt x="1763204" y="602209"/>
                  </a:lnTo>
                  <a:lnTo>
                    <a:pt x="1763204" y="602907"/>
                  </a:lnTo>
                  <a:lnTo>
                    <a:pt x="1763407" y="602907"/>
                  </a:lnTo>
                  <a:lnTo>
                    <a:pt x="1763458" y="602209"/>
                  </a:lnTo>
                  <a:lnTo>
                    <a:pt x="1763509" y="602209"/>
                  </a:lnTo>
                  <a:lnTo>
                    <a:pt x="1763610" y="602907"/>
                  </a:lnTo>
                  <a:lnTo>
                    <a:pt x="1763953" y="602907"/>
                  </a:lnTo>
                  <a:lnTo>
                    <a:pt x="1763953" y="602209"/>
                  </a:lnTo>
                  <a:lnTo>
                    <a:pt x="1764055" y="602907"/>
                  </a:lnTo>
                  <a:lnTo>
                    <a:pt x="1764106" y="602907"/>
                  </a:lnTo>
                  <a:lnTo>
                    <a:pt x="1764106" y="602209"/>
                  </a:lnTo>
                  <a:lnTo>
                    <a:pt x="1764156" y="602907"/>
                  </a:lnTo>
                  <a:lnTo>
                    <a:pt x="1764207" y="602907"/>
                  </a:lnTo>
                  <a:lnTo>
                    <a:pt x="1764207" y="603555"/>
                  </a:lnTo>
                  <a:lnTo>
                    <a:pt x="1764296" y="603555"/>
                  </a:lnTo>
                  <a:lnTo>
                    <a:pt x="1764347" y="602907"/>
                  </a:lnTo>
                  <a:lnTo>
                    <a:pt x="1764449" y="602907"/>
                  </a:lnTo>
                  <a:lnTo>
                    <a:pt x="1764449" y="602209"/>
                  </a:lnTo>
                  <a:lnTo>
                    <a:pt x="1764550" y="602209"/>
                  </a:lnTo>
                  <a:lnTo>
                    <a:pt x="1764550" y="602907"/>
                  </a:lnTo>
                  <a:lnTo>
                    <a:pt x="1764601" y="602209"/>
                  </a:lnTo>
                  <a:lnTo>
                    <a:pt x="1764652" y="602907"/>
                  </a:lnTo>
                  <a:lnTo>
                    <a:pt x="1764753" y="602209"/>
                  </a:lnTo>
                  <a:lnTo>
                    <a:pt x="1764753" y="602907"/>
                  </a:lnTo>
                  <a:lnTo>
                    <a:pt x="1765439" y="602907"/>
                  </a:lnTo>
                  <a:lnTo>
                    <a:pt x="1765439" y="602209"/>
                  </a:lnTo>
                  <a:lnTo>
                    <a:pt x="1765490" y="602209"/>
                  </a:lnTo>
                  <a:lnTo>
                    <a:pt x="1765490" y="602907"/>
                  </a:lnTo>
                  <a:lnTo>
                    <a:pt x="1766379" y="602907"/>
                  </a:lnTo>
                  <a:lnTo>
                    <a:pt x="1766379" y="602209"/>
                  </a:lnTo>
                  <a:lnTo>
                    <a:pt x="1766430" y="602907"/>
                  </a:lnTo>
                  <a:lnTo>
                    <a:pt x="1766582" y="602907"/>
                  </a:lnTo>
                  <a:lnTo>
                    <a:pt x="1766582" y="602209"/>
                  </a:lnTo>
                  <a:lnTo>
                    <a:pt x="1766633" y="602209"/>
                  </a:lnTo>
                  <a:lnTo>
                    <a:pt x="1766684" y="602907"/>
                  </a:lnTo>
                  <a:lnTo>
                    <a:pt x="1766925" y="602907"/>
                  </a:lnTo>
                  <a:lnTo>
                    <a:pt x="1766925" y="602209"/>
                  </a:lnTo>
                  <a:lnTo>
                    <a:pt x="1767027" y="602209"/>
                  </a:lnTo>
                  <a:lnTo>
                    <a:pt x="1767078" y="602907"/>
                  </a:lnTo>
                  <a:lnTo>
                    <a:pt x="1767128" y="602209"/>
                  </a:lnTo>
                  <a:lnTo>
                    <a:pt x="1767281" y="602209"/>
                  </a:lnTo>
                  <a:lnTo>
                    <a:pt x="1767331" y="602907"/>
                  </a:lnTo>
                  <a:lnTo>
                    <a:pt x="1767928" y="602907"/>
                  </a:lnTo>
                  <a:lnTo>
                    <a:pt x="1767966" y="602209"/>
                  </a:lnTo>
                  <a:lnTo>
                    <a:pt x="1768017" y="602907"/>
                  </a:lnTo>
                  <a:lnTo>
                    <a:pt x="1768817" y="602907"/>
                  </a:lnTo>
                  <a:lnTo>
                    <a:pt x="1768868" y="602209"/>
                  </a:lnTo>
                  <a:lnTo>
                    <a:pt x="1768919" y="602907"/>
                  </a:lnTo>
                  <a:lnTo>
                    <a:pt x="1768970" y="602907"/>
                  </a:lnTo>
                  <a:lnTo>
                    <a:pt x="1769059" y="602209"/>
                  </a:lnTo>
                  <a:lnTo>
                    <a:pt x="1769110" y="602907"/>
                  </a:lnTo>
                  <a:lnTo>
                    <a:pt x="1769554" y="602907"/>
                  </a:lnTo>
                  <a:lnTo>
                    <a:pt x="1769605" y="602209"/>
                  </a:lnTo>
                  <a:lnTo>
                    <a:pt x="1769605" y="602907"/>
                  </a:lnTo>
                  <a:lnTo>
                    <a:pt x="1769757" y="602907"/>
                  </a:lnTo>
                  <a:lnTo>
                    <a:pt x="1769757" y="602209"/>
                  </a:lnTo>
                  <a:lnTo>
                    <a:pt x="1769859" y="602209"/>
                  </a:lnTo>
                  <a:lnTo>
                    <a:pt x="1769859" y="602907"/>
                  </a:lnTo>
                  <a:lnTo>
                    <a:pt x="1769960" y="602907"/>
                  </a:lnTo>
                  <a:lnTo>
                    <a:pt x="1769960" y="602209"/>
                  </a:lnTo>
                  <a:lnTo>
                    <a:pt x="1770100" y="602209"/>
                  </a:lnTo>
                  <a:lnTo>
                    <a:pt x="1770202" y="602907"/>
                  </a:lnTo>
                  <a:lnTo>
                    <a:pt x="1770456" y="602907"/>
                  </a:lnTo>
                  <a:lnTo>
                    <a:pt x="1770456" y="602209"/>
                  </a:lnTo>
                  <a:lnTo>
                    <a:pt x="1770506" y="602209"/>
                  </a:lnTo>
                  <a:lnTo>
                    <a:pt x="1770557" y="602907"/>
                  </a:lnTo>
                  <a:lnTo>
                    <a:pt x="1770557" y="602209"/>
                  </a:lnTo>
                  <a:lnTo>
                    <a:pt x="1770646" y="602209"/>
                  </a:lnTo>
                  <a:lnTo>
                    <a:pt x="1770646" y="602907"/>
                  </a:lnTo>
                  <a:lnTo>
                    <a:pt x="1770697" y="602907"/>
                  </a:lnTo>
                  <a:lnTo>
                    <a:pt x="1770748" y="602209"/>
                  </a:lnTo>
                  <a:lnTo>
                    <a:pt x="1770748" y="602907"/>
                  </a:lnTo>
                  <a:lnTo>
                    <a:pt x="1770799" y="602209"/>
                  </a:lnTo>
                  <a:lnTo>
                    <a:pt x="1770799" y="602907"/>
                  </a:lnTo>
                  <a:lnTo>
                    <a:pt x="1771599" y="602907"/>
                  </a:lnTo>
                  <a:lnTo>
                    <a:pt x="1771650" y="602209"/>
                  </a:lnTo>
                  <a:lnTo>
                    <a:pt x="1771650" y="602907"/>
                  </a:lnTo>
                  <a:lnTo>
                    <a:pt x="1771789" y="602907"/>
                  </a:lnTo>
                  <a:lnTo>
                    <a:pt x="1771840" y="602209"/>
                  </a:lnTo>
                  <a:lnTo>
                    <a:pt x="1772043" y="602209"/>
                  </a:lnTo>
                  <a:lnTo>
                    <a:pt x="1772043" y="602907"/>
                  </a:lnTo>
                  <a:lnTo>
                    <a:pt x="1772094" y="602907"/>
                  </a:lnTo>
                  <a:lnTo>
                    <a:pt x="1772094" y="602209"/>
                  </a:lnTo>
                  <a:lnTo>
                    <a:pt x="1772145" y="602209"/>
                  </a:lnTo>
                  <a:lnTo>
                    <a:pt x="1772145" y="602907"/>
                  </a:lnTo>
                  <a:lnTo>
                    <a:pt x="1772335" y="602907"/>
                  </a:lnTo>
                  <a:lnTo>
                    <a:pt x="1772335" y="602209"/>
                  </a:lnTo>
                  <a:lnTo>
                    <a:pt x="1772386" y="602907"/>
                  </a:lnTo>
                  <a:lnTo>
                    <a:pt x="1772386" y="602209"/>
                  </a:lnTo>
                  <a:lnTo>
                    <a:pt x="1772488" y="602209"/>
                  </a:lnTo>
                  <a:lnTo>
                    <a:pt x="1772488" y="602907"/>
                  </a:lnTo>
                  <a:lnTo>
                    <a:pt x="1772589" y="602907"/>
                  </a:lnTo>
                  <a:lnTo>
                    <a:pt x="1772691" y="603555"/>
                  </a:lnTo>
                  <a:lnTo>
                    <a:pt x="1772691" y="602907"/>
                  </a:lnTo>
                  <a:lnTo>
                    <a:pt x="1773135" y="602907"/>
                  </a:lnTo>
                  <a:lnTo>
                    <a:pt x="1773186" y="602209"/>
                  </a:lnTo>
                  <a:lnTo>
                    <a:pt x="1773186" y="602907"/>
                  </a:lnTo>
                  <a:lnTo>
                    <a:pt x="1773681" y="602907"/>
                  </a:lnTo>
                  <a:lnTo>
                    <a:pt x="1773681" y="602209"/>
                  </a:lnTo>
                  <a:lnTo>
                    <a:pt x="1774316" y="602209"/>
                  </a:lnTo>
                  <a:lnTo>
                    <a:pt x="1774367" y="602907"/>
                  </a:lnTo>
                  <a:lnTo>
                    <a:pt x="1774723" y="602907"/>
                  </a:lnTo>
                  <a:lnTo>
                    <a:pt x="1774723" y="602209"/>
                  </a:lnTo>
                  <a:lnTo>
                    <a:pt x="1775015" y="602209"/>
                  </a:lnTo>
                  <a:lnTo>
                    <a:pt x="1775066" y="602907"/>
                  </a:lnTo>
                  <a:lnTo>
                    <a:pt x="1775167" y="602907"/>
                  </a:lnTo>
                  <a:lnTo>
                    <a:pt x="1775218" y="602209"/>
                  </a:lnTo>
                  <a:lnTo>
                    <a:pt x="1775320" y="602209"/>
                  </a:lnTo>
                  <a:lnTo>
                    <a:pt x="1775320" y="602907"/>
                  </a:lnTo>
                  <a:lnTo>
                    <a:pt x="1775663" y="602907"/>
                  </a:lnTo>
                  <a:lnTo>
                    <a:pt x="1775713" y="602209"/>
                  </a:lnTo>
                  <a:lnTo>
                    <a:pt x="1775764" y="602209"/>
                  </a:lnTo>
                  <a:lnTo>
                    <a:pt x="1775764" y="602907"/>
                  </a:lnTo>
                  <a:lnTo>
                    <a:pt x="1776107" y="602907"/>
                  </a:lnTo>
                  <a:lnTo>
                    <a:pt x="1776107" y="602209"/>
                  </a:lnTo>
                  <a:lnTo>
                    <a:pt x="1776158" y="602209"/>
                  </a:lnTo>
                  <a:lnTo>
                    <a:pt x="1776209" y="601561"/>
                  </a:lnTo>
                  <a:lnTo>
                    <a:pt x="1776209" y="602209"/>
                  </a:lnTo>
                  <a:lnTo>
                    <a:pt x="1776412" y="602209"/>
                  </a:lnTo>
                  <a:lnTo>
                    <a:pt x="1776412" y="602907"/>
                  </a:lnTo>
                  <a:lnTo>
                    <a:pt x="1776450" y="602209"/>
                  </a:lnTo>
                  <a:lnTo>
                    <a:pt x="1776603" y="602209"/>
                  </a:lnTo>
                  <a:lnTo>
                    <a:pt x="1776603" y="602907"/>
                  </a:lnTo>
                  <a:lnTo>
                    <a:pt x="1776653" y="602907"/>
                  </a:lnTo>
                  <a:lnTo>
                    <a:pt x="1776653" y="602209"/>
                  </a:lnTo>
                  <a:lnTo>
                    <a:pt x="1777098" y="602209"/>
                  </a:lnTo>
                  <a:lnTo>
                    <a:pt x="1777149" y="602907"/>
                  </a:lnTo>
                  <a:lnTo>
                    <a:pt x="1777149" y="602209"/>
                  </a:lnTo>
                  <a:lnTo>
                    <a:pt x="1777301" y="602209"/>
                  </a:lnTo>
                  <a:lnTo>
                    <a:pt x="1777301" y="602907"/>
                  </a:lnTo>
                  <a:lnTo>
                    <a:pt x="1777453" y="602907"/>
                  </a:lnTo>
                  <a:lnTo>
                    <a:pt x="1777453" y="602209"/>
                  </a:lnTo>
                  <a:lnTo>
                    <a:pt x="1777542" y="602209"/>
                  </a:lnTo>
                  <a:lnTo>
                    <a:pt x="1777593" y="602907"/>
                  </a:lnTo>
                  <a:lnTo>
                    <a:pt x="1777593" y="602209"/>
                  </a:lnTo>
                  <a:lnTo>
                    <a:pt x="1778241" y="602209"/>
                  </a:lnTo>
                  <a:lnTo>
                    <a:pt x="1778342" y="602907"/>
                  </a:lnTo>
                  <a:lnTo>
                    <a:pt x="1778393" y="602907"/>
                  </a:lnTo>
                  <a:lnTo>
                    <a:pt x="1778393" y="602209"/>
                  </a:lnTo>
                  <a:lnTo>
                    <a:pt x="1778444" y="602907"/>
                  </a:lnTo>
                  <a:lnTo>
                    <a:pt x="1778495" y="602907"/>
                  </a:lnTo>
                  <a:lnTo>
                    <a:pt x="1778584" y="602209"/>
                  </a:lnTo>
                  <a:lnTo>
                    <a:pt x="1778685" y="602209"/>
                  </a:lnTo>
                  <a:lnTo>
                    <a:pt x="1778685" y="602907"/>
                  </a:lnTo>
                  <a:lnTo>
                    <a:pt x="1778736" y="602209"/>
                  </a:lnTo>
                  <a:lnTo>
                    <a:pt x="1778736" y="602907"/>
                  </a:lnTo>
                  <a:lnTo>
                    <a:pt x="1778838" y="602209"/>
                  </a:lnTo>
                  <a:lnTo>
                    <a:pt x="1778888" y="602907"/>
                  </a:lnTo>
                  <a:lnTo>
                    <a:pt x="1778939" y="602907"/>
                  </a:lnTo>
                  <a:lnTo>
                    <a:pt x="1779041" y="602209"/>
                  </a:lnTo>
                  <a:lnTo>
                    <a:pt x="1779130" y="602209"/>
                  </a:lnTo>
                  <a:lnTo>
                    <a:pt x="1779130" y="602907"/>
                  </a:lnTo>
                  <a:lnTo>
                    <a:pt x="1779181" y="602209"/>
                  </a:lnTo>
                  <a:lnTo>
                    <a:pt x="1779282" y="602209"/>
                  </a:lnTo>
                  <a:lnTo>
                    <a:pt x="1779282" y="602907"/>
                  </a:lnTo>
                  <a:lnTo>
                    <a:pt x="1779828" y="602907"/>
                  </a:lnTo>
                  <a:lnTo>
                    <a:pt x="1779930" y="602209"/>
                  </a:lnTo>
                  <a:lnTo>
                    <a:pt x="1779981" y="602209"/>
                  </a:lnTo>
                  <a:lnTo>
                    <a:pt x="1779981" y="602907"/>
                  </a:lnTo>
                  <a:lnTo>
                    <a:pt x="1780222" y="602907"/>
                  </a:lnTo>
                  <a:lnTo>
                    <a:pt x="1780222" y="602209"/>
                  </a:lnTo>
                  <a:lnTo>
                    <a:pt x="1780527" y="602209"/>
                  </a:lnTo>
                  <a:lnTo>
                    <a:pt x="1780527" y="602907"/>
                  </a:lnTo>
                  <a:lnTo>
                    <a:pt x="1780628" y="602209"/>
                  </a:lnTo>
                  <a:lnTo>
                    <a:pt x="1780628" y="602907"/>
                  </a:lnTo>
                  <a:lnTo>
                    <a:pt x="1780921" y="602907"/>
                  </a:lnTo>
                  <a:lnTo>
                    <a:pt x="1780921" y="602209"/>
                  </a:lnTo>
                  <a:lnTo>
                    <a:pt x="1780971" y="602907"/>
                  </a:lnTo>
                  <a:lnTo>
                    <a:pt x="1781073" y="602209"/>
                  </a:lnTo>
                  <a:lnTo>
                    <a:pt x="1781124" y="602907"/>
                  </a:lnTo>
                  <a:lnTo>
                    <a:pt x="1781213" y="602907"/>
                  </a:lnTo>
                  <a:lnTo>
                    <a:pt x="1781213" y="602209"/>
                  </a:lnTo>
                  <a:lnTo>
                    <a:pt x="1781670" y="602209"/>
                  </a:lnTo>
                  <a:lnTo>
                    <a:pt x="1781670" y="602907"/>
                  </a:lnTo>
                  <a:lnTo>
                    <a:pt x="1781810" y="602907"/>
                  </a:lnTo>
                  <a:lnTo>
                    <a:pt x="1781860" y="602209"/>
                  </a:lnTo>
                  <a:lnTo>
                    <a:pt x="1782114" y="602209"/>
                  </a:lnTo>
                  <a:lnTo>
                    <a:pt x="1782114" y="602907"/>
                  </a:lnTo>
                  <a:lnTo>
                    <a:pt x="1782305" y="602907"/>
                  </a:lnTo>
                  <a:lnTo>
                    <a:pt x="1782356" y="602209"/>
                  </a:lnTo>
                  <a:lnTo>
                    <a:pt x="1782457" y="602209"/>
                  </a:lnTo>
                  <a:lnTo>
                    <a:pt x="1782508" y="602907"/>
                  </a:lnTo>
                  <a:lnTo>
                    <a:pt x="1782559" y="602907"/>
                  </a:lnTo>
                  <a:lnTo>
                    <a:pt x="1782559" y="602209"/>
                  </a:lnTo>
                  <a:lnTo>
                    <a:pt x="1783156" y="602209"/>
                  </a:lnTo>
                  <a:lnTo>
                    <a:pt x="1783206" y="601561"/>
                  </a:lnTo>
                  <a:lnTo>
                    <a:pt x="1783257" y="601561"/>
                  </a:lnTo>
                  <a:lnTo>
                    <a:pt x="1783346" y="602209"/>
                  </a:lnTo>
                  <a:lnTo>
                    <a:pt x="1783600" y="602209"/>
                  </a:lnTo>
                  <a:lnTo>
                    <a:pt x="1783651" y="602907"/>
                  </a:lnTo>
                  <a:lnTo>
                    <a:pt x="1783651" y="602209"/>
                  </a:lnTo>
                  <a:lnTo>
                    <a:pt x="1783892" y="602209"/>
                  </a:lnTo>
                  <a:lnTo>
                    <a:pt x="1783892" y="602907"/>
                  </a:lnTo>
                  <a:lnTo>
                    <a:pt x="1783943" y="602209"/>
                  </a:lnTo>
                  <a:lnTo>
                    <a:pt x="1784045" y="602907"/>
                  </a:lnTo>
                  <a:lnTo>
                    <a:pt x="1784096" y="602209"/>
                  </a:lnTo>
                  <a:lnTo>
                    <a:pt x="1784248" y="602209"/>
                  </a:lnTo>
                  <a:lnTo>
                    <a:pt x="1784299" y="602907"/>
                  </a:lnTo>
                  <a:lnTo>
                    <a:pt x="1784388" y="602907"/>
                  </a:lnTo>
                  <a:lnTo>
                    <a:pt x="1784388" y="602209"/>
                  </a:lnTo>
                  <a:lnTo>
                    <a:pt x="1784540" y="602209"/>
                  </a:lnTo>
                  <a:lnTo>
                    <a:pt x="1784591" y="602907"/>
                  </a:lnTo>
                  <a:lnTo>
                    <a:pt x="1784692" y="602209"/>
                  </a:lnTo>
                  <a:lnTo>
                    <a:pt x="1785391" y="602209"/>
                  </a:lnTo>
                  <a:lnTo>
                    <a:pt x="1785391" y="602907"/>
                  </a:lnTo>
                  <a:lnTo>
                    <a:pt x="1785429" y="602907"/>
                  </a:lnTo>
                  <a:lnTo>
                    <a:pt x="1785429" y="602209"/>
                  </a:lnTo>
                  <a:lnTo>
                    <a:pt x="1786623" y="602209"/>
                  </a:lnTo>
                  <a:lnTo>
                    <a:pt x="1786623" y="601561"/>
                  </a:lnTo>
                  <a:lnTo>
                    <a:pt x="1786674" y="602209"/>
                  </a:lnTo>
                  <a:lnTo>
                    <a:pt x="1787118" y="602209"/>
                  </a:lnTo>
                  <a:lnTo>
                    <a:pt x="1787220" y="601561"/>
                  </a:lnTo>
                  <a:lnTo>
                    <a:pt x="1787271" y="602209"/>
                  </a:lnTo>
                  <a:lnTo>
                    <a:pt x="1787474" y="602209"/>
                  </a:lnTo>
                  <a:lnTo>
                    <a:pt x="1787474" y="602907"/>
                  </a:lnTo>
                  <a:lnTo>
                    <a:pt x="1787525" y="602209"/>
                  </a:lnTo>
                  <a:lnTo>
                    <a:pt x="1787918" y="602209"/>
                  </a:lnTo>
                  <a:lnTo>
                    <a:pt x="1787918" y="601561"/>
                  </a:lnTo>
                  <a:lnTo>
                    <a:pt x="1787969" y="602209"/>
                  </a:lnTo>
                  <a:lnTo>
                    <a:pt x="1788020" y="601561"/>
                  </a:lnTo>
                  <a:lnTo>
                    <a:pt x="1788020" y="602209"/>
                  </a:lnTo>
                  <a:lnTo>
                    <a:pt x="1788363" y="602209"/>
                  </a:lnTo>
                  <a:lnTo>
                    <a:pt x="1788363" y="601561"/>
                  </a:lnTo>
                  <a:lnTo>
                    <a:pt x="1788413" y="601561"/>
                  </a:lnTo>
                  <a:lnTo>
                    <a:pt x="1788413" y="602209"/>
                  </a:lnTo>
                  <a:lnTo>
                    <a:pt x="1789455" y="602209"/>
                  </a:lnTo>
                  <a:lnTo>
                    <a:pt x="1789506" y="601561"/>
                  </a:lnTo>
                  <a:lnTo>
                    <a:pt x="1789506" y="602209"/>
                  </a:lnTo>
                  <a:lnTo>
                    <a:pt x="1789607" y="602209"/>
                  </a:lnTo>
                  <a:lnTo>
                    <a:pt x="1789696" y="601561"/>
                  </a:lnTo>
                  <a:lnTo>
                    <a:pt x="1789747" y="601561"/>
                  </a:lnTo>
                  <a:lnTo>
                    <a:pt x="1789798" y="602209"/>
                  </a:lnTo>
                  <a:lnTo>
                    <a:pt x="1789849" y="601561"/>
                  </a:lnTo>
                  <a:lnTo>
                    <a:pt x="1789950" y="602209"/>
                  </a:lnTo>
                  <a:lnTo>
                    <a:pt x="1790001" y="602209"/>
                  </a:lnTo>
                  <a:lnTo>
                    <a:pt x="1790001" y="601561"/>
                  </a:lnTo>
                  <a:lnTo>
                    <a:pt x="1790052" y="602209"/>
                  </a:lnTo>
                  <a:lnTo>
                    <a:pt x="1790153" y="601561"/>
                  </a:lnTo>
                  <a:lnTo>
                    <a:pt x="1790191" y="602209"/>
                  </a:lnTo>
                  <a:lnTo>
                    <a:pt x="1790191" y="601561"/>
                  </a:lnTo>
                  <a:lnTo>
                    <a:pt x="1790242" y="601561"/>
                  </a:lnTo>
                  <a:lnTo>
                    <a:pt x="1790242" y="602209"/>
                  </a:lnTo>
                  <a:lnTo>
                    <a:pt x="1791284" y="602209"/>
                  </a:lnTo>
                  <a:lnTo>
                    <a:pt x="1791335" y="601561"/>
                  </a:lnTo>
                  <a:lnTo>
                    <a:pt x="1791385" y="602209"/>
                  </a:lnTo>
                  <a:lnTo>
                    <a:pt x="1791639" y="602209"/>
                  </a:lnTo>
                  <a:lnTo>
                    <a:pt x="1791741" y="601561"/>
                  </a:lnTo>
                  <a:lnTo>
                    <a:pt x="1791779" y="602209"/>
                  </a:lnTo>
                  <a:lnTo>
                    <a:pt x="1792033" y="602209"/>
                  </a:lnTo>
                  <a:lnTo>
                    <a:pt x="1792033" y="602907"/>
                  </a:lnTo>
                  <a:lnTo>
                    <a:pt x="1792084" y="602209"/>
                  </a:lnTo>
                  <a:lnTo>
                    <a:pt x="1792287" y="602209"/>
                  </a:lnTo>
                  <a:lnTo>
                    <a:pt x="1792325" y="601561"/>
                  </a:lnTo>
                  <a:lnTo>
                    <a:pt x="1792325" y="602209"/>
                  </a:lnTo>
                  <a:lnTo>
                    <a:pt x="1794560" y="602209"/>
                  </a:lnTo>
                  <a:lnTo>
                    <a:pt x="1794611" y="601561"/>
                  </a:lnTo>
                  <a:lnTo>
                    <a:pt x="1794713" y="601561"/>
                  </a:lnTo>
                  <a:lnTo>
                    <a:pt x="1794763" y="602209"/>
                  </a:lnTo>
                  <a:lnTo>
                    <a:pt x="1794954" y="602209"/>
                  </a:lnTo>
                  <a:lnTo>
                    <a:pt x="1795005" y="602907"/>
                  </a:lnTo>
                  <a:lnTo>
                    <a:pt x="1795056" y="602907"/>
                  </a:lnTo>
                  <a:lnTo>
                    <a:pt x="1795056" y="602209"/>
                  </a:lnTo>
                  <a:lnTo>
                    <a:pt x="1795259" y="602209"/>
                  </a:lnTo>
                  <a:lnTo>
                    <a:pt x="1795360" y="601561"/>
                  </a:lnTo>
                  <a:lnTo>
                    <a:pt x="1795411" y="601561"/>
                  </a:lnTo>
                  <a:lnTo>
                    <a:pt x="1795411" y="602209"/>
                  </a:lnTo>
                  <a:lnTo>
                    <a:pt x="1796300" y="602209"/>
                  </a:lnTo>
                  <a:lnTo>
                    <a:pt x="1796351" y="602907"/>
                  </a:lnTo>
                  <a:lnTo>
                    <a:pt x="1796351" y="602209"/>
                  </a:lnTo>
                  <a:lnTo>
                    <a:pt x="1796402" y="602209"/>
                  </a:lnTo>
                  <a:lnTo>
                    <a:pt x="1796402" y="602907"/>
                  </a:lnTo>
                  <a:lnTo>
                    <a:pt x="1796541" y="602907"/>
                  </a:lnTo>
                  <a:lnTo>
                    <a:pt x="1796541" y="602209"/>
                  </a:lnTo>
                  <a:lnTo>
                    <a:pt x="1796643" y="602209"/>
                  </a:lnTo>
                  <a:lnTo>
                    <a:pt x="1796643" y="602907"/>
                  </a:lnTo>
                  <a:lnTo>
                    <a:pt x="1796745" y="602907"/>
                  </a:lnTo>
                  <a:lnTo>
                    <a:pt x="1796745" y="602209"/>
                  </a:lnTo>
                  <a:lnTo>
                    <a:pt x="1796796" y="602907"/>
                  </a:lnTo>
                  <a:lnTo>
                    <a:pt x="1796846" y="602209"/>
                  </a:lnTo>
                  <a:lnTo>
                    <a:pt x="1796948" y="602907"/>
                  </a:lnTo>
                  <a:lnTo>
                    <a:pt x="1796999" y="602209"/>
                  </a:lnTo>
                  <a:lnTo>
                    <a:pt x="1797735" y="602209"/>
                  </a:lnTo>
                  <a:lnTo>
                    <a:pt x="1797786" y="601561"/>
                  </a:lnTo>
                  <a:lnTo>
                    <a:pt x="1797888" y="602209"/>
                  </a:lnTo>
                  <a:lnTo>
                    <a:pt x="1798828" y="602209"/>
                  </a:lnTo>
                  <a:lnTo>
                    <a:pt x="1798878" y="602907"/>
                  </a:lnTo>
                  <a:lnTo>
                    <a:pt x="1798878" y="602209"/>
                  </a:lnTo>
                  <a:lnTo>
                    <a:pt x="1798980" y="602209"/>
                  </a:lnTo>
                  <a:lnTo>
                    <a:pt x="1799031" y="602907"/>
                  </a:lnTo>
                  <a:lnTo>
                    <a:pt x="1799031" y="602209"/>
                  </a:lnTo>
                  <a:lnTo>
                    <a:pt x="1799132" y="602209"/>
                  </a:lnTo>
                  <a:lnTo>
                    <a:pt x="1799132" y="602907"/>
                  </a:lnTo>
                  <a:lnTo>
                    <a:pt x="1799221" y="602209"/>
                  </a:lnTo>
                  <a:lnTo>
                    <a:pt x="1799526" y="602209"/>
                  </a:lnTo>
                  <a:lnTo>
                    <a:pt x="1799577" y="602907"/>
                  </a:lnTo>
                  <a:lnTo>
                    <a:pt x="1799678" y="602209"/>
                  </a:lnTo>
                  <a:lnTo>
                    <a:pt x="1799716" y="602907"/>
                  </a:lnTo>
                  <a:lnTo>
                    <a:pt x="1799716" y="602209"/>
                  </a:lnTo>
                  <a:lnTo>
                    <a:pt x="1799767" y="602907"/>
                  </a:lnTo>
                  <a:lnTo>
                    <a:pt x="1799818" y="602907"/>
                  </a:lnTo>
                  <a:lnTo>
                    <a:pt x="1799920" y="602209"/>
                  </a:lnTo>
                  <a:lnTo>
                    <a:pt x="1800021" y="602209"/>
                  </a:lnTo>
                  <a:lnTo>
                    <a:pt x="1800021" y="602907"/>
                  </a:lnTo>
                  <a:lnTo>
                    <a:pt x="1800263" y="602907"/>
                  </a:lnTo>
                  <a:lnTo>
                    <a:pt x="1800263" y="602209"/>
                  </a:lnTo>
                  <a:lnTo>
                    <a:pt x="1800466" y="602209"/>
                  </a:lnTo>
                  <a:lnTo>
                    <a:pt x="1800567" y="602907"/>
                  </a:lnTo>
                  <a:lnTo>
                    <a:pt x="1800860" y="602907"/>
                  </a:lnTo>
                  <a:lnTo>
                    <a:pt x="1800860" y="602209"/>
                  </a:lnTo>
                  <a:lnTo>
                    <a:pt x="1800910" y="602209"/>
                  </a:lnTo>
                  <a:lnTo>
                    <a:pt x="1800961" y="602907"/>
                  </a:lnTo>
                  <a:lnTo>
                    <a:pt x="1801113" y="602907"/>
                  </a:lnTo>
                  <a:lnTo>
                    <a:pt x="1801113" y="602209"/>
                  </a:lnTo>
                  <a:lnTo>
                    <a:pt x="1801164" y="602209"/>
                  </a:lnTo>
                  <a:lnTo>
                    <a:pt x="1801164" y="602907"/>
                  </a:lnTo>
                  <a:lnTo>
                    <a:pt x="1801266" y="602209"/>
                  </a:lnTo>
                  <a:lnTo>
                    <a:pt x="1801406" y="602209"/>
                  </a:lnTo>
                  <a:lnTo>
                    <a:pt x="1801406" y="602907"/>
                  </a:lnTo>
                  <a:lnTo>
                    <a:pt x="1801507" y="602209"/>
                  </a:lnTo>
                  <a:lnTo>
                    <a:pt x="1801558" y="602209"/>
                  </a:lnTo>
                  <a:lnTo>
                    <a:pt x="1801609" y="602907"/>
                  </a:lnTo>
                  <a:lnTo>
                    <a:pt x="1801710" y="602209"/>
                  </a:lnTo>
                  <a:lnTo>
                    <a:pt x="1801761" y="602907"/>
                  </a:lnTo>
                  <a:lnTo>
                    <a:pt x="1801850" y="602907"/>
                  </a:lnTo>
                  <a:lnTo>
                    <a:pt x="1801952" y="602209"/>
                  </a:lnTo>
                  <a:lnTo>
                    <a:pt x="1802003" y="602209"/>
                  </a:lnTo>
                  <a:lnTo>
                    <a:pt x="1802053" y="602907"/>
                  </a:lnTo>
                  <a:lnTo>
                    <a:pt x="1802155" y="602907"/>
                  </a:lnTo>
                  <a:lnTo>
                    <a:pt x="1802206" y="602209"/>
                  </a:lnTo>
                  <a:lnTo>
                    <a:pt x="1802307" y="602209"/>
                  </a:lnTo>
                  <a:lnTo>
                    <a:pt x="1802396" y="602907"/>
                  </a:lnTo>
                  <a:lnTo>
                    <a:pt x="1802396" y="602209"/>
                  </a:lnTo>
                  <a:lnTo>
                    <a:pt x="1802993" y="602209"/>
                  </a:lnTo>
                  <a:lnTo>
                    <a:pt x="1802993" y="602907"/>
                  </a:lnTo>
                  <a:lnTo>
                    <a:pt x="1803095" y="602907"/>
                  </a:lnTo>
                  <a:lnTo>
                    <a:pt x="1803146" y="602209"/>
                  </a:lnTo>
                  <a:lnTo>
                    <a:pt x="1803400" y="602209"/>
                  </a:lnTo>
                  <a:lnTo>
                    <a:pt x="1803400" y="602907"/>
                  </a:lnTo>
                  <a:lnTo>
                    <a:pt x="1803539" y="602907"/>
                  </a:lnTo>
                  <a:lnTo>
                    <a:pt x="1803590" y="602209"/>
                  </a:lnTo>
                  <a:lnTo>
                    <a:pt x="1803641" y="602209"/>
                  </a:lnTo>
                  <a:lnTo>
                    <a:pt x="1803742" y="602907"/>
                  </a:lnTo>
                  <a:lnTo>
                    <a:pt x="1803742" y="602209"/>
                  </a:lnTo>
                  <a:lnTo>
                    <a:pt x="1803895" y="602209"/>
                  </a:lnTo>
                  <a:lnTo>
                    <a:pt x="1803895" y="602907"/>
                  </a:lnTo>
                  <a:lnTo>
                    <a:pt x="1804035" y="602907"/>
                  </a:lnTo>
                  <a:lnTo>
                    <a:pt x="1804035" y="602209"/>
                  </a:lnTo>
                  <a:lnTo>
                    <a:pt x="1804085" y="602907"/>
                  </a:lnTo>
                  <a:lnTo>
                    <a:pt x="1804238" y="602907"/>
                  </a:lnTo>
                  <a:lnTo>
                    <a:pt x="1804288" y="602209"/>
                  </a:lnTo>
                  <a:lnTo>
                    <a:pt x="1804339" y="602209"/>
                  </a:lnTo>
                  <a:lnTo>
                    <a:pt x="1804441" y="602907"/>
                  </a:lnTo>
                  <a:lnTo>
                    <a:pt x="1804530" y="602907"/>
                  </a:lnTo>
                  <a:lnTo>
                    <a:pt x="1804581" y="602209"/>
                  </a:lnTo>
                  <a:lnTo>
                    <a:pt x="1804733" y="602209"/>
                  </a:lnTo>
                  <a:lnTo>
                    <a:pt x="1804784" y="602907"/>
                  </a:lnTo>
                  <a:lnTo>
                    <a:pt x="1804885" y="602209"/>
                  </a:lnTo>
                  <a:lnTo>
                    <a:pt x="1805127" y="602209"/>
                  </a:lnTo>
                  <a:lnTo>
                    <a:pt x="1805178" y="602907"/>
                  </a:lnTo>
                  <a:lnTo>
                    <a:pt x="1805178" y="602209"/>
                  </a:lnTo>
                  <a:lnTo>
                    <a:pt x="1805825" y="602209"/>
                  </a:lnTo>
                  <a:lnTo>
                    <a:pt x="1805825" y="602907"/>
                  </a:lnTo>
                  <a:lnTo>
                    <a:pt x="1805876" y="602907"/>
                  </a:lnTo>
                  <a:lnTo>
                    <a:pt x="1805927" y="602209"/>
                  </a:lnTo>
                  <a:lnTo>
                    <a:pt x="1806613" y="602209"/>
                  </a:lnTo>
                  <a:lnTo>
                    <a:pt x="1806613" y="602907"/>
                  </a:lnTo>
                  <a:lnTo>
                    <a:pt x="1807159" y="602907"/>
                  </a:lnTo>
                  <a:lnTo>
                    <a:pt x="1807210" y="602209"/>
                  </a:lnTo>
                  <a:lnTo>
                    <a:pt x="1807514" y="602209"/>
                  </a:lnTo>
                  <a:lnTo>
                    <a:pt x="1807616" y="602907"/>
                  </a:lnTo>
                  <a:lnTo>
                    <a:pt x="1807756" y="602907"/>
                  </a:lnTo>
                  <a:lnTo>
                    <a:pt x="1807857" y="602209"/>
                  </a:lnTo>
                  <a:lnTo>
                    <a:pt x="1807857" y="602907"/>
                  </a:lnTo>
                  <a:lnTo>
                    <a:pt x="1807908" y="602209"/>
                  </a:lnTo>
                  <a:lnTo>
                    <a:pt x="1807959" y="602209"/>
                  </a:lnTo>
                  <a:lnTo>
                    <a:pt x="1808060" y="602907"/>
                  </a:lnTo>
                  <a:lnTo>
                    <a:pt x="1808302" y="602907"/>
                  </a:lnTo>
                  <a:lnTo>
                    <a:pt x="1808302" y="602209"/>
                  </a:lnTo>
                  <a:lnTo>
                    <a:pt x="1808606" y="602209"/>
                  </a:lnTo>
                  <a:lnTo>
                    <a:pt x="1808657" y="602907"/>
                  </a:lnTo>
                  <a:lnTo>
                    <a:pt x="1808746" y="602209"/>
                  </a:lnTo>
                  <a:lnTo>
                    <a:pt x="1808797" y="602209"/>
                  </a:lnTo>
                  <a:lnTo>
                    <a:pt x="1808797" y="601561"/>
                  </a:lnTo>
                  <a:lnTo>
                    <a:pt x="1808848" y="602209"/>
                  </a:lnTo>
                  <a:lnTo>
                    <a:pt x="1809445" y="602209"/>
                  </a:lnTo>
                  <a:lnTo>
                    <a:pt x="1809445" y="602907"/>
                  </a:lnTo>
                  <a:lnTo>
                    <a:pt x="1809699" y="602907"/>
                  </a:lnTo>
                  <a:lnTo>
                    <a:pt x="1809750" y="602209"/>
                  </a:lnTo>
                  <a:lnTo>
                    <a:pt x="1809788" y="602209"/>
                  </a:lnTo>
                  <a:lnTo>
                    <a:pt x="1809788" y="602907"/>
                  </a:lnTo>
                  <a:lnTo>
                    <a:pt x="1810092" y="602907"/>
                  </a:lnTo>
                  <a:lnTo>
                    <a:pt x="1810092" y="602209"/>
                  </a:lnTo>
                  <a:lnTo>
                    <a:pt x="1810143" y="602907"/>
                  </a:lnTo>
                  <a:lnTo>
                    <a:pt x="1810143" y="602209"/>
                  </a:lnTo>
                  <a:lnTo>
                    <a:pt x="1810829" y="602209"/>
                  </a:lnTo>
                  <a:lnTo>
                    <a:pt x="1810829" y="602907"/>
                  </a:lnTo>
                  <a:lnTo>
                    <a:pt x="1810880" y="602907"/>
                  </a:lnTo>
                  <a:lnTo>
                    <a:pt x="1810931" y="602209"/>
                  </a:lnTo>
                  <a:lnTo>
                    <a:pt x="1810931" y="602907"/>
                  </a:lnTo>
                  <a:lnTo>
                    <a:pt x="1811032" y="602209"/>
                  </a:lnTo>
                  <a:lnTo>
                    <a:pt x="1811083" y="602907"/>
                  </a:lnTo>
                  <a:lnTo>
                    <a:pt x="1811235" y="602907"/>
                  </a:lnTo>
                  <a:lnTo>
                    <a:pt x="1811286" y="602209"/>
                  </a:lnTo>
                  <a:lnTo>
                    <a:pt x="1811528" y="602209"/>
                  </a:lnTo>
                  <a:lnTo>
                    <a:pt x="1811528" y="602907"/>
                  </a:lnTo>
                  <a:lnTo>
                    <a:pt x="1811680" y="602907"/>
                  </a:lnTo>
                  <a:lnTo>
                    <a:pt x="1811731" y="602209"/>
                  </a:lnTo>
                  <a:lnTo>
                    <a:pt x="1811781" y="602209"/>
                  </a:lnTo>
                  <a:lnTo>
                    <a:pt x="1811832" y="602907"/>
                  </a:lnTo>
                  <a:lnTo>
                    <a:pt x="1812023" y="602907"/>
                  </a:lnTo>
                  <a:lnTo>
                    <a:pt x="1812074" y="602209"/>
                  </a:lnTo>
                  <a:lnTo>
                    <a:pt x="1812416" y="602209"/>
                  </a:lnTo>
                  <a:lnTo>
                    <a:pt x="1812467" y="602907"/>
                  </a:lnTo>
                  <a:lnTo>
                    <a:pt x="1812823" y="602907"/>
                  </a:lnTo>
                  <a:lnTo>
                    <a:pt x="1812874" y="602209"/>
                  </a:lnTo>
                  <a:lnTo>
                    <a:pt x="1812963" y="602209"/>
                  </a:lnTo>
                  <a:lnTo>
                    <a:pt x="1812963" y="602907"/>
                  </a:lnTo>
                  <a:lnTo>
                    <a:pt x="1813064" y="602907"/>
                  </a:lnTo>
                  <a:lnTo>
                    <a:pt x="1813115" y="602209"/>
                  </a:lnTo>
                  <a:lnTo>
                    <a:pt x="1813166" y="602907"/>
                  </a:lnTo>
                  <a:lnTo>
                    <a:pt x="1813420" y="602907"/>
                  </a:lnTo>
                  <a:lnTo>
                    <a:pt x="1813420" y="602209"/>
                  </a:lnTo>
                  <a:lnTo>
                    <a:pt x="1813509" y="602907"/>
                  </a:lnTo>
                  <a:lnTo>
                    <a:pt x="1813560" y="602907"/>
                  </a:lnTo>
                  <a:lnTo>
                    <a:pt x="1813560" y="602209"/>
                  </a:lnTo>
                  <a:lnTo>
                    <a:pt x="1813661" y="602209"/>
                  </a:lnTo>
                  <a:lnTo>
                    <a:pt x="1813661" y="602907"/>
                  </a:lnTo>
                  <a:lnTo>
                    <a:pt x="1813763" y="602907"/>
                  </a:lnTo>
                  <a:lnTo>
                    <a:pt x="1813813" y="602209"/>
                  </a:lnTo>
                  <a:lnTo>
                    <a:pt x="1813864" y="602209"/>
                  </a:lnTo>
                  <a:lnTo>
                    <a:pt x="1813864" y="602907"/>
                  </a:lnTo>
                  <a:lnTo>
                    <a:pt x="1813966" y="602907"/>
                  </a:lnTo>
                  <a:lnTo>
                    <a:pt x="1814004" y="602209"/>
                  </a:lnTo>
                  <a:lnTo>
                    <a:pt x="1814207" y="602209"/>
                  </a:lnTo>
                  <a:lnTo>
                    <a:pt x="1814207" y="602907"/>
                  </a:lnTo>
                  <a:lnTo>
                    <a:pt x="1814309" y="602907"/>
                  </a:lnTo>
                  <a:lnTo>
                    <a:pt x="1814410" y="602209"/>
                  </a:lnTo>
                  <a:lnTo>
                    <a:pt x="1814461" y="602907"/>
                  </a:lnTo>
                  <a:lnTo>
                    <a:pt x="1814550" y="602907"/>
                  </a:lnTo>
                  <a:lnTo>
                    <a:pt x="1814550" y="602209"/>
                  </a:lnTo>
                  <a:lnTo>
                    <a:pt x="1814652" y="602209"/>
                  </a:lnTo>
                  <a:lnTo>
                    <a:pt x="1814652" y="602907"/>
                  </a:lnTo>
                  <a:lnTo>
                    <a:pt x="1814703" y="602907"/>
                  </a:lnTo>
                  <a:lnTo>
                    <a:pt x="1814703" y="602209"/>
                  </a:lnTo>
                  <a:lnTo>
                    <a:pt x="1814956" y="602209"/>
                  </a:lnTo>
                  <a:lnTo>
                    <a:pt x="1815007" y="602907"/>
                  </a:lnTo>
                  <a:lnTo>
                    <a:pt x="1815249" y="602907"/>
                  </a:lnTo>
                  <a:lnTo>
                    <a:pt x="1815350" y="602209"/>
                  </a:lnTo>
                  <a:lnTo>
                    <a:pt x="1815401" y="602907"/>
                  </a:lnTo>
                  <a:lnTo>
                    <a:pt x="1815452" y="602907"/>
                  </a:lnTo>
                  <a:lnTo>
                    <a:pt x="1815553" y="602209"/>
                  </a:lnTo>
                  <a:lnTo>
                    <a:pt x="1815591" y="602209"/>
                  </a:lnTo>
                  <a:lnTo>
                    <a:pt x="1815591" y="602907"/>
                  </a:lnTo>
                  <a:lnTo>
                    <a:pt x="1815846" y="602907"/>
                  </a:lnTo>
                  <a:lnTo>
                    <a:pt x="1815896" y="602209"/>
                  </a:lnTo>
                  <a:lnTo>
                    <a:pt x="1815896" y="602907"/>
                  </a:lnTo>
                  <a:lnTo>
                    <a:pt x="1816239" y="602907"/>
                  </a:lnTo>
                  <a:lnTo>
                    <a:pt x="1816239" y="602209"/>
                  </a:lnTo>
                  <a:lnTo>
                    <a:pt x="1816442" y="602209"/>
                  </a:lnTo>
                  <a:lnTo>
                    <a:pt x="1816493" y="602907"/>
                  </a:lnTo>
                  <a:lnTo>
                    <a:pt x="1816595" y="602907"/>
                  </a:lnTo>
                  <a:lnTo>
                    <a:pt x="1816684" y="602209"/>
                  </a:lnTo>
                  <a:lnTo>
                    <a:pt x="1816735" y="602209"/>
                  </a:lnTo>
                  <a:lnTo>
                    <a:pt x="1816735" y="602907"/>
                  </a:lnTo>
                  <a:lnTo>
                    <a:pt x="1816785" y="602907"/>
                  </a:lnTo>
                  <a:lnTo>
                    <a:pt x="1816785" y="602209"/>
                  </a:lnTo>
                  <a:lnTo>
                    <a:pt x="1816836" y="602209"/>
                  </a:lnTo>
                  <a:lnTo>
                    <a:pt x="1816938" y="602907"/>
                  </a:lnTo>
                  <a:lnTo>
                    <a:pt x="1816988" y="602907"/>
                  </a:lnTo>
                  <a:lnTo>
                    <a:pt x="1817039" y="602209"/>
                  </a:lnTo>
                  <a:lnTo>
                    <a:pt x="1817230" y="602209"/>
                  </a:lnTo>
                  <a:lnTo>
                    <a:pt x="1817281" y="602907"/>
                  </a:lnTo>
                  <a:lnTo>
                    <a:pt x="1817281" y="602209"/>
                  </a:lnTo>
                  <a:lnTo>
                    <a:pt x="1817433" y="602209"/>
                  </a:lnTo>
                  <a:lnTo>
                    <a:pt x="1817433" y="602907"/>
                  </a:lnTo>
                  <a:lnTo>
                    <a:pt x="1817484" y="602209"/>
                  </a:lnTo>
                  <a:lnTo>
                    <a:pt x="1817878" y="602209"/>
                  </a:lnTo>
                  <a:lnTo>
                    <a:pt x="1817928" y="602907"/>
                  </a:lnTo>
                  <a:lnTo>
                    <a:pt x="1817928" y="602209"/>
                  </a:lnTo>
                  <a:lnTo>
                    <a:pt x="1818182" y="602209"/>
                  </a:lnTo>
                  <a:lnTo>
                    <a:pt x="1818271" y="602907"/>
                  </a:lnTo>
                  <a:lnTo>
                    <a:pt x="1818525" y="602907"/>
                  </a:lnTo>
                  <a:lnTo>
                    <a:pt x="1818525" y="602209"/>
                  </a:lnTo>
                  <a:lnTo>
                    <a:pt x="1818868" y="602209"/>
                  </a:lnTo>
                  <a:lnTo>
                    <a:pt x="1818970" y="602907"/>
                  </a:lnTo>
                  <a:lnTo>
                    <a:pt x="1819021" y="602209"/>
                  </a:lnTo>
                  <a:lnTo>
                    <a:pt x="1819173" y="602209"/>
                  </a:lnTo>
                  <a:lnTo>
                    <a:pt x="1819224" y="602907"/>
                  </a:lnTo>
                  <a:lnTo>
                    <a:pt x="1819224" y="602209"/>
                  </a:lnTo>
                  <a:lnTo>
                    <a:pt x="1819275" y="602907"/>
                  </a:lnTo>
                  <a:lnTo>
                    <a:pt x="1819313" y="602907"/>
                  </a:lnTo>
                  <a:lnTo>
                    <a:pt x="1819313" y="602209"/>
                  </a:lnTo>
                  <a:lnTo>
                    <a:pt x="1819414" y="602209"/>
                  </a:lnTo>
                  <a:lnTo>
                    <a:pt x="1819414" y="602907"/>
                  </a:lnTo>
                  <a:lnTo>
                    <a:pt x="1819770" y="602907"/>
                  </a:lnTo>
                  <a:lnTo>
                    <a:pt x="1819859" y="602209"/>
                  </a:lnTo>
                  <a:lnTo>
                    <a:pt x="1820456" y="602209"/>
                  </a:lnTo>
                  <a:lnTo>
                    <a:pt x="1820557" y="602907"/>
                  </a:lnTo>
                  <a:lnTo>
                    <a:pt x="1820557" y="602209"/>
                  </a:lnTo>
                  <a:lnTo>
                    <a:pt x="1821002" y="602209"/>
                  </a:lnTo>
                  <a:lnTo>
                    <a:pt x="1821002" y="601561"/>
                  </a:lnTo>
                  <a:lnTo>
                    <a:pt x="1821103" y="601561"/>
                  </a:lnTo>
                  <a:lnTo>
                    <a:pt x="1821205" y="602209"/>
                  </a:lnTo>
                  <a:lnTo>
                    <a:pt x="1821599" y="602209"/>
                  </a:lnTo>
                  <a:lnTo>
                    <a:pt x="1821599" y="602907"/>
                  </a:lnTo>
                  <a:lnTo>
                    <a:pt x="1821700" y="602907"/>
                  </a:lnTo>
                  <a:lnTo>
                    <a:pt x="1821700" y="602209"/>
                  </a:lnTo>
                  <a:lnTo>
                    <a:pt x="1821751" y="602907"/>
                  </a:lnTo>
                  <a:lnTo>
                    <a:pt x="1821802" y="602209"/>
                  </a:lnTo>
                  <a:lnTo>
                    <a:pt x="1821802" y="602907"/>
                  </a:lnTo>
                  <a:lnTo>
                    <a:pt x="1821941" y="602907"/>
                  </a:lnTo>
                  <a:lnTo>
                    <a:pt x="1821941" y="602209"/>
                  </a:lnTo>
                  <a:lnTo>
                    <a:pt x="1822196" y="602209"/>
                  </a:lnTo>
                  <a:lnTo>
                    <a:pt x="1822196" y="602907"/>
                  </a:lnTo>
                  <a:lnTo>
                    <a:pt x="1822399" y="602907"/>
                  </a:lnTo>
                  <a:lnTo>
                    <a:pt x="1822399" y="602209"/>
                  </a:lnTo>
                  <a:lnTo>
                    <a:pt x="1822843" y="602209"/>
                  </a:lnTo>
                  <a:lnTo>
                    <a:pt x="1822843" y="601561"/>
                  </a:lnTo>
                  <a:lnTo>
                    <a:pt x="1822894" y="601561"/>
                  </a:lnTo>
                  <a:lnTo>
                    <a:pt x="1822945" y="602209"/>
                  </a:lnTo>
                  <a:lnTo>
                    <a:pt x="1823288" y="602209"/>
                  </a:lnTo>
                  <a:lnTo>
                    <a:pt x="1823338" y="601561"/>
                  </a:lnTo>
                  <a:lnTo>
                    <a:pt x="1823389" y="601561"/>
                  </a:lnTo>
                  <a:lnTo>
                    <a:pt x="1823389" y="602209"/>
                  </a:lnTo>
                  <a:lnTo>
                    <a:pt x="1824037" y="602209"/>
                  </a:lnTo>
                  <a:lnTo>
                    <a:pt x="1824075" y="602907"/>
                  </a:lnTo>
                  <a:lnTo>
                    <a:pt x="1824177" y="602209"/>
                  </a:lnTo>
                  <a:lnTo>
                    <a:pt x="1824228" y="602907"/>
                  </a:lnTo>
                  <a:lnTo>
                    <a:pt x="1824228" y="602209"/>
                  </a:lnTo>
                  <a:lnTo>
                    <a:pt x="1824278" y="602209"/>
                  </a:lnTo>
                  <a:lnTo>
                    <a:pt x="1824380" y="601561"/>
                  </a:lnTo>
                  <a:lnTo>
                    <a:pt x="1824431" y="602209"/>
                  </a:lnTo>
                  <a:lnTo>
                    <a:pt x="1824621" y="602209"/>
                  </a:lnTo>
                  <a:lnTo>
                    <a:pt x="1824672" y="602907"/>
                  </a:lnTo>
                  <a:lnTo>
                    <a:pt x="1824672" y="602209"/>
                  </a:lnTo>
                  <a:lnTo>
                    <a:pt x="1825421" y="602209"/>
                  </a:lnTo>
                  <a:lnTo>
                    <a:pt x="1825523" y="601561"/>
                  </a:lnTo>
                  <a:lnTo>
                    <a:pt x="1825574" y="602209"/>
                  </a:lnTo>
                  <a:lnTo>
                    <a:pt x="1825625" y="602209"/>
                  </a:lnTo>
                  <a:lnTo>
                    <a:pt x="1825663" y="601561"/>
                  </a:lnTo>
                  <a:lnTo>
                    <a:pt x="1825815" y="601561"/>
                  </a:lnTo>
                  <a:lnTo>
                    <a:pt x="1825815" y="602209"/>
                  </a:lnTo>
                  <a:lnTo>
                    <a:pt x="1825866" y="602209"/>
                  </a:lnTo>
                  <a:lnTo>
                    <a:pt x="1825967" y="602907"/>
                  </a:lnTo>
                  <a:lnTo>
                    <a:pt x="1826018" y="602209"/>
                  </a:lnTo>
                  <a:lnTo>
                    <a:pt x="1826120" y="602209"/>
                  </a:lnTo>
                  <a:lnTo>
                    <a:pt x="1826209" y="601561"/>
                  </a:lnTo>
                  <a:lnTo>
                    <a:pt x="1826260" y="601561"/>
                  </a:lnTo>
                  <a:lnTo>
                    <a:pt x="1826310" y="602209"/>
                  </a:lnTo>
                  <a:lnTo>
                    <a:pt x="1826361" y="602209"/>
                  </a:lnTo>
                  <a:lnTo>
                    <a:pt x="1826463" y="601561"/>
                  </a:lnTo>
                  <a:lnTo>
                    <a:pt x="1826463" y="602209"/>
                  </a:lnTo>
                  <a:lnTo>
                    <a:pt x="1826513" y="601561"/>
                  </a:lnTo>
                  <a:lnTo>
                    <a:pt x="1826704" y="601561"/>
                  </a:lnTo>
                  <a:lnTo>
                    <a:pt x="1826704" y="602209"/>
                  </a:lnTo>
                  <a:lnTo>
                    <a:pt x="1826907" y="602209"/>
                  </a:lnTo>
                  <a:lnTo>
                    <a:pt x="1826958" y="601561"/>
                  </a:lnTo>
                  <a:lnTo>
                    <a:pt x="1827009" y="601561"/>
                  </a:lnTo>
                  <a:lnTo>
                    <a:pt x="1827110" y="602209"/>
                  </a:lnTo>
                  <a:lnTo>
                    <a:pt x="1827161" y="601561"/>
                  </a:lnTo>
                  <a:lnTo>
                    <a:pt x="1827161" y="602209"/>
                  </a:lnTo>
                  <a:lnTo>
                    <a:pt x="1827250" y="602209"/>
                  </a:lnTo>
                  <a:lnTo>
                    <a:pt x="1827352" y="601561"/>
                  </a:lnTo>
                  <a:lnTo>
                    <a:pt x="1827352" y="602209"/>
                  </a:lnTo>
                  <a:lnTo>
                    <a:pt x="1827606" y="602209"/>
                  </a:lnTo>
                  <a:lnTo>
                    <a:pt x="1827606" y="601561"/>
                  </a:lnTo>
                  <a:lnTo>
                    <a:pt x="1827656" y="601561"/>
                  </a:lnTo>
                  <a:lnTo>
                    <a:pt x="1827656" y="602209"/>
                  </a:lnTo>
                  <a:lnTo>
                    <a:pt x="1827707" y="602209"/>
                  </a:lnTo>
                  <a:lnTo>
                    <a:pt x="1827796" y="601561"/>
                  </a:lnTo>
                  <a:lnTo>
                    <a:pt x="1827898" y="601561"/>
                  </a:lnTo>
                  <a:lnTo>
                    <a:pt x="1827898" y="602209"/>
                  </a:lnTo>
                  <a:lnTo>
                    <a:pt x="1828050" y="602209"/>
                  </a:lnTo>
                  <a:lnTo>
                    <a:pt x="1828101" y="601561"/>
                  </a:lnTo>
                  <a:lnTo>
                    <a:pt x="1828152" y="601561"/>
                  </a:lnTo>
                  <a:lnTo>
                    <a:pt x="1828253" y="602209"/>
                  </a:lnTo>
                  <a:lnTo>
                    <a:pt x="1828291" y="602209"/>
                  </a:lnTo>
                  <a:lnTo>
                    <a:pt x="1828291" y="601561"/>
                  </a:lnTo>
                  <a:lnTo>
                    <a:pt x="1828546" y="601561"/>
                  </a:lnTo>
                  <a:lnTo>
                    <a:pt x="1828546" y="602209"/>
                  </a:lnTo>
                  <a:lnTo>
                    <a:pt x="1828596" y="602209"/>
                  </a:lnTo>
                  <a:lnTo>
                    <a:pt x="1828698" y="601561"/>
                  </a:lnTo>
                  <a:lnTo>
                    <a:pt x="1828749" y="602209"/>
                  </a:lnTo>
                  <a:lnTo>
                    <a:pt x="1828800" y="601561"/>
                  </a:lnTo>
                  <a:lnTo>
                    <a:pt x="1829739" y="601561"/>
                  </a:lnTo>
                  <a:lnTo>
                    <a:pt x="1829841" y="600926"/>
                  </a:lnTo>
                  <a:lnTo>
                    <a:pt x="1829841" y="601561"/>
                  </a:lnTo>
                  <a:lnTo>
                    <a:pt x="1830133" y="601561"/>
                  </a:lnTo>
                  <a:lnTo>
                    <a:pt x="1830184" y="602209"/>
                  </a:lnTo>
                  <a:lnTo>
                    <a:pt x="1830336" y="602209"/>
                  </a:lnTo>
                  <a:lnTo>
                    <a:pt x="1830336" y="601561"/>
                  </a:lnTo>
                  <a:lnTo>
                    <a:pt x="1830971" y="601561"/>
                  </a:lnTo>
                  <a:lnTo>
                    <a:pt x="1831022" y="600926"/>
                  </a:lnTo>
                  <a:lnTo>
                    <a:pt x="1831022" y="601561"/>
                  </a:lnTo>
                  <a:lnTo>
                    <a:pt x="1831517" y="601561"/>
                  </a:lnTo>
                  <a:lnTo>
                    <a:pt x="1831517" y="600926"/>
                  </a:lnTo>
                  <a:lnTo>
                    <a:pt x="1831568" y="600926"/>
                  </a:lnTo>
                  <a:lnTo>
                    <a:pt x="1831568" y="601561"/>
                  </a:lnTo>
                  <a:lnTo>
                    <a:pt x="1832114" y="601561"/>
                  </a:lnTo>
                  <a:lnTo>
                    <a:pt x="1832114" y="602209"/>
                  </a:lnTo>
                  <a:lnTo>
                    <a:pt x="1832216" y="602209"/>
                  </a:lnTo>
                  <a:lnTo>
                    <a:pt x="1832216" y="601561"/>
                  </a:lnTo>
                  <a:lnTo>
                    <a:pt x="1832317" y="600926"/>
                  </a:lnTo>
                  <a:lnTo>
                    <a:pt x="1832317" y="601561"/>
                  </a:lnTo>
                  <a:lnTo>
                    <a:pt x="1832813" y="601561"/>
                  </a:lnTo>
                  <a:lnTo>
                    <a:pt x="1832863" y="600926"/>
                  </a:lnTo>
                  <a:lnTo>
                    <a:pt x="1832863" y="601561"/>
                  </a:lnTo>
                  <a:lnTo>
                    <a:pt x="1833257" y="601561"/>
                  </a:lnTo>
                  <a:lnTo>
                    <a:pt x="1833308" y="600926"/>
                  </a:lnTo>
                  <a:lnTo>
                    <a:pt x="1833359" y="601561"/>
                  </a:lnTo>
                  <a:lnTo>
                    <a:pt x="1833511" y="601561"/>
                  </a:lnTo>
                  <a:lnTo>
                    <a:pt x="1833511" y="600926"/>
                  </a:lnTo>
                  <a:lnTo>
                    <a:pt x="1833562" y="601561"/>
                  </a:lnTo>
                  <a:lnTo>
                    <a:pt x="1833600" y="601561"/>
                  </a:lnTo>
                  <a:lnTo>
                    <a:pt x="1833600" y="600926"/>
                  </a:lnTo>
                  <a:lnTo>
                    <a:pt x="1833956" y="600926"/>
                  </a:lnTo>
                  <a:lnTo>
                    <a:pt x="1833956" y="601561"/>
                  </a:lnTo>
                  <a:lnTo>
                    <a:pt x="1834006" y="600926"/>
                  </a:lnTo>
                  <a:lnTo>
                    <a:pt x="1834057" y="601561"/>
                  </a:lnTo>
                  <a:lnTo>
                    <a:pt x="1834057" y="600926"/>
                  </a:lnTo>
                  <a:lnTo>
                    <a:pt x="1834845" y="600926"/>
                  </a:lnTo>
                  <a:lnTo>
                    <a:pt x="1834845" y="601561"/>
                  </a:lnTo>
                  <a:lnTo>
                    <a:pt x="1835188" y="601561"/>
                  </a:lnTo>
                  <a:lnTo>
                    <a:pt x="1835188" y="600926"/>
                  </a:lnTo>
                  <a:lnTo>
                    <a:pt x="1835492" y="600926"/>
                  </a:lnTo>
                  <a:lnTo>
                    <a:pt x="1835492" y="601561"/>
                  </a:lnTo>
                  <a:lnTo>
                    <a:pt x="1835594" y="601561"/>
                  </a:lnTo>
                  <a:lnTo>
                    <a:pt x="1835594" y="600926"/>
                  </a:lnTo>
                  <a:lnTo>
                    <a:pt x="1835785" y="600926"/>
                  </a:lnTo>
                  <a:lnTo>
                    <a:pt x="1835835" y="601561"/>
                  </a:lnTo>
                  <a:lnTo>
                    <a:pt x="1835886" y="600926"/>
                  </a:lnTo>
                  <a:lnTo>
                    <a:pt x="1835988" y="600926"/>
                  </a:lnTo>
                  <a:lnTo>
                    <a:pt x="1836038" y="601561"/>
                  </a:lnTo>
                  <a:lnTo>
                    <a:pt x="1836089" y="600926"/>
                  </a:lnTo>
                  <a:lnTo>
                    <a:pt x="1836229" y="600926"/>
                  </a:lnTo>
                  <a:lnTo>
                    <a:pt x="1836229" y="601561"/>
                  </a:lnTo>
                  <a:lnTo>
                    <a:pt x="1836280" y="600926"/>
                  </a:lnTo>
                  <a:lnTo>
                    <a:pt x="1836432" y="600926"/>
                  </a:lnTo>
                  <a:lnTo>
                    <a:pt x="1836483" y="601561"/>
                  </a:lnTo>
                  <a:lnTo>
                    <a:pt x="1836686" y="601561"/>
                  </a:lnTo>
                  <a:lnTo>
                    <a:pt x="1836737" y="600926"/>
                  </a:lnTo>
                  <a:lnTo>
                    <a:pt x="1836775" y="600926"/>
                  </a:lnTo>
                  <a:lnTo>
                    <a:pt x="1836877" y="601561"/>
                  </a:lnTo>
                  <a:lnTo>
                    <a:pt x="1836877" y="600926"/>
                  </a:lnTo>
                  <a:lnTo>
                    <a:pt x="1836978" y="600926"/>
                  </a:lnTo>
                  <a:lnTo>
                    <a:pt x="1836978" y="601561"/>
                  </a:lnTo>
                  <a:lnTo>
                    <a:pt x="1837131" y="601561"/>
                  </a:lnTo>
                  <a:lnTo>
                    <a:pt x="1837131" y="600926"/>
                  </a:lnTo>
                  <a:lnTo>
                    <a:pt x="1837181" y="600926"/>
                  </a:lnTo>
                  <a:lnTo>
                    <a:pt x="1837181" y="601561"/>
                  </a:lnTo>
                  <a:lnTo>
                    <a:pt x="1837232" y="600926"/>
                  </a:lnTo>
                  <a:lnTo>
                    <a:pt x="1837321" y="599580"/>
                  </a:lnTo>
                  <a:lnTo>
                    <a:pt x="1837321" y="600926"/>
                  </a:lnTo>
                  <a:lnTo>
                    <a:pt x="1837372" y="600926"/>
                  </a:lnTo>
                  <a:lnTo>
                    <a:pt x="1837423" y="601561"/>
                  </a:lnTo>
                  <a:lnTo>
                    <a:pt x="1837626" y="601561"/>
                  </a:lnTo>
                  <a:lnTo>
                    <a:pt x="1837677" y="600926"/>
                  </a:lnTo>
                  <a:lnTo>
                    <a:pt x="1837816" y="600926"/>
                  </a:lnTo>
                  <a:lnTo>
                    <a:pt x="1837867" y="601561"/>
                  </a:lnTo>
                  <a:lnTo>
                    <a:pt x="1837918" y="600926"/>
                  </a:lnTo>
                  <a:lnTo>
                    <a:pt x="1838020" y="600926"/>
                  </a:lnTo>
                  <a:lnTo>
                    <a:pt x="1838020" y="599580"/>
                  </a:lnTo>
                  <a:lnTo>
                    <a:pt x="1838071" y="599580"/>
                  </a:lnTo>
                  <a:lnTo>
                    <a:pt x="1838071" y="600926"/>
                  </a:lnTo>
                  <a:lnTo>
                    <a:pt x="1838274" y="600926"/>
                  </a:lnTo>
                  <a:lnTo>
                    <a:pt x="1838274" y="599580"/>
                  </a:lnTo>
                  <a:lnTo>
                    <a:pt x="1838325" y="599580"/>
                  </a:lnTo>
                  <a:lnTo>
                    <a:pt x="1838325" y="600926"/>
                  </a:lnTo>
                  <a:lnTo>
                    <a:pt x="1838667" y="600926"/>
                  </a:lnTo>
                  <a:lnTo>
                    <a:pt x="1838718" y="601561"/>
                  </a:lnTo>
                  <a:lnTo>
                    <a:pt x="1838769" y="600926"/>
                  </a:lnTo>
                  <a:lnTo>
                    <a:pt x="1839061" y="600926"/>
                  </a:lnTo>
                  <a:lnTo>
                    <a:pt x="1839061" y="599580"/>
                  </a:lnTo>
                  <a:lnTo>
                    <a:pt x="1839163" y="600926"/>
                  </a:lnTo>
                  <a:lnTo>
                    <a:pt x="1839213" y="600926"/>
                  </a:lnTo>
                  <a:lnTo>
                    <a:pt x="1839264" y="599580"/>
                  </a:lnTo>
                  <a:lnTo>
                    <a:pt x="1839366" y="600926"/>
                  </a:lnTo>
                  <a:lnTo>
                    <a:pt x="1839861" y="600926"/>
                  </a:lnTo>
                  <a:lnTo>
                    <a:pt x="1839861" y="599580"/>
                  </a:lnTo>
                  <a:lnTo>
                    <a:pt x="1839950" y="599580"/>
                  </a:lnTo>
                  <a:lnTo>
                    <a:pt x="1840052" y="600926"/>
                  </a:lnTo>
                  <a:lnTo>
                    <a:pt x="1840103" y="599580"/>
                  </a:lnTo>
                  <a:lnTo>
                    <a:pt x="1840153" y="599580"/>
                  </a:lnTo>
                  <a:lnTo>
                    <a:pt x="1840255" y="600926"/>
                  </a:lnTo>
                  <a:lnTo>
                    <a:pt x="1840306" y="599580"/>
                  </a:lnTo>
                  <a:lnTo>
                    <a:pt x="1840356" y="600926"/>
                  </a:lnTo>
                  <a:lnTo>
                    <a:pt x="1840953" y="600926"/>
                  </a:lnTo>
                  <a:lnTo>
                    <a:pt x="1840953" y="601561"/>
                  </a:lnTo>
                  <a:lnTo>
                    <a:pt x="1840991" y="602209"/>
                  </a:lnTo>
                  <a:lnTo>
                    <a:pt x="1840991" y="602907"/>
                  </a:lnTo>
                  <a:lnTo>
                    <a:pt x="1841042" y="603555"/>
                  </a:lnTo>
                  <a:lnTo>
                    <a:pt x="1841042" y="602907"/>
                  </a:lnTo>
                  <a:lnTo>
                    <a:pt x="1841093" y="602209"/>
                  </a:lnTo>
                  <a:lnTo>
                    <a:pt x="1841093" y="601561"/>
                  </a:lnTo>
                  <a:lnTo>
                    <a:pt x="1841195" y="600926"/>
                  </a:lnTo>
                  <a:lnTo>
                    <a:pt x="1841398" y="600926"/>
                  </a:lnTo>
                  <a:lnTo>
                    <a:pt x="1841449" y="599580"/>
                  </a:lnTo>
                  <a:lnTo>
                    <a:pt x="1841690" y="599580"/>
                  </a:lnTo>
                  <a:lnTo>
                    <a:pt x="1841690" y="600926"/>
                  </a:lnTo>
                  <a:lnTo>
                    <a:pt x="1841741" y="600926"/>
                  </a:lnTo>
                  <a:lnTo>
                    <a:pt x="1841842" y="599580"/>
                  </a:lnTo>
                  <a:lnTo>
                    <a:pt x="1842135" y="599580"/>
                  </a:lnTo>
                  <a:lnTo>
                    <a:pt x="1842185" y="600926"/>
                  </a:lnTo>
                  <a:lnTo>
                    <a:pt x="1842541" y="600926"/>
                  </a:lnTo>
                  <a:lnTo>
                    <a:pt x="1842630" y="602209"/>
                  </a:lnTo>
                  <a:lnTo>
                    <a:pt x="1842681" y="601561"/>
                  </a:lnTo>
                  <a:lnTo>
                    <a:pt x="1842782" y="600926"/>
                  </a:lnTo>
                  <a:lnTo>
                    <a:pt x="1842833" y="600926"/>
                  </a:lnTo>
                  <a:lnTo>
                    <a:pt x="1842884" y="599580"/>
                  </a:lnTo>
                  <a:lnTo>
                    <a:pt x="1842985" y="600926"/>
                  </a:lnTo>
                  <a:lnTo>
                    <a:pt x="1843227" y="600926"/>
                  </a:lnTo>
                  <a:lnTo>
                    <a:pt x="1843227" y="599580"/>
                  </a:lnTo>
                  <a:lnTo>
                    <a:pt x="1843278" y="599580"/>
                  </a:lnTo>
                  <a:lnTo>
                    <a:pt x="1843328" y="598932"/>
                  </a:lnTo>
                  <a:lnTo>
                    <a:pt x="1843328" y="599580"/>
                  </a:lnTo>
                  <a:lnTo>
                    <a:pt x="1843582" y="599580"/>
                  </a:lnTo>
                  <a:lnTo>
                    <a:pt x="1843671" y="600926"/>
                  </a:lnTo>
                  <a:lnTo>
                    <a:pt x="1843722" y="600926"/>
                  </a:lnTo>
                  <a:lnTo>
                    <a:pt x="1843722" y="601561"/>
                  </a:lnTo>
                  <a:lnTo>
                    <a:pt x="1843773" y="601561"/>
                  </a:lnTo>
                  <a:lnTo>
                    <a:pt x="1843773" y="600926"/>
                  </a:lnTo>
                  <a:lnTo>
                    <a:pt x="1843824" y="600926"/>
                  </a:lnTo>
                  <a:lnTo>
                    <a:pt x="1843925" y="599580"/>
                  </a:lnTo>
                  <a:lnTo>
                    <a:pt x="1843976" y="600926"/>
                  </a:lnTo>
                  <a:lnTo>
                    <a:pt x="1843976" y="599580"/>
                  </a:lnTo>
                  <a:lnTo>
                    <a:pt x="1844370" y="599580"/>
                  </a:lnTo>
                  <a:lnTo>
                    <a:pt x="1844370" y="600926"/>
                  </a:lnTo>
                  <a:lnTo>
                    <a:pt x="1844624" y="600926"/>
                  </a:lnTo>
                  <a:lnTo>
                    <a:pt x="1844675" y="599580"/>
                  </a:lnTo>
                  <a:lnTo>
                    <a:pt x="1844713" y="600926"/>
                  </a:lnTo>
                  <a:lnTo>
                    <a:pt x="1844814" y="599580"/>
                  </a:lnTo>
                  <a:lnTo>
                    <a:pt x="1844865" y="600926"/>
                  </a:lnTo>
                  <a:lnTo>
                    <a:pt x="1845017" y="600926"/>
                  </a:lnTo>
                  <a:lnTo>
                    <a:pt x="1845017" y="599580"/>
                  </a:lnTo>
                  <a:lnTo>
                    <a:pt x="1845259" y="599580"/>
                  </a:lnTo>
                  <a:lnTo>
                    <a:pt x="1845310" y="600926"/>
                  </a:lnTo>
                  <a:lnTo>
                    <a:pt x="1845513" y="600926"/>
                  </a:lnTo>
                  <a:lnTo>
                    <a:pt x="1845513" y="599580"/>
                  </a:lnTo>
                  <a:lnTo>
                    <a:pt x="1845614" y="599580"/>
                  </a:lnTo>
                  <a:lnTo>
                    <a:pt x="1845614" y="600926"/>
                  </a:lnTo>
                  <a:lnTo>
                    <a:pt x="1845716" y="600926"/>
                  </a:lnTo>
                  <a:lnTo>
                    <a:pt x="1845716" y="599580"/>
                  </a:lnTo>
                  <a:lnTo>
                    <a:pt x="1845805" y="599580"/>
                  </a:lnTo>
                  <a:lnTo>
                    <a:pt x="1845856" y="600926"/>
                  </a:lnTo>
                  <a:lnTo>
                    <a:pt x="1845957" y="600926"/>
                  </a:lnTo>
                  <a:lnTo>
                    <a:pt x="1846008" y="599580"/>
                  </a:lnTo>
                  <a:lnTo>
                    <a:pt x="1846605" y="599580"/>
                  </a:lnTo>
                  <a:lnTo>
                    <a:pt x="1846605" y="600926"/>
                  </a:lnTo>
                  <a:lnTo>
                    <a:pt x="1846656" y="600926"/>
                  </a:lnTo>
                  <a:lnTo>
                    <a:pt x="1846706" y="599580"/>
                  </a:lnTo>
                  <a:lnTo>
                    <a:pt x="1846757" y="599580"/>
                  </a:lnTo>
                  <a:lnTo>
                    <a:pt x="1846846" y="600926"/>
                  </a:lnTo>
                  <a:lnTo>
                    <a:pt x="1846897" y="599580"/>
                  </a:lnTo>
                  <a:lnTo>
                    <a:pt x="1847151" y="599580"/>
                  </a:lnTo>
                  <a:lnTo>
                    <a:pt x="1847151" y="600926"/>
                  </a:lnTo>
                  <a:lnTo>
                    <a:pt x="1847303" y="600926"/>
                  </a:lnTo>
                  <a:lnTo>
                    <a:pt x="1847341" y="599580"/>
                  </a:lnTo>
                  <a:lnTo>
                    <a:pt x="1847392" y="599580"/>
                  </a:lnTo>
                  <a:lnTo>
                    <a:pt x="1847392" y="600926"/>
                  </a:lnTo>
                  <a:lnTo>
                    <a:pt x="1847596" y="600926"/>
                  </a:lnTo>
                  <a:lnTo>
                    <a:pt x="1847596" y="599580"/>
                  </a:lnTo>
                  <a:lnTo>
                    <a:pt x="1847748" y="599580"/>
                  </a:lnTo>
                  <a:lnTo>
                    <a:pt x="1847748" y="600926"/>
                  </a:lnTo>
                  <a:lnTo>
                    <a:pt x="1847799" y="600926"/>
                  </a:lnTo>
                  <a:lnTo>
                    <a:pt x="1847799" y="599580"/>
                  </a:lnTo>
                  <a:lnTo>
                    <a:pt x="1847888" y="599580"/>
                  </a:lnTo>
                  <a:lnTo>
                    <a:pt x="1847989" y="600926"/>
                  </a:lnTo>
                  <a:lnTo>
                    <a:pt x="1848040" y="600926"/>
                  </a:lnTo>
                  <a:lnTo>
                    <a:pt x="1848040" y="599580"/>
                  </a:lnTo>
                  <a:lnTo>
                    <a:pt x="1848434" y="599580"/>
                  </a:lnTo>
                  <a:lnTo>
                    <a:pt x="1848434" y="600926"/>
                  </a:lnTo>
                  <a:lnTo>
                    <a:pt x="1848535" y="600926"/>
                  </a:lnTo>
                  <a:lnTo>
                    <a:pt x="1848535" y="599580"/>
                  </a:lnTo>
                  <a:lnTo>
                    <a:pt x="1849031" y="599580"/>
                  </a:lnTo>
                  <a:lnTo>
                    <a:pt x="1849132" y="600926"/>
                  </a:lnTo>
                  <a:lnTo>
                    <a:pt x="1849132" y="599580"/>
                  </a:lnTo>
                  <a:lnTo>
                    <a:pt x="1849183" y="600926"/>
                  </a:lnTo>
                  <a:lnTo>
                    <a:pt x="1849183" y="599580"/>
                  </a:lnTo>
                  <a:lnTo>
                    <a:pt x="1849234" y="599580"/>
                  </a:lnTo>
                  <a:lnTo>
                    <a:pt x="1849335" y="600926"/>
                  </a:lnTo>
                  <a:lnTo>
                    <a:pt x="1849335" y="599580"/>
                  </a:lnTo>
                  <a:lnTo>
                    <a:pt x="1849577" y="599580"/>
                  </a:lnTo>
                  <a:lnTo>
                    <a:pt x="1849577" y="598932"/>
                  </a:lnTo>
                  <a:lnTo>
                    <a:pt x="1849628" y="599580"/>
                  </a:lnTo>
                  <a:lnTo>
                    <a:pt x="1849881" y="599580"/>
                  </a:lnTo>
                  <a:lnTo>
                    <a:pt x="1849932" y="600926"/>
                  </a:lnTo>
                  <a:lnTo>
                    <a:pt x="1850021" y="600926"/>
                  </a:lnTo>
                  <a:lnTo>
                    <a:pt x="1850072" y="599580"/>
                  </a:lnTo>
                  <a:lnTo>
                    <a:pt x="1850072" y="600926"/>
                  </a:lnTo>
                  <a:lnTo>
                    <a:pt x="1850174" y="600926"/>
                  </a:lnTo>
                  <a:lnTo>
                    <a:pt x="1850174" y="599580"/>
                  </a:lnTo>
                  <a:lnTo>
                    <a:pt x="1850275" y="600926"/>
                  </a:lnTo>
                  <a:lnTo>
                    <a:pt x="1850377" y="600926"/>
                  </a:lnTo>
                  <a:lnTo>
                    <a:pt x="1850377" y="599580"/>
                  </a:lnTo>
                  <a:lnTo>
                    <a:pt x="1850478" y="599580"/>
                  </a:lnTo>
                  <a:lnTo>
                    <a:pt x="1850478" y="600926"/>
                  </a:lnTo>
                  <a:lnTo>
                    <a:pt x="1850516" y="600926"/>
                  </a:lnTo>
                  <a:lnTo>
                    <a:pt x="1850567" y="599580"/>
                  </a:lnTo>
                  <a:lnTo>
                    <a:pt x="1850771" y="599580"/>
                  </a:lnTo>
                  <a:lnTo>
                    <a:pt x="1850821" y="600926"/>
                  </a:lnTo>
                  <a:lnTo>
                    <a:pt x="1850923" y="599580"/>
                  </a:lnTo>
                  <a:lnTo>
                    <a:pt x="1851418" y="599580"/>
                  </a:lnTo>
                  <a:lnTo>
                    <a:pt x="1851469" y="600926"/>
                  </a:lnTo>
                  <a:lnTo>
                    <a:pt x="1851520" y="600926"/>
                  </a:lnTo>
                  <a:lnTo>
                    <a:pt x="1851520" y="599580"/>
                  </a:lnTo>
                  <a:lnTo>
                    <a:pt x="1851609" y="600926"/>
                  </a:lnTo>
                  <a:lnTo>
                    <a:pt x="1851660" y="600926"/>
                  </a:lnTo>
                  <a:lnTo>
                    <a:pt x="1851660" y="599580"/>
                  </a:lnTo>
                  <a:lnTo>
                    <a:pt x="1851710" y="599580"/>
                  </a:lnTo>
                  <a:lnTo>
                    <a:pt x="1851761" y="600926"/>
                  </a:lnTo>
                  <a:lnTo>
                    <a:pt x="1851913" y="600926"/>
                  </a:lnTo>
                  <a:lnTo>
                    <a:pt x="1851913" y="599580"/>
                  </a:lnTo>
                  <a:lnTo>
                    <a:pt x="1851964" y="599580"/>
                  </a:lnTo>
                  <a:lnTo>
                    <a:pt x="1851964" y="600926"/>
                  </a:lnTo>
                  <a:lnTo>
                    <a:pt x="1852066" y="599580"/>
                  </a:lnTo>
                  <a:lnTo>
                    <a:pt x="1852155" y="599580"/>
                  </a:lnTo>
                  <a:lnTo>
                    <a:pt x="1852155" y="600926"/>
                  </a:lnTo>
                  <a:lnTo>
                    <a:pt x="1852358" y="600926"/>
                  </a:lnTo>
                  <a:lnTo>
                    <a:pt x="1852358" y="599580"/>
                  </a:lnTo>
                  <a:lnTo>
                    <a:pt x="1852752" y="599580"/>
                  </a:lnTo>
                  <a:lnTo>
                    <a:pt x="1852803" y="600926"/>
                  </a:lnTo>
                  <a:lnTo>
                    <a:pt x="1853056" y="600926"/>
                  </a:lnTo>
                  <a:lnTo>
                    <a:pt x="1853056" y="599580"/>
                  </a:lnTo>
                  <a:lnTo>
                    <a:pt x="1853107" y="599580"/>
                  </a:lnTo>
                  <a:lnTo>
                    <a:pt x="1853107" y="600926"/>
                  </a:lnTo>
                  <a:lnTo>
                    <a:pt x="1853196" y="599580"/>
                  </a:lnTo>
                  <a:lnTo>
                    <a:pt x="1853247" y="600926"/>
                  </a:lnTo>
                  <a:lnTo>
                    <a:pt x="1853349" y="600926"/>
                  </a:lnTo>
                  <a:lnTo>
                    <a:pt x="1853349" y="599580"/>
                  </a:lnTo>
                  <a:lnTo>
                    <a:pt x="1853793" y="599580"/>
                  </a:lnTo>
                  <a:lnTo>
                    <a:pt x="1853895" y="600926"/>
                  </a:lnTo>
                  <a:lnTo>
                    <a:pt x="1853996" y="600926"/>
                  </a:lnTo>
                  <a:lnTo>
                    <a:pt x="1853996" y="599580"/>
                  </a:lnTo>
                  <a:lnTo>
                    <a:pt x="1854200" y="599580"/>
                  </a:lnTo>
                  <a:lnTo>
                    <a:pt x="1854238" y="600926"/>
                  </a:lnTo>
                  <a:lnTo>
                    <a:pt x="1854339" y="601561"/>
                  </a:lnTo>
                  <a:lnTo>
                    <a:pt x="1854390" y="602209"/>
                  </a:lnTo>
                  <a:lnTo>
                    <a:pt x="1854390" y="602907"/>
                  </a:lnTo>
                  <a:lnTo>
                    <a:pt x="1854542" y="602907"/>
                  </a:lnTo>
                  <a:lnTo>
                    <a:pt x="1854593" y="602209"/>
                  </a:lnTo>
                  <a:lnTo>
                    <a:pt x="1854644" y="602209"/>
                  </a:lnTo>
                  <a:lnTo>
                    <a:pt x="1854644" y="602907"/>
                  </a:lnTo>
                  <a:lnTo>
                    <a:pt x="1854695" y="602209"/>
                  </a:lnTo>
                  <a:lnTo>
                    <a:pt x="1854695" y="601561"/>
                  </a:lnTo>
                  <a:lnTo>
                    <a:pt x="1854784" y="601561"/>
                  </a:lnTo>
                  <a:lnTo>
                    <a:pt x="1854784" y="600926"/>
                  </a:lnTo>
                  <a:lnTo>
                    <a:pt x="1854835" y="599580"/>
                  </a:lnTo>
                  <a:lnTo>
                    <a:pt x="1854885" y="599580"/>
                  </a:lnTo>
                  <a:lnTo>
                    <a:pt x="1854885" y="598932"/>
                  </a:lnTo>
                  <a:lnTo>
                    <a:pt x="1855088" y="598932"/>
                  </a:lnTo>
                  <a:lnTo>
                    <a:pt x="1855088" y="599580"/>
                  </a:lnTo>
                  <a:lnTo>
                    <a:pt x="1855241" y="599580"/>
                  </a:lnTo>
                  <a:lnTo>
                    <a:pt x="1855241" y="600926"/>
                  </a:lnTo>
                  <a:lnTo>
                    <a:pt x="1855279" y="600926"/>
                  </a:lnTo>
                  <a:lnTo>
                    <a:pt x="1855279" y="599580"/>
                  </a:lnTo>
                  <a:lnTo>
                    <a:pt x="1855927" y="599580"/>
                  </a:lnTo>
                  <a:lnTo>
                    <a:pt x="1855927" y="600926"/>
                  </a:lnTo>
                  <a:lnTo>
                    <a:pt x="1855978" y="600926"/>
                  </a:lnTo>
                  <a:lnTo>
                    <a:pt x="1855978" y="599580"/>
                  </a:lnTo>
                  <a:lnTo>
                    <a:pt x="1856181" y="599580"/>
                  </a:lnTo>
                  <a:lnTo>
                    <a:pt x="1856231" y="600926"/>
                  </a:lnTo>
                  <a:lnTo>
                    <a:pt x="1856625" y="600926"/>
                  </a:lnTo>
                  <a:lnTo>
                    <a:pt x="1856625" y="599580"/>
                  </a:lnTo>
                  <a:lnTo>
                    <a:pt x="1856676" y="600926"/>
                  </a:lnTo>
                  <a:lnTo>
                    <a:pt x="1856866" y="600926"/>
                  </a:lnTo>
                  <a:lnTo>
                    <a:pt x="1856866" y="599580"/>
                  </a:lnTo>
                  <a:lnTo>
                    <a:pt x="1856917" y="600926"/>
                  </a:lnTo>
                  <a:lnTo>
                    <a:pt x="1857070" y="600926"/>
                  </a:lnTo>
                  <a:lnTo>
                    <a:pt x="1857121" y="601561"/>
                  </a:lnTo>
                  <a:lnTo>
                    <a:pt x="1857171" y="600926"/>
                  </a:lnTo>
                  <a:lnTo>
                    <a:pt x="1857273" y="602209"/>
                  </a:lnTo>
                  <a:lnTo>
                    <a:pt x="1857324" y="602907"/>
                  </a:lnTo>
                  <a:lnTo>
                    <a:pt x="1857324" y="603555"/>
                  </a:lnTo>
                  <a:lnTo>
                    <a:pt x="1857375" y="604787"/>
                  </a:lnTo>
                  <a:lnTo>
                    <a:pt x="1857375" y="605485"/>
                  </a:lnTo>
                  <a:lnTo>
                    <a:pt x="1857413" y="605485"/>
                  </a:lnTo>
                  <a:lnTo>
                    <a:pt x="1857514" y="604787"/>
                  </a:lnTo>
                  <a:lnTo>
                    <a:pt x="1857565" y="603555"/>
                  </a:lnTo>
                  <a:lnTo>
                    <a:pt x="1857616" y="603555"/>
                  </a:lnTo>
                  <a:lnTo>
                    <a:pt x="1857717" y="602907"/>
                  </a:lnTo>
                  <a:lnTo>
                    <a:pt x="1857819" y="602907"/>
                  </a:lnTo>
                  <a:lnTo>
                    <a:pt x="1857819" y="602209"/>
                  </a:lnTo>
                  <a:lnTo>
                    <a:pt x="1857870" y="599580"/>
                  </a:lnTo>
                  <a:lnTo>
                    <a:pt x="1857959" y="598932"/>
                  </a:lnTo>
                  <a:lnTo>
                    <a:pt x="1857959" y="598335"/>
                  </a:lnTo>
                  <a:lnTo>
                    <a:pt x="1858010" y="597649"/>
                  </a:lnTo>
                  <a:lnTo>
                    <a:pt x="1858010" y="598932"/>
                  </a:lnTo>
                  <a:lnTo>
                    <a:pt x="1858416" y="598932"/>
                  </a:lnTo>
                  <a:lnTo>
                    <a:pt x="1858454" y="599580"/>
                  </a:lnTo>
                  <a:lnTo>
                    <a:pt x="1858505" y="598932"/>
                  </a:lnTo>
                  <a:lnTo>
                    <a:pt x="1858556" y="599580"/>
                  </a:lnTo>
                  <a:lnTo>
                    <a:pt x="1858657" y="599580"/>
                  </a:lnTo>
                  <a:lnTo>
                    <a:pt x="1858657" y="598932"/>
                  </a:lnTo>
                  <a:lnTo>
                    <a:pt x="1858911" y="598932"/>
                  </a:lnTo>
                  <a:lnTo>
                    <a:pt x="1858911" y="599580"/>
                  </a:lnTo>
                  <a:lnTo>
                    <a:pt x="1859457" y="599580"/>
                  </a:lnTo>
                  <a:lnTo>
                    <a:pt x="1859546" y="600926"/>
                  </a:lnTo>
                  <a:lnTo>
                    <a:pt x="1859597" y="600926"/>
                  </a:lnTo>
                  <a:lnTo>
                    <a:pt x="1859648" y="599580"/>
                  </a:lnTo>
                  <a:lnTo>
                    <a:pt x="1859699" y="600926"/>
                  </a:lnTo>
                  <a:lnTo>
                    <a:pt x="1860143" y="600926"/>
                  </a:lnTo>
                  <a:lnTo>
                    <a:pt x="1860143" y="599580"/>
                  </a:lnTo>
                  <a:lnTo>
                    <a:pt x="1860499" y="599580"/>
                  </a:lnTo>
                  <a:lnTo>
                    <a:pt x="1860550" y="600926"/>
                  </a:lnTo>
                  <a:lnTo>
                    <a:pt x="1860588" y="600926"/>
                  </a:lnTo>
                  <a:lnTo>
                    <a:pt x="1860689" y="599580"/>
                  </a:lnTo>
                  <a:lnTo>
                    <a:pt x="1860740" y="599580"/>
                  </a:lnTo>
                  <a:lnTo>
                    <a:pt x="1860740" y="600926"/>
                  </a:lnTo>
                  <a:lnTo>
                    <a:pt x="1860994" y="600926"/>
                  </a:lnTo>
                  <a:lnTo>
                    <a:pt x="1861045" y="599580"/>
                  </a:lnTo>
                  <a:lnTo>
                    <a:pt x="1861286" y="599580"/>
                  </a:lnTo>
                  <a:lnTo>
                    <a:pt x="1861388" y="600926"/>
                  </a:lnTo>
                  <a:lnTo>
                    <a:pt x="1861438" y="599580"/>
                  </a:lnTo>
                  <a:lnTo>
                    <a:pt x="1861591" y="599580"/>
                  </a:lnTo>
                  <a:lnTo>
                    <a:pt x="1861591" y="600926"/>
                  </a:lnTo>
                  <a:lnTo>
                    <a:pt x="1861731" y="600926"/>
                  </a:lnTo>
                  <a:lnTo>
                    <a:pt x="1861731" y="599580"/>
                  </a:lnTo>
                  <a:lnTo>
                    <a:pt x="1861883" y="599580"/>
                  </a:lnTo>
                  <a:lnTo>
                    <a:pt x="1861934" y="600926"/>
                  </a:lnTo>
                  <a:lnTo>
                    <a:pt x="1862035" y="600926"/>
                  </a:lnTo>
                  <a:lnTo>
                    <a:pt x="1862035" y="599580"/>
                  </a:lnTo>
                  <a:lnTo>
                    <a:pt x="1862378" y="599580"/>
                  </a:lnTo>
                  <a:lnTo>
                    <a:pt x="1862378" y="600926"/>
                  </a:lnTo>
                  <a:lnTo>
                    <a:pt x="1862531" y="600926"/>
                  </a:lnTo>
                  <a:lnTo>
                    <a:pt x="1862581" y="599580"/>
                  </a:lnTo>
                  <a:lnTo>
                    <a:pt x="1862632" y="599580"/>
                  </a:lnTo>
                  <a:lnTo>
                    <a:pt x="1862632" y="600926"/>
                  </a:lnTo>
                  <a:lnTo>
                    <a:pt x="1862721" y="599580"/>
                  </a:lnTo>
                  <a:lnTo>
                    <a:pt x="1862975" y="599580"/>
                  </a:lnTo>
                  <a:lnTo>
                    <a:pt x="1862975" y="600926"/>
                  </a:lnTo>
                  <a:lnTo>
                    <a:pt x="1863267" y="600926"/>
                  </a:lnTo>
                  <a:lnTo>
                    <a:pt x="1863267" y="599580"/>
                  </a:lnTo>
                  <a:lnTo>
                    <a:pt x="1863521" y="599580"/>
                  </a:lnTo>
                  <a:lnTo>
                    <a:pt x="1863521" y="600926"/>
                  </a:lnTo>
                  <a:lnTo>
                    <a:pt x="1863623" y="599580"/>
                  </a:lnTo>
                  <a:lnTo>
                    <a:pt x="1863725" y="599580"/>
                  </a:lnTo>
                  <a:lnTo>
                    <a:pt x="1863725" y="600926"/>
                  </a:lnTo>
                  <a:lnTo>
                    <a:pt x="1863864" y="600926"/>
                  </a:lnTo>
                  <a:lnTo>
                    <a:pt x="1863864" y="599580"/>
                  </a:lnTo>
                  <a:lnTo>
                    <a:pt x="1863915" y="600926"/>
                  </a:lnTo>
                  <a:lnTo>
                    <a:pt x="1863915" y="599580"/>
                  </a:lnTo>
                  <a:lnTo>
                    <a:pt x="1864118" y="599580"/>
                  </a:lnTo>
                  <a:lnTo>
                    <a:pt x="1864118" y="600926"/>
                  </a:lnTo>
                  <a:lnTo>
                    <a:pt x="1864309" y="600926"/>
                  </a:lnTo>
                  <a:lnTo>
                    <a:pt x="1864309" y="599580"/>
                  </a:lnTo>
                  <a:lnTo>
                    <a:pt x="1864804" y="599580"/>
                  </a:lnTo>
                  <a:lnTo>
                    <a:pt x="1864804" y="600926"/>
                  </a:lnTo>
                  <a:lnTo>
                    <a:pt x="1865058" y="600926"/>
                  </a:lnTo>
                  <a:lnTo>
                    <a:pt x="1865109" y="599580"/>
                  </a:lnTo>
                  <a:lnTo>
                    <a:pt x="1865261" y="599580"/>
                  </a:lnTo>
                  <a:lnTo>
                    <a:pt x="1865261" y="600926"/>
                  </a:lnTo>
                  <a:lnTo>
                    <a:pt x="1865452" y="600926"/>
                  </a:lnTo>
                  <a:lnTo>
                    <a:pt x="1865452" y="599580"/>
                  </a:lnTo>
                  <a:lnTo>
                    <a:pt x="1865655" y="599580"/>
                  </a:lnTo>
                  <a:lnTo>
                    <a:pt x="1865706" y="600926"/>
                  </a:lnTo>
                  <a:lnTo>
                    <a:pt x="1865756" y="601561"/>
                  </a:lnTo>
                  <a:lnTo>
                    <a:pt x="1865896" y="601561"/>
                  </a:lnTo>
                  <a:lnTo>
                    <a:pt x="1865896" y="600926"/>
                  </a:lnTo>
                  <a:lnTo>
                    <a:pt x="1865947" y="599580"/>
                  </a:lnTo>
                  <a:lnTo>
                    <a:pt x="1866442" y="599580"/>
                  </a:lnTo>
                  <a:lnTo>
                    <a:pt x="1866442" y="600926"/>
                  </a:lnTo>
                  <a:lnTo>
                    <a:pt x="1866493" y="599580"/>
                  </a:lnTo>
                  <a:lnTo>
                    <a:pt x="1866493" y="600926"/>
                  </a:lnTo>
                  <a:lnTo>
                    <a:pt x="1866646" y="600926"/>
                  </a:lnTo>
                  <a:lnTo>
                    <a:pt x="1866696" y="598932"/>
                  </a:lnTo>
                  <a:lnTo>
                    <a:pt x="1866798" y="599580"/>
                  </a:lnTo>
                  <a:lnTo>
                    <a:pt x="1866849" y="600926"/>
                  </a:lnTo>
                  <a:lnTo>
                    <a:pt x="1866849" y="602907"/>
                  </a:lnTo>
                  <a:lnTo>
                    <a:pt x="1866900" y="603555"/>
                  </a:lnTo>
                  <a:lnTo>
                    <a:pt x="1866900" y="602907"/>
                  </a:lnTo>
                  <a:lnTo>
                    <a:pt x="1866938" y="602209"/>
                  </a:lnTo>
                  <a:lnTo>
                    <a:pt x="1867039" y="601561"/>
                  </a:lnTo>
                  <a:lnTo>
                    <a:pt x="1867039" y="600926"/>
                  </a:lnTo>
                  <a:lnTo>
                    <a:pt x="1867090" y="600926"/>
                  </a:lnTo>
                  <a:lnTo>
                    <a:pt x="1867090" y="599580"/>
                  </a:lnTo>
                  <a:lnTo>
                    <a:pt x="1867484" y="599580"/>
                  </a:lnTo>
                  <a:lnTo>
                    <a:pt x="1867484" y="600926"/>
                  </a:lnTo>
                  <a:lnTo>
                    <a:pt x="1867979" y="600926"/>
                  </a:lnTo>
                  <a:lnTo>
                    <a:pt x="1868030" y="599580"/>
                  </a:lnTo>
                  <a:lnTo>
                    <a:pt x="1868182" y="599580"/>
                  </a:lnTo>
                  <a:lnTo>
                    <a:pt x="1868182" y="600926"/>
                  </a:lnTo>
                  <a:lnTo>
                    <a:pt x="1868436" y="600926"/>
                  </a:lnTo>
                  <a:lnTo>
                    <a:pt x="1868487" y="599580"/>
                  </a:lnTo>
                  <a:lnTo>
                    <a:pt x="1868678" y="599580"/>
                  </a:lnTo>
                  <a:lnTo>
                    <a:pt x="1868678" y="600926"/>
                  </a:lnTo>
                  <a:lnTo>
                    <a:pt x="1868728" y="599580"/>
                  </a:lnTo>
                  <a:lnTo>
                    <a:pt x="1868830" y="600926"/>
                  </a:lnTo>
                  <a:lnTo>
                    <a:pt x="1868881" y="600926"/>
                  </a:lnTo>
                  <a:lnTo>
                    <a:pt x="1868931" y="601561"/>
                  </a:lnTo>
                  <a:lnTo>
                    <a:pt x="1868931" y="600926"/>
                  </a:lnTo>
                  <a:lnTo>
                    <a:pt x="1868982" y="600926"/>
                  </a:lnTo>
                  <a:lnTo>
                    <a:pt x="1869071" y="599580"/>
                  </a:lnTo>
                  <a:lnTo>
                    <a:pt x="1869173" y="599580"/>
                  </a:lnTo>
                  <a:lnTo>
                    <a:pt x="1869173" y="600926"/>
                  </a:lnTo>
                  <a:lnTo>
                    <a:pt x="1869376" y="600926"/>
                  </a:lnTo>
                  <a:lnTo>
                    <a:pt x="1869376" y="599580"/>
                  </a:lnTo>
                  <a:lnTo>
                    <a:pt x="1869427" y="599580"/>
                  </a:lnTo>
                  <a:lnTo>
                    <a:pt x="1869528" y="600926"/>
                  </a:lnTo>
                  <a:lnTo>
                    <a:pt x="1869566" y="599580"/>
                  </a:lnTo>
                  <a:lnTo>
                    <a:pt x="1869566" y="600926"/>
                  </a:lnTo>
                  <a:lnTo>
                    <a:pt x="1869770" y="600926"/>
                  </a:lnTo>
                  <a:lnTo>
                    <a:pt x="1869770" y="599580"/>
                  </a:lnTo>
                  <a:lnTo>
                    <a:pt x="1869821" y="599580"/>
                  </a:lnTo>
                  <a:lnTo>
                    <a:pt x="1869821" y="600926"/>
                  </a:lnTo>
                  <a:lnTo>
                    <a:pt x="1869871" y="599580"/>
                  </a:lnTo>
                  <a:lnTo>
                    <a:pt x="1869871" y="600926"/>
                  </a:lnTo>
                  <a:lnTo>
                    <a:pt x="1870075" y="600926"/>
                  </a:lnTo>
                  <a:lnTo>
                    <a:pt x="1870113" y="599580"/>
                  </a:lnTo>
                  <a:lnTo>
                    <a:pt x="1870214" y="599580"/>
                  </a:lnTo>
                  <a:lnTo>
                    <a:pt x="1870265" y="600926"/>
                  </a:lnTo>
                  <a:lnTo>
                    <a:pt x="1870417" y="600926"/>
                  </a:lnTo>
                  <a:lnTo>
                    <a:pt x="1870468" y="599580"/>
                  </a:lnTo>
                  <a:lnTo>
                    <a:pt x="1870519" y="599580"/>
                  </a:lnTo>
                  <a:lnTo>
                    <a:pt x="1870519" y="600926"/>
                  </a:lnTo>
                  <a:lnTo>
                    <a:pt x="1870659" y="600926"/>
                  </a:lnTo>
                  <a:lnTo>
                    <a:pt x="1870710" y="599580"/>
                  </a:lnTo>
                  <a:lnTo>
                    <a:pt x="1870760" y="600926"/>
                  </a:lnTo>
                  <a:lnTo>
                    <a:pt x="1870811" y="600926"/>
                  </a:lnTo>
                  <a:lnTo>
                    <a:pt x="1870913" y="599580"/>
                  </a:lnTo>
                  <a:lnTo>
                    <a:pt x="1870963" y="599580"/>
                  </a:lnTo>
                  <a:lnTo>
                    <a:pt x="1871014" y="600926"/>
                  </a:lnTo>
                  <a:lnTo>
                    <a:pt x="1871116" y="600926"/>
                  </a:lnTo>
                  <a:lnTo>
                    <a:pt x="1871154" y="599580"/>
                  </a:lnTo>
                  <a:lnTo>
                    <a:pt x="1871154" y="600926"/>
                  </a:lnTo>
                  <a:lnTo>
                    <a:pt x="1871357" y="600926"/>
                  </a:lnTo>
                  <a:lnTo>
                    <a:pt x="1871408" y="599580"/>
                  </a:lnTo>
                  <a:lnTo>
                    <a:pt x="1871408" y="600926"/>
                  </a:lnTo>
                  <a:lnTo>
                    <a:pt x="1871459" y="602209"/>
                  </a:lnTo>
                  <a:lnTo>
                    <a:pt x="1871459" y="602907"/>
                  </a:lnTo>
                  <a:lnTo>
                    <a:pt x="1871560" y="604787"/>
                  </a:lnTo>
                  <a:lnTo>
                    <a:pt x="1871700" y="604787"/>
                  </a:lnTo>
                  <a:lnTo>
                    <a:pt x="1871700" y="603555"/>
                  </a:lnTo>
                  <a:lnTo>
                    <a:pt x="1871903" y="603555"/>
                  </a:lnTo>
                  <a:lnTo>
                    <a:pt x="1871903" y="602907"/>
                  </a:lnTo>
                  <a:lnTo>
                    <a:pt x="1872005" y="602209"/>
                  </a:lnTo>
                  <a:lnTo>
                    <a:pt x="1872005" y="600926"/>
                  </a:lnTo>
                  <a:lnTo>
                    <a:pt x="1872056" y="599580"/>
                  </a:lnTo>
                  <a:lnTo>
                    <a:pt x="1872056" y="598932"/>
                  </a:lnTo>
                  <a:lnTo>
                    <a:pt x="1872106" y="598335"/>
                  </a:lnTo>
                  <a:lnTo>
                    <a:pt x="1872106" y="598932"/>
                  </a:lnTo>
                  <a:lnTo>
                    <a:pt x="1872399" y="598932"/>
                  </a:lnTo>
                  <a:lnTo>
                    <a:pt x="1872500" y="599580"/>
                  </a:lnTo>
                  <a:lnTo>
                    <a:pt x="1872996" y="599580"/>
                  </a:lnTo>
                  <a:lnTo>
                    <a:pt x="1872996" y="598932"/>
                  </a:lnTo>
                  <a:lnTo>
                    <a:pt x="1873148" y="598932"/>
                  </a:lnTo>
                  <a:lnTo>
                    <a:pt x="1873148" y="599580"/>
                  </a:lnTo>
                  <a:lnTo>
                    <a:pt x="1873199" y="599580"/>
                  </a:lnTo>
                  <a:lnTo>
                    <a:pt x="1873199" y="600926"/>
                  </a:lnTo>
                  <a:lnTo>
                    <a:pt x="1873250" y="600926"/>
                  </a:lnTo>
                  <a:lnTo>
                    <a:pt x="1873250" y="599580"/>
                  </a:lnTo>
                  <a:lnTo>
                    <a:pt x="1873440" y="599580"/>
                  </a:lnTo>
                  <a:lnTo>
                    <a:pt x="1873440" y="600926"/>
                  </a:lnTo>
                  <a:lnTo>
                    <a:pt x="1873491" y="599580"/>
                  </a:lnTo>
                  <a:lnTo>
                    <a:pt x="1873491" y="600926"/>
                  </a:lnTo>
                  <a:lnTo>
                    <a:pt x="1873592" y="600926"/>
                  </a:lnTo>
                  <a:lnTo>
                    <a:pt x="1873592" y="599580"/>
                  </a:lnTo>
                  <a:lnTo>
                    <a:pt x="1873745" y="599580"/>
                  </a:lnTo>
                  <a:lnTo>
                    <a:pt x="1873745" y="600926"/>
                  </a:lnTo>
                  <a:lnTo>
                    <a:pt x="1873986" y="600926"/>
                  </a:lnTo>
                  <a:lnTo>
                    <a:pt x="1874088" y="599580"/>
                  </a:lnTo>
                  <a:lnTo>
                    <a:pt x="1874138" y="600926"/>
                  </a:lnTo>
                  <a:lnTo>
                    <a:pt x="1874189" y="599580"/>
                  </a:lnTo>
                  <a:lnTo>
                    <a:pt x="1874189" y="600926"/>
                  </a:lnTo>
                  <a:lnTo>
                    <a:pt x="1874291" y="599580"/>
                  </a:lnTo>
                  <a:lnTo>
                    <a:pt x="1874431" y="599580"/>
                  </a:lnTo>
                  <a:lnTo>
                    <a:pt x="1874431" y="600926"/>
                  </a:lnTo>
                  <a:lnTo>
                    <a:pt x="1874532" y="600926"/>
                  </a:lnTo>
                  <a:lnTo>
                    <a:pt x="1874583" y="599580"/>
                  </a:lnTo>
                  <a:lnTo>
                    <a:pt x="1874837" y="599580"/>
                  </a:lnTo>
                  <a:lnTo>
                    <a:pt x="1874837" y="600926"/>
                  </a:lnTo>
                  <a:lnTo>
                    <a:pt x="1874977" y="600926"/>
                  </a:lnTo>
                  <a:lnTo>
                    <a:pt x="1874977" y="599580"/>
                  </a:lnTo>
                  <a:lnTo>
                    <a:pt x="1875180" y="599580"/>
                  </a:lnTo>
                  <a:lnTo>
                    <a:pt x="1875180" y="600926"/>
                  </a:lnTo>
                  <a:lnTo>
                    <a:pt x="1875231" y="599580"/>
                  </a:lnTo>
                  <a:lnTo>
                    <a:pt x="1875281" y="600926"/>
                  </a:lnTo>
                  <a:lnTo>
                    <a:pt x="1875332" y="600926"/>
                  </a:lnTo>
                  <a:lnTo>
                    <a:pt x="1875421" y="599580"/>
                  </a:lnTo>
                  <a:lnTo>
                    <a:pt x="1875523" y="599580"/>
                  </a:lnTo>
                  <a:lnTo>
                    <a:pt x="1875523" y="600926"/>
                  </a:lnTo>
                  <a:lnTo>
                    <a:pt x="1875574" y="599580"/>
                  </a:lnTo>
                  <a:lnTo>
                    <a:pt x="1875726" y="599580"/>
                  </a:lnTo>
                  <a:lnTo>
                    <a:pt x="1875777" y="600926"/>
                  </a:lnTo>
                  <a:lnTo>
                    <a:pt x="1875878" y="600926"/>
                  </a:lnTo>
                  <a:lnTo>
                    <a:pt x="1875916" y="599580"/>
                  </a:lnTo>
                  <a:lnTo>
                    <a:pt x="1875967" y="599580"/>
                  </a:lnTo>
                  <a:lnTo>
                    <a:pt x="1875967" y="600926"/>
                  </a:lnTo>
                  <a:lnTo>
                    <a:pt x="1876221" y="600926"/>
                  </a:lnTo>
                  <a:lnTo>
                    <a:pt x="1876323" y="599580"/>
                  </a:lnTo>
                  <a:lnTo>
                    <a:pt x="1876323" y="600926"/>
                  </a:lnTo>
                  <a:lnTo>
                    <a:pt x="1876463" y="600926"/>
                  </a:lnTo>
                  <a:lnTo>
                    <a:pt x="1876564" y="599580"/>
                  </a:lnTo>
                  <a:lnTo>
                    <a:pt x="1876615" y="599580"/>
                  </a:lnTo>
                  <a:lnTo>
                    <a:pt x="1876666" y="600926"/>
                  </a:lnTo>
                  <a:lnTo>
                    <a:pt x="1877161" y="600926"/>
                  </a:lnTo>
                  <a:lnTo>
                    <a:pt x="1877263" y="599580"/>
                  </a:lnTo>
                  <a:lnTo>
                    <a:pt x="1877313" y="599580"/>
                  </a:lnTo>
                  <a:lnTo>
                    <a:pt x="1877364" y="600926"/>
                  </a:lnTo>
                  <a:lnTo>
                    <a:pt x="1877466" y="599580"/>
                  </a:lnTo>
                  <a:lnTo>
                    <a:pt x="1877504" y="599580"/>
                  </a:lnTo>
                  <a:lnTo>
                    <a:pt x="1877504" y="600926"/>
                  </a:lnTo>
                  <a:lnTo>
                    <a:pt x="1877555" y="599580"/>
                  </a:lnTo>
                  <a:lnTo>
                    <a:pt x="1877555" y="600926"/>
                  </a:lnTo>
                  <a:lnTo>
                    <a:pt x="1877707" y="600926"/>
                  </a:lnTo>
                  <a:lnTo>
                    <a:pt x="1877758" y="599580"/>
                  </a:lnTo>
                  <a:lnTo>
                    <a:pt x="1877809" y="600926"/>
                  </a:lnTo>
                  <a:lnTo>
                    <a:pt x="1877910" y="599580"/>
                  </a:lnTo>
                  <a:lnTo>
                    <a:pt x="1878012" y="599580"/>
                  </a:lnTo>
                  <a:lnTo>
                    <a:pt x="1878050" y="600926"/>
                  </a:lnTo>
                  <a:lnTo>
                    <a:pt x="1878050" y="599580"/>
                  </a:lnTo>
                  <a:lnTo>
                    <a:pt x="1878647" y="599580"/>
                  </a:lnTo>
                  <a:lnTo>
                    <a:pt x="1878647" y="600926"/>
                  </a:lnTo>
                  <a:lnTo>
                    <a:pt x="1878698" y="600926"/>
                  </a:lnTo>
                  <a:lnTo>
                    <a:pt x="1878698" y="599580"/>
                  </a:lnTo>
                  <a:lnTo>
                    <a:pt x="1878952" y="599580"/>
                  </a:lnTo>
                  <a:lnTo>
                    <a:pt x="1879053" y="600926"/>
                  </a:lnTo>
                  <a:lnTo>
                    <a:pt x="1879091" y="599580"/>
                  </a:lnTo>
                  <a:lnTo>
                    <a:pt x="1879091" y="600926"/>
                  </a:lnTo>
                  <a:lnTo>
                    <a:pt x="1879142" y="599580"/>
                  </a:lnTo>
                  <a:lnTo>
                    <a:pt x="1879638" y="599580"/>
                  </a:lnTo>
                  <a:lnTo>
                    <a:pt x="1879739" y="600926"/>
                  </a:lnTo>
                  <a:lnTo>
                    <a:pt x="1879790" y="599580"/>
                  </a:lnTo>
                  <a:lnTo>
                    <a:pt x="1879841" y="600926"/>
                  </a:lnTo>
                  <a:lnTo>
                    <a:pt x="1879841" y="599580"/>
                  </a:lnTo>
                  <a:lnTo>
                    <a:pt x="1880184" y="599580"/>
                  </a:lnTo>
                  <a:lnTo>
                    <a:pt x="1880184" y="600926"/>
                  </a:lnTo>
                  <a:lnTo>
                    <a:pt x="1880285" y="600926"/>
                  </a:lnTo>
                  <a:lnTo>
                    <a:pt x="1880285" y="599580"/>
                  </a:lnTo>
                  <a:lnTo>
                    <a:pt x="1880336" y="599580"/>
                  </a:lnTo>
                  <a:lnTo>
                    <a:pt x="1880438" y="600926"/>
                  </a:lnTo>
                  <a:lnTo>
                    <a:pt x="1880882" y="600926"/>
                  </a:lnTo>
                  <a:lnTo>
                    <a:pt x="1880882" y="599580"/>
                  </a:lnTo>
                  <a:lnTo>
                    <a:pt x="1881085" y="599580"/>
                  </a:lnTo>
                  <a:lnTo>
                    <a:pt x="1881136" y="600926"/>
                  </a:lnTo>
                  <a:lnTo>
                    <a:pt x="1881327" y="600926"/>
                  </a:lnTo>
                  <a:lnTo>
                    <a:pt x="1881327" y="599580"/>
                  </a:lnTo>
                  <a:lnTo>
                    <a:pt x="1881378" y="600926"/>
                  </a:lnTo>
                  <a:lnTo>
                    <a:pt x="1881378" y="599580"/>
                  </a:lnTo>
                  <a:lnTo>
                    <a:pt x="1881428" y="599580"/>
                  </a:lnTo>
                  <a:lnTo>
                    <a:pt x="1881428" y="600926"/>
                  </a:lnTo>
                  <a:lnTo>
                    <a:pt x="1881581" y="600926"/>
                  </a:lnTo>
                  <a:lnTo>
                    <a:pt x="1881631" y="599580"/>
                  </a:lnTo>
                  <a:lnTo>
                    <a:pt x="1881631" y="600926"/>
                  </a:lnTo>
                  <a:lnTo>
                    <a:pt x="1881682" y="600926"/>
                  </a:lnTo>
                  <a:lnTo>
                    <a:pt x="1881682" y="599580"/>
                  </a:lnTo>
                  <a:lnTo>
                    <a:pt x="1881822" y="599580"/>
                  </a:lnTo>
                  <a:lnTo>
                    <a:pt x="1881873" y="600926"/>
                  </a:lnTo>
                  <a:lnTo>
                    <a:pt x="1881924" y="600926"/>
                  </a:lnTo>
                  <a:lnTo>
                    <a:pt x="1881924" y="599580"/>
                  </a:lnTo>
                  <a:lnTo>
                    <a:pt x="1882025" y="599580"/>
                  </a:lnTo>
                  <a:lnTo>
                    <a:pt x="1882025" y="600926"/>
                  </a:lnTo>
                  <a:lnTo>
                    <a:pt x="1882076" y="599580"/>
                  </a:lnTo>
                  <a:lnTo>
                    <a:pt x="1882127" y="600926"/>
                  </a:lnTo>
                  <a:lnTo>
                    <a:pt x="1882127" y="599580"/>
                  </a:lnTo>
                  <a:lnTo>
                    <a:pt x="1882571" y="599580"/>
                  </a:lnTo>
                  <a:lnTo>
                    <a:pt x="1882571" y="600926"/>
                  </a:lnTo>
                  <a:lnTo>
                    <a:pt x="1882724" y="600926"/>
                  </a:lnTo>
                  <a:lnTo>
                    <a:pt x="1882724" y="599580"/>
                  </a:lnTo>
                  <a:lnTo>
                    <a:pt x="1882914" y="599580"/>
                  </a:lnTo>
                  <a:lnTo>
                    <a:pt x="1882965" y="600926"/>
                  </a:lnTo>
                  <a:lnTo>
                    <a:pt x="1882965" y="599580"/>
                  </a:lnTo>
                  <a:lnTo>
                    <a:pt x="1883117" y="599580"/>
                  </a:lnTo>
                  <a:lnTo>
                    <a:pt x="1883168" y="600926"/>
                  </a:lnTo>
                  <a:lnTo>
                    <a:pt x="1883219" y="600926"/>
                  </a:lnTo>
                  <a:lnTo>
                    <a:pt x="1883219" y="599580"/>
                  </a:lnTo>
                  <a:lnTo>
                    <a:pt x="1883460" y="599580"/>
                  </a:lnTo>
                  <a:lnTo>
                    <a:pt x="1883511" y="600926"/>
                  </a:lnTo>
                  <a:lnTo>
                    <a:pt x="1883613" y="599580"/>
                  </a:lnTo>
                  <a:lnTo>
                    <a:pt x="1883663" y="600926"/>
                  </a:lnTo>
                  <a:lnTo>
                    <a:pt x="1883816" y="600926"/>
                  </a:lnTo>
                  <a:lnTo>
                    <a:pt x="1883816" y="599580"/>
                  </a:lnTo>
                  <a:lnTo>
                    <a:pt x="1883854" y="599580"/>
                  </a:lnTo>
                  <a:lnTo>
                    <a:pt x="1883905" y="600926"/>
                  </a:lnTo>
                  <a:lnTo>
                    <a:pt x="1883956" y="599580"/>
                  </a:lnTo>
                  <a:lnTo>
                    <a:pt x="1884159" y="599580"/>
                  </a:lnTo>
                  <a:lnTo>
                    <a:pt x="1884260" y="600926"/>
                  </a:lnTo>
                  <a:lnTo>
                    <a:pt x="1884362" y="600926"/>
                  </a:lnTo>
                  <a:lnTo>
                    <a:pt x="1884362" y="599580"/>
                  </a:lnTo>
                  <a:lnTo>
                    <a:pt x="1884400" y="600926"/>
                  </a:lnTo>
                  <a:lnTo>
                    <a:pt x="1884502" y="600926"/>
                  </a:lnTo>
                  <a:lnTo>
                    <a:pt x="1884502" y="599580"/>
                  </a:lnTo>
                  <a:lnTo>
                    <a:pt x="1884806" y="599580"/>
                  </a:lnTo>
                  <a:lnTo>
                    <a:pt x="1884806" y="600926"/>
                  </a:lnTo>
                  <a:lnTo>
                    <a:pt x="1885048" y="600926"/>
                  </a:lnTo>
                  <a:lnTo>
                    <a:pt x="1885048" y="599580"/>
                  </a:lnTo>
                  <a:lnTo>
                    <a:pt x="1885441" y="599580"/>
                  </a:lnTo>
                  <a:lnTo>
                    <a:pt x="1885441" y="598932"/>
                  </a:lnTo>
                  <a:lnTo>
                    <a:pt x="1885492" y="599580"/>
                  </a:lnTo>
                  <a:lnTo>
                    <a:pt x="1885543" y="599580"/>
                  </a:lnTo>
                  <a:lnTo>
                    <a:pt x="1885645" y="600926"/>
                  </a:lnTo>
                  <a:lnTo>
                    <a:pt x="1885645" y="599580"/>
                  </a:lnTo>
                  <a:lnTo>
                    <a:pt x="1885696" y="599580"/>
                  </a:lnTo>
                  <a:lnTo>
                    <a:pt x="1885746" y="600926"/>
                  </a:lnTo>
                  <a:lnTo>
                    <a:pt x="1885899" y="600926"/>
                  </a:lnTo>
                  <a:lnTo>
                    <a:pt x="1885899" y="599580"/>
                  </a:lnTo>
                  <a:lnTo>
                    <a:pt x="1886089" y="599580"/>
                  </a:lnTo>
                  <a:lnTo>
                    <a:pt x="1886140" y="598932"/>
                  </a:lnTo>
                  <a:lnTo>
                    <a:pt x="1886191" y="599580"/>
                  </a:lnTo>
                  <a:lnTo>
                    <a:pt x="1886292" y="599580"/>
                  </a:lnTo>
                  <a:lnTo>
                    <a:pt x="1886343" y="600926"/>
                  </a:lnTo>
                  <a:lnTo>
                    <a:pt x="1886343" y="599580"/>
                  </a:lnTo>
                  <a:lnTo>
                    <a:pt x="1886394" y="600926"/>
                  </a:lnTo>
                  <a:lnTo>
                    <a:pt x="1886445" y="599580"/>
                  </a:lnTo>
                  <a:lnTo>
                    <a:pt x="1886838" y="599580"/>
                  </a:lnTo>
                  <a:lnTo>
                    <a:pt x="1886889" y="600926"/>
                  </a:lnTo>
                  <a:lnTo>
                    <a:pt x="1886889" y="599580"/>
                  </a:lnTo>
                  <a:lnTo>
                    <a:pt x="1887029" y="599580"/>
                  </a:lnTo>
                  <a:lnTo>
                    <a:pt x="1887080" y="600926"/>
                  </a:lnTo>
                  <a:lnTo>
                    <a:pt x="1887131" y="600926"/>
                  </a:lnTo>
                  <a:lnTo>
                    <a:pt x="1887232" y="599580"/>
                  </a:lnTo>
                  <a:lnTo>
                    <a:pt x="1887537" y="599580"/>
                  </a:lnTo>
                  <a:lnTo>
                    <a:pt x="1887575" y="600926"/>
                  </a:lnTo>
                  <a:lnTo>
                    <a:pt x="1887575" y="599580"/>
                  </a:lnTo>
                  <a:lnTo>
                    <a:pt x="1887778" y="599580"/>
                  </a:lnTo>
                  <a:lnTo>
                    <a:pt x="1887778" y="600926"/>
                  </a:lnTo>
                  <a:lnTo>
                    <a:pt x="1887880" y="599580"/>
                  </a:lnTo>
                  <a:lnTo>
                    <a:pt x="1887931" y="600926"/>
                  </a:lnTo>
                  <a:lnTo>
                    <a:pt x="1887981" y="600926"/>
                  </a:lnTo>
                  <a:lnTo>
                    <a:pt x="1888032" y="599580"/>
                  </a:lnTo>
                  <a:lnTo>
                    <a:pt x="1888172" y="599580"/>
                  </a:lnTo>
                  <a:lnTo>
                    <a:pt x="1888172" y="600926"/>
                  </a:lnTo>
                  <a:lnTo>
                    <a:pt x="1888223" y="599580"/>
                  </a:lnTo>
                  <a:lnTo>
                    <a:pt x="1888274" y="600926"/>
                  </a:lnTo>
                  <a:lnTo>
                    <a:pt x="1888375" y="599580"/>
                  </a:lnTo>
                  <a:lnTo>
                    <a:pt x="1888718" y="599580"/>
                  </a:lnTo>
                  <a:lnTo>
                    <a:pt x="1888718" y="600926"/>
                  </a:lnTo>
                  <a:lnTo>
                    <a:pt x="1888820" y="599580"/>
                  </a:lnTo>
                  <a:lnTo>
                    <a:pt x="1888820" y="600926"/>
                  </a:lnTo>
                  <a:lnTo>
                    <a:pt x="1888871" y="600926"/>
                  </a:lnTo>
                  <a:lnTo>
                    <a:pt x="1888921" y="599580"/>
                  </a:lnTo>
                  <a:lnTo>
                    <a:pt x="1889264" y="599580"/>
                  </a:lnTo>
                  <a:lnTo>
                    <a:pt x="1889264" y="600926"/>
                  </a:lnTo>
                  <a:lnTo>
                    <a:pt x="1889315" y="599580"/>
                  </a:lnTo>
                  <a:lnTo>
                    <a:pt x="1889620" y="599580"/>
                  </a:lnTo>
                  <a:lnTo>
                    <a:pt x="1889620" y="598932"/>
                  </a:lnTo>
                  <a:lnTo>
                    <a:pt x="1889709" y="599580"/>
                  </a:lnTo>
                  <a:lnTo>
                    <a:pt x="1889760" y="599580"/>
                  </a:lnTo>
                  <a:lnTo>
                    <a:pt x="1889810" y="600926"/>
                  </a:lnTo>
                  <a:lnTo>
                    <a:pt x="1889963" y="600926"/>
                  </a:lnTo>
                  <a:lnTo>
                    <a:pt x="1890013" y="599580"/>
                  </a:lnTo>
                  <a:lnTo>
                    <a:pt x="1890013" y="600926"/>
                  </a:lnTo>
                  <a:lnTo>
                    <a:pt x="1890064" y="599580"/>
                  </a:lnTo>
                  <a:lnTo>
                    <a:pt x="1890204" y="599580"/>
                  </a:lnTo>
                  <a:lnTo>
                    <a:pt x="1890255" y="600926"/>
                  </a:lnTo>
                  <a:lnTo>
                    <a:pt x="1890255" y="599580"/>
                  </a:lnTo>
                  <a:lnTo>
                    <a:pt x="1890458" y="599580"/>
                  </a:lnTo>
                  <a:lnTo>
                    <a:pt x="1890458" y="600926"/>
                  </a:lnTo>
                  <a:lnTo>
                    <a:pt x="1890509" y="599580"/>
                  </a:lnTo>
                  <a:lnTo>
                    <a:pt x="1890661" y="599580"/>
                  </a:lnTo>
                  <a:lnTo>
                    <a:pt x="1890712" y="600926"/>
                  </a:lnTo>
                  <a:lnTo>
                    <a:pt x="1890712" y="599580"/>
                  </a:lnTo>
                  <a:lnTo>
                    <a:pt x="1891449" y="599580"/>
                  </a:lnTo>
                  <a:lnTo>
                    <a:pt x="1891449" y="598932"/>
                  </a:lnTo>
                  <a:lnTo>
                    <a:pt x="1891550" y="599580"/>
                  </a:lnTo>
                  <a:lnTo>
                    <a:pt x="1891995" y="599580"/>
                  </a:lnTo>
                  <a:lnTo>
                    <a:pt x="1892046" y="598932"/>
                  </a:lnTo>
                  <a:lnTo>
                    <a:pt x="1892096" y="599580"/>
                  </a:lnTo>
                  <a:lnTo>
                    <a:pt x="1892693" y="599580"/>
                  </a:lnTo>
                  <a:lnTo>
                    <a:pt x="1892744" y="600926"/>
                  </a:lnTo>
                  <a:lnTo>
                    <a:pt x="1892744" y="599580"/>
                  </a:lnTo>
                  <a:lnTo>
                    <a:pt x="1892795" y="600926"/>
                  </a:lnTo>
                  <a:lnTo>
                    <a:pt x="1892884" y="600926"/>
                  </a:lnTo>
                  <a:lnTo>
                    <a:pt x="1892935" y="599580"/>
                  </a:lnTo>
                  <a:lnTo>
                    <a:pt x="1893239" y="599580"/>
                  </a:lnTo>
                  <a:lnTo>
                    <a:pt x="1893341" y="600926"/>
                  </a:lnTo>
                  <a:lnTo>
                    <a:pt x="1893341" y="599580"/>
                  </a:lnTo>
                  <a:lnTo>
                    <a:pt x="1893684" y="599580"/>
                  </a:lnTo>
                  <a:lnTo>
                    <a:pt x="1893785" y="598932"/>
                  </a:lnTo>
                  <a:lnTo>
                    <a:pt x="1893836" y="599580"/>
                  </a:lnTo>
                  <a:lnTo>
                    <a:pt x="1893925" y="599580"/>
                  </a:lnTo>
                  <a:lnTo>
                    <a:pt x="1893925" y="600926"/>
                  </a:lnTo>
                  <a:lnTo>
                    <a:pt x="1894027" y="600926"/>
                  </a:lnTo>
                  <a:lnTo>
                    <a:pt x="1894078" y="599580"/>
                  </a:lnTo>
                  <a:lnTo>
                    <a:pt x="1895665" y="599580"/>
                  </a:lnTo>
                  <a:lnTo>
                    <a:pt x="1895716" y="600926"/>
                  </a:lnTo>
                  <a:lnTo>
                    <a:pt x="1895817" y="599580"/>
                  </a:lnTo>
                  <a:lnTo>
                    <a:pt x="1895919" y="599580"/>
                  </a:lnTo>
                  <a:lnTo>
                    <a:pt x="1895919" y="600926"/>
                  </a:lnTo>
                  <a:lnTo>
                    <a:pt x="1895970" y="600926"/>
                  </a:lnTo>
                  <a:lnTo>
                    <a:pt x="1895970" y="599580"/>
                  </a:lnTo>
                  <a:lnTo>
                    <a:pt x="1896110" y="599580"/>
                  </a:lnTo>
                  <a:lnTo>
                    <a:pt x="1896160" y="600926"/>
                  </a:lnTo>
                  <a:lnTo>
                    <a:pt x="1896211" y="600926"/>
                  </a:lnTo>
                  <a:lnTo>
                    <a:pt x="1896313" y="599580"/>
                  </a:lnTo>
                  <a:lnTo>
                    <a:pt x="1896516" y="599580"/>
                  </a:lnTo>
                  <a:lnTo>
                    <a:pt x="1896554" y="600926"/>
                  </a:lnTo>
                  <a:lnTo>
                    <a:pt x="1896554" y="599580"/>
                  </a:lnTo>
                  <a:lnTo>
                    <a:pt x="1896656" y="599580"/>
                  </a:lnTo>
                  <a:lnTo>
                    <a:pt x="1896757" y="600926"/>
                  </a:lnTo>
                  <a:lnTo>
                    <a:pt x="1896808" y="599580"/>
                  </a:lnTo>
                  <a:lnTo>
                    <a:pt x="1897202" y="599580"/>
                  </a:lnTo>
                  <a:lnTo>
                    <a:pt x="1897253" y="600926"/>
                  </a:lnTo>
                  <a:lnTo>
                    <a:pt x="1897303" y="599580"/>
                  </a:lnTo>
                  <a:lnTo>
                    <a:pt x="1897456" y="599580"/>
                  </a:lnTo>
                  <a:lnTo>
                    <a:pt x="1897506" y="600926"/>
                  </a:lnTo>
                  <a:lnTo>
                    <a:pt x="1897557" y="599580"/>
                  </a:lnTo>
                  <a:lnTo>
                    <a:pt x="1897799" y="599580"/>
                  </a:lnTo>
                  <a:lnTo>
                    <a:pt x="1897799" y="600926"/>
                  </a:lnTo>
                  <a:lnTo>
                    <a:pt x="1897900" y="600926"/>
                  </a:lnTo>
                  <a:lnTo>
                    <a:pt x="1897951" y="599580"/>
                  </a:lnTo>
                  <a:lnTo>
                    <a:pt x="1898891" y="599580"/>
                  </a:lnTo>
                  <a:lnTo>
                    <a:pt x="1898992" y="598932"/>
                  </a:lnTo>
                  <a:lnTo>
                    <a:pt x="1898992" y="599580"/>
                  </a:lnTo>
                  <a:lnTo>
                    <a:pt x="1899234" y="599580"/>
                  </a:lnTo>
                  <a:lnTo>
                    <a:pt x="1899234" y="600926"/>
                  </a:lnTo>
                  <a:lnTo>
                    <a:pt x="1899285" y="600926"/>
                  </a:lnTo>
                  <a:lnTo>
                    <a:pt x="1899285" y="599580"/>
                  </a:lnTo>
                  <a:lnTo>
                    <a:pt x="1899386" y="599580"/>
                  </a:lnTo>
                  <a:lnTo>
                    <a:pt x="1899386" y="600926"/>
                  </a:lnTo>
                  <a:lnTo>
                    <a:pt x="1899488" y="599580"/>
                  </a:lnTo>
                  <a:lnTo>
                    <a:pt x="1899538" y="599580"/>
                  </a:lnTo>
                  <a:lnTo>
                    <a:pt x="1899538" y="600926"/>
                  </a:lnTo>
                  <a:lnTo>
                    <a:pt x="1899691" y="600926"/>
                  </a:lnTo>
                  <a:lnTo>
                    <a:pt x="1899691" y="599580"/>
                  </a:lnTo>
                  <a:lnTo>
                    <a:pt x="1899780" y="599580"/>
                  </a:lnTo>
                  <a:lnTo>
                    <a:pt x="1899831" y="598932"/>
                  </a:lnTo>
                  <a:lnTo>
                    <a:pt x="1899932" y="598932"/>
                  </a:lnTo>
                  <a:lnTo>
                    <a:pt x="1899983" y="599580"/>
                  </a:lnTo>
                  <a:lnTo>
                    <a:pt x="1900732" y="599580"/>
                  </a:lnTo>
                  <a:lnTo>
                    <a:pt x="1900821" y="598932"/>
                  </a:lnTo>
                  <a:lnTo>
                    <a:pt x="1900821" y="599580"/>
                  </a:lnTo>
                  <a:lnTo>
                    <a:pt x="1901418" y="599580"/>
                  </a:lnTo>
                  <a:lnTo>
                    <a:pt x="1901418" y="598932"/>
                  </a:lnTo>
                  <a:lnTo>
                    <a:pt x="1901520" y="598932"/>
                  </a:lnTo>
                  <a:lnTo>
                    <a:pt x="1901520" y="599580"/>
                  </a:lnTo>
                  <a:lnTo>
                    <a:pt x="1901571" y="598932"/>
                  </a:lnTo>
                  <a:lnTo>
                    <a:pt x="1901621" y="599580"/>
                  </a:lnTo>
                  <a:lnTo>
                    <a:pt x="1901863" y="599580"/>
                  </a:lnTo>
                  <a:lnTo>
                    <a:pt x="1901863" y="598932"/>
                  </a:lnTo>
                  <a:lnTo>
                    <a:pt x="1902015" y="598932"/>
                  </a:lnTo>
                  <a:lnTo>
                    <a:pt x="1902015" y="599580"/>
                  </a:lnTo>
                  <a:lnTo>
                    <a:pt x="1902167" y="599580"/>
                  </a:lnTo>
                  <a:lnTo>
                    <a:pt x="1902167" y="598932"/>
                  </a:lnTo>
                  <a:lnTo>
                    <a:pt x="1902218" y="598932"/>
                  </a:lnTo>
                  <a:lnTo>
                    <a:pt x="1902269" y="599580"/>
                  </a:lnTo>
                  <a:lnTo>
                    <a:pt x="1903412" y="599580"/>
                  </a:lnTo>
                  <a:lnTo>
                    <a:pt x="1903450" y="598932"/>
                  </a:lnTo>
                  <a:lnTo>
                    <a:pt x="1903552" y="599580"/>
                  </a:lnTo>
                  <a:lnTo>
                    <a:pt x="1903806" y="599580"/>
                  </a:lnTo>
                  <a:lnTo>
                    <a:pt x="1903856" y="598932"/>
                  </a:lnTo>
                  <a:lnTo>
                    <a:pt x="1903907" y="598932"/>
                  </a:lnTo>
                  <a:lnTo>
                    <a:pt x="1903996" y="599580"/>
                  </a:lnTo>
                  <a:lnTo>
                    <a:pt x="1903996" y="598932"/>
                  </a:lnTo>
                  <a:lnTo>
                    <a:pt x="1904098" y="598932"/>
                  </a:lnTo>
                  <a:lnTo>
                    <a:pt x="1904149" y="599580"/>
                  </a:lnTo>
                  <a:lnTo>
                    <a:pt x="1904250" y="600926"/>
                  </a:lnTo>
                  <a:lnTo>
                    <a:pt x="1904250" y="599580"/>
                  </a:lnTo>
                  <a:lnTo>
                    <a:pt x="1904453" y="599580"/>
                  </a:lnTo>
                  <a:lnTo>
                    <a:pt x="1904453" y="598932"/>
                  </a:lnTo>
                  <a:lnTo>
                    <a:pt x="1904593" y="598932"/>
                  </a:lnTo>
                  <a:lnTo>
                    <a:pt x="1904695" y="599580"/>
                  </a:lnTo>
                  <a:lnTo>
                    <a:pt x="1904796" y="599580"/>
                  </a:lnTo>
                  <a:lnTo>
                    <a:pt x="1904796" y="598932"/>
                  </a:lnTo>
                  <a:lnTo>
                    <a:pt x="1904898" y="598932"/>
                  </a:lnTo>
                  <a:lnTo>
                    <a:pt x="1904898" y="599580"/>
                  </a:lnTo>
                  <a:lnTo>
                    <a:pt x="1904949" y="598932"/>
                  </a:lnTo>
                  <a:lnTo>
                    <a:pt x="1905000" y="598932"/>
                  </a:lnTo>
                  <a:lnTo>
                    <a:pt x="1905000" y="599580"/>
                  </a:lnTo>
                  <a:lnTo>
                    <a:pt x="1905038" y="598932"/>
                  </a:lnTo>
                  <a:lnTo>
                    <a:pt x="1905038" y="599580"/>
                  </a:lnTo>
                  <a:lnTo>
                    <a:pt x="1905139" y="599580"/>
                  </a:lnTo>
                  <a:lnTo>
                    <a:pt x="1905139" y="598932"/>
                  </a:lnTo>
                  <a:lnTo>
                    <a:pt x="1905190" y="599580"/>
                  </a:lnTo>
                  <a:lnTo>
                    <a:pt x="1905190" y="598932"/>
                  </a:lnTo>
                  <a:lnTo>
                    <a:pt x="1905241" y="599580"/>
                  </a:lnTo>
                  <a:lnTo>
                    <a:pt x="1905342" y="599580"/>
                  </a:lnTo>
                  <a:lnTo>
                    <a:pt x="1905342" y="598932"/>
                  </a:lnTo>
                  <a:lnTo>
                    <a:pt x="1905444" y="598932"/>
                  </a:lnTo>
                  <a:lnTo>
                    <a:pt x="1905495" y="599580"/>
                  </a:lnTo>
                  <a:lnTo>
                    <a:pt x="1905635" y="599580"/>
                  </a:lnTo>
                  <a:lnTo>
                    <a:pt x="1905635" y="598932"/>
                  </a:lnTo>
                  <a:lnTo>
                    <a:pt x="1905736" y="598932"/>
                  </a:lnTo>
                  <a:lnTo>
                    <a:pt x="1905838" y="599580"/>
                  </a:lnTo>
                  <a:lnTo>
                    <a:pt x="1905939" y="599580"/>
                  </a:lnTo>
                  <a:lnTo>
                    <a:pt x="1905939" y="598932"/>
                  </a:lnTo>
                  <a:lnTo>
                    <a:pt x="1906536" y="598932"/>
                  </a:lnTo>
                  <a:lnTo>
                    <a:pt x="1906536" y="599580"/>
                  </a:lnTo>
                  <a:lnTo>
                    <a:pt x="1906727" y="599580"/>
                  </a:lnTo>
                  <a:lnTo>
                    <a:pt x="1906727" y="598932"/>
                  </a:lnTo>
                  <a:lnTo>
                    <a:pt x="1907171" y="598932"/>
                  </a:lnTo>
                  <a:lnTo>
                    <a:pt x="1907222" y="599580"/>
                  </a:lnTo>
                  <a:lnTo>
                    <a:pt x="1907273" y="598932"/>
                  </a:lnTo>
                  <a:lnTo>
                    <a:pt x="1907527" y="598932"/>
                  </a:lnTo>
                  <a:lnTo>
                    <a:pt x="1907527" y="599580"/>
                  </a:lnTo>
                  <a:lnTo>
                    <a:pt x="1907717" y="599580"/>
                  </a:lnTo>
                  <a:lnTo>
                    <a:pt x="1907717" y="598932"/>
                  </a:lnTo>
                  <a:lnTo>
                    <a:pt x="1907768" y="598932"/>
                  </a:lnTo>
                  <a:lnTo>
                    <a:pt x="1907870" y="599580"/>
                  </a:lnTo>
                  <a:lnTo>
                    <a:pt x="1907971" y="599580"/>
                  </a:lnTo>
                  <a:lnTo>
                    <a:pt x="1908073" y="598932"/>
                  </a:lnTo>
                  <a:lnTo>
                    <a:pt x="1908175" y="598932"/>
                  </a:lnTo>
                  <a:lnTo>
                    <a:pt x="1908175" y="599580"/>
                  </a:lnTo>
                  <a:lnTo>
                    <a:pt x="1908213" y="598932"/>
                  </a:lnTo>
                  <a:lnTo>
                    <a:pt x="1908517" y="598932"/>
                  </a:lnTo>
                  <a:lnTo>
                    <a:pt x="1908517" y="599580"/>
                  </a:lnTo>
                  <a:lnTo>
                    <a:pt x="1908568" y="598932"/>
                  </a:lnTo>
                  <a:lnTo>
                    <a:pt x="1908810" y="598932"/>
                  </a:lnTo>
                  <a:lnTo>
                    <a:pt x="1908860" y="599580"/>
                  </a:lnTo>
                  <a:lnTo>
                    <a:pt x="1908911" y="598932"/>
                  </a:lnTo>
                  <a:lnTo>
                    <a:pt x="1909013" y="599580"/>
                  </a:lnTo>
                  <a:lnTo>
                    <a:pt x="1909013" y="598932"/>
                  </a:lnTo>
                  <a:lnTo>
                    <a:pt x="1909216" y="598932"/>
                  </a:lnTo>
                  <a:lnTo>
                    <a:pt x="1909254" y="599580"/>
                  </a:lnTo>
                  <a:lnTo>
                    <a:pt x="1909305" y="598932"/>
                  </a:lnTo>
                  <a:lnTo>
                    <a:pt x="1909305" y="599580"/>
                  </a:lnTo>
                  <a:lnTo>
                    <a:pt x="1909356" y="598932"/>
                  </a:lnTo>
                  <a:lnTo>
                    <a:pt x="1909356" y="599580"/>
                  </a:lnTo>
                  <a:lnTo>
                    <a:pt x="1909559" y="599580"/>
                  </a:lnTo>
                  <a:lnTo>
                    <a:pt x="1909660" y="598932"/>
                  </a:lnTo>
                  <a:lnTo>
                    <a:pt x="1910702" y="598932"/>
                  </a:lnTo>
                  <a:lnTo>
                    <a:pt x="1910803" y="599580"/>
                  </a:lnTo>
                  <a:lnTo>
                    <a:pt x="1910803" y="598932"/>
                  </a:lnTo>
                  <a:lnTo>
                    <a:pt x="1910841" y="598932"/>
                  </a:lnTo>
                  <a:lnTo>
                    <a:pt x="1910892" y="598335"/>
                  </a:lnTo>
                  <a:lnTo>
                    <a:pt x="1910892" y="598932"/>
                  </a:lnTo>
                  <a:lnTo>
                    <a:pt x="1911096" y="598932"/>
                  </a:lnTo>
                  <a:lnTo>
                    <a:pt x="1911096" y="598335"/>
                  </a:lnTo>
                  <a:lnTo>
                    <a:pt x="1911146" y="598335"/>
                  </a:lnTo>
                  <a:lnTo>
                    <a:pt x="1911146" y="598932"/>
                  </a:lnTo>
                  <a:lnTo>
                    <a:pt x="1911299" y="598932"/>
                  </a:lnTo>
                  <a:lnTo>
                    <a:pt x="1911350" y="599580"/>
                  </a:lnTo>
                  <a:lnTo>
                    <a:pt x="1911388" y="599580"/>
                  </a:lnTo>
                  <a:lnTo>
                    <a:pt x="1911388" y="598932"/>
                  </a:lnTo>
                  <a:lnTo>
                    <a:pt x="1911489" y="598932"/>
                  </a:lnTo>
                  <a:lnTo>
                    <a:pt x="1911540" y="598335"/>
                  </a:lnTo>
                  <a:lnTo>
                    <a:pt x="1911540" y="598932"/>
                  </a:lnTo>
                  <a:lnTo>
                    <a:pt x="1911794" y="598932"/>
                  </a:lnTo>
                  <a:lnTo>
                    <a:pt x="1911845" y="599580"/>
                  </a:lnTo>
                  <a:lnTo>
                    <a:pt x="1911934" y="598932"/>
                  </a:lnTo>
                  <a:lnTo>
                    <a:pt x="1911985" y="598932"/>
                  </a:lnTo>
                  <a:lnTo>
                    <a:pt x="1911985" y="598335"/>
                  </a:lnTo>
                  <a:lnTo>
                    <a:pt x="1912035" y="598932"/>
                  </a:lnTo>
                  <a:lnTo>
                    <a:pt x="1912035" y="598335"/>
                  </a:lnTo>
                  <a:lnTo>
                    <a:pt x="1912086" y="598932"/>
                  </a:lnTo>
                  <a:lnTo>
                    <a:pt x="1912429" y="598932"/>
                  </a:lnTo>
                  <a:lnTo>
                    <a:pt x="1912429" y="599580"/>
                  </a:lnTo>
                  <a:lnTo>
                    <a:pt x="1912480" y="598932"/>
                  </a:lnTo>
                  <a:lnTo>
                    <a:pt x="1913826" y="598932"/>
                  </a:lnTo>
                  <a:lnTo>
                    <a:pt x="1913826" y="598335"/>
                  </a:lnTo>
                  <a:lnTo>
                    <a:pt x="1913877" y="598932"/>
                  </a:lnTo>
                  <a:lnTo>
                    <a:pt x="1913978" y="599580"/>
                  </a:lnTo>
                  <a:lnTo>
                    <a:pt x="1914016" y="599580"/>
                  </a:lnTo>
                  <a:lnTo>
                    <a:pt x="1914016" y="598932"/>
                  </a:lnTo>
                  <a:lnTo>
                    <a:pt x="1914271" y="598932"/>
                  </a:lnTo>
                  <a:lnTo>
                    <a:pt x="1914321" y="598335"/>
                  </a:lnTo>
                  <a:lnTo>
                    <a:pt x="1914423" y="598932"/>
                  </a:lnTo>
                  <a:lnTo>
                    <a:pt x="1915109" y="598932"/>
                  </a:lnTo>
                  <a:lnTo>
                    <a:pt x="1915109" y="599580"/>
                  </a:lnTo>
                  <a:lnTo>
                    <a:pt x="1915160" y="599580"/>
                  </a:lnTo>
                  <a:lnTo>
                    <a:pt x="1915160" y="598932"/>
                  </a:lnTo>
                  <a:lnTo>
                    <a:pt x="1915210" y="598932"/>
                  </a:lnTo>
                  <a:lnTo>
                    <a:pt x="1915261" y="598335"/>
                  </a:lnTo>
                  <a:lnTo>
                    <a:pt x="1915363" y="598335"/>
                  </a:lnTo>
                  <a:lnTo>
                    <a:pt x="1915413" y="598932"/>
                  </a:lnTo>
                  <a:lnTo>
                    <a:pt x="1915413" y="598335"/>
                  </a:lnTo>
                  <a:lnTo>
                    <a:pt x="1915464" y="598932"/>
                  </a:lnTo>
                  <a:lnTo>
                    <a:pt x="1916112" y="598932"/>
                  </a:lnTo>
                  <a:lnTo>
                    <a:pt x="1916150" y="598335"/>
                  </a:lnTo>
                  <a:lnTo>
                    <a:pt x="1916252" y="598932"/>
                  </a:lnTo>
                  <a:lnTo>
                    <a:pt x="1916556" y="598932"/>
                  </a:lnTo>
                  <a:lnTo>
                    <a:pt x="1916556" y="598335"/>
                  </a:lnTo>
                  <a:lnTo>
                    <a:pt x="1916607" y="598335"/>
                  </a:lnTo>
                  <a:lnTo>
                    <a:pt x="1916607" y="598932"/>
                  </a:lnTo>
                  <a:lnTo>
                    <a:pt x="1917001" y="598932"/>
                  </a:lnTo>
                  <a:lnTo>
                    <a:pt x="1917052" y="599580"/>
                  </a:lnTo>
                  <a:lnTo>
                    <a:pt x="1917153" y="598932"/>
                  </a:lnTo>
                  <a:lnTo>
                    <a:pt x="1917191" y="598932"/>
                  </a:lnTo>
                  <a:lnTo>
                    <a:pt x="1917191" y="598335"/>
                  </a:lnTo>
                  <a:lnTo>
                    <a:pt x="1917242" y="598932"/>
                  </a:lnTo>
                  <a:lnTo>
                    <a:pt x="1917496" y="598932"/>
                  </a:lnTo>
                  <a:lnTo>
                    <a:pt x="1917496" y="598335"/>
                  </a:lnTo>
                  <a:lnTo>
                    <a:pt x="1917598" y="598932"/>
                  </a:lnTo>
                  <a:lnTo>
                    <a:pt x="1917700" y="598932"/>
                  </a:lnTo>
                  <a:lnTo>
                    <a:pt x="1917738" y="598335"/>
                  </a:lnTo>
                  <a:lnTo>
                    <a:pt x="1918144" y="598335"/>
                  </a:lnTo>
                  <a:lnTo>
                    <a:pt x="1918144" y="598932"/>
                  </a:lnTo>
                  <a:lnTo>
                    <a:pt x="1918195" y="598932"/>
                  </a:lnTo>
                  <a:lnTo>
                    <a:pt x="1918195" y="598335"/>
                  </a:lnTo>
                  <a:lnTo>
                    <a:pt x="1918284" y="598932"/>
                  </a:lnTo>
                  <a:lnTo>
                    <a:pt x="1918436" y="598932"/>
                  </a:lnTo>
                  <a:lnTo>
                    <a:pt x="1918436" y="598335"/>
                  </a:lnTo>
                  <a:lnTo>
                    <a:pt x="1918538" y="598932"/>
                  </a:lnTo>
                  <a:lnTo>
                    <a:pt x="1918538" y="598335"/>
                  </a:lnTo>
                  <a:lnTo>
                    <a:pt x="1918588" y="598335"/>
                  </a:lnTo>
                  <a:lnTo>
                    <a:pt x="1918588" y="598932"/>
                  </a:lnTo>
                  <a:lnTo>
                    <a:pt x="1918639" y="598335"/>
                  </a:lnTo>
                  <a:lnTo>
                    <a:pt x="1918779" y="598335"/>
                  </a:lnTo>
                  <a:lnTo>
                    <a:pt x="1918779" y="598932"/>
                  </a:lnTo>
                  <a:lnTo>
                    <a:pt x="1918830" y="598932"/>
                  </a:lnTo>
                  <a:lnTo>
                    <a:pt x="1918881" y="598335"/>
                  </a:lnTo>
                  <a:lnTo>
                    <a:pt x="1918982" y="598932"/>
                  </a:lnTo>
                  <a:lnTo>
                    <a:pt x="1919033" y="598335"/>
                  </a:lnTo>
                  <a:lnTo>
                    <a:pt x="1919033" y="598932"/>
                  </a:lnTo>
                  <a:lnTo>
                    <a:pt x="1919185" y="598932"/>
                  </a:lnTo>
                  <a:lnTo>
                    <a:pt x="1919236" y="598335"/>
                  </a:lnTo>
                  <a:lnTo>
                    <a:pt x="1919287" y="598335"/>
                  </a:lnTo>
                  <a:lnTo>
                    <a:pt x="1919325" y="598932"/>
                  </a:lnTo>
                  <a:lnTo>
                    <a:pt x="1919782" y="598932"/>
                  </a:lnTo>
                  <a:lnTo>
                    <a:pt x="1919782" y="598335"/>
                  </a:lnTo>
                  <a:lnTo>
                    <a:pt x="1919871" y="598932"/>
                  </a:lnTo>
                  <a:lnTo>
                    <a:pt x="1920024" y="598932"/>
                  </a:lnTo>
                  <a:lnTo>
                    <a:pt x="1920024" y="598335"/>
                  </a:lnTo>
                  <a:lnTo>
                    <a:pt x="1920125" y="598932"/>
                  </a:lnTo>
                  <a:lnTo>
                    <a:pt x="1920227" y="598932"/>
                  </a:lnTo>
                  <a:lnTo>
                    <a:pt x="1920227" y="599580"/>
                  </a:lnTo>
                  <a:lnTo>
                    <a:pt x="1920328" y="599580"/>
                  </a:lnTo>
                  <a:lnTo>
                    <a:pt x="1920366" y="598932"/>
                  </a:lnTo>
                  <a:lnTo>
                    <a:pt x="1920468" y="598932"/>
                  </a:lnTo>
                  <a:lnTo>
                    <a:pt x="1920570" y="598335"/>
                  </a:lnTo>
                  <a:lnTo>
                    <a:pt x="1920621" y="598932"/>
                  </a:lnTo>
                  <a:lnTo>
                    <a:pt x="1920671" y="598932"/>
                  </a:lnTo>
                  <a:lnTo>
                    <a:pt x="1920773" y="598335"/>
                  </a:lnTo>
                  <a:lnTo>
                    <a:pt x="1920875" y="598335"/>
                  </a:lnTo>
                  <a:lnTo>
                    <a:pt x="1920913" y="598932"/>
                  </a:lnTo>
                  <a:lnTo>
                    <a:pt x="1921065" y="598932"/>
                  </a:lnTo>
                  <a:lnTo>
                    <a:pt x="1921116" y="598335"/>
                  </a:lnTo>
                  <a:lnTo>
                    <a:pt x="1921217" y="598932"/>
                  </a:lnTo>
                  <a:lnTo>
                    <a:pt x="1921217" y="598335"/>
                  </a:lnTo>
                  <a:lnTo>
                    <a:pt x="1921268" y="598335"/>
                  </a:lnTo>
                  <a:lnTo>
                    <a:pt x="1921268" y="598932"/>
                  </a:lnTo>
                  <a:lnTo>
                    <a:pt x="1921319" y="598932"/>
                  </a:lnTo>
                  <a:lnTo>
                    <a:pt x="1921370" y="598335"/>
                  </a:lnTo>
                  <a:lnTo>
                    <a:pt x="1921510" y="598335"/>
                  </a:lnTo>
                  <a:lnTo>
                    <a:pt x="1921510" y="598932"/>
                  </a:lnTo>
                  <a:lnTo>
                    <a:pt x="1921560" y="598335"/>
                  </a:lnTo>
                  <a:lnTo>
                    <a:pt x="1921916" y="598335"/>
                  </a:lnTo>
                  <a:lnTo>
                    <a:pt x="1921954" y="598932"/>
                  </a:lnTo>
                  <a:lnTo>
                    <a:pt x="1922056" y="598932"/>
                  </a:lnTo>
                  <a:lnTo>
                    <a:pt x="1922157" y="598335"/>
                  </a:lnTo>
                  <a:lnTo>
                    <a:pt x="1922500" y="598335"/>
                  </a:lnTo>
                  <a:lnTo>
                    <a:pt x="1922500" y="598932"/>
                  </a:lnTo>
                  <a:lnTo>
                    <a:pt x="1922602" y="598932"/>
                  </a:lnTo>
                  <a:lnTo>
                    <a:pt x="1922653" y="598335"/>
                  </a:lnTo>
                  <a:lnTo>
                    <a:pt x="1922703" y="598335"/>
                  </a:lnTo>
                  <a:lnTo>
                    <a:pt x="1922805" y="598932"/>
                  </a:lnTo>
                  <a:lnTo>
                    <a:pt x="1922805" y="598335"/>
                  </a:lnTo>
                  <a:lnTo>
                    <a:pt x="1922906" y="598335"/>
                  </a:lnTo>
                  <a:lnTo>
                    <a:pt x="1922957" y="598932"/>
                  </a:lnTo>
                  <a:lnTo>
                    <a:pt x="1923046" y="598932"/>
                  </a:lnTo>
                  <a:lnTo>
                    <a:pt x="1923097" y="598335"/>
                  </a:lnTo>
                  <a:lnTo>
                    <a:pt x="1923541" y="598335"/>
                  </a:lnTo>
                  <a:lnTo>
                    <a:pt x="1923592" y="598932"/>
                  </a:lnTo>
                  <a:lnTo>
                    <a:pt x="1923745" y="598932"/>
                  </a:lnTo>
                  <a:lnTo>
                    <a:pt x="1923745" y="598335"/>
                  </a:lnTo>
                  <a:lnTo>
                    <a:pt x="1923846" y="598335"/>
                  </a:lnTo>
                  <a:lnTo>
                    <a:pt x="1923846" y="598932"/>
                  </a:lnTo>
                  <a:lnTo>
                    <a:pt x="1924050" y="598932"/>
                  </a:lnTo>
                  <a:lnTo>
                    <a:pt x="1924088" y="598335"/>
                  </a:lnTo>
                  <a:lnTo>
                    <a:pt x="1924392" y="598335"/>
                  </a:lnTo>
                  <a:lnTo>
                    <a:pt x="1924443" y="598932"/>
                  </a:lnTo>
                  <a:lnTo>
                    <a:pt x="1924545" y="598932"/>
                  </a:lnTo>
                  <a:lnTo>
                    <a:pt x="1924545" y="598335"/>
                  </a:lnTo>
                  <a:lnTo>
                    <a:pt x="1924735" y="598335"/>
                  </a:lnTo>
                  <a:lnTo>
                    <a:pt x="1924735" y="598932"/>
                  </a:lnTo>
                  <a:lnTo>
                    <a:pt x="1924888" y="598932"/>
                  </a:lnTo>
                  <a:lnTo>
                    <a:pt x="1924938" y="598335"/>
                  </a:lnTo>
                  <a:lnTo>
                    <a:pt x="1925129" y="598335"/>
                  </a:lnTo>
                  <a:lnTo>
                    <a:pt x="1925180" y="598932"/>
                  </a:lnTo>
                  <a:lnTo>
                    <a:pt x="1925180" y="598335"/>
                  </a:lnTo>
                  <a:lnTo>
                    <a:pt x="1925231" y="598932"/>
                  </a:lnTo>
                  <a:lnTo>
                    <a:pt x="1925231" y="598335"/>
                  </a:lnTo>
                  <a:lnTo>
                    <a:pt x="1925332" y="598335"/>
                  </a:lnTo>
                  <a:lnTo>
                    <a:pt x="1925383" y="598932"/>
                  </a:lnTo>
                  <a:lnTo>
                    <a:pt x="1925383" y="598335"/>
                  </a:lnTo>
                  <a:lnTo>
                    <a:pt x="1925434" y="598932"/>
                  </a:lnTo>
                  <a:lnTo>
                    <a:pt x="1925434" y="598335"/>
                  </a:lnTo>
                  <a:lnTo>
                    <a:pt x="1925878" y="598335"/>
                  </a:lnTo>
                  <a:lnTo>
                    <a:pt x="1925980" y="598932"/>
                  </a:lnTo>
                  <a:lnTo>
                    <a:pt x="1926081" y="598932"/>
                  </a:lnTo>
                  <a:lnTo>
                    <a:pt x="1926132" y="598335"/>
                  </a:lnTo>
                  <a:lnTo>
                    <a:pt x="1926272" y="598335"/>
                  </a:lnTo>
                  <a:lnTo>
                    <a:pt x="1926272" y="598932"/>
                  </a:lnTo>
                  <a:lnTo>
                    <a:pt x="1926323" y="598335"/>
                  </a:lnTo>
                  <a:lnTo>
                    <a:pt x="1926678" y="598335"/>
                  </a:lnTo>
                  <a:lnTo>
                    <a:pt x="1926716" y="598932"/>
                  </a:lnTo>
                  <a:lnTo>
                    <a:pt x="1926767" y="598335"/>
                  </a:lnTo>
                  <a:lnTo>
                    <a:pt x="1927466" y="598335"/>
                  </a:lnTo>
                  <a:lnTo>
                    <a:pt x="1927466" y="597649"/>
                  </a:lnTo>
                  <a:lnTo>
                    <a:pt x="1927567" y="597649"/>
                  </a:lnTo>
                  <a:lnTo>
                    <a:pt x="1927567" y="598335"/>
                  </a:lnTo>
                  <a:lnTo>
                    <a:pt x="1927860" y="598335"/>
                  </a:lnTo>
                  <a:lnTo>
                    <a:pt x="1927860" y="598932"/>
                  </a:lnTo>
                  <a:lnTo>
                    <a:pt x="1927910" y="598335"/>
                  </a:lnTo>
                  <a:lnTo>
                    <a:pt x="1928304" y="598335"/>
                  </a:lnTo>
                  <a:lnTo>
                    <a:pt x="1928304" y="598932"/>
                  </a:lnTo>
                  <a:lnTo>
                    <a:pt x="1928355" y="598335"/>
                  </a:lnTo>
                  <a:lnTo>
                    <a:pt x="1928558" y="598335"/>
                  </a:lnTo>
                  <a:lnTo>
                    <a:pt x="1928558" y="598932"/>
                  </a:lnTo>
                  <a:lnTo>
                    <a:pt x="1928710" y="598932"/>
                  </a:lnTo>
                  <a:lnTo>
                    <a:pt x="1928761" y="598335"/>
                  </a:lnTo>
                  <a:lnTo>
                    <a:pt x="1928850" y="598335"/>
                  </a:lnTo>
                  <a:lnTo>
                    <a:pt x="1928850" y="598932"/>
                  </a:lnTo>
                  <a:lnTo>
                    <a:pt x="1928952" y="598932"/>
                  </a:lnTo>
                  <a:lnTo>
                    <a:pt x="1929003" y="598335"/>
                  </a:lnTo>
                  <a:lnTo>
                    <a:pt x="1929256" y="598335"/>
                  </a:lnTo>
                  <a:lnTo>
                    <a:pt x="1929307" y="598932"/>
                  </a:lnTo>
                  <a:lnTo>
                    <a:pt x="1929396" y="598335"/>
                  </a:lnTo>
                  <a:lnTo>
                    <a:pt x="1929447" y="598335"/>
                  </a:lnTo>
                  <a:lnTo>
                    <a:pt x="1929498" y="598932"/>
                  </a:lnTo>
                  <a:lnTo>
                    <a:pt x="1929650" y="598932"/>
                  </a:lnTo>
                  <a:lnTo>
                    <a:pt x="1929650" y="598335"/>
                  </a:lnTo>
                  <a:lnTo>
                    <a:pt x="1929752" y="598335"/>
                  </a:lnTo>
                  <a:lnTo>
                    <a:pt x="1929752" y="598932"/>
                  </a:lnTo>
                  <a:lnTo>
                    <a:pt x="1929853" y="598932"/>
                  </a:lnTo>
                  <a:lnTo>
                    <a:pt x="1929891" y="598335"/>
                  </a:lnTo>
                  <a:lnTo>
                    <a:pt x="1930844" y="598335"/>
                  </a:lnTo>
                  <a:lnTo>
                    <a:pt x="1930844" y="597649"/>
                  </a:lnTo>
                  <a:lnTo>
                    <a:pt x="1930895" y="598335"/>
                  </a:lnTo>
                  <a:lnTo>
                    <a:pt x="1931238" y="598335"/>
                  </a:lnTo>
                  <a:lnTo>
                    <a:pt x="1931288" y="598932"/>
                  </a:lnTo>
                  <a:lnTo>
                    <a:pt x="1931288" y="598335"/>
                  </a:lnTo>
                  <a:lnTo>
                    <a:pt x="1931682" y="598335"/>
                  </a:lnTo>
                  <a:lnTo>
                    <a:pt x="1931733" y="598932"/>
                  </a:lnTo>
                  <a:lnTo>
                    <a:pt x="1931784" y="598932"/>
                  </a:lnTo>
                  <a:lnTo>
                    <a:pt x="1931784" y="598335"/>
                  </a:lnTo>
                  <a:lnTo>
                    <a:pt x="1931885" y="598335"/>
                  </a:lnTo>
                  <a:lnTo>
                    <a:pt x="1931885" y="598932"/>
                  </a:lnTo>
                  <a:lnTo>
                    <a:pt x="1931987" y="598932"/>
                  </a:lnTo>
                  <a:lnTo>
                    <a:pt x="1932025" y="598335"/>
                  </a:lnTo>
                  <a:lnTo>
                    <a:pt x="1932025" y="598932"/>
                  </a:lnTo>
                  <a:lnTo>
                    <a:pt x="1932127" y="598335"/>
                  </a:lnTo>
                  <a:lnTo>
                    <a:pt x="1932178" y="598335"/>
                  </a:lnTo>
                  <a:lnTo>
                    <a:pt x="1932228" y="598932"/>
                  </a:lnTo>
                  <a:lnTo>
                    <a:pt x="1932330" y="598932"/>
                  </a:lnTo>
                  <a:lnTo>
                    <a:pt x="1932381" y="598335"/>
                  </a:lnTo>
                  <a:lnTo>
                    <a:pt x="1932482" y="598335"/>
                  </a:lnTo>
                  <a:lnTo>
                    <a:pt x="1932482" y="598932"/>
                  </a:lnTo>
                  <a:lnTo>
                    <a:pt x="1932571" y="598335"/>
                  </a:lnTo>
                  <a:lnTo>
                    <a:pt x="1932622" y="598335"/>
                  </a:lnTo>
                  <a:lnTo>
                    <a:pt x="1932673" y="598932"/>
                  </a:lnTo>
                  <a:lnTo>
                    <a:pt x="1932673" y="598335"/>
                  </a:lnTo>
                  <a:lnTo>
                    <a:pt x="1932825" y="598335"/>
                  </a:lnTo>
                  <a:lnTo>
                    <a:pt x="1932876" y="598932"/>
                  </a:lnTo>
                  <a:lnTo>
                    <a:pt x="1933028" y="598932"/>
                  </a:lnTo>
                  <a:lnTo>
                    <a:pt x="1933066" y="598335"/>
                  </a:lnTo>
                  <a:lnTo>
                    <a:pt x="1933321" y="598335"/>
                  </a:lnTo>
                  <a:lnTo>
                    <a:pt x="1933371" y="598932"/>
                  </a:lnTo>
                  <a:lnTo>
                    <a:pt x="1933371" y="598335"/>
                  </a:lnTo>
                  <a:lnTo>
                    <a:pt x="1933714" y="598335"/>
                  </a:lnTo>
                  <a:lnTo>
                    <a:pt x="1933714" y="598932"/>
                  </a:lnTo>
                  <a:lnTo>
                    <a:pt x="1934070" y="598932"/>
                  </a:lnTo>
                  <a:lnTo>
                    <a:pt x="1934070" y="598335"/>
                  </a:lnTo>
                  <a:lnTo>
                    <a:pt x="1934159" y="598932"/>
                  </a:lnTo>
                  <a:lnTo>
                    <a:pt x="1934210" y="598932"/>
                  </a:lnTo>
                  <a:lnTo>
                    <a:pt x="1934210" y="598335"/>
                  </a:lnTo>
                  <a:lnTo>
                    <a:pt x="1934311" y="598335"/>
                  </a:lnTo>
                  <a:lnTo>
                    <a:pt x="1934311" y="598932"/>
                  </a:lnTo>
                  <a:lnTo>
                    <a:pt x="1934413" y="598335"/>
                  </a:lnTo>
                  <a:lnTo>
                    <a:pt x="1934514" y="598335"/>
                  </a:lnTo>
                  <a:lnTo>
                    <a:pt x="1934514" y="598932"/>
                  </a:lnTo>
                  <a:lnTo>
                    <a:pt x="1934616" y="598932"/>
                  </a:lnTo>
                  <a:lnTo>
                    <a:pt x="1934616" y="598335"/>
                  </a:lnTo>
                  <a:lnTo>
                    <a:pt x="1934654" y="598335"/>
                  </a:lnTo>
                  <a:lnTo>
                    <a:pt x="1934705" y="598932"/>
                  </a:lnTo>
                  <a:lnTo>
                    <a:pt x="1934908" y="598932"/>
                  </a:lnTo>
                  <a:lnTo>
                    <a:pt x="1934959" y="599580"/>
                  </a:lnTo>
                  <a:lnTo>
                    <a:pt x="1934959" y="598932"/>
                  </a:lnTo>
                  <a:lnTo>
                    <a:pt x="1935200" y="598932"/>
                  </a:lnTo>
                  <a:lnTo>
                    <a:pt x="1935200" y="598335"/>
                  </a:lnTo>
                  <a:lnTo>
                    <a:pt x="1935302" y="598335"/>
                  </a:lnTo>
                  <a:lnTo>
                    <a:pt x="1935353" y="598932"/>
                  </a:lnTo>
                  <a:lnTo>
                    <a:pt x="1935403" y="598932"/>
                  </a:lnTo>
                  <a:lnTo>
                    <a:pt x="1935403" y="598335"/>
                  </a:lnTo>
                  <a:lnTo>
                    <a:pt x="1935606" y="598335"/>
                  </a:lnTo>
                  <a:lnTo>
                    <a:pt x="1935657" y="598932"/>
                  </a:lnTo>
                  <a:lnTo>
                    <a:pt x="1935746" y="598932"/>
                  </a:lnTo>
                  <a:lnTo>
                    <a:pt x="1935797" y="598335"/>
                  </a:lnTo>
                  <a:lnTo>
                    <a:pt x="1935848" y="598335"/>
                  </a:lnTo>
                  <a:lnTo>
                    <a:pt x="1935899" y="598932"/>
                  </a:lnTo>
                  <a:lnTo>
                    <a:pt x="1936051" y="598932"/>
                  </a:lnTo>
                  <a:lnTo>
                    <a:pt x="1936102" y="598335"/>
                  </a:lnTo>
                  <a:lnTo>
                    <a:pt x="1936102" y="598932"/>
                  </a:lnTo>
                  <a:lnTo>
                    <a:pt x="1936991" y="598932"/>
                  </a:lnTo>
                  <a:lnTo>
                    <a:pt x="1937092" y="599580"/>
                  </a:lnTo>
                  <a:lnTo>
                    <a:pt x="1937092" y="598932"/>
                  </a:lnTo>
                  <a:lnTo>
                    <a:pt x="1937194" y="598932"/>
                  </a:lnTo>
                  <a:lnTo>
                    <a:pt x="1937194" y="599580"/>
                  </a:lnTo>
                  <a:lnTo>
                    <a:pt x="1937245" y="598932"/>
                  </a:lnTo>
                  <a:lnTo>
                    <a:pt x="1937385" y="598932"/>
                  </a:lnTo>
                  <a:lnTo>
                    <a:pt x="1937435" y="599580"/>
                  </a:lnTo>
                  <a:lnTo>
                    <a:pt x="1937486" y="598932"/>
                  </a:lnTo>
                  <a:lnTo>
                    <a:pt x="1937588" y="599580"/>
                  </a:lnTo>
                  <a:lnTo>
                    <a:pt x="1937588" y="598932"/>
                  </a:lnTo>
                  <a:lnTo>
                    <a:pt x="1937880" y="598932"/>
                  </a:lnTo>
                  <a:lnTo>
                    <a:pt x="1937931" y="599580"/>
                  </a:lnTo>
                  <a:lnTo>
                    <a:pt x="1937931" y="598932"/>
                  </a:lnTo>
                  <a:lnTo>
                    <a:pt x="1938235" y="598932"/>
                  </a:lnTo>
                  <a:lnTo>
                    <a:pt x="1938286" y="599580"/>
                  </a:lnTo>
                  <a:lnTo>
                    <a:pt x="1938286" y="598932"/>
                  </a:lnTo>
                  <a:lnTo>
                    <a:pt x="1938337" y="599580"/>
                  </a:lnTo>
                  <a:lnTo>
                    <a:pt x="1938375" y="598932"/>
                  </a:lnTo>
                  <a:lnTo>
                    <a:pt x="1939023" y="598932"/>
                  </a:lnTo>
                  <a:lnTo>
                    <a:pt x="1939023" y="599580"/>
                  </a:lnTo>
                  <a:lnTo>
                    <a:pt x="1939074" y="598932"/>
                  </a:lnTo>
                  <a:lnTo>
                    <a:pt x="1939963" y="598932"/>
                  </a:lnTo>
                  <a:lnTo>
                    <a:pt x="1939963" y="599580"/>
                  </a:lnTo>
                  <a:lnTo>
                    <a:pt x="1940115" y="599580"/>
                  </a:lnTo>
                  <a:lnTo>
                    <a:pt x="1940115" y="598932"/>
                  </a:lnTo>
                  <a:lnTo>
                    <a:pt x="1940267" y="598932"/>
                  </a:lnTo>
                  <a:lnTo>
                    <a:pt x="1940318" y="599580"/>
                  </a:lnTo>
                  <a:lnTo>
                    <a:pt x="1940318" y="598932"/>
                  </a:lnTo>
                  <a:lnTo>
                    <a:pt x="1940610" y="598932"/>
                  </a:lnTo>
                  <a:lnTo>
                    <a:pt x="1940610" y="599580"/>
                  </a:lnTo>
                  <a:lnTo>
                    <a:pt x="1940763" y="599580"/>
                  </a:lnTo>
                  <a:lnTo>
                    <a:pt x="1940763" y="598932"/>
                  </a:lnTo>
                  <a:lnTo>
                    <a:pt x="1941004" y="598932"/>
                  </a:lnTo>
                  <a:lnTo>
                    <a:pt x="1941004" y="599580"/>
                  </a:lnTo>
                  <a:lnTo>
                    <a:pt x="1941055" y="598932"/>
                  </a:lnTo>
                  <a:lnTo>
                    <a:pt x="1941207" y="598932"/>
                  </a:lnTo>
                  <a:lnTo>
                    <a:pt x="1941258" y="599580"/>
                  </a:lnTo>
                  <a:lnTo>
                    <a:pt x="1941309" y="599580"/>
                  </a:lnTo>
                  <a:lnTo>
                    <a:pt x="1941309" y="598932"/>
                  </a:lnTo>
                  <a:lnTo>
                    <a:pt x="1942147" y="598932"/>
                  </a:lnTo>
                  <a:lnTo>
                    <a:pt x="1942198" y="599580"/>
                  </a:lnTo>
                  <a:lnTo>
                    <a:pt x="1942249" y="598932"/>
                  </a:lnTo>
                  <a:lnTo>
                    <a:pt x="1942401" y="598932"/>
                  </a:lnTo>
                  <a:lnTo>
                    <a:pt x="1942452" y="599580"/>
                  </a:lnTo>
                  <a:lnTo>
                    <a:pt x="1942452" y="598932"/>
                  </a:lnTo>
                  <a:lnTo>
                    <a:pt x="1942553" y="599580"/>
                  </a:lnTo>
                  <a:lnTo>
                    <a:pt x="1942693" y="599580"/>
                  </a:lnTo>
                  <a:lnTo>
                    <a:pt x="1942693" y="598932"/>
                  </a:lnTo>
                  <a:lnTo>
                    <a:pt x="1942795" y="599580"/>
                  </a:lnTo>
                  <a:lnTo>
                    <a:pt x="1942795" y="598932"/>
                  </a:lnTo>
                  <a:lnTo>
                    <a:pt x="1943049" y="598932"/>
                  </a:lnTo>
                  <a:lnTo>
                    <a:pt x="1943049" y="598335"/>
                  </a:lnTo>
                  <a:lnTo>
                    <a:pt x="1943100" y="598335"/>
                  </a:lnTo>
                  <a:lnTo>
                    <a:pt x="1943100" y="598932"/>
                  </a:lnTo>
                  <a:lnTo>
                    <a:pt x="1943138" y="598932"/>
                  </a:lnTo>
                  <a:lnTo>
                    <a:pt x="1943138" y="599580"/>
                  </a:lnTo>
                  <a:lnTo>
                    <a:pt x="1943239" y="598932"/>
                  </a:lnTo>
                  <a:lnTo>
                    <a:pt x="1943290" y="598932"/>
                  </a:lnTo>
                  <a:lnTo>
                    <a:pt x="1943341" y="599580"/>
                  </a:lnTo>
                  <a:lnTo>
                    <a:pt x="1943442" y="598932"/>
                  </a:lnTo>
                  <a:lnTo>
                    <a:pt x="1944636" y="598932"/>
                  </a:lnTo>
                  <a:lnTo>
                    <a:pt x="1944636" y="599580"/>
                  </a:lnTo>
                  <a:lnTo>
                    <a:pt x="1944687" y="599580"/>
                  </a:lnTo>
                  <a:lnTo>
                    <a:pt x="1944725" y="598932"/>
                  </a:lnTo>
                  <a:lnTo>
                    <a:pt x="1945030" y="598932"/>
                  </a:lnTo>
                  <a:lnTo>
                    <a:pt x="1945081" y="599580"/>
                  </a:lnTo>
                  <a:lnTo>
                    <a:pt x="1945322" y="599580"/>
                  </a:lnTo>
                  <a:lnTo>
                    <a:pt x="1945373" y="598932"/>
                  </a:lnTo>
                  <a:lnTo>
                    <a:pt x="1945576" y="598932"/>
                  </a:lnTo>
                  <a:lnTo>
                    <a:pt x="1945576" y="599580"/>
                  </a:lnTo>
                  <a:lnTo>
                    <a:pt x="1945728" y="599580"/>
                  </a:lnTo>
                  <a:lnTo>
                    <a:pt x="1945766" y="598932"/>
                  </a:lnTo>
                  <a:lnTo>
                    <a:pt x="1946224" y="598932"/>
                  </a:lnTo>
                  <a:lnTo>
                    <a:pt x="1946275" y="599580"/>
                  </a:lnTo>
                  <a:lnTo>
                    <a:pt x="1946313" y="598932"/>
                  </a:lnTo>
                  <a:lnTo>
                    <a:pt x="1946414" y="598932"/>
                  </a:lnTo>
                  <a:lnTo>
                    <a:pt x="1946414" y="598335"/>
                  </a:lnTo>
                  <a:lnTo>
                    <a:pt x="1946465" y="598335"/>
                  </a:lnTo>
                  <a:lnTo>
                    <a:pt x="1946465" y="598932"/>
                  </a:lnTo>
                  <a:lnTo>
                    <a:pt x="1947316" y="598932"/>
                  </a:lnTo>
                  <a:lnTo>
                    <a:pt x="1947316" y="599580"/>
                  </a:lnTo>
                  <a:lnTo>
                    <a:pt x="1947354" y="599580"/>
                  </a:lnTo>
                  <a:lnTo>
                    <a:pt x="1947405" y="598932"/>
                  </a:lnTo>
                  <a:lnTo>
                    <a:pt x="1948002" y="598932"/>
                  </a:lnTo>
                  <a:lnTo>
                    <a:pt x="1948002" y="599580"/>
                  </a:lnTo>
                  <a:lnTo>
                    <a:pt x="1948053" y="598932"/>
                  </a:lnTo>
                  <a:lnTo>
                    <a:pt x="1948103" y="598932"/>
                  </a:lnTo>
                  <a:lnTo>
                    <a:pt x="1948205" y="598335"/>
                  </a:lnTo>
                  <a:lnTo>
                    <a:pt x="1948256" y="598932"/>
                  </a:lnTo>
                  <a:lnTo>
                    <a:pt x="1948306" y="598932"/>
                  </a:lnTo>
                  <a:lnTo>
                    <a:pt x="1948306" y="599580"/>
                  </a:lnTo>
                  <a:lnTo>
                    <a:pt x="1948357" y="599580"/>
                  </a:lnTo>
                  <a:lnTo>
                    <a:pt x="1948446" y="598932"/>
                  </a:lnTo>
                  <a:lnTo>
                    <a:pt x="1948446" y="599580"/>
                  </a:lnTo>
                  <a:lnTo>
                    <a:pt x="1948497" y="599580"/>
                  </a:lnTo>
                  <a:lnTo>
                    <a:pt x="1948497" y="598932"/>
                  </a:lnTo>
                  <a:lnTo>
                    <a:pt x="1949691" y="598932"/>
                  </a:lnTo>
                  <a:lnTo>
                    <a:pt x="1949691" y="599580"/>
                  </a:lnTo>
                  <a:lnTo>
                    <a:pt x="1949894" y="599580"/>
                  </a:lnTo>
                  <a:lnTo>
                    <a:pt x="1949945" y="598932"/>
                  </a:lnTo>
                  <a:lnTo>
                    <a:pt x="1950288" y="598932"/>
                  </a:lnTo>
                  <a:lnTo>
                    <a:pt x="1950288" y="599580"/>
                  </a:lnTo>
                  <a:lnTo>
                    <a:pt x="1950338" y="598932"/>
                  </a:lnTo>
                  <a:lnTo>
                    <a:pt x="1950732" y="598932"/>
                  </a:lnTo>
                  <a:lnTo>
                    <a:pt x="1950783" y="599580"/>
                  </a:lnTo>
                  <a:lnTo>
                    <a:pt x="1950834" y="599580"/>
                  </a:lnTo>
                  <a:lnTo>
                    <a:pt x="1950935" y="598932"/>
                  </a:lnTo>
                  <a:lnTo>
                    <a:pt x="1951228" y="598932"/>
                  </a:lnTo>
                  <a:lnTo>
                    <a:pt x="1951278" y="598335"/>
                  </a:lnTo>
                  <a:lnTo>
                    <a:pt x="1951278" y="598932"/>
                  </a:lnTo>
                  <a:lnTo>
                    <a:pt x="1951672" y="598932"/>
                  </a:lnTo>
                  <a:lnTo>
                    <a:pt x="1951672" y="599580"/>
                  </a:lnTo>
                  <a:lnTo>
                    <a:pt x="1951723" y="598932"/>
                  </a:lnTo>
                  <a:lnTo>
                    <a:pt x="1951875" y="598932"/>
                  </a:lnTo>
                  <a:lnTo>
                    <a:pt x="1951926" y="599580"/>
                  </a:lnTo>
                  <a:lnTo>
                    <a:pt x="1951926" y="598932"/>
                  </a:lnTo>
                  <a:lnTo>
                    <a:pt x="1952078" y="598932"/>
                  </a:lnTo>
                  <a:lnTo>
                    <a:pt x="1952116" y="599580"/>
                  </a:lnTo>
                  <a:lnTo>
                    <a:pt x="1952116" y="598932"/>
                  </a:lnTo>
                  <a:lnTo>
                    <a:pt x="1952218" y="598932"/>
                  </a:lnTo>
                  <a:lnTo>
                    <a:pt x="1952218" y="599580"/>
                  </a:lnTo>
                  <a:lnTo>
                    <a:pt x="1952421" y="599580"/>
                  </a:lnTo>
                  <a:lnTo>
                    <a:pt x="1952421" y="598932"/>
                  </a:lnTo>
                  <a:lnTo>
                    <a:pt x="1952523" y="598932"/>
                  </a:lnTo>
                  <a:lnTo>
                    <a:pt x="1952523" y="599580"/>
                  </a:lnTo>
                  <a:lnTo>
                    <a:pt x="1952663" y="599580"/>
                  </a:lnTo>
                  <a:lnTo>
                    <a:pt x="1952663" y="598932"/>
                  </a:lnTo>
                  <a:lnTo>
                    <a:pt x="1953069" y="598932"/>
                  </a:lnTo>
                  <a:lnTo>
                    <a:pt x="1953069" y="599580"/>
                  </a:lnTo>
                  <a:lnTo>
                    <a:pt x="1953120" y="599580"/>
                  </a:lnTo>
                  <a:lnTo>
                    <a:pt x="1953120" y="598932"/>
                  </a:lnTo>
                  <a:lnTo>
                    <a:pt x="1953310" y="598932"/>
                  </a:lnTo>
                  <a:lnTo>
                    <a:pt x="1953310" y="599580"/>
                  </a:lnTo>
                  <a:lnTo>
                    <a:pt x="1953361" y="598932"/>
                  </a:lnTo>
                  <a:lnTo>
                    <a:pt x="1953513" y="598932"/>
                  </a:lnTo>
                  <a:lnTo>
                    <a:pt x="1953564" y="599580"/>
                  </a:lnTo>
                  <a:lnTo>
                    <a:pt x="1953755" y="599580"/>
                  </a:lnTo>
                  <a:lnTo>
                    <a:pt x="1953806" y="598932"/>
                  </a:lnTo>
                  <a:lnTo>
                    <a:pt x="1954110" y="598932"/>
                  </a:lnTo>
                  <a:lnTo>
                    <a:pt x="1954161" y="599580"/>
                  </a:lnTo>
                  <a:lnTo>
                    <a:pt x="1954250" y="599580"/>
                  </a:lnTo>
                  <a:lnTo>
                    <a:pt x="1954352" y="598932"/>
                  </a:lnTo>
                  <a:lnTo>
                    <a:pt x="1954898" y="598932"/>
                  </a:lnTo>
                  <a:lnTo>
                    <a:pt x="1954949" y="599580"/>
                  </a:lnTo>
                  <a:lnTo>
                    <a:pt x="1955050" y="598932"/>
                  </a:lnTo>
                  <a:lnTo>
                    <a:pt x="1955101" y="598932"/>
                  </a:lnTo>
                  <a:lnTo>
                    <a:pt x="1955152" y="598335"/>
                  </a:lnTo>
                  <a:lnTo>
                    <a:pt x="1955152" y="598932"/>
                  </a:lnTo>
                  <a:lnTo>
                    <a:pt x="1955253" y="598932"/>
                  </a:lnTo>
                  <a:lnTo>
                    <a:pt x="1955291" y="599580"/>
                  </a:lnTo>
                  <a:lnTo>
                    <a:pt x="1955596" y="599580"/>
                  </a:lnTo>
                  <a:lnTo>
                    <a:pt x="1955698" y="598932"/>
                  </a:lnTo>
                  <a:lnTo>
                    <a:pt x="1955838" y="598932"/>
                  </a:lnTo>
                  <a:lnTo>
                    <a:pt x="1955939" y="599580"/>
                  </a:lnTo>
                  <a:lnTo>
                    <a:pt x="1956142" y="599580"/>
                  </a:lnTo>
                  <a:lnTo>
                    <a:pt x="1956193" y="598932"/>
                  </a:lnTo>
                  <a:lnTo>
                    <a:pt x="1956688" y="598932"/>
                  </a:lnTo>
                  <a:lnTo>
                    <a:pt x="1956688" y="599580"/>
                  </a:lnTo>
                  <a:lnTo>
                    <a:pt x="1956739" y="598932"/>
                  </a:lnTo>
                  <a:lnTo>
                    <a:pt x="1956841" y="599580"/>
                  </a:lnTo>
                  <a:lnTo>
                    <a:pt x="1957082" y="599580"/>
                  </a:lnTo>
                  <a:lnTo>
                    <a:pt x="1957133" y="598932"/>
                  </a:lnTo>
                  <a:lnTo>
                    <a:pt x="1957133" y="599580"/>
                  </a:lnTo>
                  <a:lnTo>
                    <a:pt x="1957285" y="599580"/>
                  </a:lnTo>
                  <a:lnTo>
                    <a:pt x="1957336" y="598932"/>
                  </a:lnTo>
                  <a:lnTo>
                    <a:pt x="1957425" y="598932"/>
                  </a:lnTo>
                  <a:lnTo>
                    <a:pt x="1957527" y="599580"/>
                  </a:lnTo>
                  <a:lnTo>
                    <a:pt x="1957628" y="599580"/>
                  </a:lnTo>
                  <a:lnTo>
                    <a:pt x="1957730" y="598932"/>
                  </a:lnTo>
                  <a:lnTo>
                    <a:pt x="1957781" y="599580"/>
                  </a:lnTo>
                  <a:lnTo>
                    <a:pt x="1957781" y="598932"/>
                  </a:lnTo>
                  <a:lnTo>
                    <a:pt x="1957971" y="598932"/>
                  </a:lnTo>
                  <a:lnTo>
                    <a:pt x="1957971" y="599580"/>
                  </a:lnTo>
                  <a:lnTo>
                    <a:pt x="1958022" y="598932"/>
                  </a:lnTo>
                  <a:lnTo>
                    <a:pt x="1958276" y="598932"/>
                  </a:lnTo>
                  <a:lnTo>
                    <a:pt x="1958276" y="599580"/>
                  </a:lnTo>
                  <a:lnTo>
                    <a:pt x="1958327" y="599580"/>
                  </a:lnTo>
                  <a:lnTo>
                    <a:pt x="1958327" y="598932"/>
                  </a:lnTo>
                  <a:lnTo>
                    <a:pt x="1958568" y="598932"/>
                  </a:lnTo>
                  <a:lnTo>
                    <a:pt x="1958670" y="599580"/>
                  </a:lnTo>
                  <a:lnTo>
                    <a:pt x="1958670" y="598932"/>
                  </a:lnTo>
                  <a:lnTo>
                    <a:pt x="1959013" y="598932"/>
                  </a:lnTo>
                  <a:lnTo>
                    <a:pt x="1959114" y="598335"/>
                  </a:lnTo>
                  <a:lnTo>
                    <a:pt x="1959165" y="598932"/>
                  </a:lnTo>
                  <a:lnTo>
                    <a:pt x="1959419" y="598932"/>
                  </a:lnTo>
                  <a:lnTo>
                    <a:pt x="1959470" y="599580"/>
                  </a:lnTo>
                  <a:lnTo>
                    <a:pt x="1959470" y="598932"/>
                  </a:lnTo>
                  <a:lnTo>
                    <a:pt x="1959813" y="598932"/>
                  </a:lnTo>
                  <a:lnTo>
                    <a:pt x="1959863" y="599580"/>
                  </a:lnTo>
                  <a:lnTo>
                    <a:pt x="1960016" y="599580"/>
                  </a:lnTo>
                  <a:lnTo>
                    <a:pt x="1960054" y="598932"/>
                  </a:lnTo>
                  <a:lnTo>
                    <a:pt x="1960105" y="599580"/>
                  </a:lnTo>
                  <a:lnTo>
                    <a:pt x="1960105" y="598932"/>
                  </a:lnTo>
                  <a:lnTo>
                    <a:pt x="1960308" y="598932"/>
                  </a:lnTo>
                  <a:lnTo>
                    <a:pt x="1960359" y="599580"/>
                  </a:lnTo>
                  <a:lnTo>
                    <a:pt x="1960359" y="598932"/>
                  </a:lnTo>
                  <a:lnTo>
                    <a:pt x="1960460" y="599580"/>
                  </a:lnTo>
                  <a:lnTo>
                    <a:pt x="1960511" y="598932"/>
                  </a:lnTo>
                  <a:lnTo>
                    <a:pt x="1960600" y="598932"/>
                  </a:lnTo>
                  <a:lnTo>
                    <a:pt x="1960600" y="599580"/>
                  </a:lnTo>
                  <a:lnTo>
                    <a:pt x="1960702" y="599580"/>
                  </a:lnTo>
                  <a:lnTo>
                    <a:pt x="1960702" y="598932"/>
                  </a:lnTo>
                  <a:lnTo>
                    <a:pt x="1960753" y="599580"/>
                  </a:lnTo>
                  <a:lnTo>
                    <a:pt x="1960753" y="598932"/>
                  </a:lnTo>
                  <a:lnTo>
                    <a:pt x="1961006" y="598932"/>
                  </a:lnTo>
                  <a:lnTo>
                    <a:pt x="1961006" y="599580"/>
                  </a:lnTo>
                  <a:lnTo>
                    <a:pt x="1961057" y="598932"/>
                  </a:lnTo>
                  <a:lnTo>
                    <a:pt x="1961248" y="598932"/>
                  </a:lnTo>
                  <a:lnTo>
                    <a:pt x="1961248" y="598335"/>
                  </a:lnTo>
                  <a:lnTo>
                    <a:pt x="1961299" y="598932"/>
                  </a:lnTo>
                  <a:lnTo>
                    <a:pt x="1961299" y="598335"/>
                  </a:lnTo>
                  <a:lnTo>
                    <a:pt x="1961400" y="598932"/>
                  </a:lnTo>
                  <a:lnTo>
                    <a:pt x="1961692" y="598932"/>
                  </a:lnTo>
                  <a:lnTo>
                    <a:pt x="1961692" y="598335"/>
                  </a:lnTo>
                  <a:lnTo>
                    <a:pt x="1961743" y="598335"/>
                  </a:lnTo>
                  <a:lnTo>
                    <a:pt x="1961845" y="598932"/>
                  </a:lnTo>
                  <a:lnTo>
                    <a:pt x="1962048" y="598932"/>
                  </a:lnTo>
                  <a:lnTo>
                    <a:pt x="1962099" y="598335"/>
                  </a:lnTo>
                  <a:lnTo>
                    <a:pt x="1962150" y="598932"/>
                  </a:lnTo>
                  <a:lnTo>
                    <a:pt x="1962340" y="598932"/>
                  </a:lnTo>
                  <a:lnTo>
                    <a:pt x="1962391" y="598335"/>
                  </a:lnTo>
                  <a:lnTo>
                    <a:pt x="1962391" y="598932"/>
                  </a:lnTo>
                  <a:lnTo>
                    <a:pt x="1962492" y="598335"/>
                  </a:lnTo>
                  <a:lnTo>
                    <a:pt x="1962492" y="598932"/>
                  </a:lnTo>
                  <a:lnTo>
                    <a:pt x="1963737" y="598932"/>
                  </a:lnTo>
                  <a:lnTo>
                    <a:pt x="1963737" y="598335"/>
                  </a:lnTo>
                  <a:lnTo>
                    <a:pt x="1963775" y="598932"/>
                  </a:lnTo>
                  <a:lnTo>
                    <a:pt x="1963775" y="598335"/>
                  </a:lnTo>
                  <a:lnTo>
                    <a:pt x="1963877" y="598335"/>
                  </a:lnTo>
                  <a:lnTo>
                    <a:pt x="1963928" y="598932"/>
                  </a:lnTo>
                  <a:lnTo>
                    <a:pt x="1963978" y="598932"/>
                  </a:lnTo>
                  <a:lnTo>
                    <a:pt x="1964080" y="599580"/>
                  </a:lnTo>
                  <a:lnTo>
                    <a:pt x="1964080" y="598932"/>
                  </a:lnTo>
                  <a:lnTo>
                    <a:pt x="1964131" y="598932"/>
                  </a:lnTo>
                  <a:lnTo>
                    <a:pt x="1964131" y="598335"/>
                  </a:lnTo>
                  <a:lnTo>
                    <a:pt x="1964232" y="598335"/>
                  </a:lnTo>
                  <a:lnTo>
                    <a:pt x="1964232" y="598932"/>
                  </a:lnTo>
                  <a:lnTo>
                    <a:pt x="1965020" y="598932"/>
                  </a:lnTo>
                  <a:lnTo>
                    <a:pt x="1965071" y="599580"/>
                  </a:lnTo>
                  <a:lnTo>
                    <a:pt x="1965121" y="598932"/>
                  </a:lnTo>
                  <a:lnTo>
                    <a:pt x="1966061" y="598932"/>
                  </a:lnTo>
                  <a:lnTo>
                    <a:pt x="1966163" y="598335"/>
                  </a:lnTo>
                  <a:lnTo>
                    <a:pt x="1966264" y="598335"/>
                  </a:lnTo>
                  <a:lnTo>
                    <a:pt x="1966366" y="598932"/>
                  </a:lnTo>
                  <a:lnTo>
                    <a:pt x="1966455" y="598932"/>
                  </a:lnTo>
                  <a:lnTo>
                    <a:pt x="1966455" y="598335"/>
                  </a:lnTo>
                  <a:lnTo>
                    <a:pt x="1966810" y="598335"/>
                  </a:lnTo>
                  <a:lnTo>
                    <a:pt x="1966810" y="598932"/>
                  </a:lnTo>
                  <a:lnTo>
                    <a:pt x="1966861" y="598335"/>
                  </a:lnTo>
                  <a:lnTo>
                    <a:pt x="1966950" y="598335"/>
                  </a:lnTo>
                  <a:lnTo>
                    <a:pt x="1966950" y="598932"/>
                  </a:lnTo>
                  <a:lnTo>
                    <a:pt x="1967103" y="598932"/>
                  </a:lnTo>
                  <a:lnTo>
                    <a:pt x="1967103" y="598335"/>
                  </a:lnTo>
                  <a:lnTo>
                    <a:pt x="1967255" y="598335"/>
                  </a:lnTo>
                  <a:lnTo>
                    <a:pt x="1967306" y="598932"/>
                  </a:lnTo>
                  <a:lnTo>
                    <a:pt x="1967750" y="598932"/>
                  </a:lnTo>
                  <a:lnTo>
                    <a:pt x="1967750" y="598335"/>
                  </a:lnTo>
                  <a:lnTo>
                    <a:pt x="1967801" y="598335"/>
                  </a:lnTo>
                  <a:lnTo>
                    <a:pt x="1967852" y="598932"/>
                  </a:lnTo>
                  <a:lnTo>
                    <a:pt x="1968042" y="598932"/>
                  </a:lnTo>
                  <a:lnTo>
                    <a:pt x="1968093" y="598335"/>
                  </a:lnTo>
                  <a:lnTo>
                    <a:pt x="1968195" y="598335"/>
                  </a:lnTo>
                  <a:lnTo>
                    <a:pt x="1968195" y="598932"/>
                  </a:lnTo>
                  <a:lnTo>
                    <a:pt x="1968296" y="598932"/>
                  </a:lnTo>
                  <a:lnTo>
                    <a:pt x="1968398" y="598335"/>
                  </a:lnTo>
                  <a:lnTo>
                    <a:pt x="1968449" y="598932"/>
                  </a:lnTo>
                  <a:lnTo>
                    <a:pt x="1968500" y="598335"/>
                  </a:lnTo>
                  <a:lnTo>
                    <a:pt x="1968500" y="598932"/>
                  </a:lnTo>
                  <a:lnTo>
                    <a:pt x="1968741" y="598932"/>
                  </a:lnTo>
                  <a:lnTo>
                    <a:pt x="1968842" y="598335"/>
                  </a:lnTo>
                  <a:lnTo>
                    <a:pt x="1968842" y="598932"/>
                  </a:lnTo>
                  <a:lnTo>
                    <a:pt x="1968944" y="598932"/>
                  </a:lnTo>
                  <a:lnTo>
                    <a:pt x="1968995" y="598335"/>
                  </a:lnTo>
                  <a:lnTo>
                    <a:pt x="1969185" y="598335"/>
                  </a:lnTo>
                  <a:lnTo>
                    <a:pt x="1969185" y="598932"/>
                  </a:lnTo>
                  <a:lnTo>
                    <a:pt x="1969439" y="598932"/>
                  </a:lnTo>
                  <a:lnTo>
                    <a:pt x="1969439" y="598335"/>
                  </a:lnTo>
                  <a:lnTo>
                    <a:pt x="1969541" y="598335"/>
                  </a:lnTo>
                  <a:lnTo>
                    <a:pt x="1969579" y="598932"/>
                  </a:lnTo>
                  <a:lnTo>
                    <a:pt x="1969884" y="598932"/>
                  </a:lnTo>
                  <a:lnTo>
                    <a:pt x="1969985" y="598335"/>
                  </a:lnTo>
                  <a:lnTo>
                    <a:pt x="1970036" y="598335"/>
                  </a:lnTo>
                  <a:lnTo>
                    <a:pt x="1970087" y="598932"/>
                  </a:lnTo>
                  <a:lnTo>
                    <a:pt x="1970087" y="598335"/>
                  </a:lnTo>
                  <a:lnTo>
                    <a:pt x="1970125" y="598932"/>
                  </a:lnTo>
                  <a:lnTo>
                    <a:pt x="1970328" y="598932"/>
                  </a:lnTo>
                  <a:lnTo>
                    <a:pt x="1970430" y="598335"/>
                  </a:lnTo>
                  <a:lnTo>
                    <a:pt x="1970824" y="598335"/>
                  </a:lnTo>
                  <a:lnTo>
                    <a:pt x="1970925" y="598932"/>
                  </a:lnTo>
                  <a:lnTo>
                    <a:pt x="1970976" y="598932"/>
                  </a:lnTo>
                  <a:lnTo>
                    <a:pt x="1971027" y="598335"/>
                  </a:lnTo>
                  <a:lnTo>
                    <a:pt x="1971217" y="598335"/>
                  </a:lnTo>
                  <a:lnTo>
                    <a:pt x="1971217" y="598932"/>
                  </a:lnTo>
                  <a:lnTo>
                    <a:pt x="1971268" y="598335"/>
                  </a:lnTo>
                  <a:lnTo>
                    <a:pt x="1971421" y="598335"/>
                  </a:lnTo>
                  <a:lnTo>
                    <a:pt x="1971421" y="598932"/>
                  </a:lnTo>
                  <a:lnTo>
                    <a:pt x="1971573" y="598932"/>
                  </a:lnTo>
                  <a:lnTo>
                    <a:pt x="1971573" y="598335"/>
                  </a:lnTo>
                  <a:lnTo>
                    <a:pt x="1971916" y="598335"/>
                  </a:lnTo>
                  <a:lnTo>
                    <a:pt x="1972017" y="598932"/>
                  </a:lnTo>
                  <a:lnTo>
                    <a:pt x="1972068" y="598932"/>
                  </a:lnTo>
                  <a:lnTo>
                    <a:pt x="1972119" y="598335"/>
                  </a:lnTo>
                  <a:lnTo>
                    <a:pt x="1972259" y="598335"/>
                  </a:lnTo>
                  <a:lnTo>
                    <a:pt x="1972259" y="598932"/>
                  </a:lnTo>
                  <a:lnTo>
                    <a:pt x="1972310" y="598932"/>
                  </a:lnTo>
                  <a:lnTo>
                    <a:pt x="1972310" y="598335"/>
                  </a:lnTo>
                  <a:lnTo>
                    <a:pt x="1972360" y="598932"/>
                  </a:lnTo>
                  <a:lnTo>
                    <a:pt x="1972411" y="598932"/>
                  </a:lnTo>
                  <a:lnTo>
                    <a:pt x="1972411" y="598335"/>
                  </a:lnTo>
                  <a:lnTo>
                    <a:pt x="1972513" y="598932"/>
                  </a:lnTo>
                  <a:lnTo>
                    <a:pt x="1972513" y="598335"/>
                  </a:lnTo>
                  <a:lnTo>
                    <a:pt x="1972957" y="598335"/>
                  </a:lnTo>
                  <a:lnTo>
                    <a:pt x="1972957" y="598932"/>
                  </a:lnTo>
                  <a:lnTo>
                    <a:pt x="1973008" y="598335"/>
                  </a:lnTo>
                  <a:lnTo>
                    <a:pt x="1973059" y="598335"/>
                  </a:lnTo>
                  <a:lnTo>
                    <a:pt x="1973059" y="598932"/>
                  </a:lnTo>
                  <a:lnTo>
                    <a:pt x="1973211" y="598932"/>
                  </a:lnTo>
                  <a:lnTo>
                    <a:pt x="1973211" y="598335"/>
                  </a:lnTo>
                  <a:lnTo>
                    <a:pt x="1973300" y="598335"/>
                  </a:lnTo>
                  <a:lnTo>
                    <a:pt x="1973402" y="598932"/>
                  </a:lnTo>
                  <a:lnTo>
                    <a:pt x="1973453" y="598335"/>
                  </a:lnTo>
                  <a:lnTo>
                    <a:pt x="1973503" y="598335"/>
                  </a:lnTo>
                  <a:lnTo>
                    <a:pt x="1973605" y="598932"/>
                  </a:lnTo>
                  <a:lnTo>
                    <a:pt x="1973656" y="598335"/>
                  </a:lnTo>
                  <a:lnTo>
                    <a:pt x="1973706" y="598932"/>
                  </a:lnTo>
                  <a:lnTo>
                    <a:pt x="1973846" y="598932"/>
                  </a:lnTo>
                  <a:lnTo>
                    <a:pt x="1973846" y="598335"/>
                  </a:lnTo>
                  <a:lnTo>
                    <a:pt x="1974202" y="598335"/>
                  </a:lnTo>
                  <a:lnTo>
                    <a:pt x="1974303" y="598932"/>
                  </a:lnTo>
                  <a:lnTo>
                    <a:pt x="1974303" y="598335"/>
                  </a:lnTo>
                  <a:lnTo>
                    <a:pt x="1974341" y="598932"/>
                  </a:lnTo>
                  <a:lnTo>
                    <a:pt x="1974392" y="598335"/>
                  </a:lnTo>
                  <a:lnTo>
                    <a:pt x="1975040" y="598335"/>
                  </a:lnTo>
                  <a:lnTo>
                    <a:pt x="1975040" y="598932"/>
                  </a:lnTo>
                  <a:lnTo>
                    <a:pt x="1975091" y="598335"/>
                  </a:lnTo>
                  <a:lnTo>
                    <a:pt x="1975192" y="598335"/>
                  </a:lnTo>
                  <a:lnTo>
                    <a:pt x="1975192" y="598932"/>
                  </a:lnTo>
                  <a:lnTo>
                    <a:pt x="1975243" y="598932"/>
                  </a:lnTo>
                  <a:lnTo>
                    <a:pt x="1975294" y="598335"/>
                  </a:lnTo>
                  <a:lnTo>
                    <a:pt x="1975345" y="598335"/>
                  </a:lnTo>
                  <a:lnTo>
                    <a:pt x="1975434" y="598932"/>
                  </a:lnTo>
                  <a:lnTo>
                    <a:pt x="1975485" y="598335"/>
                  </a:lnTo>
                  <a:lnTo>
                    <a:pt x="1975929" y="598335"/>
                  </a:lnTo>
                  <a:lnTo>
                    <a:pt x="1975980" y="598932"/>
                  </a:lnTo>
                  <a:lnTo>
                    <a:pt x="1976031" y="598932"/>
                  </a:lnTo>
                  <a:lnTo>
                    <a:pt x="1976132" y="598335"/>
                  </a:lnTo>
                  <a:lnTo>
                    <a:pt x="1976335" y="598335"/>
                  </a:lnTo>
                  <a:lnTo>
                    <a:pt x="1976386" y="598932"/>
                  </a:lnTo>
                  <a:lnTo>
                    <a:pt x="1976437" y="598932"/>
                  </a:lnTo>
                  <a:lnTo>
                    <a:pt x="1976437" y="598335"/>
                  </a:lnTo>
                  <a:lnTo>
                    <a:pt x="1976475" y="598335"/>
                  </a:lnTo>
                  <a:lnTo>
                    <a:pt x="1976577" y="598932"/>
                  </a:lnTo>
                  <a:lnTo>
                    <a:pt x="1976628" y="598932"/>
                  </a:lnTo>
                  <a:lnTo>
                    <a:pt x="1976678" y="598335"/>
                  </a:lnTo>
                  <a:lnTo>
                    <a:pt x="1977072" y="598335"/>
                  </a:lnTo>
                  <a:lnTo>
                    <a:pt x="1977072" y="597649"/>
                  </a:lnTo>
                  <a:lnTo>
                    <a:pt x="1977123" y="598335"/>
                  </a:lnTo>
                  <a:lnTo>
                    <a:pt x="1977174" y="598335"/>
                  </a:lnTo>
                  <a:lnTo>
                    <a:pt x="1977275" y="598932"/>
                  </a:lnTo>
                  <a:lnTo>
                    <a:pt x="1977326" y="598335"/>
                  </a:lnTo>
                  <a:lnTo>
                    <a:pt x="1977567" y="598335"/>
                  </a:lnTo>
                  <a:lnTo>
                    <a:pt x="1977618" y="598932"/>
                  </a:lnTo>
                  <a:lnTo>
                    <a:pt x="1977618" y="598335"/>
                  </a:lnTo>
                  <a:lnTo>
                    <a:pt x="1977720" y="598335"/>
                  </a:lnTo>
                  <a:lnTo>
                    <a:pt x="1977720" y="598932"/>
                  </a:lnTo>
                  <a:lnTo>
                    <a:pt x="1977771" y="598335"/>
                  </a:lnTo>
                  <a:lnTo>
                    <a:pt x="1978418" y="598335"/>
                  </a:lnTo>
                  <a:lnTo>
                    <a:pt x="1978469" y="597649"/>
                  </a:lnTo>
                  <a:lnTo>
                    <a:pt x="1978520" y="598335"/>
                  </a:lnTo>
                  <a:lnTo>
                    <a:pt x="1978710" y="598335"/>
                  </a:lnTo>
                  <a:lnTo>
                    <a:pt x="1978710" y="598932"/>
                  </a:lnTo>
                  <a:lnTo>
                    <a:pt x="1978863" y="598932"/>
                  </a:lnTo>
                  <a:lnTo>
                    <a:pt x="1978863" y="598335"/>
                  </a:lnTo>
                  <a:lnTo>
                    <a:pt x="1978913" y="598335"/>
                  </a:lnTo>
                  <a:lnTo>
                    <a:pt x="1978913" y="597649"/>
                  </a:lnTo>
                  <a:lnTo>
                    <a:pt x="1978964" y="597649"/>
                  </a:lnTo>
                  <a:lnTo>
                    <a:pt x="1978964" y="598335"/>
                  </a:lnTo>
                  <a:lnTo>
                    <a:pt x="1979853" y="598335"/>
                  </a:lnTo>
                  <a:lnTo>
                    <a:pt x="1979955" y="597649"/>
                  </a:lnTo>
                  <a:lnTo>
                    <a:pt x="1980006" y="597649"/>
                  </a:lnTo>
                  <a:lnTo>
                    <a:pt x="1980056" y="598335"/>
                  </a:lnTo>
                  <a:lnTo>
                    <a:pt x="1980107" y="598335"/>
                  </a:lnTo>
                  <a:lnTo>
                    <a:pt x="1980196" y="597649"/>
                  </a:lnTo>
                  <a:lnTo>
                    <a:pt x="1980247" y="597649"/>
                  </a:lnTo>
                  <a:lnTo>
                    <a:pt x="1980247" y="598335"/>
                  </a:lnTo>
                  <a:lnTo>
                    <a:pt x="1980349" y="598335"/>
                  </a:lnTo>
                  <a:lnTo>
                    <a:pt x="1980450" y="598932"/>
                  </a:lnTo>
                  <a:lnTo>
                    <a:pt x="1980501" y="598932"/>
                  </a:lnTo>
                  <a:lnTo>
                    <a:pt x="1980552" y="598335"/>
                  </a:lnTo>
                  <a:lnTo>
                    <a:pt x="1980895" y="598335"/>
                  </a:lnTo>
                  <a:lnTo>
                    <a:pt x="1980946" y="597649"/>
                  </a:lnTo>
                  <a:lnTo>
                    <a:pt x="1980946" y="598335"/>
                  </a:lnTo>
                  <a:lnTo>
                    <a:pt x="1981593" y="598335"/>
                  </a:lnTo>
                  <a:lnTo>
                    <a:pt x="1981593" y="597649"/>
                  </a:lnTo>
                  <a:lnTo>
                    <a:pt x="1981644" y="597649"/>
                  </a:lnTo>
                  <a:lnTo>
                    <a:pt x="1981644" y="598335"/>
                  </a:lnTo>
                  <a:lnTo>
                    <a:pt x="1981695" y="597649"/>
                  </a:lnTo>
                  <a:lnTo>
                    <a:pt x="1981784" y="598335"/>
                  </a:lnTo>
                  <a:lnTo>
                    <a:pt x="1981885" y="598335"/>
                  </a:lnTo>
                  <a:lnTo>
                    <a:pt x="1981936" y="597649"/>
                  </a:lnTo>
                  <a:lnTo>
                    <a:pt x="1982241" y="597649"/>
                  </a:lnTo>
                  <a:lnTo>
                    <a:pt x="1982279" y="598335"/>
                  </a:lnTo>
                  <a:lnTo>
                    <a:pt x="1982330" y="598335"/>
                  </a:lnTo>
                  <a:lnTo>
                    <a:pt x="1982381" y="597649"/>
                  </a:lnTo>
                  <a:lnTo>
                    <a:pt x="1982533" y="597649"/>
                  </a:lnTo>
                  <a:lnTo>
                    <a:pt x="1982533" y="598335"/>
                  </a:lnTo>
                  <a:lnTo>
                    <a:pt x="1982927" y="598335"/>
                  </a:lnTo>
                  <a:lnTo>
                    <a:pt x="1982927" y="597649"/>
                  </a:lnTo>
                  <a:lnTo>
                    <a:pt x="1983028" y="597649"/>
                  </a:lnTo>
                  <a:lnTo>
                    <a:pt x="1983130" y="598335"/>
                  </a:lnTo>
                  <a:lnTo>
                    <a:pt x="1983231" y="598335"/>
                  </a:lnTo>
                  <a:lnTo>
                    <a:pt x="1983231" y="598932"/>
                  </a:lnTo>
                  <a:lnTo>
                    <a:pt x="1983282" y="598932"/>
                  </a:lnTo>
                  <a:lnTo>
                    <a:pt x="1983282" y="598335"/>
                  </a:lnTo>
                  <a:lnTo>
                    <a:pt x="1983727" y="598335"/>
                  </a:lnTo>
                  <a:lnTo>
                    <a:pt x="1983828" y="597649"/>
                  </a:lnTo>
                  <a:lnTo>
                    <a:pt x="1983866" y="598335"/>
                  </a:lnTo>
                  <a:lnTo>
                    <a:pt x="1984070" y="598335"/>
                  </a:lnTo>
                  <a:lnTo>
                    <a:pt x="1984070" y="597649"/>
                  </a:lnTo>
                  <a:lnTo>
                    <a:pt x="1984171" y="597649"/>
                  </a:lnTo>
                  <a:lnTo>
                    <a:pt x="1984273" y="598335"/>
                  </a:lnTo>
                  <a:lnTo>
                    <a:pt x="1984324" y="598335"/>
                  </a:lnTo>
                  <a:lnTo>
                    <a:pt x="1984324" y="597649"/>
                  </a:lnTo>
                  <a:lnTo>
                    <a:pt x="1984375" y="598335"/>
                  </a:lnTo>
                  <a:lnTo>
                    <a:pt x="1984413" y="598335"/>
                  </a:lnTo>
                  <a:lnTo>
                    <a:pt x="1984514" y="597649"/>
                  </a:lnTo>
                  <a:lnTo>
                    <a:pt x="1984616" y="597649"/>
                  </a:lnTo>
                  <a:lnTo>
                    <a:pt x="1984717" y="598335"/>
                  </a:lnTo>
                  <a:lnTo>
                    <a:pt x="1985060" y="598335"/>
                  </a:lnTo>
                  <a:lnTo>
                    <a:pt x="1985060" y="597649"/>
                  </a:lnTo>
                  <a:lnTo>
                    <a:pt x="1985111" y="598335"/>
                  </a:lnTo>
                  <a:lnTo>
                    <a:pt x="1985416" y="598335"/>
                  </a:lnTo>
                  <a:lnTo>
                    <a:pt x="1985454" y="597649"/>
                  </a:lnTo>
                  <a:lnTo>
                    <a:pt x="1985505" y="598335"/>
                  </a:lnTo>
                  <a:lnTo>
                    <a:pt x="1985911" y="598335"/>
                  </a:lnTo>
                  <a:lnTo>
                    <a:pt x="1985962" y="598932"/>
                  </a:lnTo>
                  <a:lnTo>
                    <a:pt x="1986000" y="598932"/>
                  </a:lnTo>
                  <a:lnTo>
                    <a:pt x="1986000" y="598335"/>
                  </a:lnTo>
                  <a:lnTo>
                    <a:pt x="1986305" y="598335"/>
                  </a:lnTo>
                  <a:lnTo>
                    <a:pt x="1986356" y="598932"/>
                  </a:lnTo>
                  <a:lnTo>
                    <a:pt x="1986406" y="598335"/>
                  </a:lnTo>
                  <a:lnTo>
                    <a:pt x="1986902" y="598335"/>
                  </a:lnTo>
                  <a:lnTo>
                    <a:pt x="1987003" y="597649"/>
                  </a:lnTo>
                  <a:lnTo>
                    <a:pt x="1987041" y="598335"/>
                  </a:lnTo>
                  <a:lnTo>
                    <a:pt x="1987041" y="597649"/>
                  </a:lnTo>
                  <a:lnTo>
                    <a:pt x="1987092" y="597649"/>
                  </a:lnTo>
                  <a:lnTo>
                    <a:pt x="1987092" y="598335"/>
                  </a:lnTo>
                  <a:lnTo>
                    <a:pt x="1987143" y="597649"/>
                  </a:lnTo>
                  <a:lnTo>
                    <a:pt x="1987245" y="597649"/>
                  </a:lnTo>
                  <a:lnTo>
                    <a:pt x="1987296" y="598335"/>
                  </a:lnTo>
                  <a:lnTo>
                    <a:pt x="1987499" y="598335"/>
                  </a:lnTo>
                  <a:lnTo>
                    <a:pt x="1987550" y="597649"/>
                  </a:lnTo>
                  <a:lnTo>
                    <a:pt x="1987550" y="598335"/>
                  </a:lnTo>
                  <a:lnTo>
                    <a:pt x="1987588" y="597649"/>
                  </a:lnTo>
                  <a:lnTo>
                    <a:pt x="1987791" y="597649"/>
                  </a:lnTo>
                  <a:lnTo>
                    <a:pt x="1987791" y="598335"/>
                  </a:lnTo>
                  <a:lnTo>
                    <a:pt x="1987892" y="598335"/>
                  </a:lnTo>
                  <a:lnTo>
                    <a:pt x="1987943" y="597649"/>
                  </a:lnTo>
                  <a:lnTo>
                    <a:pt x="1988286" y="597649"/>
                  </a:lnTo>
                  <a:lnTo>
                    <a:pt x="1988286" y="598335"/>
                  </a:lnTo>
                  <a:lnTo>
                    <a:pt x="1988438" y="598335"/>
                  </a:lnTo>
                  <a:lnTo>
                    <a:pt x="1988438" y="597649"/>
                  </a:lnTo>
                  <a:lnTo>
                    <a:pt x="1988591" y="597649"/>
                  </a:lnTo>
                  <a:lnTo>
                    <a:pt x="1988629" y="598335"/>
                  </a:lnTo>
                  <a:lnTo>
                    <a:pt x="1988883" y="598335"/>
                  </a:lnTo>
                  <a:lnTo>
                    <a:pt x="1988883" y="597649"/>
                  </a:lnTo>
                  <a:lnTo>
                    <a:pt x="1988934" y="597649"/>
                  </a:lnTo>
                  <a:lnTo>
                    <a:pt x="1988934" y="598335"/>
                  </a:lnTo>
                  <a:lnTo>
                    <a:pt x="1989277" y="598335"/>
                  </a:lnTo>
                  <a:lnTo>
                    <a:pt x="1989277" y="597649"/>
                  </a:lnTo>
                  <a:lnTo>
                    <a:pt x="1989328" y="597649"/>
                  </a:lnTo>
                  <a:lnTo>
                    <a:pt x="1989378" y="598335"/>
                  </a:lnTo>
                  <a:lnTo>
                    <a:pt x="1989823" y="598335"/>
                  </a:lnTo>
                  <a:lnTo>
                    <a:pt x="1989823" y="597649"/>
                  </a:lnTo>
                  <a:lnTo>
                    <a:pt x="1989975" y="597649"/>
                  </a:lnTo>
                  <a:lnTo>
                    <a:pt x="1989975" y="598335"/>
                  </a:lnTo>
                  <a:lnTo>
                    <a:pt x="1990267" y="598335"/>
                  </a:lnTo>
                  <a:lnTo>
                    <a:pt x="1990267" y="597649"/>
                  </a:lnTo>
                  <a:lnTo>
                    <a:pt x="1990318" y="598335"/>
                  </a:lnTo>
                  <a:lnTo>
                    <a:pt x="1990521" y="598335"/>
                  </a:lnTo>
                  <a:lnTo>
                    <a:pt x="1990521" y="597649"/>
                  </a:lnTo>
                  <a:lnTo>
                    <a:pt x="1990725" y="597649"/>
                  </a:lnTo>
                  <a:lnTo>
                    <a:pt x="1990725" y="598335"/>
                  </a:lnTo>
                  <a:lnTo>
                    <a:pt x="1990864" y="598335"/>
                  </a:lnTo>
                  <a:lnTo>
                    <a:pt x="1990864" y="597649"/>
                  </a:lnTo>
                  <a:lnTo>
                    <a:pt x="1991067" y="597649"/>
                  </a:lnTo>
                  <a:lnTo>
                    <a:pt x="1991067" y="598335"/>
                  </a:lnTo>
                  <a:lnTo>
                    <a:pt x="1991118" y="598335"/>
                  </a:lnTo>
                  <a:lnTo>
                    <a:pt x="1991118" y="597649"/>
                  </a:lnTo>
                  <a:lnTo>
                    <a:pt x="1991360" y="597649"/>
                  </a:lnTo>
                  <a:lnTo>
                    <a:pt x="1991410" y="598335"/>
                  </a:lnTo>
                  <a:lnTo>
                    <a:pt x="1991613" y="598335"/>
                  </a:lnTo>
                  <a:lnTo>
                    <a:pt x="1991613" y="597649"/>
                  </a:lnTo>
                  <a:lnTo>
                    <a:pt x="1991664" y="597649"/>
                  </a:lnTo>
                  <a:lnTo>
                    <a:pt x="1991664" y="598335"/>
                  </a:lnTo>
                  <a:lnTo>
                    <a:pt x="1991766" y="597649"/>
                  </a:lnTo>
                  <a:lnTo>
                    <a:pt x="1991766" y="598335"/>
                  </a:lnTo>
                  <a:lnTo>
                    <a:pt x="1992058" y="598335"/>
                  </a:lnTo>
                  <a:lnTo>
                    <a:pt x="1992109" y="597649"/>
                  </a:lnTo>
                  <a:lnTo>
                    <a:pt x="1992261" y="597649"/>
                  </a:lnTo>
                  <a:lnTo>
                    <a:pt x="1992312" y="598335"/>
                  </a:lnTo>
                  <a:lnTo>
                    <a:pt x="1992807" y="598335"/>
                  </a:lnTo>
                  <a:lnTo>
                    <a:pt x="1992807" y="597649"/>
                  </a:lnTo>
                  <a:lnTo>
                    <a:pt x="1992998" y="597649"/>
                  </a:lnTo>
                  <a:lnTo>
                    <a:pt x="1992998" y="598335"/>
                  </a:lnTo>
                  <a:lnTo>
                    <a:pt x="1993252" y="598335"/>
                  </a:lnTo>
                  <a:lnTo>
                    <a:pt x="1993252" y="597649"/>
                  </a:lnTo>
                  <a:lnTo>
                    <a:pt x="1993391" y="597649"/>
                  </a:lnTo>
                  <a:lnTo>
                    <a:pt x="1993391" y="598335"/>
                  </a:lnTo>
                  <a:lnTo>
                    <a:pt x="1993442" y="598335"/>
                  </a:lnTo>
                  <a:lnTo>
                    <a:pt x="1993442" y="597649"/>
                  </a:lnTo>
                  <a:lnTo>
                    <a:pt x="1993595" y="597649"/>
                  </a:lnTo>
                  <a:lnTo>
                    <a:pt x="1993646" y="598335"/>
                  </a:lnTo>
                  <a:lnTo>
                    <a:pt x="1993696" y="598335"/>
                  </a:lnTo>
                  <a:lnTo>
                    <a:pt x="1993696" y="597649"/>
                  </a:lnTo>
                  <a:lnTo>
                    <a:pt x="1993798" y="598335"/>
                  </a:lnTo>
                  <a:lnTo>
                    <a:pt x="1993798" y="597649"/>
                  </a:lnTo>
                  <a:lnTo>
                    <a:pt x="1994039" y="597649"/>
                  </a:lnTo>
                  <a:lnTo>
                    <a:pt x="1994039" y="598335"/>
                  </a:lnTo>
                  <a:lnTo>
                    <a:pt x="1994141" y="598335"/>
                  </a:lnTo>
                  <a:lnTo>
                    <a:pt x="1994242" y="597649"/>
                  </a:lnTo>
                  <a:lnTo>
                    <a:pt x="1994293" y="597649"/>
                  </a:lnTo>
                  <a:lnTo>
                    <a:pt x="1994344" y="598335"/>
                  </a:lnTo>
                  <a:lnTo>
                    <a:pt x="1994395" y="598335"/>
                  </a:lnTo>
                  <a:lnTo>
                    <a:pt x="1994484" y="597649"/>
                  </a:lnTo>
                  <a:lnTo>
                    <a:pt x="1994535" y="598335"/>
                  </a:lnTo>
                  <a:lnTo>
                    <a:pt x="1994585" y="597649"/>
                  </a:lnTo>
                  <a:lnTo>
                    <a:pt x="1994585" y="598335"/>
                  </a:lnTo>
                  <a:lnTo>
                    <a:pt x="1995081" y="598335"/>
                  </a:lnTo>
                  <a:lnTo>
                    <a:pt x="1995182" y="597649"/>
                  </a:lnTo>
                  <a:lnTo>
                    <a:pt x="1995233" y="597649"/>
                  </a:lnTo>
                  <a:lnTo>
                    <a:pt x="1995284" y="598335"/>
                  </a:lnTo>
                  <a:lnTo>
                    <a:pt x="1995525" y="598335"/>
                  </a:lnTo>
                  <a:lnTo>
                    <a:pt x="1995525" y="597649"/>
                  </a:lnTo>
                  <a:lnTo>
                    <a:pt x="1995627" y="597649"/>
                  </a:lnTo>
                  <a:lnTo>
                    <a:pt x="1995627" y="598335"/>
                  </a:lnTo>
                  <a:lnTo>
                    <a:pt x="1995728" y="598335"/>
                  </a:lnTo>
                  <a:lnTo>
                    <a:pt x="1995728" y="597649"/>
                  </a:lnTo>
                  <a:lnTo>
                    <a:pt x="1995881" y="597649"/>
                  </a:lnTo>
                  <a:lnTo>
                    <a:pt x="1995881" y="598335"/>
                  </a:lnTo>
                  <a:lnTo>
                    <a:pt x="1995931" y="597649"/>
                  </a:lnTo>
                  <a:lnTo>
                    <a:pt x="1995982" y="597649"/>
                  </a:lnTo>
                  <a:lnTo>
                    <a:pt x="1995982" y="598335"/>
                  </a:lnTo>
                  <a:lnTo>
                    <a:pt x="1996071" y="598335"/>
                  </a:lnTo>
                  <a:lnTo>
                    <a:pt x="1996122" y="597649"/>
                  </a:lnTo>
                  <a:lnTo>
                    <a:pt x="1996224" y="597649"/>
                  </a:lnTo>
                  <a:lnTo>
                    <a:pt x="1996224" y="598335"/>
                  </a:lnTo>
                  <a:lnTo>
                    <a:pt x="1996325" y="597649"/>
                  </a:lnTo>
                  <a:lnTo>
                    <a:pt x="1996528" y="597649"/>
                  </a:lnTo>
                  <a:lnTo>
                    <a:pt x="1996566" y="598335"/>
                  </a:lnTo>
                  <a:lnTo>
                    <a:pt x="1996668" y="598335"/>
                  </a:lnTo>
                  <a:lnTo>
                    <a:pt x="1996770" y="597649"/>
                  </a:lnTo>
                  <a:lnTo>
                    <a:pt x="1996821" y="598335"/>
                  </a:lnTo>
                  <a:lnTo>
                    <a:pt x="1996821" y="597649"/>
                  </a:lnTo>
                  <a:lnTo>
                    <a:pt x="1996871" y="598335"/>
                  </a:lnTo>
                  <a:lnTo>
                    <a:pt x="1996973" y="597649"/>
                  </a:lnTo>
                  <a:lnTo>
                    <a:pt x="1996973" y="598335"/>
                  </a:lnTo>
                  <a:lnTo>
                    <a:pt x="1997417" y="598335"/>
                  </a:lnTo>
                  <a:lnTo>
                    <a:pt x="1997417" y="597649"/>
                  </a:lnTo>
                  <a:lnTo>
                    <a:pt x="1997468" y="598335"/>
                  </a:lnTo>
                  <a:lnTo>
                    <a:pt x="1997811" y="598335"/>
                  </a:lnTo>
                  <a:lnTo>
                    <a:pt x="1997811" y="597649"/>
                  </a:lnTo>
                  <a:lnTo>
                    <a:pt x="1998014" y="597649"/>
                  </a:lnTo>
                  <a:lnTo>
                    <a:pt x="1998116" y="598335"/>
                  </a:lnTo>
                  <a:lnTo>
                    <a:pt x="1998408" y="598335"/>
                  </a:lnTo>
                  <a:lnTo>
                    <a:pt x="1998408" y="597649"/>
                  </a:lnTo>
                  <a:lnTo>
                    <a:pt x="1998459" y="597649"/>
                  </a:lnTo>
                  <a:lnTo>
                    <a:pt x="1998459" y="598335"/>
                  </a:lnTo>
                  <a:lnTo>
                    <a:pt x="1998662" y="598335"/>
                  </a:lnTo>
                  <a:lnTo>
                    <a:pt x="1998662" y="597649"/>
                  </a:lnTo>
                  <a:lnTo>
                    <a:pt x="1998802" y="597649"/>
                  </a:lnTo>
                  <a:lnTo>
                    <a:pt x="1998853" y="598335"/>
                  </a:lnTo>
                  <a:lnTo>
                    <a:pt x="1998903" y="598335"/>
                  </a:lnTo>
                  <a:lnTo>
                    <a:pt x="1999005" y="597649"/>
                  </a:lnTo>
                  <a:lnTo>
                    <a:pt x="1999602" y="597649"/>
                  </a:lnTo>
                  <a:lnTo>
                    <a:pt x="1999703" y="598335"/>
                  </a:lnTo>
                  <a:lnTo>
                    <a:pt x="1999792" y="598335"/>
                  </a:lnTo>
                  <a:lnTo>
                    <a:pt x="1999843" y="597649"/>
                  </a:lnTo>
                  <a:lnTo>
                    <a:pt x="1999843" y="598335"/>
                  </a:lnTo>
                  <a:lnTo>
                    <a:pt x="2000046" y="598335"/>
                  </a:lnTo>
                  <a:lnTo>
                    <a:pt x="2000148" y="597649"/>
                  </a:lnTo>
                  <a:lnTo>
                    <a:pt x="2000148" y="598335"/>
                  </a:lnTo>
                  <a:lnTo>
                    <a:pt x="2000199" y="597649"/>
                  </a:lnTo>
                  <a:lnTo>
                    <a:pt x="2000250" y="597649"/>
                  </a:lnTo>
                  <a:lnTo>
                    <a:pt x="2000250" y="598335"/>
                  </a:lnTo>
                  <a:lnTo>
                    <a:pt x="2000389" y="598335"/>
                  </a:lnTo>
                  <a:lnTo>
                    <a:pt x="2000440" y="597649"/>
                  </a:lnTo>
                  <a:lnTo>
                    <a:pt x="2000491" y="597649"/>
                  </a:lnTo>
                  <a:lnTo>
                    <a:pt x="2000491" y="598335"/>
                  </a:lnTo>
                  <a:lnTo>
                    <a:pt x="2000834" y="598335"/>
                  </a:lnTo>
                  <a:lnTo>
                    <a:pt x="2000834" y="597649"/>
                  </a:lnTo>
                  <a:lnTo>
                    <a:pt x="2001088" y="597649"/>
                  </a:lnTo>
                  <a:lnTo>
                    <a:pt x="2001088" y="598335"/>
                  </a:lnTo>
                  <a:lnTo>
                    <a:pt x="2001329" y="598335"/>
                  </a:lnTo>
                  <a:lnTo>
                    <a:pt x="2001380" y="597649"/>
                  </a:lnTo>
                  <a:lnTo>
                    <a:pt x="2001380" y="598335"/>
                  </a:lnTo>
                  <a:lnTo>
                    <a:pt x="2001875" y="598335"/>
                  </a:lnTo>
                  <a:lnTo>
                    <a:pt x="2001875" y="597649"/>
                  </a:lnTo>
                  <a:lnTo>
                    <a:pt x="2002028" y="597649"/>
                  </a:lnTo>
                  <a:lnTo>
                    <a:pt x="2002028" y="598335"/>
                  </a:lnTo>
                  <a:lnTo>
                    <a:pt x="2002421" y="598335"/>
                  </a:lnTo>
                  <a:lnTo>
                    <a:pt x="2002472" y="597649"/>
                  </a:lnTo>
                  <a:lnTo>
                    <a:pt x="2002675" y="597649"/>
                  </a:lnTo>
                  <a:lnTo>
                    <a:pt x="2002675" y="598335"/>
                  </a:lnTo>
                  <a:lnTo>
                    <a:pt x="2003767" y="598335"/>
                  </a:lnTo>
                  <a:lnTo>
                    <a:pt x="2003818" y="597649"/>
                  </a:lnTo>
                  <a:lnTo>
                    <a:pt x="2003920" y="597649"/>
                  </a:lnTo>
                  <a:lnTo>
                    <a:pt x="2003920" y="598335"/>
                  </a:lnTo>
                  <a:lnTo>
                    <a:pt x="2004161" y="598335"/>
                  </a:lnTo>
                  <a:lnTo>
                    <a:pt x="2004161" y="597649"/>
                  </a:lnTo>
                  <a:lnTo>
                    <a:pt x="2004263" y="597649"/>
                  </a:lnTo>
                  <a:lnTo>
                    <a:pt x="2004313" y="598335"/>
                  </a:lnTo>
                  <a:lnTo>
                    <a:pt x="2004809" y="598335"/>
                  </a:lnTo>
                  <a:lnTo>
                    <a:pt x="2004809" y="597649"/>
                  </a:lnTo>
                  <a:lnTo>
                    <a:pt x="2004910" y="598335"/>
                  </a:lnTo>
                  <a:lnTo>
                    <a:pt x="2005253" y="598335"/>
                  </a:lnTo>
                  <a:lnTo>
                    <a:pt x="2005253" y="597649"/>
                  </a:lnTo>
                  <a:lnTo>
                    <a:pt x="2005355" y="597649"/>
                  </a:lnTo>
                  <a:lnTo>
                    <a:pt x="2005406" y="598335"/>
                  </a:lnTo>
                  <a:lnTo>
                    <a:pt x="2005456" y="598335"/>
                  </a:lnTo>
                  <a:lnTo>
                    <a:pt x="2005456" y="597649"/>
                  </a:lnTo>
                  <a:lnTo>
                    <a:pt x="2005596" y="597649"/>
                  </a:lnTo>
                  <a:lnTo>
                    <a:pt x="2005647" y="598335"/>
                  </a:lnTo>
                  <a:lnTo>
                    <a:pt x="2005647" y="597649"/>
                  </a:lnTo>
                  <a:lnTo>
                    <a:pt x="2005698" y="597649"/>
                  </a:lnTo>
                  <a:lnTo>
                    <a:pt x="2005698" y="598335"/>
                  </a:lnTo>
                  <a:lnTo>
                    <a:pt x="2006091" y="598335"/>
                  </a:lnTo>
                  <a:lnTo>
                    <a:pt x="2006142" y="597649"/>
                  </a:lnTo>
                  <a:lnTo>
                    <a:pt x="2006142" y="598335"/>
                  </a:lnTo>
                  <a:lnTo>
                    <a:pt x="2006498" y="598335"/>
                  </a:lnTo>
                  <a:lnTo>
                    <a:pt x="2006549" y="598932"/>
                  </a:lnTo>
                  <a:lnTo>
                    <a:pt x="2006549" y="598335"/>
                  </a:lnTo>
                  <a:lnTo>
                    <a:pt x="2006638" y="598335"/>
                  </a:lnTo>
                  <a:lnTo>
                    <a:pt x="2006739" y="598932"/>
                  </a:lnTo>
                  <a:lnTo>
                    <a:pt x="2006790" y="598932"/>
                  </a:lnTo>
                  <a:lnTo>
                    <a:pt x="2006841" y="598335"/>
                  </a:lnTo>
                  <a:lnTo>
                    <a:pt x="2006841" y="598932"/>
                  </a:lnTo>
                  <a:lnTo>
                    <a:pt x="2006942" y="598335"/>
                  </a:lnTo>
                  <a:lnTo>
                    <a:pt x="2007438" y="598335"/>
                  </a:lnTo>
                  <a:lnTo>
                    <a:pt x="2007488" y="598932"/>
                  </a:lnTo>
                  <a:lnTo>
                    <a:pt x="2007488" y="598335"/>
                  </a:lnTo>
                  <a:lnTo>
                    <a:pt x="2007641" y="598335"/>
                  </a:lnTo>
                  <a:lnTo>
                    <a:pt x="2007679" y="597649"/>
                  </a:lnTo>
                  <a:lnTo>
                    <a:pt x="2007781" y="597649"/>
                  </a:lnTo>
                  <a:lnTo>
                    <a:pt x="2007882" y="598335"/>
                  </a:lnTo>
                  <a:lnTo>
                    <a:pt x="2007933" y="598335"/>
                  </a:lnTo>
                  <a:lnTo>
                    <a:pt x="2007984" y="598932"/>
                  </a:lnTo>
                  <a:lnTo>
                    <a:pt x="2008085" y="598932"/>
                  </a:lnTo>
                  <a:lnTo>
                    <a:pt x="2008085" y="598335"/>
                  </a:lnTo>
                  <a:lnTo>
                    <a:pt x="2008327" y="598335"/>
                  </a:lnTo>
                  <a:lnTo>
                    <a:pt x="2008378" y="598932"/>
                  </a:lnTo>
                  <a:lnTo>
                    <a:pt x="2008428" y="598335"/>
                  </a:lnTo>
                  <a:lnTo>
                    <a:pt x="2008873" y="598335"/>
                  </a:lnTo>
                  <a:lnTo>
                    <a:pt x="2008873" y="597649"/>
                  </a:lnTo>
                  <a:lnTo>
                    <a:pt x="2008924" y="598335"/>
                  </a:lnTo>
                  <a:lnTo>
                    <a:pt x="2009317" y="598335"/>
                  </a:lnTo>
                  <a:lnTo>
                    <a:pt x="2009317" y="598932"/>
                  </a:lnTo>
                  <a:lnTo>
                    <a:pt x="2009368" y="598335"/>
                  </a:lnTo>
                  <a:lnTo>
                    <a:pt x="2009724" y="598335"/>
                  </a:lnTo>
                  <a:lnTo>
                    <a:pt x="2009724" y="598932"/>
                  </a:lnTo>
                  <a:lnTo>
                    <a:pt x="2009775" y="598932"/>
                  </a:lnTo>
                  <a:lnTo>
                    <a:pt x="2009813" y="598335"/>
                  </a:lnTo>
                  <a:lnTo>
                    <a:pt x="2009813" y="598932"/>
                  </a:lnTo>
                  <a:lnTo>
                    <a:pt x="2009914" y="598335"/>
                  </a:lnTo>
                  <a:lnTo>
                    <a:pt x="2011108" y="598335"/>
                  </a:lnTo>
                  <a:lnTo>
                    <a:pt x="2011159" y="597649"/>
                  </a:lnTo>
                  <a:lnTo>
                    <a:pt x="2011260" y="597649"/>
                  </a:lnTo>
                  <a:lnTo>
                    <a:pt x="2011260" y="598335"/>
                  </a:lnTo>
                  <a:lnTo>
                    <a:pt x="2011362" y="598335"/>
                  </a:lnTo>
                  <a:lnTo>
                    <a:pt x="2011400" y="598932"/>
                  </a:lnTo>
                  <a:lnTo>
                    <a:pt x="2011502" y="598932"/>
                  </a:lnTo>
                  <a:lnTo>
                    <a:pt x="2011553" y="598335"/>
                  </a:lnTo>
                  <a:lnTo>
                    <a:pt x="2011705" y="598335"/>
                  </a:lnTo>
                  <a:lnTo>
                    <a:pt x="2011705" y="598932"/>
                  </a:lnTo>
                  <a:lnTo>
                    <a:pt x="2011756" y="598932"/>
                  </a:lnTo>
                  <a:lnTo>
                    <a:pt x="2011806" y="598335"/>
                  </a:lnTo>
                  <a:lnTo>
                    <a:pt x="2011946" y="598335"/>
                  </a:lnTo>
                  <a:lnTo>
                    <a:pt x="2011997" y="598932"/>
                  </a:lnTo>
                  <a:lnTo>
                    <a:pt x="2012200" y="598932"/>
                  </a:lnTo>
                  <a:lnTo>
                    <a:pt x="2012251" y="598335"/>
                  </a:lnTo>
                  <a:lnTo>
                    <a:pt x="2012302" y="598335"/>
                  </a:lnTo>
                  <a:lnTo>
                    <a:pt x="2012302" y="597649"/>
                  </a:lnTo>
                  <a:lnTo>
                    <a:pt x="2012403" y="598335"/>
                  </a:lnTo>
                  <a:lnTo>
                    <a:pt x="2012441" y="598932"/>
                  </a:lnTo>
                  <a:lnTo>
                    <a:pt x="2012492" y="598335"/>
                  </a:lnTo>
                  <a:lnTo>
                    <a:pt x="2012645" y="598335"/>
                  </a:lnTo>
                  <a:lnTo>
                    <a:pt x="2012645" y="598932"/>
                  </a:lnTo>
                  <a:lnTo>
                    <a:pt x="2012746" y="598932"/>
                  </a:lnTo>
                  <a:lnTo>
                    <a:pt x="2012848" y="598335"/>
                  </a:lnTo>
                  <a:lnTo>
                    <a:pt x="2012988" y="598335"/>
                  </a:lnTo>
                  <a:lnTo>
                    <a:pt x="2013089" y="598932"/>
                  </a:lnTo>
                  <a:lnTo>
                    <a:pt x="2013140" y="598932"/>
                  </a:lnTo>
                  <a:lnTo>
                    <a:pt x="2013191" y="598335"/>
                  </a:lnTo>
                  <a:lnTo>
                    <a:pt x="2013991" y="598335"/>
                  </a:lnTo>
                  <a:lnTo>
                    <a:pt x="2013991" y="598932"/>
                  </a:lnTo>
                  <a:lnTo>
                    <a:pt x="2014029" y="598932"/>
                  </a:lnTo>
                  <a:lnTo>
                    <a:pt x="2014080" y="598335"/>
                  </a:lnTo>
                  <a:lnTo>
                    <a:pt x="2014232" y="598335"/>
                  </a:lnTo>
                  <a:lnTo>
                    <a:pt x="2014283" y="598932"/>
                  </a:lnTo>
                  <a:lnTo>
                    <a:pt x="2014334" y="598932"/>
                  </a:lnTo>
                  <a:lnTo>
                    <a:pt x="2014334" y="598335"/>
                  </a:lnTo>
                  <a:lnTo>
                    <a:pt x="2014728" y="598335"/>
                  </a:lnTo>
                  <a:lnTo>
                    <a:pt x="2014728" y="597649"/>
                  </a:lnTo>
                  <a:lnTo>
                    <a:pt x="2014778" y="598335"/>
                  </a:lnTo>
                  <a:lnTo>
                    <a:pt x="2015426" y="598335"/>
                  </a:lnTo>
                  <a:lnTo>
                    <a:pt x="2015426" y="598932"/>
                  </a:lnTo>
                  <a:lnTo>
                    <a:pt x="2015477" y="598932"/>
                  </a:lnTo>
                  <a:lnTo>
                    <a:pt x="2015477" y="598335"/>
                  </a:lnTo>
                  <a:lnTo>
                    <a:pt x="2015871" y="598335"/>
                  </a:lnTo>
                  <a:lnTo>
                    <a:pt x="2015921" y="598932"/>
                  </a:lnTo>
                  <a:lnTo>
                    <a:pt x="2016023" y="598932"/>
                  </a:lnTo>
                  <a:lnTo>
                    <a:pt x="2016023" y="598335"/>
                  </a:lnTo>
                  <a:lnTo>
                    <a:pt x="2017013" y="598335"/>
                  </a:lnTo>
                  <a:lnTo>
                    <a:pt x="2017013" y="598932"/>
                  </a:lnTo>
                  <a:lnTo>
                    <a:pt x="2017407" y="598932"/>
                  </a:lnTo>
                  <a:lnTo>
                    <a:pt x="2017407" y="598335"/>
                  </a:lnTo>
                  <a:lnTo>
                    <a:pt x="2017458" y="598335"/>
                  </a:lnTo>
                  <a:lnTo>
                    <a:pt x="2017509" y="597649"/>
                  </a:lnTo>
                  <a:lnTo>
                    <a:pt x="2017509" y="598335"/>
                  </a:lnTo>
                  <a:lnTo>
                    <a:pt x="2017661" y="598335"/>
                  </a:lnTo>
                  <a:lnTo>
                    <a:pt x="2017712" y="598932"/>
                  </a:lnTo>
                  <a:lnTo>
                    <a:pt x="2017852" y="598932"/>
                  </a:lnTo>
                  <a:lnTo>
                    <a:pt x="2017903" y="598335"/>
                  </a:lnTo>
                  <a:lnTo>
                    <a:pt x="2018347" y="598335"/>
                  </a:lnTo>
                  <a:lnTo>
                    <a:pt x="2018347" y="598932"/>
                  </a:lnTo>
                  <a:lnTo>
                    <a:pt x="2018398" y="598335"/>
                  </a:lnTo>
                  <a:lnTo>
                    <a:pt x="2018652" y="598335"/>
                  </a:lnTo>
                  <a:lnTo>
                    <a:pt x="2018652" y="598932"/>
                  </a:lnTo>
                  <a:lnTo>
                    <a:pt x="2018791" y="598932"/>
                  </a:lnTo>
                  <a:lnTo>
                    <a:pt x="2018791" y="598335"/>
                  </a:lnTo>
                  <a:lnTo>
                    <a:pt x="2019046" y="598335"/>
                  </a:lnTo>
                  <a:lnTo>
                    <a:pt x="2019046" y="598932"/>
                  </a:lnTo>
                  <a:lnTo>
                    <a:pt x="2019096" y="598932"/>
                  </a:lnTo>
                  <a:lnTo>
                    <a:pt x="2019096" y="598335"/>
                  </a:lnTo>
                  <a:lnTo>
                    <a:pt x="2019198" y="598932"/>
                  </a:lnTo>
                  <a:lnTo>
                    <a:pt x="2019249" y="598932"/>
                  </a:lnTo>
                  <a:lnTo>
                    <a:pt x="2019249" y="598335"/>
                  </a:lnTo>
                  <a:lnTo>
                    <a:pt x="2019338" y="598335"/>
                  </a:lnTo>
                  <a:lnTo>
                    <a:pt x="2019439" y="598932"/>
                  </a:lnTo>
                  <a:lnTo>
                    <a:pt x="2019541" y="598932"/>
                  </a:lnTo>
                  <a:lnTo>
                    <a:pt x="2019541" y="598335"/>
                  </a:lnTo>
                  <a:lnTo>
                    <a:pt x="2020138" y="598335"/>
                  </a:lnTo>
                  <a:lnTo>
                    <a:pt x="2020138" y="598932"/>
                  </a:lnTo>
                  <a:lnTo>
                    <a:pt x="2020188" y="598335"/>
                  </a:lnTo>
                  <a:lnTo>
                    <a:pt x="2020188" y="598932"/>
                  </a:lnTo>
                  <a:lnTo>
                    <a:pt x="2020239" y="598335"/>
                  </a:lnTo>
                  <a:lnTo>
                    <a:pt x="2020341" y="598335"/>
                  </a:lnTo>
                  <a:lnTo>
                    <a:pt x="2020341" y="597649"/>
                  </a:lnTo>
                  <a:lnTo>
                    <a:pt x="2020379" y="598335"/>
                  </a:lnTo>
                  <a:lnTo>
                    <a:pt x="2020430" y="598335"/>
                  </a:lnTo>
                  <a:lnTo>
                    <a:pt x="2020481" y="598932"/>
                  </a:lnTo>
                  <a:lnTo>
                    <a:pt x="2020582" y="598932"/>
                  </a:lnTo>
                  <a:lnTo>
                    <a:pt x="2020633" y="598335"/>
                  </a:lnTo>
                  <a:lnTo>
                    <a:pt x="2020836" y="598335"/>
                  </a:lnTo>
                  <a:lnTo>
                    <a:pt x="2020887" y="597649"/>
                  </a:lnTo>
                  <a:lnTo>
                    <a:pt x="2020887" y="598335"/>
                  </a:lnTo>
                  <a:lnTo>
                    <a:pt x="2020925" y="598335"/>
                  </a:lnTo>
                  <a:lnTo>
                    <a:pt x="2021027" y="598932"/>
                  </a:lnTo>
                  <a:lnTo>
                    <a:pt x="2021078" y="598932"/>
                  </a:lnTo>
                  <a:lnTo>
                    <a:pt x="2021078" y="598335"/>
                  </a:lnTo>
                  <a:lnTo>
                    <a:pt x="2021128" y="598932"/>
                  </a:lnTo>
                  <a:lnTo>
                    <a:pt x="2021230" y="598335"/>
                  </a:lnTo>
                  <a:lnTo>
                    <a:pt x="2021573" y="598335"/>
                  </a:lnTo>
                  <a:lnTo>
                    <a:pt x="2021624" y="598932"/>
                  </a:lnTo>
                  <a:lnTo>
                    <a:pt x="2021725" y="598335"/>
                  </a:lnTo>
                  <a:lnTo>
                    <a:pt x="2021725" y="598932"/>
                  </a:lnTo>
                  <a:lnTo>
                    <a:pt x="2021776" y="598932"/>
                  </a:lnTo>
                  <a:lnTo>
                    <a:pt x="2021776" y="598335"/>
                  </a:lnTo>
                  <a:lnTo>
                    <a:pt x="2022017" y="598335"/>
                  </a:lnTo>
                  <a:lnTo>
                    <a:pt x="2022068" y="598932"/>
                  </a:lnTo>
                  <a:lnTo>
                    <a:pt x="2022068" y="598335"/>
                  </a:lnTo>
                  <a:lnTo>
                    <a:pt x="2022271" y="598335"/>
                  </a:lnTo>
                  <a:lnTo>
                    <a:pt x="2022373" y="598932"/>
                  </a:lnTo>
                  <a:lnTo>
                    <a:pt x="2022424" y="598932"/>
                  </a:lnTo>
                  <a:lnTo>
                    <a:pt x="2022475" y="598335"/>
                  </a:lnTo>
                  <a:lnTo>
                    <a:pt x="2022665" y="598335"/>
                  </a:lnTo>
                  <a:lnTo>
                    <a:pt x="2022665" y="598932"/>
                  </a:lnTo>
                  <a:lnTo>
                    <a:pt x="2022716" y="598932"/>
                  </a:lnTo>
                  <a:lnTo>
                    <a:pt x="2022716" y="598335"/>
                  </a:lnTo>
                  <a:lnTo>
                    <a:pt x="2022868" y="598335"/>
                  </a:lnTo>
                  <a:lnTo>
                    <a:pt x="2022919" y="598932"/>
                  </a:lnTo>
                  <a:lnTo>
                    <a:pt x="2022970" y="598932"/>
                  </a:lnTo>
                  <a:lnTo>
                    <a:pt x="2022970" y="598335"/>
                  </a:lnTo>
                  <a:lnTo>
                    <a:pt x="2023414" y="598335"/>
                  </a:lnTo>
                  <a:lnTo>
                    <a:pt x="2023516" y="598932"/>
                  </a:lnTo>
                  <a:lnTo>
                    <a:pt x="2023554" y="598932"/>
                  </a:lnTo>
                  <a:lnTo>
                    <a:pt x="2023605" y="598335"/>
                  </a:lnTo>
                  <a:lnTo>
                    <a:pt x="2023656" y="598335"/>
                  </a:lnTo>
                  <a:lnTo>
                    <a:pt x="2023757" y="598932"/>
                  </a:lnTo>
                  <a:lnTo>
                    <a:pt x="2023808" y="598932"/>
                  </a:lnTo>
                  <a:lnTo>
                    <a:pt x="2023859" y="598335"/>
                  </a:lnTo>
                  <a:lnTo>
                    <a:pt x="2024253" y="598335"/>
                  </a:lnTo>
                  <a:lnTo>
                    <a:pt x="2024303" y="598932"/>
                  </a:lnTo>
                  <a:lnTo>
                    <a:pt x="2024506" y="598932"/>
                  </a:lnTo>
                  <a:lnTo>
                    <a:pt x="2024506" y="598335"/>
                  </a:lnTo>
                  <a:lnTo>
                    <a:pt x="2024557" y="598932"/>
                  </a:lnTo>
                  <a:lnTo>
                    <a:pt x="2024799" y="598932"/>
                  </a:lnTo>
                  <a:lnTo>
                    <a:pt x="2024799" y="598335"/>
                  </a:lnTo>
                  <a:lnTo>
                    <a:pt x="2024900" y="598335"/>
                  </a:lnTo>
                  <a:lnTo>
                    <a:pt x="2024951" y="598932"/>
                  </a:lnTo>
                  <a:lnTo>
                    <a:pt x="2025192" y="598932"/>
                  </a:lnTo>
                  <a:lnTo>
                    <a:pt x="2025243" y="598335"/>
                  </a:lnTo>
                  <a:lnTo>
                    <a:pt x="2025345" y="598932"/>
                  </a:lnTo>
                  <a:lnTo>
                    <a:pt x="2025396" y="598932"/>
                  </a:lnTo>
                  <a:lnTo>
                    <a:pt x="2025396" y="598335"/>
                  </a:lnTo>
                  <a:lnTo>
                    <a:pt x="2025650" y="598335"/>
                  </a:lnTo>
                  <a:lnTo>
                    <a:pt x="2025688" y="598932"/>
                  </a:lnTo>
                  <a:lnTo>
                    <a:pt x="2025688" y="598335"/>
                  </a:lnTo>
                  <a:lnTo>
                    <a:pt x="2025992" y="598335"/>
                  </a:lnTo>
                  <a:lnTo>
                    <a:pt x="2026043" y="598932"/>
                  </a:lnTo>
                  <a:lnTo>
                    <a:pt x="2026285" y="598932"/>
                  </a:lnTo>
                  <a:lnTo>
                    <a:pt x="2026335" y="598335"/>
                  </a:lnTo>
                  <a:lnTo>
                    <a:pt x="2026335" y="598932"/>
                  </a:lnTo>
                  <a:lnTo>
                    <a:pt x="2026488" y="598932"/>
                  </a:lnTo>
                  <a:lnTo>
                    <a:pt x="2026538" y="598335"/>
                  </a:lnTo>
                  <a:lnTo>
                    <a:pt x="2026691" y="598335"/>
                  </a:lnTo>
                  <a:lnTo>
                    <a:pt x="2026729" y="598932"/>
                  </a:lnTo>
                  <a:lnTo>
                    <a:pt x="2026729" y="598335"/>
                  </a:lnTo>
                  <a:lnTo>
                    <a:pt x="2026780" y="598932"/>
                  </a:lnTo>
                  <a:lnTo>
                    <a:pt x="2026932" y="598932"/>
                  </a:lnTo>
                  <a:lnTo>
                    <a:pt x="2026932" y="598335"/>
                  </a:lnTo>
                  <a:lnTo>
                    <a:pt x="2027186" y="598335"/>
                  </a:lnTo>
                  <a:lnTo>
                    <a:pt x="2027237" y="598932"/>
                  </a:lnTo>
                  <a:lnTo>
                    <a:pt x="2027681" y="598932"/>
                  </a:lnTo>
                  <a:lnTo>
                    <a:pt x="2027732" y="598335"/>
                  </a:lnTo>
                  <a:lnTo>
                    <a:pt x="2027872" y="598335"/>
                  </a:lnTo>
                  <a:lnTo>
                    <a:pt x="2027872" y="598932"/>
                  </a:lnTo>
                  <a:lnTo>
                    <a:pt x="2028126" y="598932"/>
                  </a:lnTo>
                  <a:lnTo>
                    <a:pt x="2028177" y="598335"/>
                  </a:lnTo>
                  <a:lnTo>
                    <a:pt x="2028278" y="597649"/>
                  </a:lnTo>
                  <a:lnTo>
                    <a:pt x="2028316" y="598335"/>
                  </a:lnTo>
                  <a:lnTo>
                    <a:pt x="2028367" y="598335"/>
                  </a:lnTo>
                  <a:lnTo>
                    <a:pt x="2028367" y="598932"/>
                  </a:lnTo>
                  <a:lnTo>
                    <a:pt x="2028418" y="598932"/>
                  </a:lnTo>
                  <a:lnTo>
                    <a:pt x="2028520" y="598335"/>
                  </a:lnTo>
                  <a:lnTo>
                    <a:pt x="2028571" y="598335"/>
                  </a:lnTo>
                  <a:lnTo>
                    <a:pt x="2028621" y="598932"/>
                  </a:lnTo>
                  <a:lnTo>
                    <a:pt x="2028964" y="598932"/>
                  </a:lnTo>
                  <a:lnTo>
                    <a:pt x="2028964" y="598335"/>
                  </a:lnTo>
                  <a:lnTo>
                    <a:pt x="2029015" y="598335"/>
                  </a:lnTo>
                  <a:lnTo>
                    <a:pt x="2029015" y="598932"/>
                  </a:lnTo>
                  <a:lnTo>
                    <a:pt x="2029269" y="598932"/>
                  </a:lnTo>
                  <a:lnTo>
                    <a:pt x="2029320" y="598335"/>
                  </a:lnTo>
                  <a:lnTo>
                    <a:pt x="2029409" y="598932"/>
                  </a:lnTo>
                  <a:lnTo>
                    <a:pt x="2030158" y="598932"/>
                  </a:lnTo>
                  <a:lnTo>
                    <a:pt x="2030158" y="599580"/>
                  </a:lnTo>
                  <a:lnTo>
                    <a:pt x="2030209" y="598932"/>
                  </a:lnTo>
                  <a:lnTo>
                    <a:pt x="2030450" y="598932"/>
                  </a:lnTo>
                  <a:lnTo>
                    <a:pt x="2030552" y="598335"/>
                  </a:lnTo>
                  <a:lnTo>
                    <a:pt x="2030603" y="598335"/>
                  </a:lnTo>
                  <a:lnTo>
                    <a:pt x="2030653" y="598932"/>
                  </a:lnTo>
                  <a:lnTo>
                    <a:pt x="2030806" y="598932"/>
                  </a:lnTo>
                  <a:lnTo>
                    <a:pt x="2030856" y="598335"/>
                  </a:lnTo>
                  <a:lnTo>
                    <a:pt x="2031453" y="598335"/>
                  </a:lnTo>
                  <a:lnTo>
                    <a:pt x="2031453" y="598932"/>
                  </a:lnTo>
                  <a:lnTo>
                    <a:pt x="2032736" y="598932"/>
                  </a:lnTo>
                  <a:lnTo>
                    <a:pt x="2032838" y="598335"/>
                  </a:lnTo>
                  <a:lnTo>
                    <a:pt x="2032888" y="598932"/>
                  </a:lnTo>
                  <a:lnTo>
                    <a:pt x="2033181" y="598932"/>
                  </a:lnTo>
                  <a:lnTo>
                    <a:pt x="2033282" y="598335"/>
                  </a:lnTo>
                  <a:lnTo>
                    <a:pt x="2033333" y="598335"/>
                  </a:lnTo>
                  <a:lnTo>
                    <a:pt x="2033333" y="598932"/>
                  </a:lnTo>
                  <a:lnTo>
                    <a:pt x="2033587" y="598932"/>
                  </a:lnTo>
                  <a:lnTo>
                    <a:pt x="2033625" y="598335"/>
                  </a:lnTo>
                  <a:lnTo>
                    <a:pt x="2033625" y="598932"/>
                  </a:lnTo>
                  <a:lnTo>
                    <a:pt x="2033778" y="598932"/>
                  </a:lnTo>
                  <a:lnTo>
                    <a:pt x="2033828" y="599580"/>
                  </a:lnTo>
                  <a:lnTo>
                    <a:pt x="2033828" y="598932"/>
                  </a:lnTo>
                  <a:lnTo>
                    <a:pt x="2033981" y="598932"/>
                  </a:lnTo>
                  <a:lnTo>
                    <a:pt x="2033981" y="598335"/>
                  </a:lnTo>
                  <a:lnTo>
                    <a:pt x="2034031" y="598335"/>
                  </a:lnTo>
                  <a:lnTo>
                    <a:pt x="2034031" y="598932"/>
                  </a:lnTo>
                  <a:lnTo>
                    <a:pt x="2034171" y="598932"/>
                  </a:lnTo>
                  <a:lnTo>
                    <a:pt x="2034222" y="598335"/>
                  </a:lnTo>
                  <a:lnTo>
                    <a:pt x="2034222" y="598932"/>
                  </a:lnTo>
                  <a:lnTo>
                    <a:pt x="2034628" y="598932"/>
                  </a:lnTo>
                  <a:lnTo>
                    <a:pt x="2034628" y="598335"/>
                  </a:lnTo>
                  <a:lnTo>
                    <a:pt x="2034717" y="598335"/>
                  </a:lnTo>
                  <a:lnTo>
                    <a:pt x="2034717" y="598932"/>
                  </a:lnTo>
                  <a:lnTo>
                    <a:pt x="2034768" y="598335"/>
                  </a:lnTo>
                  <a:lnTo>
                    <a:pt x="2034870" y="598932"/>
                  </a:lnTo>
                  <a:lnTo>
                    <a:pt x="2035670" y="598932"/>
                  </a:lnTo>
                  <a:lnTo>
                    <a:pt x="2035759" y="598335"/>
                  </a:lnTo>
                  <a:lnTo>
                    <a:pt x="2035759" y="598932"/>
                  </a:lnTo>
                  <a:lnTo>
                    <a:pt x="2036216" y="598932"/>
                  </a:lnTo>
                  <a:lnTo>
                    <a:pt x="2036254" y="599580"/>
                  </a:lnTo>
                  <a:lnTo>
                    <a:pt x="2036254" y="598932"/>
                  </a:lnTo>
                  <a:lnTo>
                    <a:pt x="2036305" y="598335"/>
                  </a:lnTo>
                  <a:lnTo>
                    <a:pt x="2036356" y="598335"/>
                  </a:lnTo>
                  <a:lnTo>
                    <a:pt x="2036356" y="598932"/>
                  </a:lnTo>
                  <a:lnTo>
                    <a:pt x="2037499" y="598932"/>
                  </a:lnTo>
                  <a:lnTo>
                    <a:pt x="2037499" y="599580"/>
                  </a:lnTo>
                  <a:lnTo>
                    <a:pt x="2037803" y="599580"/>
                  </a:lnTo>
                  <a:lnTo>
                    <a:pt x="2037841" y="598932"/>
                  </a:lnTo>
                  <a:lnTo>
                    <a:pt x="2038845" y="598932"/>
                  </a:lnTo>
                  <a:lnTo>
                    <a:pt x="2038845" y="599580"/>
                  </a:lnTo>
                  <a:lnTo>
                    <a:pt x="2038934" y="598932"/>
                  </a:lnTo>
                  <a:lnTo>
                    <a:pt x="2038985" y="598932"/>
                  </a:lnTo>
                  <a:lnTo>
                    <a:pt x="2039035" y="598335"/>
                  </a:lnTo>
                  <a:lnTo>
                    <a:pt x="2039035" y="598932"/>
                  </a:lnTo>
                  <a:lnTo>
                    <a:pt x="2039188" y="598932"/>
                  </a:lnTo>
                  <a:lnTo>
                    <a:pt x="2039188" y="598335"/>
                  </a:lnTo>
                  <a:lnTo>
                    <a:pt x="2039238" y="598932"/>
                  </a:lnTo>
                  <a:lnTo>
                    <a:pt x="2039937" y="598932"/>
                  </a:lnTo>
                  <a:lnTo>
                    <a:pt x="2039975" y="599580"/>
                  </a:lnTo>
                  <a:lnTo>
                    <a:pt x="2040077" y="599580"/>
                  </a:lnTo>
                  <a:lnTo>
                    <a:pt x="2040128" y="598932"/>
                  </a:lnTo>
                  <a:lnTo>
                    <a:pt x="2040381" y="598932"/>
                  </a:lnTo>
                  <a:lnTo>
                    <a:pt x="2040432" y="599580"/>
                  </a:lnTo>
                  <a:lnTo>
                    <a:pt x="2040521" y="598932"/>
                  </a:lnTo>
                  <a:lnTo>
                    <a:pt x="2040572" y="599580"/>
                  </a:lnTo>
                  <a:lnTo>
                    <a:pt x="2040572" y="598932"/>
                  </a:lnTo>
                  <a:lnTo>
                    <a:pt x="2040775" y="598932"/>
                  </a:lnTo>
                  <a:lnTo>
                    <a:pt x="2040826" y="599580"/>
                  </a:lnTo>
                  <a:lnTo>
                    <a:pt x="2040826" y="598932"/>
                  </a:lnTo>
                  <a:lnTo>
                    <a:pt x="2040877" y="599580"/>
                  </a:lnTo>
                  <a:lnTo>
                    <a:pt x="2040877" y="598932"/>
                  </a:lnTo>
                  <a:lnTo>
                    <a:pt x="2041271" y="598932"/>
                  </a:lnTo>
                  <a:lnTo>
                    <a:pt x="2041271" y="599580"/>
                  </a:lnTo>
                  <a:lnTo>
                    <a:pt x="2041423" y="599580"/>
                  </a:lnTo>
                  <a:lnTo>
                    <a:pt x="2041474" y="598932"/>
                  </a:lnTo>
                  <a:lnTo>
                    <a:pt x="2041474" y="599580"/>
                  </a:lnTo>
                  <a:lnTo>
                    <a:pt x="2041525" y="598932"/>
                  </a:lnTo>
                  <a:lnTo>
                    <a:pt x="2041525" y="599580"/>
                  </a:lnTo>
                  <a:lnTo>
                    <a:pt x="2041563" y="599580"/>
                  </a:lnTo>
                  <a:lnTo>
                    <a:pt x="2041563" y="598932"/>
                  </a:lnTo>
                  <a:lnTo>
                    <a:pt x="2041664" y="599580"/>
                  </a:lnTo>
                  <a:lnTo>
                    <a:pt x="2041766" y="599580"/>
                  </a:lnTo>
                  <a:lnTo>
                    <a:pt x="2041867" y="598932"/>
                  </a:lnTo>
                  <a:lnTo>
                    <a:pt x="2042020" y="598932"/>
                  </a:lnTo>
                  <a:lnTo>
                    <a:pt x="2042020" y="599580"/>
                  </a:lnTo>
                  <a:lnTo>
                    <a:pt x="2042109" y="599580"/>
                  </a:lnTo>
                  <a:lnTo>
                    <a:pt x="2042109" y="598932"/>
                  </a:lnTo>
                  <a:lnTo>
                    <a:pt x="2042706" y="598932"/>
                  </a:lnTo>
                  <a:lnTo>
                    <a:pt x="2042706" y="599580"/>
                  </a:lnTo>
                  <a:lnTo>
                    <a:pt x="2043010" y="599580"/>
                  </a:lnTo>
                  <a:lnTo>
                    <a:pt x="2043010" y="598932"/>
                  </a:lnTo>
                  <a:lnTo>
                    <a:pt x="2043303" y="598932"/>
                  </a:lnTo>
                  <a:lnTo>
                    <a:pt x="2043303" y="599580"/>
                  </a:lnTo>
                  <a:lnTo>
                    <a:pt x="2043353" y="599580"/>
                  </a:lnTo>
                  <a:lnTo>
                    <a:pt x="2043353" y="598932"/>
                  </a:lnTo>
                  <a:lnTo>
                    <a:pt x="2044153" y="598932"/>
                  </a:lnTo>
                  <a:lnTo>
                    <a:pt x="2044191" y="599580"/>
                  </a:lnTo>
                  <a:lnTo>
                    <a:pt x="2044242" y="598932"/>
                  </a:lnTo>
                  <a:lnTo>
                    <a:pt x="2044293" y="598335"/>
                  </a:lnTo>
                  <a:lnTo>
                    <a:pt x="2044395" y="598932"/>
                  </a:lnTo>
                  <a:lnTo>
                    <a:pt x="2044446" y="598932"/>
                  </a:lnTo>
                  <a:lnTo>
                    <a:pt x="2044496" y="599580"/>
                  </a:lnTo>
                  <a:lnTo>
                    <a:pt x="2044598" y="598932"/>
                  </a:lnTo>
                  <a:lnTo>
                    <a:pt x="2044598" y="599580"/>
                  </a:lnTo>
                  <a:lnTo>
                    <a:pt x="2044649" y="598932"/>
                  </a:lnTo>
                  <a:lnTo>
                    <a:pt x="2045042" y="598932"/>
                  </a:lnTo>
                  <a:lnTo>
                    <a:pt x="2045093" y="599580"/>
                  </a:lnTo>
                  <a:lnTo>
                    <a:pt x="2045144" y="599580"/>
                  </a:lnTo>
                  <a:lnTo>
                    <a:pt x="2045144" y="598932"/>
                  </a:lnTo>
                  <a:lnTo>
                    <a:pt x="2045639" y="598932"/>
                  </a:lnTo>
                  <a:lnTo>
                    <a:pt x="2045639" y="599580"/>
                  </a:lnTo>
                  <a:lnTo>
                    <a:pt x="2045741" y="598932"/>
                  </a:lnTo>
                  <a:lnTo>
                    <a:pt x="2046478" y="598932"/>
                  </a:lnTo>
                  <a:lnTo>
                    <a:pt x="2046528" y="599580"/>
                  </a:lnTo>
                  <a:lnTo>
                    <a:pt x="2046630" y="599580"/>
                  </a:lnTo>
                  <a:lnTo>
                    <a:pt x="2046630" y="598932"/>
                  </a:lnTo>
                  <a:lnTo>
                    <a:pt x="2047227" y="598932"/>
                  </a:lnTo>
                  <a:lnTo>
                    <a:pt x="2047328" y="599580"/>
                  </a:lnTo>
                  <a:lnTo>
                    <a:pt x="2047328" y="598932"/>
                  </a:lnTo>
                  <a:lnTo>
                    <a:pt x="2048268" y="598932"/>
                  </a:lnTo>
                  <a:lnTo>
                    <a:pt x="2048268" y="598335"/>
                  </a:lnTo>
                  <a:lnTo>
                    <a:pt x="2048319" y="598335"/>
                  </a:lnTo>
                  <a:lnTo>
                    <a:pt x="2048370" y="598932"/>
                  </a:lnTo>
                  <a:lnTo>
                    <a:pt x="2048459" y="598932"/>
                  </a:lnTo>
                  <a:lnTo>
                    <a:pt x="2048459" y="599580"/>
                  </a:lnTo>
                  <a:lnTo>
                    <a:pt x="2048510" y="599580"/>
                  </a:lnTo>
                  <a:lnTo>
                    <a:pt x="2048560" y="600926"/>
                  </a:lnTo>
                  <a:lnTo>
                    <a:pt x="2048560" y="599580"/>
                  </a:lnTo>
                  <a:lnTo>
                    <a:pt x="2048763" y="599580"/>
                  </a:lnTo>
                  <a:lnTo>
                    <a:pt x="2048814" y="598932"/>
                  </a:lnTo>
                  <a:lnTo>
                    <a:pt x="2049056" y="598932"/>
                  </a:lnTo>
                  <a:lnTo>
                    <a:pt x="2049157" y="599580"/>
                  </a:lnTo>
                  <a:lnTo>
                    <a:pt x="2049411" y="599580"/>
                  </a:lnTo>
                  <a:lnTo>
                    <a:pt x="2049462" y="598932"/>
                  </a:lnTo>
                  <a:lnTo>
                    <a:pt x="2049500" y="599580"/>
                  </a:lnTo>
                  <a:lnTo>
                    <a:pt x="2049602" y="598932"/>
                  </a:lnTo>
                  <a:lnTo>
                    <a:pt x="2049703" y="598932"/>
                  </a:lnTo>
                  <a:lnTo>
                    <a:pt x="2049703" y="599580"/>
                  </a:lnTo>
                  <a:lnTo>
                    <a:pt x="2049856" y="599580"/>
                  </a:lnTo>
                  <a:lnTo>
                    <a:pt x="2049906" y="598932"/>
                  </a:lnTo>
                  <a:lnTo>
                    <a:pt x="2050948" y="598932"/>
                  </a:lnTo>
                  <a:lnTo>
                    <a:pt x="2050948" y="598335"/>
                  </a:lnTo>
                  <a:lnTo>
                    <a:pt x="2050999" y="598932"/>
                  </a:lnTo>
                  <a:lnTo>
                    <a:pt x="2050999" y="598335"/>
                  </a:lnTo>
                  <a:lnTo>
                    <a:pt x="2051050" y="598335"/>
                  </a:lnTo>
                  <a:lnTo>
                    <a:pt x="2051088" y="598932"/>
                  </a:lnTo>
                  <a:lnTo>
                    <a:pt x="2051494" y="598932"/>
                  </a:lnTo>
                  <a:lnTo>
                    <a:pt x="2051494" y="598335"/>
                  </a:lnTo>
                  <a:lnTo>
                    <a:pt x="2051545" y="598335"/>
                  </a:lnTo>
                  <a:lnTo>
                    <a:pt x="2051634" y="598932"/>
                  </a:lnTo>
                  <a:lnTo>
                    <a:pt x="2052828" y="598932"/>
                  </a:lnTo>
                  <a:lnTo>
                    <a:pt x="2052878" y="599580"/>
                  </a:lnTo>
                  <a:lnTo>
                    <a:pt x="2052980" y="598932"/>
                  </a:lnTo>
                  <a:lnTo>
                    <a:pt x="2053081" y="598932"/>
                  </a:lnTo>
                  <a:lnTo>
                    <a:pt x="2053081" y="599580"/>
                  </a:lnTo>
                  <a:lnTo>
                    <a:pt x="2053221" y="599580"/>
                  </a:lnTo>
                  <a:lnTo>
                    <a:pt x="2053272" y="598932"/>
                  </a:lnTo>
                  <a:lnTo>
                    <a:pt x="2053526" y="598932"/>
                  </a:lnTo>
                  <a:lnTo>
                    <a:pt x="2053577" y="599580"/>
                  </a:lnTo>
                  <a:lnTo>
                    <a:pt x="2053577" y="598932"/>
                  </a:lnTo>
                  <a:lnTo>
                    <a:pt x="2054225" y="598932"/>
                  </a:lnTo>
                  <a:lnTo>
                    <a:pt x="2054225" y="599580"/>
                  </a:lnTo>
                  <a:lnTo>
                    <a:pt x="2054263" y="599580"/>
                  </a:lnTo>
                  <a:lnTo>
                    <a:pt x="2054263" y="598932"/>
                  </a:lnTo>
                  <a:lnTo>
                    <a:pt x="2054466" y="598932"/>
                  </a:lnTo>
                  <a:lnTo>
                    <a:pt x="2054567" y="598335"/>
                  </a:lnTo>
                  <a:lnTo>
                    <a:pt x="2054618" y="598932"/>
                  </a:lnTo>
                  <a:lnTo>
                    <a:pt x="2055113" y="598932"/>
                  </a:lnTo>
                  <a:lnTo>
                    <a:pt x="2055164" y="599580"/>
                  </a:lnTo>
                  <a:lnTo>
                    <a:pt x="2055164" y="598932"/>
                  </a:lnTo>
                  <a:lnTo>
                    <a:pt x="2055609" y="598932"/>
                  </a:lnTo>
                  <a:lnTo>
                    <a:pt x="2055710" y="598335"/>
                  </a:lnTo>
                  <a:lnTo>
                    <a:pt x="2055761" y="598335"/>
                  </a:lnTo>
                  <a:lnTo>
                    <a:pt x="2055761" y="598932"/>
                  </a:lnTo>
                  <a:lnTo>
                    <a:pt x="2056206" y="598932"/>
                  </a:lnTo>
                  <a:lnTo>
                    <a:pt x="2056256" y="598335"/>
                  </a:lnTo>
                  <a:lnTo>
                    <a:pt x="2056307" y="598932"/>
                  </a:lnTo>
                  <a:lnTo>
                    <a:pt x="2056447" y="598932"/>
                  </a:lnTo>
                  <a:lnTo>
                    <a:pt x="2056498" y="599580"/>
                  </a:lnTo>
                  <a:lnTo>
                    <a:pt x="2056549" y="599580"/>
                  </a:lnTo>
                  <a:lnTo>
                    <a:pt x="2056650" y="598932"/>
                  </a:lnTo>
                  <a:lnTo>
                    <a:pt x="2057641" y="598932"/>
                  </a:lnTo>
                  <a:lnTo>
                    <a:pt x="2057641" y="599580"/>
                  </a:lnTo>
                  <a:lnTo>
                    <a:pt x="2057844" y="599580"/>
                  </a:lnTo>
                  <a:lnTo>
                    <a:pt x="2057895" y="598932"/>
                  </a:lnTo>
                  <a:lnTo>
                    <a:pt x="2058288" y="598932"/>
                  </a:lnTo>
                  <a:lnTo>
                    <a:pt x="2058288" y="598335"/>
                  </a:lnTo>
                  <a:lnTo>
                    <a:pt x="2058441" y="598335"/>
                  </a:lnTo>
                  <a:lnTo>
                    <a:pt x="2058479" y="598932"/>
                  </a:lnTo>
                  <a:lnTo>
                    <a:pt x="2058530" y="598932"/>
                  </a:lnTo>
                  <a:lnTo>
                    <a:pt x="2058530" y="598335"/>
                  </a:lnTo>
                  <a:lnTo>
                    <a:pt x="2058885" y="598335"/>
                  </a:lnTo>
                  <a:lnTo>
                    <a:pt x="2058885" y="598932"/>
                  </a:lnTo>
                  <a:lnTo>
                    <a:pt x="2058936" y="598335"/>
                  </a:lnTo>
                  <a:lnTo>
                    <a:pt x="2058987" y="598335"/>
                  </a:lnTo>
                  <a:lnTo>
                    <a:pt x="2059025" y="597649"/>
                  </a:lnTo>
                  <a:lnTo>
                    <a:pt x="2059127" y="597649"/>
                  </a:lnTo>
                  <a:lnTo>
                    <a:pt x="2059127" y="598335"/>
                  </a:lnTo>
                  <a:lnTo>
                    <a:pt x="2059178" y="598932"/>
                  </a:lnTo>
                  <a:lnTo>
                    <a:pt x="2059228" y="598932"/>
                  </a:lnTo>
                  <a:lnTo>
                    <a:pt x="2059330" y="598335"/>
                  </a:lnTo>
                  <a:lnTo>
                    <a:pt x="2059431" y="598335"/>
                  </a:lnTo>
                  <a:lnTo>
                    <a:pt x="2059482" y="598932"/>
                  </a:lnTo>
                  <a:lnTo>
                    <a:pt x="2059622" y="598932"/>
                  </a:lnTo>
                  <a:lnTo>
                    <a:pt x="2059673" y="598335"/>
                  </a:lnTo>
                  <a:lnTo>
                    <a:pt x="2059724" y="598335"/>
                  </a:lnTo>
                  <a:lnTo>
                    <a:pt x="2059825" y="598932"/>
                  </a:lnTo>
                  <a:lnTo>
                    <a:pt x="2060028" y="598932"/>
                  </a:lnTo>
                  <a:lnTo>
                    <a:pt x="2060028" y="598335"/>
                  </a:lnTo>
                  <a:lnTo>
                    <a:pt x="2060117" y="598335"/>
                  </a:lnTo>
                  <a:lnTo>
                    <a:pt x="2060117" y="598932"/>
                  </a:lnTo>
                  <a:lnTo>
                    <a:pt x="2060270" y="598932"/>
                  </a:lnTo>
                  <a:lnTo>
                    <a:pt x="2060321" y="598335"/>
                  </a:lnTo>
                  <a:lnTo>
                    <a:pt x="2060321" y="598932"/>
                  </a:lnTo>
                  <a:lnTo>
                    <a:pt x="2060473" y="598932"/>
                  </a:lnTo>
                  <a:lnTo>
                    <a:pt x="2060524" y="598335"/>
                  </a:lnTo>
                  <a:lnTo>
                    <a:pt x="2060613" y="598335"/>
                  </a:lnTo>
                  <a:lnTo>
                    <a:pt x="2060613" y="598932"/>
                  </a:lnTo>
                  <a:lnTo>
                    <a:pt x="2060765" y="598932"/>
                  </a:lnTo>
                  <a:lnTo>
                    <a:pt x="2060816" y="598335"/>
                  </a:lnTo>
                  <a:lnTo>
                    <a:pt x="2060917" y="598932"/>
                  </a:lnTo>
                  <a:lnTo>
                    <a:pt x="2060917" y="598335"/>
                  </a:lnTo>
                  <a:lnTo>
                    <a:pt x="2061019" y="598335"/>
                  </a:lnTo>
                  <a:lnTo>
                    <a:pt x="2061070" y="597649"/>
                  </a:lnTo>
                  <a:lnTo>
                    <a:pt x="2061159" y="598335"/>
                  </a:lnTo>
                  <a:lnTo>
                    <a:pt x="2061210" y="598335"/>
                  </a:lnTo>
                  <a:lnTo>
                    <a:pt x="2061210" y="598932"/>
                  </a:lnTo>
                  <a:lnTo>
                    <a:pt x="2061260" y="598335"/>
                  </a:lnTo>
                  <a:lnTo>
                    <a:pt x="2061311" y="598932"/>
                  </a:lnTo>
                  <a:lnTo>
                    <a:pt x="2061311" y="598335"/>
                  </a:lnTo>
                  <a:lnTo>
                    <a:pt x="2062060" y="598335"/>
                  </a:lnTo>
                  <a:lnTo>
                    <a:pt x="2062111" y="598932"/>
                  </a:lnTo>
                  <a:lnTo>
                    <a:pt x="2062111" y="598335"/>
                  </a:lnTo>
                  <a:lnTo>
                    <a:pt x="2063343" y="598335"/>
                  </a:lnTo>
                  <a:lnTo>
                    <a:pt x="2063343" y="597649"/>
                  </a:lnTo>
                  <a:lnTo>
                    <a:pt x="2063445" y="598335"/>
                  </a:lnTo>
                  <a:lnTo>
                    <a:pt x="2063648" y="598335"/>
                  </a:lnTo>
                  <a:lnTo>
                    <a:pt x="2063699" y="597649"/>
                  </a:lnTo>
                  <a:lnTo>
                    <a:pt x="2063750" y="597649"/>
                  </a:lnTo>
                  <a:lnTo>
                    <a:pt x="2063750" y="598335"/>
                  </a:lnTo>
                  <a:lnTo>
                    <a:pt x="2064245" y="598335"/>
                  </a:lnTo>
                  <a:lnTo>
                    <a:pt x="2064334" y="597649"/>
                  </a:lnTo>
                  <a:lnTo>
                    <a:pt x="2064334" y="598335"/>
                  </a:lnTo>
                  <a:lnTo>
                    <a:pt x="2064435" y="598335"/>
                  </a:lnTo>
                  <a:lnTo>
                    <a:pt x="2064486" y="598932"/>
                  </a:lnTo>
                  <a:lnTo>
                    <a:pt x="2064588" y="598932"/>
                  </a:lnTo>
                  <a:lnTo>
                    <a:pt x="2064588" y="598335"/>
                  </a:lnTo>
                  <a:lnTo>
                    <a:pt x="2066074" y="598335"/>
                  </a:lnTo>
                  <a:lnTo>
                    <a:pt x="2066175" y="597649"/>
                  </a:lnTo>
                  <a:lnTo>
                    <a:pt x="2066175" y="598335"/>
                  </a:lnTo>
                  <a:lnTo>
                    <a:pt x="2066671" y="598335"/>
                  </a:lnTo>
                  <a:lnTo>
                    <a:pt x="2066671" y="597649"/>
                  </a:lnTo>
                  <a:lnTo>
                    <a:pt x="2066721" y="597649"/>
                  </a:lnTo>
                  <a:lnTo>
                    <a:pt x="2066721" y="598335"/>
                  </a:lnTo>
                  <a:lnTo>
                    <a:pt x="2067064" y="598335"/>
                  </a:lnTo>
                  <a:lnTo>
                    <a:pt x="2067064" y="597649"/>
                  </a:lnTo>
                  <a:lnTo>
                    <a:pt x="2067267" y="597649"/>
                  </a:lnTo>
                  <a:lnTo>
                    <a:pt x="2067267" y="598335"/>
                  </a:lnTo>
                  <a:lnTo>
                    <a:pt x="2067318" y="597649"/>
                  </a:lnTo>
                  <a:lnTo>
                    <a:pt x="2067369" y="598335"/>
                  </a:lnTo>
                  <a:lnTo>
                    <a:pt x="2068004" y="598335"/>
                  </a:lnTo>
                  <a:lnTo>
                    <a:pt x="2068004" y="597649"/>
                  </a:lnTo>
                  <a:lnTo>
                    <a:pt x="2068055" y="598335"/>
                  </a:lnTo>
                  <a:lnTo>
                    <a:pt x="2068106" y="598335"/>
                  </a:lnTo>
                  <a:lnTo>
                    <a:pt x="2068207" y="597649"/>
                  </a:lnTo>
                  <a:lnTo>
                    <a:pt x="2068410" y="597649"/>
                  </a:lnTo>
                  <a:lnTo>
                    <a:pt x="2068461" y="598335"/>
                  </a:lnTo>
                  <a:lnTo>
                    <a:pt x="2068956" y="598335"/>
                  </a:lnTo>
                  <a:lnTo>
                    <a:pt x="2069007" y="597649"/>
                  </a:lnTo>
                  <a:lnTo>
                    <a:pt x="2069096" y="597649"/>
                  </a:lnTo>
                  <a:lnTo>
                    <a:pt x="2069096" y="598335"/>
                  </a:lnTo>
                  <a:lnTo>
                    <a:pt x="2069147" y="598932"/>
                  </a:lnTo>
                  <a:lnTo>
                    <a:pt x="2069198" y="598335"/>
                  </a:lnTo>
                  <a:lnTo>
                    <a:pt x="2069350" y="598335"/>
                  </a:lnTo>
                  <a:lnTo>
                    <a:pt x="2069401" y="597649"/>
                  </a:lnTo>
                  <a:lnTo>
                    <a:pt x="2069452" y="597649"/>
                  </a:lnTo>
                  <a:lnTo>
                    <a:pt x="2069553" y="598335"/>
                  </a:lnTo>
                  <a:lnTo>
                    <a:pt x="2069795" y="598335"/>
                  </a:lnTo>
                  <a:lnTo>
                    <a:pt x="2069846" y="597649"/>
                  </a:lnTo>
                  <a:lnTo>
                    <a:pt x="2070049" y="597649"/>
                  </a:lnTo>
                  <a:lnTo>
                    <a:pt x="2070049" y="598335"/>
                  </a:lnTo>
                  <a:lnTo>
                    <a:pt x="2070100" y="597649"/>
                  </a:lnTo>
                  <a:lnTo>
                    <a:pt x="2070138" y="598335"/>
                  </a:lnTo>
                  <a:lnTo>
                    <a:pt x="2070138" y="597649"/>
                  </a:lnTo>
                  <a:lnTo>
                    <a:pt x="2070239" y="598335"/>
                  </a:lnTo>
                  <a:lnTo>
                    <a:pt x="2070290" y="598335"/>
                  </a:lnTo>
                  <a:lnTo>
                    <a:pt x="2070290" y="597649"/>
                  </a:lnTo>
                  <a:lnTo>
                    <a:pt x="2071281" y="597649"/>
                  </a:lnTo>
                  <a:lnTo>
                    <a:pt x="2071382" y="598335"/>
                  </a:lnTo>
                  <a:lnTo>
                    <a:pt x="2071382" y="597649"/>
                  </a:lnTo>
                  <a:lnTo>
                    <a:pt x="2071636" y="597649"/>
                  </a:lnTo>
                  <a:lnTo>
                    <a:pt x="2071687" y="596354"/>
                  </a:lnTo>
                  <a:lnTo>
                    <a:pt x="2071725" y="597649"/>
                  </a:lnTo>
                  <a:lnTo>
                    <a:pt x="2071827" y="597649"/>
                  </a:lnTo>
                  <a:lnTo>
                    <a:pt x="2071827" y="598335"/>
                  </a:lnTo>
                  <a:lnTo>
                    <a:pt x="2071878" y="597649"/>
                  </a:lnTo>
                  <a:lnTo>
                    <a:pt x="2072576" y="597649"/>
                  </a:lnTo>
                  <a:lnTo>
                    <a:pt x="2072576" y="598335"/>
                  </a:lnTo>
                  <a:lnTo>
                    <a:pt x="2072627" y="597649"/>
                  </a:lnTo>
                  <a:lnTo>
                    <a:pt x="2072817" y="597649"/>
                  </a:lnTo>
                  <a:lnTo>
                    <a:pt x="2072868" y="596354"/>
                  </a:lnTo>
                  <a:lnTo>
                    <a:pt x="2072868" y="597649"/>
                  </a:lnTo>
                  <a:lnTo>
                    <a:pt x="2072970" y="596354"/>
                  </a:lnTo>
                  <a:lnTo>
                    <a:pt x="2073021" y="597649"/>
                  </a:lnTo>
                  <a:lnTo>
                    <a:pt x="2073275" y="597649"/>
                  </a:lnTo>
                  <a:lnTo>
                    <a:pt x="2073313" y="598335"/>
                  </a:lnTo>
                  <a:lnTo>
                    <a:pt x="2073313" y="597649"/>
                  </a:lnTo>
                  <a:lnTo>
                    <a:pt x="2073668" y="597649"/>
                  </a:lnTo>
                  <a:lnTo>
                    <a:pt x="2073668" y="598335"/>
                  </a:lnTo>
                  <a:lnTo>
                    <a:pt x="2073719" y="597649"/>
                  </a:lnTo>
                  <a:lnTo>
                    <a:pt x="2074163" y="597649"/>
                  </a:lnTo>
                  <a:lnTo>
                    <a:pt x="2074214" y="598335"/>
                  </a:lnTo>
                  <a:lnTo>
                    <a:pt x="2074214" y="597649"/>
                  </a:lnTo>
                  <a:lnTo>
                    <a:pt x="2074456" y="597649"/>
                  </a:lnTo>
                  <a:lnTo>
                    <a:pt x="2074557" y="596354"/>
                  </a:lnTo>
                  <a:lnTo>
                    <a:pt x="2074608" y="596354"/>
                  </a:lnTo>
                  <a:lnTo>
                    <a:pt x="2074659" y="597649"/>
                  </a:lnTo>
                  <a:lnTo>
                    <a:pt x="2074760" y="596354"/>
                  </a:lnTo>
                  <a:lnTo>
                    <a:pt x="2074811" y="596354"/>
                  </a:lnTo>
                  <a:lnTo>
                    <a:pt x="2074862" y="597649"/>
                  </a:lnTo>
                  <a:lnTo>
                    <a:pt x="2074900" y="597649"/>
                  </a:lnTo>
                  <a:lnTo>
                    <a:pt x="2075002" y="596354"/>
                  </a:lnTo>
                  <a:lnTo>
                    <a:pt x="2075103" y="596354"/>
                  </a:lnTo>
                  <a:lnTo>
                    <a:pt x="2075103" y="597649"/>
                  </a:lnTo>
                  <a:lnTo>
                    <a:pt x="2075205" y="596354"/>
                  </a:lnTo>
                  <a:lnTo>
                    <a:pt x="2075205" y="597649"/>
                  </a:lnTo>
                  <a:lnTo>
                    <a:pt x="2075256" y="597649"/>
                  </a:lnTo>
                  <a:lnTo>
                    <a:pt x="2075256" y="596354"/>
                  </a:lnTo>
                  <a:lnTo>
                    <a:pt x="2075306" y="597649"/>
                  </a:lnTo>
                  <a:lnTo>
                    <a:pt x="2075306" y="596354"/>
                  </a:lnTo>
                  <a:lnTo>
                    <a:pt x="2075357" y="596354"/>
                  </a:lnTo>
                  <a:lnTo>
                    <a:pt x="2075446" y="597649"/>
                  </a:lnTo>
                  <a:lnTo>
                    <a:pt x="2075446" y="596354"/>
                  </a:lnTo>
                  <a:lnTo>
                    <a:pt x="2075497" y="597649"/>
                  </a:lnTo>
                  <a:lnTo>
                    <a:pt x="2075700" y="597649"/>
                  </a:lnTo>
                  <a:lnTo>
                    <a:pt x="2075751" y="596354"/>
                  </a:lnTo>
                  <a:lnTo>
                    <a:pt x="2075802" y="596354"/>
                  </a:lnTo>
                  <a:lnTo>
                    <a:pt x="2075903" y="597649"/>
                  </a:lnTo>
                  <a:lnTo>
                    <a:pt x="2075903" y="596354"/>
                  </a:lnTo>
                  <a:lnTo>
                    <a:pt x="2075941" y="596354"/>
                  </a:lnTo>
                  <a:lnTo>
                    <a:pt x="2075941" y="597649"/>
                  </a:lnTo>
                  <a:lnTo>
                    <a:pt x="2075992" y="596354"/>
                  </a:lnTo>
                  <a:lnTo>
                    <a:pt x="2076145" y="596354"/>
                  </a:lnTo>
                  <a:lnTo>
                    <a:pt x="2076196" y="597649"/>
                  </a:lnTo>
                  <a:lnTo>
                    <a:pt x="2076348" y="597649"/>
                  </a:lnTo>
                  <a:lnTo>
                    <a:pt x="2076348" y="596354"/>
                  </a:lnTo>
                  <a:lnTo>
                    <a:pt x="2076488" y="596354"/>
                  </a:lnTo>
                  <a:lnTo>
                    <a:pt x="2076488" y="597649"/>
                  </a:lnTo>
                  <a:lnTo>
                    <a:pt x="2076589" y="597649"/>
                  </a:lnTo>
                  <a:lnTo>
                    <a:pt x="2076640" y="596354"/>
                  </a:lnTo>
                  <a:lnTo>
                    <a:pt x="2076691" y="596354"/>
                  </a:lnTo>
                  <a:lnTo>
                    <a:pt x="2076792" y="597649"/>
                  </a:lnTo>
                  <a:lnTo>
                    <a:pt x="2076792" y="596354"/>
                  </a:lnTo>
                  <a:lnTo>
                    <a:pt x="2076843" y="596354"/>
                  </a:lnTo>
                  <a:lnTo>
                    <a:pt x="2076843" y="597649"/>
                  </a:lnTo>
                  <a:lnTo>
                    <a:pt x="2076945" y="597649"/>
                  </a:lnTo>
                  <a:lnTo>
                    <a:pt x="2077034" y="596354"/>
                  </a:lnTo>
                  <a:lnTo>
                    <a:pt x="2077034" y="597649"/>
                  </a:lnTo>
                  <a:lnTo>
                    <a:pt x="2077085" y="596354"/>
                  </a:lnTo>
                  <a:lnTo>
                    <a:pt x="2077085" y="597649"/>
                  </a:lnTo>
                  <a:lnTo>
                    <a:pt x="2077580" y="597649"/>
                  </a:lnTo>
                  <a:lnTo>
                    <a:pt x="2077580" y="596354"/>
                  </a:lnTo>
                  <a:lnTo>
                    <a:pt x="2077834" y="596354"/>
                  </a:lnTo>
                  <a:lnTo>
                    <a:pt x="2077935" y="595706"/>
                  </a:lnTo>
                  <a:lnTo>
                    <a:pt x="2077935" y="596354"/>
                  </a:lnTo>
                  <a:lnTo>
                    <a:pt x="2077986" y="596354"/>
                  </a:lnTo>
                  <a:lnTo>
                    <a:pt x="2078037" y="597649"/>
                  </a:lnTo>
                  <a:lnTo>
                    <a:pt x="2078177" y="597649"/>
                  </a:lnTo>
                  <a:lnTo>
                    <a:pt x="2078177" y="596354"/>
                  </a:lnTo>
                  <a:lnTo>
                    <a:pt x="2078481" y="596354"/>
                  </a:lnTo>
                  <a:lnTo>
                    <a:pt x="2078532" y="597649"/>
                  </a:lnTo>
                  <a:lnTo>
                    <a:pt x="2078532" y="596354"/>
                  </a:lnTo>
                  <a:lnTo>
                    <a:pt x="2078774" y="596354"/>
                  </a:lnTo>
                  <a:lnTo>
                    <a:pt x="2078875" y="597649"/>
                  </a:lnTo>
                  <a:lnTo>
                    <a:pt x="2078875" y="596354"/>
                  </a:lnTo>
                  <a:lnTo>
                    <a:pt x="2078977" y="596354"/>
                  </a:lnTo>
                  <a:lnTo>
                    <a:pt x="2079078" y="597649"/>
                  </a:lnTo>
                  <a:lnTo>
                    <a:pt x="2079078" y="596354"/>
                  </a:lnTo>
                  <a:lnTo>
                    <a:pt x="2080069" y="596354"/>
                  </a:lnTo>
                  <a:lnTo>
                    <a:pt x="2080120" y="597649"/>
                  </a:lnTo>
                  <a:lnTo>
                    <a:pt x="2080260" y="597649"/>
                  </a:lnTo>
                  <a:lnTo>
                    <a:pt x="2080310" y="596354"/>
                  </a:lnTo>
                  <a:lnTo>
                    <a:pt x="2080513" y="596354"/>
                  </a:lnTo>
                  <a:lnTo>
                    <a:pt x="2080564" y="597649"/>
                  </a:lnTo>
                  <a:lnTo>
                    <a:pt x="2080564" y="596354"/>
                  </a:lnTo>
                  <a:lnTo>
                    <a:pt x="2080704" y="596354"/>
                  </a:lnTo>
                  <a:lnTo>
                    <a:pt x="2080704" y="597649"/>
                  </a:lnTo>
                  <a:lnTo>
                    <a:pt x="2080755" y="597649"/>
                  </a:lnTo>
                  <a:lnTo>
                    <a:pt x="2080755" y="596354"/>
                  </a:lnTo>
                  <a:lnTo>
                    <a:pt x="2080806" y="596354"/>
                  </a:lnTo>
                  <a:lnTo>
                    <a:pt x="2080907" y="597649"/>
                  </a:lnTo>
                  <a:lnTo>
                    <a:pt x="2080958" y="597649"/>
                  </a:lnTo>
                  <a:lnTo>
                    <a:pt x="2080958" y="596354"/>
                  </a:lnTo>
                  <a:lnTo>
                    <a:pt x="2081796" y="596354"/>
                  </a:lnTo>
                  <a:lnTo>
                    <a:pt x="2081796" y="597649"/>
                  </a:lnTo>
                  <a:lnTo>
                    <a:pt x="2081949" y="597649"/>
                  </a:lnTo>
                  <a:lnTo>
                    <a:pt x="2081949" y="596354"/>
                  </a:lnTo>
                  <a:lnTo>
                    <a:pt x="2082393" y="596354"/>
                  </a:lnTo>
                  <a:lnTo>
                    <a:pt x="2082495" y="597649"/>
                  </a:lnTo>
                  <a:lnTo>
                    <a:pt x="2082495" y="596354"/>
                  </a:lnTo>
                  <a:lnTo>
                    <a:pt x="2082546" y="596354"/>
                  </a:lnTo>
                  <a:lnTo>
                    <a:pt x="2082546" y="597649"/>
                  </a:lnTo>
                  <a:lnTo>
                    <a:pt x="2082596" y="596354"/>
                  </a:lnTo>
                  <a:lnTo>
                    <a:pt x="2083638" y="596354"/>
                  </a:lnTo>
                  <a:lnTo>
                    <a:pt x="2083688" y="595706"/>
                  </a:lnTo>
                  <a:lnTo>
                    <a:pt x="2083739" y="596354"/>
                  </a:lnTo>
                  <a:lnTo>
                    <a:pt x="2083841" y="596354"/>
                  </a:lnTo>
                  <a:lnTo>
                    <a:pt x="2083879" y="597649"/>
                  </a:lnTo>
                  <a:lnTo>
                    <a:pt x="2083930" y="597649"/>
                  </a:lnTo>
                  <a:lnTo>
                    <a:pt x="2083981" y="596354"/>
                  </a:lnTo>
                  <a:lnTo>
                    <a:pt x="2084285" y="596354"/>
                  </a:lnTo>
                  <a:lnTo>
                    <a:pt x="2084285" y="597649"/>
                  </a:lnTo>
                  <a:lnTo>
                    <a:pt x="2084336" y="597649"/>
                  </a:lnTo>
                  <a:lnTo>
                    <a:pt x="2084336" y="596354"/>
                  </a:lnTo>
                  <a:lnTo>
                    <a:pt x="2084387" y="596354"/>
                  </a:lnTo>
                  <a:lnTo>
                    <a:pt x="2084387" y="595706"/>
                  </a:lnTo>
                  <a:lnTo>
                    <a:pt x="2084425" y="596354"/>
                  </a:lnTo>
                  <a:lnTo>
                    <a:pt x="2085771" y="596354"/>
                  </a:lnTo>
                  <a:lnTo>
                    <a:pt x="2085771" y="595706"/>
                  </a:lnTo>
                  <a:lnTo>
                    <a:pt x="2085873" y="596354"/>
                  </a:lnTo>
                  <a:lnTo>
                    <a:pt x="2086470" y="596354"/>
                  </a:lnTo>
                  <a:lnTo>
                    <a:pt x="2086559" y="597649"/>
                  </a:lnTo>
                  <a:lnTo>
                    <a:pt x="2086559" y="596354"/>
                  </a:lnTo>
                  <a:lnTo>
                    <a:pt x="2086610" y="596354"/>
                  </a:lnTo>
                  <a:lnTo>
                    <a:pt x="2086660" y="597649"/>
                  </a:lnTo>
                  <a:lnTo>
                    <a:pt x="2086660" y="596354"/>
                  </a:lnTo>
                  <a:lnTo>
                    <a:pt x="2087702" y="596354"/>
                  </a:lnTo>
                  <a:lnTo>
                    <a:pt x="2087702" y="595706"/>
                  </a:lnTo>
                  <a:lnTo>
                    <a:pt x="2088006" y="595706"/>
                  </a:lnTo>
                  <a:lnTo>
                    <a:pt x="2088006" y="596354"/>
                  </a:lnTo>
                  <a:lnTo>
                    <a:pt x="2088400" y="596354"/>
                  </a:lnTo>
                  <a:lnTo>
                    <a:pt x="2088451" y="595706"/>
                  </a:lnTo>
                  <a:lnTo>
                    <a:pt x="2088603" y="597649"/>
                  </a:lnTo>
                  <a:lnTo>
                    <a:pt x="2088641" y="596354"/>
                  </a:lnTo>
                  <a:lnTo>
                    <a:pt x="2088743" y="596354"/>
                  </a:lnTo>
                  <a:lnTo>
                    <a:pt x="2088845" y="595706"/>
                  </a:lnTo>
                  <a:lnTo>
                    <a:pt x="2088845" y="596354"/>
                  </a:lnTo>
                  <a:lnTo>
                    <a:pt x="2089099" y="596354"/>
                  </a:lnTo>
                  <a:lnTo>
                    <a:pt x="2089099" y="597649"/>
                  </a:lnTo>
                  <a:lnTo>
                    <a:pt x="2089188" y="597649"/>
                  </a:lnTo>
                  <a:lnTo>
                    <a:pt x="2089188" y="596354"/>
                  </a:lnTo>
                  <a:lnTo>
                    <a:pt x="2089391" y="596354"/>
                  </a:lnTo>
                  <a:lnTo>
                    <a:pt x="2089492" y="597649"/>
                  </a:lnTo>
                  <a:lnTo>
                    <a:pt x="2089543" y="597649"/>
                  </a:lnTo>
                  <a:lnTo>
                    <a:pt x="2089594" y="596354"/>
                  </a:lnTo>
                  <a:lnTo>
                    <a:pt x="2089645" y="596354"/>
                  </a:lnTo>
                  <a:lnTo>
                    <a:pt x="2089734" y="595706"/>
                  </a:lnTo>
                  <a:lnTo>
                    <a:pt x="2089785" y="595706"/>
                  </a:lnTo>
                  <a:lnTo>
                    <a:pt x="2089835" y="596354"/>
                  </a:lnTo>
                  <a:lnTo>
                    <a:pt x="2089886" y="596354"/>
                  </a:lnTo>
                  <a:lnTo>
                    <a:pt x="2089886" y="595706"/>
                  </a:lnTo>
                  <a:lnTo>
                    <a:pt x="2089988" y="595706"/>
                  </a:lnTo>
                  <a:lnTo>
                    <a:pt x="2090038" y="596354"/>
                  </a:lnTo>
                  <a:lnTo>
                    <a:pt x="2090331" y="596354"/>
                  </a:lnTo>
                  <a:lnTo>
                    <a:pt x="2090432" y="595706"/>
                  </a:lnTo>
                  <a:lnTo>
                    <a:pt x="2090483" y="595706"/>
                  </a:lnTo>
                  <a:lnTo>
                    <a:pt x="2090483" y="596354"/>
                  </a:lnTo>
                  <a:lnTo>
                    <a:pt x="2090635" y="596354"/>
                  </a:lnTo>
                  <a:lnTo>
                    <a:pt x="2090686" y="595706"/>
                  </a:lnTo>
                  <a:lnTo>
                    <a:pt x="2090775" y="595706"/>
                  </a:lnTo>
                  <a:lnTo>
                    <a:pt x="2090775" y="596354"/>
                  </a:lnTo>
                  <a:lnTo>
                    <a:pt x="2091080" y="596354"/>
                  </a:lnTo>
                  <a:lnTo>
                    <a:pt x="2091131" y="595706"/>
                  </a:lnTo>
                  <a:lnTo>
                    <a:pt x="2091181" y="596354"/>
                  </a:lnTo>
                  <a:lnTo>
                    <a:pt x="2091321" y="596354"/>
                  </a:lnTo>
                  <a:lnTo>
                    <a:pt x="2091372" y="595706"/>
                  </a:lnTo>
                  <a:lnTo>
                    <a:pt x="2091423" y="596354"/>
                  </a:lnTo>
                  <a:lnTo>
                    <a:pt x="2091474" y="596354"/>
                  </a:lnTo>
                  <a:lnTo>
                    <a:pt x="2091575" y="597649"/>
                  </a:lnTo>
                  <a:lnTo>
                    <a:pt x="2091575" y="596354"/>
                  </a:lnTo>
                  <a:lnTo>
                    <a:pt x="2091816" y="596354"/>
                  </a:lnTo>
                  <a:lnTo>
                    <a:pt x="2091867" y="597649"/>
                  </a:lnTo>
                  <a:lnTo>
                    <a:pt x="2091918" y="596354"/>
                  </a:lnTo>
                  <a:lnTo>
                    <a:pt x="2092909" y="596354"/>
                  </a:lnTo>
                  <a:lnTo>
                    <a:pt x="2092909" y="597649"/>
                  </a:lnTo>
                  <a:lnTo>
                    <a:pt x="2092960" y="596354"/>
                  </a:lnTo>
                  <a:lnTo>
                    <a:pt x="2093163" y="596354"/>
                  </a:lnTo>
                  <a:lnTo>
                    <a:pt x="2093163" y="597649"/>
                  </a:lnTo>
                  <a:lnTo>
                    <a:pt x="2093213" y="596354"/>
                  </a:lnTo>
                  <a:lnTo>
                    <a:pt x="2093213" y="597649"/>
                  </a:lnTo>
                  <a:lnTo>
                    <a:pt x="2093264" y="597649"/>
                  </a:lnTo>
                  <a:lnTo>
                    <a:pt x="2093366" y="596354"/>
                  </a:lnTo>
                  <a:lnTo>
                    <a:pt x="2094153" y="596354"/>
                  </a:lnTo>
                  <a:lnTo>
                    <a:pt x="2094255" y="597649"/>
                  </a:lnTo>
                  <a:lnTo>
                    <a:pt x="2094306" y="596354"/>
                  </a:lnTo>
                  <a:lnTo>
                    <a:pt x="2094407" y="596354"/>
                  </a:lnTo>
                  <a:lnTo>
                    <a:pt x="2094496" y="595706"/>
                  </a:lnTo>
                  <a:lnTo>
                    <a:pt x="2094547" y="596354"/>
                  </a:lnTo>
                  <a:lnTo>
                    <a:pt x="2094852" y="596354"/>
                  </a:lnTo>
                  <a:lnTo>
                    <a:pt x="2094953" y="597649"/>
                  </a:lnTo>
                  <a:lnTo>
                    <a:pt x="2094953" y="596354"/>
                  </a:lnTo>
                  <a:lnTo>
                    <a:pt x="2094991" y="596354"/>
                  </a:lnTo>
                  <a:lnTo>
                    <a:pt x="2094991" y="597649"/>
                  </a:lnTo>
                  <a:lnTo>
                    <a:pt x="2095042" y="597649"/>
                  </a:lnTo>
                  <a:lnTo>
                    <a:pt x="2095042" y="596354"/>
                  </a:lnTo>
                  <a:lnTo>
                    <a:pt x="2095893" y="596354"/>
                  </a:lnTo>
                  <a:lnTo>
                    <a:pt x="2095944" y="597649"/>
                  </a:lnTo>
                  <a:lnTo>
                    <a:pt x="2095944" y="596354"/>
                  </a:lnTo>
                  <a:lnTo>
                    <a:pt x="2096084" y="596354"/>
                  </a:lnTo>
                  <a:lnTo>
                    <a:pt x="2096084" y="597649"/>
                  </a:lnTo>
                  <a:lnTo>
                    <a:pt x="2096338" y="597649"/>
                  </a:lnTo>
                  <a:lnTo>
                    <a:pt x="2096388" y="596354"/>
                  </a:lnTo>
                  <a:lnTo>
                    <a:pt x="2096388" y="597649"/>
                  </a:lnTo>
                  <a:lnTo>
                    <a:pt x="2096541" y="597649"/>
                  </a:lnTo>
                  <a:lnTo>
                    <a:pt x="2096579" y="596354"/>
                  </a:lnTo>
                  <a:lnTo>
                    <a:pt x="2096782" y="596354"/>
                  </a:lnTo>
                  <a:lnTo>
                    <a:pt x="2096833" y="597649"/>
                  </a:lnTo>
                  <a:lnTo>
                    <a:pt x="2096884" y="596354"/>
                  </a:lnTo>
                  <a:lnTo>
                    <a:pt x="2097036" y="596354"/>
                  </a:lnTo>
                  <a:lnTo>
                    <a:pt x="2097087" y="597649"/>
                  </a:lnTo>
                  <a:lnTo>
                    <a:pt x="2097125" y="597649"/>
                  </a:lnTo>
                  <a:lnTo>
                    <a:pt x="2097125" y="596354"/>
                  </a:lnTo>
                  <a:lnTo>
                    <a:pt x="2097328" y="596354"/>
                  </a:lnTo>
                  <a:lnTo>
                    <a:pt x="2097328" y="597649"/>
                  </a:lnTo>
                  <a:lnTo>
                    <a:pt x="2097722" y="597649"/>
                  </a:lnTo>
                  <a:lnTo>
                    <a:pt x="2097722" y="596354"/>
                  </a:lnTo>
                  <a:lnTo>
                    <a:pt x="2097773" y="597649"/>
                  </a:lnTo>
                  <a:lnTo>
                    <a:pt x="2098027" y="597649"/>
                  </a:lnTo>
                  <a:lnTo>
                    <a:pt x="2098027" y="596354"/>
                  </a:lnTo>
                  <a:lnTo>
                    <a:pt x="2098128" y="597649"/>
                  </a:lnTo>
                  <a:lnTo>
                    <a:pt x="2098217" y="597649"/>
                  </a:lnTo>
                  <a:lnTo>
                    <a:pt x="2098268" y="596354"/>
                  </a:lnTo>
                  <a:lnTo>
                    <a:pt x="2098268" y="597649"/>
                  </a:lnTo>
                  <a:lnTo>
                    <a:pt x="2098675" y="597649"/>
                  </a:lnTo>
                  <a:lnTo>
                    <a:pt x="2098675" y="596354"/>
                  </a:lnTo>
                  <a:lnTo>
                    <a:pt x="2098713" y="597649"/>
                  </a:lnTo>
                  <a:lnTo>
                    <a:pt x="2099017" y="597649"/>
                  </a:lnTo>
                  <a:lnTo>
                    <a:pt x="2099068" y="596354"/>
                  </a:lnTo>
                  <a:lnTo>
                    <a:pt x="2099119" y="596354"/>
                  </a:lnTo>
                  <a:lnTo>
                    <a:pt x="2099170" y="597649"/>
                  </a:lnTo>
                  <a:lnTo>
                    <a:pt x="2099614" y="597649"/>
                  </a:lnTo>
                  <a:lnTo>
                    <a:pt x="2099614" y="596354"/>
                  </a:lnTo>
                  <a:lnTo>
                    <a:pt x="2099754" y="596354"/>
                  </a:lnTo>
                  <a:lnTo>
                    <a:pt x="2099805" y="597649"/>
                  </a:lnTo>
                  <a:lnTo>
                    <a:pt x="2099805" y="596354"/>
                  </a:lnTo>
                  <a:lnTo>
                    <a:pt x="2099856" y="596354"/>
                  </a:lnTo>
                  <a:lnTo>
                    <a:pt x="2099856" y="597649"/>
                  </a:lnTo>
                  <a:lnTo>
                    <a:pt x="2100160" y="597649"/>
                  </a:lnTo>
                  <a:lnTo>
                    <a:pt x="2100160" y="596354"/>
                  </a:lnTo>
                  <a:lnTo>
                    <a:pt x="2100262" y="596354"/>
                  </a:lnTo>
                  <a:lnTo>
                    <a:pt x="2100300" y="597649"/>
                  </a:lnTo>
                  <a:lnTo>
                    <a:pt x="2100999" y="597649"/>
                  </a:lnTo>
                  <a:lnTo>
                    <a:pt x="2100999" y="596354"/>
                  </a:lnTo>
                  <a:lnTo>
                    <a:pt x="2101151" y="596354"/>
                  </a:lnTo>
                  <a:lnTo>
                    <a:pt x="2101151" y="597649"/>
                  </a:lnTo>
                  <a:lnTo>
                    <a:pt x="2101303" y="597649"/>
                  </a:lnTo>
                  <a:lnTo>
                    <a:pt x="2101303" y="598335"/>
                  </a:lnTo>
                  <a:lnTo>
                    <a:pt x="2101341" y="597649"/>
                  </a:lnTo>
                  <a:lnTo>
                    <a:pt x="2101596" y="597649"/>
                  </a:lnTo>
                  <a:lnTo>
                    <a:pt x="2101646" y="598335"/>
                  </a:lnTo>
                  <a:lnTo>
                    <a:pt x="2101748" y="597649"/>
                  </a:lnTo>
                  <a:lnTo>
                    <a:pt x="2101799" y="596354"/>
                  </a:lnTo>
                  <a:lnTo>
                    <a:pt x="2101850" y="596354"/>
                  </a:lnTo>
                  <a:lnTo>
                    <a:pt x="2101850" y="597649"/>
                  </a:lnTo>
                  <a:lnTo>
                    <a:pt x="2102091" y="597649"/>
                  </a:lnTo>
                  <a:lnTo>
                    <a:pt x="2102192" y="596354"/>
                  </a:lnTo>
                  <a:lnTo>
                    <a:pt x="2102243" y="597649"/>
                  </a:lnTo>
                  <a:lnTo>
                    <a:pt x="2102243" y="596354"/>
                  </a:lnTo>
                  <a:lnTo>
                    <a:pt x="2102294" y="597649"/>
                  </a:lnTo>
                  <a:lnTo>
                    <a:pt x="2102485" y="597649"/>
                  </a:lnTo>
                  <a:lnTo>
                    <a:pt x="2102485" y="596354"/>
                  </a:lnTo>
                  <a:lnTo>
                    <a:pt x="2102535" y="596354"/>
                  </a:lnTo>
                  <a:lnTo>
                    <a:pt x="2102586" y="597649"/>
                  </a:lnTo>
                  <a:lnTo>
                    <a:pt x="2102688" y="597649"/>
                  </a:lnTo>
                  <a:lnTo>
                    <a:pt x="2102738" y="596354"/>
                  </a:lnTo>
                  <a:lnTo>
                    <a:pt x="2102789" y="597649"/>
                  </a:lnTo>
                  <a:lnTo>
                    <a:pt x="2102891" y="597649"/>
                  </a:lnTo>
                  <a:lnTo>
                    <a:pt x="2102891" y="596354"/>
                  </a:lnTo>
                  <a:lnTo>
                    <a:pt x="2102929" y="596354"/>
                  </a:lnTo>
                  <a:lnTo>
                    <a:pt x="2102980" y="597649"/>
                  </a:lnTo>
                  <a:lnTo>
                    <a:pt x="2103031" y="597649"/>
                  </a:lnTo>
                  <a:lnTo>
                    <a:pt x="2103132" y="596354"/>
                  </a:lnTo>
                  <a:lnTo>
                    <a:pt x="2103335" y="596354"/>
                  </a:lnTo>
                  <a:lnTo>
                    <a:pt x="2103386" y="597649"/>
                  </a:lnTo>
                  <a:lnTo>
                    <a:pt x="2103881" y="597649"/>
                  </a:lnTo>
                  <a:lnTo>
                    <a:pt x="2103881" y="596354"/>
                  </a:lnTo>
                  <a:lnTo>
                    <a:pt x="2103932" y="597649"/>
                  </a:lnTo>
                  <a:lnTo>
                    <a:pt x="2104021" y="596354"/>
                  </a:lnTo>
                  <a:lnTo>
                    <a:pt x="2104072" y="596354"/>
                  </a:lnTo>
                  <a:lnTo>
                    <a:pt x="2104072" y="597649"/>
                  </a:lnTo>
                  <a:lnTo>
                    <a:pt x="2104771" y="597649"/>
                  </a:lnTo>
                  <a:lnTo>
                    <a:pt x="2104771" y="596354"/>
                  </a:lnTo>
                  <a:lnTo>
                    <a:pt x="2104821" y="597649"/>
                  </a:lnTo>
                  <a:lnTo>
                    <a:pt x="2105063" y="597649"/>
                  </a:lnTo>
                  <a:lnTo>
                    <a:pt x="2105164" y="596354"/>
                  </a:lnTo>
                  <a:lnTo>
                    <a:pt x="2105215" y="597649"/>
                  </a:lnTo>
                  <a:lnTo>
                    <a:pt x="2105913" y="597649"/>
                  </a:lnTo>
                  <a:lnTo>
                    <a:pt x="2105913" y="598335"/>
                  </a:lnTo>
                  <a:lnTo>
                    <a:pt x="2105964" y="597649"/>
                  </a:lnTo>
                  <a:lnTo>
                    <a:pt x="2106307" y="597649"/>
                  </a:lnTo>
                  <a:lnTo>
                    <a:pt x="2106307" y="596354"/>
                  </a:lnTo>
                  <a:lnTo>
                    <a:pt x="2106358" y="597649"/>
                  </a:lnTo>
                  <a:lnTo>
                    <a:pt x="2106612" y="597649"/>
                  </a:lnTo>
                  <a:lnTo>
                    <a:pt x="2106612" y="596354"/>
                  </a:lnTo>
                  <a:lnTo>
                    <a:pt x="2106752" y="596354"/>
                  </a:lnTo>
                  <a:lnTo>
                    <a:pt x="2106803" y="597649"/>
                  </a:lnTo>
                  <a:lnTo>
                    <a:pt x="2106853" y="597649"/>
                  </a:lnTo>
                  <a:lnTo>
                    <a:pt x="2106955" y="596354"/>
                  </a:lnTo>
                  <a:lnTo>
                    <a:pt x="2107056" y="596354"/>
                  </a:lnTo>
                  <a:lnTo>
                    <a:pt x="2107107" y="597649"/>
                  </a:lnTo>
                  <a:lnTo>
                    <a:pt x="2107742" y="597649"/>
                  </a:lnTo>
                  <a:lnTo>
                    <a:pt x="2107793" y="596354"/>
                  </a:lnTo>
                  <a:lnTo>
                    <a:pt x="2107895" y="597649"/>
                  </a:lnTo>
                  <a:lnTo>
                    <a:pt x="2108390" y="597649"/>
                  </a:lnTo>
                  <a:lnTo>
                    <a:pt x="2108390" y="596354"/>
                  </a:lnTo>
                  <a:lnTo>
                    <a:pt x="2108593" y="596354"/>
                  </a:lnTo>
                  <a:lnTo>
                    <a:pt x="2108593" y="597649"/>
                  </a:lnTo>
                  <a:lnTo>
                    <a:pt x="2108644" y="596354"/>
                  </a:lnTo>
                  <a:lnTo>
                    <a:pt x="2108695" y="597649"/>
                  </a:lnTo>
                  <a:lnTo>
                    <a:pt x="2108936" y="597649"/>
                  </a:lnTo>
                  <a:lnTo>
                    <a:pt x="2109038" y="596354"/>
                  </a:lnTo>
                  <a:lnTo>
                    <a:pt x="2109088" y="597649"/>
                  </a:lnTo>
                  <a:lnTo>
                    <a:pt x="2109533" y="597649"/>
                  </a:lnTo>
                  <a:lnTo>
                    <a:pt x="2109584" y="598335"/>
                  </a:lnTo>
                  <a:lnTo>
                    <a:pt x="2109685" y="598335"/>
                  </a:lnTo>
                  <a:lnTo>
                    <a:pt x="2109685" y="597649"/>
                  </a:lnTo>
                  <a:lnTo>
                    <a:pt x="2110371" y="597649"/>
                  </a:lnTo>
                  <a:lnTo>
                    <a:pt x="2110422" y="596354"/>
                  </a:lnTo>
                  <a:lnTo>
                    <a:pt x="2110473" y="597649"/>
                  </a:lnTo>
                  <a:lnTo>
                    <a:pt x="2111324" y="597649"/>
                  </a:lnTo>
                  <a:lnTo>
                    <a:pt x="2111324" y="596354"/>
                  </a:lnTo>
                  <a:lnTo>
                    <a:pt x="2111375" y="596354"/>
                  </a:lnTo>
                  <a:lnTo>
                    <a:pt x="2111413" y="597649"/>
                  </a:lnTo>
                  <a:lnTo>
                    <a:pt x="2111819" y="597649"/>
                  </a:lnTo>
                  <a:lnTo>
                    <a:pt x="2111870" y="596354"/>
                  </a:lnTo>
                  <a:lnTo>
                    <a:pt x="2111870" y="597649"/>
                  </a:lnTo>
                  <a:lnTo>
                    <a:pt x="2112556" y="597649"/>
                  </a:lnTo>
                  <a:lnTo>
                    <a:pt x="2112657" y="598335"/>
                  </a:lnTo>
                  <a:lnTo>
                    <a:pt x="2112657" y="597649"/>
                  </a:lnTo>
                  <a:lnTo>
                    <a:pt x="2112860" y="597649"/>
                  </a:lnTo>
                  <a:lnTo>
                    <a:pt x="2112911" y="598335"/>
                  </a:lnTo>
                  <a:lnTo>
                    <a:pt x="2112962" y="598335"/>
                  </a:lnTo>
                  <a:lnTo>
                    <a:pt x="2113000" y="597649"/>
                  </a:lnTo>
                  <a:lnTo>
                    <a:pt x="2113457" y="597649"/>
                  </a:lnTo>
                  <a:lnTo>
                    <a:pt x="2113457" y="598335"/>
                  </a:lnTo>
                  <a:lnTo>
                    <a:pt x="2113546" y="598335"/>
                  </a:lnTo>
                  <a:lnTo>
                    <a:pt x="2113546" y="597649"/>
                  </a:lnTo>
                  <a:lnTo>
                    <a:pt x="2114092" y="597649"/>
                  </a:lnTo>
                  <a:lnTo>
                    <a:pt x="2114143" y="598335"/>
                  </a:lnTo>
                  <a:lnTo>
                    <a:pt x="2114296" y="598335"/>
                  </a:lnTo>
                  <a:lnTo>
                    <a:pt x="2114346" y="597649"/>
                  </a:lnTo>
                  <a:lnTo>
                    <a:pt x="2114994" y="597649"/>
                  </a:lnTo>
                  <a:lnTo>
                    <a:pt x="2114994" y="598335"/>
                  </a:lnTo>
                  <a:lnTo>
                    <a:pt x="2115045" y="597649"/>
                  </a:lnTo>
                  <a:lnTo>
                    <a:pt x="2115134" y="598335"/>
                  </a:lnTo>
                  <a:lnTo>
                    <a:pt x="2115235" y="598335"/>
                  </a:lnTo>
                  <a:lnTo>
                    <a:pt x="2115235" y="597649"/>
                  </a:lnTo>
                  <a:lnTo>
                    <a:pt x="2116137" y="597649"/>
                  </a:lnTo>
                  <a:lnTo>
                    <a:pt x="2116137" y="598335"/>
                  </a:lnTo>
                  <a:lnTo>
                    <a:pt x="2116175" y="598335"/>
                  </a:lnTo>
                  <a:lnTo>
                    <a:pt x="2116175" y="597649"/>
                  </a:lnTo>
                  <a:lnTo>
                    <a:pt x="2116277" y="598335"/>
                  </a:lnTo>
                  <a:lnTo>
                    <a:pt x="2116328" y="597649"/>
                  </a:lnTo>
                  <a:lnTo>
                    <a:pt x="2116378" y="596354"/>
                  </a:lnTo>
                  <a:lnTo>
                    <a:pt x="2116531" y="596354"/>
                  </a:lnTo>
                  <a:lnTo>
                    <a:pt x="2116531" y="597649"/>
                  </a:lnTo>
                  <a:lnTo>
                    <a:pt x="2116632" y="597649"/>
                  </a:lnTo>
                  <a:lnTo>
                    <a:pt x="2116721" y="598335"/>
                  </a:lnTo>
                  <a:lnTo>
                    <a:pt x="2116772" y="597649"/>
                  </a:lnTo>
                  <a:lnTo>
                    <a:pt x="2117521" y="597649"/>
                  </a:lnTo>
                  <a:lnTo>
                    <a:pt x="2117623" y="598335"/>
                  </a:lnTo>
                  <a:lnTo>
                    <a:pt x="2117674" y="598335"/>
                  </a:lnTo>
                  <a:lnTo>
                    <a:pt x="2117725" y="597649"/>
                  </a:lnTo>
                  <a:lnTo>
                    <a:pt x="2117966" y="597649"/>
                  </a:lnTo>
                  <a:lnTo>
                    <a:pt x="2117966" y="598335"/>
                  </a:lnTo>
                  <a:lnTo>
                    <a:pt x="2118118" y="598335"/>
                  </a:lnTo>
                  <a:lnTo>
                    <a:pt x="2118118" y="597649"/>
                  </a:lnTo>
                  <a:lnTo>
                    <a:pt x="2118169" y="598335"/>
                  </a:lnTo>
                  <a:lnTo>
                    <a:pt x="2118309" y="598335"/>
                  </a:lnTo>
                  <a:lnTo>
                    <a:pt x="2118309" y="597649"/>
                  </a:lnTo>
                  <a:lnTo>
                    <a:pt x="2118360" y="597649"/>
                  </a:lnTo>
                  <a:lnTo>
                    <a:pt x="2118360" y="598335"/>
                  </a:lnTo>
                  <a:lnTo>
                    <a:pt x="2118613" y="598335"/>
                  </a:lnTo>
                  <a:lnTo>
                    <a:pt x="2118664" y="597649"/>
                  </a:lnTo>
                  <a:lnTo>
                    <a:pt x="2118906" y="597649"/>
                  </a:lnTo>
                  <a:lnTo>
                    <a:pt x="2118906" y="598335"/>
                  </a:lnTo>
                  <a:lnTo>
                    <a:pt x="2119058" y="598335"/>
                  </a:lnTo>
                  <a:lnTo>
                    <a:pt x="2119058" y="597649"/>
                  </a:lnTo>
                  <a:lnTo>
                    <a:pt x="2119109" y="598335"/>
                  </a:lnTo>
                  <a:lnTo>
                    <a:pt x="2119261" y="598335"/>
                  </a:lnTo>
                  <a:lnTo>
                    <a:pt x="2119312" y="597649"/>
                  </a:lnTo>
                  <a:lnTo>
                    <a:pt x="2119350" y="597649"/>
                  </a:lnTo>
                  <a:lnTo>
                    <a:pt x="2119350" y="598335"/>
                  </a:lnTo>
                  <a:lnTo>
                    <a:pt x="2119452" y="598335"/>
                  </a:lnTo>
                  <a:lnTo>
                    <a:pt x="2119503" y="597649"/>
                  </a:lnTo>
                  <a:lnTo>
                    <a:pt x="2119503" y="598335"/>
                  </a:lnTo>
                  <a:lnTo>
                    <a:pt x="2119553" y="598335"/>
                  </a:lnTo>
                  <a:lnTo>
                    <a:pt x="2119553" y="597649"/>
                  </a:lnTo>
                  <a:lnTo>
                    <a:pt x="2119706" y="597649"/>
                  </a:lnTo>
                  <a:lnTo>
                    <a:pt x="2119756" y="598335"/>
                  </a:lnTo>
                  <a:lnTo>
                    <a:pt x="2119756" y="597649"/>
                  </a:lnTo>
                  <a:lnTo>
                    <a:pt x="2119807" y="597649"/>
                  </a:lnTo>
                  <a:lnTo>
                    <a:pt x="2119807" y="598335"/>
                  </a:lnTo>
                  <a:lnTo>
                    <a:pt x="2119947" y="598335"/>
                  </a:lnTo>
                  <a:lnTo>
                    <a:pt x="2119947" y="597649"/>
                  </a:lnTo>
                  <a:lnTo>
                    <a:pt x="2120252" y="597649"/>
                  </a:lnTo>
                  <a:lnTo>
                    <a:pt x="2120353" y="598335"/>
                  </a:lnTo>
                  <a:lnTo>
                    <a:pt x="2120595" y="598335"/>
                  </a:lnTo>
                  <a:lnTo>
                    <a:pt x="2120595" y="597649"/>
                  </a:lnTo>
                  <a:lnTo>
                    <a:pt x="2120696" y="597649"/>
                  </a:lnTo>
                  <a:lnTo>
                    <a:pt x="2120696" y="598335"/>
                  </a:lnTo>
                  <a:lnTo>
                    <a:pt x="2121090" y="598335"/>
                  </a:lnTo>
                  <a:lnTo>
                    <a:pt x="2121090" y="597649"/>
                  </a:lnTo>
                  <a:lnTo>
                    <a:pt x="2121141" y="597649"/>
                  </a:lnTo>
                  <a:lnTo>
                    <a:pt x="2121242" y="598335"/>
                  </a:lnTo>
                  <a:lnTo>
                    <a:pt x="2121788" y="598335"/>
                  </a:lnTo>
                  <a:lnTo>
                    <a:pt x="2121839" y="598932"/>
                  </a:lnTo>
                  <a:lnTo>
                    <a:pt x="2121941" y="598932"/>
                  </a:lnTo>
                  <a:lnTo>
                    <a:pt x="2121941" y="598335"/>
                  </a:lnTo>
                  <a:lnTo>
                    <a:pt x="2121979" y="598335"/>
                  </a:lnTo>
                  <a:lnTo>
                    <a:pt x="2122030" y="597649"/>
                  </a:lnTo>
                  <a:lnTo>
                    <a:pt x="2122030" y="598335"/>
                  </a:lnTo>
                  <a:lnTo>
                    <a:pt x="2123173" y="598335"/>
                  </a:lnTo>
                  <a:lnTo>
                    <a:pt x="2123173" y="598932"/>
                  </a:lnTo>
                  <a:lnTo>
                    <a:pt x="2123224" y="598335"/>
                  </a:lnTo>
                  <a:lnTo>
                    <a:pt x="2123325" y="597649"/>
                  </a:lnTo>
                  <a:lnTo>
                    <a:pt x="2123325" y="598335"/>
                  </a:lnTo>
                  <a:lnTo>
                    <a:pt x="2123427" y="598335"/>
                  </a:lnTo>
                  <a:lnTo>
                    <a:pt x="2123427" y="598932"/>
                  </a:lnTo>
                  <a:lnTo>
                    <a:pt x="2123528" y="598335"/>
                  </a:lnTo>
                  <a:lnTo>
                    <a:pt x="2123871" y="598335"/>
                  </a:lnTo>
                  <a:lnTo>
                    <a:pt x="2123871" y="598932"/>
                  </a:lnTo>
                  <a:lnTo>
                    <a:pt x="2123973" y="598335"/>
                  </a:lnTo>
                  <a:lnTo>
                    <a:pt x="2124113" y="598335"/>
                  </a:lnTo>
                  <a:lnTo>
                    <a:pt x="2124113" y="598932"/>
                  </a:lnTo>
                  <a:lnTo>
                    <a:pt x="2124316" y="598932"/>
                  </a:lnTo>
                  <a:lnTo>
                    <a:pt x="2124417" y="598335"/>
                  </a:lnTo>
                  <a:lnTo>
                    <a:pt x="2124417" y="597649"/>
                  </a:lnTo>
                  <a:lnTo>
                    <a:pt x="2124468" y="597649"/>
                  </a:lnTo>
                  <a:lnTo>
                    <a:pt x="2124519" y="598335"/>
                  </a:lnTo>
                  <a:lnTo>
                    <a:pt x="2124659" y="598335"/>
                  </a:lnTo>
                  <a:lnTo>
                    <a:pt x="2124659" y="597649"/>
                  </a:lnTo>
                  <a:lnTo>
                    <a:pt x="2124710" y="598335"/>
                  </a:lnTo>
                  <a:lnTo>
                    <a:pt x="2124710" y="597649"/>
                  </a:lnTo>
                  <a:lnTo>
                    <a:pt x="2124760" y="598335"/>
                  </a:lnTo>
                  <a:lnTo>
                    <a:pt x="2125256" y="598335"/>
                  </a:lnTo>
                  <a:lnTo>
                    <a:pt x="2125357" y="598932"/>
                  </a:lnTo>
                  <a:lnTo>
                    <a:pt x="2125357" y="598335"/>
                  </a:lnTo>
                  <a:lnTo>
                    <a:pt x="2125700" y="598335"/>
                  </a:lnTo>
                  <a:lnTo>
                    <a:pt x="2125700" y="597649"/>
                  </a:lnTo>
                  <a:lnTo>
                    <a:pt x="2125802" y="597649"/>
                  </a:lnTo>
                  <a:lnTo>
                    <a:pt x="2125853" y="598335"/>
                  </a:lnTo>
                  <a:lnTo>
                    <a:pt x="2127491" y="598335"/>
                  </a:lnTo>
                  <a:lnTo>
                    <a:pt x="2127491" y="598932"/>
                  </a:lnTo>
                  <a:lnTo>
                    <a:pt x="2127592" y="598335"/>
                  </a:lnTo>
                  <a:lnTo>
                    <a:pt x="2127745" y="598335"/>
                  </a:lnTo>
                  <a:lnTo>
                    <a:pt x="2127745" y="598932"/>
                  </a:lnTo>
                  <a:lnTo>
                    <a:pt x="2127834" y="598932"/>
                  </a:lnTo>
                  <a:lnTo>
                    <a:pt x="2127834" y="598335"/>
                  </a:lnTo>
                  <a:lnTo>
                    <a:pt x="2128329" y="598335"/>
                  </a:lnTo>
                  <a:lnTo>
                    <a:pt x="2128380" y="597649"/>
                  </a:lnTo>
                  <a:lnTo>
                    <a:pt x="2128431" y="597649"/>
                  </a:lnTo>
                  <a:lnTo>
                    <a:pt x="2128431" y="598335"/>
                  </a:lnTo>
                  <a:lnTo>
                    <a:pt x="2129332" y="598335"/>
                  </a:lnTo>
                  <a:lnTo>
                    <a:pt x="2129332" y="597649"/>
                  </a:lnTo>
                  <a:lnTo>
                    <a:pt x="2129421" y="597649"/>
                  </a:lnTo>
                  <a:lnTo>
                    <a:pt x="2129421" y="598335"/>
                  </a:lnTo>
                  <a:lnTo>
                    <a:pt x="2129472" y="598335"/>
                  </a:lnTo>
                  <a:lnTo>
                    <a:pt x="2129523" y="598932"/>
                  </a:lnTo>
                  <a:lnTo>
                    <a:pt x="2129523" y="598335"/>
                  </a:lnTo>
                  <a:lnTo>
                    <a:pt x="2129777" y="598335"/>
                  </a:lnTo>
                  <a:lnTo>
                    <a:pt x="2129777" y="598932"/>
                  </a:lnTo>
                  <a:lnTo>
                    <a:pt x="2129878" y="598932"/>
                  </a:lnTo>
                  <a:lnTo>
                    <a:pt x="2129916" y="598335"/>
                  </a:lnTo>
                  <a:lnTo>
                    <a:pt x="2129967" y="598932"/>
                  </a:lnTo>
                  <a:lnTo>
                    <a:pt x="2129967" y="598335"/>
                  </a:lnTo>
                  <a:lnTo>
                    <a:pt x="2130018" y="598932"/>
                  </a:lnTo>
                  <a:lnTo>
                    <a:pt x="2130221" y="598932"/>
                  </a:lnTo>
                  <a:lnTo>
                    <a:pt x="2130221" y="598335"/>
                  </a:lnTo>
                  <a:lnTo>
                    <a:pt x="2130920" y="598335"/>
                  </a:lnTo>
                  <a:lnTo>
                    <a:pt x="2131009" y="598932"/>
                  </a:lnTo>
                  <a:lnTo>
                    <a:pt x="2131060" y="598335"/>
                  </a:lnTo>
                  <a:lnTo>
                    <a:pt x="2131110" y="598335"/>
                  </a:lnTo>
                  <a:lnTo>
                    <a:pt x="2131110" y="598932"/>
                  </a:lnTo>
                  <a:lnTo>
                    <a:pt x="2131161" y="598335"/>
                  </a:lnTo>
                  <a:lnTo>
                    <a:pt x="2131466" y="598335"/>
                  </a:lnTo>
                  <a:lnTo>
                    <a:pt x="2131504" y="598932"/>
                  </a:lnTo>
                  <a:lnTo>
                    <a:pt x="2131504" y="598335"/>
                  </a:lnTo>
                  <a:lnTo>
                    <a:pt x="2131758" y="598335"/>
                  </a:lnTo>
                  <a:lnTo>
                    <a:pt x="2131758" y="597649"/>
                  </a:lnTo>
                  <a:lnTo>
                    <a:pt x="2131809" y="598335"/>
                  </a:lnTo>
                  <a:lnTo>
                    <a:pt x="2131910" y="598335"/>
                  </a:lnTo>
                  <a:lnTo>
                    <a:pt x="2131961" y="598932"/>
                  </a:lnTo>
                  <a:lnTo>
                    <a:pt x="2132012" y="598932"/>
                  </a:lnTo>
                  <a:lnTo>
                    <a:pt x="2132012" y="598335"/>
                  </a:lnTo>
                  <a:lnTo>
                    <a:pt x="2132152" y="598335"/>
                  </a:lnTo>
                  <a:lnTo>
                    <a:pt x="2132152" y="598932"/>
                  </a:lnTo>
                  <a:lnTo>
                    <a:pt x="2132406" y="598932"/>
                  </a:lnTo>
                  <a:lnTo>
                    <a:pt x="2132456" y="598335"/>
                  </a:lnTo>
                  <a:lnTo>
                    <a:pt x="2132698" y="598335"/>
                  </a:lnTo>
                  <a:lnTo>
                    <a:pt x="2132749" y="598932"/>
                  </a:lnTo>
                  <a:lnTo>
                    <a:pt x="2132901" y="598932"/>
                  </a:lnTo>
                  <a:lnTo>
                    <a:pt x="2132901" y="598335"/>
                  </a:lnTo>
                  <a:lnTo>
                    <a:pt x="2132952" y="598335"/>
                  </a:lnTo>
                  <a:lnTo>
                    <a:pt x="2132952" y="598932"/>
                  </a:lnTo>
                  <a:lnTo>
                    <a:pt x="2133053" y="598932"/>
                  </a:lnTo>
                  <a:lnTo>
                    <a:pt x="2133053" y="598335"/>
                  </a:lnTo>
                  <a:lnTo>
                    <a:pt x="2133142" y="598335"/>
                  </a:lnTo>
                  <a:lnTo>
                    <a:pt x="2133142" y="598932"/>
                  </a:lnTo>
                  <a:lnTo>
                    <a:pt x="2133396" y="598932"/>
                  </a:lnTo>
                  <a:lnTo>
                    <a:pt x="2133498" y="598335"/>
                  </a:lnTo>
                  <a:lnTo>
                    <a:pt x="2133600" y="598335"/>
                  </a:lnTo>
                  <a:lnTo>
                    <a:pt x="2133638" y="598932"/>
                  </a:lnTo>
                  <a:lnTo>
                    <a:pt x="2133790" y="598932"/>
                  </a:lnTo>
                  <a:lnTo>
                    <a:pt x="2133841" y="598335"/>
                  </a:lnTo>
                  <a:lnTo>
                    <a:pt x="2133942" y="598335"/>
                  </a:lnTo>
                  <a:lnTo>
                    <a:pt x="2133993" y="598932"/>
                  </a:lnTo>
                  <a:lnTo>
                    <a:pt x="2134184" y="598932"/>
                  </a:lnTo>
                  <a:lnTo>
                    <a:pt x="2134184" y="598335"/>
                  </a:lnTo>
                  <a:lnTo>
                    <a:pt x="2134235" y="598932"/>
                  </a:lnTo>
                  <a:lnTo>
                    <a:pt x="2134336" y="598932"/>
                  </a:lnTo>
                  <a:lnTo>
                    <a:pt x="2134438" y="598335"/>
                  </a:lnTo>
                  <a:lnTo>
                    <a:pt x="2134488" y="598932"/>
                  </a:lnTo>
                  <a:lnTo>
                    <a:pt x="2134539" y="598932"/>
                  </a:lnTo>
                  <a:lnTo>
                    <a:pt x="2134641" y="598335"/>
                  </a:lnTo>
                  <a:lnTo>
                    <a:pt x="2134730" y="598335"/>
                  </a:lnTo>
                  <a:lnTo>
                    <a:pt x="2134730" y="598932"/>
                  </a:lnTo>
                  <a:lnTo>
                    <a:pt x="2134882" y="598932"/>
                  </a:lnTo>
                  <a:lnTo>
                    <a:pt x="2134882" y="598335"/>
                  </a:lnTo>
                  <a:lnTo>
                    <a:pt x="2134933" y="598932"/>
                  </a:lnTo>
                  <a:lnTo>
                    <a:pt x="2135428" y="598932"/>
                  </a:lnTo>
                  <a:lnTo>
                    <a:pt x="2135428" y="598335"/>
                  </a:lnTo>
                  <a:lnTo>
                    <a:pt x="2135581" y="598335"/>
                  </a:lnTo>
                  <a:lnTo>
                    <a:pt x="2135581" y="597649"/>
                  </a:lnTo>
                  <a:lnTo>
                    <a:pt x="2135631" y="598335"/>
                  </a:lnTo>
                  <a:lnTo>
                    <a:pt x="2135682" y="598335"/>
                  </a:lnTo>
                  <a:lnTo>
                    <a:pt x="2135682" y="598932"/>
                  </a:lnTo>
                  <a:lnTo>
                    <a:pt x="2136025" y="598932"/>
                  </a:lnTo>
                  <a:lnTo>
                    <a:pt x="2136076" y="598335"/>
                  </a:lnTo>
                  <a:lnTo>
                    <a:pt x="2136228" y="598335"/>
                  </a:lnTo>
                  <a:lnTo>
                    <a:pt x="2136228" y="598932"/>
                  </a:lnTo>
                  <a:lnTo>
                    <a:pt x="2136266" y="598932"/>
                  </a:lnTo>
                  <a:lnTo>
                    <a:pt x="2136317" y="598335"/>
                  </a:lnTo>
                  <a:lnTo>
                    <a:pt x="2136368" y="598932"/>
                  </a:lnTo>
                  <a:lnTo>
                    <a:pt x="2136470" y="598335"/>
                  </a:lnTo>
                  <a:lnTo>
                    <a:pt x="2136571" y="598335"/>
                  </a:lnTo>
                  <a:lnTo>
                    <a:pt x="2136571" y="598932"/>
                  </a:lnTo>
                  <a:lnTo>
                    <a:pt x="2136813" y="598932"/>
                  </a:lnTo>
                  <a:lnTo>
                    <a:pt x="2136813" y="598335"/>
                  </a:lnTo>
                  <a:lnTo>
                    <a:pt x="2137168" y="598335"/>
                  </a:lnTo>
                  <a:lnTo>
                    <a:pt x="2137219" y="598932"/>
                  </a:lnTo>
                  <a:lnTo>
                    <a:pt x="2137219" y="598335"/>
                  </a:lnTo>
                  <a:lnTo>
                    <a:pt x="2137410" y="598335"/>
                  </a:lnTo>
                  <a:lnTo>
                    <a:pt x="2137410" y="598932"/>
                  </a:lnTo>
                  <a:lnTo>
                    <a:pt x="2137460" y="598335"/>
                  </a:lnTo>
                  <a:lnTo>
                    <a:pt x="2137511" y="598932"/>
                  </a:lnTo>
                  <a:lnTo>
                    <a:pt x="2137511" y="598335"/>
                  </a:lnTo>
                  <a:lnTo>
                    <a:pt x="2137613" y="598932"/>
                  </a:lnTo>
                  <a:lnTo>
                    <a:pt x="2137663" y="598335"/>
                  </a:lnTo>
                  <a:lnTo>
                    <a:pt x="2137816" y="598335"/>
                  </a:lnTo>
                  <a:lnTo>
                    <a:pt x="2137854" y="598932"/>
                  </a:lnTo>
                  <a:lnTo>
                    <a:pt x="2137956" y="598932"/>
                  </a:lnTo>
                  <a:lnTo>
                    <a:pt x="2138057" y="598335"/>
                  </a:lnTo>
                  <a:lnTo>
                    <a:pt x="2138108" y="598335"/>
                  </a:lnTo>
                  <a:lnTo>
                    <a:pt x="2138159" y="598932"/>
                  </a:lnTo>
                  <a:lnTo>
                    <a:pt x="2138159" y="598335"/>
                  </a:lnTo>
                  <a:lnTo>
                    <a:pt x="2138260" y="598932"/>
                  </a:lnTo>
                  <a:lnTo>
                    <a:pt x="2138705" y="598932"/>
                  </a:lnTo>
                  <a:lnTo>
                    <a:pt x="2138756" y="598335"/>
                  </a:lnTo>
                  <a:lnTo>
                    <a:pt x="2138756" y="598932"/>
                  </a:lnTo>
                  <a:lnTo>
                    <a:pt x="2139048" y="598932"/>
                  </a:lnTo>
                  <a:lnTo>
                    <a:pt x="2139048" y="598335"/>
                  </a:lnTo>
                  <a:lnTo>
                    <a:pt x="2139099" y="598335"/>
                  </a:lnTo>
                  <a:lnTo>
                    <a:pt x="2139099" y="598932"/>
                  </a:lnTo>
                  <a:lnTo>
                    <a:pt x="2139200" y="598335"/>
                  </a:lnTo>
                  <a:lnTo>
                    <a:pt x="2139251" y="598932"/>
                  </a:lnTo>
                  <a:lnTo>
                    <a:pt x="2139251" y="598335"/>
                  </a:lnTo>
                  <a:lnTo>
                    <a:pt x="2139403" y="598335"/>
                  </a:lnTo>
                  <a:lnTo>
                    <a:pt x="2139403" y="598932"/>
                  </a:lnTo>
                  <a:lnTo>
                    <a:pt x="2139492" y="598932"/>
                  </a:lnTo>
                  <a:lnTo>
                    <a:pt x="2139492" y="598335"/>
                  </a:lnTo>
                  <a:lnTo>
                    <a:pt x="2139543" y="598335"/>
                  </a:lnTo>
                  <a:lnTo>
                    <a:pt x="2139543" y="598932"/>
                  </a:lnTo>
                  <a:lnTo>
                    <a:pt x="2139696" y="598932"/>
                  </a:lnTo>
                  <a:lnTo>
                    <a:pt x="2139696" y="598335"/>
                  </a:lnTo>
                  <a:lnTo>
                    <a:pt x="2140292" y="598335"/>
                  </a:lnTo>
                  <a:lnTo>
                    <a:pt x="2140343" y="598932"/>
                  </a:lnTo>
                  <a:lnTo>
                    <a:pt x="2140394" y="598932"/>
                  </a:lnTo>
                  <a:lnTo>
                    <a:pt x="2140445" y="598335"/>
                  </a:lnTo>
                  <a:lnTo>
                    <a:pt x="2140534" y="598335"/>
                  </a:lnTo>
                  <a:lnTo>
                    <a:pt x="2140585" y="598932"/>
                  </a:lnTo>
                  <a:lnTo>
                    <a:pt x="2140686" y="598932"/>
                  </a:lnTo>
                  <a:lnTo>
                    <a:pt x="2140788" y="598335"/>
                  </a:lnTo>
                  <a:lnTo>
                    <a:pt x="2140889" y="598335"/>
                  </a:lnTo>
                  <a:lnTo>
                    <a:pt x="2140991" y="598932"/>
                  </a:lnTo>
                  <a:lnTo>
                    <a:pt x="2141029" y="598335"/>
                  </a:lnTo>
                  <a:lnTo>
                    <a:pt x="2141283" y="598335"/>
                  </a:lnTo>
                  <a:lnTo>
                    <a:pt x="2141334" y="598932"/>
                  </a:lnTo>
                  <a:lnTo>
                    <a:pt x="2141334" y="598335"/>
                  </a:lnTo>
                  <a:lnTo>
                    <a:pt x="2141435" y="598335"/>
                  </a:lnTo>
                  <a:lnTo>
                    <a:pt x="2141435" y="598932"/>
                  </a:lnTo>
                  <a:lnTo>
                    <a:pt x="2141537" y="598932"/>
                  </a:lnTo>
                  <a:lnTo>
                    <a:pt x="2141537" y="598335"/>
                  </a:lnTo>
                  <a:lnTo>
                    <a:pt x="2141677" y="598335"/>
                  </a:lnTo>
                  <a:lnTo>
                    <a:pt x="2141677" y="598932"/>
                  </a:lnTo>
                  <a:lnTo>
                    <a:pt x="2141778" y="598932"/>
                  </a:lnTo>
                  <a:lnTo>
                    <a:pt x="2141778" y="598335"/>
                  </a:lnTo>
                  <a:lnTo>
                    <a:pt x="2141981" y="598335"/>
                  </a:lnTo>
                  <a:lnTo>
                    <a:pt x="2142032" y="598932"/>
                  </a:lnTo>
                  <a:lnTo>
                    <a:pt x="2142121" y="598335"/>
                  </a:lnTo>
                  <a:lnTo>
                    <a:pt x="2142223" y="598335"/>
                  </a:lnTo>
                  <a:lnTo>
                    <a:pt x="2142223" y="598932"/>
                  </a:lnTo>
                  <a:lnTo>
                    <a:pt x="2142274" y="598932"/>
                  </a:lnTo>
                  <a:lnTo>
                    <a:pt x="2142274" y="598335"/>
                  </a:lnTo>
                  <a:lnTo>
                    <a:pt x="2142375" y="598335"/>
                  </a:lnTo>
                  <a:lnTo>
                    <a:pt x="2142426" y="598932"/>
                  </a:lnTo>
                  <a:lnTo>
                    <a:pt x="2142426" y="598335"/>
                  </a:lnTo>
                  <a:lnTo>
                    <a:pt x="2142477" y="598932"/>
                  </a:lnTo>
                  <a:lnTo>
                    <a:pt x="2142578" y="598932"/>
                  </a:lnTo>
                  <a:lnTo>
                    <a:pt x="2142578" y="598335"/>
                  </a:lnTo>
                  <a:lnTo>
                    <a:pt x="2142616" y="598932"/>
                  </a:lnTo>
                  <a:lnTo>
                    <a:pt x="2142667" y="598335"/>
                  </a:lnTo>
                  <a:lnTo>
                    <a:pt x="2142667" y="598932"/>
                  </a:lnTo>
                  <a:lnTo>
                    <a:pt x="2142871" y="598932"/>
                  </a:lnTo>
                  <a:lnTo>
                    <a:pt x="2142871" y="598335"/>
                  </a:lnTo>
                  <a:lnTo>
                    <a:pt x="2142921" y="598335"/>
                  </a:lnTo>
                  <a:lnTo>
                    <a:pt x="2143023" y="598932"/>
                  </a:lnTo>
                  <a:lnTo>
                    <a:pt x="2143074" y="598335"/>
                  </a:lnTo>
                  <a:lnTo>
                    <a:pt x="2143125" y="598932"/>
                  </a:lnTo>
                  <a:lnTo>
                    <a:pt x="2143163" y="598335"/>
                  </a:lnTo>
                  <a:lnTo>
                    <a:pt x="2143518" y="598335"/>
                  </a:lnTo>
                  <a:lnTo>
                    <a:pt x="2143518" y="598932"/>
                  </a:lnTo>
                  <a:lnTo>
                    <a:pt x="2143569" y="598932"/>
                  </a:lnTo>
                  <a:lnTo>
                    <a:pt x="2143569" y="598335"/>
                  </a:lnTo>
                  <a:lnTo>
                    <a:pt x="2143620" y="598335"/>
                  </a:lnTo>
                  <a:lnTo>
                    <a:pt x="2143709" y="598932"/>
                  </a:lnTo>
                  <a:lnTo>
                    <a:pt x="2143760" y="598932"/>
                  </a:lnTo>
                  <a:lnTo>
                    <a:pt x="2143810" y="598335"/>
                  </a:lnTo>
                  <a:lnTo>
                    <a:pt x="2144064" y="598335"/>
                  </a:lnTo>
                  <a:lnTo>
                    <a:pt x="2144166" y="598932"/>
                  </a:lnTo>
                  <a:lnTo>
                    <a:pt x="2144166" y="598335"/>
                  </a:lnTo>
                  <a:lnTo>
                    <a:pt x="2144903" y="598335"/>
                  </a:lnTo>
                  <a:lnTo>
                    <a:pt x="2144953" y="598932"/>
                  </a:lnTo>
                  <a:lnTo>
                    <a:pt x="2144953" y="598335"/>
                  </a:lnTo>
                  <a:lnTo>
                    <a:pt x="2145055" y="598335"/>
                  </a:lnTo>
                  <a:lnTo>
                    <a:pt x="2145106" y="597649"/>
                  </a:lnTo>
                  <a:lnTo>
                    <a:pt x="2145156" y="598335"/>
                  </a:lnTo>
                  <a:lnTo>
                    <a:pt x="2145398" y="598335"/>
                  </a:lnTo>
                  <a:lnTo>
                    <a:pt x="2145398" y="598932"/>
                  </a:lnTo>
                  <a:lnTo>
                    <a:pt x="2145449" y="598335"/>
                  </a:lnTo>
                  <a:lnTo>
                    <a:pt x="2145601" y="598335"/>
                  </a:lnTo>
                  <a:lnTo>
                    <a:pt x="2145652" y="598932"/>
                  </a:lnTo>
                  <a:lnTo>
                    <a:pt x="2145652" y="598335"/>
                  </a:lnTo>
                  <a:lnTo>
                    <a:pt x="2145842" y="598335"/>
                  </a:lnTo>
                  <a:lnTo>
                    <a:pt x="2145893" y="598932"/>
                  </a:lnTo>
                  <a:lnTo>
                    <a:pt x="2145995" y="598932"/>
                  </a:lnTo>
                  <a:lnTo>
                    <a:pt x="2146046" y="598335"/>
                  </a:lnTo>
                  <a:lnTo>
                    <a:pt x="2146439" y="598335"/>
                  </a:lnTo>
                  <a:lnTo>
                    <a:pt x="2146490" y="597649"/>
                  </a:lnTo>
                  <a:lnTo>
                    <a:pt x="2146490" y="598335"/>
                  </a:lnTo>
                  <a:lnTo>
                    <a:pt x="2146541" y="598335"/>
                  </a:lnTo>
                  <a:lnTo>
                    <a:pt x="2146642" y="598932"/>
                  </a:lnTo>
                  <a:lnTo>
                    <a:pt x="2146642" y="598335"/>
                  </a:lnTo>
                  <a:lnTo>
                    <a:pt x="2146693" y="598932"/>
                  </a:lnTo>
                  <a:lnTo>
                    <a:pt x="2146693" y="598335"/>
                  </a:lnTo>
                  <a:lnTo>
                    <a:pt x="2148078" y="598335"/>
                  </a:lnTo>
                  <a:lnTo>
                    <a:pt x="2148128" y="597649"/>
                  </a:lnTo>
                  <a:lnTo>
                    <a:pt x="2148230" y="598335"/>
                  </a:lnTo>
                  <a:lnTo>
                    <a:pt x="2148281" y="598932"/>
                  </a:lnTo>
                  <a:lnTo>
                    <a:pt x="2148331" y="598932"/>
                  </a:lnTo>
                  <a:lnTo>
                    <a:pt x="2148331" y="598335"/>
                  </a:lnTo>
                  <a:lnTo>
                    <a:pt x="2148382" y="598335"/>
                  </a:lnTo>
                  <a:lnTo>
                    <a:pt x="2148471" y="597649"/>
                  </a:lnTo>
                  <a:lnTo>
                    <a:pt x="2148522" y="597649"/>
                  </a:lnTo>
                  <a:lnTo>
                    <a:pt x="2148573" y="598335"/>
                  </a:lnTo>
                  <a:lnTo>
                    <a:pt x="2148776" y="598335"/>
                  </a:lnTo>
                  <a:lnTo>
                    <a:pt x="2148827" y="597649"/>
                  </a:lnTo>
                  <a:lnTo>
                    <a:pt x="2148827" y="598335"/>
                  </a:lnTo>
                  <a:lnTo>
                    <a:pt x="2149017" y="598335"/>
                  </a:lnTo>
                  <a:lnTo>
                    <a:pt x="2149017" y="597649"/>
                  </a:lnTo>
                  <a:lnTo>
                    <a:pt x="2149068" y="597649"/>
                  </a:lnTo>
                  <a:lnTo>
                    <a:pt x="2149068" y="598335"/>
                  </a:lnTo>
                  <a:lnTo>
                    <a:pt x="2149373" y="598335"/>
                  </a:lnTo>
                  <a:lnTo>
                    <a:pt x="2149373" y="598932"/>
                  </a:lnTo>
                  <a:lnTo>
                    <a:pt x="2149424" y="598335"/>
                  </a:lnTo>
                  <a:lnTo>
                    <a:pt x="2149475" y="598335"/>
                  </a:lnTo>
                  <a:lnTo>
                    <a:pt x="2149513" y="597649"/>
                  </a:lnTo>
                  <a:lnTo>
                    <a:pt x="2149614" y="598335"/>
                  </a:lnTo>
                  <a:lnTo>
                    <a:pt x="2149716" y="598335"/>
                  </a:lnTo>
                  <a:lnTo>
                    <a:pt x="2149817" y="597649"/>
                  </a:lnTo>
                  <a:lnTo>
                    <a:pt x="2149868" y="597649"/>
                  </a:lnTo>
                  <a:lnTo>
                    <a:pt x="2149868" y="598335"/>
                  </a:lnTo>
                  <a:lnTo>
                    <a:pt x="2150757" y="598335"/>
                  </a:lnTo>
                  <a:lnTo>
                    <a:pt x="2150808" y="598932"/>
                  </a:lnTo>
                  <a:lnTo>
                    <a:pt x="2150808" y="598335"/>
                  </a:lnTo>
                  <a:lnTo>
                    <a:pt x="2150859" y="598335"/>
                  </a:lnTo>
                  <a:lnTo>
                    <a:pt x="2150960" y="597649"/>
                  </a:lnTo>
                  <a:lnTo>
                    <a:pt x="2151011" y="597649"/>
                  </a:lnTo>
                  <a:lnTo>
                    <a:pt x="2151062" y="598335"/>
                  </a:lnTo>
                  <a:lnTo>
                    <a:pt x="2151100" y="598335"/>
                  </a:lnTo>
                  <a:lnTo>
                    <a:pt x="2151202" y="597649"/>
                  </a:lnTo>
                  <a:lnTo>
                    <a:pt x="2151202" y="598335"/>
                  </a:lnTo>
                  <a:lnTo>
                    <a:pt x="2151253" y="597649"/>
                  </a:lnTo>
                  <a:lnTo>
                    <a:pt x="2151405" y="597649"/>
                  </a:lnTo>
                  <a:lnTo>
                    <a:pt x="2151456" y="598335"/>
                  </a:lnTo>
                  <a:lnTo>
                    <a:pt x="2151456" y="597649"/>
                  </a:lnTo>
                  <a:lnTo>
                    <a:pt x="2151506" y="597649"/>
                  </a:lnTo>
                  <a:lnTo>
                    <a:pt x="2151506" y="596354"/>
                  </a:lnTo>
                  <a:lnTo>
                    <a:pt x="2151557" y="597649"/>
                  </a:lnTo>
                  <a:lnTo>
                    <a:pt x="2151646" y="597649"/>
                  </a:lnTo>
                  <a:lnTo>
                    <a:pt x="2151697" y="598335"/>
                  </a:lnTo>
                  <a:lnTo>
                    <a:pt x="2151748" y="598335"/>
                  </a:lnTo>
                  <a:lnTo>
                    <a:pt x="2151799" y="597649"/>
                  </a:lnTo>
                  <a:lnTo>
                    <a:pt x="2152103" y="597649"/>
                  </a:lnTo>
                  <a:lnTo>
                    <a:pt x="2152141" y="598335"/>
                  </a:lnTo>
                  <a:lnTo>
                    <a:pt x="2152243" y="598335"/>
                  </a:lnTo>
                  <a:lnTo>
                    <a:pt x="2152243" y="597649"/>
                  </a:lnTo>
                  <a:lnTo>
                    <a:pt x="2152345" y="598335"/>
                  </a:lnTo>
                  <a:lnTo>
                    <a:pt x="2152345" y="597649"/>
                  </a:lnTo>
                  <a:lnTo>
                    <a:pt x="2152446" y="597649"/>
                  </a:lnTo>
                  <a:lnTo>
                    <a:pt x="2152446" y="598335"/>
                  </a:lnTo>
                  <a:lnTo>
                    <a:pt x="2152789" y="598335"/>
                  </a:lnTo>
                  <a:lnTo>
                    <a:pt x="2152789" y="597649"/>
                  </a:lnTo>
                  <a:lnTo>
                    <a:pt x="2152840" y="598335"/>
                  </a:lnTo>
                  <a:lnTo>
                    <a:pt x="2152992" y="598335"/>
                  </a:lnTo>
                  <a:lnTo>
                    <a:pt x="2153043" y="597649"/>
                  </a:lnTo>
                  <a:lnTo>
                    <a:pt x="2153335" y="597649"/>
                  </a:lnTo>
                  <a:lnTo>
                    <a:pt x="2153386" y="598335"/>
                  </a:lnTo>
                  <a:lnTo>
                    <a:pt x="2153488" y="598335"/>
                  </a:lnTo>
                  <a:lnTo>
                    <a:pt x="2153538" y="597649"/>
                  </a:lnTo>
                  <a:lnTo>
                    <a:pt x="2153691" y="597649"/>
                  </a:lnTo>
                  <a:lnTo>
                    <a:pt x="2153729" y="596354"/>
                  </a:lnTo>
                  <a:lnTo>
                    <a:pt x="2153780" y="597649"/>
                  </a:lnTo>
                  <a:lnTo>
                    <a:pt x="2153831" y="597649"/>
                  </a:lnTo>
                  <a:lnTo>
                    <a:pt x="2153831" y="598335"/>
                  </a:lnTo>
                  <a:lnTo>
                    <a:pt x="2153983" y="598335"/>
                  </a:lnTo>
                  <a:lnTo>
                    <a:pt x="2154034" y="597649"/>
                  </a:lnTo>
                  <a:lnTo>
                    <a:pt x="2154186" y="597649"/>
                  </a:lnTo>
                  <a:lnTo>
                    <a:pt x="2154237" y="598335"/>
                  </a:lnTo>
                  <a:lnTo>
                    <a:pt x="2154428" y="598335"/>
                  </a:lnTo>
                  <a:lnTo>
                    <a:pt x="2154428" y="597649"/>
                  </a:lnTo>
                  <a:lnTo>
                    <a:pt x="2154580" y="597649"/>
                  </a:lnTo>
                  <a:lnTo>
                    <a:pt x="2154580" y="598335"/>
                  </a:lnTo>
                  <a:lnTo>
                    <a:pt x="2154631" y="598335"/>
                  </a:lnTo>
                  <a:lnTo>
                    <a:pt x="2154631" y="597649"/>
                  </a:lnTo>
                  <a:lnTo>
                    <a:pt x="2154872" y="597649"/>
                  </a:lnTo>
                  <a:lnTo>
                    <a:pt x="2154923" y="598335"/>
                  </a:lnTo>
                  <a:lnTo>
                    <a:pt x="2154974" y="598335"/>
                  </a:lnTo>
                  <a:lnTo>
                    <a:pt x="2155075" y="597649"/>
                  </a:lnTo>
                  <a:lnTo>
                    <a:pt x="2155177" y="597649"/>
                  </a:lnTo>
                  <a:lnTo>
                    <a:pt x="2155278" y="598335"/>
                  </a:lnTo>
                  <a:lnTo>
                    <a:pt x="2155316" y="598335"/>
                  </a:lnTo>
                  <a:lnTo>
                    <a:pt x="2155367" y="597649"/>
                  </a:lnTo>
                  <a:lnTo>
                    <a:pt x="2155621" y="597649"/>
                  </a:lnTo>
                  <a:lnTo>
                    <a:pt x="2155621" y="598335"/>
                  </a:lnTo>
                  <a:lnTo>
                    <a:pt x="2156015" y="598335"/>
                  </a:lnTo>
                  <a:lnTo>
                    <a:pt x="2156015" y="597649"/>
                  </a:lnTo>
                  <a:lnTo>
                    <a:pt x="2156764" y="597649"/>
                  </a:lnTo>
                  <a:lnTo>
                    <a:pt x="2156866" y="598335"/>
                  </a:lnTo>
                  <a:lnTo>
                    <a:pt x="2156866" y="597649"/>
                  </a:lnTo>
                  <a:lnTo>
                    <a:pt x="2156904" y="598335"/>
                  </a:lnTo>
                  <a:lnTo>
                    <a:pt x="2156904" y="597649"/>
                  </a:lnTo>
                  <a:lnTo>
                    <a:pt x="2156955" y="597649"/>
                  </a:lnTo>
                  <a:lnTo>
                    <a:pt x="2156955" y="598335"/>
                  </a:lnTo>
                  <a:lnTo>
                    <a:pt x="2157158" y="598335"/>
                  </a:lnTo>
                  <a:lnTo>
                    <a:pt x="2157158" y="597649"/>
                  </a:lnTo>
                  <a:lnTo>
                    <a:pt x="2157209" y="597649"/>
                  </a:lnTo>
                  <a:lnTo>
                    <a:pt x="2157209" y="598335"/>
                  </a:lnTo>
                  <a:lnTo>
                    <a:pt x="2157450" y="598335"/>
                  </a:lnTo>
                  <a:lnTo>
                    <a:pt x="2157552" y="597649"/>
                  </a:lnTo>
                  <a:lnTo>
                    <a:pt x="2157603" y="597649"/>
                  </a:lnTo>
                  <a:lnTo>
                    <a:pt x="2157603" y="598335"/>
                  </a:lnTo>
                  <a:lnTo>
                    <a:pt x="2157653" y="598335"/>
                  </a:lnTo>
                  <a:lnTo>
                    <a:pt x="2157755" y="597649"/>
                  </a:lnTo>
                  <a:lnTo>
                    <a:pt x="2157755" y="598335"/>
                  </a:lnTo>
                  <a:lnTo>
                    <a:pt x="2157806" y="598335"/>
                  </a:lnTo>
                  <a:lnTo>
                    <a:pt x="2157856" y="597649"/>
                  </a:lnTo>
                  <a:lnTo>
                    <a:pt x="2157907" y="597649"/>
                  </a:lnTo>
                  <a:lnTo>
                    <a:pt x="2157996" y="598335"/>
                  </a:lnTo>
                  <a:lnTo>
                    <a:pt x="2158149" y="598335"/>
                  </a:lnTo>
                  <a:lnTo>
                    <a:pt x="2158250" y="597649"/>
                  </a:lnTo>
                  <a:lnTo>
                    <a:pt x="2158301" y="597649"/>
                  </a:lnTo>
                  <a:lnTo>
                    <a:pt x="2158352" y="598335"/>
                  </a:lnTo>
                  <a:lnTo>
                    <a:pt x="2158542" y="598335"/>
                  </a:lnTo>
                  <a:lnTo>
                    <a:pt x="2158593" y="597649"/>
                  </a:lnTo>
                  <a:lnTo>
                    <a:pt x="2158695" y="598335"/>
                  </a:lnTo>
                  <a:lnTo>
                    <a:pt x="2158695" y="597649"/>
                  </a:lnTo>
                  <a:lnTo>
                    <a:pt x="2158746" y="597649"/>
                  </a:lnTo>
                  <a:lnTo>
                    <a:pt x="2158746" y="598335"/>
                  </a:lnTo>
                  <a:lnTo>
                    <a:pt x="2158796" y="597649"/>
                  </a:lnTo>
                  <a:lnTo>
                    <a:pt x="2159000" y="597649"/>
                  </a:lnTo>
                  <a:lnTo>
                    <a:pt x="2159000" y="598335"/>
                  </a:lnTo>
                  <a:lnTo>
                    <a:pt x="2159038" y="598335"/>
                  </a:lnTo>
                  <a:lnTo>
                    <a:pt x="2159038" y="597649"/>
                  </a:lnTo>
                  <a:lnTo>
                    <a:pt x="2159139" y="598335"/>
                  </a:lnTo>
                  <a:lnTo>
                    <a:pt x="2159241" y="598335"/>
                  </a:lnTo>
                  <a:lnTo>
                    <a:pt x="2159241" y="597649"/>
                  </a:lnTo>
                  <a:lnTo>
                    <a:pt x="2159444" y="597649"/>
                  </a:lnTo>
                  <a:lnTo>
                    <a:pt x="2159495" y="598335"/>
                  </a:lnTo>
                  <a:lnTo>
                    <a:pt x="2159584" y="597649"/>
                  </a:lnTo>
                  <a:lnTo>
                    <a:pt x="2159635" y="597649"/>
                  </a:lnTo>
                  <a:lnTo>
                    <a:pt x="2159685" y="598335"/>
                  </a:lnTo>
                  <a:lnTo>
                    <a:pt x="2159736" y="597649"/>
                  </a:lnTo>
                  <a:lnTo>
                    <a:pt x="2159888" y="597649"/>
                  </a:lnTo>
                  <a:lnTo>
                    <a:pt x="2159939" y="598335"/>
                  </a:lnTo>
                  <a:lnTo>
                    <a:pt x="2159939" y="597649"/>
                  </a:lnTo>
                  <a:lnTo>
                    <a:pt x="2160778" y="597649"/>
                  </a:lnTo>
                  <a:lnTo>
                    <a:pt x="2160828" y="598335"/>
                  </a:lnTo>
                  <a:lnTo>
                    <a:pt x="2160981" y="598335"/>
                  </a:lnTo>
                  <a:lnTo>
                    <a:pt x="2161031" y="597649"/>
                  </a:lnTo>
                  <a:lnTo>
                    <a:pt x="2161222" y="597649"/>
                  </a:lnTo>
                  <a:lnTo>
                    <a:pt x="2161222" y="598335"/>
                  </a:lnTo>
                  <a:lnTo>
                    <a:pt x="2161324" y="598335"/>
                  </a:lnTo>
                  <a:lnTo>
                    <a:pt x="2161425" y="597649"/>
                  </a:lnTo>
                  <a:lnTo>
                    <a:pt x="2161527" y="597649"/>
                  </a:lnTo>
                  <a:lnTo>
                    <a:pt x="2161527" y="598335"/>
                  </a:lnTo>
                  <a:lnTo>
                    <a:pt x="2161628" y="597649"/>
                  </a:lnTo>
                  <a:lnTo>
                    <a:pt x="2161666" y="598335"/>
                  </a:lnTo>
                  <a:lnTo>
                    <a:pt x="2161717" y="597649"/>
                  </a:lnTo>
                  <a:lnTo>
                    <a:pt x="2161870" y="597649"/>
                  </a:lnTo>
                  <a:lnTo>
                    <a:pt x="2161870" y="598335"/>
                  </a:lnTo>
                  <a:lnTo>
                    <a:pt x="2161971" y="598335"/>
                  </a:lnTo>
                  <a:lnTo>
                    <a:pt x="2161971" y="597649"/>
                  </a:lnTo>
                  <a:lnTo>
                    <a:pt x="2162213" y="597649"/>
                  </a:lnTo>
                  <a:lnTo>
                    <a:pt x="2162314" y="598335"/>
                  </a:lnTo>
                  <a:lnTo>
                    <a:pt x="2162314" y="597649"/>
                  </a:lnTo>
                  <a:lnTo>
                    <a:pt x="2162365" y="597649"/>
                  </a:lnTo>
                  <a:lnTo>
                    <a:pt x="2162365" y="598335"/>
                  </a:lnTo>
                  <a:lnTo>
                    <a:pt x="2162416" y="597649"/>
                  </a:lnTo>
                  <a:lnTo>
                    <a:pt x="2162810" y="597649"/>
                  </a:lnTo>
                  <a:lnTo>
                    <a:pt x="2162860" y="598335"/>
                  </a:lnTo>
                  <a:lnTo>
                    <a:pt x="2162911" y="598335"/>
                  </a:lnTo>
                  <a:lnTo>
                    <a:pt x="2162911" y="597649"/>
                  </a:lnTo>
                  <a:lnTo>
                    <a:pt x="2163063" y="597649"/>
                  </a:lnTo>
                  <a:lnTo>
                    <a:pt x="2163063" y="598335"/>
                  </a:lnTo>
                  <a:lnTo>
                    <a:pt x="2163114" y="597649"/>
                  </a:lnTo>
                  <a:lnTo>
                    <a:pt x="2163216" y="597649"/>
                  </a:lnTo>
                  <a:lnTo>
                    <a:pt x="2163216" y="598335"/>
                  </a:lnTo>
                  <a:lnTo>
                    <a:pt x="2163254" y="597649"/>
                  </a:lnTo>
                  <a:lnTo>
                    <a:pt x="2163305" y="597649"/>
                  </a:lnTo>
                  <a:lnTo>
                    <a:pt x="2163305" y="596354"/>
                  </a:lnTo>
                  <a:lnTo>
                    <a:pt x="2163356" y="597649"/>
                  </a:lnTo>
                  <a:lnTo>
                    <a:pt x="2163508" y="597649"/>
                  </a:lnTo>
                  <a:lnTo>
                    <a:pt x="2163508" y="598335"/>
                  </a:lnTo>
                  <a:lnTo>
                    <a:pt x="2163559" y="598335"/>
                  </a:lnTo>
                  <a:lnTo>
                    <a:pt x="2163660" y="597649"/>
                  </a:lnTo>
                  <a:lnTo>
                    <a:pt x="2164448" y="597649"/>
                  </a:lnTo>
                  <a:lnTo>
                    <a:pt x="2164499" y="596354"/>
                  </a:lnTo>
                  <a:lnTo>
                    <a:pt x="2164499" y="597649"/>
                  </a:lnTo>
                  <a:lnTo>
                    <a:pt x="2164651" y="597649"/>
                  </a:lnTo>
                  <a:lnTo>
                    <a:pt x="2164702" y="598335"/>
                  </a:lnTo>
                  <a:lnTo>
                    <a:pt x="2164702" y="597649"/>
                  </a:lnTo>
                  <a:lnTo>
                    <a:pt x="2164803" y="598335"/>
                  </a:lnTo>
                  <a:lnTo>
                    <a:pt x="2164841" y="597649"/>
                  </a:lnTo>
                  <a:lnTo>
                    <a:pt x="2165045" y="597649"/>
                  </a:lnTo>
                  <a:lnTo>
                    <a:pt x="2165045" y="598335"/>
                  </a:lnTo>
                  <a:lnTo>
                    <a:pt x="2165096" y="598335"/>
                  </a:lnTo>
                  <a:lnTo>
                    <a:pt x="2165096" y="597649"/>
                  </a:lnTo>
                  <a:lnTo>
                    <a:pt x="2165146" y="597649"/>
                  </a:lnTo>
                  <a:lnTo>
                    <a:pt x="2165146" y="598335"/>
                  </a:lnTo>
                  <a:lnTo>
                    <a:pt x="2165299" y="598335"/>
                  </a:lnTo>
                  <a:lnTo>
                    <a:pt x="2165350" y="597649"/>
                  </a:lnTo>
                  <a:lnTo>
                    <a:pt x="2165540" y="597649"/>
                  </a:lnTo>
                  <a:lnTo>
                    <a:pt x="2165591" y="598335"/>
                  </a:lnTo>
                  <a:lnTo>
                    <a:pt x="2165692" y="598335"/>
                  </a:lnTo>
                  <a:lnTo>
                    <a:pt x="2165692" y="597649"/>
                  </a:lnTo>
                  <a:lnTo>
                    <a:pt x="2165985" y="597649"/>
                  </a:lnTo>
                  <a:lnTo>
                    <a:pt x="2166035" y="598335"/>
                  </a:lnTo>
                  <a:lnTo>
                    <a:pt x="2166086" y="598335"/>
                  </a:lnTo>
                  <a:lnTo>
                    <a:pt x="2166086" y="597649"/>
                  </a:lnTo>
                  <a:lnTo>
                    <a:pt x="2166391" y="597649"/>
                  </a:lnTo>
                  <a:lnTo>
                    <a:pt x="2166391" y="596354"/>
                  </a:lnTo>
                  <a:lnTo>
                    <a:pt x="2166429" y="597649"/>
                  </a:lnTo>
                  <a:lnTo>
                    <a:pt x="2166480" y="596354"/>
                  </a:lnTo>
                  <a:lnTo>
                    <a:pt x="2166531" y="597649"/>
                  </a:lnTo>
                  <a:lnTo>
                    <a:pt x="2166632" y="597649"/>
                  </a:lnTo>
                  <a:lnTo>
                    <a:pt x="2166632" y="598335"/>
                  </a:lnTo>
                  <a:lnTo>
                    <a:pt x="2166683" y="598335"/>
                  </a:lnTo>
                  <a:lnTo>
                    <a:pt x="2166683" y="597649"/>
                  </a:lnTo>
                  <a:lnTo>
                    <a:pt x="2166937" y="597649"/>
                  </a:lnTo>
                  <a:lnTo>
                    <a:pt x="2166937" y="596354"/>
                  </a:lnTo>
                  <a:lnTo>
                    <a:pt x="2166975" y="596354"/>
                  </a:lnTo>
                  <a:lnTo>
                    <a:pt x="2166975" y="597649"/>
                  </a:lnTo>
                  <a:lnTo>
                    <a:pt x="2167077" y="596354"/>
                  </a:lnTo>
                  <a:lnTo>
                    <a:pt x="2167077" y="597649"/>
                  </a:lnTo>
                  <a:lnTo>
                    <a:pt x="2167178" y="597649"/>
                  </a:lnTo>
                  <a:lnTo>
                    <a:pt x="2167178" y="598335"/>
                  </a:lnTo>
                  <a:lnTo>
                    <a:pt x="2167280" y="597649"/>
                  </a:lnTo>
                  <a:lnTo>
                    <a:pt x="2167331" y="598335"/>
                  </a:lnTo>
                  <a:lnTo>
                    <a:pt x="2167381" y="597649"/>
                  </a:lnTo>
                  <a:lnTo>
                    <a:pt x="2168067" y="597649"/>
                  </a:lnTo>
                  <a:lnTo>
                    <a:pt x="2168067" y="598335"/>
                  </a:lnTo>
                  <a:lnTo>
                    <a:pt x="2168220" y="598335"/>
                  </a:lnTo>
                  <a:lnTo>
                    <a:pt x="2168220" y="597649"/>
                  </a:lnTo>
                  <a:lnTo>
                    <a:pt x="2168423" y="597649"/>
                  </a:lnTo>
                  <a:lnTo>
                    <a:pt x="2168423" y="598335"/>
                  </a:lnTo>
                  <a:lnTo>
                    <a:pt x="2168525" y="598335"/>
                  </a:lnTo>
                  <a:lnTo>
                    <a:pt x="2168525" y="597649"/>
                  </a:lnTo>
                  <a:lnTo>
                    <a:pt x="2169160" y="597649"/>
                  </a:lnTo>
                  <a:lnTo>
                    <a:pt x="2169210" y="596354"/>
                  </a:lnTo>
                  <a:lnTo>
                    <a:pt x="2169261" y="597649"/>
                  </a:lnTo>
                  <a:lnTo>
                    <a:pt x="2169706" y="597649"/>
                  </a:lnTo>
                  <a:lnTo>
                    <a:pt x="2169706" y="596354"/>
                  </a:lnTo>
                  <a:lnTo>
                    <a:pt x="2169807" y="597649"/>
                  </a:lnTo>
                  <a:lnTo>
                    <a:pt x="2170061" y="597649"/>
                  </a:lnTo>
                  <a:lnTo>
                    <a:pt x="2170061" y="596354"/>
                  </a:lnTo>
                  <a:lnTo>
                    <a:pt x="2170112" y="597649"/>
                  </a:lnTo>
                  <a:lnTo>
                    <a:pt x="2170353" y="597649"/>
                  </a:lnTo>
                  <a:lnTo>
                    <a:pt x="2170455" y="596354"/>
                  </a:lnTo>
                  <a:lnTo>
                    <a:pt x="2170506" y="597649"/>
                  </a:lnTo>
                  <a:lnTo>
                    <a:pt x="2170747" y="597649"/>
                  </a:lnTo>
                  <a:lnTo>
                    <a:pt x="2170798" y="596354"/>
                  </a:lnTo>
                  <a:lnTo>
                    <a:pt x="2170798" y="597649"/>
                  </a:lnTo>
                  <a:lnTo>
                    <a:pt x="2171242" y="597649"/>
                  </a:lnTo>
                  <a:lnTo>
                    <a:pt x="2171293" y="598335"/>
                  </a:lnTo>
                  <a:lnTo>
                    <a:pt x="2171293" y="597649"/>
                  </a:lnTo>
                  <a:lnTo>
                    <a:pt x="2171446" y="597649"/>
                  </a:lnTo>
                  <a:lnTo>
                    <a:pt x="2171496" y="596354"/>
                  </a:lnTo>
                  <a:lnTo>
                    <a:pt x="2171598" y="596354"/>
                  </a:lnTo>
                  <a:lnTo>
                    <a:pt x="2171649" y="597649"/>
                  </a:lnTo>
                  <a:lnTo>
                    <a:pt x="2171738" y="597649"/>
                  </a:lnTo>
                  <a:lnTo>
                    <a:pt x="2171839" y="596354"/>
                  </a:lnTo>
                  <a:lnTo>
                    <a:pt x="2171890" y="596354"/>
                  </a:lnTo>
                  <a:lnTo>
                    <a:pt x="2171890" y="597649"/>
                  </a:lnTo>
                  <a:lnTo>
                    <a:pt x="2172093" y="597649"/>
                  </a:lnTo>
                  <a:lnTo>
                    <a:pt x="2172093" y="596354"/>
                  </a:lnTo>
                  <a:lnTo>
                    <a:pt x="2172195" y="596354"/>
                  </a:lnTo>
                  <a:lnTo>
                    <a:pt x="2172284" y="597649"/>
                  </a:lnTo>
                  <a:lnTo>
                    <a:pt x="2172436" y="597649"/>
                  </a:lnTo>
                  <a:lnTo>
                    <a:pt x="2172538" y="596354"/>
                  </a:lnTo>
                  <a:lnTo>
                    <a:pt x="2172588" y="596354"/>
                  </a:lnTo>
                  <a:lnTo>
                    <a:pt x="2172639" y="597649"/>
                  </a:lnTo>
                  <a:lnTo>
                    <a:pt x="2172639" y="596354"/>
                  </a:lnTo>
                  <a:lnTo>
                    <a:pt x="2172779" y="596354"/>
                  </a:lnTo>
                  <a:lnTo>
                    <a:pt x="2172779" y="597649"/>
                  </a:lnTo>
                  <a:lnTo>
                    <a:pt x="2172830" y="596354"/>
                  </a:lnTo>
                  <a:lnTo>
                    <a:pt x="2172881" y="596354"/>
                  </a:lnTo>
                  <a:lnTo>
                    <a:pt x="2172982" y="597649"/>
                  </a:lnTo>
                  <a:lnTo>
                    <a:pt x="2173731" y="597649"/>
                  </a:lnTo>
                  <a:lnTo>
                    <a:pt x="2173782" y="596354"/>
                  </a:lnTo>
                  <a:lnTo>
                    <a:pt x="2173871" y="597649"/>
                  </a:lnTo>
                  <a:lnTo>
                    <a:pt x="2173871" y="596354"/>
                  </a:lnTo>
                  <a:lnTo>
                    <a:pt x="2173973" y="596354"/>
                  </a:lnTo>
                  <a:lnTo>
                    <a:pt x="2173973" y="597649"/>
                  </a:lnTo>
                  <a:lnTo>
                    <a:pt x="2174875" y="597649"/>
                  </a:lnTo>
                  <a:lnTo>
                    <a:pt x="2174875" y="596354"/>
                  </a:lnTo>
                  <a:lnTo>
                    <a:pt x="2175217" y="596354"/>
                  </a:lnTo>
                  <a:lnTo>
                    <a:pt x="2175217" y="597649"/>
                  </a:lnTo>
                  <a:lnTo>
                    <a:pt x="2175763" y="597649"/>
                  </a:lnTo>
                  <a:lnTo>
                    <a:pt x="2175763" y="596354"/>
                  </a:lnTo>
                  <a:lnTo>
                    <a:pt x="2175814" y="597649"/>
                  </a:lnTo>
                  <a:lnTo>
                    <a:pt x="2175954" y="597649"/>
                  </a:lnTo>
                  <a:lnTo>
                    <a:pt x="2176005" y="596354"/>
                  </a:lnTo>
                  <a:lnTo>
                    <a:pt x="2176056" y="596354"/>
                  </a:lnTo>
                  <a:lnTo>
                    <a:pt x="2176056" y="597649"/>
                  </a:lnTo>
                  <a:lnTo>
                    <a:pt x="2176208" y="597649"/>
                  </a:lnTo>
                  <a:lnTo>
                    <a:pt x="2176259" y="596354"/>
                  </a:lnTo>
                  <a:lnTo>
                    <a:pt x="2176259" y="597649"/>
                  </a:lnTo>
                  <a:lnTo>
                    <a:pt x="2176411" y="597649"/>
                  </a:lnTo>
                  <a:lnTo>
                    <a:pt x="2176411" y="596354"/>
                  </a:lnTo>
                  <a:lnTo>
                    <a:pt x="2176462" y="596354"/>
                  </a:lnTo>
                  <a:lnTo>
                    <a:pt x="2176500" y="597649"/>
                  </a:lnTo>
                  <a:lnTo>
                    <a:pt x="2176602" y="597649"/>
                  </a:lnTo>
                  <a:lnTo>
                    <a:pt x="2176602" y="596354"/>
                  </a:lnTo>
                  <a:lnTo>
                    <a:pt x="2176805" y="596354"/>
                  </a:lnTo>
                  <a:lnTo>
                    <a:pt x="2176805" y="597649"/>
                  </a:lnTo>
                  <a:lnTo>
                    <a:pt x="2176957" y="597649"/>
                  </a:lnTo>
                  <a:lnTo>
                    <a:pt x="2177046" y="596354"/>
                  </a:lnTo>
                  <a:lnTo>
                    <a:pt x="2177046" y="597649"/>
                  </a:lnTo>
                  <a:lnTo>
                    <a:pt x="2177097" y="597649"/>
                  </a:lnTo>
                  <a:lnTo>
                    <a:pt x="2177097" y="596354"/>
                  </a:lnTo>
                  <a:lnTo>
                    <a:pt x="2177199" y="596354"/>
                  </a:lnTo>
                  <a:lnTo>
                    <a:pt x="2177300" y="597649"/>
                  </a:lnTo>
                  <a:lnTo>
                    <a:pt x="2177351" y="596354"/>
                  </a:lnTo>
                  <a:lnTo>
                    <a:pt x="2177592" y="596354"/>
                  </a:lnTo>
                  <a:lnTo>
                    <a:pt x="2177592" y="597649"/>
                  </a:lnTo>
                  <a:lnTo>
                    <a:pt x="2177643" y="596354"/>
                  </a:lnTo>
                  <a:lnTo>
                    <a:pt x="2177745" y="597649"/>
                  </a:lnTo>
                  <a:lnTo>
                    <a:pt x="2177796" y="596354"/>
                  </a:lnTo>
                  <a:lnTo>
                    <a:pt x="2177796" y="597649"/>
                  </a:lnTo>
                  <a:lnTo>
                    <a:pt x="2177846" y="597649"/>
                  </a:lnTo>
                  <a:lnTo>
                    <a:pt x="2177846" y="596354"/>
                  </a:lnTo>
                  <a:lnTo>
                    <a:pt x="2177948" y="597649"/>
                  </a:lnTo>
                  <a:lnTo>
                    <a:pt x="2178088" y="597649"/>
                  </a:lnTo>
                  <a:lnTo>
                    <a:pt x="2178088" y="596354"/>
                  </a:lnTo>
                  <a:lnTo>
                    <a:pt x="2178189" y="597649"/>
                  </a:lnTo>
                  <a:lnTo>
                    <a:pt x="2178291" y="597649"/>
                  </a:lnTo>
                  <a:lnTo>
                    <a:pt x="2178291" y="596354"/>
                  </a:lnTo>
                  <a:lnTo>
                    <a:pt x="2178392" y="596354"/>
                  </a:lnTo>
                  <a:lnTo>
                    <a:pt x="2178443" y="597649"/>
                  </a:lnTo>
                  <a:lnTo>
                    <a:pt x="2178443" y="596354"/>
                  </a:lnTo>
                  <a:lnTo>
                    <a:pt x="2178545" y="596354"/>
                  </a:lnTo>
                  <a:lnTo>
                    <a:pt x="2178545" y="597649"/>
                  </a:lnTo>
                  <a:lnTo>
                    <a:pt x="2178685" y="597649"/>
                  </a:lnTo>
                  <a:lnTo>
                    <a:pt x="2178735" y="596354"/>
                  </a:lnTo>
                  <a:lnTo>
                    <a:pt x="2178888" y="596354"/>
                  </a:lnTo>
                  <a:lnTo>
                    <a:pt x="2178888" y="597649"/>
                  </a:lnTo>
                  <a:lnTo>
                    <a:pt x="2179129" y="597649"/>
                  </a:lnTo>
                  <a:lnTo>
                    <a:pt x="2179129" y="596354"/>
                  </a:lnTo>
                  <a:lnTo>
                    <a:pt x="2179180" y="597649"/>
                  </a:lnTo>
                  <a:lnTo>
                    <a:pt x="2179180" y="596354"/>
                  </a:lnTo>
                  <a:lnTo>
                    <a:pt x="2179231" y="597649"/>
                  </a:lnTo>
                  <a:lnTo>
                    <a:pt x="2179535" y="597649"/>
                  </a:lnTo>
                  <a:lnTo>
                    <a:pt x="2179586" y="596354"/>
                  </a:lnTo>
                  <a:lnTo>
                    <a:pt x="2179675" y="596354"/>
                  </a:lnTo>
                  <a:lnTo>
                    <a:pt x="2179675" y="597649"/>
                  </a:lnTo>
                  <a:lnTo>
                    <a:pt x="2179777" y="597649"/>
                  </a:lnTo>
                  <a:lnTo>
                    <a:pt x="2179777" y="596354"/>
                  </a:lnTo>
                  <a:lnTo>
                    <a:pt x="2180081" y="596354"/>
                  </a:lnTo>
                  <a:lnTo>
                    <a:pt x="2180132" y="597649"/>
                  </a:lnTo>
                  <a:lnTo>
                    <a:pt x="2180374" y="597649"/>
                  </a:lnTo>
                  <a:lnTo>
                    <a:pt x="2180475" y="596354"/>
                  </a:lnTo>
                  <a:lnTo>
                    <a:pt x="2180526" y="596354"/>
                  </a:lnTo>
                  <a:lnTo>
                    <a:pt x="2180526" y="597649"/>
                  </a:lnTo>
                  <a:lnTo>
                    <a:pt x="2180577" y="596354"/>
                  </a:lnTo>
                  <a:lnTo>
                    <a:pt x="2180577" y="597649"/>
                  </a:lnTo>
                  <a:lnTo>
                    <a:pt x="2180716" y="597649"/>
                  </a:lnTo>
                  <a:lnTo>
                    <a:pt x="2180767" y="596354"/>
                  </a:lnTo>
                  <a:lnTo>
                    <a:pt x="2180818" y="597649"/>
                  </a:lnTo>
                  <a:lnTo>
                    <a:pt x="2181263" y="597649"/>
                  </a:lnTo>
                  <a:lnTo>
                    <a:pt x="2181364" y="596354"/>
                  </a:lnTo>
                  <a:lnTo>
                    <a:pt x="2181364" y="597649"/>
                  </a:lnTo>
                  <a:lnTo>
                    <a:pt x="2181809" y="597649"/>
                  </a:lnTo>
                  <a:lnTo>
                    <a:pt x="2181860" y="596354"/>
                  </a:lnTo>
                  <a:lnTo>
                    <a:pt x="2181910" y="597649"/>
                  </a:lnTo>
                  <a:lnTo>
                    <a:pt x="2182063" y="597649"/>
                  </a:lnTo>
                  <a:lnTo>
                    <a:pt x="2182063" y="596354"/>
                  </a:lnTo>
                  <a:lnTo>
                    <a:pt x="2182113" y="597649"/>
                  </a:lnTo>
                  <a:lnTo>
                    <a:pt x="2182164" y="597649"/>
                  </a:lnTo>
                  <a:lnTo>
                    <a:pt x="2182266" y="596354"/>
                  </a:lnTo>
                  <a:lnTo>
                    <a:pt x="2182406" y="596354"/>
                  </a:lnTo>
                  <a:lnTo>
                    <a:pt x="2182406" y="597649"/>
                  </a:lnTo>
                  <a:lnTo>
                    <a:pt x="2182507" y="596354"/>
                  </a:lnTo>
                  <a:lnTo>
                    <a:pt x="2182558" y="596354"/>
                  </a:lnTo>
                  <a:lnTo>
                    <a:pt x="2182558" y="597649"/>
                  </a:lnTo>
                  <a:lnTo>
                    <a:pt x="2182812" y="597649"/>
                  </a:lnTo>
                  <a:lnTo>
                    <a:pt x="2182812" y="596354"/>
                  </a:lnTo>
                  <a:lnTo>
                    <a:pt x="2182850" y="596354"/>
                  </a:lnTo>
                  <a:lnTo>
                    <a:pt x="2182952" y="597649"/>
                  </a:lnTo>
                  <a:lnTo>
                    <a:pt x="2183155" y="597649"/>
                  </a:lnTo>
                  <a:lnTo>
                    <a:pt x="2183206" y="596354"/>
                  </a:lnTo>
                  <a:lnTo>
                    <a:pt x="2183256" y="596354"/>
                  </a:lnTo>
                  <a:lnTo>
                    <a:pt x="2183256" y="597649"/>
                  </a:lnTo>
                  <a:lnTo>
                    <a:pt x="2183307" y="596354"/>
                  </a:lnTo>
                  <a:lnTo>
                    <a:pt x="2183396" y="596354"/>
                  </a:lnTo>
                  <a:lnTo>
                    <a:pt x="2183447" y="597649"/>
                  </a:lnTo>
                  <a:lnTo>
                    <a:pt x="2183701" y="597649"/>
                  </a:lnTo>
                  <a:lnTo>
                    <a:pt x="2183752" y="598335"/>
                  </a:lnTo>
                  <a:lnTo>
                    <a:pt x="2183752" y="597649"/>
                  </a:lnTo>
                  <a:lnTo>
                    <a:pt x="2183853" y="598335"/>
                  </a:lnTo>
                  <a:lnTo>
                    <a:pt x="2183891" y="597649"/>
                  </a:lnTo>
                  <a:lnTo>
                    <a:pt x="2183942" y="597649"/>
                  </a:lnTo>
                  <a:lnTo>
                    <a:pt x="2183942" y="596354"/>
                  </a:lnTo>
                  <a:lnTo>
                    <a:pt x="2183993" y="597649"/>
                  </a:lnTo>
                  <a:lnTo>
                    <a:pt x="2183993" y="596354"/>
                  </a:lnTo>
                  <a:lnTo>
                    <a:pt x="2184095" y="597649"/>
                  </a:lnTo>
                  <a:lnTo>
                    <a:pt x="2184146" y="596354"/>
                  </a:lnTo>
                  <a:lnTo>
                    <a:pt x="2184196" y="597649"/>
                  </a:lnTo>
                  <a:lnTo>
                    <a:pt x="2184438" y="597649"/>
                  </a:lnTo>
                  <a:lnTo>
                    <a:pt x="2184539" y="596354"/>
                  </a:lnTo>
                  <a:lnTo>
                    <a:pt x="2184539" y="597649"/>
                  </a:lnTo>
                  <a:lnTo>
                    <a:pt x="2184641" y="597649"/>
                  </a:lnTo>
                  <a:lnTo>
                    <a:pt x="2184641" y="596354"/>
                  </a:lnTo>
                  <a:lnTo>
                    <a:pt x="2184793" y="596354"/>
                  </a:lnTo>
                  <a:lnTo>
                    <a:pt x="2184844" y="597649"/>
                  </a:lnTo>
                  <a:lnTo>
                    <a:pt x="2184844" y="596354"/>
                  </a:lnTo>
                  <a:lnTo>
                    <a:pt x="2184984" y="596354"/>
                  </a:lnTo>
                  <a:lnTo>
                    <a:pt x="2184984" y="597649"/>
                  </a:lnTo>
                  <a:lnTo>
                    <a:pt x="2185085" y="597649"/>
                  </a:lnTo>
                  <a:lnTo>
                    <a:pt x="2185136" y="596354"/>
                  </a:lnTo>
                  <a:lnTo>
                    <a:pt x="2185238" y="596354"/>
                  </a:lnTo>
                  <a:lnTo>
                    <a:pt x="2185288" y="597649"/>
                  </a:lnTo>
                  <a:lnTo>
                    <a:pt x="2185885" y="597649"/>
                  </a:lnTo>
                  <a:lnTo>
                    <a:pt x="2185936" y="598335"/>
                  </a:lnTo>
                  <a:lnTo>
                    <a:pt x="2185987" y="598335"/>
                  </a:lnTo>
                  <a:lnTo>
                    <a:pt x="2185987" y="597649"/>
                  </a:lnTo>
                  <a:lnTo>
                    <a:pt x="2186025" y="597649"/>
                  </a:lnTo>
                  <a:lnTo>
                    <a:pt x="2186127" y="596354"/>
                  </a:lnTo>
                  <a:lnTo>
                    <a:pt x="2186228" y="596354"/>
                  </a:lnTo>
                  <a:lnTo>
                    <a:pt x="2186330" y="597649"/>
                  </a:lnTo>
                  <a:lnTo>
                    <a:pt x="2186431" y="597649"/>
                  </a:lnTo>
                  <a:lnTo>
                    <a:pt x="2186431" y="596354"/>
                  </a:lnTo>
                  <a:lnTo>
                    <a:pt x="2186482" y="596354"/>
                  </a:lnTo>
                  <a:lnTo>
                    <a:pt x="2186482" y="597649"/>
                  </a:lnTo>
                  <a:lnTo>
                    <a:pt x="2186571" y="596354"/>
                  </a:lnTo>
                  <a:lnTo>
                    <a:pt x="2186622" y="597649"/>
                  </a:lnTo>
                  <a:lnTo>
                    <a:pt x="2186724" y="597649"/>
                  </a:lnTo>
                  <a:lnTo>
                    <a:pt x="2186825" y="596354"/>
                  </a:lnTo>
                  <a:lnTo>
                    <a:pt x="2186876" y="597649"/>
                  </a:lnTo>
                  <a:lnTo>
                    <a:pt x="2186927" y="596354"/>
                  </a:lnTo>
                  <a:lnTo>
                    <a:pt x="2186927" y="597649"/>
                  </a:lnTo>
                  <a:lnTo>
                    <a:pt x="2187117" y="597649"/>
                  </a:lnTo>
                  <a:lnTo>
                    <a:pt x="2187168" y="596354"/>
                  </a:lnTo>
                  <a:lnTo>
                    <a:pt x="2187270" y="597649"/>
                  </a:lnTo>
                  <a:lnTo>
                    <a:pt x="2187321" y="597649"/>
                  </a:lnTo>
                  <a:lnTo>
                    <a:pt x="2187371" y="596354"/>
                  </a:lnTo>
                  <a:lnTo>
                    <a:pt x="2187524" y="596354"/>
                  </a:lnTo>
                  <a:lnTo>
                    <a:pt x="2187575" y="597649"/>
                  </a:lnTo>
                  <a:lnTo>
                    <a:pt x="2187575" y="596354"/>
                  </a:lnTo>
                  <a:lnTo>
                    <a:pt x="2187613" y="596354"/>
                  </a:lnTo>
                  <a:lnTo>
                    <a:pt x="2187714" y="597649"/>
                  </a:lnTo>
                  <a:lnTo>
                    <a:pt x="2187816" y="597649"/>
                  </a:lnTo>
                  <a:lnTo>
                    <a:pt x="2187917" y="596354"/>
                  </a:lnTo>
                  <a:lnTo>
                    <a:pt x="2187917" y="597649"/>
                  </a:lnTo>
                  <a:lnTo>
                    <a:pt x="2188019" y="597649"/>
                  </a:lnTo>
                  <a:lnTo>
                    <a:pt x="2188070" y="596354"/>
                  </a:lnTo>
                  <a:lnTo>
                    <a:pt x="2188159" y="596354"/>
                  </a:lnTo>
                  <a:lnTo>
                    <a:pt x="2188159" y="597649"/>
                  </a:lnTo>
                  <a:lnTo>
                    <a:pt x="2188260" y="597649"/>
                  </a:lnTo>
                  <a:lnTo>
                    <a:pt x="2188260" y="596354"/>
                  </a:lnTo>
                  <a:lnTo>
                    <a:pt x="2188311" y="596354"/>
                  </a:lnTo>
                  <a:lnTo>
                    <a:pt x="2188413" y="597649"/>
                  </a:lnTo>
                  <a:lnTo>
                    <a:pt x="2188514" y="597649"/>
                  </a:lnTo>
                  <a:lnTo>
                    <a:pt x="2188616" y="596354"/>
                  </a:lnTo>
                  <a:lnTo>
                    <a:pt x="2188616" y="597649"/>
                  </a:lnTo>
                  <a:lnTo>
                    <a:pt x="2189060" y="597649"/>
                  </a:lnTo>
                  <a:lnTo>
                    <a:pt x="2189060" y="596354"/>
                  </a:lnTo>
                  <a:lnTo>
                    <a:pt x="2189111" y="597649"/>
                  </a:lnTo>
                  <a:lnTo>
                    <a:pt x="2189162" y="597649"/>
                  </a:lnTo>
                  <a:lnTo>
                    <a:pt x="2189200" y="596354"/>
                  </a:lnTo>
                  <a:lnTo>
                    <a:pt x="2189302" y="597649"/>
                  </a:lnTo>
                  <a:lnTo>
                    <a:pt x="2189505" y="597649"/>
                  </a:lnTo>
                  <a:lnTo>
                    <a:pt x="2189505" y="596354"/>
                  </a:lnTo>
                  <a:lnTo>
                    <a:pt x="2190000" y="596354"/>
                  </a:lnTo>
                  <a:lnTo>
                    <a:pt x="2190000" y="597649"/>
                  </a:lnTo>
                  <a:lnTo>
                    <a:pt x="2190051" y="596354"/>
                  </a:lnTo>
                  <a:lnTo>
                    <a:pt x="2190051" y="597649"/>
                  </a:lnTo>
                  <a:lnTo>
                    <a:pt x="2190203" y="597649"/>
                  </a:lnTo>
                  <a:lnTo>
                    <a:pt x="2190241" y="596354"/>
                  </a:lnTo>
                  <a:lnTo>
                    <a:pt x="2190241" y="597649"/>
                  </a:lnTo>
                  <a:lnTo>
                    <a:pt x="2190292" y="596354"/>
                  </a:lnTo>
                  <a:lnTo>
                    <a:pt x="2190343" y="597649"/>
                  </a:lnTo>
                  <a:lnTo>
                    <a:pt x="2190445" y="597649"/>
                  </a:lnTo>
                  <a:lnTo>
                    <a:pt x="2190496" y="596354"/>
                  </a:lnTo>
                  <a:lnTo>
                    <a:pt x="2190546" y="597649"/>
                  </a:lnTo>
                  <a:lnTo>
                    <a:pt x="2190699" y="597649"/>
                  </a:lnTo>
                  <a:lnTo>
                    <a:pt x="2190750" y="596354"/>
                  </a:lnTo>
                  <a:lnTo>
                    <a:pt x="2190750" y="597649"/>
                  </a:lnTo>
                  <a:lnTo>
                    <a:pt x="2190788" y="597649"/>
                  </a:lnTo>
                  <a:lnTo>
                    <a:pt x="2190889" y="596354"/>
                  </a:lnTo>
                  <a:lnTo>
                    <a:pt x="2191092" y="596354"/>
                  </a:lnTo>
                  <a:lnTo>
                    <a:pt x="2191143" y="597649"/>
                  </a:lnTo>
                  <a:lnTo>
                    <a:pt x="2191245" y="597649"/>
                  </a:lnTo>
                  <a:lnTo>
                    <a:pt x="2191334" y="596354"/>
                  </a:lnTo>
                  <a:lnTo>
                    <a:pt x="2191385" y="597649"/>
                  </a:lnTo>
                  <a:lnTo>
                    <a:pt x="2191435" y="596354"/>
                  </a:lnTo>
                  <a:lnTo>
                    <a:pt x="2191638" y="596354"/>
                  </a:lnTo>
                  <a:lnTo>
                    <a:pt x="2191689" y="597649"/>
                  </a:lnTo>
                  <a:lnTo>
                    <a:pt x="2191880" y="597649"/>
                  </a:lnTo>
                  <a:lnTo>
                    <a:pt x="2191880" y="596354"/>
                  </a:lnTo>
                  <a:lnTo>
                    <a:pt x="2191931" y="596354"/>
                  </a:lnTo>
                  <a:lnTo>
                    <a:pt x="2191931" y="597649"/>
                  </a:lnTo>
                  <a:lnTo>
                    <a:pt x="2192083" y="597649"/>
                  </a:lnTo>
                  <a:lnTo>
                    <a:pt x="2192134" y="596354"/>
                  </a:lnTo>
                  <a:lnTo>
                    <a:pt x="2192235" y="596354"/>
                  </a:lnTo>
                  <a:lnTo>
                    <a:pt x="2192235" y="597649"/>
                  </a:lnTo>
                  <a:lnTo>
                    <a:pt x="2192337" y="597649"/>
                  </a:lnTo>
                  <a:lnTo>
                    <a:pt x="2192375" y="596354"/>
                  </a:lnTo>
                  <a:lnTo>
                    <a:pt x="2192731" y="596354"/>
                  </a:lnTo>
                  <a:lnTo>
                    <a:pt x="2192781" y="597649"/>
                  </a:lnTo>
                  <a:lnTo>
                    <a:pt x="2193074" y="597649"/>
                  </a:lnTo>
                  <a:lnTo>
                    <a:pt x="2193074" y="596354"/>
                  </a:lnTo>
                  <a:lnTo>
                    <a:pt x="2193277" y="596354"/>
                  </a:lnTo>
                  <a:lnTo>
                    <a:pt x="2193277" y="597649"/>
                  </a:lnTo>
                  <a:lnTo>
                    <a:pt x="2193416" y="597649"/>
                  </a:lnTo>
                  <a:lnTo>
                    <a:pt x="2193467" y="596354"/>
                  </a:lnTo>
                  <a:lnTo>
                    <a:pt x="2193467" y="597649"/>
                  </a:lnTo>
                  <a:lnTo>
                    <a:pt x="2194115" y="597649"/>
                  </a:lnTo>
                  <a:lnTo>
                    <a:pt x="2194166" y="596354"/>
                  </a:lnTo>
                  <a:lnTo>
                    <a:pt x="2194166" y="597649"/>
                  </a:lnTo>
                  <a:lnTo>
                    <a:pt x="2194267" y="596354"/>
                  </a:lnTo>
                  <a:lnTo>
                    <a:pt x="2194267" y="597649"/>
                  </a:lnTo>
                  <a:lnTo>
                    <a:pt x="2194318" y="597649"/>
                  </a:lnTo>
                  <a:lnTo>
                    <a:pt x="2194369" y="598335"/>
                  </a:lnTo>
                  <a:lnTo>
                    <a:pt x="2194369" y="597649"/>
                  </a:lnTo>
                  <a:lnTo>
                    <a:pt x="2194560" y="597649"/>
                  </a:lnTo>
                  <a:lnTo>
                    <a:pt x="2194560" y="596354"/>
                  </a:lnTo>
                  <a:lnTo>
                    <a:pt x="2194610" y="597649"/>
                  </a:lnTo>
                  <a:lnTo>
                    <a:pt x="2194813" y="597649"/>
                  </a:lnTo>
                  <a:lnTo>
                    <a:pt x="2194813" y="596354"/>
                  </a:lnTo>
                  <a:lnTo>
                    <a:pt x="2194864" y="596354"/>
                  </a:lnTo>
                  <a:lnTo>
                    <a:pt x="2194864" y="597649"/>
                  </a:lnTo>
                  <a:lnTo>
                    <a:pt x="2195106" y="597649"/>
                  </a:lnTo>
                  <a:lnTo>
                    <a:pt x="2195207" y="596354"/>
                  </a:lnTo>
                  <a:lnTo>
                    <a:pt x="2195258" y="597649"/>
                  </a:lnTo>
                  <a:lnTo>
                    <a:pt x="2195461" y="597649"/>
                  </a:lnTo>
                  <a:lnTo>
                    <a:pt x="2195461" y="598335"/>
                  </a:lnTo>
                  <a:lnTo>
                    <a:pt x="2195512" y="597649"/>
                  </a:lnTo>
                  <a:lnTo>
                    <a:pt x="2195703" y="597649"/>
                  </a:lnTo>
                  <a:lnTo>
                    <a:pt x="2195703" y="598335"/>
                  </a:lnTo>
                  <a:lnTo>
                    <a:pt x="2195753" y="597649"/>
                  </a:lnTo>
                  <a:lnTo>
                    <a:pt x="2195906" y="597649"/>
                  </a:lnTo>
                  <a:lnTo>
                    <a:pt x="2195906" y="596354"/>
                  </a:lnTo>
                  <a:lnTo>
                    <a:pt x="2195956" y="596354"/>
                  </a:lnTo>
                  <a:lnTo>
                    <a:pt x="2196007" y="597649"/>
                  </a:lnTo>
                  <a:lnTo>
                    <a:pt x="2196147" y="597649"/>
                  </a:lnTo>
                  <a:lnTo>
                    <a:pt x="2196198" y="596354"/>
                  </a:lnTo>
                  <a:lnTo>
                    <a:pt x="2196198" y="597649"/>
                  </a:lnTo>
                  <a:lnTo>
                    <a:pt x="2196642" y="597649"/>
                  </a:lnTo>
                  <a:lnTo>
                    <a:pt x="2196693" y="596354"/>
                  </a:lnTo>
                  <a:lnTo>
                    <a:pt x="2196693" y="597649"/>
                  </a:lnTo>
                  <a:lnTo>
                    <a:pt x="2196795" y="597649"/>
                  </a:lnTo>
                  <a:lnTo>
                    <a:pt x="2196846" y="598335"/>
                  </a:lnTo>
                  <a:lnTo>
                    <a:pt x="2196846" y="597649"/>
                  </a:lnTo>
                  <a:lnTo>
                    <a:pt x="2197595" y="597649"/>
                  </a:lnTo>
                  <a:lnTo>
                    <a:pt x="2197595" y="596354"/>
                  </a:lnTo>
                  <a:lnTo>
                    <a:pt x="2197735" y="596354"/>
                  </a:lnTo>
                  <a:lnTo>
                    <a:pt x="2197735" y="597649"/>
                  </a:lnTo>
                  <a:lnTo>
                    <a:pt x="2197785" y="597649"/>
                  </a:lnTo>
                  <a:lnTo>
                    <a:pt x="2197836" y="596354"/>
                  </a:lnTo>
                  <a:lnTo>
                    <a:pt x="2197836" y="597649"/>
                  </a:lnTo>
                  <a:lnTo>
                    <a:pt x="2197988" y="597649"/>
                  </a:lnTo>
                  <a:lnTo>
                    <a:pt x="2198039" y="596354"/>
                  </a:lnTo>
                  <a:lnTo>
                    <a:pt x="2198141" y="597649"/>
                  </a:lnTo>
                  <a:lnTo>
                    <a:pt x="2198230" y="597649"/>
                  </a:lnTo>
                  <a:lnTo>
                    <a:pt x="2198281" y="598335"/>
                  </a:lnTo>
                  <a:lnTo>
                    <a:pt x="2198382" y="597649"/>
                  </a:lnTo>
                  <a:lnTo>
                    <a:pt x="2198878" y="597649"/>
                  </a:lnTo>
                  <a:lnTo>
                    <a:pt x="2198928" y="596354"/>
                  </a:lnTo>
                  <a:lnTo>
                    <a:pt x="2198928" y="597649"/>
                  </a:lnTo>
                  <a:lnTo>
                    <a:pt x="2199182" y="597649"/>
                  </a:lnTo>
                  <a:lnTo>
                    <a:pt x="2199271" y="598335"/>
                  </a:lnTo>
                  <a:lnTo>
                    <a:pt x="2199271" y="597649"/>
                  </a:lnTo>
                  <a:lnTo>
                    <a:pt x="2200173" y="597649"/>
                  </a:lnTo>
                  <a:lnTo>
                    <a:pt x="2200224" y="598335"/>
                  </a:lnTo>
                  <a:lnTo>
                    <a:pt x="2200275" y="598335"/>
                  </a:lnTo>
                  <a:lnTo>
                    <a:pt x="2200275" y="597649"/>
                  </a:lnTo>
                  <a:lnTo>
                    <a:pt x="2200414" y="597649"/>
                  </a:lnTo>
                  <a:lnTo>
                    <a:pt x="2200414" y="596354"/>
                  </a:lnTo>
                  <a:lnTo>
                    <a:pt x="2200465" y="597649"/>
                  </a:lnTo>
                  <a:lnTo>
                    <a:pt x="2200668" y="597649"/>
                  </a:lnTo>
                  <a:lnTo>
                    <a:pt x="2200719" y="596354"/>
                  </a:lnTo>
                  <a:lnTo>
                    <a:pt x="2200770" y="597649"/>
                  </a:lnTo>
                  <a:lnTo>
                    <a:pt x="2200910" y="597649"/>
                  </a:lnTo>
                  <a:lnTo>
                    <a:pt x="2200960" y="598335"/>
                  </a:lnTo>
                  <a:lnTo>
                    <a:pt x="2201011" y="598335"/>
                  </a:lnTo>
                  <a:lnTo>
                    <a:pt x="2201113" y="597649"/>
                  </a:lnTo>
                  <a:lnTo>
                    <a:pt x="2201456" y="597649"/>
                  </a:lnTo>
                  <a:lnTo>
                    <a:pt x="2201557" y="598335"/>
                  </a:lnTo>
                  <a:lnTo>
                    <a:pt x="2201557" y="597649"/>
                  </a:lnTo>
                  <a:lnTo>
                    <a:pt x="2201608" y="598335"/>
                  </a:lnTo>
                  <a:lnTo>
                    <a:pt x="2201659" y="598335"/>
                  </a:lnTo>
                  <a:lnTo>
                    <a:pt x="2201760" y="597649"/>
                  </a:lnTo>
                  <a:lnTo>
                    <a:pt x="2201900" y="597649"/>
                  </a:lnTo>
                  <a:lnTo>
                    <a:pt x="2202002" y="598335"/>
                  </a:lnTo>
                  <a:lnTo>
                    <a:pt x="2202103" y="598335"/>
                  </a:lnTo>
                  <a:lnTo>
                    <a:pt x="2202103" y="597649"/>
                  </a:lnTo>
                  <a:lnTo>
                    <a:pt x="2202497" y="597649"/>
                  </a:lnTo>
                  <a:lnTo>
                    <a:pt x="2202497" y="596354"/>
                  </a:lnTo>
                  <a:lnTo>
                    <a:pt x="2202548" y="597649"/>
                  </a:lnTo>
                  <a:lnTo>
                    <a:pt x="2203196" y="597649"/>
                  </a:lnTo>
                  <a:lnTo>
                    <a:pt x="2203246" y="598335"/>
                  </a:lnTo>
                  <a:lnTo>
                    <a:pt x="2203399" y="598335"/>
                  </a:lnTo>
                  <a:lnTo>
                    <a:pt x="2203399" y="597649"/>
                  </a:lnTo>
                  <a:lnTo>
                    <a:pt x="2203843" y="597649"/>
                  </a:lnTo>
                  <a:lnTo>
                    <a:pt x="2203894" y="596354"/>
                  </a:lnTo>
                  <a:lnTo>
                    <a:pt x="2204034" y="596354"/>
                  </a:lnTo>
                  <a:lnTo>
                    <a:pt x="2204034" y="597649"/>
                  </a:lnTo>
                  <a:lnTo>
                    <a:pt x="2204135" y="597649"/>
                  </a:lnTo>
                  <a:lnTo>
                    <a:pt x="2204186" y="596354"/>
                  </a:lnTo>
                  <a:lnTo>
                    <a:pt x="2204288" y="596354"/>
                  </a:lnTo>
                  <a:lnTo>
                    <a:pt x="2204338" y="597649"/>
                  </a:lnTo>
                  <a:lnTo>
                    <a:pt x="2204529" y="597649"/>
                  </a:lnTo>
                  <a:lnTo>
                    <a:pt x="2204529" y="596354"/>
                  </a:lnTo>
                  <a:lnTo>
                    <a:pt x="2204580" y="596354"/>
                  </a:lnTo>
                  <a:lnTo>
                    <a:pt x="2204580" y="597649"/>
                  </a:lnTo>
                  <a:lnTo>
                    <a:pt x="2205723" y="597649"/>
                  </a:lnTo>
                  <a:lnTo>
                    <a:pt x="2205774" y="598335"/>
                  </a:lnTo>
                  <a:lnTo>
                    <a:pt x="2205774" y="597649"/>
                  </a:lnTo>
                  <a:lnTo>
                    <a:pt x="2206116" y="597649"/>
                  </a:lnTo>
                  <a:lnTo>
                    <a:pt x="2206116" y="598335"/>
                  </a:lnTo>
                  <a:lnTo>
                    <a:pt x="2206167" y="598335"/>
                  </a:lnTo>
                  <a:lnTo>
                    <a:pt x="2206218" y="597649"/>
                  </a:lnTo>
                  <a:lnTo>
                    <a:pt x="2206371" y="597649"/>
                  </a:lnTo>
                  <a:lnTo>
                    <a:pt x="2206371" y="598335"/>
                  </a:lnTo>
                  <a:lnTo>
                    <a:pt x="2206421" y="598335"/>
                  </a:lnTo>
                  <a:lnTo>
                    <a:pt x="2206421" y="597649"/>
                  </a:lnTo>
                  <a:lnTo>
                    <a:pt x="2207069" y="597649"/>
                  </a:lnTo>
                  <a:lnTo>
                    <a:pt x="2207120" y="598335"/>
                  </a:lnTo>
                  <a:lnTo>
                    <a:pt x="2207260" y="598335"/>
                  </a:lnTo>
                  <a:lnTo>
                    <a:pt x="2207260" y="597649"/>
                  </a:lnTo>
                  <a:lnTo>
                    <a:pt x="2209101" y="597649"/>
                  </a:lnTo>
                  <a:lnTo>
                    <a:pt x="2209101" y="596354"/>
                  </a:lnTo>
                  <a:lnTo>
                    <a:pt x="2209152" y="597649"/>
                  </a:lnTo>
                  <a:lnTo>
                    <a:pt x="2209152" y="596354"/>
                  </a:lnTo>
                  <a:lnTo>
                    <a:pt x="2209291" y="596354"/>
                  </a:lnTo>
                  <a:lnTo>
                    <a:pt x="2209291" y="597649"/>
                  </a:lnTo>
                  <a:lnTo>
                    <a:pt x="2209342" y="596354"/>
                  </a:lnTo>
                  <a:lnTo>
                    <a:pt x="2209495" y="596354"/>
                  </a:lnTo>
                  <a:lnTo>
                    <a:pt x="2209495" y="597649"/>
                  </a:lnTo>
                  <a:lnTo>
                    <a:pt x="2209800" y="597649"/>
                  </a:lnTo>
                  <a:lnTo>
                    <a:pt x="2209800" y="596354"/>
                  </a:lnTo>
                  <a:lnTo>
                    <a:pt x="2209838" y="597649"/>
                  </a:lnTo>
                  <a:lnTo>
                    <a:pt x="2210295" y="597649"/>
                  </a:lnTo>
                  <a:lnTo>
                    <a:pt x="2210295" y="598335"/>
                  </a:lnTo>
                  <a:lnTo>
                    <a:pt x="2210384" y="598335"/>
                  </a:lnTo>
                  <a:lnTo>
                    <a:pt x="2210384" y="597649"/>
                  </a:lnTo>
                  <a:lnTo>
                    <a:pt x="2210739" y="597649"/>
                  </a:lnTo>
                  <a:lnTo>
                    <a:pt x="2210739" y="598335"/>
                  </a:lnTo>
                  <a:lnTo>
                    <a:pt x="2210841" y="597649"/>
                  </a:lnTo>
                  <a:lnTo>
                    <a:pt x="2210981" y="597649"/>
                  </a:lnTo>
                  <a:lnTo>
                    <a:pt x="2211082" y="598335"/>
                  </a:lnTo>
                  <a:lnTo>
                    <a:pt x="2211082" y="597649"/>
                  </a:lnTo>
                  <a:lnTo>
                    <a:pt x="2211285" y="597649"/>
                  </a:lnTo>
                  <a:lnTo>
                    <a:pt x="2211285" y="598335"/>
                  </a:lnTo>
                  <a:lnTo>
                    <a:pt x="2211336" y="598335"/>
                  </a:lnTo>
                  <a:lnTo>
                    <a:pt x="2211336" y="597649"/>
                  </a:lnTo>
                  <a:lnTo>
                    <a:pt x="2212428" y="597649"/>
                  </a:lnTo>
                  <a:lnTo>
                    <a:pt x="2212428" y="598335"/>
                  </a:lnTo>
                  <a:lnTo>
                    <a:pt x="2212466" y="598335"/>
                  </a:lnTo>
                  <a:lnTo>
                    <a:pt x="2212466" y="597649"/>
                  </a:lnTo>
                  <a:lnTo>
                    <a:pt x="2212568" y="597649"/>
                  </a:lnTo>
                  <a:lnTo>
                    <a:pt x="2212568" y="598335"/>
                  </a:lnTo>
                  <a:lnTo>
                    <a:pt x="2212721" y="598335"/>
                  </a:lnTo>
                  <a:lnTo>
                    <a:pt x="2212771" y="599580"/>
                  </a:lnTo>
                  <a:lnTo>
                    <a:pt x="2212771" y="601561"/>
                  </a:lnTo>
                  <a:lnTo>
                    <a:pt x="2212873" y="602907"/>
                  </a:lnTo>
                  <a:lnTo>
                    <a:pt x="2212873" y="605485"/>
                  </a:lnTo>
                  <a:lnTo>
                    <a:pt x="2212924" y="606133"/>
                  </a:lnTo>
                  <a:lnTo>
                    <a:pt x="2213013" y="606133"/>
                  </a:lnTo>
                  <a:lnTo>
                    <a:pt x="2213013" y="605485"/>
                  </a:lnTo>
                  <a:lnTo>
                    <a:pt x="2213114" y="605485"/>
                  </a:lnTo>
                  <a:lnTo>
                    <a:pt x="2213165" y="604787"/>
                  </a:lnTo>
                  <a:lnTo>
                    <a:pt x="2213216" y="604787"/>
                  </a:lnTo>
                  <a:lnTo>
                    <a:pt x="2213216" y="603555"/>
                  </a:lnTo>
                  <a:lnTo>
                    <a:pt x="2213470" y="603555"/>
                  </a:lnTo>
                  <a:lnTo>
                    <a:pt x="2213559" y="602907"/>
                  </a:lnTo>
                  <a:lnTo>
                    <a:pt x="2214016" y="602907"/>
                  </a:lnTo>
                  <a:lnTo>
                    <a:pt x="2214054" y="602209"/>
                  </a:lnTo>
                  <a:lnTo>
                    <a:pt x="2214359" y="602209"/>
                  </a:lnTo>
                  <a:lnTo>
                    <a:pt x="2214359" y="602907"/>
                  </a:lnTo>
                  <a:lnTo>
                    <a:pt x="2214600" y="602907"/>
                  </a:lnTo>
                  <a:lnTo>
                    <a:pt x="2214600" y="603555"/>
                  </a:lnTo>
                  <a:lnTo>
                    <a:pt x="2214753" y="603555"/>
                  </a:lnTo>
                  <a:lnTo>
                    <a:pt x="2214753" y="602907"/>
                  </a:lnTo>
                  <a:lnTo>
                    <a:pt x="2214956" y="602907"/>
                  </a:lnTo>
                  <a:lnTo>
                    <a:pt x="2215006" y="603555"/>
                  </a:lnTo>
                  <a:lnTo>
                    <a:pt x="2215400" y="603555"/>
                  </a:lnTo>
                  <a:lnTo>
                    <a:pt x="2215451" y="602907"/>
                  </a:lnTo>
                  <a:lnTo>
                    <a:pt x="2215603" y="602907"/>
                  </a:lnTo>
                  <a:lnTo>
                    <a:pt x="2215641" y="602209"/>
                  </a:lnTo>
                  <a:lnTo>
                    <a:pt x="2215743" y="602209"/>
                  </a:lnTo>
                  <a:lnTo>
                    <a:pt x="2215743" y="602907"/>
                  </a:lnTo>
                  <a:lnTo>
                    <a:pt x="2216099" y="602907"/>
                  </a:lnTo>
                  <a:lnTo>
                    <a:pt x="2216099" y="602209"/>
                  </a:lnTo>
                  <a:lnTo>
                    <a:pt x="2216150" y="602907"/>
                  </a:lnTo>
                  <a:lnTo>
                    <a:pt x="2216340" y="602907"/>
                  </a:lnTo>
                  <a:lnTo>
                    <a:pt x="2216391" y="603555"/>
                  </a:lnTo>
                  <a:lnTo>
                    <a:pt x="2216391" y="602907"/>
                  </a:lnTo>
                  <a:lnTo>
                    <a:pt x="2216543" y="602907"/>
                  </a:lnTo>
                  <a:lnTo>
                    <a:pt x="2216594" y="603555"/>
                  </a:lnTo>
                  <a:lnTo>
                    <a:pt x="2216734" y="603555"/>
                  </a:lnTo>
                  <a:lnTo>
                    <a:pt x="2216734" y="602907"/>
                  </a:lnTo>
                  <a:lnTo>
                    <a:pt x="2216988" y="602907"/>
                  </a:lnTo>
                  <a:lnTo>
                    <a:pt x="2216988" y="603555"/>
                  </a:lnTo>
                  <a:lnTo>
                    <a:pt x="2217038" y="603555"/>
                  </a:lnTo>
                  <a:lnTo>
                    <a:pt x="2217089" y="602907"/>
                  </a:lnTo>
                  <a:lnTo>
                    <a:pt x="2217191" y="602907"/>
                  </a:lnTo>
                  <a:lnTo>
                    <a:pt x="2217191" y="602209"/>
                  </a:lnTo>
                  <a:lnTo>
                    <a:pt x="2217229" y="602907"/>
                  </a:lnTo>
                  <a:lnTo>
                    <a:pt x="2217331" y="602907"/>
                  </a:lnTo>
                  <a:lnTo>
                    <a:pt x="2217432" y="603555"/>
                  </a:lnTo>
                  <a:lnTo>
                    <a:pt x="2217534" y="603555"/>
                  </a:lnTo>
                  <a:lnTo>
                    <a:pt x="2217635" y="604787"/>
                  </a:lnTo>
                  <a:lnTo>
                    <a:pt x="2217635" y="605485"/>
                  </a:lnTo>
                  <a:lnTo>
                    <a:pt x="2217686" y="606133"/>
                  </a:lnTo>
                  <a:lnTo>
                    <a:pt x="2217686" y="606768"/>
                  </a:lnTo>
                  <a:lnTo>
                    <a:pt x="2217737" y="606133"/>
                  </a:lnTo>
                  <a:lnTo>
                    <a:pt x="2217737" y="606768"/>
                  </a:lnTo>
                  <a:lnTo>
                    <a:pt x="2217775" y="606133"/>
                  </a:lnTo>
                  <a:lnTo>
                    <a:pt x="2217877" y="606133"/>
                  </a:lnTo>
                  <a:lnTo>
                    <a:pt x="2217928" y="605485"/>
                  </a:lnTo>
                  <a:lnTo>
                    <a:pt x="2217978" y="605485"/>
                  </a:lnTo>
                  <a:lnTo>
                    <a:pt x="2217978" y="604787"/>
                  </a:lnTo>
                  <a:lnTo>
                    <a:pt x="2218080" y="604787"/>
                  </a:lnTo>
                  <a:lnTo>
                    <a:pt x="2218080" y="602907"/>
                  </a:lnTo>
                  <a:lnTo>
                    <a:pt x="2218131" y="602907"/>
                  </a:lnTo>
                  <a:lnTo>
                    <a:pt x="2218181" y="601561"/>
                  </a:lnTo>
                  <a:lnTo>
                    <a:pt x="2218181" y="600926"/>
                  </a:lnTo>
                  <a:lnTo>
                    <a:pt x="2218232" y="598932"/>
                  </a:lnTo>
                  <a:lnTo>
                    <a:pt x="2218232" y="598335"/>
                  </a:lnTo>
                  <a:lnTo>
                    <a:pt x="2218321" y="596354"/>
                  </a:lnTo>
                  <a:lnTo>
                    <a:pt x="2218321" y="595706"/>
                  </a:lnTo>
                  <a:lnTo>
                    <a:pt x="2218372" y="594373"/>
                  </a:lnTo>
                  <a:lnTo>
                    <a:pt x="2218372" y="593725"/>
                  </a:lnTo>
                  <a:lnTo>
                    <a:pt x="2218423" y="591147"/>
                  </a:lnTo>
                  <a:lnTo>
                    <a:pt x="2218474" y="590499"/>
                  </a:lnTo>
                  <a:lnTo>
                    <a:pt x="2218474" y="589166"/>
                  </a:lnTo>
                  <a:lnTo>
                    <a:pt x="2218575" y="588569"/>
                  </a:lnTo>
                  <a:lnTo>
                    <a:pt x="2218626" y="588569"/>
                  </a:lnTo>
                  <a:lnTo>
                    <a:pt x="2218626" y="589166"/>
                  </a:lnTo>
                  <a:lnTo>
                    <a:pt x="2218677" y="589166"/>
                  </a:lnTo>
                  <a:lnTo>
                    <a:pt x="2218677" y="590499"/>
                  </a:lnTo>
                  <a:lnTo>
                    <a:pt x="2218867" y="590499"/>
                  </a:lnTo>
                  <a:lnTo>
                    <a:pt x="2218867" y="591147"/>
                  </a:lnTo>
                  <a:lnTo>
                    <a:pt x="2218918" y="591147"/>
                  </a:lnTo>
                  <a:lnTo>
                    <a:pt x="2218918" y="591795"/>
                  </a:lnTo>
                  <a:lnTo>
                    <a:pt x="2219020" y="591147"/>
                  </a:lnTo>
                  <a:lnTo>
                    <a:pt x="2219020" y="591795"/>
                  </a:lnTo>
                  <a:lnTo>
                    <a:pt x="2219121" y="591795"/>
                  </a:lnTo>
                  <a:lnTo>
                    <a:pt x="2219121" y="592442"/>
                  </a:lnTo>
                  <a:lnTo>
                    <a:pt x="2219464" y="592442"/>
                  </a:lnTo>
                  <a:lnTo>
                    <a:pt x="2219515" y="593725"/>
                  </a:lnTo>
                  <a:lnTo>
                    <a:pt x="2219515" y="592442"/>
                  </a:lnTo>
                  <a:lnTo>
                    <a:pt x="2219566" y="593725"/>
                  </a:lnTo>
                  <a:lnTo>
                    <a:pt x="2219667" y="593725"/>
                  </a:lnTo>
                  <a:lnTo>
                    <a:pt x="2219718" y="594373"/>
                  </a:lnTo>
                  <a:lnTo>
                    <a:pt x="2219769" y="594373"/>
                  </a:lnTo>
                  <a:lnTo>
                    <a:pt x="2219769" y="593725"/>
                  </a:lnTo>
                  <a:lnTo>
                    <a:pt x="2219820" y="593725"/>
                  </a:lnTo>
                  <a:lnTo>
                    <a:pt x="2219820" y="594373"/>
                  </a:lnTo>
                  <a:lnTo>
                    <a:pt x="2219909" y="593725"/>
                  </a:lnTo>
                  <a:lnTo>
                    <a:pt x="2220010" y="593725"/>
                  </a:lnTo>
                  <a:lnTo>
                    <a:pt x="2220010" y="594373"/>
                  </a:lnTo>
                  <a:lnTo>
                    <a:pt x="2220061" y="594373"/>
                  </a:lnTo>
                  <a:lnTo>
                    <a:pt x="2220163" y="593725"/>
                  </a:lnTo>
                  <a:lnTo>
                    <a:pt x="2220213" y="593725"/>
                  </a:lnTo>
                  <a:lnTo>
                    <a:pt x="2220213" y="594373"/>
                  </a:lnTo>
                  <a:lnTo>
                    <a:pt x="2220455" y="594373"/>
                  </a:lnTo>
                  <a:lnTo>
                    <a:pt x="2220506" y="593725"/>
                  </a:lnTo>
                  <a:lnTo>
                    <a:pt x="2220861" y="593725"/>
                  </a:lnTo>
                  <a:lnTo>
                    <a:pt x="2220950" y="595021"/>
                  </a:lnTo>
                  <a:lnTo>
                    <a:pt x="2220950" y="595706"/>
                  </a:lnTo>
                  <a:lnTo>
                    <a:pt x="2221052" y="597649"/>
                  </a:lnTo>
                  <a:lnTo>
                    <a:pt x="2221103" y="598335"/>
                  </a:lnTo>
                  <a:lnTo>
                    <a:pt x="2221153" y="598335"/>
                  </a:lnTo>
                  <a:lnTo>
                    <a:pt x="2221255" y="597649"/>
                  </a:lnTo>
                  <a:lnTo>
                    <a:pt x="2221255" y="596354"/>
                  </a:lnTo>
                  <a:lnTo>
                    <a:pt x="2221306" y="595021"/>
                  </a:lnTo>
                  <a:lnTo>
                    <a:pt x="2221306" y="593725"/>
                  </a:lnTo>
                  <a:lnTo>
                    <a:pt x="2221356" y="592442"/>
                  </a:lnTo>
                  <a:lnTo>
                    <a:pt x="2221356" y="591795"/>
                  </a:lnTo>
                  <a:lnTo>
                    <a:pt x="2221407" y="591795"/>
                  </a:lnTo>
                  <a:lnTo>
                    <a:pt x="2221407" y="591147"/>
                  </a:lnTo>
                  <a:lnTo>
                    <a:pt x="2221649" y="591147"/>
                  </a:lnTo>
                  <a:lnTo>
                    <a:pt x="2221750" y="591795"/>
                  </a:lnTo>
                  <a:lnTo>
                    <a:pt x="2221801" y="591795"/>
                  </a:lnTo>
                  <a:lnTo>
                    <a:pt x="2221852" y="591147"/>
                  </a:lnTo>
                  <a:lnTo>
                    <a:pt x="2221852" y="591795"/>
                  </a:lnTo>
                  <a:lnTo>
                    <a:pt x="2221991" y="591795"/>
                  </a:lnTo>
                  <a:lnTo>
                    <a:pt x="2221991" y="591147"/>
                  </a:lnTo>
                  <a:lnTo>
                    <a:pt x="2222195" y="591147"/>
                  </a:lnTo>
                  <a:lnTo>
                    <a:pt x="2222246" y="590499"/>
                  </a:lnTo>
                  <a:lnTo>
                    <a:pt x="2222398" y="590499"/>
                  </a:lnTo>
                  <a:lnTo>
                    <a:pt x="2222449" y="591147"/>
                  </a:lnTo>
                  <a:lnTo>
                    <a:pt x="2222500" y="591147"/>
                  </a:lnTo>
                  <a:lnTo>
                    <a:pt x="2222500" y="591795"/>
                  </a:lnTo>
                  <a:lnTo>
                    <a:pt x="2222538" y="591147"/>
                  </a:lnTo>
                  <a:lnTo>
                    <a:pt x="2222538" y="591795"/>
                  </a:lnTo>
                  <a:lnTo>
                    <a:pt x="2222639" y="591147"/>
                  </a:lnTo>
                  <a:lnTo>
                    <a:pt x="2222639" y="591795"/>
                  </a:lnTo>
                  <a:lnTo>
                    <a:pt x="2222741" y="591795"/>
                  </a:lnTo>
                  <a:lnTo>
                    <a:pt x="2222842" y="591147"/>
                  </a:lnTo>
                  <a:lnTo>
                    <a:pt x="2223084" y="591147"/>
                  </a:lnTo>
                  <a:lnTo>
                    <a:pt x="2223084" y="590499"/>
                  </a:lnTo>
                  <a:lnTo>
                    <a:pt x="2223135" y="591147"/>
                  </a:lnTo>
                  <a:lnTo>
                    <a:pt x="2223135" y="590499"/>
                  </a:lnTo>
                  <a:lnTo>
                    <a:pt x="2223185" y="590499"/>
                  </a:lnTo>
                  <a:lnTo>
                    <a:pt x="2223185" y="591147"/>
                  </a:lnTo>
                  <a:lnTo>
                    <a:pt x="2223338" y="591147"/>
                  </a:lnTo>
                  <a:lnTo>
                    <a:pt x="2223388" y="590499"/>
                  </a:lnTo>
                  <a:lnTo>
                    <a:pt x="2223388" y="591147"/>
                  </a:lnTo>
                  <a:lnTo>
                    <a:pt x="2223833" y="591147"/>
                  </a:lnTo>
                  <a:lnTo>
                    <a:pt x="2223884" y="591795"/>
                  </a:lnTo>
                  <a:lnTo>
                    <a:pt x="2223985" y="591795"/>
                  </a:lnTo>
                  <a:lnTo>
                    <a:pt x="2224036" y="592442"/>
                  </a:lnTo>
                  <a:lnTo>
                    <a:pt x="2224087" y="593725"/>
                  </a:lnTo>
                  <a:lnTo>
                    <a:pt x="2224087" y="594373"/>
                  </a:lnTo>
                  <a:lnTo>
                    <a:pt x="2224125" y="595021"/>
                  </a:lnTo>
                  <a:lnTo>
                    <a:pt x="2224125" y="595706"/>
                  </a:lnTo>
                  <a:lnTo>
                    <a:pt x="2224278" y="595706"/>
                  </a:lnTo>
                  <a:lnTo>
                    <a:pt x="2224278" y="595021"/>
                  </a:lnTo>
                  <a:lnTo>
                    <a:pt x="2224328" y="595021"/>
                  </a:lnTo>
                  <a:lnTo>
                    <a:pt x="2224328" y="594373"/>
                  </a:lnTo>
                  <a:lnTo>
                    <a:pt x="2224430" y="594373"/>
                  </a:lnTo>
                  <a:lnTo>
                    <a:pt x="2224430" y="593725"/>
                  </a:lnTo>
                  <a:lnTo>
                    <a:pt x="2224481" y="593725"/>
                  </a:lnTo>
                  <a:lnTo>
                    <a:pt x="2224531" y="592442"/>
                  </a:lnTo>
                  <a:lnTo>
                    <a:pt x="2224582" y="593725"/>
                  </a:lnTo>
                  <a:lnTo>
                    <a:pt x="2224671" y="592442"/>
                  </a:lnTo>
                  <a:lnTo>
                    <a:pt x="2224925" y="592442"/>
                  </a:lnTo>
                  <a:lnTo>
                    <a:pt x="2224976" y="591795"/>
                  </a:lnTo>
                  <a:lnTo>
                    <a:pt x="2224976" y="591147"/>
                  </a:lnTo>
                  <a:lnTo>
                    <a:pt x="2225027" y="590499"/>
                  </a:lnTo>
                  <a:lnTo>
                    <a:pt x="2225027" y="589166"/>
                  </a:lnTo>
                  <a:lnTo>
                    <a:pt x="2225128" y="588569"/>
                  </a:lnTo>
                  <a:lnTo>
                    <a:pt x="2225166" y="587921"/>
                  </a:lnTo>
                  <a:lnTo>
                    <a:pt x="2225166" y="587223"/>
                  </a:lnTo>
                  <a:lnTo>
                    <a:pt x="2225217" y="587223"/>
                  </a:lnTo>
                  <a:lnTo>
                    <a:pt x="2225217" y="586588"/>
                  </a:lnTo>
                  <a:lnTo>
                    <a:pt x="2225268" y="587223"/>
                  </a:lnTo>
                  <a:lnTo>
                    <a:pt x="2225471" y="587223"/>
                  </a:lnTo>
                  <a:lnTo>
                    <a:pt x="2225471" y="587921"/>
                  </a:lnTo>
                  <a:lnTo>
                    <a:pt x="2225573" y="587921"/>
                  </a:lnTo>
                  <a:lnTo>
                    <a:pt x="2225573" y="588569"/>
                  </a:lnTo>
                  <a:lnTo>
                    <a:pt x="2225624" y="589166"/>
                  </a:lnTo>
                  <a:lnTo>
                    <a:pt x="2225675" y="589166"/>
                  </a:lnTo>
                  <a:lnTo>
                    <a:pt x="2225675" y="588569"/>
                  </a:lnTo>
                  <a:lnTo>
                    <a:pt x="2226017" y="588569"/>
                  </a:lnTo>
                  <a:lnTo>
                    <a:pt x="2226017" y="589166"/>
                  </a:lnTo>
                  <a:lnTo>
                    <a:pt x="2226360" y="589166"/>
                  </a:lnTo>
                  <a:lnTo>
                    <a:pt x="2226411" y="590499"/>
                  </a:lnTo>
                  <a:lnTo>
                    <a:pt x="2226513" y="589166"/>
                  </a:lnTo>
                  <a:lnTo>
                    <a:pt x="2226563" y="589166"/>
                  </a:lnTo>
                  <a:lnTo>
                    <a:pt x="2226614" y="590499"/>
                  </a:lnTo>
                  <a:lnTo>
                    <a:pt x="2226716" y="590499"/>
                  </a:lnTo>
                  <a:lnTo>
                    <a:pt x="2226754" y="589166"/>
                  </a:lnTo>
                  <a:lnTo>
                    <a:pt x="2227008" y="589166"/>
                  </a:lnTo>
                  <a:lnTo>
                    <a:pt x="2227008" y="590499"/>
                  </a:lnTo>
                  <a:lnTo>
                    <a:pt x="2227211" y="590499"/>
                  </a:lnTo>
                  <a:lnTo>
                    <a:pt x="2227211" y="589166"/>
                  </a:lnTo>
                  <a:lnTo>
                    <a:pt x="2227262" y="589166"/>
                  </a:lnTo>
                  <a:lnTo>
                    <a:pt x="2227300" y="590499"/>
                  </a:lnTo>
                  <a:lnTo>
                    <a:pt x="2227402" y="590499"/>
                  </a:lnTo>
                  <a:lnTo>
                    <a:pt x="2227453" y="589166"/>
                  </a:lnTo>
                  <a:lnTo>
                    <a:pt x="2227656" y="589166"/>
                  </a:lnTo>
                  <a:lnTo>
                    <a:pt x="2227706" y="590499"/>
                  </a:lnTo>
                  <a:lnTo>
                    <a:pt x="2227846" y="590499"/>
                  </a:lnTo>
                  <a:lnTo>
                    <a:pt x="2227897" y="589166"/>
                  </a:lnTo>
                  <a:lnTo>
                    <a:pt x="2228888" y="589166"/>
                  </a:lnTo>
                  <a:lnTo>
                    <a:pt x="2228888" y="590499"/>
                  </a:lnTo>
                  <a:lnTo>
                    <a:pt x="2228989" y="589166"/>
                  </a:lnTo>
                  <a:lnTo>
                    <a:pt x="2229586" y="589166"/>
                  </a:lnTo>
                  <a:lnTo>
                    <a:pt x="2229688" y="588569"/>
                  </a:lnTo>
                  <a:lnTo>
                    <a:pt x="2229738" y="589166"/>
                  </a:lnTo>
                  <a:lnTo>
                    <a:pt x="2230183" y="589166"/>
                  </a:lnTo>
                  <a:lnTo>
                    <a:pt x="2230183" y="590499"/>
                  </a:lnTo>
                  <a:lnTo>
                    <a:pt x="2230234" y="589166"/>
                  </a:lnTo>
                  <a:lnTo>
                    <a:pt x="2230628" y="589166"/>
                  </a:lnTo>
                  <a:lnTo>
                    <a:pt x="2230678" y="590499"/>
                  </a:lnTo>
                  <a:lnTo>
                    <a:pt x="2230780" y="590499"/>
                  </a:lnTo>
                  <a:lnTo>
                    <a:pt x="2230831" y="589166"/>
                  </a:lnTo>
                  <a:lnTo>
                    <a:pt x="2230932" y="589166"/>
                  </a:lnTo>
                  <a:lnTo>
                    <a:pt x="2230932" y="588569"/>
                  </a:lnTo>
                  <a:lnTo>
                    <a:pt x="2231021" y="588569"/>
                  </a:lnTo>
                  <a:lnTo>
                    <a:pt x="2231021" y="589166"/>
                  </a:lnTo>
                  <a:lnTo>
                    <a:pt x="2231072" y="589166"/>
                  </a:lnTo>
                  <a:lnTo>
                    <a:pt x="2231123" y="590499"/>
                  </a:lnTo>
                  <a:lnTo>
                    <a:pt x="2231275" y="590499"/>
                  </a:lnTo>
                  <a:lnTo>
                    <a:pt x="2231275" y="589166"/>
                  </a:lnTo>
                  <a:lnTo>
                    <a:pt x="2231567" y="589166"/>
                  </a:lnTo>
                  <a:lnTo>
                    <a:pt x="2231618" y="588569"/>
                  </a:lnTo>
                  <a:lnTo>
                    <a:pt x="2231618" y="589166"/>
                  </a:lnTo>
                  <a:lnTo>
                    <a:pt x="2231771" y="589166"/>
                  </a:lnTo>
                  <a:lnTo>
                    <a:pt x="2231821" y="590499"/>
                  </a:lnTo>
                  <a:lnTo>
                    <a:pt x="2231923" y="590499"/>
                  </a:lnTo>
                  <a:lnTo>
                    <a:pt x="2231923" y="589166"/>
                  </a:lnTo>
                  <a:lnTo>
                    <a:pt x="2232367" y="589166"/>
                  </a:lnTo>
                  <a:lnTo>
                    <a:pt x="2232418" y="590499"/>
                  </a:lnTo>
                  <a:lnTo>
                    <a:pt x="2232660" y="590499"/>
                  </a:lnTo>
                  <a:lnTo>
                    <a:pt x="2232710" y="589166"/>
                  </a:lnTo>
                  <a:lnTo>
                    <a:pt x="2232761" y="590499"/>
                  </a:lnTo>
                  <a:lnTo>
                    <a:pt x="2232863" y="591147"/>
                  </a:lnTo>
                  <a:lnTo>
                    <a:pt x="2232863" y="592442"/>
                  </a:lnTo>
                  <a:lnTo>
                    <a:pt x="2232913" y="593725"/>
                  </a:lnTo>
                  <a:lnTo>
                    <a:pt x="2232913" y="594373"/>
                  </a:lnTo>
                  <a:lnTo>
                    <a:pt x="2232964" y="595021"/>
                  </a:lnTo>
                  <a:lnTo>
                    <a:pt x="2232964" y="595706"/>
                  </a:lnTo>
                  <a:lnTo>
                    <a:pt x="2233104" y="595706"/>
                  </a:lnTo>
                  <a:lnTo>
                    <a:pt x="2233104" y="596354"/>
                  </a:lnTo>
                  <a:lnTo>
                    <a:pt x="2233206" y="596354"/>
                  </a:lnTo>
                  <a:lnTo>
                    <a:pt x="2233206" y="595706"/>
                  </a:lnTo>
                  <a:lnTo>
                    <a:pt x="2233409" y="595706"/>
                  </a:lnTo>
                  <a:lnTo>
                    <a:pt x="2233409" y="595021"/>
                  </a:lnTo>
                  <a:lnTo>
                    <a:pt x="2233561" y="595021"/>
                  </a:lnTo>
                  <a:lnTo>
                    <a:pt x="2233612" y="594373"/>
                  </a:lnTo>
                  <a:lnTo>
                    <a:pt x="2233650" y="594373"/>
                  </a:lnTo>
                  <a:lnTo>
                    <a:pt x="2233650" y="595021"/>
                  </a:lnTo>
                  <a:lnTo>
                    <a:pt x="2233803" y="595021"/>
                  </a:lnTo>
                  <a:lnTo>
                    <a:pt x="2233853" y="594373"/>
                  </a:lnTo>
                  <a:lnTo>
                    <a:pt x="2233955" y="594373"/>
                  </a:lnTo>
                  <a:lnTo>
                    <a:pt x="2234006" y="595021"/>
                  </a:lnTo>
                  <a:lnTo>
                    <a:pt x="2234107" y="595021"/>
                  </a:lnTo>
                  <a:lnTo>
                    <a:pt x="2234196" y="594373"/>
                  </a:lnTo>
                  <a:lnTo>
                    <a:pt x="2234247" y="595021"/>
                  </a:lnTo>
                  <a:lnTo>
                    <a:pt x="2234298" y="595706"/>
                  </a:lnTo>
                  <a:lnTo>
                    <a:pt x="2234450" y="595706"/>
                  </a:lnTo>
                  <a:lnTo>
                    <a:pt x="2234450" y="596354"/>
                  </a:lnTo>
                  <a:lnTo>
                    <a:pt x="2234501" y="596354"/>
                  </a:lnTo>
                  <a:lnTo>
                    <a:pt x="2234501" y="595706"/>
                  </a:lnTo>
                  <a:lnTo>
                    <a:pt x="2234552" y="595706"/>
                  </a:lnTo>
                  <a:lnTo>
                    <a:pt x="2234653" y="595021"/>
                  </a:lnTo>
                  <a:lnTo>
                    <a:pt x="2234691" y="594373"/>
                  </a:lnTo>
                  <a:lnTo>
                    <a:pt x="2234742" y="595021"/>
                  </a:lnTo>
                  <a:lnTo>
                    <a:pt x="2234793" y="595706"/>
                  </a:lnTo>
                  <a:lnTo>
                    <a:pt x="2234793" y="596354"/>
                  </a:lnTo>
                  <a:lnTo>
                    <a:pt x="2234895" y="597649"/>
                  </a:lnTo>
                  <a:lnTo>
                    <a:pt x="2234946" y="597649"/>
                  </a:lnTo>
                  <a:lnTo>
                    <a:pt x="2234996" y="596354"/>
                  </a:lnTo>
                  <a:lnTo>
                    <a:pt x="2235098" y="597649"/>
                  </a:lnTo>
                  <a:lnTo>
                    <a:pt x="2235098" y="598335"/>
                  </a:lnTo>
                  <a:lnTo>
                    <a:pt x="2235149" y="598335"/>
                  </a:lnTo>
                  <a:lnTo>
                    <a:pt x="2235200" y="599580"/>
                  </a:lnTo>
                  <a:lnTo>
                    <a:pt x="2235200" y="600926"/>
                  </a:lnTo>
                  <a:lnTo>
                    <a:pt x="2235238" y="600926"/>
                  </a:lnTo>
                  <a:lnTo>
                    <a:pt x="2235238" y="598932"/>
                  </a:lnTo>
                  <a:lnTo>
                    <a:pt x="2235339" y="597649"/>
                  </a:lnTo>
                  <a:lnTo>
                    <a:pt x="2235339" y="595706"/>
                  </a:lnTo>
                  <a:lnTo>
                    <a:pt x="2235390" y="595021"/>
                  </a:lnTo>
                  <a:lnTo>
                    <a:pt x="2235441" y="595706"/>
                  </a:lnTo>
                  <a:lnTo>
                    <a:pt x="2235542" y="597649"/>
                  </a:lnTo>
                  <a:lnTo>
                    <a:pt x="2235542" y="599580"/>
                  </a:lnTo>
                  <a:lnTo>
                    <a:pt x="2235593" y="601561"/>
                  </a:lnTo>
                  <a:lnTo>
                    <a:pt x="2235593" y="602907"/>
                  </a:lnTo>
                  <a:lnTo>
                    <a:pt x="2235644" y="602907"/>
                  </a:lnTo>
                  <a:lnTo>
                    <a:pt x="2235644" y="602209"/>
                  </a:lnTo>
                  <a:lnTo>
                    <a:pt x="2235695" y="599580"/>
                  </a:lnTo>
                  <a:lnTo>
                    <a:pt x="2235695" y="598335"/>
                  </a:lnTo>
                  <a:lnTo>
                    <a:pt x="2235784" y="596354"/>
                  </a:lnTo>
                  <a:lnTo>
                    <a:pt x="2235835" y="595706"/>
                  </a:lnTo>
                  <a:lnTo>
                    <a:pt x="2235835" y="597649"/>
                  </a:lnTo>
                  <a:lnTo>
                    <a:pt x="2235885" y="598335"/>
                  </a:lnTo>
                  <a:lnTo>
                    <a:pt x="2235885" y="599580"/>
                  </a:lnTo>
                  <a:lnTo>
                    <a:pt x="2235936" y="601561"/>
                  </a:lnTo>
                  <a:lnTo>
                    <a:pt x="2236038" y="602209"/>
                  </a:lnTo>
                  <a:lnTo>
                    <a:pt x="2236038" y="602907"/>
                  </a:lnTo>
                  <a:lnTo>
                    <a:pt x="2236088" y="602907"/>
                  </a:lnTo>
                  <a:lnTo>
                    <a:pt x="2236139" y="603555"/>
                  </a:lnTo>
                  <a:lnTo>
                    <a:pt x="2236241" y="604787"/>
                  </a:lnTo>
                  <a:lnTo>
                    <a:pt x="2236241" y="603555"/>
                  </a:lnTo>
                  <a:lnTo>
                    <a:pt x="2236279" y="603555"/>
                  </a:lnTo>
                  <a:lnTo>
                    <a:pt x="2236279" y="602907"/>
                  </a:lnTo>
                  <a:lnTo>
                    <a:pt x="2236330" y="602209"/>
                  </a:lnTo>
                  <a:lnTo>
                    <a:pt x="2236381" y="601561"/>
                  </a:lnTo>
                  <a:lnTo>
                    <a:pt x="2236533" y="601561"/>
                  </a:lnTo>
                  <a:lnTo>
                    <a:pt x="2236533" y="602209"/>
                  </a:lnTo>
                  <a:lnTo>
                    <a:pt x="2236584" y="602907"/>
                  </a:lnTo>
                  <a:lnTo>
                    <a:pt x="2236685" y="603555"/>
                  </a:lnTo>
                  <a:lnTo>
                    <a:pt x="2236736" y="603555"/>
                  </a:lnTo>
                  <a:lnTo>
                    <a:pt x="2236736" y="604787"/>
                  </a:lnTo>
                  <a:lnTo>
                    <a:pt x="2236787" y="605485"/>
                  </a:lnTo>
                  <a:lnTo>
                    <a:pt x="2236787" y="606133"/>
                  </a:lnTo>
                  <a:lnTo>
                    <a:pt x="2236825" y="606133"/>
                  </a:lnTo>
                  <a:lnTo>
                    <a:pt x="2236825" y="605485"/>
                  </a:lnTo>
                  <a:lnTo>
                    <a:pt x="2237181" y="605485"/>
                  </a:lnTo>
                  <a:lnTo>
                    <a:pt x="2237181" y="604787"/>
                  </a:lnTo>
                  <a:lnTo>
                    <a:pt x="2237231" y="604787"/>
                  </a:lnTo>
                  <a:lnTo>
                    <a:pt x="2237282" y="603555"/>
                  </a:lnTo>
                  <a:lnTo>
                    <a:pt x="2237371" y="603555"/>
                  </a:lnTo>
                  <a:lnTo>
                    <a:pt x="2237371" y="602907"/>
                  </a:lnTo>
                  <a:lnTo>
                    <a:pt x="2237473" y="602907"/>
                  </a:lnTo>
                  <a:lnTo>
                    <a:pt x="2237473" y="603555"/>
                  </a:lnTo>
                  <a:lnTo>
                    <a:pt x="2237524" y="602907"/>
                  </a:lnTo>
                  <a:lnTo>
                    <a:pt x="2237625" y="602209"/>
                  </a:lnTo>
                  <a:lnTo>
                    <a:pt x="2237676" y="602209"/>
                  </a:lnTo>
                  <a:lnTo>
                    <a:pt x="2237727" y="602907"/>
                  </a:lnTo>
                  <a:lnTo>
                    <a:pt x="2237917" y="602907"/>
                  </a:lnTo>
                  <a:lnTo>
                    <a:pt x="2237917" y="603555"/>
                  </a:lnTo>
                  <a:lnTo>
                    <a:pt x="2237968" y="602907"/>
                  </a:lnTo>
                  <a:lnTo>
                    <a:pt x="2237968" y="603555"/>
                  </a:lnTo>
                  <a:lnTo>
                    <a:pt x="2238070" y="603555"/>
                  </a:lnTo>
                  <a:lnTo>
                    <a:pt x="2238070" y="604787"/>
                  </a:lnTo>
                  <a:lnTo>
                    <a:pt x="2238121" y="604787"/>
                  </a:lnTo>
                  <a:lnTo>
                    <a:pt x="2238121" y="603555"/>
                  </a:lnTo>
                  <a:lnTo>
                    <a:pt x="2238171" y="603555"/>
                  </a:lnTo>
                  <a:lnTo>
                    <a:pt x="2238273" y="602907"/>
                  </a:lnTo>
                  <a:lnTo>
                    <a:pt x="2238273" y="604787"/>
                  </a:lnTo>
                  <a:lnTo>
                    <a:pt x="2238324" y="604787"/>
                  </a:lnTo>
                  <a:lnTo>
                    <a:pt x="2238324" y="602907"/>
                  </a:lnTo>
                  <a:lnTo>
                    <a:pt x="2238375" y="601561"/>
                  </a:lnTo>
                  <a:lnTo>
                    <a:pt x="2238375" y="599580"/>
                  </a:lnTo>
                  <a:lnTo>
                    <a:pt x="2238413" y="600926"/>
                  </a:lnTo>
                  <a:lnTo>
                    <a:pt x="2238413" y="602209"/>
                  </a:lnTo>
                  <a:lnTo>
                    <a:pt x="2238514" y="603555"/>
                  </a:lnTo>
                  <a:lnTo>
                    <a:pt x="2238565" y="605485"/>
                  </a:lnTo>
                  <a:lnTo>
                    <a:pt x="2238565" y="606768"/>
                  </a:lnTo>
                  <a:lnTo>
                    <a:pt x="2238616" y="608114"/>
                  </a:lnTo>
                  <a:lnTo>
                    <a:pt x="2238616" y="606768"/>
                  </a:lnTo>
                  <a:lnTo>
                    <a:pt x="2238717" y="604787"/>
                  </a:lnTo>
                  <a:lnTo>
                    <a:pt x="2238717" y="599580"/>
                  </a:lnTo>
                  <a:lnTo>
                    <a:pt x="2238768" y="596354"/>
                  </a:lnTo>
                  <a:lnTo>
                    <a:pt x="2238768" y="594373"/>
                  </a:lnTo>
                  <a:lnTo>
                    <a:pt x="2238819" y="592442"/>
                  </a:lnTo>
                  <a:lnTo>
                    <a:pt x="2238870" y="592442"/>
                  </a:lnTo>
                  <a:lnTo>
                    <a:pt x="2238870" y="594373"/>
                  </a:lnTo>
                  <a:lnTo>
                    <a:pt x="2238959" y="596354"/>
                  </a:lnTo>
                  <a:lnTo>
                    <a:pt x="2238959" y="598932"/>
                  </a:lnTo>
                  <a:lnTo>
                    <a:pt x="2239010" y="601561"/>
                  </a:lnTo>
                  <a:lnTo>
                    <a:pt x="2239010" y="603555"/>
                  </a:lnTo>
                  <a:lnTo>
                    <a:pt x="2239111" y="603555"/>
                  </a:lnTo>
                  <a:lnTo>
                    <a:pt x="2239111" y="602907"/>
                  </a:lnTo>
                  <a:lnTo>
                    <a:pt x="2239213" y="601561"/>
                  </a:lnTo>
                  <a:lnTo>
                    <a:pt x="2239213" y="602209"/>
                  </a:lnTo>
                  <a:lnTo>
                    <a:pt x="2239263" y="603555"/>
                  </a:lnTo>
                  <a:lnTo>
                    <a:pt x="2239263" y="606133"/>
                  </a:lnTo>
                  <a:lnTo>
                    <a:pt x="2239314" y="608114"/>
                  </a:lnTo>
                  <a:lnTo>
                    <a:pt x="2239314" y="609994"/>
                  </a:lnTo>
                  <a:lnTo>
                    <a:pt x="2239416" y="612673"/>
                  </a:lnTo>
                  <a:lnTo>
                    <a:pt x="2239454" y="615252"/>
                  </a:lnTo>
                  <a:lnTo>
                    <a:pt x="2239454" y="615899"/>
                  </a:lnTo>
                  <a:lnTo>
                    <a:pt x="2239505" y="615252"/>
                  </a:lnTo>
                  <a:lnTo>
                    <a:pt x="2239505" y="610692"/>
                  </a:lnTo>
                  <a:lnTo>
                    <a:pt x="2239556" y="606133"/>
                  </a:lnTo>
                  <a:lnTo>
                    <a:pt x="2239556" y="600926"/>
                  </a:lnTo>
                  <a:lnTo>
                    <a:pt x="2239657" y="595706"/>
                  </a:lnTo>
                  <a:lnTo>
                    <a:pt x="2239657" y="591795"/>
                  </a:lnTo>
                  <a:lnTo>
                    <a:pt x="2239708" y="589166"/>
                  </a:lnTo>
                  <a:lnTo>
                    <a:pt x="2239759" y="587921"/>
                  </a:lnTo>
                  <a:lnTo>
                    <a:pt x="2239860" y="590499"/>
                  </a:lnTo>
                  <a:lnTo>
                    <a:pt x="2239860" y="591795"/>
                  </a:lnTo>
                  <a:lnTo>
                    <a:pt x="2239911" y="593725"/>
                  </a:lnTo>
                  <a:lnTo>
                    <a:pt x="2239911" y="595021"/>
                  </a:lnTo>
                  <a:lnTo>
                    <a:pt x="2239962" y="595706"/>
                  </a:lnTo>
                  <a:lnTo>
                    <a:pt x="2239962" y="597649"/>
                  </a:lnTo>
                  <a:lnTo>
                    <a:pt x="2240000" y="598335"/>
                  </a:lnTo>
                  <a:lnTo>
                    <a:pt x="2240102" y="599580"/>
                  </a:lnTo>
                  <a:lnTo>
                    <a:pt x="2240102" y="602209"/>
                  </a:lnTo>
                  <a:lnTo>
                    <a:pt x="2240153" y="603555"/>
                  </a:lnTo>
                  <a:lnTo>
                    <a:pt x="2240153" y="606133"/>
                  </a:lnTo>
                  <a:lnTo>
                    <a:pt x="2240203" y="608762"/>
                  </a:lnTo>
                  <a:lnTo>
                    <a:pt x="2240203" y="609994"/>
                  </a:lnTo>
                  <a:lnTo>
                    <a:pt x="2240305" y="609994"/>
                  </a:lnTo>
                  <a:lnTo>
                    <a:pt x="2240305" y="609359"/>
                  </a:lnTo>
                  <a:lnTo>
                    <a:pt x="2240356" y="608762"/>
                  </a:lnTo>
                  <a:lnTo>
                    <a:pt x="2240406" y="606133"/>
                  </a:lnTo>
                  <a:lnTo>
                    <a:pt x="2240406" y="604787"/>
                  </a:lnTo>
                  <a:lnTo>
                    <a:pt x="2240457" y="602209"/>
                  </a:lnTo>
                  <a:lnTo>
                    <a:pt x="2240457" y="600926"/>
                  </a:lnTo>
                  <a:lnTo>
                    <a:pt x="2240546" y="601561"/>
                  </a:lnTo>
                  <a:lnTo>
                    <a:pt x="2240546" y="603555"/>
                  </a:lnTo>
                  <a:lnTo>
                    <a:pt x="2240597" y="605485"/>
                  </a:lnTo>
                  <a:lnTo>
                    <a:pt x="2240648" y="606133"/>
                  </a:lnTo>
                  <a:lnTo>
                    <a:pt x="2240648" y="606768"/>
                  </a:lnTo>
                  <a:lnTo>
                    <a:pt x="2240699" y="605485"/>
                  </a:lnTo>
                  <a:lnTo>
                    <a:pt x="2240800" y="605485"/>
                  </a:lnTo>
                  <a:lnTo>
                    <a:pt x="2240851" y="606768"/>
                  </a:lnTo>
                  <a:lnTo>
                    <a:pt x="2240851" y="608762"/>
                  </a:lnTo>
                  <a:lnTo>
                    <a:pt x="2240902" y="610692"/>
                  </a:lnTo>
                  <a:lnTo>
                    <a:pt x="2241003" y="613969"/>
                  </a:lnTo>
                  <a:lnTo>
                    <a:pt x="2241003" y="616547"/>
                  </a:lnTo>
                  <a:lnTo>
                    <a:pt x="2241041" y="617195"/>
                  </a:lnTo>
                  <a:lnTo>
                    <a:pt x="2241041" y="615899"/>
                  </a:lnTo>
                  <a:lnTo>
                    <a:pt x="2241092" y="612673"/>
                  </a:lnTo>
                  <a:lnTo>
                    <a:pt x="2241092" y="608114"/>
                  </a:lnTo>
                  <a:lnTo>
                    <a:pt x="2241143" y="600926"/>
                  </a:lnTo>
                  <a:lnTo>
                    <a:pt x="2241143" y="592442"/>
                  </a:lnTo>
                  <a:lnTo>
                    <a:pt x="2241245" y="583959"/>
                  </a:lnTo>
                  <a:lnTo>
                    <a:pt x="2241296" y="574827"/>
                  </a:lnTo>
                  <a:lnTo>
                    <a:pt x="2241296" y="567627"/>
                  </a:lnTo>
                  <a:lnTo>
                    <a:pt x="2241346" y="563766"/>
                  </a:lnTo>
                  <a:lnTo>
                    <a:pt x="2241346" y="561823"/>
                  </a:lnTo>
                  <a:lnTo>
                    <a:pt x="2241448" y="561188"/>
                  </a:lnTo>
                  <a:lnTo>
                    <a:pt x="2241499" y="561823"/>
                  </a:lnTo>
                  <a:lnTo>
                    <a:pt x="2241499" y="562420"/>
                  </a:lnTo>
                  <a:lnTo>
                    <a:pt x="2241550" y="563169"/>
                  </a:lnTo>
                  <a:lnTo>
                    <a:pt x="2241588" y="565048"/>
                  </a:lnTo>
                  <a:lnTo>
                    <a:pt x="2241588" y="566395"/>
                  </a:lnTo>
                  <a:lnTo>
                    <a:pt x="2241689" y="567627"/>
                  </a:lnTo>
                  <a:lnTo>
                    <a:pt x="2241689" y="569621"/>
                  </a:lnTo>
                  <a:lnTo>
                    <a:pt x="2241740" y="570954"/>
                  </a:lnTo>
                  <a:lnTo>
                    <a:pt x="2241740" y="572846"/>
                  </a:lnTo>
                  <a:lnTo>
                    <a:pt x="2241791" y="573532"/>
                  </a:lnTo>
                  <a:lnTo>
                    <a:pt x="2241791" y="574180"/>
                  </a:lnTo>
                  <a:lnTo>
                    <a:pt x="2241892" y="574180"/>
                  </a:lnTo>
                  <a:lnTo>
                    <a:pt x="2241943" y="574827"/>
                  </a:lnTo>
                  <a:lnTo>
                    <a:pt x="2242045" y="574827"/>
                  </a:lnTo>
                  <a:lnTo>
                    <a:pt x="2242134" y="576161"/>
                  </a:lnTo>
                  <a:lnTo>
                    <a:pt x="2242235" y="576161"/>
                  </a:lnTo>
                  <a:lnTo>
                    <a:pt x="2242235" y="576809"/>
                  </a:lnTo>
                  <a:lnTo>
                    <a:pt x="2242286" y="577456"/>
                  </a:lnTo>
                  <a:lnTo>
                    <a:pt x="2242286" y="578155"/>
                  </a:lnTo>
                  <a:lnTo>
                    <a:pt x="2242388" y="578155"/>
                  </a:lnTo>
                  <a:lnTo>
                    <a:pt x="2242388" y="579387"/>
                  </a:lnTo>
                  <a:lnTo>
                    <a:pt x="2242438" y="578155"/>
                  </a:lnTo>
                  <a:lnTo>
                    <a:pt x="2242489" y="579387"/>
                  </a:lnTo>
                  <a:lnTo>
                    <a:pt x="2242489" y="578155"/>
                  </a:lnTo>
                  <a:lnTo>
                    <a:pt x="2242591" y="578155"/>
                  </a:lnTo>
                  <a:lnTo>
                    <a:pt x="2242629" y="577456"/>
                  </a:lnTo>
                  <a:lnTo>
                    <a:pt x="2242629" y="578155"/>
                  </a:lnTo>
                  <a:lnTo>
                    <a:pt x="2242731" y="578155"/>
                  </a:lnTo>
                  <a:lnTo>
                    <a:pt x="2242832" y="577456"/>
                  </a:lnTo>
                  <a:lnTo>
                    <a:pt x="2242883" y="577456"/>
                  </a:lnTo>
                  <a:lnTo>
                    <a:pt x="2242883" y="578155"/>
                  </a:lnTo>
                  <a:lnTo>
                    <a:pt x="2242934" y="579387"/>
                  </a:lnTo>
                  <a:lnTo>
                    <a:pt x="2242934" y="580034"/>
                  </a:lnTo>
                  <a:lnTo>
                    <a:pt x="2243035" y="580034"/>
                  </a:lnTo>
                  <a:lnTo>
                    <a:pt x="2243035" y="580733"/>
                  </a:lnTo>
                  <a:lnTo>
                    <a:pt x="2243086" y="580733"/>
                  </a:lnTo>
                  <a:lnTo>
                    <a:pt x="2243137" y="581368"/>
                  </a:lnTo>
                  <a:lnTo>
                    <a:pt x="2243137" y="580733"/>
                  </a:lnTo>
                  <a:lnTo>
                    <a:pt x="2243175" y="580733"/>
                  </a:lnTo>
                  <a:lnTo>
                    <a:pt x="2243277" y="580034"/>
                  </a:lnTo>
                  <a:lnTo>
                    <a:pt x="2243328" y="580034"/>
                  </a:lnTo>
                  <a:lnTo>
                    <a:pt x="2243378" y="579387"/>
                  </a:lnTo>
                  <a:lnTo>
                    <a:pt x="2243378" y="578155"/>
                  </a:lnTo>
                  <a:lnTo>
                    <a:pt x="2243480" y="578155"/>
                  </a:lnTo>
                  <a:lnTo>
                    <a:pt x="2243480" y="577456"/>
                  </a:lnTo>
                  <a:lnTo>
                    <a:pt x="2243531" y="577456"/>
                  </a:lnTo>
                  <a:lnTo>
                    <a:pt x="2243581" y="576809"/>
                  </a:lnTo>
                  <a:lnTo>
                    <a:pt x="2243632" y="577456"/>
                  </a:lnTo>
                  <a:lnTo>
                    <a:pt x="2243721" y="578155"/>
                  </a:lnTo>
                  <a:lnTo>
                    <a:pt x="2243772" y="579387"/>
                  </a:lnTo>
                  <a:lnTo>
                    <a:pt x="2243975" y="579387"/>
                  </a:lnTo>
                  <a:lnTo>
                    <a:pt x="2244026" y="578155"/>
                  </a:lnTo>
                  <a:lnTo>
                    <a:pt x="2244077" y="578155"/>
                  </a:lnTo>
                  <a:lnTo>
                    <a:pt x="2244077" y="577456"/>
                  </a:lnTo>
                  <a:lnTo>
                    <a:pt x="2244178" y="576809"/>
                  </a:lnTo>
                  <a:lnTo>
                    <a:pt x="2244216" y="576161"/>
                  </a:lnTo>
                  <a:lnTo>
                    <a:pt x="2244420" y="576161"/>
                  </a:lnTo>
                  <a:lnTo>
                    <a:pt x="2244471" y="576809"/>
                  </a:lnTo>
                  <a:lnTo>
                    <a:pt x="2244521" y="576161"/>
                  </a:lnTo>
                  <a:lnTo>
                    <a:pt x="2244521" y="576809"/>
                  </a:lnTo>
                  <a:lnTo>
                    <a:pt x="2244674" y="576809"/>
                  </a:lnTo>
                  <a:lnTo>
                    <a:pt x="2244725" y="576161"/>
                  </a:lnTo>
                  <a:lnTo>
                    <a:pt x="2244725" y="576809"/>
                  </a:lnTo>
                  <a:lnTo>
                    <a:pt x="2244763" y="576161"/>
                  </a:lnTo>
                  <a:lnTo>
                    <a:pt x="2244864" y="576161"/>
                  </a:lnTo>
                  <a:lnTo>
                    <a:pt x="2244915" y="574827"/>
                  </a:lnTo>
                  <a:lnTo>
                    <a:pt x="2245067" y="574827"/>
                  </a:lnTo>
                  <a:lnTo>
                    <a:pt x="2245118" y="574180"/>
                  </a:lnTo>
                  <a:lnTo>
                    <a:pt x="2245118" y="574827"/>
                  </a:lnTo>
                  <a:lnTo>
                    <a:pt x="2245169" y="574827"/>
                  </a:lnTo>
                  <a:lnTo>
                    <a:pt x="2245220" y="574180"/>
                  </a:lnTo>
                  <a:lnTo>
                    <a:pt x="2245410" y="574180"/>
                  </a:lnTo>
                  <a:lnTo>
                    <a:pt x="2245461" y="574827"/>
                  </a:lnTo>
                  <a:lnTo>
                    <a:pt x="2245563" y="574827"/>
                  </a:lnTo>
                  <a:lnTo>
                    <a:pt x="2245613" y="574180"/>
                  </a:lnTo>
                  <a:lnTo>
                    <a:pt x="2245855" y="574180"/>
                  </a:lnTo>
                  <a:lnTo>
                    <a:pt x="2245855" y="573532"/>
                  </a:lnTo>
                  <a:lnTo>
                    <a:pt x="2246007" y="573532"/>
                  </a:lnTo>
                  <a:lnTo>
                    <a:pt x="2246058" y="572846"/>
                  </a:lnTo>
                  <a:lnTo>
                    <a:pt x="2246109" y="573532"/>
                  </a:lnTo>
                  <a:lnTo>
                    <a:pt x="2246261" y="573532"/>
                  </a:lnTo>
                  <a:lnTo>
                    <a:pt x="2246312" y="574180"/>
                  </a:lnTo>
                  <a:lnTo>
                    <a:pt x="2246350" y="573532"/>
                  </a:lnTo>
                  <a:lnTo>
                    <a:pt x="2246655" y="573532"/>
                  </a:lnTo>
                  <a:lnTo>
                    <a:pt x="2246706" y="574180"/>
                  </a:lnTo>
                  <a:lnTo>
                    <a:pt x="2246756" y="573532"/>
                  </a:lnTo>
                  <a:lnTo>
                    <a:pt x="2246896" y="573532"/>
                  </a:lnTo>
                  <a:lnTo>
                    <a:pt x="2246947" y="572846"/>
                  </a:lnTo>
                  <a:lnTo>
                    <a:pt x="2246998" y="572846"/>
                  </a:lnTo>
                  <a:lnTo>
                    <a:pt x="2247049" y="573532"/>
                  </a:lnTo>
                  <a:lnTo>
                    <a:pt x="2247150" y="573532"/>
                  </a:lnTo>
                  <a:lnTo>
                    <a:pt x="2247150" y="572846"/>
                  </a:lnTo>
                  <a:lnTo>
                    <a:pt x="2247938" y="572846"/>
                  </a:lnTo>
                  <a:lnTo>
                    <a:pt x="2248039" y="572249"/>
                  </a:lnTo>
                  <a:lnTo>
                    <a:pt x="2248039" y="572846"/>
                  </a:lnTo>
                  <a:lnTo>
                    <a:pt x="2248293" y="572846"/>
                  </a:lnTo>
                  <a:lnTo>
                    <a:pt x="2248293" y="573532"/>
                  </a:lnTo>
                  <a:lnTo>
                    <a:pt x="2248395" y="573532"/>
                  </a:lnTo>
                  <a:lnTo>
                    <a:pt x="2248395" y="572846"/>
                  </a:lnTo>
                  <a:lnTo>
                    <a:pt x="2248941" y="572846"/>
                  </a:lnTo>
                  <a:lnTo>
                    <a:pt x="2248941" y="573532"/>
                  </a:lnTo>
                  <a:lnTo>
                    <a:pt x="2248979" y="572846"/>
                  </a:lnTo>
                  <a:lnTo>
                    <a:pt x="2248979" y="573532"/>
                  </a:lnTo>
                  <a:lnTo>
                    <a:pt x="2249030" y="573532"/>
                  </a:lnTo>
                  <a:lnTo>
                    <a:pt x="2249030" y="572846"/>
                  </a:lnTo>
                  <a:lnTo>
                    <a:pt x="2249081" y="573532"/>
                  </a:lnTo>
                  <a:lnTo>
                    <a:pt x="2249182" y="572846"/>
                  </a:lnTo>
                  <a:lnTo>
                    <a:pt x="2249385" y="572846"/>
                  </a:lnTo>
                  <a:lnTo>
                    <a:pt x="2249385" y="573532"/>
                  </a:lnTo>
                  <a:lnTo>
                    <a:pt x="2249436" y="572846"/>
                  </a:lnTo>
                  <a:lnTo>
                    <a:pt x="2249525" y="572846"/>
                  </a:lnTo>
                  <a:lnTo>
                    <a:pt x="2249627" y="573532"/>
                  </a:lnTo>
                  <a:lnTo>
                    <a:pt x="2249728" y="573532"/>
                  </a:lnTo>
                  <a:lnTo>
                    <a:pt x="2249830" y="572846"/>
                  </a:lnTo>
                  <a:lnTo>
                    <a:pt x="2249982" y="572846"/>
                  </a:lnTo>
                  <a:lnTo>
                    <a:pt x="2250071" y="573532"/>
                  </a:lnTo>
                  <a:lnTo>
                    <a:pt x="2250122" y="573532"/>
                  </a:lnTo>
                  <a:lnTo>
                    <a:pt x="2250122" y="572846"/>
                  </a:lnTo>
                  <a:lnTo>
                    <a:pt x="2250224" y="572846"/>
                  </a:lnTo>
                  <a:lnTo>
                    <a:pt x="2250224" y="573532"/>
                  </a:lnTo>
                  <a:lnTo>
                    <a:pt x="2250325" y="572846"/>
                  </a:lnTo>
                  <a:lnTo>
                    <a:pt x="2250376" y="572846"/>
                  </a:lnTo>
                  <a:lnTo>
                    <a:pt x="2250376" y="573532"/>
                  </a:lnTo>
                  <a:lnTo>
                    <a:pt x="2250528" y="573532"/>
                  </a:lnTo>
                  <a:lnTo>
                    <a:pt x="2250528" y="572846"/>
                  </a:lnTo>
                  <a:lnTo>
                    <a:pt x="2250617" y="572846"/>
                  </a:lnTo>
                  <a:lnTo>
                    <a:pt x="2250668" y="573532"/>
                  </a:lnTo>
                  <a:lnTo>
                    <a:pt x="2250770" y="573532"/>
                  </a:lnTo>
                  <a:lnTo>
                    <a:pt x="2250770" y="572846"/>
                  </a:lnTo>
                  <a:lnTo>
                    <a:pt x="2250871" y="572846"/>
                  </a:lnTo>
                  <a:lnTo>
                    <a:pt x="2250973" y="573532"/>
                  </a:lnTo>
                  <a:lnTo>
                    <a:pt x="2251024" y="573532"/>
                  </a:lnTo>
                  <a:lnTo>
                    <a:pt x="2251024" y="572846"/>
                  </a:lnTo>
                  <a:lnTo>
                    <a:pt x="2251075" y="573532"/>
                  </a:lnTo>
                  <a:lnTo>
                    <a:pt x="2251963" y="573532"/>
                  </a:lnTo>
                  <a:lnTo>
                    <a:pt x="2252014" y="574180"/>
                  </a:lnTo>
                  <a:lnTo>
                    <a:pt x="2252014" y="573532"/>
                  </a:lnTo>
                  <a:lnTo>
                    <a:pt x="2252116" y="573532"/>
                  </a:lnTo>
                  <a:lnTo>
                    <a:pt x="2252116" y="574180"/>
                  </a:lnTo>
                  <a:lnTo>
                    <a:pt x="2252154" y="573532"/>
                  </a:lnTo>
                  <a:lnTo>
                    <a:pt x="2252205" y="573532"/>
                  </a:lnTo>
                  <a:lnTo>
                    <a:pt x="2252256" y="574180"/>
                  </a:lnTo>
                  <a:lnTo>
                    <a:pt x="2252357" y="573532"/>
                  </a:lnTo>
                  <a:lnTo>
                    <a:pt x="2252357" y="574180"/>
                  </a:lnTo>
                  <a:lnTo>
                    <a:pt x="2253056" y="574180"/>
                  </a:lnTo>
                  <a:lnTo>
                    <a:pt x="2253056" y="573532"/>
                  </a:lnTo>
                  <a:lnTo>
                    <a:pt x="2253157" y="573532"/>
                  </a:lnTo>
                  <a:lnTo>
                    <a:pt x="2253157" y="574180"/>
                  </a:lnTo>
                  <a:lnTo>
                    <a:pt x="2253297" y="574180"/>
                  </a:lnTo>
                  <a:lnTo>
                    <a:pt x="2253297" y="573532"/>
                  </a:lnTo>
                  <a:lnTo>
                    <a:pt x="2253348" y="573532"/>
                  </a:lnTo>
                  <a:lnTo>
                    <a:pt x="2253399" y="574180"/>
                  </a:lnTo>
                  <a:lnTo>
                    <a:pt x="2253602" y="574180"/>
                  </a:lnTo>
                  <a:lnTo>
                    <a:pt x="2253703" y="573532"/>
                  </a:lnTo>
                  <a:lnTo>
                    <a:pt x="2253741" y="574180"/>
                  </a:lnTo>
                  <a:lnTo>
                    <a:pt x="2253792" y="574180"/>
                  </a:lnTo>
                  <a:lnTo>
                    <a:pt x="2253792" y="574827"/>
                  </a:lnTo>
                  <a:lnTo>
                    <a:pt x="2253843" y="574827"/>
                  </a:lnTo>
                  <a:lnTo>
                    <a:pt x="2253843" y="574180"/>
                  </a:lnTo>
                  <a:lnTo>
                    <a:pt x="2254148" y="574180"/>
                  </a:lnTo>
                  <a:lnTo>
                    <a:pt x="2254199" y="574827"/>
                  </a:lnTo>
                  <a:lnTo>
                    <a:pt x="2254250" y="574827"/>
                  </a:lnTo>
                  <a:lnTo>
                    <a:pt x="2254288" y="574180"/>
                  </a:lnTo>
                  <a:lnTo>
                    <a:pt x="2254389" y="574827"/>
                  </a:lnTo>
                  <a:lnTo>
                    <a:pt x="2254440" y="574180"/>
                  </a:lnTo>
                  <a:lnTo>
                    <a:pt x="2254440" y="574827"/>
                  </a:lnTo>
                  <a:lnTo>
                    <a:pt x="2254491" y="574180"/>
                  </a:lnTo>
                  <a:lnTo>
                    <a:pt x="2254491" y="574827"/>
                  </a:lnTo>
                  <a:lnTo>
                    <a:pt x="2254745" y="574827"/>
                  </a:lnTo>
                  <a:lnTo>
                    <a:pt x="2254834" y="576161"/>
                  </a:lnTo>
                  <a:lnTo>
                    <a:pt x="2254834" y="574827"/>
                  </a:lnTo>
                  <a:lnTo>
                    <a:pt x="2254935" y="574827"/>
                  </a:lnTo>
                  <a:lnTo>
                    <a:pt x="2254986" y="574180"/>
                  </a:lnTo>
                  <a:lnTo>
                    <a:pt x="2254986" y="574827"/>
                  </a:lnTo>
                  <a:lnTo>
                    <a:pt x="2256028" y="574827"/>
                  </a:lnTo>
                  <a:lnTo>
                    <a:pt x="2256078" y="576161"/>
                  </a:lnTo>
                  <a:lnTo>
                    <a:pt x="2256180" y="574827"/>
                  </a:lnTo>
                  <a:lnTo>
                    <a:pt x="2256231" y="574827"/>
                  </a:lnTo>
                  <a:lnTo>
                    <a:pt x="2256281" y="576161"/>
                  </a:lnTo>
                  <a:lnTo>
                    <a:pt x="2256332" y="576161"/>
                  </a:lnTo>
                  <a:lnTo>
                    <a:pt x="2256421" y="574827"/>
                  </a:lnTo>
                  <a:lnTo>
                    <a:pt x="2256472" y="574827"/>
                  </a:lnTo>
                  <a:lnTo>
                    <a:pt x="2256523" y="574180"/>
                  </a:lnTo>
                  <a:lnTo>
                    <a:pt x="2256574" y="574827"/>
                  </a:lnTo>
                  <a:lnTo>
                    <a:pt x="2256675" y="576161"/>
                  </a:lnTo>
                  <a:lnTo>
                    <a:pt x="2256777" y="576161"/>
                  </a:lnTo>
                  <a:lnTo>
                    <a:pt x="2256878" y="574827"/>
                  </a:lnTo>
                  <a:lnTo>
                    <a:pt x="2256967" y="574827"/>
                  </a:lnTo>
                  <a:lnTo>
                    <a:pt x="2256967" y="576161"/>
                  </a:lnTo>
                  <a:lnTo>
                    <a:pt x="2257666" y="576161"/>
                  </a:lnTo>
                  <a:lnTo>
                    <a:pt x="2257767" y="576809"/>
                  </a:lnTo>
                  <a:lnTo>
                    <a:pt x="2258504" y="576809"/>
                  </a:lnTo>
                  <a:lnTo>
                    <a:pt x="2258555" y="576161"/>
                  </a:lnTo>
                  <a:lnTo>
                    <a:pt x="2258606" y="576161"/>
                  </a:lnTo>
                  <a:lnTo>
                    <a:pt x="2258606" y="576809"/>
                  </a:lnTo>
                  <a:lnTo>
                    <a:pt x="2259012" y="576809"/>
                  </a:lnTo>
                  <a:lnTo>
                    <a:pt x="2259050" y="577456"/>
                  </a:lnTo>
                  <a:lnTo>
                    <a:pt x="2259152" y="576809"/>
                  </a:lnTo>
                  <a:lnTo>
                    <a:pt x="2259253" y="576809"/>
                  </a:lnTo>
                  <a:lnTo>
                    <a:pt x="2259355" y="576161"/>
                  </a:lnTo>
                  <a:lnTo>
                    <a:pt x="2259355" y="576809"/>
                  </a:lnTo>
                  <a:lnTo>
                    <a:pt x="2259596" y="576809"/>
                  </a:lnTo>
                  <a:lnTo>
                    <a:pt x="2259647" y="577456"/>
                  </a:lnTo>
                  <a:lnTo>
                    <a:pt x="2259698" y="577456"/>
                  </a:lnTo>
                  <a:lnTo>
                    <a:pt x="2259749" y="576809"/>
                  </a:lnTo>
                  <a:lnTo>
                    <a:pt x="2259850" y="577456"/>
                  </a:lnTo>
                  <a:lnTo>
                    <a:pt x="2259850" y="576809"/>
                  </a:lnTo>
                  <a:lnTo>
                    <a:pt x="2259901" y="576809"/>
                  </a:lnTo>
                  <a:lnTo>
                    <a:pt x="2259901" y="577456"/>
                  </a:lnTo>
                  <a:lnTo>
                    <a:pt x="2259952" y="576809"/>
                  </a:lnTo>
                  <a:lnTo>
                    <a:pt x="2259952" y="577456"/>
                  </a:lnTo>
                  <a:lnTo>
                    <a:pt x="2260193" y="577456"/>
                  </a:lnTo>
                  <a:lnTo>
                    <a:pt x="2260193" y="576809"/>
                  </a:lnTo>
                  <a:lnTo>
                    <a:pt x="2260295" y="576809"/>
                  </a:lnTo>
                  <a:lnTo>
                    <a:pt x="2260346" y="577456"/>
                  </a:lnTo>
                  <a:lnTo>
                    <a:pt x="2260396" y="577456"/>
                  </a:lnTo>
                  <a:lnTo>
                    <a:pt x="2260396" y="576809"/>
                  </a:lnTo>
                  <a:lnTo>
                    <a:pt x="2260498" y="576809"/>
                  </a:lnTo>
                  <a:lnTo>
                    <a:pt x="2260498" y="577456"/>
                  </a:lnTo>
                  <a:lnTo>
                    <a:pt x="2260549" y="577456"/>
                  </a:lnTo>
                  <a:lnTo>
                    <a:pt x="2260549" y="578155"/>
                  </a:lnTo>
                  <a:lnTo>
                    <a:pt x="2260600" y="578155"/>
                  </a:lnTo>
                  <a:lnTo>
                    <a:pt x="2260600" y="577456"/>
                  </a:lnTo>
                  <a:lnTo>
                    <a:pt x="2260942" y="577456"/>
                  </a:lnTo>
                  <a:lnTo>
                    <a:pt x="2260993" y="578155"/>
                  </a:lnTo>
                  <a:lnTo>
                    <a:pt x="2261044" y="577456"/>
                  </a:lnTo>
                  <a:lnTo>
                    <a:pt x="2261336" y="577456"/>
                  </a:lnTo>
                  <a:lnTo>
                    <a:pt x="2261438" y="576809"/>
                  </a:lnTo>
                  <a:lnTo>
                    <a:pt x="2261488" y="577456"/>
                  </a:lnTo>
                  <a:lnTo>
                    <a:pt x="2261679" y="577456"/>
                  </a:lnTo>
                  <a:lnTo>
                    <a:pt x="2261730" y="578155"/>
                  </a:lnTo>
                  <a:lnTo>
                    <a:pt x="2261730" y="577456"/>
                  </a:lnTo>
                  <a:lnTo>
                    <a:pt x="2262187" y="577456"/>
                  </a:lnTo>
                  <a:lnTo>
                    <a:pt x="2262225" y="578155"/>
                  </a:lnTo>
                  <a:lnTo>
                    <a:pt x="2262771" y="578155"/>
                  </a:lnTo>
                  <a:lnTo>
                    <a:pt x="2262822" y="579387"/>
                  </a:lnTo>
                  <a:lnTo>
                    <a:pt x="2262873" y="578155"/>
                  </a:lnTo>
                  <a:lnTo>
                    <a:pt x="2263571" y="578155"/>
                  </a:lnTo>
                  <a:lnTo>
                    <a:pt x="2263571" y="579387"/>
                  </a:lnTo>
                  <a:lnTo>
                    <a:pt x="2263775" y="579387"/>
                  </a:lnTo>
                  <a:lnTo>
                    <a:pt x="2263775" y="578155"/>
                  </a:lnTo>
                  <a:lnTo>
                    <a:pt x="2263914" y="578155"/>
                  </a:lnTo>
                  <a:lnTo>
                    <a:pt x="2263965" y="579387"/>
                  </a:lnTo>
                  <a:lnTo>
                    <a:pt x="2264168" y="579387"/>
                  </a:lnTo>
                  <a:lnTo>
                    <a:pt x="2264219" y="578155"/>
                  </a:lnTo>
                  <a:lnTo>
                    <a:pt x="2264270" y="578155"/>
                  </a:lnTo>
                  <a:lnTo>
                    <a:pt x="2264359" y="579387"/>
                  </a:lnTo>
                  <a:lnTo>
                    <a:pt x="2264410" y="579387"/>
                  </a:lnTo>
                  <a:lnTo>
                    <a:pt x="2264410" y="578155"/>
                  </a:lnTo>
                  <a:lnTo>
                    <a:pt x="2264663" y="578155"/>
                  </a:lnTo>
                  <a:lnTo>
                    <a:pt x="2264714" y="579387"/>
                  </a:lnTo>
                  <a:lnTo>
                    <a:pt x="2264816" y="578155"/>
                  </a:lnTo>
                  <a:lnTo>
                    <a:pt x="2265057" y="578155"/>
                  </a:lnTo>
                  <a:lnTo>
                    <a:pt x="2265057" y="579387"/>
                  </a:lnTo>
                  <a:lnTo>
                    <a:pt x="2265260" y="579387"/>
                  </a:lnTo>
                  <a:lnTo>
                    <a:pt x="2265311" y="578155"/>
                  </a:lnTo>
                  <a:lnTo>
                    <a:pt x="2265362" y="578155"/>
                  </a:lnTo>
                  <a:lnTo>
                    <a:pt x="2265400" y="579387"/>
                  </a:lnTo>
                  <a:lnTo>
                    <a:pt x="2267089" y="579387"/>
                  </a:lnTo>
                  <a:lnTo>
                    <a:pt x="2267140" y="580034"/>
                  </a:lnTo>
                  <a:lnTo>
                    <a:pt x="2267140" y="579387"/>
                  </a:lnTo>
                  <a:lnTo>
                    <a:pt x="2267394" y="579387"/>
                  </a:lnTo>
                  <a:lnTo>
                    <a:pt x="2267445" y="580034"/>
                  </a:lnTo>
                  <a:lnTo>
                    <a:pt x="2267585" y="580034"/>
                  </a:lnTo>
                  <a:lnTo>
                    <a:pt x="2267585" y="579387"/>
                  </a:lnTo>
                  <a:lnTo>
                    <a:pt x="2267788" y="579387"/>
                  </a:lnTo>
                  <a:lnTo>
                    <a:pt x="2267838" y="580034"/>
                  </a:lnTo>
                  <a:lnTo>
                    <a:pt x="2267889" y="580034"/>
                  </a:lnTo>
                  <a:lnTo>
                    <a:pt x="2267889" y="579387"/>
                  </a:lnTo>
                  <a:lnTo>
                    <a:pt x="2268029" y="579387"/>
                  </a:lnTo>
                  <a:lnTo>
                    <a:pt x="2268029" y="580034"/>
                  </a:lnTo>
                  <a:lnTo>
                    <a:pt x="2268131" y="580034"/>
                  </a:lnTo>
                  <a:lnTo>
                    <a:pt x="2268131" y="579387"/>
                  </a:lnTo>
                  <a:lnTo>
                    <a:pt x="2268232" y="579387"/>
                  </a:lnTo>
                  <a:lnTo>
                    <a:pt x="2268232" y="580034"/>
                  </a:lnTo>
                  <a:lnTo>
                    <a:pt x="2268283" y="579387"/>
                  </a:lnTo>
                  <a:lnTo>
                    <a:pt x="2268334" y="579387"/>
                  </a:lnTo>
                  <a:lnTo>
                    <a:pt x="2268435" y="580034"/>
                  </a:lnTo>
                  <a:lnTo>
                    <a:pt x="2268486" y="580034"/>
                  </a:lnTo>
                  <a:lnTo>
                    <a:pt x="2268537" y="579387"/>
                  </a:lnTo>
                  <a:lnTo>
                    <a:pt x="2268575" y="579387"/>
                  </a:lnTo>
                  <a:lnTo>
                    <a:pt x="2268575" y="580034"/>
                  </a:lnTo>
                  <a:lnTo>
                    <a:pt x="2268981" y="580034"/>
                  </a:lnTo>
                  <a:lnTo>
                    <a:pt x="2268981" y="580733"/>
                  </a:lnTo>
                  <a:lnTo>
                    <a:pt x="2269032" y="580034"/>
                  </a:lnTo>
                  <a:lnTo>
                    <a:pt x="2269274" y="580034"/>
                  </a:lnTo>
                  <a:lnTo>
                    <a:pt x="2269375" y="580733"/>
                  </a:lnTo>
                  <a:lnTo>
                    <a:pt x="2269375" y="580034"/>
                  </a:lnTo>
                  <a:lnTo>
                    <a:pt x="2269871" y="580034"/>
                  </a:lnTo>
                  <a:lnTo>
                    <a:pt x="2269871" y="580733"/>
                  </a:lnTo>
                  <a:lnTo>
                    <a:pt x="2270023" y="580733"/>
                  </a:lnTo>
                  <a:lnTo>
                    <a:pt x="2270023" y="580034"/>
                  </a:lnTo>
                  <a:lnTo>
                    <a:pt x="2270074" y="580733"/>
                  </a:lnTo>
                  <a:lnTo>
                    <a:pt x="2270315" y="580733"/>
                  </a:lnTo>
                  <a:lnTo>
                    <a:pt x="2270366" y="580034"/>
                  </a:lnTo>
                  <a:lnTo>
                    <a:pt x="2270467" y="580034"/>
                  </a:lnTo>
                  <a:lnTo>
                    <a:pt x="2270518" y="580733"/>
                  </a:lnTo>
                  <a:lnTo>
                    <a:pt x="2270518" y="580034"/>
                  </a:lnTo>
                  <a:lnTo>
                    <a:pt x="2270620" y="580034"/>
                  </a:lnTo>
                  <a:lnTo>
                    <a:pt x="2270709" y="580733"/>
                  </a:lnTo>
                  <a:lnTo>
                    <a:pt x="2270861" y="580733"/>
                  </a:lnTo>
                  <a:lnTo>
                    <a:pt x="2270963" y="580034"/>
                  </a:lnTo>
                  <a:lnTo>
                    <a:pt x="2271013" y="580733"/>
                  </a:lnTo>
                  <a:lnTo>
                    <a:pt x="2271166" y="580733"/>
                  </a:lnTo>
                  <a:lnTo>
                    <a:pt x="2271204" y="580034"/>
                  </a:lnTo>
                  <a:lnTo>
                    <a:pt x="2271204" y="580733"/>
                  </a:lnTo>
                  <a:lnTo>
                    <a:pt x="2271306" y="580733"/>
                  </a:lnTo>
                  <a:lnTo>
                    <a:pt x="2271407" y="580034"/>
                  </a:lnTo>
                  <a:lnTo>
                    <a:pt x="2271458" y="580733"/>
                  </a:lnTo>
                  <a:lnTo>
                    <a:pt x="2271458" y="580034"/>
                  </a:lnTo>
                  <a:lnTo>
                    <a:pt x="2271610" y="580034"/>
                  </a:lnTo>
                  <a:lnTo>
                    <a:pt x="2271661" y="580733"/>
                  </a:lnTo>
                  <a:lnTo>
                    <a:pt x="2271750" y="580733"/>
                  </a:lnTo>
                  <a:lnTo>
                    <a:pt x="2271852" y="580034"/>
                  </a:lnTo>
                  <a:lnTo>
                    <a:pt x="2271953" y="580034"/>
                  </a:lnTo>
                  <a:lnTo>
                    <a:pt x="2272055" y="580733"/>
                  </a:lnTo>
                  <a:lnTo>
                    <a:pt x="2272106" y="581368"/>
                  </a:lnTo>
                  <a:lnTo>
                    <a:pt x="2272156" y="580733"/>
                  </a:lnTo>
                  <a:lnTo>
                    <a:pt x="2272347" y="580733"/>
                  </a:lnTo>
                  <a:lnTo>
                    <a:pt x="2272347" y="581368"/>
                  </a:lnTo>
                  <a:lnTo>
                    <a:pt x="2272398" y="580733"/>
                  </a:lnTo>
                  <a:lnTo>
                    <a:pt x="2272601" y="580733"/>
                  </a:lnTo>
                  <a:lnTo>
                    <a:pt x="2272601" y="581368"/>
                  </a:lnTo>
                  <a:lnTo>
                    <a:pt x="2272842" y="581368"/>
                  </a:lnTo>
                  <a:lnTo>
                    <a:pt x="2272842" y="580733"/>
                  </a:lnTo>
                  <a:lnTo>
                    <a:pt x="2272893" y="580733"/>
                  </a:lnTo>
                  <a:lnTo>
                    <a:pt x="2272893" y="581368"/>
                  </a:lnTo>
                  <a:lnTo>
                    <a:pt x="2272995" y="581368"/>
                  </a:lnTo>
                  <a:lnTo>
                    <a:pt x="2273046" y="580733"/>
                  </a:lnTo>
                  <a:lnTo>
                    <a:pt x="2273096" y="580733"/>
                  </a:lnTo>
                  <a:lnTo>
                    <a:pt x="2273198" y="581368"/>
                  </a:lnTo>
                  <a:lnTo>
                    <a:pt x="2273249" y="580733"/>
                  </a:lnTo>
                  <a:lnTo>
                    <a:pt x="2273300" y="581368"/>
                  </a:lnTo>
                  <a:lnTo>
                    <a:pt x="2273541" y="581368"/>
                  </a:lnTo>
                  <a:lnTo>
                    <a:pt x="2273642" y="580733"/>
                  </a:lnTo>
                  <a:lnTo>
                    <a:pt x="2273693" y="581368"/>
                  </a:lnTo>
                  <a:lnTo>
                    <a:pt x="2273795" y="581368"/>
                  </a:lnTo>
                  <a:lnTo>
                    <a:pt x="2273795" y="580733"/>
                  </a:lnTo>
                  <a:lnTo>
                    <a:pt x="2273884" y="581368"/>
                  </a:lnTo>
                  <a:lnTo>
                    <a:pt x="2273884" y="580733"/>
                  </a:lnTo>
                  <a:lnTo>
                    <a:pt x="2273935" y="580733"/>
                  </a:lnTo>
                  <a:lnTo>
                    <a:pt x="2273935" y="581368"/>
                  </a:lnTo>
                  <a:lnTo>
                    <a:pt x="2274138" y="581368"/>
                  </a:lnTo>
                  <a:lnTo>
                    <a:pt x="2274188" y="580733"/>
                  </a:lnTo>
                  <a:lnTo>
                    <a:pt x="2274239" y="580733"/>
                  </a:lnTo>
                  <a:lnTo>
                    <a:pt x="2274239" y="581368"/>
                  </a:lnTo>
                  <a:lnTo>
                    <a:pt x="2274430" y="581368"/>
                  </a:lnTo>
                  <a:lnTo>
                    <a:pt x="2274430" y="582016"/>
                  </a:lnTo>
                  <a:lnTo>
                    <a:pt x="2274481" y="582016"/>
                  </a:lnTo>
                  <a:lnTo>
                    <a:pt x="2274582" y="581368"/>
                  </a:lnTo>
                  <a:lnTo>
                    <a:pt x="2274582" y="580733"/>
                  </a:lnTo>
                  <a:lnTo>
                    <a:pt x="2274684" y="580733"/>
                  </a:lnTo>
                  <a:lnTo>
                    <a:pt x="2274684" y="581368"/>
                  </a:lnTo>
                  <a:lnTo>
                    <a:pt x="2274836" y="581368"/>
                  </a:lnTo>
                  <a:lnTo>
                    <a:pt x="2274836" y="580733"/>
                  </a:lnTo>
                  <a:lnTo>
                    <a:pt x="2274887" y="581368"/>
                  </a:lnTo>
                  <a:lnTo>
                    <a:pt x="2274925" y="580733"/>
                  </a:lnTo>
                  <a:lnTo>
                    <a:pt x="2275027" y="581368"/>
                  </a:lnTo>
                  <a:lnTo>
                    <a:pt x="2275128" y="581368"/>
                  </a:lnTo>
                  <a:lnTo>
                    <a:pt x="2275230" y="582016"/>
                  </a:lnTo>
                  <a:lnTo>
                    <a:pt x="2275281" y="581368"/>
                  </a:lnTo>
                  <a:lnTo>
                    <a:pt x="2275382" y="581368"/>
                  </a:lnTo>
                  <a:lnTo>
                    <a:pt x="2275382" y="582016"/>
                  </a:lnTo>
                  <a:lnTo>
                    <a:pt x="2275827" y="582016"/>
                  </a:lnTo>
                  <a:lnTo>
                    <a:pt x="2275928" y="581368"/>
                  </a:lnTo>
                  <a:lnTo>
                    <a:pt x="2276068" y="581368"/>
                  </a:lnTo>
                  <a:lnTo>
                    <a:pt x="2276068" y="582016"/>
                  </a:lnTo>
                  <a:lnTo>
                    <a:pt x="2276170" y="582016"/>
                  </a:lnTo>
                  <a:lnTo>
                    <a:pt x="2276221" y="583362"/>
                  </a:lnTo>
                  <a:lnTo>
                    <a:pt x="2276221" y="582016"/>
                  </a:lnTo>
                  <a:lnTo>
                    <a:pt x="2276271" y="582016"/>
                  </a:lnTo>
                  <a:lnTo>
                    <a:pt x="2276373" y="581368"/>
                  </a:lnTo>
                  <a:lnTo>
                    <a:pt x="2276424" y="581368"/>
                  </a:lnTo>
                  <a:lnTo>
                    <a:pt x="2276424" y="582016"/>
                  </a:lnTo>
                  <a:lnTo>
                    <a:pt x="2276475" y="582016"/>
                  </a:lnTo>
                  <a:lnTo>
                    <a:pt x="2276513" y="583362"/>
                  </a:lnTo>
                  <a:lnTo>
                    <a:pt x="2276513" y="583959"/>
                  </a:lnTo>
                  <a:lnTo>
                    <a:pt x="2276614" y="583362"/>
                  </a:lnTo>
                  <a:lnTo>
                    <a:pt x="2276665" y="583362"/>
                  </a:lnTo>
                  <a:lnTo>
                    <a:pt x="2276716" y="583959"/>
                  </a:lnTo>
                  <a:lnTo>
                    <a:pt x="2276817" y="583362"/>
                  </a:lnTo>
                  <a:lnTo>
                    <a:pt x="2276970" y="583362"/>
                  </a:lnTo>
                  <a:lnTo>
                    <a:pt x="2276970" y="583959"/>
                  </a:lnTo>
                  <a:lnTo>
                    <a:pt x="2277363" y="583959"/>
                  </a:lnTo>
                  <a:lnTo>
                    <a:pt x="2277414" y="583362"/>
                  </a:lnTo>
                  <a:lnTo>
                    <a:pt x="2277414" y="583959"/>
                  </a:lnTo>
                  <a:lnTo>
                    <a:pt x="2277516" y="583959"/>
                  </a:lnTo>
                  <a:lnTo>
                    <a:pt x="2277516" y="583362"/>
                  </a:lnTo>
                  <a:lnTo>
                    <a:pt x="2277554" y="583959"/>
                  </a:lnTo>
                  <a:lnTo>
                    <a:pt x="2277605" y="583959"/>
                  </a:lnTo>
                  <a:lnTo>
                    <a:pt x="2277605" y="584594"/>
                  </a:lnTo>
                  <a:lnTo>
                    <a:pt x="2277656" y="583959"/>
                  </a:lnTo>
                  <a:lnTo>
                    <a:pt x="2278456" y="583959"/>
                  </a:lnTo>
                  <a:lnTo>
                    <a:pt x="2278506" y="584594"/>
                  </a:lnTo>
                  <a:lnTo>
                    <a:pt x="2278506" y="583959"/>
                  </a:lnTo>
                  <a:lnTo>
                    <a:pt x="2279650" y="583959"/>
                  </a:lnTo>
                  <a:lnTo>
                    <a:pt x="2279650" y="584594"/>
                  </a:lnTo>
                  <a:lnTo>
                    <a:pt x="2279789" y="584594"/>
                  </a:lnTo>
                  <a:lnTo>
                    <a:pt x="2279840" y="583959"/>
                  </a:lnTo>
                  <a:lnTo>
                    <a:pt x="2279992" y="583959"/>
                  </a:lnTo>
                  <a:lnTo>
                    <a:pt x="2280043" y="584594"/>
                  </a:lnTo>
                  <a:lnTo>
                    <a:pt x="2280043" y="585242"/>
                  </a:lnTo>
                  <a:lnTo>
                    <a:pt x="2280094" y="584594"/>
                  </a:lnTo>
                  <a:lnTo>
                    <a:pt x="2280145" y="584594"/>
                  </a:lnTo>
                  <a:lnTo>
                    <a:pt x="2280145" y="583959"/>
                  </a:lnTo>
                  <a:lnTo>
                    <a:pt x="2280335" y="583959"/>
                  </a:lnTo>
                  <a:lnTo>
                    <a:pt x="2280386" y="584594"/>
                  </a:lnTo>
                  <a:lnTo>
                    <a:pt x="2280488" y="584594"/>
                  </a:lnTo>
                  <a:lnTo>
                    <a:pt x="2280488" y="583959"/>
                  </a:lnTo>
                  <a:lnTo>
                    <a:pt x="2280538" y="583959"/>
                  </a:lnTo>
                  <a:lnTo>
                    <a:pt x="2280589" y="584594"/>
                  </a:lnTo>
                  <a:lnTo>
                    <a:pt x="2280780" y="584594"/>
                  </a:lnTo>
                  <a:lnTo>
                    <a:pt x="2280780" y="585242"/>
                  </a:lnTo>
                  <a:lnTo>
                    <a:pt x="2280831" y="584594"/>
                  </a:lnTo>
                  <a:lnTo>
                    <a:pt x="2280831" y="583959"/>
                  </a:lnTo>
                  <a:lnTo>
                    <a:pt x="2280932" y="583959"/>
                  </a:lnTo>
                  <a:lnTo>
                    <a:pt x="2280932" y="584594"/>
                  </a:lnTo>
                  <a:lnTo>
                    <a:pt x="2281237" y="584594"/>
                  </a:lnTo>
                  <a:lnTo>
                    <a:pt x="2281275" y="583959"/>
                  </a:lnTo>
                  <a:lnTo>
                    <a:pt x="2281377" y="584594"/>
                  </a:lnTo>
                  <a:lnTo>
                    <a:pt x="2281428" y="584594"/>
                  </a:lnTo>
                  <a:lnTo>
                    <a:pt x="2281428" y="585242"/>
                  </a:lnTo>
                  <a:lnTo>
                    <a:pt x="2281478" y="584594"/>
                  </a:lnTo>
                  <a:lnTo>
                    <a:pt x="2281580" y="585242"/>
                  </a:lnTo>
                  <a:lnTo>
                    <a:pt x="2281580" y="584594"/>
                  </a:lnTo>
                  <a:lnTo>
                    <a:pt x="2281732" y="584594"/>
                  </a:lnTo>
                  <a:lnTo>
                    <a:pt x="2281732" y="585242"/>
                  </a:lnTo>
                  <a:lnTo>
                    <a:pt x="2281821" y="585242"/>
                  </a:lnTo>
                  <a:lnTo>
                    <a:pt x="2281821" y="584594"/>
                  </a:lnTo>
                  <a:lnTo>
                    <a:pt x="2281872" y="585242"/>
                  </a:lnTo>
                  <a:lnTo>
                    <a:pt x="2281872" y="584594"/>
                  </a:lnTo>
                  <a:lnTo>
                    <a:pt x="2281923" y="584594"/>
                  </a:lnTo>
                  <a:lnTo>
                    <a:pt x="2281974" y="585242"/>
                  </a:lnTo>
                  <a:lnTo>
                    <a:pt x="2281974" y="584594"/>
                  </a:lnTo>
                  <a:lnTo>
                    <a:pt x="2282075" y="584594"/>
                  </a:lnTo>
                  <a:lnTo>
                    <a:pt x="2282075" y="585242"/>
                  </a:lnTo>
                  <a:lnTo>
                    <a:pt x="2282126" y="585242"/>
                  </a:lnTo>
                  <a:lnTo>
                    <a:pt x="2282126" y="584594"/>
                  </a:lnTo>
                  <a:lnTo>
                    <a:pt x="2282316" y="584594"/>
                  </a:lnTo>
                  <a:lnTo>
                    <a:pt x="2282316" y="585242"/>
                  </a:lnTo>
                  <a:lnTo>
                    <a:pt x="2282367" y="584594"/>
                  </a:lnTo>
                  <a:lnTo>
                    <a:pt x="2282418" y="585242"/>
                  </a:lnTo>
                  <a:lnTo>
                    <a:pt x="2282520" y="585242"/>
                  </a:lnTo>
                  <a:lnTo>
                    <a:pt x="2282571" y="584594"/>
                  </a:lnTo>
                  <a:lnTo>
                    <a:pt x="2282774" y="584594"/>
                  </a:lnTo>
                  <a:lnTo>
                    <a:pt x="2282774" y="585242"/>
                  </a:lnTo>
                  <a:lnTo>
                    <a:pt x="2282825" y="584594"/>
                  </a:lnTo>
                  <a:lnTo>
                    <a:pt x="2282863" y="584594"/>
                  </a:lnTo>
                  <a:lnTo>
                    <a:pt x="2282863" y="585242"/>
                  </a:lnTo>
                  <a:lnTo>
                    <a:pt x="2282964" y="584594"/>
                  </a:lnTo>
                  <a:lnTo>
                    <a:pt x="2283015" y="584594"/>
                  </a:lnTo>
                  <a:lnTo>
                    <a:pt x="2283066" y="585242"/>
                  </a:lnTo>
                  <a:lnTo>
                    <a:pt x="2283066" y="584594"/>
                  </a:lnTo>
                  <a:lnTo>
                    <a:pt x="2283167" y="585242"/>
                  </a:lnTo>
                  <a:lnTo>
                    <a:pt x="2283510" y="585242"/>
                  </a:lnTo>
                  <a:lnTo>
                    <a:pt x="2283510" y="584594"/>
                  </a:lnTo>
                  <a:lnTo>
                    <a:pt x="2283561" y="585242"/>
                  </a:lnTo>
                  <a:lnTo>
                    <a:pt x="2283663" y="585242"/>
                  </a:lnTo>
                  <a:lnTo>
                    <a:pt x="2283663" y="584594"/>
                  </a:lnTo>
                  <a:lnTo>
                    <a:pt x="2283713" y="584594"/>
                  </a:lnTo>
                  <a:lnTo>
                    <a:pt x="2283764" y="585242"/>
                  </a:lnTo>
                  <a:lnTo>
                    <a:pt x="2283866" y="585242"/>
                  </a:lnTo>
                  <a:lnTo>
                    <a:pt x="2283904" y="584594"/>
                  </a:lnTo>
                  <a:lnTo>
                    <a:pt x="2284107" y="584594"/>
                  </a:lnTo>
                  <a:lnTo>
                    <a:pt x="2284107" y="585242"/>
                  </a:lnTo>
                  <a:lnTo>
                    <a:pt x="2284412" y="585242"/>
                  </a:lnTo>
                  <a:lnTo>
                    <a:pt x="2284450" y="584594"/>
                  </a:lnTo>
                  <a:lnTo>
                    <a:pt x="2284552" y="585242"/>
                  </a:lnTo>
                  <a:lnTo>
                    <a:pt x="2284755" y="585242"/>
                  </a:lnTo>
                  <a:lnTo>
                    <a:pt x="2284755" y="586588"/>
                  </a:lnTo>
                  <a:lnTo>
                    <a:pt x="2284806" y="586588"/>
                  </a:lnTo>
                  <a:lnTo>
                    <a:pt x="2284856" y="585242"/>
                  </a:lnTo>
                  <a:lnTo>
                    <a:pt x="2285453" y="585242"/>
                  </a:lnTo>
                  <a:lnTo>
                    <a:pt x="2285453" y="584594"/>
                  </a:lnTo>
                  <a:lnTo>
                    <a:pt x="2285695" y="584594"/>
                  </a:lnTo>
                  <a:lnTo>
                    <a:pt x="2285695" y="585242"/>
                  </a:lnTo>
                  <a:lnTo>
                    <a:pt x="2285796" y="585242"/>
                  </a:lnTo>
                  <a:lnTo>
                    <a:pt x="2285898" y="586588"/>
                  </a:lnTo>
                  <a:lnTo>
                    <a:pt x="2285949" y="586588"/>
                  </a:lnTo>
                  <a:lnTo>
                    <a:pt x="2285949" y="585242"/>
                  </a:lnTo>
                  <a:lnTo>
                    <a:pt x="2286000" y="585242"/>
                  </a:lnTo>
                  <a:lnTo>
                    <a:pt x="2286000" y="584594"/>
                  </a:lnTo>
                  <a:lnTo>
                    <a:pt x="2286038" y="585242"/>
                  </a:lnTo>
                  <a:lnTo>
                    <a:pt x="2286139" y="584594"/>
                  </a:lnTo>
                  <a:lnTo>
                    <a:pt x="2286139" y="585242"/>
                  </a:lnTo>
                  <a:lnTo>
                    <a:pt x="2286241" y="585242"/>
                  </a:lnTo>
                  <a:lnTo>
                    <a:pt x="2286241" y="586588"/>
                  </a:lnTo>
                  <a:lnTo>
                    <a:pt x="2286342" y="586588"/>
                  </a:lnTo>
                  <a:lnTo>
                    <a:pt x="2286393" y="585242"/>
                  </a:lnTo>
                  <a:lnTo>
                    <a:pt x="2286393" y="586588"/>
                  </a:lnTo>
                  <a:lnTo>
                    <a:pt x="2286444" y="585242"/>
                  </a:lnTo>
                  <a:lnTo>
                    <a:pt x="2286495" y="586588"/>
                  </a:lnTo>
                  <a:lnTo>
                    <a:pt x="2286584" y="585242"/>
                  </a:lnTo>
                  <a:lnTo>
                    <a:pt x="2286685" y="585242"/>
                  </a:lnTo>
                  <a:lnTo>
                    <a:pt x="2286736" y="584594"/>
                  </a:lnTo>
                  <a:lnTo>
                    <a:pt x="2286838" y="584594"/>
                  </a:lnTo>
                  <a:lnTo>
                    <a:pt x="2286838" y="585242"/>
                  </a:lnTo>
                  <a:lnTo>
                    <a:pt x="2287079" y="585242"/>
                  </a:lnTo>
                  <a:lnTo>
                    <a:pt x="2287130" y="584594"/>
                  </a:lnTo>
                  <a:lnTo>
                    <a:pt x="2287181" y="584594"/>
                  </a:lnTo>
                  <a:lnTo>
                    <a:pt x="2287181" y="585242"/>
                  </a:lnTo>
                  <a:lnTo>
                    <a:pt x="2287282" y="584594"/>
                  </a:lnTo>
                  <a:lnTo>
                    <a:pt x="2287282" y="585242"/>
                  </a:lnTo>
                  <a:lnTo>
                    <a:pt x="2287981" y="585242"/>
                  </a:lnTo>
                  <a:lnTo>
                    <a:pt x="2288031" y="586588"/>
                  </a:lnTo>
                  <a:lnTo>
                    <a:pt x="2288171" y="586588"/>
                  </a:lnTo>
                  <a:lnTo>
                    <a:pt x="2288171" y="585242"/>
                  </a:lnTo>
                  <a:lnTo>
                    <a:pt x="2288476" y="585242"/>
                  </a:lnTo>
                  <a:lnTo>
                    <a:pt x="2288476" y="586588"/>
                  </a:lnTo>
                  <a:lnTo>
                    <a:pt x="2288527" y="586588"/>
                  </a:lnTo>
                  <a:lnTo>
                    <a:pt x="2288527" y="585242"/>
                  </a:lnTo>
                  <a:lnTo>
                    <a:pt x="2288628" y="586588"/>
                  </a:lnTo>
                  <a:lnTo>
                    <a:pt x="2288666" y="585242"/>
                  </a:lnTo>
                  <a:lnTo>
                    <a:pt x="2288717" y="586588"/>
                  </a:lnTo>
                  <a:lnTo>
                    <a:pt x="2288717" y="585242"/>
                  </a:lnTo>
                  <a:lnTo>
                    <a:pt x="2289073" y="585242"/>
                  </a:lnTo>
                  <a:lnTo>
                    <a:pt x="2289073" y="586588"/>
                  </a:lnTo>
                  <a:lnTo>
                    <a:pt x="2289124" y="585242"/>
                  </a:lnTo>
                  <a:lnTo>
                    <a:pt x="2289213" y="585242"/>
                  </a:lnTo>
                  <a:lnTo>
                    <a:pt x="2289314" y="586588"/>
                  </a:lnTo>
                  <a:lnTo>
                    <a:pt x="2289517" y="586588"/>
                  </a:lnTo>
                  <a:lnTo>
                    <a:pt x="2289568" y="585242"/>
                  </a:lnTo>
                  <a:lnTo>
                    <a:pt x="2289619" y="586588"/>
                  </a:lnTo>
                  <a:lnTo>
                    <a:pt x="2289619" y="585242"/>
                  </a:lnTo>
                  <a:lnTo>
                    <a:pt x="2289670" y="586588"/>
                  </a:lnTo>
                  <a:lnTo>
                    <a:pt x="2289759" y="585242"/>
                  </a:lnTo>
                  <a:lnTo>
                    <a:pt x="2289759" y="586588"/>
                  </a:lnTo>
                  <a:lnTo>
                    <a:pt x="2289810" y="585242"/>
                  </a:lnTo>
                  <a:lnTo>
                    <a:pt x="2289860" y="586588"/>
                  </a:lnTo>
                  <a:lnTo>
                    <a:pt x="2289911" y="585242"/>
                  </a:lnTo>
                  <a:lnTo>
                    <a:pt x="2290254" y="585242"/>
                  </a:lnTo>
                  <a:lnTo>
                    <a:pt x="2290254" y="584594"/>
                  </a:lnTo>
                  <a:lnTo>
                    <a:pt x="2290305" y="585242"/>
                  </a:lnTo>
                  <a:lnTo>
                    <a:pt x="2290356" y="586588"/>
                  </a:lnTo>
                  <a:lnTo>
                    <a:pt x="2290508" y="586588"/>
                  </a:lnTo>
                  <a:lnTo>
                    <a:pt x="2290508" y="585242"/>
                  </a:lnTo>
                  <a:lnTo>
                    <a:pt x="2290559" y="586588"/>
                  </a:lnTo>
                  <a:lnTo>
                    <a:pt x="2290559" y="585242"/>
                  </a:lnTo>
                  <a:lnTo>
                    <a:pt x="2290800" y="585242"/>
                  </a:lnTo>
                  <a:lnTo>
                    <a:pt x="2290902" y="586588"/>
                  </a:lnTo>
                  <a:lnTo>
                    <a:pt x="2290902" y="585242"/>
                  </a:lnTo>
                  <a:lnTo>
                    <a:pt x="2291448" y="585242"/>
                  </a:lnTo>
                  <a:lnTo>
                    <a:pt x="2291499" y="586588"/>
                  </a:lnTo>
                  <a:lnTo>
                    <a:pt x="2291499" y="585242"/>
                  </a:lnTo>
                  <a:lnTo>
                    <a:pt x="2291651" y="585242"/>
                  </a:lnTo>
                  <a:lnTo>
                    <a:pt x="2291702" y="586588"/>
                  </a:lnTo>
                  <a:lnTo>
                    <a:pt x="2291702" y="585242"/>
                  </a:lnTo>
                  <a:lnTo>
                    <a:pt x="2291803" y="586588"/>
                  </a:lnTo>
                  <a:lnTo>
                    <a:pt x="2291803" y="585242"/>
                  </a:lnTo>
                  <a:lnTo>
                    <a:pt x="2291841" y="585242"/>
                  </a:lnTo>
                  <a:lnTo>
                    <a:pt x="2291841" y="586588"/>
                  </a:lnTo>
                  <a:lnTo>
                    <a:pt x="2291892" y="585242"/>
                  </a:lnTo>
                  <a:lnTo>
                    <a:pt x="2291892" y="586588"/>
                  </a:lnTo>
                  <a:lnTo>
                    <a:pt x="2292096" y="586588"/>
                  </a:lnTo>
                  <a:lnTo>
                    <a:pt x="2292096" y="585242"/>
                  </a:lnTo>
                  <a:lnTo>
                    <a:pt x="2292146" y="585242"/>
                  </a:lnTo>
                  <a:lnTo>
                    <a:pt x="2292248" y="586588"/>
                  </a:lnTo>
                  <a:lnTo>
                    <a:pt x="2292350" y="586588"/>
                  </a:lnTo>
                  <a:lnTo>
                    <a:pt x="2292350" y="585242"/>
                  </a:lnTo>
                  <a:lnTo>
                    <a:pt x="2292388" y="585242"/>
                  </a:lnTo>
                  <a:lnTo>
                    <a:pt x="2292388" y="586588"/>
                  </a:lnTo>
                  <a:lnTo>
                    <a:pt x="2292489" y="586588"/>
                  </a:lnTo>
                  <a:lnTo>
                    <a:pt x="2292489" y="585242"/>
                  </a:lnTo>
                  <a:lnTo>
                    <a:pt x="2292692" y="585242"/>
                  </a:lnTo>
                  <a:lnTo>
                    <a:pt x="2292692" y="586588"/>
                  </a:lnTo>
                  <a:lnTo>
                    <a:pt x="2293391" y="586588"/>
                  </a:lnTo>
                  <a:lnTo>
                    <a:pt x="2293391" y="585242"/>
                  </a:lnTo>
                  <a:lnTo>
                    <a:pt x="2293429" y="586588"/>
                  </a:lnTo>
                  <a:lnTo>
                    <a:pt x="2293429" y="585242"/>
                  </a:lnTo>
                  <a:lnTo>
                    <a:pt x="2293480" y="585242"/>
                  </a:lnTo>
                  <a:lnTo>
                    <a:pt x="2293531" y="586588"/>
                  </a:lnTo>
                  <a:lnTo>
                    <a:pt x="2293632" y="586588"/>
                  </a:lnTo>
                  <a:lnTo>
                    <a:pt x="2293632" y="585242"/>
                  </a:lnTo>
                  <a:lnTo>
                    <a:pt x="2293734" y="585242"/>
                  </a:lnTo>
                  <a:lnTo>
                    <a:pt x="2293734" y="586588"/>
                  </a:lnTo>
                  <a:lnTo>
                    <a:pt x="2293937" y="586588"/>
                  </a:lnTo>
                  <a:lnTo>
                    <a:pt x="2293975" y="585242"/>
                  </a:lnTo>
                  <a:lnTo>
                    <a:pt x="2294077" y="585242"/>
                  </a:lnTo>
                  <a:lnTo>
                    <a:pt x="2294128" y="586588"/>
                  </a:lnTo>
                  <a:lnTo>
                    <a:pt x="2294331" y="586588"/>
                  </a:lnTo>
                  <a:lnTo>
                    <a:pt x="2294381" y="585242"/>
                  </a:lnTo>
                  <a:lnTo>
                    <a:pt x="2294521" y="585242"/>
                  </a:lnTo>
                  <a:lnTo>
                    <a:pt x="2294521" y="586588"/>
                  </a:lnTo>
                  <a:lnTo>
                    <a:pt x="2294775" y="586588"/>
                  </a:lnTo>
                  <a:lnTo>
                    <a:pt x="2294775" y="585242"/>
                  </a:lnTo>
                  <a:lnTo>
                    <a:pt x="2294978" y="585242"/>
                  </a:lnTo>
                  <a:lnTo>
                    <a:pt x="2295016" y="586588"/>
                  </a:lnTo>
                  <a:lnTo>
                    <a:pt x="2295118" y="586588"/>
                  </a:lnTo>
                  <a:lnTo>
                    <a:pt x="2295118" y="585242"/>
                  </a:lnTo>
                  <a:lnTo>
                    <a:pt x="2295423" y="585242"/>
                  </a:lnTo>
                  <a:lnTo>
                    <a:pt x="2295423" y="586588"/>
                  </a:lnTo>
                  <a:lnTo>
                    <a:pt x="2295525" y="586588"/>
                  </a:lnTo>
                  <a:lnTo>
                    <a:pt x="2295525" y="585242"/>
                  </a:lnTo>
                  <a:lnTo>
                    <a:pt x="2295563" y="586588"/>
                  </a:lnTo>
                  <a:lnTo>
                    <a:pt x="2295715" y="586588"/>
                  </a:lnTo>
                  <a:lnTo>
                    <a:pt x="2295715" y="585242"/>
                  </a:lnTo>
                  <a:lnTo>
                    <a:pt x="2295766" y="585242"/>
                  </a:lnTo>
                  <a:lnTo>
                    <a:pt x="2295766" y="586588"/>
                  </a:lnTo>
                  <a:lnTo>
                    <a:pt x="2295867" y="586588"/>
                  </a:lnTo>
                  <a:lnTo>
                    <a:pt x="2295867" y="585242"/>
                  </a:lnTo>
                  <a:lnTo>
                    <a:pt x="2295969" y="585242"/>
                  </a:lnTo>
                  <a:lnTo>
                    <a:pt x="2296020" y="586588"/>
                  </a:lnTo>
                  <a:lnTo>
                    <a:pt x="2296655" y="586588"/>
                  </a:lnTo>
                  <a:lnTo>
                    <a:pt x="2296655" y="585242"/>
                  </a:lnTo>
                  <a:lnTo>
                    <a:pt x="2296706" y="586588"/>
                  </a:lnTo>
                  <a:lnTo>
                    <a:pt x="2296909" y="586588"/>
                  </a:lnTo>
                  <a:lnTo>
                    <a:pt x="2296909" y="587223"/>
                  </a:lnTo>
                  <a:lnTo>
                    <a:pt x="2297010" y="586588"/>
                  </a:lnTo>
                  <a:lnTo>
                    <a:pt x="2297150" y="586588"/>
                  </a:lnTo>
                  <a:lnTo>
                    <a:pt x="2297150" y="587223"/>
                  </a:lnTo>
                  <a:lnTo>
                    <a:pt x="2297252" y="586588"/>
                  </a:lnTo>
                  <a:lnTo>
                    <a:pt x="2297353" y="586588"/>
                  </a:lnTo>
                  <a:lnTo>
                    <a:pt x="2297353" y="585242"/>
                  </a:lnTo>
                  <a:lnTo>
                    <a:pt x="2297455" y="586588"/>
                  </a:lnTo>
                  <a:lnTo>
                    <a:pt x="2297556" y="586588"/>
                  </a:lnTo>
                  <a:lnTo>
                    <a:pt x="2297556" y="585242"/>
                  </a:lnTo>
                  <a:lnTo>
                    <a:pt x="2297607" y="585242"/>
                  </a:lnTo>
                  <a:lnTo>
                    <a:pt x="2297696" y="586588"/>
                  </a:lnTo>
                  <a:lnTo>
                    <a:pt x="2297747" y="587223"/>
                  </a:lnTo>
                  <a:lnTo>
                    <a:pt x="2297849" y="587223"/>
                  </a:lnTo>
                  <a:lnTo>
                    <a:pt x="2297849" y="586588"/>
                  </a:lnTo>
                  <a:lnTo>
                    <a:pt x="2297950" y="586588"/>
                  </a:lnTo>
                  <a:lnTo>
                    <a:pt x="2297950" y="585242"/>
                  </a:lnTo>
                  <a:lnTo>
                    <a:pt x="2298001" y="586588"/>
                  </a:lnTo>
                  <a:lnTo>
                    <a:pt x="2298052" y="586588"/>
                  </a:lnTo>
                  <a:lnTo>
                    <a:pt x="2298153" y="587223"/>
                  </a:lnTo>
                  <a:lnTo>
                    <a:pt x="2298153" y="586588"/>
                  </a:lnTo>
                  <a:lnTo>
                    <a:pt x="2298598" y="586588"/>
                  </a:lnTo>
                  <a:lnTo>
                    <a:pt x="2298598" y="585242"/>
                  </a:lnTo>
                  <a:lnTo>
                    <a:pt x="2298700" y="585242"/>
                  </a:lnTo>
                  <a:lnTo>
                    <a:pt x="2298738" y="586588"/>
                  </a:lnTo>
                  <a:lnTo>
                    <a:pt x="2298839" y="586588"/>
                  </a:lnTo>
                  <a:lnTo>
                    <a:pt x="2298890" y="585242"/>
                  </a:lnTo>
                  <a:lnTo>
                    <a:pt x="2299042" y="585242"/>
                  </a:lnTo>
                  <a:lnTo>
                    <a:pt x="2299093" y="586588"/>
                  </a:lnTo>
                  <a:lnTo>
                    <a:pt x="2299144" y="586588"/>
                  </a:lnTo>
                  <a:lnTo>
                    <a:pt x="2299144" y="587223"/>
                  </a:lnTo>
                  <a:lnTo>
                    <a:pt x="2299195" y="586588"/>
                  </a:lnTo>
                  <a:lnTo>
                    <a:pt x="2299284" y="585242"/>
                  </a:lnTo>
                  <a:lnTo>
                    <a:pt x="2299335" y="585242"/>
                  </a:lnTo>
                  <a:lnTo>
                    <a:pt x="2299385" y="586588"/>
                  </a:lnTo>
                  <a:lnTo>
                    <a:pt x="2299588" y="586588"/>
                  </a:lnTo>
                  <a:lnTo>
                    <a:pt x="2299639" y="585242"/>
                  </a:lnTo>
                  <a:lnTo>
                    <a:pt x="2299741" y="585242"/>
                  </a:lnTo>
                  <a:lnTo>
                    <a:pt x="2299741" y="586588"/>
                  </a:lnTo>
                  <a:lnTo>
                    <a:pt x="2299779" y="586588"/>
                  </a:lnTo>
                  <a:lnTo>
                    <a:pt x="2299830" y="587223"/>
                  </a:lnTo>
                  <a:lnTo>
                    <a:pt x="2299982" y="587223"/>
                  </a:lnTo>
                  <a:lnTo>
                    <a:pt x="2299982" y="586588"/>
                  </a:lnTo>
                  <a:lnTo>
                    <a:pt x="2300185" y="586588"/>
                  </a:lnTo>
                  <a:lnTo>
                    <a:pt x="2300236" y="585242"/>
                  </a:lnTo>
                  <a:lnTo>
                    <a:pt x="2300427" y="585242"/>
                  </a:lnTo>
                  <a:lnTo>
                    <a:pt x="2300478" y="586588"/>
                  </a:lnTo>
                  <a:lnTo>
                    <a:pt x="2300681" y="586588"/>
                  </a:lnTo>
                  <a:lnTo>
                    <a:pt x="2300681" y="587223"/>
                  </a:lnTo>
                  <a:lnTo>
                    <a:pt x="2300731" y="586588"/>
                  </a:lnTo>
                  <a:lnTo>
                    <a:pt x="2300922" y="586588"/>
                  </a:lnTo>
                  <a:lnTo>
                    <a:pt x="2300973" y="585242"/>
                  </a:lnTo>
                  <a:lnTo>
                    <a:pt x="2300973" y="586588"/>
                  </a:lnTo>
                  <a:lnTo>
                    <a:pt x="2301227" y="586588"/>
                  </a:lnTo>
                  <a:lnTo>
                    <a:pt x="2301227" y="587223"/>
                  </a:lnTo>
                  <a:lnTo>
                    <a:pt x="2301366" y="587223"/>
                  </a:lnTo>
                  <a:lnTo>
                    <a:pt x="2301417" y="586588"/>
                  </a:lnTo>
                  <a:lnTo>
                    <a:pt x="2302268" y="586588"/>
                  </a:lnTo>
                  <a:lnTo>
                    <a:pt x="2302319" y="587223"/>
                  </a:lnTo>
                  <a:lnTo>
                    <a:pt x="2302459" y="587223"/>
                  </a:lnTo>
                  <a:lnTo>
                    <a:pt x="2302459" y="586588"/>
                  </a:lnTo>
                  <a:lnTo>
                    <a:pt x="2302510" y="586588"/>
                  </a:lnTo>
                  <a:lnTo>
                    <a:pt x="2302510" y="587223"/>
                  </a:lnTo>
                  <a:lnTo>
                    <a:pt x="2302560" y="586588"/>
                  </a:lnTo>
                  <a:lnTo>
                    <a:pt x="2302611" y="586588"/>
                  </a:lnTo>
                  <a:lnTo>
                    <a:pt x="2302611" y="587223"/>
                  </a:lnTo>
                  <a:lnTo>
                    <a:pt x="2302763" y="587223"/>
                  </a:lnTo>
                  <a:lnTo>
                    <a:pt x="2302763" y="586588"/>
                  </a:lnTo>
                  <a:lnTo>
                    <a:pt x="2303056" y="586588"/>
                  </a:lnTo>
                  <a:lnTo>
                    <a:pt x="2303157" y="587223"/>
                  </a:lnTo>
                  <a:lnTo>
                    <a:pt x="2303208" y="586588"/>
                  </a:lnTo>
                  <a:lnTo>
                    <a:pt x="2303259" y="586588"/>
                  </a:lnTo>
                  <a:lnTo>
                    <a:pt x="2303259" y="585242"/>
                  </a:lnTo>
                  <a:lnTo>
                    <a:pt x="2303360" y="586588"/>
                  </a:lnTo>
                  <a:lnTo>
                    <a:pt x="2303653" y="586588"/>
                  </a:lnTo>
                  <a:lnTo>
                    <a:pt x="2303653" y="587223"/>
                  </a:lnTo>
                  <a:lnTo>
                    <a:pt x="2303703" y="586588"/>
                  </a:lnTo>
                  <a:lnTo>
                    <a:pt x="2304046" y="586588"/>
                  </a:lnTo>
                  <a:lnTo>
                    <a:pt x="2304046" y="587223"/>
                  </a:lnTo>
                  <a:lnTo>
                    <a:pt x="2304148" y="587223"/>
                  </a:lnTo>
                  <a:lnTo>
                    <a:pt x="2304148" y="586588"/>
                  </a:lnTo>
                  <a:lnTo>
                    <a:pt x="2304199" y="586588"/>
                  </a:lnTo>
                  <a:lnTo>
                    <a:pt x="2304300" y="587223"/>
                  </a:lnTo>
                  <a:lnTo>
                    <a:pt x="2304351" y="586588"/>
                  </a:lnTo>
                  <a:lnTo>
                    <a:pt x="2304402" y="587223"/>
                  </a:lnTo>
                  <a:lnTo>
                    <a:pt x="2304503" y="586588"/>
                  </a:lnTo>
                  <a:lnTo>
                    <a:pt x="2304503" y="587223"/>
                  </a:lnTo>
                  <a:lnTo>
                    <a:pt x="2304541" y="586588"/>
                  </a:lnTo>
                  <a:lnTo>
                    <a:pt x="2304592" y="586588"/>
                  </a:lnTo>
                  <a:lnTo>
                    <a:pt x="2304643" y="587223"/>
                  </a:lnTo>
                  <a:lnTo>
                    <a:pt x="2304948" y="587223"/>
                  </a:lnTo>
                  <a:lnTo>
                    <a:pt x="2304948" y="586588"/>
                  </a:lnTo>
                  <a:lnTo>
                    <a:pt x="2304999" y="587223"/>
                  </a:lnTo>
                  <a:lnTo>
                    <a:pt x="2305088" y="587223"/>
                  </a:lnTo>
                  <a:lnTo>
                    <a:pt x="2305088" y="586588"/>
                  </a:lnTo>
                  <a:lnTo>
                    <a:pt x="2305189" y="586588"/>
                  </a:lnTo>
                  <a:lnTo>
                    <a:pt x="2305189" y="587223"/>
                  </a:lnTo>
                  <a:lnTo>
                    <a:pt x="2305240" y="587223"/>
                  </a:lnTo>
                  <a:lnTo>
                    <a:pt x="2305240" y="586588"/>
                  </a:lnTo>
                  <a:lnTo>
                    <a:pt x="2305443" y="586588"/>
                  </a:lnTo>
                  <a:lnTo>
                    <a:pt x="2305443" y="587223"/>
                  </a:lnTo>
                  <a:lnTo>
                    <a:pt x="2305494" y="587223"/>
                  </a:lnTo>
                  <a:lnTo>
                    <a:pt x="2305545" y="586588"/>
                  </a:lnTo>
                  <a:lnTo>
                    <a:pt x="2306434" y="586588"/>
                  </a:lnTo>
                  <a:lnTo>
                    <a:pt x="2306535" y="587223"/>
                  </a:lnTo>
                  <a:lnTo>
                    <a:pt x="2306586" y="587223"/>
                  </a:lnTo>
                  <a:lnTo>
                    <a:pt x="2306637" y="586588"/>
                  </a:lnTo>
                  <a:lnTo>
                    <a:pt x="2306777" y="586588"/>
                  </a:lnTo>
                  <a:lnTo>
                    <a:pt x="2306828" y="587223"/>
                  </a:lnTo>
                  <a:lnTo>
                    <a:pt x="2307132" y="587223"/>
                  </a:lnTo>
                  <a:lnTo>
                    <a:pt x="2307221" y="586588"/>
                  </a:lnTo>
                  <a:lnTo>
                    <a:pt x="2307272" y="586588"/>
                  </a:lnTo>
                  <a:lnTo>
                    <a:pt x="2307323" y="587223"/>
                  </a:lnTo>
                  <a:lnTo>
                    <a:pt x="2307678" y="587223"/>
                  </a:lnTo>
                  <a:lnTo>
                    <a:pt x="2307678" y="586588"/>
                  </a:lnTo>
                  <a:lnTo>
                    <a:pt x="2307716" y="586588"/>
                  </a:lnTo>
                  <a:lnTo>
                    <a:pt x="2307716" y="587223"/>
                  </a:lnTo>
                  <a:lnTo>
                    <a:pt x="2307920" y="587223"/>
                  </a:lnTo>
                  <a:lnTo>
                    <a:pt x="2307971" y="586588"/>
                  </a:lnTo>
                  <a:lnTo>
                    <a:pt x="2308123" y="586588"/>
                  </a:lnTo>
                  <a:lnTo>
                    <a:pt x="2308174" y="587223"/>
                  </a:lnTo>
                  <a:lnTo>
                    <a:pt x="2308809" y="587223"/>
                  </a:lnTo>
                  <a:lnTo>
                    <a:pt x="2308860" y="586588"/>
                  </a:lnTo>
                  <a:lnTo>
                    <a:pt x="2308910" y="587223"/>
                  </a:lnTo>
                  <a:lnTo>
                    <a:pt x="2309507" y="587223"/>
                  </a:lnTo>
                  <a:lnTo>
                    <a:pt x="2309507" y="586588"/>
                  </a:lnTo>
                  <a:lnTo>
                    <a:pt x="2309558" y="587223"/>
                  </a:lnTo>
                  <a:lnTo>
                    <a:pt x="2309609" y="586588"/>
                  </a:lnTo>
                  <a:lnTo>
                    <a:pt x="2309609" y="587921"/>
                  </a:lnTo>
                  <a:lnTo>
                    <a:pt x="2309710" y="589166"/>
                  </a:lnTo>
                  <a:lnTo>
                    <a:pt x="2309710" y="590499"/>
                  </a:lnTo>
                  <a:lnTo>
                    <a:pt x="2309761" y="591795"/>
                  </a:lnTo>
                  <a:lnTo>
                    <a:pt x="2309761" y="592442"/>
                  </a:lnTo>
                  <a:lnTo>
                    <a:pt x="2309812" y="594373"/>
                  </a:lnTo>
                  <a:lnTo>
                    <a:pt x="2309812" y="595021"/>
                  </a:lnTo>
                  <a:lnTo>
                    <a:pt x="2309850" y="595021"/>
                  </a:lnTo>
                  <a:lnTo>
                    <a:pt x="2309952" y="594373"/>
                  </a:lnTo>
                  <a:lnTo>
                    <a:pt x="2310003" y="593725"/>
                  </a:lnTo>
                  <a:lnTo>
                    <a:pt x="2310053" y="592442"/>
                  </a:lnTo>
                  <a:lnTo>
                    <a:pt x="2310206" y="592442"/>
                  </a:lnTo>
                  <a:lnTo>
                    <a:pt x="2310256" y="591795"/>
                  </a:lnTo>
                  <a:lnTo>
                    <a:pt x="2310447" y="591795"/>
                  </a:lnTo>
                  <a:lnTo>
                    <a:pt x="2310498" y="591147"/>
                  </a:lnTo>
                  <a:lnTo>
                    <a:pt x="2310549" y="591795"/>
                  </a:lnTo>
                  <a:lnTo>
                    <a:pt x="2310549" y="591147"/>
                  </a:lnTo>
                  <a:lnTo>
                    <a:pt x="2310650" y="591147"/>
                  </a:lnTo>
                  <a:lnTo>
                    <a:pt x="2310701" y="590499"/>
                  </a:lnTo>
                  <a:lnTo>
                    <a:pt x="2310752" y="591147"/>
                  </a:lnTo>
                  <a:lnTo>
                    <a:pt x="2310853" y="591147"/>
                  </a:lnTo>
                  <a:lnTo>
                    <a:pt x="2310891" y="590499"/>
                  </a:lnTo>
                  <a:lnTo>
                    <a:pt x="2310942" y="590499"/>
                  </a:lnTo>
                  <a:lnTo>
                    <a:pt x="2310942" y="591147"/>
                  </a:lnTo>
                  <a:lnTo>
                    <a:pt x="2310993" y="591147"/>
                  </a:lnTo>
                  <a:lnTo>
                    <a:pt x="2311095" y="590499"/>
                  </a:lnTo>
                  <a:lnTo>
                    <a:pt x="2311196" y="590499"/>
                  </a:lnTo>
                  <a:lnTo>
                    <a:pt x="2311298" y="589166"/>
                  </a:lnTo>
                  <a:lnTo>
                    <a:pt x="2311349" y="590499"/>
                  </a:lnTo>
                  <a:lnTo>
                    <a:pt x="2311400" y="591147"/>
                  </a:lnTo>
                  <a:lnTo>
                    <a:pt x="2311438" y="590499"/>
                  </a:lnTo>
                  <a:lnTo>
                    <a:pt x="2311590" y="590499"/>
                  </a:lnTo>
                  <a:lnTo>
                    <a:pt x="2311590" y="589166"/>
                  </a:lnTo>
                  <a:lnTo>
                    <a:pt x="2311641" y="589166"/>
                  </a:lnTo>
                  <a:lnTo>
                    <a:pt x="2311641" y="588569"/>
                  </a:lnTo>
                  <a:lnTo>
                    <a:pt x="2311742" y="589166"/>
                  </a:lnTo>
                  <a:lnTo>
                    <a:pt x="2311793" y="589166"/>
                  </a:lnTo>
                  <a:lnTo>
                    <a:pt x="2311793" y="590499"/>
                  </a:lnTo>
                  <a:lnTo>
                    <a:pt x="2312085" y="590499"/>
                  </a:lnTo>
                  <a:lnTo>
                    <a:pt x="2312085" y="591147"/>
                  </a:lnTo>
                  <a:lnTo>
                    <a:pt x="2312136" y="591147"/>
                  </a:lnTo>
                  <a:lnTo>
                    <a:pt x="2312238" y="590499"/>
                  </a:lnTo>
                  <a:lnTo>
                    <a:pt x="2312238" y="589166"/>
                  </a:lnTo>
                  <a:lnTo>
                    <a:pt x="2312441" y="589166"/>
                  </a:lnTo>
                  <a:lnTo>
                    <a:pt x="2312441" y="590499"/>
                  </a:lnTo>
                  <a:lnTo>
                    <a:pt x="2312479" y="590499"/>
                  </a:lnTo>
                  <a:lnTo>
                    <a:pt x="2312479" y="591147"/>
                  </a:lnTo>
                  <a:lnTo>
                    <a:pt x="2312530" y="591147"/>
                  </a:lnTo>
                  <a:lnTo>
                    <a:pt x="2312530" y="590499"/>
                  </a:lnTo>
                  <a:lnTo>
                    <a:pt x="2313622" y="590499"/>
                  </a:lnTo>
                  <a:lnTo>
                    <a:pt x="2313673" y="591147"/>
                  </a:lnTo>
                  <a:lnTo>
                    <a:pt x="2313825" y="591147"/>
                  </a:lnTo>
                  <a:lnTo>
                    <a:pt x="2313876" y="590499"/>
                  </a:lnTo>
                  <a:lnTo>
                    <a:pt x="2314117" y="590499"/>
                  </a:lnTo>
                  <a:lnTo>
                    <a:pt x="2314168" y="591147"/>
                  </a:lnTo>
                  <a:lnTo>
                    <a:pt x="2314270" y="591795"/>
                  </a:lnTo>
                  <a:lnTo>
                    <a:pt x="2314371" y="591795"/>
                  </a:lnTo>
                  <a:lnTo>
                    <a:pt x="2314371" y="592442"/>
                  </a:lnTo>
                  <a:lnTo>
                    <a:pt x="2314524" y="592442"/>
                  </a:lnTo>
                  <a:lnTo>
                    <a:pt x="2314575" y="591795"/>
                  </a:lnTo>
                  <a:lnTo>
                    <a:pt x="2314613" y="590499"/>
                  </a:lnTo>
                  <a:lnTo>
                    <a:pt x="2314613" y="589166"/>
                  </a:lnTo>
                  <a:lnTo>
                    <a:pt x="2314714" y="588569"/>
                  </a:lnTo>
                  <a:lnTo>
                    <a:pt x="2314765" y="589166"/>
                  </a:lnTo>
                  <a:lnTo>
                    <a:pt x="2314816" y="589166"/>
                  </a:lnTo>
                  <a:lnTo>
                    <a:pt x="2314816" y="590499"/>
                  </a:lnTo>
                  <a:lnTo>
                    <a:pt x="2314917" y="589166"/>
                  </a:lnTo>
                  <a:lnTo>
                    <a:pt x="2315019" y="589166"/>
                  </a:lnTo>
                  <a:lnTo>
                    <a:pt x="2315070" y="588569"/>
                  </a:lnTo>
                  <a:lnTo>
                    <a:pt x="2315070" y="589166"/>
                  </a:lnTo>
                  <a:lnTo>
                    <a:pt x="2315159" y="590499"/>
                  </a:lnTo>
                  <a:lnTo>
                    <a:pt x="2315159" y="591147"/>
                  </a:lnTo>
                  <a:lnTo>
                    <a:pt x="2315210" y="591795"/>
                  </a:lnTo>
                  <a:lnTo>
                    <a:pt x="2315260" y="591147"/>
                  </a:lnTo>
                  <a:lnTo>
                    <a:pt x="2315311" y="589166"/>
                  </a:lnTo>
                  <a:lnTo>
                    <a:pt x="2315413" y="588569"/>
                  </a:lnTo>
                  <a:lnTo>
                    <a:pt x="2315463" y="588569"/>
                  </a:lnTo>
                  <a:lnTo>
                    <a:pt x="2315514" y="589166"/>
                  </a:lnTo>
                  <a:lnTo>
                    <a:pt x="2315514" y="590499"/>
                  </a:lnTo>
                  <a:lnTo>
                    <a:pt x="2315616" y="589166"/>
                  </a:lnTo>
                  <a:lnTo>
                    <a:pt x="2315705" y="589166"/>
                  </a:lnTo>
                  <a:lnTo>
                    <a:pt x="2315756" y="590499"/>
                  </a:lnTo>
                  <a:lnTo>
                    <a:pt x="2315857" y="590499"/>
                  </a:lnTo>
                  <a:lnTo>
                    <a:pt x="2315857" y="591147"/>
                  </a:lnTo>
                  <a:lnTo>
                    <a:pt x="2315908" y="590499"/>
                  </a:lnTo>
                  <a:lnTo>
                    <a:pt x="2315908" y="588569"/>
                  </a:lnTo>
                  <a:lnTo>
                    <a:pt x="2315959" y="587921"/>
                  </a:lnTo>
                  <a:lnTo>
                    <a:pt x="2316060" y="587223"/>
                  </a:lnTo>
                  <a:lnTo>
                    <a:pt x="2316111" y="587921"/>
                  </a:lnTo>
                  <a:lnTo>
                    <a:pt x="2316111" y="588569"/>
                  </a:lnTo>
                  <a:lnTo>
                    <a:pt x="2316162" y="589166"/>
                  </a:lnTo>
                  <a:lnTo>
                    <a:pt x="2316162" y="590499"/>
                  </a:lnTo>
                  <a:lnTo>
                    <a:pt x="2316302" y="590499"/>
                  </a:lnTo>
                  <a:lnTo>
                    <a:pt x="2316302" y="589166"/>
                  </a:lnTo>
                  <a:lnTo>
                    <a:pt x="2316353" y="588569"/>
                  </a:lnTo>
                  <a:lnTo>
                    <a:pt x="2316403" y="587921"/>
                  </a:lnTo>
                  <a:lnTo>
                    <a:pt x="2316505" y="587921"/>
                  </a:lnTo>
                  <a:lnTo>
                    <a:pt x="2316556" y="588569"/>
                  </a:lnTo>
                  <a:lnTo>
                    <a:pt x="2316657" y="588569"/>
                  </a:lnTo>
                  <a:lnTo>
                    <a:pt x="2316657" y="587921"/>
                  </a:lnTo>
                  <a:lnTo>
                    <a:pt x="2316746" y="587921"/>
                  </a:lnTo>
                  <a:lnTo>
                    <a:pt x="2316746" y="587223"/>
                  </a:lnTo>
                  <a:lnTo>
                    <a:pt x="2316797" y="587223"/>
                  </a:lnTo>
                  <a:lnTo>
                    <a:pt x="2316797" y="587921"/>
                  </a:lnTo>
                  <a:lnTo>
                    <a:pt x="2316848" y="589166"/>
                  </a:lnTo>
                  <a:lnTo>
                    <a:pt x="2316899" y="591795"/>
                  </a:lnTo>
                  <a:lnTo>
                    <a:pt x="2316899" y="594373"/>
                  </a:lnTo>
                  <a:lnTo>
                    <a:pt x="2317000" y="596354"/>
                  </a:lnTo>
                  <a:lnTo>
                    <a:pt x="2317000" y="597649"/>
                  </a:lnTo>
                  <a:lnTo>
                    <a:pt x="2317051" y="597649"/>
                  </a:lnTo>
                  <a:lnTo>
                    <a:pt x="2317051" y="596354"/>
                  </a:lnTo>
                  <a:lnTo>
                    <a:pt x="2317102" y="596354"/>
                  </a:lnTo>
                  <a:lnTo>
                    <a:pt x="2317102" y="595706"/>
                  </a:lnTo>
                  <a:lnTo>
                    <a:pt x="2317203" y="596354"/>
                  </a:lnTo>
                  <a:lnTo>
                    <a:pt x="2317241" y="596354"/>
                  </a:lnTo>
                  <a:lnTo>
                    <a:pt x="2317241" y="595706"/>
                  </a:lnTo>
                  <a:lnTo>
                    <a:pt x="2317292" y="595021"/>
                  </a:lnTo>
                  <a:lnTo>
                    <a:pt x="2317292" y="594373"/>
                  </a:lnTo>
                  <a:lnTo>
                    <a:pt x="2317343" y="592442"/>
                  </a:lnTo>
                  <a:lnTo>
                    <a:pt x="2317445" y="592442"/>
                  </a:lnTo>
                  <a:lnTo>
                    <a:pt x="2317496" y="593725"/>
                  </a:lnTo>
                  <a:lnTo>
                    <a:pt x="2317546" y="593725"/>
                  </a:lnTo>
                  <a:lnTo>
                    <a:pt x="2317648" y="592442"/>
                  </a:lnTo>
                  <a:lnTo>
                    <a:pt x="2317648" y="591147"/>
                  </a:lnTo>
                  <a:lnTo>
                    <a:pt x="2317699" y="589166"/>
                  </a:lnTo>
                  <a:lnTo>
                    <a:pt x="2317699" y="588569"/>
                  </a:lnTo>
                  <a:lnTo>
                    <a:pt x="2317788" y="588569"/>
                  </a:lnTo>
                  <a:lnTo>
                    <a:pt x="2317788" y="589166"/>
                  </a:lnTo>
                  <a:lnTo>
                    <a:pt x="2317889" y="591147"/>
                  </a:lnTo>
                  <a:lnTo>
                    <a:pt x="2317940" y="591795"/>
                  </a:lnTo>
                  <a:lnTo>
                    <a:pt x="2317940" y="591147"/>
                  </a:lnTo>
                  <a:lnTo>
                    <a:pt x="2317991" y="591147"/>
                  </a:lnTo>
                  <a:lnTo>
                    <a:pt x="2317991" y="590499"/>
                  </a:lnTo>
                  <a:lnTo>
                    <a:pt x="2318092" y="588569"/>
                  </a:lnTo>
                  <a:lnTo>
                    <a:pt x="2318143" y="588569"/>
                  </a:lnTo>
                  <a:lnTo>
                    <a:pt x="2318143" y="587921"/>
                  </a:lnTo>
                  <a:lnTo>
                    <a:pt x="2318194" y="587921"/>
                  </a:lnTo>
                  <a:lnTo>
                    <a:pt x="2318194" y="589166"/>
                  </a:lnTo>
                  <a:lnTo>
                    <a:pt x="2318245" y="590499"/>
                  </a:lnTo>
                  <a:lnTo>
                    <a:pt x="2318245" y="591795"/>
                  </a:lnTo>
                  <a:lnTo>
                    <a:pt x="2318334" y="592442"/>
                  </a:lnTo>
                  <a:lnTo>
                    <a:pt x="2318385" y="591147"/>
                  </a:lnTo>
                  <a:lnTo>
                    <a:pt x="2318435" y="589166"/>
                  </a:lnTo>
                  <a:lnTo>
                    <a:pt x="2318435" y="588569"/>
                  </a:lnTo>
                  <a:lnTo>
                    <a:pt x="2318486" y="587921"/>
                  </a:lnTo>
                  <a:lnTo>
                    <a:pt x="2318486" y="587223"/>
                  </a:lnTo>
                  <a:lnTo>
                    <a:pt x="2318588" y="587921"/>
                  </a:lnTo>
                  <a:lnTo>
                    <a:pt x="2318588" y="588569"/>
                  </a:lnTo>
                  <a:lnTo>
                    <a:pt x="2318638" y="589166"/>
                  </a:lnTo>
                  <a:lnTo>
                    <a:pt x="2318638" y="590499"/>
                  </a:lnTo>
                  <a:lnTo>
                    <a:pt x="2318791" y="590499"/>
                  </a:lnTo>
                  <a:lnTo>
                    <a:pt x="2318791" y="589166"/>
                  </a:lnTo>
                  <a:lnTo>
                    <a:pt x="2318829" y="589166"/>
                  </a:lnTo>
                  <a:lnTo>
                    <a:pt x="2318880" y="590499"/>
                  </a:lnTo>
                  <a:lnTo>
                    <a:pt x="2318880" y="591147"/>
                  </a:lnTo>
                  <a:lnTo>
                    <a:pt x="2318931" y="591795"/>
                  </a:lnTo>
                  <a:lnTo>
                    <a:pt x="2319032" y="592442"/>
                  </a:lnTo>
                  <a:lnTo>
                    <a:pt x="2319235" y="592442"/>
                  </a:lnTo>
                  <a:lnTo>
                    <a:pt x="2319235" y="593725"/>
                  </a:lnTo>
                  <a:lnTo>
                    <a:pt x="2319375" y="593725"/>
                  </a:lnTo>
                  <a:lnTo>
                    <a:pt x="2319375" y="594373"/>
                  </a:lnTo>
                  <a:lnTo>
                    <a:pt x="2319680" y="594373"/>
                  </a:lnTo>
                  <a:lnTo>
                    <a:pt x="2319680" y="595021"/>
                  </a:lnTo>
                  <a:lnTo>
                    <a:pt x="2319731" y="595021"/>
                  </a:lnTo>
                  <a:lnTo>
                    <a:pt x="2319731" y="595706"/>
                  </a:lnTo>
                  <a:lnTo>
                    <a:pt x="2319781" y="596354"/>
                  </a:lnTo>
                  <a:lnTo>
                    <a:pt x="2319972" y="596354"/>
                  </a:lnTo>
                  <a:lnTo>
                    <a:pt x="2319972" y="597649"/>
                  </a:lnTo>
                  <a:lnTo>
                    <a:pt x="2320023" y="598335"/>
                  </a:lnTo>
                  <a:lnTo>
                    <a:pt x="2320074" y="598932"/>
                  </a:lnTo>
                  <a:lnTo>
                    <a:pt x="2320074" y="599580"/>
                  </a:lnTo>
                  <a:lnTo>
                    <a:pt x="2320175" y="599580"/>
                  </a:lnTo>
                  <a:lnTo>
                    <a:pt x="2320226" y="598932"/>
                  </a:lnTo>
                  <a:lnTo>
                    <a:pt x="2320378" y="598932"/>
                  </a:lnTo>
                  <a:lnTo>
                    <a:pt x="2320378" y="599580"/>
                  </a:lnTo>
                  <a:lnTo>
                    <a:pt x="2320416" y="599580"/>
                  </a:lnTo>
                  <a:lnTo>
                    <a:pt x="2320467" y="600926"/>
                  </a:lnTo>
                  <a:lnTo>
                    <a:pt x="2320518" y="601561"/>
                  </a:lnTo>
                  <a:lnTo>
                    <a:pt x="2320721" y="601561"/>
                  </a:lnTo>
                  <a:lnTo>
                    <a:pt x="2320721" y="600926"/>
                  </a:lnTo>
                  <a:lnTo>
                    <a:pt x="2320823" y="599580"/>
                  </a:lnTo>
                  <a:lnTo>
                    <a:pt x="2320874" y="598932"/>
                  </a:lnTo>
                  <a:lnTo>
                    <a:pt x="2320874" y="598335"/>
                  </a:lnTo>
                  <a:lnTo>
                    <a:pt x="2320925" y="597649"/>
                  </a:lnTo>
                  <a:lnTo>
                    <a:pt x="2320925" y="596354"/>
                  </a:lnTo>
                  <a:lnTo>
                    <a:pt x="2320963" y="596354"/>
                  </a:lnTo>
                  <a:lnTo>
                    <a:pt x="2320963" y="595021"/>
                  </a:lnTo>
                  <a:lnTo>
                    <a:pt x="2321064" y="594373"/>
                  </a:lnTo>
                  <a:lnTo>
                    <a:pt x="2321115" y="595021"/>
                  </a:lnTo>
                  <a:lnTo>
                    <a:pt x="2321166" y="595706"/>
                  </a:lnTo>
                  <a:lnTo>
                    <a:pt x="2321166" y="596354"/>
                  </a:lnTo>
                  <a:lnTo>
                    <a:pt x="2321267" y="597649"/>
                  </a:lnTo>
                  <a:lnTo>
                    <a:pt x="2321318" y="596354"/>
                  </a:lnTo>
                  <a:lnTo>
                    <a:pt x="2321318" y="597649"/>
                  </a:lnTo>
                  <a:lnTo>
                    <a:pt x="2321369" y="598335"/>
                  </a:lnTo>
                  <a:lnTo>
                    <a:pt x="2321420" y="599580"/>
                  </a:lnTo>
                  <a:lnTo>
                    <a:pt x="2321509" y="600926"/>
                  </a:lnTo>
                  <a:lnTo>
                    <a:pt x="2321509" y="601561"/>
                  </a:lnTo>
                  <a:lnTo>
                    <a:pt x="2321560" y="601561"/>
                  </a:lnTo>
                  <a:lnTo>
                    <a:pt x="2321560" y="600926"/>
                  </a:lnTo>
                  <a:lnTo>
                    <a:pt x="2321610" y="598932"/>
                  </a:lnTo>
                  <a:lnTo>
                    <a:pt x="2321610" y="599580"/>
                  </a:lnTo>
                  <a:lnTo>
                    <a:pt x="2321661" y="598932"/>
                  </a:lnTo>
                  <a:lnTo>
                    <a:pt x="2321661" y="599580"/>
                  </a:lnTo>
                  <a:lnTo>
                    <a:pt x="2321763" y="598932"/>
                  </a:lnTo>
                  <a:lnTo>
                    <a:pt x="2321813" y="595706"/>
                  </a:lnTo>
                  <a:lnTo>
                    <a:pt x="2321813" y="593725"/>
                  </a:lnTo>
                  <a:lnTo>
                    <a:pt x="2321864" y="589166"/>
                  </a:lnTo>
                  <a:lnTo>
                    <a:pt x="2321864" y="587921"/>
                  </a:lnTo>
                  <a:lnTo>
                    <a:pt x="2321966" y="588569"/>
                  </a:lnTo>
                  <a:lnTo>
                    <a:pt x="2321966" y="589166"/>
                  </a:lnTo>
                  <a:lnTo>
                    <a:pt x="2322004" y="591147"/>
                  </a:lnTo>
                  <a:lnTo>
                    <a:pt x="2322055" y="592442"/>
                  </a:lnTo>
                  <a:lnTo>
                    <a:pt x="2322055" y="594373"/>
                  </a:lnTo>
                  <a:lnTo>
                    <a:pt x="2322106" y="596354"/>
                  </a:lnTo>
                  <a:lnTo>
                    <a:pt x="2322106" y="597649"/>
                  </a:lnTo>
                  <a:lnTo>
                    <a:pt x="2322207" y="599580"/>
                  </a:lnTo>
                  <a:lnTo>
                    <a:pt x="2322207" y="601561"/>
                  </a:lnTo>
                  <a:lnTo>
                    <a:pt x="2322258" y="602209"/>
                  </a:lnTo>
                  <a:lnTo>
                    <a:pt x="2322258" y="604787"/>
                  </a:lnTo>
                  <a:lnTo>
                    <a:pt x="2322309" y="604787"/>
                  </a:lnTo>
                  <a:lnTo>
                    <a:pt x="2322410" y="605485"/>
                  </a:lnTo>
                  <a:lnTo>
                    <a:pt x="2322461" y="605485"/>
                  </a:lnTo>
                  <a:lnTo>
                    <a:pt x="2322461" y="606133"/>
                  </a:lnTo>
                  <a:lnTo>
                    <a:pt x="2322512" y="606133"/>
                  </a:lnTo>
                  <a:lnTo>
                    <a:pt x="2322550" y="605485"/>
                  </a:lnTo>
                  <a:lnTo>
                    <a:pt x="2322550" y="604787"/>
                  </a:lnTo>
                  <a:lnTo>
                    <a:pt x="2322652" y="602907"/>
                  </a:lnTo>
                  <a:lnTo>
                    <a:pt x="2322703" y="602209"/>
                  </a:lnTo>
                  <a:lnTo>
                    <a:pt x="2322703" y="600926"/>
                  </a:lnTo>
                  <a:lnTo>
                    <a:pt x="2322753" y="598932"/>
                  </a:lnTo>
                  <a:lnTo>
                    <a:pt x="2322753" y="599580"/>
                  </a:lnTo>
                  <a:lnTo>
                    <a:pt x="2322855" y="598932"/>
                  </a:lnTo>
                  <a:lnTo>
                    <a:pt x="2322906" y="599580"/>
                  </a:lnTo>
                  <a:lnTo>
                    <a:pt x="2322906" y="598932"/>
                  </a:lnTo>
                  <a:lnTo>
                    <a:pt x="2322956" y="598335"/>
                  </a:lnTo>
                  <a:lnTo>
                    <a:pt x="2323007" y="597649"/>
                  </a:lnTo>
                  <a:lnTo>
                    <a:pt x="2323007" y="598335"/>
                  </a:lnTo>
                  <a:lnTo>
                    <a:pt x="2323096" y="598335"/>
                  </a:lnTo>
                  <a:lnTo>
                    <a:pt x="2323096" y="600926"/>
                  </a:lnTo>
                  <a:lnTo>
                    <a:pt x="2323147" y="602209"/>
                  </a:lnTo>
                  <a:lnTo>
                    <a:pt x="2323147" y="603555"/>
                  </a:lnTo>
                  <a:lnTo>
                    <a:pt x="2323198" y="606133"/>
                  </a:lnTo>
                  <a:lnTo>
                    <a:pt x="2323198" y="606768"/>
                  </a:lnTo>
                  <a:lnTo>
                    <a:pt x="2323249" y="608114"/>
                  </a:lnTo>
                  <a:lnTo>
                    <a:pt x="2323350" y="609359"/>
                  </a:lnTo>
                  <a:lnTo>
                    <a:pt x="2323350" y="609994"/>
                  </a:lnTo>
                  <a:lnTo>
                    <a:pt x="2323401" y="611988"/>
                  </a:lnTo>
                  <a:lnTo>
                    <a:pt x="2323401" y="613321"/>
                  </a:lnTo>
                  <a:lnTo>
                    <a:pt x="2323452" y="613969"/>
                  </a:lnTo>
                  <a:lnTo>
                    <a:pt x="2323452" y="615899"/>
                  </a:lnTo>
                  <a:lnTo>
                    <a:pt x="2323553" y="616547"/>
                  </a:lnTo>
                  <a:lnTo>
                    <a:pt x="2323591" y="617881"/>
                  </a:lnTo>
                  <a:lnTo>
                    <a:pt x="2323693" y="617881"/>
                  </a:lnTo>
                  <a:lnTo>
                    <a:pt x="2323693" y="619125"/>
                  </a:lnTo>
                  <a:lnTo>
                    <a:pt x="2323795" y="619773"/>
                  </a:lnTo>
                  <a:lnTo>
                    <a:pt x="2323846" y="619125"/>
                  </a:lnTo>
                  <a:lnTo>
                    <a:pt x="2323896" y="617881"/>
                  </a:lnTo>
                  <a:lnTo>
                    <a:pt x="2323896" y="617195"/>
                  </a:lnTo>
                  <a:lnTo>
                    <a:pt x="2323998" y="616547"/>
                  </a:lnTo>
                  <a:lnTo>
                    <a:pt x="2323998" y="615899"/>
                  </a:lnTo>
                  <a:lnTo>
                    <a:pt x="2324049" y="615252"/>
                  </a:lnTo>
                  <a:lnTo>
                    <a:pt x="2324049" y="613969"/>
                  </a:lnTo>
                  <a:lnTo>
                    <a:pt x="2324100" y="613969"/>
                  </a:lnTo>
                  <a:lnTo>
                    <a:pt x="2324138" y="613321"/>
                  </a:lnTo>
                  <a:lnTo>
                    <a:pt x="2324239" y="612673"/>
                  </a:lnTo>
                  <a:lnTo>
                    <a:pt x="2324239" y="611988"/>
                  </a:lnTo>
                  <a:lnTo>
                    <a:pt x="2324290" y="610692"/>
                  </a:lnTo>
                  <a:lnTo>
                    <a:pt x="2324290" y="609994"/>
                  </a:lnTo>
                  <a:lnTo>
                    <a:pt x="2324341" y="609994"/>
                  </a:lnTo>
                  <a:lnTo>
                    <a:pt x="2324341" y="609359"/>
                  </a:lnTo>
                  <a:lnTo>
                    <a:pt x="2324442" y="608762"/>
                  </a:lnTo>
                  <a:lnTo>
                    <a:pt x="2324442" y="606768"/>
                  </a:lnTo>
                  <a:lnTo>
                    <a:pt x="2324493" y="605485"/>
                  </a:lnTo>
                  <a:lnTo>
                    <a:pt x="2324544" y="602907"/>
                  </a:lnTo>
                  <a:lnTo>
                    <a:pt x="2324544" y="601561"/>
                  </a:lnTo>
                  <a:lnTo>
                    <a:pt x="2324595" y="599580"/>
                  </a:lnTo>
                  <a:lnTo>
                    <a:pt x="2324595" y="598335"/>
                  </a:lnTo>
                  <a:lnTo>
                    <a:pt x="2324684" y="596354"/>
                  </a:lnTo>
                  <a:lnTo>
                    <a:pt x="2324684" y="595021"/>
                  </a:lnTo>
                  <a:lnTo>
                    <a:pt x="2324735" y="595021"/>
                  </a:lnTo>
                  <a:lnTo>
                    <a:pt x="2324785" y="593725"/>
                  </a:lnTo>
                  <a:lnTo>
                    <a:pt x="2324836" y="594373"/>
                  </a:lnTo>
                  <a:lnTo>
                    <a:pt x="2324938" y="595706"/>
                  </a:lnTo>
                  <a:lnTo>
                    <a:pt x="2324988" y="595706"/>
                  </a:lnTo>
                  <a:lnTo>
                    <a:pt x="2324988" y="595021"/>
                  </a:lnTo>
                  <a:lnTo>
                    <a:pt x="2325039" y="593725"/>
                  </a:lnTo>
                  <a:lnTo>
                    <a:pt x="2325141" y="592442"/>
                  </a:lnTo>
                  <a:lnTo>
                    <a:pt x="2325141" y="591147"/>
                  </a:lnTo>
                  <a:lnTo>
                    <a:pt x="2325179" y="590499"/>
                  </a:lnTo>
                  <a:lnTo>
                    <a:pt x="2325179" y="591147"/>
                  </a:lnTo>
                  <a:lnTo>
                    <a:pt x="2325230" y="590499"/>
                  </a:lnTo>
                  <a:lnTo>
                    <a:pt x="2325230" y="591147"/>
                  </a:lnTo>
                  <a:lnTo>
                    <a:pt x="2325281" y="591147"/>
                  </a:lnTo>
                  <a:lnTo>
                    <a:pt x="2325281" y="589166"/>
                  </a:lnTo>
                  <a:lnTo>
                    <a:pt x="2325382" y="588569"/>
                  </a:lnTo>
                  <a:lnTo>
                    <a:pt x="2325433" y="587921"/>
                  </a:lnTo>
                  <a:lnTo>
                    <a:pt x="2325433" y="588569"/>
                  </a:lnTo>
                  <a:lnTo>
                    <a:pt x="2325484" y="589166"/>
                  </a:lnTo>
                  <a:lnTo>
                    <a:pt x="2325484" y="591147"/>
                  </a:lnTo>
                  <a:lnTo>
                    <a:pt x="2325585" y="591795"/>
                  </a:lnTo>
                  <a:lnTo>
                    <a:pt x="2325585" y="590499"/>
                  </a:lnTo>
                  <a:lnTo>
                    <a:pt x="2325636" y="586588"/>
                  </a:lnTo>
                  <a:lnTo>
                    <a:pt x="2325636" y="580733"/>
                  </a:lnTo>
                  <a:lnTo>
                    <a:pt x="2325687" y="574180"/>
                  </a:lnTo>
                  <a:lnTo>
                    <a:pt x="2325725" y="569621"/>
                  </a:lnTo>
                  <a:lnTo>
                    <a:pt x="2325725" y="567042"/>
                  </a:lnTo>
                  <a:lnTo>
                    <a:pt x="2325827" y="567627"/>
                  </a:lnTo>
                  <a:lnTo>
                    <a:pt x="2325827" y="569621"/>
                  </a:lnTo>
                  <a:lnTo>
                    <a:pt x="2325878" y="570954"/>
                  </a:lnTo>
                  <a:lnTo>
                    <a:pt x="2325878" y="573532"/>
                  </a:lnTo>
                  <a:lnTo>
                    <a:pt x="2325928" y="576161"/>
                  </a:lnTo>
                  <a:lnTo>
                    <a:pt x="2325928" y="579387"/>
                  </a:lnTo>
                  <a:lnTo>
                    <a:pt x="2326030" y="581368"/>
                  </a:lnTo>
                  <a:lnTo>
                    <a:pt x="2326081" y="583959"/>
                  </a:lnTo>
                  <a:lnTo>
                    <a:pt x="2326081" y="585242"/>
                  </a:lnTo>
                  <a:lnTo>
                    <a:pt x="2326131" y="587921"/>
                  </a:lnTo>
                  <a:lnTo>
                    <a:pt x="2326131" y="590499"/>
                  </a:lnTo>
                  <a:lnTo>
                    <a:pt x="2326182" y="591795"/>
                  </a:lnTo>
                  <a:lnTo>
                    <a:pt x="2326271" y="590499"/>
                  </a:lnTo>
                  <a:lnTo>
                    <a:pt x="2326322" y="587921"/>
                  </a:lnTo>
                  <a:lnTo>
                    <a:pt x="2326322" y="587223"/>
                  </a:lnTo>
                  <a:lnTo>
                    <a:pt x="2326373" y="588569"/>
                  </a:lnTo>
                  <a:lnTo>
                    <a:pt x="2326424" y="589166"/>
                  </a:lnTo>
                  <a:lnTo>
                    <a:pt x="2326424" y="588569"/>
                  </a:lnTo>
                  <a:lnTo>
                    <a:pt x="2326525" y="588569"/>
                  </a:lnTo>
                  <a:lnTo>
                    <a:pt x="2326525" y="586588"/>
                  </a:lnTo>
                  <a:lnTo>
                    <a:pt x="2326576" y="583959"/>
                  </a:lnTo>
                  <a:lnTo>
                    <a:pt x="2326627" y="580034"/>
                  </a:lnTo>
                  <a:lnTo>
                    <a:pt x="2326627" y="574180"/>
                  </a:lnTo>
                  <a:lnTo>
                    <a:pt x="2326728" y="568973"/>
                  </a:lnTo>
                  <a:lnTo>
                    <a:pt x="2326728" y="563169"/>
                  </a:lnTo>
                  <a:lnTo>
                    <a:pt x="2326766" y="558559"/>
                  </a:lnTo>
                  <a:lnTo>
                    <a:pt x="2326817" y="563169"/>
                  </a:lnTo>
                  <a:lnTo>
                    <a:pt x="2326817" y="568973"/>
                  </a:lnTo>
                  <a:lnTo>
                    <a:pt x="2326868" y="576161"/>
                  </a:lnTo>
                  <a:lnTo>
                    <a:pt x="2326970" y="581368"/>
                  </a:lnTo>
                  <a:lnTo>
                    <a:pt x="2326970" y="587223"/>
                  </a:lnTo>
                  <a:lnTo>
                    <a:pt x="2327021" y="590499"/>
                  </a:lnTo>
                  <a:lnTo>
                    <a:pt x="2327021" y="591147"/>
                  </a:lnTo>
                  <a:lnTo>
                    <a:pt x="2327071" y="589166"/>
                  </a:lnTo>
                  <a:lnTo>
                    <a:pt x="2327071" y="587223"/>
                  </a:lnTo>
                  <a:lnTo>
                    <a:pt x="2327173" y="585242"/>
                  </a:lnTo>
                  <a:lnTo>
                    <a:pt x="2327173" y="587223"/>
                  </a:lnTo>
                  <a:lnTo>
                    <a:pt x="2327224" y="588569"/>
                  </a:lnTo>
                  <a:lnTo>
                    <a:pt x="2327275" y="591147"/>
                  </a:lnTo>
                  <a:lnTo>
                    <a:pt x="2327275" y="592442"/>
                  </a:lnTo>
                  <a:lnTo>
                    <a:pt x="2327313" y="594373"/>
                  </a:lnTo>
                  <a:lnTo>
                    <a:pt x="2327414" y="594373"/>
                  </a:lnTo>
                  <a:lnTo>
                    <a:pt x="2327414" y="593725"/>
                  </a:lnTo>
                  <a:lnTo>
                    <a:pt x="2327516" y="588569"/>
                  </a:lnTo>
                  <a:lnTo>
                    <a:pt x="2327516" y="587223"/>
                  </a:lnTo>
                  <a:lnTo>
                    <a:pt x="2327617" y="585242"/>
                  </a:lnTo>
                  <a:lnTo>
                    <a:pt x="2327668" y="586588"/>
                  </a:lnTo>
                  <a:lnTo>
                    <a:pt x="2327668" y="587223"/>
                  </a:lnTo>
                  <a:lnTo>
                    <a:pt x="2327719" y="589166"/>
                  </a:lnTo>
                  <a:lnTo>
                    <a:pt x="2327719" y="591147"/>
                  </a:lnTo>
                  <a:lnTo>
                    <a:pt x="2327770" y="592442"/>
                  </a:lnTo>
                  <a:lnTo>
                    <a:pt x="2327859" y="594373"/>
                  </a:lnTo>
                  <a:lnTo>
                    <a:pt x="2327859" y="595706"/>
                  </a:lnTo>
                  <a:lnTo>
                    <a:pt x="2327910" y="597649"/>
                  </a:lnTo>
                  <a:lnTo>
                    <a:pt x="2327910" y="598932"/>
                  </a:lnTo>
                  <a:lnTo>
                    <a:pt x="2327960" y="600926"/>
                  </a:lnTo>
                  <a:lnTo>
                    <a:pt x="2327960" y="602209"/>
                  </a:lnTo>
                  <a:lnTo>
                    <a:pt x="2328011" y="602209"/>
                  </a:lnTo>
                  <a:lnTo>
                    <a:pt x="2328011" y="602907"/>
                  </a:lnTo>
                  <a:lnTo>
                    <a:pt x="2328113" y="602907"/>
                  </a:lnTo>
                  <a:lnTo>
                    <a:pt x="2328163" y="602209"/>
                  </a:lnTo>
                  <a:lnTo>
                    <a:pt x="2328214" y="601561"/>
                  </a:lnTo>
                  <a:lnTo>
                    <a:pt x="2328316" y="600926"/>
                  </a:lnTo>
                  <a:lnTo>
                    <a:pt x="2328354" y="599580"/>
                  </a:lnTo>
                  <a:lnTo>
                    <a:pt x="2328354" y="598335"/>
                  </a:lnTo>
                  <a:lnTo>
                    <a:pt x="2328405" y="597649"/>
                  </a:lnTo>
                  <a:lnTo>
                    <a:pt x="2328456" y="595021"/>
                  </a:lnTo>
                  <a:lnTo>
                    <a:pt x="2328456" y="592442"/>
                  </a:lnTo>
                  <a:lnTo>
                    <a:pt x="2328557" y="590499"/>
                  </a:lnTo>
                  <a:lnTo>
                    <a:pt x="2328557" y="586588"/>
                  </a:lnTo>
                  <a:lnTo>
                    <a:pt x="2328608" y="583362"/>
                  </a:lnTo>
                  <a:lnTo>
                    <a:pt x="2328608" y="580034"/>
                  </a:lnTo>
                  <a:lnTo>
                    <a:pt x="2328659" y="576809"/>
                  </a:lnTo>
                  <a:lnTo>
                    <a:pt x="2328659" y="574827"/>
                  </a:lnTo>
                  <a:lnTo>
                    <a:pt x="2328760" y="573532"/>
                  </a:lnTo>
                  <a:lnTo>
                    <a:pt x="2328811" y="572846"/>
                  </a:lnTo>
                  <a:lnTo>
                    <a:pt x="2328862" y="572846"/>
                  </a:lnTo>
                  <a:lnTo>
                    <a:pt x="2328900" y="572249"/>
                  </a:lnTo>
                  <a:lnTo>
                    <a:pt x="2329053" y="572249"/>
                  </a:lnTo>
                  <a:lnTo>
                    <a:pt x="2329053" y="570954"/>
                  </a:lnTo>
                  <a:lnTo>
                    <a:pt x="2329103" y="570954"/>
                  </a:lnTo>
                  <a:lnTo>
                    <a:pt x="2329103" y="570256"/>
                  </a:lnTo>
                  <a:lnTo>
                    <a:pt x="2329205" y="568973"/>
                  </a:lnTo>
                  <a:lnTo>
                    <a:pt x="2329205" y="567042"/>
                  </a:lnTo>
                  <a:lnTo>
                    <a:pt x="2329256" y="565747"/>
                  </a:lnTo>
                  <a:lnTo>
                    <a:pt x="2329256" y="565048"/>
                  </a:lnTo>
                  <a:lnTo>
                    <a:pt x="2329306" y="563766"/>
                  </a:lnTo>
                  <a:lnTo>
                    <a:pt x="2329357" y="565048"/>
                  </a:lnTo>
                  <a:lnTo>
                    <a:pt x="2329497" y="565048"/>
                  </a:lnTo>
                  <a:lnTo>
                    <a:pt x="2329548" y="563766"/>
                  </a:lnTo>
                  <a:lnTo>
                    <a:pt x="2329700" y="563766"/>
                  </a:lnTo>
                  <a:lnTo>
                    <a:pt x="2329700" y="565048"/>
                  </a:lnTo>
                  <a:lnTo>
                    <a:pt x="2329751" y="565747"/>
                  </a:lnTo>
                  <a:lnTo>
                    <a:pt x="2329751" y="566395"/>
                  </a:lnTo>
                  <a:lnTo>
                    <a:pt x="2329802" y="566395"/>
                  </a:lnTo>
                  <a:lnTo>
                    <a:pt x="2329802" y="567042"/>
                  </a:lnTo>
                  <a:lnTo>
                    <a:pt x="2329941" y="567042"/>
                  </a:lnTo>
                  <a:lnTo>
                    <a:pt x="2329992" y="567627"/>
                  </a:lnTo>
                  <a:lnTo>
                    <a:pt x="2329992" y="568973"/>
                  </a:lnTo>
                  <a:lnTo>
                    <a:pt x="2330043" y="570256"/>
                  </a:lnTo>
                  <a:lnTo>
                    <a:pt x="2330043" y="572249"/>
                  </a:lnTo>
                  <a:lnTo>
                    <a:pt x="2330145" y="572846"/>
                  </a:lnTo>
                  <a:lnTo>
                    <a:pt x="2330145" y="573532"/>
                  </a:lnTo>
                  <a:lnTo>
                    <a:pt x="2330196" y="572846"/>
                  </a:lnTo>
                  <a:lnTo>
                    <a:pt x="2330196" y="570954"/>
                  </a:lnTo>
                  <a:lnTo>
                    <a:pt x="2330246" y="570954"/>
                  </a:lnTo>
                  <a:lnTo>
                    <a:pt x="2330348" y="569621"/>
                  </a:lnTo>
                  <a:lnTo>
                    <a:pt x="2330488" y="569621"/>
                  </a:lnTo>
                  <a:lnTo>
                    <a:pt x="2330589" y="570256"/>
                  </a:lnTo>
                  <a:lnTo>
                    <a:pt x="2330589" y="569621"/>
                  </a:lnTo>
                  <a:lnTo>
                    <a:pt x="2330640" y="570256"/>
                  </a:lnTo>
                  <a:lnTo>
                    <a:pt x="2330691" y="570256"/>
                  </a:lnTo>
                  <a:lnTo>
                    <a:pt x="2330691" y="570954"/>
                  </a:lnTo>
                  <a:lnTo>
                    <a:pt x="2330792" y="572249"/>
                  </a:lnTo>
                  <a:lnTo>
                    <a:pt x="2330792" y="572846"/>
                  </a:lnTo>
                  <a:lnTo>
                    <a:pt x="2330843" y="573532"/>
                  </a:lnTo>
                  <a:lnTo>
                    <a:pt x="2330894" y="573532"/>
                  </a:lnTo>
                  <a:lnTo>
                    <a:pt x="2330894" y="574180"/>
                  </a:lnTo>
                  <a:lnTo>
                    <a:pt x="2330945" y="574180"/>
                  </a:lnTo>
                  <a:lnTo>
                    <a:pt x="2330945" y="574827"/>
                  </a:lnTo>
                  <a:lnTo>
                    <a:pt x="2331034" y="574827"/>
                  </a:lnTo>
                  <a:lnTo>
                    <a:pt x="2331085" y="576161"/>
                  </a:lnTo>
                  <a:lnTo>
                    <a:pt x="2331288" y="576161"/>
                  </a:lnTo>
                  <a:lnTo>
                    <a:pt x="2331288" y="574827"/>
                  </a:lnTo>
                  <a:lnTo>
                    <a:pt x="2331338" y="574827"/>
                  </a:lnTo>
                  <a:lnTo>
                    <a:pt x="2331338" y="574180"/>
                  </a:lnTo>
                  <a:lnTo>
                    <a:pt x="2331389" y="574180"/>
                  </a:lnTo>
                  <a:lnTo>
                    <a:pt x="2331491" y="574827"/>
                  </a:lnTo>
                  <a:lnTo>
                    <a:pt x="2331529" y="574827"/>
                  </a:lnTo>
                  <a:lnTo>
                    <a:pt x="2331529" y="576161"/>
                  </a:lnTo>
                  <a:lnTo>
                    <a:pt x="2331631" y="576161"/>
                  </a:lnTo>
                  <a:lnTo>
                    <a:pt x="2331631" y="574827"/>
                  </a:lnTo>
                  <a:lnTo>
                    <a:pt x="2331783" y="574827"/>
                  </a:lnTo>
                  <a:lnTo>
                    <a:pt x="2331834" y="576161"/>
                  </a:lnTo>
                  <a:lnTo>
                    <a:pt x="2331935" y="576809"/>
                  </a:lnTo>
                  <a:lnTo>
                    <a:pt x="2331935" y="577456"/>
                  </a:lnTo>
                  <a:lnTo>
                    <a:pt x="2331986" y="578155"/>
                  </a:lnTo>
                  <a:lnTo>
                    <a:pt x="2331986" y="579387"/>
                  </a:lnTo>
                  <a:lnTo>
                    <a:pt x="2332037" y="580034"/>
                  </a:lnTo>
                  <a:lnTo>
                    <a:pt x="2332278" y="580034"/>
                  </a:lnTo>
                  <a:lnTo>
                    <a:pt x="2332380" y="580733"/>
                  </a:lnTo>
                  <a:lnTo>
                    <a:pt x="2332431" y="580733"/>
                  </a:lnTo>
                  <a:lnTo>
                    <a:pt x="2332431" y="580034"/>
                  </a:lnTo>
                  <a:lnTo>
                    <a:pt x="2332481" y="578155"/>
                  </a:lnTo>
                  <a:lnTo>
                    <a:pt x="2332481" y="577456"/>
                  </a:lnTo>
                  <a:lnTo>
                    <a:pt x="2332532" y="577456"/>
                  </a:lnTo>
                  <a:lnTo>
                    <a:pt x="2332532" y="576161"/>
                  </a:lnTo>
                  <a:lnTo>
                    <a:pt x="2332621" y="574827"/>
                  </a:lnTo>
                  <a:lnTo>
                    <a:pt x="2332621" y="574180"/>
                  </a:lnTo>
                  <a:lnTo>
                    <a:pt x="2332672" y="573532"/>
                  </a:lnTo>
                  <a:lnTo>
                    <a:pt x="2332723" y="572846"/>
                  </a:lnTo>
                  <a:lnTo>
                    <a:pt x="2332723" y="572249"/>
                  </a:lnTo>
                  <a:lnTo>
                    <a:pt x="2332774" y="570256"/>
                  </a:lnTo>
                  <a:lnTo>
                    <a:pt x="2332774" y="568973"/>
                  </a:lnTo>
                  <a:lnTo>
                    <a:pt x="2332875" y="569621"/>
                  </a:lnTo>
                  <a:lnTo>
                    <a:pt x="2332926" y="569621"/>
                  </a:lnTo>
                  <a:lnTo>
                    <a:pt x="2332977" y="568973"/>
                  </a:lnTo>
                  <a:lnTo>
                    <a:pt x="2333078" y="567042"/>
                  </a:lnTo>
                  <a:lnTo>
                    <a:pt x="2333078" y="565747"/>
                  </a:lnTo>
                  <a:lnTo>
                    <a:pt x="2333116" y="563766"/>
                  </a:lnTo>
                  <a:lnTo>
                    <a:pt x="2333116" y="562420"/>
                  </a:lnTo>
                  <a:lnTo>
                    <a:pt x="2333167" y="561823"/>
                  </a:lnTo>
                  <a:lnTo>
                    <a:pt x="2333167" y="561188"/>
                  </a:lnTo>
                  <a:lnTo>
                    <a:pt x="2333218" y="559842"/>
                  </a:lnTo>
                  <a:lnTo>
                    <a:pt x="2333320" y="559842"/>
                  </a:lnTo>
                  <a:lnTo>
                    <a:pt x="2333320" y="561188"/>
                  </a:lnTo>
                  <a:lnTo>
                    <a:pt x="2333371" y="559842"/>
                  </a:lnTo>
                  <a:lnTo>
                    <a:pt x="2333371" y="558559"/>
                  </a:lnTo>
                  <a:lnTo>
                    <a:pt x="2333421" y="557860"/>
                  </a:lnTo>
                  <a:lnTo>
                    <a:pt x="2333421" y="555282"/>
                  </a:lnTo>
                  <a:lnTo>
                    <a:pt x="2333523" y="553987"/>
                  </a:lnTo>
                  <a:lnTo>
                    <a:pt x="2333523" y="552056"/>
                  </a:lnTo>
                  <a:lnTo>
                    <a:pt x="2333574" y="550761"/>
                  </a:lnTo>
                  <a:lnTo>
                    <a:pt x="2333625" y="549427"/>
                  </a:lnTo>
                  <a:lnTo>
                    <a:pt x="2333625" y="548780"/>
                  </a:lnTo>
                  <a:lnTo>
                    <a:pt x="2333663" y="548780"/>
                  </a:lnTo>
                  <a:lnTo>
                    <a:pt x="2333663" y="548081"/>
                  </a:lnTo>
                  <a:lnTo>
                    <a:pt x="2333764" y="546849"/>
                  </a:lnTo>
                  <a:lnTo>
                    <a:pt x="2333764" y="544856"/>
                  </a:lnTo>
                  <a:lnTo>
                    <a:pt x="2333815" y="543573"/>
                  </a:lnTo>
                  <a:lnTo>
                    <a:pt x="2333815" y="541642"/>
                  </a:lnTo>
                  <a:lnTo>
                    <a:pt x="2333866" y="540995"/>
                  </a:lnTo>
                  <a:lnTo>
                    <a:pt x="2333967" y="539648"/>
                  </a:lnTo>
                  <a:lnTo>
                    <a:pt x="2333967" y="537667"/>
                  </a:lnTo>
                  <a:lnTo>
                    <a:pt x="2334018" y="536423"/>
                  </a:lnTo>
                  <a:lnTo>
                    <a:pt x="2334018" y="533794"/>
                  </a:lnTo>
                  <a:lnTo>
                    <a:pt x="2334069" y="531216"/>
                  </a:lnTo>
                  <a:lnTo>
                    <a:pt x="2334069" y="529234"/>
                  </a:lnTo>
                  <a:lnTo>
                    <a:pt x="2334120" y="526009"/>
                  </a:lnTo>
                  <a:lnTo>
                    <a:pt x="2334120" y="523329"/>
                  </a:lnTo>
                  <a:lnTo>
                    <a:pt x="2334209" y="520700"/>
                  </a:lnTo>
                  <a:lnTo>
                    <a:pt x="2334260" y="519456"/>
                  </a:lnTo>
                  <a:lnTo>
                    <a:pt x="2334260" y="516827"/>
                  </a:lnTo>
                  <a:lnTo>
                    <a:pt x="2334310" y="513613"/>
                  </a:lnTo>
                  <a:lnTo>
                    <a:pt x="2334310" y="511620"/>
                  </a:lnTo>
                  <a:lnTo>
                    <a:pt x="2334361" y="508343"/>
                  </a:lnTo>
                  <a:lnTo>
                    <a:pt x="2334361" y="505130"/>
                  </a:lnTo>
                  <a:lnTo>
                    <a:pt x="2334463" y="501853"/>
                  </a:lnTo>
                  <a:lnTo>
                    <a:pt x="2334463" y="499275"/>
                  </a:lnTo>
                  <a:lnTo>
                    <a:pt x="2334513" y="496646"/>
                  </a:lnTo>
                  <a:lnTo>
                    <a:pt x="2334564" y="493370"/>
                  </a:lnTo>
                  <a:lnTo>
                    <a:pt x="2334564" y="490144"/>
                  </a:lnTo>
                  <a:lnTo>
                    <a:pt x="2334666" y="486867"/>
                  </a:lnTo>
                  <a:lnTo>
                    <a:pt x="2334666" y="483591"/>
                  </a:lnTo>
                  <a:lnTo>
                    <a:pt x="2334704" y="479730"/>
                  </a:lnTo>
                  <a:lnTo>
                    <a:pt x="2334704" y="475755"/>
                  </a:lnTo>
                  <a:lnTo>
                    <a:pt x="2334755" y="471881"/>
                  </a:lnTo>
                  <a:lnTo>
                    <a:pt x="2334806" y="467970"/>
                  </a:lnTo>
                  <a:lnTo>
                    <a:pt x="2334806" y="463995"/>
                  </a:lnTo>
                  <a:lnTo>
                    <a:pt x="2334907" y="458788"/>
                  </a:lnTo>
                  <a:lnTo>
                    <a:pt x="2334907" y="454914"/>
                  </a:lnTo>
                  <a:lnTo>
                    <a:pt x="2334958" y="450355"/>
                  </a:lnTo>
                  <a:lnTo>
                    <a:pt x="2334958" y="446431"/>
                  </a:lnTo>
                  <a:lnTo>
                    <a:pt x="2335009" y="441223"/>
                  </a:lnTo>
                  <a:lnTo>
                    <a:pt x="2335009" y="436664"/>
                  </a:lnTo>
                  <a:lnTo>
                    <a:pt x="2335110" y="430809"/>
                  </a:lnTo>
                  <a:lnTo>
                    <a:pt x="2335161" y="425602"/>
                  </a:lnTo>
                  <a:lnTo>
                    <a:pt x="2335161" y="421031"/>
                  </a:lnTo>
                  <a:lnTo>
                    <a:pt x="2335212" y="415823"/>
                  </a:lnTo>
                  <a:lnTo>
                    <a:pt x="2335212" y="411264"/>
                  </a:lnTo>
                  <a:lnTo>
                    <a:pt x="2335250" y="407391"/>
                  </a:lnTo>
                  <a:lnTo>
                    <a:pt x="2335250" y="402831"/>
                  </a:lnTo>
                  <a:lnTo>
                    <a:pt x="2335352" y="398221"/>
                  </a:lnTo>
                  <a:lnTo>
                    <a:pt x="2335352" y="394297"/>
                  </a:lnTo>
                  <a:lnTo>
                    <a:pt x="2335403" y="390423"/>
                  </a:lnTo>
                  <a:lnTo>
                    <a:pt x="2335453" y="386512"/>
                  </a:lnTo>
                  <a:lnTo>
                    <a:pt x="2335453" y="382588"/>
                  </a:lnTo>
                  <a:lnTo>
                    <a:pt x="2335555" y="378676"/>
                  </a:lnTo>
                  <a:lnTo>
                    <a:pt x="2335555" y="374752"/>
                  </a:lnTo>
                  <a:lnTo>
                    <a:pt x="2335606" y="371475"/>
                  </a:lnTo>
                  <a:lnTo>
                    <a:pt x="2335606" y="368249"/>
                  </a:lnTo>
                  <a:lnTo>
                    <a:pt x="2335656" y="364973"/>
                  </a:lnTo>
                  <a:lnTo>
                    <a:pt x="2335656" y="361709"/>
                  </a:lnTo>
                  <a:lnTo>
                    <a:pt x="2335707" y="358483"/>
                  </a:lnTo>
                  <a:lnTo>
                    <a:pt x="2335796" y="355257"/>
                  </a:lnTo>
                  <a:lnTo>
                    <a:pt x="2335796" y="352577"/>
                  </a:lnTo>
                  <a:lnTo>
                    <a:pt x="2335847" y="349352"/>
                  </a:lnTo>
                  <a:lnTo>
                    <a:pt x="2335847" y="346075"/>
                  </a:lnTo>
                  <a:lnTo>
                    <a:pt x="2335898" y="342849"/>
                  </a:lnTo>
                  <a:lnTo>
                    <a:pt x="2335898" y="340170"/>
                  </a:lnTo>
                  <a:lnTo>
                    <a:pt x="2335949" y="338938"/>
                  </a:lnTo>
                  <a:lnTo>
                    <a:pt x="2336050" y="336309"/>
                  </a:lnTo>
                  <a:lnTo>
                    <a:pt x="2336050" y="334963"/>
                  </a:lnTo>
                  <a:lnTo>
                    <a:pt x="2336101" y="333083"/>
                  </a:lnTo>
                  <a:lnTo>
                    <a:pt x="2336101" y="331737"/>
                  </a:lnTo>
                  <a:lnTo>
                    <a:pt x="2336152" y="329806"/>
                  </a:lnTo>
                  <a:lnTo>
                    <a:pt x="2336152" y="327825"/>
                  </a:lnTo>
                  <a:lnTo>
                    <a:pt x="2336253" y="325196"/>
                  </a:lnTo>
                  <a:lnTo>
                    <a:pt x="2336253" y="322605"/>
                  </a:lnTo>
                  <a:lnTo>
                    <a:pt x="2336291" y="320675"/>
                  </a:lnTo>
                  <a:lnTo>
                    <a:pt x="2336342" y="318097"/>
                  </a:lnTo>
                  <a:lnTo>
                    <a:pt x="2336342" y="315417"/>
                  </a:lnTo>
                  <a:lnTo>
                    <a:pt x="2336393" y="313538"/>
                  </a:lnTo>
                  <a:lnTo>
                    <a:pt x="2336393" y="310909"/>
                  </a:lnTo>
                  <a:lnTo>
                    <a:pt x="2336495" y="308318"/>
                  </a:lnTo>
                  <a:lnTo>
                    <a:pt x="2336495" y="306984"/>
                  </a:lnTo>
                  <a:lnTo>
                    <a:pt x="2336546" y="306337"/>
                  </a:lnTo>
                  <a:lnTo>
                    <a:pt x="2336546" y="304406"/>
                  </a:lnTo>
                  <a:lnTo>
                    <a:pt x="2336596" y="303060"/>
                  </a:lnTo>
                  <a:lnTo>
                    <a:pt x="2336698" y="302425"/>
                  </a:lnTo>
                  <a:lnTo>
                    <a:pt x="2336698" y="301130"/>
                  </a:lnTo>
                  <a:lnTo>
                    <a:pt x="2336749" y="300431"/>
                  </a:lnTo>
                  <a:lnTo>
                    <a:pt x="2336749" y="299199"/>
                  </a:lnTo>
                  <a:lnTo>
                    <a:pt x="2336800" y="297205"/>
                  </a:lnTo>
                  <a:lnTo>
                    <a:pt x="2336800" y="295224"/>
                  </a:lnTo>
                  <a:lnTo>
                    <a:pt x="2336838" y="293294"/>
                  </a:lnTo>
                  <a:lnTo>
                    <a:pt x="2336838" y="291999"/>
                  </a:lnTo>
                  <a:lnTo>
                    <a:pt x="2336939" y="290017"/>
                  </a:lnTo>
                  <a:lnTo>
                    <a:pt x="2336990" y="288773"/>
                  </a:lnTo>
                  <a:lnTo>
                    <a:pt x="2336990" y="286792"/>
                  </a:lnTo>
                  <a:lnTo>
                    <a:pt x="2337041" y="285458"/>
                  </a:lnTo>
                  <a:lnTo>
                    <a:pt x="2337041" y="284810"/>
                  </a:lnTo>
                  <a:lnTo>
                    <a:pt x="2337142" y="284163"/>
                  </a:lnTo>
                  <a:lnTo>
                    <a:pt x="2337142" y="282232"/>
                  </a:lnTo>
                  <a:lnTo>
                    <a:pt x="2337193" y="281584"/>
                  </a:lnTo>
                  <a:lnTo>
                    <a:pt x="2337193" y="280886"/>
                  </a:lnTo>
                  <a:lnTo>
                    <a:pt x="2337244" y="279603"/>
                  </a:lnTo>
                  <a:lnTo>
                    <a:pt x="2337295" y="279006"/>
                  </a:lnTo>
                  <a:lnTo>
                    <a:pt x="2337295" y="277660"/>
                  </a:lnTo>
                  <a:lnTo>
                    <a:pt x="2337384" y="277025"/>
                  </a:lnTo>
                  <a:lnTo>
                    <a:pt x="2337384" y="275031"/>
                  </a:lnTo>
                  <a:lnTo>
                    <a:pt x="2337435" y="274396"/>
                  </a:lnTo>
                  <a:lnTo>
                    <a:pt x="2337435" y="273799"/>
                  </a:lnTo>
                  <a:lnTo>
                    <a:pt x="2337485" y="273799"/>
                  </a:lnTo>
                  <a:lnTo>
                    <a:pt x="2337536" y="272453"/>
                  </a:lnTo>
                  <a:lnTo>
                    <a:pt x="2337536" y="271805"/>
                  </a:lnTo>
                  <a:lnTo>
                    <a:pt x="2337638" y="271805"/>
                  </a:lnTo>
                  <a:lnTo>
                    <a:pt x="2337638" y="271170"/>
                  </a:lnTo>
                  <a:lnTo>
                    <a:pt x="2337688" y="271170"/>
                  </a:lnTo>
                  <a:lnTo>
                    <a:pt x="2337739" y="270472"/>
                  </a:lnTo>
                  <a:lnTo>
                    <a:pt x="2337739" y="269824"/>
                  </a:lnTo>
                  <a:lnTo>
                    <a:pt x="2337879" y="269824"/>
                  </a:lnTo>
                  <a:lnTo>
                    <a:pt x="2337879" y="268491"/>
                  </a:lnTo>
                  <a:lnTo>
                    <a:pt x="2337930" y="267894"/>
                  </a:lnTo>
                  <a:lnTo>
                    <a:pt x="2337981" y="266599"/>
                  </a:lnTo>
                  <a:lnTo>
                    <a:pt x="2338082" y="265913"/>
                  </a:lnTo>
                  <a:lnTo>
                    <a:pt x="2338082" y="264617"/>
                  </a:lnTo>
                  <a:lnTo>
                    <a:pt x="2338133" y="263970"/>
                  </a:lnTo>
                  <a:lnTo>
                    <a:pt x="2338184" y="263970"/>
                  </a:lnTo>
                  <a:lnTo>
                    <a:pt x="2338184" y="263284"/>
                  </a:lnTo>
                  <a:lnTo>
                    <a:pt x="2338285" y="262687"/>
                  </a:lnTo>
                  <a:lnTo>
                    <a:pt x="2338527" y="262687"/>
                  </a:lnTo>
                  <a:lnTo>
                    <a:pt x="2338527" y="261392"/>
                  </a:lnTo>
                  <a:lnTo>
                    <a:pt x="2338578" y="261392"/>
                  </a:lnTo>
                  <a:lnTo>
                    <a:pt x="2338578" y="260693"/>
                  </a:lnTo>
                  <a:lnTo>
                    <a:pt x="2338628" y="260058"/>
                  </a:lnTo>
                  <a:lnTo>
                    <a:pt x="2338628" y="259410"/>
                  </a:lnTo>
                  <a:lnTo>
                    <a:pt x="2338730" y="259410"/>
                  </a:lnTo>
                  <a:lnTo>
                    <a:pt x="2338730" y="258763"/>
                  </a:lnTo>
                  <a:lnTo>
                    <a:pt x="2338831" y="258763"/>
                  </a:lnTo>
                  <a:lnTo>
                    <a:pt x="2338831" y="257480"/>
                  </a:lnTo>
                  <a:lnTo>
                    <a:pt x="2338882" y="257480"/>
                  </a:lnTo>
                  <a:lnTo>
                    <a:pt x="2338971" y="256832"/>
                  </a:lnTo>
                  <a:lnTo>
                    <a:pt x="2339022" y="256134"/>
                  </a:lnTo>
                  <a:lnTo>
                    <a:pt x="2339073" y="255486"/>
                  </a:lnTo>
                  <a:lnTo>
                    <a:pt x="2339124" y="255486"/>
                  </a:lnTo>
                  <a:lnTo>
                    <a:pt x="2339225" y="254203"/>
                  </a:lnTo>
                  <a:lnTo>
                    <a:pt x="2339276" y="254203"/>
                  </a:lnTo>
                  <a:lnTo>
                    <a:pt x="2339276" y="253505"/>
                  </a:lnTo>
                  <a:lnTo>
                    <a:pt x="2339327" y="253505"/>
                  </a:lnTo>
                  <a:lnTo>
                    <a:pt x="2339428" y="252857"/>
                  </a:lnTo>
                  <a:lnTo>
                    <a:pt x="2339428" y="252260"/>
                  </a:lnTo>
                  <a:lnTo>
                    <a:pt x="2339466" y="252260"/>
                  </a:lnTo>
                  <a:lnTo>
                    <a:pt x="2339466" y="251625"/>
                  </a:lnTo>
                  <a:lnTo>
                    <a:pt x="2339517" y="251625"/>
                  </a:lnTo>
                  <a:lnTo>
                    <a:pt x="2339517" y="250279"/>
                  </a:lnTo>
                  <a:lnTo>
                    <a:pt x="2339568" y="250279"/>
                  </a:lnTo>
                  <a:lnTo>
                    <a:pt x="2339670" y="249631"/>
                  </a:lnTo>
                  <a:lnTo>
                    <a:pt x="2339721" y="248996"/>
                  </a:lnTo>
                  <a:lnTo>
                    <a:pt x="2339771" y="248298"/>
                  </a:lnTo>
                  <a:lnTo>
                    <a:pt x="2339771" y="247053"/>
                  </a:lnTo>
                  <a:lnTo>
                    <a:pt x="2339924" y="247053"/>
                  </a:lnTo>
                  <a:lnTo>
                    <a:pt x="2339924" y="246405"/>
                  </a:lnTo>
                  <a:lnTo>
                    <a:pt x="2339975" y="246405"/>
                  </a:lnTo>
                  <a:lnTo>
                    <a:pt x="2340013" y="245720"/>
                  </a:lnTo>
                  <a:lnTo>
                    <a:pt x="2340114" y="245072"/>
                  </a:lnTo>
                  <a:lnTo>
                    <a:pt x="2340114" y="244424"/>
                  </a:lnTo>
                  <a:lnTo>
                    <a:pt x="2340165" y="244424"/>
                  </a:lnTo>
                  <a:lnTo>
                    <a:pt x="2340165" y="243091"/>
                  </a:lnTo>
                  <a:lnTo>
                    <a:pt x="2340317" y="243091"/>
                  </a:lnTo>
                  <a:lnTo>
                    <a:pt x="2340368" y="242494"/>
                  </a:lnTo>
                  <a:lnTo>
                    <a:pt x="2340419" y="241846"/>
                  </a:lnTo>
                  <a:lnTo>
                    <a:pt x="2340470" y="241148"/>
                  </a:lnTo>
                  <a:lnTo>
                    <a:pt x="2340559" y="241148"/>
                  </a:lnTo>
                  <a:lnTo>
                    <a:pt x="2340610" y="239865"/>
                  </a:lnTo>
                  <a:lnTo>
                    <a:pt x="2340660" y="239217"/>
                  </a:lnTo>
                  <a:lnTo>
                    <a:pt x="2340813" y="239217"/>
                  </a:lnTo>
                  <a:lnTo>
                    <a:pt x="2340813" y="238519"/>
                  </a:lnTo>
                  <a:lnTo>
                    <a:pt x="2340863" y="237884"/>
                  </a:lnTo>
                  <a:lnTo>
                    <a:pt x="2340914" y="237287"/>
                  </a:lnTo>
                  <a:lnTo>
                    <a:pt x="2341016" y="237287"/>
                  </a:lnTo>
                  <a:lnTo>
                    <a:pt x="2341054" y="235941"/>
                  </a:lnTo>
                  <a:lnTo>
                    <a:pt x="2341105" y="235941"/>
                  </a:lnTo>
                  <a:lnTo>
                    <a:pt x="2341105" y="235293"/>
                  </a:lnTo>
                  <a:lnTo>
                    <a:pt x="2341156" y="235293"/>
                  </a:lnTo>
                  <a:lnTo>
                    <a:pt x="2341257" y="234658"/>
                  </a:lnTo>
                  <a:lnTo>
                    <a:pt x="2341257" y="234010"/>
                  </a:lnTo>
                  <a:lnTo>
                    <a:pt x="2341308" y="234010"/>
                  </a:lnTo>
                  <a:lnTo>
                    <a:pt x="2341308" y="232664"/>
                  </a:lnTo>
                  <a:lnTo>
                    <a:pt x="2341460" y="232664"/>
                  </a:lnTo>
                  <a:lnTo>
                    <a:pt x="2341460" y="232080"/>
                  </a:lnTo>
                  <a:lnTo>
                    <a:pt x="2341511" y="231381"/>
                  </a:lnTo>
                  <a:lnTo>
                    <a:pt x="2341600" y="230086"/>
                  </a:lnTo>
                  <a:lnTo>
                    <a:pt x="2341702" y="230086"/>
                  </a:lnTo>
                  <a:lnTo>
                    <a:pt x="2341702" y="228752"/>
                  </a:lnTo>
                  <a:lnTo>
                    <a:pt x="2341803" y="228752"/>
                  </a:lnTo>
                  <a:lnTo>
                    <a:pt x="2341803" y="228105"/>
                  </a:lnTo>
                  <a:lnTo>
                    <a:pt x="2341905" y="228105"/>
                  </a:lnTo>
                  <a:lnTo>
                    <a:pt x="2341905" y="227457"/>
                  </a:lnTo>
                  <a:lnTo>
                    <a:pt x="2342006" y="227457"/>
                  </a:lnTo>
                  <a:lnTo>
                    <a:pt x="2342006" y="226860"/>
                  </a:lnTo>
                  <a:lnTo>
                    <a:pt x="2342146" y="226860"/>
                  </a:lnTo>
                  <a:lnTo>
                    <a:pt x="2342146" y="225527"/>
                  </a:lnTo>
                  <a:lnTo>
                    <a:pt x="2342197" y="224879"/>
                  </a:lnTo>
                  <a:lnTo>
                    <a:pt x="2342197" y="224231"/>
                  </a:lnTo>
                  <a:lnTo>
                    <a:pt x="2342248" y="224231"/>
                  </a:lnTo>
                  <a:lnTo>
                    <a:pt x="2342248" y="223545"/>
                  </a:lnTo>
                  <a:lnTo>
                    <a:pt x="2342299" y="223545"/>
                  </a:lnTo>
                  <a:lnTo>
                    <a:pt x="2342299" y="222898"/>
                  </a:lnTo>
                  <a:lnTo>
                    <a:pt x="2342400" y="222898"/>
                  </a:lnTo>
                  <a:lnTo>
                    <a:pt x="2342451" y="221653"/>
                  </a:lnTo>
                  <a:lnTo>
                    <a:pt x="2342502" y="221653"/>
                  </a:lnTo>
                  <a:lnTo>
                    <a:pt x="2342502" y="220967"/>
                  </a:lnTo>
                  <a:lnTo>
                    <a:pt x="2342603" y="220967"/>
                  </a:lnTo>
                  <a:lnTo>
                    <a:pt x="2342603" y="220320"/>
                  </a:lnTo>
                  <a:lnTo>
                    <a:pt x="2342641" y="220320"/>
                  </a:lnTo>
                  <a:lnTo>
                    <a:pt x="2342641" y="219672"/>
                  </a:lnTo>
                  <a:lnTo>
                    <a:pt x="2342743" y="219672"/>
                  </a:lnTo>
                  <a:lnTo>
                    <a:pt x="2342743" y="218339"/>
                  </a:lnTo>
                  <a:lnTo>
                    <a:pt x="2342845" y="218339"/>
                  </a:lnTo>
                  <a:lnTo>
                    <a:pt x="2342896" y="217691"/>
                  </a:lnTo>
                  <a:lnTo>
                    <a:pt x="2342946" y="217094"/>
                  </a:lnTo>
                  <a:lnTo>
                    <a:pt x="2343048" y="217094"/>
                  </a:lnTo>
                  <a:lnTo>
                    <a:pt x="2343048" y="216345"/>
                  </a:lnTo>
                  <a:lnTo>
                    <a:pt x="2343099" y="216345"/>
                  </a:lnTo>
                  <a:lnTo>
                    <a:pt x="2343150" y="215748"/>
                  </a:lnTo>
                  <a:lnTo>
                    <a:pt x="2343188" y="214465"/>
                  </a:lnTo>
                  <a:lnTo>
                    <a:pt x="2343289" y="214465"/>
                  </a:lnTo>
                  <a:lnTo>
                    <a:pt x="2343340" y="213767"/>
                  </a:lnTo>
                  <a:lnTo>
                    <a:pt x="2343340" y="213119"/>
                  </a:lnTo>
                  <a:lnTo>
                    <a:pt x="2343492" y="213119"/>
                  </a:lnTo>
                  <a:lnTo>
                    <a:pt x="2343492" y="212484"/>
                  </a:lnTo>
                  <a:lnTo>
                    <a:pt x="2343543" y="212484"/>
                  </a:lnTo>
                  <a:lnTo>
                    <a:pt x="2343543" y="211138"/>
                  </a:lnTo>
                  <a:lnTo>
                    <a:pt x="2343734" y="211138"/>
                  </a:lnTo>
                  <a:lnTo>
                    <a:pt x="2343734" y="210541"/>
                  </a:lnTo>
                  <a:lnTo>
                    <a:pt x="2343785" y="210541"/>
                  </a:lnTo>
                  <a:lnTo>
                    <a:pt x="2343886" y="209258"/>
                  </a:lnTo>
                  <a:lnTo>
                    <a:pt x="2343988" y="208559"/>
                  </a:lnTo>
                  <a:lnTo>
                    <a:pt x="2344038" y="208559"/>
                  </a:lnTo>
                  <a:lnTo>
                    <a:pt x="2344089" y="207264"/>
                  </a:lnTo>
                  <a:lnTo>
                    <a:pt x="2344191" y="207264"/>
                  </a:lnTo>
                  <a:lnTo>
                    <a:pt x="2344191" y="206578"/>
                  </a:lnTo>
                  <a:lnTo>
                    <a:pt x="2344229" y="206578"/>
                  </a:lnTo>
                  <a:lnTo>
                    <a:pt x="2344280" y="205981"/>
                  </a:lnTo>
                  <a:lnTo>
                    <a:pt x="2344280" y="205334"/>
                  </a:lnTo>
                  <a:lnTo>
                    <a:pt x="2344331" y="205334"/>
                  </a:lnTo>
                  <a:lnTo>
                    <a:pt x="2344432" y="204000"/>
                  </a:lnTo>
                  <a:lnTo>
                    <a:pt x="2344534" y="204000"/>
                  </a:lnTo>
                  <a:lnTo>
                    <a:pt x="2344635" y="203352"/>
                  </a:lnTo>
                  <a:lnTo>
                    <a:pt x="2344635" y="202705"/>
                  </a:lnTo>
                  <a:lnTo>
                    <a:pt x="2344686" y="202705"/>
                  </a:lnTo>
                  <a:lnTo>
                    <a:pt x="2344686" y="202057"/>
                  </a:lnTo>
                  <a:lnTo>
                    <a:pt x="2344737" y="202057"/>
                  </a:lnTo>
                  <a:lnTo>
                    <a:pt x="2344737" y="201371"/>
                  </a:lnTo>
                  <a:lnTo>
                    <a:pt x="2344877" y="201371"/>
                  </a:lnTo>
                  <a:lnTo>
                    <a:pt x="2344928" y="200127"/>
                  </a:lnTo>
                  <a:lnTo>
                    <a:pt x="2345080" y="200127"/>
                  </a:lnTo>
                  <a:lnTo>
                    <a:pt x="2345080" y="199479"/>
                  </a:lnTo>
                  <a:lnTo>
                    <a:pt x="2345181" y="199479"/>
                  </a:lnTo>
                  <a:lnTo>
                    <a:pt x="2345232" y="198780"/>
                  </a:lnTo>
                  <a:lnTo>
                    <a:pt x="2345232" y="198145"/>
                  </a:lnTo>
                  <a:lnTo>
                    <a:pt x="2345372" y="198145"/>
                  </a:lnTo>
                  <a:lnTo>
                    <a:pt x="2345423" y="197498"/>
                  </a:lnTo>
                  <a:lnTo>
                    <a:pt x="2345474" y="197498"/>
                  </a:lnTo>
                  <a:lnTo>
                    <a:pt x="2345575" y="196152"/>
                  </a:lnTo>
                  <a:lnTo>
                    <a:pt x="2345626" y="195567"/>
                  </a:lnTo>
                  <a:lnTo>
                    <a:pt x="2345677" y="194920"/>
                  </a:lnTo>
                  <a:lnTo>
                    <a:pt x="2345778" y="194920"/>
                  </a:lnTo>
                  <a:lnTo>
                    <a:pt x="2345816" y="194221"/>
                  </a:lnTo>
                  <a:lnTo>
                    <a:pt x="2345816" y="194920"/>
                  </a:lnTo>
                  <a:lnTo>
                    <a:pt x="2345867" y="194221"/>
                  </a:lnTo>
                  <a:lnTo>
                    <a:pt x="2345918" y="192939"/>
                  </a:lnTo>
                  <a:lnTo>
                    <a:pt x="2346020" y="192939"/>
                  </a:lnTo>
                  <a:lnTo>
                    <a:pt x="2346071" y="192291"/>
                  </a:lnTo>
                  <a:lnTo>
                    <a:pt x="2346071" y="192939"/>
                  </a:lnTo>
                  <a:lnTo>
                    <a:pt x="2346121" y="192291"/>
                  </a:lnTo>
                  <a:lnTo>
                    <a:pt x="2346121" y="191592"/>
                  </a:lnTo>
                  <a:lnTo>
                    <a:pt x="2346223" y="191592"/>
                  </a:lnTo>
                  <a:lnTo>
                    <a:pt x="2346274" y="190945"/>
                  </a:lnTo>
                  <a:lnTo>
                    <a:pt x="2346325" y="190945"/>
                  </a:lnTo>
                  <a:lnTo>
                    <a:pt x="2346363" y="190348"/>
                  </a:lnTo>
                  <a:lnTo>
                    <a:pt x="2346363" y="189014"/>
                  </a:lnTo>
                  <a:lnTo>
                    <a:pt x="2346464" y="190348"/>
                  </a:lnTo>
                  <a:lnTo>
                    <a:pt x="2346464" y="189014"/>
                  </a:lnTo>
                  <a:lnTo>
                    <a:pt x="2346566" y="189014"/>
                  </a:lnTo>
                  <a:lnTo>
                    <a:pt x="2346566" y="188367"/>
                  </a:lnTo>
                  <a:lnTo>
                    <a:pt x="2346667" y="188367"/>
                  </a:lnTo>
                  <a:lnTo>
                    <a:pt x="2346718" y="187719"/>
                  </a:lnTo>
                  <a:lnTo>
                    <a:pt x="2346718" y="187084"/>
                  </a:lnTo>
                  <a:lnTo>
                    <a:pt x="2346909" y="187084"/>
                  </a:lnTo>
                  <a:lnTo>
                    <a:pt x="2346960" y="185738"/>
                  </a:lnTo>
                  <a:lnTo>
                    <a:pt x="2347010" y="185738"/>
                  </a:lnTo>
                  <a:lnTo>
                    <a:pt x="2347061" y="185141"/>
                  </a:lnTo>
                  <a:lnTo>
                    <a:pt x="2347163" y="184493"/>
                  </a:lnTo>
                  <a:lnTo>
                    <a:pt x="2347213" y="184493"/>
                  </a:lnTo>
                  <a:lnTo>
                    <a:pt x="2347264" y="183807"/>
                  </a:lnTo>
                  <a:lnTo>
                    <a:pt x="2347366" y="183807"/>
                  </a:lnTo>
                  <a:lnTo>
                    <a:pt x="2347366" y="183159"/>
                  </a:lnTo>
                  <a:lnTo>
                    <a:pt x="2347455" y="183159"/>
                  </a:lnTo>
                  <a:lnTo>
                    <a:pt x="2347455" y="181826"/>
                  </a:lnTo>
                  <a:lnTo>
                    <a:pt x="2347658" y="181826"/>
                  </a:lnTo>
                  <a:lnTo>
                    <a:pt x="2347658" y="181178"/>
                  </a:lnTo>
                  <a:lnTo>
                    <a:pt x="2347709" y="181178"/>
                  </a:lnTo>
                  <a:lnTo>
                    <a:pt x="2347709" y="180581"/>
                  </a:lnTo>
                  <a:lnTo>
                    <a:pt x="2347810" y="180581"/>
                  </a:lnTo>
                  <a:lnTo>
                    <a:pt x="2347861" y="179934"/>
                  </a:lnTo>
                  <a:lnTo>
                    <a:pt x="2347912" y="179934"/>
                  </a:lnTo>
                  <a:lnTo>
                    <a:pt x="2347950" y="178600"/>
                  </a:lnTo>
                  <a:lnTo>
                    <a:pt x="2348052" y="177952"/>
                  </a:lnTo>
                  <a:lnTo>
                    <a:pt x="2348153" y="177952"/>
                  </a:lnTo>
                  <a:lnTo>
                    <a:pt x="2348255" y="177305"/>
                  </a:lnTo>
                  <a:lnTo>
                    <a:pt x="2348356" y="177305"/>
                  </a:lnTo>
                  <a:lnTo>
                    <a:pt x="2348356" y="176606"/>
                  </a:lnTo>
                  <a:lnTo>
                    <a:pt x="2348407" y="176606"/>
                  </a:lnTo>
                  <a:lnTo>
                    <a:pt x="2348407" y="175971"/>
                  </a:lnTo>
                  <a:lnTo>
                    <a:pt x="2348547" y="175971"/>
                  </a:lnTo>
                  <a:lnTo>
                    <a:pt x="2348598" y="174727"/>
                  </a:lnTo>
                  <a:lnTo>
                    <a:pt x="2348649" y="174028"/>
                  </a:lnTo>
                  <a:lnTo>
                    <a:pt x="2348649" y="173380"/>
                  </a:lnTo>
                  <a:lnTo>
                    <a:pt x="2348801" y="173380"/>
                  </a:lnTo>
                  <a:lnTo>
                    <a:pt x="2348852" y="172745"/>
                  </a:lnTo>
                  <a:lnTo>
                    <a:pt x="2348852" y="173380"/>
                  </a:lnTo>
                  <a:lnTo>
                    <a:pt x="2348953" y="172745"/>
                  </a:lnTo>
                  <a:lnTo>
                    <a:pt x="2348953" y="171399"/>
                  </a:lnTo>
                  <a:lnTo>
                    <a:pt x="2348991" y="171399"/>
                  </a:lnTo>
                  <a:lnTo>
                    <a:pt x="2348991" y="170752"/>
                  </a:lnTo>
                  <a:lnTo>
                    <a:pt x="2349093" y="170752"/>
                  </a:lnTo>
                  <a:lnTo>
                    <a:pt x="2349195" y="170167"/>
                  </a:lnTo>
                  <a:lnTo>
                    <a:pt x="2349246" y="170167"/>
                  </a:lnTo>
                  <a:lnTo>
                    <a:pt x="2349246" y="169469"/>
                  </a:lnTo>
                  <a:lnTo>
                    <a:pt x="2349296" y="169469"/>
                  </a:lnTo>
                  <a:lnTo>
                    <a:pt x="2349398" y="168821"/>
                  </a:lnTo>
                  <a:lnTo>
                    <a:pt x="2349449" y="168821"/>
                  </a:lnTo>
                  <a:lnTo>
                    <a:pt x="2349500" y="167539"/>
                  </a:lnTo>
                  <a:lnTo>
                    <a:pt x="2349538" y="167539"/>
                  </a:lnTo>
                  <a:lnTo>
                    <a:pt x="2349639" y="166840"/>
                  </a:lnTo>
                  <a:lnTo>
                    <a:pt x="2349690" y="166192"/>
                  </a:lnTo>
                  <a:lnTo>
                    <a:pt x="2349842" y="166192"/>
                  </a:lnTo>
                  <a:lnTo>
                    <a:pt x="2349893" y="165545"/>
                  </a:lnTo>
                  <a:lnTo>
                    <a:pt x="2350084" y="165545"/>
                  </a:lnTo>
                  <a:lnTo>
                    <a:pt x="2350084" y="164262"/>
                  </a:lnTo>
                  <a:lnTo>
                    <a:pt x="2350135" y="164262"/>
                  </a:lnTo>
                  <a:lnTo>
                    <a:pt x="2350236" y="162967"/>
                  </a:lnTo>
                  <a:lnTo>
                    <a:pt x="2350338" y="162967"/>
                  </a:lnTo>
                  <a:lnTo>
                    <a:pt x="2350388" y="162319"/>
                  </a:lnTo>
                  <a:lnTo>
                    <a:pt x="2350541" y="162319"/>
                  </a:lnTo>
                  <a:lnTo>
                    <a:pt x="2350579" y="161633"/>
                  </a:lnTo>
                  <a:lnTo>
                    <a:pt x="2350630" y="161633"/>
                  </a:lnTo>
                  <a:lnTo>
                    <a:pt x="2350630" y="160338"/>
                  </a:lnTo>
                  <a:lnTo>
                    <a:pt x="2350782" y="160338"/>
                  </a:lnTo>
                  <a:lnTo>
                    <a:pt x="2350833" y="159741"/>
                  </a:lnTo>
                  <a:lnTo>
                    <a:pt x="2350985" y="159741"/>
                  </a:lnTo>
                  <a:lnTo>
                    <a:pt x="2350985" y="159055"/>
                  </a:lnTo>
                  <a:lnTo>
                    <a:pt x="2351087" y="159055"/>
                  </a:lnTo>
                  <a:lnTo>
                    <a:pt x="2351087" y="158407"/>
                  </a:lnTo>
                  <a:lnTo>
                    <a:pt x="2351278" y="158407"/>
                  </a:lnTo>
                  <a:lnTo>
                    <a:pt x="2351278" y="157061"/>
                  </a:lnTo>
                  <a:lnTo>
                    <a:pt x="2351328" y="157061"/>
                  </a:lnTo>
                  <a:lnTo>
                    <a:pt x="2351328" y="156426"/>
                  </a:lnTo>
                  <a:lnTo>
                    <a:pt x="2351531" y="156426"/>
                  </a:lnTo>
                  <a:lnTo>
                    <a:pt x="2351582" y="155778"/>
                  </a:lnTo>
                  <a:lnTo>
                    <a:pt x="2351671" y="155778"/>
                  </a:lnTo>
                  <a:lnTo>
                    <a:pt x="2351671" y="155181"/>
                  </a:lnTo>
                  <a:lnTo>
                    <a:pt x="2351722" y="155181"/>
                  </a:lnTo>
                  <a:lnTo>
                    <a:pt x="2351722" y="154432"/>
                  </a:lnTo>
                  <a:lnTo>
                    <a:pt x="2351925" y="154432"/>
                  </a:lnTo>
                  <a:lnTo>
                    <a:pt x="2351976" y="153200"/>
                  </a:lnTo>
                  <a:lnTo>
                    <a:pt x="2352166" y="153200"/>
                  </a:lnTo>
                  <a:lnTo>
                    <a:pt x="2352166" y="152552"/>
                  </a:lnTo>
                  <a:lnTo>
                    <a:pt x="2352217" y="152552"/>
                  </a:lnTo>
                  <a:lnTo>
                    <a:pt x="2352268" y="151854"/>
                  </a:lnTo>
                  <a:lnTo>
                    <a:pt x="2352370" y="151854"/>
                  </a:lnTo>
                  <a:lnTo>
                    <a:pt x="2352370" y="151206"/>
                  </a:lnTo>
                  <a:lnTo>
                    <a:pt x="2352573" y="151206"/>
                  </a:lnTo>
                  <a:lnTo>
                    <a:pt x="2352624" y="149974"/>
                  </a:lnTo>
                  <a:lnTo>
                    <a:pt x="2352675" y="149225"/>
                  </a:lnTo>
                  <a:lnTo>
                    <a:pt x="2352814" y="149225"/>
                  </a:lnTo>
                  <a:lnTo>
                    <a:pt x="2352865" y="148628"/>
                  </a:lnTo>
                  <a:lnTo>
                    <a:pt x="2352916" y="148628"/>
                  </a:lnTo>
                  <a:lnTo>
                    <a:pt x="2352916" y="147980"/>
                  </a:lnTo>
                  <a:lnTo>
                    <a:pt x="2353068" y="147980"/>
                  </a:lnTo>
                  <a:lnTo>
                    <a:pt x="2353068" y="147345"/>
                  </a:lnTo>
                  <a:lnTo>
                    <a:pt x="2353119" y="147345"/>
                  </a:lnTo>
                  <a:lnTo>
                    <a:pt x="2353119" y="145999"/>
                  </a:lnTo>
                  <a:lnTo>
                    <a:pt x="2353170" y="147345"/>
                  </a:lnTo>
                  <a:lnTo>
                    <a:pt x="2353170" y="145999"/>
                  </a:lnTo>
                  <a:lnTo>
                    <a:pt x="2353259" y="145999"/>
                  </a:lnTo>
                  <a:lnTo>
                    <a:pt x="2353259" y="145352"/>
                  </a:lnTo>
                  <a:lnTo>
                    <a:pt x="2353310" y="144666"/>
                  </a:lnTo>
                  <a:lnTo>
                    <a:pt x="2353360" y="144666"/>
                  </a:lnTo>
                  <a:lnTo>
                    <a:pt x="2353360" y="145352"/>
                  </a:lnTo>
                  <a:lnTo>
                    <a:pt x="2353411" y="145999"/>
                  </a:lnTo>
                  <a:lnTo>
                    <a:pt x="2353411" y="145352"/>
                  </a:lnTo>
                  <a:lnTo>
                    <a:pt x="2353513" y="145352"/>
                  </a:lnTo>
                  <a:lnTo>
                    <a:pt x="2353563" y="144666"/>
                  </a:lnTo>
                  <a:lnTo>
                    <a:pt x="2353614" y="144666"/>
                  </a:lnTo>
                  <a:lnTo>
                    <a:pt x="2353716" y="144069"/>
                  </a:lnTo>
                  <a:lnTo>
                    <a:pt x="2353754" y="144069"/>
                  </a:lnTo>
                  <a:lnTo>
                    <a:pt x="2353754" y="142774"/>
                  </a:lnTo>
                  <a:lnTo>
                    <a:pt x="2353805" y="142774"/>
                  </a:lnTo>
                  <a:lnTo>
                    <a:pt x="2353856" y="142088"/>
                  </a:lnTo>
                  <a:lnTo>
                    <a:pt x="2354160" y="142088"/>
                  </a:lnTo>
                  <a:lnTo>
                    <a:pt x="2354262" y="140792"/>
                  </a:lnTo>
                  <a:lnTo>
                    <a:pt x="2354262" y="140145"/>
                  </a:lnTo>
                  <a:lnTo>
                    <a:pt x="2354300" y="140145"/>
                  </a:lnTo>
                  <a:lnTo>
                    <a:pt x="2354402" y="140792"/>
                  </a:lnTo>
                  <a:lnTo>
                    <a:pt x="2354402" y="140145"/>
                  </a:lnTo>
                  <a:lnTo>
                    <a:pt x="2354605" y="140145"/>
                  </a:lnTo>
                  <a:lnTo>
                    <a:pt x="2354605" y="138862"/>
                  </a:lnTo>
                  <a:lnTo>
                    <a:pt x="2354656" y="138862"/>
                  </a:lnTo>
                  <a:lnTo>
                    <a:pt x="2354656" y="138214"/>
                  </a:lnTo>
                  <a:lnTo>
                    <a:pt x="2354757" y="138214"/>
                  </a:lnTo>
                  <a:lnTo>
                    <a:pt x="2354846" y="137567"/>
                  </a:lnTo>
                  <a:lnTo>
                    <a:pt x="2354999" y="137567"/>
                  </a:lnTo>
                  <a:lnTo>
                    <a:pt x="2354999" y="136868"/>
                  </a:lnTo>
                  <a:lnTo>
                    <a:pt x="2355202" y="136868"/>
                  </a:lnTo>
                  <a:lnTo>
                    <a:pt x="2355202" y="135585"/>
                  </a:lnTo>
                  <a:lnTo>
                    <a:pt x="2355341" y="135585"/>
                  </a:lnTo>
                  <a:lnTo>
                    <a:pt x="2355341" y="134938"/>
                  </a:lnTo>
                  <a:lnTo>
                    <a:pt x="2355545" y="134938"/>
                  </a:lnTo>
                  <a:lnTo>
                    <a:pt x="2355545" y="134239"/>
                  </a:lnTo>
                  <a:lnTo>
                    <a:pt x="2355596" y="134239"/>
                  </a:lnTo>
                  <a:lnTo>
                    <a:pt x="2355596" y="134938"/>
                  </a:lnTo>
                  <a:lnTo>
                    <a:pt x="2355646" y="134938"/>
                  </a:lnTo>
                  <a:lnTo>
                    <a:pt x="2355646" y="134239"/>
                  </a:lnTo>
                  <a:lnTo>
                    <a:pt x="2355888" y="134239"/>
                  </a:lnTo>
                  <a:lnTo>
                    <a:pt x="2355888" y="133655"/>
                  </a:lnTo>
                  <a:lnTo>
                    <a:pt x="2355989" y="133655"/>
                  </a:lnTo>
                  <a:lnTo>
                    <a:pt x="2355989" y="133007"/>
                  </a:lnTo>
                  <a:lnTo>
                    <a:pt x="2356091" y="133007"/>
                  </a:lnTo>
                  <a:lnTo>
                    <a:pt x="2356192" y="131661"/>
                  </a:lnTo>
                  <a:lnTo>
                    <a:pt x="2356243" y="133007"/>
                  </a:lnTo>
                  <a:lnTo>
                    <a:pt x="2356294" y="133007"/>
                  </a:lnTo>
                  <a:lnTo>
                    <a:pt x="2356294" y="131661"/>
                  </a:lnTo>
                  <a:lnTo>
                    <a:pt x="2356434" y="131661"/>
                  </a:lnTo>
                  <a:lnTo>
                    <a:pt x="2356535" y="130378"/>
                  </a:lnTo>
                  <a:lnTo>
                    <a:pt x="2356688" y="130378"/>
                  </a:lnTo>
                  <a:lnTo>
                    <a:pt x="2356738" y="129680"/>
                  </a:lnTo>
                  <a:lnTo>
                    <a:pt x="2356789" y="129680"/>
                  </a:lnTo>
                  <a:lnTo>
                    <a:pt x="2356891" y="128435"/>
                  </a:lnTo>
                  <a:lnTo>
                    <a:pt x="2357031" y="128435"/>
                  </a:lnTo>
                  <a:lnTo>
                    <a:pt x="2357031" y="127800"/>
                  </a:lnTo>
                  <a:lnTo>
                    <a:pt x="2357183" y="127800"/>
                  </a:lnTo>
                  <a:lnTo>
                    <a:pt x="2357234" y="127102"/>
                  </a:lnTo>
                  <a:lnTo>
                    <a:pt x="2357335" y="126454"/>
                  </a:lnTo>
                  <a:lnTo>
                    <a:pt x="2357628" y="126454"/>
                  </a:lnTo>
                  <a:lnTo>
                    <a:pt x="2357628" y="125806"/>
                  </a:lnTo>
                  <a:lnTo>
                    <a:pt x="2357780" y="125806"/>
                  </a:lnTo>
                  <a:lnTo>
                    <a:pt x="2357780" y="124473"/>
                  </a:lnTo>
                  <a:lnTo>
                    <a:pt x="2358021" y="124473"/>
                  </a:lnTo>
                  <a:lnTo>
                    <a:pt x="2358021" y="123825"/>
                  </a:lnTo>
                  <a:lnTo>
                    <a:pt x="2358072" y="123825"/>
                  </a:lnTo>
                  <a:lnTo>
                    <a:pt x="2358072" y="123228"/>
                  </a:lnTo>
                  <a:lnTo>
                    <a:pt x="2358123" y="123228"/>
                  </a:lnTo>
                  <a:lnTo>
                    <a:pt x="2358174" y="122580"/>
                  </a:lnTo>
                  <a:lnTo>
                    <a:pt x="2358326" y="122580"/>
                  </a:lnTo>
                  <a:lnTo>
                    <a:pt x="2358377" y="121895"/>
                  </a:lnTo>
                  <a:lnTo>
                    <a:pt x="2358567" y="121895"/>
                  </a:lnTo>
                  <a:lnTo>
                    <a:pt x="2358567" y="120599"/>
                  </a:lnTo>
                  <a:lnTo>
                    <a:pt x="2358771" y="120599"/>
                  </a:lnTo>
                  <a:lnTo>
                    <a:pt x="2358821" y="119914"/>
                  </a:lnTo>
                  <a:lnTo>
                    <a:pt x="2358974" y="119914"/>
                  </a:lnTo>
                  <a:lnTo>
                    <a:pt x="2358974" y="119266"/>
                  </a:lnTo>
                  <a:lnTo>
                    <a:pt x="2359063" y="119266"/>
                  </a:lnTo>
                  <a:lnTo>
                    <a:pt x="2359164" y="118669"/>
                  </a:lnTo>
                  <a:lnTo>
                    <a:pt x="2359266" y="118669"/>
                  </a:lnTo>
                  <a:lnTo>
                    <a:pt x="2359266" y="117323"/>
                  </a:lnTo>
                  <a:lnTo>
                    <a:pt x="2359520" y="117323"/>
                  </a:lnTo>
                  <a:lnTo>
                    <a:pt x="2359609" y="116688"/>
                  </a:lnTo>
                  <a:lnTo>
                    <a:pt x="2359761" y="116688"/>
                  </a:lnTo>
                  <a:lnTo>
                    <a:pt x="2359761" y="116040"/>
                  </a:lnTo>
                  <a:lnTo>
                    <a:pt x="2359863" y="116040"/>
                  </a:lnTo>
                  <a:lnTo>
                    <a:pt x="2359913" y="115392"/>
                  </a:lnTo>
                  <a:lnTo>
                    <a:pt x="2360155" y="115392"/>
                  </a:lnTo>
                  <a:lnTo>
                    <a:pt x="2360155" y="114694"/>
                  </a:lnTo>
                  <a:lnTo>
                    <a:pt x="2360358" y="114694"/>
                  </a:lnTo>
                  <a:lnTo>
                    <a:pt x="2360409" y="113462"/>
                  </a:lnTo>
                  <a:lnTo>
                    <a:pt x="2360612" y="113462"/>
                  </a:lnTo>
                  <a:lnTo>
                    <a:pt x="2360650" y="112814"/>
                  </a:lnTo>
                  <a:lnTo>
                    <a:pt x="2360752" y="112814"/>
                  </a:lnTo>
                  <a:lnTo>
                    <a:pt x="2360803" y="112116"/>
                  </a:lnTo>
                  <a:lnTo>
                    <a:pt x="2360853" y="112814"/>
                  </a:lnTo>
                  <a:lnTo>
                    <a:pt x="2360853" y="112116"/>
                  </a:lnTo>
                  <a:lnTo>
                    <a:pt x="2361006" y="112116"/>
                  </a:lnTo>
                  <a:lnTo>
                    <a:pt x="2361006" y="111468"/>
                  </a:lnTo>
                  <a:lnTo>
                    <a:pt x="2361056" y="112116"/>
                  </a:lnTo>
                  <a:lnTo>
                    <a:pt x="2361107" y="112116"/>
                  </a:lnTo>
                  <a:lnTo>
                    <a:pt x="2361196" y="111468"/>
                  </a:lnTo>
                  <a:lnTo>
                    <a:pt x="2361349" y="111468"/>
                  </a:lnTo>
                  <a:lnTo>
                    <a:pt x="2361349" y="110185"/>
                  </a:lnTo>
                  <a:lnTo>
                    <a:pt x="2361450" y="111468"/>
                  </a:lnTo>
                  <a:lnTo>
                    <a:pt x="2361450" y="110185"/>
                  </a:lnTo>
                  <a:lnTo>
                    <a:pt x="2361552" y="110185"/>
                  </a:lnTo>
                  <a:lnTo>
                    <a:pt x="2361552" y="109487"/>
                  </a:lnTo>
                  <a:lnTo>
                    <a:pt x="2361653" y="110185"/>
                  </a:lnTo>
                  <a:lnTo>
                    <a:pt x="2361653" y="109487"/>
                  </a:lnTo>
                  <a:lnTo>
                    <a:pt x="2361691" y="109487"/>
                  </a:lnTo>
                  <a:lnTo>
                    <a:pt x="2361742" y="108839"/>
                  </a:lnTo>
                  <a:lnTo>
                    <a:pt x="2361742" y="109487"/>
                  </a:lnTo>
                  <a:lnTo>
                    <a:pt x="2361895" y="109487"/>
                  </a:lnTo>
                  <a:lnTo>
                    <a:pt x="2361895" y="108839"/>
                  </a:lnTo>
                  <a:lnTo>
                    <a:pt x="2361946" y="108839"/>
                  </a:lnTo>
                  <a:lnTo>
                    <a:pt x="2361996" y="108255"/>
                  </a:lnTo>
                  <a:lnTo>
                    <a:pt x="2362098" y="107556"/>
                  </a:lnTo>
                  <a:lnTo>
                    <a:pt x="2362098" y="108255"/>
                  </a:lnTo>
                  <a:lnTo>
                    <a:pt x="2362200" y="108255"/>
                  </a:lnTo>
                  <a:lnTo>
                    <a:pt x="2362238" y="107556"/>
                  </a:lnTo>
                  <a:lnTo>
                    <a:pt x="2362441" y="107556"/>
                  </a:lnTo>
                  <a:lnTo>
                    <a:pt x="2362542" y="106261"/>
                  </a:lnTo>
                  <a:lnTo>
                    <a:pt x="2362644" y="106261"/>
                  </a:lnTo>
                  <a:lnTo>
                    <a:pt x="2362644" y="105626"/>
                  </a:lnTo>
                  <a:lnTo>
                    <a:pt x="2362695" y="106261"/>
                  </a:lnTo>
                  <a:lnTo>
                    <a:pt x="2362784" y="106261"/>
                  </a:lnTo>
                  <a:lnTo>
                    <a:pt x="2362784" y="105626"/>
                  </a:lnTo>
                  <a:lnTo>
                    <a:pt x="2362835" y="106261"/>
                  </a:lnTo>
                  <a:lnTo>
                    <a:pt x="2362835" y="105626"/>
                  </a:lnTo>
                  <a:lnTo>
                    <a:pt x="2363038" y="105626"/>
                  </a:lnTo>
                  <a:lnTo>
                    <a:pt x="2363088" y="104927"/>
                  </a:lnTo>
                  <a:lnTo>
                    <a:pt x="2363330" y="104927"/>
                  </a:lnTo>
                  <a:lnTo>
                    <a:pt x="2363381" y="104280"/>
                  </a:lnTo>
                  <a:lnTo>
                    <a:pt x="2363482" y="103035"/>
                  </a:lnTo>
                  <a:lnTo>
                    <a:pt x="2363482" y="104280"/>
                  </a:lnTo>
                  <a:lnTo>
                    <a:pt x="2363533" y="104280"/>
                  </a:lnTo>
                  <a:lnTo>
                    <a:pt x="2363584" y="103035"/>
                  </a:lnTo>
                  <a:lnTo>
                    <a:pt x="2363685" y="102349"/>
                  </a:lnTo>
                  <a:lnTo>
                    <a:pt x="2363825" y="102349"/>
                  </a:lnTo>
                  <a:lnTo>
                    <a:pt x="2363825" y="103035"/>
                  </a:lnTo>
                  <a:lnTo>
                    <a:pt x="2363927" y="103035"/>
                  </a:lnTo>
                  <a:lnTo>
                    <a:pt x="2363978" y="102349"/>
                  </a:lnTo>
                  <a:lnTo>
                    <a:pt x="2364028" y="101702"/>
                  </a:lnTo>
                  <a:lnTo>
                    <a:pt x="2364130" y="101702"/>
                  </a:lnTo>
                  <a:lnTo>
                    <a:pt x="2364181" y="101054"/>
                  </a:lnTo>
                  <a:lnTo>
                    <a:pt x="2364371" y="101054"/>
                  </a:lnTo>
                  <a:lnTo>
                    <a:pt x="2364371" y="100406"/>
                  </a:lnTo>
                  <a:lnTo>
                    <a:pt x="2364422" y="100406"/>
                  </a:lnTo>
                  <a:lnTo>
                    <a:pt x="2364422" y="101054"/>
                  </a:lnTo>
                  <a:lnTo>
                    <a:pt x="2364473" y="101054"/>
                  </a:lnTo>
                  <a:lnTo>
                    <a:pt x="2364473" y="100406"/>
                  </a:lnTo>
                  <a:lnTo>
                    <a:pt x="2364676" y="100406"/>
                  </a:lnTo>
                  <a:lnTo>
                    <a:pt x="2364727" y="99073"/>
                  </a:lnTo>
                  <a:lnTo>
                    <a:pt x="2364828" y="100406"/>
                  </a:lnTo>
                  <a:lnTo>
                    <a:pt x="2364917" y="100406"/>
                  </a:lnTo>
                  <a:lnTo>
                    <a:pt x="2364917" y="99073"/>
                  </a:lnTo>
                  <a:lnTo>
                    <a:pt x="2364968" y="98425"/>
                  </a:lnTo>
                  <a:lnTo>
                    <a:pt x="2365171" y="98425"/>
                  </a:lnTo>
                  <a:lnTo>
                    <a:pt x="2365273" y="99073"/>
                  </a:lnTo>
                  <a:lnTo>
                    <a:pt x="2365273" y="98425"/>
                  </a:lnTo>
                  <a:lnTo>
                    <a:pt x="2365324" y="99073"/>
                  </a:lnTo>
                  <a:lnTo>
                    <a:pt x="2365324" y="98425"/>
                  </a:lnTo>
                  <a:lnTo>
                    <a:pt x="2365514" y="98425"/>
                  </a:lnTo>
                  <a:lnTo>
                    <a:pt x="2365514" y="97727"/>
                  </a:lnTo>
                  <a:lnTo>
                    <a:pt x="2365616" y="97727"/>
                  </a:lnTo>
                  <a:lnTo>
                    <a:pt x="2365717" y="97142"/>
                  </a:lnTo>
                  <a:lnTo>
                    <a:pt x="2365717" y="97727"/>
                  </a:lnTo>
                  <a:lnTo>
                    <a:pt x="2365768" y="97142"/>
                  </a:lnTo>
                  <a:lnTo>
                    <a:pt x="2365819" y="97727"/>
                  </a:lnTo>
                  <a:lnTo>
                    <a:pt x="2365870" y="97142"/>
                  </a:lnTo>
                  <a:lnTo>
                    <a:pt x="2366111" y="97142"/>
                  </a:lnTo>
                  <a:lnTo>
                    <a:pt x="2366213" y="95847"/>
                  </a:lnTo>
                  <a:lnTo>
                    <a:pt x="2366263" y="95149"/>
                  </a:lnTo>
                  <a:lnTo>
                    <a:pt x="2366314" y="95847"/>
                  </a:lnTo>
                  <a:lnTo>
                    <a:pt x="2366505" y="95847"/>
                  </a:lnTo>
                  <a:lnTo>
                    <a:pt x="2366505" y="95149"/>
                  </a:lnTo>
                  <a:lnTo>
                    <a:pt x="2366759" y="95149"/>
                  </a:lnTo>
                  <a:lnTo>
                    <a:pt x="2366860" y="94514"/>
                  </a:lnTo>
                  <a:lnTo>
                    <a:pt x="2367000" y="94514"/>
                  </a:lnTo>
                  <a:lnTo>
                    <a:pt x="2367000" y="93866"/>
                  </a:lnTo>
                  <a:lnTo>
                    <a:pt x="2367305" y="93866"/>
                  </a:lnTo>
                  <a:lnTo>
                    <a:pt x="2367356" y="93269"/>
                  </a:lnTo>
                  <a:lnTo>
                    <a:pt x="2367546" y="93269"/>
                  </a:lnTo>
                  <a:lnTo>
                    <a:pt x="2367597" y="91923"/>
                  </a:lnTo>
                  <a:lnTo>
                    <a:pt x="2367851" y="91923"/>
                  </a:lnTo>
                  <a:lnTo>
                    <a:pt x="2367902" y="91288"/>
                  </a:lnTo>
                  <a:lnTo>
                    <a:pt x="2368041" y="91288"/>
                  </a:lnTo>
                  <a:lnTo>
                    <a:pt x="2368092" y="90640"/>
                  </a:lnTo>
                  <a:lnTo>
                    <a:pt x="2368143" y="91288"/>
                  </a:lnTo>
                  <a:lnTo>
                    <a:pt x="2368143" y="90640"/>
                  </a:lnTo>
                  <a:lnTo>
                    <a:pt x="2368499" y="90640"/>
                  </a:lnTo>
                  <a:lnTo>
                    <a:pt x="2368550" y="89942"/>
                  </a:lnTo>
                  <a:lnTo>
                    <a:pt x="2368550" y="90640"/>
                  </a:lnTo>
                  <a:lnTo>
                    <a:pt x="2368588" y="89942"/>
                  </a:lnTo>
                  <a:lnTo>
                    <a:pt x="2368892" y="89942"/>
                  </a:lnTo>
                  <a:lnTo>
                    <a:pt x="2368892" y="88659"/>
                  </a:lnTo>
                  <a:lnTo>
                    <a:pt x="2368943" y="88659"/>
                  </a:lnTo>
                  <a:lnTo>
                    <a:pt x="2368943" y="89942"/>
                  </a:lnTo>
                  <a:lnTo>
                    <a:pt x="2368994" y="89942"/>
                  </a:lnTo>
                  <a:lnTo>
                    <a:pt x="2369045" y="88659"/>
                  </a:lnTo>
                  <a:lnTo>
                    <a:pt x="2369185" y="88659"/>
                  </a:lnTo>
                  <a:lnTo>
                    <a:pt x="2369235" y="88062"/>
                  </a:lnTo>
                  <a:lnTo>
                    <a:pt x="2369286" y="88062"/>
                  </a:lnTo>
                  <a:lnTo>
                    <a:pt x="2369388" y="87313"/>
                  </a:lnTo>
                  <a:lnTo>
                    <a:pt x="2369388" y="88062"/>
                  </a:lnTo>
                  <a:lnTo>
                    <a:pt x="2369591" y="88062"/>
                  </a:lnTo>
                  <a:lnTo>
                    <a:pt x="2369591" y="87313"/>
                  </a:lnTo>
                  <a:lnTo>
                    <a:pt x="2369731" y="87313"/>
                  </a:lnTo>
                  <a:lnTo>
                    <a:pt x="2369731" y="86716"/>
                  </a:lnTo>
                  <a:lnTo>
                    <a:pt x="2370086" y="86716"/>
                  </a:lnTo>
                  <a:lnTo>
                    <a:pt x="2370137" y="86068"/>
                  </a:lnTo>
                  <a:lnTo>
                    <a:pt x="2370175" y="86068"/>
                  </a:lnTo>
                  <a:lnTo>
                    <a:pt x="2370277" y="84734"/>
                  </a:lnTo>
                  <a:lnTo>
                    <a:pt x="2370531" y="84734"/>
                  </a:lnTo>
                  <a:lnTo>
                    <a:pt x="2370581" y="84087"/>
                  </a:lnTo>
                  <a:lnTo>
                    <a:pt x="2370581" y="84734"/>
                  </a:lnTo>
                  <a:lnTo>
                    <a:pt x="2370632" y="84087"/>
                  </a:lnTo>
                  <a:lnTo>
                    <a:pt x="2371026" y="84087"/>
                  </a:lnTo>
                  <a:lnTo>
                    <a:pt x="2371077" y="84734"/>
                  </a:lnTo>
                  <a:lnTo>
                    <a:pt x="2371077" y="84087"/>
                  </a:lnTo>
                  <a:lnTo>
                    <a:pt x="2371216" y="84087"/>
                  </a:lnTo>
                  <a:lnTo>
                    <a:pt x="2371267" y="83439"/>
                  </a:lnTo>
                  <a:lnTo>
                    <a:pt x="2371420" y="83439"/>
                  </a:lnTo>
                  <a:lnTo>
                    <a:pt x="2371471" y="82753"/>
                  </a:lnTo>
                  <a:lnTo>
                    <a:pt x="2371471" y="83439"/>
                  </a:lnTo>
                  <a:lnTo>
                    <a:pt x="2371623" y="83439"/>
                  </a:lnTo>
                  <a:lnTo>
                    <a:pt x="2371674" y="82753"/>
                  </a:lnTo>
                  <a:lnTo>
                    <a:pt x="2371966" y="82753"/>
                  </a:lnTo>
                  <a:lnTo>
                    <a:pt x="2371966" y="81509"/>
                  </a:lnTo>
                  <a:lnTo>
                    <a:pt x="2372461" y="81509"/>
                  </a:lnTo>
                  <a:lnTo>
                    <a:pt x="2372563" y="80861"/>
                  </a:lnTo>
                  <a:lnTo>
                    <a:pt x="2372804" y="80861"/>
                  </a:lnTo>
                  <a:lnTo>
                    <a:pt x="2372855" y="80175"/>
                  </a:lnTo>
                  <a:lnTo>
                    <a:pt x="2372855" y="80861"/>
                  </a:lnTo>
                  <a:lnTo>
                    <a:pt x="2372906" y="80861"/>
                  </a:lnTo>
                  <a:lnTo>
                    <a:pt x="2372906" y="80175"/>
                  </a:lnTo>
                  <a:lnTo>
                    <a:pt x="2373007" y="80175"/>
                  </a:lnTo>
                  <a:lnTo>
                    <a:pt x="2373007" y="79527"/>
                  </a:lnTo>
                  <a:lnTo>
                    <a:pt x="2373312" y="79527"/>
                  </a:lnTo>
                  <a:lnTo>
                    <a:pt x="2373350" y="78880"/>
                  </a:lnTo>
                  <a:lnTo>
                    <a:pt x="2373896" y="78880"/>
                  </a:lnTo>
                  <a:lnTo>
                    <a:pt x="2373896" y="77546"/>
                  </a:lnTo>
                  <a:lnTo>
                    <a:pt x="2374201" y="77546"/>
                  </a:lnTo>
                  <a:lnTo>
                    <a:pt x="2374201" y="76949"/>
                  </a:lnTo>
                  <a:lnTo>
                    <a:pt x="2374442" y="76949"/>
                  </a:lnTo>
                  <a:lnTo>
                    <a:pt x="2374442" y="76302"/>
                  </a:lnTo>
                  <a:lnTo>
                    <a:pt x="2374646" y="76302"/>
                  </a:lnTo>
                  <a:lnTo>
                    <a:pt x="2374646" y="75654"/>
                  </a:lnTo>
                  <a:lnTo>
                    <a:pt x="2374938" y="75654"/>
                  </a:lnTo>
                  <a:lnTo>
                    <a:pt x="2375039" y="74320"/>
                  </a:lnTo>
                  <a:lnTo>
                    <a:pt x="2375039" y="75654"/>
                  </a:lnTo>
                  <a:lnTo>
                    <a:pt x="2375090" y="74320"/>
                  </a:lnTo>
                  <a:lnTo>
                    <a:pt x="2375395" y="74320"/>
                  </a:lnTo>
                  <a:lnTo>
                    <a:pt x="2375395" y="73673"/>
                  </a:lnTo>
                  <a:lnTo>
                    <a:pt x="2375484" y="74320"/>
                  </a:lnTo>
                  <a:lnTo>
                    <a:pt x="2375585" y="74320"/>
                  </a:lnTo>
                  <a:lnTo>
                    <a:pt x="2375636" y="73673"/>
                  </a:lnTo>
                  <a:lnTo>
                    <a:pt x="2375738" y="74320"/>
                  </a:lnTo>
                  <a:lnTo>
                    <a:pt x="2375839" y="74320"/>
                  </a:lnTo>
                  <a:lnTo>
                    <a:pt x="2375839" y="73673"/>
                  </a:lnTo>
                  <a:lnTo>
                    <a:pt x="2375941" y="74320"/>
                  </a:lnTo>
                  <a:lnTo>
                    <a:pt x="2375979" y="73673"/>
                  </a:lnTo>
                  <a:lnTo>
                    <a:pt x="2376030" y="72974"/>
                  </a:lnTo>
                  <a:lnTo>
                    <a:pt x="2376182" y="72974"/>
                  </a:lnTo>
                  <a:lnTo>
                    <a:pt x="2376182" y="73673"/>
                  </a:lnTo>
                  <a:lnTo>
                    <a:pt x="2376284" y="73673"/>
                  </a:lnTo>
                  <a:lnTo>
                    <a:pt x="2376284" y="72974"/>
                  </a:lnTo>
                  <a:lnTo>
                    <a:pt x="2376525" y="72974"/>
                  </a:lnTo>
                  <a:lnTo>
                    <a:pt x="2376627" y="72327"/>
                  </a:lnTo>
                  <a:lnTo>
                    <a:pt x="2376881" y="72327"/>
                  </a:lnTo>
                  <a:lnTo>
                    <a:pt x="2376931" y="71742"/>
                  </a:lnTo>
                  <a:lnTo>
                    <a:pt x="2376982" y="71742"/>
                  </a:lnTo>
                  <a:lnTo>
                    <a:pt x="2377071" y="70396"/>
                  </a:lnTo>
                  <a:lnTo>
                    <a:pt x="2377376" y="70396"/>
                  </a:lnTo>
                  <a:lnTo>
                    <a:pt x="2377376" y="69749"/>
                  </a:lnTo>
                  <a:lnTo>
                    <a:pt x="2377427" y="70396"/>
                  </a:lnTo>
                  <a:lnTo>
                    <a:pt x="2377528" y="69749"/>
                  </a:lnTo>
                  <a:lnTo>
                    <a:pt x="2377668" y="69749"/>
                  </a:lnTo>
                  <a:lnTo>
                    <a:pt x="2377668" y="69114"/>
                  </a:lnTo>
                  <a:lnTo>
                    <a:pt x="2377770" y="69114"/>
                  </a:lnTo>
                  <a:lnTo>
                    <a:pt x="2377770" y="69749"/>
                  </a:lnTo>
                  <a:lnTo>
                    <a:pt x="2378024" y="69749"/>
                  </a:lnTo>
                  <a:lnTo>
                    <a:pt x="2378075" y="69114"/>
                  </a:lnTo>
                  <a:lnTo>
                    <a:pt x="2378265" y="69114"/>
                  </a:lnTo>
                  <a:lnTo>
                    <a:pt x="2378316" y="68466"/>
                  </a:lnTo>
                  <a:lnTo>
                    <a:pt x="2378760" y="68466"/>
                  </a:lnTo>
                  <a:lnTo>
                    <a:pt x="2378760" y="67120"/>
                  </a:lnTo>
                  <a:lnTo>
                    <a:pt x="2378811" y="68466"/>
                  </a:lnTo>
                  <a:lnTo>
                    <a:pt x="2378913" y="67120"/>
                  </a:lnTo>
                  <a:lnTo>
                    <a:pt x="2379116" y="67120"/>
                  </a:lnTo>
                  <a:lnTo>
                    <a:pt x="2379154" y="66523"/>
                  </a:lnTo>
                  <a:lnTo>
                    <a:pt x="2379205" y="67120"/>
                  </a:lnTo>
                  <a:lnTo>
                    <a:pt x="2379256" y="66523"/>
                  </a:lnTo>
                  <a:lnTo>
                    <a:pt x="2379256" y="67120"/>
                  </a:lnTo>
                  <a:lnTo>
                    <a:pt x="2379357" y="66523"/>
                  </a:lnTo>
                  <a:lnTo>
                    <a:pt x="2379408" y="66523"/>
                  </a:lnTo>
                  <a:lnTo>
                    <a:pt x="2379459" y="67120"/>
                  </a:lnTo>
                  <a:lnTo>
                    <a:pt x="2379611" y="67120"/>
                  </a:lnTo>
                  <a:lnTo>
                    <a:pt x="2379611" y="66523"/>
                  </a:lnTo>
                  <a:lnTo>
                    <a:pt x="2379662" y="66523"/>
                  </a:lnTo>
                  <a:lnTo>
                    <a:pt x="2379662" y="65888"/>
                  </a:lnTo>
                  <a:lnTo>
                    <a:pt x="2379802" y="65888"/>
                  </a:lnTo>
                  <a:lnTo>
                    <a:pt x="2379853" y="66523"/>
                  </a:lnTo>
                  <a:lnTo>
                    <a:pt x="2379903" y="66523"/>
                  </a:lnTo>
                  <a:lnTo>
                    <a:pt x="2380005" y="65888"/>
                  </a:lnTo>
                  <a:lnTo>
                    <a:pt x="2380246" y="65888"/>
                  </a:lnTo>
                  <a:lnTo>
                    <a:pt x="2380246" y="65189"/>
                  </a:lnTo>
                  <a:lnTo>
                    <a:pt x="2380297" y="65888"/>
                  </a:lnTo>
                  <a:lnTo>
                    <a:pt x="2380399" y="65888"/>
                  </a:lnTo>
                  <a:lnTo>
                    <a:pt x="2380399" y="65189"/>
                  </a:lnTo>
                  <a:lnTo>
                    <a:pt x="2380551" y="65189"/>
                  </a:lnTo>
                  <a:lnTo>
                    <a:pt x="2380551" y="65888"/>
                  </a:lnTo>
                  <a:lnTo>
                    <a:pt x="2380602" y="65189"/>
                  </a:lnTo>
                  <a:lnTo>
                    <a:pt x="2380792" y="65189"/>
                  </a:lnTo>
                  <a:lnTo>
                    <a:pt x="2380843" y="64542"/>
                  </a:lnTo>
                  <a:lnTo>
                    <a:pt x="2380945" y="65189"/>
                  </a:lnTo>
                  <a:lnTo>
                    <a:pt x="2380996" y="65189"/>
                  </a:lnTo>
                  <a:lnTo>
                    <a:pt x="2380996" y="64542"/>
                  </a:lnTo>
                  <a:lnTo>
                    <a:pt x="2381389" y="64542"/>
                  </a:lnTo>
                  <a:lnTo>
                    <a:pt x="2381440" y="63259"/>
                  </a:lnTo>
                  <a:lnTo>
                    <a:pt x="2381491" y="63259"/>
                  </a:lnTo>
                  <a:lnTo>
                    <a:pt x="2381592" y="64542"/>
                  </a:lnTo>
                  <a:lnTo>
                    <a:pt x="2381643" y="63259"/>
                  </a:lnTo>
                  <a:lnTo>
                    <a:pt x="2381935" y="63259"/>
                  </a:lnTo>
                  <a:lnTo>
                    <a:pt x="2381986" y="62560"/>
                  </a:lnTo>
                  <a:lnTo>
                    <a:pt x="2382189" y="62560"/>
                  </a:lnTo>
                  <a:lnTo>
                    <a:pt x="2382291" y="61913"/>
                  </a:lnTo>
                  <a:lnTo>
                    <a:pt x="2382291" y="62560"/>
                  </a:lnTo>
                  <a:lnTo>
                    <a:pt x="2382329" y="61913"/>
                  </a:lnTo>
                  <a:lnTo>
                    <a:pt x="2382583" y="61913"/>
                  </a:lnTo>
                  <a:lnTo>
                    <a:pt x="2382583" y="61316"/>
                  </a:lnTo>
                  <a:lnTo>
                    <a:pt x="2382735" y="61316"/>
                  </a:lnTo>
                  <a:lnTo>
                    <a:pt x="2382735" y="59982"/>
                  </a:lnTo>
                  <a:lnTo>
                    <a:pt x="2382837" y="59982"/>
                  </a:lnTo>
                  <a:lnTo>
                    <a:pt x="2382875" y="61316"/>
                  </a:lnTo>
                  <a:lnTo>
                    <a:pt x="2382875" y="59982"/>
                  </a:lnTo>
                  <a:lnTo>
                    <a:pt x="2383028" y="59982"/>
                  </a:lnTo>
                  <a:lnTo>
                    <a:pt x="2383028" y="61316"/>
                  </a:lnTo>
                  <a:lnTo>
                    <a:pt x="2383231" y="61316"/>
                  </a:lnTo>
                  <a:lnTo>
                    <a:pt x="2383281" y="59982"/>
                  </a:lnTo>
                  <a:lnTo>
                    <a:pt x="2383472" y="59982"/>
                  </a:lnTo>
                  <a:lnTo>
                    <a:pt x="2383472" y="61316"/>
                  </a:lnTo>
                  <a:lnTo>
                    <a:pt x="2383574" y="61316"/>
                  </a:lnTo>
                  <a:lnTo>
                    <a:pt x="2383574" y="59982"/>
                  </a:lnTo>
                  <a:lnTo>
                    <a:pt x="2383967" y="59982"/>
                  </a:lnTo>
                  <a:lnTo>
                    <a:pt x="2384018" y="59334"/>
                  </a:lnTo>
                  <a:lnTo>
                    <a:pt x="2384120" y="59334"/>
                  </a:lnTo>
                  <a:lnTo>
                    <a:pt x="2384171" y="59982"/>
                  </a:lnTo>
                  <a:lnTo>
                    <a:pt x="2384221" y="59982"/>
                  </a:lnTo>
                  <a:lnTo>
                    <a:pt x="2384221" y="59334"/>
                  </a:lnTo>
                  <a:lnTo>
                    <a:pt x="2384920" y="59334"/>
                  </a:lnTo>
                  <a:lnTo>
                    <a:pt x="2385009" y="58687"/>
                  </a:lnTo>
                  <a:lnTo>
                    <a:pt x="2385060" y="58687"/>
                  </a:lnTo>
                  <a:lnTo>
                    <a:pt x="2385110" y="59334"/>
                  </a:lnTo>
                  <a:lnTo>
                    <a:pt x="2385161" y="58687"/>
                  </a:lnTo>
                  <a:lnTo>
                    <a:pt x="2385161" y="59334"/>
                  </a:lnTo>
                  <a:lnTo>
                    <a:pt x="2385263" y="58687"/>
                  </a:lnTo>
                  <a:lnTo>
                    <a:pt x="2385555" y="58687"/>
                  </a:lnTo>
                  <a:lnTo>
                    <a:pt x="2385606" y="58001"/>
                  </a:lnTo>
                  <a:lnTo>
                    <a:pt x="2385707" y="58001"/>
                  </a:lnTo>
                  <a:lnTo>
                    <a:pt x="2385758" y="57353"/>
                  </a:lnTo>
                  <a:lnTo>
                    <a:pt x="2385758" y="58001"/>
                  </a:lnTo>
                  <a:lnTo>
                    <a:pt x="2386012" y="58001"/>
                  </a:lnTo>
                  <a:lnTo>
                    <a:pt x="2386050" y="57353"/>
                  </a:lnTo>
                  <a:lnTo>
                    <a:pt x="2386152" y="57353"/>
                  </a:lnTo>
                  <a:lnTo>
                    <a:pt x="2386203" y="58001"/>
                  </a:lnTo>
                  <a:lnTo>
                    <a:pt x="2386253" y="57353"/>
                  </a:lnTo>
                  <a:lnTo>
                    <a:pt x="2386647" y="57353"/>
                  </a:lnTo>
                  <a:lnTo>
                    <a:pt x="2386647" y="56109"/>
                  </a:lnTo>
                  <a:lnTo>
                    <a:pt x="2386850" y="56109"/>
                  </a:lnTo>
                  <a:lnTo>
                    <a:pt x="2386901" y="57353"/>
                  </a:lnTo>
                  <a:lnTo>
                    <a:pt x="2386952" y="57353"/>
                  </a:lnTo>
                  <a:lnTo>
                    <a:pt x="2387053" y="56109"/>
                  </a:lnTo>
                  <a:lnTo>
                    <a:pt x="2387295" y="56109"/>
                  </a:lnTo>
                  <a:lnTo>
                    <a:pt x="2387346" y="55410"/>
                  </a:lnTo>
                  <a:lnTo>
                    <a:pt x="2387600" y="55410"/>
                  </a:lnTo>
                  <a:lnTo>
                    <a:pt x="2387600" y="54775"/>
                  </a:lnTo>
                  <a:lnTo>
                    <a:pt x="2387942" y="54775"/>
                  </a:lnTo>
                  <a:lnTo>
                    <a:pt x="2387942" y="55410"/>
                  </a:lnTo>
                  <a:lnTo>
                    <a:pt x="2387993" y="54775"/>
                  </a:lnTo>
                  <a:lnTo>
                    <a:pt x="2388044" y="54775"/>
                  </a:lnTo>
                  <a:lnTo>
                    <a:pt x="2388095" y="54127"/>
                  </a:lnTo>
                  <a:lnTo>
                    <a:pt x="2388184" y="54775"/>
                  </a:lnTo>
                  <a:lnTo>
                    <a:pt x="2388336" y="54775"/>
                  </a:lnTo>
                  <a:lnTo>
                    <a:pt x="2388438" y="54127"/>
                  </a:lnTo>
                  <a:lnTo>
                    <a:pt x="2388781" y="54127"/>
                  </a:lnTo>
                  <a:lnTo>
                    <a:pt x="2388882" y="53480"/>
                  </a:lnTo>
                  <a:lnTo>
                    <a:pt x="2388933" y="53480"/>
                  </a:lnTo>
                  <a:lnTo>
                    <a:pt x="2388933" y="54127"/>
                  </a:lnTo>
                  <a:lnTo>
                    <a:pt x="2389327" y="54127"/>
                  </a:lnTo>
                  <a:lnTo>
                    <a:pt x="2389327" y="53480"/>
                  </a:lnTo>
                  <a:lnTo>
                    <a:pt x="2389378" y="53480"/>
                  </a:lnTo>
                  <a:lnTo>
                    <a:pt x="2389428" y="54127"/>
                  </a:lnTo>
                  <a:lnTo>
                    <a:pt x="2389530" y="53480"/>
                  </a:lnTo>
                  <a:lnTo>
                    <a:pt x="2389581" y="53480"/>
                  </a:lnTo>
                  <a:lnTo>
                    <a:pt x="2389581" y="54127"/>
                  </a:lnTo>
                  <a:lnTo>
                    <a:pt x="2389631" y="54127"/>
                  </a:lnTo>
                  <a:lnTo>
                    <a:pt x="2389631" y="54775"/>
                  </a:lnTo>
                  <a:lnTo>
                    <a:pt x="2389682" y="54127"/>
                  </a:lnTo>
                  <a:lnTo>
                    <a:pt x="2389822" y="54127"/>
                  </a:lnTo>
                  <a:lnTo>
                    <a:pt x="2389822" y="53480"/>
                  </a:lnTo>
                  <a:lnTo>
                    <a:pt x="2390076" y="53480"/>
                  </a:lnTo>
                  <a:lnTo>
                    <a:pt x="2390127" y="54127"/>
                  </a:lnTo>
                  <a:lnTo>
                    <a:pt x="2390228" y="54127"/>
                  </a:lnTo>
                  <a:lnTo>
                    <a:pt x="2390266" y="53480"/>
                  </a:lnTo>
                  <a:lnTo>
                    <a:pt x="2390317" y="52146"/>
                  </a:lnTo>
                  <a:lnTo>
                    <a:pt x="2390317" y="53480"/>
                  </a:lnTo>
                  <a:lnTo>
                    <a:pt x="2390368" y="53480"/>
                  </a:lnTo>
                  <a:lnTo>
                    <a:pt x="2390470" y="52146"/>
                  </a:lnTo>
                  <a:lnTo>
                    <a:pt x="2390470" y="53480"/>
                  </a:lnTo>
                  <a:lnTo>
                    <a:pt x="2390521" y="52146"/>
                  </a:lnTo>
                  <a:lnTo>
                    <a:pt x="2390914" y="52146"/>
                  </a:lnTo>
                  <a:lnTo>
                    <a:pt x="2390914" y="51549"/>
                  </a:lnTo>
                  <a:lnTo>
                    <a:pt x="2391460" y="51549"/>
                  </a:lnTo>
                  <a:lnTo>
                    <a:pt x="2391511" y="50902"/>
                  </a:lnTo>
                  <a:lnTo>
                    <a:pt x="2391613" y="50902"/>
                  </a:lnTo>
                  <a:lnTo>
                    <a:pt x="2391663" y="51549"/>
                  </a:lnTo>
                  <a:lnTo>
                    <a:pt x="2391714" y="50902"/>
                  </a:lnTo>
                  <a:lnTo>
                    <a:pt x="2391816" y="50902"/>
                  </a:lnTo>
                  <a:lnTo>
                    <a:pt x="2391816" y="51549"/>
                  </a:lnTo>
                  <a:lnTo>
                    <a:pt x="2392260" y="51549"/>
                  </a:lnTo>
                  <a:lnTo>
                    <a:pt x="2392311" y="50902"/>
                  </a:lnTo>
                  <a:lnTo>
                    <a:pt x="2392553" y="50902"/>
                  </a:lnTo>
                  <a:lnTo>
                    <a:pt x="2392603" y="51549"/>
                  </a:lnTo>
                  <a:lnTo>
                    <a:pt x="2392705" y="50902"/>
                  </a:lnTo>
                  <a:lnTo>
                    <a:pt x="2392705" y="50203"/>
                  </a:lnTo>
                  <a:lnTo>
                    <a:pt x="2392997" y="50203"/>
                  </a:lnTo>
                  <a:lnTo>
                    <a:pt x="2393048" y="48920"/>
                  </a:lnTo>
                  <a:lnTo>
                    <a:pt x="2393099" y="50203"/>
                  </a:lnTo>
                  <a:lnTo>
                    <a:pt x="2393403" y="50203"/>
                  </a:lnTo>
                  <a:lnTo>
                    <a:pt x="2393441" y="48920"/>
                  </a:lnTo>
                  <a:lnTo>
                    <a:pt x="2393492" y="50203"/>
                  </a:lnTo>
                  <a:lnTo>
                    <a:pt x="2393543" y="50203"/>
                  </a:lnTo>
                  <a:lnTo>
                    <a:pt x="2393645" y="48920"/>
                  </a:lnTo>
                  <a:lnTo>
                    <a:pt x="2394191" y="48920"/>
                  </a:lnTo>
                  <a:lnTo>
                    <a:pt x="2394191" y="48222"/>
                  </a:lnTo>
                  <a:lnTo>
                    <a:pt x="2394394" y="48222"/>
                  </a:lnTo>
                  <a:lnTo>
                    <a:pt x="2394394" y="47574"/>
                  </a:lnTo>
                  <a:lnTo>
                    <a:pt x="2394534" y="47574"/>
                  </a:lnTo>
                  <a:lnTo>
                    <a:pt x="2394534" y="48222"/>
                  </a:lnTo>
                  <a:lnTo>
                    <a:pt x="2394686" y="48222"/>
                  </a:lnTo>
                  <a:lnTo>
                    <a:pt x="2394788" y="48920"/>
                  </a:lnTo>
                  <a:lnTo>
                    <a:pt x="2394788" y="48222"/>
                  </a:lnTo>
                  <a:lnTo>
                    <a:pt x="2394838" y="48222"/>
                  </a:lnTo>
                  <a:lnTo>
                    <a:pt x="2394889" y="47574"/>
                  </a:lnTo>
                  <a:lnTo>
                    <a:pt x="2394889" y="46927"/>
                  </a:lnTo>
                  <a:lnTo>
                    <a:pt x="2395283" y="46927"/>
                  </a:lnTo>
                  <a:lnTo>
                    <a:pt x="2395283" y="47574"/>
                  </a:lnTo>
                  <a:lnTo>
                    <a:pt x="2395334" y="47574"/>
                  </a:lnTo>
                  <a:lnTo>
                    <a:pt x="2395435" y="46927"/>
                  </a:lnTo>
                  <a:lnTo>
                    <a:pt x="2395575" y="46927"/>
                  </a:lnTo>
                  <a:lnTo>
                    <a:pt x="2395575" y="46342"/>
                  </a:lnTo>
                  <a:lnTo>
                    <a:pt x="2395677" y="46342"/>
                  </a:lnTo>
                  <a:lnTo>
                    <a:pt x="2395677" y="46927"/>
                  </a:lnTo>
                  <a:lnTo>
                    <a:pt x="2395931" y="46927"/>
                  </a:lnTo>
                  <a:lnTo>
                    <a:pt x="2395981" y="47574"/>
                  </a:lnTo>
                  <a:lnTo>
                    <a:pt x="2396032" y="47574"/>
                  </a:lnTo>
                  <a:lnTo>
                    <a:pt x="2396032" y="46927"/>
                  </a:lnTo>
                  <a:lnTo>
                    <a:pt x="2396375" y="46927"/>
                  </a:lnTo>
                  <a:lnTo>
                    <a:pt x="2396426" y="46342"/>
                  </a:lnTo>
                  <a:lnTo>
                    <a:pt x="2396718" y="46342"/>
                  </a:lnTo>
                  <a:lnTo>
                    <a:pt x="2396820" y="44996"/>
                  </a:lnTo>
                  <a:lnTo>
                    <a:pt x="2397518" y="44996"/>
                  </a:lnTo>
                  <a:lnTo>
                    <a:pt x="2397569" y="44349"/>
                  </a:lnTo>
                  <a:lnTo>
                    <a:pt x="2398064" y="44349"/>
                  </a:lnTo>
                  <a:lnTo>
                    <a:pt x="2398064" y="44996"/>
                  </a:lnTo>
                  <a:lnTo>
                    <a:pt x="2398204" y="44996"/>
                  </a:lnTo>
                  <a:lnTo>
                    <a:pt x="2398204" y="44349"/>
                  </a:lnTo>
                  <a:lnTo>
                    <a:pt x="2398509" y="44349"/>
                  </a:lnTo>
                  <a:lnTo>
                    <a:pt x="2398610" y="43714"/>
                  </a:lnTo>
                  <a:lnTo>
                    <a:pt x="2398750" y="43714"/>
                  </a:lnTo>
                  <a:lnTo>
                    <a:pt x="2398750" y="44349"/>
                  </a:lnTo>
                  <a:lnTo>
                    <a:pt x="2398852" y="43714"/>
                  </a:lnTo>
                  <a:lnTo>
                    <a:pt x="2398903" y="44349"/>
                  </a:lnTo>
                  <a:lnTo>
                    <a:pt x="2398953" y="43714"/>
                  </a:lnTo>
                  <a:lnTo>
                    <a:pt x="2399106" y="43714"/>
                  </a:lnTo>
                  <a:lnTo>
                    <a:pt x="2399156" y="43015"/>
                  </a:lnTo>
                  <a:lnTo>
                    <a:pt x="2399296" y="43015"/>
                  </a:lnTo>
                  <a:lnTo>
                    <a:pt x="2399296" y="43714"/>
                  </a:lnTo>
                  <a:lnTo>
                    <a:pt x="2399347" y="43015"/>
                  </a:lnTo>
                  <a:lnTo>
                    <a:pt x="2399449" y="43015"/>
                  </a:lnTo>
                  <a:lnTo>
                    <a:pt x="2399550" y="43714"/>
                  </a:lnTo>
                  <a:lnTo>
                    <a:pt x="2399550" y="43015"/>
                  </a:lnTo>
                  <a:lnTo>
                    <a:pt x="2399995" y="43015"/>
                  </a:lnTo>
                  <a:lnTo>
                    <a:pt x="2400046" y="41720"/>
                  </a:lnTo>
                  <a:lnTo>
                    <a:pt x="2400046" y="43015"/>
                  </a:lnTo>
                  <a:lnTo>
                    <a:pt x="2400096" y="43015"/>
                  </a:lnTo>
                  <a:lnTo>
                    <a:pt x="2400198" y="41720"/>
                  </a:lnTo>
                  <a:lnTo>
                    <a:pt x="2400642" y="41720"/>
                  </a:lnTo>
                  <a:lnTo>
                    <a:pt x="2400642" y="43015"/>
                  </a:lnTo>
                  <a:lnTo>
                    <a:pt x="2400693" y="41720"/>
                  </a:lnTo>
                  <a:lnTo>
                    <a:pt x="2400744" y="41123"/>
                  </a:lnTo>
                  <a:lnTo>
                    <a:pt x="2400795" y="41123"/>
                  </a:lnTo>
                  <a:lnTo>
                    <a:pt x="2400795" y="41720"/>
                  </a:lnTo>
                  <a:lnTo>
                    <a:pt x="2400884" y="41720"/>
                  </a:lnTo>
                  <a:lnTo>
                    <a:pt x="2400884" y="43015"/>
                  </a:lnTo>
                  <a:lnTo>
                    <a:pt x="2401188" y="43015"/>
                  </a:lnTo>
                  <a:lnTo>
                    <a:pt x="2401239" y="41720"/>
                  </a:lnTo>
                  <a:lnTo>
                    <a:pt x="2401379" y="41720"/>
                  </a:lnTo>
                  <a:lnTo>
                    <a:pt x="2401379" y="43015"/>
                  </a:lnTo>
                  <a:lnTo>
                    <a:pt x="2401430" y="41720"/>
                  </a:lnTo>
                  <a:lnTo>
                    <a:pt x="2401925" y="41720"/>
                  </a:lnTo>
                  <a:lnTo>
                    <a:pt x="2402027" y="41123"/>
                  </a:lnTo>
                  <a:lnTo>
                    <a:pt x="2402382" y="41123"/>
                  </a:lnTo>
                  <a:lnTo>
                    <a:pt x="2402382" y="40437"/>
                  </a:lnTo>
                  <a:lnTo>
                    <a:pt x="2402471" y="41123"/>
                  </a:lnTo>
                  <a:lnTo>
                    <a:pt x="2402573" y="41123"/>
                  </a:lnTo>
                  <a:lnTo>
                    <a:pt x="2402573" y="40437"/>
                  </a:lnTo>
                  <a:lnTo>
                    <a:pt x="2402624" y="40437"/>
                  </a:lnTo>
                  <a:lnTo>
                    <a:pt x="2402624" y="41123"/>
                  </a:lnTo>
                  <a:lnTo>
                    <a:pt x="2402966" y="41123"/>
                  </a:lnTo>
                  <a:lnTo>
                    <a:pt x="2403017" y="40437"/>
                  </a:lnTo>
                  <a:lnTo>
                    <a:pt x="2403513" y="40437"/>
                  </a:lnTo>
                  <a:lnTo>
                    <a:pt x="2403614" y="39789"/>
                  </a:lnTo>
                  <a:lnTo>
                    <a:pt x="2403970" y="39789"/>
                  </a:lnTo>
                  <a:lnTo>
                    <a:pt x="2403970" y="40437"/>
                  </a:lnTo>
                  <a:lnTo>
                    <a:pt x="2404059" y="39789"/>
                  </a:lnTo>
                  <a:lnTo>
                    <a:pt x="2404313" y="39789"/>
                  </a:lnTo>
                  <a:lnTo>
                    <a:pt x="2404313" y="39142"/>
                  </a:lnTo>
                  <a:lnTo>
                    <a:pt x="2404363" y="39789"/>
                  </a:lnTo>
                  <a:lnTo>
                    <a:pt x="2404414" y="39789"/>
                  </a:lnTo>
                  <a:lnTo>
                    <a:pt x="2404516" y="39142"/>
                  </a:lnTo>
                  <a:lnTo>
                    <a:pt x="2404554" y="39142"/>
                  </a:lnTo>
                  <a:lnTo>
                    <a:pt x="2404554" y="39789"/>
                  </a:lnTo>
                  <a:lnTo>
                    <a:pt x="2404605" y="39789"/>
                  </a:lnTo>
                  <a:lnTo>
                    <a:pt x="2404656" y="39142"/>
                  </a:lnTo>
                  <a:lnTo>
                    <a:pt x="2404808" y="39142"/>
                  </a:lnTo>
                  <a:lnTo>
                    <a:pt x="2404808" y="39789"/>
                  </a:lnTo>
                  <a:lnTo>
                    <a:pt x="2404859" y="39142"/>
                  </a:lnTo>
                  <a:lnTo>
                    <a:pt x="2404960" y="39142"/>
                  </a:lnTo>
                  <a:lnTo>
                    <a:pt x="2405011" y="39789"/>
                  </a:lnTo>
                  <a:lnTo>
                    <a:pt x="2405062" y="39142"/>
                  </a:lnTo>
                  <a:lnTo>
                    <a:pt x="2405100" y="39142"/>
                  </a:lnTo>
                  <a:lnTo>
                    <a:pt x="2405100" y="39789"/>
                  </a:lnTo>
                  <a:lnTo>
                    <a:pt x="2405202" y="39789"/>
                  </a:lnTo>
                  <a:lnTo>
                    <a:pt x="2405202" y="39142"/>
                  </a:lnTo>
                  <a:lnTo>
                    <a:pt x="2405456" y="39142"/>
                  </a:lnTo>
                  <a:lnTo>
                    <a:pt x="2405456" y="39789"/>
                  </a:lnTo>
                  <a:lnTo>
                    <a:pt x="2405506" y="39142"/>
                  </a:lnTo>
                  <a:lnTo>
                    <a:pt x="2405951" y="39142"/>
                  </a:lnTo>
                  <a:lnTo>
                    <a:pt x="2406002" y="37808"/>
                  </a:lnTo>
                  <a:lnTo>
                    <a:pt x="2406002" y="39142"/>
                  </a:lnTo>
                  <a:lnTo>
                    <a:pt x="2406103" y="37808"/>
                  </a:lnTo>
                  <a:lnTo>
                    <a:pt x="2406103" y="39142"/>
                  </a:lnTo>
                  <a:lnTo>
                    <a:pt x="2406141" y="39142"/>
                  </a:lnTo>
                  <a:lnTo>
                    <a:pt x="2406141" y="37808"/>
                  </a:lnTo>
                  <a:lnTo>
                    <a:pt x="2406345" y="37808"/>
                  </a:lnTo>
                  <a:lnTo>
                    <a:pt x="2406345" y="39142"/>
                  </a:lnTo>
                  <a:lnTo>
                    <a:pt x="2406396" y="39142"/>
                  </a:lnTo>
                  <a:lnTo>
                    <a:pt x="2406396" y="37808"/>
                  </a:lnTo>
                  <a:lnTo>
                    <a:pt x="2406446" y="39142"/>
                  </a:lnTo>
                  <a:lnTo>
                    <a:pt x="2406548" y="39142"/>
                  </a:lnTo>
                  <a:lnTo>
                    <a:pt x="2406548" y="37808"/>
                  </a:lnTo>
                  <a:lnTo>
                    <a:pt x="2407145" y="37808"/>
                  </a:lnTo>
                  <a:lnTo>
                    <a:pt x="2407234" y="37160"/>
                  </a:lnTo>
                  <a:lnTo>
                    <a:pt x="2407234" y="37808"/>
                  </a:lnTo>
                  <a:lnTo>
                    <a:pt x="2407386" y="37808"/>
                  </a:lnTo>
                  <a:lnTo>
                    <a:pt x="2407488" y="37160"/>
                  </a:lnTo>
                  <a:lnTo>
                    <a:pt x="2407538" y="37160"/>
                  </a:lnTo>
                  <a:lnTo>
                    <a:pt x="2407538" y="37808"/>
                  </a:lnTo>
                  <a:lnTo>
                    <a:pt x="2407729" y="37808"/>
                  </a:lnTo>
                  <a:lnTo>
                    <a:pt x="2407729" y="37160"/>
                  </a:lnTo>
                  <a:lnTo>
                    <a:pt x="2407983" y="37160"/>
                  </a:lnTo>
                  <a:lnTo>
                    <a:pt x="2408034" y="36513"/>
                  </a:lnTo>
                  <a:lnTo>
                    <a:pt x="2408135" y="36513"/>
                  </a:lnTo>
                  <a:lnTo>
                    <a:pt x="2408135" y="37160"/>
                  </a:lnTo>
                  <a:lnTo>
                    <a:pt x="2408275" y="37160"/>
                  </a:lnTo>
                  <a:lnTo>
                    <a:pt x="2408377" y="36513"/>
                  </a:lnTo>
                  <a:lnTo>
                    <a:pt x="2408478" y="36513"/>
                  </a:lnTo>
                  <a:lnTo>
                    <a:pt x="2408580" y="37160"/>
                  </a:lnTo>
                  <a:lnTo>
                    <a:pt x="2408681" y="37160"/>
                  </a:lnTo>
                  <a:lnTo>
                    <a:pt x="2408732" y="36513"/>
                  </a:lnTo>
                  <a:lnTo>
                    <a:pt x="2409621" y="36513"/>
                  </a:lnTo>
                  <a:lnTo>
                    <a:pt x="2409621" y="35814"/>
                  </a:lnTo>
                  <a:lnTo>
                    <a:pt x="2409825" y="35814"/>
                  </a:lnTo>
                  <a:lnTo>
                    <a:pt x="2409863" y="36513"/>
                  </a:lnTo>
                  <a:lnTo>
                    <a:pt x="2410015" y="36513"/>
                  </a:lnTo>
                  <a:lnTo>
                    <a:pt x="2410015" y="35814"/>
                  </a:lnTo>
                  <a:lnTo>
                    <a:pt x="2410167" y="35814"/>
                  </a:lnTo>
                  <a:lnTo>
                    <a:pt x="2410218" y="36513"/>
                  </a:lnTo>
                  <a:lnTo>
                    <a:pt x="2410269" y="36513"/>
                  </a:lnTo>
                  <a:lnTo>
                    <a:pt x="2410320" y="35814"/>
                  </a:lnTo>
                  <a:lnTo>
                    <a:pt x="2410320" y="36513"/>
                  </a:lnTo>
                  <a:lnTo>
                    <a:pt x="2410409" y="36513"/>
                  </a:lnTo>
                  <a:lnTo>
                    <a:pt x="2410409" y="35814"/>
                  </a:lnTo>
                  <a:lnTo>
                    <a:pt x="2410866" y="35814"/>
                  </a:lnTo>
                  <a:lnTo>
                    <a:pt x="2410866" y="34582"/>
                  </a:lnTo>
                  <a:lnTo>
                    <a:pt x="2410904" y="34582"/>
                  </a:lnTo>
                  <a:lnTo>
                    <a:pt x="2410955" y="33934"/>
                  </a:lnTo>
                  <a:lnTo>
                    <a:pt x="2410955" y="34582"/>
                  </a:lnTo>
                  <a:lnTo>
                    <a:pt x="2411552" y="34582"/>
                  </a:lnTo>
                  <a:lnTo>
                    <a:pt x="2411603" y="33934"/>
                  </a:lnTo>
                  <a:lnTo>
                    <a:pt x="2411755" y="33934"/>
                  </a:lnTo>
                  <a:lnTo>
                    <a:pt x="2411755" y="34582"/>
                  </a:lnTo>
                  <a:lnTo>
                    <a:pt x="2411806" y="33934"/>
                  </a:lnTo>
                  <a:lnTo>
                    <a:pt x="2411856" y="33934"/>
                  </a:lnTo>
                  <a:lnTo>
                    <a:pt x="2411856" y="34582"/>
                  </a:lnTo>
                  <a:lnTo>
                    <a:pt x="2411996" y="34582"/>
                  </a:lnTo>
                  <a:lnTo>
                    <a:pt x="2411996" y="33934"/>
                  </a:lnTo>
                  <a:lnTo>
                    <a:pt x="2412149" y="33934"/>
                  </a:lnTo>
                  <a:lnTo>
                    <a:pt x="2412149" y="34582"/>
                  </a:lnTo>
                  <a:lnTo>
                    <a:pt x="2412491" y="34582"/>
                  </a:lnTo>
                  <a:lnTo>
                    <a:pt x="2412491" y="33934"/>
                  </a:lnTo>
                  <a:lnTo>
                    <a:pt x="2412593" y="33934"/>
                  </a:lnTo>
                  <a:lnTo>
                    <a:pt x="2412695" y="34582"/>
                  </a:lnTo>
                  <a:lnTo>
                    <a:pt x="2412695" y="33934"/>
                  </a:lnTo>
                  <a:lnTo>
                    <a:pt x="2412949" y="33934"/>
                  </a:lnTo>
                  <a:lnTo>
                    <a:pt x="2413000" y="34582"/>
                  </a:lnTo>
                  <a:lnTo>
                    <a:pt x="2413000" y="33934"/>
                  </a:lnTo>
                  <a:lnTo>
                    <a:pt x="2413342" y="33934"/>
                  </a:lnTo>
                  <a:lnTo>
                    <a:pt x="2413342" y="33236"/>
                  </a:lnTo>
                  <a:lnTo>
                    <a:pt x="2413393" y="33236"/>
                  </a:lnTo>
                  <a:lnTo>
                    <a:pt x="2413393" y="33934"/>
                  </a:lnTo>
                  <a:lnTo>
                    <a:pt x="2413444" y="33236"/>
                  </a:lnTo>
                  <a:lnTo>
                    <a:pt x="2413584" y="33236"/>
                  </a:lnTo>
                  <a:lnTo>
                    <a:pt x="2413635" y="32601"/>
                  </a:lnTo>
                  <a:lnTo>
                    <a:pt x="2413685" y="33236"/>
                  </a:lnTo>
                  <a:lnTo>
                    <a:pt x="2413888" y="33236"/>
                  </a:lnTo>
                  <a:lnTo>
                    <a:pt x="2413939" y="32601"/>
                  </a:lnTo>
                  <a:lnTo>
                    <a:pt x="2414041" y="33236"/>
                  </a:lnTo>
                  <a:lnTo>
                    <a:pt x="2414130" y="33236"/>
                  </a:lnTo>
                  <a:lnTo>
                    <a:pt x="2414130" y="33934"/>
                  </a:lnTo>
                  <a:lnTo>
                    <a:pt x="2414181" y="33934"/>
                  </a:lnTo>
                  <a:lnTo>
                    <a:pt x="2414181" y="33236"/>
                  </a:lnTo>
                  <a:lnTo>
                    <a:pt x="2414384" y="33236"/>
                  </a:lnTo>
                  <a:lnTo>
                    <a:pt x="2414485" y="32601"/>
                  </a:lnTo>
                  <a:lnTo>
                    <a:pt x="2414536" y="33236"/>
                  </a:lnTo>
                  <a:lnTo>
                    <a:pt x="2414778" y="33236"/>
                  </a:lnTo>
                  <a:lnTo>
                    <a:pt x="2414778" y="32601"/>
                  </a:lnTo>
                  <a:lnTo>
                    <a:pt x="2415031" y="32601"/>
                  </a:lnTo>
                  <a:lnTo>
                    <a:pt x="2415082" y="33236"/>
                  </a:lnTo>
                  <a:lnTo>
                    <a:pt x="2415171" y="32601"/>
                  </a:lnTo>
                  <a:lnTo>
                    <a:pt x="2415171" y="33236"/>
                  </a:lnTo>
                  <a:lnTo>
                    <a:pt x="2415222" y="32601"/>
                  </a:lnTo>
                  <a:lnTo>
                    <a:pt x="2415324" y="32601"/>
                  </a:lnTo>
                  <a:lnTo>
                    <a:pt x="2415425" y="31953"/>
                  </a:lnTo>
                  <a:lnTo>
                    <a:pt x="2415476" y="32601"/>
                  </a:lnTo>
                  <a:lnTo>
                    <a:pt x="2415476" y="31953"/>
                  </a:lnTo>
                  <a:lnTo>
                    <a:pt x="2415921" y="31953"/>
                  </a:lnTo>
                  <a:lnTo>
                    <a:pt x="2415971" y="30607"/>
                  </a:lnTo>
                  <a:lnTo>
                    <a:pt x="2415971" y="31953"/>
                  </a:lnTo>
                  <a:lnTo>
                    <a:pt x="2416568" y="31953"/>
                  </a:lnTo>
                  <a:lnTo>
                    <a:pt x="2416619" y="32601"/>
                  </a:lnTo>
                  <a:lnTo>
                    <a:pt x="2416619" y="31953"/>
                  </a:lnTo>
                  <a:lnTo>
                    <a:pt x="2416670" y="31953"/>
                  </a:lnTo>
                  <a:lnTo>
                    <a:pt x="2416670" y="30607"/>
                  </a:lnTo>
                  <a:lnTo>
                    <a:pt x="2416759" y="30607"/>
                  </a:lnTo>
                  <a:lnTo>
                    <a:pt x="2416810" y="31953"/>
                  </a:lnTo>
                  <a:lnTo>
                    <a:pt x="2417063" y="31953"/>
                  </a:lnTo>
                  <a:lnTo>
                    <a:pt x="2417063" y="30607"/>
                  </a:lnTo>
                  <a:lnTo>
                    <a:pt x="2417254" y="30607"/>
                  </a:lnTo>
                  <a:lnTo>
                    <a:pt x="2417305" y="31953"/>
                  </a:lnTo>
                  <a:lnTo>
                    <a:pt x="2417356" y="31953"/>
                  </a:lnTo>
                  <a:lnTo>
                    <a:pt x="2417356" y="30607"/>
                  </a:lnTo>
                  <a:lnTo>
                    <a:pt x="2417457" y="30010"/>
                  </a:lnTo>
                  <a:lnTo>
                    <a:pt x="2417508" y="30607"/>
                  </a:lnTo>
                  <a:lnTo>
                    <a:pt x="2417762" y="30607"/>
                  </a:lnTo>
                  <a:lnTo>
                    <a:pt x="2417800" y="30010"/>
                  </a:lnTo>
                  <a:lnTo>
                    <a:pt x="2418105" y="30010"/>
                  </a:lnTo>
                  <a:lnTo>
                    <a:pt x="2418105" y="30607"/>
                  </a:lnTo>
                  <a:lnTo>
                    <a:pt x="2418156" y="30010"/>
                  </a:lnTo>
                  <a:lnTo>
                    <a:pt x="2418892" y="30010"/>
                  </a:lnTo>
                  <a:lnTo>
                    <a:pt x="2418943" y="29375"/>
                  </a:lnTo>
                  <a:lnTo>
                    <a:pt x="2418943" y="30010"/>
                  </a:lnTo>
                  <a:lnTo>
                    <a:pt x="2419045" y="30010"/>
                  </a:lnTo>
                  <a:lnTo>
                    <a:pt x="2419045" y="29375"/>
                  </a:lnTo>
                  <a:lnTo>
                    <a:pt x="2419591" y="29375"/>
                  </a:lnTo>
                  <a:lnTo>
                    <a:pt x="2419591" y="28727"/>
                  </a:lnTo>
                  <a:lnTo>
                    <a:pt x="2419934" y="28727"/>
                  </a:lnTo>
                  <a:lnTo>
                    <a:pt x="2419985" y="29375"/>
                  </a:lnTo>
                  <a:lnTo>
                    <a:pt x="2420035" y="29375"/>
                  </a:lnTo>
                  <a:lnTo>
                    <a:pt x="2420086" y="28727"/>
                  </a:lnTo>
                  <a:lnTo>
                    <a:pt x="2420886" y="28727"/>
                  </a:lnTo>
                  <a:lnTo>
                    <a:pt x="2420886" y="29375"/>
                  </a:lnTo>
                  <a:lnTo>
                    <a:pt x="2420937" y="28727"/>
                  </a:lnTo>
                  <a:lnTo>
                    <a:pt x="2420975" y="29375"/>
                  </a:lnTo>
                  <a:lnTo>
                    <a:pt x="2420975" y="28727"/>
                  </a:lnTo>
                  <a:lnTo>
                    <a:pt x="2421077" y="29375"/>
                  </a:lnTo>
                  <a:lnTo>
                    <a:pt x="2421128" y="28727"/>
                  </a:lnTo>
                  <a:lnTo>
                    <a:pt x="2421178" y="27381"/>
                  </a:lnTo>
                  <a:lnTo>
                    <a:pt x="2421280" y="28727"/>
                  </a:lnTo>
                  <a:lnTo>
                    <a:pt x="2421381" y="28727"/>
                  </a:lnTo>
                  <a:lnTo>
                    <a:pt x="2421432" y="29375"/>
                  </a:lnTo>
                  <a:lnTo>
                    <a:pt x="2421432" y="28727"/>
                  </a:lnTo>
                  <a:lnTo>
                    <a:pt x="2421521" y="28727"/>
                  </a:lnTo>
                  <a:lnTo>
                    <a:pt x="2421572" y="27381"/>
                  </a:lnTo>
                  <a:lnTo>
                    <a:pt x="2421623" y="28727"/>
                  </a:lnTo>
                  <a:lnTo>
                    <a:pt x="2421674" y="28727"/>
                  </a:lnTo>
                  <a:lnTo>
                    <a:pt x="2421674" y="27381"/>
                  </a:lnTo>
                  <a:lnTo>
                    <a:pt x="2422067" y="27381"/>
                  </a:lnTo>
                  <a:lnTo>
                    <a:pt x="2422118" y="26746"/>
                  </a:lnTo>
                  <a:lnTo>
                    <a:pt x="2422118" y="27381"/>
                  </a:lnTo>
                  <a:lnTo>
                    <a:pt x="2422220" y="27381"/>
                  </a:lnTo>
                  <a:lnTo>
                    <a:pt x="2422271" y="28727"/>
                  </a:lnTo>
                  <a:lnTo>
                    <a:pt x="2422321" y="27381"/>
                  </a:lnTo>
                  <a:lnTo>
                    <a:pt x="2422474" y="27381"/>
                  </a:lnTo>
                  <a:lnTo>
                    <a:pt x="2422474" y="26746"/>
                  </a:lnTo>
                  <a:lnTo>
                    <a:pt x="2422525" y="27381"/>
                  </a:lnTo>
                  <a:lnTo>
                    <a:pt x="2422664" y="27381"/>
                  </a:lnTo>
                  <a:lnTo>
                    <a:pt x="2422664" y="26746"/>
                  </a:lnTo>
                  <a:lnTo>
                    <a:pt x="2422715" y="27381"/>
                  </a:lnTo>
                  <a:lnTo>
                    <a:pt x="2422867" y="27381"/>
                  </a:lnTo>
                  <a:lnTo>
                    <a:pt x="2422918" y="26746"/>
                  </a:lnTo>
                  <a:lnTo>
                    <a:pt x="2423413" y="26746"/>
                  </a:lnTo>
                  <a:lnTo>
                    <a:pt x="2423413" y="26149"/>
                  </a:lnTo>
                  <a:lnTo>
                    <a:pt x="2423464" y="26149"/>
                  </a:lnTo>
                  <a:lnTo>
                    <a:pt x="2423566" y="26746"/>
                  </a:lnTo>
                  <a:lnTo>
                    <a:pt x="2423706" y="26746"/>
                  </a:lnTo>
                  <a:lnTo>
                    <a:pt x="2423706" y="26149"/>
                  </a:lnTo>
                  <a:lnTo>
                    <a:pt x="2423858" y="26149"/>
                  </a:lnTo>
                  <a:lnTo>
                    <a:pt x="2423909" y="26746"/>
                  </a:lnTo>
                  <a:lnTo>
                    <a:pt x="2424010" y="26746"/>
                  </a:lnTo>
                  <a:lnTo>
                    <a:pt x="2424010" y="26149"/>
                  </a:lnTo>
                  <a:lnTo>
                    <a:pt x="2424747" y="26149"/>
                  </a:lnTo>
                  <a:lnTo>
                    <a:pt x="2424747" y="25400"/>
                  </a:lnTo>
                  <a:lnTo>
                    <a:pt x="2424798" y="25400"/>
                  </a:lnTo>
                  <a:lnTo>
                    <a:pt x="2424849" y="26149"/>
                  </a:lnTo>
                  <a:lnTo>
                    <a:pt x="2424950" y="25400"/>
                  </a:lnTo>
                  <a:lnTo>
                    <a:pt x="2425001" y="26149"/>
                  </a:lnTo>
                  <a:lnTo>
                    <a:pt x="2425153" y="26149"/>
                  </a:lnTo>
                  <a:lnTo>
                    <a:pt x="2425153" y="25400"/>
                  </a:lnTo>
                  <a:lnTo>
                    <a:pt x="2425191" y="25400"/>
                  </a:lnTo>
                  <a:lnTo>
                    <a:pt x="2425242" y="26149"/>
                  </a:lnTo>
                  <a:lnTo>
                    <a:pt x="2425446" y="26149"/>
                  </a:lnTo>
                  <a:lnTo>
                    <a:pt x="2425446" y="25400"/>
                  </a:lnTo>
                  <a:lnTo>
                    <a:pt x="2425496" y="25400"/>
                  </a:lnTo>
                  <a:lnTo>
                    <a:pt x="2425496" y="26149"/>
                  </a:lnTo>
                  <a:lnTo>
                    <a:pt x="2425598" y="25400"/>
                  </a:lnTo>
                  <a:lnTo>
                    <a:pt x="2425598" y="26149"/>
                  </a:lnTo>
                  <a:lnTo>
                    <a:pt x="2425649" y="25400"/>
                  </a:lnTo>
                  <a:lnTo>
                    <a:pt x="2425839" y="25400"/>
                  </a:lnTo>
                  <a:lnTo>
                    <a:pt x="2425839" y="26149"/>
                  </a:lnTo>
                  <a:lnTo>
                    <a:pt x="2425890" y="25400"/>
                  </a:lnTo>
                  <a:lnTo>
                    <a:pt x="2426042" y="25400"/>
                  </a:lnTo>
                  <a:lnTo>
                    <a:pt x="2426093" y="24803"/>
                  </a:lnTo>
                  <a:lnTo>
                    <a:pt x="2426144" y="24803"/>
                  </a:lnTo>
                  <a:lnTo>
                    <a:pt x="2426195" y="25400"/>
                  </a:lnTo>
                  <a:lnTo>
                    <a:pt x="2426284" y="25400"/>
                  </a:lnTo>
                  <a:lnTo>
                    <a:pt x="2426335" y="24803"/>
                  </a:lnTo>
                  <a:lnTo>
                    <a:pt x="2426335" y="25400"/>
                  </a:lnTo>
                  <a:lnTo>
                    <a:pt x="2426385" y="24803"/>
                  </a:lnTo>
                  <a:lnTo>
                    <a:pt x="2426639" y="24803"/>
                  </a:lnTo>
                  <a:lnTo>
                    <a:pt x="2426639" y="25400"/>
                  </a:lnTo>
                  <a:lnTo>
                    <a:pt x="2426779" y="25400"/>
                  </a:lnTo>
                  <a:lnTo>
                    <a:pt x="2426779" y="24803"/>
                  </a:lnTo>
                  <a:lnTo>
                    <a:pt x="2426881" y="24803"/>
                  </a:lnTo>
                  <a:lnTo>
                    <a:pt x="2426982" y="25400"/>
                  </a:lnTo>
                  <a:lnTo>
                    <a:pt x="2426982" y="24803"/>
                  </a:lnTo>
                  <a:lnTo>
                    <a:pt x="2427236" y="24803"/>
                  </a:lnTo>
                  <a:lnTo>
                    <a:pt x="2427287" y="25400"/>
                  </a:lnTo>
                  <a:lnTo>
                    <a:pt x="2427427" y="25400"/>
                  </a:lnTo>
                  <a:lnTo>
                    <a:pt x="2427478" y="24803"/>
                  </a:lnTo>
                  <a:lnTo>
                    <a:pt x="2427528" y="24803"/>
                  </a:lnTo>
                  <a:lnTo>
                    <a:pt x="2427630" y="23470"/>
                  </a:lnTo>
                  <a:lnTo>
                    <a:pt x="2428125" y="23470"/>
                  </a:lnTo>
                  <a:lnTo>
                    <a:pt x="2428125" y="22822"/>
                  </a:lnTo>
                  <a:lnTo>
                    <a:pt x="2428366" y="22822"/>
                  </a:lnTo>
                  <a:lnTo>
                    <a:pt x="2428417" y="23470"/>
                  </a:lnTo>
                  <a:lnTo>
                    <a:pt x="2428468" y="22822"/>
                  </a:lnTo>
                  <a:lnTo>
                    <a:pt x="2428468" y="23470"/>
                  </a:lnTo>
                  <a:lnTo>
                    <a:pt x="2428570" y="22822"/>
                  </a:lnTo>
                  <a:lnTo>
                    <a:pt x="2428621" y="22822"/>
                  </a:lnTo>
                  <a:lnTo>
                    <a:pt x="2428671" y="23470"/>
                  </a:lnTo>
                  <a:lnTo>
                    <a:pt x="2428824" y="23470"/>
                  </a:lnTo>
                  <a:lnTo>
                    <a:pt x="2428824" y="22822"/>
                  </a:lnTo>
                  <a:lnTo>
                    <a:pt x="2428913" y="22822"/>
                  </a:lnTo>
                  <a:lnTo>
                    <a:pt x="2429014" y="23470"/>
                  </a:lnTo>
                  <a:lnTo>
                    <a:pt x="2429065" y="22822"/>
                  </a:lnTo>
                  <a:lnTo>
                    <a:pt x="2430208" y="22822"/>
                  </a:lnTo>
                  <a:lnTo>
                    <a:pt x="2430259" y="23470"/>
                  </a:lnTo>
                  <a:lnTo>
                    <a:pt x="2430259" y="22822"/>
                  </a:lnTo>
                  <a:lnTo>
                    <a:pt x="2430360" y="22822"/>
                  </a:lnTo>
                  <a:lnTo>
                    <a:pt x="2430411" y="22174"/>
                  </a:lnTo>
                  <a:lnTo>
                    <a:pt x="2430703" y="22174"/>
                  </a:lnTo>
                  <a:lnTo>
                    <a:pt x="2430703" y="21527"/>
                  </a:lnTo>
                  <a:lnTo>
                    <a:pt x="2431351" y="21527"/>
                  </a:lnTo>
                  <a:lnTo>
                    <a:pt x="2431351" y="20244"/>
                  </a:lnTo>
                  <a:lnTo>
                    <a:pt x="2431402" y="21527"/>
                  </a:lnTo>
                  <a:lnTo>
                    <a:pt x="2431503" y="20244"/>
                  </a:lnTo>
                  <a:lnTo>
                    <a:pt x="2431541" y="21527"/>
                  </a:lnTo>
                  <a:lnTo>
                    <a:pt x="2431541" y="20244"/>
                  </a:lnTo>
                  <a:lnTo>
                    <a:pt x="2431592" y="21527"/>
                  </a:lnTo>
                  <a:lnTo>
                    <a:pt x="2431592" y="20244"/>
                  </a:lnTo>
                  <a:lnTo>
                    <a:pt x="2432545" y="20244"/>
                  </a:lnTo>
                  <a:lnTo>
                    <a:pt x="2432634" y="19596"/>
                  </a:lnTo>
                  <a:lnTo>
                    <a:pt x="2432685" y="19596"/>
                  </a:lnTo>
                  <a:lnTo>
                    <a:pt x="2432685" y="20244"/>
                  </a:lnTo>
                  <a:lnTo>
                    <a:pt x="2432735" y="20244"/>
                  </a:lnTo>
                  <a:lnTo>
                    <a:pt x="2432786" y="19596"/>
                  </a:lnTo>
                  <a:lnTo>
                    <a:pt x="2433675" y="19596"/>
                  </a:lnTo>
                  <a:lnTo>
                    <a:pt x="2433777" y="18949"/>
                  </a:lnTo>
                  <a:lnTo>
                    <a:pt x="2433980" y="18949"/>
                  </a:lnTo>
                  <a:lnTo>
                    <a:pt x="2433980" y="19596"/>
                  </a:lnTo>
                  <a:lnTo>
                    <a:pt x="2434132" y="19596"/>
                  </a:lnTo>
                  <a:lnTo>
                    <a:pt x="2434221" y="18949"/>
                  </a:lnTo>
                  <a:lnTo>
                    <a:pt x="2434475" y="18949"/>
                  </a:lnTo>
                  <a:lnTo>
                    <a:pt x="2434526" y="18263"/>
                  </a:lnTo>
                  <a:lnTo>
                    <a:pt x="2434577" y="18263"/>
                  </a:lnTo>
                  <a:lnTo>
                    <a:pt x="2434577" y="18949"/>
                  </a:lnTo>
                  <a:lnTo>
                    <a:pt x="2434818" y="18949"/>
                  </a:lnTo>
                  <a:lnTo>
                    <a:pt x="2434818" y="18263"/>
                  </a:lnTo>
                  <a:lnTo>
                    <a:pt x="2435123" y="18263"/>
                  </a:lnTo>
                  <a:lnTo>
                    <a:pt x="2435174" y="18949"/>
                  </a:lnTo>
                  <a:lnTo>
                    <a:pt x="2435225" y="18263"/>
                  </a:lnTo>
                  <a:lnTo>
                    <a:pt x="2435225" y="18949"/>
                  </a:lnTo>
                  <a:lnTo>
                    <a:pt x="2435263" y="18949"/>
                  </a:lnTo>
                  <a:lnTo>
                    <a:pt x="2435364" y="18263"/>
                  </a:lnTo>
                  <a:lnTo>
                    <a:pt x="2435669" y="18263"/>
                  </a:lnTo>
                  <a:lnTo>
                    <a:pt x="2435720" y="17615"/>
                  </a:lnTo>
                  <a:lnTo>
                    <a:pt x="2435720" y="18263"/>
                  </a:lnTo>
                  <a:lnTo>
                    <a:pt x="2435809" y="17615"/>
                  </a:lnTo>
                  <a:lnTo>
                    <a:pt x="2435860" y="18263"/>
                  </a:lnTo>
                  <a:lnTo>
                    <a:pt x="2435860" y="17615"/>
                  </a:lnTo>
                  <a:lnTo>
                    <a:pt x="2436063" y="17615"/>
                  </a:lnTo>
                  <a:lnTo>
                    <a:pt x="2436063" y="18263"/>
                  </a:lnTo>
                  <a:lnTo>
                    <a:pt x="2436113" y="17615"/>
                  </a:lnTo>
                  <a:lnTo>
                    <a:pt x="2436304" y="17615"/>
                  </a:lnTo>
                  <a:lnTo>
                    <a:pt x="2436304" y="18263"/>
                  </a:lnTo>
                  <a:lnTo>
                    <a:pt x="2436406" y="18263"/>
                  </a:lnTo>
                  <a:lnTo>
                    <a:pt x="2436406" y="17615"/>
                  </a:lnTo>
                  <a:lnTo>
                    <a:pt x="2436812" y="17615"/>
                  </a:lnTo>
                  <a:lnTo>
                    <a:pt x="2436850" y="18263"/>
                  </a:lnTo>
                  <a:lnTo>
                    <a:pt x="2436952" y="18263"/>
                  </a:lnTo>
                  <a:lnTo>
                    <a:pt x="2437003" y="17615"/>
                  </a:lnTo>
                  <a:lnTo>
                    <a:pt x="2437396" y="17615"/>
                  </a:lnTo>
                  <a:lnTo>
                    <a:pt x="2437396" y="18263"/>
                  </a:lnTo>
                  <a:lnTo>
                    <a:pt x="2437447" y="17615"/>
                  </a:lnTo>
                  <a:lnTo>
                    <a:pt x="2437650" y="17615"/>
                  </a:lnTo>
                  <a:lnTo>
                    <a:pt x="2437650" y="16320"/>
                  </a:lnTo>
                  <a:lnTo>
                    <a:pt x="2437701" y="16320"/>
                  </a:lnTo>
                  <a:lnTo>
                    <a:pt x="2437701" y="17615"/>
                  </a:lnTo>
                  <a:lnTo>
                    <a:pt x="2437942" y="17615"/>
                  </a:lnTo>
                  <a:lnTo>
                    <a:pt x="2437942" y="16320"/>
                  </a:lnTo>
                  <a:lnTo>
                    <a:pt x="2438146" y="16320"/>
                  </a:lnTo>
                  <a:lnTo>
                    <a:pt x="2438146" y="17615"/>
                  </a:lnTo>
                  <a:lnTo>
                    <a:pt x="2438349" y="17615"/>
                  </a:lnTo>
                  <a:lnTo>
                    <a:pt x="2438349" y="16320"/>
                  </a:lnTo>
                  <a:lnTo>
                    <a:pt x="2438400" y="17615"/>
                  </a:lnTo>
                  <a:lnTo>
                    <a:pt x="2438438" y="16320"/>
                  </a:lnTo>
                  <a:lnTo>
                    <a:pt x="2438438" y="17615"/>
                  </a:lnTo>
                  <a:lnTo>
                    <a:pt x="2438590" y="17615"/>
                  </a:lnTo>
                  <a:lnTo>
                    <a:pt x="2438590" y="16320"/>
                  </a:lnTo>
                  <a:lnTo>
                    <a:pt x="2438844" y="16320"/>
                  </a:lnTo>
                  <a:lnTo>
                    <a:pt x="2438844" y="17615"/>
                  </a:lnTo>
                  <a:lnTo>
                    <a:pt x="2438895" y="16320"/>
                  </a:lnTo>
                  <a:lnTo>
                    <a:pt x="2439085" y="16320"/>
                  </a:lnTo>
                  <a:lnTo>
                    <a:pt x="2439136" y="15634"/>
                  </a:lnTo>
                  <a:lnTo>
                    <a:pt x="2439238" y="16320"/>
                  </a:lnTo>
                  <a:lnTo>
                    <a:pt x="2439339" y="16320"/>
                  </a:lnTo>
                  <a:lnTo>
                    <a:pt x="2439339" y="15634"/>
                  </a:lnTo>
                  <a:lnTo>
                    <a:pt x="2439530" y="15634"/>
                  </a:lnTo>
                  <a:lnTo>
                    <a:pt x="2439581" y="16320"/>
                  </a:lnTo>
                  <a:lnTo>
                    <a:pt x="2439682" y="15634"/>
                  </a:lnTo>
                  <a:lnTo>
                    <a:pt x="2439784" y="15634"/>
                  </a:lnTo>
                  <a:lnTo>
                    <a:pt x="2439885" y="16320"/>
                  </a:lnTo>
                  <a:lnTo>
                    <a:pt x="2439885" y="15634"/>
                  </a:lnTo>
                  <a:lnTo>
                    <a:pt x="2440025" y="15634"/>
                  </a:lnTo>
                  <a:lnTo>
                    <a:pt x="2440127" y="15037"/>
                  </a:lnTo>
                  <a:lnTo>
                    <a:pt x="2440127" y="15634"/>
                  </a:lnTo>
                  <a:lnTo>
                    <a:pt x="2440228" y="15634"/>
                  </a:lnTo>
                  <a:lnTo>
                    <a:pt x="2440330" y="16320"/>
                  </a:lnTo>
                  <a:lnTo>
                    <a:pt x="2440381" y="15634"/>
                  </a:lnTo>
                  <a:lnTo>
                    <a:pt x="2440381" y="16320"/>
                  </a:lnTo>
                  <a:lnTo>
                    <a:pt x="2440431" y="15634"/>
                  </a:lnTo>
                  <a:lnTo>
                    <a:pt x="2441028" y="15634"/>
                  </a:lnTo>
                  <a:lnTo>
                    <a:pt x="2441066" y="15037"/>
                  </a:lnTo>
                  <a:lnTo>
                    <a:pt x="2441524" y="15037"/>
                  </a:lnTo>
                  <a:lnTo>
                    <a:pt x="2441524" y="15634"/>
                  </a:lnTo>
                  <a:lnTo>
                    <a:pt x="2441575" y="15634"/>
                  </a:lnTo>
                  <a:lnTo>
                    <a:pt x="2441613" y="15037"/>
                  </a:lnTo>
                  <a:lnTo>
                    <a:pt x="2441765" y="15037"/>
                  </a:lnTo>
                  <a:lnTo>
                    <a:pt x="2441765" y="15634"/>
                  </a:lnTo>
                  <a:lnTo>
                    <a:pt x="2441816" y="15037"/>
                  </a:lnTo>
                  <a:lnTo>
                    <a:pt x="2442070" y="15037"/>
                  </a:lnTo>
                  <a:lnTo>
                    <a:pt x="2442159" y="15634"/>
                  </a:lnTo>
                  <a:lnTo>
                    <a:pt x="2442159" y="15037"/>
                  </a:lnTo>
                  <a:lnTo>
                    <a:pt x="2442260" y="15037"/>
                  </a:lnTo>
                  <a:lnTo>
                    <a:pt x="2442260" y="14389"/>
                  </a:lnTo>
                  <a:lnTo>
                    <a:pt x="2442413" y="14389"/>
                  </a:lnTo>
                  <a:lnTo>
                    <a:pt x="2442413" y="15037"/>
                  </a:lnTo>
                  <a:lnTo>
                    <a:pt x="2442514" y="15037"/>
                  </a:lnTo>
                  <a:lnTo>
                    <a:pt x="2442514" y="14389"/>
                  </a:lnTo>
                  <a:lnTo>
                    <a:pt x="2442616" y="15037"/>
                  </a:lnTo>
                  <a:lnTo>
                    <a:pt x="2442616" y="14389"/>
                  </a:lnTo>
                  <a:lnTo>
                    <a:pt x="2442654" y="14389"/>
                  </a:lnTo>
                  <a:lnTo>
                    <a:pt x="2442705" y="15037"/>
                  </a:lnTo>
                  <a:lnTo>
                    <a:pt x="2442705" y="14389"/>
                  </a:lnTo>
                  <a:lnTo>
                    <a:pt x="2442756" y="15037"/>
                  </a:lnTo>
                  <a:lnTo>
                    <a:pt x="2442857" y="14389"/>
                  </a:lnTo>
                  <a:lnTo>
                    <a:pt x="2443060" y="14389"/>
                  </a:lnTo>
                  <a:lnTo>
                    <a:pt x="2443060" y="15037"/>
                  </a:lnTo>
                  <a:lnTo>
                    <a:pt x="2443111" y="14389"/>
                  </a:lnTo>
                  <a:lnTo>
                    <a:pt x="2443162" y="14389"/>
                  </a:lnTo>
                  <a:lnTo>
                    <a:pt x="2443200" y="15037"/>
                  </a:lnTo>
                  <a:lnTo>
                    <a:pt x="2443353" y="15037"/>
                  </a:lnTo>
                  <a:lnTo>
                    <a:pt x="2443353" y="14389"/>
                  </a:lnTo>
                  <a:lnTo>
                    <a:pt x="2443657" y="14389"/>
                  </a:lnTo>
                  <a:lnTo>
                    <a:pt x="2443657" y="13043"/>
                  </a:lnTo>
                  <a:lnTo>
                    <a:pt x="2443746" y="13043"/>
                  </a:lnTo>
                  <a:lnTo>
                    <a:pt x="2443746" y="14389"/>
                  </a:lnTo>
                  <a:lnTo>
                    <a:pt x="2443797" y="14389"/>
                  </a:lnTo>
                  <a:lnTo>
                    <a:pt x="2443797" y="13043"/>
                  </a:lnTo>
                  <a:lnTo>
                    <a:pt x="2443848" y="14389"/>
                  </a:lnTo>
                  <a:lnTo>
                    <a:pt x="2443899" y="13043"/>
                  </a:lnTo>
                  <a:lnTo>
                    <a:pt x="2444000" y="13043"/>
                  </a:lnTo>
                  <a:lnTo>
                    <a:pt x="2444051" y="14389"/>
                  </a:lnTo>
                  <a:lnTo>
                    <a:pt x="2444102" y="13043"/>
                  </a:lnTo>
                  <a:lnTo>
                    <a:pt x="2444241" y="13043"/>
                  </a:lnTo>
                  <a:lnTo>
                    <a:pt x="2444292" y="14389"/>
                  </a:lnTo>
                  <a:lnTo>
                    <a:pt x="2444546" y="14389"/>
                  </a:lnTo>
                  <a:lnTo>
                    <a:pt x="2444546" y="13043"/>
                  </a:lnTo>
                  <a:lnTo>
                    <a:pt x="2444699" y="13043"/>
                  </a:lnTo>
                  <a:lnTo>
                    <a:pt x="2444699" y="14389"/>
                  </a:lnTo>
                  <a:lnTo>
                    <a:pt x="2444750" y="13043"/>
                  </a:lnTo>
                  <a:lnTo>
                    <a:pt x="2444788" y="14389"/>
                  </a:lnTo>
                  <a:lnTo>
                    <a:pt x="2444788" y="13043"/>
                  </a:lnTo>
                  <a:lnTo>
                    <a:pt x="2444889" y="13043"/>
                  </a:lnTo>
                  <a:lnTo>
                    <a:pt x="2444889" y="14389"/>
                  </a:lnTo>
                  <a:lnTo>
                    <a:pt x="2444940" y="14389"/>
                  </a:lnTo>
                  <a:lnTo>
                    <a:pt x="2444991" y="13043"/>
                  </a:lnTo>
                  <a:lnTo>
                    <a:pt x="2445588" y="13043"/>
                  </a:lnTo>
                  <a:lnTo>
                    <a:pt x="2445638" y="12408"/>
                  </a:lnTo>
                  <a:lnTo>
                    <a:pt x="2445931" y="12408"/>
                  </a:lnTo>
                  <a:lnTo>
                    <a:pt x="2446032" y="11760"/>
                  </a:lnTo>
                  <a:lnTo>
                    <a:pt x="2446083" y="12408"/>
                  </a:lnTo>
                  <a:lnTo>
                    <a:pt x="2446578" y="12408"/>
                  </a:lnTo>
                  <a:lnTo>
                    <a:pt x="2446680" y="11760"/>
                  </a:lnTo>
                  <a:lnTo>
                    <a:pt x="2446731" y="11760"/>
                  </a:lnTo>
                  <a:lnTo>
                    <a:pt x="2446781" y="12408"/>
                  </a:lnTo>
                  <a:lnTo>
                    <a:pt x="2447226" y="12408"/>
                  </a:lnTo>
                  <a:lnTo>
                    <a:pt x="2447277" y="13043"/>
                  </a:lnTo>
                  <a:lnTo>
                    <a:pt x="2447378" y="12408"/>
                  </a:lnTo>
                  <a:lnTo>
                    <a:pt x="2447378" y="13043"/>
                  </a:lnTo>
                  <a:lnTo>
                    <a:pt x="2447416" y="12408"/>
                  </a:lnTo>
                  <a:lnTo>
                    <a:pt x="2447467" y="12408"/>
                  </a:lnTo>
                  <a:lnTo>
                    <a:pt x="2447518" y="11760"/>
                  </a:lnTo>
                  <a:lnTo>
                    <a:pt x="2447518" y="12408"/>
                  </a:lnTo>
                  <a:lnTo>
                    <a:pt x="2447620" y="12408"/>
                  </a:lnTo>
                  <a:lnTo>
                    <a:pt x="2447671" y="11760"/>
                  </a:lnTo>
                  <a:lnTo>
                    <a:pt x="2447721" y="11760"/>
                  </a:lnTo>
                  <a:lnTo>
                    <a:pt x="2447823" y="12408"/>
                  </a:lnTo>
                  <a:lnTo>
                    <a:pt x="2447874" y="12408"/>
                  </a:lnTo>
                  <a:lnTo>
                    <a:pt x="2447874" y="11760"/>
                  </a:lnTo>
                  <a:lnTo>
                    <a:pt x="2447925" y="12408"/>
                  </a:lnTo>
                  <a:lnTo>
                    <a:pt x="2447963" y="11760"/>
                  </a:lnTo>
                  <a:lnTo>
                    <a:pt x="2447963" y="12408"/>
                  </a:lnTo>
                  <a:lnTo>
                    <a:pt x="2448064" y="12408"/>
                  </a:lnTo>
                  <a:lnTo>
                    <a:pt x="2448115" y="11760"/>
                  </a:lnTo>
                  <a:lnTo>
                    <a:pt x="2448267" y="11760"/>
                  </a:lnTo>
                  <a:lnTo>
                    <a:pt x="2448318" y="12408"/>
                  </a:lnTo>
                  <a:lnTo>
                    <a:pt x="2448420" y="12408"/>
                  </a:lnTo>
                  <a:lnTo>
                    <a:pt x="2448420" y="11760"/>
                  </a:lnTo>
                  <a:lnTo>
                    <a:pt x="2448560" y="11760"/>
                  </a:lnTo>
                  <a:lnTo>
                    <a:pt x="2448560" y="12408"/>
                  </a:lnTo>
                  <a:lnTo>
                    <a:pt x="2448661" y="12408"/>
                  </a:lnTo>
                  <a:lnTo>
                    <a:pt x="2448763" y="11760"/>
                  </a:lnTo>
                  <a:lnTo>
                    <a:pt x="2448813" y="11760"/>
                  </a:lnTo>
                  <a:lnTo>
                    <a:pt x="2448864" y="12408"/>
                  </a:lnTo>
                  <a:lnTo>
                    <a:pt x="2449004" y="12408"/>
                  </a:lnTo>
                  <a:lnTo>
                    <a:pt x="2449055" y="11760"/>
                  </a:lnTo>
                  <a:lnTo>
                    <a:pt x="2449258" y="11760"/>
                  </a:lnTo>
                  <a:lnTo>
                    <a:pt x="2449258" y="11062"/>
                  </a:lnTo>
                  <a:lnTo>
                    <a:pt x="2449309" y="11062"/>
                  </a:lnTo>
                  <a:lnTo>
                    <a:pt x="2449410" y="11760"/>
                  </a:lnTo>
                  <a:lnTo>
                    <a:pt x="2449753" y="11760"/>
                  </a:lnTo>
                  <a:lnTo>
                    <a:pt x="2449855" y="11062"/>
                  </a:lnTo>
                  <a:lnTo>
                    <a:pt x="2449855" y="11760"/>
                  </a:lnTo>
                  <a:lnTo>
                    <a:pt x="2450007" y="11760"/>
                  </a:lnTo>
                  <a:lnTo>
                    <a:pt x="2450007" y="11062"/>
                  </a:lnTo>
                  <a:lnTo>
                    <a:pt x="2450096" y="11062"/>
                  </a:lnTo>
                  <a:lnTo>
                    <a:pt x="2450147" y="11760"/>
                  </a:lnTo>
                  <a:lnTo>
                    <a:pt x="2450350" y="11760"/>
                  </a:lnTo>
                  <a:lnTo>
                    <a:pt x="2450401" y="11062"/>
                  </a:lnTo>
                  <a:lnTo>
                    <a:pt x="2450452" y="11062"/>
                  </a:lnTo>
                  <a:lnTo>
                    <a:pt x="2450452" y="11760"/>
                  </a:lnTo>
                  <a:lnTo>
                    <a:pt x="2450553" y="11760"/>
                  </a:lnTo>
                  <a:lnTo>
                    <a:pt x="2450591" y="11062"/>
                  </a:lnTo>
                  <a:lnTo>
                    <a:pt x="2450642" y="11062"/>
                  </a:lnTo>
                  <a:lnTo>
                    <a:pt x="2450642" y="11760"/>
                  </a:lnTo>
                  <a:lnTo>
                    <a:pt x="2450693" y="11760"/>
                  </a:lnTo>
                  <a:lnTo>
                    <a:pt x="2450795" y="11062"/>
                  </a:lnTo>
                  <a:lnTo>
                    <a:pt x="2450846" y="11760"/>
                  </a:lnTo>
                  <a:lnTo>
                    <a:pt x="2450896" y="11062"/>
                  </a:lnTo>
                  <a:lnTo>
                    <a:pt x="2451493" y="11062"/>
                  </a:lnTo>
                  <a:lnTo>
                    <a:pt x="2451493" y="10414"/>
                  </a:lnTo>
                  <a:lnTo>
                    <a:pt x="2451595" y="10414"/>
                  </a:lnTo>
                  <a:lnTo>
                    <a:pt x="2451595" y="11062"/>
                  </a:lnTo>
                  <a:lnTo>
                    <a:pt x="2451684" y="11760"/>
                  </a:lnTo>
                  <a:lnTo>
                    <a:pt x="2451684" y="11062"/>
                  </a:lnTo>
                  <a:lnTo>
                    <a:pt x="2451988" y="11062"/>
                  </a:lnTo>
                  <a:lnTo>
                    <a:pt x="2451988" y="11760"/>
                  </a:lnTo>
                  <a:lnTo>
                    <a:pt x="2452039" y="11760"/>
                  </a:lnTo>
                  <a:lnTo>
                    <a:pt x="2452141" y="11062"/>
                  </a:lnTo>
                  <a:lnTo>
                    <a:pt x="2452230" y="11062"/>
                  </a:lnTo>
                  <a:lnTo>
                    <a:pt x="2452281" y="10414"/>
                  </a:lnTo>
                  <a:lnTo>
                    <a:pt x="2452382" y="11062"/>
                  </a:lnTo>
                  <a:lnTo>
                    <a:pt x="2452433" y="11062"/>
                  </a:lnTo>
                  <a:lnTo>
                    <a:pt x="2452433" y="10414"/>
                  </a:lnTo>
                  <a:lnTo>
                    <a:pt x="2452585" y="10414"/>
                  </a:lnTo>
                  <a:lnTo>
                    <a:pt x="2452585" y="11062"/>
                  </a:lnTo>
                  <a:lnTo>
                    <a:pt x="2452636" y="10414"/>
                  </a:lnTo>
                  <a:lnTo>
                    <a:pt x="2453030" y="10414"/>
                  </a:lnTo>
                  <a:lnTo>
                    <a:pt x="2453030" y="11062"/>
                  </a:lnTo>
                  <a:lnTo>
                    <a:pt x="2453081" y="10414"/>
                  </a:lnTo>
                  <a:lnTo>
                    <a:pt x="2453525" y="10414"/>
                  </a:lnTo>
                  <a:lnTo>
                    <a:pt x="2453576" y="9182"/>
                  </a:lnTo>
                  <a:lnTo>
                    <a:pt x="2453627" y="9182"/>
                  </a:lnTo>
                  <a:lnTo>
                    <a:pt x="2453627" y="10414"/>
                  </a:lnTo>
                  <a:lnTo>
                    <a:pt x="2453868" y="10414"/>
                  </a:lnTo>
                  <a:lnTo>
                    <a:pt x="2453970" y="9182"/>
                  </a:lnTo>
                  <a:lnTo>
                    <a:pt x="2454021" y="9182"/>
                  </a:lnTo>
                  <a:lnTo>
                    <a:pt x="2454071" y="10414"/>
                  </a:lnTo>
                  <a:lnTo>
                    <a:pt x="2454173" y="10414"/>
                  </a:lnTo>
                  <a:lnTo>
                    <a:pt x="2454224" y="9182"/>
                  </a:lnTo>
                  <a:lnTo>
                    <a:pt x="2454275" y="9182"/>
                  </a:lnTo>
                  <a:lnTo>
                    <a:pt x="2454275" y="10414"/>
                  </a:lnTo>
                  <a:lnTo>
                    <a:pt x="2454313" y="10414"/>
                  </a:lnTo>
                  <a:lnTo>
                    <a:pt x="2454313" y="9182"/>
                  </a:lnTo>
                  <a:lnTo>
                    <a:pt x="2455011" y="9182"/>
                  </a:lnTo>
                  <a:lnTo>
                    <a:pt x="2455113" y="8484"/>
                  </a:lnTo>
                  <a:lnTo>
                    <a:pt x="2455163" y="8484"/>
                  </a:lnTo>
                  <a:lnTo>
                    <a:pt x="2455214" y="9182"/>
                  </a:lnTo>
                  <a:lnTo>
                    <a:pt x="2455811" y="9182"/>
                  </a:lnTo>
                  <a:lnTo>
                    <a:pt x="2455811" y="10414"/>
                  </a:lnTo>
                  <a:lnTo>
                    <a:pt x="2455862" y="10414"/>
                  </a:lnTo>
                  <a:lnTo>
                    <a:pt x="2455900" y="9182"/>
                  </a:lnTo>
                  <a:lnTo>
                    <a:pt x="2456053" y="9182"/>
                  </a:lnTo>
                  <a:lnTo>
                    <a:pt x="2456103" y="8484"/>
                  </a:lnTo>
                  <a:lnTo>
                    <a:pt x="2456103" y="9182"/>
                  </a:lnTo>
                  <a:lnTo>
                    <a:pt x="2456306" y="9182"/>
                  </a:lnTo>
                  <a:lnTo>
                    <a:pt x="2456357" y="10414"/>
                  </a:lnTo>
                  <a:lnTo>
                    <a:pt x="2456446" y="10414"/>
                  </a:lnTo>
                  <a:lnTo>
                    <a:pt x="2456446" y="9182"/>
                  </a:lnTo>
                  <a:lnTo>
                    <a:pt x="2456497" y="8484"/>
                  </a:lnTo>
                  <a:lnTo>
                    <a:pt x="2456497" y="9182"/>
                  </a:lnTo>
                  <a:lnTo>
                    <a:pt x="2456548" y="9182"/>
                  </a:lnTo>
                  <a:lnTo>
                    <a:pt x="2456548" y="8484"/>
                  </a:lnTo>
                  <a:lnTo>
                    <a:pt x="2456903" y="8484"/>
                  </a:lnTo>
                  <a:lnTo>
                    <a:pt x="2456941" y="9182"/>
                  </a:lnTo>
                  <a:lnTo>
                    <a:pt x="2456941" y="8484"/>
                  </a:lnTo>
                  <a:lnTo>
                    <a:pt x="2456992" y="8484"/>
                  </a:lnTo>
                  <a:lnTo>
                    <a:pt x="2456992" y="9182"/>
                  </a:lnTo>
                  <a:lnTo>
                    <a:pt x="2457043" y="8484"/>
                  </a:lnTo>
                  <a:lnTo>
                    <a:pt x="2457145" y="8484"/>
                  </a:lnTo>
                  <a:lnTo>
                    <a:pt x="2457145" y="7836"/>
                  </a:lnTo>
                  <a:lnTo>
                    <a:pt x="2457196" y="8484"/>
                  </a:lnTo>
                  <a:lnTo>
                    <a:pt x="2457348" y="8484"/>
                  </a:lnTo>
                  <a:lnTo>
                    <a:pt x="2457399" y="7836"/>
                  </a:lnTo>
                  <a:lnTo>
                    <a:pt x="2457450" y="8484"/>
                  </a:lnTo>
                  <a:lnTo>
                    <a:pt x="2457488" y="8484"/>
                  </a:lnTo>
                  <a:lnTo>
                    <a:pt x="2457589" y="9182"/>
                  </a:lnTo>
                  <a:lnTo>
                    <a:pt x="2457589" y="8484"/>
                  </a:lnTo>
                  <a:lnTo>
                    <a:pt x="2458529" y="8484"/>
                  </a:lnTo>
                  <a:lnTo>
                    <a:pt x="2458529" y="7836"/>
                  </a:lnTo>
                  <a:lnTo>
                    <a:pt x="2458580" y="7836"/>
                  </a:lnTo>
                  <a:lnTo>
                    <a:pt x="2458631" y="8484"/>
                  </a:lnTo>
                  <a:lnTo>
                    <a:pt x="2458834" y="8484"/>
                  </a:lnTo>
                  <a:lnTo>
                    <a:pt x="2458935" y="7836"/>
                  </a:lnTo>
                  <a:lnTo>
                    <a:pt x="2458935" y="8484"/>
                  </a:lnTo>
                  <a:lnTo>
                    <a:pt x="2458986" y="7836"/>
                  </a:lnTo>
                  <a:lnTo>
                    <a:pt x="2458986" y="8484"/>
                  </a:lnTo>
                  <a:lnTo>
                    <a:pt x="2459481" y="8484"/>
                  </a:lnTo>
                  <a:lnTo>
                    <a:pt x="2459532" y="7836"/>
                  </a:lnTo>
                  <a:lnTo>
                    <a:pt x="2459977" y="7836"/>
                  </a:lnTo>
                  <a:lnTo>
                    <a:pt x="2460078" y="8484"/>
                  </a:lnTo>
                  <a:lnTo>
                    <a:pt x="2460116" y="7836"/>
                  </a:lnTo>
                  <a:lnTo>
                    <a:pt x="2460815" y="7836"/>
                  </a:lnTo>
                  <a:lnTo>
                    <a:pt x="2460815" y="8484"/>
                  </a:lnTo>
                  <a:lnTo>
                    <a:pt x="2460866" y="7836"/>
                  </a:lnTo>
                  <a:lnTo>
                    <a:pt x="2460967" y="7836"/>
                  </a:lnTo>
                  <a:lnTo>
                    <a:pt x="2460967" y="8484"/>
                  </a:lnTo>
                  <a:lnTo>
                    <a:pt x="2461018" y="7836"/>
                  </a:lnTo>
                  <a:lnTo>
                    <a:pt x="2461018" y="8484"/>
                  </a:lnTo>
                  <a:lnTo>
                    <a:pt x="2461069" y="7836"/>
                  </a:lnTo>
                  <a:lnTo>
                    <a:pt x="2461260" y="7836"/>
                  </a:lnTo>
                  <a:lnTo>
                    <a:pt x="2461260" y="7201"/>
                  </a:lnTo>
                  <a:lnTo>
                    <a:pt x="2461310" y="7201"/>
                  </a:lnTo>
                  <a:lnTo>
                    <a:pt x="2461310" y="7836"/>
                  </a:lnTo>
                  <a:lnTo>
                    <a:pt x="2462212" y="7836"/>
                  </a:lnTo>
                  <a:lnTo>
                    <a:pt x="2462212" y="7201"/>
                  </a:lnTo>
                  <a:lnTo>
                    <a:pt x="2462403" y="7201"/>
                  </a:lnTo>
                  <a:lnTo>
                    <a:pt x="2462453" y="7836"/>
                  </a:lnTo>
                  <a:lnTo>
                    <a:pt x="2462606" y="7836"/>
                  </a:lnTo>
                  <a:lnTo>
                    <a:pt x="2462606" y="7201"/>
                  </a:lnTo>
                  <a:lnTo>
                    <a:pt x="2462898" y="7201"/>
                  </a:lnTo>
                  <a:lnTo>
                    <a:pt x="2462898" y="7836"/>
                  </a:lnTo>
                  <a:lnTo>
                    <a:pt x="2462949" y="7201"/>
                  </a:lnTo>
                  <a:lnTo>
                    <a:pt x="2463050" y="7201"/>
                  </a:lnTo>
                  <a:lnTo>
                    <a:pt x="2463050" y="7836"/>
                  </a:lnTo>
                  <a:lnTo>
                    <a:pt x="2463101" y="7201"/>
                  </a:lnTo>
                  <a:lnTo>
                    <a:pt x="2463152" y="7201"/>
                  </a:lnTo>
                  <a:lnTo>
                    <a:pt x="2463253" y="5855"/>
                  </a:lnTo>
                  <a:lnTo>
                    <a:pt x="2463253" y="7201"/>
                  </a:lnTo>
                  <a:lnTo>
                    <a:pt x="2463495" y="7201"/>
                  </a:lnTo>
                  <a:lnTo>
                    <a:pt x="2463546" y="5855"/>
                  </a:lnTo>
                  <a:lnTo>
                    <a:pt x="2463596" y="5855"/>
                  </a:lnTo>
                  <a:lnTo>
                    <a:pt x="2463698" y="7201"/>
                  </a:lnTo>
                  <a:lnTo>
                    <a:pt x="2463749" y="5855"/>
                  </a:lnTo>
                  <a:lnTo>
                    <a:pt x="2463800" y="5855"/>
                  </a:lnTo>
                  <a:lnTo>
                    <a:pt x="2463838" y="7201"/>
                  </a:lnTo>
                  <a:lnTo>
                    <a:pt x="2463939" y="5855"/>
                  </a:lnTo>
                  <a:lnTo>
                    <a:pt x="2463939" y="7201"/>
                  </a:lnTo>
                  <a:lnTo>
                    <a:pt x="2463990" y="5855"/>
                  </a:lnTo>
                  <a:lnTo>
                    <a:pt x="2463990" y="7201"/>
                  </a:lnTo>
                  <a:lnTo>
                    <a:pt x="2464041" y="7201"/>
                  </a:lnTo>
                  <a:lnTo>
                    <a:pt x="2464142" y="5855"/>
                  </a:lnTo>
                  <a:lnTo>
                    <a:pt x="2464193" y="7201"/>
                  </a:lnTo>
                  <a:lnTo>
                    <a:pt x="2464244" y="5855"/>
                  </a:lnTo>
                  <a:lnTo>
                    <a:pt x="2464295" y="7201"/>
                  </a:lnTo>
                  <a:lnTo>
                    <a:pt x="2464688" y="7201"/>
                  </a:lnTo>
                  <a:lnTo>
                    <a:pt x="2464688" y="5855"/>
                  </a:lnTo>
                  <a:lnTo>
                    <a:pt x="2464739" y="5855"/>
                  </a:lnTo>
                  <a:lnTo>
                    <a:pt x="2464739" y="7201"/>
                  </a:lnTo>
                  <a:lnTo>
                    <a:pt x="2464879" y="7201"/>
                  </a:lnTo>
                  <a:lnTo>
                    <a:pt x="2464930" y="5855"/>
                  </a:lnTo>
                  <a:lnTo>
                    <a:pt x="2464930" y="7201"/>
                  </a:lnTo>
                  <a:lnTo>
                    <a:pt x="2465184" y="7201"/>
                  </a:lnTo>
                  <a:lnTo>
                    <a:pt x="2465184" y="5855"/>
                  </a:lnTo>
                  <a:lnTo>
                    <a:pt x="2465285" y="5855"/>
                  </a:lnTo>
                  <a:lnTo>
                    <a:pt x="2465336" y="7201"/>
                  </a:lnTo>
                  <a:lnTo>
                    <a:pt x="2465387" y="7201"/>
                  </a:lnTo>
                  <a:lnTo>
                    <a:pt x="2465425" y="5855"/>
                  </a:lnTo>
                  <a:lnTo>
                    <a:pt x="2465527" y="7201"/>
                  </a:lnTo>
                  <a:lnTo>
                    <a:pt x="2465578" y="7201"/>
                  </a:lnTo>
                  <a:lnTo>
                    <a:pt x="2465578" y="5855"/>
                  </a:lnTo>
                  <a:lnTo>
                    <a:pt x="2465628" y="5855"/>
                  </a:lnTo>
                  <a:lnTo>
                    <a:pt x="2465730" y="7201"/>
                  </a:lnTo>
                  <a:lnTo>
                    <a:pt x="2465781" y="7201"/>
                  </a:lnTo>
                  <a:lnTo>
                    <a:pt x="2465831" y="5855"/>
                  </a:lnTo>
                  <a:lnTo>
                    <a:pt x="2465882" y="5855"/>
                  </a:lnTo>
                  <a:lnTo>
                    <a:pt x="2465971" y="7201"/>
                  </a:lnTo>
                  <a:lnTo>
                    <a:pt x="2465971" y="5855"/>
                  </a:lnTo>
                  <a:lnTo>
                    <a:pt x="2466022" y="7201"/>
                  </a:lnTo>
                  <a:lnTo>
                    <a:pt x="2466073" y="7201"/>
                  </a:lnTo>
                  <a:lnTo>
                    <a:pt x="2466073" y="5855"/>
                  </a:lnTo>
                  <a:lnTo>
                    <a:pt x="2466771" y="5855"/>
                  </a:lnTo>
                  <a:lnTo>
                    <a:pt x="2466873" y="5207"/>
                  </a:lnTo>
                  <a:lnTo>
                    <a:pt x="2466975" y="5207"/>
                  </a:lnTo>
                  <a:lnTo>
                    <a:pt x="2466975" y="5855"/>
                  </a:lnTo>
                  <a:lnTo>
                    <a:pt x="2467863" y="5855"/>
                  </a:lnTo>
                  <a:lnTo>
                    <a:pt x="2467914" y="5207"/>
                  </a:lnTo>
                  <a:lnTo>
                    <a:pt x="2468308" y="5207"/>
                  </a:lnTo>
                  <a:lnTo>
                    <a:pt x="2468359" y="5855"/>
                  </a:lnTo>
                  <a:lnTo>
                    <a:pt x="2468359" y="5207"/>
                  </a:lnTo>
                  <a:lnTo>
                    <a:pt x="2468803" y="5207"/>
                  </a:lnTo>
                  <a:lnTo>
                    <a:pt x="2468905" y="5855"/>
                  </a:lnTo>
                  <a:lnTo>
                    <a:pt x="2469006" y="5855"/>
                  </a:lnTo>
                  <a:lnTo>
                    <a:pt x="2469006" y="5207"/>
                  </a:lnTo>
                  <a:lnTo>
                    <a:pt x="2469146" y="5207"/>
                  </a:lnTo>
                  <a:lnTo>
                    <a:pt x="2469146" y="4610"/>
                  </a:lnTo>
                  <a:lnTo>
                    <a:pt x="2469197" y="5207"/>
                  </a:lnTo>
                  <a:lnTo>
                    <a:pt x="2469248" y="5207"/>
                  </a:lnTo>
                  <a:lnTo>
                    <a:pt x="2469248" y="5855"/>
                  </a:lnTo>
                  <a:lnTo>
                    <a:pt x="2469299" y="5855"/>
                  </a:lnTo>
                  <a:lnTo>
                    <a:pt x="2469400" y="5207"/>
                  </a:lnTo>
                  <a:lnTo>
                    <a:pt x="2469502" y="5207"/>
                  </a:lnTo>
                  <a:lnTo>
                    <a:pt x="2469502" y="5855"/>
                  </a:lnTo>
                  <a:lnTo>
                    <a:pt x="2469692" y="5855"/>
                  </a:lnTo>
                  <a:lnTo>
                    <a:pt x="2469692" y="5207"/>
                  </a:lnTo>
                  <a:lnTo>
                    <a:pt x="2469743" y="5855"/>
                  </a:lnTo>
                  <a:lnTo>
                    <a:pt x="2469845" y="5855"/>
                  </a:lnTo>
                  <a:lnTo>
                    <a:pt x="2469845" y="5207"/>
                  </a:lnTo>
                  <a:lnTo>
                    <a:pt x="2470188" y="5207"/>
                  </a:lnTo>
                  <a:lnTo>
                    <a:pt x="2470188" y="4610"/>
                  </a:lnTo>
                  <a:lnTo>
                    <a:pt x="2470340" y="4610"/>
                  </a:lnTo>
                  <a:lnTo>
                    <a:pt x="2470340" y="5207"/>
                  </a:lnTo>
                  <a:lnTo>
                    <a:pt x="2470391" y="5207"/>
                  </a:lnTo>
                  <a:lnTo>
                    <a:pt x="2470492" y="5855"/>
                  </a:lnTo>
                  <a:lnTo>
                    <a:pt x="2470492" y="5207"/>
                  </a:lnTo>
                  <a:lnTo>
                    <a:pt x="2470734" y="5207"/>
                  </a:lnTo>
                  <a:lnTo>
                    <a:pt x="2470734" y="4610"/>
                  </a:lnTo>
                  <a:lnTo>
                    <a:pt x="2470988" y="4610"/>
                  </a:lnTo>
                  <a:lnTo>
                    <a:pt x="2470988" y="5207"/>
                  </a:lnTo>
                  <a:lnTo>
                    <a:pt x="2471038" y="4610"/>
                  </a:lnTo>
                  <a:lnTo>
                    <a:pt x="2471038" y="5207"/>
                  </a:lnTo>
                  <a:lnTo>
                    <a:pt x="2471191" y="5207"/>
                  </a:lnTo>
                  <a:lnTo>
                    <a:pt x="2471229" y="4610"/>
                  </a:lnTo>
                  <a:lnTo>
                    <a:pt x="2471280" y="4610"/>
                  </a:lnTo>
                  <a:lnTo>
                    <a:pt x="2471280" y="5207"/>
                  </a:lnTo>
                  <a:lnTo>
                    <a:pt x="2471432" y="5207"/>
                  </a:lnTo>
                  <a:lnTo>
                    <a:pt x="2471483" y="4610"/>
                  </a:lnTo>
                  <a:lnTo>
                    <a:pt x="2471635" y="4610"/>
                  </a:lnTo>
                  <a:lnTo>
                    <a:pt x="2471635" y="5207"/>
                  </a:lnTo>
                  <a:lnTo>
                    <a:pt x="2471737" y="5207"/>
                  </a:lnTo>
                  <a:lnTo>
                    <a:pt x="2471737" y="4610"/>
                  </a:lnTo>
                  <a:lnTo>
                    <a:pt x="2471775" y="4610"/>
                  </a:lnTo>
                  <a:lnTo>
                    <a:pt x="2471877" y="5207"/>
                  </a:lnTo>
                  <a:lnTo>
                    <a:pt x="2472816" y="5207"/>
                  </a:lnTo>
                  <a:lnTo>
                    <a:pt x="2472867" y="4610"/>
                  </a:lnTo>
                  <a:lnTo>
                    <a:pt x="2472867" y="5207"/>
                  </a:lnTo>
                  <a:lnTo>
                    <a:pt x="2472918" y="4610"/>
                  </a:lnTo>
                  <a:lnTo>
                    <a:pt x="2472918" y="5207"/>
                  </a:lnTo>
                  <a:lnTo>
                    <a:pt x="2473515" y="5207"/>
                  </a:lnTo>
                  <a:lnTo>
                    <a:pt x="2473515" y="4610"/>
                  </a:lnTo>
                  <a:lnTo>
                    <a:pt x="2473566" y="5207"/>
                  </a:lnTo>
                  <a:lnTo>
                    <a:pt x="2473667" y="4610"/>
                  </a:lnTo>
                  <a:lnTo>
                    <a:pt x="2473718" y="4610"/>
                  </a:lnTo>
                  <a:lnTo>
                    <a:pt x="2473769" y="5207"/>
                  </a:lnTo>
                  <a:lnTo>
                    <a:pt x="2473820" y="4610"/>
                  </a:lnTo>
                  <a:lnTo>
                    <a:pt x="2474607" y="4610"/>
                  </a:lnTo>
                  <a:lnTo>
                    <a:pt x="2474607" y="3975"/>
                  </a:lnTo>
                  <a:lnTo>
                    <a:pt x="2474709" y="3975"/>
                  </a:lnTo>
                  <a:lnTo>
                    <a:pt x="2474709" y="4610"/>
                  </a:lnTo>
                  <a:lnTo>
                    <a:pt x="2474861" y="4610"/>
                  </a:lnTo>
                  <a:lnTo>
                    <a:pt x="2474912" y="3975"/>
                  </a:lnTo>
                  <a:lnTo>
                    <a:pt x="2474950" y="3975"/>
                  </a:lnTo>
                  <a:lnTo>
                    <a:pt x="2474950" y="4610"/>
                  </a:lnTo>
                  <a:lnTo>
                    <a:pt x="2475103" y="4610"/>
                  </a:lnTo>
                  <a:lnTo>
                    <a:pt x="2475153" y="3975"/>
                  </a:lnTo>
                  <a:lnTo>
                    <a:pt x="2475255" y="3975"/>
                  </a:lnTo>
                  <a:lnTo>
                    <a:pt x="2475255" y="4610"/>
                  </a:lnTo>
                  <a:lnTo>
                    <a:pt x="2475356" y="4610"/>
                  </a:lnTo>
                  <a:lnTo>
                    <a:pt x="2475407" y="3975"/>
                  </a:lnTo>
                  <a:lnTo>
                    <a:pt x="2475496" y="4610"/>
                  </a:lnTo>
                  <a:lnTo>
                    <a:pt x="2475547" y="3975"/>
                  </a:lnTo>
                  <a:lnTo>
                    <a:pt x="2475547" y="4610"/>
                  </a:lnTo>
                  <a:lnTo>
                    <a:pt x="2475801" y="4610"/>
                  </a:lnTo>
                  <a:lnTo>
                    <a:pt x="2475852" y="3975"/>
                  </a:lnTo>
                  <a:lnTo>
                    <a:pt x="2475953" y="4610"/>
                  </a:lnTo>
                  <a:lnTo>
                    <a:pt x="2475991" y="4610"/>
                  </a:lnTo>
                  <a:lnTo>
                    <a:pt x="2475991" y="5207"/>
                  </a:lnTo>
                  <a:lnTo>
                    <a:pt x="2476042" y="5207"/>
                  </a:lnTo>
                  <a:lnTo>
                    <a:pt x="2476093" y="4610"/>
                  </a:lnTo>
                  <a:lnTo>
                    <a:pt x="2476690" y="4610"/>
                  </a:lnTo>
                  <a:lnTo>
                    <a:pt x="2476690" y="3975"/>
                  </a:lnTo>
                  <a:lnTo>
                    <a:pt x="2476741" y="4610"/>
                  </a:lnTo>
                  <a:lnTo>
                    <a:pt x="2477084" y="4610"/>
                  </a:lnTo>
                  <a:lnTo>
                    <a:pt x="2477135" y="3975"/>
                  </a:lnTo>
                  <a:lnTo>
                    <a:pt x="2477135" y="4610"/>
                  </a:lnTo>
                  <a:lnTo>
                    <a:pt x="2477782" y="4610"/>
                  </a:lnTo>
                  <a:lnTo>
                    <a:pt x="2477833" y="3975"/>
                  </a:lnTo>
                  <a:lnTo>
                    <a:pt x="2477884" y="4610"/>
                  </a:lnTo>
                  <a:lnTo>
                    <a:pt x="2477985" y="4610"/>
                  </a:lnTo>
                  <a:lnTo>
                    <a:pt x="2478036" y="3975"/>
                  </a:lnTo>
                  <a:lnTo>
                    <a:pt x="2478087" y="3975"/>
                  </a:lnTo>
                  <a:lnTo>
                    <a:pt x="2478125" y="4610"/>
                  </a:lnTo>
                  <a:lnTo>
                    <a:pt x="2478328" y="4610"/>
                  </a:lnTo>
                  <a:lnTo>
                    <a:pt x="2478430" y="3975"/>
                  </a:lnTo>
                  <a:lnTo>
                    <a:pt x="2478481" y="3975"/>
                  </a:lnTo>
                  <a:lnTo>
                    <a:pt x="2478531" y="4610"/>
                  </a:lnTo>
                  <a:lnTo>
                    <a:pt x="2479027" y="4610"/>
                  </a:lnTo>
                  <a:lnTo>
                    <a:pt x="2479027" y="3975"/>
                  </a:lnTo>
                  <a:lnTo>
                    <a:pt x="2479268" y="3975"/>
                  </a:lnTo>
                  <a:lnTo>
                    <a:pt x="2479370" y="4610"/>
                  </a:lnTo>
                  <a:lnTo>
                    <a:pt x="2479471" y="4610"/>
                  </a:lnTo>
                  <a:lnTo>
                    <a:pt x="2479471" y="3975"/>
                  </a:lnTo>
                  <a:lnTo>
                    <a:pt x="2480259" y="3975"/>
                  </a:lnTo>
                  <a:lnTo>
                    <a:pt x="2480259" y="3277"/>
                  </a:lnTo>
                  <a:lnTo>
                    <a:pt x="2480310" y="3975"/>
                  </a:lnTo>
                  <a:lnTo>
                    <a:pt x="2480411" y="3975"/>
                  </a:lnTo>
                  <a:lnTo>
                    <a:pt x="2480513" y="3277"/>
                  </a:lnTo>
                  <a:lnTo>
                    <a:pt x="2480513" y="3975"/>
                  </a:lnTo>
                  <a:lnTo>
                    <a:pt x="2480563" y="3975"/>
                  </a:lnTo>
                  <a:lnTo>
                    <a:pt x="2480563" y="4610"/>
                  </a:lnTo>
                  <a:lnTo>
                    <a:pt x="2480614" y="3975"/>
                  </a:lnTo>
                  <a:lnTo>
                    <a:pt x="2480805" y="3975"/>
                  </a:lnTo>
                  <a:lnTo>
                    <a:pt x="2480805" y="3277"/>
                  </a:lnTo>
                  <a:lnTo>
                    <a:pt x="2480856" y="3975"/>
                  </a:lnTo>
                  <a:lnTo>
                    <a:pt x="2481605" y="3975"/>
                  </a:lnTo>
                  <a:lnTo>
                    <a:pt x="2481605" y="3277"/>
                  </a:lnTo>
                  <a:lnTo>
                    <a:pt x="2481656" y="3975"/>
                  </a:lnTo>
                  <a:lnTo>
                    <a:pt x="2481706" y="3975"/>
                  </a:lnTo>
                  <a:lnTo>
                    <a:pt x="2481757" y="3277"/>
                  </a:lnTo>
                  <a:lnTo>
                    <a:pt x="2481846" y="3277"/>
                  </a:lnTo>
                  <a:lnTo>
                    <a:pt x="2481897" y="3975"/>
                  </a:lnTo>
                  <a:lnTo>
                    <a:pt x="2482151" y="3975"/>
                  </a:lnTo>
                  <a:lnTo>
                    <a:pt x="2482151" y="3277"/>
                  </a:lnTo>
                  <a:lnTo>
                    <a:pt x="2482202" y="3277"/>
                  </a:lnTo>
                  <a:lnTo>
                    <a:pt x="2482303" y="3975"/>
                  </a:lnTo>
                  <a:lnTo>
                    <a:pt x="2482443" y="3975"/>
                  </a:lnTo>
                  <a:lnTo>
                    <a:pt x="2482443" y="3277"/>
                  </a:lnTo>
                  <a:lnTo>
                    <a:pt x="2482646" y="3277"/>
                  </a:lnTo>
                  <a:lnTo>
                    <a:pt x="2482646" y="3975"/>
                  </a:lnTo>
                  <a:lnTo>
                    <a:pt x="2483294" y="3975"/>
                  </a:lnTo>
                  <a:lnTo>
                    <a:pt x="2483345" y="4610"/>
                  </a:lnTo>
                  <a:lnTo>
                    <a:pt x="2483434" y="4610"/>
                  </a:lnTo>
                  <a:lnTo>
                    <a:pt x="2483434" y="3975"/>
                  </a:lnTo>
                  <a:lnTo>
                    <a:pt x="2483586" y="3975"/>
                  </a:lnTo>
                  <a:lnTo>
                    <a:pt x="2483688" y="3277"/>
                  </a:lnTo>
                  <a:lnTo>
                    <a:pt x="2483688" y="3975"/>
                  </a:lnTo>
                  <a:lnTo>
                    <a:pt x="2483738" y="3975"/>
                  </a:lnTo>
                  <a:lnTo>
                    <a:pt x="2483738" y="4610"/>
                  </a:lnTo>
                  <a:lnTo>
                    <a:pt x="2483789" y="3975"/>
                  </a:lnTo>
                  <a:lnTo>
                    <a:pt x="2483891" y="3975"/>
                  </a:lnTo>
                  <a:lnTo>
                    <a:pt x="2483891" y="3277"/>
                  </a:lnTo>
                  <a:lnTo>
                    <a:pt x="2483980" y="3277"/>
                  </a:lnTo>
                  <a:lnTo>
                    <a:pt x="2483980" y="3975"/>
                  </a:lnTo>
                  <a:lnTo>
                    <a:pt x="2484183" y="3975"/>
                  </a:lnTo>
                  <a:lnTo>
                    <a:pt x="2484183" y="3277"/>
                  </a:lnTo>
                  <a:lnTo>
                    <a:pt x="2484386" y="3277"/>
                  </a:lnTo>
                  <a:lnTo>
                    <a:pt x="2484386" y="3975"/>
                  </a:lnTo>
                  <a:lnTo>
                    <a:pt x="2484437" y="3277"/>
                  </a:lnTo>
                  <a:lnTo>
                    <a:pt x="2484437" y="3975"/>
                  </a:lnTo>
                  <a:lnTo>
                    <a:pt x="2484678" y="3975"/>
                  </a:lnTo>
                  <a:lnTo>
                    <a:pt x="2484678" y="3277"/>
                  </a:lnTo>
                  <a:lnTo>
                    <a:pt x="2484932" y="3277"/>
                  </a:lnTo>
                  <a:lnTo>
                    <a:pt x="2485021" y="3975"/>
                  </a:lnTo>
                  <a:lnTo>
                    <a:pt x="2485072" y="3975"/>
                  </a:lnTo>
                  <a:lnTo>
                    <a:pt x="2485123" y="3277"/>
                  </a:lnTo>
                  <a:lnTo>
                    <a:pt x="2485516" y="3277"/>
                  </a:lnTo>
                  <a:lnTo>
                    <a:pt x="2485516" y="3975"/>
                  </a:lnTo>
                  <a:lnTo>
                    <a:pt x="2485567" y="3975"/>
                  </a:lnTo>
                  <a:lnTo>
                    <a:pt x="2485567" y="3277"/>
                  </a:lnTo>
                  <a:lnTo>
                    <a:pt x="2485771" y="3277"/>
                  </a:lnTo>
                  <a:lnTo>
                    <a:pt x="2485821" y="3975"/>
                  </a:lnTo>
                  <a:lnTo>
                    <a:pt x="2485923" y="3277"/>
                  </a:lnTo>
                  <a:lnTo>
                    <a:pt x="2485923" y="3975"/>
                  </a:lnTo>
                  <a:lnTo>
                    <a:pt x="2485974" y="3277"/>
                  </a:lnTo>
                  <a:lnTo>
                    <a:pt x="2486367" y="3277"/>
                  </a:lnTo>
                  <a:lnTo>
                    <a:pt x="2486418" y="1981"/>
                  </a:lnTo>
                  <a:lnTo>
                    <a:pt x="2486418" y="3277"/>
                  </a:lnTo>
                  <a:lnTo>
                    <a:pt x="2486761" y="3277"/>
                  </a:lnTo>
                  <a:lnTo>
                    <a:pt x="2486761" y="1981"/>
                  </a:lnTo>
                  <a:lnTo>
                    <a:pt x="2486863" y="3277"/>
                  </a:lnTo>
                  <a:lnTo>
                    <a:pt x="2486964" y="3277"/>
                  </a:lnTo>
                  <a:lnTo>
                    <a:pt x="2487066" y="1981"/>
                  </a:lnTo>
                  <a:lnTo>
                    <a:pt x="2487104" y="3277"/>
                  </a:lnTo>
                  <a:lnTo>
                    <a:pt x="2487358" y="3277"/>
                  </a:lnTo>
                  <a:lnTo>
                    <a:pt x="2487358" y="1981"/>
                  </a:lnTo>
                  <a:lnTo>
                    <a:pt x="2487409" y="1981"/>
                  </a:lnTo>
                  <a:lnTo>
                    <a:pt x="2487409" y="3277"/>
                  </a:lnTo>
                  <a:lnTo>
                    <a:pt x="2487510" y="1981"/>
                  </a:lnTo>
                  <a:lnTo>
                    <a:pt x="2487510" y="3277"/>
                  </a:lnTo>
                  <a:lnTo>
                    <a:pt x="2487561" y="1981"/>
                  </a:lnTo>
                  <a:lnTo>
                    <a:pt x="2487650" y="1981"/>
                  </a:lnTo>
                  <a:lnTo>
                    <a:pt x="2487650" y="3277"/>
                  </a:lnTo>
                  <a:lnTo>
                    <a:pt x="2487803" y="3277"/>
                  </a:lnTo>
                  <a:lnTo>
                    <a:pt x="2487803" y="1981"/>
                  </a:lnTo>
                  <a:lnTo>
                    <a:pt x="2487853" y="3277"/>
                  </a:lnTo>
                  <a:lnTo>
                    <a:pt x="2487955" y="1981"/>
                  </a:lnTo>
                  <a:lnTo>
                    <a:pt x="2488006" y="3277"/>
                  </a:lnTo>
                  <a:lnTo>
                    <a:pt x="2488107" y="3277"/>
                  </a:lnTo>
                  <a:lnTo>
                    <a:pt x="2488196" y="1981"/>
                  </a:lnTo>
                  <a:lnTo>
                    <a:pt x="2488247" y="3277"/>
                  </a:lnTo>
                  <a:lnTo>
                    <a:pt x="2488298" y="3277"/>
                  </a:lnTo>
                  <a:lnTo>
                    <a:pt x="2488349" y="3975"/>
                  </a:lnTo>
                  <a:lnTo>
                    <a:pt x="2488349" y="3277"/>
                  </a:lnTo>
                  <a:lnTo>
                    <a:pt x="2488450" y="3277"/>
                  </a:lnTo>
                  <a:lnTo>
                    <a:pt x="2488501" y="1981"/>
                  </a:lnTo>
                  <a:lnTo>
                    <a:pt x="2488552" y="3277"/>
                  </a:lnTo>
                  <a:lnTo>
                    <a:pt x="2488793" y="3277"/>
                  </a:lnTo>
                  <a:lnTo>
                    <a:pt x="2488895" y="1981"/>
                  </a:lnTo>
                  <a:lnTo>
                    <a:pt x="2488895" y="3277"/>
                  </a:lnTo>
                  <a:lnTo>
                    <a:pt x="2489200" y="3277"/>
                  </a:lnTo>
                  <a:lnTo>
                    <a:pt x="2489200" y="1981"/>
                  </a:lnTo>
                  <a:lnTo>
                    <a:pt x="2489339" y="1981"/>
                  </a:lnTo>
                  <a:lnTo>
                    <a:pt x="2489339" y="3277"/>
                  </a:lnTo>
                  <a:lnTo>
                    <a:pt x="2490139" y="3277"/>
                  </a:lnTo>
                  <a:lnTo>
                    <a:pt x="2490241" y="1981"/>
                  </a:lnTo>
                  <a:lnTo>
                    <a:pt x="2490685" y="1981"/>
                  </a:lnTo>
                  <a:lnTo>
                    <a:pt x="2490685" y="3277"/>
                  </a:lnTo>
                  <a:lnTo>
                    <a:pt x="2490825" y="3277"/>
                  </a:lnTo>
                  <a:lnTo>
                    <a:pt x="2490927" y="1981"/>
                  </a:lnTo>
                  <a:lnTo>
                    <a:pt x="2491282" y="1981"/>
                  </a:lnTo>
                  <a:lnTo>
                    <a:pt x="2491371" y="3277"/>
                  </a:lnTo>
                  <a:lnTo>
                    <a:pt x="2491422" y="3277"/>
                  </a:lnTo>
                  <a:lnTo>
                    <a:pt x="2491473" y="1981"/>
                  </a:lnTo>
                  <a:lnTo>
                    <a:pt x="2491676" y="1981"/>
                  </a:lnTo>
                  <a:lnTo>
                    <a:pt x="2491727" y="3277"/>
                  </a:lnTo>
                  <a:lnTo>
                    <a:pt x="2491828" y="3277"/>
                  </a:lnTo>
                  <a:lnTo>
                    <a:pt x="2491866" y="1981"/>
                  </a:lnTo>
                  <a:lnTo>
                    <a:pt x="2492324" y="1981"/>
                  </a:lnTo>
                  <a:lnTo>
                    <a:pt x="2492324" y="3277"/>
                  </a:lnTo>
                  <a:lnTo>
                    <a:pt x="2492375" y="3277"/>
                  </a:lnTo>
                  <a:lnTo>
                    <a:pt x="2492413" y="1981"/>
                  </a:lnTo>
                  <a:lnTo>
                    <a:pt x="2492514" y="1981"/>
                  </a:lnTo>
                  <a:lnTo>
                    <a:pt x="2492565" y="3277"/>
                  </a:lnTo>
                  <a:lnTo>
                    <a:pt x="2492565" y="1981"/>
                  </a:lnTo>
                  <a:lnTo>
                    <a:pt x="2492717" y="1981"/>
                  </a:lnTo>
                  <a:lnTo>
                    <a:pt x="2492717" y="3277"/>
                  </a:lnTo>
                  <a:lnTo>
                    <a:pt x="2492870" y="3277"/>
                  </a:lnTo>
                  <a:lnTo>
                    <a:pt x="2492959" y="1981"/>
                  </a:lnTo>
                  <a:lnTo>
                    <a:pt x="2492959" y="3277"/>
                  </a:lnTo>
                  <a:lnTo>
                    <a:pt x="2493111" y="3277"/>
                  </a:lnTo>
                  <a:lnTo>
                    <a:pt x="2493111" y="1981"/>
                  </a:lnTo>
                  <a:lnTo>
                    <a:pt x="2493556" y="1981"/>
                  </a:lnTo>
                  <a:lnTo>
                    <a:pt x="2493657" y="3277"/>
                  </a:lnTo>
                  <a:lnTo>
                    <a:pt x="2493708" y="3277"/>
                  </a:lnTo>
                  <a:lnTo>
                    <a:pt x="2493759" y="1981"/>
                  </a:lnTo>
                  <a:lnTo>
                    <a:pt x="2494000" y="1981"/>
                  </a:lnTo>
                  <a:lnTo>
                    <a:pt x="2494000" y="3277"/>
                  </a:lnTo>
                  <a:lnTo>
                    <a:pt x="2494203" y="3277"/>
                  </a:lnTo>
                  <a:lnTo>
                    <a:pt x="2494203" y="1981"/>
                  </a:lnTo>
                  <a:lnTo>
                    <a:pt x="2494356" y="1981"/>
                  </a:lnTo>
                  <a:lnTo>
                    <a:pt x="2494406" y="3277"/>
                  </a:lnTo>
                  <a:lnTo>
                    <a:pt x="2494457" y="1981"/>
                  </a:lnTo>
                  <a:lnTo>
                    <a:pt x="2494800" y="1981"/>
                  </a:lnTo>
                  <a:lnTo>
                    <a:pt x="2494851" y="3277"/>
                  </a:lnTo>
                  <a:lnTo>
                    <a:pt x="2494902" y="3277"/>
                  </a:lnTo>
                  <a:lnTo>
                    <a:pt x="2494902" y="1981"/>
                  </a:lnTo>
                  <a:lnTo>
                    <a:pt x="2495003" y="1981"/>
                  </a:lnTo>
                  <a:lnTo>
                    <a:pt x="2495003" y="3277"/>
                  </a:lnTo>
                  <a:lnTo>
                    <a:pt x="2495041" y="1981"/>
                  </a:lnTo>
                  <a:lnTo>
                    <a:pt x="2495092" y="1981"/>
                  </a:lnTo>
                  <a:lnTo>
                    <a:pt x="2495092" y="1346"/>
                  </a:lnTo>
                  <a:lnTo>
                    <a:pt x="2495143" y="1981"/>
                  </a:lnTo>
                  <a:lnTo>
                    <a:pt x="2496185" y="1981"/>
                  </a:lnTo>
                  <a:lnTo>
                    <a:pt x="2496185" y="1346"/>
                  </a:lnTo>
                  <a:lnTo>
                    <a:pt x="2496235" y="1981"/>
                  </a:lnTo>
                  <a:lnTo>
                    <a:pt x="2496438" y="1981"/>
                  </a:lnTo>
                  <a:lnTo>
                    <a:pt x="2496489" y="3277"/>
                  </a:lnTo>
                  <a:lnTo>
                    <a:pt x="2496489" y="1981"/>
                  </a:lnTo>
                  <a:lnTo>
                    <a:pt x="2496591" y="3277"/>
                  </a:lnTo>
                  <a:lnTo>
                    <a:pt x="2496591" y="1981"/>
                  </a:lnTo>
                  <a:lnTo>
                    <a:pt x="2496731" y="1981"/>
                  </a:lnTo>
                  <a:lnTo>
                    <a:pt x="2496832" y="1346"/>
                  </a:lnTo>
                  <a:lnTo>
                    <a:pt x="2496883" y="1346"/>
                  </a:lnTo>
                  <a:lnTo>
                    <a:pt x="2496883" y="1981"/>
                  </a:lnTo>
                  <a:lnTo>
                    <a:pt x="2497035" y="1981"/>
                  </a:lnTo>
                  <a:lnTo>
                    <a:pt x="2497086" y="3277"/>
                  </a:lnTo>
                  <a:lnTo>
                    <a:pt x="2497086" y="1981"/>
                  </a:lnTo>
                  <a:lnTo>
                    <a:pt x="2497175" y="1981"/>
                  </a:lnTo>
                  <a:lnTo>
                    <a:pt x="2497277" y="1346"/>
                  </a:lnTo>
                  <a:lnTo>
                    <a:pt x="2497277" y="1981"/>
                  </a:lnTo>
                  <a:lnTo>
                    <a:pt x="2497328" y="1981"/>
                  </a:lnTo>
                  <a:lnTo>
                    <a:pt x="2497378" y="1346"/>
                  </a:lnTo>
                  <a:lnTo>
                    <a:pt x="2497378" y="1981"/>
                  </a:lnTo>
                  <a:lnTo>
                    <a:pt x="2497480" y="1346"/>
                  </a:lnTo>
                  <a:lnTo>
                    <a:pt x="2497531" y="1981"/>
                  </a:lnTo>
                  <a:lnTo>
                    <a:pt x="2497632" y="1981"/>
                  </a:lnTo>
                  <a:lnTo>
                    <a:pt x="2497721" y="1346"/>
                  </a:lnTo>
                  <a:lnTo>
                    <a:pt x="2497772" y="1981"/>
                  </a:lnTo>
                  <a:lnTo>
                    <a:pt x="2497874" y="1981"/>
                  </a:lnTo>
                  <a:lnTo>
                    <a:pt x="2497975" y="1346"/>
                  </a:lnTo>
                  <a:lnTo>
                    <a:pt x="2497975" y="1981"/>
                  </a:lnTo>
                  <a:lnTo>
                    <a:pt x="2498966" y="1981"/>
                  </a:lnTo>
                  <a:lnTo>
                    <a:pt x="2498966" y="1346"/>
                  </a:lnTo>
                  <a:lnTo>
                    <a:pt x="2499067" y="1981"/>
                  </a:lnTo>
                  <a:lnTo>
                    <a:pt x="2499563" y="1981"/>
                  </a:lnTo>
                  <a:lnTo>
                    <a:pt x="2499613" y="1346"/>
                  </a:lnTo>
                  <a:lnTo>
                    <a:pt x="2499613" y="1981"/>
                  </a:lnTo>
                  <a:lnTo>
                    <a:pt x="2499664" y="1346"/>
                  </a:lnTo>
                  <a:lnTo>
                    <a:pt x="2499664" y="1981"/>
                  </a:lnTo>
                  <a:lnTo>
                    <a:pt x="2499804" y="1981"/>
                  </a:lnTo>
                  <a:lnTo>
                    <a:pt x="2499804" y="3277"/>
                  </a:lnTo>
                  <a:lnTo>
                    <a:pt x="2499855" y="3277"/>
                  </a:lnTo>
                  <a:lnTo>
                    <a:pt x="2499855" y="1981"/>
                  </a:lnTo>
                  <a:lnTo>
                    <a:pt x="2500109" y="1981"/>
                  </a:lnTo>
                  <a:lnTo>
                    <a:pt x="2500109" y="1346"/>
                  </a:lnTo>
                  <a:lnTo>
                    <a:pt x="2500350" y="1346"/>
                  </a:lnTo>
                  <a:lnTo>
                    <a:pt x="2500452" y="1981"/>
                  </a:lnTo>
                  <a:lnTo>
                    <a:pt x="2500452" y="1346"/>
                  </a:lnTo>
                  <a:lnTo>
                    <a:pt x="2500503" y="1981"/>
                  </a:lnTo>
                  <a:lnTo>
                    <a:pt x="2500503" y="1346"/>
                  </a:lnTo>
                  <a:lnTo>
                    <a:pt x="2500706" y="1346"/>
                  </a:lnTo>
                  <a:lnTo>
                    <a:pt x="2500756" y="1981"/>
                  </a:lnTo>
                  <a:lnTo>
                    <a:pt x="2500807" y="1981"/>
                  </a:lnTo>
                  <a:lnTo>
                    <a:pt x="2500807" y="1346"/>
                  </a:lnTo>
                  <a:lnTo>
                    <a:pt x="2500947" y="1346"/>
                  </a:lnTo>
                  <a:lnTo>
                    <a:pt x="2500998" y="1981"/>
                  </a:lnTo>
                  <a:lnTo>
                    <a:pt x="2501049" y="1346"/>
                  </a:lnTo>
                  <a:lnTo>
                    <a:pt x="2501049" y="1981"/>
                  </a:lnTo>
                  <a:lnTo>
                    <a:pt x="2501391" y="1981"/>
                  </a:lnTo>
                  <a:lnTo>
                    <a:pt x="2501442" y="1346"/>
                  </a:lnTo>
                  <a:lnTo>
                    <a:pt x="2502242" y="1346"/>
                  </a:lnTo>
                  <a:lnTo>
                    <a:pt x="2502293" y="1981"/>
                  </a:lnTo>
                  <a:lnTo>
                    <a:pt x="2502344" y="1981"/>
                  </a:lnTo>
                  <a:lnTo>
                    <a:pt x="2502344" y="1346"/>
                  </a:lnTo>
                  <a:lnTo>
                    <a:pt x="2502484" y="1346"/>
                  </a:lnTo>
                  <a:lnTo>
                    <a:pt x="2502535" y="1981"/>
                  </a:lnTo>
                  <a:lnTo>
                    <a:pt x="2502585" y="1346"/>
                  </a:lnTo>
                  <a:lnTo>
                    <a:pt x="2502941" y="1346"/>
                  </a:lnTo>
                  <a:lnTo>
                    <a:pt x="2502979" y="1981"/>
                  </a:lnTo>
                  <a:lnTo>
                    <a:pt x="2502979" y="1346"/>
                  </a:lnTo>
                  <a:lnTo>
                    <a:pt x="2503182" y="1346"/>
                  </a:lnTo>
                  <a:lnTo>
                    <a:pt x="2503233" y="1981"/>
                  </a:lnTo>
                  <a:lnTo>
                    <a:pt x="2503284" y="1346"/>
                  </a:lnTo>
                  <a:lnTo>
                    <a:pt x="2503436" y="1346"/>
                  </a:lnTo>
                  <a:lnTo>
                    <a:pt x="2503436" y="1981"/>
                  </a:lnTo>
                  <a:lnTo>
                    <a:pt x="2503487" y="1981"/>
                  </a:lnTo>
                  <a:lnTo>
                    <a:pt x="2503487" y="1346"/>
                  </a:lnTo>
                  <a:lnTo>
                    <a:pt x="2503678" y="1346"/>
                  </a:lnTo>
                  <a:lnTo>
                    <a:pt x="2503728" y="1981"/>
                  </a:lnTo>
                  <a:lnTo>
                    <a:pt x="2503830" y="1981"/>
                  </a:lnTo>
                  <a:lnTo>
                    <a:pt x="2503881" y="1346"/>
                  </a:lnTo>
                  <a:lnTo>
                    <a:pt x="2503881" y="1981"/>
                  </a:lnTo>
                  <a:lnTo>
                    <a:pt x="2504122" y="1981"/>
                  </a:lnTo>
                  <a:lnTo>
                    <a:pt x="2504173" y="1346"/>
                  </a:lnTo>
                  <a:lnTo>
                    <a:pt x="2504224" y="1346"/>
                  </a:lnTo>
                  <a:lnTo>
                    <a:pt x="2504325" y="1981"/>
                  </a:lnTo>
                  <a:lnTo>
                    <a:pt x="2504528" y="1981"/>
                  </a:lnTo>
                  <a:lnTo>
                    <a:pt x="2504528" y="1346"/>
                  </a:lnTo>
                  <a:lnTo>
                    <a:pt x="2504617" y="1346"/>
                  </a:lnTo>
                  <a:lnTo>
                    <a:pt x="2504617" y="1981"/>
                  </a:lnTo>
                  <a:lnTo>
                    <a:pt x="2504668" y="1346"/>
                  </a:lnTo>
                  <a:lnTo>
                    <a:pt x="2504668" y="1981"/>
                  </a:lnTo>
                  <a:lnTo>
                    <a:pt x="2504770" y="1981"/>
                  </a:lnTo>
                  <a:lnTo>
                    <a:pt x="2504770" y="1346"/>
                  </a:lnTo>
                  <a:lnTo>
                    <a:pt x="2504973" y="1346"/>
                  </a:lnTo>
                  <a:lnTo>
                    <a:pt x="2504973" y="1981"/>
                  </a:lnTo>
                  <a:lnTo>
                    <a:pt x="2505024" y="1346"/>
                  </a:lnTo>
                  <a:lnTo>
                    <a:pt x="2505075" y="1346"/>
                  </a:lnTo>
                  <a:lnTo>
                    <a:pt x="2505075" y="1981"/>
                  </a:lnTo>
                  <a:lnTo>
                    <a:pt x="2505113" y="1981"/>
                  </a:lnTo>
                  <a:lnTo>
                    <a:pt x="2505214" y="1346"/>
                  </a:lnTo>
                  <a:lnTo>
                    <a:pt x="2505265" y="1346"/>
                  </a:lnTo>
                  <a:lnTo>
                    <a:pt x="2505316" y="1981"/>
                  </a:lnTo>
                  <a:lnTo>
                    <a:pt x="2505468" y="1981"/>
                  </a:lnTo>
                  <a:lnTo>
                    <a:pt x="2505519" y="3277"/>
                  </a:lnTo>
                  <a:lnTo>
                    <a:pt x="2505570" y="1981"/>
                  </a:lnTo>
                  <a:lnTo>
                    <a:pt x="2505659" y="1981"/>
                  </a:lnTo>
                  <a:lnTo>
                    <a:pt x="2505710" y="1346"/>
                  </a:lnTo>
                  <a:lnTo>
                    <a:pt x="2506662" y="1346"/>
                  </a:lnTo>
                  <a:lnTo>
                    <a:pt x="2506662" y="1981"/>
                  </a:lnTo>
                  <a:lnTo>
                    <a:pt x="2506700" y="1346"/>
                  </a:lnTo>
                  <a:lnTo>
                    <a:pt x="2506802" y="1981"/>
                  </a:lnTo>
                  <a:lnTo>
                    <a:pt x="2506853" y="1346"/>
                  </a:lnTo>
                  <a:lnTo>
                    <a:pt x="2507005" y="1346"/>
                  </a:lnTo>
                  <a:lnTo>
                    <a:pt x="2507056" y="648"/>
                  </a:lnTo>
                  <a:lnTo>
                    <a:pt x="2507106" y="648"/>
                  </a:lnTo>
                  <a:lnTo>
                    <a:pt x="2507157" y="1346"/>
                  </a:lnTo>
                  <a:lnTo>
                    <a:pt x="2507246" y="1346"/>
                  </a:lnTo>
                  <a:lnTo>
                    <a:pt x="2507246" y="1981"/>
                  </a:lnTo>
                  <a:lnTo>
                    <a:pt x="2507399" y="1981"/>
                  </a:lnTo>
                  <a:lnTo>
                    <a:pt x="2507399" y="1346"/>
                  </a:lnTo>
                  <a:lnTo>
                    <a:pt x="2507741" y="1346"/>
                  </a:lnTo>
                  <a:lnTo>
                    <a:pt x="2507741" y="1981"/>
                  </a:lnTo>
                  <a:lnTo>
                    <a:pt x="2507792" y="1981"/>
                  </a:lnTo>
                  <a:lnTo>
                    <a:pt x="2507792" y="1346"/>
                  </a:lnTo>
                  <a:lnTo>
                    <a:pt x="2507843" y="1981"/>
                  </a:lnTo>
                  <a:lnTo>
                    <a:pt x="2507843" y="1346"/>
                  </a:lnTo>
                  <a:lnTo>
                    <a:pt x="2510078" y="1346"/>
                  </a:lnTo>
                  <a:lnTo>
                    <a:pt x="2510180" y="1981"/>
                  </a:lnTo>
                  <a:lnTo>
                    <a:pt x="2510281" y="1981"/>
                  </a:lnTo>
                  <a:lnTo>
                    <a:pt x="2510281" y="1346"/>
                  </a:lnTo>
                  <a:lnTo>
                    <a:pt x="2510574" y="1346"/>
                  </a:lnTo>
                  <a:lnTo>
                    <a:pt x="2510574" y="1981"/>
                  </a:lnTo>
                  <a:lnTo>
                    <a:pt x="2510675" y="1346"/>
                  </a:lnTo>
                  <a:lnTo>
                    <a:pt x="2510916" y="1346"/>
                  </a:lnTo>
                  <a:lnTo>
                    <a:pt x="2510967" y="648"/>
                  </a:lnTo>
                  <a:lnTo>
                    <a:pt x="2511120" y="648"/>
                  </a:lnTo>
                  <a:lnTo>
                    <a:pt x="2511120" y="1346"/>
                  </a:lnTo>
                  <a:lnTo>
                    <a:pt x="2511171" y="1346"/>
                  </a:lnTo>
                  <a:lnTo>
                    <a:pt x="2511221" y="1981"/>
                  </a:lnTo>
                  <a:lnTo>
                    <a:pt x="2511221" y="1346"/>
                  </a:lnTo>
                  <a:lnTo>
                    <a:pt x="2511323" y="1346"/>
                  </a:lnTo>
                  <a:lnTo>
                    <a:pt x="2511374" y="1981"/>
                  </a:lnTo>
                  <a:lnTo>
                    <a:pt x="2511374" y="1346"/>
                  </a:lnTo>
                  <a:lnTo>
                    <a:pt x="2511564" y="1346"/>
                  </a:lnTo>
                  <a:lnTo>
                    <a:pt x="2511615" y="648"/>
                  </a:lnTo>
                  <a:lnTo>
                    <a:pt x="2511666" y="1346"/>
                  </a:lnTo>
                  <a:lnTo>
                    <a:pt x="2512009" y="1346"/>
                  </a:lnTo>
                  <a:lnTo>
                    <a:pt x="2512009" y="648"/>
                  </a:lnTo>
                  <a:lnTo>
                    <a:pt x="2512060" y="1346"/>
                  </a:lnTo>
                  <a:lnTo>
                    <a:pt x="2512364" y="1346"/>
                  </a:lnTo>
                  <a:lnTo>
                    <a:pt x="2512364" y="1981"/>
                  </a:lnTo>
                  <a:lnTo>
                    <a:pt x="2512466" y="1346"/>
                  </a:lnTo>
                  <a:lnTo>
                    <a:pt x="2512555" y="1346"/>
                  </a:lnTo>
                  <a:lnTo>
                    <a:pt x="2512606" y="1981"/>
                  </a:lnTo>
                  <a:lnTo>
                    <a:pt x="2512606" y="1346"/>
                  </a:lnTo>
                  <a:lnTo>
                    <a:pt x="2512758" y="1346"/>
                  </a:lnTo>
                  <a:lnTo>
                    <a:pt x="2512809" y="648"/>
                  </a:lnTo>
                  <a:lnTo>
                    <a:pt x="2512910" y="1346"/>
                  </a:lnTo>
                  <a:lnTo>
                    <a:pt x="2513253" y="1346"/>
                  </a:lnTo>
                  <a:lnTo>
                    <a:pt x="2513355" y="648"/>
                  </a:lnTo>
                  <a:lnTo>
                    <a:pt x="2513406" y="1346"/>
                  </a:lnTo>
                  <a:lnTo>
                    <a:pt x="2513952" y="1346"/>
                  </a:lnTo>
                  <a:lnTo>
                    <a:pt x="2514053" y="648"/>
                  </a:lnTo>
                  <a:lnTo>
                    <a:pt x="2514091" y="1346"/>
                  </a:lnTo>
                  <a:lnTo>
                    <a:pt x="2514600" y="1346"/>
                  </a:lnTo>
                  <a:lnTo>
                    <a:pt x="2514638" y="648"/>
                  </a:lnTo>
                  <a:lnTo>
                    <a:pt x="2514638" y="1346"/>
                  </a:lnTo>
                  <a:lnTo>
                    <a:pt x="2514942" y="1346"/>
                  </a:lnTo>
                  <a:lnTo>
                    <a:pt x="2514993" y="648"/>
                  </a:lnTo>
                  <a:lnTo>
                    <a:pt x="2515044" y="648"/>
                  </a:lnTo>
                  <a:lnTo>
                    <a:pt x="2515044" y="1346"/>
                  </a:lnTo>
                  <a:lnTo>
                    <a:pt x="2515184" y="1346"/>
                  </a:lnTo>
                  <a:lnTo>
                    <a:pt x="2515184" y="648"/>
                  </a:lnTo>
                  <a:lnTo>
                    <a:pt x="2515235" y="1346"/>
                  </a:lnTo>
                  <a:lnTo>
                    <a:pt x="2515336" y="1346"/>
                  </a:lnTo>
                  <a:lnTo>
                    <a:pt x="2515336" y="648"/>
                  </a:lnTo>
                  <a:lnTo>
                    <a:pt x="2515730" y="648"/>
                  </a:lnTo>
                  <a:lnTo>
                    <a:pt x="2515730" y="1346"/>
                  </a:lnTo>
                  <a:lnTo>
                    <a:pt x="2515933" y="1346"/>
                  </a:lnTo>
                  <a:lnTo>
                    <a:pt x="2515933" y="648"/>
                  </a:lnTo>
                  <a:lnTo>
                    <a:pt x="2516187" y="648"/>
                  </a:lnTo>
                  <a:lnTo>
                    <a:pt x="2516225" y="1346"/>
                  </a:lnTo>
                  <a:lnTo>
                    <a:pt x="2516581" y="1346"/>
                  </a:lnTo>
                  <a:lnTo>
                    <a:pt x="2516631" y="648"/>
                  </a:lnTo>
                  <a:lnTo>
                    <a:pt x="2516682" y="648"/>
                  </a:lnTo>
                  <a:lnTo>
                    <a:pt x="2516682" y="1346"/>
                  </a:lnTo>
                  <a:lnTo>
                    <a:pt x="2516873" y="1346"/>
                  </a:lnTo>
                  <a:lnTo>
                    <a:pt x="2516873" y="648"/>
                  </a:lnTo>
                  <a:lnTo>
                    <a:pt x="2517076" y="648"/>
                  </a:lnTo>
                  <a:lnTo>
                    <a:pt x="2517127" y="1346"/>
                  </a:lnTo>
                  <a:lnTo>
                    <a:pt x="2517317" y="1346"/>
                  </a:lnTo>
                  <a:lnTo>
                    <a:pt x="2517368" y="648"/>
                  </a:lnTo>
                  <a:lnTo>
                    <a:pt x="2517368" y="1346"/>
                  </a:lnTo>
                  <a:lnTo>
                    <a:pt x="2517521" y="1346"/>
                  </a:lnTo>
                  <a:lnTo>
                    <a:pt x="2517521" y="648"/>
                  </a:lnTo>
                  <a:lnTo>
                    <a:pt x="2517724" y="648"/>
                  </a:lnTo>
                  <a:lnTo>
                    <a:pt x="2517775" y="1346"/>
                  </a:lnTo>
                  <a:lnTo>
                    <a:pt x="2517775" y="648"/>
                  </a:lnTo>
                  <a:lnTo>
                    <a:pt x="2517813" y="1346"/>
                  </a:lnTo>
                  <a:lnTo>
                    <a:pt x="2517965" y="1346"/>
                  </a:lnTo>
                  <a:lnTo>
                    <a:pt x="2518016" y="648"/>
                  </a:lnTo>
                  <a:lnTo>
                    <a:pt x="2518016" y="1346"/>
                  </a:lnTo>
                  <a:lnTo>
                    <a:pt x="2518117" y="1346"/>
                  </a:lnTo>
                  <a:lnTo>
                    <a:pt x="2518117" y="648"/>
                  </a:lnTo>
                  <a:lnTo>
                    <a:pt x="2518219" y="648"/>
                  </a:lnTo>
                  <a:lnTo>
                    <a:pt x="2518219" y="1346"/>
                  </a:lnTo>
                  <a:lnTo>
                    <a:pt x="2518270" y="648"/>
                  </a:lnTo>
                  <a:lnTo>
                    <a:pt x="2518359" y="648"/>
                  </a:lnTo>
                  <a:lnTo>
                    <a:pt x="2518359" y="0"/>
                  </a:lnTo>
                  <a:lnTo>
                    <a:pt x="2518410" y="648"/>
                  </a:lnTo>
                  <a:lnTo>
                    <a:pt x="2518511" y="648"/>
                  </a:lnTo>
                  <a:lnTo>
                    <a:pt x="2518511" y="1346"/>
                  </a:lnTo>
                  <a:lnTo>
                    <a:pt x="2518714" y="1346"/>
                  </a:lnTo>
                  <a:lnTo>
                    <a:pt x="2518714" y="648"/>
                  </a:lnTo>
                  <a:lnTo>
                    <a:pt x="2518905" y="648"/>
                  </a:lnTo>
                  <a:lnTo>
                    <a:pt x="2518905" y="1346"/>
                  </a:lnTo>
                  <a:lnTo>
                    <a:pt x="2518956" y="648"/>
                  </a:lnTo>
                  <a:lnTo>
                    <a:pt x="2519159" y="648"/>
                  </a:lnTo>
                  <a:lnTo>
                    <a:pt x="2519260" y="1346"/>
                  </a:lnTo>
                  <a:lnTo>
                    <a:pt x="2519311" y="648"/>
                  </a:lnTo>
                  <a:lnTo>
                    <a:pt x="2519311" y="1346"/>
                  </a:lnTo>
                  <a:lnTo>
                    <a:pt x="2519400" y="1346"/>
                  </a:lnTo>
                  <a:lnTo>
                    <a:pt x="2519502" y="648"/>
                  </a:lnTo>
                  <a:lnTo>
                    <a:pt x="2519553" y="1346"/>
                  </a:lnTo>
                  <a:lnTo>
                    <a:pt x="2519603" y="648"/>
                  </a:lnTo>
                  <a:lnTo>
                    <a:pt x="2519857" y="648"/>
                  </a:lnTo>
                  <a:lnTo>
                    <a:pt x="2519946" y="1346"/>
                  </a:lnTo>
                  <a:lnTo>
                    <a:pt x="2519997" y="648"/>
                  </a:lnTo>
                  <a:lnTo>
                    <a:pt x="2519997" y="1346"/>
                  </a:lnTo>
                  <a:lnTo>
                    <a:pt x="2520492" y="1346"/>
                  </a:lnTo>
                  <a:lnTo>
                    <a:pt x="2520543" y="648"/>
                  </a:lnTo>
                  <a:lnTo>
                    <a:pt x="2520696" y="648"/>
                  </a:lnTo>
                  <a:lnTo>
                    <a:pt x="2520746" y="1346"/>
                  </a:lnTo>
                  <a:lnTo>
                    <a:pt x="2520899" y="1346"/>
                  </a:lnTo>
                  <a:lnTo>
                    <a:pt x="2520950" y="648"/>
                  </a:lnTo>
                  <a:lnTo>
                    <a:pt x="2520950" y="1346"/>
                  </a:lnTo>
                  <a:lnTo>
                    <a:pt x="2521140" y="1346"/>
                  </a:lnTo>
                  <a:lnTo>
                    <a:pt x="2521140" y="648"/>
                  </a:lnTo>
                  <a:lnTo>
                    <a:pt x="2521394" y="648"/>
                  </a:lnTo>
                  <a:lnTo>
                    <a:pt x="2521394" y="1346"/>
                  </a:lnTo>
                  <a:lnTo>
                    <a:pt x="2521445" y="1346"/>
                  </a:lnTo>
                  <a:lnTo>
                    <a:pt x="2521445" y="648"/>
                  </a:lnTo>
                  <a:lnTo>
                    <a:pt x="2521534" y="1346"/>
                  </a:lnTo>
                  <a:lnTo>
                    <a:pt x="2521635" y="1346"/>
                  </a:lnTo>
                  <a:lnTo>
                    <a:pt x="2521635" y="648"/>
                  </a:lnTo>
                  <a:lnTo>
                    <a:pt x="2521686" y="648"/>
                  </a:lnTo>
                  <a:lnTo>
                    <a:pt x="2521686" y="0"/>
                  </a:lnTo>
                  <a:lnTo>
                    <a:pt x="2521788" y="648"/>
                  </a:lnTo>
                  <a:lnTo>
                    <a:pt x="2521838" y="648"/>
                  </a:lnTo>
                  <a:lnTo>
                    <a:pt x="2521838" y="1346"/>
                  </a:lnTo>
                  <a:lnTo>
                    <a:pt x="2521889" y="648"/>
                  </a:lnTo>
                  <a:lnTo>
                    <a:pt x="2521991" y="1346"/>
                  </a:lnTo>
                  <a:lnTo>
                    <a:pt x="2522232" y="1346"/>
                  </a:lnTo>
                  <a:lnTo>
                    <a:pt x="2522283" y="648"/>
                  </a:lnTo>
                  <a:lnTo>
                    <a:pt x="2522334" y="648"/>
                  </a:lnTo>
                  <a:lnTo>
                    <a:pt x="2522334" y="1346"/>
                  </a:lnTo>
                  <a:lnTo>
                    <a:pt x="2522435" y="1346"/>
                  </a:lnTo>
                  <a:lnTo>
                    <a:pt x="2522435" y="648"/>
                  </a:lnTo>
                  <a:lnTo>
                    <a:pt x="2522486" y="648"/>
                  </a:lnTo>
                  <a:lnTo>
                    <a:pt x="2522486" y="1346"/>
                  </a:lnTo>
                  <a:lnTo>
                    <a:pt x="2522575" y="1346"/>
                  </a:lnTo>
                  <a:lnTo>
                    <a:pt x="2522677" y="648"/>
                  </a:lnTo>
                  <a:lnTo>
                    <a:pt x="2522677" y="1346"/>
                  </a:lnTo>
                  <a:lnTo>
                    <a:pt x="2522880" y="1346"/>
                  </a:lnTo>
                  <a:lnTo>
                    <a:pt x="2522931" y="648"/>
                  </a:lnTo>
                  <a:lnTo>
                    <a:pt x="2523375" y="648"/>
                  </a:lnTo>
                  <a:lnTo>
                    <a:pt x="2523375" y="1346"/>
                  </a:lnTo>
                  <a:lnTo>
                    <a:pt x="2523578" y="1346"/>
                  </a:lnTo>
                  <a:lnTo>
                    <a:pt x="2523616" y="648"/>
                  </a:lnTo>
                  <a:lnTo>
                    <a:pt x="2523667" y="1346"/>
                  </a:lnTo>
                  <a:lnTo>
                    <a:pt x="2523667" y="648"/>
                  </a:lnTo>
                  <a:lnTo>
                    <a:pt x="2523718" y="648"/>
                  </a:lnTo>
                  <a:lnTo>
                    <a:pt x="2523820" y="1346"/>
                  </a:lnTo>
                  <a:lnTo>
                    <a:pt x="2523871" y="1346"/>
                  </a:lnTo>
                  <a:lnTo>
                    <a:pt x="2523921" y="648"/>
                  </a:lnTo>
                  <a:lnTo>
                    <a:pt x="2524125" y="648"/>
                  </a:lnTo>
                  <a:lnTo>
                    <a:pt x="2524125" y="1346"/>
                  </a:lnTo>
                  <a:lnTo>
                    <a:pt x="2524163" y="648"/>
                  </a:lnTo>
                  <a:lnTo>
                    <a:pt x="2524163" y="1346"/>
                  </a:lnTo>
                  <a:lnTo>
                    <a:pt x="2524264" y="1346"/>
                  </a:lnTo>
                  <a:lnTo>
                    <a:pt x="2524264" y="648"/>
                  </a:lnTo>
                  <a:lnTo>
                    <a:pt x="2524315" y="648"/>
                  </a:lnTo>
                  <a:lnTo>
                    <a:pt x="2524366" y="1346"/>
                  </a:lnTo>
                  <a:lnTo>
                    <a:pt x="2524518" y="1346"/>
                  </a:lnTo>
                  <a:lnTo>
                    <a:pt x="2524518" y="648"/>
                  </a:lnTo>
                  <a:lnTo>
                    <a:pt x="2524620" y="648"/>
                  </a:lnTo>
                  <a:lnTo>
                    <a:pt x="2524709" y="1346"/>
                  </a:lnTo>
                  <a:lnTo>
                    <a:pt x="2524760" y="648"/>
                  </a:lnTo>
                  <a:lnTo>
                    <a:pt x="2524810" y="1346"/>
                  </a:lnTo>
                  <a:lnTo>
                    <a:pt x="2525013" y="1346"/>
                  </a:lnTo>
                  <a:lnTo>
                    <a:pt x="2525064" y="648"/>
                  </a:lnTo>
                  <a:lnTo>
                    <a:pt x="2525166" y="648"/>
                  </a:lnTo>
                  <a:lnTo>
                    <a:pt x="2525166" y="1346"/>
                  </a:lnTo>
                  <a:lnTo>
                    <a:pt x="2525204" y="1346"/>
                  </a:lnTo>
                  <a:lnTo>
                    <a:pt x="2525204" y="648"/>
                  </a:lnTo>
                  <a:lnTo>
                    <a:pt x="2525306" y="648"/>
                  </a:lnTo>
                  <a:lnTo>
                    <a:pt x="2525407" y="1346"/>
                  </a:lnTo>
                  <a:lnTo>
                    <a:pt x="2525458" y="648"/>
                  </a:lnTo>
                  <a:lnTo>
                    <a:pt x="2525458" y="1346"/>
                  </a:lnTo>
                  <a:lnTo>
                    <a:pt x="2525903" y="1346"/>
                  </a:lnTo>
                  <a:lnTo>
                    <a:pt x="2525903" y="648"/>
                  </a:lnTo>
                  <a:lnTo>
                    <a:pt x="2526156" y="648"/>
                  </a:lnTo>
                  <a:lnTo>
                    <a:pt x="2526207" y="1346"/>
                  </a:lnTo>
                  <a:lnTo>
                    <a:pt x="2526207" y="648"/>
                  </a:lnTo>
                  <a:lnTo>
                    <a:pt x="2526995" y="648"/>
                  </a:lnTo>
                  <a:lnTo>
                    <a:pt x="2527046" y="1346"/>
                  </a:lnTo>
                  <a:lnTo>
                    <a:pt x="2527046" y="648"/>
                  </a:lnTo>
                  <a:lnTo>
                    <a:pt x="2527096" y="1346"/>
                  </a:lnTo>
                  <a:lnTo>
                    <a:pt x="2527249" y="1346"/>
                  </a:lnTo>
                  <a:lnTo>
                    <a:pt x="2527300" y="648"/>
                  </a:lnTo>
                  <a:lnTo>
                    <a:pt x="2527490" y="648"/>
                  </a:lnTo>
                  <a:lnTo>
                    <a:pt x="2527541" y="1346"/>
                  </a:lnTo>
                  <a:lnTo>
                    <a:pt x="2527541" y="648"/>
                  </a:lnTo>
                  <a:lnTo>
                    <a:pt x="2527884" y="648"/>
                  </a:lnTo>
                  <a:lnTo>
                    <a:pt x="2527935" y="1346"/>
                  </a:lnTo>
                  <a:lnTo>
                    <a:pt x="2527985" y="1346"/>
                  </a:lnTo>
                  <a:lnTo>
                    <a:pt x="2528036" y="648"/>
                  </a:lnTo>
                  <a:lnTo>
                    <a:pt x="2528633" y="648"/>
                  </a:lnTo>
                  <a:lnTo>
                    <a:pt x="2528633" y="1346"/>
                  </a:lnTo>
                  <a:lnTo>
                    <a:pt x="2528785" y="1346"/>
                  </a:lnTo>
                  <a:lnTo>
                    <a:pt x="2528785" y="648"/>
                  </a:lnTo>
                  <a:lnTo>
                    <a:pt x="2528887" y="648"/>
                  </a:lnTo>
                  <a:lnTo>
                    <a:pt x="2528925" y="1346"/>
                  </a:lnTo>
                  <a:lnTo>
                    <a:pt x="2528925" y="648"/>
                  </a:lnTo>
                  <a:lnTo>
                    <a:pt x="2529078" y="648"/>
                  </a:lnTo>
                  <a:lnTo>
                    <a:pt x="2529078" y="1346"/>
                  </a:lnTo>
                  <a:lnTo>
                    <a:pt x="2529128" y="1346"/>
                  </a:lnTo>
                  <a:lnTo>
                    <a:pt x="2529128" y="648"/>
                  </a:lnTo>
                  <a:lnTo>
                    <a:pt x="2529382" y="648"/>
                  </a:lnTo>
                  <a:lnTo>
                    <a:pt x="2529471" y="1346"/>
                  </a:lnTo>
                  <a:lnTo>
                    <a:pt x="2529725" y="1346"/>
                  </a:lnTo>
                  <a:lnTo>
                    <a:pt x="2529725" y="648"/>
                  </a:lnTo>
                  <a:lnTo>
                    <a:pt x="2529776" y="648"/>
                  </a:lnTo>
                  <a:lnTo>
                    <a:pt x="2529827" y="1346"/>
                  </a:lnTo>
                  <a:lnTo>
                    <a:pt x="2530271" y="1346"/>
                  </a:lnTo>
                  <a:lnTo>
                    <a:pt x="2530373" y="648"/>
                  </a:lnTo>
                  <a:lnTo>
                    <a:pt x="2530373" y="1346"/>
                  </a:lnTo>
                  <a:lnTo>
                    <a:pt x="2530424" y="1346"/>
                  </a:lnTo>
                  <a:lnTo>
                    <a:pt x="2530475" y="648"/>
                  </a:lnTo>
                  <a:lnTo>
                    <a:pt x="2530513" y="1346"/>
                  </a:lnTo>
                  <a:lnTo>
                    <a:pt x="2530513" y="648"/>
                  </a:lnTo>
                  <a:lnTo>
                    <a:pt x="2530614" y="1346"/>
                  </a:lnTo>
                  <a:lnTo>
                    <a:pt x="2530665" y="648"/>
                  </a:lnTo>
                  <a:lnTo>
                    <a:pt x="2530817" y="648"/>
                  </a:lnTo>
                  <a:lnTo>
                    <a:pt x="2530817" y="1346"/>
                  </a:lnTo>
                  <a:lnTo>
                    <a:pt x="2530868" y="648"/>
                  </a:lnTo>
                  <a:lnTo>
                    <a:pt x="2531554" y="648"/>
                  </a:lnTo>
                  <a:lnTo>
                    <a:pt x="2531554" y="1346"/>
                  </a:lnTo>
                  <a:lnTo>
                    <a:pt x="2531605" y="648"/>
                  </a:lnTo>
                  <a:lnTo>
                    <a:pt x="2531757" y="648"/>
                  </a:lnTo>
                  <a:lnTo>
                    <a:pt x="2531808" y="1346"/>
                  </a:lnTo>
                  <a:lnTo>
                    <a:pt x="2531859" y="1346"/>
                  </a:lnTo>
                  <a:lnTo>
                    <a:pt x="2531859" y="648"/>
                  </a:lnTo>
                  <a:lnTo>
                    <a:pt x="2532202" y="648"/>
                  </a:lnTo>
                  <a:lnTo>
                    <a:pt x="2532253" y="1346"/>
                  </a:lnTo>
                  <a:lnTo>
                    <a:pt x="2532303" y="1346"/>
                  </a:lnTo>
                  <a:lnTo>
                    <a:pt x="2532303" y="648"/>
                  </a:lnTo>
                  <a:lnTo>
                    <a:pt x="2532456" y="648"/>
                  </a:lnTo>
                  <a:lnTo>
                    <a:pt x="2532456" y="1346"/>
                  </a:lnTo>
                  <a:lnTo>
                    <a:pt x="2532646" y="1346"/>
                  </a:lnTo>
                  <a:lnTo>
                    <a:pt x="2532697" y="648"/>
                  </a:lnTo>
                  <a:lnTo>
                    <a:pt x="2532748" y="648"/>
                  </a:lnTo>
                  <a:lnTo>
                    <a:pt x="2532799" y="1346"/>
                  </a:lnTo>
                  <a:lnTo>
                    <a:pt x="2532951" y="1346"/>
                  </a:lnTo>
                  <a:lnTo>
                    <a:pt x="2533002" y="648"/>
                  </a:lnTo>
                  <a:lnTo>
                    <a:pt x="2533243" y="648"/>
                  </a:lnTo>
                  <a:lnTo>
                    <a:pt x="2533243" y="1346"/>
                  </a:lnTo>
                  <a:lnTo>
                    <a:pt x="2533345" y="1346"/>
                  </a:lnTo>
                  <a:lnTo>
                    <a:pt x="2533345" y="648"/>
                  </a:lnTo>
                  <a:lnTo>
                    <a:pt x="2533396" y="648"/>
                  </a:lnTo>
                  <a:lnTo>
                    <a:pt x="2533446" y="1346"/>
                  </a:lnTo>
                  <a:lnTo>
                    <a:pt x="2533650" y="1346"/>
                  </a:lnTo>
                  <a:lnTo>
                    <a:pt x="2533688" y="648"/>
                  </a:lnTo>
                  <a:lnTo>
                    <a:pt x="2533789" y="1346"/>
                  </a:lnTo>
                  <a:lnTo>
                    <a:pt x="2533840" y="1346"/>
                  </a:lnTo>
                  <a:lnTo>
                    <a:pt x="2533840" y="648"/>
                  </a:lnTo>
                  <a:lnTo>
                    <a:pt x="2533891" y="648"/>
                  </a:lnTo>
                  <a:lnTo>
                    <a:pt x="2533992" y="1346"/>
                  </a:lnTo>
                  <a:lnTo>
                    <a:pt x="2534043" y="1346"/>
                  </a:lnTo>
                  <a:lnTo>
                    <a:pt x="2534094" y="648"/>
                  </a:lnTo>
                  <a:lnTo>
                    <a:pt x="2534094" y="1346"/>
                  </a:lnTo>
                  <a:lnTo>
                    <a:pt x="2534285" y="1346"/>
                  </a:lnTo>
                  <a:lnTo>
                    <a:pt x="2534335" y="648"/>
                  </a:lnTo>
                  <a:lnTo>
                    <a:pt x="2534488" y="648"/>
                  </a:lnTo>
                  <a:lnTo>
                    <a:pt x="2534488" y="1346"/>
                  </a:lnTo>
                  <a:lnTo>
                    <a:pt x="2534538" y="648"/>
                  </a:lnTo>
                  <a:lnTo>
                    <a:pt x="2534538" y="1346"/>
                  </a:lnTo>
                  <a:lnTo>
                    <a:pt x="2534589" y="648"/>
                  </a:lnTo>
                  <a:lnTo>
                    <a:pt x="2534729" y="648"/>
                  </a:lnTo>
                  <a:lnTo>
                    <a:pt x="2534780" y="1346"/>
                  </a:lnTo>
                  <a:lnTo>
                    <a:pt x="2535034" y="1346"/>
                  </a:lnTo>
                  <a:lnTo>
                    <a:pt x="2535034" y="648"/>
                  </a:lnTo>
                  <a:lnTo>
                    <a:pt x="2535135" y="648"/>
                  </a:lnTo>
                  <a:lnTo>
                    <a:pt x="2535135" y="1346"/>
                  </a:lnTo>
                  <a:lnTo>
                    <a:pt x="2535237" y="1346"/>
                  </a:lnTo>
                  <a:lnTo>
                    <a:pt x="2535275" y="648"/>
                  </a:lnTo>
                  <a:lnTo>
                    <a:pt x="2535631" y="648"/>
                  </a:lnTo>
                  <a:lnTo>
                    <a:pt x="2535631" y="1346"/>
                  </a:lnTo>
                  <a:lnTo>
                    <a:pt x="2535923" y="1346"/>
                  </a:lnTo>
                  <a:lnTo>
                    <a:pt x="2535923" y="648"/>
                  </a:lnTo>
                  <a:lnTo>
                    <a:pt x="2536278" y="648"/>
                  </a:lnTo>
                  <a:lnTo>
                    <a:pt x="2536316" y="1346"/>
                  </a:lnTo>
                  <a:lnTo>
                    <a:pt x="2536418" y="1346"/>
                  </a:lnTo>
                  <a:lnTo>
                    <a:pt x="2536520" y="648"/>
                  </a:lnTo>
                  <a:lnTo>
                    <a:pt x="2536964" y="648"/>
                  </a:lnTo>
                  <a:lnTo>
                    <a:pt x="2537015" y="1346"/>
                  </a:lnTo>
                  <a:lnTo>
                    <a:pt x="2537015" y="648"/>
                  </a:lnTo>
                  <a:lnTo>
                    <a:pt x="2537713" y="648"/>
                  </a:lnTo>
                  <a:lnTo>
                    <a:pt x="2537764" y="0"/>
                  </a:lnTo>
                  <a:lnTo>
                    <a:pt x="2537764" y="648"/>
                  </a:lnTo>
                  <a:lnTo>
                    <a:pt x="2537904" y="648"/>
                  </a:lnTo>
                  <a:lnTo>
                    <a:pt x="2537904" y="1346"/>
                  </a:lnTo>
                  <a:lnTo>
                    <a:pt x="2537955" y="648"/>
                  </a:lnTo>
                  <a:lnTo>
                    <a:pt x="2538107" y="648"/>
                  </a:lnTo>
                  <a:lnTo>
                    <a:pt x="2538107" y="1346"/>
                  </a:lnTo>
                  <a:lnTo>
                    <a:pt x="2538158" y="648"/>
                  </a:lnTo>
                  <a:lnTo>
                    <a:pt x="2538450" y="648"/>
                  </a:lnTo>
                  <a:lnTo>
                    <a:pt x="2538552" y="1346"/>
                  </a:lnTo>
                  <a:lnTo>
                    <a:pt x="2538603" y="648"/>
                  </a:lnTo>
                  <a:lnTo>
                    <a:pt x="2538653" y="648"/>
                  </a:lnTo>
                  <a:lnTo>
                    <a:pt x="2538755" y="0"/>
                  </a:lnTo>
                  <a:lnTo>
                    <a:pt x="2538755" y="648"/>
                  </a:lnTo>
                  <a:lnTo>
                    <a:pt x="2539149" y="648"/>
                  </a:lnTo>
                  <a:lnTo>
                    <a:pt x="2539149" y="1346"/>
                  </a:lnTo>
                  <a:lnTo>
                    <a:pt x="2539250" y="1346"/>
                  </a:lnTo>
                  <a:lnTo>
                    <a:pt x="2539301" y="648"/>
                  </a:lnTo>
                  <a:lnTo>
                    <a:pt x="2539352" y="648"/>
                  </a:lnTo>
                  <a:lnTo>
                    <a:pt x="2539352" y="0"/>
                  </a:lnTo>
                  <a:lnTo>
                    <a:pt x="2539453" y="648"/>
                  </a:lnTo>
                  <a:lnTo>
                    <a:pt x="2539491" y="648"/>
                  </a:lnTo>
                  <a:lnTo>
                    <a:pt x="2539542" y="1346"/>
                  </a:lnTo>
                  <a:lnTo>
                    <a:pt x="2539593" y="1346"/>
                  </a:lnTo>
                  <a:lnTo>
                    <a:pt x="2539695" y="648"/>
                  </a:lnTo>
                  <a:lnTo>
                    <a:pt x="2539746" y="1346"/>
                  </a:lnTo>
                  <a:lnTo>
                    <a:pt x="2539796" y="1346"/>
                  </a:lnTo>
                  <a:lnTo>
                    <a:pt x="2539898" y="648"/>
                  </a:lnTo>
                  <a:lnTo>
                    <a:pt x="2540635" y="648"/>
                  </a:lnTo>
                  <a:lnTo>
                    <a:pt x="2540685" y="0"/>
                  </a:lnTo>
                  <a:lnTo>
                    <a:pt x="2540736" y="648"/>
                  </a:lnTo>
                  <a:lnTo>
                    <a:pt x="2540888" y="648"/>
                  </a:lnTo>
                  <a:lnTo>
                    <a:pt x="2540939" y="1346"/>
                  </a:lnTo>
                  <a:lnTo>
                    <a:pt x="2540939" y="648"/>
                  </a:lnTo>
                  <a:lnTo>
                    <a:pt x="2541384" y="648"/>
                  </a:lnTo>
                  <a:lnTo>
                    <a:pt x="2541485" y="1346"/>
                  </a:lnTo>
                  <a:lnTo>
                    <a:pt x="2541536" y="648"/>
                  </a:lnTo>
                  <a:lnTo>
                    <a:pt x="2541727" y="648"/>
                  </a:lnTo>
                  <a:lnTo>
                    <a:pt x="2541727" y="0"/>
                  </a:lnTo>
                  <a:lnTo>
                    <a:pt x="2541828" y="0"/>
                  </a:lnTo>
                  <a:lnTo>
                    <a:pt x="2541828" y="648"/>
                  </a:lnTo>
                  <a:lnTo>
                    <a:pt x="2542082" y="648"/>
                  </a:lnTo>
                  <a:lnTo>
                    <a:pt x="2542082" y="1346"/>
                  </a:lnTo>
                  <a:lnTo>
                    <a:pt x="2542171" y="648"/>
                  </a:lnTo>
                  <a:lnTo>
                    <a:pt x="2542324" y="648"/>
                  </a:lnTo>
                  <a:lnTo>
                    <a:pt x="2542324" y="0"/>
                  </a:lnTo>
                  <a:lnTo>
                    <a:pt x="2542425" y="0"/>
                  </a:lnTo>
                  <a:lnTo>
                    <a:pt x="2542425" y="648"/>
                  </a:lnTo>
                  <a:lnTo>
                    <a:pt x="2542527" y="648"/>
                  </a:lnTo>
                  <a:lnTo>
                    <a:pt x="2542628" y="1346"/>
                  </a:lnTo>
                  <a:lnTo>
                    <a:pt x="2542628" y="648"/>
                  </a:lnTo>
                  <a:lnTo>
                    <a:pt x="2542717" y="648"/>
                  </a:lnTo>
                  <a:lnTo>
                    <a:pt x="2542717" y="1346"/>
                  </a:lnTo>
                  <a:lnTo>
                    <a:pt x="2542768" y="1346"/>
                  </a:lnTo>
                  <a:lnTo>
                    <a:pt x="2542870" y="648"/>
                  </a:lnTo>
                  <a:lnTo>
                    <a:pt x="2542921" y="648"/>
                  </a:lnTo>
                  <a:lnTo>
                    <a:pt x="2542921" y="1346"/>
                  </a:lnTo>
                  <a:lnTo>
                    <a:pt x="2543314" y="1346"/>
                  </a:lnTo>
                  <a:lnTo>
                    <a:pt x="2543314" y="648"/>
                  </a:lnTo>
                  <a:lnTo>
                    <a:pt x="2543619" y="648"/>
                  </a:lnTo>
                  <a:lnTo>
                    <a:pt x="2543670" y="0"/>
                  </a:lnTo>
                  <a:lnTo>
                    <a:pt x="2543759" y="648"/>
                  </a:lnTo>
                  <a:lnTo>
                    <a:pt x="2544254" y="648"/>
                  </a:lnTo>
                  <a:lnTo>
                    <a:pt x="2544254" y="1346"/>
                  </a:lnTo>
                  <a:lnTo>
                    <a:pt x="2544356" y="1346"/>
                  </a:lnTo>
                  <a:lnTo>
                    <a:pt x="2544457" y="648"/>
                  </a:lnTo>
                  <a:lnTo>
                    <a:pt x="2544762" y="648"/>
                  </a:lnTo>
                  <a:lnTo>
                    <a:pt x="2544762" y="1346"/>
                  </a:lnTo>
                  <a:lnTo>
                    <a:pt x="2544800" y="648"/>
                  </a:lnTo>
                  <a:lnTo>
                    <a:pt x="2545105" y="648"/>
                  </a:lnTo>
                  <a:lnTo>
                    <a:pt x="2545105" y="1346"/>
                  </a:lnTo>
                  <a:lnTo>
                    <a:pt x="2545156" y="648"/>
                  </a:lnTo>
                  <a:lnTo>
                    <a:pt x="2545397" y="648"/>
                  </a:lnTo>
                  <a:lnTo>
                    <a:pt x="2545397" y="1346"/>
                  </a:lnTo>
                  <a:lnTo>
                    <a:pt x="2545448" y="1346"/>
                  </a:lnTo>
                  <a:lnTo>
                    <a:pt x="2545499" y="648"/>
                  </a:lnTo>
                  <a:lnTo>
                    <a:pt x="2545600" y="1346"/>
                  </a:lnTo>
                  <a:lnTo>
                    <a:pt x="2545651" y="1346"/>
                  </a:lnTo>
                  <a:lnTo>
                    <a:pt x="2545702" y="648"/>
                  </a:lnTo>
                  <a:lnTo>
                    <a:pt x="2546591" y="648"/>
                  </a:lnTo>
                  <a:lnTo>
                    <a:pt x="2546591" y="1346"/>
                  </a:lnTo>
                  <a:lnTo>
                    <a:pt x="2546692" y="1346"/>
                  </a:lnTo>
                  <a:lnTo>
                    <a:pt x="2546743" y="648"/>
                  </a:lnTo>
                  <a:lnTo>
                    <a:pt x="2547086" y="648"/>
                  </a:lnTo>
                  <a:lnTo>
                    <a:pt x="2547188" y="1346"/>
                  </a:lnTo>
                  <a:lnTo>
                    <a:pt x="2547238" y="648"/>
                  </a:lnTo>
                  <a:lnTo>
                    <a:pt x="2547238" y="1346"/>
                  </a:lnTo>
                  <a:lnTo>
                    <a:pt x="2547391" y="1346"/>
                  </a:lnTo>
                  <a:lnTo>
                    <a:pt x="2547391" y="648"/>
                  </a:lnTo>
                  <a:lnTo>
                    <a:pt x="2547429" y="648"/>
                  </a:lnTo>
                  <a:lnTo>
                    <a:pt x="2547480" y="1346"/>
                  </a:lnTo>
                  <a:lnTo>
                    <a:pt x="2547480" y="648"/>
                  </a:lnTo>
                  <a:lnTo>
                    <a:pt x="2547531" y="1346"/>
                  </a:lnTo>
                  <a:lnTo>
                    <a:pt x="2547683" y="1346"/>
                  </a:lnTo>
                  <a:lnTo>
                    <a:pt x="2547734" y="648"/>
                  </a:lnTo>
                  <a:lnTo>
                    <a:pt x="2547835" y="648"/>
                  </a:lnTo>
                  <a:lnTo>
                    <a:pt x="2547835" y="1346"/>
                  </a:lnTo>
                  <a:lnTo>
                    <a:pt x="2547937" y="1346"/>
                  </a:lnTo>
                  <a:lnTo>
                    <a:pt x="2547937" y="648"/>
                  </a:lnTo>
                  <a:lnTo>
                    <a:pt x="2548128" y="648"/>
                  </a:lnTo>
                  <a:lnTo>
                    <a:pt x="2548128" y="1346"/>
                  </a:lnTo>
                  <a:lnTo>
                    <a:pt x="2548178" y="648"/>
                  </a:lnTo>
                  <a:lnTo>
                    <a:pt x="2548381" y="648"/>
                  </a:lnTo>
                  <a:lnTo>
                    <a:pt x="2548381" y="1346"/>
                  </a:lnTo>
                  <a:lnTo>
                    <a:pt x="2548432" y="648"/>
                  </a:lnTo>
                  <a:lnTo>
                    <a:pt x="2548775" y="648"/>
                  </a:lnTo>
                  <a:lnTo>
                    <a:pt x="2548826" y="1346"/>
                  </a:lnTo>
                  <a:lnTo>
                    <a:pt x="2548877" y="1346"/>
                  </a:lnTo>
                  <a:lnTo>
                    <a:pt x="2548978" y="648"/>
                  </a:lnTo>
                  <a:lnTo>
                    <a:pt x="2549016" y="648"/>
                  </a:lnTo>
                  <a:lnTo>
                    <a:pt x="2549067" y="0"/>
                  </a:lnTo>
                  <a:lnTo>
                    <a:pt x="2549118" y="0"/>
                  </a:lnTo>
                  <a:lnTo>
                    <a:pt x="2549118" y="648"/>
                  </a:lnTo>
                  <a:lnTo>
                    <a:pt x="2549474" y="648"/>
                  </a:lnTo>
                  <a:lnTo>
                    <a:pt x="2549525" y="1346"/>
                  </a:lnTo>
                  <a:lnTo>
                    <a:pt x="2549563" y="1346"/>
                  </a:lnTo>
                  <a:lnTo>
                    <a:pt x="2549563" y="648"/>
                  </a:lnTo>
                  <a:lnTo>
                    <a:pt x="2549867" y="648"/>
                  </a:lnTo>
                  <a:lnTo>
                    <a:pt x="2549918" y="1346"/>
                  </a:lnTo>
                  <a:lnTo>
                    <a:pt x="2549918" y="648"/>
                  </a:lnTo>
                  <a:lnTo>
                    <a:pt x="2550210" y="648"/>
                  </a:lnTo>
                  <a:lnTo>
                    <a:pt x="2550261" y="1346"/>
                  </a:lnTo>
                  <a:lnTo>
                    <a:pt x="2550261" y="648"/>
                  </a:lnTo>
                  <a:lnTo>
                    <a:pt x="2550363" y="1346"/>
                  </a:lnTo>
                  <a:lnTo>
                    <a:pt x="2550363" y="648"/>
                  </a:lnTo>
                  <a:lnTo>
                    <a:pt x="2550464" y="648"/>
                  </a:lnTo>
                  <a:lnTo>
                    <a:pt x="2550566" y="1346"/>
                  </a:lnTo>
                  <a:lnTo>
                    <a:pt x="2550566" y="648"/>
                  </a:lnTo>
                  <a:lnTo>
                    <a:pt x="2551010" y="648"/>
                  </a:lnTo>
                  <a:lnTo>
                    <a:pt x="2551061" y="1346"/>
                  </a:lnTo>
                  <a:lnTo>
                    <a:pt x="2551112" y="1346"/>
                  </a:lnTo>
                  <a:lnTo>
                    <a:pt x="2551112" y="648"/>
                  </a:lnTo>
                  <a:lnTo>
                    <a:pt x="2551150" y="648"/>
                  </a:lnTo>
                  <a:lnTo>
                    <a:pt x="2551150" y="1346"/>
                  </a:lnTo>
                  <a:lnTo>
                    <a:pt x="2551252" y="648"/>
                  </a:lnTo>
                  <a:lnTo>
                    <a:pt x="2551303" y="648"/>
                  </a:lnTo>
                  <a:lnTo>
                    <a:pt x="2551303" y="0"/>
                  </a:lnTo>
                  <a:lnTo>
                    <a:pt x="2551353" y="648"/>
                  </a:lnTo>
                  <a:lnTo>
                    <a:pt x="2551455" y="648"/>
                  </a:lnTo>
                  <a:lnTo>
                    <a:pt x="2551506" y="0"/>
                  </a:lnTo>
                  <a:lnTo>
                    <a:pt x="2551506" y="648"/>
                  </a:lnTo>
                  <a:lnTo>
                    <a:pt x="2551607" y="648"/>
                  </a:lnTo>
                  <a:lnTo>
                    <a:pt x="2551696" y="0"/>
                  </a:lnTo>
                  <a:lnTo>
                    <a:pt x="2551747" y="648"/>
                  </a:lnTo>
                  <a:lnTo>
                    <a:pt x="2551950" y="648"/>
                  </a:lnTo>
                  <a:lnTo>
                    <a:pt x="2551950" y="0"/>
                  </a:lnTo>
                  <a:lnTo>
                    <a:pt x="2552001" y="648"/>
                  </a:lnTo>
                  <a:lnTo>
                    <a:pt x="2552293" y="648"/>
                  </a:lnTo>
                  <a:lnTo>
                    <a:pt x="2552395" y="1346"/>
                  </a:lnTo>
                  <a:lnTo>
                    <a:pt x="2552446" y="648"/>
                  </a:lnTo>
                  <a:lnTo>
                    <a:pt x="2552598" y="648"/>
                  </a:lnTo>
                  <a:lnTo>
                    <a:pt x="2552649" y="0"/>
                  </a:lnTo>
                  <a:lnTo>
                    <a:pt x="2552649" y="648"/>
                  </a:lnTo>
                  <a:lnTo>
                    <a:pt x="2552890" y="648"/>
                  </a:lnTo>
                  <a:lnTo>
                    <a:pt x="2552941" y="1346"/>
                  </a:lnTo>
                  <a:lnTo>
                    <a:pt x="2553042" y="648"/>
                  </a:lnTo>
                  <a:lnTo>
                    <a:pt x="2553195" y="648"/>
                  </a:lnTo>
                  <a:lnTo>
                    <a:pt x="2553284" y="1346"/>
                  </a:lnTo>
                  <a:lnTo>
                    <a:pt x="2553284" y="648"/>
                  </a:lnTo>
                  <a:lnTo>
                    <a:pt x="2553335" y="648"/>
                  </a:lnTo>
                  <a:lnTo>
                    <a:pt x="2553335" y="1346"/>
                  </a:lnTo>
                  <a:lnTo>
                    <a:pt x="2553385" y="648"/>
                  </a:lnTo>
                  <a:lnTo>
                    <a:pt x="2553436" y="648"/>
                  </a:lnTo>
                  <a:lnTo>
                    <a:pt x="2553538" y="1346"/>
                  </a:lnTo>
                  <a:lnTo>
                    <a:pt x="2553588" y="648"/>
                  </a:lnTo>
                  <a:lnTo>
                    <a:pt x="2553741" y="648"/>
                  </a:lnTo>
                  <a:lnTo>
                    <a:pt x="2553779" y="0"/>
                  </a:lnTo>
                  <a:lnTo>
                    <a:pt x="2553830" y="0"/>
                  </a:lnTo>
                  <a:lnTo>
                    <a:pt x="2553830" y="648"/>
                  </a:lnTo>
                  <a:lnTo>
                    <a:pt x="2553982" y="648"/>
                  </a:lnTo>
                  <a:lnTo>
                    <a:pt x="2554033" y="1346"/>
                  </a:lnTo>
                  <a:lnTo>
                    <a:pt x="2554084" y="648"/>
                  </a:lnTo>
                  <a:lnTo>
                    <a:pt x="2554236" y="648"/>
                  </a:lnTo>
                  <a:lnTo>
                    <a:pt x="2554236" y="1346"/>
                  </a:lnTo>
                  <a:lnTo>
                    <a:pt x="2554478" y="1346"/>
                  </a:lnTo>
                  <a:lnTo>
                    <a:pt x="2554478" y="648"/>
                  </a:lnTo>
                  <a:lnTo>
                    <a:pt x="2554528" y="648"/>
                  </a:lnTo>
                  <a:lnTo>
                    <a:pt x="2554528" y="1346"/>
                  </a:lnTo>
                  <a:lnTo>
                    <a:pt x="2554630" y="648"/>
                  </a:lnTo>
                  <a:lnTo>
                    <a:pt x="2554681" y="648"/>
                  </a:lnTo>
                  <a:lnTo>
                    <a:pt x="2554681" y="0"/>
                  </a:lnTo>
                  <a:lnTo>
                    <a:pt x="2554731" y="0"/>
                  </a:lnTo>
                  <a:lnTo>
                    <a:pt x="2554782" y="648"/>
                  </a:lnTo>
                  <a:lnTo>
                    <a:pt x="2555125" y="648"/>
                  </a:lnTo>
                  <a:lnTo>
                    <a:pt x="2555176" y="1346"/>
                  </a:lnTo>
                  <a:lnTo>
                    <a:pt x="2555227" y="1346"/>
                  </a:lnTo>
                  <a:lnTo>
                    <a:pt x="2555328" y="648"/>
                  </a:lnTo>
                  <a:lnTo>
                    <a:pt x="2555570" y="648"/>
                  </a:lnTo>
                  <a:lnTo>
                    <a:pt x="2555621" y="1346"/>
                  </a:lnTo>
                  <a:lnTo>
                    <a:pt x="2555671" y="648"/>
                  </a:lnTo>
                  <a:lnTo>
                    <a:pt x="2555773" y="1346"/>
                  </a:lnTo>
                  <a:lnTo>
                    <a:pt x="2555773" y="648"/>
                  </a:lnTo>
                  <a:lnTo>
                    <a:pt x="2555824" y="648"/>
                  </a:lnTo>
                  <a:lnTo>
                    <a:pt x="2555824" y="1346"/>
                  </a:lnTo>
                  <a:lnTo>
                    <a:pt x="2555875" y="648"/>
                  </a:lnTo>
                  <a:lnTo>
                    <a:pt x="2555875" y="1346"/>
                  </a:lnTo>
                  <a:lnTo>
                    <a:pt x="2555913" y="1346"/>
                  </a:lnTo>
                  <a:lnTo>
                    <a:pt x="2556014" y="648"/>
                  </a:lnTo>
                  <a:lnTo>
                    <a:pt x="2556217" y="648"/>
                  </a:lnTo>
                  <a:lnTo>
                    <a:pt x="2556268" y="1346"/>
                  </a:lnTo>
                  <a:lnTo>
                    <a:pt x="2556370" y="1346"/>
                  </a:lnTo>
                  <a:lnTo>
                    <a:pt x="2556459" y="648"/>
                  </a:lnTo>
                  <a:lnTo>
                    <a:pt x="2556510" y="1346"/>
                  </a:lnTo>
                  <a:lnTo>
                    <a:pt x="2556560" y="648"/>
                  </a:lnTo>
                  <a:lnTo>
                    <a:pt x="2556611" y="1346"/>
                  </a:lnTo>
                  <a:lnTo>
                    <a:pt x="2556611" y="648"/>
                  </a:lnTo>
                  <a:lnTo>
                    <a:pt x="2556814" y="648"/>
                  </a:lnTo>
                  <a:lnTo>
                    <a:pt x="2556916" y="1346"/>
                  </a:lnTo>
                  <a:lnTo>
                    <a:pt x="2557005" y="1346"/>
                  </a:lnTo>
                  <a:lnTo>
                    <a:pt x="2557056" y="648"/>
                  </a:lnTo>
                  <a:lnTo>
                    <a:pt x="2557056" y="0"/>
                  </a:lnTo>
                  <a:lnTo>
                    <a:pt x="2557259" y="0"/>
                  </a:lnTo>
                  <a:lnTo>
                    <a:pt x="2557259" y="648"/>
                  </a:lnTo>
                  <a:lnTo>
                    <a:pt x="2557653" y="648"/>
                  </a:lnTo>
                  <a:lnTo>
                    <a:pt x="2557653" y="1346"/>
                  </a:lnTo>
                  <a:lnTo>
                    <a:pt x="2557703" y="1346"/>
                  </a:lnTo>
                  <a:lnTo>
                    <a:pt x="2557703" y="648"/>
                  </a:lnTo>
                  <a:lnTo>
                    <a:pt x="2557906" y="648"/>
                  </a:lnTo>
                  <a:lnTo>
                    <a:pt x="2557906" y="1346"/>
                  </a:lnTo>
                  <a:lnTo>
                    <a:pt x="2557957" y="1346"/>
                  </a:lnTo>
                  <a:lnTo>
                    <a:pt x="2558046" y="648"/>
                  </a:lnTo>
                  <a:lnTo>
                    <a:pt x="2558148" y="648"/>
                  </a:lnTo>
                  <a:lnTo>
                    <a:pt x="2558148" y="1346"/>
                  </a:lnTo>
                  <a:lnTo>
                    <a:pt x="2558199" y="648"/>
                  </a:lnTo>
                  <a:lnTo>
                    <a:pt x="2558402" y="648"/>
                  </a:lnTo>
                  <a:lnTo>
                    <a:pt x="2558503" y="0"/>
                  </a:lnTo>
                  <a:lnTo>
                    <a:pt x="2558503" y="648"/>
                  </a:lnTo>
                  <a:lnTo>
                    <a:pt x="2558541" y="648"/>
                  </a:lnTo>
                  <a:lnTo>
                    <a:pt x="2558541" y="1346"/>
                  </a:lnTo>
                  <a:lnTo>
                    <a:pt x="2558592" y="1346"/>
                  </a:lnTo>
                  <a:lnTo>
                    <a:pt x="2558643" y="648"/>
                  </a:lnTo>
                  <a:lnTo>
                    <a:pt x="2558796" y="648"/>
                  </a:lnTo>
                  <a:lnTo>
                    <a:pt x="2558796" y="1346"/>
                  </a:lnTo>
                  <a:lnTo>
                    <a:pt x="2558999" y="1346"/>
                  </a:lnTo>
                  <a:lnTo>
                    <a:pt x="2559050" y="648"/>
                  </a:lnTo>
                  <a:lnTo>
                    <a:pt x="2559088" y="1346"/>
                  </a:lnTo>
                  <a:lnTo>
                    <a:pt x="2559088" y="648"/>
                  </a:lnTo>
                  <a:lnTo>
                    <a:pt x="2559189" y="648"/>
                  </a:lnTo>
                  <a:lnTo>
                    <a:pt x="2559189" y="1346"/>
                  </a:lnTo>
                  <a:lnTo>
                    <a:pt x="2559392" y="1346"/>
                  </a:lnTo>
                  <a:lnTo>
                    <a:pt x="2559392" y="648"/>
                  </a:lnTo>
                  <a:lnTo>
                    <a:pt x="2559443" y="1346"/>
                  </a:lnTo>
                  <a:lnTo>
                    <a:pt x="2559443" y="648"/>
                  </a:lnTo>
                  <a:lnTo>
                    <a:pt x="2559494" y="648"/>
                  </a:lnTo>
                  <a:lnTo>
                    <a:pt x="2559545" y="1346"/>
                  </a:lnTo>
                  <a:lnTo>
                    <a:pt x="2559685" y="1346"/>
                  </a:lnTo>
                  <a:lnTo>
                    <a:pt x="2559735" y="648"/>
                  </a:lnTo>
                  <a:lnTo>
                    <a:pt x="2559786" y="1346"/>
                  </a:lnTo>
                  <a:lnTo>
                    <a:pt x="2559786" y="648"/>
                  </a:lnTo>
                  <a:lnTo>
                    <a:pt x="2559888" y="1346"/>
                  </a:lnTo>
                  <a:lnTo>
                    <a:pt x="2559938" y="648"/>
                  </a:lnTo>
                  <a:lnTo>
                    <a:pt x="2559989" y="648"/>
                  </a:lnTo>
                  <a:lnTo>
                    <a:pt x="2559989" y="1346"/>
                  </a:lnTo>
                  <a:lnTo>
                    <a:pt x="2560091" y="1346"/>
                  </a:lnTo>
                  <a:lnTo>
                    <a:pt x="2560091" y="648"/>
                  </a:lnTo>
                  <a:lnTo>
                    <a:pt x="2560332" y="648"/>
                  </a:lnTo>
                  <a:lnTo>
                    <a:pt x="2560332" y="1346"/>
                  </a:lnTo>
                  <a:lnTo>
                    <a:pt x="2560383" y="1346"/>
                  </a:lnTo>
                  <a:lnTo>
                    <a:pt x="2560383" y="648"/>
                  </a:lnTo>
                  <a:lnTo>
                    <a:pt x="2560434" y="1346"/>
                  </a:lnTo>
                  <a:lnTo>
                    <a:pt x="2560535" y="648"/>
                  </a:lnTo>
                  <a:lnTo>
                    <a:pt x="2560637" y="648"/>
                  </a:lnTo>
                  <a:lnTo>
                    <a:pt x="2560637" y="1346"/>
                  </a:lnTo>
                  <a:lnTo>
                    <a:pt x="2560675" y="1346"/>
                  </a:lnTo>
                  <a:lnTo>
                    <a:pt x="2560675" y="648"/>
                  </a:lnTo>
                  <a:lnTo>
                    <a:pt x="2560777" y="648"/>
                  </a:lnTo>
                  <a:lnTo>
                    <a:pt x="2560828" y="1346"/>
                  </a:lnTo>
                  <a:lnTo>
                    <a:pt x="2561031" y="1346"/>
                  </a:lnTo>
                  <a:lnTo>
                    <a:pt x="2561081" y="648"/>
                  </a:lnTo>
                  <a:lnTo>
                    <a:pt x="2561132" y="648"/>
                  </a:lnTo>
                  <a:lnTo>
                    <a:pt x="2561221" y="1346"/>
                  </a:lnTo>
                  <a:lnTo>
                    <a:pt x="2561221" y="648"/>
                  </a:lnTo>
                  <a:lnTo>
                    <a:pt x="2561272" y="648"/>
                  </a:lnTo>
                  <a:lnTo>
                    <a:pt x="2561272" y="1346"/>
                  </a:lnTo>
                  <a:lnTo>
                    <a:pt x="2561323" y="1346"/>
                  </a:lnTo>
                  <a:lnTo>
                    <a:pt x="2561323" y="648"/>
                  </a:lnTo>
                  <a:lnTo>
                    <a:pt x="2561475" y="648"/>
                  </a:lnTo>
                  <a:lnTo>
                    <a:pt x="2561526" y="1346"/>
                  </a:lnTo>
                  <a:lnTo>
                    <a:pt x="2561526" y="648"/>
                  </a:lnTo>
                  <a:lnTo>
                    <a:pt x="2561678" y="648"/>
                  </a:lnTo>
                  <a:lnTo>
                    <a:pt x="2561716" y="1346"/>
                  </a:lnTo>
                  <a:lnTo>
                    <a:pt x="2561767" y="648"/>
                  </a:lnTo>
                  <a:lnTo>
                    <a:pt x="2562123" y="648"/>
                  </a:lnTo>
                  <a:lnTo>
                    <a:pt x="2562123" y="1346"/>
                  </a:lnTo>
                  <a:lnTo>
                    <a:pt x="2562225" y="1346"/>
                  </a:lnTo>
                  <a:lnTo>
                    <a:pt x="2562225" y="648"/>
                  </a:lnTo>
                  <a:lnTo>
                    <a:pt x="2562263" y="648"/>
                  </a:lnTo>
                  <a:lnTo>
                    <a:pt x="2562364" y="1346"/>
                  </a:lnTo>
                  <a:lnTo>
                    <a:pt x="2562364" y="648"/>
                  </a:lnTo>
                  <a:lnTo>
                    <a:pt x="2562567" y="648"/>
                  </a:lnTo>
                  <a:lnTo>
                    <a:pt x="2562567" y="1346"/>
                  </a:lnTo>
                  <a:lnTo>
                    <a:pt x="2562618" y="648"/>
                  </a:lnTo>
                  <a:lnTo>
                    <a:pt x="2562669" y="1346"/>
                  </a:lnTo>
                  <a:lnTo>
                    <a:pt x="2562720" y="648"/>
                  </a:lnTo>
                  <a:lnTo>
                    <a:pt x="2562809" y="648"/>
                  </a:lnTo>
                  <a:lnTo>
                    <a:pt x="2562809" y="1346"/>
                  </a:lnTo>
                  <a:lnTo>
                    <a:pt x="2562910" y="1346"/>
                  </a:lnTo>
                  <a:lnTo>
                    <a:pt x="2562961" y="648"/>
                  </a:lnTo>
                  <a:lnTo>
                    <a:pt x="2562961" y="1346"/>
                  </a:lnTo>
                  <a:lnTo>
                    <a:pt x="2563063" y="648"/>
                  </a:lnTo>
                  <a:lnTo>
                    <a:pt x="2563113" y="648"/>
                  </a:lnTo>
                  <a:lnTo>
                    <a:pt x="2563113" y="1346"/>
                  </a:lnTo>
                  <a:lnTo>
                    <a:pt x="2563355" y="1346"/>
                  </a:lnTo>
                  <a:lnTo>
                    <a:pt x="2563406" y="648"/>
                  </a:lnTo>
                  <a:lnTo>
                    <a:pt x="2563406" y="1346"/>
                  </a:lnTo>
                  <a:lnTo>
                    <a:pt x="2563609" y="1346"/>
                  </a:lnTo>
                  <a:lnTo>
                    <a:pt x="2563609" y="648"/>
                  </a:lnTo>
                  <a:lnTo>
                    <a:pt x="2563710" y="1346"/>
                  </a:lnTo>
                  <a:lnTo>
                    <a:pt x="2563710" y="648"/>
                  </a:lnTo>
                  <a:lnTo>
                    <a:pt x="2563761" y="648"/>
                  </a:lnTo>
                  <a:lnTo>
                    <a:pt x="2563812" y="1346"/>
                  </a:lnTo>
                  <a:lnTo>
                    <a:pt x="2563952" y="1346"/>
                  </a:lnTo>
                  <a:lnTo>
                    <a:pt x="2564003" y="648"/>
                  </a:lnTo>
                  <a:lnTo>
                    <a:pt x="2564053" y="648"/>
                  </a:lnTo>
                  <a:lnTo>
                    <a:pt x="2564155" y="1346"/>
                  </a:lnTo>
                  <a:lnTo>
                    <a:pt x="2564206" y="1346"/>
                  </a:lnTo>
                  <a:lnTo>
                    <a:pt x="2564256" y="648"/>
                  </a:lnTo>
                  <a:lnTo>
                    <a:pt x="2564307" y="648"/>
                  </a:lnTo>
                  <a:lnTo>
                    <a:pt x="2564307" y="1346"/>
                  </a:lnTo>
                  <a:lnTo>
                    <a:pt x="2564396" y="648"/>
                  </a:lnTo>
                  <a:lnTo>
                    <a:pt x="2564650" y="648"/>
                  </a:lnTo>
                  <a:lnTo>
                    <a:pt x="2564650" y="1346"/>
                  </a:lnTo>
                  <a:lnTo>
                    <a:pt x="2564701" y="1346"/>
                  </a:lnTo>
                  <a:lnTo>
                    <a:pt x="2564701" y="648"/>
                  </a:lnTo>
                  <a:lnTo>
                    <a:pt x="2564942" y="648"/>
                  </a:lnTo>
                  <a:lnTo>
                    <a:pt x="2564993" y="1346"/>
                  </a:lnTo>
                  <a:lnTo>
                    <a:pt x="2565095" y="648"/>
                  </a:lnTo>
                  <a:lnTo>
                    <a:pt x="2565196" y="648"/>
                  </a:lnTo>
                  <a:lnTo>
                    <a:pt x="2565196" y="1346"/>
                  </a:lnTo>
                  <a:lnTo>
                    <a:pt x="2565742" y="1346"/>
                  </a:lnTo>
                  <a:lnTo>
                    <a:pt x="2565793" y="648"/>
                  </a:lnTo>
                  <a:lnTo>
                    <a:pt x="2565844" y="1346"/>
                  </a:lnTo>
                  <a:lnTo>
                    <a:pt x="2566035" y="1346"/>
                  </a:lnTo>
                  <a:lnTo>
                    <a:pt x="2566035" y="1981"/>
                  </a:lnTo>
                  <a:lnTo>
                    <a:pt x="2566085" y="1346"/>
                  </a:lnTo>
                  <a:lnTo>
                    <a:pt x="2566339" y="1346"/>
                  </a:lnTo>
                  <a:lnTo>
                    <a:pt x="2566441" y="648"/>
                  </a:lnTo>
                  <a:lnTo>
                    <a:pt x="2566479" y="648"/>
                  </a:lnTo>
                  <a:lnTo>
                    <a:pt x="2566479" y="1346"/>
                  </a:lnTo>
                  <a:lnTo>
                    <a:pt x="2567381" y="1346"/>
                  </a:lnTo>
                  <a:lnTo>
                    <a:pt x="2567381" y="648"/>
                  </a:lnTo>
                  <a:lnTo>
                    <a:pt x="2567431" y="1346"/>
                  </a:lnTo>
                  <a:lnTo>
                    <a:pt x="2567431" y="648"/>
                  </a:lnTo>
                  <a:lnTo>
                    <a:pt x="2567571" y="648"/>
                  </a:lnTo>
                  <a:lnTo>
                    <a:pt x="2567622" y="1346"/>
                  </a:lnTo>
                  <a:lnTo>
                    <a:pt x="2568968" y="1346"/>
                  </a:lnTo>
                  <a:lnTo>
                    <a:pt x="2568968" y="648"/>
                  </a:lnTo>
                  <a:lnTo>
                    <a:pt x="2569019" y="648"/>
                  </a:lnTo>
                  <a:lnTo>
                    <a:pt x="2569070" y="1346"/>
                  </a:lnTo>
                  <a:lnTo>
                    <a:pt x="2569070" y="648"/>
                  </a:lnTo>
                  <a:lnTo>
                    <a:pt x="2569210" y="648"/>
                  </a:lnTo>
                  <a:lnTo>
                    <a:pt x="2569260" y="1346"/>
                  </a:lnTo>
                  <a:lnTo>
                    <a:pt x="2569959" y="1346"/>
                  </a:lnTo>
                  <a:lnTo>
                    <a:pt x="2569959" y="648"/>
                  </a:lnTo>
                  <a:lnTo>
                    <a:pt x="2570111" y="648"/>
                  </a:lnTo>
                  <a:lnTo>
                    <a:pt x="2570111" y="1346"/>
                  </a:lnTo>
                  <a:lnTo>
                    <a:pt x="2570302" y="1346"/>
                  </a:lnTo>
                  <a:lnTo>
                    <a:pt x="2570302" y="648"/>
                  </a:lnTo>
                  <a:lnTo>
                    <a:pt x="2570403" y="648"/>
                  </a:lnTo>
                  <a:lnTo>
                    <a:pt x="2570403" y="1346"/>
                  </a:lnTo>
                  <a:lnTo>
                    <a:pt x="2571203" y="1346"/>
                  </a:lnTo>
                  <a:lnTo>
                    <a:pt x="2571241" y="648"/>
                  </a:lnTo>
                  <a:lnTo>
                    <a:pt x="2571241" y="1346"/>
                  </a:lnTo>
                  <a:lnTo>
                    <a:pt x="2571496" y="1346"/>
                  </a:lnTo>
                  <a:lnTo>
                    <a:pt x="2571496" y="648"/>
                  </a:lnTo>
                  <a:lnTo>
                    <a:pt x="2571546" y="648"/>
                  </a:lnTo>
                  <a:lnTo>
                    <a:pt x="2571648" y="1346"/>
                  </a:lnTo>
                  <a:lnTo>
                    <a:pt x="2571699" y="1981"/>
                  </a:lnTo>
                  <a:lnTo>
                    <a:pt x="2571788" y="1981"/>
                  </a:lnTo>
                  <a:lnTo>
                    <a:pt x="2571788" y="1346"/>
                  </a:lnTo>
                  <a:lnTo>
                    <a:pt x="2571940" y="1346"/>
                  </a:lnTo>
                  <a:lnTo>
                    <a:pt x="2571940" y="1981"/>
                  </a:lnTo>
                  <a:lnTo>
                    <a:pt x="2571991" y="1346"/>
                  </a:lnTo>
                  <a:lnTo>
                    <a:pt x="2572245" y="1346"/>
                  </a:lnTo>
                  <a:lnTo>
                    <a:pt x="2572245" y="1981"/>
                  </a:lnTo>
                  <a:lnTo>
                    <a:pt x="2572334" y="1346"/>
                  </a:lnTo>
                  <a:lnTo>
                    <a:pt x="2572435" y="1346"/>
                  </a:lnTo>
                  <a:lnTo>
                    <a:pt x="2572486" y="648"/>
                  </a:lnTo>
                  <a:lnTo>
                    <a:pt x="2572588" y="1346"/>
                  </a:lnTo>
                  <a:lnTo>
                    <a:pt x="2572689" y="1346"/>
                  </a:lnTo>
                  <a:lnTo>
                    <a:pt x="2572689" y="648"/>
                  </a:lnTo>
                  <a:lnTo>
                    <a:pt x="2572791" y="648"/>
                  </a:lnTo>
                  <a:lnTo>
                    <a:pt x="2572791" y="1346"/>
                  </a:lnTo>
                  <a:lnTo>
                    <a:pt x="2572829" y="1346"/>
                  </a:lnTo>
                  <a:lnTo>
                    <a:pt x="2572880" y="648"/>
                  </a:lnTo>
                  <a:lnTo>
                    <a:pt x="2572931" y="1346"/>
                  </a:lnTo>
                  <a:lnTo>
                    <a:pt x="2573134" y="1346"/>
                  </a:lnTo>
                  <a:lnTo>
                    <a:pt x="2573134" y="648"/>
                  </a:lnTo>
                  <a:lnTo>
                    <a:pt x="2573235" y="648"/>
                  </a:lnTo>
                  <a:lnTo>
                    <a:pt x="2573286" y="1346"/>
                  </a:lnTo>
                  <a:lnTo>
                    <a:pt x="2574226" y="1346"/>
                  </a:lnTo>
                  <a:lnTo>
                    <a:pt x="2574277" y="1981"/>
                  </a:lnTo>
                  <a:lnTo>
                    <a:pt x="2574378" y="1346"/>
                  </a:lnTo>
                  <a:lnTo>
                    <a:pt x="2574518" y="1346"/>
                  </a:lnTo>
                  <a:lnTo>
                    <a:pt x="2574518" y="648"/>
                  </a:lnTo>
                  <a:lnTo>
                    <a:pt x="2574620" y="1346"/>
                  </a:lnTo>
                  <a:lnTo>
                    <a:pt x="2575115" y="1346"/>
                  </a:lnTo>
                  <a:lnTo>
                    <a:pt x="2575115" y="1981"/>
                  </a:lnTo>
                  <a:lnTo>
                    <a:pt x="2575166" y="1346"/>
                  </a:lnTo>
                  <a:lnTo>
                    <a:pt x="2575267" y="1981"/>
                  </a:lnTo>
                  <a:lnTo>
                    <a:pt x="2575318" y="1981"/>
                  </a:lnTo>
                  <a:lnTo>
                    <a:pt x="2575369" y="1346"/>
                  </a:lnTo>
                  <a:lnTo>
                    <a:pt x="2575420" y="1346"/>
                  </a:lnTo>
                  <a:lnTo>
                    <a:pt x="2575509" y="1981"/>
                  </a:lnTo>
                  <a:lnTo>
                    <a:pt x="2575560" y="1981"/>
                  </a:lnTo>
                  <a:lnTo>
                    <a:pt x="2575610" y="1346"/>
                  </a:lnTo>
                  <a:lnTo>
                    <a:pt x="2575966" y="1346"/>
                  </a:lnTo>
                  <a:lnTo>
                    <a:pt x="2576004" y="648"/>
                  </a:lnTo>
                  <a:lnTo>
                    <a:pt x="2576106" y="648"/>
                  </a:lnTo>
                  <a:lnTo>
                    <a:pt x="2576106" y="1346"/>
                  </a:lnTo>
                  <a:lnTo>
                    <a:pt x="2576906" y="1346"/>
                  </a:lnTo>
                  <a:lnTo>
                    <a:pt x="2576956" y="1981"/>
                  </a:lnTo>
                  <a:lnTo>
                    <a:pt x="2577007" y="1346"/>
                  </a:lnTo>
                  <a:lnTo>
                    <a:pt x="2577147" y="1346"/>
                  </a:lnTo>
                  <a:lnTo>
                    <a:pt x="2577198" y="648"/>
                  </a:lnTo>
                  <a:lnTo>
                    <a:pt x="2577249" y="648"/>
                  </a:lnTo>
                  <a:lnTo>
                    <a:pt x="2577249" y="1346"/>
                  </a:lnTo>
                  <a:lnTo>
                    <a:pt x="2577350" y="1346"/>
                  </a:lnTo>
                  <a:lnTo>
                    <a:pt x="2577350" y="1981"/>
                  </a:lnTo>
                  <a:lnTo>
                    <a:pt x="2577452" y="1981"/>
                  </a:lnTo>
                  <a:lnTo>
                    <a:pt x="2577452" y="1346"/>
                  </a:lnTo>
                  <a:lnTo>
                    <a:pt x="2577591" y="1346"/>
                  </a:lnTo>
                  <a:lnTo>
                    <a:pt x="2577642" y="648"/>
                  </a:lnTo>
                  <a:lnTo>
                    <a:pt x="2577642" y="1346"/>
                  </a:lnTo>
                  <a:lnTo>
                    <a:pt x="2577693" y="1346"/>
                  </a:lnTo>
                  <a:lnTo>
                    <a:pt x="2577693" y="648"/>
                  </a:lnTo>
                  <a:lnTo>
                    <a:pt x="2577795" y="1346"/>
                  </a:lnTo>
                  <a:lnTo>
                    <a:pt x="2578290" y="1346"/>
                  </a:lnTo>
                  <a:lnTo>
                    <a:pt x="2578290" y="648"/>
                  </a:lnTo>
                  <a:lnTo>
                    <a:pt x="2578341" y="1346"/>
                  </a:lnTo>
                  <a:lnTo>
                    <a:pt x="2578442" y="648"/>
                  </a:lnTo>
                  <a:lnTo>
                    <a:pt x="2578493" y="1346"/>
                  </a:lnTo>
                  <a:lnTo>
                    <a:pt x="2578544" y="1346"/>
                  </a:lnTo>
                  <a:lnTo>
                    <a:pt x="2578595" y="1981"/>
                  </a:lnTo>
                  <a:lnTo>
                    <a:pt x="2578595" y="1346"/>
                  </a:lnTo>
                  <a:lnTo>
                    <a:pt x="2578785" y="1346"/>
                  </a:lnTo>
                  <a:lnTo>
                    <a:pt x="2578836" y="1981"/>
                  </a:lnTo>
                  <a:lnTo>
                    <a:pt x="2578988" y="1981"/>
                  </a:lnTo>
                  <a:lnTo>
                    <a:pt x="2578988" y="1346"/>
                  </a:lnTo>
                  <a:lnTo>
                    <a:pt x="2579039" y="1981"/>
                  </a:lnTo>
                  <a:lnTo>
                    <a:pt x="2579141" y="1346"/>
                  </a:lnTo>
                  <a:lnTo>
                    <a:pt x="2579179" y="1346"/>
                  </a:lnTo>
                  <a:lnTo>
                    <a:pt x="2579179" y="1981"/>
                  </a:lnTo>
                  <a:lnTo>
                    <a:pt x="2579230" y="1981"/>
                  </a:lnTo>
                  <a:lnTo>
                    <a:pt x="2579230" y="1346"/>
                  </a:lnTo>
                  <a:lnTo>
                    <a:pt x="2579281" y="1981"/>
                  </a:lnTo>
                  <a:lnTo>
                    <a:pt x="2579382" y="1346"/>
                  </a:lnTo>
                  <a:lnTo>
                    <a:pt x="2579382" y="1981"/>
                  </a:lnTo>
                  <a:lnTo>
                    <a:pt x="2579484" y="1981"/>
                  </a:lnTo>
                  <a:lnTo>
                    <a:pt x="2579585" y="3277"/>
                  </a:lnTo>
                  <a:lnTo>
                    <a:pt x="2579636" y="1981"/>
                  </a:lnTo>
                  <a:lnTo>
                    <a:pt x="2579725" y="1981"/>
                  </a:lnTo>
                  <a:lnTo>
                    <a:pt x="2579827" y="1346"/>
                  </a:lnTo>
                  <a:lnTo>
                    <a:pt x="2579827" y="1981"/>
                  </a:lnTo>
                  <a:lnTo>
                    <a:pt x="2580424" y="1981"/>
                  </a:lnTo>
                  <a:lnTo>
                    <a:pt x="2580424" y="1346"/>
                  </a:lnTo>
                  <a:lnTo>
                    <a:pt x="2580627" y="1346"/>
                  </a:lnTo>
                  <a:lnTo>
                    <a:pt x="2580728" y="1981"/>
                  </a:lnTo>
                  <a:lnTo>
                    <a:pt x="2580766" y="1346"/>
                  </a:lnTo>
                  <a:lnTo>
                    <a:pt x="2580817" y="1346"/>
                  </a:lnTo>
                  <a:lnTo>
                    <a:pt x="2580868" y="648"/>
                  </a:lnTo>
                  <a:lnTo>
                    <a:pt x="2580868" y="1346"/>
                  </a:lnTo>
                  <a:lnTo>
                    <a:pt x="2580970" y="1346"/>
                  </a:lnTo>
                  <a:lnTo>
                    <a:pt x="2581021" y="1981"/>
                  </a:lnTo>
                  <a:lnTo>
                    <a:pt x="2581071" y="1346"/>
                  </a:lnTo>
                  <a:lnTo>
                    <a:pt x="2581770" y="1346"/>
                  </a:lnTo>
                  <a:lnTo>
                    <a:pt x="2581859" y="1981"/>
                  </a:lnTo>
                  <a:lnTo>
                    <a:pt x="2581859" y="1346"/>
                  </a:lnTo>
                  <a:lnTo>
                    <a:pt x="2581910" y="1981"/>
                  </a:lnTo>
                  <a:lnTo>
                    <a:pt x="2581960" y="1981"/>
                  </a:lnTo>
                  <a:lnTo>
                    <a:pt x="2581960" y="1346"/>
                  </a:lnTo>
                  <a:lnTo>
                    <a:pt x="2582163" y="1346"/>
                  </a:lnTo>
                  <a:lnTo>
                    <a:pt x="2582163" y="1981"/>
                  </a:lnTo>
                  <a:lnTo>
                    <a:pt x="2582214" y="1981"/>
                  </a:lnTo>
                  <a:lnTo>
                    <a:pt x="2582316" y="1346"/>
                  </a:lnTo>
                  <a:lnTo>
                    <a:pt x="2582354" y="1346"/>
                  </a:lnTo>
                  <a:lnTo>
                    <a:pt x="2582405" y="1981"/>
                  </a:lnTo>
                  <a:lnTo>
                    <a:pt x="2582456" y="1346"/>
                  </a:lnTo>
                  <a:lnTo>
                    <a:pt x="2582557" y="1346"/>
                  </a:lnTo>
                  <a:lnTo>
                    <a:pt x="2582557" y="1981"/>
                  </a:lnTo>
                  <a:lnTo>
                    <a:pt x="2582608" y="1981"/>
                  </a:lnTo>
                  <a:lnTo>
                    <a:pt x="2582608" y="1346"/>
                  </a:lnTo>
                  <a:lnTo>
                    <a:pt x="2582760" y="1346"/>
                  </a:lnTo>
                  <a:lnTo>
                    <a:pt x="2582760" y="1981"/>
                  </a:lnTo>
                  <a:lnTo>
                    <a:pt x="2582811" y="1981"/>
                  </a:lnTo>
                  <a:lnTo>
                    <a:pt x="2582862" y="1346"/>
                  </a:lnTo>
                  <a:lnTo>
                    <a:pt x="2583002" y="1346"/>
                  </a:lnTo>
                  <a:lnTo>
                    <a:pt x="2583053" y="1981"/>
                  </a:lnTo>
                  <a:lnTo>
                    <a:pt x="2583548" y="1981"/>
                  </a:lnTo>
                  <a:lnTo>
                    <a:pt x="2583599" y="1346"/>
                  </a:lnTo>
                  <a:lnTo>
                    <a:pt x="2583700" y="1981"/>
                  </a:lnTo>
                  <a:lnTo>
                    <a:pt x="2583751" y="1981"/>
                  </a:lnTo>
                  <a:lnTo>
                    <a:pt x="2583802" y="1346"/>
                  </a:lnTo>
                  <a:lnTo>
                    <a:pt x="2583802" y="1981"/>
                  </a:lnTo>
                  <a:lnTo>
                    <a:pt x="2584145" y="1981"/>
                  </a:lnTo>
                  <a:lnTo>
                    <a:pt x="2584145" y="1346"/>
                  </a:lnTo>
                  <a:lnTo>
                    <a:pt x="2584399" y="1346"/>
                  </a:lnTo>
                  <a:lnTo>
                    <a:pt x="2584399" y="1981"/>
                  </a:lnTo>
                  <a:lnTo>
                    <a:pt x="2584589" y="1981"/>
                  </a:lnTo>
                  <a:lnTo>
                    <a:pt x="2584640" y="1346"/>
                  </a:lnTo>
                  <a:lnTo>
                    <a:pt x="2585135" y="1346"/>
                  </a:lnTo>
                  <a:lnTo>
                    <a:pt x="2585186" y="1981"/>
                  </a:lnTo>
                  <a:lnTo>
                    <a:pt x="2585491" y="1981"/>
                  </a:lnTo>
                  <a:lnTo>
                    <a:pt x="2585491" y="1346"/>
                  </a:lnTo>
                  <a:lnTo>
                    <a:pt x="2585580" y="1346"/>
                  </a:lnTo>
                  <a:lnTo>
                    <a:pt x="2585631" y="1981"/>
                  </a:lnTo>
                  <a:lnTo>
                    <a:pt x="2585783" y="1981"/>
                  </a:lnTo>
                  <a:lnTo>
                    <a:pt x="2585783" y="1346"/>
                  </a:lnTo>
                  <a:lnTo>
                    <a:pt x="2585834" y="1346"/>
                  </a:lnTo>
                  <a:lnTo>
                    <a:pt x="2585935" y="1981"/>
                  </a:lnTo>
                  <a:lnTo>
                    <a:pt x="2585935" y="1346"/>
                  </a:lnTo>
                  <a:lnTo>
                    <a:pt x="2585986" y="1981"/>
                  </a:lnTo>
                  <a:lnTo>
                    <a:pt x="2585986" y="1346"/>
                  </a:lnTo>
                  <a:lnTo>
                    <a:pt x="2586037" y="1346"/>
                  </a:lnTo>
                  <a:lnTo>
                    <a:pt x="2586075" y="1981"/>
                  </a:lnTo>
                  <a:lnTo>
                    <a:pt x="2586380" y="1981"/>
                  </a:lnTo>
                  <a:lnTo>
                    <a:pt x="2586431" y="1346"/>
                  </a:lnTo>
                  <a:lnTo>
                    <a:pt x="2586532" y="1346"/>
                  </a:lnTo>
                  <a:lnTo>
                    <a:pt x="2586621" y="1981"/>
                  </a:lnTo>
                  <a:lnTo>
                    <a:pt x="2586672" y="1981"/>
                  </a:lnTo>
                  <a:lnTo>
                    <a:pt x="2586723" y="1346"/>
                  </a:lnTo>
                  <a:lnTo>
                    <a:pt x="2586875" y="1346"/>
                  </a:lnTo>
                  <a:lnTo>
                    <a:pt x="2586875" y="1981"/>
                  </a:lnTo>
                  <a:lnTo>
                    <a:pt x="2587078" y="1981"/>
                  </a:lnTo>
                  <a:lnTo>
                    <a:pt x="2587116" y="1346"/>
                  </a:lnTo>
                  <a:lnTo>
                    <a:pt x="2587967" y="1346"/>
                  </a:lnTo>
                  <a:lnTo>
                    <a:pt x="2587967" y="648"/>
                  </a:lnTo>
                  <a:lnTo>
                    <a:pt x="2588018" y="648"/>
                  </a:lnTo>
                  <a:lnTo>
                    <a:pt x="2588018" y="1346"/>
                  </a:lnTo>
                  <a:lnTo>
                    <a:pt x="2588069" y="1346"/>
                  </a:lnTo>
                  <a:lnTo>
                    <a:pt x="2588120" y="1981"/>
                  </a:lnTo>
                  <a:lnTo>
                    <a:pt x="2588361" y="1981"/>
                  </a:lnTo>
                  <a:lnTo>
                    <a:pt x="2588361" y="1346"/>
                  </a:lnTo>
                  <a:lnTo>
                    <a:pt x="2588666" y="1346"/>
                  </a:lnTo>
                  <a:lnTo>
                    <a:pt x="2588666" y="1981"/>
                  </a:lnTo>
                  <a:lnTo>
                    <a:pt x="2588704" y="1981"/>
                  </a:lnTo>
                  <a:lnTo>
                    <a:pt x="2588704" y="1346"/>
                  </a:lnTo>
                  <a:lnTo>
                    <a:pt x="2588806" y="1346"/>
                  </a:lnTo>
                  <a:lnTo>
                    <a:pt x="2588907" y="1981"/>
                  </a:lnTo>
                  <a:lnTo>
                    <a:pt x="2589009" y="1981"/>
                  </a:lnTo>
                  <a:lnTo>
                    <a:pt x="2589110" y="3277"/>
                  </a:lnTo>
                  <a:lnTo>
                    <a:pt x="2589110" y="1981"/>
                  </a:lnTo>
                  <a:lnTo>
                    <a:pt x="2589161" y="1981"/>
                  </a:lnTo>
                  <a:lnTo>
                    <a:pt x="2589161" y="1346"/>
                  </a:lnTo>
                  <a:lnTo>
                    <a:pt x="2589250" y="1346"/>
                  </a:lnTo>
                  <a:lnTo>
                    <a:pt x="2589250" y="1981"/>
                  </a:lnTo>
                  <a:lnTo>
                    <a:pt x="2589555" y="1981"/>
                  </a:lnTo>
                  <a:lnTo>
                    <a:pt x="2589606" y="3277"/>
                  </a:lnTo>
                  <a:lnTo>
                    <a:pt x="2589606" y="1981"/>
                  </a:lnTo>
                  <a:lnTo>
                    <a:pt x="2589796" y="1981"/>
                  </a:lnTo>
                  <a:lnTo>
                    <a:pt x="2589847" y="1346"/>
                  </a:lnTo>
                  <a:lnTo>
                    <a:pt x="2589898" y="1346"/>
                  </a:lnTo>
                  <a:lnTo>
                    <a:pt x="2589949" y="1981"/>
                  </a:lnTo>
                  <a:lnTo>
                    <a:pt x="2590253" y="1981"/>
                  </a:lnTo>
                  <a:lnTo>
                    <a:pt x="2590291" y="1346"/>
                  </a:lnTo>
                  <a:lnTo>
                    <a:pt x="2590342" y="1981"/>
                  </a:lnTo>
                  <a:lnTo>
                    <a:pt x="2590546" y="1981"/>
                  </a:lnTo>
                  <a:lnTo>
                    <a:pt x="2590596" y="1346"/>
                  </a:lnTo>
                  <a:lnTo>
                    <a:pt x="2590749" y="1346"/>
                  </a:lnTo>
                  <a:lnTo>
                    <a:pt x="2590800" y="1981"/>
                  </a:lnTo>
                  <a:lnTo>
                    <a:pt x="2590838" y="1981"/>
                  </a:lnTo>
                  <a:lnTo>
                    <a:pt x="2590939" y="1346"/>
                  </a:lnTo>
                  <a:lnTo>
                    <a:pt x="2590990" y="1981"/>
                  </a:lnTo>
                  <a:lnTo>
                    <a:pt x="2591041" y="1981"/>
                  </a:lnTo>
                  <a:lnTo>
                    <a:pt x="2591142" y="1346"/>
                  </a:lnTo>
                  <a:lnTo>
                    <a:pt x="2591142" y="1981"/>
                  </a:lnTo>
                  <a:lnTo>
                    <a:pt x="2591384" y="1981"/>
                  </a:lnTo>
                  <a:lnTo>
                    <a:pt x="2591435" y="1346"/>
                  </a:lnTo>
                  <a:lnTo>
                    <a:pt x="2591688" y="1346"/>
                  </a:lnTo>
                  <a:lnTo>
                    <a:pt x="2591688" y="1981"/>
                  </a:lnTo>
                  <a:lnTo>
                    <a:pt x="2591981" y="1981"/>
                  </a:lnTo>
                  <a:lnTo>
                    <a:pt x="2591981" y="3277"/>
                  </a:lnTo>
                  <a:lnTo>
                    <a:pt x="2592082" y="1981"/>
                  </a:lnTo>
                  <a:lnTo>
                    <a:pt x="2592336" y="1981"/>
                  </a:lnTo>
                  <a:lnTo>
                    <a:pt x="2592336" y="3277"/>
                  </a:lnTo>
                  <a:lnTo>
                    <a:pt x="2592387" y="1981"/>
                  </a:lnTo>
                  <a:lnTo>
                    <a:pt x="2592527" y="1981"/>
                  </a:lnTo>
                  <a:lnTo>
                    <a:pt x="2592578" y="1346"/>
                  </a:lnTo>
                  <a:lnTo>
                    <a:pt x="2592781" y="1346"/>
                  </a:lnTo>
                  <a:lnTo>
                    <a:pt x="2592781" y="1981"/>
                  </a:lnTo>
                  <a:lnTo>
                    <a:pt x="2592882" y="1981"/>
                  </a:lnTo>
                  <a:lnTo>
                    <a:pt x="2592882" y="1346"/>
                  </a:lnTo>
                  <a:lnTo>
                    <a:pt x="2593124" y="1346"/>
                  </a:lnTo>
                  <a:lnTo>
                    <a:pt x="2593225" y="1981"/>
                  </a:lnTo>
                  <a:lnTo>
                    <a:pt x="2593670" y="1981"/>
                  </a:lnTo>
                  <a:lnTo>
                    <a:pt x="2593670" y="3277"/>
                  </a:lnTo>
                  <a:lnTo>
                    <a:pt x="2593721" y="1981"/>
                  </a:lnTo>
                  <a:lnTo>
                    <a:pt x="2593771" y="1981"/>
                  </a:lnTo>
                  <a:lnTo>
                    <a:pt x="2593771" y="1346"/>
                  </a:lnTo>
                  <a:lnTo>
                    <a:pt x="2593873" y="1981"/>
                  </a:lnTo>
                  <a:lnTo>
                    <a:pt x="2593873" y="1346"/>
                  </a:lnTo>
                  <a:lnTo>
                    <a:pt x="2593924" y="1981"/>
                  </a:lnTo>
                  <a:lnTo>
                    <a:pt x="2593975" y="1346"/>
                  </a:lnTo>
                  <a:lnTo>
                    <a:pt x="2593975" y="1981"/>
                  </a:lnTo>
                  <a:lnTo>
                    <a:pt x="2594165" y="1981"/>
                  </a:lnTo>
                  <a:lnTo>
                    <a:pt x="2594216" y="1346"/>
                  </a:lnTo>
                  <a:lnTo>
                    <a:pt x="2594470" y="1346"/>
                  </a:lnTo>
                  <a:lnTo>
                    <a:pt x="2594470" y="1981"/>
                  </a:lnTo>
                  <a:lnTo>
                    <a:pt x="2594863" y="1981"/>
                  </a:lnTo>
                  <a:lnTo>
                    <a:pt x="2594914" y="1346"/>
                  </a:lnTo>
                  <a:lnTo>
                    <a:pt x="2595105" y="1346"/>
                  </a:lnTo>
                  <a:lnTo>
                    <a:pt x="2595156" y="1981"/>
                  </a:lnTo>
                  <a:lnTo>
                    <a:pt x="2595257" y="1981"/>
                  </a:lnTo>
                  <a:lnTo>
                    <a:pt x="2595257" y="1346"/>
                  </a:lnTo>
                  <a:lnTo>
                    <a:pt x="2595511" y="1346"/>
                  </a:lnTo>
                  <a:lnTo>
                    <a:pt x="2595511" y="1981"/>
                  </a:lnTo>
                  <a:lnTo>
                    <a:pt x="2595600" y="1981"/>
                  </a:lnTo>
                  <a:lnTo>
                    <a:pt x="2595600" y="3277"/>
                  </a:lnTo>
                  <a:lnTo>
                    <a:pt x="2595702" y="3277"/>
                  </a:lnTo>
                  <a:lnTo>
                    <a:pt x="2595753" y="1981"/>
                  </a:lnTo>
                  <a:lnTo>
                    <a:pt x="2596248" y="1981"/>
                  </a:lnTo>
                  <a:lnTo>
                    <a:pt x="2596299" y="3277"/>
                  </a:lnTo>
                  <a:lnTo>
                    <a:pt x="2596451" y="1346"/>
                  </a:lnTo>
                  <a:lnTo>
                    <a:pt x="2596502" y="1346"/>
                  </a:lnTo>
                  <a:lnTo>
                    <a:pt x="2596502" y="1981"/>
                  </a:lnTo>
                  <a:lnTo>
                    <a:pt x="2596692" y="1981"/>
                  </a:lnTo>
                  <a:lnTo>
                    <a:pt x="2596743" y="1346"/>
                  </a:lnTo>
                  <a:lnTo>
                    <a:pt x="2596845" y="1346"/>
                  </a:lnTo>
                  <a:lnTo>
                    <a:pt x="2596845" y="1981"/>
                  </a:lnTo>
                  <a:lnTo>
                    <a:pt x="2597048" y="1981"/>
                  </a:lnTo>
                  <a:lnTo>
                    <a:pt x="2597048" y="3277"/>
                  </a:lnTo>
                  <a:lnTo>
                    <a:pt x="2597099" y="3277"/>
                  </a:lnTo>
                  <a:lnTo>
                    <a:pt x="2597099" y="1981"/>
                  </a:lnTo>
                  <a:lnTo>
                    <a:pt x="2597150" y="1981"/>
                  </a:lnTo>
                  <a:lnTo>
                    <a:pt x="2597150" y="1346"/>
                  </a:lnTo>
                  <a:lnTo>
                    <a:pt x="2597188" y="1346"/>
                  </a:lnTo>
                  <a:lnTo>
                    <a:pt x="2597289" y="1981"/>
                  </a:lnTo>
                  <a:lnTo>
                    <a:pt x="2597645" y="1981"/>
                  </a:lnTo>
                  <a:lnTo>
                    <a:pt x="2597734" y="1346"/>
                  </a:lnTo>
                  <a:lnTo>
                    <a:pt x="2597734" y="1981"/>
                  </a:lnTo>
                  <a:lnTo>
                    <a:pt x="2597785" y="1346"/>
                  </a:lnTo>
                  <a:lnTo>
                    <a:pt x="2597886" y="1346"/>
                  </a:lnTo>
                  <a:lnTo>
                    <a:pt x="2597886" y="1981"/>
                  </a:lnTo>
                  <a:lnTo>
                    <a:pt x="2598038" y="1981"/>
                  </a:lnTo>
                  <a:lnTo>
                    <a:pt x="2598089" y="3277"/>
                  </a:lnTo>
                  <a:lnTo>
                    <a:pt x="2598089" y="1981"/>
                  </a:lnTo>
                  <a:lnTo>
                    <a:pt x="2598280" y="1981"/>
                  </a:lnTo>
                  <a:lnTo>
                    <a:pt x="2598280" y="3277"/>
                  </a:lnTo>
                  <a:lnTo>
                    <a:pt x="2598331" y="3277"/>
                  </a:lnTo>
                  <a:lnTo>
                    <a:pt x="2598432" y="1981"/>
                  </a:lnTo>
                  <a:lnTo>
                    <a:pt x="2598635" y="1981"/>
                  </a:lnTo>
                  <a:lnTo>
                    <a:pt x="2598686" y="3277"/>
                  </a:lnTo>
                  <a:lnTo>
                    <a:pt x="2598775" y="3277"/>
                  </a:lnTo>
                  <a:lnTo>
                    <a:pt x="2598775" y="1981"/>
                  </a:lnTo>
                  <a:lnTo>
                    <a:pt x="2598978" y="1981"/>
                  </a:lnTo>
                  <a:lnTo>
                    <a:pt x="2598978" y="1346"/>
                  </a:lnTo>
                  <a:lnTo>
                    <a:pt x="2599131" y="1346"/>
                  </a:lnTo>
                  <a:lnTo>
                    <a:pt x="2599131" y="1981"/>
                  </a:lnTo>
                  <a:lnTo>
                    <a:pt x="2599626" y="1981"/>
                  </a:lnTo>
                  <a:lnTo>
                    <a:pt x="2599677" y="1346"/>
                  </a:lnTo>
                  <a:lnTo>
                    <a:pt x="2599816" y="1346"/>
                  </a:lnTo>
                  <a:lnTo>
                    <a:pt x="2599816" y="1981"/>
                  </a:lnTo>
                  <a:lnTo>
                    <a:pt x="2599867" y="1346"/>
                  </a:lnTo>
                  <a:lnTo>
                    <a:pt x="2599918" y="1346"/>
                  </a:lnTo>
                  <a:lnTo>
                    <a:pt x="2599918" y="1981"/>
                  </a:lnTo>
                  <a:lnTo>
                    <a:pt x="2600274" y="1981"/>
                  </a:lnTo>
                  <a:lnTo>
                    <a:pt x="2600325" y="1346"/>
                  </a:lnTo>
                  <a:lnTo>
                    <a:pt x="2600363" y="1346"/>
                  </a:lnTo>
                  <a:lnTo>
                    <a:pt x="2600363" y="1981"/>
                  </a:lnTo>
                  <a:lnTo>
                    <a:pt x="2600515" y="1981"/>
                  </a:lnTo>
                  <a:lnTo>
                    <a:pt x="2600566" y="1346"/>
                  </a:lnTo>
                  <a:lnTo>
                    <a:pt x="2600718" y="1346"/>
                  </a:lnTo>
                  <a:lnTo>
                    <a:pt x="2600769" y="1981"/>
                  </a:lnTo>
                  <a:lnTo>
                    <a:pt x="2601366" y="1981"/>
                  </a:lnTo>
                  <a:lnTo>
                    <a:pt x="2601366" y="3277"/>
                  </a:lnTo>
                  <a:lnTo>
                    <a:pt x="2601404" y="1981"/>
                  </a:lnTo>
                  <a:lnTo>
                    <a:pt x="2601455" y="3277"/>
                  </a:lnTo>
                  <a:lnTo>
                    <a:pt x="2601506" y="1981"/>
                  </a:lnTo>
                  <a:lnTo>
                    <a:pt x="2601709" y="1981"/>
                  </a:lnTo>
                  <a:lnTo>
                    <a:pt x="2601810" y="3277"/>
                  </a:lnTo>
                  <a:lnTo>
                    <a:pt x="2601861" y="3277"/>
                  </a:lnTo>
                  <a:lnTo>
                    <a:pt x="2601861" y="1981"/>
                  </a:lnTo>
                  <a:lnTo>
                    <a:pt x="2601950" y="1981"/>
                  </a:lnTo>
                  <a:lnTo>
                    <a:pt x="2602052" y="3277"/>
                  </a:lnTo>
                  <a:lnTo>
                    <a:pt x="2602052" y="1981"/>
                  </a:lnTo>
                  <a:lnTo>
                    <a:pt x="2602496" y="1981"/>
                  </a:lnTo>
                  <a:lnTo>
                    <a:pt x="2602547" y="3277"/>
                  </a:lnTo>
                  <a:lnTo>
                    <a:pt x="2602547" y="1981"/>
                  </a:lnTo>
                  <a:lnTo>
                    <a:pt x="2602598" y="1981"/>
                  </a:lnTo>
                  <a:lnTo>
                    <a:pt x="2602598" y="3277"/>
                  </a:lnTo>
                  <a:lnTo>
                    <a:pt x="2602649" y="1981"/>
                  </a:lnTo>
                  <a:lnTo>
                    <a:pt x="2604388" y="1981"/>
                  </a:lnTo>
                  <a:lnTo>
                    <a:pt x="2604388" y="3277"/>
                  </a:lnTo>
                  <a:lnTo>
                    <a:pt x="2604439" y="1981"/>
                  </a:lnTo>
                  <a:lnTo>
                    <a:pt x="2604439" y="3277"/>
                  </a:lnTo>
                  <a:lnTo>
                    <a:pt x="2604630" y="3277"/>
                  </a:lnTo>
                  <a:lnTo>
                    <a:pt x="2604681" y="1981"/>
                  </a:lnTo>
                  <a:lnTo>
                    <a:pt x="2604782" y="1981"/>
                  </a:lnTo>
                  <a:lnTo>
                    <a:pt x="2604833" y="3277"/>
                  </a:lnTo>
                  <a:lnTo>
                    <a:pt x="2604884" y="1981"/>
                  </a:lnTo>
                  <a:lnTo>
                    <a:pt x="2604985" y="1981"/>
                  </a:lnTo>
                  <a:lnTo>
                    <a:pt x="2605036" y="3277"/>
                  </a:lnTo>
                  <a:lnTo>
                    <a:pt x="2605125" y="3277"/>
                  </a:lnTo>
                  <a:lnTo>
                    <a:pt x="2605227" y="1981"/>
                  </a:lnTo>
                  <a:lnTo>
                    <a:pt x="2605976" y="1981"/>
                  </a:lnTo>
                  <a:lnTo>
                    <a:pt x="2605976" y="3277"/>
                  </a:lnTo>
                  <a:lnTo>
                    <a:pt x="2606128" y="3277"/>
                  </a:lnTo>
                  <a:lnTo>
                    <a:pt x="2606166" y="1981"/>
                  </a:lnTo>
                  <a:lnTo>
                    <a:pt x="2606421" y="1981"/>
                  </a:lnTo>
                  <a:lnTo>
                    <a:pt x="2606421" y="3277"/>
                  </a:lnTo>
                  <a:lnTo>
                    <a:pt x="2606471" y="3277"/>
                  </a:lnTo>
                  <a:lnTo>
                    <a:pt x="2606471" y="1981"/>
                  </a:lnTo>
                  <a:lnTo>
                    <a:pt x="2606814" y="1981"/>
                  </a:lnTo>
                  <a:lnTo>
                    <a:pt x="2606814" y="3277"/>
                  </a:lnTo>
                  <a:lnTo>
                    <a:pt x="2606865" y="1981"/>
                  </a:lnTo>
                  <a:lnTo>
                    <a:pt x="2606865" y="3277"/>
                  </a:lnTo>
                  <a:lnTo>
                    <a:pt x="2607119" y="3277"/>
                  </a:lnTo>
                  <a:lnTo>
                    <a:pt x="2607170" y="1981"/>
                  </a:lnTo>
                  <a:lnTo>
                    <a:pt x="2608262" y="1981"/>
                  </a:lnTo>
                  <a:lnTo>
                    <a:pt x="2608262" y="3277"/>
                  </a:lnTo>
                  <a:lnTo>
                    <a:pt x="2608300" y="1981"/>
                  </a:lnTo>
                  <a:lnTo>
                    <a:pt x="2608999" y="1981"/>
                  </a:lnTo>
                  <a:lnTo>
                    <a:pt x="2608999" y="3277"/>
                  </a:lnTo>
                  <a:lnTo>
                    <a:pt x="2609151" y="3277"/>
                  </a:lnTo>
                  <a:lnTo>
                    <a:pt x="2609151" y="1981"/>
                  </a:lnTo>
                  <a:lnTo>
                    <a:pt x="2609341" y="1981"/>
                  </a:lnTo>
                  <a:lnTo>
                    <a:pt x="2609392" y="3277"/>
                  </a:lnTo>
                  <a:lnTo>
                    <a:pt x="2609443" y="3277"/>
                  </a:lnTo>
                  <a:lnTo>
                    <a:pt x="2609545" y="1981"/>
                  </a:lnTo>
                  <a:lnTo>
                    <a:pt x="2609596" y="3277"/>
                  </a:lnTo>
                  <a:lnTo>
                    <a:pt x="2609596" y="1981"/>
                  </a:lnTo>
                  <a:lnTo>
                    <a:pt x="2609888" y="1981"/>
                  </a:lnTo>
                  <a:lnTo>
                    <a:pt x="2609989" y="3277"/>
                  </a:lnTo>
                  <a:lnTo>
                    <a:pt x="2610040" y="1981"/>
                  </a:lnTo>
                  <a:lnTo>
                    <a:pt x="2610091" y="3277"/>
                  </a:lnTo>
                  <a:lnTo>
                    <a:pt x="2610091" y="1981"/>
                  </a:lnTo>
                  <a:lnTo>
                    <a:pt x="2610243" y="1981"/>
                  </a:lnTo>
                  <a:lnTo>
                    <a:pt x="2610243" y="3277"/>
                  </a:lnTo>
                  <a:lnTo>
                    <a:pt x="2610294" y="3277"/>
                  </a:lnTo>
                  <a:lnTo>
                    <a:pt x="2610345" y="1981"/>
                  </a:lnTo>
                  <a:lnTo>
                    <a:pt x="2610535" y="1981"/>
                  </a:lnTo>
                  <a:lnTo>
                    <a:pt x="2610535" y="3277"/>
                  </a:lnTo>
                  <a:lnTo>
                    <a:pt x="2610586" y="1981"/>
                  </a:lnTo>
                  <a:lnTo>
                    <a:pt x="2610688" y="3277"/>
                  </a:lnTo>
                  <a:lnTo>
                    <a:pt x="2610738" y="3277"/>
                  </a:lnTo>
                  <a:lnTo>
                    <a:pt x="2610789" y="1981"/>
                  </a:lnTo>
                  <a:lnTo>
                    <a:pt x="2610980" y="1981"/>
                  </a:lnTo>
                  <a:lnTo>
                    <a:pt x="2610980" y="3277"/>
                  </a:lnTo>
                  <a:lnTo>
                    <a:pt x="2611031" y="1981"/>
                  </a:lnTo>
                  <a:lnTo>
                    <a:pt x="2611183" y="1981"/>
                  </a:lnTo>
                  <a:lnTo>
                    <a:pt x="2611183" y="3277"/>
                  </a:lnTo>
                  <a:lnTo>
                    <a:pt x="2611335" y="3277"/>
                  </a:lnTo>
                  <a:lnTo>
                    <a:pt x="2611335" y="1981"/>
                  </a:lnTo>
                  <a:lnTo>
                    <a:pt x="2611780" y="1981"/>
                  </a:lnTo>
                  <a:lnTo>
                    <a:pt x="2611780" y="3277"/>
                  </a:lnTo>
                  <a:lnTo>
                    <a:pt x="2611932" y="3277"/>
                  </a:lnTo>
                  <a:lnTo>
                    <a:pt x="2611932" y="1981"/>
                  </a:lnTo>
                  <a:lnTo>
                    <a:pt x="2612021" y="1981"/>
                  </a:lnTo>
                  <a:lnTo>
                    <a:pt x="2612072" y="3277"/>
                  </a:lnTo>
                  <a:lnTo>
                    <a:pt x="2612174" y="3277"/>
                  </a:lnTo>
                  <a:lnTo>
                    <a:pt x="2612174" y="1981"/>
                  </a:lnTo>
                  <a:lnTo>
                    <a:pt x="2612275" y="3277"/>
                  </a:lnTo>
                  <a:lnTo>
                    <a:pt x="2612275" y="1981"/>
                  </a:lnTo>
                  <a:lnTo>
                    <a:pt x="2612377" y="1981"/>
                  </a:lnTo>
                  <a:lnTo>
                    <a:pt x="2612377" y="3277"/>
                  </a:lnTo>
                  <a:lnTo>
                    <a:pt x="2612478" y="1981"/>
                  </a:lnTo>
                  <a:lnTo>
                    <a:pt x="2612618" y="1981"/>
                  </a:lnTo>
                  <a:lnTo>
                    <a:pt x="2612720" y="3277"/>
                  </a:lnTo>
                  <a:lnTo>
                    <a:pt x="2612771" y="3277"/>
                  </a:lnTo>
                  <a:lnTo>
                    <a:pt x="2612821" y="1981"/>
                  </a:lnTo>
                  <a:lnTo>
                    <a:pt x="2612923" y="1981"/>
                  </a:lnTo>
                  <a:lnTo>
                    <a:pt x="2612923" y="3277"/>
                  </a:lnTo>
                  <a:lnTo>
                    <a:pt x="2612974" y="3277"/>
                  </a:lnTo>
                  <a:lnTo>
                    <a:pt x="2613025" y="1981"/>
                  </a:lnTo>
                  <a:lnTo>
                    <a:pt x="2613063" y="1981"/>
                  </a:lnTo>
                  <a:lnTo>
                    <a:pt x="2613063" y="3277"/>
                  </a:lnTo>
                  <a:lnTo>
                    <a:pt x="2613164" y="3277"/>
                  </a:lnTo>
                  <a:lnTo>
                    <a:pt x="2613164" y="1981"/>
                  </a:lnTo>
                  <a:lnTo>
                    <a:pt x="2613215" y="1981"/>
                  </a:lnTo>
                  <a:lnTo>
                    <a:pt x="2613215" y="1346"/>
                  </a:lnTo>
                  <a:lnTo>
                    <a:pt x="2613266" y="1981"/>
                  </a:lnTo>
                  <a:lnTo>
                    <a:pt x="2613609" y="1981"/>
                  </a:lnTo>
                  <a:lnTo>
                    <a:pt x="2613609" y="3277"/>
                  </a:lnTo>
                  <a:lnTo>
                    <a:pt x="2613660" y="1981"/>
                  </a:lnTo>
                  <a:lnTo>
                    <a:pt x="2613710" y="1981"/>
                  </a:lnTo>
                  <a:lnTo>
                    <a:pt x="2613761" y="3277"/>
                  </a:lnTo>
                  <a:lnTo>
                    <a:pt x="2613863" y="1981"/>
                  </a:lnTo>
                  <a:lnTo>
                    <a:pt x="2613964" y="1981"/>
                  </a:lnTo>
                  <a:lnTo>
                    <a:pt x="2614066" y="3277"/>
                  </a:lnTo>
                  <a:lnTo>
                    <a:pt x="2614104" y="3277"/>
                  </a:lnTo>
                  <a:lnTo>
                    <a:pt x="2614155" y="1981"/>
                  </a:lnTo>
                  <a:lnTo>
                    <a:pt x="2614409" y="1981"/>
                  </a:lnTo>
                  <a:lnTo>
                    <a:pt x="2614409" y="3277"/>
                  </a:lnTo>
                  <a:lnTo>
                    <a:pt x="2614510" y="3277"/>
                  </a:lnTo>
                  <a:lnTo>
                    <a:pt x="2614510" y="1981"/>
                  </a:lnTo>
                  <a:lnTo>
                    <a:pt x="2614612" y="1981"/>
                  </a:lnTo>
                  <a:lnTo>
                    <a:pt x="2614650" y="3277"/>
                  </a:lnTo>
                  <a:lnTo>
                    <a:pt x="2614803" y="3277"/>
                  </a:lnTo>
                  <a:lnTo>
                    <a:pt x="2614803" y="1981"/>
                  </a:lnTo>
                  <a:lnTo>
                    <a:pt x="2615107" y="1981"/>
                  </a:lnTo>
                  <a:lnTo>
                    <a:pt x="2615196" y="3277"/>
                  </a:lnTo>
                  <a:lnTo>
                    <a:pt x="2615247" y="1981"/>
                  </a:lnTo>
                  <a:lnTo>
                    <a:pt x="2615247" y="3277"/>
                  </a:lnTo>
                  <a:lnTo>
                    <a:pt x="2615298" y="3277"/>
                  </a:lnTo>
                  <a:lnTo>
                    <a:pt x="2615298" y="1981"/>
                  </a:lnTo>
                  <a:lnTo>
                    <a:pt x="2615349" y="3277"/>
                  </a:lnTo>
                  <a:lnTo>
                    <a:pt x="2615349" y="1981"/>
                  </a:lnTo>
                  <a:lnTo>
                    <a:pt x="2615450" y="3277"/>
                  </a:lnTo>
                  <a:lnTo>
                    <a:pt x="2615450" y="1981"/>
                  </a:lnTo>
                  <a:lnTo>
                    <a:pt x="2615552" y="1981"/>
                  </a:lnTo>
                  <a:lnTo>
                    <a:pt x="2615653" y="3277"/>
                  </a:lnTo>
                  <a:lnTo>
                    <a:pt x="2615691" y="1981"/>
                  </a:lnTo>
                  <a:lnTo>
                    <a:pt x="2615793" y="1981"/>
                  </a:lnTo>
                  <a:lnTo>
                    <a:pt x="2615895" y="3277"/>
                  </a:lnTo>
                  <a:lnTo>
                    <a:pt x="2615946" y="3277"/>
                  </a:lnTo>
                  <a:lnTo>
                    <a:pt x="2615946" y="1981"/>
                  </a:lnTo>
                  <a:lnTo>
                    <a:pt x="2615996" y="1981"/>
                  </a:lnTo>
                  <a:lnTo>
                    <a:pt x="2615996" y="3277"/>
                  </a:lnTo>
                  <a:lnTo>
                    <a:pt x="2616149" y="3277"/>
                  </a:lnTo>
                  <a:lnTo>
                    <a:pt x="2616200" y="1981"/>
                  </a:lnTo>
                  <a:lnTo>
                    <a:pt x="2616238" y="3277"/>
                  </a:lnTo>
                  <a:lnTo>
                    <a:pt x="2616238" y="1981"/>
                  </a:lnTo>
                  <a:lnTo>
                    <a:pt x="2616441" y="1981"/>
                  </a:lnTo>
                  <a:lnTo>
                    <a:pt x="2616441" y="3277"/>
                  </a:lnTo>
                  <a:lnTo>
                    <a:pt x="2616542" y="1981"/>
                  </a:lnTo>
                  <a:lnTo>
                    <a:pt x="2616542" y="3277"/>
                  </a:lnTo>
                  <a:lnTo>
                    <a:pt x="2616593" y="3277"/>
                  </a:lnTo>
                  <a:lnTo>
                    <a:pt x="2616593" y="1981"/>
                  </a:lnTo>
                  <a:lnTo>
                    <a:pt x="2616644" y="1981"/>
                  </a:lnTo>
                  <a:lnTo>
                    <a:pt x="2616695" y="3277"/>
                  </a:lnTo>
                  <a:lnTo>
                    <a:pt x="2616835" y="3277"/>
                  </a:lnTo>
                  <a:lnTo>
                    <a:pt x="2616835" y="1981"/>
                  </a:lnTo>
                  <a:lnTo>
                    <a:pt x="2616885" y="3277"/>
                  </a:lnTo>
                  <a:lnTo>
                    <a:pt x="2616936" y="3277"/>
                  </a:lnTo>
                  <a:lnTo>
                    <a:pt x="2617038" y="1981"/>
                  </a:lnTo>
                  <a:lnTo>
                    <a:pt x="2617088" y="1981"/>
                  </a:lnTo>
                  <a:lnTo>
                    <a:pt x="2617139" y="3277"/>
                  </a:lnTo>
                  <a:lnTo>
                    <a:pt x="2617279" y="3277"/>
                  </a:lnTo>
                  <a:lnTo>
                    <a:pt x="2617330" y="1981"/>
                  </a:lnTo>
                  <a:lnTo>
                    <a:pt x="2617381" y="3277"/>
                  </a:lnTo>
                  <a:lnTo>
                    <a:pt x="2617381" y="1981"/>
                  </a:lnTo>
                  <a:lnTo>
                    <a:pt x="2617482" y="1981"/>
                  </a:lnTo>
                  <a:lnTo>
                    <a:pt x="2617482" y="3277"/>
                  </a:lnTo>
                  <a:lnTo>
                    <a:pt x="2617685" y="3277"/>
                  </a:lnTo>
                  <a:lnTo>
                    <a:pt x="2617685" y="1981"/>
                  </a:lnTo>
                  <a:lnTo>
                    <a:pt x="2617736" y="1981"/>
                  </a:lnTo>
                  <a:lnTo>
                    <a:pt x="2617736" y="3277"/>
                  </a:lnTo>
                  <a:lnTo>
                    <a:pt x="2617787" y="3277"/>
                  </a:lnTo>
                  <a:lnTo>
                    <a:pt x="2617825" y="1981"/>
                  </a:lnTo>
                  <a:lnTo>
                    <a:pt x="2617978" y="1981"/>
                  </a:lnTo>
                  <a:lnTo>
                    <a:pt x="2617978" y="3277"/>
                  </a:lnTo>
                  <a:lnTo>
                    <a:pt x="2618028" y="1981"/>
                  </a:lnTo>
                  <a:lnTo>
                    <a:pt x="2618181" y="1981"/>
                  </a:lnTo>
                  <a:lnTo>
                    <a:pt x="2618231" y="3277"/>
                  </a:lnTo>
                  <a:lnTo>
                    <a:pt x="2618524" y="3277"/>
                  </a:lnTo>
                  <a:lnTo>
                    <a:pt x="2618625" y="1981"/>
                  </a:lnTo>
                  <a:lnTo>
                    <a:pt x="2618676" y="3277"/>
                  </a:lnTo>
                  <a:lnTo>
                    <a:pt x="2618968" y="3277"/>
                  </a:lnTo>
                  <a:lnTo>
                    <a:pt x="2619070" y="1981"/>
                  </a:lnTo>
                  <a:lnTo>
                    <a:pt x="2619121" y="3277"/>
                  </a:lnTo>
                  <a:lnTo>
                    <a:pt x="2619171" y="1981"/>
                  </a:lnTo>
                  <a:lnTo>
                    <a:pt x="2619273" y="1981"/>
                  </a:lnTo>
                  <a:lnTo>
                    <a:pt x="2619273" y="3277"/>
                  </a:lnTo>
                  <a:lnTo>
                    <a:pt x="2619413" y="3277"/>
                  </a:lnTo>
                  <a:lnTo>
                    <a:pt x="2619514" y="1981"/>
                  </a:lnTo>
                  <a:lnTo>
                    <a:pt x="2619565" y="1981"/>
                  </a:lnTo>
                  <a:lnTo>
                    <a:pt x="2619616" y="3277"/>
                  </a:lnTo>
                  <a:lnTo>
                    <a:pt x="2619768" y="3277"/>
                  </a:lnTo>
                  <a:lnTo>
                    <a:pt x="2619768" y="1981"/>
                  </a:lnTo>
                  <a:lnTo>
                    <a:pt x="2619819" y="1981"/>
                  </a:lnTo>
                  <a:lnTo>
                    <a:pt x="2619819" y="3277"/>
                  </a:lnTo>
                  <a:lnTo>
                    <a:pt x="2619870" y="3277"/>
                  </a:lnTo>
                  <a:lnTo>
                    <a:pt x="2619870" y="1981"/>
                  </a:lnTo>
                  <a:lnTo>
                    <a:pt x="2620060" y="1981"/>
                  </a:lnTo>
                  <a:lnTo>
                    <a:pt x="2620111" y="3277"/>
                  </a:lnTo>
                  <a:lnTo>
                    <a:pt x="2620263" y="3277"/>
                  </a:lnTo>
                  <a:lnTo>
                    <a:pt x="2620314" y="1981"/>
                  </a:lnTo>
                  <a:lnTo>
                    <a:pt x="2620416" y="3277"/>
                  </a:lnTo>
                  <a:lnTo>
                    <a:pt x="2620759" y="3277"/>
                  </a:lnTo>
                  <a:lnTo>
                    <a:pt x="2620860" y="1981"/>
                  </a:lnTo>
                  <a:lnTo>
                    <a:pt x="2620860" y="3277"/>
                  </a:lnTo>
                  <a:lnTo>
                    <a:pt x="2620911" y="1981"/>
                  </a:lnTo>
                  <a:lnTo>
                    <a:pt x="2620962" y="3277"/>
                  </a:lnTo>
                  <a:lnTo>
                    <a:pt x="2621356" y="3277"/>
                  </a:lnTo>
                  <a:lnTo>
                    <a:pt x="2621406" y="3975"/>
                  </a:lnTo>
                  <a:lnTo>
                    <a:pt x="2621406" y="3277"/>
                  </a:lnTo>
                  <a:lnTo>
                    <a:pt x="2621800" y="3277"/>
                  </a:lnTo>
                  <a:lnTo>
                    <a:pt x="2621851" y="1981"/>
                  </a:lnTo>
                  <a:lnTo>
                    <a:pt x="2622003" y="1981"/>
                  </a:lnTo>
                  <a:lnTo>
                    <a:pt x="2622003" y="3277"/>
                  </a:lnTo>
                  <a:lnTo>
                    <a:pt x="2622689" y="3277"/>
                  </a:lnTo>
                  <a:lnTo>
                    <a:pt x="2622740" y="1981"/>
                  </a:lnTo>
                  <a:lnTo>
                    <a:pt x="2622892" y="1981"/>
                  </a:lnTo>
                  <a:lnTo>
                    <a:pt x="2622892" y="3277"/>
                  </a:lnTo>
                  <a:lnTo>
                    <a:pt x="2623185" y="3277"/>
                  </a:lnTo>
                  <a:lnTo>
                    <a:pt x="2623235" y="1981"/>
                  </a:lnTo>
                  <a:lnTo>
                    <a:pt x="2623286" y="1981"/>
                  </a:lnTo>
                  <a:lnTo>
                    <a:pt x="2623286" y="3277"/>
                  </a:lnTo>
                  <a:lnTo>
                    <a:pt x="2623438" y="3277"/>
                  </a:lnTo>
                  <a:lnTo>
                    <a:pt x="2623489" y="1981"/>
                  </a:lnTo>
                  <a:lnTo>
                    <a:pt x="2623489" y="3277"/>
                  </a:lnTo>
                  <a:lnTo>
                    <a:pt x="2623591" y="3277"/>
                  </a:lnTo>
                  <a:lnTo>
                    <a:pt x="2623591" y="1981"/>
                  </a:lnTo>
                  <a:lnTo>
                    <a:pt x="2623629" y="3277"/>
                  </a:lnTo>
                  <a:lnTo>
                    <a:pt x="2623883" y="3277"/>
                  </a:lnTo>
                  <a:lnTo>
                    <a:pt x="2623934" y="1981"/>
                  </a:lnTo>
                  <a:lnTo>
                    <a:pt x="2624035" y="1981"/>
                  </a:lnTo>
                  <a:lnTo>
                    <a:pt x="2624035" y="3277"/>
                  </a:lnTo>
                  <a:lnTo>
                    <a:pt x="2624086" y="3277"/>
                  </a:lnTo>
                  <a:lnTo>
                    <a:pt x="2624086" y="1981"/>
                  </a:lnTo>
                  <a:lnTo>
                    <a:pt x="2624137" y="1981"/>
                  </a:lnTo>
                  <a:lnTo>
                    <a:pt x="2624175" y="3277"/>
                  </a:lnTo>
                  <a:lnTo>
                    <a:pt x="2624328" y="3277"/>
                  </a:lnTo>
                  <a:lnTo>
                    <a:pt x="2624328" y="1981"/>
                  </a:lnTo>
                  <a:lnTo>
                    <a:pt x="2624378" y="1981"/>
                  </a:lnTo>
                  <a:lnTo>
                    <a:pt x="2624378" y="3277"/>
                  </a:lnTo>
                  <a:lnTo>
                    <a:pt x="2624632" y="3277"/>
                  </a:lnTo>
                  <a:lnTo>
                    <a:pt x="2624721" y="1981"/>
                  </a:lnTo>
                  <a:lnTo>
                    <a:pt x="2624721" y="3277"/>
                  </a:lnTo>
                  <a:lnTo>
                    <a:pt x="2625216" y="3277"/>
                  </a:lnTo>
                  <a:lnTo>
                    <a:pt x="2625267" y="3975"/>
                  </a:lnTo>
                  <a:lnTo>
                    <a:pt x="2625267" y="3277"/>
                  </a:lnTo>
                  <a:lnTo>
                    <a:pt x="2625318" y="3277"/>
                  </a:lnTo>
                  <a:lnTo>
                    <a:pt x="2625420" y="3975"/>
                  </a:lnTo>
                  <a:lnTo>
                    <a:pt x="2625521" y="3975"/>
                  </a:lnTo>
                  <a:lnTo>
                    <a:pt x="2625623" y="3277"/>
                  </a:lnTo>
                  <a:lnTo>
                    <a:pt x="2626410" y="3277"/>
                  </a:lnTo>
                  <a:lnTo>
                    <a:pt x="2626461" y="1981"/>
                  </a:lnTo>
                  <a:lnTo>
                    <a:pt x="2626563" y="1981"/>
                  </a:lnTo>
                  <a:lnTo>
                    <a:pt x="2626613" y="3277"/>
                  </a:lnTo>
                  <a:lnTo>
                    <a:pt x="2626855" y="3277"/>
                  </a:lnTo>
                  <a:lnTo>
                    <a:pt x="2626855" y="1981"/>
                  </a:lnTo>
                  <a:lnTo>
                    <a:pt x="2626906" y="1981"/>
                  </a:lnTo>
                  <a:lnTo>
                    <a:pt x="2626906" y="3277"/>
                  </a:lnTo>
                  <a:lnTo>
                    <a:pt x="2627109" y="3277"/>
                  </a:lnTo>
                  <a:lnTo>
                    <a:pt x="2627109" y="3975"/>
                  </a:lnTo>
                  <a:lnTo>
                    <a:pt x="2627210" y="3277"/>
                  </a:lnTo>
                  <a:lnTo>
                    <a:pt x="2627210" y="3975"/>
                  </a:lnTo>
                  <a:lnTo>
                    <a:pt x="2627261" y="3975"/>
                  </a:lnTo>
                  <a:lnTo>
                    <a:pt x="2627261" y="3277"/>
                  </a:lnTo>
                  <a:lnTo>
                    <a:pt x="2627998" y="3277"/>
                  </a:lnTo>
                  <a:lnTo>
                    <a:pt x="2628049" y="1981"/>
                  </a:lnTo>
                  <a:lnTo>
                    <a:pt x="2628049" y="3277"/>
                  </a:lnTo>
                  <a:lnTo>
                    <a:pt x="2628696" y="3277"/>
                  </a:lnTo>
                  <a:lnTo>
                    <a:pt x="2628798" y="3975"/>
                  </a:lnTo>
                  <a:lnTo>
                    <a:pt x="2628849" y="3277"/>
                  </a:lnTo>
                  <a:lnTo>
                    <a:pt x="2629242" y="3277"/>
                  </a:lnTo>
                  <a:lnTo>
                    <a:pt x="2629242" y="1981"/>
                  </a:lnTo>
                  <a:lnTo>
                    <a:pt x="2629293" y="1981"/>
                  </a:lnTo>
                  <a:lnTo>
                    <a:pt x="2629344" y="3277"/>
                  </a:lnTo>
                  <a:lnTo>
                    <a:pt x="2629395" y="3277"/>
                  </a:lnTo>
                  <a:lnTo>
                    <a:pt x="2629484" y="3975"/>
                  </a:lnTo>
                  <a:lnTo>
                    <a:pt x="2629535" y="3277"/>
                  </a:lnTo>
                  <a:lnTo>
                    <a:pt x="2629585" y="3277"/>
                  </a:lnTo>
                  <a:lnTo>
                    <a:pt x="2629636" y="3975"/>
                  </a:lnTo>
                  <a:lnTo>
                    <a:pt x="2629738" y="3277"/>
                  </a:lnTo>
                  <a:lnTo>
                    <a:pt x="2629788" y="3975"/>
                  </a:lnTo>
                  <a:lnTo>
                    <a:pt x="2629839" y="3277"/>
                  </a:lnTo>
                  <a:lnTo>
                    <a:pt x="2629979" y="3277"/>
                  </a:lnTo>
                  <a:lnTo>
                    <a:pt x="2629979" y="3975"/>
                  </a:lnTo>
                  <a:lnTo>
                    <a:pt x="2630081" y="3975"/>
                  </a:lnTo>
                  <a:lnTo>
                    <a:pt x="2630182" y="3277"/>
                  </a:lnTo>
                  <a:lnTo>
                    <a:pt x="2630233" y="3277"/>
                  </a:lnTo>
                  <a:lnTo>
                    <a:pt x="2630284" y="3975"/>
                  </a:lnTo>
                  <a:lnTo>
                    <a:pt x="2630284" y="3277"/>
                  </a:lnTo>
                  <a:lnTo>
                    <a:pt x="2630436" y="3277"/>
                  </a:lnTo>
                  <a:lnTo>
                    <a:pt x="2630487" y="3975"/>
                  </a:lnTo>
                  <a:lnTo>
                    <a:pt x="2630525" y="3975"/>
                  </a:lnTo>
                  <a:lnTo>
                    <a:pt x="2630627" y="3277"/>
                  </a:lnTo>
                  <a:lnTo>
                    <a:pt x="2630678" y="3277"/>
                  </a:lnTo>
                  <a:lnTo>
                    <a:pt x="2630728" y="3975"/>
                  </a:lnTo>
                  <a:lnTo>
                    <a:pt x="2630881" y="3975"/>
                  </a:lnTo>
                  <a:lnTo>
                    <a:pt x="2630881" y="3277"/>
                  </a:lnTo>
                  <a:lnTo>
                    <a:pt x="2631122" y="3277"/>
                  </a:lnTo>
                  <a:lnTo>
                    <a:pt x="2631173" y="3975"/>
                  </a:lnTo>
                  <a:lnTo>
                    <a:pt x="2631325" y="3975"/>
                  </a:lnTo>
                  <a:lnTo>
                    <a:pt x="2631376" y="3277"/>
                  </a:lnTo>
                  <a:lnTo>
                    <a:pt x="2631617" y="3277"/>
                  </a:lnTo>
                  <a:lnTo>
                    <a:pt x="2631668" y="3975"/>
                  </a:lnTo>
                  <a:lnTo>
                    <a:pt x="2631668" y="3277"/>
                  </a:lnTo>
                  <a:lnTo>
                    <a:pt x="2631973" y="3277"/>
                  </a:lnTo>
                  <a:lnTo>
                    <a:pt x="2632024" y="3975"/>
                  </a:lnTo>
                  <a:lnTo>
                    <a:pt x="2632024" y="3277"/>
                  </a:lnTo>
                  <a:lnTo>
                    <a:pt x="2632468" y="3277"/>
                  </a:lnTo>
                  <a:lnTo>
                    <a:pt x="2632519" y="3975"/>
                  </a:lnTo>
                  <a:lnTo>
                    <a:pt x="2632519" y="3277"/>
                  </a:lnTo>
                  <a:lnTo>
                    <a:pt x="2632963" y="3277"/>
                  </a:lnTo>
                  <a:lnTo>
                    <a:pt x="2633014" y="3975"/>
                  </a:lnTo>
                  <a:lnTo>
                    <a:pt x="2633014" y="3277"/>
                  </a:lnTo>
                  <a:lnTo>
                    <a:pt x="2633357" y="3277"/>
                  </a:lnTo>
                  <a:lnTo>
                    <a:pt x="2633357" y="3975"/>
                  </a:lnTo>
                  <a:lnTo>
                    <a:pt x="2633853" y="3975"/>
                  </a:lnTo>
                  <a:lnTo>
                    <a:pt x="2633853" y="3277"/>
                  </a:lnTo>
                  <a:lnTo>
                    <a:pt x="2634056" y="3277"/>
                  </a:lnTo>
                  <a:lnTo>
                    <a:pt x="2634056" y="1981"/>
                  </a:lnTo>
                  <a:lnTo>
                    <a:pt x="2634106" y="1981"/>
                  </a:lnTo>
                  <a:lnTo>
                    <a:pt x="2634106" y="3277"/>
                  </a:lnTo>
                  <a:lnTo>
                    <a:pt x="2634157" y="3277"/>
                  </a:lnTo>
                  <a:lnTo>
                    <a:pt x="2634157" y="3975"/>
                  </a:lnTo>
                  <a:lnTo>
                    <a:pt x="2634246" y="3277"/>
                  </a:lnTo>
                  <a:lnTo>
                    <a:pt x="2634399" y="3277"/>
                  </a:lnTo>
                  <a:lnTo>
                    <a:pt x="2634500" y="3975"/>
                  </a:lnTo>
                  <a:lnTo>
                    <a:pt x="2634741" y="3975"/>
                  </a:lnTo>
                  <a:lnTo>
                    <a:pt x="2634741" y="3277"/>
                  </a:lnTo>
                  <a:lnTo>
                    <a:pt x="2634843" y="3277"/>
                  </a:lnTo>
                  <a:lnTo>
                    <a:pt x="2634843" y="3975"/>
                  </a:lnTo>
                  <a:lnTo>
                    <a:pt x="2634996" y="3975"/>
                  </a:lnTo>
                  <a:lnTo>
                    <a:pt x="2634996" y="3277"/>
                  </a:lnTo>
                  <a:lnTo>
                    <a:pt x="2635148" y="3277"/>
                  </a:lnTo>
                  <a:lnTo>
                    <a:pt x="2635148" y="3975"/>
                  </a:lnTo>
                  <a:lnTo>
                    <a:pt x="2635250" y="3975"/>
                  </a:lnTo>
                  <a:lnTo>
                    <a:pt x="2635288" y="3277"/>
                  </a:lnTo>
                  <a:lnTo>
                    <a:pt x="2635288" y="3975"/>
                  </a:lnTo>
                  <a:lnTo>
                    <a:pt x="2635440" y="3975"/>
                  </a:lnTo>
                  <a:lnTo>
                    <a:pt x="2635491" y="3277"/>
                  </a:lnTo>
                  <a:lnTo>
                    <a:pt x="2635592" y="3277"/>
                  </a:lnTo>
                  <a:lnTo>
                    <a:pt x="2635643" y="3975"/>
                  </a:lnTo>
                  <a:lnTo>
                    <a:pt x="2635885" y="3975"/>
                  </a:lnTo>
                  <a:lnTo>
                    <a:pt x="2635935" y="3277"/>
                  </a:lnTo>
                  <a:lnTo>
                    <a:pt x="2635986" y="3277"/>
                  </a:lnTo>
                  <a:lnTo>
                    <a:pt x="2635986" y="3975"/>
                  </a:lnTo>
                  <a:lnTo>
                    <a:pt x="2636088" y="3975"/>
                  </a:lnTo>
                  <a:lnTo>
                    <a:pt x="2636138" y="3277"/>
                  </a:lnTo>
                  <a:lnTo>
                    <a:pt x="2636189" y="3277"/>
                  </a:lnTo>
                  <a:lnTo>
                    <a:pt x="2636291" y="3975"/>
                  </a:lnTo>
                  <a:lnTo>
                    <a:pt x="2636532" y="3975"/>
                  </a:lnTo>
                  <a:lnTo>
                    <a:pt x="2636583" y="3277"/>
                  </a:lnTo>
                  <a:lnTo>
                    <a:pt x="2636634" y="3277"/>
                  </a:lnTo>
                  <a:lnTo>
                    <a:pt x="2636634" y="3975"/>
                  </a:lnTo>
                  <a:lnTo>
                    <a:pt x="2636837" y="3975"/>
                  </a:lnTo>
                  <a:lnTo>
                    <a:pt x="2636837" y="3277"/>
                  </a:lnTo>
                  <a:lnTo>
                    <a:pt x="2636977" y="3277"/>
                  </a:lnTo>
                  <a:lnTo>
                    <a:pt x="2636977" y="3975"/>
                  </a:lnTo>
                  <a:lnTo>
                    <a:pt x="2637028" y="3277"/>
                  </a:lnTo>
                  <a:lnTo>
                    <a:pt x="2637180" y="3277"/>
                  </a:lnTo>
                  <a:lnTo>
                    <a:pt x="2637231" y="3975"/>
                  </a:lnTo>
                  <a:lnTo>
                    <a:pt x="2637281" y="3975"/>
                  </a:lnTo>
                  <a:lnTo>
                    <a:pt x="2637281" y="3277"/>
                  </a:lnTo>
                  <a:lnTo>
                    <a:pt x="2637332" y="3975"/>
                  </a:lnTo>
                  <a:lnTo>
                    <a:pt x="2637421" y="3975"/>
                  </a:lnTo>
                  <a:lnTo>
                    <a:pt x="2637421" y="3277"/>
                  </a:lnTo>
                  <a:lnTo>
                    <a:pt x="2637472" y="3975"/>
                  </a:lnTo>
                  <a:lnTo>
                    <a:pt x="2637472" y="3277"/>
                  </a:lnTo>
                  <a:lnTo>
                    <a:pt x="2637777" y="3277"/>
                  </a:lnTo>
                  <a:lnTo>
                    <a:pt x="2637777" y="3975"/>
                  </a:lnTo>
                  <a:lnTo>
                    <a:pt x="2637878" y="3277"/>
                  </a:lnTo>
                  <a:lnTo>
                    <a:pt x="2637916" y="1981"/>
                  </a:lnTo>
                  <a:lnTo>
                    <a:pt x="2637967" y="3277"/>
                  </a:lnTo>
                  <a:lnTo>
                    <a:pt x="2638120" y="3277"/>
                  </a:lnTo>
                  <a:lnTo>
                    <a:pt x="2638171" y="3975"/>
                  </a:lnTo>
                  <a:lnTo>
                    <a:pt x="2638171" y="3277"/>
                  </a:lnTo>
                  <a:lnTo>
                    <a:pt x="2638374" y="3277"/>
                  </a:lnTo>
                  <a:lnTo>
                    <a:pt x="2638374" y="3975"/>
                  </a:lnTo>
                  <a:lnTo>
                    <a:pt x="2638463" y="3975"/>
                  </a:lnTo>
                  <a:lnTo>
                    <a:pt x="2638564" y="3277"/>
                  </a:lnTo>
                  <a:lnTo>
                    <a:pt x="2638767" y="3277"/>
                  </a:lnTo>
                  <a:lnTo>
                    <a:pt x="2638818" y="3975"/>
                  </a:lnTo>
                  <a:lnTo>
                    <a:pt x="2638920" y="3975"/>
                  </a:lnTo>
                  <a:lnTo>
                    <a:pt x="2638920" y="3277"/>
                  </a:lnTo>
                  <a:lnTo>
                    <a:pt x="2639009" y="3975"/>
                  </a:lnTo>
                  <a:lnTo>
                    <a:pt x="2639110" y="3975"/>
                  </a:lnTo>
                  <a:lnTo>
                    <a:pt x="2639161" y="3277"/>
                  </a:lnTo>
                  <a:lnTo>
                    <a:pt x="2639263" y="3277"/>
                  </a:lnTo>
                  <a:lnTo>
                    <a:pt x="2639313" y="3975"/>
                  </a:lnTo>
                  <a:lnTo>
                    <a:pt x="2639313" y="3277"/>
                  </a:lnTo>
                  <a:lnTo>
                    <a:pt x="2639466" y="3277"/>
                  </a:lnTo>
                  <a:lnTo>
                    <a:pt x="2639504" y="3975"/>
                  </a:lnTo>
                  <a:lnTo>
                    <a:pt x="2639504" y="3277"/>
                  </a:lnTo>
                  <a:lnTo>
                    <a:pt x="2639758" y="3277"/>
                  </a:lnTo>
                  <a:lnTo>
                    <a:pt x="2639809" y="3975"/>
                  </a:lnTo>
                  <a:lnTo>
                    <a:pt x="2639961" y="3975"/>
                  </a:lnTo>
                  <a:lnTo>
                    <a:pt x="2639961" y="3277"/>
                  </a:lnTo>
                  <a:lnTo>
                    <a:pt x="2640050" y="3277"/>
                  </a:lnTo>
                  <a:lnTo>
                    <a:pt x="2640152" y="3975"/>
                  </a:lnTo>
                  <a:lnTo>
                    <a:pt x="2640203" y="3277"/>
                  </a:lnTo>
                  <a:lnTo>
                    <a:pt x="2640253" y="3975"/>
                  </a:lnTo>
                  <a:lnTo>
                    <a:pt x="2640456" y="3975"/>
                  </a:lnTo>
                  <a:lnTo>
                    <a:pt x="2640507" y="3277"/>
                  </a:lnTo>
                  <a:lnTo>
                    <a:pt x="2640507" y="3975"/>
                  </a:lnTo>
                  <a:lnTo>
                    <a:pt x="2640647" y="3975"/>
                  </a:lnTo>
                  <a:lnTo>
                    <a:pt x="2640647" y="3277"/>
                  </a:lnTo>
                  <a:lnTo>
                    <a:pt x="2640698" y="3277"/>
                  </a:lnTo>
                  <a:lnTo>
                    <a:pt x="2640749" y="3975"/>
                  </a:lnTo>
                  <a:lnTo>
                    <a:pt x="2640850" y="3975"/>
                  </a:lnTo>
                  <a:lnTo>
                    <a:pt x="2640901" y="3277"/>
                  </a:lnTo>
                  <a:lnTo>
                    <a:pt x="2641053" y="3277"/>
                  </a:lnTo>
                  <a:lnTo>
                    <a:pt x="2641091" y="3975"/>
                  </a:lnTo>
                  <a:lnTo>
                    <a:pt x="2641193" y="3975"/>
                  </a:lnTo>
                  <a:lnTo>
                    <a:pt x="2641193" y="3277"/>
                  </a:lnTo>
                  <a:lnTo>
                    <a:pt x="2641295" y="3975"/>
                  </a:lnTo>
                  <a:lnTo>
                    <a:pt x="2641498" y="3975"/>
                  </a:lnTo>
                  <a:lnTo>
                    <a:pt x="2641498" y="3277"/>
                  </a:lnTo>
                  <a:lnTo>
                    <a:pt x="2641600" y="3277"/>
                  </a:lnTo>
                  <a:lnTo>
                    <a:pt x="2641638" y="3975"/>
                  </a:lnTo>
                  <a:lnTo>
                    <a:pt x="2641638" y="3277"/>
                  </a:lnTo>
                  <a:lnTo>
                    <a:pt x="2641739" y="3277"/>
                  </a:lnTo>
                  <a:lnTo>
                    <a:pt x="2641739" y="3975"/>
                  </a:lnTo>
                  <a:lnTo>
                    <a:pt x="2641993" y="3975"/>
                  </a:lnTo>
                  <a:lnTo>
                    <a:pt x="2642044" y="3277"/>
                  </a:lnTo>
                  <a:lnTo>
                    <a:pt x="2642285" y="3277"/>
                  </a:lnTo>
                  <a:lnTo>
                    <a:pt x="2642285" y="3975"/>
                  </a:lnTo>
                  <a:lnTo>
                    <a:pt x="2642336" y="3277"/>
                  </a:lnTo>
                  <a:lnTo>
                    <a:pt x="2642336" y="3975"/>
                  </a:lnTo>
                  <a:lnTo>
                    <a:pt x="2642438" y="3975"/>
                  </a:lnTo>
                  <a:lnTo>
                    <a:pt x="2642438" y="3277"/>
                  </a:lnTo>
                  <a:lnTo>
                    <a:pt x="2642488" y="3975"/>
                  </a:lnTo>
                  <a:lnTo>
                    <a:pt x="2642539" y="3277"/>
                  </a:lnTo>
                  <a:lnTo>
                    <a:pt x="2642539" y="3975"/>
                  </a:lnTo>
                  <a:lnTo>
                    <a:pt x="2643187" y="3975"/>
                  </a:lnTo>
                  <a:lnTo>
                    <a:pt x="2643225" y="3277"/>
                  </a:lnTo>
                  <a:lnTo>
                    <a:pt x="2643225" y="3975"/>
                  </a:lnTo>
                  <a:lnTo>
                    <a:pt x="2643924" y="3975"/>
                  </a:lnTo>
                  <a:lnTo>
                    <a:pt x="2643924" y="3277"/>
                  </a:lnTo>
                  <a:lnTo>
                    <a:pt x="2644076" y="3277"/>
                  </a:lnTo>
                  <a:lnTo>
                    <a:pt x="2644127" y="3975"/>
                  </a:lnTo>
                  <a:lnTo>
                    <a:pt x="2644127" y="3277"/>
                  </a:lnTo>
                  <a:lnTo>
                    <a:pt x="2644266" y="3277"/>
                  </a:lnTo>
                  <a:lnTo>
                    <a:pt x="2644266" y="3975"/>
                  </a:lnTo>
                  <a:lnTo>
                    <a:pt x="2644521" y="3975"/>
                  </a:lnTo>
                  <a:lnTo>
                    <a:pt x="2644571" y="3277"/>
                  </a:lnTo>
                  <a:lnTo>
                    <a:pt x="2644673" y="3975"/>
                  </a:lnTo>
                  <a:lnTo>
                    <a:pt x="2644724" y="3975"/>
                  </a:lnTo>
                  <a:lnTo>
                    <a:pt x="2644724" y="3277"/>
                  </a:lnTo>
                  <a:lnTo>
                    <a:pt x="2644775" y="3277"/>
                  </a:lnTo>
                  <a:lnTo>
                    <a:pt x="2644775" y="3975"/>
                  </a:lnTo>
                  <a:lnTo>
                    <a:pt x="2644813" y="3277"/>
                  </a:lnTo>
                  <a:lnTo>
                    <a:pt x="2644914" y="3975"/>
                  </a:lnTo>
                  <a:lnTo>
                    <a:pt x="2644914" y="3277"/>
                  </a:lnTo>
                  <a:lnTo>
                    <a:pt x="2644965" y="3277"/>
                  </a:lnTo>
                  <a:lnTo>
                    <a:pt x="2645016" y="3975"/>
                  </a:lnTo>
                  <a:lnTo>
                    <a:pt x="2645168" y="3975"/>
                  </a:lnTo>
                  <a:lnTo>
                    <a:pt x="2645168" y="3277"/>
                  </a:lnTo>
                  <a:lnTo>
                    <a:pt x="2645219" y="3975"/>
                  </a:lnTo>
                  <a:lnTo>
                    <a:pt x="2645410" y="3975"/>
                  </a:lnTo>
                  <a:lnTo>
                    <a:pt x="2645410" y="3277"/>
                  </a:lnTo>
                  <a:lnTo>
                    <a:pt x="2645460" y="3975"/>
                  </a:lnTo>
                  <a:lnTo>
                    <a:pt x="2645460" y="3277"/>
                  </a:lnTo>
                  <a:lnTo>
                    <a:pt x="2645511" y="3975"/>
                  </a:lnTo>
                  <a:lnTo>
                    <a:pt x="2646311" y="3975"/>
                  </a:lnTo>
                  <a:lnTo>
                    <a:pt x="2646362" y="3277"/>
                  </a:lnTo>
                  <a:lnTo>
                    <a:pt x="2646400" y="3975"/>
                  </a:lnTo>
                  <a:lnTo>
                    <a:pt x="2646946" y="3975"/>
                  </a:lnTo>
                  <a:lnTo>
                    <a:pt x="2646997" y="3277"/>
                  </a:lnTo>
                  <a:lnTo>
                    <a:pt x="2647200" y="3277"/>
                  </a:lnTo>
                  <a:lnTo>
                    <a:pt x="2647251" y="3975"/>
                  </a:lnTo>
                  <a:lnTo>
                    <a:pt x="2647302" y="3975"/>
                  </a:lnTo>
                  <a:lnTo>
                    <a:pt x="2647302" y="3277"/>
                  </a:lnTo>
                  <a:lnTo>
                    <a:pt x="2647441" y="3277"/>
                  </a:lnTo>
                  <a:lnTo>
                    <a:pt x="2647492" y="3975"/>
                  </a:lnTo>
                  <a:lnTo>
                    <a:pt x="2647543" y="3975"/>
                  </a:lnTo>
                  <a:lnTo>
                    <a:pt x="2647645" y="3277"/>
                  </a:lnTo>
                  <a:lnTo>
                    <a:pt x="2647696" y="3975"/>
                  </a:lnTo>
                  <a:lnTo>
                    <a:pt x="2647746" y="3277"/>
                  </a:lnTo>
                  <a:lnTo>
                    <a:pt x="2647848" y="3975"/>
                  </a:lnTo>
                  <a:lnTo>
                    <a:pt x="2647988" y="3975"/>
                  </a:lnTo>
                  <a:lnTo>
                    <a:pt x="2647988" y="4610"/>
                  </a:lnTo>
                  <a:lnTo>
                    <a:pt x="2648089" y="3975"/>
                  </a:lnTo>
                  <a:lnTo>
                    <a:pt x="2648140" y="3975"/>
                  </a:lnTo>
                  <a:lnTo>
                    <a:pt x="2648191" y="4610"/>
                  </a:lnTo>
                  <a:lnTo>
                    <a:pt x="2648292" y="4610"/>
                  </a:lnTo>
                  <a:lnTo>
                    <a:pt x="2648343" y="3975"/>
                  </a:lnTo>
                  <a:lnTo>
                    <a:pt x="2648991" y="3975"/>
                  </a:lnTo>
                  <a:lnTo>
                    <a:pt x="2648991" y="4610"/>
                  </a:lnTo>
                  <a:lnTo>
                    <a:pt x="2649283" y="4610"/>
                  </a:lnTo>
                  <a:lnTo>
                    <a:pt x="2649283" y="3975"/>
                  </a:lnTo>
                  <a:lnTo>
                    <a:pt x="2649334" y="3975"/>
                  </a:lnTo>
                  <a:lnTo>
                    <a:pt x="2649334" y="3277"/>
                  </a:lnTo>
                  <a:lnTo>
                    <a:pt x="2649435" y="3975"/>
                  </a:lnTo>
                  <a:lnTo>
                    <a:pt x="2650172" y="3975"/>
                  </a:lnTo>
                  <a:lnTo>
                    <a:pt x="2650223" y="3277"/>
                  </a:lnTo>
                  <a:lnTo>
                    <a:pt x="2650426" y="3277"/>
                  </a:lnTo>
                  <a:lnTo>
                    <a:pt x="2650477" y="3975"/>
                  </a:lnTo>
                  <a:lnTo>
                    <a:pt x="2650616" y="3975"/>
                  </a:lnTo>
                  <a:lnTo>
                    <a:pt x="2650667" y="4610"/>
                  </a:lnTo>
                  <a:lnTo>
                    <a:pt x="2650718" y="3975"/>
                  </a:lnTo>
                  <a:lnTo>
                    <a:pt x="2650820" y="3975"/>
                  </a:lnTo>
                  <a:lnTo>
                    <a:pt x="2650820" y="3277"/>
                  </a:lnTo>
                  <a:lnTo>
                    <a:pt x="2650871" y="3975"/>
                  </a:lnTo>
                  <a:lnTo>
                    <a:pt x="2651569" y="3975"/>
                  </a:lnTo>
                  <a:lnTo>
                    <a:pt x="2651620" y="4610"/>
                  </a:lnTo>
                  <a:lnTo>
                    <a:pt x="2651709" y="4610"/>
                  </a:lnTo>
                  <a:lnTo>
                    <a:pt x="2651709" y="3975"/>
                  </a:lnTo>
                  <a:lnTo>
                    <a:pt x="2652407" y="3975"/>
                  </a:lnTo>
                  <a:lnTo>
                    <a:pt x="2652407" y="4610"/>
                  </a:lnTo>
                  <a:lnTo>
                    <a:pt x="2652458" y="3975"/>
                  </a:lnTo>
                  <a:lnTo>
                    <a:pt x="2652610" y="3975"/>
                  </a:lnTo>
                  <a:lnTo>
                    <a:pt x="2652610" y="3277"/>
                  </a:lnTo>
                  <a:lnTo>
                    <a:pt x="2652661" y="3277"/>
                  </a:lnTo>
                  <a:lnTo>
                    <a:pt x="2652661" y="3975"/>
                  </a:lnTo>
                  <a:lnTo>
                    <a:pt x="2653347" y="3975"/>
                  </a:lnTo>
                  <a:lnTo>
                    <a:pt x="2653398" y="4610"/>
                  </a:lnTo>
                  <a:lnTo>
                    <a:pt x="2653449" y="3975"/>
                  </a:lnTo>
                  <a:lnTo>
                    <a:pt x="2653449" y="4610"/>
                  </a:lnTo>
                  <a:lnTo>
                    <a:pt x="2653550" y="4610"/>
                  </a:lnTo>
                  <a:lnTo>
                    <a:pt x="2653550" y="3975"/>
                  </a:lnTo>
                  <a:lnTo>
                    <a:pt x="2653753" y="3975"/>
                  </a:lnTo>
                  <a:lnTo>
                    <a:pt x="2653791" y="4610"/>
                  </a:lnTo>
                  <a:lnTo>
                    <a:pt x="2653791" y="3975"/>
                  </a:lnTo>
                  <a:lnTo>
                    <a:pt x="2653842" y="4610"/>
                  </a:lnTo>
                  <a:lnTo>
                    <a:pt x="2653842" y="3975"/>
                  </a:lnTo>
                  <a:lnTo>
                    <a:pt x="2654300" y="3975"/>
                  </a:lnTo>
                  <a:lnTo>
                    <a:pt x="2654338" y="3277"/>
                  </a:lnTo>
                  <a:lnTo>
                    <a:pt x="2654439" y="3975"/>
                  </a:lnTo>
                  <a:lnTo>
                    <a:pt x="2655188" y="3975"/>
                  </a:lnTo>
                  <a:lnTo>
                    <a:pt x="2655239" y="4610"/>
                  </a:lnTo>
                  <a:lnTo>
                    <a:pt x="2655341" y="3975"/>
                  </a:lnTo>
                  <a:lnTo>
                    <a:pt x="2655379" y="3975"/>
                  </a:lnTo>
                  <a:lnTo>
                    <a:pt x="2655379" y="3277"/>
                  </a:lnTo>
                  <a:lnTo>
                    <a:pt x="2655430" y="3277"/>
                  </a:lnTo>
                  <a:lnTo>
                    <a:pt x="2655430" y="3975"/>
                  </a:lnTo>
                  <a:lnTo>
                    <a:pt x="2655684" y="3975"/>
                  </a:lnTo>
                  <a:lnTo>
                    <a:pt x="2655785" y="4610"/>
                  </a:lnTo>
                  <a:lnTo>
                    <a:pt x="2655925" y="4610"/>
                  </a:lnTo>
                  <a:lnTo>
                    <a:pt x="2656027" y="3975"/>
                  </a:lnTo>
                  <a:lnTo>
                    <a:pt x="2656078" y="3975"/>
                  </a:lnTo>
                  <a:lnTo>
                    <a:pt x="2656128" y="4610"/>
                  </a:lnTo>
                  <a:lnTo>
                    <a:pt x="2656624" y="4610"/>
                  </a:lnTo>
                  <a:lnTo>
                    <a:pt x="2656725" y="3975"/>
                  </a:lnTo>
                  <a:lnTo>
                    <a:pt x="2656776" y="4610"/>
                  </a:lnTo>
                  <a:lnTo>
                    <a:pt x="2656928" y="4610"/>
                  </a:lnTo>
                  <a:lnTo>
                    <a:pt x="2656928" y="3975"/>
                  </a:lnTo>
                  <a:lnTo>
                    <a:pt x="2656966" y="4610"/>
                  </a:lnTo>
                  <a:lnTo>
                    <a:pt x="2657017" y="4610"/>
                  </a:lnTo>
                  <a:lnTo>
                    <a:pt x="2657068" y="3975"/>
                  </a:lnTo>
                  <a:lnTo>
                    <a:pt x="2657170" y="4610"/>
                  </a:lnTo>
                  <a:lnTo>
                    <a:pt x="2657271" y="4610"/>
                  </a:lnTo>
                  <a:lnTo>
                    <a:pt x="2657373" y="3975"/>
                  </a:lnTo>
                  <a:lnTo>
                    <a:pt x="2657373" y="4610"/>
                  </a:lnTo>
                  <a:lnTo>
                    <a:pt x="2657716" y="4610"/>
                  </a:lnTo>
                  <a:lnTo>
                    <a:pt x="2657716" y="3975"/>
                  </a:lnTo>
                  <a:lnTo>
                    <a:pt x="2657817" y="4610"/>
                  </a:lnTo>
                  <a:lnTo>
                    <a:pt x="2657919" y="4610"/>
                  </a:lnTo>
                  <a:lnTo>
                    <a:pt x="2657970" y="3975"/>
                  </a:lnTo>
                  <a:lnTo>
                    <a:pt x="2658059" y="3975"/>
                  </a:lnTo>
                  <a:lnTo>
                    <a:pt x="2658059" y="4610"/>
                  </a:lnTo>
                  <a:lnTo>
                    <a:pt x="2658110" y="3975"/>
                  </a:lnTo>
                  <a:lnTo>
                    <a:pt x="2658110" y="4610"/>
                  </a:lnTo>
                  <a:lnTo>
                    <a:pt x="2658160" y="4610"/>
                  </a:lnTo>
                  <a:lnTo>
                    <a:pt x="2658160" y="3975"/>
                  </a:lnTo>
                  <a:lnTo>
                    <a:pt x="2658363" y="3975"/>
                  </a:lnTo>
                  <a:lnTo>
                    <a:pt x="2658414" y="4610"/>
                  </a:lnTo>
                  <a:lnTo>
                    <a:pt x="2658516" y="4610"/>
                  </a:lnTo>
                  <a:lnTo>
                    <a:pt x="2658516" y="3975"/>
                  </a:lnTo>
                  <a:lnTo>
                    <a:pt x="2658656" y="3975"/>
                  </a:lnTo>
                  <a:lnTo>
                    <a:pt x="2658656" y="4610"/>
                  </a:lnTo>
                  <a:lnTo>
                    <a:pt x="2658757" y="3975"/>
                  </a:lnTo>
                  <a:lnTo>
                    <a:pt x="2658859" y="3975"/>
                  </a:lnTo>
                  <a:lnTo>
                    <a:pt x="2658859" y="4610"/>
                  </a:lnTo>
                  <a:lnTo>
                    <a:pt x="2659062" y="4610"/>
                  </a:lnTo>
                  <a:lnTo>
                    <a:pt x="2659100" y="3975"/>
                  </a:lnTo>
                  <a:lnTo>
                    <a:pt x="2659100" y="4610"/>
                  </a:lnTo>
                  <a:lnTo>
                    <a:pt x="2659303" y="4610"/>
                  </a:lnTo>
                  <a:lnTo>
                    <a:pt x="2659405" y="3975"/>
                  </a:lnTo>
                  <a:lnTo>
                    <a:pt x="2659405" y="4610"/>
                  </a:lnTo>
                  <a:lnTo>
                    <a:pt x="2659748" y="4610"/>
                  </a:lnTo>
                  <a:lnTo>
                    <a:pt x="2659748" y="3975"/>
                  </a:lnTo>
                  <a:lnTo>
                    <a:pt x="2660002" y="3975"/>
                  </a:lnTo>
                  <a:lnTo>
                    <a:pt x="2660002" y="4610"/>
                  </a:lnTo>
                  <a:lnTo>
                    <a:pt x="2660103" y="3975"/>
                  </a:lnTo>
                  <a:lnTo>
                    <a:pt x="2660141" y="4610"/>
                  </a:lnTo>
                  <a:lnTo>
                    <a:pt x="2660192" y="4610"/>
                  </a:lnTo>
                  <a:lnTo>
                    <a:pt x="2660192" y="3975"/>
                  </a:lnTo>
                  <a:lnTo>
                    <a:pt x="2660345" y="3975"/>
                  </a:lnTo>
                  <a:lnTo>
                    <a:pt x="2660345" y="4610"/>
                  </a:lnTo>
                  <a:lnTo>
                    <a:pt x="2660599" y="4610"/>
                  </a:lnTo>
                  <a:lnTo>
                    <a:pt x="2660650" y="3975"/>
                  </a:lnTo>
                  <a:lnTo>
                    <a:pt x="2660789" y="3975"/>
                  </a:lnTo>
                  <a:lnTo>
                    <a:pt x="2660789" y="4610"/>
                  </a:lnTo>
                  <a:lnTo>
                    <a:pt x="2660891" y="4610"/>
                  </a:lnTo>
                  <a:lnTo>
                    <a:pt x="2660992" y="3975"/>
                  </a:lnTo>
                  <a:lnTo>
                    <a:pt x="2661285" y="3975"/>
                  </a:lnTo>
                  <a:lnTo>
                    <a:pt x="2661335" y="4610"/>
                  </a:lnTo>
                  <a:lnTo>
                    <a:pt x="2661386" y="4610"/>
                  </a:lnTo>
                  <a:lnTo>
                    <a:pt x="2661386" y="3975"/>
                  </a:lnTo>
                  <a:lnTo>
                    <a:pt x="2661488" y="4610"/>
                  </a:lnTo>
                  <a:lnTo>
                    <a:pt x="2661538" y="4610"/>
                  </a:lnTo>
                  <a:lnTo>
                    <a:pt x="2661538" y="3975"/>
                  </a:lnTo>
                  <a:lnTo>
                    <a:pt x="2661729" y="3975"/>
                  </a:lnTo>
                  <a:lnTo>
                    <a:pt x="2661780" y="4610"/>
                  </a:lnTo>
                  <a:lnTo>
                    <a:pt x="2661780" y="3975"/>
                  </a:lnTo>
                  <a:lnTo>
                    <a:pt x="2661932" y="3975"/>
                  </a:lnTo>
                  <a:lnTo>
                    <a:pt x="2661983" y="4610"/>
                  </a:lnTo>
                  <a:lnTo>
                    <a:pt x="2662034" y="4610"/>
                  </a:lnTo>
                  <a:lnTo>
                    <a:pt x="2662034" y="3975"/>
                  </a:lnTo>
                  <a:lnTo>
                    <a:pt x="2662186" y="3975"/>
                  </a:lnTo>
                  <a:lnTo>
                    <a:pt x="2662186" y="4610"/>
                  </a:lnTo>
                  <a:lnTo>
                    <a:pt x="2662580" y="4610"/>
                  </a:lnTo>
                  <a:lnTo>
                    <a:pt x="2662631" y="3975"/>
                  </a:lnTo>
                  <a:lnTo>
                    <a:pt x="2662681" y="4610"/>
                  </a:lnTo>
                  <a:lnTo>
                    <a:pt x="2662821" y="4610"/>
                  </a:lnTo>
                  <a:lnTo>
                    <a:pt x="2662872" y="5207"/>
                  </a:lnTo>
                  <a:lnTo>
                    <a:pt x="2662923" y="5207"/>
                  </a:lnTo>
                  <a:lnTo>
                    <a:pt x="2662923" y="4610"/>
                  </a:lnTo>
                  <a:lnTo>
                    <a:pt x="2662974" y="3975"/>
                  </a:lnTo>
                  <a:lnTo>
                    <a:pt x="2662974" y="4610"/>
                  </a:lnTo>
                  <a:lnTo>
                    <a:pt x="2663126" y="4610"/>
                  </a:lnTo>
                  <a:lnTo>
                    <a:pt x="2663126" y="5207"/>
                  </a:lnTo>
                  <a:lnTo>
                    <a:pt x="2663177" y="5207"/>
                  </a:lnTo>
                  <a:lnTo>
                    <a:pt x="2663278" y="4610"/>
                  </a:lnTo>
                  <a:lnTo>
                    <a:pt x="2663316" y="3975"/>
                  </a:lnTo>
                  <a:lnTo>
                    <a:pt x="2663418" y="3975"/>
                  </a:lnTo>
                  <a:lnTo>
                    <a:pt x="2663520" y="4610"/>
                  </a:lnTo>
                  <a:lnTo>
                    <a:pt x="2663723" y="4610"/>
                  </a:lnTo>
                  <a:lnTo>
                    <a:pt x="2663774" y="3975"/>
                  </a:lnTo>
                  <a:lnTo>
                    <a:pt x="2663825" y="3975"/>
                  </a:lnTo>
                  <a:lnTo>
                    <a:pt x="2663825" y="4610"/>
                  </a:lnTo>
                  <a:lnTo>
                    <a:pt x="2663863" y="4610"/>
                  </a:lnTo>
                  <a:lnTo>
                    <a:pt x="2663964" y="5207"/>
                  </a:lnTo>
                  <a:lnTo>
                    <a:pt x="2663964" y="4610"/>
                  </a:lnTo>
                  <a:lnTo>
                    <a:pt x="2664561" y="4610"/>
                  </a:lnTo>
                  <a:lnTo>
                    <a:pt x="2664663" y="3975"/>
                  </a:lnTo>
                  <a:lnTo>
                    <a:pt x="2664713" y="3975"/>
                  </a:lnTo>
                  <a:lnTo>
                    <a:pt x="2664713" y="4610"/>
                  </a:lnTo>
                  <a:lnTo>
                    <a:pt x="2664764" y="4610"/>
                  </a:lnTo>
                  <a:lnTo>
                    <a:pt x="2664764" y="3975"/>
                  </a:lnTo>
                  <a:lnTo>
                    <a:pt x="2664904" y="3975"/>
                  </a:lnTo>
                  <a:lnTo>
                    <a:pt x="2664955" y="4610"/>
                  </a:lnTo>
                  <a:lnTo>
                    <a:pt x="2665006" y="4610"/>
                  </a:lnTo>
                  <a:lnTo>
                    <a:pt x="2665107" y="3975"/>
                  </a:lnTo>
                  <a:lnTo>
                    <a:pt x="2665158" y="3975"/>
                  </a:lnTo>
                  <a:lnTo>
                    <a:pt x="2665158" y="4610"/>
                  </a:lnTo>
                  <a:lnTo>
                    <a:pt x="2665361" y="4610"/>
                  </a:lnTo>
                  <a:lnTo>
                    <a:pt x="2665361" y="5207"/>
                  </a:lnTo>
                  <a:lnTo>
                    <a:pt x="2665412" y="5207"/>
                  </a:lnTo>
                  <a:lnTo>
                    <a:pt x="2665412" y="4610"/>
                  </a:lnTo>
                  <a:lnTo>
                    <a:pt x="2665552" y="4610"/>
                  </a:lnTo>
                  <a:lnTo>
                    <a:pt x="2665603" y="3975"/>
                  </a:lnTo>
                  <a:lnTo>
                    <a:pt x="2665653" y="4610"/>
                  </a:lnTo>
                  <a:lnTo>
                    <a:pt x="2666301" y="4610"/>
                  </a:lnTo>
                  <a:lnTo>
                    <a:pt x="2666301" y="5207"/>
                  </a:lnTo>
                  <a:lnTo>
                    <a:pt x="2666352" y="4610"/>
                  </a:lnTo>
                  <a:lnTo>
                    <a:pt x="2666352" y="5207"/>
                  </a:lnTo>
                  <a:lnTo>
                    <a:pt x="2666453" y="5207"/>
                  </a:lnTo>
                  <a:lnTo>
                    <a:pt x="2666453" y="4610"/>
                  </a:lnTo>
                  <a:lnTo>
                    <a:pt x="2666491" y="5207"/>
                  </a:lnTo>
                  <a:lnTo>
                    <a:pt x="2666695" y="5207"/>
                  </a:lnTo>
                  <a:lnTo>
                    <a:pt x="2666746" y="4610"/>
                  </a:lnTo>
                  <a:lnTo>
                    <a:pt x="2667038" y="4610"/>
                  </a:lnTo>
                  <a:lnTo>
                    <a:pt x="2667038" y="5207"/>
                  </a:lnTo>
                  <a:lnTo>
                    <a:pt x="2667139" y="4610"/>
                  </a:lnTo>
                  <a:lnTo>
                    <a:pt x="2667342" y="4610"/>
                  </a:lnTo>
                  <a:lnTo>
                    <a:pt x="2667393" y="3975"/>
                  </a:lnTo>
                  <a:lnTo>
                    <a:pt x="2667444" y="3975"/>
                  </a:lnTo>
                  <a:lnTo>
                    <a:pt x="2667495" y="4610"/>
                  </a:lnTo>
                  <a:lnTo>
                    <a:pt x="2668587" y="4610"/>
                  </a:lnTo>
                  <a:lnTo>
                    <a:pt x="2668625" y="3975"/>
                  </a:lnTo>
                  <a:lnTo>
                    <a:pt x="2668727" y="3975"/>
                  </a:lnTo>
                  <a:lnTo>
                    <a:pt x="2668778" y="4610"/>
                  </a:lnTo>
                  <a:lnTo>
                    <a:pt x="2668828" y="4610"/>
                  </a:lnTo>
                  <a:lnTo>
                    <a:pt x="2668828" y="5207"/>
                  </a:lnTo>
                  <a:lnTo>
                    <a:pt x="2668930" y="5207"/>
                  </a:lnTo>
                  <a:lnTo>
                    <a:pt x="2668981" y="4610"/>
                  </a:lnTo>
                  <a:lnTo>
                    <a:pt x="2669222" y="4610"/>
                  </a:lnTo>
                  <a:lnTo>
                    <a:pt x="2669273" y="5207"/>
                  </a:lnTo>
                  <a:lnTo>
                    <a:pt x="2669425" y="5207"/>
                  </a:lnTo>
                  <a:lnTo>
                    <a:pt x="2669425" y="4610"/>
                  </a:lnTo>
                  <a:lnTo>
                    <a:pt x="2669476" y="4610"/>
                  </a:lnTo>
                  <a:lnTo>
                    <a:pt x="2669476" y="5207"/>
                  </a:lnTo>
                  <a:lnTo>
                    <a:pt x="2669527" y="4610"/>
                  </a:lnTo>
                  <a:lnTo>
                    <a:pt x="2669628" y="5207"/>
                  </a:lnTo>
                  <a:lnTo>
                    <a:pt x="2669666" y="4610"/>
                  </a:lnTo>
                  <a:lnTo>
                    <a:pt x="2669717" y="4610"/>
                  </a:lnTo>
                  <a:lnTo>
                    <a:pt x="2669717" y="5207"/>
                  </a:lnTo>
                  <a:lnTo>
                    <a:pt x="2669768" y="4610"/>
                  </a:lnTo>
                  <a:lnTo>
                    <a:pt x="2670314" y="4610"/>
                  </a:lnTo>
                  <a:lnTo>
                    <a:pt x="2670314" y="5207"/>
                  </a:lnTo>
                  <a:lnTo>
                    <a:pt x="2670365" y="5207"/>
                  </a:lnTo>
                  <a:lnTo>
                    <a:pt x="2670365" y="4610"/>
                  </a:lnTo>
                  <a:lnTo>
                    <a:pt x="2670568" y="4610"/>
                  </a:lnTo>
                  <a:lnTo>
                    <a:pt x="2670619" y="3975"/>
                  </a:lnTo>
                  <a:lnTo>
                    <a:pt x="2670619" y="4610"/>
                  </a:lnTo>
                  <a:lnTo>
                    <a:pt x="2670810" y="4610"/>
                  </a:lnTo>
                  <a:lnTo>
                    <a:pt x="2670810" y="5207"/>
                  </a:lnTo>
                  <a:lnTo>
                    <a:pt x="2670860" y="4610"/>
                  </a:lnTo>
                  <a:lnTo>
                    <a:pt x="2671013" y="4610"/>
                  </a:lnTo>
                  <a:lnTo>
                    <a:pt x="2671013" y="5207"/>
                  </a:lnTo>
                  <a:lnTo>
                    <a:pt x="2671063" y="4610"/>
                  </a:lnTo>
                  <a:lnTo>
                    <a:pt x="2671254" y="4610"/>
                  </a:lnTo>
                  <a:lnTo>
                    <a:pt x="2671254" y="5207"/>
                  </a:lnTo>
                  <a:lnTo>
                    <a:pt x="2671305" y="4610"/>
                  </a:lnTo>
                  <a:lnTo>
                    <a:pt x="2672003" y="4610"/>
                  </a:lnTo>
                  <a:lnTo>
                    <a:pt x="2672003" y="3975"/>
                  </a:lnTo>
                  <a:lnTo>
                    <a:pt x="2672105" y="4610"/>
                  </a:lnTo>
                  <a:lnTo>
                    <a:pt x="2672156" y="4610"/>
                  </a:lnTo>
                  <a:lnTo>
                    <a:pt x="2672156" y="5207"/>
                  </a:lnTo>
                  <a:lnTo>
                    <a:pt x="2672346" y="5207"/>
                  </a:lnTo>
                  <a:lnTo>
                    <a:pt x="2672346" y="4610"/>
                  </a:lnTo>
                  <a:lnTo>
                    <a:pt x="2672499" y="4610"/>
                  </a:lnTo>
                  <a:lnTo>
                    <a:pt x="2672600" y="5207"/>
                  </a:lnTo>
                  <a:lnTo>
                    <a:pt x="2672651" y="5207"/>
                  </a:lnTo>
                  <a:lnTo>
                    <a:pt x="2672702" y="4610"/>
                  </a:lnTo>
                  <a:lnTo>
                    <a:pt x="2673299" y="4610"/>
                  </a:lnTo>
                  <a:lnTo>
                    <a:pt x="2673350" y="5207"/>
                  </a:lnTo>
                  <a:lnTo>
                    <a:pt x="2673388" y="4610"/>
                  </a:lnTo>
                  <a:lnTo>
                    <a:pt x="2673540" y="4610"/>
                  </a:lnTo>
                  <a:lnTo>
                    <a:pt x="2673591" y="5207"/>
                  </a:lnTo>
                  <a:lnTo>
                    <a:pt x="2673591" y="4610"/>
                  </a:lnTo>
                  <a:lnTo>
                    <a:pt x="2674188" y="4610"/>
                  </a:lnTo>
                  <a:lnTo>
                    <a:pt x="2674188" y="5207"/>
                  </a:lnTo>
                  <a:lnTo>
                    <a:pt x="2674238" y="4610"/>
                  </a:lnTo>
                  <a:lnTo>
                    <a:pt x="2674238" y="5207"/>
                  </a:lnTo>
                  <a:lnTo>
                    <a:pt x="2674429" y="5207"/>
                  </a:lnTo>
                  <a:lnTo>
                    <a:pt x="2674480" y="4610"/>
                  </a:lnTo>
                  <a:lnTo>
                    <a:pt x="2674531" y="4610"/>
                  </a:lnTo>
                  <a:lnTo>
                    <a:pt x="2674632" y="5207"/>
                  </a:lnTo>
                  <a:lnTo>
                    <a:pt x="2674734" y="5207"/>
                  </a:lnTo>
                  <a:lnTo>
                    <a:pt x="2674734" y="4610"/>
                  </a:lnTo>
                  <a:lnTo>
                    <a:pt x="2675178" y="4610"/>
                  </a:lnTo>
                  <a:lnTo>
                    <a:pt x="2675178" y="5207"/>
                  </a:lnTo>
                  <a:lnTo>
                    <a:pt x="2675432" y="5207"/>
                  </a:lnTo>
                  <a:lnTo>
                    <a:pt x="2675521" y="4610"/>
                  </a:lnTo>
                  <a:lnTo>
                    <a:pt x="2675572" y="4610"/>
                  </a:lnTo>
                  <a:lnTo>
                    <a:pt x="2675623" y="5207"/>
                  </a:lnTo>
                  <a:lnTo>
                    <a:pt x="2675674" y="5207"/>
                  </a:lnTo>
                  <a:lnTo>
                    <a:pt x="2675775" y="4610"/>
                  </a:lnTo>
                  <a:lnTo>
                    <a:pt x="2676220" y="4610"/>
                  </a:lnTo>
                  <a:lnTo>
                    <a:pt x="2676271" y="5207"/>
                  </a:lnTo>
                  <a:lnTo>
                    <a:pt x="2676271" y="4610"/>
                  </a:lnTo>
                  <a:lnTo>
                    <a:pt x="2676474" y="4610"/>
                  </a:lnTo>
                  <a:lnTo>
                    <a:pt x="2676474" y="5207"/>
                  </a:lnTo>
                  <a:lnTo>
                    <a:pt x="2676525" y="4610"/>
                  </a:lnTo>
                  <a:lnTo>
                    <a:pt x="2676766" y="4610"/>
                  </a:lnTo>
                  <a:lnTo>
                    <a:pt x="2676867" y="5207"/>
                  </a:lnTo>
                  <a:lnTo>
                    <a:pt x="2676918" y="4610"/>
                  </a:lnTo>
                  <a:lnTo>
                    <a:pt x="2677261" y="4610"/>
                  </a:lnTo>
                  <a:lnTo>
                    <a:pt x="2677261" y="5207"/>
                  </a:lnTo>
                  <a:lnTo>
                    <a:pt x="2677413" y="5207"/>
                  </a:lnTo>
                  <a:lnTo>
                    <a:pt x="2677464" y="4610"/>
                  </a:lnTo>
                  <a:lnTo>
                    <a:pt x="2677604" y="4610"/>
                  </a:lnTo>
                  <a:lnTo>
                    <a:pt x="2677655" y="5207"/>
                  </a:lnTo>
                  <a:lnTo>
                    <a:pt x="2677807" y="5207"/>
                  </a:lnTo>
                  <a:lnTo>
                    <a:pt x="2677807" y="4610"/>
                  </a:lnTo>
                  <a:lnTo>
                    <a:pt x="2677909" y="4610"/>
                  </a:lnTo>
                  <a:lnTo>
                    <a:pt x="2677909" y="5207"/>
                  </a:lnTo>
                  <a:lnTo>
                    <a:pt x="2678252" y="5207"/>
                  </a:lnTo>
                  <a:lnTo>
                    <a:pt x="2678252" y="4610"/>
                  </a:lnTo>
                  <a:lnTo>
                    <a:pt x="2678455" y="4610"/>
                  </a:lnTo>
                  <a:lnTo>
                    <a:pt x="2678455" y="5207"/>
                  </a:lnTo>
                  <a:lnTo>
                    <a:pt x="2678607" y="5207"/>
                  </a:lnTo>
                  <a:lnTo>
                    <a:pt x="2678696" y="4610"/>
                  </a:lnTo>
                  <a:lnTo>
                    <a:pt x="2678798" y="4610"/>
                  </a:lnTo>
                  <a:lnTo>
                    <a:pt x="2678798" y="5207"/>
                  </a:lnTo>
                  <a:lnTo>
                    <a:pt x="2678950" y="5207"/>
                  </a:lnTo>
                  <a:lnTo>
                    <a:pt x="2679001" y="4610"/>
                  </a:lnTo>
                  <a:lnTo>
                    <a:pt x="2679191" y="4610"/>
                  </a:lnTo>
                  <a:lnTo>
                    <a:pt x="2679242" y="5207"/>
                  </a:lnTo>
                  <a:lnTo>
                    <a:pt x="2679395" y="5207"/>
                  </a:lnTo>
                  <a:lnTo>
                    <a:pt x="2679395" y="4610"/>
                  </a:lnTo>
                  <a:lnTo>
                    <a:pt x="2679496" y="4610"/>
                  </a:lnTo>
                  <a:lnTo>
                    <a:pt x="2679496" y="5207"/>
                  </a:lnTo>
                  <a:lnTo>
                    <a:pt x="2679738" y="5207"/>
                  </a:lnTo>
                  <a:lnTo>
                    <a:pt x="2679839" y="4610"/>
                  </a:lnTo>
                  <a:lnTo>
                    <a:pt x="2679839" y="5207"/>
                  </a:lnTo>
                  <a:lnTo>
                    <a:pt x="2680042" y="5207"/>
                  </a:lnTo>
                  <a:lnTo>
                    <a:pt x="2680093" y="4610"/>
                  </a:lnTo>
                  <a:lnTo>
                    <a:pt x="2680385" y="4610"/>
                  </a:lnTo>
                  <a:lnTo>
                    <a:pt x="2680385" y="5207"/>
                  </a:lnTo>
                  <a:lnTo>
                    <a:pt x="2680436" y="4610"/>
                  </a:lnTo>
                  <a:lnTo>
                    <a:pt x="2680588" y="4610"/>
                  </a:lnTo>
                  <a:lnTo>
                    <a:pt x="2680588" y="5207"/>
                  </a:lnTo>
                  <a:lnTo>
                    <a:pt x="2680639" y="4610"/>
                  </a:lnTo>
                  <a:lnTo>
                    <a:pt x="2680741" y="5207"/>
                  </a:lnTo>
                  <a:lnTo>
                    <a:pt x="2680741" y="4610"/>
                  </a:lnTo>
                  <a:lnTo>
                    <a:pt x="2680881" y="4610"/>
                  </a:lnTo>
                  <a:lnTo>
                    <a:pt x="2680881" y="5207"/>
                  </a:lnTo>
                  <a:lnTo>
                    <a:pt x="2680982" y="5207"/>
                  </a:lnTo>
                  <a:lnTo>
                    <a:pt x="2681033" y="4610"/>
                  </a:lnTo>
                  <a:lnTo>
                    <a:pt x="2681236" y="4610"/>
                  </a:lnTo>
                  <a:lnTo>
                    <a:pt x="2681236" y="5207"/>
                  </a:lnTo>
                  <a:lnTo>
                    <a:pt x="2681973" y="5207"/>
                  </a:lnTo>
                  <a:lnTo>
                    <a:pt x="2682024" y="4610"/>
                  </a:lnTo>
                  <a:lnTo>
                    <a:pt x="2682024" y="5207"/>
                  </a:lnTo>
                  <a:lnTo>
                    <a:pt x="2682176" y="5207"/>
                  </a:lnTo>
                  <a:lnTo>
                    <a:pt x="2682176" y="4610"/>
                  </a:lnTo>
                  <a:lnTo>
                    <a:pt x="2682913" y="4610"/>
                  </a:lnTo>
                  <a:lnTo>
                    <a:pt x="2683014" y="5207"/>
                  </a:lnTo>
                  <a:lnTo>
                    <a:pt x="2683116" y="5207"/>
                  </a:lnTo>
                  <a:lnTo>
                    <a:pt x="2683116" y="4610"/>
                  </a:lnTo>
                  <a:lnTo>
                    <a:pt x="2683268" y="4610"/>
                  </a:lnTo>
                  <a:lnTo>
                    <a:pt x="2683268" y="5207"/>
                  </a:lnTo>
                  <a:lnTo>
                    <a:pt x="2683459" y="5207"/>
                  </a:lnTo>
                  <a:lnTo>
                    <a:pt x="2683459" y="4610"/>
                  </a:lnTo>
                  <a:lnTo>
                    <a:pt x="2683510" y="4610"/>
                  </a:lnTo>
                  <a:lnTo>
                    <a:pt x="2683560" y="5207"/>
                  </a:lnTo>
                  <a:lnTo>
                    <a:pt x="2683611" y="5207"/>
                  </a:lnTo>
                  <a:lnTo>
                    <a:pt x="2683713" y="4610"/>
                  </a:lnTo>
                  <a:lnTo>
                    <a:pt x="2683713" y="5207"/>
                  </a:lnTo>
                  <a:lnTo>
                    <a:pt x="2683814" y="5207"/>
                  </a:lnTo>
                  <a:lnTo>
                    <a:pt x="2683916" y="4610"/>
                  </a:lnTo>
                  <a:lnTo>
                    <a:pt x="2683916" y="5207"/>
                  </a:lnTo>
                  <a:lnTo>
                    <a:pt x="2683954" y="4610"/>
                  </a:lnTo>
                  <a:lnTo>
                    <a:pt x="2684500" y="4610"/>
                  </a:lnTo>
                  <a:lnTo>
                    <a:pt x="2684602" y="5207"/>
                  </a:lnTo>
                  <a:lnTo>
                    <a:pt x="2684856" y="5207"/>
                  </a:lnTo>
                  <a:lnTo>
                    <a:pt x="2684856" y="5855"/>
                  </a:lnTo>
                  <a:lnTo>
                    <a:pt x="2684906" y="5207"/>
                  </a:lnTo>
                  <a:lnTo>
                    <a:pt x="2685503" y="5207"/>
                  </a:lnTo>
                  <a:lnTo>
                    <a:pt x="2685503" y="4610"/>
                  </a:lnTo>
                  <a:lnTo>
                    <a:pt x="2685541" y="5207"/>
                  </a:lnTo>
                  <a:lnTo>
                    <a:pt x="2685541" y="4610"/>
                  </a:lnTo>
                  <a:lnTo>
                    <a:pt x="2685592" y="4610"/>
                  </a:lnTo>
                  <a:lnTo>
                    <a:pt x="2685592" y="5207"/>
                  </a:lnTo>
                  <a:lnTo>
                    <a:pt x="2685643" y="4610"/>
                  </a:lnTo>
                  <a:lnTo>
                    <a:pt x="2685745" y="4610"/>
                  </a:lnTo>
                  <a:lnTo>
                    <a:pt x="2685796" y="5207"/>
                  </a:lnTo>
                  <a:lnTo>
                    <a:pt x="2686050" y="5207"/>
                  </a:lnTo>
                  <a:lnTo>
                    <a:pt x="2686050" y="4610"/>
                  </a:lnTo>
                  <a:lnTo>
                    <a:pt x="2686392" y="4610"/>
                  </a:lnTo>
                  <a:lnTo>
                    <a:pt x="2686392" y="5207"/>
                  </a:lnTo>
                  <a:lnTo>
                    <a:pt x="2686634" y="5207"/>
                  </a:lnTo>
                  <a:lnTo>
                    <a:pt x="2686634" y="4610"/>
                  </a:lnTo>
                  <a:lnTo>
                    <a:pt x="2686786" y="4610"/>
                  </a:lnTo>
                  <a:lnTo>
                    <a:pt x="2686888" y="5207"/>
                  </a:lnTo>
                  <a:lnTo>
                    <a:pt x="2687180" y="5207"/>
                  </a:lnTo>
                  <a:lnTo>
                    <a:pt x="2687180" y="4610"/>
                  </a:lnTo>
                  <a:lnTo>
                    <a:pt x="2687231" y="5207"/>
                  </a:lnTo>
                  <a:lnTo>
                    <a:pt x="2687332" y="5207"/>
                  </a:lnTo>
                  <a:lnTo>
                    <a:pt x="2687332" y="4610"/>
                  </a:lnTo>
                  <a:lnTo>
                    <a:pt x="2687535" y="4610"/>
                  </a:lnTo>
                  <a:lnTo>
                    <a:pt x="2687586" y="5207"/>
                  </a:lnTo>
                  <a:lnTo>
                    <a:pt x="2687637" y="5207"/>
                  </a:lnTo>
                  <a:lnTo>
                    <a:pt x="2687675" y="4610"/>
                  </a:lnTo>
                  <a:lnTo>
                    <a:pt x="2687878" y="4610"/>
                  </a:lnTo>
                  <a:lnTo>
                    <a:pt x="2687878" y="5207"/>
                  </a:lnTo>
                  <a:lnTo>
                    <a:pt x="2687980" y="5207"/>
                  </a:lnTo>
                  <a:lnTo>
                    <a:pt x="2687980" y="4610"/>
                  </a:lnTo>
                  <a:lnTo>
                    <a:pt x="2688031" y="5207"/>
                  </a:lnTo>
                  <a:lnTo>
                    <a:pt x="2688031" y="4610"/>
                  </a:lnTo>
                  <a:lnTo>
                    <a:pt x="2688132" y="4610"/>
                  </a:lnTo>
                  <a:lnTo>
                    <a:pt x="2688221" y="5207"/>
                  </a:lnTo>
                  <a:lnTo>
                    <a:pt x="2688323" y="5207"/>
                  </a:lnTo>
                  <a:lnTo>
                    <a:pt x="2688323" y="4610"/>
                  </a:lnTo>
                  <a:lnTo>
                    <a:pt x="2688767" y="4610"/>
                  </a:lnTo>
                  <a:lnTo>
                    <a:pt x="2688767" y="5207"/>
                  </a:lnTo>
                  <a:lnTo>
                    <a:pt x="2688818" y="4610"/>
                  </a:lnTo>
                  <a:lnTo>
                    <a:pt x="2688818" y="5207"/>
                  </a:lnTo>
                  <a:lnTo>
                    <a:pt x="2689263" y="5207"/>
                  </a:lnTo>
                  <a:lnTo>
                    <a:pt x="2689364" y="4610"/>
                  </a:lnTo>
                  <a:lnTo>
                    <a:pt x="2689364" y="5207"/>
                  </a:lnTo>
                  <a:lnTo>
                    <a:pt x="2689415" y="4610"/>
                  </a:lnTo>
                  <a:lnTo>
                    <a:pt x="2689567" y="4610"/>
                  </a:lnTo>
                  <a:lnTo>
                    <a:pt x="2689567" y="5207"/>
                  </a:lnTo>
                  <a:lnTo>
                    <a:pt x="2690164" y="5207"/>
                  </a:lnTo>
                  <a:lnTo>
                    <a:pt x="2690266" y="4610"/>
                  </a:lnTo>
                  <a:lnTo>
                    <a:pt x="2690266" y="5207"/>
                  </a:lnTo>
                  <a:lnTo>
                    <a:pt x="2690406" y="5207"/>
                  </a:lnTo>
                  <a:lnTo>
                    <a:pt x="2690406" y="4610"/>
                  </a:lnTo>
                  <a:lnTo>
                    <a:pt x="2691003" y="4610"/>
                  </a:lnTo>
                  <a:lnTo>
                    <a:pt x="2691053" y="5207"/>
                  </a:lnTo>
                  <a:lnTo>
                    <a:pt x="2691053" y="4610"/>
                  </a:lnTo>
                  <a:lnTo>
                    <a:pt x="2691206" y="4610"/>
                  </a:lnTo>
                  <a:lnTo>
                    <a:pt x="2691256" y="5207"/>
                  </a:lnTo>
                  <a:lnTo>
                    <a:pt x="2691447" y="5207"/>
                  </a:lnTo>
                  <a:lnTo>
                    <a:pt x="2691447" y="4610"/>
                  </a:lnTo>
                  <a:lnTo>
                    <a:pt x="2691549" y="4610"/>
                  </a:lnTo>
                  <a:lnTo>
                    <a:pt x="2691549" y="5207"/>
                  </a:lnTo>
                  <a:lnTo>
                    <a:pt x="2692438" y="5207"/>
                  </a:lnTo>
                  <a:lnTo>
                    <a:pt x="2692438" y="4610"/>
                  </a:lnTo>
                  <a:lnTo>
                    <a:pt x="2692539" y="5207"/>
                  </a:lnTo>
                  <a:lnTo>
                    <a:pt x="2692844" y="5207"/>
                  </a:lnTo>
                  <a:lnTo>
                    <a:pt x="2692844" y="5855"/>
                  </a:lnTo>
                  <a:lnTo>
                    <a:pt x="2692895" y="5207"/>
                  </a:lnTo>
                  <a:lnTo>
                    <a:pt x="2693085" y="5207"/>
                  </a:lnTo>
                  <a:lnTo>
                    <a:pt x="2693085" y="4610"/>
                  </a:lnTo>
                  <a:lnTo>
                    <a:pt x="2693136" y="4610"/>
                  </a:lnTo>
                  <a:lnTo>
                    <a:pt x="2693136" y="5207"/>
                  </a:lnTo>
                  <a:lnTo>
                    <a:pt x="2693339" y="5207"/>
                  </a:lnTo>
                  <a:lnTo>
                    <a:pt x="2693339" y="4610"/>
                  </a:lnTo>
                  <a:lnTo>
                    <a:pt x="2693441" y="5207"/>
                  </a:lnTo>
                  <a:lnTo>
                    <a:pt x="2693479" y="4610"/>
                  </a:lnTo>
                  <a:lnTo>
                    <a:pt x="2693479" y="5207"/>
                  </a:lnTo>
                  <a:lnTo>
                    <a:pt x="2693530" y="5207"/>
                  </a:lnTo>
                  <a:lnTo>
                    <a:pt x="2693581" y="4610"/>
                  </a:lnTo>
                  <a:lnTo>
                    <a:pt x="2693682" y="4610"/>
                  </a:lnTo>
                  <a:lnTo>
                    <a:pt x="2693733" y="5207"/>
                  </a:lnTo>
                  <a:lnTo>
                    <a:pt x="2693733" y="4610"/>
                  </a:lnTo>
                  <a:lnTo>
                    <a:pt x="2693784" y="4610"/>
                  </a:lnTo>
                  <a:lnTo>
                    <a:pt x="2693784" y="5207"/>
                  </a:lnTo>
                  <a:lnTo>
                    <a:pt x="2694025" y="5207"/>
                  </a:lnTo>
                  <a:lnTo>
                    <a:pt x="2694127" y="4610"/>
                  </a:lnTo>
                  <a:lnTo>
                    <a:pt x="2694228" y="4610"/>
                  </a:lnTo>
                  <a:lnTo>
                    <a:pt x="2694228" y="5207"/>
                  </a:lnTo>
                  <a:lnTo>
                    <a:pt x="2694482" y="5207"/>
                  </a:lnTo>
                  <a:lnTo>
                    <a:pt x="2694571" y="4610"/>
                  </a:lnTo>
                  <a:lnTo>
                    <a:pt x="2694571" y="5207"/>
                  </a:lnTo>
                  <a:lnTo>
                    <a:pt x="2694673" y="5207"/>
                  </a:lnTo>
                  <a:lnTo>
                    <a:pt x="2694724" y="5855"/>
                  </a:lnTo>
                  <a:lnTo>
                    <a:pt x="2694825" y="5207"/>
                  </a:lnTo>
                  <a:lnTo>
                    <a:pt x="2695117" y="5207"/>
                  </a:lnTo>
                  <a:lnTo>
                    <a:pt x="2695117" y="4610"/>
                  </a:lnTo>
                  <a:lnTo>
                    <a:pt x="2695168" y="5207"/>
                  </a:lnTo>
                  <a:lnTo>
                    <a:pt x="2695270" y="5207"/>
                  </a:lnTo>
                  <a:lnTo>
                    <a:pt x="2695321" y="4610"/>
                  </a:lnTo>
                  <a:lnTo>
                    <a:pt x="2695524" y="4610"/>
                  </a:lnTo>
                  <a:lnTo>
                    <a:pt x="2695575" y="5207"/>
                  </a:lnTo>
                  <a:lnTo>
                    <a:pt x="2695765" y="5207"/>
                  </a:lnTo>
                  <a:lnTo>
                    <a:pt x="2695816" y="4610"/>
                  </a:lnTo>
                  <a:lnTo>
                    <a:pt x="2695917" y="5207"/>
                  </a:lnTo>
                  <a:lnTo>
                    <a:pt x="2695968" y="4610"/>
                  </a:lnTo>
                  <a:lnTo>
                    <a:pt x="2696070" y="4610"/>
                  </a:lnTo>
                  <a:lnTo>
                    <a:pt x="2696070" y="5207"/>
                  </a:lnTo>
                  <a:lnTo>
                    <a:pt x="2696463" y="5207"/>
                  </a:lnTo>
                  <a:lnTo>
                    <a:pt x="2696514" y="5855"/>
                  </a:lnTo>
                  <a:lnTo>
                    <a:pt x="2696616" y="5855"/>
                  </a:lnTo>
                  <a:lnTo>
                    <a:pt x="2696654" y="5207"/>
                  </a:lnTo>
                  <a:lnTo>
                    <a:pt x="2696705" y="5207"/>
                  </a:lnTo>
                  <a:lnTo>
                    <a:pt x="2696705" y="5855"/>
                  </a:lnTo>
                  <a:lnTo>
                    <a:pt x="2696756" y="5855"/>
                  </a:lnTo>
                  <a:lnTo>
                    <a:pt x="2696857" y="5207"/>
                  </a:lnTo>
                  <a:lnTo>
                    <a:pt x="2696908" y="5855"/>
                  </a:lnTo>
                  <a:lnTo>
                    <a:pt x="2696959" y="5207"/>
                  </a:lnTo>
                  <a:lnTo>
                    <a:pt x="2696959" y="5855"/>
                  </a:lnTo>
                  <a:lnTo>
                    <a:pt x="2697060" y="5207"/>
                  </a:lnTo>
                  <a:lnTo>
                    <a:pt x="2697746" y="5207"/>
                  </a:lnTo>
                  <a:lnTo>
                    <a:pt x="2697797" y="4610"/>
                  </a:lnTo>
                  <a:lnTo>
                    <a:pt x="2697848" y="4610"/>
                  </a:lnTo>
                  <a:lnTo>
                    <a:pt x="2697848" y="5207"/>
                  </a:lnTo>
                  <a:lnTo>
                    <a:pt x="2698241" y="5207"/>
                  </a:lnTo>
                  <a:lnTo>
                    <a:pt x="2698292" y="5855"/>
                  </a:lnTo>
                  <a:lnTo>
                    <a:pt x="2698496" y="5855"/>
                  </a:lnTo>
                  <a:lnTo>
                    <a:pt x="2698496" y="5207"/>
                  </a:lnTo>
                  <a:lnTo>
                    <a:pt x="2698750" y="5207"/>
                  </a:lnTo>
                  <a:lnTo>
                    <a:pt x="2698750" y="4610"/>
                  </a:lnTo>
                  <a:lnTo>
                    <a:pt x="2698889" y="4610"/>
                  </a:lnTo>
                  <a:lnTo>
                    <a:pt x="2698940" y="5207"/>
                  </a:lnTo>
                  <a:lnTo>
                    <a:pt x="2699385" y="5207"/>
                  </a:lnTo>
                  <a:lnTo>
                    <a:pt x="2699435" y="4610"/>
                  </a:lnTo>
                  <a:lnTo>
                    <a:pt x="2699435" y="5207"/>
                  </a:lnTo>
                  <a:lnTo>
                    <a:pt x="2699791" y="5207"/>
                  </a:lnTo>
                  <a:lnTo>
                    <a:pt x="2699791" y="5855"/>
                  </a:lnTo>
                  <a:lnTo>
                    <a:pt x="2699829" y="5855"/>
                  </a:lnTo>
                  <a:lnTo>
                    <a:pt x="2699880" y="5207"/>
                  </a:lnTo>
                  <a:lnTo>
                    <a:pt x="2700032" y="5207"/>
                  </a:lnTo>
                  <a:lnTo>
                    <a:pt x="2700083" y="5855"/>
                  </a:lnTo>
                  <a:lnTo>
                    <a:pt x="2700083" y="5207"/>
                  </a:lnTo>
                  <a:lnTo>
                    <a:pt x="2700286" y="5207"/>
                  </a:lnTo>
                  <a:lnTo>
                    <a:pt x="2700337" y="5855"/>
                  </a:lnTo>
                  <a:lnTo>
                    <a:pt x="2700337" y="5207"/>
                  </a:lnTo>
                  <a:lnTo>
                    <a:pt x="2700477" y="5207"/>
                  </a:lnTo>
                  <a:lnTo>
                    <a:pt x="2700477" y="5855"/>
                  </a:lnTo>
                  <a:lnTo>
                    <a:pt x="2700528" y="5855"/>
                  </a:lnTo>
                  <a:lnTo>
                    <a:pt x="2700578" y="5207"/>
                  </a:lnTo>
                  <a:lnTo>
                    <a:pt x="2700731" y="5207"/>
                  </a:lnTo>
                  <a:lnTo>
                    <a:pt x="2700781" y="5855"/>
                  </a:lnTo>
                  <a:lnTo>
                    <a:pt x="2700921" y="5855"/>
                  </a:lnTo>
                  <a:lnTo>
                    <a:pt x="2700921" y="5207"/>
                  </a:lnTo>
                  <a:lnTo>
                    <a:pt x="2700972" y="5855"/>
                  </a:lnTo>
                  <a:lnTo>
                    <a:pt x="2701023" y="5855"/>
                  </a:lnTo>
                  <a:lnTo>
                    <a:pt x="2701023" y="5207"/>
                  </a:lnTo>
                  <a:lnTo>
                    <a:pt x="2701277" y="5207"/>
                  </a:lnTo>
                  <a:lnTo>
                    <a:pt x="2701378" y="5855"/>
                  </a:lnTo>
                  <a:lnTo>
                    <a:pt x="2701378" y="5207"/>
                  </a:lnTo>
                  <a:lnTo>
                    <a:pt x="2701416" y="5207"/>
                  </a:lnTo>
                  <a:lnTo>
                    <a:pt x="2701467" y="5855"/>
                  </a:lnTo>
                  <a:lnTo>
                    <a:pt x="2701518" y="5207"/>
                  </a:lnTo>
                  <a:lnTo>
                    <a:pt x="2701671" y="5207"/>
                  </a:lnTo>
                  <a:lnTo>
                    <a:pt x="2701721" y="4610"/>
                  </a:lnTo>
                  <a:lnTo>
                    <a:pt x="2701823" y="5207"/>
                  </a:lnTo>
                  <a:lnTo>
                    <a:pt x="2701874" y="5207"/>
                  </a:lnTo>
                  <a:lnTo>
                    <a:pt x="2701874" y="5855"/>
                  </a:lnTo>
                  <a:lnTo>
                    <a:pt x="2701925" y="5207"/>
                  </a:lnTo>
                  <a:lnTo>
                    <a:pt x="2702420" y="5207"/>
                  </a:lnTo>
                  <a:lnTo>
                    <a:pt x="2702509" y="5855"/>
                  </a:lnTo>
                  <a:lnTo>
                    <a:pt x="2702560" y="5207"/>
                  </a:lnTo>
                  <a:lnTo>
                    <a:pt x="2702610" y="5855"/>
                  </a:lnTo>
                  <a:lnTo>
                    <a:pt x="2702661" y="5855"/>
                  </a:lnTo>
                  <a:lnTo>
                    <a:pt x="2702661" y="5207"/>
                  </a:lnTo>
                  <a:lnTo>
                    <a:pt x="2702813" y="5207"/>
                  </a:lnTo>
                  <a:lnTo>
                    <a:pt x="2702813" y="5855"/>
                  </a:lnTo>
                  <a:lnTo>
                    <a:pt x="2702864" y="5855"/>
                  </a:lnTo>
                  <a:lnTo>
                    <a:pt x="2702864" y="5207"/>
                  </a:lnTo>
                  <a:lnTo>
                    <a:pt x="2702966" y="5207"/>
                  </a:lnTo>
                  <a:lnTo>
                    <a:pt x="2703004" y="5855"/>
                  </a:lnTo>
                  <a:lnTo>
                    <a:pt x="2703055" y="5855"/>
                  </a:lnTo>
                  <a:lnTo>
                    <a:pt x="2703106" y="5207"/>
                  </a:lnTo>
                  <a:lnTo>
                    <a:pt x="2703309" y="5207"/>
                  </a:lnTo>
                  <a:lnTo>
                    <a:pt x="2703309" y="5855"/>
                  </a:lnTo>
                  <a:lnTo>
                    <a:pt x="2703410" y="5855"/>
                  </a:lnTo>
                  <a:lnTo>
                    <a:pt x="2703410" y="5207"/>
                  </a:lnTo>
                  <a:lnTo>
                    <a:pt x="2703512" y="5207"/>
                  </a:lnTo>
                  <a:lnTo>
                    <a:pt x="2703512" y="5855"/>
                  </a:lnTo>
                  <a:lnTo>
                    <a:pt x="2703652" y="5855"/>
                  </a:lnTo>
                  <a:lnTo>
                    <a:pt x="2703703" y="5207"/>
                  </a:lnTo>
                  <a:lnTo>
                    <a:pt x="2704007" y="5207"/>
                  </a:lnTo>
                  <a:lnTo>
                    <a:pt x="2704007" y="5855"/>
                  </a:lnTo>
                  <a:lnTo>
                    <a:pt x="2704096" y="5207"/>
                  </a:lnTo>
                  <a:lnTo>
                    <a:pt x="2704147" y="5855"/>
                  </a:lnTo>
                  <a:lnTo>
                    <a:pt x="2704350" y="5855"/>
                  </a:lnTo>
                  <a:lnTo>
                    <a:pt x="2704401" y="5207"/>
                  </a:lnTo>
                  <a:lnTo>
                    <a:pt x="2704553" y="5207"/>
                  </a:lnTo>
                  <a:lnTo>
                    <a:pt x="2704553" y="5855"/>
                  </a:lnTo>
                  <a:lnTo>
                    <a:pt x="2704693" y="5855"/>
                  </a:lnTo>
                  <a:lnTo>
                    <a:pt x="2704795" y="5207"/>
                  </a:lnTo>
                  <a:lnTo>
                    <a:pt x="2704846" y="5855"/>
                  </a:lnTo>
                  <a:lnTo>
                    <a:pt x="2704998" y="5855"/>
                  </a:lnTo>
                  <a:lnTo>
                    <a:pt x="2704998" y="5207"/>
                  </a:lnTo>
                  <a:lnTo>
                    <a:pt x="2705100" y="5207"/>
                  </a:lnTo>
                  <a:lnTo>
                    <a:pt x="2705138" y="5855"/>
                  </a:lnTo>
                  <a:lnTo>
                    <a:pt x="2705239" y="5855"/>
                  </a:lnTo>
                  <a:lnTo>
                    <a:pt x="2705290" y="5207"/>
                  </a:lnTo>
                  <a:lnTo>
                    <a:pt x="2705341" y="5207"/>
                  </a:lnTo>
                  <a:lnTo>
                    <a:pt x="2705442" y="5855"/>
                  </a:lnTo>
                  <a:lnTo>
                    <a:pt x="2705493" y="5855"/>
                  </a:lnTo>
                  <a:lnTo>
                    <a:pt x="2705544" y="5207"/>
                  </a:lnTo>
                  <a:lnTo>
                    <a:pt x="2705836" y="5207"/>
                  </a:lnTo>
                  <a:lnTo>
                    <a:pt x="2705938" y="4610"/>
                  </a:lnTo>
                  <a:lnTo>
                    <a:pt x="2705938" y="5207"/>
                  </a:lnTo>
                  <a:lnTo>
                    <a:pt x="2706281" y="5207"/>
                  </a:lnTo>
                  <a:lnTo>
                    <a:pt x="2706382" y="5855"/>
                  </a:lnTo>
                  <a:lnTo>
                    <a:pt x="2706433" y="5855"/>
                  </a:lnTo>
                  <a:lnTo>
                    <a:pt x="2706484" y="5207"/>
                  </a:lnTo>
                  <a:lnTo>
                    <a:pt x="2706585" y="4610"/>
                  </a:lnTo>
                  <a:lnTo>
                    <a:pt x="2706585" y="5207"/>
                  </a:lnTo>
                  <a:lnTo>
                    <a:pt x="2706687" y="5207"/>
                  </a:lnTo>
                  <a:lnTo>
                    <a:pt x="2706687" y="5855"/>
                  </a:lnTo>
                  <a:lnTo>
                    <a:pt x="2706827" y="5855"/>
                  </a:lnTo>
                  <a:lnTo>
                    <a:pt x="2706827" y="5207"/>
                  </a:lnTo>
                  <a:lnTo>
                    <a:pt x="2707131" y="5207"/>
                  </a:lnTo>
                  <a:lnTo>
                    <a:pt x="2707182" y="5855"/>
                  </a:lnTo>
                  <a:lnTo>
                    <a:pt x="2707271" y="5855"/>
                  </a:lnTo>
                  <a:lnTo>
                    <a:pt x="2707322" y="5207"/>
                  </a:lnTo>
                  <a:lnTo>
                    <a:pt x="2707576" y="5207"/>
                  </a:lnTo>
                  <a:lnTo>
                    <a:pt x="2707627" y="5855"/>
                  </a:lnTo>
                  <a:lnTo>
                    <a:pt x="2707728" y="5855"/>
                  </a:lnTo>
                  <a:lnTo>
                    <a:pt x="2707766" y="5207"/>
                  </a:lnTo>
                  <a:lnTo>
                    <a:pt x="2708173" y="5207"/>
                  </a:lnTo>
                  <a:lnTo>
                    <a:pt x="2708224" y="5855"/>
                  </a:lnTo>
                  <a:lnTo>
                    <a:pt x="2708275" y="5207"/>
                  </a:lnTo>
                  <a:lnTo>
                    <a:pt x="2708516" y="5207"/>
                  </a:lnTo>
                  <a:lnTo>
                    <a:pt x="2708617" y="5855"/>
                  </a:lnTo>
                  <a:lnTo>
                    <a:pt x="2708668" y="5855"/>
                  </a:lnTo>
                  <a:lnTo>
                    <a:pt x="2708668" y="5207"/>
                  </a:lnTo>
                  <a:lnTo>
                    <a:pt x="2708719" y="5207"/>
                  </a:lnTo>
                  <a:lnTo>
                    <a:pt x="2708770" y="5855"/>
                  </a:lnTo>
                  <a:lnTo>
                    <a:pt x="2708859" y="5855"/>
                  </a:lnTo>
                  <a:lnTo>
                    <a:pt x="2708859" y="5207"/>
                  </a:lnTo>
                  <a:lnTo>
                    <a:pt x="2709113" y="5207"/>
                  </a:lnTo>
                  <a:lnTo>
                    <a:pt x="2709113" y="5855"/>
                  </a:lnTo>
                  <a:lnTo>
                    <a:pt x="2709811" y="5855"/>
                  </a:lnTo>
                  <a:lnTo>
                    <a:pt x="2709811" y="5207"/>
                  </a:lnTo>
                  <a:lnTo>
                    <a:pt x="2710002" y="5207"/>
                  </a:lnTo>
                  <a:lnTo>
                    <a:pt x="2710053" y="5855"/>
                  </a:lnTo>
                  <a:lnTo>
                    <a:pt x="2710103" y="5855"/>
                  </a:lnTo>
                  <a:lnTo>
                    <a:pt x="2710205" y="5207"/>
                  </a:lnTo>
                  <a:lnTo>
                    <a:pt x="2710306" y="5207"/>
                  </a:lnTo>
                  <a:lnTo>
                    <a:pt x="2710306" y="5855"/>
                  </a:lnTo>
                  <a:lnTo>
                    <a:pt x="2710357" y="5207"/>
                  </a:lnTo>
                  <a:lnTo>
                    <a:pt x="2710497" y="5207"/>
                  </a:lnTo>
                  <a:lnTo>
                    <a:pt x="2710548" y="5855"/>
                  </a:lnTo>
                  <a:lnTo>
                    <a:pt x="2710751" y="5855"/>
                  </a:lnTo>
                  <a:lnTo>
                    <a:pt x="2710802" y="5207"/>
                  </a:lnTo>
                  <a:lnTo>
                    <a:pt x="2710941" y="5207"/>
                  </a:lnTo>
                  <a:lnTo>
                    <a:pt x="2710941" y="5855"/>
                  </a:lnTo>
                  <a:lnTo>
                    <a:pt x="2710992" y="5855"/>
                  </a:lnTo>
                  <a:lnTo>
                    <a:pt x="2711043" y="5207"/>
                  </a:lnTo>
                  <a:lnTo>
                    <a:pt x="2711196" y="5207"/>
                  </a:lnTo>
                  <a:lnTo>
                    <a:pt x="2711246" y="5855"/>
                  </a:lnTo>
                  <a:lnTo>
                    <a:pt x="2711246" y="5207"/>
                  </a:lnTo>
                  <a:lnTo>
                    <a:pt x="2711399" y="5207"/>
                  </a:lnTo>
                  <a:lnTo>
                    <a:pt x="2711399" y="5855"/>
                  </a:lnTo>
                  <a:lnTo>
                    <a:pt x="2711488" y="5855"/>
                  </a:lnTo>
                  <a:lnTo>
                    <a:pt x="2711488" y="5207"/>
                  </a:lnTo>
                  <a:lnTo>
                    <a:pt x="2711640" y="5207"/>
                  </a:lnTo>
                  <a:lnTo>
                    <a:pt x="2711640" y="5855"/>
                  </a:lnTo>
                  <a:lnTo>
                    <a:pt x="2711843" y="5855"/>
                  </a:lnTo>
                  <a:lnTo>
                    <a:pt x="2711843" y="5207"/>
                  </a:lnTo>
                  <a:lnTo>
                    <a:pt x="2712135" y="5207"/>
                  </a:lnTo>
                  <a:lnTo>
                    <a:pt x="2712135" y="5855"/>
                  </a:lnTo>
                  <a:lnTo>
                    <a:pt x="2712389" y="5855"/>
                  </a:lnTo>
                  <a:lnTo>
                    <a:pt x="2712491" y="5207"/>
                  </a:lnTo>
                  <a:lnTo>
                    <a:pt x="2713075" y="5207"/>
                  </a:lnTo>
                  <a:lnTo>
                    <a:pt x="2713075" y="5855"/>
                  </a:lnTo>
                  <a:lnTo>
                    <a:pt x="2713177" y="5855"/>
                  </a:lnTo>
                  <a:lnTo>
                    <a:pt x="2713177" y="5207"/>
                  </a:lnTo>
                  <a:lnTo>
                    <a:pt x="2713228" y="5207"/>
                  </a:lnTo>
                  <a:lnTo>
                    <a:pt x="2713228" y="5855"/>
                  </a:lnTo>
                  <a:lnTo>
                    <a:pt x="2713380" y="5855"/>
                  </a:lnTo>
                  <a:lnTo>
                    <a:pt x="2713380" y="5207"/>
                  </a:lnTo>
                  <a:lnTo>
                    <a:pt x="2713774" y="5207"/>
                  </a:lnTo>
                  <a:lnTo>
                    <a:pt x="2713875" y="5855"/>
                  </a:lnTo>
                  <a:lnTo>
                    <a:pt x="2713977" y="5855"/>
                  </a:lnTo>
                  <a:lnTo>
                    <a:pt x="2713977" y="5207"/>
                  </a:lnTo>
                  <a:lnTo>
                    <a:pt x="2714116" y="5207"/>
                  </a:lnTo>
                  <a:lnTo>
                    <a:pt x="2714167" y="4610"/>
                  </a:lnTo>
                  <a:lnTo>
                    <a:pt x="2714218" y="5207"/>
                  </a:lnTo>
                  <a:lnTo>
                    <a:pt x="2714320" y="5207"/>
                  </a:lnTo>
                  <a:lnTo>
                    <a:pt x="2714320" y="5855"/>
                  </a:lnTo>
                  <a:lnTo>
                    <a:pt x="2714421" y="5855"/>
                  </a:lnTo>
                  <a:lnTo>
                    <a:pt x="2714421" y="5207"/>
                  </a:lnTo>
                  <a:lnTo>
                    <a:pt x="2714625" y="5207"/>
                  </a:lnTo>
                  <a:lnTo>
                    <a:pt x="2714663" y="5855"/>
                  </a:lnTo>
                  <a:lnTo>
                    <a:pt x="2714764" y="5855"/>
                  </a:lnTo>
                  <a:lnTo>
                    <a:pt x="2714815" y="5207"/>
                  </a:lnTo>
                  <a:lnTo>
                    <a:pt x="2715018" y="5207"/>
                  </a:lnTo>
                  <a:lnTo>
                    <a:pt x="2715018" y="5855"/>
                  </a:lnTo>
                  <a:lnTo>
                    <a:pt x="2715209" y="5855"/>
                  </a:lnTo>
                  <a:lnTo>
                    <a:pt x="2715209" y="5207"/>
                  </a:lnTo>
                  <a:lnTo>
                    <a:pt x="2715260" y="5855"/>
                  </a:lnTo>
                  <a:lnTo>
                    <a:pt x="2715513" y="5855"/>
                  </a:lnTo>
                  <a:lnTo>
                    <a:pt x="2715513" y="5207"/>
                  </a:lnTo>
                  <a:lnTo>
                    <a:pt x="2715564" y="5207"/>
                  </a:lnTo>
                  <a:lnTo>
                    <a:pt x="2715666" y="5855"/>
                  </a:lnTo>
                  <a:lnTo>
                    <a:pt x="2715907" y="5855"/>
                  </a:lnTo>
                  <a:lnTo>
                    <a:pt x="2715958" y="7201"/>
                  </a:lnTo>
                  <a:lnTo>
                    <a:pt x="2715958" y="5855"/>
                  </a:lnTo>
                  <a:lnTo>
                    <a:pt x="2716009" y="5855"/>
                  </a:lnTo>
                  <a:lnTo>
                    <a:pt x="2716110" y="5207"/>
                  </a:lnTo>
                  <a:lnTo>
                    <a:pt x="2716161" y="5207"/>
                  </a:lnTo>
                  <a:lnTo>
                    <a:pt x="2716161" y="5855"/>
                  </a:lnTo>
                  <a:lnTo>
                    <a:pt x="2716453" y="5855"/>
                  </a:lnTo>
                  <a:lnTo>
                    <a:pt x="2716453" y="5207"/>
                  </a:lnTo>
                  <a:lnTo>
                    <a:pt x="2716555" y="5855"/>
                  </a:lnTo>
                  <a:lnTo>
                    <a:pt x="2716656" y="5855"/>
                  </a:lnTo>
                  <a:lnTo>
                    <a:pt x="2716656" y="5207"/>
                  </a:lnTo>
                  <a:lnTo>
                    <a:pt x="2716707" y="5855"/>
                  </a:lnTo>
                  <a:lnTo>
                    <a:pt x="2716949" y="5855"/>
                  </a:lnTo>
                  <a:lnTo>
                    <a:pt x="2716949" y="5207"/>
                  </a:lnTo>
                  <a:lnTo>
                    <a:pt x="2717152" y="5207"/>
                  </a:lnTo>
                  <a:lnTo>
                    <a:pt x="2717253" y="5855"/>
                  </a:lnTo>
                  <a:lnTo>
                    <a:pt x="2717291" y="5855"/>
                  </a:lnTo>
                  <a:lnTo>
                    <a:pt x="2717342" y="5207"/>
                  </a:lnTo>
                  <a:lnTo>
                    <a:pt x="2717393" y="5207"/>
                  </a:lnTo>
                  <a:lnTo>
                    <a:pt x="2717495" y="5855"/>
                  </a:lnTo>
                  <a:lnTo>
                    <a:pt x="2717546" y="5855"/>
                  </a:lnTo>
                  <a:lnTo>
                    <a:pt x="2717596" y="5207"/>
                  </a:lnTo>
                  <a:lnTo>
                    <a:pt x="2717838" y="5207"/>
                  </a:lnTo>
                  <a:lnTo>
                    <a:pt x="2717939" y="5855"/>
                  </a:lnTo>
                  <a:lnTo>
                    <a:pt x="2717939" y="5207"/>
                  </a:lnTo>
                  <a:lnTo>
                    <a:pt x="2717990" y="5207"/>
                  </a:lnTo>
                  <a:lnTo>
                    <a:pt x="2717990" y="5855"/>
                  </a:lnTo>
                  <a:lnTo>
                    <a:pt x="2718142" y="5855"/>
                  </a:lnTo>
                  <a:lnTo>
                    <a:pt x="2718193" y="5207"/>
                  </a:lnTo>
                  <a:lnTo>
                    <a:pt x="2718295" y="5207"/>
                  </a:lnTo>
                  <a:lnTo>
                    <a:pt x="2718295" y="5855"/>
                  </a:lnTo>
                  <a:lnTo>
                    <a:pt x="2718536" y="5855"/>
                  </a:lnTo>
                  <a:lnTo>
                    <a:pt x="2718536" y="5207"/>
                  </a:lnTo>
                  <a:lnTo>
                    <a:pt x="2718638" y="5855"/>
                  </a:lnTo>
                  <a:lnTo>
                    <a:pt x="2718688" y="5207"/>
                  </a:lnTo>
                  <a:lnTo>
                    <a:pt x="2718688" y="5855"/>
                  </a:lnTo>
                  <a:lnTo>
                    <a:pt x="2718739" y="5207"/>
                  </a:lnTo>
                  <a:lnTo>
                    <a:pt x="2718930" y="5207"/>
                  </a:lnTo>
                  <a:lnTo>
                    <a:pt x="2718981" y="5855"/>
                  </a:lnTo>
                  <a:lnTo>
                    <a:pt x="2719133" y="5855"/>
                  </a:lnTo>
                  <a:lnTo>
                    <a:pt x="2719133" y="5207"/>
                  </a:lnTo>
                  <a:lnTo>
                    <a:pt x="2719184" y="5855"/>
                  </a:lnTo>
                  <a:lnTo>
                    <a:pt x="2719285" y="5855"/>
                  </a:lnTo>
                  <a:lnTo>
                    <a:pt x="2719285" y="5207"/>
                  </a:lnTo>
                  <a:lnTo>
                    <a:pt x="2719336" y="5207"/>
                  </a:lnTo>
                  <a:lnTo>
                    <a:pt x="2719336" y="5855"/>
                  </a:lnTo>
                  <a:lnTo>
                    <a:pt x="2719387" y="5207"/>
                  </a:lnTo>
                  <a:lnTo>
                    <a:pt x="2719527" y="5207"/>
                  </a:lnTo>
                  <a:lnTo>
                    <a:pt x="2719578" y="5855"/>
                  </a:lnTo>
                  <a:lnTo>
                    <a:pt x="2719730" y="5855"/>
                  </a:lnTo>
                  <a:lnTo>
                    <a:pt x="2719730" y="5207"/>
                  </a:lnTo>
                  <a:lnTo>
                    <a:pt x="2719831" y="5207"/>
                  </a:lnTo>
                  <a:lnTo>
                    <a:pt x="2719831" y="5855"/>
                  </a:lnTo>
                  <a:lnTo>
                    <a:pt x="2720124" y="5855"/>
                  </a:lnTo>
                  <a:lnTo>
                    <a:pt x="2720124" y="5207"/>
                  </a:lnTo>
                  <a:lnTo>
                    <a:pt x="2720225" y="5207"/>
                  </a:lnTo>
                  <a:lnTo>
                    <a:pt x="2720276" y="5855"/>
                  </a:lnTo>
                  <a:lnTo>
                    <a:pt x="2720327" y="5855"/>
                  </a:lnTo>
                  <a:lnTo>
                    <a:pt x="2720327" y="7201"/>
                  </a:lnTo>
                  <a:lnTo>
                    <a:pt x="2720428" y="7201"/>
                  </a:lnTo>
                  <a:lnTo>
                    <a:pt x="2720466" y="5855"/>
                  </a:lnTo>
                  <a:lnTo>
                    <a:pt x="2721114" y="5855"/>
                  </a:lnTo>
                  <a:lnTo>
                    <a:pt x="2721114" y="5207"/>
                  </a:lnTo>
                  <a:lnTo>
                    <a:pt x="2721165" y="5855"/>
                  </a:lnTo>
                  <a:lnTo>
                    <a:pt x="2721317" y="5855"/>
                  </a:lnTo>
                  <a:lnTo>
                    <a:pt x="2721317" y="5207"/>
                  </a:lnTo>
                  <a:lnTo>
                    <a:pt x="2721368" y="5207"/>
                  </a:lnTo>
                  <a:lnTo>
                    <a:pt x="2721368" y="5855"/>
                  </a:lnTo>
                  <a:lnTo>
                    <a:pt x="2721559" y="5855"/>
                  </a:lnTo>
                  <a:lnTo>
                    <a:pt x="2721559" y="5207"/>
                  </a:lnTo>
                  <a:lnTo>
                    <a:pt x="2721660" y="5207"/>
                  </a:lnTo>
                  <a:lnTo>
                    <a:pt x="2721660" y="5855"/>
                  </a:lnTo>
                  <a:lnTo>
                    <a:pt x="2721711" y="5855"/>
                  </a:lnTo>
                  <a:lnTo>
                    <a:pt x="2721813" y="5207"/>
                  </a:lnTo>
                  <a:lnTo>
                    <a:pt x="2721863" y="5207"/>
                  </a:lnTo>
                  <a:lnTo>
                    <a:pt x="2721863" y="5855"/>
                  </a:lnTo>
                  <a:lnTo>
                    <a:pt x="2722308" y="5855"/>
                  </a:lnTo>
                  <a:lnTo>
                    <a:pt x="2722308" y="5207"/>
                  </a:lnTo>
                  <a:lnTo>
                    <a:pt x="2722359" y="5207"/>
                  </a:lnTo>
                  <a:lnTo>
                    <a:pt x="2722460" y="5855"/>
                  </a:lnTo>
                  <a:lnTo>
                    <a:pt x="2722460" y="5207"/>
                  </a:lnTo>
                  <a:lnTo>
                    <a:pt x="2722511" y="5855"/>
                  </a:lnTo>
                  <a:lnTo>
                    <a:pt x="2722562" y="5855"/>
                  </a:lnTo>
                  <a:lnTo>
                    <a:pt x="2722600" y="5207"/>
                  </a:lnTo>
                  <a:lnTo>
                    <a:pt x="2722702" y="5855"/>
                  </a:lnTo>
                  <a:lnTo>
                    <a:pt x="2722803" y="5855"/>
                  </a:lnTo>
                  <a:lnTo>
                    <a:pt x="2722803" y="5207"/>
                  </a:lnTo>
                  <a:lnTo>
                    <a:pt x="2722956" y="5207"/>
                  </a:lnTo>
                  <a:lnTo>
                    <a:pt x="2723006" y="5855"/>
                  </a:lnTo>
                  <a:lnTo>
                    <a:pt x="2723197" y="5855"/>
                  </a:lnTo>
                  <a:lnTo>
                    <a:pt x="2723248" y="5207"/>
                  </a:lnTo>
                  <a:lnTo>
                    <a:pt x="2723451" y="5207"/>
                  </a:lnTo>
                  <a:lnTo>
                    <a:pt x="2723502" y="5855"/>
                  </a:lnTo>
                  <a:lnTo>
                    <a:pt x="2723502" y="5207"/>
                  </a:lnTo>
                  <a:lnTo>
                    <a:pt x="2723603" y="5855"/>
                  </a:lnTo>
                  <a:lnTo>
                    <a:pt x="2723946" y="5855"/>
                  </a:lnTo>
                  <a:lnTo>
                    <a:pt x="2723946" y="5207"/>
                  </a:lnTo>
                  <a:lnTo>
                    <a:pt x="2724150" y="5207"/>
                  </a:lnTo>
                  <a:lnTo>
                    <a:pt x="2724150" y="5855"/>
                  </a:lnTo>
                  <a:lnTo>
                    <a:pt x="2725038" y="5855"/>
                  </a:lnTo>
                  <a:lnTo>
                    <a:pt x="2725089" y="5207"/>
                  </a:lnTo>
                  <a:lnTo>
                    <a:pt x="2725280" y="5207"/>
                  </a:lnTo>
                  <a:lnTo>
                    <a:pt x="2725331" y="5855"/>
                  </a:lnTo>
                  <a:lnTo>
                    <a:pt x="2725534" y="5855"/>
                  </a:lnTo>
                  <a:lnTo>
                    <a:pt x="2725534" y="7201"/>
                  </a:lnTo>
                  <a:lnTo>
                    <a:pt x="2725635" y="7201"/>
                  </a:lnTo>
                  <a:lnTo>
                    <a:pt x="2725635" y="5855"/>
                  </a:lnTo>
                  <a:lnTo>
                    <a:pt x="2725686" y="5855"/>
                  </a:lnTo>
                  <a:lnTo>
                    <a:pt x="2725686" y="5207"/>
                  </a:lnTo>
                  <a:lnTo>
                    <a:pt x="2725877" y="5207"/>
                  </a:lnTo>
                  <a:lnTo>
                    <a:pt x="2725877" y="5855"/>
                  </a:lnTo>
                  <a:lnTo>
                    <a:pt x="2725928" y="5855"/>
                  </a:lnTo>
                  <a:lnTo>
                    <a:pt x="2725928" y="7201"/>
                  </a:lnTo>
                  <a:lnTo>
                    <a:pt x="2725978" y="5855"/>
                  </a:lnTo>
                  <a:lnTo>
                    <a:pt x="2726232" y="5855"/>
                  </a:lnTo>
                  <a:lnTo>
                    <a:pt x="2726232" y="5207"/>
                  </a:lnTo>
                  <a:lnTo>
                    <a:pt x="2726321" y="5207"/>
                  </a:lnTo>
                  <a:lnTo>
                    <a:pt x="2726321" y="5855"/>
                  </a:lnTo>
                  <a:lnTo>
                    <a:pt x="2726423" y="5855"/>
                  </a:lnTo>
                  <a:lnTo>
                    <a:pt x="2726474" y="5207"/>
                  </a:lnTo>
                  <a:lnTo>
                    <a:pt x="2726575" y="5207"/>
                  </a:lnTo>
                  <a:lnTo>
                    <a:pt x="2726575" y="5855"/>
                  </a:lnTo>
                  <a:lnTo>
                    <a:pt x="2726778" y="5855"/>
                  </a:lnTo>
                  <a:lnTo>
                    <a:pt x="2726816" y="5207"/>
                  </a:lnTo>
                  <a:lnTo>
                    <a:pt x="2726867" y="5855"/>
                  </a:lnTo>
                  <a:lnTo>
                    <a:pt x="2727960" y="5855"/>
                  </a:lnTo>
                  <a:lnTo>
                    <a:pt x="2727960" y="7201"/>
                  </a:lnTo>
                  <a:lnTo>
                    <a:pt x="2728010" y="5855"/>
                  </a:lnTo>
                  <a:lnTo>
                    <a:pt x="2728861" y="5855"/>
                  </a:lnTo>
                  <a:lnTo>
                    <a:pt x="2728861" y="5207"/>
                  </a:lnTo>
                  <a:lnTo>
                    <a:pt x="2728912" y="5855"/>
                  </a:lnTo>
                  <a:lnTo>
                    <a:pt x="2729255" y="5855"/>
                  </a:lnTo>
                  <a:lnTo>
                    <a:pt x="2729306" y="5207"/>
                  </a:lnTo>
                  <a:lnTo>
                    <a:pt x="2729306" y="5855"/>
                  </a:lnTo>
                  <a:lnTo>
                    <a:pt x="2729547" y="5855"/>
                  </a:lnTo>
                  <a:lnTo>
                    <a:pt x="2729598" y="5207"/>
                  </a:lnTo>
                  <a:lnTo>
                    <a:pt x="2729649" y="5207"/>
                  </a:lnTo>
                  <a:lnTo>
                    <a:pt x="2729750" y="5855"/>
                  </a:lnTo>
                  <a:lnTo>
                    <a:pt x="2729953" y="5855"/>
                  </a:lnTo>
                  <a:lnTo>
                    <a:pt x="2729953" y="5207"/>
                  </a:lnTo>
                  <a:lnTo>
                    <a:pt x="2729991" y="5855"/>
                  </a:lnTo>
                  <a:lnTo>
                    <a:pt x="2730195" y="5855"/>
                  </a:lnTo>
                  <a:lnTo>
                    <a:pt x="2730246" y="5207"/>
                  </a:lnTo>
                  <a:lnTo>
                    <a:pt x="2730246" y="5855"/>
                  </a:lnTo>
                  <a:lnTo>
                    <a:pt x="2730398" y="5855"/>
                  </a:lnTo>
                  <a:lnTo>
                    <a:pt x="2730398" y="7201"/>
                  </a:lnTo>
                  <a:lnTo>
                    <a:pt x="2730449" y="5855"/>
                  </a:lnTo>
                  <a:lnTo>
                    <a:pt x="2730500" y="7201"/>
                  </a:lnTo>
                  <a:lnTo>
                    <a:pt x="2730500" y="5855"/>
                  </a:lnTo>
                  <a:lnTo>
                    <a:pt x="2730944" y="5855"/>
                  </a:lnTo>
                  <a:lnTo>
                    <a:pt x="2730944" y="5207"/>
                  </a:lnTo>
                  <a:lnTo>
                    <a:pt x="2730995" y="5855"/>
                  </a:lnTo>
                  <a:lnTo>
                    <a:pt x="2731084" y="7201"/>
                  </a:lnTo>
                  <a:lnTo>
                    <a:pt x="2731135" y="7201"/>
                  </a:lnTo>
                  <a:lnTo>
                    <a:pt x="2731185" y="5855"/>
                  </a:lnTo>
                  <a:lnTo>
                    <a:pt x="2732036" y="5855"/>
                  </a:lnTo>
                  <a:lnTo>
                    <a:pt x="2732087" y="5207"/>
                  </a:lnTo>
                  <a:lnTo>
                    <a:pt x="2732125" y="5855"/>
                  </a:lnTo>
                  <a:lnTo>
                    <a:pt x="2732773" y="5855"/>
                  </a:lnTo>
                  <a:lnTo>
                    <a:pt x="2732824" y="7201"/>
                  </a:lnTo>
                  <a:lnTo>
                    <a:pt x="2732824" y="5855"/>
                  </a:lnTo>
                  <a:lnTo>
                    <a:pt x="2732925" y="5855"/>
                  </a:lnTo>
                  <a:lnTo>
                    <a:pt x="2732976" y="5207"/>
                  </a:lnTo>
                  <a:lnTo>
                    <a:pt x="2732976" y="5855"/>
                  </a:lnTo>
                  <a:lnTo>
                    <a:pt x="2733217" y="5855"/>
                  </a:lnTo>
                  <a:lnTo>
                    <a:pt x="2733217" y="7201"/>
                  </a:lnTo>
                  <a:lnTo>
                    <a:pt x="2733268" y="5855"/>
                  </a:lnTo>
                  <a:lnTo>
                    <a:pt x="2733268" y="7201"/>
                  </a:lnTo>
                  <a:lnTo>
                    <a:pt x="2733370" y="5855"/>
                  </a:lnTo>
                  <a:lnTo>
                    <a:pt x="2733421" y="7201"/>
                  </a:lnTo>
                  <a:lnTo>
                    <a:pt x="2733421" y="5855"/>
                  </a:lnTo>
                  <a:lnTo>
                    <a:pt x="2733471" y="5855"/>
                  </a:lnTo>
                  <a:lnTo>
                    <a:pt x="2733471" y="7201"/>
                  </a:lnTo>
                  <a:lnTo>
                    <a:pt x="2733573" y="7201"/>
                  </a:lnTo>
                  <a:lnTo>
                    <a:pt x="2733573" y="5855"/>
                  </a:lnTo>
                  <a:lnTo>
                    <a:pt x="2734017" y="5855"/>
                  </a:lnTo>
                  <a:lnTo>
                    <a:pt x="2734068" y="7201"/>
                  </a:lnTo>
                  <a:lnTo>
                    <a:pt x="2734068" y="5855"/>
                  </a:lnTo>
                  <a:lnTo>
                    <a:pt x="2734119" y="7201"/>
                  </a:lnTo>
                  <a:lnTo>
                    <a:pt x="2734119" y="5855"/>
                  </a:lnTo>
                  <a:lnTo>
                    <a:pt x="2734170" y="5855"/>
                  </a:lnTo>
                  <a:lnTo>
                    <a:pt x="2734259" y="5207"/>
                  </a:lnTo>
                  <a:lnTo>
                    <a:pt x="2734310" y="5855"/>
                  </a:lnTo>
                  <a:lnTo>
                    <a:pt x="2734513" y="5855"/>
                  </a:lnTo>
                  <a:lnTo>
                    <a:pt x="2734513" y="7201"/>
                  </a:lnTo>
                  <a:lnTo>
                    <a:pt x="2734716" y="7201"/>
                  </a:lnTo>
                  <a:lnTo>
                    <a:pt x="2734754" y="5855"/>
                  </a:lnTo>
                  <a:lnTo>
                    <a:pt x="2734957" y="5855"/>
                  </a:lnTo>
                  <a:lnTo>
                    <a:pt x="2735008" y="7201"/>
                  </a:lnTo>
                  <a:lnTo>
                    <a:pt x="2735059" y="7201"/>
                  </a:lnTo>
                  <a:lnTo>
                    <a:pt x="2735160" y="5855"/>
                  </a:lnTo>
                  <a:lnTo>
                    <a:pt x="2735453" y="5855"/>
                  </a:lnTo>
                  <a:lnTo>
                    <a:pt x="2735503" y="7201"/>
                  </a:lnTo>
                  <a:lnTo>
                    <a:pt x="2735503" y="5855"/>
                  </a:lnTo>
                  <a:lnTo>
                    <a:pt x="2735846" y="5855"/>
                  </a:lnTo>
                  <a:lnTo>
                    <a:pt x="2735846" y="7201"/>
                  </a:lnTo>
                  <a:lnTo>
                    <a:pt x="2735897" y="5855"/>
                  </a:lnTo>
                  <a:lnTo>
                    <a:pt x="2736748" y="5855"/>
                  </a:lnTo>
                  <a:lnTo>
                    <a:pt x="2736799" y="7201"/>
                  </a:lnTo>
                  <a:lnTo>
                    <a:pt x="2736799" y="5855"/>
                  </a:lnTo>
                  <a:lnTo>
                    <a:pt x="2736850" y="7201"/>
                  </a:lnTo>
                  <a:lnTo>
                    <a:pt x="2736888" y="5855"/>
                  </a:lnTo>
                  <a:lnTo>
                    <a:pt x="2737091" y="5855"/>
                  </a:lnTo>
                  <a:lnTo>
                    <a:pt x="2737192" y="5207"/>
                  </a:lnTo>
                  <a:lnTo>
                    <a:pt x="2737243" y="5855"/>
                  </a:lnTo>
                  <a:lnTo>
                    <a:pt x="2737434" y="5855"/>
                  </a:lnTo>
                  <a:lnTo>
                    <a:pt x="2737485" y="7201"/>
                  </a:lnTo>
                  <a:lnTo>
                    <a:pt x="2737535" y="5855"/>
                  </a:lnTo>
                  <a:lnTo>
                    <a:pt x="2737688" y="5855"/>
                  </a:lnTo>
                  <a:lnTo>
                    <a:pt x="2737738" y="7201"/>
                  </a:lnTo>
                  <a:lnTo>
                    <a:pt x="2737789" y="7201"/>
                  </a:lnTo>
                  <a:lnTo>
                    <a:pt x="2737891" y="5855"/>
                  </a:lnTo>
                  <a:lnTo>
                    <a:pt x="2738386" y="5855"/>
                  </a:lnTo>
                  <a:lnTo>
                    <a:pt x="2738386" y="7201"/>
                  </a:lnTo>
                  <a:lnTo>
                    <a:pt x="2738475" y="7201"/>
                  </a:lnTo>
                  <a:lnTo>
                    <a:pt x="2738577" y="5855"/>
                  </a:lnTo>
                  <a:lnTo>
                    <a:pt x="2738932" y="5855"/>
                  </a:lnTo>
                  <a:lnTo>
                    <a:pt x="2739021" y="7201"/>
                  </a:lnTo>
                  <a:lnTo>
                    <a:pt x="2739174" y="7201"/>
                  </a:lnTo>
                  <a:lnTo>
                    <a:pt x="2739174" y="5855"/>
                  </a:lnTo>
                  <a:lnTo>
                    <a:pt x="2739516" y="5855"/>
                  </a:lnTo>
                  <a:lnTo>
                    <a:pt x="2739567" y="7201"/>
                  </a:lnTo>
                  <a:lnTo>
                    <a:pt x="2740215" y="7201"/>
                  </a:lnTo>
                  <a:lnTo>
                    <a:pt x="2740266" y="5855"/>
                  </a:lnTo>
                  <a:lnTo>
                    <a:pt x="2740418" y="5855"/>
                  </a:lnTo>
                  <a:lnTo>
                    <a:pt x="2740469" y="7201"/>
                  </a:lnTo>
                  <a:lnTo>
                    <a:pt x="2740469" y="5855"/>
                  </a:lnTo>
                  <a:lnTo>
                    <a:pt x="2740761" y="5855"/>
                  </a:lnTo>
                  <a:lnTo>
                    <a:pt x="2740761" y="7201"/>
                  </a:lnTo>
                  <a:lnTo>
                    <a:pt x="2740964" y="7201"/>
                  </a:lnTo>
                  <a:lnTo>
                    <a:pt x="2740964" y="5855"/>
                  </a:lnTo>
                  <a:lnTo>
                    <a:pt x="2741155" y="5855"/>
                  </a:lnTo>
                  <a:lnTo>
                    <a:pt x="2741206" y="7201"/>
                  </a:lnTo>
                  <a:lnTo>
                    <a:pt x="2741307" y="7201"/>
                  </a:lnTo>
                  <a:lnTo>
                    <a:pt x="2741358" y="5855"/>
                  </a:lnTo>
                  <a:lnTo>
                    <a:pt x="2741955" y="5855"/>
                  </a:lnTo>
                  <a:lnTo>
                    <a:pt x="2741955" y="7201"/>
                  </a:lnTo>
                  <a:lnTo>
                    <a:pt x="2742107" y="7201"/>
                  </a:lnTo>
                  <a:lnTo>
                    <a:pt x="2742196" y="5855"/>
                  </a:lnTo>
                  <a:lnTo>
                    <a:pt x="2742450" y="5855"/>
                  </a:lnTo>
                  <a:lnTo>
                    <a:pt x="2742501" y="7201"/>
                  </a:lnTo>
                  <a:lnTo>
                    <a:pt x="2742501" y="5855"/>
                  </a:lnTo>
                  <a:lnTo>
                    <a:pt x="2742552" y="7201"/>
                  </a:lnTo>
                  <a:lnTo>
                    <a:pt x="2742653" y="7201"/>
                  </a:lnTo>
                  <a:lnTo>
                    <a:pt x="2742653" y="5855"/>
                  </a:lnTo>
                  <a:lnTo>
                    <a:pt x="2742895" y="5855"/>
                  </a:lnTo>
                  <a:lnTo>
                    <a:pt x="2742946" y="7201"/>
                  </a:lnTo>
                  <a:lnTo>
                    <a:pt x="2743149" y="7201"/>
                  </a:lnTo>
                  <a:lnTo>
                    <a:pt x="2743200" y="5855"/>
                  </a:lnTo>
                  <a:lnTo>
                    <a:pt x="2743238" y="5855"/>
                  </a:lnTo>
                  <a:lnTo>
                    <a:pt x="2743238" y="7201"/>
                  </a:lnTo>
                  <a:lnTo>
                    <a:pt x="2743390" y="7201"/>
                  </a:lnTo>
                  <a:lnTo>
                    <a:pt x="2743441" y="5855"/>
                  </a:lnTo>
                  <a:lnTo>
                    <a:pt x="2743441" y="7201"/>
                  </a:lnTo>
                  <a:lnTo>
                    <a:pt x="2743542" y="7201"/>
                  </a:lnTo>
                  <a:lnTo>
                    <a:pt x="2743593" y="7836"/>
                  </a:lnTo>
                  <a:lnTo>
                    <a:pt x="2743644" y="7201"/>
                  </a:lnTo>
                  <a:lnTo>
                    <a:pt x="2743835" y="7201"/>
                  </a:lnTo>
                  <a:lnTo>
                    <a:pt x="2743885" y="5855"/>
                  </a:lnTo>
                  <a:lnTo>
                    <a:pt x="2743885" y="7201"/>
                  </a:lnTo>
                  <a:lnTo>
                    <a:pt x="2744139" y="7201"/>
                  </a:lnTo>
                  <a:lnTo>
                    <a:pt x="2744139" y="5855"/>
                  </a:lnTo>
                  <a:lnTo>
                    <a:pt x="2744279" y="5855"/>
                  </a:lnTo>
                  <a:lnTo>
                    <a:pt x="2744330" y="7201"/>
                  </a:lnTo>
                  <a:lnTo>
                    <a:pt x="2744381" y="7201"/>
                  </a:lnTo>
                  <a:lnTo>
                    <a:pt x="2744482" y="5855"/>
                  </a:lnTo>
                  <a:lnTo>
                    <a:pt x="2744736" y="5855"/>
                  </a:lnTo>
                  <a:lnTo>
                    <a:pt x="2744787" y="7201"/>
                  </a:lnTo>
                  <a:lnTo>
                    <a:pt x="2745130" y="7201"/>
                  </a:lnTo>
                  <a:lnTo>
                    <a:pt x="2745130" y="5855"/>
                  </a:lnTo>
                  <a:lnTo>
                    <a:pt x="2745371" y="5855"/>
                  </a:lnTo>
                  <a:lnTo>
                    <a:pt x="2745371" y="7201"/>
                  </a:lnTo>
                  <a:lnTo>
                    <a:pt x="2745422" y="7201"/>
                  </a:lnTo>
                  <a:lnTo>
                    <a:pt x="2745422" y="5855"/>
                  </a:lnTo>
                  <a:lnTo>
                    <a:pt x="2745473" y="7201"/>
                  </a:lnTo>
                  <a:lnTo>
                    <a:pt x="2745524" y="5855"/>
                  </a:lnTo>
                  <a:lnTo>
                    <a:pt x="2745917" y="5855"/>
                  </a:lnTo>
                  <a:lnTo>
                    <a:pt x="2745968" y="7201"/>
                  </a:lnTo>
                  <a:lnTo>
                    <a:pt x="2746070" y="7201"/>
                  </a:lnTo>
                  <a:lnTo>
                    <a:pt x="2746070" y="5855"/>
                  </a:lnTo>
                  <a:lnTo>
                    <a:pt x="2746171" y="5855"/>
                  </a:lnTo>
                  <a:lnTo>
                    <a:pt x="2746171" y="7201"/>
                  </a:lnTo>
                  <a:lnTo>
                    <a:pt x="2746273" y="5855"/>
                  </a:lnTo>
                  <a:lnTo>
                    <a:pt x="2746324" y="7201"/>
                  </a:lnTo>
                  <a:lnTo>
                    <a:pt x="2746514" y="7201"/>
                  </a:lnTo>
                  <a:lnTo>
                    <a:pt x="2746565" y="5855"/>
                  </a:lnTo>
                  <a:lnTo>
                    <a:pt x="2746616" y="7201"/>
                  </a:lnTo>
                  <a:lnTo>
                    <a:pt x="2746819" y="7201"/>
                  </a:lnTo>
                  <a:lnTo>
                    <a:pt x="2746819" y="5855"/>
                  </a:lnTo>
                  <a:lnTo>
                    <a:pt x="2746870" y="7201"/>
                  </a:lnTo>
                  <a:lnTo>
                    <a:pt x="2746870" y="5855"/>
                  </a:lnTo>
                  <a:lnTo>
                    <a:pt x="2747416" y="5855"/>
                  </a:lnTo>
                  <a:lnTo>
                    <a:pt x="2747454" y="7201"/>
                  </a:lnTo>
                  <a:lnTo>
                    <a:pt x="2747505" y="7201"/>
                  </a:lnTo>
                  <a:lnTo>
                    <a:pt x="2747556" y="5855"/>
                  </a:lnTo>
                  <a:lnTo>
                    <a:pt x="2747657" y="5855"/>
                  </a:lnTo>
                  <a:lnTo>
                    <a:pt x="2747708" y="7201"/>
                  </a:lnTo>
                  <a:lnTo>
                    <a:pt x="2747759" y="7201"/>
                  </a:lnTo>
                  <a:lnTo>
                    <a:pt x="2747860" y="5855"/>
                  </a:lnTo>
                  <a:lnTo>
                    <a:pt x="2747860" y="7201"/>
                  </a:lnTo>
                  <a:lnTo>
                    <a:pt x="2747911" y="5855"/>
                  </a:lnTo>
                  <a:lnTo>
                    <a:pt x="2748102" y="5855"/>
                  </a:lnTo>
                  <a:lnTo>
                    <a:pt x="2748153" y="7201"/>
                  </a:lnTo>
                  <a:lnTo>
                    <a:pt x="2748153" y="5855"/>
                  </a:lnTo>
                  <a:lnTo>
                    <a:pt x="2748356" y="5855"/>
                  </a:lnTo>
                  <a:lnTo>
                    <a:pt x="2748356" y="7201"/>
                  </a:lnTo>
                  <a:lnTo>
                    <a:pt x="2748902" y="7201"/>
                  </a:lnTo>
                  <a:lnTo>
                    <a:pt x="2749003" y="5855"/>
                  </a:lnTo>
                  <a:lnTo>
                    <a:pt x="2749041" y="5207"/>
                  </a:lnTo>
                  <a:lnTo>
                    <a:pt x="2749041" y="5855"/>
                  </a:lnTo>
                  <a:lnTo>
                    <a:pt x="2749245" y="5855"/>
                  </a:lnTo>
                  <a:lnTo>
                    <a:pt x="2749245" y="7201"/>
                  </a:lnTo>
                  <a:lnTo>
                    <a:pt x="2749296" y="5855"/>
                  </a:lnTo>
                  <a:lnTo>
                    <a:pt x="2749296" y="7201"/>
                  </a:lnTo>
                  <a:lnTo>
                    <a:pt x="2749689" y="7201"/>
                  </a:lnTo>
                  <a:lnTo>
                    <a:pt x="2749689" y="5855"/>
                  </a:lnTo>
                  <a:lnTo>
                    <a:pt x="2749740" y="7201"/>
                  </a:lnTo>
                  <a:lnTo>
                    <a:pt x="2749791" y="5855"/>
                  </a:lnTo>
                  <a:lnTo>
                    <a:pt x="2749791" y="7201"/>
                  </a:lnTo>
                  <a:lnTo>
                    <a:pt x="2749892" y="5855"/>
                  </a:lnTo>
                  <a:lnTo>
                    <a:pt x="2749892" y="7201"/>
                  </a:lnTo>
                  <a:lnTo>
                    <a:pt x="2749943" y="7201"/>
                  </a:lnTo>
                  <a:lnTo>
                    <a:pt x="2749943" y="5855"/>
                  </a:lnTo>
                  <a:lnTo>
                    <a:pt x="2749994" y="7201"/>
                  </a:lnTo>
                  <a:lnTo>
                    <a:pt x="2750134" y="7201"/>
                  </a:lnTo>
                  <a:lnTo>
                    <a:pt x="2750185" y="5855"/>
                  </a:lnTo>
                  <a:lnTo>
                    <a:pt x="2750185" y="7201"/>
                  </a:lnTo>
                  <a:lnTo>
                    <a:pt x="2750235" y="5855"/>
                  </a:lnTo>
                  <a:lnTo>
                    <a:pt x="2750438" y="5855"/>
                  </a:lnTo>
                  <a:lnTo>
                    <a:pt x="2750438" y="7201"/>
                  </a:lnTo>
                  <a:lnTo>
                    <a:pt x="2750489" y="5855"/>
                  </a:lnTo>
                  <a:lnTo>
                    <a:pt x="2750591" y="7201"/>
                  </a:lnTo>
                  <a:lnTo>
                    <a:pt x="2750832" y="7201"/>
                  </a:lnTo>
                  <a:lnTo>
                    <a:pt x="2750832" y="5855"/>
                  </a:lnTo>
                  <a:lnTo>
                    <a:pt x="2751035" y="5855"/>
                  </a:lnTo>
                  <a:lnTo>
                    <a:pt x="2751035" y="7201"/>
                  </a:lnTo>
                  <a:lnTo>
                    <a:pt x="2751632" y="7201"/>
                  </a:lnTo>
                  <a:lnTo>
                    <a:pt x="2751632" y="5855"/>
                  </a:lnTo>
                  <a:lnTo>
                    <a:pt x="2751721" y="5855"/>
                  </a:lnTo>
                  <a:lnTo>
                    <a:pt x="2751721" y="7201"/>
                  </a:lnTo>
                  <a:lnTo>
                    <a:pt x="2752026" y="7201"/>
                  </a:lnTo>
                  <a:lnTo>
                    <a:pt x="2752026" y="5855"/>
                  </a:lnTo>
                  <a:lnTo>
                    <a:pt x="2752077" y="7201"/>
                  </a:lnTo>
                  <a:lnTo>
                    <a:pt x="2752318" y="7201"/>
                  </a:lnTo>
                  <a:lnTo>
                    <a:pt x="2752420" y="5855"/>
                  </a:lnTo>
                  <a:lnTo>
                    <a:pt x="2752420" y="7201"/>
                  </a:lnTo>
                  <a:lnTo>
                    <a:pt x="2752623" y="7201"/>
                  </a:lnTo>
                  <a:lnTo>
                    <a:pt x="2752674" y="5855"/>
                  </a:lnTo>
                  <a:lnTo>
                    <a:pt x="2752725" y="5855"/>
                  </a:lnTo>
                  <a:lnTo>
                    <a:pt x="2752763" y="7201"/>
                  </a:lnTo>
                  <a:lnTo>
                    <a:pt x="2752864" y="5855"/>
                  </a:lnTo>
                  <a:lnTo>
                    <a:pt x="2752915" y="7201"/>
                  </a:lnTo>
                  <a:lnTo>
                    <a:pt x="2752915" y="5855"/>
                  </a:lnTo>
                  <a:lnTo>
                    <a:pt x="2752966" y="5855"/>
                  </a:lnTo>
                  <a:lnTo>
                    <a:pt x="2752966" y="7201"/>
                  </a:lnTo>
                  <a:lnTo>
                    <a:pt x="2753067" y="7201"/>
                  </a:lnTo>
                  <a:lnTo>
                    <a:pt x="2753118" y="5855"/>
                  </a:lnTo>
                  <a:lnTo>
                    <a:pt x="2753220" y="5855"/>
                  </a:lnTo>
                  <a:lnTo>
                    <a:pt x="2753220" y="7201"/>
                  </a:lnTo>
                  <a:lnTo>
                    <a:pt x="2753309" y="5855"/>
                  </a:lnTo>
                  <a:lnTo>
                    <a:pt x="2753410" y="5855"/>
                  </a:lnTo>
                  <a:lnTo>
                    <a:pt x="2753461" y="7201"/>
                  </a:lnTo>
                  <a:lnTo>
                    <a:pt x="2753563" y="7201"/>
                  </a:lnTo>
                  <a:lnTo>
                    <a:pt x="2753613" y="5855"/>
                  </a:lnTo>
                  <a:lnTo>
                    <a:pt x="2753664" y="5207"/>
                  </a:lnTo>
                  <a:lnTo>
                    <a:pt x="2753766" y="5207"/>
                  </a:lnTo>
                  <a:lnTo>
                    <a:pt x="2753766" y="5855"/>
                  </a:lnTo>
                  <a:lnTo>
                    <a:pt x="2753804" y="5855"/>
                  </a:lnTo>
                  <a:lnTo>
                    <a:pt x="2753804" y="7201"/>
                  </a:lnTo>
                  <a:lnTo>
                    <a:pt x="2754109" y="7201"/>
                  </a:lnTo>
                  <a:lnTo>
                    <a:pt x="2754109" y="5855"/>
                  </a:lnTo>
                  <a:lnTo>
                    <a:pt x="2754210" y="7201"/>
                  </a:lnTo>
                  <a:lnTo>
                    <a:pt x="2754452" y="7201"/>
                  </a:lnTo>
                  <a:lnTo>
                    <a:pt x="2754503" y="5855"/>
                  </a:lnTo>
                  <a:lnTo>
                    <a:pt x="2754503" y="7201"/>
                  </a:lnTo>
                  <a:lnTo>
                    <a:pt x="2754807" y="7201"/>
                  </a:lnTo>
                  <a:lnTo>
                    <a:pt x="2754896" y="5855"/>
                  </a:lnTo>
                  <a:lnTo>
                    <a:pt x="2754947" y="5855"/>
                  </a:lnTo>
                  <a:lnTo>
                    <a:pt x="2754947" y="7201"/>
                  </a:lnTo>
                  <a:lnTo>
                    <a:pt x="2755049" y="7201"/>
                  </a:lnTo>
                  <a:lnTo>
                    <a:pt x="2755049" y="7836"/>
                  </a:lnTo>
                  <a:lnTo>
                    <a:pt x="2755150" y="7836"/>
                  </a:lnTo>
                  <a:lnTo>
                    <a:pt x="2755201" y="7201"/>
                  </a:lnTo>
                  <a:lnTo>
                    <a:pt x="2755252" y="7201"/>
                  </a:lnTo>
                  <a:lnTo>
                    <a:pt x="2755252" y="5855"/>
                  </a:lnTo>
                  <a:lnTo>
                    <a:pt x="2755442" y="5855"/>
                  </a:lnTo>
                  <a:lnTo>
                    <a:pt x="2755442" y="7201"/>
                  </a:lnTo>
                  <a:lnTo>
                    <a:pt x="2755798" y="7201"/>
                  </a:lnTo>
                  <a:lnTo>
                    <a:pt x="2755849" y="5855"/>
                  </a:lnTo>
                  <a:lnTo>
                    <a:pt x="2755900" y="5855"/>
                  </a:lnTo>
                  <a:lnTo>
                    <a:pt x="2755900" y="7201"/>
                  </a:lnTo>
                  <a:lnTo>
                    <a:pt x="2755938" y="7201"/>
                  </a:lnTo>
                  <a:lnTo>
                    <a:pt x="2755938" y="5855"/>
                  </a:lnTo>
                  <a:lnTo>
                    <a:pt x="2756039" y="5855"/>
                  </a:lnTo>
                  <a:lnTo>
                    <a:pt x="2756090" y="7201"/>
                  </a:lnTo>
                  <a:lnTo>
                    <a:pt x="2756585" y="7201"/>
                  </a:lnTo>
                  <a:lnTo>
                    <a:pt x="2756585" y="5855"/>
                  </a:lnTo>
                  <a:lnTo>
                    <a:pt x="2756636" y="7201"/>
                  </a:lnTo>
                  <a:lnTo>
                    <a:pt x="2756636" y="5855"/>
                  </a:lnTo>
                  <a:lnTo>
                    <a:pt x="2756738" y="7201"/>
                  </a:lnTo>
                  <a:lnTo>
                    <a:pt x="2756788" y="5855"/>
                  </a:lnTo>
                  <a:lnTo>
                    <a:pt x="2756839" y="5855"/>
                  </a:lnTo>
                  <a:lnTo>
                    <a:pt x="2756941" y="7201"/>
                  </a:lnTo>
                  <a:lnTo>
                    <a:pt x="2756979" y="5855"/>
                  </a:lnTo>
                  <a:lnTo>
                    <a:pt x="2757233" y="5855"/>
                  </a:lnTo>
                  <a:lnTo>
                    <a:pt x="2757233" y="7201"/>
                  </a:lnTo>
                  <a:lnTo>
                    <a:pt x="2757931" y="7201"/>
                  </a:lnTo>
                  <a:lnTo>
                    <a:pt x="2757982" y="5855"/>
                  </a:lnTo>
                  <a:lnTo>
                    <a:pt x="2757982" y="7201"/>
                  </a:lnTo>
                  <a:lnTo>
                    <a:pt x="2758071" y="5855"/>
                  </a:lnTo>
                  <a:lnTo>
                    <a:pt x="2758122" y="7201"/>
                  </a:lnTo>
                  <a:lnTo>
                    <a:pt x="2758173" y="7201"/>
                  </a:lnTo>
                  <a:lnTo>
                    <a:pt x="2758224" y="5855"/>
                  </a:lnTo>
                  <a:lnTo>
                    <a:pt x="2758325" y="5855"/>
                  </a:lnTo>
                  <a:lnTo>
                    <a:pt x="2758376" y="7201"/>
                  </a:lnTo>
                  <a:lnTo>
                    <a:pt x="2758821" y="7201"/>
                  </a:lnTo>
                  <a:lnTo>
                    <a:pt x="2758871" y="5855"/>
                  </a:lnTo>
                  <a:lnTo>
                    <a:pt x="2758973" y="7201"/>
                  </a:lnTo>
                  <a:lnTo>
                    <a:pt x="2759214" y="7201"/>
                  </a:lnTo>
                  <a:lnTo>
                    <a:pt x="2759214" y="5855"/>
                  </a:lnTo>
                  <a:lnTo>
                    <a:pt x="2759468" y="5855"/>
                  </a:lnTo>
                  <a:lnTo>
                    <a:pt x="2759519" y="7201"/>
                  </a:lnTo>
                  <a:lnTo>
                    <a:pt x="2759659" y="7201"/>
                  </a:lnTo>
                  <a:lnTo>
                    <a:pt x="2759659" y="5855"/>
                  </a:lnTo>
                  <a:lnTo>
                    <a:pt x="2759710" y="7201"/>
                  </a:lnTo>
                  <a:lnTo>
                    <a:pt x="2759913" y="7201"/>
                  </a:lnTo>
                  <a:lnTo>
                    <a:pt x="2759963" y="5855"/>
                  </a:lnTo>
                  <a:lnTo>
                    <a:pt x="2760205" y="5855"/>
                  </a:lnTo>
                  <a:lnTo>
                    <a:pt x="2760205" y="7201"/>
                  </a:lnTo>
                  <a:lnTo>
                    <a:pt x="2760256" y="7201"/>
                  </a:lnTo>
                  <a:lnTo>
                    <a:pt x="2760256" y="5855"/>
                  </a:lnTo>
                  <a:lnTo>
                    <a:pt x="2760357" y="7201"/>
                  </a:lnTo>
                  <a:lnTo>
                    <a:pt x="2760408" y="5855"/>
                  </a:lnTo>
                  <a:lnTo>
                    <a:pt x="2761056" y="5855"/>
                  </a:lnTo>
                  <a:lnTo>
                    <a:pt x="2761056" y="7201"/>
                  </a:lnTo>
                  <a:lnTo>
                    <a:pt x="2761246" y="7201"/>
                  </a:lnTo>
                  <a:lnTo>
                    <a:pt x="2761297" y="5855"/>
                  </a:lnTo>
                  <a:lnTo>
                    <a:pt x="2761348" y="7201"/>
                  </a:lnTo>
                  <a:lnTo>
                    <a:pt x="2761500" y="7201"/>
                  </a:lnTo>
                  <a:lnTo>
                    <a:pt x="2761500" y="7836"/>
                  </a:lnTo>
                  <a:lnTo>
                    <a:pt x="2761551" y="7201"/>
                  </a:lnTo>
                  <a:lnTo>
                    <a:pt x="2761602" y="5855"/>
                  </a:lnTo>
                  <a:lnTo>
                    <a:pt x="2761741" y="5855"/>
                  </a:lnTo>
                  <a:lnTo>
                    <a:pt x="2761792" y="7201"/>
                  </a:lnTo>
                  <a:lnTo>
                    <a:pt x="2762389" y="7201"/>
                  </a:lnTo>
                  <a:lnTo>
                    <a:pt x="2762440" y="7836"/>
                  </a:lnTo>
                  <a:lnTo>
                    <a:pt x="2762440" y="7201"/>
                  </a:lnTo>
                  <a:lnTo>
                    <a:pt x="2762491" y="7836"/>
                  </a:lnTo>
                  <a:lnTo>
                    <a:pt x="2762592" y="7836"/>
                  </a:lnTo>
                  <a:lnTo>
                    <a:pt x="2762592" y="7201"/>
                  </a:lnTo>
                  <a:lnTo>
                    <a:pt x="2762834" y="7201"/>
                  </a:lnTo>
                  <a:lnTo>
                    <a:pt x="2762885" y="7836"/>
                  </a:lnTo>
                  <a:lnTo>
                    <a:pt x="2762935" y="7201"/>
                  </a:lnTo>
                  <a:lnTo>
                    <a:pt x="2764180" y="7201"/>
                  </a:lnTo>
                  <a:lnTo>
                    <a:pt x="2764180" y="7836"/>
                  </a:lnTo>
                  <a:lnTo>
                    <a:pt x="2764231" y="7201"/>
                  </a:lnTo>
                  <a:lnTo>
                    <a:pt x="2764281" y="7201"/>
                  </a:lnTo>
                  <a:lnTo>
                    <a:pt x="2764281" y="5855"/>
                  </a:lnTo>
                  <a:lnTo>
                    <a:pt x="2764332" y="7201"/>
                  </a:lnTo>
                  <a:lnTo>
                    <a:pt x="2764472" y="7201"/>
                  </a:lnTo>
                  <a:lnTo>
                    <a:pt x="2764523" y="7836"/>
                  </a:lnTo>
                  <a:lnTo>
                    <a:pt x="2764523" y="7201"/>
                  </a:lnTo>
                  <a:lnTo>
                    <a:pt x="2764675" y="7201"/>
                  </a:lnTo>
                  <a:lnTo>
                    <a:pt x="2764726" y="7836"/>
                  </a:lnTo>
                  <a:lnTo>
                    <a:pt x="2764777" y="7201"/>
                  </a:lnTo>
                  <a:lnTo>
                    <a:pt x="2765463" y="7201"/>
                  </a:lnTo>
                  <a:lnTo>
                    <a:pt x="2765564" y="7836"/>
                  </a:lnTo>
                  <a:lnTo>
                    <a:pt x="2765615" y="7201"/>
                  </a:lnTo>
                  <a:lnTo>
                    <a:pt x="2765818" y="7201"/>
                  </a:lnTo>
                  <a:lnTo>
                    <a:pt x="2765869" y="7836"/>
                  </a:lnTo>
                  <a:lnTo>
                    <a:pt x="2766060" y="7836"/>
                  </a:lnTo>
                  <a:lnTo>
                    <a:pt x="2766110" y="7201"/>
                  </a:lnTo>
                  <a:lnTo>
                    <a:pt x="2766263" y="7201"/>
                  </a:lnTo>
                  <a:lnTo>
                    <a:pt x="2766313" y="5855"/>
                  </a:lnTo>
                  <a:lnTo>
                    <a:pt x="2766313" y="7201"/>
                  </a:lnTo>
                  <a:lnTo>
                    <a:pt x="2766504" y="7201"/>
                  </a:lnTo>
                  <a:lnTo>
                    <a:pt x="2766555" y="7836"/>
                  </a:lnTo>
                  <a:lnTo>
                    <a:pt x="2766606" y="7836"/>
                  </a:lnTo>
                  <a:lnTo>
                    <a:pt x="2766707" y="7201"/>
                  </a:lnTo>
                  <a:lnTo>
                    <a:pt x="2767012" y="7201"/>
                  </a:lnTo>
                  <a:lnTo>
                    <a:pt x="2767050" y="7836"/>
                  </a:lnTo>
                  <a:lnTo>
                    <a:pt x="2767152" y="7201"/>
                  </a:lnTo>
                  <a:lnTo>
                    <a:pt x="2767507" y="7201"/>
                  </a:lnTo>
                  <a:lnTo>
                    <a:pt x="2767507" y="7836"/>
                  </a:lnTo>
                  <a:lnTo>
                    <a:pt x="2767647" y="7836"/>
                  </a:lnTo>
                  <a:lnTo>
                    <a:pt x="2767698" y="7201"/>
                  </a:lnTo>
                  <a:lnTo>
                    <a:pt x="2767850" y="7201"/>
                  </a:lnTo>
                  <a:lnTo>
                    <a:pt x="2767901" y="5855"/>
                  </a:lnTo>
                  <a:lnTo>
                    <a:pt x="2768091" y="5855"/>
                  </a:lnTo>
                  <a:lnTo>
                    <a:pt x="2768091" y="7201"/>
                  </a:lnTo>
                  <a:lnTo>
                    <a:pt x="2768739" y="7201"/>
                  </a:lnTo>
                  <a:lnTo>
                    <a:pt x="2768790" y="5855"/>
                  </a:lnTo>
                  <a:lnTo>
                    <a:pt x="2768790" y="7201"/>
                  </a:lnTo>
                  <a:lnTo>
                    <a:pt x="2769438" y="7201"/>
                  </a:lnTo>
                  <a:lnTo>
                    <a:pt x="2769488" y="7836"/>
                  </a:lnTo>
                  <a:lnTo>
                    <a:pt x="2769539" y="7836"/>
                  </a:lnTo>
                  <a:lnTo>
                    <a:pt x="2769641" y="7201"/>
                  </a:lnTo>
                  <a:lnTo>
                    <a:pt x="2769730" y="7201"/>
                  </a:lnTo>
                  <a:lnTo>
                    <a:pt x="2769730" y="7836"/>
                  </a:lnTo>
                  <a:lnTo>
                    <a:pt x="2769882" y="7836"/>
                  </a:lnTo>
                  <a:lnTo>
                    <a:pt x="2769933" y="7201"/>
                  </a:lnTo>
                  <a:lnTo>
                    <a:pt x="2770428" y="7201"/>
                  </a:lnTo>
                  <a:lnTo>
                    <a:pt x="2770428" y="7836"/>
                  </a:lnTo>
                  <a:lnTo>
                    <a:pt x="2770530" y="7836"/>
                  </a:lnTo>
                  <a:lnTo>
                    <a:pt x="2770581" y="7201"/>
                  </a:lnTo>
                  <a:lnTo>
                    <a:pt x="2771025" y="7201"/>
                  </a:lnTo>
                  <a:lnTo>
                    <a:pt x="2771076" y="7836"/>
                  </a:lnTo>
                  <a:lnTo>
                    <a:pt x="2771076" y="7201"/>
                  </a:lnTo>
                  <a:lnTo>
                    <a:pt x="2771127" y="7836"/>
                  </a:lnTo>
                  <a:lnTo>
                    <a:pt x="2771228" y="7201"/>
                  </a:lnTo>
                  <a:lnTo>
                    <a:pt x="2771521" y="7201"/>
                  </a:lnTo>
                  <a:lnTo>
                    <a:pt x="2771571" y="7836"/>
                  </a:lnTo>
                  <a:lnTo>
                    <a:pt x="2771813" y="7836"/>
                  </a:lnTo>
                  <a:lnTo>
                    <a:pt x="2771914" y="7201"/>
                  </a:lnTo>
                  <a:lnTo>
                    <a:pt x="2772270" y="7201"/>
                  </a:lnTo>
                  <a:lnTo>
                    <a:pt x="2772270" y="7836"/>
                  </a:lnTo>
                  <a:lnTo>
                    <a:pt x="2772359" y="7836"/>
                  </a:lnTo>
                  <a:lnTo>
                    <a:pt x="2772359" y="7201"/>
                  </a:lnTo>
                  <a:lnTo>
                    <a:pt x="2772613" y="7201"/>
                  </a:lnTo>
                  <a:lnTo>
                    <a:pt x="2772613" y="7836"/>
                  </a:lnTo>
                  <a:lnTo>
                    <a:pt x="2772663" y="7836"/>
                  </a:lnTo>
                  <a:lnTo>
                    <a:pt x="2772663" y="7201"/>
                  </a:lnTo>
                  <a:lnTo>
                    <a:pt x="2772714" y="7201"/>
                  </a:lnTo>
                  <a:lnTo>
                    <a:pt x="2772816" y="7836"/>
                  </a:lnTo>
                  <a:lnTo>
                    <a:pt x="2772816" y="7201"/>
                  </a:lnTo>
                  <a:lnTo>
                    <a:pt x="2772854" y="7201"/>
                  </a:lnTo>
                  <a:lnTo>
                    <a:pt x="2772905" y="7836"/>
                  </a:lnTo>
                  <a:lnTo>
                    <a:pt x="2772905" y="7201"/>
                  </a:lnTo>
                  <a:lnTo>
                    <a:pt x="2772956" y="7201"/>
                  </a:lnTo>
                  <a:lnTo>
                    <a:pt x="2773057" y="5855"/>
                  </a:lnTo>
                  <a:lnTo>
                    <a:pt x="2773057" y="7201"/>
                  </a:lnTo>
                  <a:lnTo>
                    <a:pt x="2773108" y="7201"/>
                  </a:lnTo>
                  <a:lnTo>
                    <a:pt x="2773159" y="7836"/>
                  </a:lnTo>
                  <a:lnTo>
                    <a:pt x="2773159" y="7201"/>
                  </a:lnTo>
                  <a:lnTo>
                    <a:pt x="2773311" y="7201"/>
                  </a:lnTo>
                  <a:lnTo>
                    <a:pt x="2773311" y="7836"/>
                  </a:lnTo>
                  <a:lnTo>
                    <a:pt x="2773362" y="7836"/>
                  </a:lnTo>
                  <a:lnTo>
                    <a:pt x="2773400" y="7201"/>
                  </a:lnTo>
                  <a:lnTo>
                    <a:pt x="2773502" y="7836"/>
                  </a:lnTo>
                  <a:lnTo>
                    <a:pt x="2773603" y="7836"/>
                  </a:lnTo>
                  <a:lnTo>
                    <a:pt x="2773603" y="7201"/>
                  </a:lnTo>
                  <a:lnTo>
                    <a:pt x="2773756" y="7201"/>
                  </a:lnTo>
                  <a:lnTo>
                    <a:pt x="2773806" y="7836"/>
                  </a:lnTo>
                  <a:lnTo>
                    <a:pt x="2773946" y="7836"/>
                  </a:lnTo>
                  <a:lnTo>
                    <a:pt x="2773997" y="7201"/>
                  </a:lnTo>
                  <a:lnTo>
                    <a:pt x="2774441" y="7201"/>
                  </a:lnTo>
                  <a:lnTo>
                    <a:pt x="2774492" y="7836"/>
                  </a:lnTo>
                  <a:lnTo>
                    <a:pt x="2774543" y="7201"/>
                  </a:lnTo>
                  <a:lnTo>
                    <a:pt x="2774543" y="7836"/>
                  </a:lnTo>
                  <a:lnTo>
                    <a:pt x="2774746" y="7836"/>
                  </a:lnTo>
                  <a:lnTo>
                    <a:pt x="2774746" y="7201"/>
                  </a:lnTo>
                  <a:lnTo>
                    <a:pt x="2774848" y="7201"/>
                  </a:lnTo>
                  <a:lnTo>
                    <a:pt x="2774848" y="7836"/>
                  </a:lnTo>
                  <a:lnTo>
                    <a:pt x="2775343" y="7836"/>
                  </a:lnTo>
                  <a:lnTo>
                    <a:pt x="2775343" y="7201"/>
                  </a:lnTo>
                  <a:lnTo>
                    <a:pt x="2775394" y="7201"/>
                  </a:lnTo>
                  <a:lnTo>
                    <a:pt x="2775445" y="7836"/>
                  </a:lnTo>
                  <a:lnTo>
                    <a:pt x="2775889" y="7836"/>
                  </a:lnTo>
                  <a:lnTo>
                    <a:pt x="2775889" y="7201"/>
                  </a:lnTo>
                  <a:lnTo>
                    <a:pt x="2776080" y="7201"/>
                  </a:lnTo>
                  <a:lnTo>
                    <a:pt x="2776080" y="7836"/>
                  </a:lnTo>
                  <a:lnTo>
                    <a:pt x="2776334" y="7836"/>
                  </a:lnTo>
                  <a:lnTo>
                    <a:pt x="2776435" y="7201"/>
                  </a:lnTo>
                  <a:lnTo>
                    <a:pt x="2776575" y="7201"/>
                  </a:lnTo>
                  <a:lnTo>
                    <a:pt x="2776677" y="5855"/>
                  </a:lnTo>
                  <a:lnTo>
                    <a:pt x="2776677" y="7201"/>
                  </a:lnTo>
                  <a:lnTo>
                    <a:pt x="2776728" y="7201"/>
                  </a:lnTo>
                  <a:lnTo>
                    <a:pt x="2776728" y="7836"/>
                  </a:lnTo>
                  <a:lnTo>
                    <a:pt x="2776981" y="7836"/>
                  </a:lnTo>
                  <a:lnTo>
                    <a:pt x="2776981" y="7201"/>
                  </a:lnTo>
                  <a:lnTo>
                    <a:pt x="2777032" y="7201"/>
                  </a:lnTo>
                  <a:lnTo>
                    <a:pt x="2777032" y="7836"/>
                  </a:lnTo>
                  <a:lnTo>
                    <a:pt x="2777172" y="7836"/>
                  </a:lnTo>
                  <a:lnTo>
                    <a:pt x="2777223" y="7201"/>
                  </a:lnTo>
                  <a:lnTo>
                    <a:pt x="2777375" y="7201"/>
                  </a:lnTo>
                  <a:lnTo>
                    <a:pt x="2777426" y="7836"/>
                  </a:lnTo>
                  <a:lnTo>
                    <a:pt x="2777477" y="7836"/>
                  </a:lnTo>
                  <a:lnTo>
                    <a:pt x="2777578" y="7201"/>
                  </a:lnTo>
                  <a:lnTo>
                    <a:pt x="2777616" y="7836"/>
                  </a:lnTo>
                  <a:lnTo>
                    <a:pt x="2777667" y="7201"/>
                  </a:lnTo>
                  <a:lnTo>
                    <a:pt x="2777820" y="7201"/>
                  </a:lnTo>
                  <a:lnTo>
                    <a:pt x="2777871" y="7836"/>
                  </a:lnTo>
                  <a:lnTo>
                    <a:pt x="2777921" y="7836"/>
                  </a:lnTo>
                  <a:lnTo>
                    <a:pt x="2777921" y="7201"/>
                  </a:lnTo>
                  <a:lnTo>
                    <a:pt x="2778074" y="7201"/>
                  </a:lnTo>
                  <a:lnTo>
                    <a:pt x="2778125" y="7836"/>
                  </a:lnTo>
                  <a:lnTo>
                    <a:pt x="2778709" y="7836"/>
                  </a:lnTo>
                  <a:lnTo>
                    <a:pt x="2778760" y="7201"/>
                  </a:lnTo>
                  <a:lnTo>
                    <a:pt x="2778760" y="7836"/>
                  </a:lnTo>
                  <a:lnTo>
                    <a:pt x="2778963" y="7836"/>
                  </a:lnTo>
                  <a:lnTo>
                    <a:pt x="2779013" y="7201"/>
                  </a:lnTo>
                  <a:lnTo>
                    <a:pt x="2779013" y="7836"/>
                  </a:lnTo>
                  <a:lnTo>
                    <a:pt x="2779064" y="7201"/>
                  </a:lnTo>
                  <a:lnTo>
                    <a:pt x="2779166" y="7836"/>
                  </a:lnTo>
                  <a:lnTo>
                    <a:pt x="2779712" y="7836"/>
                  </a:lnTo>
                  <a:lnTo>
                    <a:pt x="2779712" y="7201"/>
                  </a:lnTo>
                  <a:lnTo>
                    <a:pt x="2779852" y="7201"/>
                  </a:lnTo>
                  <a:lnTo>
                    <a:pt x="2779903" y="7836"/>
                  </a:lnTo>
                  <a:lnTo>
                    <a:pt x="2780156" y="7836"/>
                  </a:lnTo>
                  <a:lnTo>
                    <a:pt x="2780156" y="7201"/>
                  </a:lnTo>
                  <a:lnTo>
                    <a:pt x="2780207" y="7836"/>
                  </a:lnTo>
                  <a:lnTo>
                    <a:pt x="2780296" y="7201"/>
                  </a:lnTo>
                  <a:lnTo>
                    <a:pt x="2780550" y="7201"/>
                  </a:lnTo>
                  <a:lnTo>
                    <a:pt x="2780550" y="7836"/>
                  </a:lnTo>
                  <a:lnTo>
                    <a:pt x="2780652" y="7836"/>
                  </a:lnTo>
                  <a:lnTo>
                    <a:pt x="2780652" y="7201"/>
                  </a:lnTo>
                  <a:lnTo>
                    <a:pt x="2780842" y="7201"/>
                  </a:lnTo>
                  <a:lnTo>
                    <a:pt x="2780893" y="7836"/>
                  </a:lnTo>
                  <a:lnTo>
                    <a:pt x="2780995" y="7836"/>
                  </a:lnTo>
                  <a:lnTo>
                    <a:pt x="2780995" y="7201"/>
                  </a:lnTo>
                  <a:lnTo>
                    <a:pt x="2781096" y="7201"/>
                  </a:lnTo>
                  <a:lnTo>
                    <a:pt x="2781096" y="7836"/>
                  </a:lnTo>
                  <a:lnTo>
                    <a:pt x="2781693" y="7836"/>
                  </a:lnTo>
                  <a:lnTo>
                    <a:pt x="2781744" y="7201"/>
                  </a:lnTo>
                  <a:lnTo>
                    <a:pt x="2781795" y="7201"/>
                  </a:lnTo>
                  <a:lnTo>
                    <a:pt x="2781884" y="7836"/>
                  </a:lnTo>
                  <a:lnTo>
                    <a:pt x="2781935" y="8484"/>
                  </a:lnTo>
                  <a:lnTo>
                    <a:pt x="2781985" y="7836"/>
                  </a:lnTo>
                  <a:lnTo>
                    <a:pt x="2782138" y="7836"/>
                  </a:lnTo>
                  <a:lnTo>
                    <a:pt x="2782138" y="8484"/>
                  </a:lnTo>
                  <a:lnTo>
                    <a:pt x="2782341" y="8484"/>
                  </a:lnTo>
                  <a:lnTo>
                    <a:pt x="2782379" y="7836"/>
                  </a:lnTo>
                  <a:lnTo>
                    <a:pt x="2782430" y="7836"/>
                  </a:lnTo>
                  <a:lnTo>
                    <a:pt x="2782430" y="7201"/>
                  </a:lnTo>
                  <a:lnTo>
                    <a:pt x="2782481" y="7836"/>
                  </a:lnTo>
                  <a:lnTo>
                    <a:pt x="2782785" y="7836"/>
                  </a:lnTo>
                  <a:lnTo>
                    <a:pt x="2782836" y="7201"/>
                  </a:lnTo>
                  <a:lnTo>
                    <a:pt x="2782887" y="7836"/>
                  </a:lnTo>
                  <a:lnTo>
                    <a:pt x="2782887" y="7201"/>
                  </a:lnTo>
                  <a:lnTo>
                    <a:pt x="2782925" y="7836"/>
                  </a:lnTo>
                  <a:lnTo>
                    <a:pt x="2783027" y="7836"/>
                  </a:lnTo>
                  <a:lnTo>
                    <a:pt x="2783027" y="8484"/>
                  </a:lnTo>
                  <a:lnTo>
                    <a:pt x="2783078" y="7836"/>
                  </a:lnTo>
                  <a:lnTo>
                    <a:pt x="2783382" y="7836"/>
                  </a:lnTo>
                  <a:lnTo>
                    <a:pt x="2783382" y="8484"/>
                  </a:lnTo>
                  <a:lnTo>
                    <a:pt x="2783522" y="8484"/>
                  </a:lnTo>
                  <a:lnTo>
                    <a:pt x="2783522" y="7836"/>
                  </a:lnTo>
                  <a:lnTo>
                    <a:pt x="2783966" y="7836"/>
                  </a:lnTo>
                  <a:lnTo>
                    <a:pt x="2784017" y="8484"/>
                  </a:lnTo>
                  <a:lnTo>
                    <a:pt x="2784068" y="7836"/>
                  </a:lnTo>
                  <a:lnTo>
                    <a:pt x="2784221" y="7836"/>
                  </a:lnTo>
                  <a:lnTo>
                    <a:pt x="2784221" y="8484"/>
                  </a:lnTo>
                  <a:lnTo>
                    <a:pt x="2784271" y="7836"/>
                  </a:lnTo>
                  <a:lnTo>
                    <a:pt x="2784373" y="7836"/>
                  </a:lnTo>
                  <a:lnTo>
                    <a:pt x="2784424" y="7201"/>
                  </a:lnTo>
                  <a:lnTo>
                    <a:pt x="2784424" y="7836"/>
                  </a:lnTo>
                  <a:lnTo>
                    <a:pt x="2784475" y="7201"/>
                  </a:lnTo>
                  <a:lnTo>
                    <a:pt x="2784475" y="7836"/>
                  </a:lnTo>
                  <a:lnTo>
                    <a:pt x="2784513" y="7836"/>
                  </a:lnTo>
                  <a:lnTo>
                    <a:pt x="2784614" y="8484"/>
                  </a:lnTo>
                  <a:lnTo>
                    <a:pt x="2784614" y="7836"/>
                  </a:lnTo>
                  <a:lnTo>
                    <a:pt x="2785656" y="7836"/>
                  </a:lnTo>
                  <a:lnTo>
                    <a:pt x="2785656" y="8484"/>
                  </a:lnTo>
                  <a:lnTo>
                    <a:pt x="2785757" y="7836"/>
                  </a:lnTo>
                  <a:lnTo>
                    <a:pt x="2785960" y="7836"/>
                  </a:lnTo>
                  <a:lnTo>
                    <a:pt x="2785960" y="8484"/>
                  </a:lnTo>
                  <a:lnTo>
                    <a:pt x="2786011" y="7836"/>
                  </a:lnTo>
                  <a:lnTo>
                    <a:pt x="2786062" y="7836"/>
                  </a:lnTo>
                  <a:lnTo>
                    <a:pt x="2786100" y="8484"/>
                  </a:lnTo>
                  <a:lnTo>
                    <a:pt x="2786100" y="7836"/>
                  </a:lnTo>
                  <a:lnTo>
                    <a:pt x="2786253" y="7836"/>
                  </a:lnTo>
                  <a:lnTo>
                    <a:pt x="2786253" y="7201"/>
                  </a:lnTo>
                  <a:lnTo>
                    <a:pt x="2786303" y="7836"/>
                  </a:lnTo>
                  <a:lnTo>
                    <a:pt x="2786456" y="7836"/>
                  </a:lnTo>
                  <a:lnTo>
                    <a:pt x="2786456" y="8484"/>
                  </a:lnTo>
                  <a:lnTo>
                    <a:pt x="2786506" y="7836"/>
                  </a:lnTo>
                  <a:lnTo>
                    <a:pt x="2786697" y="7836"/>
                  </a:lnTo>
                  <a:lnTo>
                    <a:pt x="2786748" y="7201"/>
                  </a:lnTo>
                  <a:lnTo>
                    <a:pt x="2786900" y="7201"/>
                  </a:lnTo>
                  <a:lnTo>
                    <a:pt x="2786900" y="7836"/>
                  </a:lnTo>
                  <a:lnTo>
                    <a:pt x="2788285" y="7836"/>
                  </a:lnTo>
                  <a:lnTo>
                    <a:pt x="2788335" y="8484"/>
                  </a:lnTo>
                  <a:lnTo>
                    <a:pt x="2788386" y="7836"/>
                  </a:lnTo>
                  <a:lnTo>
                    <a:pt x="2788488" y="7836"/>
                  </a:lnTo>
                  <a:lnTo>
                    <a:pt x="2788488" y="7201"/>
                  </a:lnTo>
                  <a:lnTo>
                    <a:pt x="2788538" y="7836"/>
                  </a:lnTo>
                  <a:lnTo>
                    <a:pt x="2789377" y="7836"/>
                  </a:lnTo>
                  <a:lnTo>
                    <a:pt x="2789377" y="8484"/>
                  </a:lnTo>
                  <a:lnTo>
                    <a:pt x="2789478" y="8484"/>
                  </a:lnTo>
                  <a:lnTo>
                    <a:pt x="2789478" y="7836"/>
                  </a:lnTo>
                  <a:lnTo>
                    <a:pt x="2789821" y="7836"/>
                  </a:lnTo>
                  <a:lnTo>
                    <a:pt x="2789872" y="8484"/>
                  </a:lnTo>
                  <a:lnTo>
                    <a:pt x="2789923" y="8484"/>
                  </a:lnTo>
                  <a:lnTo>
                    <a:pt x="2789923" y="7836"/>
                  </a:lnTo>
                  <a:lnTo>
                    <a:pt x="2790278" y="7836"/>
                  </a:lnTo>
                  <a:lnTo>
                    <a:pt x="2790316" y="8484"/>
                  </a:lnTo>
                  <a:lnTo>
                    <a:pt x="2790418" y="8484"/>
                  </a:lnTo>
                  <a:lnTo>
                    <a:pt x="2790520" y="7836"/>
                  </a:lnTo>
                  <a:lnTo>
                    <a:pt x="2790571" y="8484"/>
                  </a:lnTo>
                  <a:lnTo>
                    <a:pt x="2790571" y="7836"/>
                  </a:lnTo>
                  <a:lnTo>
                    <a:pt x="2790723" y="7836"/>
                  </a:lnTo>
                  <a:lnTo>
                    <a:pt x="2790723" y="8484"/>
                  </a:lnTo>
                  <a:lnTo>
                    <a:pt x="2790774" y="8484"/>
                  </a:lnTo>
                  <a:lnTo>
                    <a:pt x="2790825" y="7836"/>
                  </a:lnTo>
                  <a:lnTo>
                    <a:pt x="2791320" y="7836"/>
                  </a:lnTo>
                  <a:lnTo>
                    <a:pt x="2791409" y="8484"/>
                  </a:lnTo>
                  <a:lnTo>
                    <a:pt x="2791409" y="7836"/>
                  </a:lnTo>
                  <a:lnTo>
                    <a:pt x="2791510" y="7836"/>
                  </a:lnTo>
                  <a:lnTo>
                    <a:pt x="2791510" y="8484"/>
                  </a:lnTo>
                  <a:lnTo>
                    <a:pt x="2791561" y="8484"/>
                  </a:lnTo>
                  <a:lnTo>
                    <a:pt x="2791561" y="7836"/>
                  </a:lnTo>
                  <a:lnTo>
                    <a:pt x="2791663" y="8484"/>
                  </a:lnTo>
                  <a:lnTo>
                    <a:pt x="2791713" y="8484"/>
                  </a:lnTo>
                  <a:lnTo>
                    <a:pt x="2791764" y="7836"/>
                  </a:lnTo>
                  <a:lnTo>
                    <a:pt x="2791866" y="7836"/>
                  </a:lnTo>
                  <a:lnTo>
                    <a:pt x="2791866" y="8484"/>
                  </a:lnTo>
                  <a:lnTo>
                    <a:pt x="2791904" y="8484"/>
                  </a:lnTo>
                  <a:lnTo>
                    <a:pt x="2791955" y="7836"/>
                  </a:lnTo>
                  <a:lnTo>
                    <a:pt x="2792107" y="7836"/>
                  </a:lnTo>
                  <a:lnTo>
                    <a:pt x="2792158" y="8484"/>
                  </a:lnTo>
                  <a:lnTo>
                    <a:pt x="2792158" y="7836"/>
                  </a:lnTo>
                  <a:lnTo>
                    <a:pt x="2792209" y="8484"/>
                  </a:lnTo>
                  <a:lnTo>
                    <a:pt x="2792552" y="8484"/>
                  </a:lnTo>
                  <a:lnTo>
                    <a:pt x="2792603" y="7836"/>
                  </a:lnTo>
                  <a:lnTo>
                    <a:pt x="2792653" y="8484"/>
                  </a:lnTo>
                  <a:lnTo>
                    <a:pt x="2792856" y="8484"/>
                  </a:lnTo>
                  <a:lnTo>
                    <a:pt x="2792907" y="7836"/>
                  </a:lnTo>
                  <a:lnTo>
                    <a:pt x="2792996" y="7836"/>
                  </a:lnTo>
                  <a:lnTo>
                    <a:pt x="2793047" y="8484"/>
                  </a:lnTo>
                  <a:lnTo>
                    <a:pt x="2793098" y="7836"/>
                  </a:lnTo>
                  <a:lnTo>
                    <a:pt x="2793149" y="7836"/>
                  </a:lnTo>
                  <a:lnTo>
                    <a:pt x="2793250" y="8484"/>
                  </a:lnTo>
                  <a:lnTo>
                    <a:pt x="2793301" y="8484"/>
                  </a:lnTo>
                  <a:lnTo>
                    <a:pt x="2793301" y="7836"/>
                  </a:lnTo>
                  <a:lnTo>
                    <a:pt x="2793542" y="7836"/>
                  </a:lnTo>
                  <a:lnTo>
                    <a:pt x="2793542" y="8484"/>
                  </a:lnTo>
                  <a:lnTo>
                    <a:pt x="2793593" y="7836"/>
                  </a:lnTo>
                  <a:lnTo>
                    <a:pt x="2794444" y="7836"/>
                  </a:lnTo>
                  <a:lnTo>
                    <a:pt x="2794495" y="8484"/>
                  </a:lnTo>
                  <a:lnTo>
                    <a:pt x="2794495" y="7836"/>
                  </a:lnTo>
                  <a:lnTo>
                    <a:pt x="2794584" y="8484"/>
                  </a:lnTo>
                  <a:lnTo>
                    <a:pt x="2794635" y="7836"/>
                  </a:lnTo>
                  <a:lnTo>
                    <a:pt x="2794685" y="7836"/>
                  </a:lnTo>
                  <a:lnTo>
                    <a:pt x="2794736" y="8484"/>
                  </a:lnTo>
                  <a:lnTo>
                    <a:pt x="2794736" y="7836"/>
                  </a:lnTo>
                  <a:lnTo>
                    <a:pt x="2794838" y="8484"/>
                  </a:lnTo>
                  <a:lnTo>
                    <a:pt x="2794888" y="7836"/>
                  </a:lnTo>
                  <a:lnTo>
                    <a:pt x="2794888" y="8484"/>
                  </a:lnTo>
                  <a:lnTo>
                    <a:pt x="2794939" y="8484"/>
                  </a:lnTo>
                  <a:lnTo>
                    <a:pt x="2795041" y="7836"/>
                  </a:lnTo>
                  <a:lnTo>
                    <a:pt x="2795130" y="7836"/>
                  </a:lnTo>
                  <a:lnTo>
                    <a:pt x="2795130" y="8484"/>
                  </a:lnTo>
                  <a:lnTo>
                    <a:pt x="2795282" y="8484"/>
                  </a:lnTo>
                  <a:lnTo>
                    <a:pt x="2795282" y="7836"/>
                  </a:lnTo>
                  <a:lnTo>
                    <a:pt x="2795384" y="7836"/>
                  </a:lnTo>
                  <a:lnTo>
                    <a:pt x="2795384" y="8484"/>
                  </a:lnTo>
                  <a:lnTo>
                    <a:pt x="2795587" y="8484"/>
                  </a:lnTo>
                  <a:lnTo>
                    <a:pt x="2795625" y="7836"/>
                  </a:lnTo>
                  <a:lnTo>
                    <a:pt x="2796171" y="7836"/>
                  </a:lnTo>
                  <a:lnTo>
                    <a:pt x="2796222" y="8484"/>
                  </a:lnTo>
                  <a:lnTo>
                    <a:pt x="2796273" y="7836"/>
                  </a:lnTo>
                  <a:lnTo>
                    <a:pt x="2796273" y="8484"/>
                  </a:lnTo>
                  <a:lnTo>
                    <a:pt x="2796324" y="7836"/>
                  </a:lnTo>
                  <a:lnTo>
                    <a:pt x="2796628" y="7836"/>
                  </a:lnTo>
                  <a:lnTo>
                    <a:pt x="2796666" y="8484"/>
                  </a:lnTo>
                  <a:lnTo>
                    <a:pt x="2796717" y="7836"/>
                  </a:lnTo>
                  <a:lnTo>
                    <a:pt x="2797124" y="7836"/>
                  </a:lnTo>
                  <a:lnTo>
                    <a:pt x="2797174" y="8484"/>
                  </a:lnTo>
                  <a:lnTo>
                    <a:pt x="2797213" y="8484"/>
                  </a:lnTo>
                  <a:lnTo>
                    <a:pt x="2797314" y="7836"/>
                  </a:lnTo>
                  <a:lnTo>
                    <a:pt x="2797568" y="7836"/>
                  </a:lnTo>
                  <a:lnTo>
                    <a:pt x="2797619" y="8484"/>
                  </a:lnTo>
                  <a:lnTo>
                    <a:pt x="2797670" y="7836"/>
                  </a:lnTo>
                  <a:lnTo>
                    <a:pt x="2797670" y="8484"/>
                  </a:lnTo>
                  <a:lnTo>
                    <a:pt x="2797759" y="7836"/>
                  </a:lnTo>
                  <a:lnTo>
                    <a:pt x="2797810" y="7836"/>
                  </a:lnTo>
                  <a:lnTo>
                    <a:pt x="2797810" y="8484"/>
                  </a:lnTo>
                  <a:lnTo>
                    <a:pt x="2798356" y="8484"/>
                  </a:lnTo>
                  <a:lnTo>
                    <a:pt x="2798356" y="7836"/>
                  </a:lnTo>
                  <a:lnTo>
                    <a:pt x="2798457" y="8484"/>
                  </a:lnTo>
                  <a:lnTo>
                    <a:pt x="2798457" y="7836"/>
                  </a:lnTo>
                  <a:lnTo>
                    <a:pt x="2798559" y="7836"/>
                  </a:lnTo>
                  <a:lnTo>
                    <a:pt x="2798660" y="8484"/>
                  </a:lnTo>
                  <a:lnTo>
                    <a:pt x="2798902" y="8484"/>
                  </a:lnTo>
                  <a:lnTo>
                    <a:pt x="2798902" y="7836"/>
                  </a:lnTo>
                  <a:lnTo>
                    <a:pt x="2799003" y="7836"/>
                  </a:lnTo>
                  <a:lnTo>
                    <a:pt x="2799105" y="8484"/>
                  </a:lnTo>
                  <a:lnTo>
                    <a:pt x="2799156" y="8484"/>
                  </a:lnTo>
                  <a:lnTo>
                    <a:pt x="2799206" y="7836"/>
                  </a:lnTo>
                  <a:lnTo>
                    <a:pt x="2799257" y="8484"/>
                  </a:lnTo>
                  <a:lnTo>
                    <a:pt x="2799448" y="8484"/>
                  </a:lnTo>
                  <a:lnTo>
                    <a:pt x="2799499" y="7836"/>
                  </a:lnTo>
                  <a:lnTo>
                    <a:pt x="2799600" y="7836"/>
                  </a:lnTo>
                  <a:lnTo>
                    <a:pt x="2799600" y="8484"/>
                  </a:lnTo>
                  <a:lnTo>
                    <a:pt x="2799702" y="8484"/>
                  </a:lnTo>
                  <a:lnTo>
                    <a:pt x="2799702" y="7836"/>
                  </a:lnTo>
                  <a:lnTo>
                    <a:pt x="2799943" y="7836"/>
                  </a:lnTo>
                  <a:lnTo>
                    <a:pt x="2800045" y="8484"/>
                  </a:lnTo>
                  <a:lnTo>
                    <a:pt x="2800248" y="8484"/>
                  </a:lnTo>
                  <a:lnTo>
                    <a:pt x="2800299" y="7836"/>
                  </a:lnTo>
                  <a:lnTo>
                    <a:pt x="2800349" y="8484"/>
                  </a:lnTo>
                  <a:lnTo>
                    <a:pt x="2800692" y="8484"/>
                  </a:lnTo>
                  <a:lnTo>
                    <a:pt x="2800692" y="7836"/>
                  </a:lnTo>
                  <a:lnTo>
                    <a:pt x="2800794" y="7836"/>
                  </a:lnTo>
                  <a:lnTo>
                    <a:pt x="2800845" y="8484"/>
                  </a:lnTo>
                  <a:lnTo>
                    <a:pt x="2800934" y="7836"/>
                  </a:lnTo>
                  <a:lnTo>
                    <a:pt x="2800985" y="8484"/>
                  </a:lnTo>
                  <a:lnTo>
                    <a:pt x="2801086" y="8484"/>
                  </a:lnTo>
                  <a:lnTo>
                    <a:pt x="2801188" y="7836"/>
                  </a:lnTo>
                  <a:lnTo>
                    <a:pt x="2801238" y="8484"/>
                  </a:lnTo>
                  <a:lnTo>
                    <a:pt x="2801683" y="8484"/>
                  </a:lnTo>
                  <a:lnTo>
                    <a:pt x="2801734" y="7836"/>
                  </a:lnTo>
                  <a:lnTo>
                    <a:pt x="2801835" y="7836"/>
                  </a:lnTo>
                  <a:lnTo>
                    <a:pt x="2801835" y="8484"/>
                  </a:lnTo>
                  <a:lnTo>
                    <a:pt x="2801937" y="8484"/>
                  </a:lnTo>
                  <a:lnTo>
                    <a:pt x="2801937" y="7836"/>
                  </a:lnTo>
                  <a:lnTo>
                    <a:pt x="2802128" y="7836"/>
                  </a:lnTo>
                  <a:lnTo>
                    <a:pt x="2802178" y="8484"/>
                  </a:lnTo>
                  <a:lnTo>
                    <a:pt x="2802280" y="8484"/>
                  </a:lnTo>
                  <a:lnTo>
                    <a:pt x="2802280" y="7836"/>
                  </a:lnTo>
                  <a:lnTo>
                    <a:pt x="2802381" y="7836"/>
                  </a:lnTo>
                  <a:lnTo>
                    <a:pt x="2802432" y="8484"/>
                  </a:lnTo>
                  <a:lnTo>
                    <a:pt x="2802775" y="8484"/>
                  </a:lnTo>
                  <a:lnTo>
                    <a:pt x="2802775" y="7836"/>
                  </a:lnTo>
                  <a:lnTo>
                    <a:pt x="2802826" y="7836"/>
                  </a:lnTo>
                  <a:lnTo>
                    <a:pt x="2802826" y="8484"/>
                  </a:lnTo>
                  <a:lnTo>
                    <a:pt x="2802877" y="7836"/>
                  </a:lnTo>
                  <a:lnTo>
                    <a:pt x="2802978" y="8484"/>
                  </a:lnTo>
                  <a:lnTo>
                    <a:pt x="2803017" y="8484"/>
                  </a:lnTo>
                  <a:lnTo>
                    <a:pt x="2803067" y="7836"/>
                  </a:lnTo>
                  <a:lnTo>
                    <a:pt x="2803118" y="7836"/>
                  </a:lnTo>
                  <a:lnTo>
                    <a:pt x="2803118" y="8484"/>
                  </a:lnTo>
                  <a:lnTo>
                    <a:pt x="2803220" y="8484"/>
                  </a:lnTo>
                  <a:lnTo>
                    <a:pt x="2803271" y="7836"/>
                  </a:lnTo>
                  <a:lnTo>
                    <a:pt x="2803321" y="7836"/>
                  </a:lnTo>
                  <a:lnTo>
                    <a:pt x="2803321" y="8484"/>
                  </a:lnTo>
                  <a:lnTo>
                    <a:pt x="2803664" y="8484"/>
                  </a:lnTo>
                  <a:lnTo>
                    <a:pt x="2803664" y="9182"/>
                  </a:lnTo>
                  <a:lnTo>
                    <a:pt x="2803715" y="8484"/>
                  </a:lnTo>
                  <a:lnTo>
                    <a:pt x="2803766" y="7836"/>
                  </a:lnTo>
                  <a:lnTo>
                    <a:pt x="2803918" y="7836"/>
                  </a:lnTo>
                  <a:lnTo>
                    <a:pt x="2803918" y="8484"/>
                  </a:lnTo>
                  <a:lnTo>
                    <a:pt x="2803969" y="7836"/>
                  </a:lnTo>
                  <a:lnTo>
                    <a:pt x="2804020" y="8484"/>
                  </a:lnTo>
                  <a:lnTo>
                    <a:pt x="2804020" y="7836"/>
                  </a:lnTo>
                  <a:lnTo>
                    <a:pt x="2804109" y="8484"/>
                  </a:lnTo>
                  <a:lnTo>
                    <a:pt x="2804210" y="8484"/>
                  </a:lnTo>
                  <a:lnTo>
                    <a:pt x="2804210" y="9182"/>
                  </a:lnTo>
                  <a:lnTo>
                    <a:pt x="2804261" y="8484"/>
                  </a:lnTo>
                  <a:lnTo>
                    <a:pt x="2804261" y="9182"/>
                  </a:lnTo>
                  <a:lnTo>
                    <a:pt x="2804363" y="8484"/>
                  </a:lnTo>
                  <a:lnTo>
                    <a:pt x="2804413" y="7836"/>
                  </a:lnTo>
                  <a:lnTo>
                    <a:pt x="2804464" y="7836"/>
                  </a:lnTo>
                  <a:lnTo>
                    <a:pt x="2804464" y="8484"/>
                  </a:lnTo>
                  <a:lnTo>
                    <a:pt x="2804655" y="8484"/>
                  </a:lnTo>
                  <a:lnTo>
                    <a:pt x="2804706" y="7836"/>
                  </a:lnTo>
                  <a:lnTo>
                    <a:pt x="2804807" y="7836"/>
                  </a:lnTo>
                  <a:lnTo>
                    <a:pt x="2804807" y="8484"/>
                  </a:lnTo>
                  <a:lnTo>
                    <a:pt x="2804909" y="8484"/>
                  </a:lnTo>
                  <a:lnTo>
                    <a:pt x="2804909" y="7836"/>
                  </a:lnTo>
                  <a:lnTo>
                    <a:pt x="2805010" y="8484"/>
                  </a:lnTo>
                  <a:lnTo>
                    <a:pt x="2805112" y="8484"/>
                  </a:lnTo>
                  <a:lnTo>
                    <a:pt x="2805112" y="7836"/>
                  </a:lnTo>
                  <a:lnTo>
                    <a:pt x="2805150" y="7836"/>
                  </a:lnTo>
                  <a:lnTo>
                    <a:pt x="2805150" y="8484"/>
                  </a:lnTo>
                  <a:lnTo>
                    <a:pt x="2805696" y="8484"/>
                  </a:lnTo>
                  <a:lnTo>
                    <a:pt x="2805696" y="7836"/>
                  </a:lnTo>
                  <a:lnTo>
                    <a:pt x="2805798" y="7836"/>
                  </a:lnTo>
                  <a:lnTo>
                    <a:pt x="2805798" y="8484"/>
                  </a:lnTo>
                  <a:lnTo>
                    <a:pt x="2806153" y="8484"/>
                  </a:lnTo>
                  <a:lnTo>
                    <a:pt x="2806153" y="7836"/>
                  </a:lnTo>
                  <a:lnTo>
                    <a:pt x="2806192" y="8484"/>
                  </a:lnTo>
                  <a:lnTo>
                    <a:pt x="2806598" y="8484"/>
                  </a:lnTo>
                  <a:lnTo>
                    <a:pt x="2806649" y="7836"/>
                  </a:lnTo>
                  <a:lnTo>
                    <a:pt x="2806839" y="7836"/>
                  </a:lnTo>
                  <a:lnTo>
                    <a:pt x="2806890" y="8484"/>
                  </a:lnTo>
                  <a:lnTo>
                    <a:pt x="2807195" y="8484"/>
                  </a:lnTo>
                  <a:lnTo>
                    <a:pt x="2807195" y="7836"/>
                  </a:lnTo>
                  <a:lnTo>
                    <a:pt x="2807284" y="7836"/>
                  </a:lnTo>
                  <a:lnTo>
                    <a:pt x="2807335" y="8484"/>
                  </a:lnTo>
                  <a:lnTo>
                    <a:pt x="2807538" y="8484"/>
                  </a:lnTo>
                  <a:lnTo>
                    <a:pt x="2807538" y="9182"/>
                  </a:lnTo>
                  <a:lnTo>
                    <a:pt x="2807588" y="8484"/>
                  </a:lnTo>
                  <a:lnTo>
                    <a:pt x="2807779" y="8484"/>
                  </a:lnTo>
                  <a:lnTo>
                    <a:pt x="2807830" y="7836"/>
                  </a:lnTo>
                  <a:lnTo>
                    <a:pt x="2807881" y="7836"/>
                  </a:lnTo>
                  <a:lnTo>
                    <a:pt x="2807881" y="8484"/>
                  </a:lnTo>
                  <a:lnTo>
                    <a:pt x="2807982" y="7836"/>
                  </a:lnTo>
                  <a:lnTo>
                    <a:pt x="2808084" y="7836"/>
                  </a:lnTo>
                  <a:lnTo>
                    <a:pt x="2808084" y="8484"/>
                  </a:lnTo>
                  <a:lnTo>
                    <a:pt x="2808236" y="8484"/>
                  </a:lnTo>
                  <a:lnTo>
                    <a:pt x="2808236" y="9182"/>
                  </a:lnTo>
                  <a:lnTo>
                    <a:pt x="2808287" y="9182"/>
                  </a:lnTo>
                  <a:lnTo>
                    <a:pt x="2808287" y="8484"/>
                  </a:lnTo>
                  <a:lnTo>
                    <a:pt x="2808427" y="8484"/>
                  </a:lnTo>
                  <a:lnTo>
                    <a:pt x="2808427" y="7836"/>
                  </a:lnTo>
                  <a:lnTo>
                    <a:pt x="2808731" y="7836"/>
                  </a:lnTo>
                  <a:lnTo>
                    <a:pt x="2808782" y="8484"/>
                  </a:lnTo>
                  <a:lnTo>
                    <a:pt x="2808973" y="8484"/>
                  </a:lnTo>
                  <a:lnTo>
                    <a:pt x="2809024" y="7836"/>
                  </a:lnTo>
                  <a:lnTo>
                    <a:pt x="2809125" y="7836"/>
                  </a:lnTo>
                  <a:lnTo>
                    <a:pt x="2809125" y="8484"/>
                  </a:lnTo>
                  <a:lnTo>
                    <a:pt x="2809417" y="8484"/>
                  </a:lnTo>
                  <a:lnTo>
                    <a:pt x="2809468" y="7836"/>
                  </a:lnTo>
                  <a:lnTo>
                    <a:pt x="2809570" y="8484"/>
                  </a:lnTo>
                  <a:lnTo>
                    <a:pt x="2810319" y="8484"/>
                  </a:lnTo>
                  <a:lnTo>
                    <a:pt x="2810370" y="9182"/>
                  </a:lnTo>
                  <a:lnTo>
                    <a:pt x="2810459" y="8484"/>
                  </a:lnTo>
                  <a:lnTo>
                    <a:pt x="2810459" y="9182"/>
                  </a:lnTo>
                  <a:lnTo>
                    <a:pt x="2810510" y="8484"/>
                  </a:lnTo>
                  <a:lnTo>
                    <a:pt x="2810560" y="9182"/>
                  </a:lnTo>
                  <a:lnTo>
                    <a:pt x="2810611" y="8484"/>
                  </a:lnTo>
                  <a:lnTo>
                    <a:pt x="2810713" y="7836"/>
                  </a:lnTo>
                  <a:lnTo>
                    <a:pt x="2810713" y="8484"/>
                  </a:lnTo>
                  <a:lnTo>
                    <a:pt x="2811360" y="8484"/>
                  </a:lnTo>
                  <a:lnTo>
                    <a:pt x="2811360" y="7836"/>
                  </a:lnTo>
                  <a:lnTo>
                    <a:pt x="2811462" y="7836"/>
                  </a:lnTo>
                  <a:lnTo>
                    <a:pt x="2811462" y="8484"/>
                  </a:lnTo>
                  <a:lnTo>
                    <a:pt x="2811500" y="8484"/>
                  </a:lnTo>
                  <a:lnTo>
                    <a:pt x="2811602" y="9182"/>
                  </a:lnTo>
                  <a:lnTo>
                    <a:pt x="2811602" y="8484"/>
                  </a:lnTo>
                  <a:lnTo>
                    <a:pt x="2811653" y="9182"/>
                  </a:lnTo>
                  <a:lnTo>
                    <a:pt x="2811653" y="8484"/>
                  </a:lnTo>
                  <a:lnTo>
                    <a:pt x="2811805" y="8484"/>
                  </a:lnTo>
                  <a:lnTo>
                    <a:pt x="2811805" y="7836"/>
                  </a:lnTo>
                  <a:lnTo>
                    <a:pt x="2811856" y="7836"/>
                  </a:lnTo>
                  <a:lnTo>
                    <a:pt x="2811906" y="8484"/>
                  </a:lnTo>
                  <a:lnTo>
                    <a:pt x="2812503" y="8484"/>
                  </a:lnTo>
                  <a:lnTo>
                    <a:pt x="2812542" y="7836"/>
                  </a:lnTo>
                  <a:lnTo>
                    <a:pt x="2812542" y="8484"/>
                  </a:lnTo>
                  <a:lnTo>
                    <a:pt x="2812999" y="8484"/>
                  </a:lnTo>
                  <a:lnTo>
                    <a:pt x="2813049" y="7836"/>
                  </a:lnTo>
                  <a:lnTo>
                    <a:pt x="2813088" y="8484"/>
                  </a:lnTo>
                  <a:lnTo>
                    <a:pt x="2813088" y="7836"/>
                  </a:lnTo>
                  <a:lnTo>
                    <a:pt x="2813189" y="8484"/>
                  </a:lnTo>
                  <a:lnTo>
                    <a:pt x="2813189" y="7836"/>
                  </a:lnTo>
                  <a:lnTo>
                    <a:pt x="2813240" y="7836"/>
                  </a:lnTo>
                  <a:lnTo>
                    <a:pt x="2813291" y="8484"/>
                  </a:lnTo>
                  <a:lnTo>
                    <a:pt x="2813443" y="8484"/>
                  </a:lnTo>
                  <a:lnTo>
                    <a:pt x="2813443" y="9182"/>
                  </a:lnTo>
                  <a:lnTo>
                    <a:pt x="2813494" y="8484"/>
                  </a:lnTo>
                  <a:lnTo>
                    <a:pt x="2813545" y="8484"/>
                  </a:lnTo>
                  <a:lnTo>
                    <a:pt x="2813634" y="7836"/>
                  </a:lnTo>
                  <a:lnTo>
                    <a:pt x="2813634" y="8484"/>
                  </a:lnTo>
                  <a:lnTo>
                    <a:pt x="2813685" y="8484"/>
                  </a:lnTo>
                  <a:lnTo>
                    <a:pt x="2813685" y="7836"/>
                  </a:lnTo>
                  <a:lnTo>
                    <a:pt x="2813735" y="8484"/>
                  </a:lnTo>
                  <a:lnTo>
                    <a:pt x="2813989" y="8484"/>
                  </a:lnTo>
                  <a:lnTo>
                    <a:pt x="2813989" y="7836"/>
                  </a:lnTo>
                  <a:lnTo>
                    <a:pt x="2814091" y="7836"/>
                  </a:lnTo>
                  <a:lnTo>
                    <a:pt x="2814091" y="8484"/>
                  </a:lnTo>
                  <a:lnTo>
                    <a:pt x="2814231" y="8484"/>
                  </a:lnTo>
                  <a:lnTo>
                    <a:pt x="2814231" y="7836"/>
                  </a:lnTo>
                  <a:lnTo>
                    <a:pt x="2814383" y="7836"/>
                  </a:lnTo>
                  <a:lnTo>
                    <a:pt x="2814383" y="8484"/>
                  </a:lnTo>
                  <a:lnTo>
                    <a:pt x="2814535" y="8484"/>
                  </a:lnTo>
                  <a:lnTo>
                    <a:pt x="2814535" y="7836"/>
                  </a:lnTo>
                  <a:lnTo>
                    <a:pt x="2814586" y="8484"/>
                  </a:lnTo>
                  <a:lnTo>
                    <a:pt x="2814828" y="8484"/>
                  </a:lnTo>
                  <a:lnTo>
                    <a:pt x="2814878" y="7836"/>
                  </a:lnTo>
                  <a:lnTo>
                    <a:pt x="2814878" y="8484"/>
                  </a:lnTo>
                  <a:lnTo>
                    <a:pt x="2814980" y="8484"/>
                  </a:lnTo>
                  <a:lnTo>
                    <a:pt x="2815031" y="9182"/>
                  </a:lnTo>
                  <a:lnTo>
                    <a:pt x="2815081" y="8484"/>
                  </a:lnTo>
                  <a:lnTo>
                    <a:pt x="2815920" y="8484"/>
                  </a:lnTo>
                  <a:lnTo>
                    <a:pt x="2815971" y="9182"/>
                  </a:lnTo>
                  <a:lnTo>
                    <a:pt x="2816021" y="8484"/>
                  </a:lnTo>
                  <a:lnTo>
                    <a:pt x="2816224" y="8484"/>
                  </a:lnTo>
                  <a:lnTo>
                    <a:pt x="2816263" y="9182"/>
                  </a:lnTo>
                  <a:lnTo>
                    <a:pt x="2816364" y="9182"/>
                  </a:lnTo>
                  <a:lnTo>
                    <a:pt x="2816415" y="8484"/>
                  </a:lnTo>
                  <a:lnTo>
                    <a:pt x="2816466" y="8484"/>
                  </a:lnTo>
                  <a:lnTo>
                    <a:pt x="2816567" y="9182"/>
                  </a:lnTo>
                  <a:lnTo>
                    <a:pt x="2816618" y="8484"/>
                  </a:lnTo>
                  <a:lnTo>
                    <a:pt x="2816720" y="8484"/>
                  </a:lnTo>
                  <a:lnTo>
                    <a:pt x="2816809" y="9182"/>
                  </a:lnTo>
                  <a:lnTo>
                    <a:pt x="2816910" y="9182"/>
                  </a:lnTo>
                  <a:lnTo>
                    <a:pt x="2816910" y="8484"/>
                  </a:lnTo>
                  <a:lnTo>
                    <a:pt x="2816961" y="8484"/>
                  </a:lnTo>
                  <a:lnTo>
                    <a:pt x="2817063" y="9182"/>
                  </a:lnTo>
                  <a:lnTo>
                    <a:pt x="2817063" y="8484"/>
                  </a:lnTo>
                  <a:lnTo>
                    <a:pt x="2817164" y="8484"/>
                  </a:lnTo>
                  <a:lnTo>
                    <a:pt x="2817266" y="9182"/>
                  </a:lnTo>
                  <a:lnTo>
                    <a:pt x="2817355" y="9182"/>
                  </a:lnTo>
                  <a:lnTo>
                    <a:pt x="2817355" y="8484"/>
                  </a:lnTo>
                  <a:lnTo>
                    <a:pt x="2817406" y="8484"/>
                  </a:lnTo>
                  <a:lnTo>
                    <a:pt x="2817406" y="9182"/>
                  </a:lnTo>
                  <a:lnTo>
                    <a:pt x="2817507" y="8484"/>
                  </a:lnTo>
                  <a:lnTo>
                    <a:pt x="2817850" y="8484"/>
                  </a:lnTo>
                  <a:lnTo>
                    <a:pt x="2817850" y="9182"/>
                  </a:lnTo>
                  <a:lnTo>
                    <a:pt x="2818053" y="9182"/>
                  </a:lnTo>
                  <a:lnTo>
                    <a:pt x="2818155" y="8484"/>
                  </a:lnTo>
                  <a:lnTo>
                    <a:pt x="2818206" y="8484"/>
                  </a:lnTo>
                  <a:lnTo>
                    <a:pt x="2818206" y="9182"/>
                  </a:lnTo>
                  <a:lnTo>
                    <a:pt x="2818307" y="9182"/>
                  </a:lnTo>
                  <a:lnTo>
                    <a:pt x="2818396" y="8484"/>
                  </a:lnTo>
                  <a:lnTo>
                    <a:pt x="2818498" y="8484"/>
                  </a:lnTo>
                  <a:lnTo>
                    <a:pt x="2818549" y="9182"/>
                  </a:lnTo>
                  <a:lnTo>
                    <a:pt x="2818650" y="8484"/>
                  </a:lnTo>
                  <a:lnTo>
                    <a:pt x="2818853" y="8484"/>
                  </a:lnTo>
                  <a:lnTo>
                    <a:pt x="2818853" y="9182"/>
                  </a:lnTo>
                  <a:lnTo>
                    <a:pt x="2818993" y="9182"/>
                  </a:lnTo>
                  <a:lnTo>
                    <a:pt x="2819095" y="8484"/>
                  </a:lnTo>
                  <a:lnTo>
                    <a:pt x="2819196" y="8484"/>
                  </a:lnTo>
                  <a:lnTo>
                    <a:pt x="2819196" y="9182"/>
                  </a:lnTo>
                  <a:lnTo>
                    <a:pt x="2819298" y="8484"/>
                  </a:lnTo>
                  <a:lnTo>
                    <a:pt x="2819349" y="8484"/>
                  </a:lnTo>
                  <a:lnTo>
                    <a:pt x="2819349" y="9182"/>
                  </a:lnTo>
                  <a:lnTo>
                    <a:pt x="2819399" y="8484"/>
                  </a:lnTo>
                  <a:lnTo>
                    <a:pt x="2819539" y="8484"/>
                  </a:lnTo>
                  <a:lnTo>
                    <a:pt x="2819539" y="9182"/>
                  </a:lnTo>
                  <a:lnTo>
                    <a:pt x="2819590" y="8484"/>
                  </a:lnTo>
                  <a:lnTo>
                    <a:pt x="2819844" y="8484"/>
                  </a:lnTo>
                  <a:lnTo>
                    <a:pt x="2819895" y="9182"/>
                  </a:lnTo>
                  <a:lnTo>
                    <a:pt x="2819984" y="9182"/>
                  </a:lnTo>
                  <a:lnTo>
                    <a:pt x="2819984" y="8484"/>
                  </a:lnTo>
                  <a:lnTo>
                    <a:pt x="2820035" y="9182"/>
                  </a:lnTo>
                  <a:lnTo>
                    <a:pt x="2820035" y="8484"/>
                  </a:lnTo>
                  <a:lnTo>
                    <a:pt x="2820136" y="8484"/>
                  </a:lnTo>
                  <a:lnTo>
                    <a:pt x="2820238" y="9182"/>
                  </a:lnTo>
                  <a:lnTo>
                    <a:pt x="2820339" y="9182"/>
                  </a:lnTo>
                  <a:lnTo>
                    <a:pt x="2820339" y="8484"/>
                  </a:lnTo>
                  <a:lnTo>
                    <a:pt x="2820441" y="9182"/>
                  </a:lnTo>
                  <a:lnTo>
                    <a:pt x="2820441" y="8484"/>
                  </a:lnTo>
                  <a:lnTo>
                    <a:pt x="2820530" y="8484"/>
                  </a:lnTo>
                  <a:lnTo>
                    <a:pt x="2820581" y="9182"/>
                  </a:lnTo>
                  <a:lnTo>
                    <a:pt x="2820733" y="9182"/>
                  </a:lnTo>
                  <a:lnTo>
                    <a:pt x="2820733" y="8484"/>
                  </a:lnTo>
                  <a:lnTo>
                    <a:pt x="2820885" y="8484"/>
                  </a:lnTo>
                  <a:lnTo>
                    <a:pt x="2820936" y="9182"/>
                  </a:lnTo>
                  <a:lnTo>
                    <a:pt x="2820936" y="8484"/>
                  </a:lnTo>
                  <a:lnTo>
                    <a:pt x="2820987" y="8484"/>
                  </a:lnTo>
                  <a:lnTo>
                    <a:pt x="2820987" y="9182"/>
                  </a:lnTo>
                  <a:lnTo>
                    <a:pt x="2821025" y="8484"/>
                  </a:lnTo>
                  <a:lnTo>
                    <a:pt x="2821025" y="9182"/>
                  </a:lnTo>
                  <a:lnTo>
                    <a:pt x="2821127" y="8484"/>
                  </a:lnTo>
                  <a:lnTo>
                    <a:pt x="2821228" y="8484"/>
                  </a:lnTo>
                  <a:lnTo>
                    <a:pt x="2821228" y="9182"/>
                  </a:lnTo>
                  <a:lnTo>
                    <a:pt x="2821330" y="8484"/>
                  </a:lnTo>
                  <a:lnTo>
                    <a:pt x="2821876" y="8484"/>
                  </a:lnTo>
                  <a:lnTo>
                    <a:pt x="2821876" y="9182"/>
                  </a:lnTo>
                  <a:lnTo>
                    <a:pt x="2822117" y="9182"/>
                  </a:lnTo>
                  <a:lnTo>
                    <a:pt x="2822117" y="8484"/>
                  </a:lnTo>
                  <a:lnTo>
                    <a:pt x="2822371" y="8484"/>
                  </a:lnTo>
                  <a:lnTo>
                    <a:pt x="2822473" y="9182"/>
                  </a:lnTo>
                  <a:lnTo>
                    <a:pt x="2822524" y="8484"/>
                  </a:lnTo>
                  <a:lnTo>
                    <a:pt x="2822765" y="8484"/>
                  </a:lnTo>
                  <a:lnTo>
                    <a:pt x="2822816" y="9182"/>
                  </a:lnTo>
                  <a:lnTo>
                    <a:pt x="2822816" y="8484"/>
                  </a:lnTo>
                  <a:lnTo>
                    <a:pt x="2822968" y="8484"/>
                  </a:lnTo>
                  <a:lnTo>
                    <a:pt x="2823019" y="9182"/>
                  </a:lnTo>
                  <a:lnTo>
                    <a:pt x="2823070" y="10414"/>
                  </a:lnTo>
                  <a:lnTo>
                    <a:pt x="2823159" y="9182"/>
                  </a:lnTo>
                  <a:lnTo>
                    <a:pt x="2823159" y="8484"/>
                  </a:lnTo>
                  <a:lnTo>
                    <a:pt x="2823413" y="8484"/>
                  </a:lnTo>
                  <a:lnTo>
                    <a:pt x="2823413" y="9182"/>
                  </a:lnTo>
                  <a:lnTo>
                    <a:pt x="2823463" y="9182"/>
                  </a:lnTo>
                  <a:lnTo>
                    <a:pt x="2823463" y="8484"/>
                  </a:lnTo>
                  <a:lnTo>
                    <a:pt x="2823514" y="9182"/>
                  </a:lnTo>
                  <a:lnTo>
                    <a:pt x="2823654" y="9182"/>
                  </a:lnTo>
                  <a:lnTo>
                    <a:pt x="2823654" y="8484"/>
                  </a:lnTo>
                  <a:lnTo>
                    <a:pt x="2823959" y="8484"/>
                  </a:lnTo>
                  <a:lnTo>
                    <a:pt x="2823959" y="9182"/>
                  </a:lnTo>
                  <a:lnTo>
                    <a:pt x="2824111" y="9182"/>
                  </a:lnTo>
                  <a:lnTo>
                    <a:pt x="2824111" y="8484"/>
                  </a:lnTo>
                  <a:lnTo>
                    <a:pt x="2824353" y="8484"/>
                  </a:lnTo>
                  <a:lnTo>
                    <a:pt x="2824353" y="9182"/>
                  </a:lnTo>
                  <a:lnTo>
                    <a:pt x="2824403" y="9182"/>
                  </a:lnTo>
                  <a:lnTo>
                    <a:pt x="2824403" y="8484"/>
                  </a:lnTo>
                  <a:lnTo>
                    <a:pt x="2824556" y="8484"/>
                  </a:lnTo>
                  <a:lnTo>
                    <a:pt x="2824556" y="9182"/>
                  </a:lnTo>
                  <a:lnTo>
                    <a:pt x="2824848" y="9182"/>
                  </a:lnTo>
                  <a:lnTo>
                    <a:pt x="2824848" y="8484"/>
                  </a:lnTo>
                  <a:lnTo>
                    <a:pt x="2824899" y="9182"/>
                  </a:lnTo>
                  <a:lnTo>
                    <a:pt x="2824899" y="8484"/>
                  </a:lnTo>
                  <a:lnTo>
                    <a:pt x="2825051" y="8484"/>
                  </a:lnTo>
                  <a:lnTo>
                    <a:pt x="2825102" y="9182"/>
                  </a:lnTo>
                  <a:lnTo>
                    <a:pt x="2825343" y="9182"/>
                  </a:lnTo>
                  <a:lnTo>
                    <a:pt x="2825445" y="8484"/>
                  </a:lnTo>
                  <a:lnTo>
                    <a:pt x="2825496" y="9182"/>
                  </a:lnTo>
                  <a:lnTo>
                    <a:pt x="2825546" y="8484"/>
                  </a:lnTo>
                  <a:lnTo>
                    <a:pt x="2825648" y="8484"/>
                  </a:lnTo>
                  <a:lnTo>
                    <a:pt x="2825699" y="9182"/>
                  </a:lnTo>
                  <a:lnTo>
                    <a:pt x="2825749" y="9182"/>
                  </a:lnTo>
                  <a:lnTo>
                    <a:pt x="2825788" y="8484"/>
                  </a:lnTo>
                  <a:lnTo>
                    <a:pt x="2825788" y="9182"/>
                  </a:lnTo>
                  <a:lnTo>
                    <a:pt x="2825940" y="9182"/>
                  </a:lnTo>
                  <a:lnTo>
                    <a:pt x="2825991" y="8484"/>
                  </a:lnTo>
                  <a:lnTo>
                    <a:pt x="2826092" y="8484"/>
                  </a:lnTo>
                  <a:lnTo>
                    <a:pt x="2826092" y="9182"/>
                  </a:lnTo>
                  <a:lnTo>
                    <a:pt x="2826194" y="9182"/>
                  </a:lnTo>
                  <a:lnTo>
                    <a:pt x="2826194" y="8484"/>
                  </a:lnTo>
                  <a:lnTo>
                    <a:pt x="2826385" y="8484"/>
                  </a:lnTo>
                  <a:lnTo>
                    <a:pt x="2826385" y="9182"/>
                  </a:lnTo>
                  <a:lnTo>
                    <a:pt x="2826689" y="9182"/>
                  </a:lnTo>
                  <a:lnTo>
                    <a:pt x="2826689" y="8484"/>
                  </a:lnTo>
                  <a:lnTo>
                    <a:pt x="2826880" y="8484"/>
                  </a:lnTo>
                  <a:lnTo>
                    <a:pt x="2826931" y="9182"/>
                  </a:lnTo>
                  <a:lnTo>
                    <a:pt x="2827032" y="9182"/>
                  </a:lnTo>
                  <a:lnTo>
                    <a:pt x="2827032" y="8484"/>
                  </a:lnTo>
                  <a:lnTo>
                    <a:pt x="2827134" y="8484"/>
                  </a:lnTo>
                  <a:lnTo>
                    <a:pt x="2827134" y="9182"/>
                  </a:lnTo>
                  <a:lnTo>
                    <a:pt x="2827337" y="9182"/>
                  </a:lnTo>
                  <a:lnTo>
                    <a:pt x="2827375" y="8484"/>
                  </a:lnTo>
                  <a:lnTo>
                    <a:pt x="2827578" y="8484"/>
                  </a:lnTo>
                  <a:lnTo>
                    <a:pt x="2827578" y="9182"/>
                  </a:lnTo>
                  <a:lnTo>
                    <a:pt x="2827731" y="9182"/>
                  </a:lnTo>
                  <a:lnTo>
                    <a:pt x="2827781" y="8484"/>
                  </a:lnTo>
                  <a:lnTo>
                    <a:pt x="2827832" y="8484"/>
                  </a:lnTo>
                  <a:lnTo>
                    <a:pt x="2827832" y="7836"/>
                  </a:lnTo>
                  <a:lnTo>
                    <a:pt x="2827921" y="7836"/>
                  </a:lnTo>
                  <a:lnTo>
                    <a:pt x="2827921" y="8484"/>
                  </a:lnTo>
                  <a:lnTo>
                    <a:pt x="2827972" y="9182"/>
                  </a:lnTo>
                  <a:lnTo>
                    <a:pt x="2828277" y="9182"/>
                  </a:lnTo>
                  <a:lnTo>
                    <a:pt x="2828378" y="8484"/>
                  </a:lnTo>
                  <a:lnTo>
                    <a:pt x="2828378" y="9182"/>
                  </a:lnTo>
                  <a:lnTo>
                    <a:pt x="2828417" y="8484"/>
                  </a:lnTo>
                  <a:lnTo>
                    <a:pt x="2828467" y="8484"/>
                  </a:lnTo>
                  <a:lnTo>
                    <a:pt x="2828467" y="9182"/>
                  </a:lnTo>
                  <a:lnTo>
                    <a:pt x="2828518" y="9182"/>
                  </a:lnTo>
                  <a:lnTo>
                    <a:pt x="2828518" y="8484"/>
                  </a:lnTo>
                  <a:lnTo>
                    <a:pt x="2828620" y="9182"/>
                  </a:lnTo>
                  <a:lnTo>
                    <a:pt x="2828823" y="9182"/>
                  </a:lnTo>
                  <a:lnTo>
                    <a:pt x="2828823" y="8484"/>
                  </a:lnTo>
                  <a:lnTo>
                    <a:pt x="2828963" y="8484"/>
                  </a:lnTo>
                  <a:lnTo>
                    <a:pt x="2829064" y="9182"/>
                  </a:lnTo>
                  <a:lnTo>
                    <a:pt x="2829166" y="9182"/>
                  </a:lnTo>
                  <a:lnTo>
                    <a:pt x="2829267" y="8484"/>
                  </a:lnTo>
                  <a:lnTo>
                    <a:pt x="2829318" y="8484"/>
                  </a:lnTo>
                  <a:lnTo>
                    <a:pt x="2829369" y="9182"/>
                  </a:lnTo>
                  <a:lnTo>
                    <a:pt x="2829420" y="9182"/>
                  </a:lnTo>
                  <a:lnTo>
                    <a:pt x="2829509" y="8484"/>
                  </a:lnTo>
                  <a:lnTo>
                    <a:pt x="2829610" y="8484"/>
                  </a:lnTo>
                  <a:lnTo>
                    <a:pt x="2829661" y="9182"/>
                  </a:lnTo>
                  <a:lnTo>
                    <a:pt x="2829763" y="8484"/>
                  </a:lnTo>
                  <a:lnTo>
                    <a:pt x="2829813" y="8484"/>
                  </a:lnTo>
                  <a:lnTo>
                    <a:pt x="2829864" y="9182"/>
                  </a:lnTo>
                  <a:lnTo>
                    <a:pt x="2829864" y="8484"/>
                  </a:lnTo>
                  <a:lnTo>
                    <a:pt x="2830207" y="8484"/>
                  </a:lnTo>
                  <a:lnTo>
                    <a:pt x="2830207" y="9182"/>
                  </a:lnTo>
                  <a:lnTo>
                    <a:pt x="2830410" y="9182"/>
                  </a:lnTo>
                  <a:lnTo>
                    <a:pt x="2830410" y="8484"/>
                  </a:lnTo>
                  <a:lnTo>
                    <a:pt x="2830461" y="9182"/>
                  </a:lnTo>
                  <a:lnTo>
                    <a:pt x="2830703" y="9182"/>
                  </a:lnTo>
                  <a:lnTo>
                    <a:pt x="2830753" y="8484"/>
                  </a:lnTo>
                  <a:lnTo>
                    <a:pt x="2830855" y="9182"/>
                  </a:lnTo>
                  <a:lnTo>
                    <a:pt x="2831096" y="9182"/>
                  </a:lnTo>
                  <a:lnTo>
                    <a:pt x="2831096" y="8484"/>
                  </a:lnTo>
                  <a:lnTo>
                    <a:pt x="2831249" y="8484"/>
                  </a:lnTo>
                  <a:lnTo>
                    <a:pt x="2831350" y="9182"/>
                  </a:lnTo>
                  <a:lnTo>
                    <a:pt x="2831401" y="9182"/>
                  </a:lnTo>
                  <a:lnTo>
                    <a:pt x="2831452" y="8484"/>
                  </a:lnTo>
                  <a:lnTo>
                    <a:pt x="2831553" y="8484"/>
                  </a:lnTo>
                  <a:lnTo>
                    <a:pt x="2831553" y="9182"/>
                  </a:lnTo>
                  <a:lnTo>
                    <a:pt x="2831592" y="8484"/>
                  </a:lnTo>
                  <a:lnTo>
                    <a:pt x="2831592" y="9182"/>
                  </a:lnTo>
                  <a:lnTo>
                    <a:pt x="2831693" y="9182"/>
                  </a:lnTo>
                  <a:lnTo>
                    <a:pt x="2831693" y="8484"/>
                  </a:lnTo>
                  <a:lnTo>
                    <a:pt x="2831795" y="9182"/>
                  </a:lnTo>
                  <a:lnTo>
                    <a:pt x="2831846" y="9182"/>
                  </a:lnTo>
                  <a:lnTo>
                    <a:pt x="2831846" y="8484"/>
                  </a:lnTo>
                  <a:lnTo>
                    <a:pt x="2831896" y="9182"/>
                  </a:lnTo>
                  <a:lnTo>
                    <a:pt x="2831896" y="8484"/>
                  </a:lnTo>
                  <a:lnTo>
                    <a:pt x="2831998" y="8484"/>
                  </a:lnTo>
                  <a:lnTo>
                    <a:pt x="2831998" y="9182"/>
                  </a:lnTo>
                  <a:lnTo>
                    <a:pt x="2832099" y="9182"/>
                  </a:lnTo>
                  <a:lnTo>
                    <a:pt x="2832099" y="8484"/>
                  </a:lnTo>
                  <a:lnTo>
                    <a:pt x="2832290" y="8484"/>
                  </a:lnTo>
                  <a:lnTo>
                    <a:pt x="2832341" y="9182"/>
                  </a:lnTo>
                  <a:lnTo>
                    <a:pt x="2832493" y="9182"/>
                  </a:lnTo>
                  <a:lnTo>
                    <a:pt x="2832493" y="8484"/>
                  </a:lnTo>
                  <a:lnTo>
                    <a:pt x="2832684" y="8484"/>
                  </a:lnTo>
                  <a:lnTo>
                    <a:pt x="2832735" y="9182"/>
                  </a:lnTo>
                  <a:lnTo>
                    <a:pt x="2832785" y="9182"/>
                  </a:lnTo>
                  <a:lnTo>
                    <a:pt x="2832836" y="8484"/>
                  </a:lnTo>
                  <a:lnTo>
                    <a:pt x="2833141" y="8484"/>
                  </a:lnTo>
                  <a:lnTo>
                    <a:pt x="2833179" y="9182"/>
                  </a:lnTo>
                  <a:lnTo>
                    <a:pt x="2833230" y="9182"/>
                  </a:lnTo>
                  <a:lnTo>
                    <a:pt x="2833281" y="10414"/>
                  </a:lnTo>
                  <a:lnTo>
                    <a:pt x="2833382" y="10414"/>
                  </a:lnTo>
                  <a:lnTo>
                    <a:pt x="2833433" y="9182"/>
                  </a:lnTo>
                  <a:lnTo>
                    <a:pt x="2833687" y="9182"/>
                  </a:lnTo>
                  <a:lnTo>
                    <a:pt x="2833725" y="8484"/>
                  </a:lnTo>
                  <a:lnTo>
                    <a:pt x="2834373" y="8484"/>
                  </a:lnTo>
                  <a:lnTo>
                    <a:pt x="2834424" y="9182"/>
                  </a:lnTo>
                  <a:lnTo>
                    <a:pt x="2834424" y="8484"/>
                  </a:lnTo>
                  <a:lnTo>
                    <a:pt x="2834576" y="8484"/>
                  </a:lnTo>
                  <a:lnTo>
                    <a:pt x="2834576" y="7836"/>
                  </a:lnTo>
                  <a:lnTo>
                    <a:pt x="2834627" y="8484"/>
                  </a:lnTo>
                  <a:lnTo>
                    <a:pt x="2834817" y="8484"/>
                  </a:lnTo>
                  <a:lnTo>
                    <a:pt x="2834868" y="9182"/>
                  </a:lnTo>
                  <a:lnTo>
                    <a:pt x="2834970" y="8484"/>
                  </a:lnTo>
                  <a:lnTo>
                    <a:pt x="2835021" y="8484"/>
                  </a:lnTo>
                  <a:lnTo>
                    <a:pt x="2835071" y="9182"/>
                  </a:lnTo>
                  <a:lnTo>
                    <a:pt x="2835274" y="9182"/>
                  </a:lnTo>
                  <a:lnTo>
                    <a:pt x="2835274" y="8484"/>
                  </a:lnTo>
                  <a:lnTo>
                    <a:pt x="2835516" y="8484"/>
                  </a:lnTo>
                  <a:lnTo>
                    <a:pt x="2835516" y="9182"/>
                  </a:lnTo>
                  <a:lnTo>
                    <a:pt x="2835617" y="8484"/>
                  </a:lnTo>
                  <a:lnTo>
                    <a:pt x="2835617" y="9182"/>
                  </a:lnTo>
                  <a:lnTo>
                    <a:pt x="2835668" y="9182"/>
                  </a:lnTo>
                  <a:lnTo>
                    <a:pt x="2835668" y="8484"/>
                  </a:lnTo>
                  <a:lnTo>
                    <a:pt x="2835719" y="9182"/>
                  </a:lnTo>
                  <a:lnTo>
                    <a:pt x="2835770" y="8484"/>
                  </a:lnTo>
                  <a:lnTo>
                    <a:pt x="2835859" y="8484"/>
                  </a:lnTo>
                  <a:lnTo>
                    <a:pt x="2835910" y="9182"/>
                  </a:lnTo>
                  <a:lnTo>
                    <a:pt x="2836163" y="9182"/>
                  </a:lnTo>
                  <a:lnTo>
                    <a:pt x="2836214" y="8484"/>
                  </a:lnTo>
                  <a:lnTo>
                    <a:pt x="2836214" y="9182"/>
                  </a:lnTo>
                  <a:lnTo>
                    <a:pt x="2836405" y="9182"/>
                  </a:lnTo>
                  <a:lnTo>
                    <a:pt x="2836456" y="8484"/>
                  </a:lnTo>
                  <a:lnTo>
                    <a:pt x="2836557" y="9182"/>
                  </a:lnTo>
                  <a:lnTo>
                    <a:pt x="2836811" y="9182"/>
                  </a:lnTo>
                  <a:lnTo>
                    <a:pt x="2836862" y="8484"/>
                  </a:lnTo>
                  <a:lnTo>
                    <a:pt x="2836900" y="9182"/>
                  </a:lnTo>
                  <a:lnTo>
                    <a:pt x="2837002" y="8484"/>
                  </a:lnTo>
                  <a:lnTo>
                    <a:pt x="2837306" y="8484"/>
                  </a:lnTo>
                  <a:lnTo>
                    <a:pt x="2837306" y="9182"/>
                  </a:lnTo>
                  <a:lnTo>
                    <a:pt x="2837446" y="9182"/>
                  </a:lnTo>
                  <a:lnTo>
                    <a:pt x="2837497" y="8484"/>
                  </a:lnTo>
                  <a:lnTo>
                    <a:pt x="2837548" y="9182"/>
                  </a:lnTo>
                  <a:lnTo>
                    <a:pt x="2837599" y="9182"/>
                  </a:lnTo>
                  <a:lnTo>
                    <a:pt x="2837700" y="8484"/>
                  </a:lnTo>
                  <a:lnTo>
                    <a:pt x="2837903" y="8484"/>
                  </a:lnTo>
                  <a:lnTo>
                    <a:pt x="2837942" y="9182"/>
                  </a:lnTo>
                  <a:lnTo>
                    <a:pt x="2837992" y="8484"/>
                  </a:lnTo>
                  <a:lnTo>
                    <a:pt x="2837992" y="9182"/>
                  </a:lnTo>
                  <a:lnTo>
                    <a:pt x="2838043" y="8484"/>
                  </a:lnTo>
                  <a:lnTo>
                    <a:pt x="2838145" y="9182"/>
                  </a:lnTo>
                  <a:lnTo>
                    <a:pt x="2838196" y="8484"/>
                  </a:lnTo>
                  <a:lnTo>
                    <a:pt x="2838246" y="9182"/>
                  </a:lnTo>
                  <a:lnTo>
                    <a:pt x="2838246" y="8484"/>
                  </a:lnTo>
                  <a:lnTo>
                    <a:pt x="2838399" y="8484"/>
                  </a:lnTo>
                  <a:lnTo>
                    <a:pt x="2838449" y="9182"/>
                  </a:lnTo>
                  <a:lnTo>
                    <a:pt x="2838488" y="9182"/>
                  </a:lnTo>
                  <a:lnTo>
                    <a:pt x="2838488" y="8484"/>
                  </a:lnTo>
                  <a:lnTo>
                    <a:pt x="2838589" y="8484"/>
                  </a:lnTo>
                  <a:lnTo>
                    <a:pt x="2838589" y="9182"/>
                  </a:lnTo>
                  <a:lnTo>
                    <a:pt x="2838792" y="9182"/>
                  </a:lnTo>
                  <a:lnTo>
                    <a:pt x="2838843" y="8484"/>
                  </a:lnTo>
                  <a:lnTo>
                    <a:pt x="2838894" y="8484"/>
                  </a:lnTo>
                  <a:lnTo>
                    <a:pt x="2838945" y="9182"/>
                  </a:lnTo>
                  <a:lnTo>
                    <a:pt x="2839135" y="9182"/>
                  </a:lnTo>
                  <a:lnTo>
                    <a:pt x="2839186" y="8484"/>
                  </a:lnTo>
                  <a:lnTo>
                    <a:pt x="2839389" y="8484"/>
                  </a:lnTo>
                  <a:lnTo>
                    <a:pt x="2839491" y="9182"/>
                  </a:lnTo>
                  <a:lnTo>
                    <a:pt x="2839580" y="9182"/>
                  </a:lnTo>
                  <a:lnTo>
                    <a:pt x="2839580" y="8484"/>
                  </a:lnTo>
                  <a:lnTo>
                    <a:pt x="2840075" y="8484"/>
                  </a:lnTo>
                  <a:lnTo>
                    <a:pt x="2840075" y="9182"/>
                  </a:lnTo>
                  <a:lnTo>
                    <a:pt x="2840177" y="9182"/>
                  </a:lnTo>
                  <a:lnTo>
                    <a:pt x="2840177" y="8484"/>
                  </a:lnTo>
                  <a:lnTo>
                    <a:pt x="2840278" y="8484"/>
                  </a:lnTo>
                  <a:lnTo>
                    <a:pt x="2840380" y="9182"/>
                  </a:lnTo>
                  <a:lnTo>
                    <a:pt x="2840481" y="9182"/>
                  </a:lnTo>
                  <a:lnTo>
                    <a:pt x="2840532" y="8484"/>
                  </a:lnTo>
                  <a:lnTo>
                    <a:pt x="2840723" y="8484"/>
                  </a:lnTo>
                  <a:lnTo>
                    <a:pt x="2840723" y="9182"/>
                  </a:lnTo>
                  <a:lnTo>
                    <a:pt x="2840875" y="9182"/>
                  </a:lnTo>
                  <a:lnTo>
                    <a:pt x="2840926" y="8484"/>
                  </a:lnTo>
                  <a:lnTo>
                    <a:pt x="2841218" y="8484"/>
                  </a:lnTo>
                  <a:lnTo>
                    <a:pt x="2841218" y="9182"/>
                  </a:lnTo>
                  <a:lnTo>
                    <a:pt x="2841320" y="9182"/>
                  </a:lnTo>
                  <a:lnTo>
                    <a:pt x="2841371" y="8484"/>
                  </a:lnTo>
                  <a:lnTo>
                    <a:pt x="2841371" y="9182"/>
                  </a:lnTo>
                  <a:lnTo>
                    <a:pt x="2841421" y="9182"/>
                  </a:lnTo>
                  <a:lnTo>
                    <a:pt x="2841421" y="8484"/>
                  </a:lnTo>
                  <a:lnTo>
                    <a:pt x="2841523" y="9182"/>
                  </a:lnTo>
                  <a:lnTo>
                    <a:pt x="2841574" y="8484"/>
                  </a:lnTo>
                  <a:lnTo>
                    <a:pt x="2841624" y="9182"/>
                  </a:lnTo>
                  <a:lnTo>
                    <a:pt x="2841663" y="8484"/>
                  </a:lnTo>
                  <a:lnTo>
                    <a:pt x="2841764" y="9182"/>
                  </a:lnTo>
                  <a:lnTo>
                    <a:pt x="2842069" y="9182"/>
                  </a:lnTo>
                  <a:lnTo>
                    <a:pt x="2842120" y="8484"/>
                  </a:lnTo>
                  <a:lnTo>
                    <a:pt x="2842209" y="8484"/>
                  </a:lnTo>
                  <a:lnTo>
                    <a:pt x="2842260" y="9182"/>
                  </a:lnTo>
                  <a:lnTo>
                    <a:pt x="2842513" y="9182"/>
                  </a:lnTo>
                  <a:lnTo>
                    <a:pt x="2842564" y="8484"/>
                  </a:lnTo>
                  <a:lnTo>
                    <a:pt x="2842564" y="9182"/>
                  </a:lnTo>
                  <a:lnTo>
                    <a:pt x="2842666" y="9182"/>
                  </a:lnTo>
                  <a:lnTo>
                    <a:pt x="2842666" y="8484"/>
                  </a:lnTo>
                  <a:lnTo>
                    <a:pt x="2842806" y="8484"/>
                  </a:lnTo>
                  <a:lnTo>
                    <a:pt x="2842907" y="9182"/>
                  </a:lnTo>
                  <a:lnTo>
                    <a:pt x="2843110" y="9182"/>
                  </a:lnTo>
                  <a:lnTo>
                    <a:pt x="2843110" y="8484"/>
                  </a:lnTo>
                  <a:lnTo>
                    <a:pt x="2843161" y="9182"/>
                  </a:lnTo>
                  <a:lnTo>
                    <a:pt x="2843212" y="8484"/>
                  </a:lnTo>
                  <a:lnTo>
                    <a:pt x="2843212" y="9182"/>
                  </a:lnTo>
                  <a:lnTo>
                    <a:pt x="2843352" y="9182"/>
                  </a:lnTo>
                  <a:lnTo>
                    <a:pt x="2843403" y="8484"/>
                  </a:lnTo>
                  <a:lnTo>
                    <a:pt x="2843403" y="9182"/>
                  </a:lnTo>
                  <a:lnTo>
                    <a:pt x="2843707" y="9182"/>
                  </a:lnTo>
                  <a:lnTo>
                    <a:pt x="2843796" y="8484"/>
                  </a:lnTo>
                  <a:lnTo>
                    <a:pt x="2843796" y="9182"/>
                  </a:lnTo>
                  <a:lnTo>
                    <a:pt x="2843847" y="8484"/>
                  </a:lnTo>
                  <a:lnTo>
                    <a:pt x="2843847" y="9182"/>
                  </a:lnTo>
                  <a:lnTo>
                    <a:pt x="2844596" y="9182"/>
                  </a:lnTo>
                  <a:lnTo>
                    <a:pt x="2844698" y="10414"/>
                  </a:lnTo>
                  <a:lnTo>
                    <a:pt x="2844698" y="9182"/>
                  </a:lnTo>
                  <a:lnTo>
                    <a:pt x="2844838" y="9182"/>
                  </a:lnTo>
                  <a:lnTo>
                    <a:pt x="2844939" y="8484"/>
                  </a:lnTo>
                  <a:lnTo>
                    <a:pt x="2845193" y="8484"/>
                  </a:lnTo>
                  <a:lnTo>
                    <a:pt x="2845244" y="9182"/>
                  </a:lnTo>
                  <a:lnTo>
                    <a:pt x="2845295" y="8484"/>
                  </a:lnTo>
                  <a:lnTo>
                    <a:pt x="2845295" y="9182"/>
                  </a:lnTo>
                  <a:lnTo>
                    <a:pt x="2845384" y="9182"/>
                  </a:lnTo>
                  <a:lnTo>
                    <a:pt x="2845384" y="8484"/>
                  </a:lnTo>
                  <a:lnTo>
                    <a:pt x="2845638" y="8484"/>
                  </a:lnTo>
                  <a:lnTo>
                    <a:pt x="2845688" y="9182"/>
                  </a:lnTo>
                  <a:lnTo>
                    <a:pt x="2845841" y="9182"/>
                  </a:lnTo>
                  <a:lnTo>
                    <a:pt x="2845879" y="8484"/>
                  </a:lnTo>
                  <a:lnTo>
                    <a:pt x="2846133" y="8484"/>
                  </a:lnTo>
                  <a:lnTo>
                    <a:pt x="2846133" y="9182"/>
                  </a:lnTo>
                  <a:lnTo>
                    <a:pt x="2846184" y="8484"/>
                  </a:lnTo>
                  <a:lnTo>
                    <a:pt x="2846285" y="8484"/>
                  </a:lnTo>
                  <a:lnTo>
                    <a:pt x="2846336" y="9182"/>
                  </a:lnTo>
                  <a:lnTo>
                    <a:pt x="2846781" y="9182"/>
                  </a:lnTo>
                  <a:lnTo>
                    <a:pt x="2846781" y="8484"/>
                  </a:lnTo>
                  <a:lnTo>
                    <a:pt x="2846831" y="8484"/>
                  </a:lnTo>
                  <a:lnTo>
                    <a:pt x="2846831" y="9182"/>
                  </a:lnTo>
                  <a:lnTo>
                    <a:pt x="2846971" y="9182"/>
                  </a:lnTo>
                  <a:lnTo>
                    <a:pt x="2847022" y="10414"/>
                  </a:lnTo>
                  <a:lnTo>
                    <a:pt x="2847073" y="10414"/>
                  </a:lnTo>
                  <a:lnTo>
                    <a:pt x="2847124" y="9182"/>
                  </a:lnTo>
                  <a:lnTo>
                    <a:pt x="2847225" y="8484"/>
                  </a:lnTo>
                  <a:lnTo>
                    <a:pt x="2847276" y="8484"/>
                  </a:lnTo>
                  <a:lnTo>
                    <a:pt x="2847276" y="9182"/>
                  </a:lnTo>
                  <a:lnTo>
                    <a:pt x="2847327" y="8484"/>
                  </a:lnTo>
                  <a:lnTo>
                    <a:pt x="2847327" y="9182"/>
                  </a:lnTo>
                  <a:lnTo>
                    <a:pt x="2847467" y="9182"/>
                  </a:lnTo>
                  <a:lnTo>
                    <a:pt x="2847467" y="8484"/>
                  </a:lnTo>
                  <a:lnTo>
                    <a:pt x="2847517" y="8484"/>
                  </a:lnTo>
                  <a:lnTo>
                    <a:pt x="2847568" y="9182"/>
                  </a:lnTo>
                  <a:lnTo>
                    <a:pt x="2847924" y="9182"/>
                  </a:lnTo>
                  <a:lnTo>
                    <a:pt x="2847974" y="8484"/>
                  </a:lnTo>
                  <a:lnTo>
                    <a:pt x="2847974" y="9182"/>
                  </a:lnTo>
                  <a:lnTo>
                    <a:pt x="2848013" y="9182"/>
                  </a:lnTo>
                  <a:lnTo>
                    <a:pt x="2848013" y="10414"/>
                  </a:lnTo>
                  <a:lnTo>
                    <a:pt x="2848114" y="10414"/>
                  </a:lnTo>
                  <a:lnTo>
                    <a:pt x="2848165" y="9182"/>
                  </a:lnTo>
                  <a:lnTo>
                    <a:pt x="2848317" y="9182"/>
                  </a:lnTo>
                  <a:lnTo>
                    <a:pt x="2848317" y="8484"/>
                  </a:lnTo>
                  <a:lnTo>
                    <a:pt x="2848419" y="8484"/>
                  </a:lnTo>
                  <a:lnTo>
                    <a:pt x="2848419" y="9182"/>
                  </a:lnTo>
                  <a:lnTo>
                    <a:pt x="2848559" y="9182"/>
                  </a:lnTo>
                  <a:lnTo>
                    <a:pt x="2848610" y="10414"/>
                  </a:lnTo>
                  <a:lnTo>
                    <a:pt x="2848660" y="9182"/>
                  </a:lnTo>
                  <a:lnTo>
                    <a:pt x="2848914" y="9182"/>
                  </a:lnTo>
                  <a:lnTo>
                    <a:pt x="2848914" y="8484"/>
                  </a:lnTo>
                  <a:lnTo>
                    <a:pt x="2849016" y="9182"/>
                  </a:lnTo>
                  <a:lnTo>
                    <a:pt x="2849257" y="9182"/>
                  </a:lnTo>
                  <a:lnTo>
                    <a:pt x="2849308" y="8484"/>
                  </a:lnTo>
                  <a:lnTo>
                    <a:pt x="2849359" y="9182"/>
                  </a:lnTo>
                  <a:lnTo>
                    <a:pt x="2849511" y="9182"/>
                  </a:lnTo>
                  <a:lnTo>
                    <a:pt x="2849511" y="8484"/>
                  </a:lnTo>
                  <a:lnTo>
                    <a:pt x="2849702" y="8484"/>
                  </a:lnTo>
                  <a:lnTo>
                    <a:pt x="2849753" y="9182"/>
                  </a:lnTo>
                  <a:lnTo>
                    <a:pt x="2849956" y="9182"/>
                  </a:lnTo>
                  <a:lnTo>
                    <a:pt x="2849956" y="8484"/>
                  </a:lnTo>
                  <a:lnTo>
                    <a:pt x="2850400" y="8484"/>
                  </a:lnTo>
                  <a:lnTo>
                    <a:pt x="2850451" y="9182"/>
                  </a:lnTo>
                  <a:lnTo>
                    <a:pt x="2850642" y="9182"/>
                  </a:lnTo>
                  <a:lnTo>
                    <a:pt x="2850642" y="8484"/>
                  </a:lnTo>
                  <a:lnTo>
                    <a:pt x="2850692" y="8484"/>
                  </a:lnTo>
                  <a:lnTo>
                    <a:pt x="2850692" y="9182"/>
                  </a:lnTo>
                  <a:lnTo>
                    <a:pt x="2850845" y="9182"/>
                  </a:lnTo>
                  <a:lnTo>
                    <a:pt x="2850845" y="8484"/>
                  </a:lnTo>
                  <a:lnTo>
                    <a:pt x="2850896" y="8484"/>
                  </a:lnTo>
                  <a:lnTo>
                    <a:pt x="2850946" y="9182"/>
                  </a:lnTo>
                  <a:lnTo>
                    <a:pt x="2851048" y="8484"/>
                  </a:lnTo>
                  <a:lnTo>
                    <a:pt x="2851048" y="9182"/>
                  </a:lnTo>
                  <a:lnTo>
                    <a:pt x="2851099" y="9182"/>
                  </a:lnTo>
                  <a:lnTo>
                    <a:pt x="2851099" y="8484"/>
                  </a:lnTo>
                  <a:lnTo>
                    <a:pt x="2851188" y="8484"/>
                  </a:lnTo>
                  <a:lnTo>
                    <a:pt x="2851289" y="9182"/>
                  </a:lnTo>
                  <a:lnTo>
                    <a:pt x="2851645" y="9182"/>
                  </a:lnTo>
                  <a:lnTo>
                    <a:pt x="2851734" y="10414"/>
                  </a:lnTo>
                  <a:lnTo>
                    <a:pt x="2851734" y="9182"/>
                  </a:lnTo>
                  <a:lnTo>
                    <a:pt x="2851785" y="9182"/>
                  </a:lnTo>
                  <a:lnTo>
                    <a:pt x="2851835" y="8484"/>
                  </a:lnTo>
                  <a:lnTo>
                    <a:pt x="2851835" y="9182"/>
                  </a:lnTo>
                  <a:lnTo>
                    <a:pt x="2852191" y="9182"/>
                  </a:lnTo>
                  <a:lnTo>
                    <a:pt x="2852191" y="8484"/>
                  </a:lnTo>
                  <a:lnTo>
                    <a:pt x="2852229" y="9182"/>
                  </a:lnTo>
                  <a:lnTo>
                    <a:pt x="2852331" y="9182"/>
                  </a:lnTo>
                  <a:lnTo>
                    <a:pt x="2852432" y="10414"/>
                  </a:lnTo>
                  <a:lnTo>
                    <a:pt x="2852534" y="10414"/>
                  </a:lnTo>
                  <a:lnTo>
                    <a:pt x="2852534" y="9182"/>
                  </a:lnTo>
                  <a:lnTo>
                    <a:pt x="2852635" y="9182"/>
                  </a:lnTo>
                  <a:lnTo>
                    <a:pt x="2852686" y="10414"/>
                  </a:lnTo>
                  <a:lnTo>
                    <a:pt x="2852775" y="10414"/>
                  </a:lnTo>
                  <a:lnTo>
                    <a:pt x="2852775" y="9182"/>
                  </a:lnTo>
                  <a:lnTo>
                    <a:pt x="2853131" y="9182"/>
                  </a:lnTo>
                  <a:lnTo>
                    <a:pt x="2853181" y="8484"/>
                  </a:lnTo>
                  <a:lnTo>
                    <a:pt x="2853232" y="9182"/>
                  </a:lnTo>
                  <a:lnTo>
                    <a:pt x="2853321" y="9182"/>
                  </a:lnTo>
                  <a:lnTo>
                    <a:pt x="2853372" y="8484"/>
                  </a:lnTo>
                  <a:lnTo>
                    <a:pt x="2853372" y="9182"/>
                  </a:lnTo>
                  <a:lnTo>
                    <a:pt x="2853474" y="9182"/>
                  </a:lnTo>
                  <a:lnTo>
                    <a:pt x="2853474" y="8484"/>
                  </a:lnTo>
                  <a:lnTo>
                    <a:pt x="2853626" y="8484"/>
                  </a:lnTo>
                  <a:lnTo>
                    <a:pt x="2853677" y="9182"/>
                  </a:lnTo>
                  <a:lnTo>
                    <a:pt x="2853778" y="9182"/>
                  </a:lnTo>
                  <a:lnTo>
                    <a:pt x="2853778" y="10414"/>
                  </a:lnTo>
                  <a:lnTo>
                    <a:pt x="2853817" y="10414"/>
                  </a:lnTo>
                  <a:lnTo>
                    <a:pt x="2853867" y="9182"/>
                  </a:lnTo>
                  <a:lnTo>
                    <a:pt x="2854667" y="9182"/>
                  </a:lnTo>
                  <a:lnTo>
                    <a:pt x="2854667" y="8484"/>
                  </a:lnTo>
                  <a:lnTo>
                    <a:pt x="2854718" y="8484"/>
                  </a:lnTo>
                  <a:lnTo>
                    <a:pt x="2854718" y="9182"/>
                  </a:lnTo>
                  <a:lnTo>
                    <a:pt x="2854960" y="9182"/>
                  </a:lnTo>
                  <a:lnTo>
                    <a:pt x="2855010" y="8484"/>
                  </a:lnTo>
                  <a:lnTo>
                    <a:pt x="2855061" y="8484"/>
                  </a:lnTo>
                  <a:lnTo>
                    <a:pt x="2855163" y="9182"/>
                  </a:lnTo>
                  <a:lnTo>
                    <a:pt x="2855213" y="9182"/>
                  </a:lnTo>
                  <a:lnTo>
                    <a:pt x="2855213" y="8484"/>
                  </a:lnTo>
                  <a:lnTo>
                    <a:pt x="2855264" y="8484"/>
                  </a:lnTo>
                  <a:lnTo>
                    <a:pt x="2855264" y="9182"/>
                  </a:lnTo>
                  <a:lnTo>
                    <a:pt x="2855506" y="9182"/>
                  </a:lnTo>
                  <a:lnTo>
                    <a:pt x="2855607" y="8484"/>
                  </a:lnTo>
                  <a:lnTo>
                    <a:pt x="2855607" y="9182"/>
                  </a:lnTo>
                  <a:lnTo>
                    <a:pt x="2855912" y="9182"/>
                  </a:lnTo>
                  <a:lnTo>
                    <a:pt x="2855912" y="8484"/>
                  </a:lnTo>
                  <a:lnTo>
                    <a:pt x="2855950" y="8484"/>
                  </a:lnTo>
                  <a:lnTo>
                    <a:pt x="2856052" y="9182"/>
                  </a:lnTo>
                  <a:lnTo>
                    <a:pt x="2856496" y="9182"/>
                  </a:lnTo>
                  <a:lnTo>
                    <a:pt x="2856496" y="10414"/>
                  </a:lnTo>
                  <a:lnTo>
                    <a:pt x="2856547" y="9182"/>
                  </a:lnTo>
                  <a:lnTo>
                    <a:pt x="2857296" y="9182"/>
                  </a:lnTo>
                  <a:lnTo>
                    <a:pt x="2857398" y="8484"/>
                  </a:lnTo>
                  <a:lnTo>
                    <a:pt x="2857449" y="9182"/>
                  </a:lnTo>
                  <a:lnTo>
                    <a:pt x="2857449" y="8484"/>
                  </a:lnTo>
                  <a:lnTo>
                    <a:pt x="2857499" y="9182"/>
                  </a:lnTo>
                  <a:lnTo>
                    <a:pt x="2857995" y="9182"/>
                  </a:lnTo>
                  <a:lnTo>
                    <a:pt x="2858084" y="8484"/>
                  </a:lnTo>
                  <a:lnTo>
                    <a:pt x="2858135" y="8484"/>
                  </a:lnTo>
                  <a:lnTo>
                    <a:pt x="2858185" y="9182"/>
                  </a:lnTo>
                  <a:lnTo>
                    <a:pt x="2858439" y="9182"/>
                  </a:lnTo>
                  <a:lnTo>
                    <a:pt x="2858541" y="10414"/>
                  </a:lnTo>
                  <a:lnTo>
                    <a:pt x="2858579" y="10414"/>
                  </a:lnTo>
                  <a:lnTo>
                    <a:pt x="2858579" y="9182"/>
                  </a:lnTo>
                  <a:lnTo>
                    <a:pt x="2858884" y="9182"/>
                  </a:lnTo>
                  <a:lnTo>
                    <a:pt x="2858985" y="10414"/>
                  </a:lnTo>
                  <a:lnTo>
                    <a:pt x="2858985" y="9182"/>
                  </a:lnTo>
                  <a:lnTo>
                    <a:pt x="2859036" y="9182"/>
                  </a:lnTo>
                  <a:lnTo>
                    <a:pt x="2859087" y="8484"/>
                  </a:lnTo>
                  <a:lnTo>
                    <a:pt x="2859125" y="9182"/>
                  </a:lnTo>
                  <a:lnTo>
                    <a:pt x="2859227" y="9182"/>
                  </a:lnTo>
                  <a:lnTo>
                    <a:pt x="2859227" y="8484"/>
                  </a:lnTo>
                  <a:lnTo>
                    <a:pt x="2859278" y="9182"/>
                  </a:lnTo>
                  <a:lnTo>
                    <a:pt x="2860268" y="9182"/>
                  </a:lnTo>
                  <a:lnTo>
                    <a:pt x="2860370" y="10414"/>
                  </a:lnTo>
                  <a:lnTo>
                    <a:pt x="2860421" y="10414"/>
                  </a:lnTo>
                  <a:lnTo>
                    <a:pt x="2860421" y="9182"/>
                  </a:lnTo>
                  <a:lnTo>
                    <a:pt x="2861017" y="9182"/>
                  </a:lnTo>
                  <a:lnTo>
                    <a:pt x="2861017" y="10414"/>
                  </a:lnTo>
                  <a:lnTo>
                    <a:pt x="2861068" y="10414"/>
                  </a:lnTo>
                  <a:lnTo>
                    <a:pt x="2861068" y="9182"/>
                  </a:lnTo>
                  <a:lnTo>
                    <a:pt x="2861119" y="9182"/>
                  </a:lnTo>
                  <a:lnTo>
                    <a:pt x="2861119" y="10414"/>
                  </a:lnTo>
                  <a:lnTo>
                    <a:pt x="2861170" y="9182"/>
                  </a:lnTo>
                  <a:lnTo>
                    <a:pt x="2861170" y="10414"/>
                  </a:lnTo>
                  <a:lnTo>
                    <a:pt x="2861259" y="9182"/>
                  </a:lnTo>
                  <a:lnTo>
                    <a:pt x="2861513" y="9182"/>
                  </a:lnTo>
                  <a:lnTo>
                    <a:pt x="2861563" y="8484"/>
                  </a:lnTo>
                  <a:lnTo>
                    <a:pt x="2861614" y="8484"/>
                  </a:lnTo>
                  <a:lnTo>
                    <a:pt x="2861614" y="9182"/>
                  </a:lnTo>
                  <a:lnTo>
                    <a:pt x="2862706" y="9182"/>
                  </a:lnTo>
                  <a:lnTo>
                    <a:pt x="2862706" y="10414"/>
                  </a:lnTo>
                  <a:lnTo>
                    <a:pt x="2862757" y="10414"/>
                  </a:lnTo>
                  <a:lnTo>
                    <a:pt x="2862846" y="9182"/>
                  </a:lnTo>
                  <a:lnTo>
                    <a:pt x="2863100" y="9182"/>
                  </a:lnTo>
                  <a:lnTo>
                    <a:pt x="2863100" y="10414"/>
                  </a:lnTo>
                  <a:lnTo>
                    <a:pt x="2863202" y="10414"/>
                  </a:lnTo>
                  <a:lnTo>
                    <a:pt x="2863202" y="9182"/>
                  </a:lnTo>
                  <a:lnTo>
                    <a:pt x="2863443" y="9182"/>
                  </a:lnTo>
                  <a:lnTo>
                    <a:pt x="2863545" y="10414"/>
                  </a:lnTo>
                  <a:lnTo>
                    <a:pt x="2863596" y="10414"/>
                  </a:lnTo>
                  <a:lnTo>
                    <a:pt x="2863646" y="9182"/>
                  </a:lnTo>
                  <a:lnTo>
                    <a:pt x="2863748" y="10414"/>
                  </a:lnTo>
                  <a:lnTo>
                    <a:pt x="2863748" y="9182"/>
                  </a:lnTo>
                  <a:lnTo>
                    <a:pt x="2863849" y="9182"/>
                  </a:lnTo>
                  <a:lnTo>
                    <a:pt x="2863888" y="10414"/>
                  </a:lnTo>
                  <a:lnTo>
                    <a:pt x="2863989" y="10414"/>
                  </a:lnTo>
                  <a:lnTo>
                    <a:pt x="2864040" y="9182"/>
                  </a:lnTo>
                  <a:lnTo>
                    <a:pt x="2864040" y="10414"/>
                  </a:lnTo>
                  <a:lnTo>
                    <a:pt x="2864192" y="10414"/>
                  </a:lnTo>
                  <a:lnTo>
                    <a:pt x="2864192" y="9182"/>
                  </a:lnTo>
                  <a:lnTo>
                    <a:pt x="2864434" y="9182"/>
                  </a:lnTo>
                  <a:lnTo>
                    <a:pt x="2864485" y="10414"/>
                  </a:lnTo>
                  <a:lnTo>
                    <a:pt x="2864586" y="10414"/>
                  </a:lnTo>
                  <a:lnTo>
                    <a:pt x="2864586" y="9182"/>
                  </a:lnTo>
                  <a:lnTo>
                    <a:pt x="2865234" y="9182"/>
                  </a:lnTo>
                  <a:lnTo>
                    <a:pt x="2865234" y="10414"/>
                  </a:lnTo>
                  <a:lnTo>
                    <a:pt x="2865335" y="9182"/>
                  </a:lnTo>
                  <a:lnTo>
                    <a:pt x="2865475" y="9182"/>
                  </a:lnTo>
                  <a:lnTo>
                    <a:pt x="2865577" y="8484"/>
                  </a:lnTo>
                  <a:lnTo>
                    <a:pt x="2865577" y="9182"/>
                  </a:lnTo>
                  <a:lnTo>
                    <a:pt x="2865628" y="9182"/>
                  </a:lnTo>
                  <a:lnTo>
                    <a:pt x="2865678" y="10414"/>
                  </a:lnTo>
                  <a:lnTo>
                    <a:pt x="2865678" y="9182"/>
                  </a:lnTo>
                  <a:lnTo>
                    <a:pt x="2865780" y="9182"/>
                  </a:lnTo>
                  <a:lnTo>
                    <a:pt x="2865831" y="10414"/>
                  </a:lnTo>
                  <a:lnTo>
                    <a:pt x="2865831" y="9182"/>
                  </a:lnTo>
                  <a:lnTo>
                    <a:pt x="2866821" y="9182"/>
                  </a:lnTo>
                  <a:lnTo>
                    <a:pt x="2866821" y="8484"/>
                  </a:lnTo>
                  <a:lnTo>
                    <a:pt x="2866923" y="9182"/>
                  </a:lnTo>
                  <a:lnTo>
                    <a:pt x="2866974" y="10414"/>
                  </a:lnTo>
                  <a:lnTo>
                    <a:pt x="2867024" y="10414"/>
                  </a:lnTo>
                  <a:lnTo>
                    <a:pt x="2867024" y="9182"/>
                  </a:lnTo>
                  <a:lnTo>
                    <a:pt x="2867063" y="10414"/>
                  </a:lnTo>
                  <a:lnTo>
                    <a:pt x="2867063" y="9182"/>
                  </a:lnTo>
                  <a:lnTo>
                    <a:pt x="2867164" y="10414"/>
                  </a:lnTo>
                  <a:lnTo>
                    <a:pt x="2867215" y="9182"/>
                  </a:lnTo>
                  <a:lnTo>
                    <a:pt x="2867469" y="9182"/>
                  </a:lnTo>
                  <a:lnTo>
                    <a:pt x="2867520" y="10414"/>
                  </a:lnTo>
                  <a:lnTo>
                    <a:pt x="2867520" y="9182"/>
                  </a:lnTo>
                  <a:lnTo>
                    <a:pt x="2868409" y="9182"/>
                  </a:lnTo>
                  <a:lnTo>
                    <a:pt x="2868409" y="10414"/>
                  </a:lnTo>
                  <a:lnTo>
                    <a:pt x="2868650" y="10414"/>
                  </a:lnTo>
                  <a:lnTo>
                    <a:pt x="2868650" y="9182"/>
                  </a:lnTo>
                  <a:lnTo>
                    <a:pt x="2869056" y="9182"/>
                  </a:lnTo>
                  <a:lnTo>
                    <a:pt x="2869107" y="10414"/>
                  </a:lnTo>
                  <a:lnTo>
                    <a:pt x="2869196" y="10414"/>
                  </a:lnTo>
                  <a:lnTo>
                    <a:pt x="2869247" y="9182"/>
                  </a:lnTo>
                  <a:lnTo>
                    <a:pt x="2869653" y="9182"/>
                  </a:lnTo>
                  <a:lnTo>
                    <a:pt x="2869692" y="10414"/>
                  </a:lnTo>
                  <a:lnTo>
                    <a:pt x="2869895" y="10414"/>
                  </a:lnTo>
                  <a:lnTo>
                    <a:pt x="2869895" y="9182"/>
                  </a:lnTo>
                  <a:lnTo>
                    <a:pt x="2869996" y="9182"/>
                  </a:lnTo>
                  <a:lnTo>
                    <a:pt x="2870098" y="8484"/>
                  </a:lnTo>
                  <a:lnTo>
                    <a:pt x="2870149" y="9182"/>
                  </a:lnTo>
                  <a:lnTo>
                    <a:pt x="2870390" y="9182"/>
                  </a:lnTo>
                  <a:lnTo>
                    <a:pt x="2870441" y="10414"/>
                  </a:lnTo>
                  <a:lnTo>
                    <a:pt x="2870542" y="10414"/>
                  </a:lnTo>
                  <a:lnTo>
                    <a:pt x="2870593" y="9182"/>
                  </a:lnTo>
                  <a:lnTo>
                    <a:pt x="2870784" y="9182"/>
                  </a:lnTo>
                  <a:lnTo>
                    <a:pt x="2870784" y="10414"/>
                  </a:lnTo>
                  <a:lnTo>
                    <a:pt x="2870835" y="10414"/>
                  </a:lnTo>
                  <a:lnTo>
                    <a:pt x="2870885" y="9182"/>
                  </a:lnTo>
                  <a:lnTo>
                    <a:pt x="2871088" y="9182"/>
                  </a:lnTo>
                  <a:lnTo>
                    <a:pt x="2871088" y="10414"/>
                  </a:lnTo>
                  <a:lnTo>
                    <a:pt x="2871279" y="10414"/>
                  </a:lnTo>
                  <a:lnTo>
                    <a:pt x="2871279" y="9182"/>
                  </a:lnTo>
                  <a:lnTo>
                    <a:pt x="2871381" y="9182"/>
                  </a:lnTo>
                  <a:lnTo>
                    <a:pt x="2871482" y="10414"/>
                  </a:lnTo>
                  <a:lnTo>
                    <a:pt x="2871482" y="9182"/>
                  </a:lnTo>
                  <a:lnTo>
                    <a:pt x="2871736" y="9182"/>
                  </a:lnTo>
                  <a:lnTo>
                    <a:pt x="2871787" y="10414"/>
                  </a:lnTo>
                  <a:lnTo>
                    <a:pt x="2871825" y="10414"/>
                  </a:lnTo>
                  <a:lnTo>
                    <a:pt x="2871927" y="9182"/>
                  </a:lnTo>
                  <a:lnTo>
                    <a:pt x="2871927" y="10414"/>
                  </a:lnTo>
                  <a:lnTo>
                    <a:pt x="2872282" y="10414"/>
                  </a:lnTo>
                  <a:lnTo>
                    <a:pt x="2872371" y="9182"/>
                  </a:lnTo>
                  <a:lnTo>
                    <a:pt x="2872422" y="9182"/>
                  </a:lnTo>
                  <a:lnTo>
                    <a:pt x="2872473" y="10414"/>
                  </a:lnTo>
                  <a:lnTo>
                    <a:pt x="2872917" y="10414"/>
                  </a:lnTo>
                  <a:lnTo>
                    <a:pt x="2872968" y="9182"/>
                  </a:lnTo>
                  <a:lnTo>
                    <a:pt x="2873324" y="9182"/>
                  </a:lnTo>
                  <a:lnTo>
                    <a:pt x="2873324" y="8484"/>
                  </a:lnTo>
                  <a:lnTo>
                    <a:pt x="2873413" y="8484"/>
                  </a:lnTo>
                  <a:lnTo>
                    <a:pt x="2873413" y="9182"/>
                  </a:lnTo>
                  <a:lnTo>
                    <a:pt x="2873514" y="10414"/>
                  </a:lnTo>
                  <a:lnTo>
                    <a:pt x="2873717" y="10414"/>
                  </a:lnTo>
                  <a:lnTo>
                    <a:pt x="2873768" y="9182"/>
                  </a:lnTo>
                  <a:lnTo>
                    <a:pt x="2873819" y="9182"/>
                  </a:lnTo>
                  <a:lnTo>
                    <a:pt x="2873870" y="10414"/>
                  </a:lnTo>
                  <a:lnTo>
                    <a:pt x="2873959" y="9182"/>
                  </a:lnTo>
                  <a:lnTo>
                    <a:pt x="2874111" y="9182"/>
                  </a:lnTo>
                  <a:lnTo>
                    <a:pt x="2874111" y="8484"/>
                  </a:lnTo>
                  <a:lnTo>
                    <a:pt x="2874213" y="9182"/>
                  </a:lnTo>
                  <a:lnTo>
                    <a:pt x="2874708" y="9182"/>
                  </a:lnTo>
                  <a:lnTo>
                    <a:pt x="2874708" y="8484"/>
                  </a:lnTo>
                  <a:lnTo>
                    <a:pt x="2874759" y="9182"/>
                  </a:lnTo>
                  <a:lnTo>
                    <a:pt x="2874860" y="9182"/>
                  </a:lnTo>
                  <a:lnTo>
                    <a:pt x="2874911" y="8484"/>
                  </a:lnTo>
                  <a:lnTo>
                    <a:pt x="2874962" y="9182"/>
                  </a:lnTo>
                  <a:lnTo>
                    <a:pt x="2875000" y="10414"/>
                  </a:lnTo>
                  <a:lnTo>
                    <a:pt x="2875000" y="9182"/>
                  </a:lnTo>
                  <a:lnTo>
                    <a:pt x="2875102" y="9182"/>
                  </a:lnTo>
                  <a:lnTo>
                    <a:pt x="2875153" y="8484"/>
                  </a:lnTo>
                  <a:lnTo>
                    <a:pt x="2875153" y="9182"/>
                  </a:lnTo>
                  <a:lnTo>
                    <a:pt x="2875203" y="9182"/>
                  </a:lnTo>
                  <a:lnTo>
                    <a:pt x="2875305" y="8484"/>
                  </a:lnTo>
                  <a:lnTo>
                    <a:pt x="2875305" y="9182"/>
                  </a:lnTo>
                  <a:lnTo>
                    <a:pt x="2875406" y="9182"/>
                  </a:lnTo>
                  <a:lnTo>
                    <a:pt x="2875406" y="10414"/>
                  </a:lnTo>
                  <a:lnTo>
                    <a:pt x="2875800" y="10414"/>
                  </a:lnTo>
                  <a:lnTo>
                    <a:pt x="2875851" y="9182"/>
                  </a:lnTo>
                  <a:lnTo>
                    <a:pt x="2875851" y="10414"/>
                  </a:lnTo>
                  <a:lnTo>
                    <a:pt x="2876003" y="10414"/>
                  </a:lnTo>
                  <a:lnTo>
                    <a:pt x="2876003" y="9182"/>
                  </a:lnTo>
                  <a:lnTo>
                    <a:pt x="2876042" y="9182"/>
                  </a:lnTo>
                  <a:lnTo>
                    <a:pt x="2876092" y="10414"/>
                  </a:lnTo>
                  <a:lnTo>
                    <a:pt x="2876740" y="10414"/>
                  </a:lnTo>
                  <a:lnTo>
                    <a:pt x="2876791" y="9182"/>
                  </a:lnTo>
                  <a:lnTo>
                    <a:pt x="2876892" y="9182"/>
                  </a:lnTo>
                  <a:lnTo>
                    <a:pt x="2876943" y="10414"/>
                  </a:lnTo>
                  <a:lnTo>
                    <a:pt x="2877235" y="10414"/>
                  </a:lnTo>
                  <a:lnTo>
                    <a:pt x="2877235" y="9182"/>
                  </a:lnTo>
                  <a:lnTo>
                    <a:pt x="2877680" y="9182"/>
                  </a:lnTo>
                  <a:lnTo>
                    <a:pt x="2877680" y="10414"/>
                  </a:lnTo>
                  <a:lnTo>
                    <a:pt x="2877731" y="10414"/>
                  </a:lnTo>
                  <a:lnTo>
                    <a:pt x="2877832" y="9182"/>
                  </a:lnTo>
                  <a:lnTo>
                    <a:pt x="2877883" y="9182"/>
                  </a:lnTo>
                  <a:lnTo>
                    <a:pt x="2877934" y="10414"/>
                  </a:lnTo>
                  <a:lnTo>
                    <a:pt x="2878035" y="9182"/>
                  </a:lnTo>
                  <a:lnTo>
                    <a:pt x="2878137" y="9182"/>
                  </a:lnTo>
                  <a:lnTo>
                    <a:pt x="2878175" y="10414"/>
                  </a:lnTo>
                  <a:lnTo>
                    <a:pt x="2878277" y="10414"/>
                  </a:lnTo>
                  <a:lnTo>
                    <a:pt x="2878328" y="9182"/>
                  </a:lnTo>
                  <a:lnTo>
                    <a:pt x="2878378" y="10414"/>
                  </a:lnTo>
                  <a:lnTo>
                    <a:pt x="2878480" y="10414"/>
                  </a:lnTo>
                  <a:lnTo>
                    <a:pt x="2878480" y="9182"/>
                  </a:lnTo>
                  <a:lnTo>
                    <a:pt x="2878772" y="9182"/>
                  </a:lnTo>
                  <a:lnTo>
                    <a:pt x="2878772" y="10414"/>
                  </a:lnTo>
                  <a:lnTo>
                    <a:pt x="2878823" y="10414"/>
                  </a:lnTo>
                  <a:lnTo>
                    <a:pt x="2878874" y="11062"/>
                  </a:lnTo>
                  <a:lnTo>
                    <a:pt x="2878975" y="10414"/>
                  </a:lnTo>
                  <a:lnTo>
                    <a:pt x="2879026" y="9182"/>
                  </a:lnTo>
                  <a:lnTo>
                    <a:pt x="2879077" y="9182"/>
                  </a:lnTo>
                  <a:lnTo>
                    <a:pt x="2879077" y="10414"/>
                  </a:lnTo>
                  <a:lnTo>
                    <a:pt x="2879267" y="10414"/>
                  </a:lnTo>
                  <a:lnTo>
                    <a:pt x="2879318" y="9182"/>
                  </a:lnTo>
                  <a:lnTo>
                    <a:pt x="2879318" y="10414"/>
                  </a:lnTo>
                  <a:lnTo>
                    <a:pt x="2879623" y="10414"/>
                  </a:lnTo>
                  <a:lnTo>
                    <a:pt x="2879674" y="9182"/>
                  </a:lnTo>
                  <a:lnTo>
                    <a:pt x="2879763" y="9182"/>
                  </a:lnTo>
                  <a:lnTo>
                    <a:pt x="2879864" y="10414"/>
                  </a:lnTo>
                  <a:lnTo>
                    <a:pt x="2880118" y="10414"/>
                  </a:lnTo>
                  <a:lnTo>
                    <a:pt x="2880169" y="9182"/>
                  </a:lnTo>
                  <a:lnTo>
                    <a:pt x="2880220" y="9182"/>
                  </a:lnTo>
                  <a:lnTo>
                    <a:pt x="2880309" y="10414"/>
                  </a:lnTo>
                  <a:lnTo>
                    <a:pt x="2880309" y="9182"/>
                  </a:lnTo>
                  <a:lnTo>
                    <a:pt x="2880360" y="9182"/>
                  </a:lnTo>
                  <a:lnTo>
                    <a:pt x="2880410" y="10414"/>
                  </a:lnTo>
                  <a:lnTo>
                    <a:pt x="2880461" y="10414"/>
                  </a:lnTo>
                  <a:lnTo>
                    <a:pt x="2880461" y="9182"/>
                  </a:lnTo>
                  <a:lnTo>
                    <a:pt x="2880563" y="10414"/>
                  </a:lnTo>
                  <a:lnTo>
                    <a:pt x="2880613" y="10414"/>
                  </a:lnTo>
                  <a:lnTo>
                    <a:pt x="2880664" y="9182"/>
                  </a:lnTo>
                  <a:lnTo>
                    <a:pt x="2881350" y="9182"/>
                  </a:lnTo>
                  <a:lnTo>
                    <a:pt x="2881350" y="8484"/>
                  </a:lnTo>
                  <a:lnTo>
                    <a:pt x="2881452" y="9182"/>
                  </a:lnTo>
                  <a:lnTo>
                    <a:pt x="2881896" y="9182"/>
                  </a:lnTo>
                  <a:lnTo>
                    <a:pt x="2881947" y="10414"/>
                  </a:lnTo>
                  <a:lnTo>
                    <a:pt x="2882201" y="10414"/>
                  </a:lnTo>
                  <a:lnTo>
                    <a:pt x="2882252" y="9182"/>
                  </a:lnTo>
                  <a:lnTo>
                    <a:pt x="2882252" y="10414"/>
                  </a:lnTo>
                  <a:lnTo>
                    <a:pt x="2882353" y="10414"/>
                  </a:lnTo>
                  <a:lnTo>
                    <a:pt x="2882353" y="9182"/>
                  </a:lnTo>
                  <a:lnTo>
                    <a:pt x="2882392" y="10414"/>
                  </a:lnTo>
                  <a:lnTo>
                    <a:pt x="2882493" y="10414"/>
                  </a:lnTo>
                  <a:lnTo>
                    <a:pt x="2882493" y="9182"/>
                  </a:lnTo>
                  <a:lnTo>
                    <a:pt x="2882899" y="9182"/>
                  </a:lnTo>
                  <a:lnTo>
                    <a:pt x="2882938" y="10414"/>
                  </a:lnTo>
                  <a:lnTo>
                    <a:pt x="2882938" y="9182"/>
                  </a:lnTo>
                  <a:lnTo>
                    <a:pt x="2883039" y="10414"/>
                  </a:lnTo>
                  <a:lnTo>
                    <a:pt x="2883090" y="9182"/>
                  </a:lnTo>
                  <a:lnTo>
                    <a:pt x="2883141" y="9182"/>
                  </a:lnTo>
                  <a:lnTo>
                    <a:pt x="2883242" y="10414"/>
                  </a:lnTo>
                  <a:lnTo>
                    <a:pt x="2883293" y="10414"/>
                  </a:lnTo>
                  <a:lnTo>
                    <a:pt x="2883344" y="9182"/>
                  </a:lnTo>
                  <a:lnTo>
                    <a:pt x="2883344" y="10414"/>
                  </a:lnTo>
                  <a:lnTo>
                    <a:pt x="2883395" y="9182"/>
                  </a:lnTo>
                  <a:lnTo>
                    <a:pt x="2883484" y="10414"/>
                  </a:lnTo>
                  <a:lnTo>
                    <a:pt x="2883535" y="9182"/>
                  </a:lnTo>
                  <a:lnTo>
                    <a:pt x="2883535" y="10414"/>
                  </a:lnTo>
                  <a:lnTo>
                    <a:pt x="2883585" y="9182"/>
                  </a:lnTo>
                  <a:lnTo>
                    <a:pt x="2883636" y="10414"/>
                  </a:lnTo>
                  <a:lnTo>
                    <a:pt x="2883941" y="10414"/>
                  </a:lnTo>
                  <a:lnTo>
                    <a:pt x="2883941" y="9182"/>
                  </a:lnTo>
                  <a:lnTo>
                    <a:pt x="2883979" y="10414"/>
                  </a:lnTo>
                  <a:lnTo>
                    <a:pt x="2884284" y="10414"/>
                  </a:lnTo>
                  <a:lnTo>
                    <a:pt x="2884385" y="9182"/>
                  </a:lnTo>
                  <a:lnTo>
                    <a:pt x="2884385" y="10414"/>
                  </a:lnTo>
                  <a:lnTo>
                    <a:pt x="2884525" y="10414"/>
                  </a:lnTo>
                  <a:lnTo>
                    <a:pt x="2884525" y="11062"/>
                  </a:lnTo>
                  <a:lnTo>
                    <a:pt x="2884678" y="11062"/>
                  </a:lnTo>
                  <a:lnTo>
                    <a:pt x="2884678" y="10414"/>
                  </a:lnTo>
                  <a:lnTo>
                    <a:pt x="2884830" y="10414"/>
                  </a:lnTo>
                  <a:lnTo>
                    <a:pt x="2884881" y="9182"/>
                  </a:lnTo>
                  <a:lnTo>
                    <a:pt x="2884931" y="10414"/>
                  </a:lnTo>
                  <a:lnTo>
                    <a:pt x="2884982" y="9182"/>
                  </a:lnTo>
                  <a:lnTo>
                    <a:pt x="2884982" y="10414"/>
                  </a:lnTo>
                  <a:lnTo>
                    <a:pt x="2885528" y="10414"/>
                  </a:lnTo>
                  <a:lnTo>
                    <a:pt x="2885567" y="9182"/>
                  </a:lnTo>
                  <a:lnTo>
                    <a:pt x="2885617" y="9182"/>
                  </a:lnTo>
                  <a:lnTo>
                    <a:pt x="2885617" y="10414"/>
                  </a:lnTo>
                  <a:lnTo>
                    <a:pt x="2885668" y="10414"/>
                  </a:lnTo>
                  <a:lnTo>
                    <a:pt x="2885668" y="9182"/>
                  </a:lnTo>
                  <a:lnTo>
                    <a:pt x="2885770" y="10414"/>
                  </a:lnTo>
                  <a:lnTo>
                    <a:pt x="2885770" y="9182"/>
                  </a:lnTo>
                  <a:lnTo>
                    <a:pt x="2885821" y="10414"/>
                  </a:lnTo>
                  <a:lnTo>
                    <a:pt x="2885973" y="10414"/>
                  </a:lnTo>
                  <a:lnTo>
                    <a:pt x="2886024" y="9182"/>
                  </a:lnTo>
                  <a:lnTo>
                    <a:pt x="2886074" y="9182"/>
                  </a:lnTo>
                  <a:lnTo>
                    <a:pt x="2886113" y="10414"/>
                  </a:lnTo>
                  <a:lnTo>
                    <a:pt x="2886570" y="10414"/>
                  </a:lnTo>
                  <a:lnTo>
                    <a:pt x="2886570" y="9182"/>
                  </a:lnTo>
                  <a:lnTo>
                    <a:pt x="2886659" y="9182"/>
                  </a:lnTo>
                  <a:lnTo>
                    <a:pt x="2886710" y="10414"/>
                  </a:lnTo>
                  <a:lnTo>
                    <a:pt x="2887116" y="10414"/>
                  </a:lnTo>
                  <a:lnTo>
                    <a:pt x="2887116" y="9182"/>
                  </a:lnTo>
                  <a:lnTo>
                    <a:pt x="2887154" y="10414"/>
                  </a:lnTo>
                  <a:lnTo>
                    <a:pt x="2887802" y="10414"/>
                  </a:lnTo>
                  <a:lnTo>
                    <a:pt x="2887853" y="11062"/>
                  </a:lnTo>
                  <a:lnTo>
                    <a:pt x="2887853" y="10414"/>
                  </a:lnTo>
                  <a:lnTo>
                    <a:pt x="2888500" y="10414"/>
                  </a:lnTo>
                  <a:lnTo>
                    <a:pt x="2888500" y="11062"/>
                  </a:lnTo>
                  <a:lnTo>
                    <a:pt x="2888551" y="11062"/>
                  </a:lnTo>
                  <a:lnTo>
                    <a:pt x="2888602" y="10414"/>
                  </a:lnTo>
                  <a:lnTo>
                    <a:pt x="2888945" y="10414"/>
                  </a:lnTo>
                  <a:lnTo>
                    <a:pt x="2888996" y="9182"/>
                  </a:lnTo>
                  <a:lnTo>
                    <a:pt x="2888996" y="10414"/>
                  </a:lnTo>
                  <a:lnTo>
                    <a:pt x="2889148" y="10414"/>
                  </a:lnTo>
                  <a:lnTo>
                    <a:pt x="2889148" y="9182"/>
                  </a:lnTo>
                  <a:lnTo>
                    <a:pt x="2889199" y="9182"/>
                  </a:lnTo>
                  <a:lnTo>
                    <a:pt x="2889249" y="10414"/>
                  </a:lnTo>
                  <a:lnTo>
                    <a:pt x="2889389" y="10414"/>
                  </a:lnTo>
                  <a:lnTo>
                    <a:pt x="2889389" y="9182"/>
                  </a:lnTo>
                  <a:lnTo>
                    <a:pt x="2889491" y="9182"/>
                  </a:lnTo>
                  <a:lnTo>
                    <a:pt x="2889592" y="10414"/>
                  </a:lnTo>
                  <a:lnTo>
                    <a:pt x="2889694" y="10414"/>
                  </a:lnTo>
                  <a:lnTo>
                    <a:pt x="2889745" y="9182"/>
                  </a:lnTo>
                  <a:lnTo>
                    <a:pt x="2889834" y="9182"/>
                  </a:lnTo>
                  <a:lnTo>
                    <a:pt x="2889834" y="10414"/>
                  </a:lnTo>
                  <a:lnTo>
                    <a:pt x="2889935" y="10414"/>
                  </a:lnTo>
                  <a:lnTo>
                    <a:pt x="2889935" y="9182"/>
                  </a:lnTo>
                  <a:lnTo>
                    <a:pt x="2890138" y="9182"/>
                  </a:lnTo>
                  <a:lnTo>
                    <a:pt x="2890138" y="10414"/>
                  </a:lnTo>
                  <a:lnTo>
                    <a:pt x="2890291" y="10414"/>
                  </a:lnTo>
                  <a:lnTo>
                    <a:pt x="2890291" y="9182"/>
                  </a:lnTo>
                  <a:lnTo>
                    <a:pt x="2890329" y="9182"/>
                  </a:lnTo>
                  <a:lnTo>
                    <a:pt x="2890329" y="10414"/>
                  </a:lnTo>
                  <a:lnTo>
                    <a:pt x="2890583" y="10414"/>
                  </a:lnTo>
                  <a:lnTo>
                    <a:pt x="2890634" y="9182"/>
                  </a:lnTo>
                  <a:lnTo>
                    <a:pt x="2890634" y="10414"/>
                  </a:lnTo>
                  <a:lnTo>
                    <a:pt x="2890786" y="10414"/>
                  </a:lnTo>
                  <a:lnTo>
                    <a:pt x="2890837" y="9182"/>
                  </a:lnTo>
                  <a:lnTo>
                    <a:pt x="2890875" y="10414"/>
                  </a:lnTo>
                  <a:lnTo>
                    <a:pt x="2891421" y="10414"/>
                  </a:lnTo>
                  <a:lnTo>
                    <a:pt x="2891472" y="11062"/>
                  </a:lnTo>
                  <a:lnTo>
                    <a:pt x="2891472" y="10414"/>
                  </a:lnTo>
                  <a:lnTo>
                    <a:pt x="2891523" y="10414"/>
                  </a:lnTo>
                  <a:lnTo>
                    <a:pt x="2891574" y="9182"/>
                  </a:lnTo>
                  <a:lnTo>
                    <a:pt x="2891675" y="9182"/>
                  </a:lnTo>
                  <a:lnTo>
                    <a:pt x="2891675" y="10414"/>
                  </a:lnTo>
                  <a:lnTo>
                    <a:pt x="2892767" y="10414"/>
                  </a:lnTo>
                  <a:lnTo>
                    <a:pt x="2892818" y="9182"/>
                  </a:lnTo>
                  <a:lnTo>
                    <a:pt x="2892920" y="9182"/>
                  </a:lnTo>
                  <a:lnTo>
                    <a:pt x="2892920" y="10414"/>
                  </a:lnTo>
                  <a:lnTo>
                    <a:pt x="2893555" y="10414"/>
                  </a:lnTo>
                  <a:lnTo>
                    <a:pt x="2893555" y="9182"/>
                  </a:lnTo>
                  <a:lnTo>
                    <a:pt x="2893606" y="10414"/>
                  </a:lnTo>
                  <a:lnTo>
                    <a:pt x="2893606" y="9182"/>
                  </a:lnTo>
                  <a:lnTo>
                    <a:pt x="2893707" y="10414"/>
                  </a:lnTo>
                  <a:lnTo>
                    <a:pt x="2893809" y="10414"/>
                  </a:lnTo>
                  <a:lnTo>
                    <a:pt x="2893910" y="9182"/>
                  </a:lnTo>
                  <a:lnTo>
                    <a:pt x="2893910" y="10414"/>
                  </a:lnTo>
                  <a:lnTo>
                    <a:pt x="2894456" y="10414"/>
                  </a:lnTo>
                  <a:lnTo>
                    <a:pt x="2894456" y="11062"/>
                  </a:lnTo>
                  <a:lnTo>
                    <a:pt x="2894507" y="10414"/>
                  </a:lnTo>
                  <a:lnTo>
                    <a:pt x="2894596" y="10414"/>
                  </a:lnTo>
                  <a:lnTo>
                    <a:pt x="2894596" y="9182"/>
                  </a:lnTo>
                  <a:lnTo>
                    <a:pt x="2894647" y="10414"/>
                  </a:lnTo>
                  <a:lnTo>
                    <a:pt x="2894749" y="10414"/>
                  </a:lnTo>
                  <a:lnTo>
                    <a:pt x="2894850" y="11062"/>
                  </a:lnTo>
                  <a:lnTo>
                    <a:pt x="2894901" y="11062"/>
                  </a:lnTo>
                  <a:lnTo>
                    <a:pt x="2894952" y="10414"/>
                  </a:lnTo>
                  <a:lnTo>
                    <a:pt x="2895142" y="10414"/>
                  </a:lnTo>
                  <a:lnTo>
                    <a:pt x="2895142" y="11062"/>
                  </a:lnTo>
                  <a:lnTo>
                    <a:pt x="2895193" y="10414"/>
                  </a:lnTo>
                  <a:lnTo>
                    <a:pt x="2895295" y="10414"/>
                  </a:lnTo>
                  <a:lnTo>
                    <a:pt x="2895346" y="9182"/>
                  </a:lnTo>
                  <a:lnTo>
                    <a:pt x="2895396" y="9182"/>
                  </a:lnTo>
                  <a:lnTo>
                    <a:pt x="2895498" y="10414"/>
                  </a:lnTo>
                  <a:lnTo>
                    <a:pt x="2895638" y="10414"/>
                  </a:lnTo>
                  <a:lnTo>
                    <a:pt x="2895638" y="9182"/>
                  </a:lnTo>
                  <a:lnTo>
                    <a:pt x="2895790" y="9182"/>
                  </a:lnTo>
                  <a:lnTo>
                    <a:pt x="2895841" y="10414"/>
                  </a:lnTo>
                  <a:lnTo>
                    <a:pt x="2896095" y="10414"/>
                  </a:lnTo>
                  <a:lnTo>
                    <a:pt x="2896184" y="11062"/>
                  </a:lnTo>
                  <a:lnTo>
                    <a:pt x="2896235" y="11062"/>
                  </a:lnTo>
                  <a:lnTo>
                    <a:pt x="2896235" y="10414"/>
                  </a:lnTo>
                  <a:lnTo>
                    <a:pt x="2896438" y="10414"/>
                  </a:lnTo>
                  <a:lnTo>
                    <a:pt x="2896488" y="11062"/>
                  </a:lnTo>
                  <a:lnTo>
                    <a:pt x="2896488" y="10414"/>
                  </a:lnTo>
                  <a:lnTo>
                    <a:pt x="2896539" y="11062"/>
                  </a:lnTo>
                  <a:lnTo>
                    <a:pt x="2896641" y="10414"/>
                  </a:lnTo>
                  <a:lnTo>
                    <a:pt x="2896882" y="10414"/>
                  </a:lnTo>
                  <a:lnTo>
                    <a:pt x="2896933" y="9182"/>
                  </a:lnTo>
                  <a:lnTo>
                    <a:pt x="2896933" y="10414"/>
                  </a:lnTo>
                  <a:lnTo>
                    <a:pt x="2897136" y="10414"/>
                  </a:lnTo>
                  <a:lnTo>
                    <a:pt x="2897136" y="11062"/>
                  </a:lnTo>
                  <a:lnTo>
                    <a:pt x="2897187" y="11062"/>
                  </a:lnTo>
                  <a:lnTo>
                    <a:pt x="2897225" y="10414"/>
                  </a:lnTo>
                  <a:lnTo>
                    <a:pt x="2897378" y="10414"/>
                  </a:lnTo>
                  <a:lnTo>
                    <a:pt x="2897428" y="9182"/>
                  </a:lnTo>
                  <a:lnTo>
                    <a:pt x="2897530" y="10414"/>
                  </a:lnTo>
                  <a:lnTo>
                    <a:pt x="2897924" y="10414"/>
                  </a:lnTo>
                  <a:lnTo>
                    <a:pt x="2898025" y="11062"/>
                  </a:lnTo>
                  <a:lnTo>
                    <a:pt x="2898025" y="10414"/>
                  </a:lnTo>
                  <a:lnTo>
                    <a:pt x="2898521" y="10414"/>
                  </a:lnTo>
                  <a:lnTo>
                    <a:pt x="2898571" y="9182"/>
                  </a:lnTo>
                  <a:lnTo>
                    <a:pt x="2898673" y="10414"/>
                  </a:lnTo>
                  <a:lnTo>
                    <a:pt x="2899117" y="10414"/>
                  </a:lnTo>
                  <a:lnTo>
                    <a:pt x="2899168" y="9182"/>
                  </a:lnTo>
                  <a:lnTo>
                    <a:pt x="2899219" y="10414"/>
                  </a:lnTo>
                  <a:lnTo>
                    <a:pt x="2899410" y="10414"/>
                  </a:lnTo>
                  <a:lnTo>
                    <a:pt x="2899460" y="11062"/>
                  </a:lnTo>
                  <a:lnTo>
                    <a:pt x="2899663" y="11062"/>
                  </a:lnTo>
                  <a:lnTo>
                    <a:pt x="2899663" y="10414"/>
                  </a:lnTo>
                  <a:lnTo>
                    <a:pt x="2899816" y="10414"/>
                  </a:lnTo>
                  <a:lnTo>
                    <a:pt x="2899854" y="11062"/>
                  </a:lnTo>
                  <a:lnTo>
                    <a:pt x="2899905" y="10414"/>
                  </a:lnTo>
                  <a:lnTo>
                    <a:pt x="2900311" y="10414"/>
                  </a:lnTo>
                  <a:lnTo>
                    <a:pt x="2900311" y="11062"/>
                  </a:lnTo>
                  <a:lnTo>
                    <a:pt x="2900362" y="10414"/>
                  </a:lnTo>
                  <a:lnTo>
                    <a:pt x="2900946" y="10414"/>
                  </a:lnTo>
                  <a:lnTo>
                    <a:pt x="2900997" y="11062"/>
                  </a:lnTo>
                  <a:lnTo>
                    <a:pt x="2901048" y="10414"/>
                  </a:lnTo>
                  <a:lnTo>
                    <a:pt x="2901099" y="10414"/>
                  </a:lnTo>
                  <a:lnTo>
                    <a:pt x="2901200" y="11062"/>
                  </a:lnTo>
                  <a:lnTo>
                    <a:pt x="2901200" y="10414"/>
                  </a:lnTo>
                  <a:lnTo>
                    <a:pt x="2901251" y="10414"/>
                  </a:lnTo>
                  <a:lnTo>
                    <a:pt x="2901302" y="11062"/>
                  </a:lnTo>
                  <a:lnTo>
                    <a:pt x="2901442" y="11062"/>
                  </a:lnTo>
                  <a:lnTo>
                    <a:pt x="2901492" y="10414"/>
                  </a:lnTo>
                  <a:lnTo>
                    <a:pt x="2901492" y="11062"/>
                  </a:lnTo>
                  <a:lnTo>
                    <a:pt x="2901543" y="10414"/>
                  </a:lnTo>
                  <a:lnTo>
                    <a:pt x="2901746" y="10414"/>
                  </a:lnTo>
                  <a:lnTo>
                    <a:pt x="2901848" y="11062"/>
                  </a:lnTo>
                  <a:lnTo>
                    <a:pt x="2901848" y="10414"/>
                  </a:lnTo>
                  <a:lnTo>
                    <a:pt x="2901949" y="10414"/>
                  </a:lnTo>
                  <a:lnTo>
                    <a:pt x="2901988" y="11062"/>
                  </a:lnTo>
                  <a:lnTo>
                    <a:pt x="2901988" y="10414"/>
                  </a:lnTo>
                  <a:lnTo>
                    <a:pt x="2902292" y="10414"/>
                  </a:lnTo>
                  <a:lnTo>
                    <a:pt x="2902292" y="9182"/>
                  </a:lnTo>
                  <a:lnTo>
                    <a:pt x="2902343" y="9182"/>
                  </a:lnTo>
                  <a:lnTo>
                    <a:pt x="2902343" y="10414"/>
                  </a:lnTo>
                  <a:lnTo>
                    <a:pt x="2902635" y="10414"/>
                  </a:lnTo>
                  <a:lnTo>
                    <a:pt x="2902686" y="11062"/>
                  </a:lnTo>
                  <a:lnTo>
                    <a:pt x="2902686" y="10414"/>
                  </a:lnTo>
                  <a:lnTo>
                    <a:pt x="2903981" y="10414"/>
                  </a:lnTo>
                  <a:lnTo>
                    <a:pt x="2904032" y="11062"/>
                  </a:lnTo>
                  <a:lnTo>
                    <a:pt x="2904274" y="11062"/>
                  </a:lnTo>
                  <a:lnTo>
                    <a:pt x="2904375" y="10414"/>
                  </a:lnTo>
                  <a:lnTo>
                    <a:pt x="2904477" y="10414"/>
                  </a:lnTo>
                  <a:lnTo>
                    <a:pt x="2904578" y="11062"/>
                  </a:lnTo>
                  <a:lnTo>
                    <a:pt x="2904617" y="11062"/>
                  </a:lnTo>
                  <a:lnTo>
                    <a:pt x="2904667" y="10414"/>
                  </a:lnTo>
                  <a:lnTo>
                    <a:pt x="2904820" y="10414"/>
                  </a:lnTo>
                  <a:lnTo>
                    <a:pt x="2904820" y="11062"/>
                  </a:lnTo>
                  <a:lnTo>
                    <a:pt x="2904871" y="10414"/>
                  </a:lnTo>
                  <a:lnTo>
                    <a:pt x="2904871" y="11062"/>
                  </a:lnTo>
                  <a:lnTo>
                    <a:pt x="2905264" y="11062"/>
                  </a:lnTo>
                  <a:lnTo>
                    <a:pt x="2905315" y="10414"/>
                  </a:lnTo>
                  <a:lnTo>
                    <a:pt x="2905467" y="10414"/>
                  </a:lnTo>
                  <a:lnTo>
                    <a:pt x="2905467" y="9182"/>
                  </a:lnTo>
                  <a:lnTo>
                    <a:pt x="2905518" y="9182"/>
                  </a:lnTo>
                  <a:lnTo>
                    <a:pt x="2905518" y="10414"/>
                  </a:lnTo>
                  <a:lnTo>
                    <a:pt x="2905709" y="10414"/>
                  </a:lnTo>
                  <a:lnTo>
                    <a:pt x="2905709" y="11062"/>
                  </a:lnTo>
                  <a:lnTo>
                    <a:pt x="2905760" y="11062"/>
                  </a:lnTo>
                  <a:lnTo>
                    <a:pt x="2905760" y="10414"/>
                  </a:lnTo>
                  <a:lnTo>
                    <a:pt x="2906064" y="10414"/>
                  </a:lnTo>
                  <a:lnTo>
                    <a:pt x="2906064" y="11062"/>
                  </a:lnTo>
                  <a:lnTo>
                    <a:pt x="2906166" y="10414"/>
                  </a:lnTo>
                  <a:lnTo>
                    <a:pt x="2906166" y="11062"/>
                  </a:lnTo>
                  <a:lnTo>
                    <a:pt x="2906204" y="11062"/>
                  </a:lnTo>
                  <a:lnTo>
                    <a:pt x="2906255" y="10414"/>
                  </a:lnTo>
                  <a:lnTo>
                    <a:pt x="2906255" y="11062"/>
                  </a:lnTo>
                  <a:lnTo>
                    <a:pt x="2906306" y="11062"/>
                  </a:lnTo>
                  <a:lnTo>
                    <a:pt x="2906407" y="10414"/>
                  </a:lnTo>
                  <a:lnTo>
                    <a:pt x="2907347" y="10414"/>
                  </a:lnTo>
                  <a:lnTo>
                    <a:pt x="2907347" y="11062"/>
                  </a:lnTo>
                  <a:lnTo>
                    <a:pt x="2907792" y="11062"/>
                  </a:lnTo>
                  <a:lnTo>
                    <a:pt x="2907842" y="10414"/>
                  </a:lnTo>
                  <a:lnTo>
                    <a:pt x="2907842" y="11062"/>
                  </a:lnTo>
                  <a:lnTo>
                    <a:pt x="2907893" y="10414"/>
                  </a:lnTo>
                  <a:lnTo>
                    <a:pt x="2907995" y="11062"/>
                  </a:lnTo>
                  <a:lnTo>
                    <a:pt x="2908249" y="11062"/>
                  </a:lnTo>
                  <a:lnTo>
                    <a:pt x="2908299" y="10414"/>
                  </a:lnTo>
                  <a:lnTo>
                    <a:pt x="2908338" y="10414"/>
                  </a:lnTo>
                  <a:lnTo>
                    <a:pt x="2908439" y="11062"/>
                  </a:lnTo>
                  <a:lnTo>
                    <a:pt x="2908490" y="10414"/>
                  </a:lnTo>
                  <a:lnTo>
                    <a:pt x="2908642" y="10414"/>
                  </a:lnTo>
                  <a:lnTo>
                    <a:pt x="2908693" y="11062"/>
                  </a:lnTo>
                  <a:lnTo>
                    <a:pt x="2908693" y="10414"/>
                  </a:lnTo>
                  <a:lnTo>
                    <a:pt x="2908744" y="10414"/>
                  </a:lnTo>
                  <a:lnTo>
                    <a:pt x="2908744" y="11062"/>
                  </a:lnTo>
                  <a:lnTo>
                    <a:pt x="2908795" y="10414"/>
                  </a:lnTo>
                  <a:lnTo>
                    <a:pt x="2908884" y="10414"/>
                  </a:lnTo>
                  <a:lnTo>
                    <a:pt x="2908935" y="11062"/>
                  </a:lnTo>
                  <a:lnTo>
                    <a:pt x="2908985" y="11062"/>
                  </a:lnTo>
                  <a:lnTo>
                    <a:pt x="2909036" y="10414"/>
                  </a:lnTo>
                  <a:lnTo>
                    <a:pt x="2909036" y="11062"/>
                  </a:lnTo>
                  <a:lnTo>
                    <a:pt x="2909138" y="11062"/>
                  </a:lnTo>
                  <a:lnTo>
                    <a:pt x="2909138" y="10414"/>
                  </a:lnTo>
                  <a:lnTo>
                    <a:pt x="2909188" y="11062"/>
                  </a:lnTo>
                  <a:lnTo>
                    <a:pt x="2909341" y="11062"/>
                  </a:lnTo>
                  <a:lnTo>
                    <a:pt x="2909341" y="10414"/>
                  </a:lnTo>
                  <a:lnTo>
                    <a:pt x="2909481" y="10414"/>
                  </a:lnTo>
                  <a:lnTo>
                    <a:pt x="2909582" y="11062"/>
                  </a:lnTo>
                  <a:lnTo>
                    <a:pt x="2909582" y="10414"/>
                  </a:lnTo>
                  <a:lnTo>
                    <a:pt x="2909785" y="10414"/>
                  </a:lnTo>
                  <a:lnTo>
                    <a:pt x="2909785" y="11062"/>
                  </a:lnTo>
                  <a:lnTo>
                    <a:pt x="2909836" y="10414"/>
                  </a:lnTo>
                  <a:lnTo>
                    <a:pt x="2910230" y="10414"/>
                  </a:lnTo>
                  <a:lnTo>
                    <a:pt x="2910230" y="11062"/>
                  </a:lnTo>
                  <a:lnTo>
                    <a:pt x="2910624" y="11062"/>
                  </a:lnTo>
                  <a:lnTo>
                    <a:pt x="2910624" y="10414"/>
                  </a:lnTo>
                  <a:lnTo>
                    <a:pt x="2910776" y="10414"/>
                  </a:lnTo>
                  <a:lnTo>
                    <a:pt x="2910827" y="11062"/>
                  </a:lnTo>
                  <a:lnTo>
                    <a:pt x="2910928" y="10414"/>
                  </a:lnTo>
                  <a:lnTo>
                    <a:pt x="2910928" y="11062"/>
                  </a:lnTo>
                  <a:lnTo>
                    <a:pt x="2910967" y="10414"/>
                  </a:lnTo>
                  <a:lnTo>
                    <a:pt x="2911170" y="10414"/>
                  </a:lnTo>
                  <a:lnTo>
                    <a:pt x="2911170" y="11062"/>
                  </a:lnTo>
                  <a:lnTo>
                    <a:pt x="2911614" y="11062"/>
                  </a:lnTo>
                  <a:lnTo>
                    <a:pt x="2911665" y="10414"/>
                  </a:lnTo>
                  <a:lnTo>
                    <a:pt x="2911716" y="10414"/>
                  </a:lnTo>
                  <a:lnTo>
                    <a:pt x="2911817" y="11062"/>
                  </a:lnTo>
                  <a:lnTo>
                    <a:pt x="2911868" y="10414"/>
                  </a:lnTo>
                  <a:lnTo>
                    <a:pt x="2912313" y="10414"/>
                  </a:lnTo>
                  <a:lnTo>
                    <a:pt x="2912363" y="11062"/>
                  </a:lnTo>
                  <a:lnTo>
                    <a:pt x="2912414" y="10414"/>
                  </a:lnTo>
                  <a:lnTo>
                    <a:pt x="2913253" y="10414"/>
                  </a:lnTo>
                  <a:lnTo>
                    <a:pt x="2913253" y="11062"/>
                  </a:lnTo>
                  <a:lnTo>
                    <a:pt x="2913405" y="11062"/>
                  </a:lnTo>
                  <a:lnTo>
                    <a:pt x="2913405" y="10414"/>
                  </a:lnTo>
                  <a:lnTo>
                    <a:pt x="2913506" y="10414"/>
                  </a:lnTo>
                  <a:lnTo>
                    <a:pt x="2913557" y="11062"/>
                  </a:lnTo>
                  <a:lnTo>
                    <a:pt x="2913557" y="10414"/>
                  </a:lnTo>
                  <a:lnTo>
                    <a:pt x="2913646" y="11062"/>
                  </a:lnTo>
                  <a:lnTo>
                    <a:pt x="2913799" y="11062"/>
                  </a:lnTo>
                  <a:lnTo>
                    <a:pt x="2913799" y="10414"/>
                  </a:lnTo>
                  <a:lnTo>
                    <a:pt x="2913900" y="11062"/>
                  </a:lnTo>
                  <a:lnTo>
                    <a:pt x="2914103" y="11062"/>
                  </a:lnTo>
                  <a:lnTo>
                    <a:pt x="2914142" y="10414"/>
                  </a:lnTo>
                  <a:lnTo>
                    <a:pt x="2914192" y="10414"/>
                  </a:lnTo>
                  <a:lnTo>
                    <a:pt x="2914243" y="11062"/>
                  </a:lnTo>
                  <a:lnTo>
                    <a:pt x="2914243" y="10414"/>
                  </a:lnTo>
                  <a:lnTo>
                    <a:pt x="2914345" y="11062"/>
                  </a:lnTo>
                  <a:lnTo>
                    <a:pt x="2914396" y="10414"/>
                  </a:lnTo>
                  <a:lnTo>
                    <a:pt x="2914446" y="11062"/>
                  </a:lnTo>
                  <a:lnTo>
                    <a:pt x="2914649" y="11062"/>
                  </a:lnTo>
                  <a:lnTo>
                    <a:pt x="2914649" y="10414"/>
                  </a:lnTo>
                  <a:lnTo>
                    <a:pt x="2914688" y="11062"/>
                  </a:lnTo>
                  <a:lnTo>
                    <a:pt x="2914789" y="10414"/>
                  </a:lnTo>
                  <a:lnTo>
                    <a:pt x="2914891" y="10414"/>
                  </a:lnTo>
                  <a:lnTo>
                    <a:pt x="2914992" y="11062"/>
                  </a:lnTo>
                  <a:lnTo>
                    <a:pt x="2915145" y="11062"/>
                  </a:lnTo>
                  <a:lnTo>
                    <a:pt x="2915234" y="10414"/>
                  </a:lnTo>
                  <a:lnTo>
                    <a:pt x="2915234" y="11062"/>
                  </a:lnTo>
                  <a:lnTo>
                    <a:pt x="2915335" y="11062"/>
                  </a:lnTo>
                  <a:lnTo>
                    <a:pt x="2915335" y="11760"/>
                  </a:lnTo>
                  <a:lnTo>
                    <a:pt x="2915386" y="11062"/>
                  </a:lnTo>
                  <a:lnTo>
                    <a:pt x="2915488" y="11062"/>
                  </a:lnTo>
                  <a:lnTo>
                    <a:pt x="2915538" y="10414"/>
                  </a:lnTo>
                  <a:lnTo>
                    <a:pt x="2915691" y="10414"/>
                  </a:lnTo>
                  <a:lnTo>
                    <a:pt x="2915729" y="11062"/>
                  </a:lnTo>
                  <a:lnTo>
                    <a:pt x="2916135" y="11062"/>
                  </a:lnTo>
                  <a:lnTo>
                    <a:pt x="2916135" y="10414"/>
                  </a:lnTo>
                  <a:lnTo>
                    <a:pt x="2916186" y="11062"/>
                  </a:lnTo>
                  <a:lnTo>
                    <a:pt x="2916186" y="10414"/>
                  </a:lnTo>
                  <a:lnTo>
                    <a:pt x="2916237" y="11062"/>
                  </a:lnTo>
                  <a:lnTo>
                    <a:pt x="2916580" y="11062"/>
                  </a:lnTo>
                  <a:lnTo>
                    <a:pt x="2916580" y="10414"/>
                  </a:lnTo>
                  <a:lnTo>
                    <a:pt x="2916631" y="11062"/>
                  </a:lnTo>
                  <a:lnTo>
                    <a:pt x="2916681" y="11062"/>
                  </a:lnTo>
                  <a:lnTo>
                    <a:pt x="2916681" y="10414"/>
                  </a:lnTo>
                  <a:lnTo>
                    <a:pt x="2917317" y="10414"/>
                  </a:lnTo>
                  <a:lnTo>
                    <a:pt x="2917367" y="11062"/>
                  </a:lnTo>
                  <a:lnTo>
                    <a:pt x="2917418" y="11062"/>
                  </a:lnTo>
                  <a:lnTo>
                    <a:pt x="2917520" y="10414"/>
                  </a:lnTo>
                  <a:lnTo>
                    <a:pt x="2917571" y="11062"/>
                  </a:lnTo>
                  <a:lnTo>
                    <a:pt x="2917621" y="11062"/>
                  </a:lnTo>
                  <a:lnTo>
                    <a:pt x="2917621" y="10414"/>
                  </a:lnTo>
                  <a:lnTo>
                    <a:pt x="2917824" y="10414"/>
                  </a:lnTo>
                  <a:lnTo>
                    <a:pt x="2917863" y="11062"/>
                  </a:lnTo>
                  <a:lnTo>
                    <a:pt x="2917964" y="10414"/>
                  </a:lnTo>
                  <a:lnTo>
                    <a:pt x="2918167" y="10414"/>
                  </a:lnTo>
                  <a:lnTo>
                    <a:pt x="2918218" y="11062"/>
                  </a:lnTo>
                  <a:lnTo>
                    <a:pt x="2918218" y="10414"/>
                  </a:lnTo>
                  <a:lnTo>
                    <a:pt x="2918269" y="11062"/>
                  </a:lnTo>
                  <a:lnTo>
                    <a:pt x="2918269" y="10414"/>
                  </a:lnTo>
                  <a:lnTo>
                    <a:pt x="2918320" y="11062"/>
                  </a:lnTo>
                  <a:lnTo>
                    <a:pt x="2918866" y="11062"/>
                  </a:lnTo>
                  <a:lnTo>
                    <a:pt x="2918866" y="11760"/>
                  </a:lnTo>
                  <a:lnTo>
                    <a:pt x="2918904" y="11760"/>
                  </a:lnTo>
                  <a:lnTo>
                    <a:pt x="2918904" y="11062"/>
                  </a:lnTo>
                  <a:lnTo>
                    <a:pt x="2919361" y="11062"/>
                  </a:lnTo>
                  <a:lnTo>
                    <a:pt x="2919412" y="11760"/>
                  </a:lnTo>
                  <a:lnTo>
                    <a:pt x="2919450" y="11062"/>
                  </a:lnTo>
                  <a:lnTo>
                    <a:pt x="2919603" y="11062"/>
                  </a:lnTo>
                  <a:lnTo>
                    <a:pt x="2919653" y="10414"/>
                  </a:lnTo>
                  <a:lnTo>
                    <a:pt x="2919755" y="11062"/>
                  </a:lnTo>
                  <a:lnTo>
                    <a:pt x="2920898" y="11062"/>
                  </a:lnTo>
                  <a:lnTo>
                    <a:pt x="2920898" y="10414"/>
                  </a:lnTo>
                  <a:lnTo>
                    <a:pt x="2920949" y="11062"/>
                  </a:lnTo>
                  <a:lnTo>
                    <a:pt x="2921038" y="11062"/>
                  </a:lnTo>
                  <a:lnTo>
                    <a:pt x="2921139" y="10414"/>
                  </a:lnTo>
                  <a:lnTo>
                    <a:pt x="2921190" y="10414"/>
                  </a:lnTo>
                  <a:lnTo>
                    <a:pt x="2921190" y="11062"/>
                  </a:lnTo>
                  <a:lnTo>
                    <a:pt x="2921342" y="11062"/>
                  </a:lnTo>
                  <a:lnTo>
                    <a:pt x="2921342" y="10414"/>
                  </a:lnTo>
                  <a:lnTo>
                    <a:pt x="2921495" y="10414"/>
                  </a:lnTo>
                  <a:lnTo>
                    <a:pt x="2921495" y="11062"/>
                  </a:lnTo>
                  <a:lnTo>
                    <a:pt x="2921838" y="11062"/>
                  </a:lnTo>
                  <a:lnTo>
                    <a:pt x="2921888" y="11760"/>
                  </a:lnTo>
                  <a:lnTo>
                    <a:pt x="2921888" y="11062"/>
                  </a:lnTo>
                  <a:lnTo>
                    <a:pt x="2922041" y="11062"/>
                  </a:lnTo>
                  <a:lnTo>
                    <a:pt x="2922079" y="11760"/>
                  </a:lnTo>
                  <a:lnTo>
                    <a:pt x="2922130" y="11062"/>
                  </a:lnTo>
                  <a:lnTo>
                    <a:pt x="2922333" y="11062"/>
                  </a:lnTo>
                  <a:lnTo>
                    <a:pt x="2922384" y="10414"/>
                  </a:lnTo>
                  <a:lnTo>
                    <a:pt x="2922384" y="11062"/>
                  </a:lnTo>
                  <a:lnTo>
                    <a:pt x="2922485" y="11062"/>
                  </a:lnTo>
                  <a:lnTo>
                    <a:pt x="2922536" y="10414"/>
                  </a:lnTo>
                  <a:lnTo>
                    <a:pt x="2922536" y="11062"/>
                  </a:lnTo>
                  <a:lnTo>
                    <a:pt x="2922587" y="10414"/>
                  </a:lnTo>
                  <a:lnTo>
                    <a:pt x="2922727" y="10414"/>
                  </a:lnTo>
                  <a:lnTo>
                    <a:pt x="2922778" y="11062"/>
                  </a:lnTo>
                  <a:lnTo>
                    <a:pt x="2922930" y="11062"/>
                  </a:lnTo>
                  <a:lnTo>
                    <a:pt x="2922981" y="10414"/>
                  </a:lnTo>
                  <a:lnTo>
                    <a:pt x="2922981" y="11062"/>
                  </a:lnTo>
                  <a:lnTo>
                    <a:pt x="2923031" y="10414"/>
                  </a:lnTo>
                  <a:lnTo>
                    <a:pt x="2923031" y="11062"/>
                  </a:lnTo>
                  <a:lnTo>
                    <a:pt x="2923082" y="10414"/>
                  </a:lnTo>
                  <a:lnTo>
                    <a:pt x="2923222" y="10414"/>
                  </a:lnTo>
                  <a:lnTo>
                    <a:pt x="2923222" y="11062"/>
                  </a:lnTo>
                  <a:lnTo>
                    <a:pt x="2923273" y="10414"/>
                  </a:lnTo>
                  <a:lnTo>
                    <a:pt x="2923324" y="10414"/>
                  </a:lnTo>
                  <a:lnTo>
                    <a:pt x="2923425" y="11062"/>
                  </a:lnTo>
                  <a:lnTo>
                    <a:pt x="2923476" y="10414"/>
                  </a:lnTo>
                  <a:lnTo>
                    <a:pt x="2923527" y="11062"/>
                  </a:lnTo>
                  <a:lnTo>
                    <a:pt x="2923628" y="11062"/>
                  </a:lnTo>
                  <a:lnTo>
                    <a:pt x="2923667" y="10414"/>
                  </a:lnTo>
                  <a:lnTo>
                    <a:pt x="2923667" y="11062"/>
                  </a:lnTo>
                  <a:lnTo>
                    <a:pt x="2924416" y="11062"/>
                  </a:lnTo>
                  <a:lnTo>
                    <a:pt x="2924517" y="10414"/>
                  </a:lnTo>
                  <a:lnTo>
                    <a:pt x="2924517" y="11062"/>
                  </a:lnTo>
                  <a:lnTo>
                    <a:pt x="2924810" y="11062"/>
                  </a:lnTo>
                  <a:lnTo>
                    <a:pt x="2924810" y="10414"/>
                  </a:lnTo>
                  <a:lnTo>
                    <a:pt x="2924860" y="10414"/>
                  </a:lnTo>
                  <a:lnTo>
                    <a:pt x="2924860" y="11062"/>
                  </a:lnTo>
                  <a:lnTo>
                    <a:pt x="2925114" y="11062"/>
                  </a:lnTo>
                  <a:lnTo>
                    <a:pt x="2925114" y="11760"/>
                  </a:lnTo>
                  <a:lnTo>
                    <a:pt x="2925216" y="11062"/>
                  </a:lnTo>
                  <a:lnTo>
                    <a:pt x="2925254" y="11760"/>
                  </a:lnTo>
                  <a:lnTo>
                    <a:pt x="2925254" y="11062"/>
                  </a:lnTo>
                  <a:lnTo>
                    <a:pt x="2926105" y="11062"/>
                  </a:lnTo>
                  <a:lnTo>
                    <a:pt x="2926105" y="10414"/>
                  </a:lnTo>
                  <a:lnTo>
                    <a:pt x="2926156" y="10414"/>
                  </a:lnTo>
                  <a:lnTo>
                    <a:pt x="2926156" y="11062"/>
                  </a:lnTo>
                  <a:lnTo>
                    <a:pt x="2926257" y="11062"/>
                  </a:lnTo>
                  <a:lnTo>
                    <a:pt x="2926257" y="10414"/>
                  </a:lnTo>
                  <a:lnTo>
                    <a:pt x="2926397" y="10414"/>
                  </a:lnTo>
                  <a:lnTo>
                    <a:pt x="2926397" y="11062"/>
                  </a:lnTo>
                  <a:lnTo>
                    <a:pt x="2926499" y="11062"/>
                  </a:lnTo>
                  <a:lnTo>
                    <a:pt x="2926600" y="10414"/>
                  </a:lnTo>
                  <a:lnTo>
                    <a:pt x="2926842" y="10414"/>
                  </a:lnTo>
                  <a:lnTo>
                    <a:pt x="2926892" y="11062"/>
                  </a:lnTo>
                  <a:lnTo>
                    <a:pt x="2926892" y="10414"/>
                  </a:lnTo>
                  <a:lnTo>
                    <a:pt x="2926943" y="11062"/>
                  </a:lnTo>
                  <a:lnTo>
                    <a:pt x="2927045" y="11062"/>
                  </a:lnTo>
                  <a:lnTo>
                    <a:pt x="2927045" y="10414"/>
                  </a:lnTo>
                  <a:lnTo>
                    <a:pt x="2927146" y="10414"/>
                  </a:lnTo>
                  <a:lnTo>
                    <a:pt x="2927248" y="11062"/>
                  </a:lnTo>
                  <a:lnTo>
                    <a:pt x="2927845" y="11062"/>
                  </a:lnTo>
                  <a:lnTo>
                    <a:pt x="2927845" y="11760"/>
                  </a:lnTo>
                  <a:lnTo>
                    <a:pt x="2927934" y="11062"/>
                  </a:lnTo>
                  <a:lnTo>
                    <a:pt x="2928035" y="11062"/>
                  </a:lnTo>
                  <a:lnTo>
                    <a:pt x="2928086" y="11760"/>
                  </a:lnTo>
                  <a:lnTo>
                    <a:pt x="2928086" y="11062"/>
                  </a:lnTo>
                  <a:lnTo>
                    <a:pt x="2928188" y="11062"/>
                  </a:lnTo>
                  <a:lnTo>
                    <a:pt x="2928188" y="11760"/>
                  </a:lnTo>
                  <a:lnTo>
                    <a:pt x="2928238" y="11062"/>
                  </a:lnTo>
                  <a:lnTo>
                    <a:pt x="2928289" y="11760"/>
                  </a:lnTo>
                  <a:lnTo>
                    <a:pt x="2928429" y="11760"/>
                  </a:lnTo>
                  <a:lnTo>
                    <a:pt x="2928429" y="11062"/>
                  </a:lnTo>
                  <a:lnTo>
                    <a:pt x="2928480" y="11062"/>
                  </a:lnTo>
                  <a:lnTo>
                    <a:pt x="2928531" y="11760"/>
                  </a:lnTo>
                  <a:lnTo>
                    <a:pt x="2928531" y="11062"/>
                  </a:lnTo>
                  <a:lnTo>
                    <a:pt x="2929128" y="11062"/>
                  </a:lnTo>
                  <a:lnTo>
                    <a:pt x="2929128" y="11760"/>
                  </a:lnTo>
                  <a:lnTo>
                    <a:pt x="2929178" y="11760"/>
                  </a:lnTo>
                  <a:lnTo>
                    <a:pt x="2929178" y="11062"/>
                  </a:lnTo>
                  <a:lnTo>
                    <a:pt x="2929775" y="11062"/>
                  </a:lnTo>
                  <a:lnTo>
                    <a:pt x="2929826" y="10414"/>
                  </a:lnTo>
                  <a:lnTo>
                    <a:pt x="2929826" y="11062"/>
                  </a:lnTo>
                  <a:lnTo>
                    <a:pt x="2930017" y="11062"/>
                  </a:lnTo>
                  <a:lnTo>
                    <a:pt x="2930067" y="10414"/>
                  </a:lnTo>
                  <a:lnTo>
                    <a:pt x="2930118" y="11062"/>
                  </a:lnTo>
                  <a:lnTo>
                    <a:pt x="2930271" y="11062"/>
                  </a:lnTo>
                  <a:lnTo>
                    <a:pt x="2930271" y="11760"/>
                  </a:lnTo>
                  <a:lnTo>
                    <a:pt x="2930321" y="11760"/>
                  </a:lnTo>
                  <a:lnTo>
                    <a:pt x="2930423" y="11062"/>
                  </a:lnTo>
                  <a:lnTo>
                    <a:pt x="2930664" y="11062"/>
                  </a:lnTo>
                  <a:lnTo>
                    <a:pt x="2930715" y="11760"/>
                  </a:lnTo>
                  <a:lnTo>
                    <a:pt x="2930766" y="11062"/>
                  </a:lnTo>
                  <a:lnTo>
                    <a:pt x="2931160" y="11062"/>
                  </a:lnTo>
                  <a:lnTo>
                    <a:pt x="2931160" y="11760"/>
                  </a:lnTo>
                  <a:lnTo>
                    <a:pt x="2931261" y="11760"/>
                  </a:lnTo>
                  <a:lnTo>
                    <a:pt x="2931363" y="11062"/>
                  </a:lnTo>
                  <a:lnTo>
                    <a:pt x="2931363" y="11760"/>
                  </a:lnTo>
                  <a:lnTo>
                    <a:pt x="2931413" y="11760"/>
                  </a:lnTo>
                  <a:lnTo>
                    <a:pt x="2931464" y="11062"/>
                  </a:lnTo>
                  <a:lnTo>
                    <a:pt x="2931858" y="11062"/>
                  </a:lnTo>
                  <a:lnTo>
                    <a:pt x="2931858" y="11760"/>
                  </a:lnTo>
                  <a:lnTo>
                    <a:pt x="2931909" y="11062"/>
                  </a:lnTo>
                  <a:lnTo>
                    <a:pt x="2932150" y="11062"/>
                  </a:lnTo>
                  <a:lnTo>
                    <a:pt x="2932150" y="11760"/>
                  </a:lnTo>
                  <a:lnTo>
                    <a:pt x="2932252" y="11760"/>
                  </a:lnTo>
                  <a:lnTo>
                    <a:pt x="2932252" y="11062"/>
                  </a:lnTo>
                  <a:lnTo>
                    <a:pt x="2932353" y="11062"/>
                  </a:lnTo>
                  <a:lnTo>
                    <a:pt x="2932353" y="10414"/>
                  </a:lnTo>
                  <a:lnTo>
                    <a:pt x="2932455" y="10414"/>
                  </a:lnTo>
                  <a:lnTo>
                    <a:pt x="2932506" y="11062"/>
                  </a:lnTo>
                  <a:lnTo>
                    <a:pt x="2932556" y="11062"/>
                  </a:lnTo>
                  <a:lnTo>
                    <a:pt x="2932607" y="10414"/>
                  </a:lnTo>
                  <a:lnTo>
                    <a:pt x="2932696" y="11062"/>
                  </a:lnTo>
                  <a:lnTo>
                    <a:pt x="2932747" y="10414"/>
                  </a:lnTo>
                  <a:lnTo>
                    <a:pt x="2932747" y="11062"/>
                  </a:lnTo>
                  <a:lnTo>
                    <a:pt x="2932798" y="10414"/>
                  </a:lnTo>
                  <a:lnTo>
                    <a:pt x="2932849" y="11062"/>
                  </a:lnTo>
                  <a:lnTo>
                    <a:pt x="2933001" y="11062"/>
                  </a:lnTo>
                  <a:lnTo>
                    <a:pt x="2933001" y="11760"/>
                  </a:lnTo>
                  <a:lnTo>
                    <a:pt x="2933052" y="11760"/>
                  </a:lnTo>
                  <a:lnTo>
                    <a:pt x="2933052" y="11062"/>
                  </a:lnTo>
                  <a:lnTo>
                    <a:pt x="2933649" y="11062"/>
                  </a:lnTo>
                  <a:lnTo>
                    <a:pt x="2933649" y="10414"/>
                  </a:lnTo>
                  <a:lnTo>
                    <a:pt x="2933699" y="11062"/>
                  </a:lnTo>
                  <a:lnTo>
                    <a:pt x="2933699" y="10414"/>
                  </a:lnTo>
                  <a:lnTo>
                    <a:pt x="2933738" y="10414"/>
                  </a:lnTo>
                  <a:lnTo>
                    <a:pt x="2933839" y="11062"/>
                  </a:lnTo>
                  <a:lnTo>
                    <a:pt x="2934042" y="11062"/>
                  </a:lnTo>
                  <a:lnTo>
                    <a:pt x="2934093" y="10414"/>
                  </a:lnTo>
                  <a:lnTo>
                    <a:pt x="2934093" y="11062"/>
                  </a:lnTo>
                  <a:lnTo>
                    <a:pt x="2934830" y="11062"/>
                  </a:lnTo>
                  <a:lnTo>
                    <a:pt x="2934881" y="11760"/>
                  </a:lnTo>
                  <a:lnTo>
                    <a:pt x="2934881" y="11062"/>
                  </a:lnTo>
                  <a:lnTo>
                    <a:pt x="2935528" y="11062"/>
                  </a:lnTo>
                  <a:lnTo>
                    <a:pt x="2935528" y="11760"/>
                  </a:lnTo>
                  <a:lnTo>
                    <a:pt x="2935630" y="11760"/>
                  </a:lnTo>
                  <a:lnTo>
                    <a:pt x="2935681" y="11062"/>
                  </a:lnTo>
                  <a:lnTo>
                    <a:pt x="2935871" y="11062"/>
                  </a:lnTo>
                  <a:lnTo>
                    <a:pt x="2935922" y="11760"/>
                  </a:lnTo>
                  <a:lnTo>
                    <a:pt x="2936024" y="11760"/>
                  </a:lnTo>
                  <a:lnTo>
                    <a:pt x="2936024" y="11062"/>
                  </a:lnTo>
                  <a:lnTo>
                    <a:pt x="2936367" y="11062"/>
                  </a:lnTo>
                  <a:lnTo>
                    <a:pt x="2936417" y="11760"/>
                  </a:lnTo>
                  <a:lnTo>
                    <a:pt x="2936468" y="11760"/>
                  </a:lnTo>
                  <a:lnTo>
                    <a:pt x="2936570" y="11062"/>
                  </a:lnTo>
                  <a:lnTo>
                    <a:pt x="2936621" y="11062"/>
                  </a:lnTo>
                  <a:lnTo>
                    <a:pt x="2936621" y="11760"/>
                  </a:lnTo>
                  <a:lnTo>
                    <a:pt x="2936671" y="11062"/>
                  </a:lnTo>
                  <a:lnTo>
                    <a:pt x="2936913" y="11062"/>
                  </a:lnTo>
                  <a:lnTo>
                    <a:pt x="2936913" y="11760"/>
                  </a:lnTo>
                  <a:lnTo>
                    <a:pt x="2937014" y="11760"/>
                  </a:lnTo>
                  <a:lnTo>
                    <a:pt x="2937014" y="11062"/>
                  </a:lnTo>
                  <a:lnTo>
                    <a:pt x="2937954" y="11062"/>
                  </a:lnTo>
                  <a:lnTo>
                    <a:pt x="2937954" y="11760"/>
                  </a:lnTo>
                  <a:lnTo>
                    <a:pt x="2938005" y="11760"/>
                  </a:lnTo>
                  <a:lnTo>
                    <a:pt x="2938056" y="11062"/>
                  </a:lnTo>
                  <a:lnTo>
                    <a:pt x="2938208" y="11062"/>
                  </a:lnTo>
                  <a:lnTo>
                    <a:pt x="2938259" y="11760"/>
                  </a:lnTo>
                  <a:lnTo>
                    <a:pt x="2938360" y="11760"/>
                  </a:lnTo>
                  <a:lnTo>
                    <a:pt x="2938411" y="11062"/>
                  </a:lnTo>
                  <a:lnTo>
                    <a:pt x="2938906" y="11062"/>
                  </a:lnTo>
                  <a:lnTo>
                    <a:pt x="2938906" y="11760"/>
                  </a:lnTo>
                  <a:lnTo>
                    <a:pt x="2938957" y="11062"/>
                  </a:lnTo>
                  <a:lnTo>
                    <a:pt x="2939148" y="11062"/>
                  </a:lnTo>
                  <a:lnTo>
                    <a:pt x="2939199" y="10414"/>
                  </a:lnTo>
                  <a:lnTo>
                    <a:pt x="2939300" y="11062"/>
                  </a:lnTo>
                  <a:lnTo>
                    <a:pt x="2939402" y="11062"/>
                  </a:lnTo>
                  <a:lnTo>
                    <a:pt x="2939402" y="11760"/>
                  </a:lnTo>
                  <a:lnTo>
                    <a:pt x="2939796" y="11760"/>
                  </a:lnTo>
                  <a:lnTo>
                    <a:pt x="2939796" y="11062"/>
                  </a:lnTo>
                  <a:lnTo>
                    <a:pt x="2939948" y="11062"/>
                  </a:lnTo>
                  <a:lnTo>
                    <a:pt x="2939999" y="11760"/>
                  </a:lnTo>
                  <a:lnTo>
                    <a:pt x="2940049" y="11062"/>
                  </a:lnTo>
                  <a:lnTo>
                    <a:pt x="2941091" y="11062"/>
                  </a:lnTo>
                  <a:lnTo>
                    <a:pt x="2941129" y="11760"/>
                  </a:lnTo>
                  <a:lnTo>
                    <a:pt x="2941180" y="11062"/>
                  </a:lnTo>
                  <a:lnTo>
                    <a:pt x="2941180" y="11760"/>
                  </a:lnTo>
                  <a:lnTo>
                    <a:pt x="2941231" y="11062"/>
                  </a:lnTo>
                  <a:lnTo>
                    <a:pt x="2941332" y="11760"/>
                  </a:lnTo>
                  <a:lnTo>
                    <a:pt x="2941332" y="11062"/>
                  </a:lnTo>
                  <a:lnTo>
                    <a:pt x="2942031" y="11062"/>
                  </a:lnTo>
                  <a:lnTo>
                    <a:pt x="2942081" y="11760"/>
                  </a:lnTo>
                  <a:lnTo>
                    <a:pt x="2942081" y="11062"/>
                  </a:lnTo>
                  <a:lnTo>
                    <a:pt x="2942678" y="11062"/>
                  </a:lnTo>
                  <a:lnTo>
                    <a:pt x="2942717" y="11760"/>
                  </a:lnTo>
                  <a:lnTo>
                    <a:pt x="2942767" y="11760"/>
                  </a:lnTo>
                  <a:lnTo>
                    <a:pt x="2942767" y="11062"/>
                  </a:lnTo>
                  <a:lnTo>
                    <a:pt x="2942818" y="11062"/>
                  </a:lnTo>
                  <a:lnTo>
                    <a:pt x="2942818" y="11760"/>
                  </a:lnTo>
                  <a:lnTo>
                    <a:pt x="2943021" y="11760"/>
                  </a:lnTo>
                  <a:lnTo>
                    <a:pt x="2943021" y="11062"/>
                  </a:lnTo>
                  <a:lnTo>
                    <a:pt x="2944113" y="11062"/>
                  </a:lnTo>
                  <a:lnTo>
                    <a:pt x="2944164" y="10414"/>
                  </a:lnTo>
                  <a:lnTo>
                    <a:pt x="2944266" y="10414"/>
                  </a:lnTo>
                  <a:lnTo>
                    <a:pt x="2944304" y="11062"/>
                  </a:lnTo>
                  <a:lnTo>
                    <a:pt x="2944558" y="11062"/>
                  </a:lnTo>
                  <a:lnTo>
                    <a:pt x="2944609" y="11760"/>
                  </a:lnTo>
                  <a:lnTo>
                    <a:pt x="2944609" y="11062"/>
                  </a:lnTo>
                  <a:lnTo>
                    <a:pt x="2944761" y="11062"/>
                  </a:lnTo>
                  <a:lnTo>
                    <a:pt x="2944812" y="11760"/>
                  </a:lnTo>
                  <a:lnTo>
                    <a:pt x="2944812" y="11062"/>
                  </a:lnTo>
                  <a:lnTo>
                    <a:pt x="2944850" y="11760"/>
                  </a:lnTo>
                  <a:lnTo>
                    <a:pt x="2944850" y="11062"/>
                  </a:lnTo>
                  <a:lnTo>
                    <a:pt x="2944952" y="11760"/>
                  </a:lnTo>
                  <a:lnTo>
                    <a:pt x="2945003" y="11760"/>
                  </a:lnTo>
                  <a:lnTo>
                    <a:pt x="2945053" y="11062"/>
                  </a:lnTo>
                  <a:lnTo>
                    <a:pt x="2945155" y="11062"/>
                  </a:lnTo>
                  <a:lnTo>
                    <a:pt x="2945206" y="10414"/>
                  </a:lnTo>
                  <a:lnTo>
                    <a:pt x="2945206" y="11062"/>
                  </a:lnTo>
                  <a:lnTo>
                    <a:pt x="2945256" y="11062"/>
                  </a:lnTo>
                  <a:lnTo>
                    <a:pt x="2945256" y="11760"/>
                  </a:lnTo>
                  <a:lnTo>
                    <a:pt x="2945307" y="12408"/>
                  </a:lnTo>
                  <a:lnTo>
                    <a:pt x="2945307" y="11760"/>
                  </a:lnTo>
                  <a:lnTo>
                    <a:pt x="2945498" y="11760"/>
                  </a:lnTo>
                  <a:lnTo>
                    <a:pt x="2945498" y="11062"/>
                  </a:lnTo>
                  <a:lnTo>
                    <a:pt x="2945549" y="11760"/>
                  </a:lnTo>
                  <a:lnTo>
                    <a:pt x="2945752" y="11760"/>
                  </a:lnTo>
                  <a:lnTo>
                    <a:pt x="2945853" y="11062"/>
                  </a:lnTo>
                  <a:lnTo>
                    <a:pt x="2945942" y="11062"/>
                  </a:lnTo>
                  <a:lnTo>
                    <a:pt x="2945993" y="10414"/>
                  </a:lnTo>
                  <a:lnTo>
                    <a:pt x="2945993" y="11062"/>
                  </a:lnTo>
                  <a:lnTo>
                    <a:pt x="2946196" y="11062"/>
                  </a:lnTo>
                  <a:lnTo>
                    <a:pt x="2946196" y="11760"/>
                  </a:lnTo>
                  <a:lnTo>
                    <a:pt x="2946399" y="11760"/>
                  </a:lnTo>
                  <a:lnTo>
                    <a:pt x="2946438" y="11062"/>
                  </a:lnTo>
                  <a:lnTo>
                    <a:pt x="2946590" y="11062"/>
                  </a:lnTo>
                  <a:lnTo>
                    <a:pt x="2946641" y="11760"/>
                  </a:lnTo>
                  <a:lnTo>
                    <a:pt x="2946742" y="11062"/>
                  </a:lnTo>
                  <a:lnTo>
                    <a:pt x="2946844" y="11062"/>
                  </a:lnTo>
                  <a:lnTo>
                    <a:pt x="2946844" y="10414"/>
                  </a:lnTo>
                  <a:lnTo>
                    <a:pt x="2947035" y="10414"/>
                  </a:lnTo>
                  <a:lnTo>
                    <a:pt x="2947035" y="11062"/>
                  </a:lnTo>
                  <a:lnTo>
                    <a:pt x="2947136" y="11062"/>
                  </a:lnTo>
                  <a:lnTo>
                    <a:pt x="2947238" y="11760"/>
                  </a:lnTo>
                  <a:lnTo>
                    <a:pt x="2947288" y="11760"/>
                  </a:lnTo>
                  <a:lnTo>
                    <a:pt x="2947339" y="11062"/>
                  </a:lnTo>
                  <a:lnTo>
                    <a:pt x="2947733" y="11062"/>
                  </a:lnTo>
                  <a:lnTo>
                    <a:pt x="2947733" y="11760"/>
                  </a:lnTo>
                  <a:lnTo>
                    <a:pt x="2947784" y="11062"/>
                  </a:lnTo>
                  <a:lnTo>
                    <a:pt x="2948025" y="11062"/>
                  </a:lnTo>
                  <a:lnTo>
                    <a:pt x="2948127" y="11760"/>
                  </a:lnTo>
                  <a:lnTo>
                    <a:pt x="2948178" y="11760"/>
                  </a:lnTo>
                  <a:lnTo>
                    <a:pt x="2948178" y="11062"/>
                  </a:lnTo>
                  <a:lnTo>
                    <a:pt x="2948571" y="11062"/>
                  </a:lnTo>
                  <a:lnTo>
                    <a:pt x="2948571" y="11760"/>
                  </a:lnTo>
                  <a:lnTo>
                    <a:pt x="2948622" y="11062"/>
                  </a:lnTo>
                  <a:lnTo>
                    <a:pt x="2949321" y="11062"/>
                  </a:lnTo>
                  <a:lnTo>
                    <a:pt x="2949371" y="10414"/>
                  </a:lnTo>
                  <a:lnTo>
                    <a:pt x="2949371" y="11062"/>
                  </a:lnTo>
                  <a:lnTo>
                    <a:pt x="2949524" y="11062"/>
                  </a:lnTo>
                  <a:lnTo>
                    <a:pt x="2949574" y="11760"/>
                  </a:lnTo>
                  <a:lnTo>
                    <a:pt x="2949613" y="11062"/>
                  </a:lnTo>
                  <a:lnTo>
                    <a:pt x="2949714" y="11062"/>
                  </a:lnTo>
                  <a:lnTo>
                    <a:pt x="2949765" y="11760"/>
                  </a:lnTo>
                  <a:lnTo>
                    <a:pt x="2949765" y="11062"/>
                  </a:lnTo>
                  <a:lnTo>
                    <a:pt x="2949816" y="11062"/>
                  </a:lnTo>
                  <a:lnTo>
                    <a:pt x="2949816" y="11760"/>
                  </a:lnTo>
                  <a:lnTo>
                    <a:pt x="2949917" y="11760"/>
                  </a:lnTo>
                  <a:lnTo>
                    <a:pt x="2949968" y="11062"/>
                  </a:lnTo>
                  <a:lnTo>
                    <a:pt x="2950019" y="11062"/>
                  </a:lnTo>
                  <a:lnTo>
                    <a:pt x="2950070" y="11760"/>
                  </a:lnTo>
                  <a:lnTo>
                    <a:pt x="2950159" y="11062"/>
                  </a:lnTo>
                  <a:lnTo>
                    <a:pt x="2950260" y="11062"/>
                  </a:lnTo>
                  <a:lnTo>
                    <a:pt x="2950260" y="11760"/>
                  </a:lnTo>
                  <a:lnTo>
                    <a:pt x="2951111" y="11760"/>
                  </a:lnTo>
                  <a:lnTo>
                    <a:pt x="2951111" y="11062"/>
                  </a:lnTo>
                  <a:lnTo>
                    <a:pt x="2951200" y="11062"/>
                  </a:lnTo>
                  <a:lnTo>
                    <a:pt x="2951302" y="11760"/>
                  </a:lnTo>
                  <a:lnTo>
                    <a:pt x="2951302" y="11062"/>
                  </a:lnTo>
                  <a:lnTo>
                    <a:pt x="2951797" y="11062"/>
                  </a:lnTo>
                  <a:lnTo>
                    <a:pt x="2951848" y="11760"/>
                  </a:lnTo>
                  <a:lnTo>
                    <a:pt x="2951848" y="11062"/>
                  </a:lnTo>
                  <a:lnTo>
                    <a:pt x="2951899" y="11062"/>
                  </a:lnTo>
                  <a:lnTo>
                    <a:pt x="2951899" y="11760"/>
                  </a:lnTo>
                  <a:lnTo>
                    <a:pt x="2952000" y="11062"/>
                  </a:lnTo>
                  <a:lnTo>
                    <a:pt x="2952051" y="11760"/>
                  </a:lnTo>
                  <a:lnTo>
                    <a:pt x="2952102" y="11062"/>
                  </a:lnTo>
                  <a:lnTo>
                    <a:pt x="2952102" y="11760"/>
                  </a:lnTo>
                  <a:lnTo>
                    <a:pt x="2952203" y="11062"/>
                  </a:lnTo>
                  <a:lnTo>
                    <a:pt x="2952648" y="11062"/>
                  </a:lnTo>
                  <a:lnTo>
                    <a:pt x="2952699" y="11760"/>
                  </a:lnTo>
                  <a:lnTo>
                    <a:pt x="2952788" y="11760"/>
                  </a:lnTo>
                  <a:lnTo>
                    <a:pt x="2952788" y="11062"/>
                  </a:lnTo>
                  <a:lnTo>
                    <a:pt x="2952940" y="11062"/>
                  </a:lnTo>
                  <a:lnTo>
                    <a:pt x="2952991" y="11760"/>
                  </a:lnTo>
                  <a:lnTo>
                    <a:pt x="2953092" y="11760"/>
                  </a:lnTo>
                  <a:lnTo>
                    <a:pt x="2953092" y="11062"/>
                  </a:lnTo>
                  <a:lnTo>
                    <a:pt x="2953334" y="11062"/>
                  </a:lnTo>
                  <a:lnTo>
                    <a:pt x="2953385" y="11760"/>
                  </a:lnTo>
                  <a:lnTo>
                    <a:pt x="2953435" y="11062"/>
                  </a:lnTo>
                  <a:lnTo>
                    <a:pt x="2953588" y="11062"/>
                  </a:lnTo>
                  <a:lnTo>
                    <a:pt x="2953638" y="11760"/>
                  </a:lnTo>
                  <a:lnTo>
                    <a:pt x="2953689" y="11760"/>
                  </a:lnTo>
                  <a:lnTo>
                    <a:pt x="2953689" y="11062"/>
                  </a:lnTo>
                  <a:lnTo>
                    <a:pt x="2953791" y="11062"/>
                  </a:lnTo>
                  <a:lnTo>
                    <a:pt x="2953829" y="11760"/>
                  </a:lnTo>
                  <a:lnTo>
                    <a:pt x="2953829" y="11062"/>
                  </a:lnTo>
                  <a:lnTo>
                    <a:pt x="2954083" y="11062"/>
                  </a:lnTo>
                  <a:lnTo>
                    <a:pt x="2954083" y="11760"/>
                  </a:lnTo>
                  <a:lnTo>
                    <a:pt x="2954235" y="11760"/>
                  </a:lnTo>
                  <a:lnTo>
                    <a:pt x="2954286" y="11062"/>
                  </a:lnTo>
                  <a:lnTo>
                    <a:pt x="2954337" y="11062"/>
                  </a:lnTo>
                  <a:lnTo>
                    <a:pt x="2954337" y="11760"/>
                  </a:lnTo>
                  <a:lnTo>
                    <a:pt x="2954375" y="11760"/>
                  </a:lnTo>
                  <a:lnTo>
                    <a:pt x="2954375" y="11062"/>
                  </a:lnTo>
                  <a:lnTo>
                    <a:pt x="2954477" y="11062"/>
                  </a:lnTo>
                  <a:lnTo>
                    <a:pt x="2954528" y="11760"/>
                  </a:lnTo>
                  <a:lnTo>
                    <a:pt x="2954528" y="11062"/>
                  </a:lnTo>
                  <a:lnTo>
                    <a:pt x="2954578" y="11760"/>
                  </a:lnTo>
                  <a:lnTo>
                    <a:pt x="2954578" y="11062"/>
                  </a:lnTo>
                  <a:lnTo>
                    <a:pt x="2954731" y="11062"/>
                  </a:lnTo>
                  <a:lnTo>
                    <a:pt x="2954731" y="11760"/>
                  </a:lnTo>
                  <a:lnTo>
                    <a:pt x="2954781" y="11062"/>
                  </a:lnTo>
                  <a:lnTo>
                    <a:pt x="2955226" y="11062"/>
                  </a:lnTo>
                  <a:lnTo>
                    <a:pt x="2955277" y="11760"/>
                  </a:lnTo>
                  <a:lnTo>
                    <a:pt x="2955277" y="11062"/>
                  </a:lnTo>
                  <a:lnTo>
                    <a:pt x="2955417" y="11062"/>
                  </a:lnTo>
                  <a:lnTo>
                    <a:pt x="2955467" y="11760"/>
                  </a:lnTo>
                  <a:lnTo>
                    <a:pt x="2955518" y="11760"/>
                  </a:lnTo>
                  <a:lnTo>
                    <a:pt x="2955518" y="11062"/>
                  </a:lnTo>
                  <a:lnTo>
                    <a:pt x="2955963" y="11062"/>
                  </a:lnTo>
                  <a:lnTo>
                    <a:pt x="2956064" y="11760"/>
                  </a:lnTo>
                  <a:lnTo>
                    <a:pt x="2956064" y="11062"/>
                  </a:lnTo>
                  <a:lnTo>
                    <a:pt x="2956369" y="11062"/>
                  </a:lnTo>
                  <a:lnTo>
                    <a:pt x="2956369" y="11760"/>
                  </a:lnTo>
                  <a:lnTo>
                    <a:pt x="2956560" y="11760"/>
                  </a:lnTo>
                  <a:lnTo>
                    <a:pt x="2956610" y="11062"/>
                  </a:lnTo>
                  <a:lnTo>
                    <a:pt x="2956763" y="11062"/>
                  </a:lnTo>
                  <a:lnTo>
                    <a:pt x="2956763" y="11760"/>
                  </a:lnTo>
                  <a:lnTo>
                    <a:pt x="2957055" y="11760"/>
                  </a:lnTo>
                  <a:lnTo>
                    <a:pt x="2957055" y="11062"/>
                  </a:lnTo>
                  <a:lnTo>
                    <a:pt x="2957207" y="11062"/>
                  </a:lnTo>
                  <a:lnTo>
                    <a:pt x="2957258" y="11760"/>
                  </a:lnTo>
                  <a:lnTo>
                    <a:pt x="2957309" y="11760"/>
                  </a:lnTo>
                  <a:lnTo>
                    <a:pt x="2957410" y="11062"/>
                  </a:lnTo>
                  <a:lnTo>
                    <a:pt x="2957461" y="11062"/>
                  </a:lnTo>
                  <a:lnTo>
                    <a:pt x="2957512" y="11760"/>
                  </a:lnTo>
                  <a:lnTo>
                    <a:pt x="2957753" y="11760"/>
                  </a:lnTo>
                  <a:lnTo>
                    <a:pt x="2957753" y="11062"/>
                  </a:lnTo>
                  <a:lnTo>
                    <a:pt x="2957855" y="11062"/>
                  </a:lnTo>
                  <a:lnTo>
                    <a:pt x="2957906" y="11760"/>
                  </a:lnTo>
                  <a:lnTo>
                    <a:pt x="2957906" y="11062"/>
                  </a:lnTo>
                  <a:lnTo>
                    <a:pt x="2958350" y="11062"/>
                  </a:lnTo>
                  <a:lnTo>
                    <a:pt x="2958350" y="11760"/>
                  </a:lnTo>
                  <a:lnTo>
                    <a:pt x="2958401" y="11062"/>
                  </a:lnTo>
                  <a:lnTo>
                    <a:pt x="2959493" y="11062"/>
                  </a:lnTo>
                  <a:lnTo>
                    <a:pt x="2959493" y="11760"/>
                  </a:lnTo>
                  <a:lnTo>
                    <a:pt x="2959544" y="11760"/>
                  </a:lnTo>
                  <a:lnTo>
                    <a:pt x="2959544" y="11062"/>
                  </a:lnTo>
                  <a:lnTo>
                    <a:pt x="2959595" y="11062"/>
                  </a:lnTo>
                  <a:lnTo>
                    <a:pt x="2959595" y="11760"/>
                  </a:lnTo>
                  <a:lnTo>
                    <a:pt x="2959735" y="11760"/>
                  </a:lnTo>
                  <a:lnTo>
                    <a:pt x="2959785" y="11062"/>
                  </a:lnTo>
                  <a:lnTo>
                    <a:pt x="2959938" y="11062"/>
                  </a:lnTo>
                  <a:lnTo>
                    <a:pt x="2959988" y="11760"/>
                  </a:lnTo>
                  <a:lnTo>
                    <a:pt x="2960039" y="11760"/>
                  </a:lnTo>
                  <a:lnTo>
                    <a:pt x="2960039" y="11062"/>
                  </a:lnTo>
                  <a:lnTo>
                    <a:pt x="2960141" y="11062"/>
                  </a:lnTo>
                  <a:lnTo>
                    <a:pt x="2960179" y="11760"/>
                  </a:lnTo>
                  <a:lnTo>
                    <a:pt x="2960230" y="11062"/>
                  </a:lnTo>
                  <a:lnTo>
                    <a:pt x="2960382" y="11062"/>
                  </a:lnTo>
                  <a:lnTo>
                    <a:pt x="2960382" y="11760"/>
                  </a:lnTo>
                  <a:lnTo>
                    <a:pt x="2960433" y="11062"/>
                  </a:lnTo>
                  <a:lnTo>
                    <a:pt x="2960433" y="11760"/>
                  </a:lnTo>
                  <a:lnTo>
                    <a:pt x="2960484" y="11062"/>
                  </a:lnTo>
                  <a:lnTo>
                    <a:pt x="2960585" y="11760"/>
                  </a:lnTo>
                  <a:lnTo>
                    <a:pt x="2960636" y="11062"/>
                  </a:lnTo>
                  <a:lnTo>
                    <a:pt x="2960687" y="11760"/>
                  </a:lnTo>
                  <a:lnTo>
                    <a:pt x="2960725" y="11760"/>
                  </a:lnTo>
                  <a:lnTo>
                    <a:pt x="2960827" y="11062"/>
                  </a:lnTo>
                  <a:lnTo>
                    <a:pt x="2961030" y="11062"/>
                  </a:lnTo>
                  <a:lnTo>
                    <a:pt x="2961030" y="11760"/>
                  </a:lnTo>
                  <a:lnTo>
                    <a:pt x="2961131" y="11760"/>
                  </a:lnTo>
                  <a:lnTo>
                    <a:pt x="2961182" y="11062"/>
                  </a:lnTo>
                  <a:lnTo>
                    <a:pt x="2961373" y="11062"/>
                  </a:lnTo>
                  <a:lnTo>
                    <a:pt x="2961373" y="11760"/>
                  </a:lnTo>
                  <a:lnTo>
                    <a:pt x="2961627" y="11760"/>
                  </a:lnTo>
                  <a:lnTo>
                    <a:pt x="2961728" y="11062"/>
                  </a:lnTo>
                  <a:lnTo>
                    <a:pt x="2961767" y="11062"/>
                  </a:lnTo>
                  <a:lnTo>
                    <a:pt x="2961817" y="11760"/>
                  </a:lnTo>
                  <a:lnTo>
                    <a:pt x="2961868" y="11062"/>
                  </a:lnTo>
                  <a:lnTo>
                    <a:pt x="2962173" y="11062"/>
                  </a:lnTo>
                  <a:lnTo>
                    <a:pt x="2962224" y="11760"/>
                  </a:lnTo>
                  <a:lnTo>
                    <a:pt x="2962274" y="11062"/>
                  </a:lnTo>
                  <a:lnTo>
                    <a:pt x="2962274" y="11760"/>
                  </a:lnTo>
                  <a:lnTo>
                    <a:pt x="2962313" y="11062"/>
                  </a:lnTo>
                  <a:lnTo>
                    <a:pt x="2962313" y="11760"/>
                  </a:lnTo>
                  <a:lnTo>
                    <a:pt x="2962859" y="11760"/>
                  </a:lnTo>
                  <a:lnTo>
                    <a:pt x="2962910" y="11062"/>
                  </a:lnTo>
                  <a:lnTo>
                    <a:pt x="2962960" y="11062"/>
                  </a:lnTo>
                  <a:lnTo>
                    <a:pt x="2963011" y="11760"/>
                  </a:lnTo>
                  <a:lnTo>
                    <a:pt x="2963557" y="11760"/>
                  </a:lnTo>
                  <a:lnTo>
                    <a:pt x="2963608" y="11062"/>
                  </a:lnTo>
                  <a:lnTo>
                    <a:pt x="2963659" y="11062"/>
                  </a:lnTo>
                  <a:lnTo>
                    <a:pt x="2963760" y="11760"/>
                  </a:lnTo>
                  <a:lnTo>
                    <a:pt x="2963811" y="11760"/>
                  </a:lnTo>
                  <a:lnTo>
                    <a:pt x="2963862" y="11062"/>
                  </a:lnTo>
                  <a:lnTo>
                    <a:pt x="2963862" y="11760"/>
                  </a:lnTo>
                  <a:lnTo>
                    <a:pt x="2963900" y="11760"/>
                  </a:lnTo>
                  <a:lnTo>
                    <a:pt x="2964002" y="11062"/>
                  </a:lnTo>
                  <a:lnTo>
                    <a:pt x="2964002" y="11760"/>
                  </a:lnTo>
                  <a:lnTo>
                    <a:pt x="2964053" y="11062"/>
                  </a:lnTo>
                  <a:lnTo>
                    <a:pt x="2964103" y="11760"/>
                  </a:lnTo>
                  <a:lnTo>
                    <a:pt x="2964103" y="11062"/>
                  </a:lnTo>
                  <a:lnTo>
                    <a:pt x="2964205" y="11760"/>
                  </a:lnTo>
                  <a:lnTo>
                    <a:pt x="2964256" y="11062"/>
                  </a:lnTo>
                  <a:lnTo>
                    <a:pt x="2964357" y="11062"/>
                  </a:lnTo>
                  <a:lnTo>
                    <a:pt x="2964357" y="11760"/>
                  </a:lnTo>
                  <a:lnTo>
                    <a:pt x="2964497" y="11760"/>
                  </a:lnTo>
                  <a:lnTo>
                    <a:pt x="2964548" y="11062"/>
                  </a:lnTo>
                  <a:lnTo>
                    <a:pt x="2964599" y="11062"/>
                  </a:lnTo>
                  <a:lnTo>
                    <a:pt x="2964599" y="11760"/>
                  </a:lnTo>
                  <a:lnTo>
                    <a:pt x="2966186" y="11760"/>
                  </a:lnTo>
                  <a:lnTo>
                    <a:pt x="2966288" y="11062"/>
                  </a:lnTo>
                  <a:lnTo>
                    <a:pt x="2966580" y="11062"/>
                  </a:lnTo>
                  <a:lnTo>
                    <a:pt x="2966631" y="11760"/>
                  </a:lnTo>
                  <a:lnTo>
                    <a:pt x="2966834" y="11760"/>
                  </a:lnTo>
                  <a:lnTo>
                    <a:pt x="2966834" y="11062"/>
                  </a:lnTo>
                  <a:lnTo>
                    <a:pt x="2966986" y="11062"/>
                  </a:lnTo>
                  <a:lnTo>
                    <a:pt x="2967037" y="11760"/>
                  </a:lnTo>
                  <a:lnTo>
                    <a:pt x="2967037" y="11062"/>
                  </a:lnTo>
                  <a:lnTo>
                    <a:pt x="2967177" y="11062"/>
                  </a:lnTo>
                  <a:lnTo>
                    <a:pt x="2967177" y="11760"/>
                  </a:lnTo>
                  <a:lnTo>
                    <a:pt x="2967431" y="11760"/>
                  </a:lnTo>
                  <a:lnTo>
                    <a:pt x="2967431" y="11062"/>
                  </a:lnTo>
                  <a:lnTo>
                    <a:pt x="2967481" y="11062"/>
                  </a:lnTo>
                  <a:lnTo>
                    <a:pt x="2967481" y="11760"/>
                  </a:lnTo>
                  <a:lnTo>
                    <a:pt x="2967621" y="11760"/>
                  </a:lnTo>
                  <a:lnTo>
                    <a:pt x="2967621" y="11062"/>
                  </a:lnTo>
                  <a:lnTo>
                    <a:pt x="2967672" y="11760"/>
                  </a:lnTo>
                  <a:lnTo>
                    <a:pt x="2967672" y="11062"/>
                  </a:lnTo>
                  <a:lnTo>
                    <a:pt x="2967723" y="11760"/>
                  </a:lnTo>
                  <a:lnTo>
                    <a:pt x="2967774" y="11760"/>
                  </a:lnTo>
                  <a:lnTo>
                    <a:pt x="2967875" y="11062"/>
                  </a:lnTo>
                  <a:lnTo>
                    <a:pt x="2967926" y="11062"/>
                  </a:lnTo>
                  <a:lnTo>
                    <a:pt x="2967926" y="11760"/>
                  </a:lnTo>
                  <a:lnTo>
                    <a:pt x="2968078" y="11760"/>
                  </a:lnTo>
                  <a:lnTo>
                    <a:pt x="2968078" y="11062"/>
                  </a:lnTo>
                  <a:lnTo>
                    <a:pt x="2968117" y="11062"/>
                  </a:lnTo>
                  <a:lnTo>
                    <a:pt x="2968167" y="11760"/>
                  </a:lnTo>
                  <a:lnTo>
                    <a:pt x="2968167" y="11062"/>
                  </a:lnTo>
                  <a:lnTo>
                    <a:pt x="2968320" y="11062"/>
                  </a:lnTo>
                  <a:lnTo>
                    <a:pt x="2968371" y="11760"/>
                  </a:lnTo>
                  <a:lnTo>
                    <a:pt x="2968574" y="11760"/>
                  </a:lnTo>
                  <a:lnTo>
                    <a:pt x="2968574" y="11062"/>
                  </a:lnTo>
                  <a:lnTo>
                    <a:pt x="2968624" y="11062"/>
                  </a:lnTo>
                  <a:lnTo>
                    <a:pt x="2968663" y="11760"/>
                  </a:lnTo>
                  <a:lnTo>
                    <a:pt x="2968663" y="11062"/>
                  </a:lnTo>
                  <a:lnTo>
                    <a:pt x="2968764" y="11062"/>
                  </a:lnTo>
                  <a:lnTo>
                    <a:pt x="2968815" y="11760"/>
                  </a:lnTo>
                  <a:lnTo>
                    <a:pt x="2968815" y="11062"/>
                  </a:lnTo>
                  <a:lnTo>
                    <a:pt x="2968967" y="11062"/>
                  </a:lnTo>
                  <a:lnTo>
                    <a:pt x="2969018" y="11760"/>
                  </a:lnTo>
                  <a:lnTo>
                    <a:pt x="2969069" y="11760"/>
                  </a:lnTo>
                  <a:lnTo>
                    <a:pt x="2969120" y="12408"/>
                  </a:lnTo>
                  <a:lnTo>
                    <a:pt x="2969209" y="11760"/>
                  </a:lnTo>
                  <a:lnTo>
                    <a:pt x="2969361" y="11760"/>
                  </a:lnTo>
                  <a:lnTo>
                    <a:pt x="2969463" y="11062"/>
                  </a:lnTo>
                  <a:lnTo>
                    <a:pt x="2969463" y="11760"/>
                  </a:lnTo>
                  <a:lnTo>
                    <a:pt x="2969564" y="11760"/>
                  </a:lnTo>
                  <a:lnTo>
                    <a:pt x="2969564" y="11062"/>
                  </a:lnTo>
                  <a:lnTo>
                    <a:pt x="2969755" y="11062"/>
                  </a:lnTo>
                  <a:lnTo>
                    <a:pt x="2969806" y="11760"/>
                  </a:lnTo>
                  <a:lnTo>
                    <a:pt x="2970009" y="11760"/>
                  </a:lnTo>
                  <a:lnTo>
                    <a:pt x="2970009" y="11062"/>
                  </a:lnTo>
                  <a:lnTo>
                    <a:pt x="2970110" y="11062"/>
                  </a:lnTo>
                  <a:lnTo>
                    <a:pt x="2970110" y="11760"/>
                  </a:lnTo>
                  <a:lnTo>
                    <a:pt x="2970352" y="11760"/>
                  </a:lnTo>
                  <a:lnTo>
                    <a:pt x="2970403" y="11062"/>
                  </a:lnTo>
                  <a:lnTo>
                    <a:pt x="2970403" y="11760"/>
                  </a:lnTo>
                  <a:lnTo>
                    <a:pt x="2970453" y="11062"/>
                  </a:lnTo>
                  <a:lnTo>
                    <a:pt x="2970555" y="11760"/>
                  </a:lnTo>
                  <a:lnTo>
                    <a:pt x="2970847" y="11760"/>
                  </a:lnTo>
                  <a:lnTo>
                    <a:pt x="2970898" y="11062"/>
                  </a:lnTo>
                  <a:lnTo>
                    <a:pt x="2971253" y="11062"/>
                  </a:lnTo>
                  <a:lnTo>
                    <a:pt x="2971253" y="11760"/>
                  </a:lnTo>
                  <a:lnTo>
                    <a:pt x="2971342" y="11760"/>
                  </a:lnTo>
                  <a:lnTo>
                    <a:pt x="2971393" y="11062"/>
                  </a:lnTo>
                  <a:lnTo>
                    <a:pt x="2971596" y="11062"/>
                  </a:lnTo>
                  <a:lnTo>
                    <a:pt x="2971698" y="11760"/>
                  </a:lnTo>
                  <a:lnTo>
                    <a:pt x="2971698" y="11062"/>
                  </a:lnTo>
                  <a:lnTo>
                    <a:pt x="2971749" y="11760"/>
                  </a:lnTo>
                  <a:lnTo>
                    <a:pt x="2972041" y="11760"/>
                  </a:lnTo>
                  <a:lnTo>
                    <a:pt x="2972142" y="11062"/>
                  </a:lnTo>
                  <a:lnTo>
                    <a:pt x="2972193" y="11760"/>
                  </a:lnTo>
                  <a:lnTo>
                    <a:pt x="2972244" y="11062"/>
                  </a:lnTo>
                  <a:lnTo>
                    <a:pt x="2972244" y="11760"/>
                  </a:lnTo>
                  <a:lnTo>
                    <a:pt x="2972485" y="11760"/>
                  </a:lnTo>
                  <a:lnTo>
                    <a:pt x="2972485" y="12408"/>
                  </a:lnTo>
                  <a:lnTo>
                    <a:pt x="2972536" y="11760"/>
                  </a:lnTo>
                  <a:lnTo>
                    <a:pt x="2972638" y="11062"/>
                  </a:lnTo>
                  <a:lnTo>
                    <a:pt x="2972739" y="11062"/>
                  </a:lnTo>
                  <a:lnTo>
                    <a:pt x="2972739" y="11760"/>
                  </a:lnTo>
                  <a:lnTo>
                    <a:pt x="2973730" y="11760"/>
                  </a:lnTo>
                  <a:lnTo>
                    <a:pt x="2973781" y="11062"/>
                  </a:lnTo>
                  <a:lnTo>
                    <a:pt x="2973831" y="11760"/>
                  </a:lnTo>
                  <a:lnTo>
                    <a:pt x="2973831" y="11062"/>
                  </a:lnTo>
                  <a:lnTo>
                    <a:pt x="2973882" y="11760"/>
                  </a:lnTo>
                  <a:lnTo>
                    <a:pt x="2973971" y="11062"/>
                  </a:lnTo>
                  <a:lnTo>
                    <a:pt x="2974022" y="11760"/>
                  </a:lnTo>
                  <a:lnTo>
                    <a:pt x="2974022" y="11062"/>
                  </a:lnTo>
                  <a:lnTo>
                    <a:pt x="2974124" y="11062"/>
                  </a:lnTo>
                  <a:lnTo>
                    <a:pt x="2974124" y="11760"/>
                  </a:lnTo>
                  <a:lnTo>
                    <a:pt x="2975216" y="11760"/>
                  </a:lnTo>
                  <a:lnTo>
                    <a:pt x="2975216" y="11062"/>
                  </a:lnTo>
                  <a:lnTo>
                    <a:pt x="2975317" y="11760"/>
                  </a:lnTo>
                  <a:lnTo>
                    <a:pt x="2975470" y="11760"/>
                  </a:lnTo>
                  <a:lnTo>
                    <a:pt x="2975470" y="11062"/>
                  </a:lnTo>
                  <a:lnTo>
                    <a:pt x="2975559" y="11760"/>
                  </a:lnTo>
                  <a:lnTo>
                    <a:pt x="2975559" y="11062"/>
                  </a:lnTo>
                  <a:lnTo>
                    <a:pt x="2975610" y="11062"/>
                  </a:lnTo>
                  <a:lnTo>
                    <a:pt x="2975610" y="11760"/>
                  </a:lnTo>
                  <a:lnTo>
                    <a:pt x="2975660" y="11062"/>
                  </a:lnTo>
                  <a:lnTo>
                    <a:pt x="2975660" y="11760"/>
                  </a:lnTo>
                  <a:lnTo>
                    <a:pt x="2976511" y="11760"/>
                  </a:lnTo>
                  <a:lnTo>
                    <a:pt x="2976511" y="11062"/>
                  </a:lnTo>
                  <a:lnTo>
                    <a:pt x="2976562" y="11062"/>
                  </a:lnTo>
                  <a:lnTo>
                    <a:pt x="2976600" y="11760"/>
                  </a:lnTo>
                  <a:lnTo>
                    <a:pt x="2976753" y="11760"/>
                  </a:lnTo>
                  <a:lnTo>
                    <a:pt x="2976803" y="12408"/>
                  </a:lnTo>
                  <a:lnTo>
                    <a:pt x="2976803" y="11760"/>
                  </a:lnTo>
                  <a:lnTo>
                    <a:pt x="2977006" y="11760"/>
                  </a:lnTo>
                  <a:lnTo>
                    <a:pt x="2977057" y="12408"/>
                  </a:lnTo>
                  <a:lnTo>
                    <a:pt x="2977146" y="11760"/>
                  </a:lnTo>
                  <a:lnTo>
                    <a:pt x="2977692" y="11760"/>
                  </a:lnTo>
                  <a:lnTo>
                    <a:pt x="2977743" y="11062"/>
                  </a:lnTo>
                  <a:lnTo>
                    <a:pt x="2977896" y="11062"/>
                  </a:lnTo>
                  <a:lnTo>
                    <a:pt x="2977946" y="11760"/>
                  </a:lnTo>
                  <a:lnTo>
                    <a:pt x="2978048" y="11760"/>
                  </a:lnTo>
                  <a:lnTo>
                    <a:pt x="2978099" y="11062"/>
                  </a:lnTo>
                  <a:lnTo>
                    <a:pt x="2978188" y="11062"/>
                  </a:lnTo>
                  <a:lnTo>
                    <a:pt x="2978289" y="11760"/>
                  </a:lnTo>
                  <a:lnTo>
                    <a:pt x="2978340" y="11760"/>
                  </a:lnTo>
                  <a:lnTo>
                    <a:pt x="2978340" y="12408"/>
                  </a:lnTo>
                  <a:lnTo>
                    <a:pt x="2978391" y="11760"/>
                  </a:lnTo>
                  <a:lnTo>
                    <a:pt x="2978391" y="12408"/>
                  </a:lnTo>
                  <a:lnTo>
                    <a:pt x="2978492" y="11760"/>
                  </a:lnTo>
                  <a:lnTo>
                    <a:pt x="2979191" y="11760"/>
                  </a:lnTo>
                  <a:lnTo>
                    <a:pt x="2979191" y="11062"/>
                  </a:lnTo>
                  <a:lnTo>
                    <a:pt x="2979229" y="11760"/>
                  </a:lnTo>
                  <a:lnTo>
                    <a:pt x="2979483" y="11760"/>
                  </a:lnTo>
                  <a:lnTo>
                    <a:pt x="2979483" y="12408"/>
                  </a:lnTo>
                  <a:lnTo>
                    <a:pt x="2979534" y="12408"/>
                  </a:lnTo>
                  <a:lnTo>
                    <a:pt x="2979534" y="11760"/>
                  </a:lnTo>
                  <a:lnTo>
                    <a:pt x="2980080" y="11760"/>
                  </a:lnTo>
                  <a:lnTo>
                    <a:pt x="2980131" y="11062"/>
                  </a:lnTo>
                  <a:lnTo>
                    <a:pt x="2980181" y="11760"/>
                  </a:lnTo>
                  <a:lnTo>
                    <a:pt x="2980423" y="11760"/>
                  </a:lnTo>
                  <a:lnTo>
                    <a:pt x="2980423" y="11062"/>
                  </a:lnTo>
                  <a:lnTo>
                    <a:pt x="2980474" y="11760"/>
                  </a:lnTo>
                  <a:lnTo>
                    <a:pt x="2980918" y="11760"/>
                  </a:lnTo>
                  <a:lnTo>
                    <a:pt x="2980918" y="11062"/>
                  </a:lnTo>
                  <a:lnTo>
                    <a:pt x="2981121" y="11062"/>
                  </a:lnTo>
                  <a:lnTo>
                    <a:pt x="2981121" y="11760"/>
                  </a:lnTo>
                  <a:lnTo>
                    <a:pt x="2981909" y="11760"/>
                  </a:lnTo>
                  <a:lnTo>
                    <a:pt x="2981960" y="11062"/>
                  </a:lnTo>
                  <a:lnTo>
                    <a:pt x="2981960" y="11760"/>
                  </a:lnTo>
                  <a:lnTo>
                    <a:pt x="2982264" y="11760"/>
                  </a:lnTo>
                  <a:lnTo>
                    <a:pt x="2982264" y="11062"/>
                  </a:lnTo>
                  <a:lnTo>
                    <a:pt x="2982366" y="11062"/>
                  </a:lnTo>
                  <a:lnTo>
                    <a:pt x="2982366" y="11760"/>
                  </a:lnTo>
                  <a:lnTo>
                    <a:pt x="2982455" y="11760"/>
                  </a:lnTo>
                  <a:lnTo>
                    <a:pt x="2982506" y="11062"/>
                  </a:lnTo>
                  <a:lnTo>
                    <a:pt x="2982607" y="11062"/>
                  </a:lnTo>
                  <a:lnTo>
                    <a:pt x="2982607" y="11760"/>
                  </a:lnTo>
                  <a:lnTo>
                    <a:pt x="2982658" y="11760"/>
                  </a:lnTo>
                  <a:lnTo>
                    <a:pt x="2982658" y="11062"/>
                  </a:lnTo>
                  <a:lnTo>
                    <a:pt x="2982810" y="11062"/>
                  </a:lnTo>
                  <a:lnTo>
                    <a:pt x="2982810" y="11760"/>
                  </a:lnTo>
                  <a:lnTo>
                    <a:pt x="2983801" y="11760"/>
                  </a:lnTo>
                  <a:lnTo>
                    <a:pt x="2983801" y="11062"/>
                  </a:lnTo>
                  <a:lnTo>
                    <a:pt x="2983852" y="11062"/>
                  </a:lnTo>
                  <a:lnTo>
                    <a:pt x="2983852" y="11760"/>
                  </a:lnTo>
                  <a:lnTo>
                    <a:pt x="2984246" y="11760"/>
                  </a:lnTo>
                  <a:lnTo>
                    <a:pt x="2984296" y="11062"/>
                  </a:lnTo>
                  <a:lnTo>
                    <a:pt x="2984398" y="11760"/>
                  </a:lnTo>
                  <a:lnTo>
                    <a:pt x="2984690" y="11760"/>
                  </a:lnTo>
                  <a:lnTo>
                    <a:pt x="2984690" y="12408"/>
                  </a:lnTo>
                  <a:lnTo>
                    <a:pt x="2984741" y="12408"/>
                  </a:lnTo>
                  <a:lnTo>
                    <a:pt x="2984741" y="11760"/>
                  </a:lnTo>
                  <a:lnTo>
                    <a:pt x="2984995" y="11760"/>
                  </a:lnTo>
                  <a:lnTo>
                    <a:pt x="2985084" y="12408"/>
                  </a:lnTo>
                  <a:lnTo>
                    <a:pt x="2985135" y="11760"/>
                  </a:lnTo>
                  <a:lnTo>
                    <a:pt x="2985782" y="11760"/>
                  </a:lnTo>
                  <a:lnTo>
                    <a:pt x="2985833" y="12408"/>
                  </a:lnTo>
                  <a:lnTo>
                    <a:pt x="2986036" y="12408"/>
                  </a:lnTo>
                  <a:lnTo>
                    <a:pt x="2986036" y="11760"/>
                  </a:lnTo>
                  <a:lnTo>
                    <a:pt x="2986125" y="11760"/>
                  </a:lnTo>
                  <a:lnTo>
                    <a:pt x="2986227" y="12408"/>
                  </a:lnTo>
                  <a:lnTo>
                    <a:pt x="2986227" y="11760"/>
                  </a:lnTo>
                  <a:lnTo>
                    <a:pt x="2986531" y="11760"/>
                  </a:lnTo>
                  <a:lnTo>
                    <a:pt x="2986531" y="12408"/>
                  </a:lnTo>
                  <a:lnTo>
                    <a:pt x="2986582" y="11760"/>
                  </a:lnTo>
                  <a:lnTo>
                    <a:pt x="2986824" y="11760"/>
                  </a:lnTo>
                  <a:lnTo>
                    <a:pt x="2986925" y="12408"/>
                  </a:lnTo>
                  <a:lnTo>
                    <a:pt x="2986925" y="11760"/>
                  </a:lnTo>
                  <a:lnTo>
                    <a:pt x="2987217" y="11760"/>
                  </a:lnTo>
                  <a:lnTo>
                    <a:pt x="2987217" y="11062"/>
                  </a:lnTo>
                  <a:lnTo>
                    <a:pt x="2987370" y="11062"/>
                  </a:lnTo>
                  <a:lnTo>
                    <a:pt x="2987370" y="11760"/>
                  </a:lnTo>
                  <a:lnTo>
                    <a:pt x="2987713" y="11760"/>
                  </a:lnTo>
                  <a:lnTo>
                    <a:pt x="2987713" y="12408"/>
                  </a:lnTo>
                  <a:lnTo>
                    <a:pt x="2987814" y="11760"/>
                  </a:lnTo>
                  <a:lnTo>
                    <a:pt x="2988119" y="11760"/>
                  </a:lnTo>
                  <a:lnTo>
                    <a:pt x="2988170" y="12408"/>
                  </a:lnTo>
                  <a:lnTo>
                    <a:pt x="2988259" y="12408"/>
                  </a:lnTo>
                  <a:lnTo>
                    <a:pt x="2988310" y="11760"/>
                  </a:lnTo>
                  <a:lnTo>
                    <a:pt x="2988360" y="11760"/>
                  </a:lnTo>
                  <a:lnTo>
                    <a:pt x="2988411" y="12408"/>
                  </a:lnTo>
                  <a:lnTo>
                    <a:pt x="2988754" y="12408"/>
                  </a:lnTo>
                  <a:lnTo>
                    <a:pt x="2988805" y="11760"/>
                  </a:lnTo>
                  <a:lnTo>
                    <a:pt x="2988856" y="12408"/>
                  </a:lnTo>
                  <a:lnTo>
                    <a:pt x="2988957" y="12408"/>
                  </a:lnTo>
                  <a:lnTo>
                    <a:pt x="2989008" y="11760"/>
                  </a:lnTo>
                  <a:lnTo>
                    <a:pt x="2989160" y="11760"/>
                  </a:lnTo>
                  <a:lnTo>
                    <a:pt x="2989160" y="11062"/>
                  </a:lnTo>
                  <a:lnTo>
                    <a:pt x="2989211" y="11760"/>
                  </a:lnTo>
                  <a:lnTo>
                    <a:pt x="2989503" y="11760"/>
                  </a:lnTo>
                  <a:lnTo>
                    <a:pt x="2989605" y="12408"/>
                  </a:lnTo>
                  <a:lnTo>
                    <a:pt x="2989605" y="11760"/>
                  </a:lnTo>
                  <a:lnTo>
                    <a:pt x="2989656" y="11760"/>
                  </a:lnTo>
                  <a:lnTo>
                    <a:pt x="2989706" y="12408"/>
                  </a:lnTo>
                  <a:lnTo>
                    <a:pt x="2989757" y="11760"/>
                  </a:lnTo>
                  <a:lnTo>
                    <a:pt x="2989757" y="12408"/>
                  </a:lnTo>
                  <a:lnTo>
                    <a:pt x="2989846" y="12408"/>
                  </a:lnTo>
                  <a:lnTo>
                    <a:pt x="2989846" y="11760"/>
                  </a:lnTo>
                  <a:lnTo>
                    <a:pt x="2990100" y="11760"/>
                  </a:lnTo>
                  <a:lnTo>
                    <a:pt x="2990100" y="11062"/>
                  </a:lnTo>
                  <a:lnTo>
                    <a:pt x="2990151" y="11062"/>
                  </a:lnTo>
                  <a:lnTo>
                    <a:pt x="2990151" y="11760"/>
                  </a:lnTo>
                  <a:lnTo>
                    <a:pt x="2990202" y="11760"/>
                  </a:lnTo>
                  <a:lnTo>
                    <a:pt x="2990202" y="12408"/>
                  </a:lnTo>
                  <a:lnTo>
                    <a:pt x="2990303" y="11760"/>
                  </a:lnTo>
                  <a:lnTo>
                    <a:pt x="2990392" y="11760"/>
                  </a:lnTo>
                  <a:lnTo>
                    <a:pt x="2990392" y="12408"/>
                  </a:lnTo>
                  <a:lnTo>
                    <a:pt x="2990443" y="11760"/>
                  </a:lnTo>
                  <a:lnTo>
                    <a:pt x="2990545" y="11760"/>
                  </a:lnTo>
                  <a:lnTo>
                    <a:pt x="2990596" y="12408"/>
                  </a:lnTo>
                  <a:lnTo>
                    <a:pt x="2990646" y="12408"/>
                  </a:lnTo>
                  <a:lnTo>
                    <a:pt x="2990646" y="11760"/>
                  </a:lnTo>
                  <a:lnTo>
                    <a:pt x="2990849" y="11760"/>
                  </a:lnTo>
                  <a:lnTo>
                    <a:pt x="2990849" y="12408"/>
                  </a:lnTo>
                  <a:lnTo>
                    <a:pt x="2990989" y="12408"/>
                  </a:lnTo>
                  <a:lnTo>
                    <a:pt x="2991040" y="11760"/>
                  </a:lnTo>
                  <a:lnTo>
                    <a:pt x="2991040" y="12408"/>
                  </a:lnTo>
                  <a:lnTo>
                    <a:pt x="2991091" y="11760"/>
                  </a:lnTo>
                  <a:lnTo>
                    <a:pt x="2991294" y="11760"/>
                  </a:lnTo>
                  <a:lnTo>
                    <a:pt x="2991345" y="12408"/>
                  </a:lnTo>
                  <a:lnTo>
                    <a:pt x="2991345" y="11760"/>
                  </a:lnTo>
                  <a:lnTo>
                    <a:pt x="2991738" y="11760"/>
                  </a:lnTo>
                  <a:lnTo>
                    <a:pt x="2991738" y="12408"/>
                  </a:lnTo>
                  <a:lnTo>
                    <a:pt x="2991891" y="12408"/>
                  </a:lnTo>
                  <a:lnTo>
                    <a:pt x="2991929" y="11760"/>
                  </a:lnTo>
                  <a:lnTo>
                    <a:pt x="2991929" y="11062"/>
                  </a:lnTo>
                  <a:lnTo>
                    <a:pt x="2991980" y="11760"/>
                  </a:lnTo>
                  <a:lnTo>
                    <a:pt x="2992335" y="11760"/>
                  </a:lnTo>
                  <a:lnTo>
                    <a:pt x="2992335" y="12408"/>
                  </a:lnTo>
                  <a:lnTo>
                    <a:pt x="2992437" y="12408"/>
                  </a:lnTo>
                  <a:lnTo>
                    <a:pt x="2992475" y="11760"/>
                  </a:lnTo>
                  <a:lnTo>
                    <a:pt x="2992932" y="11760"/>
                  </a:lnTo>
                  <a:lnTo>
                    <a:pt x="2993021" y="11062"/>
                  </a:lnTo>
                  <a:lnTo>
                    <a:pt x="2993072" y="11760"/>
                  </a:lnTo>
                  <a:lnTo>
                    <a:pt x="2993174" y="11760"/>
                  </a:lnTo>
                  <a:lnTo>
                    <a:pt x="2993174" y="11062"/>
                  </a:lnTo>
                  <a:lnTo>
                    <a:pt x="2993275" y="11062"/>
                  </a:lnTo>
                  <a:lnTo>
                    <a:pt x="2993275" y="11760"/>
                  </a:lnTo>
                  <a:lnTo>
                    <a:pt x="2993517" y="11760"/>
                  </a:lnTo>
                  <a:lnTo>
                    <a:pt x="2993517" y="12408"/>
                  </a:lnTo>
                  <a:lnTo>
                    <a:pt x="2993567" y="11760"/>
                  </a:lnTo>
                  <a:lnTo>
                    <a:pt x="2993618" y="11760"/>
                  </a:lnTo>
                  <a:lnTo>
                    <a:pt x="2993720" y="12408"/>
                  </a:lnTo>
                  <a:lnTo>
                    <a:pt x="2993771" y="12408"/>
                  </a:lnTo>
                  <a:lnTo>
                    <a:pt x="2993821" y="11760"/>
                  </a:lnTo>
                  <a:lnTo>
                    <a:pt x="2994164" y="11760"/>
                  </a:lnTo>
                  <a:lnTo>
                    <a:pt x="2994164" y="12408"/>
                  </a:lnTo>
                  <a:lnTo>
                    <a:pt x="2994215" y="12408"/>
                  </a:lnTo>
                  <a:lnTo>
                    <a:pt x="2994215" y="11760"/>
                  </a:lnTo>
                  <a:lnTo>
                    <a:pt x="2994660" y="11760"/>
                  </a:lnTo>
                  <a:lnTo>
                    <a:pt x="2994710" y="12408"/>
                  </a:lnTo>
                  <a:lnTo>
                    <a:pt x="2994710" y="11760"/>
                  </a:lnTo>
                  <a:lnTo>
                    <a:pt x="2994761" y="11760"/>
                  </a:lnTo>
                  <a:lnTo>
                    <a:pt x="2994761" y="12408"/>
                  </a:lnTo>
                  <a:lnTo>
                    <a:pt x="2994863" y="11760"/>
                  </a:lnTo>
                  <a:lnTo>
                    <a:pt x="2994913" y="12408"/>
                  </a:lnTo>
                  <a:lnTo>
                    <a:pt x="2995066" y="12408"/>
                  </a:lnTo>
                  <a:lnTo>
                    <a:pt x="2995066" y="11760"/>
                  </a:lnTo>
                  <a:lnTo>
                    <a:pt x="2995206" y="11760"/>
                  </a:lnTo>
                  <a:lnTo>
                    <a:pt x="2995307" y="11062"/>
                  </a:lnTo>
                  <a:lnTo>
                    <a:pt x="2995358" y="11760"/>
                  </a:lnTo>
                  <a:lnTo>
                    <a:pt x="2995409" y="11760"/>
                  </a:lnTo>
                  <a:lnTo>
                    <a:pt x="2995409" y="12408"/>
                  </a:lnTo>
                  <a:lnTo>
                    <a:pt x="2995561" y="12408"/>
                  </a:lnTo>
                  <a:lnTo>
                    <a:pt x="2995612" y="11760"/>
                  </a:lnTo>
                  <a:lnTo>
                    <a:pt x="2995650" y="11062"/>
                  </a:lnTo>
                  <a:lnTo>
                    <a:pt x="2995752" y="11760"/>
                  </a:lnTo>
                  <a:lnTo>
                    <a:pt x="2995803" y="11760"/>
                  </a:lnTo>
                  <a:lnTo>
                    <a:pt x="2995853" y="12408"/>
                  </a:lnTo>
                  <a:lnTo>
                    <a:pt x="2995955" y="11760"/>
                  </a:lnTo>
                  <a:lnTo>
                    <a:pt x="2996006" y="12408"/>
                  </a:lnTo>
                  <a:lnTo>
                    <a:pt x="2996247" y="12408"/>
                  </a:lnTo>
                  <a:lnTo>
                    <a:pt x="2996247" y="11760"/>
                  </a:lnTo>
                  <a:lnTo>
                    <a:pt x="2996450" y="11760"/>
                  </a:lnTo>
                  <a:lnTo>
                    <a:pt x="2996450" y="12408"/>
                  </a:lnTo>
                  <a:lnTo>
                    <a:pt x="2996552" y="12408"/>
                  </a:lnTo>
                  <a:lnTo>
                    <a:pt x="2996552" y="11760"/>
                  </a:lnTo>
                  <a:lnTo>
                    <a:pt x="2996692" y="11760"/>
                  </a:lnTo>
                  <a:lnTo>
                    <a:pt x="2996742" y="12408"/>
                  </a:lnTo>
                  <a:lnTo>
                    <a:pt x="2996742" y="11760"/>
                  </a:lnTo>
                  <a:lnTo>
                    <a:pt x="2996793" y="12408"/>
                  </a:lnTo>
                  <a:lnTo>
                    <a:pt x="2997199" y="12408"/>
                  </a:lnTo>
                  <a:lnTo>
                    <a:pt x="2997238" y="11760"/>
                  </a:lnTo>
                  <a:lnTo>
                    <a:pt x="2997441" y="11760"/>
                  </a:lnTo>
                  <a:lnTo>
                    <a:pt x="2997441" y="12408"/>
                  </a:lnTo>
                  <a:lnTo>
                    <a:pt x="2997885" y="12408"/>
                  </a:lnTo>
                  <a:lnTo>
                    <a:pt x="2997936" y="11760"/>
                  </a:lnTo>
                  <a:lnTo>
                    <a:pt x="2997936" y="12408"/>
                  </a:lnTo>
                  <a:lnTo>
                    <a:pt x="2998088" y="12408"/>
                  </a:lnTo>
                  <a:lnTo>
                    <a:pt x="2998088" y="11760"/>
                  </a:lnTo>
                  <a:lnTo>
                    <a:pt x="2998927" y="11760"/>
                  </a:lnTo>
                  <a:lnTo>
                    <a:pt x="2998927" y="12408"/>
                  </a:lnTo>
                  <a:lnTo>
                    <a:pt x="2998978" y="12408"/>
                  </a:lnTo>
                  <a:lnTo>
                    <a:pt x="2998978" y="11760"/>
                  </a:lnTo>
                  <a:lnTo>
                    <a:pt x="2999028" y="11760"/>
                  </a:lnTo>
                  <a:lnTo>
                    <a:pt x="2999028" y="11062"/>
                  </a:lnTo>
                  <a:lnTo>
                    <a:pt x="2999130" y="11760"/>
                  </a:lnTo>
                  <a:lnTo>
                    <a:pt x="2999181" y="12408"/>
                  </a:lnTo>
                  <a:lnTo>
                    <a:pt x="2999231" y="12408"/>
                  </a:lnTo>
                  <a:lnTo>
                    <a:pt x="2999231" y="11760"/>
                  </a:lnTo>
                  <a:lnTo>
                    <a:pt x="2999282" y="11760"/>
                  </a:lnTo>
                  <a:lnTo>
                    <a:pt x="2999371" y="12408"/>
                  </a:lnTo>
                  <a:lnTo>
                    <a:pt x="2999524" y="12408"/>
                  </a:lnTo>
                  <a:lnTo>
                    <a:pt x="2999524" y="11760"/>
                  </a:lnTo>
                  <a:lnTo>
                    <a:pt x="2999625" y="11760"/>
                  </a:lnTo>
                  <a:lnTo>
                    <a:pt x="2999676" y="12408"/>
                  </a:lnTo>
                  <a:lnTo>
                    <a:pt x="2999727" y="11760"/>
                  </a:lnTo>
                  <a:lnTo>
                    <a:pt x="2999828" y="12408"/>
                  </a:lnTo>
                  <a:lnTo>
                    <a:pt x="3000273" y="12408"/>
                  </a:lnTo>
                  <a:lnTo>
                    <a:pt x="3000273" y="11760"/>
                  </a:lnTo>
                  <a:lnTo>
                    <a:pt x="3000374" y="11760"/>
                  </a:lnTo>
                  <a:lnTo>
                    <a:pt x="3000374" y="12408"/>
                  </a:lnTo>
                  <a:lnTo>
                    <a:pt x="3000717" y="12408"/>
                  </a:lnTo>
                  <a:lnTo>
                    <a:pt x="3000768" y="11760"/>
                  </a:lnTo>
                  <a:lnTo>
                    <a:pt x="3000768" y="12408"/>
                  </a:lnTo>
                  <a:lnTo>
                    <a:pt x="3000870" y="12408"/>
                  </a:lnTo>
                  <a:lnTo>
                    <a:pt x="3000870" y="11760"/>
                  </a:lnTo>
                  <a:lnTo>
                    <a:pt x="3000959" y="11760"/>
                  </a:lnTo>
                  <a:lnTo>
                    <a:pt x="3001010" y="12408"/>
                  </a:lnTo>
                  <a:lnTo>
                    <a:pt x="3001505" y="12408"/>
                  </a:lnTo>
                  <a:lnTo>
                    <a:pt x="3001556" y="11760"/>
                  </a:lnTo>
                  <a:lnTo>
                    <a:pt x="3001657" y="11760"/>
                  </a:lnTo>
                  <a:lnTo>
                    <a:pt x="3001657" y="12408"/>
                  </a:lnTo>
                  <a:lnTo>
                    <a:pt x="3001860" y="12408"/>
                  </a:lnTo>
                  <a:lnTo>
                    <a:pt x="3001911" y="11760"/>
                  </a:lnTo>
                  <a:lnTo>
                    <a:pt x="3002102" y="11760"/>
                  </a:lnTo>
                  <a:lnTo>
                    <a:pt x="3002153" y="12408"/>
                  </a:lnTo>
                  <a:lnTo>
                    <a:pt x="3002457" y="12408"/>
                  </a:lnTo>
                  <a:lnTo>
                    <a:pt x="3002546" y="13043"/>
                  </a:lnTo>
                  <a:lnTo>
                    <a:pt x="3002546" y="12408"/>
                  </a:lnTo>
                  <a:lnTo>
                    <a:pt x="3003003" y="12408"/>
                  </a:lnTo>
                  <a:lnTo>
                    <a:pt x="3003003" y="11760"/>
                  </a:lnTo>
                  <a:lnTo>
                    <a:pt x="3003245" y="11760"/>
                  </a:lnTo>
                  <a:lnTo>
                    <a:pt x="3003245" y="12408"/>
                  </a:lnTo>
                  <a:lnTo>
                    <a:pt x="3003296" y="11760"/>
                  </a:lnTo>
                  <a:lnTo>
                    <a:pt x="3003499" y="11760"/>
                  </a:lnTo>
                  <a:lnTo>
                    <a:pt x="3003499" y="12408"/>
                  </a:lnTo>
                  <a:lnTo>
                    <a:pt x="3003588" y="12408"/>
                  </a:lnTo>
                  <a:lnTo>
                    <a:pt x="3003588" y="11760"/>
                  </a:lnTo>
                  <a:lnTo>
                    <a:pt x="3003740" y="11760"/>
                  </a:lnTo>
                  <a:lnTo>
                    <a:pt x="3003791" y="12408"/>
                  </a:lnTo>
                  <a:lnTo>
                    <a:pt x="3003791" y="11760"/>
                  </a:lnTo>
                  <a:lnTo>
                    <a:pt x="3003892" y="12408"/>
                  </a:lnTo>
                  <a:lnTo>
                    <a:pt x="3003892" y="11760"/>
                  </a:lnTo>
                  <a:lnTo>
                    <a:pt x="3003943" y="11760"/>
                  </a:lnTo>
                  <a:lnTo>
                    <a:pt x="3003943" y="12408"/>
                  </a:lnTo>
                  <a:lnTo>
                    <a:pt x="3003994" y="12408"/>
                  </a:lnTo>
                  <a:lnTo>
                    <a:pt x="3004045" y="11760"/>
                  </a:lnTo>
                  <a:lnTo>
                    <a:pt x="3004438" y="11760"/>
                  </a:lnTo>
                  <a:lnTo>
                    <a:pt x="3004438" y="12408"/>
                  </a:lnTo>
                  <a:lnTo>
                    <a:pt x="3004489" y="11760"/>
                  </a:lnTo>
                  <a:lnTo>
                    <a:pt x="3004591" y="12408"/>
                  </a:lnTo>
                  <a:lnTo>
                    <a:pt x="3004680" y="12408"/>
                  </a:lnTo>
                  <a:lnTo>
                    <a:pt x="3004680" y="11760"/>
                  </a:lnTo>
                  <a:lnTo>
                    <a:pt x="3004731" y="11760"/>
                  </a:lnTo>
                  <a:lnTo>
                    <a:pt x="3004832" y="12408"/>
                  </a:lnTo>
                  <a:lnTo>
                    <a:pt x="3006318" y="12408"/>
                  </a:lnTo>
                  <a:lnTo>
                    <a:pt x="3006318" y="11760"/>
                  </a:lnTo>
                  <a:lnTo>
                    <a:pt x="3006420" y="12408"/>
                  </a:lnTo>
                  <a:lnTo>
                    <a:pt x="3006521" y="12408"/>
                  </a:lnTo>
                  <a:lnTo>
                    <a:pt x="3006521" y="11760"/>
                  </a:lnTo>
                  <a:lnTo>
                    <a:pt x="3006623" y="11760"/>
                  </a:lnTo>
                  <a:lnTo>
                    <a:pt x="3006674" y="12408"/>
                  </a:lnTo>
                  <a:lnTo>
                    <a:pt x="3006763" y="12408"/>
                  </a:lnTo>
                  <a:lnTo>
                    <a:pt x="3006864" y="11760"/>
                  </a:lnTo>
                  <a:lnTo>
                    <a:pt x="3006915" y="11760"/>
                  </a:lnTo>
                  <a:lnTo>
                    <a:pt x="3006966" y="12408"/>
                  </a:lnTo>
                  <a:lnTo>
                    <a:pt x="3006966" y="11760"/>
                  </a:lnTo>
                  <a:lnTo>
                    <a:pt x="3007118" y="11760"/>
                  </a:lnTo>
                  <a:lnTo>
                    <a:pt x="3007169" y="12408"/>
                  </a:lnTo>
                  <a:lnTo>
                    <a:pt x="3007169" y="11760"/>
                  </a:lnTo>
                  <a:lnTo>
                    <a:pt x="3007220" y="12408"/>
                  </a:lnTo>
                  <a:lnTo>
                    <a:pt x="3007220" y="11760"/>
                  </a:lnTo>
                  <a:lnTo>
                    <a:pt x="3007309" y="11760"/>
                  </a:lnTo>
                  <a:lnTo>
                    <a:pt x="3007360" y="12408"/>
                  </a:lnTo>
                  <a:lnTo>
                    <a:pt x="3007461" y="12408"/>
                  </a:lnTo>
                  <a:lnTo>
                    <a:pt x="3007461" y="11760"/>
                  </a:lnTo>
                  <a:lnTo>
                    <a:pt x="3007563" y="11760"/>
                  </a:lnTo>
                  <a:lnTo>
                    <a:pt x="3007613" y="12408"/>
                  </a:lnTo>
                  <a:lnTo>
                    <a:pt x="3007855" y="12408"/>
                  </a:lnTo>
                  <a:lnTo>
                    <a:pt x="3007855" y="11760"/>
                  </a:lnTo>
                  <a:lnTo>
                    <a:pt x="3007906" y="11760"/>
                  </a:lnTo>
                  <a:lnTo>
                    <a:pt x="3008007" y="12408"/>
                  </a:lnTo>
                  <a:lnTo>
                    <a:pt x="3008007" y="11760"/>
                  </a:lnTo>
                  <a:lnTo>
                    <a:pt x="3008058" y="11760"/>
                  </a:lnTo>
                  <a:lnTo>
                    <a:pt x="3008058" y="12408"/>
                  </a:lnTo>
                  <a:lnTo>
                    <a:pt x="3008109" y="11760"/>
                  </a:lnTo>
                  <a:lnTo>
                    <a:pt x="3008109" y="12408"/>
                  </a:lnTo>
                  <a:lnTo>
                    <a:pt x="3008210" y="11760"/>
                  </a:lnTo>
                  <a:lnTo>
                    <a:pt x="3008261" y="12408"/>
                  </a:lnTo>
                  <a:lnTo>
                    <a:pt x="3008312" y="11760"/>
                  </a:lnTo>
                  <a:lnTo>
                    <a:pt x="3008312" y="12408"/>
                  </a:lnTo>
                  <a:lnTo>
                    <a:pt x="3008350" y="11760"/>
                  </a:lnTo>
                  <a:lnTo>
                    <a:pt x="3008706" y="11760"/>
                  </a:lnTo>
                  <a:lnTo>
                    <a:pt x="3008756" y="12408"/>
                  </a:lnTo>
                  <a:lnTo>
                    <a:pt x="3008807" y="11760"/>
                  </a:lnTo>
                  <a:lnTo>
                    <a:pt x="3008947" y="11760"/>
                  </a:lnTo>
                  <a:lnTo>
                    <a:pt x="3008998" y="12408"/>
                  </a:lnTo>
                  <a:lnTo>
                    <a:pt x="3008998" y="11760"/>
                  </a:lnTo>
                  <a:lnTo>
                    <a:pt x="3009049" y="11760"/>
                  </a:lnTo>
                  <a:lnTo>
                    <a:pt x="3009049" y="12408"/>
                  </a:lnTo>
                  <a:lnTo>
                    <a:pt x="3009646" y="12408"/>
                  </a:lnTo>
                  <a:lnTo>
                    <a:pt x="3009696" y="11760"/>
                  </a:lnTo>
                  <a:lnTo>
                    <a:pt x="3009849" y="11760"/>
                  </a:lnTo>
                  <a:lnTo>
                    <a:pt x="3009899" y="12408"/>
                  </a:lnTo>
                  <a:lnTo>
                    <a:pt x="3009899" y="11760"/>
                  </a:lnTo>
                  <a:lnTo>
                    <a:pt x="3010090" y="11760"/>
                  </a:lnTo>
                  <a:lnTo>
                    <a:pt x="3010141" y="12408"/>
                  </a:lnTo>
                  <a:lnTo>
                    <a:pt x="3010293" y="12408"/>
                  </a:lnTo>
                  <a:lnTo>
                    <a:pt x="3010344" y="11760"/>
                  </a:lnTo>
                  <a:lnTo>
                    <a:pt x="3010484" y="11760"/>
                  </a:lnTo>
                  <a:lnTo>
                    <a:pt x="3010484" y="12408"/>
                  </a:lnTo>
                  <a:lnTo>
                    <a:pt x="3010535" y="11760"/>
                  </a:lnTo>
                  <a:lnTo>
                    <a:pt x="3010585" y="12408"/>
                  </a:lnTo>
                  <a:lnTo>
                    <a:pt x="3010585" y="11760"/>
                  </a:lnTo>
                  <a:lnTo>
                    <a:pt x="3011030" y="11760"/>
                  </a:lnTo>
                  <a:lnTo>
                    <a:pt x="3011030" y="12408"/>
                  </a:lnTo>
                  <a:lnTo>
                    <a:pt x="3011182" y="12408"/>
                  </a:lnTo>
                  <a:lnTo>
                    <a:pt x="3011182" y="11760"/>
                  </a:lnTo>
                  <a:lnTo>
                    <a:pt x="3011436" y="11760"/>
                  </a:lnTo>
                  <a:lnTo>
                    <a:pt x="3011487" y="12408"/>
                  </a:lnTo>
                  <a:lnTo>
                    <a:pt x="3011525" y="12408"/>
                  </a:lnTo>
                  <a:lnTo>
                    <a:pt x="3011627" y="11760"/>
                  </a:lnTo>
                  <a:lnTo>
                    <a:pt x="3011728" y="11760"/>
                  </a:lnTo>
                  <a:lnTo>
                    <a:pt x="3011830" y="12408"/>
                  </a:lnTo>
                  <a:lnTo>
                    <a:pt x="3011982" y="12408"/>
                  </a:lnTo>
                  <a:lnTo>
                    <a:pt x="3011982" y="11760"/>
                  </a:lnTo>
                  <a:lnTo>
                    <a:pt x="3012071" y="11760"/>
                  </a:lnTo>
                  <a:lnTo>
                    <a:pt x="3012122" y="12408"/>
                  </a:lnTo>
                  <a:lnTo>
                    <a:pt x="3012325" y="12408"/>
                  </a:lnTo>
                  <a:lnTo>
                    <a:pt x="3012376" y="11760"/>
                  </a:lnTo>
                  <a:lnTo>
                    <a:pt x="3012427" y="12408"/>
                  </a:lnTo>
                  <a:lnTo>
                    <a:pt x="3012617" y="12408"/>
                  </a:lnTo>
                  <a:lnTo>
                    <a:pt x="3012617" y="11760"/>
                  </a:lnTo>
                  <a:lnTo>
                    <a:pt x="3012668" y="12408"/>
                  </a:lnTo>
                  <a:lnTo>
                    <a:pt x="3012770" y="11760"/>
                  </a:lnTo>
                  <a:lnTo>
                    <a:pt x="3012770" y="12408"/>
                  </a:lnTo>
                  <a:lnTo>
                    <a:pt x="3012821" y="12408"/>
                  </a:lnTo>
                  <a:lnTo>
                    <a:pt x="3012871" y="11760"/>
                  </a:lnTo>
                  <a:lnTo>
                    <a:pt x="3012973" y="12408"/>
                  </a:lnTo>
                  <a:lnTo>
                    <a:pt x="3012973" y="11760"/>
                  </a:lnTo>
                  <a:lnTo>
                    <a:pt x="3013214" y="11760"/>
                  </a:lnTo>
                  <a:lnTo>
                    <a:pt x="3013214" y="12408"/>
                  </a:lnTo>
                  <a:lnTo>
                    <a:pt x="3013265" y="12408"/>
                  </a:lnTo>
                  <a:lnTo>
                    <a:pt x="3013316" y="11760"/>
                  </a:lnTo>
                  <a:lnTo>
                    <a:pt x="3013417" y="12408"/>
                  </a:lnTo>
                  <a:lnTo>
                    <a:pt x="3013519" y="12408"/>
                  </a:lnTo>
                  <a:lnTo>
                    <a:pt x="3013519" y="11760"/>
                  </a:lnTo>
                  <a:lnTo>
                    <a:pt x="3013710" y="11760"/>
                  </a:lnTo>
                  <a:lnTo>
                    <a:pt x="3013760" y="12408"/>
                  </a:lnTo>
                  <a:lnTo>
                    <a:pt x="3013760" y="11760"/>
                  </a:lnTo>
                  <a:lnTo>
                    <a:pt x="3013913" y="11760"/>
                  </a:lnTo>
                  <a:lnTo>
                    <a:pt x="3013913" y="12408"/>
                  </a:lnTo>
                  <a:lnTo>
                    <a:pt x="3014014" y="12408"/>
                  </a:lnTo>
                  <a:lnTo>
                    <a:pt x="3014116" y="11760"/>
                  </a:lnTo>
                  <a:lnTo>
                    <a:pt x="3014154" y="11760"/>
                  </a:lnTo>
                  <a:lnTo>
                    <a:pt x="3014205" y="12408"/>
                  </a:lnTo>
                  <a:lnTo>
                    <a:pt x="3014256" y="11760"/>
                  </a:lnTo>
                  <a:lnTo>
                    <a:pt x="3014256" y="12408"/>
                  </a:lnTo>
                  <a:lnTo>
                    <a:pt x="3014357" y="11760"/>
                  </a:lnTo>
                  <a:lnTo>
                    <a:pt x="3014408" y="11760"/>
                  </a:lnTo>
                  <a:lnTo>
                    <a:pt x="3014408" y="12408"/>
                  </a:lnTo>
                  <a:lnTo>
                    <a:pt x="3014459" y="11760"/>
                  </a:lnTo>
                  <a:lnTo>
                    <a:pt x="3014662" y="11760"/>
                  </a:lnTo>
                  <a:lnTo>
                    <a:pt x="3014662" y="12408"/>
                  </a:lnTo>
                  <a:lnTo>
                    <a:pt x="3014700" y="12408"/>
                  </a:lnTo>
                  <a:lnTo>
                    <a:pt x="3014700" y="11760"/>
                  </a:lnTo>
                  <a:lnTo>
                    <a:pt x="3014903" y="11760"/>
                  </a:lnTo>
                  <a:lnTo>
                    <a:pt x="3015005" y="12408"/>
                  </a:lnTo>
                  <a:lnTo>
                    <a:pt x="3015056" y="11760"/>
                  </a:lnTo>
                  <a:lnTo>
                    <a:pt x="3015348" y="11760"/>
                  </a:lnTo>
                  <a:lnTo>
                    <a:pt x="3015348" y="12408"/>
                  </a:lnTo>
                  <a:lnTo>
                    <a:pt x="3015500" y="12408"/>
                  </a:lnTo>
                  <a:lnTo>
                    <a:pt x="3015500" y="11760"/>
                  </a:lnTo>
                  <a:lnTo>
                    <a:pt x="3015703" y="11760"/>
                  </a:lnTo>
                  <a:lnTo>
                    <a:pt x="3015742" y="11062"/>
                  </a:lnTo>
                  <a:lnTo>
                    <a:pt x="3015742" y="11760"/>
                  </a:lnTo>
                  <a:lnTo>
                    <a:pt x="3015792" y="11760"/>
                  </a:lnTo>
                  <a:lnTo>
                    <a:pt x="3015843" y="11062"/>
                  </a:lnTo>
                  <a:lnTo>
                    <a:pt x="3015843" y="11760"/>
                  </a:lnTo>
                  <a:lnTo>
                    <a:pt x="3015945" y="11062"/>
                  </a:lnTo>
                  <a:lnTo>
                    <a:pt x="3015945" y="11760"/>
                  </a:lnTo>
                  <a:lnTo>
                    <a:pt x="3015996" y="11760"/>
                  </a:lnTo>
                  <a:lnTo>
                    <a:pt x="3016046" y="12408"/>
                  </a:lnTo>
                  <a:lnTo>
                    <a:pt x="3016148" y="11760"/>
                  </a:lnTo>
                  <a:lnTo>
                    <a:pt x="3016249" y="11760"/>
                  </a:lnTo>
                  <a:lnTo>
                    <a:pt x="3016249" y="12408"/>
                  </a:lnTo>
                  <a:lnTo>
                    <a:pt x="3016288" y="11760"/>
                  </a:lnTo>
                  <a:lnTo>
                    <a:pt x="3016389" y="11760"/>
                  </a:lnTo>
                  <a:lnTo>
                    <a:pt x="3016389" y="12408"/>
                  </a:lnTo>
                  <a:lnTo>
                    <a:pt x="3016491" y="12408"/>
                  </a:lnTo>
                  <a:lnTo>
                    <a:pt x="3016592" y="11760"/>
                  </a:lnTo>
                  <a:lnTo>
                    <a:pt x="3016643" y="12408"/>
                  </a:lnTo>
                  <a:lnTo>
                    <a:pt x="3016745" y="12408"/>
                  </a:lnTo>
                  <a:lnTo>
                    <a:pt x="3016834" y="11760"/>
                  </a:lnTo>
                  <a:lnTo>
                    <a:pt x="3016885" y="11760"/>
                  </a:lnTo>
                  <a:lnTo>
                    <a:pt x="3016935" y="12408"/>
                  </a:lnTo>
                  <a:lnTo>
                    <a:pt x="3016935" y="11760"/>
                  </a:lnTo>
                  <a:lnTo>
                    <a:pt x="3017088" y="11760"/>
                  </a:lnTo>
                  <a:lnTo>
                    <a:pt x="3017138" y="12408"/>
                  </a:lnTo>
                  <a:lnTo>
                    <a:pt x="3017380" y="12408"/>
                  </a:lnTo>
                  <a:lnTo>
                    <a:pt x="3017431" y="13043"/>
                  </a:lnTo>
                  <a:lnTo>
                    <a:pt x="3017532" y="12408"/>
                  </a:lnTo>
                  <a:lnTo>
                    <a:pt x="3017837" y="12408"/>
                  </a:lnTo>
                  <a:lnTo>
                    <a:pt x="3017875" y="13043"/>
                  </a:lnTo>
                  <a:lnTo>
                    <a:pt x="3017875" y="12408"/>
                  </a:lnTo>
                  <a:lnTo>
                    <a:pt x="3018180" y="12408"/>
                  </a:lnTo>
                  <a:lnTo>
                    <a:pt x="3018180" y="11760"/>
                  </a:lnTo>
                  <a:lnTo>
                    <a:pt x="3018231" y="11760"/>
                  </a:lnTo>
                  <a:lnTo>
                    <a:pt x="3018231" y="12408"/>
                  </a:lnTo>
                  <a:lnTo>
                    <a:pt x="3018675" y="12408"/>
                  </a:lnTo>
                  <a:lnTo>
                    <a:pt x="3018726" y="11760"/>
                  </a:lnTo>
                  <a:lnTo>
                    <a:pt x="3018726" y="12408"/>
                  </a:lnTo>
                  <a:lnTo>
                    <a:pt x="3018777" y="11760"/>
                  </a:lnTo>
                  <a:lnTo>
                    <a:pt x="3018878" y="12408"/>
                  </a:lnTo>
                  <a:lnTo>
                    <a:pt x="3018917" y="11760"/>
                  </a:lnTo>
                  <a:lnTo>
                    <a:pt x="3018917" y="12408"/>
                  </a:lnTo>
                  <a:lnTo>
                    <a:pt x="3019323" y="12408"/>
                  </a:lnTo>
                  <a:lnTo>
                    <a:pt x="3019323" y="13043"/>
                  </a:lnTo>
                  <a:lnTo>
                    <a:pt x="3019374" y="12408"/>
                  </a:lnTo>
                  <a:lnTo>
                    <a:pt x="3019615" y="12408"/>
                  </a:lnTo>
                  <a:lnTo>
                    <a:pt x="3019666" y="11760"/>
                  </a:lnTo>
                  <a:lnTo>
                    <a:pt x="3019767" y="12408"/>
                  </a:lnTo>
                  <a:lnTo>
                    <a:pt x="3019920" y="12408"/>
                  </a:lnTo>
                  <a:lnTo>
                    <a:pt x="3020009" y="11760"/>
                  </a:lnTo>
                  <a:lnTo>
                    <a:pt x="3020060" y="11760"/>
                  </a:lnTo>
                  <a:lnTo>
                    <a:pt x="3020060" y="12408"/>
                  </a:lnTo>
                  <a:lnTo>
                    <a:pt x="3020910" y="12408"/>
                  </a:lnTo>
                  <a:lnTo>
                    <a:pt x="3020910" y="11760"/>
                  </a:lnTo>
                  <a:lnTo>
                    <a:pt x="3020961" y="12408"/>
                  </a:lnTo>
                  <a:lnTo>
                    <a:pt x="3020961" y="11760"/>
                  </a:lnTo>
                  <a:lnTo>
                    <a:pt x="3021012" y="11760"/>
                  </a:lnTo>
                  <a:lnTo>
                    <a:pt x="3021050" y="12408"/>
                  </a:lnTo>
                  <a:lnTo>
                    <a:pt x="3021203" y="12408"/>
                  </a:lnTo>
                  <a:lnTo>
                    <a:pt x="3021253" y="11760"/>
                  </a:lnTo>
                  <a:lnTo>
                    <a:pt x="3021355" y="11760"/>
                  </a:lnTo>
                  <a:lnTo>
                    <a:pt x="3021406" y="12408"/>
                  </a:lnTo>
                  <a:lnTo>
                    <a:pt x="3022599" y="12408"/>
                  </a:lnTo>
                  <a:lnTo>
                    <a:pt x="3022599" y="11760"/>
                  </a:lnTo>
                  <a:lnTo>
                    <a:pt x="3022739" y="11760"/>
                  </a:lnTo>
                  <a:lnTo>
                    <a:pt x="3022790" y="11062"/>
                  </a:lnTo>
                  <a:lnTo>
                    <a:pt x="3022790" y="11760"/>
                  </a:lnTo>
                  <a:lnTo>
                    <a:pt x="3022942" y="11760"/>
                  </a:lnTo>
                  <a:lnTo>
                    <a:pt x="3022942" y="12408"/>
                  </a:lnTo>
                  <a:lnTo>
                    <a:pt x="3022993" y="12408"/>
                  </a:lnTo>
                  <a:lnTo>
                    <a:pt x="3023044" y="11760"/>
                  </a:lnTo>
                  <a:lnTo>
                    <a:pt x="3023184" y="11760"/>
                  </a:lnTo>
                  <a:lnTo>
                    <a:pt x="3023184" y="12408"/>
                  </a:lnTo>
                  <a:lnTo>
                    <a:pt x="3023438" y="12408"/>
                  </a:lnTo>
                  <a:lnTo>
                    <a:pt x="3023488" y="11760"/>
                  </a:lnTo>
                  <a:lnTo>
                    <a:pt x="3023488" y="12408"/>
                  </a:lnTo>
                  <a:lnTo>
                    <a:pt x="3023539" y="11760"/>
                  </a:lnTo>
                  <a:lnTo>
                    <a:pt x="3023641" y="12408"/>
                  </a:lnTo>
                  <a:lnTo>
                    <a:pt x="3024136" y="12408"/>
                  </a:lnTo>
                  <a:lnTo>
                    <a:pt x="3024136" y="11760"/>
                  </a:lnTo>
                  <a:lnTo>
                    <a:pt x="3024187" y="11760"/>
                  </a:lnTo>
                  <a:lnTo>
                    <a:pt x="3024187" y="12408"/>
                  </a:lnTo>
                  <a:lnTo>
                    <a:pt x="3024581" y="12408"/>
                  </a:lnTo>
                  <a:lnTo>
                    <a:pt x="3024581" y="11760"/>
                  </a:lnTo>
                  <a:lnTo>
                    <a:pt x="3024631" y="11760"/>
                  </a:lnTo>
                  <a:lnTo>
                    <a:pt x="3024682" y="12408"/>
                  </a:lnTo>
                  <a:lnTo>
                    <a:pt x="3024771" y="11760"/>
                  </a:lnTo>
                  <a:lnTo>
                    <a:pt x="3024771" y="12408"/>
                  </a:lnTo>
                  <a:lnTo>
                    <a:pt x="3025774" y="12408"/>
                  </a:lnTo>
                  <a:lnTo>
                    <a:pt x="3025774" y="13043"/>
                  </a:lnTo>
                  <a:lnTo>
                    <a:pt x="3025813" y="12408"/>
                  </a:lnTo>
                  <a:lnTo>
                    <a:pt x="3025914" y="12408"/>
                  </a:lnTo>
                  <a:lnTo>
                    <a:pt x="3025965" y="11760"/>
                  </a:lnTo>
                  <a:lnTo>
                    <a:pt x="3026016" y="11760"/>
                  </a:lnTo>
                  <a:lnTo>
                    <a:pt x="3026117" y="12408"/>
                  </a:lnTo>
                  <a:lnTo>
                    <a:pt x="3026359" y="12408"/>
                  </a:lnTo>
                  <a:lnTo>
                    <a:pt x="3026359" y="13043"/>
                  </a:lnTo>
                  <a:lnTo>
                    <a:pt x="3026410" y="12408"/>
                  </a:lnTo>
                  <a:lnTo>
                    <a:pt x="3027502" y="12408"/>
                  </a:lnTo>
                  <a:lnTo>
                    <a:pt x="3027553" y="13043"/>
                  </a:lnTo>
                  <a:lnTo>
                    <a:pt x="3027603" y="12408"/>
                  </a:lnTo>
                  <a:lnTo>
                    <a:pt x="3028099" y="12408"/>
                  </a:lnTo>
                  <a:lnTo>
                    <a:pt x="3028099" y="13043"/>
                  </a:lnTo>
                  <a:lnTo>
                    <a:pt x="3028200" y="12408"/>
                  </a:lnTo>
                  <a:lnTo>
                    <a:pt x="3028200" y="13043"/>
                  </a:lnTo>
                  <a:lnTo>
                    <a:pt x="3028251" y="13043"/>
                  </a:lnTo>
                  <a:lnTo>
                    <a:pt x="3028251" y="12408"/>
                  </a:lnTo>
                  <a:lnTo>
                    <a:pt x="3028492" y="12408"/>
                  </a:lnTo>
                  <a:lnTo>
                    <a:pt x="3028543" y="13043"/>
                  </a:lnTo>
                  <a:lnTo>
                    <a:pt x="3028645" y="12408"/>
                  </a:lnTo>
                  <a:lnTo>
                    <a:pt x="3028696" y="11760"/>
                  </a:lnTo>
                  <a:lnTo>
                    <a:pt x="3028746" y="11760"/>
                  </a:lnTo>
                  <a:lnTo>
                    <a:pt x="3028848" y="12408"/>
                  </a:lnTo>
                  <a:lnTo>
                    <a:pt x="3028988" y="12408"/>
                  </a:lnTo>
                  <a:lnTo>
                    <a:pt x="3028988" y="11760"/>
                  </a:lnTo>
                  <a:lnTo>
                    <a:pt x="3029089" y="12408"/>
                  </a:lnTo>
                  <a:lnTo>
                    <a:pt x="3029089" y="11760"/>
                  </a:lnTo>
                  <a:lnTo>
                    <a:pt x="3029140" y="11760"/>
                  </a:lnTo>
                  <a:lnTo>
                    <a:pt x="3029140" y="12408"/>
                  </a:lnTo>
                  <a:lnTo>
                    <a:pt x="3029445" y="12408"/>
                  </a:lnTo>
                  <a:lnTo>
                    <a:pt x="3029534" y="11760"/>
                  </a:lnTo>
                  <a:lnTo>
                    <a:pt x="3029585" y="11760"/>
                  </a:lnTo>
                  <a:lnTo>
                    <a:pt x="3029635" y="12408"/>
                  </a:lnTo>
                  <a:lnTo>
                    <a:pt x="3029686" y="12408"/>
                  </a:lnTo>
                  <a:lnTo>
                    <a:pt x="3029788" y="11760"/>
                  </a:lnTo>
                  <a:lnTo>
                    <a:pt x="3029838" y="11760"/>
                  </a:lnTo>
                  <a:lnTo>
                    <a:pt x="3029889" y="12408"/>
                  </a:lnTo>
                  <a:lnTo>
                    <a:pt x="3030232" y="12408"/>
                  </a:lnTo>
                  <a:lnTo>
                    <a:pt x="3030232" y="13043"/>
                  </a:lnTo>
                  <a:lnTo>
                    <a:pt x="3030283" y="13043"/>
                  </a:lnTo>
                  <a:lnTo>
                    <a:pt x="3030283" y="12408"/>
                  </a:lnTo>
                  <a:lnTo>
                    <a:pt x="3030486" y="12408"/>
                  </a:lnTo>
                  <a:lnTo>
                    <a:pt x="3030486" y="13043"/>
                  </a:lnTo>
                  <a:lnTo>
                    <a:pt x="3030537" y="12408"/>
                  </a:lnTo>
                  <a:lnTo>
                    <a:pt x="3030880" y="12408"/>
                  </a:lnTo>
                  <a:lnTo>
                    <a:pt x="3030880" y="11760"/>
                  </a:lnTo>
                  <a:lnTo>
                    <a:pt x="3030931" y="12408"/>
                  </a:lnTo>
                  <a:lnTo>
                    <a:pt x="3030981" y="12408"/>
                  </a:lnTo>
                  <a:lnTo>
                    <a:pt x="3031032" y="11760"/>
                  </a:lnTo>
                  <a:lnTo>
                    <a:pt x="3031121" y="11760"/>
                  </a:lnTo>
                  <a:lnTo>
                    <a:pt x="3031121" y="12408"/>
                  </a:lnTo>
                  <a:lnTo>
                    <a:pt x="3031718" y="12408"/>
                  </a:lnTo>
                  <a:lnTo>
                    <a:pt x="3031718" y="13043"/>
                  </a:lnTo>
                  <a:lnTo>
                    <a:pt x="3031871" y="13043"/>
                  </a:lnTo>
                  <a:lnTo>
                    <a:pt x="3031871" y="12408"/>
                  </a:lnTo>
                  <a:lnTo>
                    <a:pt x="3032163" y="12408"/>
                  </a:lnTo>
                  <a:lnTo>
                    <a:pt x="3032264" y="11760"/>
                  </a:lnTo>
                  <a:lnTo>
                    <a:pt x="3032315" y="12408"/>
                  </a:lnTo>
                  <a:lnTo>
                    <a:pt x="3032467" y="12408"/>
                  </a:lnTo>
                  <a:lnTo>
                    <a:pt x="3032467" y="13043"/>
                  </a:lnTo>
                  <a:lnTo>
                    <a:pt x="3032569" y="13043"/>
                  </a:lnTo>
                  <a:lnTo>
                    <a:pt x="3032620" y="12408"/>
                  </a:lnTo>
                  <a:lnTo>
                    <a:pt x="3032709" y="12408"/>
                  </a:lnTo>
                  <a:lnTo>
                    <a:pt x="3032760" y="13043"/>
                  </a:lnTo>
                  <a:lnTo>
                    <a:pt x="3032861" y="13043"/>
                  </a:lnTo>
                  <a:lnTo>
                    <a:pt x="3032861" y="12408"/>
                  </a:lnTo>
                  <a:lnTo>
                    <a:pt x="3032963" y="12408"/>
                  </a:lnTo>
                  <a:lnTo>
                    <a:pt x="3033013" y="13043"/>
                  </a:lnTo>
                  <a:lnTo>
                    <a:pt x="3033166" y="13043"/>
                  </a:lnTo>
                  <a:lnTo>
                    <a:pt x="3033204" y="12408"/>
                  </a:lnTo>
                  <a:lnTo>
                    <a:pt x="3033204" y="13043"/>
                  </a:lnTo>
                  <a:lnTo>
                    <a:pt x="3033255" y="12408"/>
                  </a:lnTo>
                  <a:lnTo>
                    <a:pt x="3034296" y="12408"/>
                  </a:lnTo>
                  <a:lnTo>
                    <a:pt x="3034296" y="13043"/>
                  </a:lnTo>
                  <a:lnTo>
                    <a:pt x="3034398" y="13043"/>
                  </a:lnTo>
                  <a:lnTo>
                    <a:pt x="3034398" y="12408"/>
                  </a:lnTo>
                  <a:lnTo>
                    <a:pt x="3034995" y="12408"/>
                  </a:lnTo>
                  <a:lnTo>
                    <a:pt x="3035046" y="13043"/>
                  </a:lnTo>
                  <a:lnTo>
                    <a:pt x="3035046" y="12408"/>
                  </a:lnTo>
                  <a:lnTo>
                    <a:pt x="3035795" y="12408"/>
                  </a:lnTo>
                  <a:lnTo>
                    <a:pt x="3035884" y="11760"/>
                  </a:lnTo>
                  <a:lnTo>
                    <a:pt x="3035935" y="12408"/>
                  </a:lnTo>
                  <a:lnTo>
                    <a:pt x="3036341" y="12408"/>
                  </a:lnTo>
                  <a:lnTo>
                    <a:pt x="3036379" y="13043"/>
                  </a:lnTo>
                  <a:lnTo>
                    <a:pt x="3036430" y="12408"/>
                  </a:lnTo>
                  <a:lnTo>
                    <a:pt x="3037027" y="12408"/>
                  </a:lnTo>
                  <a:lnTo>
                    <a:pt x="3037027" y="13043"/>
                  </a:lnTo>
                  <a:lnTo>
                    <a:pt x="3037078" y="12408"/>
                  </a:lnTo>
                  <a:lnTo>
                    <a:pt x="3037128" y="13043"/>
                  </a:lnTo>
                  <a:lnTo>
                    <a:pt x="3037331" y="13043"/>
                  </a:lnTo>
                  <a:lnTo>
                    <a:pt x="3037331" y="12408"/>
                  </a:lnTo>
                  <a:lnTo>
                    <a:pt x="3037522" y="12408"/>
                  </a:lnTo>
                  <a:lnTo>
                    <a:pt x="3037573" y="11760"/>
                  </a:lnTo>
                  <a:lnTo>
                    <a:pt x="3037624" y="12408"/>
                  </a:lnTo>
                  <a:lnTo>
                    <a:pt x="3037725" y="11760"/>
                  </a:lnTo>
                  <a:lnTo>
                    <a:pt x="3037827" y="11760"/>
                  </a:lnTo>
                  <a:lnTo>
                    <a:pt x="3037827" y="12408"/>
                  </a:lnTo>
                  <a:lnTo>
                    <a:pt x="3039160" y="12408"/>
                  </a:lnTo>
                  <a:lnTo>
                    <a:pt x="3039211" y="11760"/>
                  </a:lnTo>
                  <a:lnTo>
                    <a:pt x="3039313" y="12408"/>
                  </a:lnTo>
                  <a:lnTo>
                    <a:pt x="3039516" y="12408"/>
                  </a:lnTo>
                  <a:lnTo>
                    <a:pt x="3039554" y="13043"/>
                  </a:lnTo>
                  <a:lnTo>
                    <a:pt x="3039656" y="13043"/>
                  </a:lnTo>
                  <a:lnTo>
                    <a:pt x="3039757" y="12408"/>
                  </a:lnTo>
                  <a:lnTo>
                    <a:pt x="3039960" y="12408"/>
                  </a:lnTo>
                  <a:lnTo>
                    <a:pt x="3040011" y="13043"/>
                  </a:lnTo>
                  <a:lnTo>
                    <a:pt x="3040011" y="12408"/>
                  </a:lnTo>
                  <a:lnTo>
                    <a:pt x="3040303" y="12408"/>
                  </a:lnTo>
                  <a:lnTo>
                    <a:pt x="3040303" y="13043"/>
                  </a:lnTo>
                  <a:lnTo>
                    <a:pt x="3040405" y="13043"/>
                  </a:lnTo>
                  <a:lnTo>
                    <a:pt x="3040405" y="12408"/>
                  </a:lnTo>
                  <a:lnTo>
                    <a:pt x="3040456" y="13043"/>
                  </a:lnTo>
                  <a:lnTo>
                    <a:pt x="3040506" y="12408"/>
                  </a:lnTo>
                  <a:lnTo>
                    <a:pt x="3040748" y="12408"/>
                  </a:lnTo>
                  <a:lnTo>
                    <a:pt x="3040799" y="13043"/>
                  </a:lnTo>
                  <a:lnTo>
                    <a:pt x="3040900" y="12408"/>
                  </a:lnTo>
                  <a:lnTo>
                    <a:pt x="3041103" y="12408"/>
                  </a:lnTo>
                  <a:lnTo>
                    <a:pt x="3041142" y="13043"/>
                  </a:lnTo>
                  <a:lnTo>
                    <a:pt x="3041396" y="13043"/>
                  </a:lnTo>
                  <a:lnTo>
                    <a:pt x="3041396" y="12408"/>
                  </a:lnTo>
                  <a:lnTo>
                    <a:pt x="3041446" y="12408"/>
                  </a:lnTo>
                  <a:lnTo>
                    <a:pt x="3041446" y="13043"/>
                  </a:lnTo>
                  <a:lnTo>
                    <a:pt x="3041548" y="13043"/>
                  </a:lnTo>
                  <a:lnTo>
                    <a:pt x="3041599" y="12408"/>
                  </a:lnTo>
                  <a:lnTo>
                    <a:pt x="3041599" y="13043"/>
                  </a:lnTo>
                  <a:lnTo>
                    <a:pt x="3041688" y="13043"/>
                  </a:lnTo>
                  <a:lnTo>
                    <a:pt x="3041789" y="12408"/>
                  </a:lnTo>
                  <a:lnTo>
                    <a:pt x="3041992" y="12408"/>
                  </a:lnTo>
                  <a:lnTo>
                    <a:pt x="3042043" y="13043"/>
                  </a:lnTo>
                  <a:lnTo>
                    <a:pt x="3042094" y="13043"/>
                  </a:lnTo>
                  <a:lnTo>
                    <a:pt x="3042094" y="12408"/>
                  </a:lnTo>
                  <a:lnTo>
                    <a:pt x="3042234" y="12408"/>
                  </a:lnTo>
                  <a:lnTo>
                    <a:pt x="3042285" y="13043"/>
                  </a:lnTo>
                  <a:lnTo>
                    <a:pt x="3042335" y="12408"/>
                  </a:lnTo>
                  <a:lnTo>
                    <a:pt x="3042386" y="13043"/>
                  </a:lnTo>
                  <a:lnTo>
                    <a:pt x="3042386" y="12408"/>
                  </a:lnTo>
                  <a:lnTo>
                    <a:pt x="3042691" y="12408"/>
                  </a:lnTo>
                  <a:lnTo>
                    <a:pt x="3042729" y="11760"/>
                  </a:lnTo>
                  <a:lnTo>
                    <a:pt x="3042729" y="12408"/>
                  </a:lnTo>
                  <a:lnTo>
                    <a:pt x="3043478" y="12408"/>
                  </a:lnTo>
                  <a:lnTo>
                    <a:pt x="3043580" y="13043"/>
                  </a:lnTo>
                  <a:lnTo>
                    <a:pt x="3043631" y="13043"/>
                  </a:lnTo>
                  <a:lnTo>
                    <a:pt x="3043681" y="12408"/>
                  </a:lnTo>
                  <a:lnTo>
                    <a:pt x="3043681" y="13043"/>
                  </a:lnTo>
                  <a:lnTo>
                    <a:pt x="3043732" y="13043"/>
                  </a:lnTo>
                  <a:lnTo>
                    <a:pt x="3043732" y="12408"/>
                  </a:lnTo>
                  <a:lnTo>
                    <a:pt x="3043872" y="12408"/>
                  </a:lnTo>
                  <a:lnTo>
                    <a:pt x="3043923" y="13043"/>
                  </a:lnTo>
                  <a:lnTo>
                    <a:pt x="3043974" y="13043"/>
                  </a:lnTo>
                  <a:lnTo>
                    <a:pt x="3044075" y="12408"/>
                  </a:lnTo>
                  <a:lnTo>
                    <a:pt x="3044126" y="13043"/>
                  </a:lnTo>
                  <a:lnTo>
                    <a:pt x="3044126" y="12408"/>
                  </a:lnTo>
                  <a:lnTo>
                    <a:pt x="3044278" y="12408"/>
                  </a:lnTo>
                  <a:lnTo>
                    <a:pt x="3044278" y="13043"/>
                  </a:lnTo>
                  <a:lnTo>
                    <a:pt x="3044317" y="13043"/>
                  </a:lnTo>
                  <a:lnTo>
                    <a:pt x="3044367" y="12408"/>
                  </a:lnTo>
                  <a:lnTo>
                    <a:pt x="3044824" y="12408"/>
                  </a:lnTo>
                  <a:lnTo>
                    <a:pt x="3044863" y="11760"/>
                  </a:lnTo>
                  <a:lnTo>
                    <a:pt x="3044863" y="12408"/>
                  </a:lnTo>
                  <a:lnTo>
                    <a:pt x="3045066" y="12408"/>
                  </a:lnTo>
                  <a:lnTo>
                    <a:pt x="3045167" y="13043"/>
                  </a:lnTo>
                  <a:lnTo>
                    <a:pt x="3045167" y="12408"/>
                  </a:lnTo>
                  <a:lnTo>
                    <a:pt x="3045510" y="12408"/>
                  </a:lnTo>
                  <a:lnTo>
                    <a:pt x="3045510" y="13043"/>
                  </a:lnTo>
                  <a:lnTo>
                    <a:pt x="3045663" y="13043"/>
                  </a:lnTo>
                  <a:lnTo>
                    <a:pt x="3045713" y="12408"/>
                  </a:lnTo>
                  <a:lnTo>
                    <a:pt x="3046107" y="12408"/>
                  </a:lnTo>
                  <a:lnTo>
                    <a:pt x="3046107" y="13043"/>
                  </a:lnTo>
                  <a:lnTo>
                    <a:pt x="3046310" y="13043"/>
                  </a:lnTo>
                  <a:lnTo>
                    <a:pt x="3046310" y="12408"/>
                  </a:lnTo>
                  <a:lnTo>
                    <a:pt x="3046361" y="12408"/>
                  </a:lnTo>
                  <a:lnTo>
                    <a:pt x="3046412" y="13043"/>
                  </a:lnTo>
                  <a:lnTo>
                    <a:pt x="3046412" y="12408"/>
                  </a:lnTo>
                  <a:lnTo>
                    <a:pt x="3046603" y="12408"/>
                  </a:lnTo>
                  <a:lnTo>
                    <a:pt x="3046653" y="13043"/>
                  </a:lnTo>
                  <a:lnTo>
                    <a:pt x="3046653" y="12408"/>
                  </a:lnTo>
                  <a:lnTo>
                    <a:pt x="3046755" y="13043"/>
                  </a:lnTo>
                  <a:lnTo>
                    <a:pt x="3046755" y="12408"/>
                  </a:lnTo>
                  <a:lnTo>
                    <a:pt x="3046907" y="12408"/>
                  </a:lnTo>
                  <a:lnTo>
                    <a:pt x="3046907" y="13043"/>
                  </a:lnTo>
                  <a:lnTo>
                    <a:pt x="3046996" y="12408"/>
                  </a:lnTo>
                  <a:lnTo>
                    <a:pt x="3047352" y="12408"/>
                  </a:lnTo>
                  <a:lnTo>
                    <a:pt x="3047453" y="13043"/>
                  </a:lnTo>
                  <a:lnTo>
                    <a:pt x="3047492" y="12408"/>
                  </a:lnTo>
                  <a:lnTo>
                    <a:pt x="3047898" y="12408"/>
                  </a:lnTo>
                  <a:lnTo>
                    <a:pt x="3047898" y="13043"/>
                  </a:lnTo>
                  <a:lnTo>
                    <a:pt x="3047949" y="13043"/>
                  </a:lnTo>
                  <a:lnTo>
                    <a:pt x="3047999" y="12408"/>
                  </a:lnTo>
                  <a:lnTo>
                    <a:pt x="3048139" y="12408"/>
                  </a:lnTo>
                  <a:lnTo>
                    <a:pt x="3048190" y="11760"/>
                  </a:lnTo>
                  <a:lnTo>
                    <a:pt x="3048190" y="12408"/>
                  </a:lnTo>
                  <a:lnTo>
                    <a:pt x="3048584" y="12408"/>
                  </a:lnTo>
                  <a:lnTo>
                    <a:pt x="3048584" y="13043"/>
                  </a:lnTo>
                  <a:lnTo>
                    <a:pt x="3048685" y="13043"/>
                  </a:lnTo>
                  <a:lnTo>
                    <a:pt x="3048736" y="12408"/>
                  </a:lnTo>
                  <a:lnTo>
                    <a:pt x="3048838" y="13043"/>
                  </a:lnTo>
                  <a:lnTo>
                    <a:pt x="3048838" y="12408"/>
                  </a:lnTo>
                  <a:lnTo>
                    <a:pt x="3050527" y="12408"/>
                  </a:lnTo>
                  <a:lnTo>
                    <a:pt x="3050628" y="13043"/>
                  </a:lnTo>
                  <a:lnTo>
                    <a:pt x="3050667" y="12408"/>
                  </a:lnTo>
                  <a:lnTo>
                    <a:pt x="3051213" y="12408"/>
                  </a:lnTo>
                  <a:lnTo>
                    <a:pt x="3051213" y="13043"/>
                  </a:lnTo>
                  <a:lnTo>
                    <a:pt x="3051314" y="12408"/>
                  </a:lnTo>
                  <a:lnTo>
                    <a:pt x="3051365" y="13043"/>
                  </a:lnTo>
                  <a:lnTo>
                    <a:pt x="3051416" y="12408"/>
                  </a:lnTo>
                  <a:lnTo>
                    <a:pt x="3052063" y="12408"/>
                  </a:lnTo>
                  <a:lnTo>
                    <a:pt x="3052114" y="11760"/>
                  </a:lnTo>
                  <a:lnTo>
                    <a:pt x="3052114" y="12408"/>
                  </a:lnTo>
                  <a:lnTo>
                    <a:pt x="3052356" y="12408"/>
                  </a:lnTo>
                  <a:lnTo>
                    <a:pt x="3052356" y="13043"/>
                  </a:lnTo>
                  <a:lnTo>
                    <a:pt x="3052762" y="13043"/>
                  </a:lnTo>
                  <a:lnTo>
                    <a:pt x="3052762" y="12408"/>
                  </a:lnTo>
                  <a:lnTo>
                    <a:pt x="3053651" y="12408"/>
                  </a:lnTo>
                  <a:lnTo>
                    <a:pt x="3053702" y="13043"/>
                  </a:lnTo>
                  <a:lnTo>
                    <a:pt x="3053702" y="12408"/>
                  </a:lnTo>
                  <a:lnTo>
                    <a:pt x="3053842" y="12408"/>
                  </a:lnTo>
                  <a:lnTo>
                    <a:pt x="3053842" y="11760"/>
                  </a:lnTo>
                  <a:lnTo>
                    <a:pt x="3053892" y="12408"/>
                  </a:lnTo>
                  <a:lnTo>
                    <a:pt x="3053943" y="12408"/>
                  </a:lnTo>
                  <a:lnTo>
                    <a:pt x="3053943" y="13043"/>
                  </a:lnTo>
                  <a:lnTo>
                    <a:pt x="3054045" y="13043"/>
                  </a:lnTo>
                  <a:lnTo>
                    <a:pt x="3054045" y="12408"/>
                  </a:lnTo>
                  <a:lnTo>
                    <a:pt x="3054349" y="12408"/>
                  </a:lnTo>
                  <a:lnTo>
                    <a:pt x="3054349" y="13043"/>
                  </a:lnTo>
                  <a:lnTo>
                    <a:pt x="3054388" y="12408"/>
                  </a:lnTo>
                  <a:lnTo>
                    <a:pt x="3054540" y="12408"/>
                  </a:lnTo>
                  <a:lnTo>
                    <a:pt x="3054591" y="13043"/>
                  </a:lnTo>
                  <a:lnTo>
                    <a:pt x="3054692" y="12408"/>
                  </a:lnTo>
                  <a:lnTo>
                    <a:pt x="3054692" y="13043"/>
                  </a:lnTo>
                  <a:lnTo>
                    <a:pt x="3054743" y="13043"/>
                  </a:lnTo>
                  <a:lnTo>
                    <a:pt x="3054794" y="12408"/>
                  </a:lnTo>
                  <a:lnTo>
                    <a:pt x="3054985" y="12408"/>
                  </a:lnTo>
                  <a:lnTo>
                    <a:pt x="3055035" y="13043"/>
                  </a:lnTo>
                  <a:lnTo>
                    <a:pt x="3055480" y="13043"/>
                  </a:lnTo>
                  <a:lnTo>
                    <a:pt x="3055480" y="12408"/>
                  </a:lnTo>
                  <a:lnTo>
                    <a:pt x="3055835" y="12408"/>
                  </a:lnTo>
                  <a:lnTo>
                    <a:pt x="3055835" y="13043"/>
                  </a:lnTo>
                  <a:lnTo>
                    <a:pt x="3056128" y="13043"/>
                  </a:lnTo>
                  <a:lnTo>
                    <a:pt x="3056128" y="12408"/>
                  </a:lnTo>
                  <a:lnTo>
                    <a:pt x="3056432" y="12408"/>
                  </a:lnTo>
                  <a:lnTo>
                    <a:pt x="3056521" y="13043"/>
                  </a:lnTo>
                  <a:lnTo>
                    <a:pt x="3056572" y="12408"/>
                  </a:lnTo>
                  <a:lnTo>
                    <a:pt x="3057017" y="12408"/>
                  </a:lnTo>
                  <a:lnTo>
                    <a:pt x="3057017" y="13043"/>
                  </a:lnTo>
                  <a:lnTo>
                    <a:pt x="3057118" y="13043"/>
                  </a:lnTo>
                  <a:lnTo>
                    <a:pt x="3057220" y="12408"/>
                  </a:lnTo>
                  <a:lnTo>
                    <a:pt x="3057271" y="12408"/>
                  </a:lnTo>
                  <a:lnTo>
                    <a:pt x="3057321" y="13043"/>
                  </a:lnTo>
                  <a:lnTo>
                    <a:pt x="3057423" y="12408"/>
                  </a:lnTo>
                  <a:lnTo>
                    <a:pt x="3057563" y="12408"/>
                  </a:lnTo>
                  <a:lnTo>
                    <a:pt x="3057563" y="13043"/>
                  </a:lnTo>
                  <a:lnTo>
                    <a:pt x="3057664" y="13043"/>
                  </a:lnTo>
                  <a:lnTo>
                    <a:pt x="3057715" y="12408"/>
                  </a:lnTo>
                  <a:lnTo>
                    <a:pt x="3057867" y="12408"/>
                  </a:lnTo>
                  <a:lnTo>
                    <a:pt x="3057867" y="13043"/>
                  </a:lnTo>
                  <a:lnTo>
                    <a:pt x="3057969" y="13043"/>
                  </a:lnTo>
                  <a:lnTo>
                    <a:pt x="3058020" y="12408"/>
                  </a:lnTo>
                  <a:lnTo>
                    <a:pt x="3058109" y="13043"/>
                  </a:lnTo>
                  <a:lnTo>
                    <a:pt x="3058210" y="13043"/>
                  </a:lnTo>
                  <a:lnTo>
                    <a:pt x="3058210" y="12408"/>
                  </a:lnTo>
                  <a:lnTo>
                    <a:pt x="3058413" y="12408"/>
                  </a:lnTo>
                  <a:lnTo>
                    <a:pt x="3058413" y="13043"/>
                  </a:lnTo>
                  <a:lnTo>
                    <a:pt x="3058464" y="12408"/>
                  </a:lnTo>
                  <a:lnTo>
                    <a:pt x="3058566" y="12408"/>
                  </a:lnTo>
                  <a:lnTo>
                    <a:pt x="3058604" y="13043"/>
                  </a:lnTo>
                  <a:lnTo>
                    <a:pt x="3058604" y="12408"/>
                  </a:lnTo>
                  <a:lnTo>
                    <a:pt x="3058858" y="12408"/>
                  </a:lnTo>
                  <a:lnTo>
                    <a:pt x="3058909" y="13043"/>
                  </a:lnTo>
                  <a:lnTo>
                    <a:pt x="3059010" y="13043"/>
                  </a:lnTo>
                  <a:lnTo>
                    <a:pt x="3059061" y="12408"/>
                  </a:lnTo>
                  <a:lnTo>
                    <a:pt x="3059150" y="12408"/>
                  </a:lnTo>
                  <a:lnTo>
                    <a:pt x="3059252" y="13043"/>
                  </a:lnTo>
                  <a:lnTo>
                    <a:pt x="3059455" y="13043"/>
                  </a:lnTo>
                  <a:lnTo>
                    <a:pt x="3059455" y="12408"/>
                  </a:lnTo>
                  <a:lnTo>
                    <a:pt x="3059506" y="13043"/>
                  </a:lnTo>
                  <a:lnTo>
                    <a:pt x="3059506" y="12408"/>
                  </a:lnTo>
                  <a:lnTo>
                    <a:pt x="3059556" y="12408"/>
                  </a:lnTo>
                  <a:lnTo>
                    <a:pt x="3059607" y="13043"/>
                  </a:lnTo>
                  <a:lnTo>
                    <a:pt x="3059747" y="13043"/>
                  </a:lnTo>
                  <a:lnTo>
                    <a:pt x="3059747" y="12408"/>
                  </a:lnTo>
                  <a:lnTo>
                    <a:pt x="3059950" y="12408"/>
                  </a:lnTo>
                  <a:lnTo>
                    <a:pt x="3059950" y="13043"/>
                  </a:lnTo>
                  <a:lnTo>
                    <a:pt x="3060052" y="13043"/>
                  </a:lnTo>
                  <a:lnTo>
                    <a:pt x="3060153" y="12408"/>
                  </a:lnTo>
                  <a:lnTo>
                    <a:pt x="3060153" y="13043"/>
                  </a:lnTo>
                  <a:lnTo>
                    <a:pt x="3060242" y="13043"/>
                  </a:lnTo>
                  <a:lnTo>
                    <a:pt x="3060293" y="12408"/>
                  </a:lnTo>
                  <a:lnTo>
                    <a:pt x="3060395" y="12408"/>
                  </a:lnTo>
                  <a:lnTo>
                    <a:pt x="3060395" y="13043"/>
                  </a:lnTo>
                  <a:lnTo>
                    <a:pt x="3060496" y="13043"/>
                  </a:lnTo>
                  <a:lnTo>
                    <a:pt x="3060598" y="12408"/>
                  </a:lnTo>
                  <a:lnTo>
                    <a:pt x="3060699" y="12408"/>
                  </a:lnTo>
                  <a:lnTo>
                    <a:pt x="3060699" y="13043"/>
                  </a:lnTo>
                  <a:lnTo>
                    <a:pt x="3060890" y="13043"/>
                  </a:lnTo>
                  <a:lnTo>
                    <a:pt x="3060941" y="12408"/>
                  </a:lnTo>
                  <a:lnTo>
                    <a:pt x="3060941" y="13043"/>
                  </a:lnTo>
                  <a:lnTo>
                    <a:pt x="3061144" y="13043"/>
                  </a:lnTo>
                  <a:lnTo>
                    <a:pt x="3061195" y="12408"/>
                  </a:lnTo>
                  <a:lnTo>
                    <a:pt x="3061335" y="12408"/>
                  </a:lnTo>
                  <a:lnTo>
                    <a:pt x="3061335" y="13043"/>
                  </a:lnTo>
                  <a:lnTo>
                    <a:pt x="3061588" y="13043"/>
                  </a:lnTo>
                  <a:lnTo>
                    <a:pt x="3061588" y="12408"/>
                  </a:lnTo>
                  <a:lnTo>
                    <a:pt x="3061639" y="12408"/>
                  </a:lnTo>
                  <a:lnTo>
                    <a:pt x="3061639" y="13043"/>
                  </a:lnTo>
                  <a:lnTo>
                    <a:pt x="3061779" y="13043"/>
                  </a:lnTo>
                  <a:lnTo>
                    <a:pt x="3061881" y="11760"/>
                  </a:lnTo>
                  <a:lnTo>
                    <a:pt x="3061982" y="12408"/>
                  </a:lnTo>
                  <a:lnTo>
                    <a:pt x="3062033" y="13043"/>
                  </a:lnTo>
                  <a:lnTo>
                    <a:pt x="3062084" y="13043"/>
                  </a:lnTo>
                  <a:lnTo>
                    <a:pt x="3062084" y="12408"/>
                  </a:lnTo>
                  <a:lnTo>
                    <a:pt x="3062185" y="13043"/>
                  </a:lnTo>
                  <a:lnTo>
                    <a:pt x="3062185" y="12408"/>
                  </a:lnTo>
                  <a:lnTo>
                    <a:pt x="3062236" y="12408"/>
                  </a:lnTo>
                  <a:lnTo>
                    <a:pt x="3062236" y="13043"/>
                  </a:lnTo>
                  <a:lnTo>
                    <a:pt x="3062427" y="13043"/>
                  </a:lnTo>
                  <a:lnTo>
                    <a:pt x="3062478" y="12408"/>
                  </a:lnTo>
                  <a:lnTo>
                    <a:pt x="3062630" y="12408"/>
                  </a:lnTo>
                  <a:lnTo>
                    <a:pt x="3062681" y="13043"/>
                  </a:lnTo>
                  <a:lnTo>
                    <a:pt x="3062731" y="14389"/>
                  </a:lnTo>
                  <a:lnTo>
                    <a:pt x="3062731" y="13043"/>
                  </a:lnTo>
                  <a:lnTo>
                    <a:pt x="3062782" y="13043"/>
                  </a:lnTo>
                  <a:lnTo>
                    <a:pt x="3062782" y="12408"/>
                  </a:lnTo>
                  <a:lnTo>
                    <a:pt x="3062871" y="12408"/>
                  </a:lnTo>
                  <a:lnTo>
                    <a:pt x="3062871" y="13043"/>
                  </a:lnTo>
                  <a:lnTo>
                    <a:pt x="3062922" y="12408"/>
                  </a:lnTo>
                  <a:lnTo>
                    <a:pt x="3062973" y="12408"/>
                  </a:lnTo>
                  <a:lnTo>
                    <a:pt x="3063024" y="13043"/>
                  </a:lnTo>
                  <a:lnTo>
                    <a:pt x="3063125" y="13043"/>
                  </a:lnTo>
                  <a:lnTo>
                    <a:pt x="3063176" y="12408"/>
                  </a:lnTo>
                  <a:lnTo>
                    <a:pt x="3063328" y="12408"/>
                  </a:lnTo>
                  <a:lnTo>
                    <a:pt x="3063328" y="13043"/>
                  </a:lnTo>
                  <a:lnTo>
                    <a:pt x="3063417" y="13043"/>
                  </a:lnTo>
                  <a:lnTo>
                    <a:pt x="3063468" y="12408"/>
                  </a:lnTo>
                  <a:lnTo>
                    <a:pt x="3063621" y="12408"/>
                  </a:lnTo>
                  <a:lnTo>
                    <a:pt x="3063621" y="13043"/>
                  </a:lnTo>
                  <a:lnTo>
                    <a:pt x="3063913" y="13043"/>
                  </a:lnTo>
                  <a:lnTo>
                    <a:pt x="3063913" y="12408"/>
                  </a:lnTo>
                  <a:lnTo>
                    <a:pt x="3064014" y="13043"/>
                  </a:lnTo>
                  <a:lnTo>
                    <a:pt x="3064268" y="13043"/>
                  </a:lnTo>
                  <a:lnTo>
                    <a:pt x="3064319" y="12408"/>
                  </a:lnTo>
                  <a:lnTo>
                    <a:pt x="3064370" y="13043"/>
                  </a:lnTo>
                  <a:lnTo>
                    <a:pt x="3064560" y="13043"/>
                  </a:lnTo>
                  <a:lnTo>
                    <a:pt x="3064611" y="12408"/>
                  </a:lnTo>
                  <a:lnTo>
                    <a:pt x="3064713" y="12408"/>
                  </a:lnTo>
                  <a:lnTo>
                    <a:pt x="3064713" y="11760"/>
                  </a:lnTo>
                  <a:lnTo>
                    <a:pt x="3064814" y="11760"/>
                  </a:lnTo>
                  <a:lnTo>
                    <a:pt x="3064814" y="12408"/>
                  </a:lnTo>
                  <a:lnTo>
                    <a:pt x="3065462" y="12408"/>
                  </a:lnTo>
                  <a:lnTo>
                    <a:pt x="3065500" y="13043"/>
                  </a:lnTo>
                  <a:lnTo>
                    <a:pt x="3065703" y="13043"/>
                  </a:lnTo>
                  <a:lnTo>
                    <a:pt x="3065805" y="12408"/>
                  </a:lnTo>
                  <a:lnTo>
                    <a:pt x="3065805" y="13043"/>
                  </a:lnTo>
                  <a:lnTo>
                    <a:pt x="3066402" y="13043"/>
                  </a:lnTo>
                  <a:lnTo>
                    <a:pt x="3066402" y="12408"/>
                  </a:lnTo>
                  <a:lnTo>
                    <a:pt x="3066503" y="13043"/>
                  </a:lnTo>
                  <a:lnTo>
                    <a:pt x="3066948" y="13043"/>
                  </a:lnTo>
                  <a:lnTo>
                    <a:pt x="3066948" y="12408"/>
                  </a:lnTo>
                  <a:lnTo>
                    <a:pt x="3067088" y="12408"/>
                  </a:lnTo>
                  <a:lnTo>
                    <a:pt x="3067088" y="13043"/>
                  </a:lnTo>
                  <a:lnTo>
                    <a:pt x="3067392" y="13043"/>
                  </a:lnTo>
                  <a:lnTo>
                    <a:pt x="3067443" y="12408"/>
                  </a:lnTo>
                  <a:lnTo>
                    <a:pt x="3067634" y="12408"/>
                  </a:lnTo>
                  <a:lnTo>
                    <a:pt x="3067685" y="13043"/>
                  </a:lnTo>
                  <a:lnTo>
                    <a:pt x="3067735" y="13043"/>
                  </a:lnTo>
                  <a:lnTo>
                    <a:pt x="3067786" y="12408"/>
                  </a:lnTo>
                  <a:lnTo>
                    <a:pt x="3067888" y="13043"/>
                  </a:lnTo>
                  <a:lnTo>
                    <a:pt x="3067888" y="12408"/>
                  </a:lnTo>
                  <a:lnTo>
                    <a:pt x="3067938" y="13043"/>
                  </a:lnTo>
                  <a:lnTo>
                    <a:pt x="3067938" y="12408"/>
                  </a:lnTo>
                  <a:lnTo>
                    <a:pt x="3067989" y="12408"/>
                  </a:lnTo>
                  <a:lnTo>
                    <a:pt x="3067989" y="13043"/>
                  </a:lnTo>
                  <a:lnTo>
                    <a:pt x="3068091" y="12408"/>
                  </a:lnTo>
                  <a:lnTo>
                    <a:pt x="3068129" y="13043"/>
                  </a:lnTo>
                  <a:lnTo>
                    <a:pt x="3068129" y="12408"/>
                  </a:lnTo>
                  <a:lnTo>
                    <a:pt x="3068383" y="12408"/>
                  </a:lnTo>
                  <a:lnTo>
                    <a:pt x="3068434" y="13043"/>
                  </a:lnTo>
                  <a:lnTo>
                    <a:pt x="3068675" y="13043"/>
                  </a:lnTo>
                  <a:lnTo>
                    <a:pt x="3068777" y="12408"/>
                  </a:lnTo>
                  <a:lnTo>
                    <a:pt x="3068777" y="13043"/>
                  </a:lnTo>
                  <a:lnTo>
                    <a:pt x="3068828" y="12408"/>
                  </a:lnTo>
                  <a:lnTo>
                    <a:pt x="3068828" y="13043"/>
                  </a:lnTo>
                  <a:lnTo>
                    <a:pt x="3069132" y="13043"/>
                  </a:lnTo>
                  <a:lnTo>
                    <a:pt x="3069132" y="12408"/>
                  </a:lnTo>
                  <a:lnTo>
                    <a:pt x="3069221" y="13043"/>
                  </a:lnTo>
                  <a:lnTo>
                    <a:pt x="3069526" y="13043"/>
                  </a:lnTo>
                  <a:lnTo>
                    <a:pt x="3069526" y="12408"/>
                  </a:lnTo>
                  <a:lnTo>
                    <a:pt x="3069678" y="12408"/>
                  </a:lnTo>
                  <a:lnTo>
                    <a:pt x="3069717" y="13043"/>
                  </a:lnTo>
                  <a:lnTo>
                    <a:pt x="3069767" y="12408"/>
                  </a:lnTo>
                  <a:lnTo>
                    <a:pt x="3069767" y="13043"/>
                  </a:lnTo>
                  <a:lnTo>
                    <a:pt x="3069818" y="12408"/>
                  </a:lnTo>
                  <a:lnTo>
                    <a:pt x="3070364" y="12408"/>
                  </a:lnTo>
                  <a:lnTo>
                    <a:pt x="3070415" y="13043"/>
                  </a:lnTo>
                  <a:lnTo>
                    <a:pt x="3070415" y="12408"/>
                  </a:lnTo>
                  <a:lnTo>
                    <a:pt x="3070466" y="12408"/>
                  </a:lnTo>
                  <a:lnTo>
                    <a:pt x="3070466" y="13043"/>
                  </a:lnTo>
                  <a:lnTo>
                    <a:pt x="3070618" y="13043"/>
                  </a:lnTo>
                  <a:lnTo>
                    <a:pt x="3070618" y="12408"/>
                  </a:lnTo>
                  <a:lnTo>
                    <a:pt x="3070669" y="13043"/>
                  </a:lnTo>
                  <a:lnTo>
                    <a:pt x="3070860" y="13043"/>
                  </a:lnTo>
                  <a:lnTo>
                    <a:pt x="3070910" y="12408"/>
                  </a:lnTo>
                  <a:lnTo>
                    <a:pt x="3071063" y="12408"/>
                  </a:lnTo>
                  <a:lnTo>
                    <a:pt x="3071063" y="13043"/>
                  </a:lnTo>
                  <a:lnTo>
                    <a:pt x="3071355" y="13043"/>
                  </a:lnTo>
                  <a:lnTo>
                    <a:pt x="3071355" y="12408"/>
                  </a:lnTo>
                  <a:lnTo>
                    <a:pt x="3071406" y="12408"/>
                  </a:lnTo>
                  <a:lnTo>
                    <a:pt x="3071507" y="13043"/>
                  </a:lnTo>
                  <a:lnTo>
                    <a:pt x="3072307" y="13043"/>
                  </a:lnTo>
                  <a:lnTo>
                    <a:pt x="3072396" y="12408"/>
                  </a:lnTo>
                  <a:lnTo>
                    <a:pt x="3072447" y="12408"/>
                  </a:lnTo>
                  <a:lnTo>
                    <a:pt x="3072447" y="13043"/>
                  </a:lnTo>
                  <a:lnTo>
                    <a:pt x="3072498" y="13043"/>
                  </a:lnTo>
                  <a:lnTo>
                    <a:pt x="3072549" y="12408"/>
                  </a:lnTo>
                  <a:lnTo>
                    <a:pt x="3072549" y="13043"/>
                  </a:lnTo>
                  <a:lnTo>
                    <a:pt x="3072650" y="12408"/>
                  </a:lnTo>
                  <a:lnTo>
                    <a:pt x="3072752" y="12408"/>
                  </a:lnTo>
                  <a:lnTo>
                    <a:pt x="3072752" y="13043"/>
                  </a:lnTo>
                  <a:lnTo>
                    <a:pt x="3072892" y="13043"/>
                  </a:lnTo>
                  <a:lnTo>
                    <a:pt x="3072892" y="12408"/>
                  </a:lnTo>
                  <a:lnTo>
                    <a:pt x="3072993" y="12408"/>
                  </a:lnTo>
                  <a:lnTo>
                    <a:pt x="3073095" y="13043"/>
                  </a:lnTo>
                  <a:lnTo>
                    <a:pt x="3073146" y="12408"/>
                  </a:lnTo>
                  <a:lnTo>
                    <a:pt x="3073399" y="12408"/>
                  </a:lnTo>
                  <a:lnTo>
                    <a:pt x="3073399" y="13043"/>
                  </a:lnTo>
                  <a:lnTo>
                    <a:pt x="3073438" y="12408"/>
                  </a:lnTo>
                  <a:lnTo>
                    <a:pt x="3073539" y="13043"/>
                  </a:lnTo>
                  <a:lnTo>
                    <a:pt x="3073641" y="13043"/>
                  </a:lnTo>
                  <a:lnTo>
                    <a:pt x="3073742" y="12408"/>
                  </a:lnTo>
                  <a:lnTo>
                    <a:pt x="3073844" y="12408"/>
                  </a:lnTo>
                  <a:lnTo>
                    <a:pt x="3073895" y="13043"/>
                  </a:lnTo>
                  <a:lnTo>
                    <a:pt x="3073895" y="12408"/>
                  </a:lnTo>
                  <a:lnTo>
                    <a:pt x="3073984" y="12408"/>
                  </a:lnTo>
                  <a:lnTo>
                    <a:pt x="3074035" y="13043"/>
                  </a:lnTo>
                  <a:lnTo>
                    <a:pt x="3074085" y="12408"/>
                  </a:lnTo>
                  <a:lnTo>
                    <a:pt x="3074085" y="13043"/>
                  </a:lnTo>
                  <a:lnTo>
                    <a:pt x="3074136" y="12408"/>
                  </a:lnTo>
                  <a:lnTo>
                    <a:pt x="3074238" y="12408"/>
                  </a:lnTo>
                  <a:lnTo>
                    <a:pt x="3074238" y="13043"/>
                  </a:lnTo>
                  <a:lnTo>
                    <a:pt x="3075482" y="13043"/>
                  </a:lnTo>
                  <a:lnTo>
                    <a:pt x="3075571" y="12408"/>
                  </a:lnTo>
                  <a:lnTo>
                    <a:pt x="3075571" y="13043"/>
                  </a:lnTo>
                  <a:lnTo>
                    <a:pt x="3075724" y="13043"/>
                  </a:lnTo>
                  <a:lnTo>
                    <a:pt x="3075825" y="12408"/>
                  </a:lnTo>
                  <a:lnTo>
                    <a:pt x="3075876" y="12408"/>
                  </a:lnTo>
                  <a:lnTo>
                    <a:pt x="3075927" y="13043"/>
                  </a:lnTo>
                  <a:lnTo>
                    <a:pt x="3076270" y="13043"/>
                  </a:lnTo>
                  <a:lnTo>
                    <a:pt x="3076321" y="12408"/>
                  </a:lnTo>
                  <a:lnTo>
                    <a:pt x="3076371" y="12408"/>
                  </a:lnTo>
                  <a:lnTo>
                    <a:pt x="3076473" y="13043"/>
                  </a:lnTo>
                  <a:lnTo>
                    <a:pt x="3076524" y="13043"/>
                  </a:lnTo>
                  <a:lnTo>
                    <a:pt x="3076524" y="12408"/>
                  </a:lnTo>
                  <a:lnTo>
                    <a:pt x="3076714" y="12408"/>
                  </a:lnTo>
                  <a:lnTo>
                    <a:pt x="3076714" y="13043"/>
                  </a:lnTo>
                  <a:lnTo>
                    <a:pt x="3077159" y="13043"/>
                  </a:lnTo>
                  <a:lnTo>
                    <a:pt x="3077210" y="12408"/>
                  </a:lnTo>
                  <a:lnTo>
                    <a:pt x="3077260" y="13043"/>
                  </a:lnTo>
                  <a:lnTo>
                    <a:pt x="3077260" y="12408"/>
                  </a:lnTo>
                  <a:lnTo>
                    <a:pt x="3077413" y="12408"/>
                  </a:lnTo>
                  <a:lnTo>
                    <a:pt x="3077413" y="13043"/>
                  </a:lnTo>
                  <a:lnTo>
                    <a:pt x="3077514" y="13043"/>
                  </a:lnTo>
                  <a:lnTo>
                    <a:pt x="3077616" y="12408"/>
                  </a:lnTo>
                  <a:lnTo>
                    <a:pt x="3077705" y="12408"/>
                  </a:lnTo>
                  <a:lnTo>
                    <a:pt x="3077705" y="13043"/>
                  </a:lnTo>
                  <a:lnTo>
                    <a:pt x="3077857" y="13043"/>
                  </a:lnTo>
                  <a:lnTo>
                    <a:pt x="3077908" y="12408"/>
                  </a:lnTo>
                  <a:lnTo>
                    <a:pt x="3077959" y="13043"/>
                  </a:lnTo>
                  <a:lnTo>
                    <a:pt x="3078060" y="12408"/>
                  </a:lnTo>
                  <a:lnTo>
                    <a:pt x="3078060" y="13043"/>
                  </a:lnTo>
                  <a:lnTo>
                    <a:pt x="3078505" y="13043"/>
                  </a:lnTo>
                  <a:lnTo>
                    <a:pt x="3078505" y="12408"/>
                  </a:lnTo>
                  <a:lnTo>
                    <a:pt x="3078556" y="13043"/>
                  </a:lnTo>
                  <a:lnTo>
                    <a:pt x="3078556" y="12408"/>
                  </a:lnTo>
                  <a:lnTo>
                    <a:pt x="3078606" y="13043"/>
                  </a:lnTo>
                  <a:lnTo>
                    <a:pt x="3079496" y="13043"/>
                  </a:lnTo>
                  <a:lnTo>
                    <a:pt x="3079546" y="14389"/>
                  </a:lnTo>
                  <a:lnTo>
                    <a:pt x="3079648" y="14389"/>
                  </a:lnTo>
                  <a:lnTo>
                    <a:pt x="3079699" y="13043"/>
                  </a:lnTo>
                  <a:lnTo>
                    <a:pt x="3080385" y="13043"/>
                  </a:lnTo>
                  <a:lnTo>
                    <a:pt x="3080435" y="12408"/>
                  </a:lnTo>
                  <a:lnTo>
                    <a:pt x="3080486" y="13043"/>
                  </a:lnTo>
                  <a:lnTo>
                    <a:pt x="3080588" y="12408"/>
                  </a:lnTo>
                  <a:lnTo>
                    <a:pt x="3080588" y="13043"/>
                  </a:lnTo>
                  <a:lnTo>
                    <a:pt x="3081375" y="13043"/>
                  </a:lnTo>
                  <a:lnTo>
                    <a:pt x="3081375" y="12408"/>
                  </a:lnTo>
                  <a:lnTo>
                    <a:pt x="3081477" y="12408"/>
                  </a:lnTo>
                  <a:lnTo>
                    <a:pt x="3081528" y="13043"/>
                  </a:lnTo>
                  <a:lnTo>
                    <a:pt x="3081528" y="12408"/>
                  </a:lnTo>
                  <a:lnTo>
                    <a:pt x="3081578" y="13043"/>
                  </a:lnTo>
                  <a:lnTo>
                    <a:pt x="3081832" y="13043"/>
                  </a:lnTo>
                  <a:lnTo>
                    <a:pt x="3081921" y="12408"/>
                  </a:lnTo>
                  <a:lnTo>
                    <a:pt x="3081921" y="13043"/>
                  </a:lnTo>
                  <a:lnTo>
                    <a:pt x="3082226" y="13043"/>
                  </a:lnTo>
                  <a:lnTo>
                    <a:pt x="3082277" y="12408"/>
                  </a:lnTo>
                  <a:lnTo>
                    <a:pt x="3082378" y="12408"/>
                  </a:lnTo>
                  <a:lnTo>
                    <a:pt x="3082417" y="13043"/>
                  </a:lnTo>
                  <a:lnTo>
                    <a:pt x="3082823" y="13043"/>
                  </a:lnTo>
                  <a:lnTo>
                    <a:pt x="3082874" y="12408"/>
                  </a:lnTo>
                  <a:lnTo>
                    <a:pt x="3082924" y="13043"/>
                  </a:lnTo>
                  <a:lnTo>
                    <a:pt x="3082963" y="13043"/>
                  </a:lnTo>
                  <a:lnTo>
                    <a:pt x="3083064" y="12408"/>
                  </a:lnTo>
                  <a:lnTo>
                    <a:pt x="3083064" y="13043"/>
                  </a:lnTo>
                  <a:lnTo>
                    <a:pt x="3083115" y="13043"/>
                  </a:lnTo>
                  <a:lnTo>
                    <a:pt x="3083166" y="14389"/>
                  </a:lnTo>
                  <a:lnTo>
                    <a:pt x="3083267" y="14389"/>
                  </a:lnTo>
                  <a:lnTo>
                    <a:pt x="3083318" y="13043"/>
                  </a:lnTo>
                  <a:lnTo>
                    <a:pt x="3083813" y="13043"/>
                  </a:lnTo>
                  <a:lnTo>
                    <a:pt x="3083864" y="14389"/>
                  </a:lnTo>
                  <a:lnTo>
                    <a:pt x="3083966" y="13043"/>
                  </a:lnTo>
                  <a:lnTo>
                    <a:pt x="3084410" y="13043"/>
                  </a:lnTo>
                  <a:lnTo>
                    <a:pt x="3084410" y="14389"/>
                  </a:lnTo>
                  <a:lnTo>
                    <a:pt x="3084550" y="14389"/>
                  </a:lnTo>
                  <a:lnTo>
                    <a:pt x="3084652" y="13043"/>
                  </a:lnTo>
                  <a:lnTo>
                    <a:pt x="3085147" y="13043"/>
                  </a:lnTo>
                  <a:lnTo>
                    <a:pt x="3085198" y="12408"/>
                  </a:lnTo>
                  <a:lnTo>
                    <a:pt x="3085249" y="12408"/>
                  </a:lnTo>
                  <a:lnTo>
                    <a:pt x="3085249" y="13043"/>
                  </a:lnTo>
                  <a:lnTo>
                    <a:pt x="3085553" y="13043"/>
                  </a:lnTo>
                  <a:lnTo>
                    <a:pt x="3085553" y="12408"/>
                  </a:lnTo>
                  <a:lnTo>
                    <a:pt x="3085592" y="12408"/>
                  </a:lnTo>
                  <a:lnTo>
                    <a:pt x="3085592" y="13043"/>
                  </a:lnTo>
                  <a:lnTo>
                    <a:pt x="3085642" y="12408"/>
                  </a:lnTo>
                  <a:lnTo>
                    <a:pt x="3085693" y="13043"/>
                  </a:lnTo>
                  <a:lnTo>
                    <a:pt x="3086138" y="13043"/>
                  </a:lnTo>
                  <a:lnTo>
                    <a:pt x="3086239" y="12408"/>
                  </a:lnTo>
                  <a:lnTo>
                    <a:pt x="3086341" y="12408"/>
                  </a:lnTo>
                  <a:lnTo>
                    <a:pt x="3086442" y="13043"/>
                  </a:lnTo>
                  <a:lnTo>
                    <a:pt x="3086785" y="13043"/>
                  </a:lnTo>
                  <a:lnTo>
                    <a:pt x="3086785" y="12408"/>
                  </a:lnTo>
                  <a:lnTo>
                    <a:pt x="3086836" y="12408"/>
                  </a:lnTo>
                  <a:lnTo>
                    <a:pt x="3086836" y="13043"/>
                  </a:lnTo>
                  <a:lnTo>
                    <a:pt x="3087141" y="13043"/>
                  </a:lnTo>
                  <a:lnTo>
                    <a:pt x="3087179" y="12408"/>
                  </a:lnTo>
                  <a:lnTo>
                    <a:pt x="3087382" y="12408"/>
                  </a:lnTo>
                  <a:lnTo>
                    <a:pt x="3087382" y="13043"/>
                  </a:lnTo>
                  <a:lnTo>
                    <a:pt x="3087484" y="13043"/>
                  </a:lnTo>
                  <a:lnTo>
                    <a:pt x="3087484" y="12408"/>
                  </a:lnTo>
                  <a:lnTo>
                    <a:pt x="3087585" y="13043"/>
                  </a:lnTo>
                  <a:lnTo>
                    <a:pt x="3087687" y="13043"/>
                  </a:lnTo>
                  <a:lnTo>
                    <a:pt x="3087687" y="14389"/>
                  </a:lnTo>
                  <a:lnTo>
                    <a:pt x="3087725" y="13043"/>
                  </a:lnTo>
                  <a:lnTo>
                    <a:pt x="3088030" y="13043"/>
                  </a:lnTo>
                  <a:lnTo>
                    <a:pt x="3088030" y="12408"/>
                  </a:lnTo>
                  <a:lnTo>
                    <a:pt x="3088081" y="12408"/>
                  </a:lnTo>
                  <a:lnTo>
                    <a:pt x="3088081" y="13043"/>
                  </a:lnTo>
                  <a:lnTo>
                    <a:pt x="3088322" y="13043"/>
                  </a:lnTo>
                  <a:lnTo>
                    <a:pt x="3088373" y="14389"/>
                  </a:lnTo>
                  <a:lnTo>
                    <a:pt x="3088424" y="13043"/>
                  </a:lnTo>
                  <a:lnTo>
                    <a:pt x="3088728" y="13043"/>
                  </a:lnTo>
                  <a:lnTo>
                    <a:pt x="3088767" y="14389"/>
                  </a:lnTo>
                  <a:lnTo>
                    <a:pt x="3088817" y="13043"/>
                  </a:lnTo>
                  <a:lnTo>
                    <a:pt x="3088817" y="14389"/>
                  </a:lnTo>
                  <a:lnTo>
                    <a:pt x="3088868" y="13043"/>
                  </a:lnTo>
                  <a:lnTo>
                    <a:pt x="3089224" y="13043"/>
                  </a:lnTo>
                  <a:lnTo>
                    <a:pt x="3089274" y="14389"/>
                  </a:lnTo>
                  <a:lnTo>
                    <a:pt x="3089313" y="14389"/>
                  </a:lnTo>
                  <a:lnTo>
                    <a:pt x="3089414" y="13043"/>
                  </a:lnTo>
                  <a:lnTo>
                    <a:pt x="3089617" y="13043"/>
                  </a:lnTo>
                  <a:lnTo>
                    <a:pt x="3089617" y="14389"/>
                  </a:lnTo>
                  <a:lnTo>
                    <a:pt x="3089668" y="13043"/>
                  </a:lnTo>
                  <a:lnTo>
                    <a:pt x="3089770" y="13043"/>
                  </a:lnTo>
                  <a:lnTo>
                    <a:pt x="3089770" y="14389"/>
                  </a:lnTo>
                  <a:lnTo>
                    <a:pt x="3089859" y="14389"/>
                  </a:lnTo>
                  <a:lnTo>
                    <a:pt x="3089910" y="13043"/>
                  </a:lnTo>
                  <a:lnTo>
                    <a:pt x="3090011" y="13043"/>
                  </a:lnTo>
                  <a:lnTo>
                    <a:pt x="3090011" y="14389"/>
                  </a:lnTo>
                  <a:lnTo>
                    <a:pt x="3090163" y="14389"/>
                  </a:lnTo>
                  <a:lnTo>
                    <a:pt x="3090163" y="13043"/>
                  </a:lnTo>
                  <a:lnTo>
                    <a:pt x="3090214" y="13043"/>
                  </a:lnTo>
                  <a:lnTo>
                    <a:pt x="3090214" y="14389"/>
                  </a:lnTo>
                  <a:lnTo>
                    <a:pt x="3090316" y="14389"/>
                  </a:lnTo>
                  <a:lnTo>
                    <a:pt x="3090354" y="13043"/>
                  </a:lnTo>
                  <a:lnTo>
                    <a:pt x="3090354" y="14389"/>
                  </a:lnTo>
                  <a:lnTo>
                    <a:pt x="3090405" y="14389"/>
                  </a:lnTo>
                  <a:lnTo>
                    <a:pt x="3090405" y="13043"/>
                  </a:lnTo>
                  <a:lnTo>
                    <a:pt x="3090862" y="13043"/>
                  </a:lnTo>
                  <a:lnTo>
                    <a:pt x="3090900" y="14389"/>
                  </a:lnTo>
                  <a:lnTo>
                    <a:pt x="3090900" y="13043"/>
                  </a:lnTo>
                  <a:lnTo>
                    <a:pt x="3091306" y="13043"/>
                  </a:lnTo>
                  <a:lnTo>
                    <a:pt x="3091306" y="12408"/>
                  </a:lnTo>
                  <a:lnTo>
                    <a:pt x="3091548" y="12408"/>
                  </a:lnTo>
                  <a:lnTo>
                    <a:pt x="3091548" y="13043"/>
                  </a:lnTo>
                  <a:lnTo>
                    <a:pt x="3092145" y="13043"/>
                  </a:lnTo>
                  <a:lnTo>
                    <a:pt x="3092145" y="14389"/>
                  </a:lnTo>
                  <a:lnTo>
                    <a:pt x="3092196" y="13043"/>
                  </a:lnTo>
                  <a:lnTo>
                    <a:pt x="3092196" y="14389"/>
                  </a:lnTo>
                  <a:lnTo>
                    <a:pt x="3092348" y="14389"/>
                  </a:lnTo>
                  <a:lnTo>
                    <a:pt x="3092399" y="13043"/>
                  </a:lnTo>
                  <a:lnTo>
                    <a:pt x="3093085" y="13043"/>
                  </a:lnTo>
                  <a:lnTo>
                    <a:pt x="3093085" y="12408"/>
                  </a:lnTo>
                  <a:lnTo>
                    <a:pt x="3093135" y="13043"/>
                  </a:lnTo>
                  <a:lnTo>
                    <a:pt x="3093288" y="13043"/>
                  </a:lnTo>
                  <a:lnTo>
                    <a:pt x="3093338" y="14389"/>
                  </a:lnTo>
                  <a:lnTo>
                    <a:pt x="3093338" y="13043"/>
                  </a:lnTo>
                  <a:lnTo>
                    <a:pt x="3093389" y="13043"/>
                  </a:lnTo>
                  <a:lnTo>
                    <a:pt x="3093389" y="14389"/>
                  </a:lnTo>
                  <a:lnTo>
                    <a:pt x="3093491" y="13043"/>
                  </a:lnTo>
                  <a:lnTo>
                    <a:pt x="3093491" y="14389"/>
                  </a:lnTo>
                  <a:lnTo>
                    <a:pt x="3093529" y="14389"/>
                  </a:lnTo>
                  <a:lnTo>
                    <a:pt x="3093529" y="13043"/>
                  </a:lnTo>
                  <a:lnTo>
                    <a:pt x="3093580" y="13043"/>
                  </a:lnTo>
                  <a:lnTo>
                    <a:pt x="3093631" y="12408"/>
                  </a:lnTo>
                  <a:lnTo>
                    <a:pt x="3093631" y="13043"/>
                  </a:lnTo>
                  <a:lnTo>
                    <a:pt x="3094380" y="13043"/>
                  </a:lnTo>
                  <a:lnTo>
                    <a:pt x="3094380" y="14389"/>
                  </a:lnTo>
                  <a:lnTo>
                    <a:pt x="3094431" y="13043"/>
                  </a:lnTo>
                  <a:lnTo>
                    <a:pt x="3094875" y="13043"/>
                  </a:lnTo>
                  <a:lnTo>
                    <a:pt x="3094875" y="14389"/>
                  </a:lnTo>
                  <a:lnTo>
                    <a:pt x="3094926" y="14389"/>
                  </a:lnTo>
                  <a:lnTo>
                    <a:pt x="3094926" y="13043"/>
                  </a:lnTo>
                  <a:lnTo>
                    <a:pt x="3095167" y="13043"/>
                  </a:lnTo>
                  <a:lnTo>
                    <a:pt x="3095218" y="14389"/>
                  </a:lnTo>
                  <a:lnTo>
                    <a:pt x="3095218" y="13043"/>
                  </a:lnTo>
                  <a:lnTo>
                    <a:pt x="3095663" y="13043"/>
                  </a:lnTo>
                  <a:lnTo>
                    <a:pt x="3095764" y="14389"/>
                  </a:lnTo>
                  <a:lnTo>
                    <a:pt x="3095815" y="13043"/>
                  </a:lnTo>
                  <a:lnTo>
                    <a:pt x="3095815" y="14389"/>
                  </a:lnTo>
                  <a:lnTo>
                    <a:pt x="3095866" y="14389"/>
                  </a:lnTo>
                  <a:lnTo>
                    <a:pt x="3095866" y="13043"/>
                  </a:lnTo>
                  <a:lnTo>
                    <a:pt x="3095967" y="14389"/>
                  </a:lnTo>
                  <a:lnTo>
                    <a:pt x="3095967" y="13043"/>
                  </a:lnTo>
                  <a:lnTo>
                    <a:pt x="3096513" y="13043"/>
                  </a:lnTo>
                  <a:lnTo>
                    <a:pt x="3096513" y="14389"/>
                  </a:lnTo>
                  <a:lnTo>
                    <a:pt x="3096564" y="13043"/>
                  </a:lnTo>
                  <a:lnTo>
                    <a:pt x="3096755" y="13043"/>
                  </a:lnTo>
                  <a:lnTo>
                    <a:pt x="3096755" y="14389"/>
                  </a:lnTo>
                  <a:lnTo>
                    <a:pt x="3096806" y="13043"/>
                  </a:lnTo>
                  <a:lnTo>
                    <a:pt x="3096806" y="14389"/>
                  </a:lnTo>
                  <a:lnTo>
                    <a:pt x="3096907" y="13043"/>
                  </a:lnTo>
                  <a:lnTo>
                    <a:pt x="3096958" y="13043"/>
                  </a:lnTo>
                  <a:lnTo>
                    <a:pt x="3097009" y="14389"/>
                  </a:lnTo>
                  <a:lnTo>
                    <a:pt x="3097110" y="13043"/>
                  </a:lnTo>
                  <a:lnTo>
                    <a:pt x="3097161" y="13043"/>
                  </a:lnTo>
                  <a:lnTo>
                    <a:pt x="3097212" y="14389"/>
                  </a:lnTo>
                  <a:lnTo>
                    <a:pt x="3097250" y="13043"/>
                  </a:lnTo>
                  <a:lnTo>
                    <a:pt x="3097707" y="13043"/>
                  </a:lnTo>
                  <a:lnTo>
                    <a:pt x="3097796" y="12408"/>
                  </a:lnTo>
                  <a:lnTo>
                    <a:pt x="3097847" y="13043"/>
                  </a:lnTo>
                  <a:lnTo>
                    <a:pt x="3097898" y="12408"/>
                  </a:lnTo>
                  <a:lnTo>
                    <a:pt x="3097898" y="13043"/>
                  </a:lnTo>
                  <a:lnTo>
                    <a:pt x="3097949" y="12408"/>
                  </a:lnTo>
                  <a:lnTo>
                    <a:pt x="3098050" y="13043"/>
                  </a:lnTo>
                  <a:lnTo>
                    <a:pt x="3098292" y="13043"/>
                  </a:lnTo>
                  <a:lnTo>
                    <a:pt x="3098342" y="12408"/>
                  </a:lnTo>
                  <a:lnTo>
                    <a:pt x="3098342" y="13043"/>
                  </a:lnTo>
                  <a:lnTo>
                    <a:pt x="3098393" y="13043"/>
                  </a:lnTo>
                  <a:lnTo>
                    <a:pt x="3098495" y="14389"/>
                  </a:lnTo>
                  <a:lnTo>
                    <a:pt x="3098546" y="14389"/>
                  </a:lnTo>
                  <a:lnTo>
                    <a:pt x="3098546" y="13043"/>
                  </a:lnTo>
                  <a:lnTo>
                    <a:pt x="3099193" y="13043"/>
                  </a:lnTo>
                  <a:lnTo>
                    <a:pt x="3099193" y="14389"/>
                  </a:lnTo>
                  <a:lnTo>
                    <a:pt x="3099244" y="14389"/>
                  </a:lnTo>
                  <a:lnTo>
                    <a:pt x="3099295" y="13043"/>
                  </a:lnTo>
                  <a:lnTo>
                    <a:pt x="3099638" y="13043"/>
                  </a:lnTo>
                  <a:lnTo>
                    <a:pt x="3099688" y="14389"/>
                  </a:lnTo>
                  <a:lnTo>
                    <a:pt x="3099739" y="14389"/>
                  </a:lnTo>
                  <a:lnTo>
                    <a:pt x="3099841" y="13043"/>
                  </a:lnTo>
                  <a:lnTo>
                    <a:pt x="3100730" y="13043"/>
                  </a:lnTo>
                  <a:lnTo>
                    <a:pt x="3100781" y="14389"/>
                  </a:lnTo>
                  <a:lnTo>
                    <a:pt x="3100781" y="13043"/>
                  </a:lnTo>
                  <a:lnTo>
                    <a:pt x="3101022" y="13043"/>
                  </a:lnTo>
                  <a:lnTo>
                    <a:pt x="3101073" y="14389"/>
                  </a:lnTo>
                  <a:lnTo>
                    <a:pt x="3101225" y="14389"/>
                  </a:lnTo>
                  <a:lnTo>
                    <a:pt x="3101276" y="13043"/>
                  </a:lnTo>
                  <a:lnTo>
                    <a:pt x="3101327" y="14389"/>
                  </a:lnTo>
                  <a:lnTo>
                    <a:pt x="3101327" y="13043"/>
                  </a:lnTo>
                  <a:lnTo>
                    <a:pt x="3101428" y="13043"/>
                  </a:lnTo>
                  <a:lnTo>
                    <a:pt x="3101428" y="14389"/>
                  </a:lnTo>
                  <a:lnTo>
                    <a:pt x="3101568" y="14389"/>
                  </a:lnTo>
                  <a:lnTo>
                    <a:pt x="3101568" y="13043"/>
                  </a:lnTo>
                  <a:lnTo>
                    <a:pt x="3101670" y="14389"/>
                  </a:lnTo>
                  <a:lnTo>
                    <a:pt x="3101670" y="13043"/>
                  </a:lnTo>
                  <a:lnTo>
                    <a:pt x="3101771" y="13043"/>
                  </a:lnTo>
                  <a:lnTo>
                    <a:pt x="3101873" y="14389"/>
                  </a:lnTo>
                  <a:lnTo>
                    <a:pt x="3101924" y="14389"/>
                  </a:lnTo>
                  <a:lnTo>
                    <a:pt x="3101974" y="13043"/>
                  </a:lnTo>
                  <a:lnTo>
                    <a:pt x="3102013" y="14389"/>
                  </a:lnTo>
                  <a:lnTo>
                    <a:pt x="3102114" y="14389"/>
                  </a:lnTo>
                  <a:lnTo>
                    <a:pt x="3102165" y="13043"/>
                  </a:lnTo>
                  <a:lnTo>
                    <a:pt x="3102660" y="13043"/>
                  </a:lnTo>
                  <a:lnTo>
                    <a:pt x="3102660" y="12408"/>
                  </a:lnTo>
                  <a:lnTo>
                    <a:pt x="3102711" y="12408"/>
                  </a:lnTo>
                  <a:lnTo>
                    <a:pt x="3102813" y="13043"/>
                  </a:lnTo>
                  <a:lnTo>
                    <a:pt x="3102863" y="13043"/>
                  </a:lnTo>
                  <a:lnTo>
                    <a:pt x="3102863" y="12408"/>
                  </a:lnTo>
                  <a:lnTo>
                    <a:pt x="3103016" y="12408"/>
                  </a:lnTo>
                  <a:lnTo>
                    <a:pt x="3103054" y="13043"/>
                  </a:lnTo>
                  <a:lnTo>
                    <a:pt x="3103308" y="13043"/>
                  </a:lnTo>
                  <a:lnTo>
                    <a:pt x="3103359" y="12408"/>
                  </a:lnTo>
                  <a:lnTo>
                    <a:pt x="3103359" y="13043"/>
                  </a:lnTo>
                  <a:lnTo>
                    <a:pt x="3103562" y="13043"/>
                  </a:lnTo>
                  <a:lnTo>
                    <a:pt x="3103600" y="14389"/>
                  </a:lnTo>
                  <a:lnTo>
                    <a:pt x="3103956" y="14389"/>
                  </a:lnTo>
                  <a:lnTo>
                    <a:pt x="3104006" y="13043"/>
                  </a:lnTo>
                  <a:lnTo>
                    <a:pt x="3104642" y="13043"/>
                  </a:lnTo>
                  <a:lnTo>
                    <a:pt x="3104692" y="12408"/>
                  </a:lnTo>
                  <a:lnTo>
                    <a:pt x="3104743" y="12408"/>
                  </a:lnTo>
                  <a:lnTo>
                    <a:pt x="3104743" y="13043"/>
                  </a:lnTo>
                  <a:lnTo>
                    <a:pt x="3105099" y="13043"/>
                  </a:lnTo>
                  <a:lnTo>
                    <a:pt x="3105149" y="14389"/>
                  </a:lnTo>
                  <a:lnTo>
                    <a:pt x="3105289" y="14389"/>
                  </a:lnTo>
                  <a:lnTo>
                    <a:pt x="3105289" y="13043"/>
                  </a:lnTo>
                  <a:lnTo>
                    <a:pt x="3105492" y="13043"/>
                  </a:lnTo>
                  <a:lnTo>
                    <a:pt x="3105543" y="14389"/>
                  </a:lnTo>
                  <a:lnTo>
                    <a:pt x="3105543" y="13043"/>
                  </a:lnTo>
                  <a:lnTo>
                    <a:pt x="3105785" y="13043"/>
                  </a:lnTo>
                  <a:lnTo>
                    <a:pt x="3105835" y="14389"/>
                  </a:lnTo>
                  <a:lnTo>
                    <a:pt x="3105835" y="13043"/>
                  </a:lnTo>
                  <a:lnTo>
                    <a:pt x="3106483" y="13043"/>
                  </a:lnTo>
                  <a:lnTo>
                    <a:pt x="3106534" y="14389"/>
                  </a:lnTo>
                  <a:lnTo>
                    <a:pt x="3106534" y="13043"/>
                  </a:lnTo>
                  <a:lnTo>
                    <a:pt x="3106635" y="13043"/>
                  </a:lnTo>
                  <a:lnTo>
                    <a:pt x="3106635" y="14389"/>
                  </a:lnTo>
                  <a:lnTo>
                    <a:pt x="3106775" y="14389"/>
                  </a:lnTo>
                  <a:lnTo>
                    <a:pt x="3106775" y="13043"/>
                  </a:lnTo>
                  <a:lnTo>
                    <a:pt x="3107181" y="13043"/>
                  </a:lnTo>
                  <a:lnTo>
                    <a:pt x="3107232" y="14389"/>
                  </a:lnTo>
                  <a:lnTo>
                    <a:pt x="3107321" y="14389"/>
                  </a:lnTo>
                  <a:lnTo>
                    <a:pt x="3107321" y="13043"/>
                  </a:lnTo>
                  <a:lnTo>
                    <a:pt x="3107372" y="13043"/>
                  </a:lnTo>
                  <a:lnTo>
                    <a:pt x="3107423" y="12408"/>
                  </a:lnTo>
                  <a:lnTo>
                    <a:pt x="3107423" y="13043"/>
                  </a:lnTo>
                  <a:lnTo>
                    <a:pt x="3108071" y="13043"/>
                  </a:lnTo>
                  <a:lnTo>
                    <a:pt x="3108121" y="14389"/>
                  </a:lnTo>
                  <a:lnTo>
                    <a:pt x="3108223" y="13043"/>
                  </a:lnTo>
                  <a:lnTo>
                    <a:pt x="3108515" y="13043"/>
                  </a:lnTo>
                  <a:lnTo>
                    <a:pt x="3108566" y="14389"/>
                  </a:lnTo>
                  <a:lnTo>
                    <a:pt x="3108566" y="13043"/>
                  </a:lnTo>
                  <a:lnTo>
                    <a:pt x="3109213" y="13043"/>
                  </a:lnTo>
                  <a:lnTo>
                    <a:pt x="3109264" y="12408"/>
                  </a:lnTo>
                  <a:lnTo>
                    <a:pt x="3109264" y="13043"/>
                  </a:lnTo>
                  <a:lnTo>
                    <a:pt x="3109404" y="13043"/>
                  </a:lnTo>
                  <a:lnTo>
                    <a:pt x="3109455" y="14389"/>
                  </a:lnTo>
                  <a:lnTo>
                    <a:pt x="3109506" y="14389"/>
                  </a:lnTo>
                  <a:lnTo>
                    <a:pt x="3109607" y="13043"/>
                  </a:lnTo>
                  <a:lnTo>
                    <a:pt x="3109810" y="13043"/>
                  </a:lnTo>
                  <a:lnTo>
                    <a:pt x="3109861" y="14389"/>
                  </a:lnTo>
                  <a:lnTo>
                    <a:pt x="3109912" y="14389"/>
                  </a:lnTo>
                  <a:lnTo>
                    <a:pt x="3109950" y="13043"/>
                  </a:lnTo>
                  <a:lnTo>
                    <a:pt x="3110052" y="12408"/>
                  </a:lnTo>
                  <a:lnTo>
                    <a:pt x="3110103" y="12408"/>
                  </a:lnTo>
                  <a:lnTo>
                    <a:pt x="3110103" y="13043"/>
                  </a:lnTo>
                  <a:lnTo>
                    <a:pt x="3110801" y="13043"/>
                  </a:lnTo>
                  <a:lnTo>
                    <a:pt x="3110852" y="12408"/>
                  </a:lnTo>
                  <a:lnTo>
                    <a:pt x="3110953" y="13043"/>
                  </a:lnTo>
                  <a:lnTo>
                    <a:pt x="3111639" y="13043"/>
                  </a:lnTo>
                  <a:lnTo>
                    <a:pt x="3111639" y="14389"/>
                  </a:lnTo>
                  <a:lnTo>
                    <a:pt x="3111690" y="13043"/>
                  </a:lnTo>
                  <a:lnTo>
                    <a:pt x="3111741" y="14389"/>
                  </a:lnTo>
                  <a:lnTo>
                    <a:pt x="3111842" y="14389"/>
                  </a:lnTo>
                  <a:lnTo>
                    <a:pt x="3111893" y="13043"/>
                  </a:lnTo>
                  <a:lnTo>
                    <a:pt x="3112338" y="13043"/>
                  </a:lnTo>
                  <a:lnTo>
                    <a:pt x="3112388" y="14389"/>
                  </a:lnTo>
                  <a:lnTo>
                    <a:pt x="3112388" y="13043"/>
                  </a:lnTo>
                  <a:lnTo>
                    <a:pt x="3112439" y="14389"/>
                  </a:lnTo>
                  <a:lnTo>
                    <a:pt x="3112541" y="13043"/>
                  </a:lnTo>
                  <a:lnTo>
                    <a:pt x="3112630" y="13043"/>
                  </a:lnTo>
                  <a:lnTo>
                    <a:pt x="3112630" y="14389"/>
                  </a:lnTo>
                  <a:lnTo>
                    <a:pt x="3112985" y="14389"/>
                  </a:lnTo>
                  <a:lnTo>
                    <a:pt x="3112985" y="13043"/>
                  </a:lnTo>
                  <a:lnTo>
                    <a:pt x="3113227" y="13043"/>
                  </a:lnTo>
                  <a:lnTo>
                    <a:pt x="3113278" y="14389"/>
                  </a:lnTo>
                  <a:lnTo>
                    <a:pt x="3113328" y="14389"/>
                  </a:lnTo>
                  <a:lnTo>
                    <a:pt x="3113430" y="13043"/>
                  </a:lnTo>
                  <a:lnTo>
                    <a:pt x="3113925" y="13043"/>
                  </a:lnTo>
                  <a:lnTo>
                    <a:pt x="3113925" y="14389"/>
                  </a:lnTo>
                  <a:lnTo>
                    <a:pt x="3113976" y="13043"/>
                  </a:lnTo>
                  <a:lnTo>
                    <a:pt x="3114167" y="13043"/>
                  </a:lnTo>
                  <a:lnTo>
                    <a:pt x="3114167" y="14389"/>
                  </a:lnTo>
                  <a:lnTo>
                    <a:pt x="3114217" y="13043"/>
                  </a:lnTo>
                  <a:lnTo>
                    <a:pt x="3114471" y="13043"/>
                  </a:lnTo>
                  <a:lnTo>
                    <a:pt x="3114573" y="14389"/>
                  </a:lnTo>
                  <a:lnTo>
                    <a:pt x="3114624" y="13043"/>
                  </a:lnTo>
                  <a:lnTo>
                    <a:pt x="3114624" y="14389"/>
                  </a:lnTo>
                  <a:lnTo>
                    <a:pt x="3114674" y="14389"/>
                  </a:lnTo>
                  <a:lnTo>
                    <a:pt x="3114674" y="13043"/>
                  </a:lnTo>
                  <a:lnTo>
                    <a:pt x="3115068" y="13043"/>
                  </a:lnTo>
                  <a:lnTo>
                    <a:pt x="3115119" y="14389"/>
                  </a:lnTo>
                  <a:lnTo>
                    <a:pt x="3115119" y="13043"/>
                  </a:lnTo>
                  <a:lnTo>
                    <a:pt x="3115170" y="14389"/>
                  </a:lnTo>
                  <a:lnTo>
                    <a:pt x="3115310" y="14389"/>
                  </a:lnTo>
                  <a:lnTo>
                    <a:pt x="3115360" y="13043"/>
                  </a:lnTo>
                  <a:lnTo>
                    <a:pt x="3116262" y="13043"/>
                  </a:lnTo>
                  <a:lnTo>
                    <a:pt x="3116262" y="14389"/>
                  </a:lnTo>
                  <a:lnTo>
                    <a:pt x="3116300" y="13043"/>
                  </a:lnTo>
                  <a:lnTo>
                    <a:pt x="3116656" y="13043"/>
                  </a:lnTo>
                  <a:lnTo>
                    <a:pt x="3116706" y="14389"/>
                  </a:lnTo>
                  <a:lnTo>
                    <a:pt x="3116948" y="14389"/>
                  </a:lnTo>
                  <a:lnTo>
                    <a:pt x="3116948" y="13043"/>
                  </a:lnTo>
                  <a:lnTo>
                    <a:pt x="3117202" y="13043"/>
                  </a:lnTo>
                  <a:lnTo>
                    <a:pt x="3117303" y="14389"/>
                  </a:lnTo>
                  <a:lnTo>
                    <a:pt x="3117342" y="14389"/>
                  </a:lnTo>
                  <a:lnTo>
                    <a:pt x="3117392" y="13043"/>
                  </a:lnTo>
                  <a:lnTo>
                    <a:pt x="3117392" y="14389"/>
                  </a:lnTo>
                  <a:lnTo>
                    <a:pt x="3117849" y="14389"/>
                  </a:lnTo>
                  <a:lnTo>
                    <a:pt x="3117849" y="13043"/>
                  </a:lnTo>
                  <a:lnTo>
                    <a:pt x="3118040" y="13043"/>
                  </a:lnTo>
                  <a:lnTo>
                    <a:pt x="3118040" y="14389"/>
                  </a:lnTo>
                  <a:lnTo>
                    <a:pt x="3118294" y="14389"/>
                  </a:lnTo>
                  <a:lnTo>
                    <a:pt x="3118294" y="13043"/>
                  </a:lnTo>
                  <a:lnTo>
                    <a:pt x="3118434" y="13043"/>
                  </a:lnTo>
                  <a:lnTo>
                    <a:pt x="3118434" y="14389"/>
                  </a:lnTo>
                  <a:lnTo>
                    <a:pt x="3118535" y="14389"/>
                  </a:lnTo>
                  <a:lnTo>
                    <a:pt x="3118586" y="13043"/>
                  </a:lnTo>
                  <a:lnTo>
                    <a:pt x="3118891" y="13043"/>
                  </a:lnTo>
                  <a:lnTo>
                    <a:pt x="3118929" y="14389"/>
                  </a:lnTo>
                  <a:lnTo>
                    <a:pt x="3118980" y="14389"/>
                  </a:lnTo>
                  <a:lnTo>
                    <a:pt x="3118980" y="13043"/>
                  </a:lnTo>
                  <a:lnTo>
                    <a:pt x="3119031" y="13043"/>
                  </a:lnTo>
                  <a:lnTo>
                    <a:pt x="3119031" y="14389"/>
                  </a:lnTo>
                  <a:lnTo>
                    <a:pt x="3119132" y="13043"/>
                  </a:lnTo>
                  <a:lnTo>
                    <a:pt x="3119183" y="13043"/>
                  </a:lnTo>
                  <a:lnTo>
                    <a:pt x="3119183" y="14389"/>
                  </a:lnTo>
                  <a:lnTo>
                    <a:pt x="3119234" y="13043"/>
                  </a:lnTo>
                  <a:lnTo>
                    <a:pt x="3119335" y="14389"/>
                  </a:lnTo>
                  <a:lnTo>
                    <a:pt x="3119335" y="13043"/>
                  </a:lnTo>
                  <a:lnTo>
                    <a:pt x="3119386" y="14389"/>
                  </a:lnTo>
                  <a:lnTo>
                    <a:pt x="3119577" y="14389"/>
                  </a:lnTo>
                  <a:lnTo>
                    <a:pt x="3119577" y="13043"/>
                  </a:lnTo>
                  <a:lnTo>
                    <a:pt x="3119678" y="13043"/>
                  </a:lnTo>
                  <a:lnTo>
                    <a:pt x="3119780" y="14389"/>
                  </a:lnTo>
                  <a:lnTo>
                    <a:pt x="3119831" y="13043"/>
                  </a:lnTo>
                  <a:lnTo>
                    <a:pt x="3119831" y="14389"/>
                  </a:lnTo>
                  <a:lnTo>
                    <a:pt x="3119881" y="14389"/>
                  </a:lnTo>
                  <a:lnTo>
                    <a:pt x="3119881" y="13043"/>
                  </a:lnTo>
                  <a:lnTo>
                    <a:pt x="3119932" y="14389"/>
                  </a:lnTo>
                  <a:lnTo>
                    <a:pt x="3120021" y="14389"/>
                  </a:lnTo>
                  <a:lnTo>
                    <a:pt x="3120072" y="13043"/>
                  </a:lnTo>
                  <a:lnTo>
                    <a:pt x="3120123" y="13043"/>
                  </a:lnTo>
                  <a:lnTo>
                    <a:pt x="3120174" y="14389"/>
                  </a:lnTo>
                  <a:lnTo>
                    <a:pt x="3120275" y="14389"/>
                  </a:lnTo>
                  <a:lnTo>
                    <a:pt x="3120326" y="13043"/>
                  </a:lnTo>
                  <a:lnTo>
                    <a:pt x="3120517" y="13043"/>
                  </a:lnTo>
                  <a:lnTo>
                    <a:pt x="3120517" y="14389"/>
                  </a:lnTo>
                  <a:lnTo>
                    <a:pt x="3120720" y="14389"/>
                  </a:lnTo>
                  <a:lnTo>
                    <a:pt x="3120771" y="13043"/>
                  </a:lnTo>
                  <a:lnTo>
                    <a:pt x="3120821" y="14389"/>
                  </a:lnTo>
                  <a:lnTo>
                    <a:pt x="3121063" y="14389"/>
                  </a:lnTo>
                  <a:lnTo>
                    <a:pt x="3121063" y="13043"/>
                  </a:lnTo>
                  <a:lnTo>
                    <a:pt x="3121215" y="13043"/>
                  </a:lnTo>
                  <a:lnTo>
                    <a:pt x="3121215" y="14389"/>
                  </a:lnTo>
                  <a:lnTo>
                    <a:pt x="3121266" y="14389"/>
                  </a:lnTo>
                  <a:lnTo>
                    <a:pt x="3121367" y="13043"/>
                  </a:lnTo>
                  <a:lnTo>
                    <a:pt x="3121761" y="13043"/>
                  </a:lnTo>
                  <a:lnTo>
                    <a:pt x="3121863" y="14389"/>
                  </a:lnTo>
                  <a:lnTo>
                    <a:pt x="3121964" y="14389"/>
                  </a:lnTo>
                  <a:lnTo>
                    <a:pt x="3121964" y="13043"/>
                  </a:lnTo>
                  <a:lnTo>
                    <a:pt x="3122409" y="13043"/>
                  </a:lnTo>
                  <a:lnTo>
                    <a:pt x="3122510" y="14389"/>
                  </a:lnTo>
                  <a:lnTo>
                    <a:pt x="3122561" y="14389"/>
                  </a:lnTo>
                  <a:lnTo>
                    <a:pt x="3122612" y="13043"/>
                  </a:lnTo>
                  <a:lnTo>
                    <a:pt x="3122650" y="14389"/>
                  </a:lnTo>
                  <a:lnTo>
                    <a:pt x="3122752" y="14389"/>
                  </a:lnTo>
                  <a:lnTo>
                    <a:pt x="3122803" y="13043"/>
                  </a:lnTo>
                  <a:lnTo>
                    <a:pt x="3122853" y="13043"/>
                  </a:lnTo>
                  <a:lnTo>
                    <a:pt x="3122853" y="14389"/>
                  </a:lnTo>
                  <a:lnTo>
                    <a:pt x="3122955" y="13043"/>
                  </a:lnTo>
                  <a:lnTo>
                    <a:pt x="3123006" y="13043"/>
                  </a:lnTo>
                  <a:lnTo>
                    <a:pt x="3123056" y="14389"/>
                  </a:lnTo>
                  <a:lnTo>
                    <a:pt x="3123196" y="14389"/>
                  </a:lnTo>
                  <a:lnTo>
                    <a:pt x="3123247" y="13043"/>
                  </a:lnTo>
                  <a:lnTo>
                    <a:pt x="3123247" y="14389"/>
                  </a:lnTo>
                  <a:lnTo>
                    <a:pt x="3123298" y="14389"/>
                  </a:lnTo>
                  <a:lnTo>
                    <a:pt x="3123298" y="13043"/>
                  </a:lnTo>
                  <a:lnTo>
                    <a:pt x="3123501" y="13043"/>
                  </a:lnTo>
                  <a:lnTo>
                    <a:pt x="3123501" y="14389"/>
                  </a:lnTo>
                  <a:lnTo>
                    <a:pt x="3123552" y="14389"/>
                  </a:lnTo>
                  <a:lnTo>
                    <a:pt x="3123552" y="13043"/>
                  </a:lnTo>
                  <a:lnTo>
                    <a:pt x="3123653" y="13043"/>
                  </a:lnTo>
                  <a:lnTo>
                    <a:pt x="3123692" y="14389"/>
                  </a:lnTo>
                  <a:lnTo>
                    <a:pt x="3124149" y="14389"/>
                  </a:lnTo>
                  <a:lnTo>
                    <a:pt x="3124199" y="15037"/>
                  </a:lnTo>
                  <a:lnTo>
                    <a:pt x="3124238" y="15037"/>
                  </a:lnTo>
                  <a:lnTo>
                    <a:pt x="3124339" y="14389"/>
                  </a:lnTo>
                  <a:lnTo>
                    <a:pt x="3124542" y="14389"/>
                  </a:lnTo>
                  <a:lnTo>
                    <a:pt x="3124542" y="15037"/>
                  </a:lnTo>
                  <a:lnTo>
                    <a:pt x="3124593" y="14389"/>
                  </a:lnTo>
                  <a:lnTo>
                    <a:pt x="3124784" y="14389"/>
                  </a:lnTo>
                  <a:lnTo>
                    <a:pt x="3124784" y="13043"/>
                  </a:lnTo>
                  <a:lnTo>
                    <a:pt x="3124835" y="14389"/>
                  </a:lnTo>
                  <a:lnTo>
                    <a:pt x="3124885" y="14389"/>
                  </a:lnTo>
                  <a:lnTo>
                    <a:pt x="3124936" y="13043"/>
                  </a:lnTo>
                  <a:lnTo>
                    <a:pt x="3125038" y="13043"/>
                  </a:lnTo>
                  <a:lnTo>
                    <a:pt x="3125088" y="14389"/>
                  </a:lnTo>
                  <a:lnTo>
                    <a:pt x="3125088" y="13043"/>
                  </a:lnTo>
                  <a:lnTo>
                    <a:pt x="3125330" y="13043"/>
                  </a:lnTo>
                  <a:lnTo>
                    <a:pt x="3125330" y="14389"/>
                  </a:lnTo>
                  <a:lnTo>
                    <a:pt x="3125533" y="14389"/>
                  </a:lnTo>
                  <a:lnTo>
                    <a:pt x="3125584" y="13043"/>
                  </a:lnTo>
                  <a:lnTo>
                    <a:pt x="3125685" y="13043"/>
                  </a:lnTo>
                  <a:lnTo>
                    <a:pt x="3125685" y="14389"/>
                  </a:lnTo>
                  <a:lnTo>
                    <a:pt x="3125825" y="14389"/>
                  </a:lnTo>
                  <a:lnTo>
                    <a:pt x="3125825" y="13043"/>
                  </a:lnTo>
                  <a:lnTo>
                    <a:pt x="3125927" y="14389"/>
                  </a:lnTo>
                  <a:lnTo>
                    <a:pt x="3125927" y="13043"/>
                  </a:lnTo>
                  <a:lnTo>
                    <a:pt x="3125978" y="14389"/>
                  </a:lnTo>
                  <a:lnTo>
                    <a:pt x="3125978" y="13043"/>
                  </a:lnTo>
                  <a:lnTo>
                    <a:pt x="3126028" y="14389"/>
                  </a:lnTo>
                  <a:lnTo>
                    <a:pt x="3126181" y="14389"/>
                  </a:lnTo>
                  <a:lnTo>
                    <a:pt x="3126181" y="13043"/>
                  </a:lnTo>
                  <a:lnTo>
                    <a:pt x="3126828" y="13043"/>
                  </a:lnTo>
                  <a:lnTo>
                    <a:pt x="3126867" y="14389"/>
                  </a:lnTo>
                  <a:lnTo>
                    <a:pt x="3126968" y="14389"/>
                  </a:lnTo>
                  <a:lnTo>
                    <a:pt x="3127070" y="13043"/>
                  </a:lnTo>
                  <a:lnTo>
                    <a:pt x="3127070" y="14389"/>
                  </a:lnTo>
                  <a:lnTo>
                    <a:pt x="3127616" y="14389"/>
                  </a:lnTo>
                  <a:lnTo>
                    <a:pt x="3127717" y="13043"/>
                  </a:lnTo>
                  <a:lnTo>
                    <a:pt x="3127717" y="14389"/>
                  </a:lnTo>
                  <a:lnTo>
                    <a:pt x="3127768" y="13043"/>
                  </a:lnTo>
                  <a:lnTo>
                    <a:pt x="3127819" y="13043"/>
                  </a:lnTo>
                  <a:lnTo>
                    <a:pt x="3127870" y="14389"/>
                  </a:lnTo>
                  <a:lnTo>
                    <a:pt x="3127959" y="13043"/>
                  </a:lnTo>
                  <a:lnTo>
                    <a:pt x="3128010" y="13043"/>
                  </a:lnTo>
                  <a:lnTo>
                    <a:pt x="3128010" y="12408"/>
                  </a:lnTo>
                  <a:lnTo>
                    <a:pt x="3128060" y="13043"/>
                  </a:lnTo>
                  <a:lnTo>
                    <a:pt x="3128111" y="13043"/>
                  </a:lnTo>
                  <a:lnTo>
                    <a:pt x="3128213" y="14389"/>
                  </a:lnTo>
                  <a:lnTo>
                    <a:pt x="3128416" y="14389"/>
                  </a:lnTo>
                  <a:lnTo>
                    <a:pt x="3128416" y="13043"/>
                  </a:lnTo>
                  <a:lnTo>
                    <a:pt x="3128454" y="14389"/>
                  </a:lnTo>
                  <a:lnTo>
                    <a:pt x="3128454" y="13043"/>
                  </a:lnTo>
                  <a:lnTo>
                    <a:pt x="3128505" y="13043"/>
                  </a:lnTo>
                  <a:lnTo>
                    <a:pt x="3128556" y="14389"/>
                  </a:lnTo>
                  <a:lnTo>
                    <a:pt x="3128556" y="13043"/>
                  </a:lnTo>
                  <a:lnTo>
                    <a:pt x="3128657" y="14389"/>
                  </a:lnTo>
                  <a:lnTo>
                    <a:pt x="3128708" y="14389"/>
                  </a:lnTo>
                  <a:lnTo>
                    <a:pt x="3128759" y="13043"/>
                  </a:lnTo>
                  <a:lnTo>
                    <a:pt x="3128860" y="14389"/>
                  </a:lnTo>
                  <a:lnTo>
                    <a:pt x="3128962" y="14389"/>
                  </a:lnTo>
                  <a:lnTo>
                    <a:pt x="3128962" y="13043"/>
                  </a:lnTo>
                  <a:lnTo>
                    <a:pt x="3129000" y="13043"/>
                  </a:lnTo>
                  <a:lnTo>
                    <a:pt x="3129102" y="14389"/>
                  </a:lnTo>
                  <a:lnTo>
                    <a:pt x="3129102" y="13043"/>
                  </a:lnTo>
                  <a:lnTo>
                    <a:pt x="3129203" y="13043"/>
                  </a:lnTo>
                  <a:lnTo>
                    <a:pt x="3129305" y="14389"/>
                  </a:lnTo>
                  <a:lnTo>
                    <a:pt x="3130042" y="14389"/>
                  </a:lnTo>
                  <a:lnTo>
                    <a:pt x="3130092" y="13043"/>
                  </a:lnTo>
                  <a:lnTo>
                    <a:pt x="3130143" y="14389"/>
                  </a:lnTo>
                  <a:lnTo>
                    <a:pt x="3130346" y="14389"/>
                  </a:lnTo>
                  <a:lnTo>
                    <a:pt x="3130448" y="13043"/>
                  </a:lnTo>
                  <a:lnTo>
                    <a:pt x="3130499" y="13043"/>
                  </a:lnTo>
                  <a:lnTo>
                    <a:pt x="3130499" y="14389"/>
                  </a:lnTo>
                  <a:lnTo>
                    <a:pt x="3131286" y="14389"/>
                  </a:lnTo>
                  <a:lnTo>
                    <a:pt x="3131388" y="13043"/>
                  </a:lnTo>
                  <a:lnTo>
                    <a:pt x="3131680" y="13043"/>
                  </a:lnTo>
                  <a:lnTo>
                    <a:pt x="3131680" y="14389"/>
                  </a:lnTo>
                  <a:lnTo>
                    <a:pt x="3131731" y="13043"/>
                  </a:lnTo>
                  <a:lnTo>
                    <a:pt x="3131832" y="14389"/>
                  </a:lnTo>
                  <a:lnTo>
                    <a:pt x="3132328" y="14389"/>
                  </a:lnTo>
                  <a:lnTo>
                    <a:pt x="3132328" y="13043"/>
                  </a:lnTo>
                  <a:lnTo>
                    <a:pt x="3132378" y="13043"/>
                  </a:lnTo>
                  <a:lnTo>
                    <a:pt x="3132480" y="14389"/>
                  </a:lnTo>
                  <a:lnTo>
                    <a:pt x="3132721" y="14389"/>
                  </a:lnTo>
                  <a:lnTo>
                    <a:pt x="3132721" y="13043"/>
                  </a:lnTo>
                  <a:lnTo>
                    <a:pt x="3132772" y="13043"/>
                  </a:lnTo>
                  <a:lnTo>
                    <a:pt x="3132823" y="14389"/>
                  </a:lnTo>
                  <a:lnTo>
                    <a:pt x="3132823" y="13043"/>
                  </a:lnTo>
                  <a:lnTo>
                    <a:pt x="3132874" y="14389"/>
                  </a:lnTo>
                  <a:lnTo>
                    <a:pt x="3132874" y="13043"/>
                  </a:lnTo>
                  <a:lnTo>
                    <a:pt x="3132975" y="13043"/>
                  </a:lnTo>
                  <a:lnTo>
                    <a:pt x="3132975" y="14389"/>
                  </a:lnTo>
                  <a:lnTo>
                    <a:pt x="3133026" y="14389"/>
                  </a:lnTo>
                  <a:lnTo>
                    <a:pt x="3133026" y="13043"/>
                  </a:lnTo>
                  <a:lnTo>
                    <a:pt x="3133077" y="14389"/>
                  </a:lnTo>
                  <a:lnTo>
                    <a:pt x="3133178" y="13043"/>
                  </a:lnTo>
                  <a:lnTo>
                    <a:pt x="3133217" y="14389"/>
                  </a:lnTo>
                  <a:lnTo>
                    <a:pt x="3133217" y="13043"/>
                  </a:lnTo>
                  <a:lnTo>
                    <a:pt x="3133318" y="13043"/>
                  </a:lnTo>
                  <a:lnTo>
                    <a:pt x="3133318" y="14389"/>
                  </a:lnTo>
                  <a:lnTo>
                    <a:pt x="3133420" y="13043"/>
                  </a:lnTo>
                  <a:lnTo>
                    <a:pt x="3133471" y="14389"/>
                  </a:lnTo>
                  <a:lnTo>
                    <a:pt x="3133521" y="13043"/>
                  </a:lnTo>
                  <a:lnTo>
                    <a:pt x="3133521" y="14389"/>
                  </a:lnTo>
                  <a:lnTo>
                    <a:pt x="3133724" y="14389"/>
                  </a:lnTo>
                  <a:lnTo>
                    <a:pt x="3133763" y="13043"/>
                  </a:lnTo>
                  <a:lnTo>
                    <a:pt x="3133763" y="14389"/>
                  </a:lnTo>
                  <a:lnTo>
                    <a:pt x="3133864" y="14389"/>
                  </a:lnTo>
                  <a:lnTo>
                    <a:pt x="3133864" y="13043"/>
                  </a:lnTo>
                  <a:lnTo>
                    <a:pt x="3133915" y="14389"/>
                  </a:lnTo>
                  <a:lnTo>
                    <a:pt x="3133966" y="14389"/>
                  </a:lnTo>
                  <a:lnTo>
                    <a:pt x="3134067" y="13043"/>
                  </a:lnTo>
                  <a:lnTo>
                    <a:pt x="3134169" y="13043"/>
                  </a:lnTo>
                  <a:lnTo>
                    <a:pt x="3134169" y="14389"/>
                  </a:lnTo>
                  <a:lnTo>
                    <a:pt x="3134220" y="13043"/>
                  </a:lnTo>
                  <a:lnTo>
                    <a:pt x="3135007" y="13043"/>
                  </a:lnTo>
                  <a:lnTo>
                    <a:pt x="3135007" y="14389"/>
                  </a:lnTo>
                  <a:lnTo>
                    <a:pt x="3135058" y="13043"/>
                  </a:lnTo>
                  <a:lnTo>
                    <a:pt x="3135109" y="14389"/>
                  </a:lnTo>
                  <a:lnTo>
                    <a:pt x="3135109" y="13043"/>
                  </a:lnTo>
                  <a:lnTo>
                    <a:pt x="3135210" y="14389"/>
                  </a:lnTo>
                  <a:lnTo>
                    <a:pt x="3135261" y="14389"/>
                  </a:lnTo>
                  <a:lnTo>
                    <a:pt x="3135312" y="13043"/>
                  </a:lnTo>
                  <a:lnTo>
                    <a:pt x="3135503" y="13043"/>
                  </a:lnTo>
                  <a:lnTo>
                    <a:pt x="3135553" y="14389"/>
                  </a:lnTo>
                  <a:lnTo>
                    <a:pt x="3135706" y="14389"/>
                  </a:lnTo>
                  <a:lnTo>
                    <a:pt x="3135706" y="13043"/>
                  </a:lnTo>
                  <a:lnTo>
                    <a:pt x="3135807" y="13043"/>
                  </a:lnTo>
                  <a:lnTo>
                    <a:pt x="3135896" y="14389"/>
                  </a:lnTo>
                  <a:lnTo>
                    <a:pt x="3136049" y="14389"/>
                  </a:lnTo>
                  <a:lnTo>
                    <a:pt x="3136049" y="13043"/>
                  </a:lnTo>
                  <a:lnTo>
                    <a:pt x="3136150" y="13043"/>
                  </a:lnTo>
                  <a:lnTo>
                    <a:pt x="3136201" y="14389"/>
                  </a:lnTo>
                  <a:lnTo>
                    <a:pt x="3136201" y="13043"/>
                  </a:lnTo>
                  <a:lnTo>
                    <a:pt x="3136442" y="13043"/>
                  </a:lnTo>
                  <a:lnTo>
                    <a:pt x="3136493" y="14389"/>
                  </a:lnTo>
                  <a:lnTo>
                    <a:pt x="3136798" y="14389"/>
                  </a:lnTo>
                  <a:lnTo>
                    <a:pt x="3136798" y="13043"/>
                  </a:lnTo>
                  <a:lnTo>
                    <a:pt x="3136849" y="13043"/>
                  </a:lnTo>
                  <a:lnTo>
                    <a:pt x="3136849" y="14389"/>
                  </a:lnTo>
                  <a:lnTo>
                    <a:pt x="3137090" y="14389"/>
                  </a:lnTo>
                  <a:lnTo>
                    <a:pt x="3137141" y="13043"/>
                  </a:lnTo>
                  <a:lnTo>
                    <a:pt x="3137141" y="14389"/>
                  </a:lnTo>
                  <a:lnTo>
                    <a:pt x="3137242" y="13043"/>
                  </a:lnTo>
                  <a:lnTo>
                    <a:pt x="3137293" y="13043"/>
                  </a:lnTo>
                  <a:lnTo>
                    <a:pt x="3137293" y="14389"/>
                  </a:lnTo>
                  <a:lnTo>
                    <a:pt x="3137535" y="14389"/>
                  </a:lnTo>
                  <a:lnTo>
                    <a:pt x="3137585" y="13043"/>
                  </a:lnTo>
                  <a:lnTo>
                    <a:pt x="3137788" y="13043"/>
                  </a:lnTo>
                  <a:lnTo>
                    <a:pt x="3137839" y="14389"/>
                  </a:lnTo>
                  <a:lnTo>
                    <a:pt x="3137941" y="13043"/>
                  </a:lnTo>
                  <a:lnTo>
                    <a:pt x="3138030" y="13043"/>
                  </a:lnTo>
                  <a:lnTo>
                    <a:pt x="3138030" y="14389"/>
                  </a:lnTo>
                  <a:lnTo>
                    <a:pt x="3138182" y="14389"/>
                  </a:lnTo>
                  <a:lnTo>
                    <a:pt x="3138233" y="13043"/>
                  </a:lnTo>
                  <a:lnTo>
                    <a:pt x="3138284" y="13043"/>
                  </a:lnTo>
                  <a:lnTo>
                    <a:pt x="3138385" y="14389"/>
                  </a:lnTo>
                  <a:lnTo>
                    <a:pt x="3138436" y="13043"/>
                  </a:lnTo>
                  <a:lnTo>
                    <a:pt x="3138627" y="13043"/>
                  </a:lnTo>
                  <a:lnTo>
                    <a:pt x="3138627" y="14389"/>
                  </a:lnTo>
                  <a:lnTo>
                    <a:pt x="3138728" y="14389"/>
                  </a:lnTo>
                  <a:lnTo>
                    <a:pt x="3138728" y="13043"/>
                  </a:lnTo>
                  <a:lnTo>
                    <a:pt x="3138830" y="14389"/>
                  </a:lnTo>
                  <a:lnTo>
                    <a:pt x="3138881" y="13043"/>
                  </a:lnTo>
                  <a:lnTo>
                    <a:pt x="3138931" y="13043"/>
                  </a:lnTo>
                  <a:lnTo>
                    <a:pt x="3138982" y="14389"/>
                  </a:lnTo>
                  <a:lnTo>
                    <a:pt x="3139071" y="14389"/>
                  </a:lnTo>
                  <a:lnTo>
                    <a:pt x="3139071" y="13043"/>
                  </a:lnTo>
                  <a:lnTo>
                    <a:pt x="3139173" y="13043"/>
                  </a:lnTo>
                  <a:lnTo>
                    <a:pt x="3139224" y="14389"/>
                  </a:lnTo>
                  <a:lnTo>
                    <a:pt x="3139376" y="14389"/>
                  </a:lnTo>
                  <a:lnTo>
                    <a:pt x="3139376" y="13043"/>
                  </a:lnTo>
                  <a:lnTo>
                    <a:pt x="3139528" y="13043"/>
                  </a:lnTo>
                  <a:lnTo>
                    <a:pt x="3139567" y="14389"/>
                  </a:lnTo>
                  <a:lnTo>
                    <a:pt x="3139567" y="13043"/>
                  </a:lnTo>
                  <a:lnTo>
                    <a:pt x="3139617" y="14389"/>
                  </a:lnTo>
                  <a:lnTo>
                    <a:pt x="3140024" y="14389"/>
                  </a:lnTo>
                  <a:lnTo>
                    <a:pt x="3140024" y="13043"/>
                  </a:lnTo>
                  <a:lnTo>
                    <a:pt x="3140074" y="14389"/>
                  </a:lnTo>
                  <a:lnTo>
                    <a:pt x="3140113" y="13043"/>
                  </a:lnTo>
                  <a:lnTo>
                    <a:pt x="3140113" y="14389"/>
                  </a:lnTo>
                  <a:lnTo>
                    <a:pt x="3140316" y="14389"/>
                  </a:lnTo>
                  <a:lnTo>
                    <a:pt x="3140316" y="13043"/>
                  </a:lnTo>
                  <a:lnTo>
                    <a:pt x="3140417" y="13043"/>
                  </a:lnTo>
                  <a:lnTo>
                    <a:pt x="3140468" y="14389"/>
                  </a:lnTo>
                  <a:lnTo>
                    <a:pt x="3140519" y="14389"/>
                  </a:lnTo>
                  <a:lnTo>
                    <a:pt x="3140570" y="13043"/>
                  </a:lnTo>
                  <a:lnTo>
                    <a:pt x="3140659" y="13043"/>
                  </a:lnTo>
                  <a:lnTo>
                    <a:pt x="3140659" y="14389"/>
                  </a:lnTo>
                  <a:lnTo>
                    <a:pt x="3141205" y="14389"/>
                  </a:lnTo>
                  <a:lnTo>
                    <a:pt x="3141256" y="13043"/>
                  </a:lnTo>
                  <a:lnTo>
                    <a:pt x="3141408" y="13043"/>
                  </a:lnTo>
                  <a:lnTo>
                    <a:pt x="3141408" y="14389"/>
                  </a:lnTo>
                  <a:lnTo>
                    <a:pt x="3141560" y="14389"/>
                  </a:lnTo>
                  <a:lnTo>
                    <a:pt x="3141560" y="13043"/>
                  </a:lnTo>
                  <a:lnTo>
                    <a:pt x="3141611" y="14389"/>
                  </a:lnTo>
                  <a:lnTo>
                    <a:pt x="3141700" y="14389"/>
                  </a:lnTo>
                  <a:lnTo>
                    <a:pt x="3141700" y="13043"/>
                  </a:lnTo>
                  <a:lnTo>
                    <a:pt x="3141802" y="14389"/>
                  </a:lnTo>
                  <a:lnTo>
                    <a:pt x="3141802" y="13043"/>
                  </a:lnTo>
                  <a:lnTo>
                    <a:pt x="3141853" y="13043"/>
                  </a:lnTo>
                  <a:lnTo>
                    <a:pt x="3141853" y="14389"/>
                  </a:lnTo>
                  <a:lnTo>
                    <a:pt x="3141903" y="13043"/>
                  </a:lnTo>
                  <a:lnTo>
                    <a:pt x="3142005" y="14389"/>
                  </a:lnTo>
                  <a:lnTo>
                    <a:pt x="3142246" y="14389"/>
                  </a:lnTo>
                  <a:lnTo>
                    <a:pt x="3142297" y="13043"/>
                  </a:lnTo>
                  <a:lnTo>
                    <a:pt x="3142551" y="13043"/>
                  </a:lnTo>
                  <a:lnTo>
                    <a:pt x="3142551" y="14389"/>
                  </a:lnTo>
                  <a:lnTo>
                    <a:pt x="3142742" y="14389"/>
                  </a:lnTo>
                  <a:lnTo>
                    <a:pt x="3142742" y="13043"/>
                  </a:lnTo>
                  <a:lnTo>
                    <a:pt x="3142945" y="13043"/>
                  </a:lnTo>
                  <a:lnTo>
                    <a:pt x="3142996" y="14389"/>
                  </a:lnTo>
                  <a:lnTo>
                    <a:pt x="3143046" y="13043"/>
                  </a:lnTo>
                  <a:lnTo>
                    <a:pt x="3143288" y="13043"/>
                  </a:lnTo>
                  <a:lnTo>
                    <a:pt x="3143389" y="14389"/>
                  </a:lnTo>
                  <a:lnTo>
                    <a:pt x="3143745" y="14389"/>
                  </a:lnTo>
                  <a:lnTo>
                    <a:pt x="3143745" y="13043"/>
                  </a:lnTo>
                  <a:lnTo>
                    <a:pt x="3143834" y="14389"/>
                  </a:lnTo>
                  <a:lnTo>
                    <a:pt x="3143885" y="13043"/>
                  </a:lnTo>
                  <a:lnTo>
                    <a:pt x="3143885" y="14389"/>
                  </a:lnTo>
                  <a:lnTo>
                    <a:pt x="3143935" y="13043"/>
                  </a:lnTo>
                  <a:lnTo>
                    <a:pt x="3144138" y="13043"/>
                  </a:lnTo>
                  <a:lnTo>
                    <a:pt x="3144138" y="14389"/>
                  </a:lnTo>
                  <a:lnTo>
                    <a:pt x="3145028" y="14389"/>
                  </a:lnTo>
                  <a:lnTo>
                    <a:pt x="3145028" y="13043"/>
                  </a:lnTo>
                  <a:lnTo>
                    <a:pt x="3145078" y="13043"/>
                  </a:lnTo>
                  <a:lnTo>
                    <a:pt x="3145078" y="14389"/>
                  </a:lnTo>
                  <a:lnTo>
                    <a:pt x="3145281" y="14389"/>
                  </a:lnTo>
                  <a:lnTo>
                    <a:pt x="3145281" y="13043"/>
                  </a:lnTo>
                  <a:lnTo>
                    <a:pt x="3145332" y="13043"/>
                  </a:lnTo>
                  <a:lnTo>
                    <a:pt x="3145421" y="14389"/>
                  </a:lnTo>
                  <a:lnTo>
                    <a:pt x="3145675" y="14389"/>
                  </a:lnTo>
                  <a:lnTo>
                    <a:pt x="3145726" y="13043"/>
                  </a:lnTo>
                  <a:lnTo>
                    <a:pt x="3145917" y="13043"/>
                  </a:lnTo>
                  <a:lnTo>
                    <a:pt x="3145917" y="14389"/>
                  </a:lnTo>
                  <a:lnTo>
                    <a:pt x="3145967" y="14389"/>
                  </a:lnTo>
                  <a:lnTo>
                    <a:pt x="3145967" y="15037"/>
                  </a:lnTo>
                  <a:lnTo>
                    <a:pt x="3146120" y="15037"/>
                  </a:lnTo>
                  <a:lnTo>
                    <a:pt x="3146171" y="14389"/>
                  </a:lnTo>
                  <a:lnTo>
                    <a:pt x="3146818" y="14389"/>
                  </a:lnTo>
                  <a:lnTo>
                    <a:pt x="3146869" y="13043"/>
                  </a:lnTo>
                  <a:lnTo>
                    <a:pt x="3147263" y="13043"/>
                  </a:lnTo>
                  <a:lnTo>
                    <a:pt x="3147263" y="14389"/>
                  </a:lnTo>
                  <a:lnTo>
                    <a:pt x="3147466" y="14389"/>
                  </a:lnTo>
                  <a:lnTo>
                    <a:pt x="3147504" y="13043"/>
                  </a:lnTo>
                  <a:lnTo>
                    <a:pt x="3147555" y="14389"/>
                  </a:lnTo>
                  <a:lnTo>
                    <a:pt x="3148012" y="14389"/>
                  </a:lnTo>
                  <a:lnTo>
                    <a:pt x="3148050" y="13043"/>
                  </a:lnTo>
                  <a:lnTo>
                    <a:pt x="3148050" y="14389"/>
                  </a:lnTo>
                  <a:lnTo>
                    <a:pt x="3148456" y="14389"/>
                  </a:lnTo>
                  <a:lnTo>
                    <a:pt x="3148507" y="13043"/>
                  </a:lnTo>
                  <a:lnTo>
                    <a:pt x="3148507" y="14389"/>
                  </a:lnTo>
                  <a:lnTo>
                    <a:pt x="3149092" y="14389"/>
                  </a:lnTo>
                  <a:lnTo>
                    <a:pt x="3149092" y="15037"/>
                  </a:lnTo>
                  <a:lnTo>
                    <a:pt x="3149193" y="15037"/>
                  </a:lnTo>
                  <a:lnTo>
                    <a:pt x="3149295" y="14389"/>
                  </a:lnTo>
                  <a:lnTo>
                    <a:pt x="3149498" y="14389"/>
                  </a:lnTo>
                  <a:lnTo>
                    <a:pt x="3149549" y="15037"/>
                  </a:lnTo>
                  <a:lnTo>
                    <a:pt x="3149739" y="15037"/>
                  </a:lnTo>
                  <a:lnTo>
                    <a:pt x="3149739" y="14389"/>
                  </a:lnTo>
                  <a:lnTo>
                    <a:pt x="3150488" y="14389"/>
                  </a:lnTo>
                  <a:lnTo>
                    <a:pt x="3150488" y="13043"/>
                  </a:lnTo>
                  <a:lnTo>
                    <a:pt x="3150539" y="14389"/>
                  </a:lnTo>
                  <a:lnTo>
                    <a:pt x="3150781" y="14389"/>
                  </a:lnTo>
                  <a:lnTo>
                    <a:pt x="3150781" y="13043"/>
                  </a:lnTo>
                  <a:lnTo>
                    <a:pt x="3150882" y="14389"/>
                  </a:lnTo>
                  <a:lnTo>
                    <a:pt x="3151682" y="14389"/>
                  </a:lnTo>
                  <a:lnTo>
                    <a:pt x="3151682" y="13043"/>
                  </a:lnTo>
                  <a:lnTo>
                    <a:pt x="3151771" y="13043"/>
                  </a:lnTo>
                  <a:lnTo>
                    <a:pt x="3151771" y="14389"/>
                  </a:lnTo>
                  <a:lnTo>
                    <a:pt x="3152470" y="14389"/>
                  </a:lnTo>
                  <a:lnTo>
                    <a:pt x="3152521" y="15037"/>
                  </a:lnTo>
                  <a:lnTo>
                    <a:pt x="3152571" y="15037"/>
                  </a:lnTo>
                  <a:lnTo>
                    <a:pt x="3152673" y="14389"/>
                  </a:lnTo>
                  <a:lnTo>
                    <a:pt x="3152965" y="14389"/>
                  </a:lnTo>
                  <a:lnTo>
                    <a:pt x="3152965" y="15037"/>
                  </a:lnTo>
                  <a:lnTo>
                    <a:pt x="3153016" y="14389"/>
                  </a:lnTo>
                  <a:lnTo>
                    <a:pt x="3153016" y="15037"/>
                  </a:lnTo>
                  <a:lnTo>
                    <a:pt x="3153117" y="15037"/>
                  </a:lnTo>
                  <a:lnTo>
                    <a:pt x="3153117" y="14389"/>
                  </a:lnTo>
                  <a:lnTo>
                    <a:pt x="3153460" y="14389"/>
                  </a:lnTo>
                  <a:lnTo>
                    <a:pt x="3153511" y="15037"/>
                  </a:lnTo>
                  <a:lnTo>
                    <a:pt x="3153511" y="14389"/>
                  </a:lnTo>
                  <a:lnTo>
                    <a:pt x="3153663" y="14389"/>
                  </a:lnTo>
                  <a:lnTo>
                    <a:pt x="3153714" y="13043"/>
                  </a:lnTo>
                  <a:lnTo>
                    <a:pt x="3153854" y="13043"/>
                  </a:lnTo>
                  <a:lnTo>
                    <a:pt x="3153905" y="14389"/>
                  </a:lnTo>
                  <a:lnTo>
                    <a:pt x="3153956" y="14389"/>
                  </a:lnTo>
                  <a:lnTo>
                    <a:pt x="3153956" y="15037"/>
                  </a:lnTo>
                  <a:lnTo>
                    <a:pt x="3154057" y="15037"/>
                  </a:lnTo>
                  <a:lnTo>
                    <a:pt x="3154108" y="14389"/>
                  </a:lnTo>
                  <a:lnTo>
                    <a:pt x="3154553" y="14389"/>
                  </a:lnTo>
                  <a:lnTo>
                    <a:pt x="3154603" y="15037"/>
                  </a:lnTo>
                  <a:lnTo>
                    <a:pt x="3154603" y="14389"/>
                  </a:lnTo>
                  <a:lnTo>
                    <a:pt x="3154806" y="14389"/>
                  </a:lnTo>
                  <a:lnTo>
                    <a:pt x="3154857" y="15037"/>
                  </a:lnTo>
                  <a:lnTo>
                    <a:pt x="3154946" y="15037"/>
                  </a:lnTo>
                  <a:lnTo>
                    <a:pt x="3154997" y="14389"/>
                  </a:lnTo>
                  <a:lnTo>
                    <a:pt x="3155048" y="14389"/>
                  </a:lnTo>
                  <a:lnTo>
                    <a:pt x="3155048" y="15037"/>
                  </a:lnTo>
                  <a:lnTo>
                    <a:pt x="3155099" y="15037"/>
                  </a:lnTo>
                  <a:lnTo>
                    <a:pt x="3155099" y="14389"/>
                  </a:lnTo>
                  <a:lnTo>
                    <a:pt x="3155949" y="14389"/>
                  </a:lnTo>
                  <a:lnTo>
                    <a:pt x="3155949" y="13043"/>
                  </a:lnTo>
                  <a:lnTo>
                    <a:pt x="3155988" y="14389"/>
                  </a:lnTo>
                  <a:lnTo>
                    <a:pt x="3156394" y="14389"/>
                  </a:lnTo>
                  <a:lnTo>
                    <a:pt x="3156445" y="15037"/>
                  </a:lnTo>
                  <a:lnTo>
                    <a:pt x="3156534" y="14389"/>
                  </a:lnTo>
                  <a:lnTo>
                    <a:pt x="3156788" y="14389"/>
                  </a:lnTo>
                  <a:lnTo>
                    <a:pt x="3156838" y="13043"/>
                  </a:lnTo>
                  <a:lnTo>
                    <a:pt x="3156838" y="14389"/>
                  </a:lnTo>
                  <a:lnTo>
                    <a:pt x="3156889" y="14389"/>
                  </a:lnTo>
                  <a:lnTo>
                    <a:pt x="3156991" y="15037"/>
                  </a:lnTo>
                  <a:lnTo>
                    <a:pt x="3157029" y="14389"/>
                  </a:lnTo>
                  <a:lnTo>
                    <a:pt x="3157029" y="15037"/>
                  </a:lnTo>
                  <a:lnTo>
                    <a:pt x="3157080" y="14389"/>
                  </a:lnTo>
                  <a:lnTo>
                    <a:pt x="3157486" y="14389"/>
                  </a:lnTo>
                  <a:lnTo>
                    <a:pt x="3157486" y="15037"/>
                  </a:lnTo>
                  <a:lnTo>
                    <a:pt x="3157537" y="14389"/>
                  </a:lnTo>
                  <a:lnTo>
                    <a:pt x="3157537" y="15037"/>
                  </a:lnTo>
                  <a:lnTo>
                    <a:pt x="3157575" y="15037"/>
                  </a:lnTo>
                  <a:lnTo>
                    <a:pt x="3157575" y="14389"/>
                  </a:lnTo>
                  <a:lnTo>
                    <a:pt x="3157677" y="15037"/>
                  </a:lnTo>
                  <a:lnTo>
                    <a:pt x="3157677" y="14389"/>
                  </a:lnTo>
                  <a:lnTo>
                    <a:pt x="3157728" y="15037"/>
                  </a:lnTo>
                  <a:lnTo>
                    <a:pt x="3157778" y="14389"/>
                  </a:lnTo>
                  <a:lnTo>
                    <a:pt x="3157931" y="14389"/>
                  </a:lnTo>
                  <a:lnTo>
                    <a:pt x="3157931" y="15037"/>
                  </a:lnTo>
                  <a:lnTo>
                    <a:pt x="3157981" y="14389"/>
                  </a:lnTo>
                  <a:lnTo>
                    <a:pt x="3158121" y="14389"/>
                  </a:lnTo>
                  <a:lnTo>
                    <a:pt x="3158172" y="13043"/>
                  </a:lnTo>
                  <a:lnTo>
                    <a:pt x="3158172" y="14389"/>
                  </a:lnTo>
                  <a:lnTo>
                    <a:pt x="3158274" y="14389"/>
                  </a:lnTo>
                  <a:lnTo>
                    <a:pt x="3158375" y="13043"/>
                  </a:lnTo>
                  <a:lnTo>
                    <a:pt x="3158426" y="14389"/>
                  </a:lnTo>
                  <a:lnTo>
                    <a:pt x="3158718" y="14389"/>
                  </a:lnTo>
                  <a:lnTo>
                    <a:pt x="3158820" y="13043"/>
                  </a:lnTo>
                  <a:lnTo>
                    <a:pt x="3158871" y="13043"/>
                  </a:lnTo>
                  <a:lnTo>
                    <a:pt x="3158921" y="14389"/>
                  </a:lnTo>
                  <a:lnTo>
                    <a:pt x="3159264" y="14389"/>
                  </a:lnTo>
                  <a:lnTo>
                    <a:pt x="3159264" y="15037"/>
                  </a:lnTo>
                  <a:lnTo>
                    <a:pt x="3159315" y="14389"/>
                  </a:lnTo>
                  <a:lnTo>
                    <a:pt x="3159569" y="14389"/>
                  </a:lnTo>
                  <a:lnTo>
                    <a:pt x="3159620" y="15037"/>
                  </a:lnTo>
                  <a:lnTo>
                    <a:pt x="3159760" y="15037"/>
                  </a:lnTo>
                  <a:lnTo>
                    <a:pt x="3159760" y="14389"/>
                  </a:lnTo>
                  <a:lnTo>
                    <a:pt x="3159810" y="15037"/>
                  </a:lnTo>
                  <a:lnTo>
                    <a:pt x="3159861" y="14389"/>
                  </a:lnTo>
                  <a:lnTo>
                    <a:pt x="3159963" y="14389"/>
                  </a:lnTo>
                  <a:lnTo>
                    <a:pt x="3160013" y="13043"/>
                  </a:lnTo>
                  <a:lnTo>
                    <a:pt x="3160204" y="13043"/>
                  </a:lnTo>
                  <a:lnTo>
                    <a:pt x="3160204" y="14389"/>
                  </a:lnTo>
                  <a:lnTo>
                    <a:pt x="3160255" y="14389"/>
                  </a:lnTo>
                  <a:lnTo>
                    <a:pt x="3160306" y="15037"/>
                  </a:lnTo>
                  <a:lnTo>
                    <a:pt x="3160306" y="14389"/>
                  </a:lnTo>
                  <a:lnTo>
                    <a:pt x="3160407" y="14389"/>
                  </a:lnTo>
                  <a:lnTo>
                    <a:pt x="3160458" y="13043"/>
                  </a:lnTo>
                  <a:lnTo>
                    <a:pt x="3160509" y="13043"/>
                  </a:lnTo>
                  <a:lnTo>
                    <a:pt x="3160509" y="14389"/>
                  </a:lnTo>
                  <a:lnTo>
                    <a:pt x="3160903" y="14389"/>
                  </a:lnTo>
                  <a:lnTo>
                    <a:pt x="3160903" y="15037"/>
                  </a:lnTo>
                  <a:lnTo>
                    <a:pt x="3160953" y="15037"/>
                  </a:lnTo>
                  <a:lnTo>
                    <a:pt x="3161055" y="14389"/>
                  </a:lnTo>
                  <a:lnTo>
                    <a:pt x="3161296" y="14389"/>
                  </a:lnTo>
                  <a:lnTo>
                    <a:pt x="3161296" y="15037"/>
                  </a:lnTo>
                  <a:lnTo>
                    <a:pt x="3161347" y="15037"/>
                  </a:lnTo>
                  <a:lnTo>
                    <a:pt x="3161398" y="14389"/>
                  </a:lnTo>
                  <a:lnTo>
                    <a:pt x="3161995" y="14389"/>
                  </a:lnTo>
                  <a:lnTo>
                    <a:pt x="3162046" y="15037"/>
                  </a:lnTo>
                  <a:lnTo>
                    <a:pt x="3162096" y="15037"/>
                  </a:lnTo>
                  <a:lnTo>
                    <a:pt x="3162198" y="14389"/>
                  </a:lnTo>
                  <a:lnTo>
                    <a:pt x="3162490" y="14389"/>
                  </a:lnTo>
                  <a:lnTo>
                    <a:pt x="3162541" y="13043"/>
                  </a:lnTo>
                  <a:lnTo>
                    <a:pt x="3162642" y="14389"/>
                  </a:lnTo>
                  <a:lnTo>
                    <a:pt x="3162693" y="15037"/>
                  </a:lnTo>
                  <a:lnTo>
                    <a:pt x="3162744" y="14389"/>
                  </a:lnTo>
                  <a:lnTo>
                    <a:pt x="3162985" y="14389"/>
                  </a:lnTo>
                  <a:lnTo>
                    <a:pt x="3163036" y="15037"/>
                  </a:lnTo>
                  <a:lnTo>
                    <a:pt x="3163341" y="15037"/>
                  </a:lnTo>
                  <a:lnTo>
                    <a:pt x="3163379" y="14389"/>
                  </a:lnTo>
                  <a:lnTo>
                    <a:pt x="3163481" y="14389"/>
                  </a:lnTo>
                  <a:lnTo>
                    <a:pt x="3163481" y="13043"/>
                  </a:lnTo>
                  <a:lnTo>
                    <a:pt x="3163582" y="13043"/>
                  </a:lnTo>
                  <a:lnTo>
                    <a:pt x="3163582" y="14389"/>
                  </a:lnTo>
                  <a:lnTo>
                    <a:pt x="3163633" y="14389"/>
                  </a:lnTo>
                  <a:lnTo>
                    <a:pt x="3163684" y="15037"/>
                  </a:lnTo>
                  <a:lnTo>
                    <a:pt x="3163684" y="14389"/>
                  </a:lnTo>
                  <a:lnTo>
                    <a:pt x="3164027" y="14389"/>
                  </a:lnTo>
                  <a:lnTo>
                    <a:pt x="3164027" y="15037"/>
                  </a:lnTo>
                  <a:lnTo>
                    <a:pt x="3164078" y="14389"/>
                  </a:lnTo>
                  <a:lnTo>
                    <a:pt x="3164128" y="14389"/>
                  </a:lnTo>
                  <a:lnTo>
                    <a:pt x="3164128" y="15037"/>
                  </a:lnTo>
                  <a:lnTo>
                    <a:pt x="3164230" y="14389"/>
                  </a:lnTo>
                  <a:lnTo>
                    <a:pt x="3164230" y="15037"/>
                  </a:lnTo>
                  <a:lnTo>
                    <a:pt x="3164281" y="14389"/>
                  </a:lnTo>
                  <a:lnTo>
                    <a:pt x="3164967" y="14389"/>
                  </a:lnTo>
                  <a:lnTo>
                    <a:pt x="3165017" y="15037"/>
                  </a:lnTo>
                  <a:lnTo>
                    <a:pt x="3165017" y="14389"/>
                  </a:lnTo>
                  <a:lnTo>
                    <a:pt x="3165474" y="14389"/>
                  </a:lnTo>
                  <a:lnTo>
                    <a:pt x="3165474" y="15037"/>
                  </a:lnTo>
                  <a:lnTo>
                    <a:pt x="3165513" y="15037"/>
                  </a:lnTo>
                  <a:lnTo>
                    <a:pt x="3165513" y="14389"/>
                  </a:lnTo>
                  <a:lnTo>
                    <a:pt x="3165970" y="14389"/>
                  </a:lnTo>
                  <a:lnTo>
                    <a:pt x="3165970" y="15037"/>
                  </a:lnTo>
                  <a:lnTo>
                    <a:pt x="3166059" y="15037"/>
                  </a:lnTo>
                  <a:lnTo>
                    <a:pt x="3166059" y="14389"/>
                  </a:lnTo>
                  <a:lnTo>
                    <a:pt x="3166516" y="14389"/>
                  </a:lnTo>
                  <a:lnTo>
                    <a:pt x="3166554" y="15037"/>
                  </a:lnTo>
                  <a:lnTo>
                    <a:pt x="3166960" y="15037"/>
                  </a:lnTo>
                  <a:lnTo>
                    <a:pt x="3167011" y="14389"/>
                  </a:lnTo>
                  <a:lnTo>
                    <a:pt x="3167011" y="15037"/>
                  </a:lnTo>
                  <a:lnTo>
                    <a:pt x="3167062" y="14389"/>
                  </a:lnTo>
                  <a:lnTo>
                    <a:pt x="3167557" y="14389"/>
                  </a:lnTo>
                  <a:lnTo>
                    <a:pt x="3167646" y="15037"/>
                  </a:lnTo>
                  <a:lnTo>
                    <a:pt x="3167748" y="15037"/>
                  </a:lnTo>
                  <a:lnTo>
                    <a:pt x="3167748" y="14389"/>
                  </a:lnTo>
                  <a:lnTo>
                    <a:pt x="3167799" y="14389"/>
                  </a:lnTo>
                  <a:lnTo>
                    <a:pt x="3167799" y="15037"/>
                  </a:lnTo>
                  <a:lnTo>
                    <a:pt x="3168103" y="15037"/>
                  </a:lnTo>
                  <a:lnTo>
                    <a:pt x="3168103" y="14389"/>
                  </a:lnTo>
                  <a:lnTo>
                    <a:pt x="3168192" y="14389"/>
                  </a:lnTo>
                  <a:lnTo>
                    <a:pt x="3168192" y="15037"/>
                  </a:lnTo>
                  <a:lnTo>
                    <a:pt x="3168243" y="15037"/>
                  </a:lnTo>
                  <a:lnTo>
                    <a:pt x="3168345" y="14389"/>
                  </a:lnTo>
                  <a:lnTo>
                    <a:pt x="3168548" y="14389"/>
                  </a:lnTo>
                  <a:lnTo>
                    <a:pt x="3168599" y="15037"/>
                  </a:lnTo>
                  <a:lnTo>
                    <a:pt x="3168688" y="15037"/>
                  </a:lnTo>
                  <a:lnTo>
                    <a:pt x="3168688" y="14389"/>
                  </a:lnTo>
                  <a:lnTo>
                    <a:pt x="3168789" y="14389"/>
                  </a:lnTo>
                  <a:lnTo>
                    <a:pt x="3168789" y="15037"/>
                  </a:lnTo>
                  <a:lnTo>
                    <a:pt x="3168840" y="14389"/>
                  </a:lnTo>
                  <a:lnTo>
                    <a:pt x="3168840" y="15037"/>
                  </a:lnTo>
                  <a:lnTo>
                    <a:pt x="3169043" y="15037"/>
                  </a:lnTo>
                  <a:lnTo>
                    <a:pt x="3169094" y="14389"/>
                  </a:lnTo>
                  <a:lnTo>
                    <a:pt x="3169094" y="15037"/>
                  </a:lnTo>
                  <a:lnTo>
                    <a:pt x="3169285" y="15037"/>
                  </a:lnTo>
                  <a:lnTo>
                    <a:pt x="3169285" y="14389"/>
                  </a:lnTo>
                  <a:lnTo>
                    <a:pt x="3169691" y="14389"/>
                  </a:lnTo>
                  <a:lnTo>
                    <a:pt x="3169691" y="15037"/>
                  </a:lnTo>
                  <a:lnTo>
                    <a:pt x="3169729" y="14389"/>
                  </a:lnTo>
                  <a:lnTo>
                    <a:pt x="3170631" y="14389"/>
                  </a:lnTo>
                  <a:lnTo>
                    <a:pt x="3170631" y="15037"/>
                  </a:lnTo>
                  <a:lnTo>
                    <a:pt x="3170732" y="15037"/>
                  </a:lnTo>
                  <a:lnTo>
                    <a:pt x="3170821" y="14389"/>
                  </a:lnTo>
                  <a:lnTo>
                    <a:pt x="3170872" y="15037"/>
                  </a:lnTo>
                  <a:lnTo>
                    <a:pt x="3170872" y="14389"/>
                  </a:lnTo>
                  <a:lnTo>
                    <a:pt x="3170974" y="14389"/>
                  </a:lnTo>
                  <a:lnTo>
                    <a:pt x="3170974" y="15037"/>
                  </a:lnTo>
                  <a:lnTo>
                    <a:pt x="3171075" y="14389"/>
                  </a:lnTo>
                  <a:lnTo>
                    <a:pt x="3171126" y="15037"/>
                  </a:lnTo>
                  <a:lnTo>
                    <a:pt x="3171126" y="14389"/>
                  </a:lnTo>
                  <a:lnTo>
                    <a:pt x="3171177" y="14389"/>
                  </a:lnTo>
                  <a:lnTo>
                    <a:pt x="3171177" y="15037"/>
                  </a:lnTo>
                  <a:lnTo>
                    <a:pt x="3171278" y="15037"/>
                  </a:lnTo>
                  <a:lnTo>
                    <a:pt x="3171317" y="14389"/>
                  </a:lnTo>
                  <a:lnTo>
                    <a:pt x="3171367" y="14389"/>
                  </a:lnTo>
                  <a:lnTo>
                    <a:pt x="3171418" y="15037"/>
                  </a:lnTo>
                  <a:lnTo>
                    <a:pt x="3171418" y="14389"/>
                  </a:lnTo>
                  <a:lnTo>
                    <a:pt x="3171774" y="14389"/>
                  </a:lnTo>
                  <a:lnTo>
                    <a:pt x="3171774" y="15037"/>
                  </a:lnTo>
                  <a:lnTo>
                    <a:pt x="3171863" y="15037"/>
                  </a:lnTo>
                  <a:lnTo>
                    <a:pt x="3171863" y="14389"/>
                  </a:lnTo>
                  <a:lnTo>
                    <a:pt x="3173107" y="14389"/>
                  </a:lnTo>
                  <a:lnTo>
                    <a:pt x="3173107" y="15037"/>
                  </a:lnTo>
                  <a:lnTo>
                    <a:pt x="3173158" y="14389"/>
                  </a:lnTo>
                  <a:lnTo>
                    <a:pt x="3173310" y="14389"/>
                  </a:lnTo>
                  <a:lnTo>
                    <a:pt x="3173310" y="15037"/>
                  </a:lnTo>
                  <a:lnTo>
                    <a:pt x="3173361" y="14389"/>
                  </a:lnTo>
                  <a:lnTo>
                    <a:pt x="3173412" y="15037"/>
                  </a:lnTo>
                  <a:lnTo>
                    <a:pt x="3173412" y="14389"/>
                  </a:lnTo>
                  <a:lnTo>
                    <a:pt x="3173450" y="15037"/>
                  </a:lnTo>
                  <a:lnTo>
                    <a:pt x="3173653" y="15037"/>
                  </a:lnTo>
                  <a:lnTo>
                    <a:pt x="3173653" y="14389"/>
                  </a:lnTo>
                  <a:lnTo>
                    <a:pt x="3173856" y="14389"/>
                  </a:lnTo>
                  <a:lnTo>
                    <a:pt x="3173856" y="15037"/>
                  </a:lnTo>
                  <a:lnTo>
                    <a:pt x="3174047" y="15037"/>
                  </a:lnTo>
                  <a:lnTo>
                    <a:pt x="3174047" y="14389"/>
                  </a:lnTo>
                  <a:lnTo>
                    <a:pt x="3174149" y="14389"/>
                  </a:lnTo>
                  <a:lnTo>
                    <a:pt x="3174250" y="15037"/>
                  </a:lnTo>
                  <a:lnTo>
                    <a:pt x="3174301" y="14389"/>
                  </a:lnTo>
                  <a:lnTo>
                    <a:pt x="3174593" y="14389"/>
                  </a:lnTo>
                  <a:lnTo>
                    <a:pt x="3174695" y="15037"/>
                  </a:lnTo>
                  <a:lnTo>
                    <a:pt x="3174746" y="14389"/>
                  </a:lnTo>
                  <a:lnTo>
                    <a:pt x="3174949" y="14389"/>
                  </a:lnTo>
                  <a:lnTo>
                    <a:pt x="3174949" y="15037"/>
                  </a:lnTo>
                  <a:lnTo>
                    <a:pt x="3174999" y="14389"/>
                  </a:lnTo>
                  <a:lnTo>
                    <a:pt x="3175038" y="14389"/>
                  </a:lnTo>
                  <a:lnTo>
                    <a:pt x="3175139" y="15037"/>
                  </a:lnTo>
                  <a:lnTo>
                    <a:pt x="3175495" y="15037"/>
                  </a:lnTo>
                  <a:lnTo>
                    <a:pt x="3175584" y="14389"/>
                  </a:lnTo>
                  <a:lnTo>
                    <a:pt x="3175584" y="15037"/>
                  </a:lnTo>
                  <a:lnTo>
                    <a:pt x="3175838" y="15037"/>
                  </a:lnTo>
                  <a:lnTo>
                    <a:pt x="3175888" y="14389"/>
                  </a:lnTo>
                  <a:lnTo>
                    <a:pt x="3175939" y="15037"/>
                  </a:lnTo>
                  <a:lnTo>
                    <a:pt x="3176041" y="15037"/>
                  </a:lnTo>
                  <a:lnTo>
                    <a:pt x="3176041" y="14389"/>
                  </a:lnTo>
                  <a:lnTo>
                    <a:pt x="3176130" y="14389"/>
                  </a:lnTo>
                  <a:lnTo>
                    <a:pt x="3176181" y="15037"/>
                  </a:lnTo>
                  <a:lnTo>
                    <a:pt x="3176587" y="15037"/>
                  </a:lnTo>
                  <a:lnTo>
                    <a:pt x="3176587" y="14389"/>
                  </a:lnTo>
                  <a:lnTo>
                    <a:pt x="3176625" y="15037"/>
                  </a:lnTo>
                  <a:lnTo>
                    <a:pt x="3177031" y="15037"/>
                  </a:lnTo>
                  <a:lnTo>
                    <a:pt x="3177082" y="14389"/>
                  </a:lnTo>
                  <a:lnTo>
                    <a:pt x="3177222" y="14389"/>
                  </a:lnTo>
                  <a:lnTo>
                    <a:pt x="3177222" y="15037"/>
                  </a:lnTo>
                  <a:lnTo>
                    <a:pt x="3177527" y="15037"/>
                  </a:lnTo>
                  <a:lnTo>
                    <a:pt x="3177628" y="14389"/>
                  </a:lnTo>
                  <a:lnTo>
                    <a:pt x="3177628" y="15037"/>
                  </a:lnTo>
                  <a:lnTo>
                    <a:pt x="3177667" y="14389"/>
                  </a:lnTo>
                  <a:lnTo>
                    <a:pt x="3178314" y="14389"/>
                  </a:lnTo>
                  <a:lnTo>
                    <a:pt x="3178314" y="15037"/>
                  </a:lnTo>
                  <a:lnTo>
                    <a:pt x="3178416" y="15037"/>
                  </a:lnTo>
                  <a:lnTo>
                    <a:pt x="3178416" y="14389"/>
                  </a:lnTo>
                  <a:lnTo>
                    <a:pt x="3178568" y="14389"/>
                  </a:lnTo>
                  <a:lnTo>
                    <a:pt x="3178619" y="13043"/>
                  </a:lnTo>
                  <a:lnTo>
                    <a:pt x="3178619" y="14389"/>
                  </a:lnTo>
                  <a:lnTo>
                    <a:pt x="3178810" y="14389"/>
                  </a:lnTo>
                  <a:lnTo>
                    <a:pt x="3178810" y="15037"/>
                  </a:lnTo>
                  <a:lnTo>
                    <a:pt x="3178860" y="15037"/>
                  </a:lnTo>
                  <a:lnTo>
                    <a:pt x="3178911" y="14389"/>
                  </a:lnTo>
                  <a:lnTo>
                    <a:pt x="3179508" y="14389"/>
                  </a:lnTo>
                  <a:lnTo>
                    <a:pt x="3179559" y="13043"/>
                  </a:lnTo>
                  <a:lnTo>
                    <a:pt x="3179660" y="14389"/>
                  </a:lnTo>
                  <a:lnTo>
                    <a:pt x="3179953" y="14389"/>
                  </a:lnTo>
                  <a:lnTo>
                    <a:pt x="3179953" y="13043"/>
                  </a:lnTo>
                  <a:lnTo>
                    <a:pt x="3180003" y="14389"/>
                  </a:lnTo>
                  <a:lnTo>
                    <a:pt x="3180702" y="14389"/>
                  </a:lnTo>
                  <a:lnTo>
                    <a:pt x="3180702" y="13043"/>
                  </a:lnTo>
                  <a:lnTo>
                    <a:pt x="3180803" y="13043"/>
                  </a:lnTo>
                  <a:lnTo>
                    <a:pt x="3180842" y="14389"/>
                  </a:lnTo>
                  <a:lnTo>
                    <a:pt x="3180892" y="14389"/>
                  </a:lnTo>
                  <a:lnTo>
                    <a:pt x="3180943" y="13043"/>
                  </a:lnTo>
                  <a:lnTo>
                    <a:pt x="3181146" y="13043"/>
                  </a:lnTo>
                  <a:lnTo>
                    <a:pt x="3181248" y="14389"/>
                  </a:lnTo>
                  <a:lnTo>
                    <a:pt x="3181248" y="13043"/>
                  </a:lnTo>
                  <a:lnTo>
                    <a:pt x="3181349" y="13043"/>
                  </a:lnTo>
                  <a:lnTo>
                    <a:pt x="3181349" y="14389"/>
                  </a:lnTo>
                  <a:lnTo>
                    <a:pt x="3182086" y="14389"/>
                  </a:lnTo>
                  <a:lnTo>
                    <a:pt x="3182086" y="15037"/>
                  </a:lnTo>
                  <a:lnTo>
                    <a:pt x="3182238" y="15037"/>
                  </a:lnTo>
                  <a:lnTo>
                    <a:pt x="3182238" y="14389"/>
                  </a:lnTo>
                  <a:lnTo>
                    <a:pt x="3182683" y="14389"/>
                  </a:lnTo>
                  <a:lnTo>
                    <a:pt x="3182734" y="15037"/>
                  </a:lnTo>
                  <a:lnTo>
                    <a:pt x="3182835" y="14389"/>
                  </a:lnTo>
                  <a:lnTo>
                    <a:pt x="3183077" y="14389"/>
                  </a:lnTo>
                  <a:lnTo>
                    <a:pt x="3183077" y="15037"/>
                  </a:lnTo>
                  <a:lnTo>
                    <a:pt x="3183128" y="14389"/>
                  </a:lnTo>
                  <a:lnTo>
                    <a:pt x="3183280" y="14389"/>
                  </a:lnTo>
                  <a:lnTo>
                    <a:pt x="3183331" y="15037"/>
                  </a:lnTo>
                  <a:lnTo>
                    <a:pt x="3183331" y="14389"/>
                  </a:lnTo>
                  <a:lnTo>
                    <a:pt x="3183381" y="14389"/>
                  </a:lnTo>
                  <a:lnTo>
                    <a:pt x="3183381" y="15037"/>
                  </a:lnTo>
                  <a:lnTo>
                    <a:pt x="3183775" y="15037"/>
                  </a:lnTo>
                  <a:lnTo>
                    <a:pt x="3183775" y="14389"/>
                  </a:lnTo>
                  <a:lnTo>
                    <a:pt x="3183826" y="14389"/>
                  </a:lnTo>
                  <a:lnTo>
                    <a:pt x="3183877" y="15037"/>
                  </a:lnTo>
                  <a:lnTo>
                    <a:pt x="3183978" y="15037"/>
                  </a:lnTo>
                  <a:lnTo>
                    <a:pt x="3184017" y="14389"/>
                  </a:lnTo>
                  <a:lnTo>
                    <a:pt x="3184271" y="14389"/>
                  </a:lnTo>
                  <a:lnTo>
                    <a:pt x="3184271" y="15037"/>
                  </a:lnTo>
                  <a:lnTo>
                    <a:pt x="3184321" y="15037"/>
                  </a:lnTo>
                  <a:lnTo>
                    <a:pt x="3184423" y="14389"/>
                  </a:lnTo>
                  <a:lnTo>
                    <a:pt x="3184867" y="14389"/>
                  </a:lnTo>
                  <a:lnTo>
                    <a:pt x="3184867" y="15037"/>
                  </a:lnTo>
                  <a:lnTo>
                    <a:pt x="3184918" y="15037"/>
                  </a:lnTo>
                  <a:lnTo>
                    <a:pt x="3184918" y="15634"/>
                  </a:lnTo>
                  <a:lnTo>
                    <a:pt x="3184969" y="15634"/>
                  </a:lnTo>
                  <a:lnTo>
                    <a:pt x="3184969" y="15037"/>
                  </a:lnTo>
                  <a:lnTo>
                    <a:pt x="3185160" y="15037"/>
                  </a:lnTo>
                  <a:lnTo>
                    <a:pt x="3185160" y="14389"/>
                  </a:lnTo>
                  <a:lnTo>
                    <a:pt x="3185261" y="14389"/>
                  </a:lnTo>
                  <a:lnTo>
                    <a:pt x="3185261" y="15037"/>
                  </a:lnTo>
                  <a:lnTo>
                    <a:pt x="3185363" y="14389"/>
                  </a:lnTo>
                  <a:lnTo>
                    <a:pt x="3185413" y="15037"/>
                  </a:lnTo>
                  <a:lnTo>
                    <a:pt x="3185464" y="14389"/>
                  </a:lnTo>
                  <a:lnTo>
                    <a:pt x="3185566" y="14389"/>
                  </a:lnTo>
                  <a:lnTo>
                    <a:pt x="3185604" y="15037"/>
                  </a:lnTo>
                  <a:lnTo>
                    <a:pt x="3185655" y="15037"/>
                  </a:lnTo>
                  <a:lnTo>
                    <a:pt x="3185706" y="14389"/>
                  </a:lnTo>
                  <a:lnTo>
                    <a:pt x="3186112" y="14389"/>
                  </a:lnTo>
                  <a:lnTo>
                    <a:pt x="3186150" y="15037"/>
                  </a:lnTo>
                  <a:lnTo>
                    <a:pt x="3186747" y="15037"/>
                  </a:lnTo>
                  <a:lnTo>
                    <a:pt x="3186798" y="14389"/>
                  </a:lnTo>
                  <a:lnTo>
                    <a:pt x="3186950" y="14389"/>
                  </a:lnTo>
                  <a:lnTo>
                    <a:pt x="3186950" y="15037"/>
                  </a:lnTo>
                  <a:lnTo>
                    <a:pt x="3187153" y="15037"/>
                  </a:lnTo>
                  <a:lnTo>
                    <a:pt x="3187192" y="14389"/>
                  </a:lnTo>
                  <a:lnTo>
                    <a:pt x="3187242" y="14389"/>
                  </a:lnTo>
                  <a:lnTo>
                    <a:pt x="3187293" y="15037"/>
                  </a:lnTo>
                  <a:lnTo>
                    <a:pt x="3187446" y="15037"/>
                  </a:lnTo>
                  <a:lnTo>
                    <a:pt x="3187496" y="14389"/>
                  </a:lnTo>
                  <a:lnTo>
                    <a:pt x="3187598" y="14389"/>
                  </a:lnTo>
                  <a:lnTo>
                    <a:pt x="3187598" y="13043"/>
                  </a:lnTo>
                  <a:lnTo>
                    <a:pt x="3187649" y="14389"/>
                  </a:lnTo>
                  <a:lnTo>
                    <a:pt x="3187699" y="14389"/>
                  </a:lnTo>
                  <a:lnTo>
                    <a:pt x="3187699" y="15037"/>
                  </a:lnTo>
                  <a:lnTo>
                    <a:pt x="3187839" y="15037"/>
                  </a:lnTo>
                  <a:lnTo>
                    <a:pt x="3187890" y="14389"/>
                  </a:lnTo>
                  <a:lnTo>
                    <a:pt x="3187890" y="15037"/>
                  </a:lnTo>
                  <a:lnTo>
                    <a:pt x="3187941" y="15037"/>
                  </a:lnTo>
                  <a:lnTo>
                    <a:pt x="3187941" y="14389"/>
                  </a:lnTo>
                  <a:lnTo>
                    <a:pt x="3188284" y="14389"/>
                  </a:lnTo>
                  <a:lnTo>
                    <a:pt x="3188284" y="15037"/>
                  </a:lnTo>
                  <a:lnTo>
                    <a:pt x="3188335" y="15037"/>
                  </a:lnTo>
                  <a:lnTo>
                    <a:pt x="3188335" y="14389"/>
                  </a:lnTo>
                  <a:lnTo>
                    <a:pt x="3188385" y="15037"/>
                  </a:lnTo>
                  <a:lnTo>
                    <a:pt x="3188588" y="15037"/>
                  </a:lnTo>
                  <a:lnTo>
                    <a:pt x="3188588" y="14389"/>
                  </a:lnTo>
                  <a:lnTo>
                    <a:pt x="3188639" y="15037"/>
                  </a:lnTo>
                  <a:lnTo>
                    <a:pt x="3188741" y="14389"/>
                  </a:lnTo>
                  <a:lnTo>
                    <a:pt x="3188741" y="15037"/>
                  </a:lnTo>
                  <a:lnTo>
                    <a:pt x="3189185" y="15037"/>
                  </a:lnTo>
                  <a:lnTo>
                    <a:pt x="3189236" y="14389"/>
                  </a:lnTo>
                  <a:lnTo>
                    <a:pt x="3189236" y="15037"/>
                  </a:lnTo>
                  <a:lnTo>
                    <a:pt x="3189287" y="15037"/>
                  </a:lnTo>
                  <a:lnTo>
                    <a:pt x="3189325" y="14389"/>
                  </a:lnTo>
                  <a:lnTo>
                    <a:pt x="3189427" y="14389"/>
                  </a:lnTo>
                  <a:lnTo>
                    <a:pt x="3189478" y="15037"/>
                  </a:lnTo>
                  <a:lnTo>
                    <a:pt x="3189630" y="15037"/>
                  </a:lnTo>
                  <a:lnTo>
                    <a:pt x="3189681" y="14389"/>
                  </a:lnTo>
                  <a:lnTo>
                    <a:pt x="3189681" y="15037"/>
                  </a:lnTo>
                  <a:lnTo>
                    <a:pt x="3189731" y="14389"/>
                  </a:lnTo>
                  <a:lnTo>
                    <a:pt x="3189731" y="15037"/>
                  </a:lnTo>
                  <a:lnTo>
                    <a:pt x="3189871" y="15037"/>
                  </a:lnTo>
                  <a:lnTo>
                    <a:pt x="3189871" y="14389"/>
                  </a:lnTo>
                  <a:lnTo>
                    <a:pt x="3189922" y="15037"/>
                  </a:lnTo>
                  <a:lnTo>
                    <a:pt x="3189973" y="14389"/>
                  </a:lnTo>
                  <a:lnTo>
                    <a:pt x="3189973" y="15037"/>
                  </a:lnTo>
                  <a:lnTo>
                    <a:pt x="3190024" y="14389"/>
                  </a:lnTo>
                  <a:lnTo>
                    <a:pt x="3190417" y="14389"/>
                  </a:lnTo>
                  <a:lnTo>
                    <a:pt x="3190417" y="15037"/>
                  </a:lnTo>
                  <a:lnTo>
                    <a:pt x="3190621" y="15037"/>
                  </a:lnTo>
                  <a:lnTo>
                    <a:pt x="3190621" y="14389"/>
                  </a:lnTo>
                  <a:lnTo>
                    <a:pt x="3190671" y="14389"/>
                  </a:lnTo>
                  <a:lnTo>
                    <a:pt x="3190773" y="15037"/>
                  </a:lnTo>
                  <a:lnTo>
                    <a:pt x="3190773" y="14389"/>
                  </a:lnTo>
                  <a:lnTo>
                    <a:pt x="3190913" y="14389"/>
                  </a:lnTo>
                  <a:lnTo>
                    <a:pt x="3190913" y="15037"/>
                  </a:lnTo>
                  <a:lnTo>
                    <a:pt x="3191217" y="15037"/>
                  </a:lnTo>
                  <a:lnTo>
                    <a:pt x="3191268" y="14389"/>
                  </a:lnTo>
                  <a:lnTo>
                    <a:pt x="3191268" y="15037"/>
                  </a:lnTo>
                  <a:lnTo>
                    <a:pt x="3191560" y="15037"/>
                  </a:lnTo>
                  <a:lnTo>
                    <a:pt x="3191560" y="14389"/>
                  </a:lnTo>
                  <a:lnTo>
                    <a:pt x="3191611" y="15037"/>
                  </a:lnTo>
                  <a:lnTo>
                    <a:pt x="3191916" y="15037"/>
                  </a:lnTo>
                  <a:lnTo>
                    <a:pt x="3191916" y="14389"/>
                  </a:lnTo>
                  <a:lnTo>
                    <a:pt x="3191954" y="15037"/>
                  </a:lnTo>
                  <a:lnTo>
                    <a:pt x="3192157" y="15037"/>
                  </a:lnTo>
                  <a:lnTo>
                    <a:pt x="3192157" y="14389"/>
                  </a:lnTo>
                  <a:lnTo>
                    <a:pt x="3192208" y="15037"/>
                  </a:lnTo>
                  <a:lnTo>
                    <a:pt x="3192208" y="14389"/>
                  </a:lnTo>
                  <a:lnTo>
                    <a:pt x="3192360" y="14389"/>
                  </a:lnTo>
                  <a:lnTo>
                    <a:pt x="3192411" y="15037"/>
                  </a:lnTo>
                  <a:lnTo>
                    <a:pt x="3192462" y="15037"/>
                  </a:lnTo>
                  <a:lnTo>
                    <a:pt x="3192462" y="15634"/>
                  </a:lnTo>
                  <a:lnTo>
                    <a:pt x="3192500" y="15037"/>
                  </a:lnTo>
                  <a:lnTo>
                    <a:pt x="3192703" y="15037"/>
                  </a:lnTo>
                  <a:lnTo>
                    <a:pt x="3192805" y="14389"/>
                  </a:lnTo>
                  <a:lnTo>
                    <a:pt x="3192856" y="15037"/>
                  </a:lnTo>
                  <a:lnTo>
                    <a:pt x="3193148" y="15037"/>
                  </a:lnTo>
                  <a:lnTo>
                    <a:pt x="3193199" y="14389"/>
                  </a:lnTo>
                  <a:lnTo>
                    <a:pt x="3193351" y="14389"/>
                  </a:lnTo>
                  <a:lnTo>
                    <a:pt x="3193351" y="15037"/>
                  </a:lnTo>
                  <a:lnTo>
                    <a:pt x="3193402" y="15037"/>
                  </a:lnTo>
                  <a:lnTo>
                    <a:pt x="3193402" y="14389"/>
                  </a:lnTo>
                  <a:lnTo>
                    <a:pt x="3193643" y="14389"/>
                  </a:lnTo>
                  <a:lnTo>
                    <a:pt x="3193745" y="15037"/>
                  </a:lnTo>
                  <a:lnTo>
                    <a:pt x="3193948" y="15037"/>
                  </a:lnTo>
                  <a:lnTo>
                    <a:pt x="3193948" y="15634"/>
                  </a:lnTo>
                  <a:lnTo>
                    <a:pt x="3194049" y="15634"/>
                  </a:lnTo>
                  <a:lnTo>
                    <a:pt x="3194049" y="15037"/>
                  </a:lnTo>
                  <a:lnTo>
                    <a:pt x="3194392" y="15037"/>
                  </a:lnTo>
                  <a:lnTo>
                    <a:pt x="3194443" y="14389"/>
                  </a:lnTo>
                  <a:lnTo>
                    <a:pt x="3194494" y="14389"/>
                  </a:lnTo>
                  <a:lnTo>
                    <a:pt x="3194494" y="15037"/>
                  </a:lnTo>
                  <a:lnTo>
                    <a:pt x="3194989" y="15037"/>
                  </a:lnTo>
                  <a:lnTo>
                    <a:pt x="3194989" y="15634"/>
                  </a:lnTo>
                  <a:lnTo>
                    <a:pt x="3195129" y="15634"/>
                  </a:lnTo>
                  <a:lnTo>
                    <a:pt x="3195129" y="15037"/>
                  </a:lnTo>
                  <a:lnTo>
                    <a:pt x="3195231" y="15037"/>
                  </a:lnTo>
                  <a:lnTo>
                    <a:pt x="3195231" y="14389"/>
                  </a:lnTo>
                  <a:lnTo>
                    <a:pt x="3195332" y="14389"/>
                  </a:lnTo>
                  <a:lnTo>
                    <a:pt x="3195332" y="15037"/>
                  </a:lnTo>
                  <a:lnTo>
                    <a:pt x="3195535" y="15037"/>
                  </a:lnTo>
                  <a:lnTo>
                    <a:pt x="3195535" y="14389"/>
                  </a:lnTo>
                  <a:lnTo>
                    <a:pt x="3195777" y="14389"/>
                  </a:lnTo>
                  <a:lnTo>
                    <a:pt x="3195828" y="15037"/>
                  </a:lnTo>
                  <a:lnTo>
                    <a:pt x="3195878" y="15037"/>
                  </a:lnTo>
                  <a:lnTo>
                    <a:pt x="3195878" y="14389"/>
                  </a:lnTo>
                  <a:lnTo>
                    <a:pt x="3196031" y="14389"/>
                  </a:lnTo>
                  <a:lnTo>
                    <a:pt x="3196081" y="15037"/>
                  </a:lnTo>
                  <a:lnTo>
                    <a:pt x="3196081" y="14389"/>
                  </a:lnTo>
                  <a:lnTo>
                    <a:pt x="3196132" y="14389"/>
                  </a:lnTo>
                  <a:lnTo>
                    <a:pt x="3196132" y="15037"/>
                  </a:lnTo>
                  <a:lnTo>
                    <a:pt x="3196374" y="15037"/>
                  </a:lnTo>
                  <a:lnTo>
                    <a:pt x="3196475" y="14389"/>
                  </a:lnTo>
                  <a:lnTo>
                    <a:pt x="3196475" y="15037"/>
                  </a:lnTo>
                  <a:lnTo>
                    <a:pt x="3196971" y="15037"/>
                  </a:lnTo>
                  <a:lnTo>
                    <a:pt x="3196971" y="14389"/>
                  </a:lnTo>
                  <a:lnTo>
                    <a:pt x="3197123" y="14389"/>
                  </a:lnTo>
                  <a:lnTo>
                    <a:pt x="3197123" y="15037"/>
                  </a:lnTo>
                  <a:lnTo>
                    <a:pt x="3197415" y="15037"/>
                  </a:lnTo>
                  <a:lnTo>
                    <a:pt x="3197415" y="15634"/>
                  </a:lnTo>
                  <a:lnTo>
                    <a:pt x="3197618" y="15634"/>
                  </a:lnTo>
                  <a:lnTo>
                    <a:pt x="3197669" y="15037"/>
                  </a:lnTo>
                  <a:lnTo>
                    <a:pt x="3197809" y="15037"/>
                  </a:lnTo>
                  <a:lnTo>
                    <a:pt x="3197860" y="14389"/>
                  </a:lnTo>
                  <a:lnTo>
                    <a:pt x="3197860" y="15037"/>
                  </a:lnTo>
                  <a:lnTo>
                    <a:pt x="3198164" y="15037"/>
                  </a:lnTo>
                  <a:lnTo>
                    <a:pt x="3198266" y="14389"/>
                  </a:lnTo>
                  <a:lnTo>
                    <a:pt x="3198304" y="14389"/>
                  </a:lnTo>
                  <a:lnTo>
                    <a:pt x="3198355" y="15037"/>
                  </a:lnTo>
                  <a:lnTo>
                    <a:pt x="3198507" y="15037"/>
                  </a:lnTo>
                  <a:lnTo>
                    <a:pt x="3198507" y="14389"/>
                  </a:lnTo>
                  <a:lnTo>
                    <a:pt x="3198710" y="14389"/>
                  </a:lnTo>
                  <a:lnTo>
                    <a:pt x="3198761" y="15037"/>
                  </a:lnTo>
                  <a:lnTo>
                    <a:pt x="3198812" y="14389"/>
                  </a:lnTo>
                  <a:lnTo>
                    <a:pt x="3198952" y="14389"/>
                  </a:lnTo>
                  <a:lnTo>
                    <a:pt x="3199003" y="15037"/>
                  </a:lnTo>
                  <a:lnTo>
                    <a:pt x="3199053" y="14389"/>
                  </a:lnTo>
                  <a:lnTo>
                    <a:pt x="3199155" y="14389"/>
                  </a:lnTo>
                  <a:lnTo>
                    <a:pt x="3199206" y="15037"/>
                  </a:lnTo>
                  <a:lnTo>
                    <a:pt x="3199549" y="15037"/>
                  </a:lnTo>
                  <a:lnTo>
                    <a:pt x="3199549" y="14389"/>
                  </a:lnTo>
                  <a:lnTo>
                    <a:pt x="3199701" y="14389"/>
                  </a:lnTo>
                  <a:lnTo>
                    <a:pt x="3199752" y="15037"/>
                  </a:lnTo>
                  <a:lnTo>
                    <a:pt x="3200095" y="15037"/>
                  </a:lnTo>
                  <a:lnTo>
                    <a:pt x="3200095" y="15634"/>
                  </a:lnTo>
                  <a:lnTo>
                    <a:pt x="3200146" y="15634"/>
                  </a:lnTo>
                  <a:lnTo>
                    <a:pt x="3200146" y="15037"/>
                  </a:lnTo>
                  <a:lnTo>
                    <a:pt x="3200590" y="15037"/>
                  </a:lnTo>
                  <a:lnTo>
                    <a:pt x="3200590" y="14389"/>
                  </a:lnTo>
                  <a:lnTo>
                    <a:pt x="3200641" y="14389"/>
                  </a:lnTo>
                  <a:lnTo>
                    <a:pt x="3200742" y="15037"/>
                  </a:lnTo>
                  <a:lnTo>
                    <a:pt x="3200984" y="15037"/>
                  </a:lnTo>
                  <a:lnTo>
                    <a:pt x="3201035" y="14389"/>
                  </a:lnTo>
                  <a:lnTo>
                    <a:pt x="3201035" y="15037"/>
                  </a:lnTo>
                  <a:lnTo>
                    <a:pt x="3201479" y="15037"/>
                  </a:lnTo>
                  <a:lnTo>
                    <a:pt x="3201479" y="14389"/>
                  </a:lnTo>
                  <a:lnTo>
                    <a:pt x="3201530" y="15037"/>
                  </a:lnTo>
                  <a:lnTo>
                    <a:pt x="3201581" y="14389"/>
                  </a:lnTo>
                  <a:lnTo>
                    <a:pt x="3201581" y="15037"/>
                  </a:lnTo>
                  <a:lnTo>
                    <a:pt x="3201682" y="14389"/>
                  </a:lnTo>
                  <a:lnTo>
                    <a:pt x="3201885" y="14389"/>
                  </a:lnTo>
                  <a:lnTo>
                    <a:pt x="3201885" y="15037"/>
                  </a:lnTo>
                  <a:lnTo>
                    <a:pt x="3201987" y="15037"/>
                  </a:lnTo>
                  <a:lnTo>
                    <a:pt x="3201987" y="14389"/>
                  </a:lnTo>
                  <a:lnTo>
                    <a:pt x="3202127" y="14389"/>
                  </a:lnTo>
                  <a:lnTo>
                    <a:pt x="3202178" y="15037"/>
                  </a:lnTo>
                  <a:lnTo>
                    <a:pt x="3202228" y="14389"/>
                  </a:lnTo>
                  <a:lnTo>
                    <a:pt x="3202330" y="14389"/>
                  </a:lnTo>
                  <a:lnTo>
                    <a:pt x="3202381" y="15037"/>
                  </a:lnTo>
                  <a:lnTo>
                    <a:pt x="3202927" y="15037"/>
                  </a:lnTo>
                  <a:lnTo>
                    <a:pt x="3203028" y="14389"/>
                  </a:lnTo>
                  <a:lnTo>
                    <a:pt x="3203067" y="15037"/>
                  </a:lnTo>
                  <a:lnTo>
                    <a:pt x="3203168" y="15037"/>
                  </a:lnTo>
                  <a:lnTo>
                    <a:pt x="3203168" y="14389"/>
                  </a:lnTo>
                  <a:lnTo>
                    <a:pt x="3203321" y="14389"/>
                  </a:lnTo>
                  <a:lnTo>
                    <a:pt x="3203371" y="15037"/>
                  </a:lnTo>
                  <a:lnTo>
                    <a:pt x="3203473" y="15037"/>
                  </a:lnTo>
                  <a:lnTo>
                    <a:pt x="3203524" y="14389"/>
                  </a:lnTo>
                  <a:lnTo>
                    <a:pt x="3203613" y="14389"/>
                  </a:lnTo>
                  <a:lnTo>
                    <a:pt x="3203613" y="15037"/>
                  </a:lnTo>
                  <a:lnTo>
                    <a:pt x="3204019" y="15037"/>
                  </a:lnTo>
                  <a:lnTo>
                    <a:pt x="3204070" y="14389"/>
                  </a:lnTo>
                  <a:lnTo>
                    <a:pt x="3204159" y="14389"/>
                  </a:lnTo>
                  <a:lnTo>
                    <a:pt x="3204210" y="15037"/>
                  </a:lnTo>
                  <a:lnTo>
                    <a:pt x="3204654" y="15037"/>
                  </a:lnTo>
                  <a:lnTo>
                    <a:pt x="3204705" y="14389"/>
                  </a:lnTo>
                  <a:lnTo>
                    <a:pt x="3204756" y="15037"/>
                  </a:lnTo>
                  <a:lnTo>
                    <a:pt x="3204857" y="15037"/>
                  </a:lnTo>
                  <a:lnTo>
                    <a:pt x="3204908" y="14389"/>
                  </a:lnTo>
                  <a:lnTo>
                    <a:pt x="3204959" y="14389"/>
                  </a:lnTo>
                  <a:lnTo>
                    <a:pt x="3204959" y="15037"/>
                  </a:lnTo>
                  <a:lnTo>
                    <a:pt x="3205111" y="15037"/>
                  </a:lnTo>
                  <a:lnTo>
                    <a:pt x="3205162" y="14389"/>
                  </a:lnTo>
                  <a:lnTo>
                    <a:pt x="3205302" y="14389"/>
                  </a:lnTo>
                  <a:lnTo>
                    <a:pt x="3205302" y="15037"/>
                  </a:lnTo>
                  <a:lnTo>
                    <a:pt x="3205353" y="15037"/>
                  </a:lnTo>
                  <a:lnTo>
                    <a:pt x="3205403" y="14389"/>
                  </a:lnTo>
                  <a:lnTo>
                    <a:pt x="3205505" y="15037"/>
                  </a:lnTo>
                  <a:lnTo>
                    <a:pt x="3205606" y="15037"/>
                  </a:lnTo>
                  <a:lnTo>
                    <a:pt x="3205606" y="14389"/>
                  </a:lnTo>
                  <a:lnTo>
                    <a:pt x="3205657" y="14389"/>
                  </a:lnTo>
                  <a:lnTo>
                    <a:pt x="3205746" y="15037"/>
                  </a:lnTo>
                  <a:lnTo>
                    <a:pt x="3205797" y="14389"/>
                  </a:lnTo>
                  <a:lnTo>
                    <a:pt x="3205797" y="15037"/>
                  </a:lnTo>
                  <a:lnTo>
                    <a:pt x="3205848" y="15037"/>
                  </a:lnTo>
                  <a:lnTo>
                    <a:pt x="3205848" y="14389"/>
                  </a:lnTo>
                  <a:lnTo>
                    <a:pt x="3205899" y="15037"/>
                  </a:lnTo>
                  <a:lnTo>
                    <a:pt x="3206242" y="15037"/>
                  </a:lnTo>
                  <a:lnTo>
                    <a:pt x="3206292" y="14389"/>
                  </a:lnTo>
                  <a:lnTo>
                    <a:pt x="3206445" y="14389"/>
                  </a:lnTo>
                  <a:lnTo>
                    <a:pt x="3206496" y="15037"/>
                  </a:lnTo>
                  <a:lnTo>
                    <a:pt x="3206496" y="14389"/>
                  </a:lnTo>
                  <a:lnTo>
                    <a:pt x="3206546" y="14389"/>
                  </a:lnTo>
                  <a:lnTo>
                    <a:pt x="3206546" y="15037"/>
                  </a:lnTo>
                  <a:lnTo>
                    <a:pt x="3206648" y="14389"/>
                  </a:lnTo>
                  <a:lnTo>
                    <a:pt x="3206699" y="15037"/>
                  </a:lnTo>
                  <a:lnTo>
                    <a:pt x="3206889" y="15037"/>
                  </a:lnTo>
                  <a:lnTo>
                    <a:pt x="3206940" y="14389"/>
                  </a:lnTo>
                  <a:lnTo>
                    <a:pt x="3207143" y="14389"/>
                  </a:lnTo>
                  <a:lnTo>
                    <a:pt x="3207143" y="15037"/>
                  </a:lnTo>
                  <a:lnTo>
                    <a:pt x="3207791" y="15037"/>
                  </a:lnTo>
                  <a:lnTo>
                    <a:pt x="3207791" y="15634"/>
                  </a:lnTo>
                  <a:lnTo>
                    <a:pt x="3207829" y="15037"/>
                  </a:lnTo>
                  <a:lnTo>
                    <a:pt x="3207880" y="15037"/>
                  </a:lnTo>
                  <a:lnTo>
                    <a:pt x="3207931" y="14389"/>
                  </a:lnTo>
                  <a:lnTo>
                    <a:pt x="3207931" y="15037"/>
                  </a:lnTo>
                  <a:lnTo>
                    <a:pt x="3208083" y="15037"/>
                  </a:lnTo>
                  <a:lnTo>
                    <a:pt x="3208083" y="15634"/>
                  </a:lnTo>
                  <a:lnTo>
                    <a:pt x="3208235" y="15634"/>
                  </a:lnTo>
                  <a:lnTo>
                    <a:pt x="3208286" y="15037"/>
                  </a:lnTo>
                  <a:lnTo>
                    <a:pt x="3208337" y="15634"/>
                  </a:lnTo>
                  <a:lnTo>
                    <a:pt x="3208375" y="15634"/>
                  </a:lnTo>
                  <a:lnTo>
                    <a:pt x="3208477" y="15037"/>
                  </a:lnTo>
                  <a:lnTo>
                    <a:pt x="3208832" y="15037"/>
                  </a:lnTo>
                  <a:lnTo>
                    <a:pt x="3208832" y="15634"/>
                  </a:lnTo>
                  <a:lnTo>
                    <a:pt x="3208921" y="15634"/>
                  </a:lnTo>
                  <a:lnTo>
                    <a:pt x="3208921" y="15037"/>
                  </a:lnTo>
                  <a:lnTo>
                    <a:pt x="3209023" y="15037"/>
                  </a:lnTo>
                  <a:lnTo>
                    <a:pt x="3209074" y="15634"/>
                  </a:lnTo>
                  <a:lnTo>
                    <a:pt x="3209074" y="15037"/>
                  </a:lnTo>
                  <a:lnTo>
                    <a:pt x="3209226" y="15037"/>
                  </a:lnTo>
                  <a:lnTo>
                    <a:pt x="3209226" y="14389"/>
                  </a:lnTo>
                  <a:lnTo>
                    <a:pt x="3209277" y="14389"/>
                  </a:lnTo>
                  <a:lnTo>
                    <a:pt x="3209277" y="15037"/>
                  </a:lnTo>
                  <a:lnTo>
                    <a:pt x="3209518" y="15037"/>
                  </a:lnTo>
                  <a:lnTo>
                    <a:pt x="3209518" y="14389"/>
                  </a:lnTo>
                  <a:lnTo>
                    <a:pt x="3209620" y="14389"/>
                  </a:lnTo>
                  <a:lnTo>
                    <a:pt x="3209671" y="15037"/>
                  </a:lnTo>
                  <a:lnTo>
                    <a:pt x="3209721" y="15037"/>
                  </a:lnTo>
                  <a:lnTo>
                    <a:pt x="3209721" y="14389"/>
                  </a:lnTo>
                  <a:lnTo>
                    <a:pt x="3209963" y="14389"/>
                  </a:lnTo>
                  <a:lnTo>
                    <a:pt x="3209963" y="15037"/>
                  </a:lnTo>
                  <a:lnTo>
                    <a:pt x="3210064" y="15037"/>
                  </a:lnTo>
                  <a:lnTo>
                    <a:pt x="3210064" y="15634"/>
                  </a:lnTo>
                  <a:lnTo>
                    <a:pt x="3210115" y="15037"/>
                  </a:lnTo>
                  <a:lnTo>
                    <a:pt x="3210115" y="15634"/>
                  </a:lnTo>
                  <a:lnTo>
                    <a:pt x="3210166" y="15037"/>
                  </a:lnTo>
                  <a:lnTo>
                    <a:pt x="3210267" y="14389"/>
                  </a:lnTo>
                  <a:lnTo>
                    <a:pt x="3210369" y="14389"/>
                  </a:lnTo>
                  <a:lnTo>
                    <a:pt x="3210420" y="15037"/>
                  </a:lnTo>
                  <a:lnTo>
                    <a:pt x="3211004" y="15037"/>
                  </a:lnTo>
                  <a:lnTo>
                    <a:pt x="3211055" y="15634"/>
                  </a:lnTo>
                  <a:lnTo>
                    <a:pt x="3211055" y="15037"/>
                  </a:lnTo>
                  <a:lnTo>
                    <a:pt x="3211106" y="15037"/>
                  </a:lnTo>
                  <a:lnTo>
                    <a:pt x="3211207" y="14389"/>
                  </a:lnTo>
                  <a:lnTo>
                    <a:pt x="3211309" y="14389"/>
                  </a:lnTo>
                  <a:lnTo>
                    <a:pt x="3211410" y="15037"/>
                  </a:lnTo>
                  <a:lnTo>
                    <a:pt x="3211652" y="15037"/>
                  </a:lnTo>
                  <a:lnTo>
                    <a:pt x="3211652" y="14389"/>
                  </a:lnTo>
                  <a:lnTo>
                    <a:pt x="3211703" y="15037"/>
                  </a:lnTo>
                  <a:lnTo>
                    <a:pt x="3211855" y="15037"/>
                  </a:lnTo>
                  <a:lnTo>
                    <a:pt x="3211855" y="14389"/>
                  </a:lnTo>
                  <a:lnTo>
                    <a:pt x="3211906" y="14389"/>
                  </a:lnTo>
                  <a:lnTo>
                    <a:pt x="3211906" y="15037"/>
                  </a:lnTo>
                  <a:lnTo>
                    <a:pt x="3212249" y="15037"/>
                  </a:lnTo>
                  <a:lnTo>
                    <a:pt x="3212350" y="15634"/>
                  </a:lnTo>
                  <a:lnTo>
                    <a:pt x="3212401" y="15037"/>
                  </a:lnTo>
                  <a:lnTo>
                    <a:pt x="3212592" y="15037"/>
                  </a:lnTo>
                  <a:lnTo>
                    <a:pt x="3212642" y="14389"/>
                  </a:lnTo>
                  <a:lnTo>
                    <a:pt x="3212693" y="15037"/>
                  </a:lnTo>
                  <a:lnTo>
                    <a:pt x="3213442" y="15037"/>
                  </a:lnTo>
                  <a:lnTo>
                    <a:pt x="3213442" y="15634"/>
                  </a:lnTo>
                  <a:lnTo>
                    <a:pt x="3213493" y="15634"/>
                  </a:lnTo>
                  <a:lnTo>
                    <a:pt x="3213493" y="15037"/>
                  </a:lnTo>
                  <a:lnTo>
                    <a:pt x="3213544" y="15634"/>
                  </a:lnTo>
                  <a:lnTo>
                    <a:pt x="3213544" y="15037"/>
                  </a:lnTo>
                  <a:lnTo>
                    <a:pt x="3213684" y="15037"/>
                  </a:lnTo>
                  <a:lnTo>
                    <a:pt x="3213735" y="14389"/>
                  </a:lnTo>
                  <a:lnTo>
                    <a:pt x="3213785" y="14389"/>
                  </a:lnTo>
                  <a:lnTo>
                    <a:pt x="3213785" y="15037"/>
                  </a:lnTo>
                  <a:lnTo>
                    <a:pt x="3213938" y="15037"/>
                  </a:lnTo>
                  <a:lnTo>
                    <a:pt x="3213988" y="15634"/>
                  </a:lnTo>
                  <a:lnTo>
                    <a:pt x="3214039" y="15037"/>
                  </a:lnTo>
                  <a:lnTo>
                    <a:pt x="3214039" y="15634"/>
                  </a:lnTo>
                  <a:lnTo>
                    <a:pt x="3214141" y="15037"/>
                  </a:lnTo>
                  <a:lnTo>
                    <a:pt x="3214179" y="15634"/>
                  </a:lnTo>
                  <a:lnTo>
                    <a:pt x="3214230" y="15634"/>
                  </a:lnTo>
                  <a:lnTo>
                    <a:pt x="3214281" y="15037"/>
                  </a:lnTo>
                  <a:lnTo>
                    <a:pt x="3214382" y="15037"/>
                  </a:lnTo>
                  <a:lnTo>
                    <a:pt x="3214433" y="15634"/>
                  </a:lnTo>
                  <a:lnTo>
                    <a:pt x="3214433" y="15037"/>
                  </a:lnTo>
                  <a:lnTo>
                    <a:pt x="3215081" y="15037"/>
                  </a:lnTo>
                  <a:lnTo>
                    <a:pt x="3215081" y="15634"/>
                  </a:lnTo>
                  <a:lnTo>
                    <a:pt x="3215131" y="15634"/>
                  </a:lnTo>
                  <a:lnTo>
                    <a:pt x="3215182" y="15037"/>
                  </a:lnTo>
                  <a:lnTo>
                    <a:pt x="3215817" y="15037"/>
                  </a:lnTo>
                  <a:lnTo>
                    <a:pt x="3215817" y="14389"/>
                  </a:lnTo>
                  <a:lnTo>
                    <a:pt x="3215868" y="14389"/>
                  </a:lnTo>
                  <a:lnTo>
                    <a:pt x="3215868" y="15037"/>
                  </a:lnTo>
                  <a:lnTo>
                    <a:pt x="3216173" y="15037"/>
                  </a:lnTo>
                  <a:lnTo>
                    <a:pt x="3216224" y="14389"/>
                  </a:lnTo>
                  <a:lnTo>
                    <a:pt x="3216224" y="15037"/>
                  </a:lnTo>
                  <a:lnTo>
                    <a:pt x="3216516" y="15037"/>
                  </a:lnTo>
                  <a:lnTo>
                    <a:pt x="3216617" y="15634"/>
                  </a:lnTo>
                  <a:lnTo>
                    <a:pt x="3216617" y="15037"/>
                  </a:lnTo>
                  <a:lnTo>
                    <a:pt x="3216719" y="15037"/>
                  </a:lnTo>
                  <a:lnTo>
                    <a:pt x="3216719" y="15634"/>
                  </a:lnTo>
                  <a:lnTo>
                    <a:pt x="3216770" y="15634"/>
                  </a:lnTo>
                  <a:lnTo>
                    <a:pt x="3216770" y="15037"/>
                  </a:lnTo>
                  <a:lnTo>
                    <a:pt x="3216910" y="15037"/>
                  </a:lnTo>
                  <a:lnTo>
                    <a:pt x="3216960" y="15634"/>
                  </a:lnTo>
                  <a:lnTo>
                    <a:pt x="3217011" y="15037"/>
                  </a:lnTo>
                  <a:lnTo>
                    <a:pt x="3217214" y="15037"/>
                  </a:lnTo>
                  <a:lnTo>
                    <a:pt x="3217316" y="14389"/>
                  </a:lnTo>
                  <a:lnTo>
                    <a:pt x="3217316" y="15037"/>
                  </a:lnTo>
                  <a:lnTo>
                    <a:pt x="3217608" y="15037"/>
                  </a:lnTo>
                  <a:lnTo>
                    <a:pt x="3217659" y="14389"/>
                  </a:lnTo>
                  <a:lnTo>
                    <a:pt x="3217760" y="14389"/>
                  </a:lnTo>
                  <a:lnTo>
                    <a:pt x="3217760" y="15037"/>
                  </a:lnTo>
                  <a:lnTo>
                    <a:pt x="3217811" y="15037"/>
                  </a:lnTo>
                  <a:lnTo>
                    <a:pt x="3217811" y="14389"/>
                  </a:lnTo>
                  <a:lnTo>
                    <a:pt x="3217862" y="15037"/>
                  </a:lnTo>
                  <a:lnTo>
                    <a:pt x="3218053" y="15037"/>
                  </a:lnTo>
                  <a:lnTo>
                    <a:pt x="3218103" y="15634"/>
                  </a:lnTo>
                  <a:lnTo>
                    <a:pt x="3218205" y="15037"/>
                  </a:lnTo>
                  <a:lnTo>
                    <a:pt x="3218256" y="15037"/>
                  </a:lnTo>
                  <a:lnTo>
                    <a:pt x="3218256" y="14389"/>
                  </a:lnTo>
                  <a:lnTo>
                    <a:pt x="3218306" y="15037"/>
                  </a:lnTo>
                  <a:lnTo>
                    <a:pt x="3218497" y="15037"/>
                  </a:lnTo>
                  <a:lnTo>
                    <a:pt x="3218497" y="15634"/>
                  </a:lnTo>
                  <a:lnTo>
                    <a:pt x="3218599" y="15634"/>
                  </a:lnTo>
                  <a:lnTo>
                    <a:pt x="3218599" y="15037"/>
                  </a:lnTo>
                  <a:lnTo>
                    <a:pt x="3219246" y="15037"/>
                  </a:lnTo>
                  <a:lnTo>
                    <a:pt x="3219246" y="14389"/>
                  </a:lnTo>
                  <a:lnTo>
                    <a:pt x="3219399" y="14389"/>
                  </a:lnTo>
                  <a:lnTo>
                    <a:pt x="3219449" y="15037"/>
                  </a:lnTo>
                  <a:lnTo>
                    <a:pt x="3219488" y="15037"/>
                  </a:lnTo>
                  <a:lnTo>
                    <a:pt x="3219488" y="14389"/>
                  </a:lnTo>
                  <a:lnTo>
                    <a:pt x="3219589" y="14389"/>
                  </a:lnTo>
                  <a:lnTo>
                    <a:pt x="3219589" y="15037"/>
                  </a:lnTo>
                  <a:lnTo>
                    <a:pt x="3219691" y="15037"/>
                  </a:lnTo>
                  <a:lnTo>
                    <a:pt x="3219691" y="14389"/>
                  </a:lnTo>
                  <a:lnTo>
                    <a:pt x="3219792" y="14389"/>
                  </a:lnTo>
                  <a:lnTo>
                    <a:pt x="3219792" y="15037"/>
                  </a:lnTo>
                  <a:lnTo>
                    <a:pt x="3220186" y="15037"/>
                  </a:lnTo>
                  <a:lnTo>
                    <a:pt x="3220288" y="14389"/>
                  </a:lnTo>
                  <a:lnTo>
                    <a:pt x="3220338" y="15037"/>
                  </a:lnTo>
                  <a:lnTo>
                    <a:pt x="3221875" y="15037"/>
                  </a:lnTo>
                  <a:lnTo>
                    <a:pt x="3221875" y="15634"/>
                  </a:lnTo>
                  <a:lnTo>
                    <a:pt x="3221926" y="15037"/>
                  </a:lnTo>
                  <a:lnTo>
                    <a:pt x="3221977" y="15037"/>
                  </a:lnTo>
                  <a:lnTo>
                    <a:pt x="3222078" y="15634"/>
                  </a:lnTo>
                  <a:lnTo>
                    <a:pt x="3222117" y="15634"/>
                  </a:lnTo>
                  <a:lnTo>
                    <a:pt x="3222167" y="15037"/>
                  </a:lnTo>
                  <a:lnTo>
                    <a:pt x="3222523" y="15037"/>
                  </a:lnTo>
                  <a:lnTo>
                    <a:pt x="3222574" y="15634"/>
                  </a:lnTo>
                  <a:lnTo>
                    <a:pt x="3222574" y="15037"/>
                  </a:lnTo>
                  <a:lnTo>
                    <a:pt x="3222866" y="15037"/>
                  </a:lnTo>
                  <a:lnTo>
                    <a:pt x="3222967" y="14389"/>
                  </a:lnTo>
                  <a:lnTo>
                    <a:pt x="3222967" y="15037"/>
                  </a:lnTo>
                  <a:lnTo>
                    <a:pt x="3223209" y="15037"/>
                  </a:lnTo>
                  <a:lnTo>
                    <a:pt x="3223209" y="15634"/>
                  </a:lnTo>
                  <a:lnTo>
                    <a:pt x="3223310" y="15634"/>
                  </a:lnTo>
                  <a:lnTo>
                    <a:pt x="3223361" y="15037"/>
                  </a:lnTo>
                  <a:lnTo>
                    <a:pt x="3223463" y="15037"/>
                  </a:lnTo>
                  <a:lnTo>
                    <a:pt x="3223463" y="14389"/>
                  </a:lnTo>
                  <a:lnTo>
                    <a:pt x="3223564" y="14389"/>
                  </a:lnTo>
                  <a:lnTo>
                    <a:pt x="3223564" y="15037"/>
                  </a:lnTo>
                  <a:lnTo>
                    <a:pt x="3223666" y="14389"/>
                  </a:lnTo>
                  <a:lnTo>
                    <a:pt x="3223704" y="15037"/>
                  </a:lnTo>
                  <a:lnTo>
                    <a:pt x="3223806" y="15037"/>
                  </a:lnTo>
                  <a:lnTo>
                    <a:pt x="3223806" y="14389"/>
                  </a:lnTo>
                  <a:lnTo>
                    <a:pt x="3223958" y="14389"/>
                  </a:lnTo>
                  <a:lnTo>
                    <a:pt x="3223958" y="15037"/>
                  </a:lnTo>
                  <a:lnTo>
                    <a:pt x="3224110" y="15037"/>
                  </a:lnTo>
                  <a:lnTo>
                    <a:pt x="3224110" y="14389"/>
                  </a:lnTo>
                  <a:lnTo>
                    <a:pt x="3224161" y="15037"/>
                  </a:lnTo>
                  <a:lnTo>
                    <a:pt x="3224352" y="15037"/>
                  </a:lnTo>
                  <a:lnTo>
                    <a:pt x="3224403" y="15634"/>
                  </a:lnTo>
                  <a:lnTo>
                    <a:pt x="3224403" y="15037"/>
                  </a:lnTo>
                  <a:lnTo>
                    <a:pt x="3224656" y="15037"/>
                  </a:lnTo>
                  <a:lnTo>
                    <a:pt x="3224707" y="15634"/>
                  </a:lnTo>
                  <a:lnTo>
                    <a:pt x="3224796" y="15037"/>
                  </a:lnTo>
                  <a:lnTo>
                    <a:pt x="3224949" y="15037"/>
                  </a:lnTo>
                  <a:lnTo>
                    <a:pt x="3225050" y="14389"/>
                  </a:lnTo>
                  <a:lnTo>
                    <a:pt x="3225050" y="15037"/>
                  </a:lnTo>
                  <a:lnTo>
                    <a:pt x="3225101" y="15037"/>
                  </a:lnTo>
                  <a:lnTo>
                    <a:pt x="3225101" y="14389"/>
                  </a:lnTo>
                  <a:lnTo>
                    <a:pt x="3225152" y="15037"/>
                  </a:lnTo>
                  <a:lnTo>
                    <a:pt x="3225546" y="15037"/>
                  </a:lnTo>
                  <a:lnTo>
                    <a:pt x="3225596" y="15634"/>
                  </a:lnTo>
                  <a:lnTo>
                    <a:pt x="3225698" y="15037"/>
                  </a:lnTo>
                  <a:lnTo>
                    <a:pt x="3226142" y="15037"/>
                  </a:lnTo>
                  <a:lnTo>
                    <a:pt x="3226142" y="15634"/>
                  </a:lnTo>
                  <a:lnTo>
                    <a:pt x="3226193" y="15037"/>
                  </a:lnTo>
                  <a:lnTo>
                    <a:pt x="3226384" y="15037"/>
                  </a:lnTo>
                  <a:lnTo>
                    <a:pt x="3226435" y="15634"/>
                  </a:lnTo>
                  <a:lnTo>
                    <a:pt x="3226435" y="15037"/>
                  </a:lnTo>
                  <a:lnTo>
                    <a:pt x="3226536" y="15037"/>
                  </a:lnTo>
                  <a:lnTo>
                    <a:pt x="3226536" y="15634"/>
                  </a:lnTo>
                  <a:lnTo>
                    <a:pt x="3226638" y="15634"/>
                  </a:lnTo>
                  <a:lnTo>
                    <a:pt x="3226688" y="15037"/>
                  </a:lnTo>
                  <a:lnTo>
                    <a:pt x="3227082" y="15037"/>
                  </a:lnTo>
                  <a:lnTo>
                    <a:pt x="3227082" y="15634"/>
                  </a:lnTo>
                  <a:lnTo>
                    <a:pt x="3227133" y="15037"/>
                  </a:lnTo>
                  <a:lnTo>
                    <a:pt x="3227527" y="15037"/>
                  </a:lnTo>
                  <a:lnTo>
                    <a:pt x="3227578" y="14389"/>
                  </a:lnTo>
                  <a:lnTo>
                    <a:pt x="3227628" y="14389"/>
                  </a:lnTo>
                  <a:lnTo>
                    <a:pt x="3227628" y="15037"/>
                  </a:lnTo>
                  <a:lnTo>
                    <a:pt x="3227831" y="15037"/>
                  </a:lnTo>
                  <a:lnTo>
                    <a:pt x="3227831" y="15634"/>
                  </a:lnTo>
                  <a:lnTo>
                    <a:pt x="3227882" y="15634"/>
                  </a:lnTo>
                  <a:lnTo>
                    <a:pt x="3227971" y="15037"/>
                  </a:lnTo>
                  <a:lnTo>
                    <a:pt x="3228225" y="15037"/>
                  </a:lnTo>
                  <a:lnTo>
                    <a:pt x="3228276" y="15634"/>
                  </a:lnTo>
                  <a:lnTo>
                    <a:pt x="3228276" y="15037"/>
                  </a:lnTo>
                  <a:lnTo>
                    <a:pt x="3228327" y="15037"/>
                  </a:lnTo>
                  <a:lnTo>
                    <a:pt x="3228327" y="15634"/>
                  </a:lnTo>
                  <a:lnTo>
                    <a:pt x="3228428" y="15037"/>
                  </a:lnTo>
                  <a:lnTo>
                    <a:pt x="3228467" y="15037"/>
                  </a:lnTo>
                  <a:lnTo>
                    <a:pt x="3228517" y="14389"/>
                  </a:lnTo>
                  <a:lnTo>
                    <a:pt x="3228568" y="15037"/>
                  </a:lnTo>
                  <a:lnTo>
                    <a:pt x="3229317" y="15037"/>
                  </a:lnTo>
                  <a:lnTo>
                    <a:pt x="3229368" y="14389"/>
                  </a:lnTo>
                  <a:lnTo>
                    <a:pt x="3229368" y="15037"/>
                  </a:lnTo>
                  <a:lnTo>
                    <a:pt x="3229419" y="14389"/>
                  </a:lnTo>
                  <a:lnTo>
                    <a:pt x="3229470" y="14389"/>
                  </a:lnTo>
                  <a:lnTo>
                    <a:pt x="3229470" y="15037"/>
                  </a:lnTo>
                  <a:lnTo>
                    <a:pt x="3229610" y="15037"/>
                  </a:lnTo>
                  <a:lnTo>
                    <a:pt x="3229610" y="14389"/>
                  </a:lnTo>
                  <a:lnTo>
                    <a:pt x="3229660" y="15037"/>
                  </a:lnTo>
                  <a:lnTo>
                    <a:pt x="3229914" y="15037"/>
                  </a:lnTo>
                  <a:lnTo>
                    <a:pt x="3229914" y="15634"/>
                  </a:lnTo>
                  <a:lnTo>
                    <a:pt x="3230016" y="15634"/>
                  </a:lnTo>
                  <a:lnTo>
                    <a:pt x="3230054" y="15037"/>
                  </a:lnTo>
                  <a:lnTo>
                    <a:pt x="3230460" y="15037"/>
                  </a:lnTo>
                  <a:lnTo>
                    <a:pt x="3230511" y="15634"/>
                  </a:lnTo>
                  <a:lnTo>
                    <a:pt x="3230562" y="15634"/>
                  </a:lnTo>
                  <a:lnTo>
                    <a:pt x="3230600" y="15037"/>
                  </a:lnTo>
                  <a:lnTo>
                    <a:pt x="3231502" y="15037"/>
                  </a:lnTo>
                  <a:lnTo>
                    <a:pt x="3231603" y="14389"/>
                  </a:lnTo>
                  <a:lnTo>
                    <a:pt x="3231603" y="15037"/>
                  </a:lnTo>
                  <a:lnTo>
                    <a:pt x="3233280" y="15037"/>
                  </a:lnTo>
                  <a:lnTo>
                    <a:pt x="3233280" y="15634"/>
                  </a:lnTo>
                  <a:lnTo>
                    <a:pt x="3233331" y="15037"/>
                  </a:lnTo>
                  <a:lnTo>
                    <a:pt x="3233432" y="15037"/>
                  </a:lnTo>
                  <a:lnTo>
                    <a:pt x="3233483" y="15634"/>
                  </a:lnTo>
                  <a:lnTo>
                    <a:pt x="3233534" y="15634"/>
                  </a:lnTo>
                  <a:lnTo>
                    <a:pt x="3233534" y="15037"/>
                  </a:lnTo>
                  <a:lnTo>
                    <a:pt x="3233978" y="15037"/>
                  </a:lnTo>
                  <a:lnTo>
                    <a:pt x="3234080" y="15634"/>
                  </a:lnTo>
                  <a:lnTo>
                    <a:pt x="3234181" y="15634"/>
                  </a:lnTo>
                  <a:lnTo>
                    <a:pt x="3234232" y="15037"/>
                  </a:lnTo>
                  <a:lnTo>
                    <a:pt x="3234817" y="15037"/>
                  </a:lnTo>
                  <a:lnTo>
                    <a:pt x="3234817" y="15634"/>
                  </a:lnTo>
                  <a:lnTo>
                    <a:pt x="3234867" y="15037"/>
                  </a:lnTo>
                  <a:lnTo>
                    <a:pt x="3235121" y="15037"/>
                  </a:lnTo>
                  <a:lnTo>
                    <a:pt x="3235223" y="15634"/>
                  </a:lnTo>
                  <a:lnTo>
                    <a:pt x="3235274" y="15037"/>
                  </a:lnTo>
                  <a:lnTo>
                    <a:pt x="3235667" y="15037"/>
                  </a:lnTo>
                  <a:lnTo>
                    <a:pt x="3235718" y="15634"/>
                  </a:lnTo>
                  <a:lnTo>
                    <a:pt x="3235820" y="15634"/>
                  </a:lnTo>
                  <a:lnTo>
                    <a:pt x="3235820" y="15037"/>
                  </a:lnTo>
                  <a:lnTo>
                    <a:pt x="3236163" y="15037"/>
                  </a:lnTo>
                  <a:lnTo>
                    <a:pt x="3236213" y="14389"/>
                  </a:lnTo>
                  <a:lnTo>
                    <a:pt x="3236213" y="15037"/>
                  </a:lnTo>
                  <a:lnTo>
                    <a:pt x="3236366" y="15037"/>
                  </a:lnTo>
                  <a:lnTo>
                    <a:pt x="3236404" y="15634"/>
                  </a:lnTo>
                  <a:lnTo>
                    <a:pt x="3236404" y="15037"/>
                  </a:lnTo>
                  <a:lnTo>
                    <a:pt x="3236506" y="15037"/>
                  </a:lnTo>
                  <a:lnTo>
                    <a:pt x="3236607" y="15634"/>
                  </a:lnTo>
                  <a:lnTo>
                    <a:pt x="3236658" y="15037"/>
                  </a:lnTo>
                  <a:lnTo>
                    <a:pt x="3236709" y="15634"/>
                  </a:lnTo>
                  <a:lnTo>
                    <a:pt x="3236709" y="15037"/>
                  </a:lnTo>
                  <a:lnTo>
                    <a:pt x="3236861" y="15037"/>
                  </a:lnTo>
                  <a:lnTo>
                    <a:pt x="3236912" y="15634"/>
                  </a:lnTo>
                  <a:lnTo>
                    <a:pt x="3237052" y="15634"/>
                  </a:lnTo>
                  <a:lnTo>
                    <a:pt x="3237103" y="15037"/>
                  </a:lnTo>
                  <a:lnTo>
                    <a:pt x="3237255" y="15037"/>
                  </a:lnTo>
                  <a:lnTo>
                    <a:pt x="3237306" y="15634"/>
                  </a:lnTo>
                  <a:lnTo>
                    <a:pt x="3237649" y="15634"/>
                  </a:lnTo>
                  <a:lnTo>
                    <a:pt x="3237750" y="15037"/>
                  </a:lnTo>
                  <a:lnTo>
                    <a:pt x="3237852" y="15037"/>
                  </a:lnTo>
                  <a:lnTo>
                    <a:pt x="3237953" y="15634"/>
                  </a:lnTo>
                  <a:lnTo>
                    <a:pt x="3238042" y="15634"/>
                  </a:lnTo>
                  <a:lnTo>
                    <a:pt x="3238042" y="15037"/>
                  </a:lnTo>
                  <a:lnTo>
                    <a:pt x="3238499" y="15037"/>
                  </a:lnTo>
                  <a:lnTo>
                    <a:pt x="3238538" y="15634"/>
                  </a:lnTo>
                  <a:lnTo>
                    <a:pt x="3238538" y="15037"/>
                  </a:lnTo>
                  <a:lnTo>
                    <a:pt x="3238639" y="15037"/>
                  </a:lnTo>
                  <a:lnTo>
                    <a:pt x="3238690" y="15634"/>
                  </a:lnTo>
                  <a:lnTo>
                    <a:pt x="3238741" y="15037"/>
                  </a:lnTo>
                  <a:lnTo>
                    <a:pt x="3238995" y="15037"/>
                  </a:lnTo>
                  <a:lnTo>
                    <a:pt x="3239084" y="15634"/>
                  </a:lnTo>
                  <a:lnTo>
                    <a:pt x="3239388" y="15634"/>
                  </a:lnTo>
                  <a:lnTo>
                    <a:pt x="3239439" y="15037"/>
                  </a:lnTo>
                  <a:lnTo>
                    <a:pt x="3239541" y="15634"/>
                  </a:lnTo>
                  <a:lnTo>
                    <a:pt x="3239579" y="15634"/>
                  </a:lnTo>
                  <a:lnTo>
                    <a:pt x="3239630" y="15037"/>
                  </a:lnTo>
                  <a:lnTo>
                    <a:pt x="3239681" y="15634"/>
                  </a:lnTo>
                  <a:lnTo>
                    <a:pt x="3239833" y="15634"/>
                  </a:lnTo>
                  <a:lnTo>
                    <a:pt x="3239884" y="15037"/>
                  </a:lnTo>
                  <a:lnTo>
                    <a:pt x="3240125" y="15037"/>
                  </a:lnTo>
                  <a:lnTo>
                    <a:pt x="3240227" y="15634"/>
                  </a:lnTo>
                  <a:lnTo>
                    <a:pt x="3240278" y="15037"/>
                  </a:lnTo>
                  <a:lnTo>
                    <a:pt x="3240278" y="15634"/>
                  </a:lnTo>
                  <a:lnTo>
                    <a:pt x="3240328" y="15037"/>
                  </a:lnTo>
                  <a:lnTo>
                    <a:pt x="3240582" y="15037"/>
                  </a:lnTo>
                  <a:lnTo>
                    <a:pt x="3240582" y="14389"/>
                  </a:lnTo>
                  <a:lnTo>
                    <a:pt x="3240671" y="14389"/>
                  </a:lnTo>
                  <a:lnTo>
                    <a:pt x="3240722" y="15037"/>
                  </a:lnTo>
                  <a:lnTo>
                    <a:pt x="3240824" y="15037"/>
                  </a:lnTo>
                  <a:lnTo>
                    <a:pt x="3240824" y="15634"/>
                  </a:lnTo>
                  <a:lnTo>
                    <a:pt x="3240925" y="15037"/>
                  </a:lnTo>
                  <a:lnTo>
                    <a:pt x="3241421" y="15037"/>
                  </a:lnTo>
                  <a:lnTo>
                    <a:pt x="3241421" y="14389"/>
                  </a:lnTo>
                  <a:lnTo>
                    <a:pt x="3241471" y="15037"/>
                  </a:lnTo>
                  <a:lnTo>
                    <a:pt x="3242068" y="15037"/>
                  </a:lnTo>
                  <a:lnTo>
                    <a:pt x="3242068" y="15634"/>
                  </a:lnTo>
                  <a:lnTo>
                    <a:pt x="3242170" y="15634"/>
                  </a:lnTo>
                  <a:lnTo>
                    <a:pt x="3242259" y="15037"/>
                  </a:lnTo>
                  <a:lnTo>
                    <a:pt x="3242805" y="15037"/>
                  </a:lnTo>
                  <a:lnTo>
                    <a:pt x="3242805" y="15634"/>
                  </a:lnTo>
                  <a:lnTo>
                    <a:pt x="3242957" y="15634"/>
                  </a:lnTo>
                  <a:lnTo>
                    <a:pt x="3242957" y="15037"/>
                  </a:lnTo>
                  <a:lnTo>
                    <a:pt x="3243008" y="15037"/>
                  </a:lnTo>
                  <a:lnTo>
                    <a:pt x="3243059" y="15634"/>
                  </a:lnTo>
                  <a:lnTo>
                    <a:pt x="3243211" y="15634"/>
                  </a:lnTo>
                  <a:lnTo>
                    <a:pt x="3243262" y="15037"/>
                  </a:lnTo>
                  <a:lnTo>
                    <a:pt x="3243453" y="15037"/>
                  </a:lnTo>
                  <a:lnTo>
                    <a:pt x="3243453" y="15634"/>
                  </a:lnTo>
                  <a:lnTo>
                    <a:pt x="3243503" y="15037"/>
                  </a:lnTo>
                  <a:lnTo>
                    <a:pt x="3243605" y="15037"/>
                  </a:lnTo>
                  <a:lnTo>
                    <a:pt x="3243605" y="15634"/>
                  </a:lnTo>
                  <a:lnTo>
                    <a:pt x="3243706" y="15634"/>
                  </a:lnTo>
                  <a:lnTo>
                    <a:pt x="3243757" y="15037"/>
                  </a:lnTo>
                  <a:lnTo>
                    <a:pt x="3244100" y="15037"/>
                  </a:lnTo>
                  <a:lnTo>
                    <a:pt x="3244151" y="15634"/>
                  </a:lnTo>
                  <a:lnTo>
                    <a:pt x="3244202" y="15634"/>
                  </a:lnTo>
                  <a:lnTo>
                    <a:pt x="3244303" y="15037"/>
                  </a:lnTo>
                  <a:lnTo>
                    <a:pt x="3244342" y="15634"/>
                  </a:lnTo>
                  <a:lnTo>
                    <a:pt x="3244443" y="15634"/>
                  </a:lnTo>
                  <a:lnTo>
                    <a:pt x="3244545" y="15037"/>
                  </a:lnTo>
                  <a:lnTo>
                    <a:pt x="3244646" y="15037"/>
                  </a:lnTo>
                  <a:lnTo>
                    <a:pt x="3244748" y="15634"/>
                  </a:lnTo>
                  <a:lnTo>
                    <a:pt x="3244799" y="15634"/>
                  </a:lnTo>
                  <a:lnTo>
                    <a:pt x="3244799" y="15037"/>
                  </a:lnTo>
                  <a:lnTo>
                    <a:pt x="3244888" y="15037"/>
                  </a:lnTo>
                  <a:lnTo>
                    <a:pt x="3244888" y="15634"/>
                  </a:lnTo>
                  <a:lnTo>
                    <a:pt x="3245040" y="15634"/>
                  </a:lnTo>
                  <a:lnTo>
                    <a:pt x="3245040" y="15037"/>
                  </a:lnTo>
                  <a:lnTo>
                    <a:pt x="3245688" y="15037"/>
                  </a:lnTo>
                  <a:lnTo>
                    <a:pt x="3245738" y="14389"/>
                  </a:lnTo>
                  <a:lnTo>
                    <a:pt x="3245738" y="15037"/>
                  </a:lnTo>
                  <a:lnTo>
                    <a:pt x="3245929" y="15037"/>
                  </a:lnTo>
                  <a:lnTo>
                    <a:pt x="3245980" y="15634"/>
                  </a:lnTo>
                  <a:lnTo>
                    <a:pt x="3246335" y="15634"/>
                  </a:lnTo>
                  <a:lnTo>
                    <a:pt x="3246386" y="15037"/>
                  </a:lnTo>
                  <a:lnTo>
                    <a:pt x="3246437" y="15037"/>
                  </a:lnTo>
                  <a:lnTo>
                    <a:pt x="3246437" y="15634"/>
                  </a:lnTo>
                  <a:lnTo>
                    <a:pt x="3246475" y="15634"/>
                  </a:lnTo>
                  <a:lnTo>
                    <a:pt x="3246577" y="15037"/>
                  </a:lnTo>
                  <a:lnTo>
                    <a:pt x="3246577" y="15634"/>
                  </a:lnTo>
                  <a:lnTo>
                    <a:pt x="3246628" y="15634"/>
                  </a:lnTo>
                  <a:lnTo>
                    <a:pt x="3246628" y="15037"/>
                  </a:lnTo>
                  <a:lnTo>
                    <a:pt x="3246780" y="15037"/>
                  </a:lnTo>
                  <a:lnTo>
                    <a:pt x="3246831" y="15634"/>
                  </a:lnTo>
                  <a:lnTo>
                    <a:pt x="3246881" y="15037"/>
                  </a:lnTo>
                  <a:lnTo>
                    <a:pt x="3246932" y="15037"/>
                  </a:lnTo>
                  <a:lnTo>
                    <a:pt x="3247021" y="15634"/>
                  </a:lnTo>
                  <a:lnTo>
                    <a:pt x="3247072" y="15634"/>
                  </a:lnTo>
                  <a:lnTo>
                    <a:pt x="3247072" y="15037"/>
                  </a:lnTo>
                  <a:lnTo>
                    <a:pt x="3247720" y="15037"/>
                  </a:lnTo>
                  <a:lnTo>
                    <a:pt x="3247720" y="15634"/>
                  </a:lnTo>
                  <a:lnTo>
                    <a:pt x="3247821" y="15634"/>
                  </a:lnTo>
                  <a:lnTo>
                    <a:pt x="3247923" y="15037"/>
                  </a:lnTo>
                  <a:lnTo>
                    <a:pt x="3248660" y="15037"/>
                  </a:lnTo>
                  <a:lnTo>
                    <a:pt x="3248710" y="15634"/>
                  </a:lnTo>
                  <a:lnTo>
                    <a:pt x="3248761" y="15037"/>
                  </a:lnTo>
                  <a:lnTo>
                    <a:pt x="3248761" y="15634"/>
                  </a:lnTo>
                  <a:lnTo>
                    <a:pt x="3248913" y="15634"/>
                  </a:lnTo>
                  <a:lnTo>
                    <a:pt x="3248964" y="15037"/>
                  </a:lnTo>
                  <a:lnTo>
                    <a:pt x="3249206" y="15037"/>
                  </a:lnTo>
                  <a:lnTo>
                    <a:pt x="3249307" y="15634"/>
                  </a:lnTo>
                  <a:lnTo>
                    <a:pt x="3249307" y="15037"/>
                  </a:lnTo>
                  <a:lnTo>
                    <a:pt x="3249358" y="15634"/>
                  </a:lnTo>
                  <a:lnTo>
                    <a:pt x="3249510" y="15634"/>
                  </a:lnTo>
                  <a:lnTo>
                    <a:pt x="3249561" y="15037"/>
                  </a:lnTo>
                  <a:lnTo>
                    <a:pt x="3250450" y="15037"/>
                  </a:lnTo>
                  <a:lnTo>
                    <a:pt x="3250450" y="14389"/>
                  </a:lnTo>
                  <a:lnTo>
                    <a:pt x="3250501" y="15037"/>
                  </a:lnTo>
                  <a:lnTo>
                    <a:pt x="3250501" y="14389"/>
                  </a:lnTo>
                  <a:lnTo>
                    <a:pt x="3250552" y="15037"/>
                  </a:lnTo>
                  <a:lnTo>
                    <a:pt x="3250996" y="15037"/>
                  </a:lnTo>
                  <a:lnTo>
                    <a:pt x="3250996" y="15634"/>
                  </a:lnTo>
                  <a:lnTo>
                    <a:pt x="3251098" y="15037"/>
                  </a:lnTo>
                  <a:lnTo>
                    <a:pt x="3251199" y="15037"/>
                  </a:lnTo>
                  <a:lnTo>
                    <a:pt x="3251199" y="15634"/>
                  </a:lnTo>
                  <a:lnTo>
                    <a:pt x="3251238" y="15037"/>
                  </a:lnTo>
                  <a:lnTo>
                    <a:pt x="3251441" y="15037"/>
                  </a:lnTo>
                  <a:lnTo>
                    <a:pt x="3251542" y="15634"/>
                  </a:lnTo>
                  <a:lnTo>
                    <a:pt x="3251542" y="15037"/>
                  </a:lnTo>
                  <a:lnTo>
                    <a:pt x="3251593" y="15634"/>
                  </a:lnTo>
                  <a:lnTo>
                    <a:pt x="3251644" y="15037"/>
                  </a:lnTo>
                  <a:lnTo>
                    <a:pt x="3251695" y="15634"/>
                  </a:lnTo>
                  <a:lnTo>
                    <a:pt x="3251695" y="15037"/>
                  </a:lnTo>
                  <a:lnTo>
                    <a:pt x="3252533" y="15037"/>
                  </a:lnTo>
                  <a:lnTo>
                    <a:pt x="3252584" y="15634"/>
                  </a:lnTo>
                  <a:lnTo>
                    <a:pt x="3252685" y="15037"/>
                  </a:lnTo>
                  <a:lnTo>
                    <a:pt x="3252825" y="15037"/>
                  </a:lnTo>
                  <a:lnTo>
                    <a:pt x="3252825" y="15634"/>
                  </a:lnTo>
                  <a:lnTo>
                    <a:pt x="3252978" y="15634"/>
                  </a:lnTo>
                  <a:lnTo>
                    <a:pt x="3252978" y="15037"/>
                  </a:lnTo>
                  <a:lnTo>
                    <a:pt x="3253867" y="15037"/>
                  </a:lnTo>
                  <a:lnTo>
                    <a:pt x="3253917" y="15634"/>
                  </a:lnTo>
                  <a:lnTo>
                    <a:pt x="3254070" y="15634"/>
                  </a:lnTo>
                  <a:lnTo>
                    <a:pt x="3254070" y="15037"/>
                  </a:lnTo>
                  <a:lnTo>
                    <a:pt x="3254171" y="15037"/>
                  </a:lnTo>
                  <a:lnTo>
                    <a:pt x="3254273" y="15634"/>
                  </a:lnTo>
                  <a:lnTo>
                    <a:pt x="3254374" y="15634"/>
                  </a:lnTo>
                  <a:lnTo>
                    <a:pt x="3254374" y="15037"/>
                  </a:lnTo>
                  <a:lnTo>
                    <a:pt x="3254514" y="15037"/>
                  </a:lnTo>
                  <a:lnTo>
                    <a:pt x="3254565" y="15634"/>
                  </a:lnTo>
                  <a:lnTo>
                    <a:pt x="3254616" y="15037"/>
                  </a:lnTo>
                  <a:lnTo>
                    <a:pt x="3254768" y="15037"/>
                  </a:lnTo>
                  <a:lnTo>
                    <a:pt x="3254819" y="14389"/>
                  </a:lnTo>
                  <a:lnTo>
                    <a:pt x="3254819" y="15037"/>
                  </a:lnTo>
                  <a:lnTo>
                    <a:pt x="3254959" y="15037"/>
                  </a:lnTo>
                  <a:lnTo>
                    <a:pt x="3254959" y="15634"/>
                  </a:lnTo>
                  <a:lnTo>
                    <a:pt x="3255010" y="15037"/>
                  </a:lnTo>
                  <a:lnTo>
                    <a:pt x="3255010" y="15634"/>
                  </a:lnTo>
                  <a:lnTo>
                    <a:pt x="3255111" y="15634"/>
                  </a:lnTo>
                  <a:lnTo>
                    <a:pt x="3255111" y="15037"/>
                  </a:lnTo>
                  <a:lnTo>
                    <a:pt x="3255213" y="15037"/>
                  </a:lnTo>
                  <a:lnTo>
                    <a:pt x="3255263" y="15634"/>
                  </a:lnTo>
                  <a:lnTo>
                    <a:pt x="3255314" y="15037"/>
                  </a:lnTo>
                  <a:lnTo>
                    <a:pt x="3255416" y="15037"/>
                  </a:lnTo>
                  <a:lnTo>
                    <a:pt x="3255416" y="15634"/>
                  </a:lnTo>
                  <a:lnTo>
                    <a:pt x="3255454" y="15634"/>
                  </a:lnTo>
                  <a:lnTo>
                    <a:pt x="3255454" y="15037"/>
                  </a:lnTo>
                  <a:lnTo>
                    <a:pt x="3255708" y="15037"/>
                  </a:lnTo>
                  <a:lnTo>
                    <a:pt x="3255759" y="15634"/>
                  </a:lnTo>
                  <a:lnTo>
                    <a:pt x="3255860" y="15037"/>
                  </a:lnTo>
                  <a:lnTo>
                    <a:pt x="3255962" y="15037"/>
                  </a:lnTo>
                  <a:lnTo>
                    <a:pt x="3256000" y="15634"/>
                  </a:lnTo>
                  <a:lnTo>
                    <a:pt x="3256153" y="15634"/>
                  </a:lnTo>
                  <a:lnTo>
                    <a:pt x="3256203" y="15037"/>
                  </a:lnTo>
                  <a:lnTo>
                    <a:pt x="3256203" y="15634"/>
                  </a:lnTo>
                  <a:lnTo>
                    <a:pt x="3256305" y="15037"/>
                  </a:lnTo>
                  <a:lnTo>
                    <a:pt x="3256457" y="15037"/>
                  </a:lnTo>
                  <a:lnTo>
                    <a:pt x="3256457" y="15634"/>
                  </a:lnTo>
                  <a:lnTo>
                    <a:pt x="3256546" y="15037"/>
                  </a:lnTo>
                  <a:lnTo>
                    <a:pt x="3256902" y="15037"/>
                  </a:lnTo>
                  <a:lnTo>
                    <a:pt x="3256902" y="15634"/>
                  </a:lnTo>
                  <a:lnTo>
                    <a:pt x="3257003" y="15634"/>
                  </a:lnTo>
                  <a:lnTo>
                    <a:pt x="3257042" y="15037"/>
                  </a:lnTo>
                  <a:lnTo>
                    <a:pt x="3257245" y="15037"/>
                  </a:lnTo>
                  <a:lnTo>
                    <a:pt x="3257245" y="15634"/>
                  </a:lnTo>
                  <a:lnTo>
                    <a:pt x="3257296" y="15634"/>
                  </a:lnTo>
                  <a:lnTo>
                    <a:pt x="3257296" y="15037"/>
                  </a:lnTo>
                  <a:lnTo>
                    <a:pt x="3257448" y="15037"/>
                  </a:lnTo>
                  <a:lnTo>
                    <a:pt x="3257499" y="15634"/>
                  </a:lnTo>
                  <a:lnTo>
                    <a:pt x="3257549" y="15037"/>
                  </a:lnTo>
                  <a:lnTo>
                    <a:pt x="3257943" y="15037"/>
                  </a:lnTo>
                  <a:lnTo>
                    <a:pt x="3257994" y="15634"/>
                  </a:lnTo>
                  <a:lnTo>
                    <a:pt x="3257994" y="15037"/>
                  </a:lnTo>
                  <a:lnTo>
                    <a:pt x="3258045" y="15634"/>
                  </a:lnTo>
                  <a:lnTo>
                    <a:pt x="3258134" y="15634"/>
                  </a:lnTo>
                  <a:lnTo>
                    <a:pt x="3258134" y="15037"/>
                  </a:lnTo>
                  <a:lnTo>
                    <a:pt x="3258388" y="15037"/>
                  </a:lnTo>
                  <a:lnTo>
                    <a:pt x="3258438" y="15634"/>
                  </a:lnTo>
                  <a:lnTo>
                    <a:pt x="3258489" y="15634"/>
                  </a:lnTo>
                  <a:lnTo>
                    <a:pt x="3258591" y="15037"/>
                  </a:lnTo>
                  <a:lnTo>
                    <a:pt x="3258731" y="15037"/>
                  </a:lnTo>
                  <a:lnTo>
                    <a:pt x="3258832" y="15634"/>
                  </a:lnTo>
                  <a:lnTo>
                    <a:pt x="3258832" y="15037"/>
                  </a:lnTo>
                  <a:lnTo>
                    <a:pt x="3259086" y="15037"/>
                  </a:lnTo>
                  <a:lnTo>
                    <a:pt x="3259086" y="15634"/>
                  </a:lnTo>
                  <a:lnTo>
                    <a:pt x="3259277" y="15634"/>
                  </a:lnTo>
                  <a:lnTo>
                    <a:pt x="3259328" y="15037"/>
                  </a:lnTo>
                  <a:lnTo>
                    <a:pt x="3259378" y="15634"/>
                  </a:lnTo>
                  <a:lnTo>
                    <a:pt x="3259378" y="15037"/>
                  </a:lnTo>
                  <a:lnTo>
                    <a:pt x="3259531" y="15037"/>
                  </a:lnTo>
                  <a:lnTo>
                    <a:pt x="3259581" y="15634"/>
                  </a:lnTo>
                  <a:lnTo>
                    <a:pt x="3259632" y="15037"/>
                  </a:lnTo>
                  <a:lnTo>
                    <a:pt x="3260077" y="15037"/>
                  </a:lnTo>
                  <a:lnTo>
                    <a:pt x="3260178" y="15634"/>
                  </a:lnTo>
                  <a:lnTo>
                    <a:pt x="3260318" y="15634"/>
                  </a:lnTo>
                  <a:lnTo>
                    <a:pt x="3260420" y="15037"/>
                  </a:lnTo>
                  <a:lnTo>
                    <a:pt x="3260471" y="15037"/>
                  </a:lnTo>
                  <a:lnTo>
                    <a:pt x="3260521" y="15634"/>
                  </a:lnTo>
                  <a:lnTo>
                    <a:pt x="3260674" y="15634"/>
                  </a:lnTo>
                  <a:lnTo>
                    <a:pt x="3260724" y="15037"/>
                  </a:lnTo>
                  <a:lnTo>
                    <a:pt x="3260864" y="15037"/>
                  </a:lnTo>
                  <a:lnTo>
                    <a:pt x="3260864" y="15634"/>
                  </a:lnTo>
                  <a:lnTo>
                    <a:pt x="3260915" y="15037"/>
                  </a:lnTo>
                  <a:lnTo>
                    <a:pt x="3261220" y="15037"/>
                  </a:lnTo>
                  <a:lnTo>
                    <a:pt x="3261309" y="15634"/>
                  </a:lnTo>
                  <a:lnTo>
                    <a:pt x="3261360" y="15037"/>
                  </a:lnTo>
                  <a:lnTo>
                    <a:pt x="3261613" y="15037"/>
                  </a:lnTo>
                  <a:lnTo>
                    <a:pt x="3261664" y="15634"/>
                  </a:lnTo>
                  <a:lnTo>
                    <a:pt x="3261664" y="15037"/>
                  </a:lnTo>
                  <a:lnTo>
                    <a:pt x="3262007" y="15037"/>
                  </a:lnTo>
                  <a:lnTo>
                    <a:pt x="3262007" y="15634"/>
                  </a:lnTo>
                  <a:lnTo>
                    <a:pt x="3262058" y="15037"/>
                  </a:lnTo>
                  <a:lnTo>
                    <a:pt x="3262312" y="15037"/>
                  </a:lnTo>
                  <a:lnTo>
                    <a:pt x="3262350" y="15634"/>
                  </a:lnTo>
                  <a:lnTo>
                    <a:pt x="3262452" y="15037"/>
                  </a:lnTo>
                  <a:lnTo>
                    <a:pt x="3262452" y="15634"/>
                  </a:lnTo>
                  <a:lnTo>
                    <a:pt x="3262503" y="15634"/>
                  </a:lnTo>
                  <a:lnTo>
                    <a:pt x="3262553" y="15037"/>
                  </a:lnTo>
                  <a:lnTo>
                    <a:pt x="3262947" y="15037"/>
                  </a:lnTo>
                  <a:lnTo>
                    <a:pt x="3262998" y="15634"/>
                  </a:lnTo>
                  <a:lnTo>
                    <a:pt x="3263150" y="15634"/>
                  </a:lnTo>
                  <a:lnTo>
                    <a:pt x="3263150" y="15037"/>
                  </a:lnTo>
                  <a:lnTo>
                    <a:pt x="3263442" y="15037"/>
                  </a:lnTo>
                  <a:lnTo>
                    <a:pt x="3263493" y="15634"/>
                  </a:lnTo>
                  <a:lnTo>
                    <a:pt x="3263595" y="15037"/>
                  </a:lnTo>
                  <a:lnTo>
                    <a:pt x="3263798" y="15037"/>
                  </a:lnTo>
                  <a:lnTo>
                    <a:pt x="3263798" y="15634"/>
                  </a:lnTo>
                  <a:lnTo>
                    <a:pt x="3263899" y="15634"/>
                  </a:lnTo>
                  <a:lnTo>
                    <a:pt x="3263899" y="15037"/>
                  </a:lnTo>
                  <a:lnTo>
                    <a:pt x="3263938" y="15037"/>
                  </a:lnTo>
                  <a:lnTo>
                    <a:pt x="3264039" y="15634"/>
                  </a:lnTo>
                  <a:lnTo>
                    <a:pt x="3264788" y="15634"/>
                  </a:lnTo>
                  <a:lnTo>
                    <a:pt x="3264788" y="16320"/>
                  </a:lnTo>
                  <a:lnTo>
                    <a:pt x="3264839" y="15634"/>
                  </a:lnTo>
                  <a:lnTo>
                    <a:pt x="3265081" y="15634"/>
                  </a:lnTo>
                  <a:lnTo>
                    <a:pt x="3265182" y="15037"/>
                  </a:lnTo>
                  <a:lnTo>
                    <a:pt x="3265182" y="15634"/>
                  </a:lnTo>
                  <a:lnTo>
                    <a:pt x="3265233" y="15634"/>
                  </a:lnTo>
                  <a:lnTo>
                    <a:pt x="3265284" y="15037"/>
                  </a:lnTo>
                  <a:lnTo>
                    <a:pt x="3265385" y="15037"/>
                  </a:lnTo>
                  <a:lnTo>
                    <a:pt x="3265385" y="15634"/>
                  </a:lnTo>
                  <a:lnTo>
                    <a:pt x="3265525" y="15634"/>
                  </a:lnTo>
                  <a:lnTo>
                    <a:pt x="3265627" y="15037"/>
                  </a:lnTo>
                  <a:lnTo>
                    <a:pt x="3265830" y="15037"/>
                  </a:lnTo>
                  <a:lnTo>
                    <a:pt x="3265881" y="15634"/>
                  </a:lnTo>
                  <a:lnTo>
                    <a:pt x="3265931" y="15634"/>
                  </a:lnTo>
                  <a:lnTo>
                    <a:pt x="3265931" y="15037"/>
                  </a:lnTo>
                  <a:lnTo>
                    <a:pt x="3265982" y="15634"/>
                  </a:lnTo>
                  <a:lnTo>
                    <a:pt x="3265982" y="15037"/>
                  </a:lnTo>
                  <a:lnTo>
                    <a:pt x="3266821" y="15037"/>
                  </a:lnTo>
                  <a:lnTo>
                    <a:pt x="3266821" y="15634"/>
                  </a:lnTo>
                  <a:lnTo>
                    <a:pt x="3266871" y="15634"/>
                  </a:lnTo>
                  <a:lnTo>
                    <a:pt x="3266973" y="15037"/>
                  </a:lnTo>
                  <a:lnTo>
                    <a:pt x="3267074" y="15037"/>
                  </a:lnTo>
                  <a:lnTo>
                    <a:pt x="3267113" y="15634"/>
                  </a:lnTo>
                  <a:lnTo>
                    <a:pt x="3267265" y="15634"/>
                  </a:lnTo>
                  <a:lnTo>
                    <a:pt x="3267265" y="15037"/>
                  </a:lnTo>
                  <a:lnTo>
                    <a:pt x="3267316" y="15634"/>
                  </a:lnTo>
                  <a:lnTo>
                    <a:pt x="3268700" y="15634"/>
                  </a:lnTo>
                  <a:lnTo>
                    <a:pt x="3268802" y="15037"/>
                  </a:lnTo>
                  <a:lnTo>
                    <a:pt x="3268853" y="15037"/>
                  </a:lnTo>
                  <a:lnTo>
                    <a:pt x="3268903" y="15634"/>
                  </a:lnTo>
                  <a:lnTo>
                    <a:pt x="3269005" y="15037"/>
                  </a:lnTo>
                  <a:lnTo>
                    <a:pt x="3269297" y="15037"/>
                  </a:lnTo>
                  <a:lnTo>
                    <a:pt x="3269348" y="15634"/>
                  </a:lnTo>
                  <a:lnTo>
                    <a:pt x="3269551" y="15634"/>
                  </a:lnTo>
                  <a:lnTo>
                    <a:pt x="3269602" y="15037"/>
                  </a:lnTo>
                  <a:lnTo>
                    <a:pt x="3269792" y="15037"/>
                  </a:lnTo>
                  <a:lnTo>
                    <a:pt x="3269843" y="15634"/>
                  </a:lnTo>
                  <a:lnTo>
                    <a:pt x="3269945" y="15634"/>
                  </a:lnTo>
                  <a:lnTo>
                    <a:pt x="3269996" y="15037"/>
                  </a:lnTo>
                  <a:lnTo>
                    <a:pt x="3269996" y="15634"/>
                  </a:lnTo>
                  <a:lnTo>
                    <a:pt x="3270046" y="15634"/>
                  </a:lnTo>
                  <a:lnTo>
                    <a:pt x="3270046" y="15037"/>
                  </a:lnTo>
                  <a:lnTo>
                    <a:pt x="3270249" y="15037"/>
                  </a:lnTo>
                  <a:lnTo>
                    <a:pt x="3270249" y="15634"/>
                  </a:lnTo>
                  <a:lnTo>
                    <a:pt x="3270389" y="15634"/>
                  </a:lnTo>
                  <a:lnTo>
                    <a:pt x="3270440" y="15037"/>
                  </a:lnTo>
                  <a:lnTo>
                    <a:pt x="3270440" y="15634"/>
                  </a:lnTo>
                  <a:lnTo>
                    <a:pt x="3270491" y="15634"/>
                  </a:lnTo>
                  <a:lnTo>
                    <a:pt x="3270491" y="16320"/>
                  </a:lnTo>
                  <a:lnTo>
                    <a:pt x="3270592" y="15634"/>
                  </a:lnTo>
                  <a:lnTo>
                    <a:pt x="3270643" y="16320"/>
                  </a:lnTo>
                  <a:lnTo>
                    <a:pt x="3270643" y="15634"/>
                  </a:lnTo>
                  <a:lnTo>
                    <a:pt x="3270885" y="15634"/>
                  </a:lnTo>
                  <a:lnTo>
                    <a:pt x="3270935" y="15037"/>
                  </a:lnTo>
                  <a:lnTo>
                    <a:pt x="3270935" y="15634"/>
                  </a:lnTo>
                  <a:lnTo>
                    <a:pt x="3271291" y="15634"/>
                  </a:lnTo>
                  <a:lnTo>
                    <a:pt x="3271291" y="15037"/>
                  </a:lnTo>
                  <a:lnTo>
                    <a:pt x="3271329" y="15634"/>
                  </a:lnTo>
                  <a:lnTo>
                    <a:pt x="3271431" y="15634"/>
                  </a:lnTo>
                  <a:lnTo>
                    <a:pt x="3271532" y="15037"/>
                  </a:lnTo>
                  <a:lnTo>
                    <a:pt x="3271532" y="15634"/>
                  </a:lnTo>
                  <a:lnTo>
                    <a:pt x="3271583" y="15037"/>
                  </a:lnTo>
                  <a:lnTo>
                    <a:pt x="3271634" y="15634"/>
                  </a:lnTo>
                  <a:lnTo>
                    <a:pt x="3272028" y="15634"/>
                  </a:lnTo>
                  <a:lnTo>
                    <a:pt x="3272028" y="15037"/>
                  </a:lnTo>
                  <a:lnTo>
                    <a:pt x="3272078" y="15037"/>
                  </a:lnTo>
                  <a:lnTo>
                    <a:pt x="3272078" y="15634"/>
                  </a:lnTo>
                  <a:lnTo>
                    <a:pt x="3272180" y="15634"/>
                  </a:lnTo>
                  <a:lnTo>
                    <a:pt x="3272231" y="15037"/>
                  </a:lnTo>
                  <a:lnTo>
                    <a:pt x="3272281" y="15037"/>
                  </a:lnTo>
                  <a:lnTo>
                    <a:pt x="3272332" y="15634"/>
                  </a:lnTo>
                  <a:lnTo>
                    <a:pt x="3272523" y="15634"/>
                  </a:lnTo>
                  <a:lnTo>
                    <a:pt x="3272574" y="15037"/>
                  </a:lnTo>
                  <a:lnTo>
                    <a:pt x="3272726" y="15037"/>
                  </a:lnTo>
                  <a:lnTo>
                    <a:pt x="3272726" y="15634"/>
                  </a:lnTo>
                  <a:lnTo>
                    <a:pt x="3272777" y="15634"/>
                  </a:lnTo>
                  <a:lnTo>
                    <a:pt x="3272878" y="15037"/>
                  </a:lnTo>
                  <a:lnTo>
                    <a:pt x="3272917" y="15037"/>
                  </a:lnTo>
                  <a:lnTo>
                    <a:pt x="3272917" y="15634"/>
                  </a:lnTo>
                  <a:lnTo>
                    <a:pt x="3272967" y="15634"/>
                  </a:lnTo>
                  <a:lnTo>
                    <a:pt x="3273018" y="15037"/>
                  </a:lnTo>
                  <a:lnTo>
                    <a:pt x="3273374" y="15037"/>
                  </a:lnTo>
                  <a:lnTo>
                    <a:pt x="3273424" y="15634"/>
                  </a:lnTo>
                  <a:lnTo>
                    <a:pt x="3274009" y="15634"/>
                  </a:lnTo>
                  <a:lnTo>
                    <a:pt x="3274060" y="15037"/>
                  </a:lnTo>
                  <a:lnTo>
                    <a:pt x="3274110" y="15634"/>
                  </a:lnTo>
                  <a:lnTo>
                    <a:pt x="3274161" y="15634"/>
                  </a:lnTo>
                  <a:lnTo>
                    <a:pt x="3274263" y="15037"/>
                  </a:lnTo>
                  <a:lnTo>
                    <a:pt x="3274466" y="15037"/>
                  </a:lnTo>
                  <a:lnTo>
                    <a:pt x="3274466" y="15634"/>
                  </a:lnTo>
                  <a:lnTo>
                    <a:pt x="3274809" y="15634"/>
                  </a:lnTo>
                  <a:lnTo>
                    <a:pt x="3274910" y="15037"/>
                  </a:lnTo>
                  <a:lnTo>
                    <a:pt x="3274910" y="15634"/>
                  </a:lnTo>
                  <a:lnTo>
                    <a:pt x="3275406" y="15634"/>
                  </a:lnTo>
                  <a:lnTo>
                    <a:pt x="3275456" y="15037"/>
                  </a:lnTo>
                  <a:lnTo>
                    <a:pt x="3275456" y="15634"/>
                  </a:lnTo>
                  <a:lnTo>
                    <a:pt x="3275507" y="15634"/>
                  </a:lnTo>
                  <a:lnTo>
                    <a:pt x="3275507" y="15037"/>
                  </a:lnTo>
                  <a:lnTo>
                    <a:pt x="3275596" y="15634"/>
                  </a:lnTo>
                  <a:lnTo>
                    <a:pt x="3275952" y="15634"/>
                  </a:lnTo>
                  <a:lnTo>
                    <a:pt x="3276053" y="15037"/>
                  </a:lnTo>
                  <a:lnTo>
                    <a:pt x="3276295" y="15037"/>
                  </a:lnTo>
                  <a:lnTo>
                    <a:pt x="3276295" y="15634"/>
                  </a:lnTo>
                  <a:lnTo>
                    <a:pt x="3276498" y="15634"/>
                  </a:lnTo>
                  <a:lnTo>
                    <a:pt x="3276549" y="15037"/>
                  </a:lnTo>
                  <a:lnTo>
                    <a:pt x="3276549" y="15634"/>
                  </a:lnTo>
                  <a:lnTo>
                    <a:pt x="3276993" y="15634"/>
                  </a:lnTo>
                  <a:lnTo>
                    <a:pt x="3277044" y="15037"/>
                  </a:lnTo>
                  <a:lnTo>
                    <a:pt x="3277095" y="15037"/>
                  </a:lnTo>
                  <a:lnTo>
                    <a:pt x="3277184" y="15634"/>
                  </a:lnTo>
                  <a:lnTo>
                    <a:pt x="3277235" y="15634"/>
                  </a:lnTo>
                  <a:lnTo>
                    <a:pt x="3277285" y="15037"/>
                  </a:lnTo>
                  <a:lnTo>
                    <a:pt x="3277285" y="15634"/>
                  </a:lnTo>
                  <a:lnTo>
                    <a:pt x="3277438" y="15634"/>
                  </a:lnTo>
                  <a:lnTo>
                    <a:pt x="3277488" y="15037"/>
                  </a:lnTo>
                  <a:lnTo>
                    <a:pt x="3277539" y="15634"/>
                  </a:lnTo>
                  <a:lnTo>
                    <a:pt x="3277641" y="15634"/>
                  </a:lnTo>
                  <a:lnTo>
                    <a:pt x="3277641" y="15037"/>
                  </a:lnTo>
                  <a:lnTo>
                    <a:pt x="3277781" y="15037"/>
                  </a:lnTo>
                  <a:lnTo>
                    <a:pt x="3277882" y="15634"/>
                  </a:lnTo>
                  <a:lnTo>
                    <a:pt x="3278187" y="15634"/>
                  </a:lnTo>
                  <a:lnTo>
                    <a:pt x="3278187" y="15037"/>
                  </a:lnTo>
                  <a:lnTo>
                    <a:pt x="3278225" y="15634"/>
                  </a:lnTo>
                  <a:lnTo>
                    <a:pt x="3278771" y="15634"/>
                  </a:lnTo>
                  <a:lnTo>
                    <a:pt x="3278771" y="15037"/>
                  </a:lnTo>
                  <a:lnTo>
                    <a:pt x="3278822" y="15037"/>
                  </a:lnTo>
                  <a:lnTo>
                    <a:pt x="3278822" y="15634"/>
                  </a:lnTo>
                  <a:lnTo>
                    <a:pt x="3279317" y="15634"/>
                  </a:lnTo>
                  <a:lnTo>
                    <a:pt x="3279317" y="15037"/>
                  </a:lnTo>
                  <a:lnTo>
                    <a:pt x="3279368" y="15037"/>
                  </a:lnTo>
                  <a:lnTo>
                    <a:pt x="3279368" y="15634"/>
                  </a:lnTo>
                  <a:lnTo>
                    <a:pt x="3279914" y="15634"/>
                  </a:lnTo>
                  <a:lnTo>
                    <a:pt x="3279914" y="15037"/>
                  </a:lnTo>
                  <a:lnTo>
                    <a:pt x="3279965" y="15037"/>
                  </a:lnTo>
                  <a:lnTo>
                    <a:pt x="3279965" y="15634"/>
                  </a:lnTo>
                  <a:lnTo>
                    <a:pt x="3280016" y="15634"/>
                  </a:lnTo>
                  <a:lnTo>
                    <a:pt x="3280016" y="16320"/>
                  </a:lnTo>
                  <a:lnTo>
                    <a:pt x="3280117" y="16320"/>
                  </a:lnTo>
                  <a:lnTo>
                    <a:pt x="3280168" y="15634"/>
                  </a:lnTo>
                  <a:lnTo>
                    <a:pt x="3280410" y="15634"/>
                  </a:lnTo>
                  <a:lnTo>
                    <a:pt x="3280460" y="15037"/>
                  </a:lnTo>
                  <a:lnTo>
                    <a:pt x="3280511" y="15634"/>
                  </a:lnTo>
                  <a:lnTo>
                    <a:pt x="3280511" y="15037"/>
                  </a:lnTo>
                  <a:lnTo>
                    <a:pt x="3280613" y="15634"/>
                  </a:lnTo>
                  <a:lnTo>
                    <a:pt x="3281057" y="15634"/>
                  </a:lnTo>
                  <a:lnTo>
                    <a:pt x="3281108" y="15037"/>
                  </a:lnTo>
                  <a:lnTo>
                    <a:pt x="3281502" y="15037"/>
                  </a:lnTo>
                  <a:lnTo>
                    <a:pt x="3281502" y="15634"/>
                  </a:lnTo>
                  <a:lnTo>
                    <a:pt x="3281857" y="15634"/>
                  </a:lnTo>
                  <a:lnTo>
                    <a:pt x="3281946" y="15037"/>
                  </a:lnTo>
                  <a:lnTo>
                    <a:pt x="3282048" y="15037"/>
                  </a:lnTo>
                  <a:lnTo>
                    <a:pt x="3282048" y="15634"/>
                  </a:lnTo>
                  <a:lnTo>
                    <a:pt x="3282099" y="15037"/>
                  </a:lnTo>
                  <a:lnTo>
                    <a:pt x="3282200" y="15634"/>
                  </a:lnTo>
                  <a:lnTo>
                    <a:pt x="3282200" y="15037"/>
                  </a:lnTo>
                  <a:lnTo>
                    <a:pt x="3282251" y="15634"/>
                  </a:lnTo>
                  <a:lnTo>
                    <a:pt x="3282403" y="15634"/>
                  </a:lnTo>
                  <a:lnTo>
                    <a:pt x="3282403" y="15037"/>
                  </a:lnTo>
                  <a:lnTo>
                    <a:pt x="3282442" y="15634"/>
                  </a:lnTo>
                  <a:lnTo>
                    <a:pt x="3282442" y="15037"/>
                  </a:lnTo>
                  <a:lnTo>
                    <a:pt x="3282645" y="15037"/>
                  </a:lnTo>
                  <a:lnTo>
                    <a:pt x="3282645" y="15634"/>
                  </a:lnTo>
                  <a:lnTo>
                    <a:pt x="3282746" y="15634"/>
                  </a:lnTo>
                  <a:lnTo>
                    <a:pt x="3282746" y="15037"/>
                  </a:lnTo>
                  <a:lnTo>
                    <a:pt x="3282848" y="15634"/>
                  </a:lnTo>
                  <a:lnTo>
                    <a:pt x="3283585" y="15634"/>
                  </a:lnTo>
                  <a:lnTo>
                    <a:pt x="3283635" y="16320"/>
                  </a:lnTo>
                  <a:lnTo>
                    <a:pt x="3283635" y="15634"/>
                  </a:lnTo>
                  <a:lnTo>
                    <a:pt x="3284931" y="15634"/>
                  </a:lnTo>
                  <a:lnTo>
                    <a:pt x="3284931" y="15037"/>
                  </a:lnTo>
                  <a:lnTo>
                    <a:pt x="3284981" y="15037"/>
                  </a:lnTo>
                  <a:lnTo>
                    <a:pt x="3285032" y="15634"/>
                  </a:lnTo>
                  <a:lnTo>
                    <a:pt x="3285172" y="15634"/>
                  </a:lnTo>
                  <a:lnTo>
                    <a:pt x="3285172" y="15037"/>
                  </a:lnTo>
                  <a:lnTo>
                    <a:pt x="3285223" y="15634"/>
                  </a:lnTo>
                  <a:lnTo>
                    <a:pt x="3285426" y="15634"/>
                  </a:lnTo>
                  <a:lnTo>
                    <a:pt x="3285426" y="15037"/>
                  </a:lnTo>
                  <a:lnTo>
                    <a:pt x="3285477" y="15634"/>
                  </a:lnTo>
                  <a:lnTo>
                    <a:pt x="3285477" y="15037"/>
                  </a:lnTo>
                  <a:lnTo>
                    <a:pt x="3285617" y="15037"/>
                  </a:lnTo>
                  <a:lnTo>
                    <a:pt x="3285667" y="15634"/>
                  </a:lnTo>
                  <a:lnTo>
                    <a:pt x="3286810" y="15634"/>
                  </a:lnTo>
                  <a:lnTo>
                    <a:pt x="3286861" y="15037"/>
                  </a:lnTo>
                  <a:lnTo>
                    <a:pt x="3286861" y="15634"/>
                  </a:lnTo>
                  <a:lnTo>
                    <a:pt x="3287064" y="15634"/>
                  </a:lnTo>
                  <a:lnTo>
                    <a:pt x="3287166" y="16320"/>
                  </a:lnTo>
                  <a:lnTo>
                    <a:pt x="3287204" y="15634"/>
                  </a:lnTo>
                  <a:lnTo>
                    <a:pt x="3287306" y="15634"/>
                  </a:lnTo>
                  <a:lnTo>
                    <a:pt x="3287407" y="15037"/>
                  </a:lnTo>
                  <a:lnTo>
                    <a:pt x="3287458" y="15634"/>
                  </a:lnTo>
                  <a:lnTo>
                    <a:pt x="3287661" y="15634"/>
                  </a:lnTo>
                  <a:lnTo>
                    <a:pt x="3287661" y="16320"/>
                  </a:lnTo>
                  <a:lnTo>
                    <a:pt x="3287712" y="15634"/>
                  </a:lnTo>
                  <a:lnTo>
                    <a:pt x="3288156" y="15634"/>
                  </a:lnTo>
                  <a:lnTo>
                    <a:pt x="3288207" y="15037"/>
                  </a:lnTo>
                  <a:lnTo>
                    <a:pt x="3288207" y="15634"/>
                  </a:lnTo>
                  <a:lnTo>
                    <a:pt x="3288398" y="15634"/>
                  </a:lnTo>
                  <a:lnTo>
                    <a:pt x="3288449" y="15037"/>
                  </a:lnTo>
                  <a:lnTo>
                    <a:pt x="3288449" y="15634"/>
                  </a:lnTo>
                  <a:lnTo>
                    <a:pt x="3288550" y="15037"/>
                  </a:lnTo>
                  <a:lnTo>
                    <a:pt x="3288601" y="15634"/>
                  </a:lnTo>
                  <a:lnTo>
                    <a:pt x="3289046" y="15634"/>
                  </a:lnTo>
                  <a:lnTo>
                    <a:pt x="3289096" y="15037"/>
                  </a:lnTo>
                  <a:lnTo>
                    <a:pt x="3289198" y="15037"/>
                  </a:lnTo>
                  <a:lnTo>
                    <a:pt x="3289198" y="15634"/>
                  </a:lnTo>
                  <a:lnTo>
                    <a:pt x="3289338" y="15634"/>
                  </a:lnTo>
                  <a:lnTo>
                    <a:pt x="3289338" y="15037"/>
                  </a:lnTo>
                  <a:lnTo>
                    <a:pt x="3289439" y="15634"/>
                  </a:lnTo>
                  <a:lnTo>
                    <a:pt x="3289439" y="15037"/>
                  </a:lnTo>
                  <a:lnTo>
                    <a:pt x="3289541" y="15037"/>
                  </a:lnTo>
                  <a:lnTo>
                    <a:pt x="3289642" y="15634"/>
                  </a:lnTo>
                  <a:lnTo>
                    <a:pt x="3289693" y="15037"/>
                  </a:lnTo>
                  <a:lnTo>
                    <a:pt x="3289693" y="15634"/>
                  </a:lnTo>
                  <a:lnTo>
                    <a:pt x="3289744" y="15037"/>
                  </a:lnTo>
                  <a:lnTo>
                    <a:pt x="3289744" y="15634"/>
                  </a:lnTo>
                  <a:lnTo>
                    <a:pt x="3290188" y="15634"/>
                  </a:lnTo>
                  <a:lnTo>
                    <a:pt x="3290188" y="15037"/>
                  </a:lnTo>
                  <a:lnTo>
                    <a:pt x="3290239" y="15037"/>
                  </a:lnTo>
                  <a:lnTo>
                    <a:pt x="3290341" y="15634"/>
                  </a:lnTo>
                  <a:lnTo>
                    <a:pt x="3290379" y="15634"/>
                  </a:lnTo>
                  <a:lnTo>
                    <a:pt x="3290379" y="15037"/>
                  </a:lnTo>
                  <a:lnTo>
                    <a:pt x="3290633" y="15037"/>
                  </a:lnTo>
                  <a:lnTo>
                    <a:pt x="3290684" y="15634"/>
                  </a:lnTo>
                  <a:lnTo>
                    <a:pt x="3291776" y="15634"/>
                  </a:lnTo>
                  <a:lnTo>
                    <a:pt x="3291827" y="15037"/>
                  </a:lnTo>
                  <a:lnTo>
                    <a:pt x="3292017" y="15037"/>
                  </a:lnTo>
                  <a:lnTo>
                    <a:pt x="3292017" y="15634"/>
                  </a:lnTo>
                  <a:lnTo>
                    <a:pt x="3292271" y="15634"/>
                  </a:lnTo>
                  <a:lnTo>
                    <a:pt x="3292373" y="16320"/>
                  </a:lnTo>
                  <a:lnTo>
                    <a:pt x="3292424" y="16320"/>
                  </a:lnTo>
                  <a:lnTo>
                    <a:pt x="3292424" y="15634"/>
                  </a:lnTo>
                  <a:lnTo>
                    <a:pt x="3292614" y="15634"/>
                  </a:lnTo>
                  <a:lnTo>
                    <a:pt x="3292665" y="15037"/>
                  </a:lnTo>
                  <a:lnTo>
                    <a:pt x="3292716" y="15037"/>
                  </a:lnTo>
                  <a:lnTo>
                    <a:pt x="3292817" y="15634"/>
                  </a:lnTo>
                  <a:lnTo>
                    <a:pt x="3293110" y="15634"/>
                  </a:lnTo>
                  <a:lnTo>
                    <a:pt x="3293160" y="16320"/>
                  </a:lnTo>
                  <a:lnTo>
                    <a:pt x="3293211" y="15634"/>
                  </a:lnTo>
                  <a:lnTo>
                    <a:pt x="3293757" y="15634"/>
                  </a:lnTo>
                  <a:lnTo>
                    <a:pt x="3293757" y="15037"/>
                  </a:lnTo>
                  <a:lnTo>
                    <a:pt x="3293808" y="15634"/>
                  </a:lnTo>
                  <a:lnTo>
                    <a:pt x="3294011" y="15634"/>
                  </a:lnTo>
                  <a:lnTo>
                    <a:pt x="3294062" y="16320"/>
                  </a:lnTo>
                  <a:lnTo>
                    <a:pt x="3294100" y="15634"/>
                  </a:lnTo>
                  <a:lnTo>
                    <a:pt x="3294303" y="15634"/>
                  </a:lnTo>
                  <a:lnTo>
                    <a:pt x="3294303" y="16320"/>
                  </a:lnTo>
                  <a:lnTo>
                    <a:pt x="3294405" y="15634"/>
                  </a:lnTo>
                  <a:lnTo>
                    <a:pt x="3294748" y="15634"/>
                  </a:lnTo>
                  <a:lnTo>
                    <a:pt x="3294748" y="15037"/>
                  </a:lnTo>
                  <a:lnTo>
                    <a:pt x="3294799" y="15037"/>
                  </a:lnTo>
                  <a:lnTo>
                    <a:pt x="3294799" y="15634"/>
                  </a:lnTo>
                  <a:lnTo>
                    <a:pt x="3294951" y="15634"/>
                  </a:lnTo>
                  <a:lnTo>
                    <a:pt x="3295002" y="16320"/>
                  </a:lnTo>
                  <a:lnTo>
                    <a:pt x="3295103" y="15634"/>
                  </a:lnTo>
                  <a:lnTo>
                    <a:pt x="3295142" y="15634"/>
                  </a:lnTo>
                  <a:lnTo>
                    <a:pt x="3295142" y="15037"/>
                  </a:lnTo>
                  <a:lnTo>
                    <a:pt x="3295192" y="15634"/>
                  </a:lnTo>
                  <a:lnTo>
                    <a:pt x="3295243" y="15634"/>
                  </a:lnTo>
                  <a:lnTo>
                    <a:pt x="3295243" y="15037"/>
                  </a:lnTo>
                  <a:lnTo>
                    <a:pt x="3295345" y="15634"/>
                  </a:lnTo>
                  <a:lnTo>
                    <a:pt x="3295446" y="15634"/>
                  </a:lnTo>
                  <a:lnTo>
                    <a:pt x="3295446" y="15037"/>
                  </a:lnTo>
                  <a:lnTo>
                    <a:pt x="3295548" y="15037"/>
                  </a:lnTo>
                  <a:lnTo>
                    <a:pt x="3295599" y="15634"/>
                  </a:lnTo>
                  <a:lnTo>
                    <a:pt x="3295649" y="15037"/>
                  </a:lnTo>
                  <a:lnTo>
                    <a:pt x="3295649" y="15634"/>
                  </a:lnTo>
                  <a:lnTo>
                    <a:pt x="3295840" y="15634"/>
                  </a:lnTo>
                  <a:lnTo>
                    <a:pt x="3295840" y="15037"/>
                  </a:lnTo>
                  <a:lnTo>
                    <a:pt x="3296043" y="15037"/>
                  </a:lnTo>
                  <a:lnTo>
                    <a:pt x="3296043" y="15634"/>
                  </a:lnTo>
                  <a:lnTo>
                    <a:pt x="3296094" y="15634"/>
                  </a:lnTo>
                  <a:lnTo>
                    <a:pt x="3296145" y="15037"/>
                  </a:lnTo>
                  <a:lnTo>
                    <a:pt x="3296488" y="15037"/>
                  </a:lnTo>
                  <a:lnTo>
                    <a:pt x="3296488" y="15634"/>
                  </a:lnTo>
                  <a:lnTo>
                    <a:pt x="3296589" y="15634"/>
                  </a:lnTo>
                  <a:lnTo>
                    <a:pt x="3296589" y="15037"/>
                  </a:lnTo>
                  <a:lnTo>
                    <a:pt x="3296691" y="15634"/>
                  </a:lnTo>
                  <a:lnTo>
                    <a:pt x="3297580" y="15634"/>
                  </a:lnTo>
                  <a:lnTo>
                    <a:pt x="3297631" y="16320"/>
                  </a:lnTo>
                  <a:lnTo>
                    <a:pt x="3297631" y="15634"/>
                  </a:lnTo>
                  <a:lnTo>
                    <a:pt x="3297974" y="15634"/>
                  </a:lnTo>
                  <a:lnTo>
                    <a:pt x="3297974" y="16320"/>
                  </a:lnTo>
                  <a:lnTo>
                    <a:pt x="3298075" y="15634"/>
                  </a:lnTo>
                  <a:lnTo>
                    <a:pt x="3298278" y="15634"/>
                  </a:lnTo>
                  <a:lnTo>
                    <a:pt x="3298317" y="15037"/>
                  </a:lnTo>
                  <a:lnTo>
                    <a:pt x="3298418" y="15037"/>
                  </a:lnTo>
                  <a:lnTo>
                    <a:pt x="3298418" y="15634"/>
                  </a:lnTo>
                  <a:lnTo>
                    <a:pt x="3298621" y="15634"/>
                  </a:lnTo>
                  <a:lnTo>
                    <a:pt x="3298723" y="15037"/>
                  </a:lnTo>
                  <a:lnTo>
                    <a:pt x="3298824" y="15037"/>
                  </a:lnTo>
                  <a:lnTo>
                    <a:pt x="3298824" y="15634"/>
                  </a:lnTo>
                  <a:lnTo>
                    <a:pt x="3298863" y="15634"/>
                  </a:lnTo>
                  <a:lnTo>
                    <a:pt x="3298964" y="16320"/>
                  </a:lnTo>
                  <a:lnTo>
                    <a:pt x="3299015" y="16320"/>
                  </a:lnTo>
                  <a:lnTo>
                    <a:pt x="3299015" y="15634"/>
                  </a:lnTo>
                  <a:lnTo>
                    <a:pt x="3299218" y="15634"/>
                  </a:lnTo>
                  <a:lnTo>
                    <a:pt x="3299218" y="15037"/>
                  </a:lnTo>
                  <a:lnTo>
                    <a:pt x="3299269" y="15634"/>
                  </a:lnTo>
                  <a:lnTo>
                    <a:pt x="3299510" y="15634"/>
                  </a:lnTo>
                  <a:lnTo>
                    <a:pt x="3299561" y="15037"/>
                  </a:lnTo>
                  <a:lnTo>
                    <a:pt x="3299713" y="15037"/>
                  </a:lnTo>
                  <a:lnTo>
                    <a:pt x="3299764" y="15634"/>
                  </a:lnTo>
                  <a:lnTo>
                    <a:pt x="3299764" y="15037"/>
                  </a:lnTo>
                  <a:lnTo>
                    <a:pt x="3299866" y="15634"/>
                  </a:lnTo>
                  <a:lnTo>
                    <a:pt x="3300209" y="15634"/>
                  </a:lnTo>
                  <a:lnTo>
                    <a:pt x="3300209" y="16320"/>
                  </a:lnTo>
                  <a:lnTo>
                    <a:pt x="3300361" y="16320"/>
                  </a:lnTo>
                  <a:lnTo>
                    <a:pt x="3300361" y="15634"/>
                  </a:lnTo>
                  <a:lnTo>
                    <a:pt x="3300412" y="15634"/>
                  </a:lnTo>
                  <a:lnTo>
                    <a:pt x="3300450" y="15037"/>
                  </a:lnTo>
                  <a:lnTo>
                    <a:pt x="3300552" y="15037"/>
                  </a:lnTo>
                  <a:lnTo>
                    <a:pt x="3300603" y="15634"/>
                  </a:lnTo>
                  <a:lnTo>
                    <a:pt x="3300755" y="15634"/>
                  </a:lnTo>
                  <a:lnTo>
                    <a:pt x="3300755" y="15037"/>
                  </a:lnTo>
                  <a:lnTo>
                    <a:pt x="3300806" y="15037"/>
                  </a:lnTo>
                  <a:lnTo>
                    <a:pt x="3300856" y="15634"/>
                  </a:lnTo>
                  <a:lnTo>
                    <a:pt x="3300996" y="15634"/>
                  </a:lnTo>
                  <a:lnTo>
                    <a:pt x="3301047" y="16320"/>
                  </a:lnTo>
                  <a:lnTo>
                    <a:pt x="3301098" y="15634"/>
                  </a:lnTo>
                  <a:lnTo>
                    <a:pt x="3301250" y="15634"/>
                  </a:lnTo>
                  <a:lnTo>
                    <a:pt x="3301301" y="15037"/>
                  </a:lnTo>
                  <a:lnTo>
                    <a:pt x="3301301" y="15634"/>
                  </a:lnTo>
                  <a:lnTo>
                    <a:pt x="3301796" y="15634"/>
                  </a:lnTo>
                  <a:lnTo>
                    <a:pt x="3301796" y="15037"/>
                  </a:lnTo>
                  <a:lnTo>
                    <a:pt x="3301898" y="15634"/>
                  </a:lnTo>
                  <a:lnTo>
                    <a:pt x="3302190" y="15634"/>
                  </a:lnTo>
                  <a:lnTo>
                    <a:pt x="3302241" y="15037"/>
                  </a:lnTo>
                  <a:lnTo>
                    <a:pt x="3302393" y="15037"/>
                  </a:lnTo>
                  <a:lnTo>
                    <a:pt x="3302444" y="15634"/>
                  </a:lnTo>
                  <a:lnTo>
                    <a:pt x="3302584" y="15634"/>
                  </a:lnTo>
                  <a:lnTo>
                    <a:pt x="3302635" y="16320"/>
                  </a:lnTo>
                  <a:lnTo>
                    <a:pt x="3302685" y="16320"/>
                  </a:lnTo>
                  <a:lnTo>
                    <a:pt x="3302685" y="15634"/>
                  </a:lnTo>
                  <a:lnTo>
                    <a:pt x="3303079" y="15634"/>
                  </a:lnTo>
                  <a:lnTo>
                    <a:pt x="3303130" y="15037"/>
                  </a:lnTo>
                  <a:lnTo>
                    <a:pt x="3303282" y="15037"/>
                  </a:lnTo>
                  <a:lnTo>
                    <a:pt x="3303282" y="15634"/>
                  </a:lnTo>
                  <a:lnTo>
                    <a:pt x="3303485" y="15634"/>
                  </a:lnTo>
                  <a:lnTo>
                    <a:pt x="3303485" y="16320"/>
                  </a:lnTo>
                  <a:lnTo>
                    <a:pt x="3303536" y="16320"/>
                  </a:lnTo>
                  <a:lnTo>
                    <a:pt x="3303587" y="15634"/>
                  </a:lnTo>
                  <a:lnTo>
                    <a:pt x="3303625" y="15634"/>
                  </a:lnTo>
                  <a:lnTo>
                    <a:pt x="3303625" y="15037"/>
                  </a:lnTo>
                  <a:lnTo>
                    <a:pt x="3303727" y="15634"/>
                  </a:lnTo>
                  <a:lnTo>
                    <a:pt x="3303778" y="15634"/>
                  </a:lnTo>
                  <a:lnTo>
                    <a:pt x="3303828" y="15037"/>
                  </a:lnTo>
                  <a:lnTo>
                    <a:pt x="3303981" y="15037"/>
                  </a:lnTo>
                  <a:lnTo>
                    <a:pt x="3303981" y="15634"/>
                  </a:lnTo>
                  <a:lnTo>
                    <a:pt x="3304031" y="15037"/>
                  </a:lnTo>
                  <a:lnTo>
                    <a:pt x="3304031" y="15634"/>
                  </a:lnTo>
                  <a:lnTo>
                    <a:pt x="3304171" y="15634"/>
                  </a:lnTo>
                  <a:lnTo>
                    <a:pt x="3304171" y="16320"/>
                  </a:lnTo>
                  <a:lnTo>
                    <a:pt x="3304222" y="16320"/>
                  </a:lnTo>
                  <a:lnTo>
                    <a:pt x="3304222" y="15634"/>
                  </a:lnTo>
                  <a:lnTo>
                    <a:pt x="3304921" y="15634"/>
                  </a:lnTo>
                  <a:lnTo>
                    <a:pt x="3304971" y="16320"/>
                  </a:lnTo>
                  <a:lnTo>
                    <a:pt x="3305073" y="15634"/>
                  </a:lnTo>
                  <a:lnTo>
                    <a:pt x="3305416" y="15634"/>
                  </a:lnTo>
                  <a:lnTo>
                    <a:pt x="3305517" y="16320"/>
                  </a:lnTo>
                  <a:lnTo>
                    <a:pt x="3305517" y="15634"/>
                  </a:lnTo>
                  <a:lnTo>
                    <a:pt x="3305759" y="15634"/>
                  </a:lnTo>
                  <a:lnTo>
                    <a:pt x="3305759" y="15037"/>
                  </a:lnTo>
                  <a:lnTo>
                    <a:pt x="3305810" y="15037"/>
                  </a:lnTo>
                  <a:lnTo>
                    <a:pt x="3305810" y="15634"/>
                  </a:lnTo>
                  <a:lnTo>
                    <a:pt x="3306559" y="15634"/>
                  </a:lnTo>
                  <a:lnTo>
                    <a:pt x="3306660" y="16320"/>
                  </a:lnTo>
                  <a:lnTo>
                    <a:pt x="3306711" y="15634"/>
                  </a:lnTo>
                  <a:lnTo>
                    <a:pt x="3306762" y="15037"/>
                  </a:lnTo>
                  <a:lnTo>
                    <a:pt x="3306800" y="15634"/>
                  </a:lnTo>
                  <a:lnTo>
                    <a:pt x="3308591" y="15634"/>
                  </a:lnTo>
                  <a:lnTo>
                    <a:pt x="3308591" y="16320"/>
                  </a:lnTo>
                  <a:lnTo>
                    <a:pt x="3308692" y="16320"/>
                  </a:lnTo>
                  <a:lnTo>
                    <a:pt x="3308743" y="15634"/>
                  </a:lnTo>
                  <a:lnTo>
                    <a:pt x="3309238" y="15634"/>
                  </a:lnTo>
                  <a:lnTo>
                    <a:pt x="3309289" y="16320"/>
                  </a:lnTo>
                  <a:lnTo>
                    <a:pt x="3309391" y="15634"/>
                  </a:lnTo>
                  <a:lnTo>
                    <a:pt x="3309835" y="15634"/>
                  </a:lnTo>
                  <a:lnTo>
                    <a:pt x="3309835" y="16320"/>
                  </a:lnTo>
                  <a:lnTo>
                    <a:pt x="3309937" y="16320"/>
                  </a:lnTo>
                  <a:lnTo>
                    <a:pt x="3309975" y="15634"/>
                  </a:lnTo>
                  <a:lnTo>
                    <a:pt x="3310178" y="15634"/>
                  </a:lnTo>
                  <a:lnTo>
                    <a:pt x="3310280" y="16320"/>
                  </a:lnTo>
                  <a:lnTo>
                    <a:pt x="3310381" y="16320"/>
                  </a:lnTo>
                  <a:lnTo>
                    <a:pt x="3310432" y="15634"/>
                  </a:lnTo>
                  <a:lnTo>
                    <a:pt x="3310572" y="15634"/>
                  </a:lnTo>
                  <a:lnTo>
                    <a:pt x="3310572" y="16320"/>
                  </a:lnTo>
                  <a:lnTo>
                    <a:pt x="3310674" y="16320"/>
                  </a:lnTo>
                  <a:lnTo>
                    <a:pt x="3310674" y="15634"/>
                  </a:lnTo>
                  <a:lnTo>
                    <a:pt x="3310775" y="16320"/>
                  </a:lnTo>
                  <a:lnTo>
                    <a:pt x="3310826" y="15634"/>
                  </a:lnTo>
                  <a:lnTo>
                    <a:pt x="3311067" y="15634"/>
                  </a:lnTo>
                  <a:lnTo>
                    <a:pt x="3311118" y="16320"/>
                  </a:lnTo>
                  <a:lnTo>
                    <a:pt x="3311118" y="15634"/>
                  </a:lnTo>
                  <a:lnTo>
                    <a:pt x="3311474" y="15634"/>
                  </a:lnTo>
                  <a:lnTo>
                    <a:pt x="3311474" y="16320"/>
                  </a:lnTo>
                  <a:lnTo>
                    <a:pt x="3311524" y="15634"/>
                  </a:lnTo>
                  <a:lnTo>
                    <a:pt x="3311969" y="15634"/>
                  </a:lnTo>
                  <a:lnTo>
                    <a:pt x="3311969" y="15037"/>
                  </a:lnTo>
                  <a:lnTo>
                    <a:pt x="3312020" y="15634"/>
                  </a:lnTo>
                  <a:lnTo>
                    <a:pt x="3312210" y="15634"/>
                  </a:lnTo>
                  <a:lnTo>
                    <a:pt x="3312210" y="16320"/>
                  </a:lnTo>
                  <a:lnTo>
                    <a:pt x="3312261" y="15634"/>
                  </a:lnTo>
                  <a:lnTo>
                    <a:pt x="3312363" y="16320"/>
                  </a:lnTo>
                  <a:lnTo>
                    <a:pt x="3312363" y="15634"/>
                  </a:lnTo>
                  <a:lnTo>
                    <a:pt x="3312706" y="15634"/>
                  </a:lnTo>
                  <a:lnTo>
                    <a:pt x="3312706" y="15037"/>
                  </a:lnTo>
                  <a:lnTo>
                    <a:pt x="3312807" y="15634"/>
                  </a:lnTo>
                  <a:lnTo>
                    <a:pt x="3312858" y="15634"/>
                  </a:lnTo>
                  <a:lnTo>
                    <a:pt x="3312858" y="16320"/>
                  </a:lnTo>
                  <a:lnTo>
                    <a:pt x="3312909" y="15634"/>
                  </a:lnTo>
                  <a:lnTo>
                    <a:pt x="3313010" y="15634"/>
                  </a:lnTo>
                  <a:lnTo>
                    <a:pt x="3313010" y="16320"/>
                  </a:lnTo>
                  <a:lnTo>
                    <a:pt x="3313112" y="16320"/>
                  </a:lnTo>
                  <a:lnTo>
                    <a:pt x="3313112" y="15634"/>
                  </a:lnTo>
                  <a:lnTo>
                    <a:pt x="3313455" y="15634"/>
                  </a:lnTo>
                  <a:lnTo>
                    <a:pt x="3313506" y="16320"/>
                  </a:lnTo>
                  <a:lnTo>
                    <a:pt x="3313556" y="15634"/>
                  </a:lnTo>
                  <a:lnTo>
                    <a:pt x="3313607" y="16320"/>
                  </a:lnTo>
                  <a:lnTo>
                    <a:pt x="3313607" y="15634"/>
                  </a:lnTo>
                  <a:lnTo>
                    <a:pt x="3313747" y="15634"/>
                  </a:lnTo>
                  <a:lnTo>
                    <a:pt x="3313747" y="16320"/>
                  </a:lnTo>
                  <a:lnTo>
                    <a:pt x="3313798" y="16320"/>
                  </a:lnTo>
                  <a:lnTo>
                    <a:pt x="3313849" y="15634"/>
                  </a:lnTo>
                  <a:lnTo>
                    <a:pt x="3314153" y="15634"/>
                  </a:lnTo>
                  <a:lnTo>
                    <a:pt x="3314192" y="16320"/>
                  </a:lnTo>
                  <a:lnTo>
                    <a:pt x="3314192" y="15634"/>
                  </a:lnTo>
                  <a:lnTo>
                    <a:pt x="3314395" y="15634"/>
                  </a:lnTo>
                  <a:lnTo>
                    <a:pt x="3314446" y="16320"/>
                  </a:lnTo>
                  <a:lnTo>
                    <a:pt x="3314496" y="16320"/>
                  </a:lnTo>
                  <a:lnTo>
                    <a:pt x="3314496" y="15634"/>
                  </a:lnTo>
                  <a:lnTo>
                    <a:pt x="3314839" y="15634"/>
                  </a:lnTo>
                  <a:lnTo>
                    <a:pt x="3314839" y="15037"/>
                  </a:lnTo>
                  <a:lnTo>
                    <a:pt x="3314890" y="15634"/>
                  </a:lnTo>
                  <a:lnTo>
                    <a:pt x="3314941" y="15634"/>
                  </a:lnTo>
                  <a:lnTo>
                    <a:pt x="3314941" y="16320"/>
                  </a:lnTo>
                  <a:lnTo>
                    <a:pt x="3315042" y="15634"/>
                  </a:lnTo>
                  <a:lnTo>
                    <a:pt x="3315042" y="16320"/>
                  </a:lnTo>
                  <a:lnTo>
                    <a:pt x="3315144" y="16320"/>
                  </a:lnTo>
                  <a:lnTo>
                    <a:pt x="3315144" y="15634"/>
                  </a:lnTo>
                  <a:lnTo>
                    <a:pt x="3315588" y="15634"/>
                  </a:lnTo>
                  <a:lnTo>
                    <a:pt x="3315588" y="16320"/>
                  </a:lnTo>
                  <a:lnTo>
                    <a:pt x="3315741" y="16320"/>
                  </a:lnTo>
                  <a:lnTo>
                    <a:pt x="3315779" y="15634"/>
                  </a:lnTo>
                  <a:lnTo>
                    <a:pt x="3315830" y="16320"/>
                  </a:lnTo>
                  <a:lnTo>
                    <a:pt x="3315830" y="15634"/>
                  </a:lnTo>
                  <a:lnTo>
                    <a:pt x="3315881" y="16320"/>
                  </a:lnTo>
                  <a:lnTo>
                    <a:pt x="3316033" y="16320"/>
                  </a:lnTo>
                  <a:lnTo>
                    <a:pt x="3316084" y="15634"/>
                  </a:lnTo>
                  <a:lnTo>
                    <a:pt x="3316630" y="15634"/>
                  </a:lnTo>
                  <a:lnTo>
                    <a:pt x="3316681" y="16320"/>
                  </a:lnTo>
                  <a:lnTo>
                    <a:pt x="3316731" y="15634"/>
                  </a:lnTo>
                  <a:lnTo>
                    <a:pt x="3316782" y="15634"/>
                  </a:lnTo>
                  <a:lnTo>
                    <a:pt x="3316871" y="16320"/>
                  </a:lnTo>
                  <a:lnTo>
                    <a:pt x="3316922" y="15634"/>
                  </a:lnTo>
                  <a:lnTo>
                    <a:pt x="3317328" y="15634"/>
                  </a:lnTo>
                  <a:lnTo>
                    <a:pt x="3317328" y="16320"/>
                  </a:lnTo>
                  <a:lnTo>
                    <a:pt x="3317367" y="16320"/>
                  </a:lnTo>
                  <a:lnTo>
                    <a:pt x="3317367" y="15634"/>
                  </a:lnTo>
                  <a:lnTo>
                    <a:pt x="3317671" y="15634"/>
                  </a:lnTo>
                  <a:lnTo>
                    <a:pt x="3317773" y="16320"/>
                  </a:lnTo>
                  <a:lnTo>
                    <a:pt x="3317773" y="15634"/>
                  </a:lnTo>
                  <a:lnTo>
                    <a:pt x="3317913" y="15634"/>
                  </a:lnTo>
                  <a:lnTo>
                    <a:pt x="3318014" y="16320"/>
                  </a:lnTo>
                  <a:lnTo>
                    <a:pt x="3318116" y="16320"/>
                  </a:lnTo>
                  <a:lnTo>
                    <a:pt x="3318217" y="15634"/>
                  </a:lnTo>
                  <a:lnTo>
                    <a:pt x="3318814" y="15634"/>
                  </a:lnTo>
                  <a:lnTo>
                    <a:pt x="3318814" y="16320"/>
                  </a:lnTo>
                  <a:lnTo>
                    <a:pt x="3319208" y="16320"/>
                  </a:lnTo>
                  <a:lnTo>
                    <a:pt x="3319208" y="15634"/>
                  </a:lnTo>
                  <a:lnTo>
                    <a:pt x="3319360" y="15634"/>
                  </a:lnTo>
                  <a:lnTo>
                    <a:pt x="3319411" y="16320"/>
                  </a:lnTo>
                  <a:lnTo>
                    <a:pt x="3319500" y="16320"/>
                  </a:lnTo>
                  <a:lnTo>
                    <a:pt x="3319500" y="15634"/>
                  </a:lnTo>
                  <a:lnTo>
                    <a:pt x="3320542" y="15634"/>
                  </a:lnTo>
                  <a:lnTo>
                    <a:pt x="3320592" y="16320"/>
                  </a:lnTo>
                  <a:lnTo>
                    <a:pt x="3320592" y="15634"/>
                  </a:lnTo>
                  <a:lnTo>
                    <a:pt x="3320643" y="15634"/>
                  </a:lnTo>
                  <a:lnTo>
                    <a:pt x="3320643" y="16320"/>
                  </a:lnTo>
                  <a:lnTo>
                    <a:pt x="3320796" y="16320"/>
                  </a:lnTo>
                  <a:lnTo>
                    <a:pt x="3320846" y="15634"/>
                  </a:lnTo>
                  <a:lnTo>
                    <a:pt x="3320846" y="16320"/>
                  </a:lnTo>
                  <a:lnTo>
                    <a:pt x="3320948" y="16320"/>
                  </a:lnTo>
                  <a:lnTo>
                    <a:pt x="3320948" y="15634"/>
                  </a:lnTo>
                  <a:lnTo>
                    <a:pt x="3320999" y="15634"/>
                  </a:lnTo>
                  <a:lnTo>
                    <a:pt x="3321049" y="16320"/>
                  </a:lnTo>
                  <a:lnTo>
                    <a:pt x="3321049" y="15634"/>
                  </a:lnTo>
                  <a:lnTo>
                    <a:pt x="3321240" y="15634"/>
                  </a:lnTo>
                  <a:lnTo>
                    <a:pt x="3321291" y="16320"/>
                  </a:lnTo>
                  <a:lnTo>
                    <a:pt x="3321291" y="15634"/>
                  </a:lnTo>
                  <a:lnTo>
                    <a:pt x="3321545" y="15634"/>
                  </a:lnTo>
                  <a:lnTo>
                    <a:pt x="3321634" y="16320"/>
                  </a:lnTo>
                  <a:lnTo>
                    <a:pt x="3321888" y="16320"/>
                  </a:lnTo>
                  <a:lnTo>
                    <a:pt x="3321888" y="15634"/>
                  </a:lnTo>
                  <a:lnTo>
                    <a:pt x="3321938" y="15634"/>
                  </a:lnTo>
                  <a:lnTo>
                    <a:pt x="3321938" y="16320"/>
                  </a:lnTo>
                  <a:lnTo>
                    <a:pt x="3321989" y="15634"/>
                  </a:lnTo>
                  <a:lnTo>
                    <a:pt x="3321989" y="16320"/>
                  </a:lnTo>
                  <a:lnTo>
                    <a:pt x="3322091" y="16320"/>
                  </a:lnTo>
                  <a:lnTo>
                    <a:pt x="3322129" y="15634"/>
                  </a:lnTo>
                  <a:lnTo>
                    <a:pt x="3322535" y="15634"/>
                  </a:lnTo>
                  <a:lnTo>
                    <a:pt x="3322586" y="16320"/>
                  </a:lnTo>
                  <a:lnTo>
                    <a:pt x="3322637" y="16320"/>
                  </a:lnTo>
                  <a:lnTo>
                    <a:pt x="3322675" y="15634"/>
                  </a:lnTo>
                  <a:lnTo>
                    <a:pt x="3322828" y="15634"/>
                  </a:lnTo>
                  <a:lnTo>
                    <a:pt x="3322878" y="16320"/>
                  </a:lnTo>
                  <a:lnTo>
                    <a:pt x="3322980" y="16320"/>
                  </a:lnTo>
                  <a:lnTo>
                    <a:pt x="3323031" y="15634"/>
                  </a:lnTo>
                  <a:lnTo>
                    <a:pt x="3323081" y="15634"/>
                  </a:lnTo>
                  <a:lnTo>
                    <a:pt x="3323132" y="16320"/>
                  </a:lnTo>
                  <a:lnTo>
                    <a:pt x="3323323" y="16320"/>
                  </a:lnTo>
                  <a:lnTo>
                    <a:pt x="3323374" y="15634"/>
                  </a:lnTo>
                  <a:lnTo>
                    <a:pt x="3323374" y="16320"/>
                  </a:lnTo>
                  <a:lnTo>
                    <a:pt x="3323475" y="15634"/>
                  </a:lnTo>
                  <a:lnTo>
                    <a:pt x="3323920" y="15634"/>
                  </a:lnTo>
                  <a:lnTo>
                    <a:pt x="3323971" y="16320"/>
                  </a:lnTo>
                  <a:lnTo>
                    <a:pt x="3323971" y="15634"/>
                  </a:lnTo>
                  <a:lnTo>
                    <a:pt x="3324021" y="16320"/>
                  </a:lnTo>
                  <a:lnTo>
                    <a:pt x="3324123" y="15634"/>
                  </a:lnTo>
                  <a:lnTo>
                    <a:pt x="3324364" y="15634"/>
                  </a:lnTo>
                  <a:lnTo>
                    <a:pt x="3324415" y="16320"/>
                  </a:lnTo>
                  <a:lnTo>
                    <a:pt x="3324415" y="15634"/>
                  </a:lnTo>
                  <a:lnTo>
                    <a:pt x="3324567" y="15634"/>
                  </a:lnTo>
                  <a:lnTo>
                    <a:pt x="3324567" y="15037"/>
                  </a:lnTo>
                  <a:lnTo>
                    <a:pt x="3324618" y="15634"/>
                  </a:lnTo>
                  <a:lnTo>
                    <a:pt x="3324669" y="15634"/>
                  </a:lnTo>
                  <a:lnTo>
                    <a:pt x="3324669" y="16320"/>
                  </a:lnTo>
                  <a:lnTo>
                    <a:pt x="3324720" y="15634"/>
                  </a:lnTo>
                  <a:lnTo>
                    <a:pt x="3324910" y="15634"/>
                  </a:lnTo>
                  <a:lnTo>
                    <a:pt x="3324961" y="16320"/>
                  </a:lnTo>
                  <a:lnTo>
                    <a:pt x="3324961" y="15634"/>
                  </a:lnTo>
                  <a:lnTo>
                    <a:pt x="3325266" y="15634"/>
                  </a:lnTo>
                  <a:lnTo>
                    <a:pt x="3325266" y="15037"/>
                  </a:lnTo>
                  <a:lnTo>
                    <a:pt x="3325304" y="15634"/>
                  </a:lnTo>
                  <a:lnTo>
                    <a:pt x="3325355" y="15634"/>
                  </a:lnTo>
                  <a:lnTo>
                    <a:pt x="3325406" y="16320"/>
                  </a:lnTo>
                  <a:lnTo>
                    <a:pt x="3325558" y="16320"/>
                  </a:lnTo>
                  <a:lnTo>
                    <a:pt x="3325609" y="15634"/>
                  </a:lnTo>
                  <a:lnTo>
                    <a:pt x="3325710" y="16320"/>
                  </a:lnTo>
                  <a:lnTo>
                    <a:pt x="3325812" y="16320"/>
                  </a:lnTo>
                  <a:lnTo>
                    <a:pt x="3325850" y="15634"/>
                  </a:lnTo>
                  <a:lnTo>
                    <a:pt x="3325850" y="16320"/>
                  </a:lnTo>
                  <a:lnTo>
                    <a:pt x="3325952" y="15634"/>
                  </a:lnTo>
                  <a:lnTo>
                    <a:pt x="3325952" y="16320"/>
                  </a:lnTo>
                  <a:lnTo>
                    <a:pt x="3326003" y="15634"/>
                  </a:lnTo>
                  <a:lnTo>
                    <a:pt x="3326053" y="15634"/>
                  </a:lnTo>
                  <a:lnTo>
                    <a:pt x="3326053" y="16320"/>
                  </a:lnTo>
                  <a:lnTo>
                    <a:pt x="3326155" y="15634"/>
                  </a:lnTo>
                  <a:lnTo>
                    <a:pt x="3326155" y="16320"/>
                  </a:lnTo>
                  <a:lnTo>
                    <a:pt x="3326206" y="15634"/>
                  </a:lnTo>
                  <a:lnTo>
                    <a:pt x="3326206" y="16320"/>
                  </a:lnTo>
                  <a:lnTo>
                    <a:pt x="3326256" y="16320"/>
                  </a:lnTo>
                  <a:lnTo>
                    <a:pt x="3326256" y="15634"/>
                  </a:lnTo>
                  <a:lnTo>
                    <a:pt x="3326447" y="15634"/>
                  </a:lnTo>
                  <a:lnTo>
                    <a:pt x="3326447" y="16320"/>
                  </a:lnTo>
                  <a:lnTo>
                    <a:pt x="3326498" y="16320"/>
                  </a:lnTo>
                  <a:lnTo>
                    <a:pt x="3326498" y="15634"/>
                  </a:lnTo>
                  <a:lnTo>
                    <a:pt x="3326701" y="15634"/>
                  </a:lnTo>
                  <a:lnTo>
                    <a:pt x="3326701" y="16320"/>
                  </a:lnTo>
                  <a:lnTo>
                    <a:pt x="3326752" y="15634"/>
                  </a:lnTo>
                  <a:lnTo>
                    <a:pt x="3326993" y="15634"/>
                  </a:lnTo>
                  <a:lnTo>
                    <a:pt x="3327095" y="16320"/>
                  </a:lnTo>
                  <a:lnTo>
                    <a:pt x="3327095" y="15634"/>
                  </a:lnTo>
                  <a:lnTo>
                    <a:pt x="3327298" y="15634"/>
                  </a:lnTo>
                  <a:lnTo>
                    <a:pt x="3327298" y="16320"/>
                  </a:lnTo>
                  <a:lnTo>
                    <a:pt x="3327349" y="15634"/>
                  </a:lnTo>
                  <a:lnTo>
                    <a:pt x="3327742" y="15634"/>
                  </a:lnTo>
                  <a:lnTo>
                    <a:pt x="3327742" y="16320"/>
                  </a:lnTo>
                  <a:lnTo>
                    <a:pt x="3327844" y="16320"/>
                  </a:lnTo>
                  <a:lnTo>
                    <a:pt x="3327895" y="15634"/>
                  </a:lnTo>
                  <a:lnTo>
                    <a:pt x="3327984" y="15634"/>
                  </a:lnTo>
                  <a:lnTo>
                    <a:pt x="3328035" y="16320"/>
                  </a:lnTo>
                  <a:lnTo>
                    <a:pt x="3328238" y="16320"/>
                  </a:lnTo>
                  <a:lnTo>
                    <a:pt x="3328238" y="15634"/>
                  </a:lnTo>
                  <a:lnTo>
                    <a:pt x="3328682" y="15634"/>
                  </a:lnTo>
                  <a:lnTo>
                    <a:pt x="3328733" y="16320"/>
                  </a:lnTo>
                  <a:lnTo>
                    <a:pt x="3328784" y="15634"/>
                  </a:lnTo>
                  <a:lnTo>
                    <a:pt x="3328784" y="16320"/>
                  </a:lnTo>
                  <a:lnTo>
                    <a:pt x="3328885" y="16320"/>
                  </a:lnTo>
                  <a:lnTo>
                    <a:pt x="3328885" y="15634"/>
                  </a:lnTo>
                  <a:lnTo>
                    <a:pt x="3328936" y="16320"/>
                  </a:lnTo>
                  <a:lnTo>
                    <a:pt x="3328936" y="15634"/>
                  </a:lnTo>
                  <a:lnTo>
                    <a:pt x="3328987" y="15634"/>
                  </a:lnTo>
                  <a:lnTo>
                    <a:pt x="3329025" y="16320"/>
                  </a:lnTo>
                  <a:lnTo>
                    <a:pt x="3329228" y="16320"/>
                  </a:lnTo>
                  <a:lnTo>
                    <a:pt x="3329330" y="15634"/>
                  </a:lnTo>
                  <a:lnTo>
                    <a:pt x="3329381" y="16320"/>
                  </a:lnTo>
                  <a:lnTo>
                    <a:pt x="3329431" y="15634"/>
                  </a:lnTo>
                  <a:lnTo>
                    <a:pt x="3330321" y="15634"/>
                  </a:lnTo>
                  <a:lnTo>
                    <a:pt x="3330371" y="15037"/>
                  </a:lnTo>
                  <a:lnTo>
                    <a:pt x="3330473" y="15634"/>
                  </a:lnTo>
                  <a:lnTo>
                    <a:pt x="3330574" y="15634"/>
                  </a:lnTo>
                  <a:lnTo>
                    <a:pt x="3330613" y="16320"/>
                  </a:lnTo>
                  <a:lnTo>
                    <a:pt x="3330714" y="16320"/>
                  </a:lnTo>
                  <a:lnTo>
                    <a:pt x="3330714" y="15634"/>
                  </a:lnTo>
                  <a:lnTo>
                    <a:pt x="3331070" y="15634"/>
                  </a:lnTo>
                  <a:lnTo>
                    <a:pt x="3331070" y="16320"/>
                  </a:lnTo>
                  <a:lnTo>
                    <a:pt x="3331159" y="15634"/>
                  </a:lnTo>
                  <a:lnTo>
                    <a:pt x="3331210" y="15634"/>
                  </a:lnTo>
                  <a:lnTo>
                    <a:pt x="3331210" y="16320"/>
                  </a:lnTo>
                  <a:lnTo>
                    <a:pt x="3331260" y="15634"/>
                  </a:lnTo>
                  <a:lnTo>
                    <a:pt x="3331857" y="15634"/>
                  </a:lnTo>
                  <a:lnTo>
                    <a:pt x="3331908" y="15037"/>
                  </a:lnTo>
                  <a:lnTo>
                    <a:pt x="3331908" y="15634"/>
                  </a:lnTo>
                  <a:lnTo>
                    <a:pt x="3332060" y="15634"/>
                  </a:lnTo>
                  <a:lnTo>
                    <a:pt x="3332111" y="15037"/>
                  </a:lnTo>
                  <a:lnTo>
                    <a:pt x="3332162" y="15634"/>
                  </a:lnTo>
                  <a:lnTo>
                    <a:pt x="3332200" y="15634"/>
                  </a:lnTo>
                  <a:lnTo>
                    <a:pt x="3332200" y="15037"/>
                  </a:lnTo>
                  <a:lnTo>
                    <a:pt x="3332302" y="15037"/>
                  </a:lnTo>
                  <a:lnTo>
                    <a:pt x="3332302" y="15634"/>
                  </a:lnTo>
                  <a:lnTo>
                    <a:pt x="3332505" y="15634"/>
                  </a:lnTo>
                  <a:lnTo>
                    <a:pt x="3332505" y="16320"/>
                  </a:lnTo>
                  <a:lnTo>
                    <a:pt x="3332556" y="15634"/>
                  </a:lnTo>
                  <a:lnTo>
                    <a:pt x="3332606" y="15634"/>
                  </a:lnTo>
                  <a:lnTo>
                    <a:pt x="3332657" y="16320"/>
                  </a:lnTo>
                  <a:lnTo>
                    <a:pt x="3332797" y="16320"/>
                  </a:lnTo>
                  <a:lnTo>
                    <a:pt x="3332797" y="15634"/>
                  </a:lnTo>
                  <a:lnTo>
                    <a:pt x="3332848" y="15634"/>
                  </a:lnTo>
                  <a:lnTo>
                    <a:pt x="3332848" y="16320"/>
                  </a:lnTo>
                  <a:lnTo>
                    <a:pt x="3332899" y="15634"/>
                  </a:lnTo>
                  <a:lnTo>
                    <a:pt x="3333102" y="15634"/>
                  </a:lnTo>
                  <a:lnTo>
                    <a:pt x="3333102" y="16320"/>
                  </a:lnTo>
                  <a:lnTo>
                    <a:pt x="3333203" y="15634"/>
                  </a:lnTo>
                  <a:lnTo>
                    <a:pt x="3333242" y="15634"/>
                  </a:lnTo>
                  <a:lnTo>
                    <a:pt x="3333292" y="16320"/>
                  </a:lnTo>
                  <a:lnTo>
                    <a:pt x="3333343" y="16320"/>
                  </a:lnTo>
                  <a:lnTo>
                    <a:pt x="3333445" y="17615"/>
                  </a:lnTo>
                  <a:lnTo>
                    <a:pt x="3333496" y="17615"/>
                  </a:lnTo>
                  <a:lnTo>
                    <a:pt x="3333496" y="16320"/>
                  </a:lnTo>
                  <a:lnTo>
                    <a:pt x="3333648" y="16320"/>
                  </a:lnTo>
                  <a:lnTo>
                    <a:pt x="3333648" y="15634"/>
                  </a:lnTo>
                  <a:lnTo>
                    <a:pt x="3333749" y="15634"/>
                  </a:lnTo>
                  <a:lnTo>
                    <a:pt x="3333749" y="16320"/>
                  </a:lnTo>
                  <a:lnTo>
                    <a:pt x="3334092" y="16320"/>
                  </a:lnTo>
                  <a:lnTo>
                    <a:pt x="3334092" y="15634"/>
                  </a:lnTo>
                  <a:lnTo>
                    <a:pt x="3334143" y="16320"/>
                  </a:lnTo>
                  <a:lnTo>
                    <a:pt x="3334245" y="16320"/>
                  </a:lnTo>
                  <a:lnTo>
                    <a:pt x="3334245" y="15634"/>
                  </a:lnTo>
                  <a:lnTo>
                    <a:pt x="3334334" y="15634"/>
                  </a:lnTo>
                  <a:lnTo>
                    <a:pt x="3334334" y="16320"/>
                  </a:lnTo>
                  <a:lnTo>
                    <a:pt x="3334385" y="16320"/>
                  </a:lnTo>
                  <a:lnTo>
                    <a:pt x="3334435" y="15634"/>
                  </a:lnTo>
                  <a:lnTo>
                    <a:pt x="3334689" y="15634"/>
                  </a:lnTo>
                  <a:lnTo>
                    <a:pt x="3334791" y="16320"/>
                  </a:lnTo>
                  <a:lnTo>
                    <a:pt x="3335337" y="16320"/>
                  </a:lnTo>
                  <a:lnTo>
                    <a:pt x="3335337" y="15634"/>
                  </a:lnTo>
                  <a:lnTo>
                    <a:pt x="3336721" y="15634"/>
                  </a:lnTo>
                  <a:lnTo>
                    <a:pt x="3336721" y="15037"/>
                  </a:lnTo>
                  <a:lnTo>
                    <a:pt x="3336823" y="15634"/>
                  </a:lnTo>
                  <a:lnTo>
                    <a:pt x="3337318" y="15634"/>
                  </a:lnTo>
                  <a:lnTo>
                    <a:pt x="3337318" y="15037"/>
                  </a:lnTo>
                  <a:lnTo>
                    <a:pt x="3337369" y="15634"/>
                  </a:lnTo>
                  <a:lnTo>
                    <a:pt x="3337610" y="15634"/>
                  </a:lnTo>
                  <a:lnTo>
                    <a:pt x="3337610" y="16320"/>
                  </a:lnTo>
                  <a:lnTo>
                    <a:pt x="3338055" y="16320"/>
                  </a:lnTo>
                  <a:lnTo>
                    <a:pt x="3338055" y="15634"/>
                  </a:lnTo>
                  <a:lnTo>
                    <a:pt x="3339096" y="15634"/>
                  </a:lnTo>
                  <a:lnTo>
                    <a:pt x="3339096" y="16320"/>
                  </a:lnTo>
                  <a:lnTo>
                    <a:pt x="3339147" y="15634"/>
                  </a:lnTo>
                  <a:lnTo>
                    <a:pt x="3340341" y="15634"/>
                  </a:lnTo>
                  <a:lnTo>
                    <a:pt x="3340341" y="16320"/>
                  </a:lnTo>
                  <a:lnTo>
                    <a:pt x="3340544" y="16320"/>
                  </a:lnTo>
                  <a:lnTo>
                    <a:pt x="3340595" y="15634"/>
                  </a:lnTo>
                  <a:lnTo>
                    <a:pt x="3341281" y="15634"/>
                  </a:lnTo>
                  <a:lnTo>
                    <a:pt x="3341382" y="16320"/>
                  </a:lnTo>
                  <a:lnTo>
                    <a:pt x="3341382" y="15634"/>
                  </a:lnTo>
                  <a:lnTo>
                    <a:pt x="3341433" y="15634"/>
                  </a:lnTo>
                  <a:lnTo>
                    <a:pt x="3341433" y="16320"/>
                  </a:lnTo>
                  <a:lnTo>
                    <a:pt x="3341484" y="15634"/>
                  </a:lnTo>
                  <a:lnTo>
                    <a:pt x="3341585" y="15634"/>
                  </a:lnTo>
                  <a:lnTo>
                    <a:pt x="3341636" y="15037"/>
                  </a:lnTo>
                  <a:lnTo>
                    <a:pt x="3341636" y="15634"/>
                  </a:lnTo>
                  <a:lnTo>
                    <a:pt x="3342081" y="15634"/>
                  </a:lnTo>
                  <a:lnTo>
                    <a:pt x="3342131" y="16320"/>
                  </a:lnTo>
                  <a:lnTo>
                    <a:pt x="3342182" y="16320"/>
                  </a:lnTo>
                  <a:lnTo>
                    <a:pt x="3342182" y="15634"/>
                  </a:lnTo>
                  <a:lnTo>
                    <a:pt x="3342271" y="15634"/>
                  </a:lnTo>
                  <a:lnTo>
                    <a:pt x="3342271" y="16320"/>
                  </a:lnTo>
                  <a:lnTo>
                    <a:pt x="3342322" y="16320"/>
                  </a:lnTo>
                  <a:lnTo>
                    <a:pt x="3342322" y="15634"/>
                  </a:lnTo>
                  <a:lnTo>
                    <a:pt x="3342373" y="16320"/>
                  </a:lnTo>
                  <a:lnTo>
                    <a:pt x="3342424" y="15634"/>
                  </a:lnTo>
                  <a:lnTo>
                    <a:pt x="3342767" y="15634"/>
                  </a:lnTo>
                  <a:lnTo>
                    <a:pt x="3342767" y="16320"/>
                  </a:lnTo>
                  <a:lnTo>
                    <a:pt x="3342817" y="15634"/>
                  </a:lnTo>
                  <a:lnTo>
                    <a:pt x="3342817" y="16320"/>
                  </a:lnTo>
                  <a:lnTo>
                    <a:pt x="3342868" y="15634"/>
                  </a:lnTo>
                  <a:lnTo>
                    <a:pt x="3342970" y="16320"/>
                  </a:lnTo>
                  <a:lnTo>
                    <a:pt x="3342970" y="15634"/>
                  </a:lnTo>
                  <a:lnTo>
                    <a:pt x="3343173" y="15634"/>
                  </a:lnTo>
                  <a:lnTo>
                    <a:pt x="3343224" y="16320"/>
                  </a:lnTo>
                  <a:lnTo>
                    <a:pt x="3343313" y="16320"/>
                  </a:lnTo>
                  <a:lnTo>
                    <a:pt x="3343313" y="15634"/>
                  </a:lnTo>
                  <a:lnTo>
                    <a:pt x="3343516" y="15634"/>
                  </a:lnTo>
                  <a:lnTo>
                    <a:pt x="3343617" y="16320"/>
                  </a:lnTo>
                  <a:lnTo>
                    <a:pt x="3343719" y="16320"/>
                  </a:lnTo>
                  <a:lnTo>
                    <a:pt x="3343719" y="15634"/>
                  </a:lnTo>
                  <a:lnTo>
                    <a:pt x="3343770" y="16320"/>
                  </a:lnTo>
                  <a:lnTo>
                    <a:pt x="3343859" y="15634"/>
                  </a:lnTo>
                  <a:lnTo>
                    <a:pt x="3344163" y="15634"/>
                  </a:lnTo>
                  <a:lnTo>
                    <a:pt x="3344163" y="16320"/>
                  </a:lnTo>
                  <a:lnTo>
                    <a:pt x="3344405" y="16320"/>
                  </a:lnTo>
                  <a:lnTo>
                    <a:pt x="3344405" y="15634"/>
                  </a:lnTo>
                  <a:lnTo>
                    <a:pt x="3344456" y="16320"/>
                  </a:lnTo>
                  <a:lnTo>
                    <a:pt x="3344608" y="16320"/>
                  </a:lnTo>
                  <a:lnTo>
                    <a:pt x="3344659" y="15634"/>
                  </a:lnTo>
                  <a:lnTo>
                    <a:pt x="3344659" y="16320"/>
                  </a:lnTo>
                  <a:lnTo>
                    <a:pt x="3344760" y="16320"/>
                  </a:lnTo>
                  <a:lnTo>
                    <a:pt x="3344760" y="17615"/>
                  </a:lnTo>
                  <a:lnTo>
                    <a:pt x="3344811" y="17615"/>
                  </a:lnTo>
                  <a:lnTo>
                    <a:pt x="3344862" y="16320"/>
                  </a:lnTo>
                  <a:lnTo>
                    <a:pt x="3345256" y="16320"/>
                  </a:lnTo>
                  <a:lnTo>
                    <a:pt x="3345256" y="15634"/>
                  </a:lnTo>
                  <a:lnTo>
                    <a:pt x="3345306" y="16320"/>
                  </a:lnTo>
                  <a:lnTo>
                    <a:pt x="3345306" y="15634"/>
                  </a:lnTo>
                  <a:lnTo>
                    <a:pt x="3345548" y="15634"/>
                  </a:lnTo>
                  <a:lnTo>
                    <a:pt x="3345548" y="16320"/>
                  </a:lnTo>
                  <a:lnTo>
                    <a:pt x="3345700" y="16320"/>
                  </a:lnTo>
                  <a:lnTo>
                    <a:pt x="3345700" y="15634"/>
                  </a:lnTo>
                  <a:lnTo>
                    <a:pt x="3346043" y="15634"/>
                  </a:lnTo>
                  <a:lnTo>
                    <a:pt x="3346145" y="16320"/>
                  </a:lnTo>
                  <a:lnTo>
                    <a:pt x="3346691" y="16320"/>
                  </a:lnTo>
                  <a:lnTo>
                    <a:pt x="3346792" y="15634"/>
                  </a:lnTo>
                  <a:lnTo>
                    <a:pt x="3346792" y="16320"/>
                  </a:lnTo>
                  <a:lnTo>
                    <a:pt x="3346843" y="16320"/>
                  </a:lnTo>
                  <a:lnTo>
                    <a:pt x="3346843" y="15634"/>
                  </a:lnTo>
                  <a:lnTo>
                    <a:pt x="3347580" y="15634"/>
                  </a:lnTo>
                  <a:lnTo>
                    <a:pt x="3347580" y="16320"/>
                  </a:lnTo>
                  <a:lnTo>
                    <a:pt x="3347935" y="16320"/>
                  </a:lnTo>
                  <a:lnTo>
                    <a:pt x="3347935" y="15634"/>
                  </a:lnTo>
                  <a:lnTo>
                    <a:pt x="3347986" y="16320"/>
                  </a:lnTo>
                  <a:lnTo>
                    <a:pt x="3348037" y="15634"/>
                  </a:lnTo>
                  <a:lnTo>
                    <a:pt x="3348037" y="16320"/>
                  </a:lnTo>
                  <a:lnTo>
                    <a:pt x="3348228" y="16320"/>
                  </a:lnTo>
                  <a:lnTo>
                    <a:pt x="3348278" y="15634"/>
                  </a:lnTo>
                  <a:lnTo>
                    <a:pt x="3348278" y="16320"/>
                  </a:lnTo>
                  <a:lnTo>
                    <a:pt x="3348380" y="15634"/>
                  </a:lnTo>
                  <a:lnTo>
                    <a:pt x="3348431" y="16320"/>
                  </a:lnTo>
                  <a:lnTo>
                    <a:pt x="3348481" y="16320"/>
                  </a:lnTo>
                  <a:lnTo>
                    <a:pt x="3348532" y="15634"/>
                  </a:lnTo>
                  <a:lnTo>
                    <a:pt x="3348672" y="15634"/>
                  </a:lnTo>
                  <a:lnTo>
                    <a:pt x="3348672" y="16320"/>
                  </a:lnTo>
                  <a:lnTo>
                    <a:pt x="3348723" y="15634"/>
                  </a:lnTo>
                  <a:lnTo>
                    <a:pt x="3348774" y="16320"/>
                  </a:lnTo>
                  <a:lnTo>
                    <a:pt x="3348875" y="15634"/>
                  </a:lnTo>
                  <a:lnTo>
                    <a:pt x="3348875" y="16320"/>
                  </a:lnTo>
                  <a:lnTo>
                    <a:pt x="3348926" y="15634"/>
                  </a:lnTo>
                  <a:lnTo>
                    <a:pt x="3348977" y="15634"/>
                  </a:lnTo>
                  <a:lnTo>
                    <a:pt x="3349078" y="16320"/>
                  </a:lnTo>
                  <a:lnTo>
                    <a:pt x="3349117" y="15634"/>
                  </a:lnTo>
                  <a:lnTo>
                    <a:pt x="3349167" y="16320"/>
                  </a:lnTo>
                  <a:lnTo>
                    <a:pt x="3349167" y="15634"/>
                  </a:lnTo>
                  <a:lnTo>
                    <a:pt x="3349218" y="16320"/>
                  </a:lnTo>
                  <a:lnTo>
                    <a:pt x="3349320" y="15634"/>
                  </a:lnTo>
                  <a:lnTo>
                    <a:pt x="3349421" y="15634"/>
                  </a:lnTo>
                  <a:lnTo>
                    <a:pt x="3349421" y="16320"/>
                  </a:lnTo>
                  <a:lnTo>
                    <a:pt x="3349523" y="16320"/>
                  </a:lnTo>
                  <a:lnTo>
                    <a:pt x="3349523" y="15634"/>
                  </a:lnTo>
                  <a:lnTo>
                    <a:pt x="3349663" y="15634"/>
                  </a:lnTo>
                  <a:lnTo>
                    <a:pt x="3349764" y="16320"/>
                  </a:lnTo>
                  <a:lnTo>
                    <a:pt x="3349815" y="16320"/>
                  </a:lnTo>
                  <a:lnTo>
                    <a:pt x="3349815" y="15634"/>
                  </a:lnTo>
                  <a:lnTo>
                    <a:pt x="3350310" y="15634"/>
                  </a:lnTo>
                  <a:lnTo>
                    <a:pt x="3350310" y="16320"/>
                  </a:lnTo>
                  <a:lnTo>
                    <a:pt x="3350361" y="16320"/>
                  </a:lnTo>
                  <a:lnTo>
                    <a:pt x="3350361" y="15634"/>
                  </a:lnTo>
                  <a:lnTo>
                    <a:pt x="3350463" y="15634"/>
                  </a:lnTo>
                  <a:lnTo>
                    <a:pt x="3350513" y="16320"/>
                  </a:lnTo>
                  <a:lnTo>
                    <a:pt x="3350666" y="16320"/>
                  </a:lnTo>
                  <a:lnTo>
                    <a:pt x="3350666" y="15634"/>
                  </a:lnTo>
                  <a:lnTo>
                    <a:pt x="3350958" y="15634"/>
                  </a:lnTo>
                  <a:lnTo>
                    <a:pt x="3350958" y="16320"/>
                  </a:lnTo>
                  <a:lnTo>
                    <a:pt x="3351161" y="16320"/>
                  </a:lnTo>
                  <a:lnTo>
                    <a:pt x="3351161" y="15634"/>
                  </a:lnTo>
                  <a:lnTo>
                    <a:pt x="3351352" y="15634"/>
                  </a:lnTo>
                  <a:lnTo>
                    <a:pt x="3351352" y="16320"/>
                  </a:lnTo>
                  <a:lnTo>
                    <a:pt x="3351403" y="15634"/>
                  </a:lnTo>
                  <a:lnTo>
                    <a:pt x="3351403" y="16320"/>
                  </a:lnTo>
                  <a:lnTo>
                    <a:pt x="3351453" y="16320"/>
                  </a:lnTo>
                  <a:lnTo>
                    <a:pt x="3351555" y="15634"/>
                  </a:lnTo>
                  <a:lnTo>
                    <a:pt x="3351606" y="16320"/>
                  </a:lnTo>
                  <a:lnTo>
                    <a:pt x="3351606" y="15634"/>
                  </a:lnTo>
                  <a:lnTo>
                    <a:pt x="3351656" y="16320"/>
                  </a:lnTo>
                  <a:lnTo>
                    <a:pt x="3351656" y="15634"/>
                  </a:lnTo>
                  <a:lnTo>
                    <a:pt x="3351707" y="16320"/>
                  </a:lnTo>
                  <a:lnTo>
                    <a:pt x="3351847" y="16320"/>
                  </a:lnTo>
                  <a:lnTo>
                    <a:pt x="3351847" y="15634"/>
                  </a:lnTo>
                  <a:lnTo>
                    <a:pt x="3351898" y="16320"/>
                  </a:lnTo>
                  <a:lnTo>
                    <a:pt x="3351949" y="16320"/>
                  </a:lnTo>
                  <a:lnTo>
                    <a:pt x="3351949" y="15634"/>
                  </a:lnTo>
                  <a:lnTo>
                    <a:pt x="3352152" y="15634"/>
                  </a:lnTo>
                  <a:lnTo>
                    <a:pt x="3352152" y="16320"/>
                  </a:lnTo>
                  <a:lnTo>
                    <a:pt x="3352292" y="16320"/>
                  </a:lnTo>
                  <a:lnTo>
                    <a:pt x="3352292" y="15634"/>
                  </a:lnTo>
                  <a:lnTo>
                    <a:pt x="3352342" y="15634"/>
                  </a:lnTo>
                  <a:lnTo>
                    <a:pt x="3352342" y="16320"/>
                  </a:lnTo>
                  <a:lnTo>
                    <a:pt x="3352546" y="16320"/>
                  </a:lnTo>
                  <a:lnTo>
                    <a:pt x="3352546" y="15634"/>
                  </a:lnTo>
                  <a:lnTo>
                    <a:pt x="3352596" y="15634"/>
                  </a:lnTo>
                  <a:lnTo>
                    <a:pt x="3352596" y="16320"/>
                  </a:lnTo>
                  <a:lnTo>
                    <a:pt x="3352698" y="15634"/>
                  </a:lnTo>
                  <a:lnTo>
                    <a:pt x="3352698" y="16320"/>
                  </a:lnTo>
                  <a:lnTo>
                    <a:pt x="3352939" y="16320"/>
                  </a:lnTo>
                  <a:lnTo>
                    <a:pt x="3352990" y="15634"/>
                  </a:lnTo>
                  <a:lnTo>
                    <a:pt x="3353041" y="15634"/>
                  </a:lnTo>
                  <a:lnTo>
                    <a:pt x="3353142" y="16320"/>
                  </a:lnTo>
                  <a:lnTo>
                    <a:pt x="3353295" y="16320"/>
                  </a:lnTo>
                  <a:lnTo>
                    <a:pt x="3353384" y="15634"/>
                  </a:lnTo>
                  <a:lnTo>
                    <a:pt x="3353384" y="16320"/>
                  </a:lnTo>
                  <a:lnTo>
                    <a:pt x="3353930" y="16320"/>
                  </a:lnTo>
                  <a:lnTo>
                    <a:pt x="3353981" y="15634"/>
                  </a:lnTo>
                  <a:lnTo>
                    <a:pt x="3354184" y="15634"/>
                  </a:lnTo>
                  <a:lnTo>
                    <a:pt x="3354184" y="16320"/>
                  </a:lnTo>
                  <a:lnTo>
                    <a:pt x="3354285" y="15634"/>
                  </a:lnTo>
                  <a:lnTo>
                    <a:pt x="3354336" y="16320"/>
                  </a:lnTo>
                  <a:lnTo>
                    <a:pt x="3354336" y="15634"/>
                  </a:lnTo>
                  <a:lnTo>
                    <a:pt x="3355124" y="15634"/>
                  </a:lnTo>
                  <a:lnTo>
                    <a:pt x="3355225" y="16320"/>
                  </a:lnTo>
                  <a:lnTo>
                    <a:pt x="3355276" y="16320"/>
                  </a:lnTo>
                  <a:lnTo>
                    <a:pt x="3355276" y="15634"/>
                  </a:lnTo>
                  <a:lnTo>
                    <a:pt x="3355428" y="15634"/>
                  </a:lnTo>
                  <a:lnTo>
                    <a:pt x="3355428" y="16320"/>
                  </a:lnTo>
                  <a:lnTo>
                    <a:pt x="3355517" y="16320"/>
                  </a:lnTo>
                  <a:lnTo>
                    <a:pt x="3355517" y="15634"/>
                  </a:lnTo>
                  <a:lnTo>
                    <a:pt x="3355568" y="16320"/>
                  </a:lnTo>
                  <a:lnTo>
                    <a:pt x="3355568" y="15634"/>
                  </a:lnTo>
                  <a:lnTo>
                    <a:pt x="3355670" y="16320"/>
                  </a:lnTo>
                  <a:lnTo>
                    <a:pt x="3355771" y="16320"/>
                  </a:lnTo>
                  <a:lnTo>
                    <a:pt x="3355873" y="15634"/>
                  </a:lnTo>
                  <a:lnTo>
                    <a:pt x="3355924" y="15634"/>
                  </a:lnTo>
                  <a:lnTo>
                    <a:pt x="3355974" y="16320"/>
                  </a:lnTo>
                  <a:lnTo>
                    <a:pt x="3356165" y="16320"/>
                  </a:lnTo>
                  <a:lnTo>
                    <a:pt x="3356165" y="15634"/>
                  </a:lnTo>
                  <a:lnTo>
                    <a:pt x="3356216" y="16320"/>
                  </a:lnTo>
                  <a:lnTo>
                    <a:pt x="3356216" y="15634"/>
                  </a:lnTo>
                  <a:lnTo>
                    <a:pt x="3356317" y="15634"/>
                  </a:lnTo>
                  <a:lnTo>
                    <a:pt x="3356317" y="16320"/>
                  </a:lnTo>
                  <a:lnTo>
                    <a:pt x="3356559" y="16320"/>
                  </a:lnTo>
                  <a:lnTo>
                    <a:pt x="3356610" y="15634"/>
                  </a:lnTo>
                  <a:lnTo>
                    <a:pt x="3356863" y="15634"/>
                  </a:lnTo>
                  <a:lnTo>
                    <a:pt x="3356863" y="16320"/>
                  </a:lnTo>
                  <a:lnTo>
                    <a:pt x="3356914" y="16320"/>
                  </a:lnTo>
                  <a:lnTo>
                    <a:pt x="3357016" y="15634"/>
                  </a:lnTo>
                  <a:lnTo>
                    <a:pt x="3357054" y="15634"/>
                  </a:lnTo>
                  <a:lnTo>
                    <a:pt x="3357054" y="16320"/>
                  </a:lnTo>
                  <a:lnTo>
                    <a:pt x="3357105" y="15634"/>
                  </a:lnTo>
                  <a:lnTo>
                    <a:pt x="3357156" y="15634"/>
                  </a:lnTo>
                  <a:lnTo>
                    <a:pt x="3357257" y="16320"/>
                  </a:lnTo>
                  <a:lnTo>
                    <a:pt x="3357308" y="15634"/>
                  </a:lnTo>
                  <a:lnTo>
                    <a:pt x="3357460" y="15634"/>
                  </a:lnTo>
                  <a:lnTo>
                    <a:pt x="3357511" y="16320"/>
                  </a:lnTo>
                  <a:lnTo>
                    <a:pt x="3357562" y="15634"/>
                  </a:lnTo>
                  <a:lnTo>
                    <a:pt x="3357600" y="16320"/>
                  </a:lnTo>
                  <a:lnTo>
                    <a:pt x="3357600" y="15634"/>
                  </a:lnTo>
                  <a:lnTo>
                    <a:pt x="3357753" y="15634"/>
                  </a:lnTo>
                  <a:lnTo>
                    <a:pt x="3357803" y="16320"/>
                  </a:lnTo>
                  <a:lnTo>
                    <a:pt x="3357956" y="16320"/>
                  </a:lnTo>
                  <a:lnTo>
                    <a:pt x="3358006" y="15634"/>
                  </a:lnTo>
                  <a:lnTo>
                    <a:pt x="3358057" y="16320"/>
                  </a:lnTo>
                  <a:lnTo>
                    <a:pt x="3358248" y="16320"/>
                  </a:lnTo>
                  <a:lnTo>
                    <a:pt x="3358248" y="15634"/>
                  </a:lnTo>
                  <a:lnTo>
                    <a:pt x="3358845" y="15634"/>
                  </a:lnTo>
                  <a:lnTo>
                    <a:pt x="3358896" y="16320"/>
                  </a:lnTo>
                  <a:lnTo>
                    <a:pt x="3358946" y="15634"/>
                  </a:lnTo>
                  <a:lnTo>
                    <a:pt x="3359149" y="15634"/>
                  </a:lnTo>
                  <a:lnTo>
                    <a:pt x="3359149" y="16320"/>
                  </a:lnTo>
                  <a:lnTo>
                    <a:pt x="3359492" y="16320"/>
                  </a:lnTo>
                  <a:lnTo>
                    <a:pt x="3359492" y="15634"/>
                  </a:lnTo>
                  <a:lnTo>
                    <a:pt x="3359543" y="16320"/>
                  </a:lnTo>
                  <a:lnTo>
                    <a:pt x="3359645" y="16320"/>
                  </a:lnTo>
                  <a:lnTo>
                    <a:pt x="3359645" y="17615"/>
                  </a:lnTo>
                  <a:lnTo>
                    <a:pt x="3359734" y="16320"/>
                  </a:lnTo>
                  <a:lnTo>
                    <a:pt x="3359835" y="16320"/>
                  </a:lnTo>
                  <a:lnTo>
                    <a:pt x="3359835" y="17615"/>
                  </a:lnTo>
                  <a:lnTo>
                    <a:pt x="3359886" y="17615"/>
                  </a:lnTo>
                  <a:lnTo>
                    <a:pt x="3359886" y="16320"/>
                  </a:lnTo>
                  <a:lnTo>
                    <a:pt x="3360089" y="16320"/>
                  </a:lnTo>
                  <a:lnTo>
                    <a:pt x="3360089" y="15634"/>
                  </a:lnTo>
                  <a:lnTo>
                    <a:pt x="3360191" y="16320"/>
                  </a:lnTo>
                  <a:lnTo>
                    <a:pt x="3360280" y="16320"/>
                  </a:lnTo>
                  <a:lnTo>
                    <a:pt x="3360331" y="15634"/>
                  </a:lnTo>
                  <a:lnTo>
                    <a:pt x="3360331" y="16320"/>
                  </a:lnTo>
                  <a:lnTo>
                    <a:pt x="3360483" y="16320"/>
                  </a:lnTo>
                  <a:lnTo>
                    <a:pt x="3360534" y="17615"/>
                  </a:lnTo>
                  <a:lnTo>
                    <a:pt x="3360635" y="17615"/>
                  </a:lnTo>
                  <a:lnTo>
                    <a:pt x="3360686" y="16320"/>
                  </a:lnTo>
                  <a:lnTo>
                    <a:pt x="3360775" y="16320"/>
                  </a:lnTo>
                  <a:lnTo>
                    <a:pt x="3360775" y="17615"/>
                  </a:lnTo>
                  <a:lnTo>
                    <a:pt x="3360877" y="16320"/>
                  </a:lnTo>
                  <a:lnTo>
                    <a:pt x="3360978" y="16320"/>
                  </a:lnTo>
                  <a:lnTo>
                    <a:pt x="3361080" y="15634"/>
                  </a:lnTo>
                  <a:lnTo>
                    <a:pt x="3361080" y="16320"/>
                  </a:lnTo>
                  <a:lnTo>
                    <a:pt x="3361131" y="15634"/>
                  </a:lnTo>
                  <a:lnTo>
                    <a:pt x="3361181" y="16320"/>
                  </a:lnTo>
                  <a:lnTo>
                    <a:pt x="3361372" y="16320"/>
                  </a:lnTo>
                  <a:lnTo>
                    <a:pt x="3361372" y="15634"/>
                  </a:lnTo>
                  <a:lnTo>
                    <a:pt x="3361474" y="15634"/>
                  </a:lnTo>
                  <a:lnTo>
                    <a:pt x="3361575" y="16320"/>
                  </a:lnTo>
                  <a:lnTo>
                    <a:pt x="3362020" y="16320"/>
                  </a:lnTo>
                  <a:lnTo>
                    <a:pt x="3362071" y="15634"/>
                  </a:lnTo>
                  <a:lnTo>
                    <a:pt x="3362223" y="15634"/>
                  </a:lnTo>
                  <a:lnTo>
                    <a:pt x="3362274" y="16320"/>
                  </a:lnTo>
                  <a:lnTo>
                    <a:pt x="3362324" y="15634"/>
                  </a:lnTo>
                  <a:lnTo>
                    <a:pt x="3362324" y="16320"/>
                  </a:lnTo>
                  <a:lnTo>
                    <a:pt x="3362363" y="15634"/>
                  </a:lnTo>
                  <a:lnTo>
                    <a:pt x="3362464" y="16320"/>
                  </a:lnTo>
                  <a:lnTo>
                    <a:pt x="3362667" y="16320"/>
                  </a:lnTo>
                  <a:lnTo>
                    <a:pt x="3362667" y="15634"/>
                  </a:lnTo>
                  <a:lnTo>
                    <a:pt x="3362718" y="16320"/>
                  </a:lnTo>
                  <a:lnTo>
                    <a:pt x="3362718" y="15634"/>
                  </a:lnTo>
                  <a:lnTo>
                    <a:pt x="3362820" y="15634"/>
                  </a:lnTo>
                  <a:lnTo>
                    <a:pt x="3362820" y="16320"/>
                  </a:lnTo>
                  <a:lnTo>
                    <a:pt x="3363213" y="16320"/>
                  </a:lnTo>
                  <a:lnTo>
                    <a:pt x="3363213" y="15634"/>
                  </a:lnTo>
                  <a:lnTo>
                    <a:pt x="3363264" y="16320"/>
                  </a:lnTo>
                  <a:lnTo>
                    <a:pt x="3363506" y="16320"/>
                  </a:lnTo>
                  <a:lnTo>
                    <a:pt x="3363607" y="15634"/>
                  </a:lnTo>
                  <a:lnTo>
                    <a:pt x="3363607" y="16320"/>
                  </a:lnTo>
                  <a:lnTo>
                    <a:pt x="3363810" y="16320"/>
                  </a:lnTo>
                  <a:lnTo>
                    <a:pt x="3363810" y="15634"/>
                  </a:lnTo>
                  <a:lnTo>
                    <a:pt x="3363861" y="15634"/>
                  </a:lnTo>
                  <a:lnTo>
                    <a:pt x="3363912" y="16320"/>
                  </a:lnTo>
                  <a:lnTo>
                    <a:pt x="3363950" y="15634"/>
                  </a:lnTo>
                  <a:lnTo>
                    <a:pt x="3364052" y="16320"/>
                  </a:lnTo>
                  <a:lnTo>
                    <a:pt x="3364052" y="15634"/>
                  </a:lnTo>
                  <a:lnTo>
                    <a:pt x="3364103" y="15634"/>
                  </a:lnTo>
                  <a:lnTo>
                    <a:pt x="3364103" y="16320"/>
                  </a:lnTo>
                  <a:lnTo>
                    <a:pt x="3364750" y="16320"/>
                  </a:lnTo>
                  <a:lnTo>
                    <a:pt x="3364801" y="15634"/>
                  </a:lnTo>
                  <a:lnTo>
                    <a:pt x="3364801" y="16320"/>
                  </a:lnTo>
                  <a:lnTo>
                    <a:pt x="3364852" y="15634"/>
                  </a:lnTo>
                  <a:lnTo>
                    <a:pt x="3364953" y="16320"/>
                  </a:lnTo>
                  <a:lnTo>
                    <a:pt x="3364992" y="15634"/>
                  </a:lnTo>
                  <a:lnTo>
                    <a:pt x="3364992" y="16320"/>
                  </a:lnTo>
                  <a:lnTo>
                    <a:pt x="3365042" y="15634"/>
                  </a:lnTo>
                  <a:lnTo>
                    <a:pt x="3365093" y="16320"/>
                  </a:lnTo>
                  <a:lnTo>
                    <a:pt x="3365246" y="16320"/>
                  </a:lnTo>
                  <a:lnTo>
                    <a:pt x="3365246" y="15634"/>
                  </a:lnTo>
                  <a:lnTo>
                    <a:pt x="3365296" y="16320"/>
                  </a:lnTo>
                  <a:lnTo>
                    <a:pt x="3365398" y="16320"/>
                  </a:lnTo>
                  <a:lnTo>
                    <a:pt x="3365449" y="15634"/>
                  </a:lnTo>
                  <a:lnTo>
                    <a:pt x="3365449" y="16320"/>
                  </a:lnTo>
                  <a:lnTo>
                    <a:pt x="3365741" y="16320"/>
                  </a:lnTo>
                  <a:lnTo>
                    <a:pt x="3365842" y="15634"/>
                  </a:lnTo>
                  <a:lnTo>
                    <a:pt x="3365893" y="16320"/>
                  </a:lnTo>
                  <a:lnTo>
                    <a:pt x="3365944" y="16320"/>
                  </a:lnTo>
                  <a:lnTo>
                    <a:pt x="3365944" y="17615"/>
                  </a:lnTo>
                  <a:lnTo>
                    <a:pt x="3365995" y="16320"/>
                  </a:lnTo>
                  <a:lnTo>
                    <a:pt x="3366084" y="15634"/>
                  </a:lnTo>
                  <a:lnTo>
                    <a:pt x="3366135" y="16320"/>
                  </a:lnTo>
                  <a:lnTo>
                    <a:pt x="3366630" y="16320"/>
                  </a:lnTo>
                  <a:lnTo>
                    <a:pt x="3366630" y="15634"/>
                  </a:lnTo>
                  <a:lnTo>
                    <a:pt x="3366782" y="15634"/>
                  </a:lnTo>
                  <a:lnTo>
                    <a:pt x="3366782" y="16320"/>
                  </a:lnTo>
                  <a:lnTo>
                    <a:pt x="3367278" y="16320"/>
                  </a:lnTo>
                  <a:lnTo>
                    <a:pt x="3367328" y="15634"/>
                  </a:lnTo>
                  <a:lnTo>
                    <a:pt x="3367430" y="16320"/>
                  </a:lnTo>
                  <a:lnTo>
                    <a:pt x="3367430" y="15634"/>
                  </a:lnTo>
                  <a:lnTo>
                    <a:pt x="3367481" y="15634"/>
                  </a:lnTo>
                  <a:lnTo>
                    <a:pt x="3367481" y="16320"/>
                  </a:lnTo>
                  <a:lnTo>
                    <a:pt x="3367582" y="16320"/>
                  </a:lnTo>
                  <a:lnTo>
                    <a:pt x="3367671" y="15634"/>
                  </a:lnTo>
                  <a:lnTo>
                    <a:pt x="3367722" y="15634"/>
                  </a:lnTo>
                  <a:lnTo>
                    <a:pt x="3367722" y="16320"/>
                  </a:lnTo>
                  <a:lnTo>
                    <a:pt x="3367773" y="16320"/>
                  </a:lnTo>
                  <a:lnTo>
                    <a:pt x="3367773" y="15634"/>
                  </a:lnTo>
                  <a:lnTo>
                    <a:pt x="3367824" y="16320"/>
                  </a:lnTo>
                  <a:lnTo>
                    <a:pt x="3367824" y="15634"/>
                  </a:lnTo>
                  <a:lnTo>
                    <a:pt x="3367925" y="15634"/>
                  </a:lnTo>
                  <a:lnTo>
                    <a:pt x="3367976" y="16320"/>
                  </a:lnTo>
                  <a:lnTo>
                    <a:pt x="3368865" y="16320"/>
                  </a:lnTo>
                  <a:lnTo>
                    <a:pt x="3368916" y="15634"/>
                  </a:lnTo>
                  <a:lnTo>
                    <a:pt x="3368916" y="16320"/>
                  </a:lnTo>
                  <a:lnTo>
                    <a:pt x="3369119" y="16320"/>
                  </a:lnTo>
                  <a:lnTo>
                    <a:pt x="3369170" y="15634"/>
                  </a:lnTo>
                  <a:lnTo>
                    <a:pt x="3369259" y="15634"/>
                  </a:lnTo>
                  <a:lnTo>
                    <a:pt x="3369259" y="16320"/>
                  </a:lnTo>
                  <a:lnTo>
                    <a:pt x="3369310" y="16320"/>
                  </a:lnTo>
                  <a:lnTo>
                    <a:pt x="3369310" y="17615"/>
                  </a:lnTo>
                  <a:lnTo>
                    <a:pt x="3369360" y="17615"/>
                  </a:lnTo>
                  <a:lnTo>
                    <a:pt x="3369360" y="16320"/>
                  </a:lnTo>
                  <a:lnTo>
                    <a:pt x="3369563" y="16320"/>
                  </a:lnTo>
                  <a:lnTo>
                    <a:pt x="3369563" y="15634"/>
                  </a:lnTo>
                  <a:lnTo>
                    <a:pt x="3369614" y="16320"/>
                  </a:lnTo>
                  <a:lnTo>
                    <a:pt x="3370059" y="16320"/>
                  </a:lnTo>
                  <a:lnTo>
                    <a:pt x="3370059" y="15634"/>
                  </a:lnTo>
                  <a:lnTo>
                    <a:pt x="3370211" y="15634"/>
                  </a:lnTo>
                  <a:lnTo>
                    <a:pt x="3370211" y="16320"/>
                  </a:lnTo>
                  <a:lnTo>
                    <a:pt x="3370402" y="16320"/>
                  </a:lnTo>
                  <a:lnTo>
                    <a:pt x="3370453" y="15634"/>
                  </a:lnTo>
                  <a:lnTo>
                    <a:pt x="3370453" y="16320"/>
                  </a:lnTo>
                  <a:lnTo>
                    <a:pt x="3370605" y="16320"/>
                  </a:lnTo>
                  <a:lnTo>
                    <a:pt x="3370656" y="15634"/>
                  </a:lnTo>
                  <a:lnTo>
                    <a:pt x="3370757" y="15634"/>
                  </a:lnTo>
                  <a:lnTo>
                    <a:pt x="3370757" y="16320"/>
                  </a:lnTo>
                  <a:lnTo>
                    <a:pt x="3370846" y="16320"/>
                  </a:lnTo>
                  <a:lnTo>
                    <a:pt x="3370846" y="17615"/>
                  </a:lnTo>
                  <a:lnTo>
                    <a:pt x="3370897" y="16320"/>
                  </a:lnTo>
                  <a:lnTo>
                    <a:pt x="3370948" y="17615"/>
                  </a:lnTo>
                  <a:lnTo>
                    <a:pt x="3370999" y="16320"/>
                  </a:lnTo>
                  <a:lnTo>
                    <a:pt x="3371342" y="16320"/>
                  </a:lnTo>
                  <a:lnTo>
                    <a:pt x="3371392" y="15634"/>
                  </a:lnTo>
                  <a:lnTo>
                    <a:pt x="3371888" y="15634"/>
                  </a:lnTo>
                  <a:lnTo>
                    <a:pt x="3371989" y="15037"/>
                  </a:lnTo>
                  <a:lnTo>
                    <a:pt x="3371989" y="15634"/>
                  </a:lnTo>
                  <a:lnTo>
                    <a:pt x="3372091" y="15634"/>
                  </a:lnTo>
                  <a:lnTo>
                    <a:pt x="3372091" y="16320"/>
                  </a:lnTo>
                  <a:lnTo>
                    <a:pt x="3372243" y="16320"/>
                  </a:lnTo>
                  <a:lnTo>
                    <a:pt x="3372294" y="15634"/>
                  </a:lnTo>
                  <a:lnTo>
                    <a:pt x="3372434" y="15634"/>
                  </a:lnTo>
                  <a:lnTo>
                    <a:pt x="3372485" y="16320"/>
                  </a:lnTo>
                  <a:lnTo>
                    <a:pt x="3372535" y="16320"/>
                  </a:lnTo>
                  <a:lnTo>
                    <a:pt x="3372535" y="15634"/>
                  </a:lnTo>
                  <a:lnTo>
                    <a:pt x="3372586" y="15634"/>
                  </a:lnTo>
                  <a:lnTo>
                    <a:pt x="3372688" y="16320"/>
                  </a:lnTo>
                  <a:lnTo>
                    <a:pt x="3372738" y="15634"/>
                  </a:lnTo>
                  <a:lnTo>
                    <a:pt x="3372789" y="16320"/>
                  </a:lnTo>
                  <a:lnTo>
                    <a:pt x="3373437" y="16320"/>
                  </a:lnTo>
                  <a:lnTo>
                    <a:pt x="3373475" y="15634"/>
                  </a:lnTo>
                  <a:lnTo>
                    <a:pt x="3373628" y="15634"/>
                  </a:lnTo>
                  <a:lnTo>
                    <a:pt x="3373678" y="16320"/>
                  </a:lnTo>
                  <a:lnTo>
                    <a:pt x="3373881" y="16320"/>
                  </a:lnTo>
                  <a:lnTo>
                    <a:pt x="3373881" y="15634"/>
                  </a:lnTo>
                  <a:lnTo>
                    <a:pt x="3374123" y="15634"/>
                  </a:lnTo>
                  <a:lnTo>
                    <a:pt x="3374174" y="16320"/>
                  </a:lnTo>
                  <a:lnTo>
                    <a:pt x="3374174" y="15634"/>
                  </a:lnTo>
                  <a:lnTo>
                    <a:pt x="3374275" y="15634"/>
                  </a:lnTo>
                  <a:lnTo>
                    <a:pt x="3374326" y="16320"/>
                  </a:lnTo>
                  <a:lnTo>
                    <a:pt x="3374478" y="16320"/>
                  </a:lnTo>
                  <a:lnTo>
                    <a:pt x="3374517" y="15634"/>
                  </a:lnTo>
                  <a:lnTo>
                    <a:pt x="3374517" y="16320"/>
                  </a:lnTo>
                  <a:lnTo>
                    <a:pt x="3374567" y="15634"/>
                  </a:lnTo>
                  <a:lnTo>
                    <a:pt x="3374618" y="16320"/>
                  </a:lnTo>
                  <a:lnTo>
                    <a:pt x="3374720" y="16320"/>
                  </a:lnTo>
                  <a:lnTo>
                    <a:pt x="3374720" y="15634"/>
                  </a:lnTo>
                  <a:lnTo>
                    <a:pt x="3374771" y="15634"/>
                  </a:lnTo>
                  <a:lnTo>
                    <a:pt x="3374771" y="16320"/>
                  </a:lnTo>
                  <a:lnTo>
                    <a:pt x="3374974" y="16320"/>
                  </a:lnTo>
                  <a:lnTo>
                    <a:pt x="3374974" y="15634"/>
                  </a:lnTo>
                  <a:lnTo>
                    <a:pt x="3375024" y="15634"/>
                  </a:lnTo>
                  <a:lnTo>
                    <a:pt x="3375024" y="16320"/>
                  </a:lnTo>
                  <a:lnTo>
                    <a:pt x="3375469" y="16320"/>
                  </a:lnTo>
                  <a:lnTo>
                    <a:pt x="3375520" y="17615"/>
                  </a:lnTo>
                  <a:lnTo>
                    <a:pt x="3375520" y="16320"/>
                  </a:lnTo>
                  <a:lnTo>
                    <a:pt x="3375913" y="16320"/>
                  </a:lnTo>
                  <a:lnTo>
                    <a:pt x="3375964" y="15634"/>
                  </a:lnTo>
                  <a:lnTo>
                    <a:pt x="3376066" y="15634"/>
                  </a:lnTo>
                  <a:lnTo>
                    <a:pt x="3376104" y="16320"/>
                  </a:lnTo>
                  <a:lnTo>
                    <a:pt x="3376307" y="16320"/>
                  </a:lnTo>
                  <a:lnTo>
                    <a:pt x="3376358" y="15634"/>
                  </a:lnTo>
                  <a:lnTo>
                    <a:pt x="3376510" y="15634"/>
                  </a:lnTo>
                  <a:lnTo>
                    <a:pt x="3376561" y="16320"/>
                  </a:lnTo>
                  <a:lnTo>
                    <a:pt x="3377793" y="16320"/>
                  </a:lnTo>
                  <a:lnTo>
                    <a:pt x="3377895" y="15634"/>
                  </a:lnTo>
                  <a:lnTo>
                    <a:pt x="3378098" y="15634"/>
                  </a:lnTo>
                  <a:lnTo>
                    <a:pt x="3378149" y="16320"/>
                  </a:lnTo>
                  <a:lnTo>
                    <a:pt x="3378149" y="15634"/>
                  </a:lnTo>
                  <a:lnTo>
                    <a:pt x="3378199" y="16320"/>
                  </a:lnTo>
                  <a:lnTo>
                    <a:pt x="3378238" y="16320"/>
                  </a:lnTo>
                  <a:lnTo>
                    <a:pt x="3378238" y="15634"/>
                  </a:lnTo>
                  <a:lnTo>
                    <a:pt x="3378390" y="15634"/>
                  </a:lnTo>
                  <a:lnTo>
                    <a:pt x="3378390" y="16320"/>
                  </a:lnTo>
                  <a:lnTo>
                    <a:pt x="3378695" y="16320"/>
                  </a:lnTo>
                  <a:lnTo>
                    <a:pt x="3378695" y="15634"/>
                  </a:lnTo>
                  <a:lnTo>
                    <a:pt x="3378784" y="16320"/>
                  </a:lnTo>
                  <a:lnTo>
                    <a:pt x="3378784" y="15634"/>
                  </a:lnTo>
                  <a:lnTo>
                    <a:pt x="3378835" y="16320"/>
                  </a:lnTo>
                  <a:lnTo>
                    <a:pt x="3379038" y="16320"/>
                  </a:lnTo>
                  <a:lnTo>
                    <a:pt x="3379088" y="15634"/>
                  </a:lnTo>
                  <a:lnTo>
                    <a:pt x="3379241" y="15634"/>
                  </a:lnTo>
                  <a:lnTo>
                    <a:pt x="3379241" y="16320"/>
                  </a:lnTo>
                  <a:lnTo>
                    <a:pt x="3380181" y="16320"/>
                  </a:lnTo>
                  <a:lnTo>
                    <a:pt x="3380181" y="15634"/>
                  </a:lnTo>
                  <a:lnTo>
                    <a:pt x="3380282" y="15634"/>
                  </a:lnTo>
                  <a:lnTo>
                    <a:pt x="3380371" y="16320"/>
                  </a:lnTo>
                  <a:lnTo>
                    <a:pt x="3380625" y="16320"/>
                  </a:lnTo>
                  <a:lnTo>
                    <a:pt x="3380676" y="15634"/>
                  </a:lnTo>
                  <a:lnTo>
                    <a:pt x="3380727" y="15634"/>
                  </a:lnTo>
                  <a:lnTo>
                    <a:pt x="3380727" y="16320"/>
                  </a:lnTo>
                  <a:lnTo>
                    <a:pt x="3380917" y="16320"/>
                  </a:lnTo>
                  <a:lnTo>
                    <a:pt x="3380968" y="15634"/>
                  </a:lnTo>
                  <a:lnTo>
                    <a:pt x="3381070" y="15634"/>
                  </a:lnTo>
                  <a:lnTo>
                    <a:pt x="3381070" y="16320"/>
                  </a:lnTo>
                  <a:lnTo>
                    <a:pt x="3382111" y="16320"/>
                  </a:lnTo>
                  <a:lnTo>
                    <a:pt x="3382213" y="17615"/>
                  </a:lnTo>
                  <a:lnTo>
                    <a:pt x="3382454" y="17615"/>
                  </a:lnTo>
                  <a:lnTo>
                    <a:pt x="3382505" y="16320"/>
                  </a:lnTo>
                  <a:lnTo>
                    <a:pt x="3382556" y="16320"/>
                  </a:lnTo>
                  <a:lnTo>
                    <a:pt x="3382556" y="17615"/>
                  </a:lnTo>
                  <a:lnTo>
                    <a:pt x="3382657" y="16320"/>
                  </a:lnTo>
                  <a:lnTo>
                    <a:pt x="3382860" y="16320"/>
                  </a:lnTo>
                  <a:lnTo>
                    <a:pt x="3382911" y="15634"/>
                  </a:lnTo>
                  <a:lnTo>
                    <a:pt x="3382962" y="15634"/>
                  </a:lnTo>
                  <a:lnTo>
                    <a:pt x="3383000" y="16320"/>
                  </a:lnTo>
                  <a:lnTo>
                    <a:pt x="3383000" y="15634"/>
                  </a:lnTo>
                  <a:lnTo>
                    <a:pt x="3383102" y="16320"/>
                  </a:lnTo>
                  <a:lnTo>
                    <a:pt x="3383203" y="16320"/>
                  </a:lnTo>
                  <a:lnTo>
                    <a:pt x="3383203" y="15634"/>
                  </a:lnTo>
                  <a:lnTo>
                    <a:pt x="3383305" y="16320"/>
                  </a:lnTo>
                  <a:lnTo>
                    <a:pt x="3383305" y="15634"/>
                  </a:lnTo>
                  <a:lnTo>
                    <a:pt x="3383457" y="15634"/>
                  </a:lnTo>
                  <a:lnTo>
                    <a:pt x="3383546" y="16320"/>
                  </a:lnTo>
                  <a:lnTo>
                    <a:pt x="3383597" y="16320"/>
                  </a:lnTo>
                  <a:lnTo>
                    <a:pt x="3383648" y="15634"/>
                  </a:lnTo>
                  <a:lnTo>
                    <a:pt x="3383699" y="15634"/>
                  </a:lnTo>
                  <a:lnTo>
                    <a:pt x="3383800" y="16320"/>
                  </a:lnTo>
                  <a:lnTo>
                    <a:pt x="3384042" y="16320"/>
                  </a:lnTo>
                  <a:lnTo>
                    <a:pt x="3384092" y="17615"/>
                  </a:lnTo>
                  <a:lnTo>
                    <a:pt x="3384092" y="16320"/>
                  </a:lnTo>
                  <a:lnTo>
                    <a:pt x="3384143" y="17615"/>
                  </a:lnTo>
                  <a:lnTo>
                    <a:pt x="3384143" y="16320"/>
                  </a:lnTo>
                  <a:lnTo>
                    <a:pt x="3384245" y="16320"/>
                  </a:lnTo>
                  <a:lnTo>
                    <a:pt x="3384245" y="17615"/>
                  </a:lnTo>
                  <a:lnTo>
                    <a:pt x="3384296" y="16320"/>
                  </a:lnTo>
                  <a:lnTo>
                    <a:pt x="3384346" y="16320"/>
                  </a:lnTo>
                  <a:lnTo>
                    <a:pt x="3384346" y="15634"/>
                  </a:lnTo>
                  <a:lnTo>
                    <a:pt x="3384448" y="15634"/>
                  </a:lnTo>
                  <a:lnTo>
                    <a:pt x="3384448" y="16320"/>
                  </a:lnTo>
                  <a:lnTo>
                    <a:pt x="3384499" y="16320"/>
                  </a:lnTo>
                  <a:lnTo>
                    <a:pt x="3384549" y="17615"/>
                  </a:lnTo>
                  <a:lnTo>
                    <a:pt x="3384549" y="16320"/>
                  </a:lnTo>
                  <a:lnTo>
                    <a:pt x="3385286" y="16320"/>
                  </a:lnTo>
                  <a:lnTo>
                    <a:pt x="3385388" y="17615"/>
                  </a:lnTo>
                  <a:lnTo>
                    <a:pt x="3385438" y="17615"/>
                  </a:lnTo>
                  <a:lnTo>
                    <a:pt x="3385489" y="16320"/>
                  </a:lnTo>
                  <a:lnTo>
                    <a:pt x="3385629" y="16320"/>
                  </a:lnTo>
                  <a:lnTo>
                    <a:pt x="3385680" y="15634"/>
                  </a:lnTo>
                  <a:lnTo>
                    <a:pt x="3385731" y="15634"/>
                  </a:lnTo>
                  <a:lnTo>
                    <a:pt x="3385832" y="16320"/>
                  </a:lnTo>
                  <a:lnTo>
                    <a:pt x="3385883" y="15634"/>
                  </a:lnTo>
                  <a:lnTo>
                    <a:pt x="3385883" y="16320"/>
                  </a:lnTo>
                  <a:lnTo>
                    <a:pt x="3387915" y="16320"/>
                  </a:lnTo>
                  <a:lnTo>
                    <a:pt x="3387966" y="15634"/>
                  </a:lnTo>
                  <a:lnTo>
                    <a:pt x="3388067" y="15634"/>
                  </a:lnTo>
                  <a:lnTo>
                    <a:pt x="3388118" y="16320"/>
                  </a:lnTo>
                  <a:lnTo>
                    <a:pt x="3388118" y="15634"/>
                  </a:lnTo>
                  <a:lnTo>
                    <a:pt x="3388169" y="15634"/>
                  </a:lnTo>
                  <a:lnTo>
                    <a:pt x="3388169" y="16320"/>
                  </a:lnTo>
                  <a:lnTo>
                    <a:pt x="3388220" y="15634"/>
                  </a:lnTo>
                  <a:lnTo>
                    <a:pt x="3388309" y="16320"/>
                  </a:lnTo>
                  <a:lnTo>
                    <a:pt x="3388360" y="15634"/>
                  </a:lnTo>
                  <a:lnTo>
                    <a:pt x="3388360" y="16320"/>
                  </a:lnTo>
                  <a:lnTo>
                    <a:pt x="3388613" y="16320"/>
                  </a:lnTo>
                  <a:lnTo>
                    <a:pt x="3388613" y="15634"/>
                  </a:lnTo>
                  <a:lnTo>
                    <a:pt x="3388664" y="15634"/>
                  </a:lnTo>
                  <a:lnTo>
                    <a:pt x="3388766" y="16320"/>
                  </a:lnTo>
                  <a:lnTo>
                    <a:pt x="3388804" y="15634"/>
                  </a:lnTo>
                  <a:lnTo>
                    <a:pt x="3388804" y="16320"/>
                  </a:lnTo>
                  <a:lnTo>
                    <a:pt x="3389947" y="16320"/>
                  </a:lnTo>
                  <a:lnTo>
                    <a:pt x="3389947" y="15634"/>
                  </a:lnTo>
                  <a:lnTo>
                    <a:pt x="3389998" y="16320"/>
                  </a:lnTo>
                  <a:lnTo>
                    <a:pt x="3390150" y="16320"/>
                  </a:lnTo>
                  <a:lnTo>
                    <a:pt x="3390150" y="15634"/>
                  </a:lnTo>
                  <a:lnTo>
                    <a:pt x="3390201" y="15634"/>
                  </a:lnTo>
                  <a:lnTo>
                    <a:pt x="3390201" y="16320"/>
                  </a:lnTo>
                  <a:lnTo>
                    <a:pt x="3390849" y="16320"/>
                  </a:lnTo>
                  <a:lnTo>
                    <a:pt x="3390899" y="15634"/>
                  </a:lnTo>
                  <a:lnTo>
                    <a:pt x="3391039" y="15634"/>
                  </a:lnTo>
                  <a:lnTo>
                    <a:pt x="3391039" y="16320"/>
                  </a:lnTo>
                  <a:lnTo>
                    <a:pt x="3391344" y="16320"/>
                  </a:lnTo>
                  <a:lnTo>
                    <a:pt x="3391344" y="15634"/>
                  </a:lnTo>
                  <a:lnTo>
                    <a:pt x="3391395" y="16320"/>
                  </a:lnTo>
                  <a:lnTo>
                    <a:pt x="3391484" y="16320"/>
                  </a:lnTo>
                  <a:lnTo>
                    <a:pt x="3391535" y="17615"/>
                  </a:lnTo>
                  <a:lnTo>
                    <a:pt x="3391585" y="16320"/>
                  </a:lnTo>
                  <a:lnTo>
                    <a:pt x="3392881" y="16320"/>
                  </a:lnTo>
                  <a:lnTo>
                    <a:pt x="3392931" y="17615"/>
                  </a:lnTo>
                  <a:lnTo>
                    <a:pt x="3392931" y="16320"/>
                  </a:lnTo>
                  <a:lnTo>
                    <a:pt x="3393224" y="16320"/>
                  </a:lnTo>
                  <a:lnTo>
                    <a:pt x="3393325" y="15634"/>
                  </a:lnTo>
                  <a:lnTo>
                    <a:pt x="3393325" y="16320"/>
                  </a:lnTo>
                  <a:lnTo>
                    <a:pt x="3393668" y="16320"/>
                  </a:lnTo>
                  <a:lnTo>
                    <a:pt x="3393668" y="15634"/>
                  </a:lnTo>
                  <a:lnTo>
                    <a:pt x="3393770" y="15634"/>
                  </a:lnTo>
                  <a:lnTo>
                    <a:pt x="3393821" y="16320"/>
                  </a:lnTo>
                  <a:lnTo>
                    <a:pt x="3393821" y="15634"/>
                  </a:lnTo>
                  <a:lnTo>
                    <a:pt x="3393871" y="16320"/>
                  </a:lnTo>
                  <a:lnTo>
                    <a:pt x="3393973" y="15634"/>
                  </a:lnTo>
                  <a:lnTo>
                    <a:pt x="3393973" y="16320"/>
                  </a:lnTo>
                  <a:lnTo>
                    <a:pt x="3394074" y="16320"/>
                  </a:lnTo>
                  <a:lnTo>
                    <a:pt x="3394113" y="15634"/>
                  </a:lnTo>
                  <a:lnTo>
                    <a:pt x="3394214" y="15634"/>
                  </a:lnTo>
                  <a:lnTo>
                    <a:pt x="3394214" y="16320"/>
                  </a:lnTo>
                  <a:lnTo>
                    <a:pt x="3394570" y="16320"/>
                  </a:lnTo>
                  <a:lnTo>
                    <a:pt x="3394659" y="15634"/>
                  </a:lnTo>
                  <a:lnTo>
                    <a:pt x="3394710" y="16320"/>
                  </a:lnTo>
                  <a:lnTo>
                    <a:pt x="3394760" y="15634"/>
                  </a:lnTo>
                  <a:lnTo>
                    <a:pt x="3394760" y="16320"/>
                  </a:lnTo>
                  <a:lnTo>
                    <a:pt x="3394811" y="15634"/>
                  </a:lnTo>
                  <a:lnTo>
                    <a:pt x="3394811" y="16320"/>
                  </a:lnTo>
                  <a:lnTo>
                    <a:pt x="3394913" y="16320"/>
                  </a:lnTo>
                  <a:lnTo>
                    <a:pt x="3394963" y="17615"/>
                  </a:lnTo>
                  <a:lnTo>
                    <a:pt x="3395116" y="17615"/>
                  </a:lnTo>
                  <a:lnTo>
                    <a:pt x="3395116" y="16320"/>
                  </a:lnTo>
                  <a:lnTo>
                    <a:pt x="3395408" y="16320"/>
                  </a:lnTo>
                  <a:lnTo>
                    <a:pt x="3395459" y="15634"/>
                  </a:lnTo>
                  <a:lnTo>
                    <a:pt x="3395560" y="16320"/>
                  </a:lnTo>
                  <a:lnTo>
                    <a:pt x="3396005" y="16320"/>
                  </a:lnTo>
                  <a:lnTo>
                    <a:pt x="3396005" y="15634"/>
                  </a:lnTo>
                  <a:lnTo>
                    <a:pt x="3396056" y="15634"/>
                  </a:lnTo>
                  <a:lnTo>
                    <a:pt x="3396056" y="16320"/>
                  </a:lnTo>
                  <a:lnTo>
                    <a:pt x="3396106" y="16320"/>
                  </a:lnTo>
                  <a:lnTo>
                    <a:pt x="3396157" y="17615"/>
                  </a:lnTo>
                  <a:lnTo>
                    <a:pt x="3396246" y="16320"/>
                  </a:lnTo>
                  <a:lnTo>
                    <a:pt x="3396500" y="16320"/>
                  </a:lnTo>
                  <a:lnTo>
                    <a:pt x="3396551" y="17615"/>
                  </a:lnTo>
                  <a:lnTo>
                    <a:pt x="3396551" y="16320"/>
                  </a:lnTo>
                  <a:lnTo>
                    <a:pt x="3397046" y="16320"/>
                  </a:lnTo>
                  <a:lnTo>
                    <a:pt x="3397148" y="15634"/>
                  </a:lnTo>
                  <a:lnTo>
                    <a:pt x="3397199" y="15634"/>
                  </a:lnTo>
                  <a:lnTo>
                    <a:pt x="3397249" y="16320"/>
                  </a:lnTo>
                  <a:lnTo>
                    <a:pt x="3397288" y="16320"/>
                  </a:lnTo>
                  <a:lnTo>
                    <a:pt x="3397288" y="17615"/>
                  </a:lnTo>
                  <a:lnTo>
                    <a:pt x="3397440" y="17615"/>
                  </a:lnTo>
                  <a:lnTo>
                    <a:pt x="3397491" y="16320"/>
                  </a:lnTo>
                  <a:lnTo>
                    <a:pt x="3398735" y="16320"/>
                  </a:lnTo>
                  <a:lnTo>
                    <a:pt x="3398786" y="15634"/>
                  </a:lnTo>
                  <a:lnTo>
                    <a:pt x="3398786" y="16320"/>
                  </a:lnTo>
                  <a:lnTo>
                    <a:pt x="3399777" y="16320"/>
                  </a:lnTo>
                  <a:lnTo>
                    <a:pt x="3399878" y="17615"/>
                  </a:lnTo>
                  <a:lnTo>
                    <a:pt x="3399917" y="17615"/>
                  </a:lnTo>
                  <a:lnTo>
                    <a:pt x="3399917" y="16320"/>
                  </a:lnTo>
                  <a:lnTo>
                    <a:pt x="3399967" y="16320"/>
                  </a:lnTo>
                  <a:lnTo>
                    <a:pt x="3399967" y="17615"/>
                  </a:lnTo>
                  <a:lnTo>
                    <a:pt x="3400018" y="16320"/>
                  </a:lnTo>
                  <a:lnTo>
                    <a:pt x="3400120" y="16320"/>
                  </a:lnTo>
                  <a:lnTo>
                    <a:pt x="3400171" y="15634"/>
                  </a:lnTo>
                  <a:lnTo>
                    <a:pt x="3400171" y="16320"/>
                  </a:lnTo>
                  <a:lnTo>
                    <a:pt x="3400221" y="16320"/>
                  </a:lnTo>
                  <a:lnTo>
                    <a:pt x="3400221" y="17615"/>
                  </a:lnTo>
                  <a:lnTo>
                    <a:pt x="3400323" y="17615"/>
                  </a:lnTo>
                  <a:lnTo>
                    <a:pt x="3400323" y="16320"/>
                  </a:lnTo>
                  <a:lnTo>
                    <a:pt x="3400564" y="16320"/>
                  </a:lnTo>
                  <a:lnTo>
                    <a:pt x="3400564" y="17615"/>
                  </a:lnTo>
                  <a:lnTo>
                    <a:pt x="3400666" y="17615"/>
                  </a:lnTo>
                  <a:lnTo>
                    <a:pt x="3400666" y="16320"/>
                  </a:lnTo>
                  <a:lnTo>
                    <a:pt x="3402050" y="16320"/>
                  </a:lnTo>
                  <a:lnTo>
                    <a:pt x="3402152" y="15634"/>
                  </a:lnTo>
                  <a:lnTo>
                    <a:pt x="3402203" y="15634"/>
                  </a:lnTo>
                  <a:lnTo>
                    <a:pt x="3402253" y="16320"/>
                  </a:lnTo>
                  <a:lnTo>
                    <a:pt x="3403053" y="16320"/>
                  </a:lnTo>
                  <a:lnTo>
                    <a:pt x="3403092" y="15634"/>
                  </a:lnTo>
                  <a:lnTo>
                    <a:pt x="3403295" y="15634"/>
                  </a:lnTo>
                  <a:lnTo>
                    <a:pt x="3403346" y="16320"/>
                  </a:lnTo>
                  <a:lnTo>
                    <a:pt x="3403993" y="16320"/>
                  </a:lnTo>
                  <a:lnTo>
                    <a:pt x="3404044" y="17615"/>
                  </a:lnTo>
                  <a:lnTo>
                    <a:pt x="3404095" y="16320"/>
                  </a:lnTo>
                  <a:lnTo>
                    <a:pt x="3404235" y="16320"/>
                  </a:lnTo>
                  <a:lnTo>
                    <a:pt x="3404285" y="17615"/>
                  </a:lnTo>
                  <a:lnTo>
                    <a:pt x="3404285" y="16320"/>
                  </a:lnTo>
                  <a:lnTo>
                    <a:pt x="3404488" y="16320"/>
                  </a:lnTo>
                  <a:lnTo>
                    <a:pt x="3404488" y="17615"/>
                  </a:lnTo>
                  <a:lnTo>
                    <a:pt x="3404539" y="16320"/>
                  </a:lnTo>
                  <a:lnTo>
                    <a:pt x="3404882" y="16320"/>
                  </a:lnTo>
                  <a:lnTo>
                    <a:pt x="3404882" y="17615"/>
                  </a:lnTo>
                  <a:lnTo>
                    <a:pt x="3404933" y="16320"/>
                  </a:lnTo>
                  <a:lnTo>
                    <a:pt x="3405428" y="16320"/>
                  </a:lnTo>
                  <a:lnTo>
                    <a:pt x="3405428" y="15634"/>
                  </a:lnTo>
                  <a:lnTo>
                    <a:pt x="3405581" y="15634"/>
                  </a:lnTo>
                  <a:lnTo>
                    <a:pt x="3405631" y="16320"/>
                  </a:lnTo>
                  <a:lnTo>
                    <a:pt x="3405682" y="17615"/>
                  </a:lnTo>
                  <a:lnTo>
                    <a:pt x="3405771" y="16320"/>
                  </a:lnTo>
                  <a:lnTo>
                    <a:pt x="3405822" y="17615"/>
                  </a:lnTo>
                  <a:lnTo>
                    <a:pt x="3405822" y="16320"/>
                  </a:lnTo>
                  <a:lnTo>
                    <a:pt x="3406724" y="16320"/>
                  </a:lnTo>
                  <a:lnTo>
                    <a:pt x="3406724" y="15634"/>
                  </a:lnTo>
                  <a:lnTo>
                    <a:pt x="3406774" y="15634"/>
                  </a:lnTo>
                  <a:lnTo>
                    <a:pt x="3406813" y="16320"/>
                  </a:lnTo>
                  <a:lnTo>
                    <a:pt x="3406914" y="16320"/>
                  </a:lnTo>
                  <a:lnTo>
                    <a:pt x="3406965" y="17615"/>
                  </a:lnTo>
                  <a:lnTo>
                    <a:pt x="3407016" y="16320"/>
                  </a:lnTo>
                  <a:lnTo>
                    <a:pt x="3407117" y="16320"/>
                  </a:lnTo>
                  <a:lnTo>
                    <a:pt x="3407168" y="17615"/>
                  </a:lnTo>
                  <a:lnTo>
                    <a:pt x="3407270" y="17615"/>
                  </a:lnTo>
                  <a:lnTo>
                    <a:pt x="3407270" y="16320"/>
                  </a:lnTo>
                  <a:lnTo>
                    <a:pt x="3407359" y="16320"/>
                  </a:lnTo>
                  <a:lnTo>
                    <a:pt x="3407410" y="15634"/>
                  </a:lnTo>
                  <a:lnTo>
                    <a:pt x="3407460" y="16320"/>
                  </a:lnTo>
                  <a:lnTo>
                    <a:pt x="3407511" y="16320"/>
                  </a:lnTo>
                  <a:lnTo>
                    <a:pt x="3407511" y="17615"/>
                  </a:lnTo>
                  <a:lnTo>
                    <a:pt x="3407663" y="17615"/>
                  </a:lnTo>
                  <a:lnTo>
                    <a:pt x="3407663" y="16320"/>
                  </a:lnTo>
                  <a:lnTo>
                    <a:pt x="3407816" y="16320"/>
                  </a:lnTo>
                  <a:lnTo>
                    <a:pt x="3407816" y="17615"/>
                  </a:lnTo>
                  <a:lnTo>
                    <a:pt x="3407854" y="16320"/>
                  </a:lnTo>
                  <a:lnTo>
                    <a:pt x="3407854" y="17615"/>
                  </a:lnTo>
                  <a:lnTo>
                    <a:pt x="3407905" y="17615"/>
                  </a:lnTo>
                  <a:lnTo>
                    <a:pt x="3407905" y="16320"/>
                  </a:lnTo>
                  <a:lnTo>
                    <a:pt x="3407956" y="17615"/>
                  </a:lnTo>
                  <a:lnTo>
                    <a:pt x="3408057" y="17615"/>
                  </a:lnTo>
                  <a:lnTo>
                    <a:pt x="3408057" y="16320"/>
                  </a:lnTo>
                  <a:lnTo>
                    <a:pt x="3408260" y="16320"/>
                  </a:lnTo>
                  <a:lnTo>
                    <a:pt x="3408260" y="17615"/>
                  </a:lnTo>
                  <a:lnTo>
                    <a:pt x="3408311" y="16320"/>
                  </a:lnTo>
                  <a:lnTo>
                    <a:pt x="3408362" y="16320"/>
                  </a:lnTo>
                  <a:lnTo>
                    <a:pt x="3408400" y="15634"/>
                  </a:lnTo>
                  <a:lnTo>
                    <a:pt x="3408400" y="16320"/>
                  </a:lnTo>
                  <a:lnTo>
                    <a:pt x="3408502" y="16320"/>
                  </a:lnTo>
                  <a:lnTo>
                    <a:pt x="3408502" y="15634"/>
                  </a:lnTo>
                  <a:lnTo>
                    <a:pt x="3408705" y="15634"/>
                  </a:lnTo>
                  <a:lnTo>
                    <a:pt x="3408756" y="16320"/>
                  </a:lnTo>
                  <a:lnTo>
                    <a:pt x="3409200" y="16320"/>
                  </a:lnTo>
                  <a:lnTo>
                    <a:pt x="3409251" y="17615"/>
                  </a:lnTo>
                  <a:lnTo>
                    <a:pt x="3409403" y="17615"/>
                  </a:lnTo>
                  <a:lnTo>
                    <a:pt x="3409403" y="16320"/>
                  </a:lnTo>
                  <a:lnTo>
                    <a:pt x="3410089" y="16320"/>
                  </a:lnTo>
                  <a:lnTo>
                    <a:pt x="3410140" y="15634"/>
                  </a:lnTo>
                  <a:lnTo>
                    <a:pt x="3410292" y="15634"/>
                  </a:lnTo>
                  <a:lnTo>
                    <a:pt x="3410292" y="16320"/>
                  </a:lnTo>
                  <a:lnTo>
                    <a:pt x="3410394" y="16320"/>
                  </a:lnTo>
                  <a:lnTo>
                    <a:pt x="3410394" y="15634"/>
                  </a:lnTo>
                  <a:lnTo>
                    <a:pt x="3410445" y="16320"/>
                  </a:lnTo>
                  <a:lnTo>
                    <a:pt x="3410534" y="16320"/>
                  </a:lnTo>
                  <a:lnTo>
                    <a:pt x="3410585" y="17615"/>
                  </a:lnTo>
                  <a:lnTo>
                    <a:pt x="3410585" y="16320"/>
                  </a:lnTo>
                  <a:lnTo>
                    <a:pt x="3410635" y="17615"/>
                  </a:lnTo>
                  <a:lnTo>
                    <a:pt x="3410635" y="16320"/>
                  </a:lnTo>
                  <a:lnTo>
                    <a:pt x="3410788" y="16320"/>
                  </a:lnTo>
                  <a:lnTo>
                    <a:pt x="3410838" y="17615"/>
                  </a:lnTo>
                  <a:lnTo>
                    <a:pt x="3411029" y="17615"/>
                  </a:lnTo>
                  <a:lnTo>
                    <a:pt x="3411080" y="16320"/>
                  </a:lnTo>
                  <a:lnTo>
                    <a:pt x="3411131" y="17615"/>
                  </a:lnTo>
                  <a:lnTo>
                    <a:pt x="3411283" y="17615"/>
                  </a:lnTo>
                  <a:lnTo>
                    <a:pt x="3411283" y="16320"/>
                  </a:lnTo>
                  <a:lnTo>
                    <a:pt x="3412274" y="16320"/>
                  </a:lnTo>
                  <a:lnTo>
                    <a:pt x="3412375" y="15634"/>
                  </a:lnTo>
                  <a:lnTo>
                    <a:pt x="3412375" y="16320"/>
                  </a:lnTo>
                  <a:lnTo>
                    <a:pt x="3412921" y="16320"/>
                  </a:lnTo>
                  <a:lnTo>
                    <a:pt x="3412921" y="17615"/>
                  </a:lnTo>
                  <a:lnTo>
                    <a:pt x="3413023" y="17615"/>
                  </a:lnTo>
                  <a:lnTo>
                    <a:pt x="3413023" y="16320"/>
                  </a:lnTo>
                  <a:lnTo>
                    <a:pt x="3413074" y="16320"/>
                  </a:lnTo>
                  <a:lnTo>
                    <a:pt x="3413074" y="15634"/>
                  </a:lnTo>
                  <a:lnTo>
                    <a:pt x="3413124" y="16320"/>
                  </a:lnTo>
                  <a:lnTo>
                    <a:pt x="3413620" y="16320"/>
                  </a:lnTo>
                  <a:lnTo>
                    <a:pt x="3413620" y="15634"/>
                  </a:lnTo>
                  <a:lnTo>
                    <a:pt x="3413709" y="16320"/>
                  </a:lnTo>
                  <a:lnTo>
                    <a:pt x="3413861" y="16320"/>
                  </a:lnTo>
                  <a:lnTo>
                    <a:pt x="3413963" y="17615"/>
                  </a:lnTo>
                  <a:lnTo>
                    <a:pt x="3413963" y="16320"/>
                  </a:lnTo>
                  <a:lnTo>
                    <a:pt x="3414013" y="16320"/>
                  </a:lnTo>
                  <a:lnTo>
                    <a:pt x="3414064" y="15634"/>
                  </a:lnTo>
                  <a:lnTo>
                    <a:pt x="3414204" y="15634"/>
                  </a:lnTo>
                  <a:lnTo>
                    <a:pt x="3414255" y="16320"/>
                  </a:lnTo>
                  <a:lnTo>
                    <a:pt x="3414750" y="16320"/>
                  </a:lnTo>
                  <a:lnTo>
                    <a:pt x="3414750" y="15634"/>
                  </a:lnTo>
                  <a:lnTo>
                    <a:pt x="3414903" y="15634"/>
                  </a:lnTo>
                  <a:lnTo>
                    <a:pt x="3414903" y="16320"/>
                  </a:lnTo>
                  <a:lnTo>
                    <a:pt x="3414953" y="16320"/>
                  </a:lnTo>
                  <a:lnTo>
                    <a:pt x="3415055" y="15634"/>
                  </a:lnTo>
                  <a:lnTo>
                    <a:pt x="3415055" y="16320"/>
                  </a:lnTo>
                  <a:lnTo>
                    <a:pt x="3415296" y="16320"/>
                  </a:lnTo>
                  <a:lnTo>
                    <a:pt x="3415347" y="17615"/>
                  </a:lnTo>
                  <a:lnTo>
                    <a:pt x="3415347" y="16320"/>
                  </a:lnTo>
                  <a:lnTo>
                    <a:pt x="3415398" y="16320"/>
                  </a:lnTo>
                  <a:lnTo>
                    <a:pt x="3415449" y="15634"/>
                  </a:lnTo>
                  <a:lnTo>
                    <a:pt x="3415449" y="16320"/>
                  </a:lnTo>
                  <a:lnTo>
                    <a:pt x="3415550" y="16320"/>
                  </a:lnTo>
                  <a:lnTo>
                    <a:pt x="3415601" y="17615"/>
                  </a:lnTo>
                  <a:lnTo>
                    <a:pt x="3415652" y="16320"/>
                  </a:lnTo>
                  <a:lnTo>
                    <a:pt x="3415792" y="16320"/>
                  </a:lnTo>
                  <a:lnTo>
                    <a:pt x="3415842" y="15634"/>
                  </a:lnTo>
                  <a:lnTo>
                    <a:pt x="3415842" y="16320"/>
                  </a:lnTo>
                  <a:lnTo>
                    <a:pt x="3416046" y="16320"/>
                  </a:lnTo>
                  <a:lnTo>
                    <a:pt x="3416046" y="17615"/>
                  </a:lnTo>
                  <a:lnTo>
                    <a:pt x="3416299" y="17615"/>
                  </a:lnTo>
                  <a:lnTo>
                    <a:pt x="3416338" y="16320"/>
                  </a:lnTo>
                  <a:lnTo>
                    <a:pt x="3416541" y="16320"/>
                  </a:lnTo>
                  <a:lnTo>
                    <a:pt x="3416642" y="17615"/>
                  </a:lnTo>
                  <a:lnTo>
                    <a:pt x="3416642" y="16320"/>
                  </a:lnTo>
                  <a:lnTo>
                    <a:pt x="3417188" y="16320"/>
                  </a:lnTo>
                  <a:lnTo>
                    <a:pt x="3417188" y="15634"/>
                  </a:lnTo>
                  <a:lnTo>
                    <a:pt x="3417239" y="16320"/>
                  </a:lnTo>
                  <a:lnTo>
                    <a:pt x="3418471" y="16320"/>
                  </a:lnTo>
                  <a:lnTo>
                    <a:pt x="3418471" y="17615"/>
                  </a:lnTo>
                  <a:lnTo>
                    <a:pt x="3418522" y="16320"/>
                  </a:lnTo>
                  <a:lnTo>
                    <a:pt x="3418827" y="16320"/>
                  </a:lnTo>
                  <a:lnTo>
                    <a:pt x="3418928" y="17615"/>
                  </a:lnTo>
                  <a:lnTo>
                    <a:pt x="3418967" y="17615"/>
                  </a:lnTo>
                  <a:lnTo>
                    <a:pt x="3419017" y="16320"/>
                  </a:lnTo>
                  <a:lnTo>
                    <a:pt x="3419170" y="16320"/>
                  </a:lnTo>
                  <a:lnTo>
                    <a:pt x="3419221" y="17615"/>
                  </a:lnTo>
                  <a:lnTo>
                    <a:pt x="3419271" y="17615"/>
                  </a:lnTo>
                  <a:lnTo>
                    <a:pt x="3419271" y="16320"/>
                  </a:lnTo>
                  <a:lnTo>
                    <a:pt x="3419614" y="16320"/>
                  </a:lnTo>
                  <a:lnTo>
                    <a:pt x="3419614" y="17615"/>
                  </a:lnTo>
                  <a:lnTo>
                    <a:pt x="3419665" y="16320"/>
                  </a:lnTo>
                  <a:lnTo>
                    <a:pt x="3421202" y="16320"/>
                  </a:lnTo>
                  <a:lnTo>
                    <a:pt x="3421253" y="17615"/>
                  </a:lnTo>
                  <a:lnTo>
                    <a:pt x="3421456" y="17615"/>
                  </a:lnTo>
                  <a:lnTo>
                    <a:pt x="3421506" y="16320"/>
                  </a:lnTo>
                  <a:lnTo>
                    <a:pt x="3421646" y="16320"/>
                  </a:lnTo>
                  <a:lnTo>
                    <a:pt x="3421646" y="15634"/>
                  </a:lnTo>
                  <a:lnTo>
                    <a:pt x="3421697" y="16320"/>
                  </a:lnTo>
                  <a:lnTo>
                    <a:pt x="3421748" y="16320"/>
                  </a:lnTo>
                  <a:lnTo>
                    <a:pt x="3421748" y="17615"/>
                  </a:lnTo>
                  <a:lnTo>
                    <a:pt x="3421900" y="17615"/>
                  </a:lnTo>
                  <a:lnTo>
                    <a:pt x="3421951" y="16320"/>
                  </a:lnTo>
                  <a:lnTo>
                    <a:pt x="3422103" y="16320"/>
                  </a:lnTo>
                  <a:lnTo>
                    <a:pt x="3422103" y="17615"/>
                  </a:lnTo>
                  <a:lnTo>
                    <a:pt x="3422142" y="16320"/>
                  </a:lnTo>
                  <a:lnTo>
                    <a:pt x="3422192" y="17615"/>
                  </a:lnTo>
                  <a:lnTo>
                    <a:pt x="3422192" y="16320"/>
                  </a:lnTo>
                  <a:lnTo>
                    <a:pt x="3422396" y="16320"/>
                  </a:lnTo>
                  <a:lnTo>
                    <a:pt x="3422396" y="17615"/>
                  </a:lnTo>
                  <a:lnTo>
                    <a:pt x="3422446" y="17615"/>
                  </a:lnTo>
                  <a:lnTo>
                    <a:pt x="3422446" y="16320"/>
                  </a:lnTo>
                  <a:lnTo>
                    <a:pt x="3422548" y="17615"/>
                  </a:lnTo>
                  <a:lnTo>
                    <a:pt x="3422548" y="16320"/>
                  </a:lnTo>
                  <a:lnTo>
                    <a:pt x="3422599" y="16320"/>
                  </a:lnTo>
                  <a:lnTo>
                    <a:pt x="3422649" y="17615"/>
                  </a:lnTo>
                  <a:lnTo>
                    <a:pt x="3422688" y="16320"/>
                  </a:lnTo>
                  <a:lnTo>
                    <a:pt x="3422688" y="17615"/>
                  </a:lnTo>
                  <a:lnTo>
                    <a:pt x="3422789" y="16320"/>
                  </a:lnTo>
                  <a:lnTo>
                    <a:pt x="3423538" y="16320"/>
                  </a:lnTo>
                  <a:lnTo>
                    <a:pt x="3423589" y="17615"/>
                  </a:lnTo>
                  <a:lnTo>
                    <a:pt x="3423589" y="16320"/>
                  </a:lnTo>
                  <a:lnTo>
                    <a:pt x="3423691" y="17615"/>
                  </a:lnTo>
                  <a:lnTo>
                    <a:pt x="3423691" y="16320"/>
                  </a:lnTo>
                  <a:lnTo>
                    <a:pt x="3423932" y="16320"/>
                  </a:lnTo>
                  <a:lnTo>
                    <a:pt x="3423932" y="17615"/>
                  </a:lnTo>
                  <a:lnTo>
                    <a:pt x="3423983" y="16320"/>
                  </a:lnTo>
                  <a:lnTo>
                    <a:pt x="3424428" y="16320"/>
                  </a:lnTo>
                  <a:lnTo>
                    <a:pt x="3424478" y="17615"/>
                  </a:lnTo>
                  <a:lnTo>
                    <a:pt x="3424681" y="17615"/>
                  </a:lnTo>
                  <a:lnTo>
                    <a:pt x="3424732" y="16320"/>
                  </a:lnTo>
                  <a:lnTo>
                    <a:pt x="3424732" y="17615"/>
                  </a:lnTo>
                  <a:lnTo>
                    <a:pt x="3424821" y="16320"/>
                  </a:lnTo>
                  <a:lnTo>
                    <a:pt x="3424872" y="16320"/>
                  </a:lnTo>
                  <a:lnTo>
                    <a:pt x="3424872" y="15634"/>
                  </a:lnTo>
                  <a:lnTo>
                    <a:pt x="3424923" y="16320"/>
                  </a:lnTo>
                  <a:lnTo>
                    <a:pt x="3425774" y="16320"/>
                  </a:lnTo>
                  <a:lnTo>
                    <a:pt x="3425774" y="17615"/>
                  </a:lnTo>
                  <a:lnTo>
                    <a:pt x="3425824" y="16320"/>
                  </a:lnTo>
                  <a:lnTo>
                    <a:pt x="3426167" y="16320"/>
                  </a:lnTo>
                  <a:lnTo>
                    <a:pt x="3426167" y="15634"/>
                  </a:lnTo>
                  <a:lnTo>
                    <a:pt x="3426218" y="15634"/>
                  </a:lnTo>
                  <a:lnTo>
                    <a:pt x="3426269" y="16320"/>
                  </a:lnTo>
                  <a:lnTo>
                    <a:pt x="3426904" y="16320"/>
                  </a:lnTo>
                  <a:lnTo>
                    <a:pt x="3426955" y="17615"/>
                  </a:lnTo>
                  <a:lnTo>
                    <a:pt x="3426955" y="16320"/>
                  </a:lnTo>
                  <a:lnTo>
                    <a:pt x="3427006" y="17615"/>
                  </a:lnTo>
                  <a:lnTo>
                    <a:pt x="3427107" y="16320"/>
                  </a:lnTo>
                  <a:lnTo>
                    <a:pt x="3427361" y="16320"/>
                  </a:lnTo>
                  <a:lnTo>
                    <a:pt x="3427361" y="15634"/>
                  </a:lnTo>
                  <a:lnTo>
                    <a:pt x="3427412" y="16320"/>
                  </a:lnTo>
                  <a:lnTo>
                    <a:pt x="3427653" y="16320"/>
                  </a:lnTo>
                  <a:lnTo>
                    <a:pt x="3427653" y="17615"/>
                  </a:lnTo>
                  <a:lnTo>
                    <a:pt x="3427806" y="17615"/>
                  </a:lnTo>
                  <a:lnTo>
                    <a:pt x="3427856" y="16320"/>
                  </a:lnTo>
                  <a:lnTo>
                    <a:pt x="3428098" y="16320"/>
                  </a:lnTo>
                  <a:lnTo>
                    <a:pt x="3428149" y="17615"/>
                  </a:lnTo>
                  <a:lnTo>
                    <a:pt x="3428250" y="16320"/>
                  </a:lnTo>
                  <a:lnTo>
                    <a:pt x="3428301" y="16320"/>
                  </a:lnTo>
                  <a:lnTo>
                    <a:pt x="3428301" y="17615"/>
                  </a:lnTo>
                  <a:lnTo>
                    <a:pt x="3428352" y="17615"/>
                  </a:lnTo>
                  <a:lnTo>
                    <a:pt x="3428453" y="16320"/>
                  </a:lnTo>
                  <a:lnTo>
                    <a:pt x="3428542" y="16320"/>
                  </a:lnTo>
                  <a:lnTo>
                    <a:pt x="3428542" y="17615"/>
                  </a:lnTo>
                  <a:lnTo>
                    <a:pt x="3428695" y="17615"/>
                  </a:lnTo>
                  <a:lnTo>
                    <a:pt x="3428746" y="16320"/>
                  </a:lnTo>
                  <a:lnTo>
                    <a:pt x="3428898" y="16320"/>
                  </a:lnTo>
                  <a:lnTo>
                    <a:pt x="3428898" y="17615"/>
                  </a:lnTo>
                  <a:lnTo>
                    <a:pt x="3428999" y="17615"/>
                  </a:lnTo>
                  <a:lnTo>
                    <a:pt x="3429038" y="16320"/>
                  </a:lnTo>
                  <a:lnTo>
                    <a:pt x="3429584" y="16320"/>
                  </a:lnTo>
                  <a:lnTo>
                    <a:pt x="3429635" y="17615"/>
                  </a:lnTo>
                  <a:lnTo>
                    <a:pt x="3429685" y="17615"/>
                  </a:lnTo>
                  <a:lnTo>
                    <a:pt x="3429736" y="16320"/>
                  </a:lnTo>
                  <a:lnTo>
                    <a:pt x="3429838" y="17615"/>
                  </a:lnTo>
                  <a:lnTo>
                    <a:pt x="3429888" y="17615"/>
                  </a:lnTo>
                  <a:lnTo>
                    <a:pt x="3429939" y="16320"/>
                  </a:lnTo>
                  <a:lnTo>
                    <a:pt x="3430282" y="16320"/>
                  </a:lnTo>
                  <a:lnTo>
                    <a:pt x="3430333" y="17615"/>
                  </a:lnTo>
                  <a:lnTo>
                    <a:pt x="3430333" y="16320"/>
                  </a:lnTo>
                  <a:lnTo>
                    <a:pt x="3430384" y="17615"/>
                  </a:lnTo>
                  <a:lnTo>
                    <a:pt x="3430384" y="16320"/>
                  </a:lnTo>
                  <a:lnTo>
                    <a:pt x="3430536" y="16320"/>
                  </a:lnTo>
                  <a:lnTo>
                    <a:pt x="3430536" y="17615"/>
                  </a:lnTo>
                  <a:lnTo>
                    <a:pt x="3430587" y="17615"/>
                  </a:lnTo>
                  <a:lnTo>
                    <a:pt x="3430587" y="16320"/>
                  </a:lnTo>
                  <a:lnTo>
                    <a:pt x="3430625" y="16320"/>
                  </a:lnTo>
                  <a:lnTo>
                    <a:pt x="3430625" y="17615"/>
                  </a:lnTo>
                  <a:lnTo>
                    <a:pt x="3430778" y="17615"/>
                  </a:lnTo>
                  <a:lnTo>
                    <a:pt x="3430828" y="16320"/>
                  </a:lnTo>
                  <a:lnTo>
                    <a:pt x="3430981" y="16320"/>
                  </a:lnTo>
                  <a:lnTo>
                    <a:pt x="3430981" y="17615"/>
                  </a:lnTo>
                  <a:lnTo>
                    <a:pt x="3431031" y="17615"/>
                  </a:lnTo>
                  <a:lnTo>
                    <a:pt x="3431031" y="16320"/>
                  </a:lnTo>
                  <a:lnTo>
                    <a:pt x="3431425" y="16320"/>
                  </a:lnTo>
                  <a:lnTo>
                    <a:pt x="3431476" y="17615"/>
                  </a:lnTo>
                  <a:lnTo>
                    <a:pt x="3431527" y="17615"/>
                  </a:lnTo>
                  <a:lnTo>
                    <a:pt x="3431527" y="16320"/>
                  </a:lnTo>
                  <a:lnTo>
                    <a:pt x="3431667" y="16320"/>
                  </a:lnTo>
                  <a:lnTo>
                    <a:pt x="3431667" y="17615"/>
                  </a:lnTo>
                  <a:lnTo>
                    <a:pt x="3431768" y="17615"/>
                  </a:lnTo>
                  <a:lnTo>
                    <a:pt x="3431870" y="16320"/>
                  </a:lnTo>
                  <a:lnTo>
                    <a:pt x="3432810" y="16320"/>
                  </a:lnTo>
                  <a:lnTo>
                    <a:pt x="3432860" y="15634"/>
                  </a:lnTo>
                  <a:lnTo>
                    <a:pt x="3432911" y="16320"/>
                  </a:lnTo>
                  <a:lnTo>
                    <a:pt x="3433063" y="16320"/>
                  </a:lnTo>
                  <a:lnTo>
                    <a:pt x="3433063" y="15634"/>
                  </a:lnTo>
                  <a:lnTo>
                    <a:pt x="3433216" y="15634"/>
                  </a:lnTo>
                  <a:lnTo>
                    <a:pt x="3433254" y="16320"/>
                  </a:lnTo>
                  <a:lnTo>
                    <a:pt x="3434206" y="16320"/>
                  </a:lnTo>
                  <a:lnTo>
                    <a:pt x="3434257" y="15634"/>
                  </a:lnTo>
                  <a:lnTo>
                    <a:pt x="3434346" y="15634"/>
                  </a:lnTo>
                  <a:lnTo>
                    <a:pt x="3434397" y="16320"/>
                  </a:lnTo>
                  <a:lnTo>
                    <a:pt x="3434651" y="16320"/>
                  </a:lnTo>
                  <a:lnTo>
                    <a:pt x="3434651" y="15634"/>
                  </a:lnTo>
                  <a:lnTo>
                    <a:pt x="3434702" y="16320"/>
                  </a:lnTo>
                  <a:lnTo>
                    <a:pt x="3434892" y="16320"/>
                  </a:lnTo>
                  <a:lnTo>
                    <a:pt x="3434943" y="17615"/>
                  </a:lnTo>
                  <a:lnTo>
                    <a:pt x="3435096" y="17615"/>
                  </a:lnTo>
                  <a:lnTo>
                    <a:pt x="3435096" y="16320"/>
                  </a:lnTo>
                  <a:lnTo>
                    <a:pt x="3435388" y="16320"/>
                  </a:lnTo>
                  <a:lnTo>
                    <a:pt x="3435388" y="17615"/>
                  </a:lnTo>
                  <a:lnTo>
                    <a:pt x="3435489" y="16320"/>
                  </a:lnTo>
                  <a:lnTo>
                    <a:pt x="3435489" y="17615"/>
                  </a:lnTo>
                  <a:lnTo>
                    <a:pt x="3435540" y="16320"/>
                  </a:lnTo>
                  <a:lnTo>
                    <a:pt x="3435591" y="16320"/>
                  </a:lnTo>
                  <a:lnTo>
                    <a:pt x="3435692" y="17615"/>
                  </a:lnTo>
                  <a:lnTo>
                    <a:pt x="3435743" y="16320"/>
                  </a:lnTo>
                  <a:lnTo>
                    <a:pt x="3436086" y="16320"/>
                  </a:lnTo>
                  <a:lnTo>
                    <a:pt x="3436086" y="17615"/>
                  </a:lnTo>
                  <a:lnTo>
                    <a:pt x="3436238" y="17615"/>
                  </a:lnTo>
                  <a:lnTo>
                    <a:pt x="3436289" y="16320"/>
                  </a:lnTo>
                  <a:lnTo>
                    <a:pt x="3436391" y="17615"/>
                  </a:lnTo>
                  <a:lnTo>
                    <a:pt x="3436391" y="16320"/>
                  </a:lnTo>
                  <a:lnTo>
                    <a:pt x="3436429" y="16320"/>
                  </a:lnTo>
                  <a:lnTo>
                    <a:pt x="3436429" y="17615"/>
                  </a:lnTo>
                  <a:lnTo>
                    <a:pt x="3436480" y="17615"/>
                  </a:lnTo>
                  <a:lnTo>
                    <a:pt x="3436480" y="16320"/>
                  </a:lnTo>
                  <a:lnTo>
                    <a:pt x="3436632" y="16320"/>
                  </a:lnTo>
                  <a:lnTo>
                    <a:pt x="3436683" y="17615"/>
                  </a:lnTo>
                  <a:lnTo>
                    <a:pt x="3436835" y="17615"/>
                  </a:lnTo>
                  <a:lnTo>
                    <a:pt x="3436835" y="16320"/>
                  </a:lnTo>
                  <a:lnTo>
                    <a:pt x="3437128" y="16320"/>
                  </a:lnTo>
                  <a:lnTo>
                    <a:pt x="3437128" y="17615"/>
                  </a:lnTo>
                  <a:lnTo>
                    <a:pt x="3437178" y="16320"/>
                  </a:lnTo>
                  <a:lnTo>
                    <a:pt x="3437280" y="16320"/>
                  </a:lnTo>
                  <a:lnTo>
                    <a:pt x="3437331" y="17615"/>
                  </a:lnTo>
                  <a:lnTo>
                    <a:pt x="3437331" y="16320"/>
                  </a:lnTo>
                  <a:lnTo>
                    <a:pt x="3437623" y="16320"/>
                  </a:lnTo>
                  <a:lnTo>
                    <a:pt x="3437623" y="17615"/>
                  </a:lnTo>
                  <a:lnTo>
                    <a:pt x="3437775" y="17615"/>
                  </a:lnTo>
                  <a:lnTo>
                    <a:pt x="3437826" y="16320"/>
                  </a:lnTo>
                  <a:lnTo>
                    <a:pt x="3438067" y="16320"/>
                  </a:lnTo>
                  <a:lnTo>
                    <a:pt x="3438118" y="17615"/>
                  </a:lnTo>
                  <a:lnTo>
                    <a:pt x="3438118" y="16320"/>
                  </a:lnTo>
                  <a:lnTo>
                    <a:pt x="3438220" y="16320"/>
                  </a:lnTo>
                  <a:lnTo>
                    <a:pt x="3438220" y="17615"/>
                  </a:lnTo>
                  <a:lnTo>
                    <a:pt x="3438474" y="17615"/>
                  </a:lnTo>
                  <a:lnTo>
                    <a:pt x="3438474" y="16320"/>
                  </a:lnTo>
                  <a:lnTo>
                    <a:pt x="3438524" y="17615"/>
                  </a:lnTo>
                  <a:lnTo>
                    <a:pt x="3438524" y="16320"/>
                  </a:lnTo>
                  <a:lnTo>
                    <a:pt x="3438563" y="17615"/>
                  </a:lnTo>
                  <a:lnTo>
                    <a:pt x="3438918" y="17615"/>
                  </a:lnTo>
                  <a:lnTo>
                    <a:pt x="3438918" y="16320"/>
                  </a:lnTo>
                  <a:lnTo>
                    <a:pt x="3438969" y="17615"/>
                  </a:lnTo>
                  <a:lnTo>
                    <a:pt x="3439160" y="17615"/>
                  </a:lnTo>
                  <a:lnTo>
                    <a:pt x="3439160" y="16320"/>
                  </a:lnTo>
                  <a:lnTo>
                    <a:pt x="3439909" y="16320"/>
                  </a:lnTo>
                  <a:lnTo>
                    <a:pt x="3440010" y="17615"/>
                  </a:lnTo>
                  <a:lnTo>
                    <a:pt x="3440061" y="17615"/>
                  </a:lnTo>
                  <a:lnTo>
                    <a:pt x="3440061" y="16320"/>
                  </a:lnTo>
                  <a:lnTo>
                    <a:pt x="3440556" y="16320"/>
                  </a:lnTo>
                  <a:lnTo>
                    <a:pt x="3440556" y="15634"/>
                  </a:lnTo>
                  <a:lnTo>
                    <a:pt x="3440607" y="16320"/>
                  </a:lnTo>
                  <a:lnTo>
                    <a:pt x="3440849" y="16320"/>
                  </a:lnTo>
                  <a:lnTo>
                    <a:pt x="3440950" y="15634"/>
                  </a:lnTo>
                  <a:lnTo>
                    <a:pt x="3441052" y="15634"/>
                  </a:lnTo>
                  <a:lnTo>
                    <a:pt x="3441153" y="16320"/>
                  </a:lnTo>
                  <a:lnTo>
                    <a:pt x="3441649" y="16320"/>
                  </a:lnTo>
                  <a:lnTo>
                    <a:pt x="3441699" y="17615"/>
                  </a:lnTo>
                  <a:lnTo>
                    <a:pt x="3441738" y="16320"/>
                  </a:lnTo>
                  <a:lnTo>
                    <a:pt x="3441890" y="16320"/>
                  </a:lnTo>
                  <a:lnTo>
                    <a:pt x="3441941" y="17615"/>
                  </a:lnTo>
                  <a:lnTo>
                    <a:pt x="3442093" y="17615"/>
                  </a:lnTo>
                  <a:lnTo>
                    <a:pt x="3442093" y="16320"/>
                  </a:lnTo>
                  <a:lnTo>
                    <a:pt x="3442144" y="17615"/>
                  </a:lnTo>
                  <a:lnTo>
                    <a:pt x="3442195" y="16320"/>
                  </a:lnTo>
                  <a:lnTo>
                    <a:pt x="3442284" y="16320"/>
                  </a:lnTo>
                  <a:lnTo>
                    <a:pt x="3442335" y="17615"/>
                  </a:lnTo>
                  <a:lnTo>
                    <a:pt x="3442385" y="16320"/>
                  </a:lnTo>
                  <a:lnTo>
                    <a:pt x="3442982" y="16320"/>
                  </a:lnTo>
                  <a:lnTo>
                    <a:pt x="3442982" y="17615"/>
                  </a:lnTo>
                  <a:lnTo>
                    <a:pt x="3443033" y="17615"/>
                  </a:lnTo>
                  <a:lnTo>
                    <a:pt x="3443033" y="16320"/>
                  </a:lnTo>
                  <a:lnTo>
                    <a:pt x="3443478" y="16320"/>
                  </a:lnTo>
                  <a:lnTo>
                    <a:pt x="3443478" y="15634"/>
                  </a:lnTo>
                  <a:lnTo>
                    <a:pt x="3443528" y="16320"/>
                  </a:lnTo>
                  <a:lnTo>
                    <a:pt x="3443630" y="16320"/>
                  </a:lnTo>
                  <a:lnTo>
                    <a:pt x="3443681" y="17615"/>
                  </a:lnTo>
                  <a:lnTo>
                    <a:pt x="3443731" y="17615"/>
                  </a:lnTo>
                  <a:lnTo>
                    <a:pt x="3443782" y="16320"/>
                  </a:lnTo>
                  <a:lnTo>
                    <a:pt x="3444024" y="16320"/>
                  </a:lnTo>
                  <a:lnTo>
                    <a:pt x="3444125" y="17615"/>
                  </a:lnTo>
                  <a:lnTo>
                    <a:pt x="3444227" y="17615"/>
                  </a:lnTo>
                  <a:lnTo>
                    <a:pt x="3444227" y="16320"/>
                  </a:lnTo>
                  <a:lnTo>
                    <a:pt x="3444367" y="16320"/>
                  </a:lnTo>
                  <a:lnTo>
                    <a:pt x="3444367" y="17615"/>
                  </a:lnTo>
                  <a:lnTo>
                    <a:pt x="3444417" y="16320"/>
                  </a:lnTo>
                  <a:lnTo>
                    <a:pt x="3444570" y="16320"/>
                  </a:lnTo>
                  <a:lnTo>
                    <a:pt x="3444621" y="17615"/>
                  </a:lnTo>
                  <a:lnTo>
                    <a:pt x="3444874" y="17615"/>
                  </a:lnTo>
                  <a:lnTo>
                    <a:pt x="3444874" y="16320"/>
                  </a:lnTo>
                  <a:lnTo>
                    <a:pt x="3444913" y="17615"/>
                  </a:lnTo>
                  <a:lnTo>
                    <a:pt x="3445217" y="17615"/>
                  </a:lnTo>
                  <a:lnTo>
                    <a:pt x="3445268" y="16320"/>
                  </a:lnTo>
                  <a:lnTo>
                    <a:pt x="3445268" y="17615"/>
                  </a:lnTo>
                  <a:lnTo>
                    <a:pt x="3445370" y="17615"/>
                  </a:lnTo>
                  <a:lnTo>
                    <a:pt x="3445459" y="16320"/>
                  </a:lnTo>
                  <a:lnTo>
                    <a:pt x="3446005" y="16320"/>
                  </a:lnTo>
                  <a:lnTo>
                    <a:pt x="3446005" y="15634"/>
                  </a:lnTo>
                  <a:lnTo>
                    <a:pt x="3446056" y="15634"/>
                  </a:lnTo>
                  <a:lnTo>
                    <a:pt x="3446056" y="16320"/>
                  </a:lnTo>
                  <a:lnTo>
                    <a:pt x="3446360" y="16320"/>
                  </a:lnTo>
                  <a:lnTo>
                    <a:pt x="3446411" y="17615"/>
                  </a:lnTo>
                  <a:lnTo>
                    <a:pt x="3446462" y="17615"/>
                  </a:lnTo>
                  <a:lnTo>
                    <a:pt x="3446500" y="16320"/>
                  </a:lnTo>
                  <a:lnTo>
                    <a:pt x="3446703" y="16320"/>
                  </a:lnTo>
                  <a:lnTo>
                    <a:pt x="3446703" y="17615"/>
                  </a:lnTo>
                  <a:lnTo>
                    <a:pt x="3446805" y="16320"/>
                  </a:lnTo>
                  <a:lnTo>
                    <a:pt x="3446856" y="16320"/>
                  </a:lnTo>
                  <a:lnTo>
                    <a:pt x="3446906" y="17615"/>
                  </a:lnTo>
                  <a:lnTo>
                    <a:pt x="3447097" y="17615"/>
                  </a:lnTo>
                  <a:lnTo>
                    <a:pt x="3447148" y="16320"/>
                  </a:lnTo>
                  <a:lnTo>
                    <a:pt x="3447300" y="16320"/>
                  </a:lnTo>
                  <a:lnTo>
                    <a:pt x="3447300" y="17615"/>
                  </a:lnTo>
                  <a:lnTo>
                    <a:pt x="3447351" y="16320"/>
                  </a:lnTo>
                  <a:lnTo>
                    <a:pt x="3447402" y="16320"/>
                  </a:lnTo>
                  <a:lnTo>
                    <a:pt x="3447402" y="17615"/>
                  </a:lnTo>
                  <a:lnTo>
                    <a:pt x="3447592" y="17615"/>
                  </a:lnTo>
                  <a:lnTo>
                    <a:pt x="3447643" y="16320"/>
                  </a:lnTo>
                  <a:lnTo>
                    <a:pt x="3447745" y="16320"/>
                  </a:lnTo>
                  <a:lnTo>
                    <a:pt x="3447745" y="17615"/>
                  </a:lnTo>
                  <a:lnTo>
                    <a:pt x="3447796" y="16320"/>
                  </a:lnTo>
                  <a:lnTo>
                    <a:pt x="3448443" y="16320"/>
                  </a:lnTo>
                  <a:lnTo>
                    <a:pt x="3448494" y="17615"/>
                  </a:lnTo>
                  <a:lnTo>
                    <a:pt x="3448494" y="16320"/>
                  </a:lnTo>
                  <a:lnTo>
                    <a:pt x="3448545" y="16320"/>
                  </a:lnTo>
                  <a:lnTo>
                    <a:pt x="3448545" y="17615"/>
                  </a:lnTo>
                  <a:lnTo>
                    <a:pt x="3448634" y="16320"/>
                  </a:lnTo>
                  <a:lnTo>
                    <a:pt x="3448735" y="16320"/>
                  </a:lnTo>
                  <a:lnTo>
                    <a:pt x="3448735" y="17615"/>
                  </a:lnTo>
                  <a:lnTo>
                    <a:pt x="3448938" y="17615"/>
                  </a:lnTo>
                  <a:lnTo>
                    <a:pt x="3448989" y="16320"/>
                  </a:lnTo>
                  <a:lnTo>
                    <a:pt x="3449091" y="16320"/>
                  </a:lnTo>
                  <a:lnTo>
                    <a:pt x="3449129" y="17615"/>
                  </a:lnTo>
                  <a:lnTo>
                    <a:pt x="3449180" y="16320"/>
                  </a:lnTo>
                  <a:lnTo>
                    <a:pt x="3449180" y="17615"/>
                  </a:lnTo>
                  <a:lnTo>
                    <a:pt x="3449231" y="17615"/>
                  </a:lnTo>
                  <a:lnTo>
                    <a:pt x="3449231" y="16320"/>
                  </a:lnTo>
                  <a:lnTo>
                    <a:pt x="3449332" y="16320"/>
                  </a:lnTo>
                  <a:lnTo>
                    <a:pt x="3449383" y="17615"/>
                  </a:lnTo>
                  <a:lnTo>
                    <a:pt x="3449434" y="17615"/>
                  </a:lnTo>
                  <a:lnTo>
                    <a:pt x="3449434" y="16320"/>
                  </a:lnTo>
                  <a:lnTo>
                    <a:pt x="3449535" y="16320"/>
                  </a:lnTo>
                  <a:lnTo>
                    <a:pt x="3449535" y="15634"/>
                  </a:lnTo>
                  <a:lnTo>
                    <a:pt x="3449586" y="16320"/>
                  </a:lnTo>
                  <a:lnTo>
                    <a:pt x="3449675" y="16320"/>
                  </a:lnTo>
                  <a:lnTo>
                    <a:pt x="3449675" y="17615"/>
                  </a:lnTo>
                  <a:lnTo>
                    <a:pt x="3449980" y="17615"/>
                  </a:lnTo>
                  <a:lnTo>
                    <a:pt x="3450031" y="16320"/>
                  </a:lnTo>
                  <a:lnTo>
                    <a:pt x="3450221" y="16320"/>
                  </a:lnTo>
                  <a:lnTo>
                    <a:pt x="3450272" y="17615"/>
                  </a:lnTo>
                  <a:lnTo>
                    <a:pt x="3450374" y="17615"/>
                  </a:lnTo>
                  <a:lnTo>
                    <a:pt x="3450374" y="16320"/>
                  </a:lnTo>
                  <a:lnTo>
                    <a:pt x="3450526" y="16320"/>
                  </a:lnTo>
                  <a:lnTo>
                    <a:pt x="3450577" y="17615"/>
                  </a:lnTo>
                  <a:lnTo>
                    <a:pt x="3450767" y="17615"/>
                  </a:lnTo>
                  <a:lnTo>
                    <a:pt x="3450767" y="16320"/>
                  </a:lnTo>
                  <a:lnTo>
                    <a:pt x="3451021" y="16320"/>
                  </a:lnTo>
                  <a:lnTo>
                    <a:pt x="3451123" y="17615"/>
                  </a:lnTo>
                  <a:lnTo>
                    <a:pt x="3451224" y="17615"/>
                  </a:lnTo>
                  <a:lnTo>
                    <a:pt x="3451224" y="16320"/>
                  </a:lnTo>
                  <a:lnTo>
                    <a:pt x="3451263" y="17615"/>
                  </a:lnTo>
                  <a:lnTo>
                    <a:pt x="3451466" y="17615"/>
                  </a:lnTo>
                  <a:lnTo>
                    <a:pt x="3451567" y="16320"/>
                  </a:lnTo>
                  <a:lnTo>
                    <a:pt x="3451618" y="16320"/>
                  </a:lnTo>
                  <a:lnTo>
                    <a:pt x="3451618" y="17615"/>
                  </a:lnTo>
                  <a:lnTo>
                    <a:pt x="3451720" y="17615"/>
                  </a:lnTo>
                  <a:lnTo>
                    <a:pt x="3451809" y="16320"/>
                  </a:lnTo>
                  <a:lnTo>
                    <a:pt x="3451961" y="16320"/>
                  </a:lnTo>
                  <a:lnTo>
                    <a:pt x="3451961" y="17615"/>
                  </a:lnTo>
                  <a:lnTo>
                    <a:pt x="3452113" y="17615"/>
                  </a:lnTo>
                  <a:lnTo>
                    <a:pt x="3452113" y="16320"/>
                  </a:lnTo>
                  <a:lnTo>
                    <a:pt x="3452355" y="16320"/>
                  </a:lnTo>
                  <a:lnTo>
                    <a:pt x="3452406" y="17615"/>
                  </a:lnTo>
                  <a:lnTo>
                    <a:pt x="3452609" y="17615"/>
                  </a:lnTo>
                  <a:lnTo>
                    <a:pt x="3452710" y="16320"/>
                  </a:lnTo>
                  <a:lnTo>
                    <a:pt x="3452761" y="16320"/>
                  </a:lnTo>
                  <a:lnTo>
                    <a:pt x="3452761" y="17615"/>
                  </a:lnTo>
                  <a:lnTo>
                    <a:pt x="3452812" y="16320"/>
                  </a:lnTo>
                  <a:lnTo>
                    <a:pt x="3452812" y="17615"/>
                  </a:lnTo>
                  <a:lnTo>
                    <a:pt x="3452850" y="17615"/>
                  </a:lnTo>
                  <a:lnTo>
                    <a:pt x="3452850" y="16320"/>
                  </a:lnTo>
                  <a:lnTo>
                    <a:pt x="3453053" y="16320"/>
                  </a:lnTo>
                  <a:lnTo>
                    <a:pt x="3453155" y="17615"/>
                  </a:lnTo>
                  <a:lnTo>
                    <a:pt x="3453206" y="17615"/>
                  </a:lnTo>
                  <a:lnTo>
                    <a:pt x="3453206" y="16320"/>
                  </a:lnTo>
                  <a:lnTo>
                    <a:pt x="3453396" y="16320"/>
                  </a:lnTo>
                  <a:lnTo>
                    <a:pt x="3453396" y="17615"/>
                  </a:lnTo>
                  <a:lnTo>
                    <a:pt x="3453498" y="17615"/>
                  </a:lnTo>
                  <a:lnTo>
                    <a:pt x="3453549" y="16320"/>
                  </a:lnTo>
                  <a:lnTo>
                    <a:pt x="3453650" y="16320"/>
                  </a:lnTo>
                  <a:lnTo>
                    <a:pt x="3453650" y="17615"/>
                  </a:lnTo>
                  <a:lnTo>
                    <a:pt x="3454590" y="17615"/>
                  </a:lnTo>
                  <a:lnTo>
                    <a:pt x="3454590" y="16320"/>
                  </a:lnTo>
                  <a:lnTo>
                    <a:pt x="3454742" y="16320"/>
                  </a:lnTo>
                  <a:lnTo>
                    <a:pt x="3454742" y="17615"/>
                  </a:lnTo>
                  <a:lnTo>
                    <a:pt x="3454844" y="17615"/>
                  </a:lnTo>
                  <a:lnTo>
                    <a:pt x="3454895" y="16320"/>
                  </a:lnTo>
                  <a:lnTo>
                    <a:pt x="3454895" y="17615"/>
                  </a:lnTo>
                  <a:lnTo>
                    <a:pt x="3454984" y="16320"/>
                  </a:lnTo>
                  <a:lnTo>
                    <a:pt x="3455441" y="16320"/>
                  </a:lnTo>
                  <a:lnTo>
                    <a:pt x="3455479" y="17615"/>
                  </a:lnTo>
                  <a:lnTo>
                    <a:pt x="3455581" y="17615"/>
                  </a:lnTo>
                  <a:lnTo>
                    <a:pt x="3455682" y="16320"/>
                  </a:lnTo>
                  <a:lnTo>
                    <a:pt x="3455733" y="16320"/>
                  </a:lnTo>
                  <a:lnTo>
                    <a:pt x="3455733" y="17615"/>
                  </a:lnTo>
                  <a:lnTo>
                    <a:pt x="3455784" y="17615"/>
                  </a:lnTo>
                  <a:lnTo>
                    <a:pt x="3455784" y="16320"/>
                  </a:lnTo>
                  <a:lnTo>
                    <a:pt x="3455885" y="17615"/>
                  </a:lnTo>
                  <a:lnTo>
                    <a:pt x="3455885" y="16320"/>
                  </a:lnTo>
                  <a:lnTo>
                    <a:pt x="3455936" y="16320"/>
                  </a:lnTo>
                  <a:lnTo>
                    <a:pt x="3455936" y="17615"/>
                  </a:lnTo>
                  <a:lnTo>
                    <a:pt x="3456127" y="17615"/>
                  </a:lnTo>
                  <a:lnTo>
                    <a:pt x="3456127" y="16320"/>
                  </a:lnTo>
                  <a:lnTo>
                    <a:pt x="3456178" y="16320"/>
                  </a:lnTo>
                  <a:lnTo>
                    <a:pt x="3456178" y="17615"/>
                  </a:lnTo>
                  <a:lnTo>
                    <a:pt x="3456330" y="17615"/>
                  </a:lnTo>
                  <a:lnTo>
                    <a:pt x="3456381" y="16320"/>
                  </a:lnTo>
                  <a:lnTo>
                    <a:pt x="3456381" y="17615"/>
                  </a:lnTo>
                  <a:lnTo>
                    <a:pt x="3456431" y="16320"/>
                  </a:lnTo>
                  <a:lnTo>
                    <a:pt x="3456482" y="16320"/>
                  </a:lnTo>
                  <a:lnTo>
                    <a:pt x="3456571" y="17615"/>
                  </a:lnTo>
                  <a:lnTo>
                    <a:pt x="3456724" y="17615"/>
                  </a:lnTo>
                  <a:lnTo>
                    <a:pt x="3456825" y="16320"/>
                  </a:lnTo>
                  <a:lnTo>
                    <a:pt x="3457067" y="16320"/>
                  </a:lnTo>
                  <a:lnTo>
                    <a:pt x="3457117" y="17615"/>
                  </a:lnTo>
                  <a:lnTo>
                    <a:pt x="3457117" y="16320"/>
                  </a:lnTo>
                  <a:lnTo>
                    <a:pt x="3457168" y="16320"/>
                  </a:lnTo>
                  <a:lnTo>
                    <a:pt x="3457270" y="17615"/>
                  </a:lnTo>
                  <a:lnTo>
                    <a:pt x="3457270" y="16320"/>
                  </a:lnTo>
                  <a:lnTo>
                    <a:pt x="3457321" y="16320"/>
                  </a:lnTo>
                  <a:lnTo>
                    <a:pt x="3457371" y="17615"/>
                  </a:lnTo>
                  <a:lnTo>
                    <a:pt x="3457473" y="17615"/>
                  </a:lnTo>
                  <a:lnTo>
                    <a:pt x="3457524" y="16320"/>
                  </a:lnTo>
                  <a:lnTo>
                    <a:pt x="3457574" y="16320"/>
                  </a:lnTo>
                  <a:lnTo>
                    <a:pt x="3457574" y="17615"/>
                  </a:lnTo>
                  <a:lnTo>
                    <a:pt x="3458210" y="17615"/>
                  </a:lnTo>
                  <a:lnTo>
                    <a:pt x="3458260" y="16320"/>
                  </a:lnTo>
                  <a:lnTo>
                    <a:pt x="3458311" y="16320"/>
                  </a:lnTo>
                  <a:lnTo>
                    <a:pt x="3458311" y="17615"/>
                  </a:lnTo>
                  <a:lnTo>
                    <a:pt x="3458413" y="17615"/>
                  </a:lnTo>
                  <a:lnTo>
                    <a:pt x="3458463" y="16320"/>
                  </a:lnTo>
                  <a:lnTo>
                    <a:pt x="3458959" y="16320"/>
                  </a:lnTo>
                  <a:lnTo>
                    <a:pt x="3459060" y="17615"/>
                  </a:lnTo>
                  <a:lnTo>
                    <a:pt x="3459111" y="16320"/>
                  </a:lnTo>
                  <a:lnTo>
                    <a:pt x="3459162" y="16320"/>
                  </a:lnTo>
                  <a:lnTo>
                    <a:pt x="3459162" y="17615"/>
                  </a:lnTo>
                  <a:lnTo>
                    <a:pt x="3459200" y="17615"/>
                  </a:lnTo>
                  <a:lnTo>
                    <a:pt x="3459200" y="16320"/>
                  </a:lnTo>
                  <a:lnTo>
                    <a:pt x="3459403" y="16320"/>
                  </a:lnTo>
                  <a:lnTo>
                    <a:pt x="3459505" y="17615"/>
                  </a:lnTo>
                  <a:lnTo>
                    <a:pt x="3459556" y="17615"/>
                  </a:lnTo>
                  <a:lnTo>
                    <a:pt x="3459606" y="16320"/>
                  </a:lnTo>
                  <a:lnTo>
                    <a:pt x="3459848" y="16320"/>
                  </a:lnTo>
                  <a:lnTo>
                    <a:pt x="3459848" y="17615"/>
                  </a:lnTo>
                  <a:lnTo>
                    <a:pt x="3460000" y="17615"/>
                  </a:lnTo>
                  <a:lnTo>
                    <a:pt x="3460000" y="16320"/>
                  </a:lnTo>
                  <a:lnTo>
                    <a:pt x="3460051" y="17615"/>
                  </a:lnTo>
                  <a:lnTo>
                    <a:pt x="3460203" y="17615"/>
                  </a:lnTo>
                  <a:lnTo>
                    <a:pt x="3460242" y="18263"/>
                  </a:lnTo>
                  <a:lnTo>
                    <a:pt x="3460292" y="17615"/>
                  </a:lnTo>
                  <a:lnTo>
                    <a:pt x="3461588" y="17615"/>
                  </a:lnTo>
                  <a:lnTo>
                    <a:pt x="3461638" y="16320"/>
                  </a:lnTo>
                  <a:lnTo>
                    <a:pt x="3461638" y="17615"/>
                  </a:lnTo>
                  <a:lnTo>
                    <a:pt x="3461829" y="17615"/>
                  </a:lnTo>
                  <a:lnTo>
                    <a:pt x="3461829" y="16320"/>
                  </a:lnTo>
                  <a:lnTo>
                    <a:pt x="3461880" y="17615"/>
                  </a:lnTo>
                  <a:lnTo>
                    <a:pt x="3461931" y="16320"/>
                  </a:lnTo>
                  <a:lnTo>
                    <a:pt x="3461931" y="17615"/>
                  </a:lnTo>
                  <a:lnTo>
                    <a:pt x="3462375" y="17615"/>
                  </a:lnTo>
                  <a:lnTo>
                    <a:pt x="3462477" y="16320"/>
                  </a:lnTo>
                  <a:lnTo>
                    <a:pt x="3462528" y="16320"/>
                  </a:lnTo>
                  <a:lnTo>
                    <a:pt x="3462578" y="17615"/>
                  </a:lnTo>
                  <a:lnTo>
                    <a:pt x="3462680" y="16320"/>
                  </a:lnTo>
                  <a:lnTo>
                    <a:pt x="3462731" y="17615"/>
                  </a:lnTo>
                  <a:lnTo>
                    <a:pt x="3462731" y="16320"/>
                  </a:lnTo>
                  <a:lnTo>
                    <a:pt x="3462832" y="16320"/>
                  </a:lnTo>
                  <a:lnTo>
                    <a:pt x="3462921" y="17615"/>
                  </a:lnTo>
                  <a:lnTo>
                    <a:pt x="3462921" y="16320"/>
                  </a:lnTo>
                  <a:lnTo>
                    <a:pt x="3463175" y="16320"/>
                  </a:lnTo>
                  <a:lnTo>
                    <a:pt x="3463175" y="17615"/>
                  </a:lnTo>
                  <a:lnTo>
                    <a:pt x="3463226" y="16320"/>
                  </a:lnTo>
                  <a:lnTo>
                    <a:pt x="3463467" y="16320"/>
                  </a:lnTo>
                  <a:lnTo>
                    <a:pt x="3463518" y="17615"/>
                  </a:lnTo>
                  <a:lnTo>
                    <a:pt x="3463518" y="16320"/>
                  </a:lnTo>
                  <a:lnTo>
                    <a:pt x="3463823" y="16320"/>
                  </a:lnTo>
                  <a:lnTo>
                    <a:pt x="3463874" y="17615"/>
                  </a:lnTo>
                  <a:lnTo>
                    <a:pt x="3463963" y="17615"/>
                  </a:lnTo>
                  <a:lnTo>
                    <a:pt x="3464064" y="16320"/>
                  </a:lnTo>
                  <a:lnTo>
                    <a:pt x="3464115" y="16320"/>
                  </a:lnTo>
                  <a:lnTo>
                    <a:pt x="3464115" y="17615"/>
                  </a:lnTo>
                  <a:lnTo>
                    <a:pt x="3464420" y="17615"/>
                  </a:lnTo>
                  <a:lnTo>
                    <a:pt x="3464509" y="16320"/>
                  </a:lnTo>
                  <a:lnTo>
                    <a:pt x="3464560" y="17615"/>
                  </a:lnTo>
                  <a:lnTo>
                    <a:pt x="3464763" y="17615"/>
                  </a:lnTo>
                  <a:lnTo>
                    <a:pt x="3464763" y="16320"/>
                  </a:lnTo>
                  <a:lnTo>
                    <a:pt x="3465207" y="16320"/>
                  </a:lnTo>
                  <a:lnTo>
                    <a:pt x="3465207" y="17615"/>
                  </a:lnTo>
                  <a:lnTo>
                    <a:pt x="3465410" y="17615"/>
                  </a:lnTo>
                  <a:lnTo>
                    <a:pt x="3465410" y="16320"/>
                  </a:lnTo>
                  <a:lnTo>
                    <a:pt x="3465550" y="16320"/>
                  </a:lnTo>
                  <a:lnTo>
                    <a:pt x="3465550" y="17615"/>
                  </a:lnTo>
                  <a:lnTo>
                    <a:pt x="3465652" y="17615"/>
                  </a:lnTo>
                  <a:lnTo>
                    <a:pt x="3465652" y="16320"/>
                  </a:lnTo>
                  <a:lnTo>
                    <a:pt x="3465703" y="17615"/>
                  </a:lnTo>
                  <a:lnTo>
                    <a:pt x="3465855" y="17615"/>
                  </a:lnTo>
                  <a:lnTo>
                    <a:pt x="3465906" y="16320"/>
                  </a:lnTo>
                  <a:lnTo>
                    <a:pt x="3465906" y="17615"/>
                  </a:lnTo>
                  <a:lnTo>
                    <a:pt x="3465956" y="17615"/>
                  </a:lnTo>
                  <a:lnTo>
                    <a:pt x="3466007" y="16320"/>
                  </a:lnTo>
                  <a:lnTo>
                    <a:pt x="3466147" y="16320"/>
                  </a:lnTo>
                  <a:lnTo>
                    <a:pt x="3466147" y="17615"/>
                  </a:lnTo>
                  <a:lnTo>
                    <a:pt x="3466896" y="17615"/>
                  </a:lnTo>
                  <a:lnTo>
                    <a:pt x="3466998" y="16320"/>
                  </a:lnTo>
                  <a:lnTo>
                    <a:pt x="3466998" y="17615"/>
                  </a:lnTo>
                  <a:lnTo>
                    <a:pt x="3467099" y="17615"/>
                  </a:lnTo>
                  <a:lnTo>
                    <a:pt x="3467138" y="16320"/>
                  </a:lnTo>
                  <a:lnTo>
                    <a:pt x="3467290" y="16320"/>
                  </a:lnTo>
                  <a:lnTo>
                    <a:pt x="3467341" y="17615"/>
                  </a:lnTo>
                  <a:lnTo>
                    <a:pt x="3467595" y="17615"/>
                  </a:lnTo>
                  <a:lnTo>
                    <a:pt x="3467684" y="16320"/>
                  </a:lnTo>
                  <a:lnTo>
                    <a:pt x="3467684" y="17615"/>
                  </a:lnTo>
                  <a:lnTo>
                    <a:pt x="3467735" y="17615"/>
                  </a:lnTo>
                  <a:lnTo>
                    <a:pt x="3467735" y="16320"/>
                  </a:lnTo>
                  <a:lnTo>
                    <a:pt x="3467836" y="16320"/>
                  </a:lnTo>
                  <a:lnTo>
                    <a:pt x="3467938" y="17615"/>
                  </a:lnTo>
                  <a:lnTo>
                    <a:pt x="3468141" y="17615"/>
                  </a:lnTo>
                  <a:lnTo>
                    <a:pt x="3468179" y="18263"/>
                  </a:lnTo>
                  <a:lnTo>
                    <a:pt x="3468230" y="17615"/>
                  </a:lnTo>
                  <a:lnTo>
                    <a:pt x="3468281" y="17615"/>
                  </a:lnTo>
                  <a:lnTo>
                    <a:pt x="3468281" y="16320"/>
                  </a:lnTo>
                  <a:lnTo>
                    <a:pt x="3468433" y="16320"/>
                  </a:lnTo>
                  <a:lnTo>
                    <a:pt x="3468484" y="17615"/>
                  </a:lnTo>
                  <a:lnTo>
                    <a:pt x="3468687" y="17615"/>
                  </a:lnTo>
                  <a:lnTo>
                    <a:pt x="3468725" y="18263"/>
                  </a:lnTo>
                  <a:lnTo>
                    <a:pt x="3468827" y="17615"/>
                  </a:lnTo>
                  <a:lnTo>
                    <a:pt x="3469030" y="17615"/>
                  </a:lnTo>
                  <a:lnTo>
                    <a:pt x="3469030" y="16320"/>
                  </a:lnTo>
                  <a:lnTo>
                    <a:pt x="3469081" y="16320"/>
                  </a:lnTo>
                  <a:lnTo>
                    <a:pt x="3469131" y="17615"/>
                  </a:lnTo>
                  <a:lnTo>
                    <a:pt x="3469131" y="16320"/>
                  </a:lnTo>
                  <a:lnTo>
                    <a:pt x="3469182" y="17615"/>
                  </a:lnTo>
                  <a:lnTo>
                    <a:pt x="3469271" y="16320"/>
                  </a:lnTo>
                  <a:lnTo>
                    <a:pt x="3469271" y="17615"/>
                  </a:lnTo>
                  <a:lnTo>
                    <a:pt x="3469424" y="17615"/>
                  </a:lnTo>
                  <a:lnTo>
                    <a:pt x="3469525" y="16320"/>
                  </a:lnTo>
                  <a:lnTo>
                    <a:pt x="3469576" y="16320"/>
                  </a:lnTo>
                  <a:lnTo>
                    <a:pt x="3469627" y="17615"/>
                  </a:lnTo>
                  <a:lnTo>
                    <a:pt x="3469767" y="17615"/>
                  </a:lnTo>
                  <a:lnTo>
                    <a:pt x="3469817" y="16320"/>
                  </a:lnTo>
                  <a:lnTo>
                    <a:pt x="3469817" y="17615"/>
                  </a:lnTo>
                  <a:lnTo>
                    <a:pt x="3469868" y="17615"/>
                  </a:lnTo>
                  <a:lnTo>
                    <a:pt x="3469868" y="16320"/>
                  </a:lnTo>
                  <a:lnTo>
                    <a:pt x="3469970" y="17615"/>
                  </a:lnTo>
                  <a:lnTo>
                    <a:pt x="3470021" y="16320"/>
                  </a:lnTo>
                  <a:lnTo>
                    <a:pt x="3470071" y="16320"/>
                  </a:lnTo>
                  <a:lnTo>
                    <a:pt x="3470173" y="17615"/>
                  </a:lnTo>
                  <a:lnTo>
                    <a:pt x="3470224" y="16320"/>
                  </a:lnTo>
                  <a:lnTo>
                    <a:pt x="3470313" y="16320"/>
                  </a:lnTo>
                  <a:lnTo>
                    <a:pt x="3470313" y="17615"/>
                  </a:lnTo>
                  <a:lnTo>
                    <a:pt x="3470859" y="17615"/>
                  </a:lnTo>
                  <a:lnTo>
                    <a:pt x="3470859" y="16320"/>
                  </a:lnTo>
                  <a:lnTo>
                    <a:pt x="3470910" y="17615"/>
                  </a:lnTo>
                  <a:lnTo>
                    <a:pt x="3472357" y="17615"/>
                  </a:lnTo>
                  <a:lnTo>
                    <a:pt x="3472357" y="16320"/>
                  </a:lnTo>
                  <a:lnTo>
                    <a:pt x="3472599" y="16320"/>
                  </a:lnTo>
                  <a:lnTo>
                    <a:pt x="3472700" y="17615"/>
                  </a:lnTo>
                  <a:lnTo>
                    <a:pt x="3472802" y="17615"/>
                  </a:lnTo>
                  <a:lnTo>
                    <a:pt x="3472903" y="16320"/>
                  </a:lnTo>
                  <a:lnTo>
                    <a:pt x="3472992" y="16320"/>
                  </a:lnTo>
                  <a:lnTo>
                    <a:pt x="3473043" y="17615"/>
                  </a:lnTo>
                  <a:lnTo>
                    <a:pt x="3473196" y="17615"/>
                  </a:lnTo>
                  <a:lnTo>
                    <a:pt x="3473246" y="16320"/>
                  </a:lnTo>
                  <a:lnTo>
                    <a:pt x="3473246" y="17615"/>
                  </a:lnTo>
                  <a:lnTo>
                    <a:pt x="3473449" y="17615"/>
                  </a:lnTo>
                  <a:lnTo>
                    <a:pt x="3473449" y="16320"/>
                  </a:lnTo>
                  <a:lnTo>
                    <a:pt x="3473488" y="17615"/>
                  </a:lnTo>
                  <a:lnTo>
                    <a:pt x="3473792" y="17615"/>
                  </a:lnTo>
                  <a:lnTo>
                    <a:pt x="3473792" y="16320"/>
                  </a:lnTo>
                  <a:lnTo>
                    <a:pt x="3473843" y="17615"/>
                  </a:lnTo>
                  <a:lnTo>
                    <a:pt x="3474135" y="17615"/>
                  </a:lnTo>
                  <a:lnTo>
                    <a:pt x="3474135" y="16320"/>
                  </a:lnTo>
                  <a:lnTo>
                    <a:pt x="3474288" y="16320"/>
                  </a:lnTo>
                  <a:lnTo>
                    <a:pt x="3474338" y="17615"/>
                  </a:lnTo>
                  <a:lnTo>
                    <a:pt x="3475380" y="17615"/>
                  </a:lnTo>
                  <a:lnTo>
                    <a:pt x="3475431" y="16320"/>
                  </a:lnTo>
                  <a:lnTo>
                    <a:pt x="3475481" y="16320"/>
                  </a:lnTo>
                  <a:lnTo>
                    <a:pt x="3475481" y="17615"/>
                  </a:lnTo>
                  <a:lnTo>
                    <a:pt x="3475532" y="17615"/>
                  </a:lnTo>
                  <a:lnTo>
                    <a:pt x="3475532" y="16320"/>
                  </a:lnTo>
                  <a:lnTo>
                    <a:pt x="3475621" y="17615"/>
                  </a:lnTo>
                  <a:lnTo>
                    <a:pt x="3475621" y="16320"/>
                  </a:lnTo>
                  <a:lnTo>
                    <a:pt x="3475774" y="16320"/>
                  </a:lnTo>
                  <a:lnTo>
                    <a:pt x="3475774" y="17615"/>
                  </a:lnTo>
                  <a:lnTo>
                    <a:pt x="3476218" y="17615"/>
                  </a:lnTo>
                  <a:lnTo>
                    <a:pt x="3476320" y="16320"/>
                  </a:lnTo>
                  <a:lnTo>
                    <a:pt x="3476421" y="16320"/>
                  </a:lnTo>
                  <a:lnTo>
                    <a:pt x="3476421" y="17615"/>
                  </a:lnTo>
                  <a:lnTo>
                    <a:pt x="3476523" y="17615"/>
                  </a:lnTo>
                  <a:lnTo>
                    <a:pt x="3476574" y="16320"/>
                  </a:lnTo>
                  <a:lnTo>
                    <a:pt x="3476624" y="17615"/>
                  </a:lnTo>
                  <a:lnTo>
                    <a:pt x="3476624" y="16320"/>
                  </a:lnTo>
                  <a:lnTo>
                    <a:pt x="3476663" y="16320"/>
                  </a:lnTo>
                  <a:lnTo>
                    <a:pt x="3476764" y="17615"/>
                  </a:lnTo>
                  <a:lnTo>
                    <a:pt x="3476764" y="16320"/>
                  </a:lnTo>
                  <a:lnTo>
                    <a:pt x="3476866" y="16320"/>
                  </a:lnTo>
                  <a:lnTo>
                    <a:pt x="3476866" y="17615"/>
                  </a:lnTo>
                  <a:lnTo>
                    <a:pt x="3477018" y="17615"/>
                  </a:lnTo>
                  <a:lnTo>
                    <a:pt x="3477069" y="16320"/>
                  </a:lnTo>
                  <a:lnTo>
                    <a:pt x="3477120" y="17615"/>
                  </a:lnTo>
                  <a:lnTo>
                    <a:pt x="3477260" y="17615"/>
                  </a:lnTo>
                  <a:lnTo>
                    <a:pt x="3477310" y="16320"/>
                  </a:lnTo>
                  <a:lnTo>
                    <a:pt x="3477361" y="16320"/>
                  </a:lnTo>
                  <a:lnTo>
                    <a:pt x="3477361" y="17615"/>
                  </a:lnTo>
                  <a:lnTo>
                    <a:pt x="3477513" y="17615"/>
                  </a:lnTo>
                  <a:lnTo>
                    <a:pt x="3477564" y="16320"/>
                  </a:lnTo>
                  <a:lnTo>
                    <a:pt x="3477666" y="17615"/>
                  </a:lnTo>
                  <a:lnTo>
                    <a:pt x="3477755" y="17615"/>
                  </a:lnTo>
                  <a:lnTo>
                    <a:pt x="3477755" y="18263"/>
                  </a:lnTo>
                  <a:lnTo>
                    <a:pt x="3477806" y="18263"/>
                  </a:lnTo>
                  <a:lnTo>
                    <a:pt x="3477806" y="17615"/>
                  </a:lnTo>
                  <a:lnTo>
                    <a:pt x="3478212" y="17615"/>
                  </a:lnTo>
                  <a:lnTo>
                    <a:pt x="3478250" y="18263"/>
                  </a:lnTo>
                  <a:lnTo>
                    <a:pt x="3478352" y="17615"/>
                  </a:lnTo>
                  <a:lnTo>
                    <a:pt x="3478352" y="18263"/>
                  </a:lnTo>
                  <a:lnTo>
                    <a:pt x="3478453" y="18263"/>
                  </a:lnTo>
                  <a:lnTo>
                    <a:pt x="3478555" y="17615"/>
                  </a:lnTo>
                  <a:lnTo>
                    <a:pt x="3478606" y="17615"/>
                  </a:lnTo>
                  <a:lnTo>
                    <a:pt x="3478656" y="18263"/>
                  </a:lnTo>
                  <a:lnTo>
                    <a:pt x="3478656" y="17615"/>
                  </a:lnTo>
                  <a:lnTo>
                    <a:pt x="3479050" y="17615"/>
                  </a:lnTo>
                  <a:lnTo>
                    <a:pt x="3479050" y="18263"/>
                  </a:lnTo>
                  <a:lnTo>
                    <a:pt x="3479152" y="18263"/>
                  </a:lnTo>
                  <a:lnTo>
                    <a:pt x="3479253" y="17615"/>
                  </a:lnTo>
                  <a:lnTo>
                    <a:pt x="3480295" y="17615"/>
                  </a:lnTo>
                  <a:lnTo>
                    <a:pt x="3480384" y="16320"/>
                  </a:lnTo>
                  <a:lnTo>
                    <a:pt x="3480536" y="16320"/>
                  </a:lnTo>
                  <a:lnTo>
                    <a:pt x="3480536" y="17615"/>
                  </a:lnTo>
                  <a:lnTo>
                    <a:pt x="3480638" y="16320"/>
                  </a:lnTo>
                  <a:lnTo>
                    <a:pt x="3480688" y="17615"/>
                  </a:lnTo>
                  <a:lnTo>
                    <a:pt x="3480930" y="17615"/>
                  </a:lnTo>
                  <a:lnTo>
                    <a:pt x="3480981" y="16320"/>
                  </a:lnTo>
                  <a:lnTo>
                    <a:pt x="3481082" y="16320"/>
                  </a:lnTo>
                  <a:lnTo>
                    <a:pt x="3481133" y="17615"/>
                  </a:lnTo>
                  <a:lnTo>
                    <a:pt x="3481336" y="17615"/>
                  </a:lnTo>
                  <a:lnTo>
                    <a:pt x="3481387" y="16320"/>
                  </a:lnTo>
                  <a:lnTo>
                    <a:pt x="3481387" y="17615"/>
                  </a:lnTo>
                  <a:lnTo>
                    <a:pt x="3481425" y="16320"/>
                  </a:lnTo>
                  <a:lnTo>
                    <a:pt x="3481527" y="17615"/>
                  </a:lnTo>
                  <a:lnTo>
                    <a:pt x="3482022" y="17615"/>
                  </a:lnTo>
                  <a:lnTo>
                    <a:pt x="3482073" y="16320"/>
                  </a:lnTo>
                  <a:lnTo>
                    <a:pt x="3482073" y="17615"/>
                  </a:lnTo>
                  <a:lnTo>
                    <a:pt x="3482124" y="16320"/>
                  </a:lnTo>
                  <a:lnTo>
                    <a:pt x="3482225" y="17615"/>
                  </a:lnTo>
                  <a:lnTo>
                    <a:pt x="3482517" y="17615"/>
                  </a:lnTo>
                  <a:lnTo>
                    <a:pt x="3482517" y="16320"/>
                  </a:lnTo>
                  <a:lnTo>
                    <a:pt x="3482670" y="16320"/>
                  </a:lnTo>
                  <a:lnTo>
                    <a:pt x="3482670" y="17615"/>
                  </a:lnTo>
                  <a:lnTo>
                    <a:pt x="3482721" y="16320"/>
                  </a:lnTo>
                  <a:lnTo>
                    <a:pt x="3482771" y="16320"/>
                  </a:lnTo>
                  <a:lnTo>
                    <a:pt x="3482771" y="17615"/>
                  </a:lnTo>
                  <a:lnTo>
                    <a:pt x="3482873" y="16320"/>
                  </a:lnTo>
                  <a:lnTo>
                    <a:pt x="3482924" y="16320"/>
                  </a:lnTo>
                  <a:lnTo>
                    <a:pt x="3482974" y="17615"/>
                  </a:lnTo>
                  <a:lnTo>
                    <a:pt x="3482974" y="16320"/>
                  </a:lnTo>
                  <a:lnTo>
                    <a:pt x="3483013" y="17615"/>
                  </a:lnTo>
                  <a:lnTo>
                    <a:pt x="3483114" y="16320"/>
                  </a:lnTo>
                  <a:lnTo>
                    <a:pt x="3483165" y="17615"/>
                  </a:lnTo>
                  <a:lnTo>
                    <a:pt x="3483165" y="16320"/>
                  </a:lnTo>
                  <a:lnTo>
                    <a:pt x="3483216" y="17615"/>
                  </a:lnTo>
                  <a:lnTo>
                    <a:pt x="3483317" y="16320"/>
                  </a:lnTo>
                  <a:lnTo>
                    <a:pt x="3483368" y="16320"/>
                  </a:lnTo>
                  <a:lnTo>
                    <a:pt x="3483419" y="17615"/>
                  </a:lnTo>
                  <a:lnTo>
                    <a:pt x="3483559" y="17615"/>
                  </a:lnTo>
                  <a:lnTo>
                    <a:pt x="3483559" y="16320"/>
                  </a:lnTo>
                  <a:lnTo>
                    <a:pt x="3483610" y="17615"/>
                  </a:lnTo>
                  <a:lnTo>
                    <a:pt x="3483610" y="16320"/>
                  </a:lnTo>
                  <a:lnTo>
                    <a:pt x="3483711" y="16320"/>
                  </a:lnTo>
                  <a:lnTo>
                    <a:pt x="3483813" y="17615"/>
                  </a:lnTo>
                  <a:lnTo>
                    <a:pt x="3484016" y="17615"/>
                  </a:lnTo>
                  <a:lnTo>
                    <a:pt x="3484016" y="16320"/>
                  </a:lnTo>
                  <a:lnTo>
                    <a:pt x="3484054" y="16320"/>
                  </a:lnTo>
                  <a:lnTo>
                    <a:pt x="3484054" y="17615"/>
                  </a:lnTo>
                  <a:lnTo>
                    <a:pt x="3484257" y="17615"/>
                  </a:lnTo>
                  <a:lnTo>
                    <a:pt x="3484308" y="16320"/>
                  </a:lnTo>
                  <a:lnTo>
                    <a:pt x="3484460" y="16320"/>
                  </a:lnTo>
                  <a:lnTo>
                    <a:pt x="3484460" y="17615"/>
                  </a:lnTo>
                  <a:lnTo>
                    <a:pt x="3484511" y="16320"/>
                  </a:lnTo>
                  <a:lnTo>
                    <a:pt x="3484511" y="17615"/>
                  </a:lnTo>
                  <a:lnTo>
                    <a:pt x="3484562" y="16320"/>
                  </a:lnTo>
                  <a:lnTo>
                    <a:pt x="3484600" y="17615"/>
                  </a:lnTo>
                  <a:lnTo>
                    <a:pt x="3484702" y="17615"/>
                  </a:lnTo>
                  <a:lnTo>
                    <a:pt x="3484753" y="18263"/>
                  </a:lnTo>
                  <a:lnTo>
                    <a:pt x="3484803" y="18263"/>
                  </a:lnTo>
                  <a:lnTo>
                    <a:pt x="3484803" y="17615"/>
                  </a:lnTo>
                  <a:lnTo>
                    <a:pt x="3484956" y="17615"/>
                  </a:lnTo>
                  <a:lnTo>
                    <a:pt x="3484956" y="16320"/>
                  </a:lnTo>
                  <a:lnTo>
                    <a:pt x="3485057" y="16320"/>
                  </a:lnTo>
                  <a:lnTo>
                    <a:pt x="3485146" y="17615"/>
                  </a:lnTo>
                  <a:lnTo>
                    <a:pt x="3485197" y="17615"/>
                  </a:lnTo>
                  <a:lnTo>
                    <a:pt x="3485248" y="18263"/>
                  </a:lnTo>
                  <a:lnTo>
                    <a:pt x="3485248" y="17615"/>
                  </a:lnTo>
                  <a:lnTo>
                    <a:pt x="3486149" y="17615"/>
                  </a:lnTo>
                  <a:lnTo>
                    <a:pt x="3486149" y="18263"/>
                  </a:lnTo>
                  <a:lnTo>
                    <a:pt x="3486188" y="17615"/>
                  </a:lnTo>
                  <a:lnTo>
                    <a:pt x="3486492" y="17615"/>
                  </a:lnTo>
                  <a:lnTo>
                    <a:pt x="3486492" y="16320"/>
                  </a:lnTo>
                  <a:lnTo>
                    <a:pt x="3486594" y="16320"/>
                  </a:lnTo>
                  <a:lnTo>
                    <a:pt x="3486594" y="17615"/>
                  </a:lnTo>
                  <a:lnTo>
                    <a:pt x="3486734" y="17615"/>
                  </a:lnTo>
                  <a:lnTo>
                    <a:pt x="3486734" y="16320"/>
                  </a:lnTo>
                  <a:lnTo>
                    <a:pt x="3486835" y="16320"/>
                  </a:lnTo>
                  <a:lnTo>
                    <a:pt x="3486835" y="17615"/>
                  </a:lnTo>
                  <a:lnTo>
                    <a:pt x="3487191" y="17615"/>
                  </a:lnTo>
                  <a:lnTo>
                    <a:pt x="3487191" y="16320"/>
                  </a:lnTo>
                  <a:lnTo>
                    <a:pt x="3487331" y="16320"/>
                  </a:lnTo>
                  <a:lnTo>
                    <a:pt x="3487331" y="17615"/>
                  </a:lnTo>
                  <a:lnTo>
                    <a:pt x="3487432" y="17615"/>
                  </a:lnTo>
                  <a:lnTo>
                    <a:pt x="3487483" y="16320"/>
                  </a:lnTo>
                  <a:lnTo>
                    <a:pt x="3487483" y="17615"/>
                  </a:lnTo>
                  <a:lnTo>
                    <a:pt x="3487635" y="17615"/>
                  </a:lnTo>
                  <a:lnTo>
                    <a:pt x="3487686" y="16320"/>
                  </a:lnTo>
                  <a:lnTo>
                    <a:pt x="3487775" y="16320"/>
                  </a:lnTo>
                  <a:lnTo>
                    <a:pt x="3487775" y="17615"/>
                  </a:lnTo>
                  <a:lnTo>
                    <a:pt x="3487928" y="17615"/>
                  </a:lnTo>
                  <a:lnTo>
                    <a:pt x="3487978" y="16320"/>
                  </a:lnTo>
                  <a:lnTo>
                    <a:pt x="3488080" y="16320"/>
                  </a:lnTo>
                  <a:lnTo>
                    <a:pt x="3488080" y="17615"/>
                  </a:lnTo>
                  <a:lnTo>
                    <a:pt x="3488817" y="17615"/>
                  </a:lnTo>
                  <a:lnTo>
                    <a:pt x="3488867" y="16320"/>
                  </a:lnTo>
                  <a:lnTo>
                    <a:pt x="3488918" y="17615"/>
                  </a:lnTo>
                  <a:lnTo>
                    <a:pt x="3490607" y="17615"/>
                  </a:lnTo>
                  <a:lnTo>
                    <a:pt x="3490658" y="16320"/>
                  </a:lnTo>
                  <a:lnTo>
                    <a:pt x="3490709" y="17615"/>
                  </a:lnTo>
                  <a:lnTo>
                    <a:pt x="3490709" y="16320"/>
                  </a:lnTo>
                  <a:lnTo>
                    <a:pt x="3490810" y="16320"/>
                  </a:lnTo>
                  <a:lnTo>
                    <a:pt x="3490810" y="17615"/>
                  </a:lnTo>
                  <a:lnTo>
                    <a:pt x="3491649" y="17615"/>
                  </a:lnTo>
                  <a:lnTo>
                    <a:pt x="3491649" y="16320"/>
                  </a:lnTo>
                  <a:lnTo>
                    <a:pt x="3491801" y="16320"/>
                  </a:lnTo>
                  <a:lnTo>
                    <a:pt x="3491801" y="17615"/>
                  </a:lnTo>
                  <a:lnTo>
                    <a:pt x="3491992" y="17615"/>
                  </a:lnTo>
                  <a:lnTo>
                    <a:pt x="3491992" y="16320"/>
                  </a:lnTo>
                  <a:lnTo>
                    <a:pt x="3492042" y="16320"/>
                  </a:lnTo>
                  <a:lnTo>
                    <a:pt x="3492093" y="15634"/>
                  </a:lnTo>
                  <a:lnTo>
                    <a:pt x="3492195" y="16320"/>
                  </a:lnTo>
                  <a:lnTo>
                    <a:pt x="3492246" y="16320"/>
                  </a:lnTo>
                  <a:lnTo>
                    <a:pt x="3492246" y="17615"/>
                  </a:lnTo>
                  <a:lnTo>
                    <a:pt x="3492296" y="16320"/>
                  </a:lnTo>
                  <a:lnTo>
                    <a:pt x="3492499" y="16320"/>
                  </a:lnTo>
                  <a:lnTo>
                    <a:pt x="3492538" y="17615"/>
                  </a:lnTo>
                  <a:lnTo>
                    <a:pt x="3492842" y="17615"/>
                  </a:lnTo>
                  <a:lnTo>
                    <a:pt x="3492842" y="16320"/>
                  </a:lnTo>
                  <a:lnTo>
                    <a:pt x="3492893" y="16320"/>
                  </a:lnTo>
                  <a:lnTo>
                    <a:pt x="3492944" y="17615"/>
                  </a:lnTo>
                  <a:lnTo>
                    <a:pt x="3492944" y="16320"/>
                  </a:lnTo>
                  <a:lnTo>
                    <a:pt x="3492995" y="16320"/>
                  </a:lnTo>
                  <a:lnTo>
                    <a:pt x="3492995" y="17615"/>
                  </a:lnTo>
                  <a:lnTo>
                    <a:pt x="3493084" y="16320"/>
                  </a:lnTo>
                  <a:lnTo>
                    <a:pt x="3493135" y="17615"/>
                  </a:lnTo>
                  <a:lnTo>
                    <a:pt x="3493185" y="17615"/>
                  </a:lnTo>
                  <a:lnTo>
                    <a:pt x="3493185" y="18263"/>
                  </a:lnTo>
                  <a:lnTo>
                    <a:pt x="3493236" y="18263"/>
                  </a:lnTo>
                  <a:lnTo>
                    <a:pt x="3493236" y="17615"/>
                  </a:lnTo>
                  <a:lnTo>
                    <a:pt x="3493579" y="17615"/>
                  </a:lnTo>
                  <a:lnTo>
                    <a:pt x="3493630" y="16320"/>
                  </a:lnTo>
                  <a:lnTo>
                    <a:pt x="3493782" y="16320"/>
                  </a:lnTo>
                  <a:lnTo>
                    <a:pt x="3493833" y="17615"/>
                  </a:lnTo>
                  <a:lnTo>
                    <a:pt x="3493884" y="16320"/>
                  </a:lnTo>
                  <a:lnTo>
                    <a:pt x="3493884" y="17615"/>
                  </a:lnTo>
                  <a:lnTo>
                    <a:pt x="3493985" y="17615"/>
                  </a:lnTo>
                  <a:lnTo>
                    <a:pt x="3494036" y="16320"/>
                  </a:lnTo>
                  <a:lnTo>
                    <a:pt x="3494036" y="17615"/>
                  </a:lnTo>
                  <a:lnTo>
                    <a:pt x="3494328" y="17615"/>
                  </a:lnTo>
                  <a:lnTo>
                    <a:pt x="3494328" y="16320"/>
                  </a:lnTo>
                  <a:lnTo>
                    <a:pt x="3494430" y="16320"/>
                  </a:lnTo>
                  <a:lnTo>
                    <a:pt x="3494430" y="17615"/>
                  </a:lnTo>
                  <a:lnTo>
                    <a:pt x="3494722" y="17615"/>
                  </a:lnTo>
                  <a:lnTo>
                    <a:pt x="3494773" y="18263"/>
                  </a:lnTo>
                  <a:lnTo>
                    <a:pt x="3494773" y="17615"/>
                  </a:lnTo>
                  <a:lnTo>
                    <a:pt x="3494824" y="18263"/>
                  </a:lnTo>
                  <a:lnTo>
                    <a:pt x="3494925" y="17615"/>
                  </a:lnTo>
                  <a:lnTo>
                    <a:pt x="3495027" y="17615"/>
                  </a:lnTo>
                  <a:lnTo>
                    <a:pt x="3495027" y="18263"/>
                  </a:lnTo>
                  <a:lnTo>
                    <a:pt x="3495128" y="18263"/>
                  </a:lnTo>
                  <a:lnTo>
                    <a:pt x="3495128" y="17615"/>
                  </a:lnTo>
                  <a:lnTo>
                    <a:pt x="3495217" y="17615"/>
                  </a:lnTo>
                  <a:lnTo>
                    <a:pt x="3495217" y="18263"/>
                  </a:lnTo>
                  <a:lnTo>
                    <a:pt x="3495268" y="17615"/>
                  </a:lnTo>
                  <a:lnTo>
                    <a:pt x="3495573" y="17615"/>
                  </a:lnTo>
                  <a:lnTo>
                    <a:pt x="3495624" y="18263"/>
                  </a:lnTo>
                  <a:lnTo>
                    <a:pt x="3495674" y="17615"/>
                  </a:lnTo>
                  <a:lnTo>
                    <a:pt x="3496716" y="17615"/>
                  </a:lnTo>
                  <a:lnTo>
                    <a:pt x="3496754" y="16320"/>
                  </a:lnTo>
                  <a:lnTo>
                    <a:pt x="3496754" y="17615"/>
                  </a:lnTo>
                  <a:lnTo>
                    <a:pt x="3496856" y="17615"/>
                  </a:lnTo>
                  <a:lnTo>
                    <a:pt x="3496856" y="16320"/>
                  </a:lnTo>
                  <a:lnTo>
                    <a:pt x="3497059" y="16320"/>
                  </a:lnTo>
                  <a:lnTo>
                    <a:pt x="3497059" y="17615"/>
                  </a:lnTo>
                  <a:lnTo>
                    <a:pt x="3497211" y="17615"/>
                  </a:lnTo>
                  <a:lnTo>
                    <a:pt x="3497262" y="16320"/>
                  </a:lnTo>
                  <a:lnTo>
                    <a:pt x="3497300" y="17615"/>
                  </a:lnTo>
                  <a:lnTo>
                    <a:pt x="3497757" y="17615"/>
                  </a:lnTo>
                  <a:lnTo>
                    <a:pt x="3497757" y="18263"/>
                  </a:lnTo>
                  <a:lnTo>
                    <a:pt x="3497846" y="17615"/>
                  </a:lnTo>
                  <a:lnTo>
                    <a:pt x="3497897" y="17615"/>
                  </a:lnTo>
                  <a:lnTo>
                    <a:pt x="3497948" y="16320"/>
                  </a:lnTo>
                  <a:lnTo>
                    <a:pt x="3497948" y="17615"/>
                  </a:lnTo>
                  <a:lnTo>
                    <a:pt x="3498151" y="17615"/>
                  </a:lnTo>
                  <a:lnTo>
                    <a:pt x="3498202" y="18263"/>
                  </a:lnTo>
                  <a:lnTo>
                    <a:pt x="3498303" y="18263"/>
                  </a:lnTo>
                  <a:lnTo>
                    <a:pt x="3498303" y="17615"/>
                  </a:lnTo>
                  <a:lnTo>
                    <a:pt x="3499434" y="17615"/>
                  </a:lnTo>
                  <a:lnTo>
                    <a:pt x="3499485" y="16320"/>
                  </a:lnTo>
                  <a:lnTo>
                    <a:pt x="3499535" y="17615"/>
                  </a:lnTo>
                  <a:lnTo>
                    <a:pt x="3499891" y="17615"/>
                  </a:lnTo>
                  <a:lnTo>
                    <a:pt x="3499929" y="16320"/>
                  </a:lnTo>
                  <a:lnTo>
                    <a:pt x="3500183" y="16320"/>
                  </a:lnTo>
                  <a:lnTo>
                    <a:pt x="3500234" y="17615"/>
                  </a:lnTo>
                  <a:lnTo>
                    <a:pt x="3500335" y="17615"/>
                  </a:lnTo>
                  <a:lnTo>
                    <a:pt x="3500386" y="16320"/>
                  </a:lnTo>
                  <a:lnTo>
                    <a:pt x="3500475" y="16320"/>
                  </a:lnTo>
                  <a:lnTo>
                    <a:pt x="3500577" y="17615"/>
                  </a:lnTo>
                  <a:lnTo>
                    <a:pt x="3500780" y="17615"/>
                  </a:lnTo>
                  <a:lnTo>
                    <a:pt x="3500831" y="16320"/>
                  </a:lnTo>
                  <a:lnTo>
                    <a:pt x="3500831" y="17615"/>
                  </a:lnTo>
                  <a:lnTo>
                    <a:pt x="3500881" y="16320"/>
                  </a:lnTo>
                  <a:lnTo>
                    <a:pt x="3501021" y="16320"/>
                  </a:lnTo>
                  <a:lnTo>
                    <a:pt x="3501072" y="17615"/>
                  </a:lnTo>
                  <a:lnTo>
                    <a:pt x="3502024" y="17615"/>
                  </a:lnTo>
                  <a:lnTo>
                    <a:pt x="3502024" y="18263"/>
                  </a:lnTo>
                  <a:lnTo>
                    <a:pt x="3502063" y="18263"/>
                  </a:lnTo>
                  <a:lnTo>
                    <a:pt x="3502063" y="17615"/>
                  </a:lnTo>
                  <a:lnTo>
                    <a:pt x="3502520" y="17615"/>
                  </a:lnTo>
                  <a:lnTo>
                    <a:pt x="3502520" y="18263"/>
                  </a:lnTo>
                  <a:lnTo>
                    <a:pt x="3502609" y="17615"/>
                  </a:lnTo>
                  <a:lnTo>
                    <a:pt x="3502710" y="17615"/>
                  </a:lnTo>
                  <a:lnTo>
                    <a:pt x="3502761" y="16320"/>
                  </a:lnTo>
                  <a:lnTo>
                    <a:pt x="3502863" y="16320"/>
                  </a:lnTo>
                  <a:lnTo>
                    <a:pt x="3502913" y="17615"/>
                  </a:lnTo>
                  <a:lnTo>
                    <a:pt x="3502964" y="17615"/>
                  </a:lnTo>
                  <a:lnTo>
                    <a:pt x="3503066" y="16320"/>
                  </a:lnTo>
                  <a:lnTo>
                    <a:pt x="3503066" y="17615"/>
                  </a:lnTo>
                  <a:lnTo>
                    <a:pt x="3503155" y="17615"/>
                  </a:lnTo>
                  <a:lnTo>
                    <a:pt x="3503206" y="16320"/>
                  </a:lnTo>
                  <a:lnTo>
                    <a:pt x="3503206" y="17615"/>
                  </a:lnTo>
                  <a:lnTo>
                    <a:pt x="3503612" y="17615"/>
                  </a:lnTo>
                  <a:lnTo>
                    <a:pt x="3503612" y="16320"/>
                  </a:lnTo>
                  <a:lnTo>
                    <a:pt x="3503803" y="16320"/>
                  </a:lnTo>
                  <a:lnTo>
                    <a:pt x="3503853" y="17615"/>
                  </a:lnTo>
                  <a:lnTo>
                    <a:pt x="3503955" y="16320"/>
                  </a:lnTo>
                  <a:lnTo>
                    <a:pt x="3504692" y="16320"/>
                  </a:lnTo>
                  <a:lnTo>
                    <a:pt x="3504742" y="17615"/>
                  </a:lnTo>
                  <a:lnTo>
                    <a:pt x="3504742" y="16320"/>
                  </a:lnTo>
                  <a:lnTo>
                    <a:pt x="3504946" y="16320"/>
                  </a:lnTo>
                  <a:lnTo>
                    <a:pt x="3504946" y="17615"/>
                  </a:lnTo>
                  <a:lnTo>
                    <a:pt x="3504996" y="17615"/>
                  </a:lnTo>
                  <a:lnTo>
                    <a:pt x="3504996" y="16320"/>
                  </a:lnTo>
                  <a:lnTo>
                    <a:pt x="3505098" y="16320"/>
                  </a:lnTo>
                  <a:lnTo>
                    <a:pt x="3505149" y="17615"/>
                  </a:lnTo>
                  <a:lnTo>
                    <a:pt x="3505441" y="17615"/>
                  </a:lnTo>
                  <a:lnTo>
                    <a:pt x="3505542" y="16320"/>
                  </a:lnTo>
                  <a:lnTo>
                    <a:pt x="3505593" y="16320"/>
                  </a:lnTo>
                  <a:lnTo>
                    <a:pt x="3505593" y="17615"/>
                  </a:lnTo>
                  <a:lnTo>
                    <a:pt x="3505644" y="16320"/>
                  </a:lnTo>
                  <a:lnTo>
                    <a:pt x="3505644" y="17615"/>
                  </a:lnTo>
                  <a:lnTo>
                    <a:pt x="3505695" y="17615"/>
                  </a:lnTo>
                  <a:lnTo>
                    <a:pt x="3505695" y="16320"/>
                  </a:lnTo>
                  <a:lnTo>
                    <a:pt x="3505784" y="17615"/>
                  </a:lnTo>
                  <a:lnTo>
                    <a:pt x="3505885" y="17615"/>
                  </a:lnTo>
                  <a:lnTo>
                    <a:pt x="3505936" y="16320"/>
                  </a:lnTo>
                  <a:lnTo>
                    <a:pt x="3506825" y="16320"/>
                  </a:lnTo>
                  <a:lnTo>
                    <a:pt x="3506825" y="17615"/>
                  </a:lnTo>
                  <a:lnTo>
                    <a:pt x="3506978" y="17615"/>
                  </a:lnTo>
                  <a:lnTo>
                    <a:pt x="3506978" y="16320"/>
                  </a:lnTo>
                  <a:lnTo>
                    <a:pt x="3507181" y="16320"/>
                  </a:lnTo>
                  <a:lnTo>
                    <a:pt x="3507231" y="17615"/>
                  </a:lnTo>
                  <a:lnTo>
                    <a:pt x="3507282" y="17615"/>
                  </a:lnTo>
                  <a:lnTo>
                    <a:pt x="3507282" y="18263"/>
                  </a:lnTo>
                  <a:lnTo>
                    <a:pt x="3507371" y="17615"/>
                  </a:lnTo>
                  <a:lnTo>
                    <a:pt x="3507473" y="17615"/>
                  </a:lnTo>
                  <a:lnTo>
                    <a:pt x="3507473" y="18263"/>
                  </a:lnTo>
                  <a:lnTo>
                    <a:pt x="3507625" y="18263"/>
                  </a:lnTo>
                  <a:lnTo>
                    <a:pt x="3507676" y="17615"/>
                  </a:lnTo>
                  <a:lnTo>
                    <a:pt x="3507727" y="17615"/>
                  </a:lnTo>
                  <a:lnTo>
                    <a:pt x="3507828" y="18263"/>
                  </a:lnTo>
                  <a:lnTo>
                    <a:pt x="3507828" y="17615"/>
                  </a:lnTo>
                  <a:lnTo>
                    <a:pt x="3508070" y="17615"/>
                  </a:lnTo>
                  <a:lnTo>
                    <a:pt x="3508070" y="18263"/>
                  </a:lnTo>
                  <a:lnTo>
                    <a:pt x="3508171" y="18263"/>
                  </a:lnTo>
                  <a:lnTo>
                    <a:pt x="3508171" y="17615"/>
                  </a:lnTo>
                  <a:lnTo>
                    <a:pt x="3508273" y="18263"/>
                  </a:lnTo>
                  <a:lnTo>
                    <a:pt x="3508324" y="18263"/>
                  </a:lnTo>
                  <a:lnTo>
                    <a:pt x="3508374" y="17615"/>
                  </a:lnTo>
                  <a:lnTo>
                    <a:pt x="3508616" y="17615"/>
                  </a:lnTo>
                  <a:lnTo>
                    <a:pt x="3508616" y="16320"/>
                  </a:lnTo>
                  <a:lnTo>
                    <a:pt x="3508768" y="16320"/>
                  </a:lnTo>
                  <a:lnTo>
                    <a:pt x="3508819" y="17615"/>
                  </a:lnTo>
                  <a:lnTo>
                    <a:pt x="3508819" y="16320"/>
                  </a:lnTo>
                  <a:lnTo>
                    <a:pt x="3509060" y="16320"/>
                  </a:lnTo>
                  <a:lnTo>
                    <a:pt x="3509111" y="17615"/>
                  </a:lnTo>
                  <a:lnTo>
                    <a:pt x="3509263" y="17615"/>
                  </a:lnTo>
                  <a:lnTo>
                    <a:pt x="3509314" y="16320"/>
                  </a:lnTo>
                  <a:lnTo>
                    <a:pt x="3509505" y="16320"/>
                  </a:lnTo>
                  <a:lnTo>
                    <a:pt x="3509505" y="17615"/>
                  </a:lnTo>
                  <a:lnTo>
                    <a:pt x="3509556" y="16320"/>
                  </a:lnTo>
                  <a:lnTo>
                    <a:pt x="3509556" y="17615"/>
                  </a:lnTo>
                  <a:lnTo>
                    <a:pt x="3509657" y="17615"/>
                  </a:lnTo>
                  <a:lnTo>
                    <a:pt x="3509708" y="16320"/>
                  </a:lnTo>
                  <a:lnTo>
                    <a:pt x="3509759" y="16320"/>
                  </a:lnTo>
                  <a:lnTo>
                    <a:pt x="3509860" y="17615"/>
                  </a:lnTo>
                  <a:lnTo>
                    <a:pt x="3510406" y="17615"/>
                  </a:lnTo>
                  <a:lnTo>
                    <a:pt x="3510406" y="18263"/>
                  </a:lnTo>
                  <a:lnTo>
                    <a:pt x="3510597" y="18263"/>
                  </a:lnTo>
                  <a:lnTo>
                    <a:pt x="3510597" y="17615"/>
                  </a:lnTo>
                  <a:lnTo>
                    <a:pt x="3510699" y="17615"/>
                  </a:lnTo>
                  <a:lnTo>
                    <a:pt x="3510800" y="18263"/>
                  </a:lnTo>
                  <a:lnTo>
                    <a:pt x="3511143" y="18263"/>
                  </a:lnTo>
                  <a:lnTo>
                    <a:pt x="3511245" y="17615"/>
                  </a:lnTo>
                  <a:lnTo>
                    <a:pt x="3511296" y="18263"/>
                  </a:lnTo>
                  <a:lnTo>
                    <a:pt x="3511346" y="18263"/>
                  </a:lnTo>
                  <a:lnTo>
                    <a:pt x="3511346" y="17615"/>
                  </a:lnTo>
                  <a:lnTo>
                    <a:pt x="3511740" y="17615"/>
                  </a:lnTo>
                  <a:lnTo>
                    <a:pt x="3511740" y="16320"/>
                  </a:lnTo>
                  <a:lnTo>
                    <a:pt x="3511943" y="16320"/>
                  </a:lnTo>
                  <a:lnTo>
                    <a:pt x="3511943" y="17615"/>
                  </a:lnTo>
                  <a:lnTo>
                    <a:pt x="3511994" y="17615"/>
                  </a:lnTo>
                  <a:lnTo>
                    <a:pt x="3512045" y="16320"/>
                  </a:lnTo>
                  <a:lnTo>
                    <a:pt x="3512134" y="17615"/>
                  </a:lnTo>
                  <a:lnTo>
                    <a:pt x="3512286" y="17615"/>
                  </a:lnTo>
                  <a:lnTo>
                    <a:pt x="3512388" y="16320"/>
                  </a:lnTo>
                  <a:lnTo>
                    <a:pt x="3512388" y="17615"/>
                  </a:lnTo>
                  <a:lnTo>
                    <a:pt x="3512680" y="17615"/>
                  </a:lnTo>
                  <a:lnTo>
                    <a:pt x="3512680" y="16320"/>
                  </a:lnTo>
                  <a:lnTo>
                    <a:pt x="3512731" y="17615"/>
                  </a:lnTo>
                  <a:lnTo>
                    <a:pt x="3512731" y="16320"/>
                  </a:lnTo>
                  <a:lnTo>
                    <a:pt x="3512832" y="17615"/>
                  </a:lnTo>
                  <a:lnTo>
                    <a:pt x="3512883" y="17615"/>
                  </a:lnTo>
                  <a:lnTo>
                    <a:pt x="3512883" y="16320"/>
                  </a:lnTo>
                  <a:lnTo>
                    <a:pt x="3512934" y="17615"/>
                  </a:lnTo>
                  <a:lnTo>
                    <a:pt x="3513175" y="17615"/>
                  </a:lnTo>
                  <a:lnTo>
                    <a:pt x="3513277" y="16320"/>
                  </a:lnTo>
                  <a:lnTo>
                    <a:pt x="3513277" y="17615"/>
                  </a:lnTo>
                  <a:lnTo>
                    <a:pt x="3513480" y="17615"/>
                  </a:lnTo>
                  <a:lnTo>
                    <a:pt x="3513480" y="18263"/>
                  </a:lnTo>
                  <a:lnTo>
                    <a:pt x="3513581" y="18263"/>
                  </a:lnTo>
                  <a:lnTo>
                    <a:pt x="3513581" y="17615"/>
                  </a:lnTo>
                  <a:lnTo>
                    <a:pt x="3513632" y="17615"/>
                  </a:lnTo>
                  <a:lnTo>
                    <a:pt x="3513721" y="16320"/>
                  </a:lnTo>
                  <a:lnTo>
                    <a:pt x="3513772" y="17615"/>
                  </a:lnTo>
                  <a:lnTo>
                    <a:pt x="3513823" y="18263"/>
                  </a:lnTo>
                  <a:lnTo>
                    <a:pt x="3513874" y="18263"/>
                  </a:lnTo>
                  <a:lnTo>
                    <a:pt x="3513975" y="17615"/>
                  </a:lnTo>
                  <a:lnTo>
                    <a:pt x="3514420" y="17615"/>
                  </a:lnTo>
                  <a:lnTo>
                    <a:pt x="3514471" y="16320"/>
                  </a:lnTo>
                  <a:lnTo>
                    <a:pt x="3514521" y="16320"/>
                  </a:lnTo>
                  <a:lnTo>
                    <a:pt x="3514623" y="17615"/>
                  </a:lnTo>
                  <a:lnTo>
                    <a:pt x="3514763" y="17615"/>
                  </a:lnTo>
                  <a:lnTo>
                    <a:pt x="3514864" y="18263"/>
                  </a:lnTo>
                  <a:lnTo>
                    <a:pt x="3514864" y="17615"/>
                  </a:lnTo>
                  <a:lnTo>
                    <a:pt x="3514966" y="17615"/>
                  </a:lnTo>
                  <a:lnTo>
                    <a:pt x="3515067" y="18263"/>
                  </a:lnTo>
                  <a:lnTo>
                    <a:pt x="3515118" y="18263"/>
                  </a:lnTo>
                  <a:lnTo>
                    <a:pt x="3515169" y="17615"/>
                  </a:lnTo>
                  <a:lnTo>
                    <a:pt x="3515461" y="17615"/>
                  </a:lnTo>
                  <a:lnTo>
                    <a:pt x="3515461" y="18263"/>
                  </a:lnTo>
                  <a:lnTo>
                    <a:pt x="3515563" y="18263"/>
                  </a:lnTo>
                  <a:lnTo>
                    <a:pt x="3515613" y="17615"/>
                  </a:lnTo>
                  <a:lnTo>
                    <a:pt x="3516261" y="17615"/>
                  </a:lnTo>
                  <a:lnTo>
                    <a:pt x="3516312" y="16320"/>
                  </a:lnTo>
                  <a:lnTo>
                    <a:pt x="3516350" y="16320"/>
                  </a:lnTo>
                  <a:lnTo>
                    <a:pt x="3516350" y="15634"/>
                  </a:lnTo>
                  <a:lnTo>
                    <a:pt x="3516452" y="15634"/>
                  </a:lnTo>
                  <a:lnTo>
                    <a:pt x="3516503" y="16320"/>
                  </a:lnTo>
                  <a:lnTo>
                    <a:pt x="3516553" y="16320"/>
                  </a:lnTo>
                  <a:lnTo>
                    <a:pt x="3516553" y="17615"/>
                  </a:lnTo>
                  <a:lnTo>
                    <a:pt x="3516655" y="17615"/>
                  </a:lnTo>
                  <a:lnTo>
                    <a:pt x="3516655" y="16320"/>
                  </a:lnTo>
                  <a:lnTo>
                    <a:pt x="3516756" y="16320"/>
                  </a:lnTo>
                  <a:lnTo>
                    <a:pt x="3516807" y="17615"/>
                  </a:lnTo>
                  <a:lnTo>
                    <a:pt x="3516896" y="16320"/>
                  </a:lnTo>
                  <a:lnTo>
                    <a:pt x="3516947" y="17615"/>
                  </a:lnTo>
                  <a:lnTo>
                    <a:pt x="3516998" y="16320"/>
                  </a:lnTo>
                  <a:lnTo>
                    <a:pt x="3517150" y="16320"/>
                  </a:lnTo>
                  <a:lnTo>
                    <a:pt x="3517201" y="17615"/>
                  </a:lnTo>
                  <a:lnTo>
                    <a:pt x="3517252" y="17615"/>
                  </a:lnTo>
                  <a:lnTo>
                    <a:pt x="3517252" y="18263"/>
                  </a:lnTo>
                  <a:lnTo>
                    <a:pt x="3517353" y="17615"/>
                  </a:lnTo>
                  <a:lnTo>
                    <a:pt x="3517899" y="17615"/>
                  </a:lnTo>
                  <a:lnTo>
                    <a:pt x="3517938" y="18263"/>
                  </a:lnTo>
                  <a:lnTo>
                    <a:pt x="3518039" y="18263"/>
                  </a:lnTo>
                  <a:lnTo>
                    <a:pt x="3518039" y="17615"/>
                  </a:lnTo>
                  <a:lnTo>
                    <a:pt x="3518090" y="18263"/>
                  </a:lnTo>
                  <a:lnTo>
                    <a:pt x="3518344" y="18263"/>
                  </a:lnTo>
                  <a:lnTo>
                    <a:pt x="3518344" y="17615"/>
                  </a:lnTo>
                  <a:lnTo>
                    <a:pt x="3519030" y="17615"/>
                  </a:lnTo>
                  <a:lnTo>
                    <a:pt x="3519030" y="18263"/>
                  </a:lnTo>
                  <a:lnTo>
                    <a:pt x="3519081" y="17615"/>
                  </a:lnTo>
                  <a:lnTo>
                    <a:pt x="3519525" y="17615"/>
                  </a:lnTo>
                  <a:lnTo>
                    <a:pt x="3519525" y="16320"/>
                  </a:lnTo>
                  <a:lnTo>
                    <a:pt x="3519627" y="16320"/>
                  </a:lnTo>
                  <a:lnTo>
                    <a:pt x="3519678" y="17615"/>
                  </a:lnTo>
                  <a:lnTo>
                    <a:pt x="3519728" y="17615"/>
                  </a:lnTo>
                  <a:lnTo>
                    <a:pt x="3519830" y="16320"/>
                  </a:lnTo>
                  <a:lnTo>
                    <a:pt x="3519982" y="16320"/>
                  </a:lnTo>
                  <a:lnTo>
                    <a:pt x="3520071" y="17615"/>
                  </a:lnTo>
                  <a:lnTo>
                    <a:pt x="3520224" y="17615"/>
                  </a:lnTo>
                  <a:lnTo>
                    <a:pt x="3520325" y="18263"/>
                  </a:lnTo>
                  <a:lnTo>
                    <a:pt x="3520376" y="17615"/>
                  </a:lnTo>
                  <a:lnTo>
                    <a:pt x="3520871" y="17615"/>
                  </a:lnTo>
                  <a:lnTo>
                    <a:pt x="3520871" y="18263"/>
                  </a:lnTo>
                  <a:lnTo>
                    <a:pt x="3520973" y="17615"/>
                  </a:lnTo>
                  <a:lnTo>
                    <a:pt x="3521074" y="17615"/>
                  </a:lnTo>
                  <a:lnTo>
                    <a:pt x="3521113" y="18263"/>
                  </a:lnTo>
                  <a:lnTo>
                    <a:pt x="3521214" y="17615"/>
                  </a:lnTo>
                  <a:lnTo>
                    <a:pt x="3521811" y="17615"/>
                  </a:lnTo>
                  <a:lnTo>
                    <a:pt x="3521811" y="18263"/>
                  </a:lnTo>
                  <a:lnTo>
                    <a:pt x="3521963" y="18263"/>
                  </a:lnTo>
                  <a:lnTo>
                    <a:pt x="3521963" y="17615"/>
                  </a:lnTo>
                  <a:lnTo>
                    <a:pt x="3522459" y="17615"/>
                  </a:lnTo>
                  <a:lnTo>
                    <a:pt x="3522560" y="16320"/>
                  </a:lnTo>
                  <a:lnTo>
                    <a:pt x="3522611" y="16320"/>
                  </a:lnTo>
                  <a:lnTo>
                    <a:pt x="3522662" y="17615"/>
                  </a:lnTo>
                  <a:lnTo>
                    <a:pt x="3522802" y="17615"/>
                  </a:lnTo>
                  <a:lnTo>
                    <a:pt x="3522853" y="16320"/>
                  </a:lnTo>
                  <a:lnTo>
                    <a:pt x="3522903" y="16320"/>
                  </a:lnTo>
                  <a:lnTo>
                    <a:pt x="3522903" y="17615"/>
                  </a:lnTo>
                  <a:lnTo>
                    <a:pt x="3523005" y="16320"/>
                  </a:lnTo>
                  <a:lnTo>
                    <a:pt x="3523399" y="16320"/>
                  </a:lnTo>
                  <a:lnTo>
                    <a:pt x="3523500" y="17615"/>
                  </a:lnTo>
                  <a:lnTo>
                    <a:pt x="3523500" y="16320"/>
                  </a:lnTo>
                  <a:lnTo>
                    <a:pt x="3523551" y="16320"/>
                  </a:lnTo>
                  <a:lnTo>
                    <a:pt x="3523551" y="17615"/>
                  </a:lnTo>
                  <a:lnTo>
                    <a:pt x="3523602" y="16320"/>
                  </a:lnTo>
                  <a:lnTo>
                    <a:pt x="3523602" y="17615"/>
                  </a:lnTo>
                  <a:lnTo>
                    <a:pt x="3523843" y="17615"/>
                  </a:lnTo>
                  <a:lnTo>
                    <a:pt x="3523945" y="18263"/>
                  </a:lnTo>
                  <a:lnTo>
                    <a:pt x="3523996" y="18263"/>
                  </a:lnTo>
                  <a:lnTo>
                    <a:pt x="3523996" y="17615"/>
                  </a:lnTo>
                  <a:lnTo>
                    <a:pt x="3524199" y="17615"/>
                  </a:lnTo>
                  <a:lnTo>
                    <a:pt x="3524199" y="18263"/>
                  </a:lnTo>
                  <a:lnTo>
                    <a:pt x="3524249" y="18263"/>
                  </a:lnTo>
                  <a:lnTo>
                    <a:pt x="3524288" y="17615"/>
                  </a:lnTo>
                  <a:lnTo>
                    <a:pt x="3525138" y="17615"/>
                  </a:lnTo>
                  <a:lnTo>
                    <a:pt x="3525189" y="18263"/>
                  </a:lnTo>
                  <a:lnTo>
                    <a:pt x="3525189" y="17615"/>
                  </a:lnTo>
                  <a:lnTo>
                    <a:pt x="3525291" y="18263"/>
                  </a:lnTo>
                  <a:lnTo>
                    <a:pt x="3525329" y="18263"/>
                  </a:lnTo>
                  <a:lnTo>
                    <a:pt x="3525329" y="17615"/>
                  </a:lnTo>
                  <a:lnTo>
                    <a:pt x="3525583" y="17615"/>
                  </a:lnTo>
                  <a:lnTo>
                    <a:pt x="3525634" y="16320"/>
                  </a:lnTo>
                  <a:lnTo>
                    <a:pt x="3525634" y="17615"/>
                  </a:lnTo>
                  <a:lnTo>
                    <a:pt x="3525735" y="16320"/>
                  </a:lnTo>
                  <a:lnTo>
                    <a:pt x="3525735" y="17615"/>
                  </a:lnTo>
                  <a:lnTo>
                    <a:pt x="3525977" y="17615"/>
                  </a:lnTo>
                  <a:lnTo>
                    <a:pt x="3525977" y="16320"/>
                  </a:lnTo>
                  <a:lnTo>
                    <a:pt x="3526078" y="16320"/>
                  </a:lnTo>
                  <a:lnTo>
                    <a:pt x="3526078" y="17615"/>
                  </a:lnTo>
                  <a:lnTo>
                    <a:pt x="3526281" y="17615"/>
                  </a:lnTo>
                  <a:lnTo>
                    <a:pt x="3526281" y="18263"/>
                  </a:lnTo>
                  <a:lnTo>
                    <a:pt x="3526421" y="18263"/>
                  </a:lnTo>
                  <a:lnTo>
                    <a:pt x="3526472" y="17615"/>
                  </a:lnTo>
                  <a:lnTo>
                    <a:pt x="3526726" y="17615"/>
                  </a:lnTo>
                  <a:lnTo>
                    <a:pt x="3526777" y="18263"/>
                  </a:lnTo>
                  <a:lnTo>
                    <a:pt x="3526917" y="18263"/>
                  </a:lnTo>
                  <a:lnTo>
                    <a:pt x="3526967" y="17615"/>
                  </a:lnTo>
                  <a:lnTo>
                    <a:pt x="3527323" y="17615"/>
                  </a:lnTo>
                  <a:lnTo>
                    <a:pt x="3527323" y="16320"/>
                  </a:lnTo>
                  <a:lnTo>
                    <a:pt x="3527374" y="17615"/>
                  </a:lnTo>
                  <a:lnTo>
                    <a:pt x="3528263" y="17615"/>
                  </a:lnTo>
                  <a:lnTo>
                    <a:pt x="3528263" y="16320"/>
                  </a:lnTo>
                  <a:lnTo>
                    <a:pt x="3528364" y="16320"/>
                  </a:lnTo>
                  <a:lnTo>
                    <a:pt x="3528364" y="17615"/>
                  </a:lnTo>
                  <a:lnTo>
                    <a:pt x="3528555" y="17615"/>
                  </a:lnTo>
                  <a:lnTo>
                    <a:pt x="3528606" y="16320"/>
                  </a:lnTo>
                  <a:lnTo>
                    <a:pt x="3528606" y="17615"/>
                  </a:lnTo>
                  <a:lnTo>
                    <a:pt x="3529647" y="17615"/>
                  </a:lnTo>
                  <a:lnTo>
                    <a:pt x="3529698" y="18263"/>
                  </a:lnTo>
                  <a:lnTo>
                    <a:pt x="3529749" y="18263"/>
                  </a:lnTo>
                  <a:lnTo>
                    <a:pt x="3529749" y="17615"/>
                  </a:lnTo>
                  <a:lnTo>
                    <a:pt x="3529850" y="17615"/>
                  </a:lnTo>
                  <a:lnTo>
                    <a:pt x="3529901" y="18263"/>
                  </a:lnTo>
                  <a:lnTo>
                    <a:pt x="3529952" y="18263"/>
                  </a:lnTo>
                  <a:lnTo>
                    <a:pt x="3529952" y="17615"/>
                  </a:lnTo>
                  <a:lnTo>
                    <a:pt x="3530142" y="17615"/>
                  </a:lnTo>
                  <a:lnTo>
                    <a:pt x="3530193" y="18263"/>
                  </a:lnTo>
                  <a:lnTo>
                    <a:pt x="3530295" y="17615"/>
                  </a:lnTo>
                  <a:lnTo>
                    <a:pt x="3530841" y="17615"/>
                  </a:lnTo>
                  <a:lnTo>
                    <a:pt x="3530841" y="18263"/>
                  </a:lnTo>
                  <a:lnTo>
                    <a:pt x="3531095" y="18263"/>
                  </a:lnTo>
                  <a:lnTo>
                    <a:pt x="3531095" y="17615"/>
                  </a:lnTo>
                  <a:lnTo>
                    <a:pt x="3531336" y="17615"/>
                  </a:lnTo>
                  <a:lnTo>
                    <a:pt x="3531438" y="18263"/>
                  </a:lnTo>
                  <a:lnTo>
                    <a:pt x="3531438" y="17615"/>
                  </a:lnTo>
                  <a:lnTo>
                    <a:pt x="3531539" y="17615"/>
                  </a:lnTo>
                  <a:lnTo>
                    <a:pt x="3531539" y="18263"/>
                  </a:lnTo>
                  <a:lnTo>
                    <a:pt x="3531641" y="17615"/>
                  </a:lnTo>
                  <a:lnTo>
                    <a:pt x="3531781" y="17615"/>
                  </a:lnTo>
                  <a:lnTo>
                    <a:pt x="3531882" y="16320"/>
                  </a:lnTo>
                  <a:lnTo>
                    <a:pt x="3531882" y="17615"/>
                  </a:lnTo>
                  <a:lnTo>
                    <a:pt x="3532085" y="17615"/>
                  </a:lnTo>
                  <a:lnTo>
                    <a:pt x="3532136" y="16320"/>
                  </a:lnTo>
                  <a:lnTo>
                    <a:pt x="3532187" y="17615"/>
                  </a:lnTo>
                  <a:lnTo>
                    <a:pt x="3532378" y="17615"/>
                  </a:lnTo>
                  <a:lnTo>
                    <a:pt x="3532428" y="16320"/>
                  </a:lnTo>
                  <a:lnTo>
                    <a:pt x="3532530" y="17615"/>
                  </a:lnTo>
                  <a:lnTo>
                    <a:pt x="3532682" y="17615"/>
                  </a:lnTo>
                  <a:lnTo>
                    <a:pt x="3532682" y="18263"/>
                  </a:lnTo>
                  <a:lnTo>
                    <a:pt x="3532822" y="18263"/>
                  </a:lnTo>
                  <a:lnTo>
                    <a:pt x="3532873" y="17615"/>
                  </a:lnTo>
                  <a:lnTo>
                    <a:pt x="3532924" y="18263"/>
                  </a:lnTo>
                  <a:lnTo>
                    <a:pt x="3532924" y="17615"/>
                  </a:lnTo>
                  <a:lnTo>
                    <a:pt x="3533025" y="17615"/>
                  </a:lnTo>
                  <a:lnTo>
                    <a:pt x="3533076" y="18263"/>
                  </a:lnTo>
                  <a:lnTo>
                    <a:pt x="3533267" y="18263"/>
                  </a:lnTo>
                  <a:lnTo>
                    <a:pt x="3533317" y="17615"/>
                  </a:lnTo>
                  <a:lnTo>
                    <a:pt x="3533521" y="17615"/>
                  </a:lnTo>
                  <a:lnTo>
                    <a:pt x="3533521" y="18263"/>
                  </a:lnTo>
                  <a:lnTo>
                    <a:pt x="3533673" y="18263"/>
                  </a:lnTo>
                  <a:lnTo>
                    <a:pt x="3533673" y="17615"/>
                  </a:lnTo>
                  <a:lnTo>
                    <a:pt x="3535260" y="17615"/>
                  </a:lnTo>
                  <a:lnTo>
                    <a:pt x="3535260" y="18263"/>
                  </a:lnTo>
                  <a:lnTo>
                    <a:pt x="3535362" y="18263"/>
                  </a:lnTo>
                  <a:lnTo>
                    <a:pt x="3535400" y="17615"/>
                  </a:lnTo>
                  <a:lnTo>
                    <a:pt x="3535806" y="17615"/>
                  </a:lnTo>
                  <a:lnTo>
                    <a:pt x="3535806" y="16320"/>
                  </a:lnTo>
                  <a:lnTo>
                    <a:pt x="3535857" y="17615"/>
                  </a:lnTo>
                  <a:lnTo>
                    <a:pt x="3536048" y="17615"/>
                  </a:lnTo>
                  <a:lnTo>
                    <a:pt x="3536048" y="18263"/>
                  </a:lnTo>
                  <a:lnTo>
                    <a:pt x="3536099" y="18263"/>
                  </a:lnTo>
                  <a:lnTo>
                    <a:pt x="3536099" y="17615"/>
                  </a:lnTo>
                  <a:lnTo>
                    <a:pt x="3536492" y="17615"/>
                  </a:lnTo>
                  <a:lnTo>
                    <a:pt x="3536543" y="18263"/>
                  </a:lnTo>
                  <a:lnTo>
                    <a:pt x="3536645" y="17615"/>
                  </a:lnTo>
                  <a:lnTo>
                    <a:pt x="3536696" y="18263"/>
                  </a:lnTo>
                  <a:lnTo>
                    <a:pt x="3536746" y="18263"/>
                  </a:lnTo>
                  <a:lnTo>
                    <a:pt x="3536848" y="17615"/>
                  </a:lnTo>
                  <a:lnTo>
                    <a:pt x="3536899" y="17615"/>
                  </a:lnTo>
                  <a:lnTo>
                    <a:pt x="3536949" y="16320"/>
                  </a:lnTo>
                  <a:lnTo>
                    <a:pt x="3536988" y="17615"/>
                  </a:lnTo>
                  <a:lnTo>
                    <a:pt x="3537343" y="17615"/>
                  </a:lnTo>
                  <a:lnTo>
                    <a:pt x="3537343" y="18263"/>
                  </a:lnTo>
                  <a:lnTo>
                    <a:pt x="3537394" y="17615"/>
                  </a:lnTo>
                  <a:lnTo>
                    <a:pt x="3537585" y="17615"/>
                  </a:lnTo>
                  <a:lnTo>
                    <a:pt x="3537585" y="18263"/>
                  </a:lnTo>
                  <a:lnTo>
                    <a:pt x="3537788" y="18263"/>
                  </a:lnTo>
                  <a:lnTo>
                    <a:pt x="3537788" y="17615"/>
                  </a:lnTo>
                  <a:lnTo>
                    <a:pt x="3537838" y="18263"/>
                  </a:lnTo>
                  <a:lnTo>
                    <a:pt x="3537991" y="18263"/>
                  </a:lnTo>
                  <a:lnTo>
                    <a:pt x="3537991" y="17615"/>
                  </a:lnTo>
                  <a:lnTo>
                    <a:pt x="3538283" y="17615"/>
                  </a:lnTo>
                  <a:lnTo>
                    <a:pt x="3538334" y="18263"/>
                  </a:lnTo>
                  <a:lnTo>
                    <a:pt x="3538435" y="18263"/>
                  </a:lnTo>
                  <a:lnTo>
                    <a:pt x="3538435" y="17615"/>
                  </a:lnTo>
                  <a:lnTo>
                    <a:pt x="3538537" y="17615"/>
                  </a:lnTo>
                  <a:lnTo>
                    <a:pt x="3538537" y="18263"/>
                  </a:lnTo>
                  <a:lnTo>
                    <a:pt x="3538575" y="17615"/>
                  </a:lnTo>
                  <a:lnTo>
                    <a:pt x="3538677" y="18263"/>
                  </a:lnTo>
                  <a:lnTo>
                    <a:pt x="3538728" y="17615"/>
                  </a:lnTo>
                  <a:lnTo>
                    <a:pt x="3538778" y="17615"/>
                  </a:lnTo>
                  <a:lnTo>
                    <a:pt x="3538880" y="18263"/>
                  </a:lnTo>
                  <a:lnTo>
                    <a:pt x="3538931" y="17615"/>
                  </a:lnTo>
                  <a:lnTo>
                    <a:pt x="3538981" y="17615"/>
                  </a:lnTo>
                  <a:lnTo>
                    <a:pt x="3539032" y="18263"/>
                  </a:lnTo>
                  <a:lnTo>
                    <a:pt x="3539032" y="17615"/>
                  </a:lnTo>
                  <a:lnTo>
                    <a:pt x="3539477" y="17615"/>
                  </a:lnTo>
                  <a:lnTo>
                    <a:pt x="3539578" y="18263"/>
                  </a:lnTo>
                  <a:lnTo>
                    <a:pt x="3539617" y="17615"/>
                  </a:lnTo>
                  <a:lnTo>
                    <a:pt x="3540163" y="17615"/>
                  </a:lnTo>
                  <a:lnTo>
                    <a:pt x="3540264" y="16320"/>
                  </a:lnTo>
                  <a:lnTo>
                    <a:pt x="3540264" y="17615"/>
                  </a:lnTo>
                  <a:lnTo>
                    <a:pt x="3541013" y="17615"/>
                  </a:lnTo>
                  <a:lnTo>
                    <a:pt x="3541064" y="16320"/>
                  </a:lnTo>
                  <a:lnTo>
                    <a:pt x="3541166" y="16320"/>
                  </a:lnTo>
                  <a:lnTo>
                    <a:pt x="3541204" y="17615"/>
                  </a:lnTo>
                  <a:lnTo>
                    <a:pt x="3541407" y="17615"/>
                  </a:lnTo>
                  <a:lnTo>
                    <a:pt x="3541458" y="16320"/>
                  </a:lnTo>
                  <a:lnTo>
                    <a:pt x="3541458" y="17615"/>
                  </a:lnTo>
                  <a:lnTo>
                    <a:pt x="3541852" y="17615"/>
                  </a:lnTo>
                  <a:lnTo>
                    <a:pt x="3541852" y="18263"/>
                  </a:lnTo>
                  <a:lnTo>
                    <a:pt x="3541903" y="18263"/>
                  </a:lnTo>
                  <a:lnTo>
                    <a:pt x="3541903" y="17615"/>
                  </a:lnTo>
                  <a:lnTo>
                    <a:pt x="3542296" y="17615"/>
                  </a:lnTo>
                  <a:lnTo>
                    <a:pt x="3542347" y="18263"/>
                  </a:lnTo>
                  <a:lnTo>
                    <a:pt x="3542449" y="18263"/>
                  </a:lnTo>
                  <a:lnTo>
                    <a:pt x="3542550" y="17615"/>
                  </a:lnTo>
                  <a:lnTo>
                    <a:pt x="3542893" y="17615"/>
                  </a:lnTo>
                  <a:lnTo>
                    <a:pt x="3542893" y="16320"/>
                  </a:lnTo>
                  <a:lnTo>
                    <a:pt x="3542995" y="17615"/>
                  </a:lnTo>
                  <a:lnTo>
                    <a:pt x="3543642" y="17615"/>
                  </a:lnTo>
                  <a:lnTo>
                    <a:pt x="3543693" y="18263"/>
                  </a:lnTo>
                  <a:lnTo>
                    <a:pt x="3543693" y="17615"/>
                  </a:lnTo>
                  <a:lnTo>
                    <a:pt x="3544341" y="17615"/>
                  </a:lnTo>
                  <a:lnTo>
                    <a:pt x="3544341" y="18263"/>
                  </a:lnTo>
                  <a:lnTo>
                    <a:pt x="3544379" y="17615"/>
                  </a:lnTo>
                  <a:lnTo>
                    <a:pt x="3545382" y="17615"/>
                  </a:lnTo>
                  <a:lnTo>
                    <a:pt x="3545382" y="16320"/>
                  </a:lnTo>
                  <a:lnTo>
                    <a:pt x="3545471" y="17615"/>
                  </a:lnTo>
                  <a:lnTo>
                    <a:pt x="3545522" y="17615"/>
                  </a:lnTo>
                  <a:lnTo>
                    <a:pt x="3545522" y="18263"/>
                  </a:lnTo>
                  <a:lnTo>
                    <a:pt x="3545573" y="17615"/>
                  </a:lnTo>
                </a:path>
              </a:pathLst>
            </a:custGeom>
            <a:noFill/>
            <a:ln w="6350" cap="flat" cmpd="sng">
              <a:solidFill>
                <a:srgbClr val="0000FF">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69" name="Freeform 160"/>
            <p:cNvSpPr/>
            <p:nvPr/>
          </p:nvSpPr>
          <p:spPr>
            <a:xfrm flipV="1">
              <a:off x="3679380" y="564262"/>
              <a:ext cx="226263" cy="0"/>
            </a:xfrm>
            <a:custGeom>
              <a:avLst/>
              <a:gdLst/>
              <a:ahLst/>
              <a:cxnLst/>
              <a:rect l="0" t="0" r="0" b="0"/>
              <a:pathLst>
                <a:path w="226263">
                  <a:moveTo>
                    <a:pt x="0" y="0"/>
                  </a:moveTo>
                  <a:lnTo>
                    <a:pt x="226263" y="0"/>
                  </a:lnTo>
                </a:path>
              </a:pathLst>
            </a:custGeom>
            <a:noFill/>
            <a:ln w="6350" cap="flat" cmpd="sng">
              <a:solidFill>
                <a:srgbClr val="FF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70" name="Freeform 161"/>
            <p:cNvSpPr/>
            <p:nvPr/>
          </p:nvSpPr>
          <p:spPr>
            <a:xfrm flipV="1">
              <a:off x="454279" y="1233196"/>
              <a:ext cx="3545573" cy="709701"/>
            </a:xfrm>
            <a:custGeom>
              <a:avLst/>
              <a:gdLst/>
              <a:ahLst/>
              <a:cxnLst/>
              <a:rect l="0" t="0" r="0" b="0"/>
              <a:pathLst>
                <a:path w="3545573" h="709701">
                  <a:moveTo>
                    <a:pt x="0" y="569658"/>
                  </a:moveTo>
                  <a:lnTo>
                    <a:pt x="16319" y="569658"/>
                  </a:lnTo>
                  <a:lnTo>
                    <a:pt x="16611" y="568960"/>
                  </a:lnTo>
                  <a:lnTo>
                    <a:pt x="99555" y="568960"/>
                  </a:lnTo>
                  <a:lnTo>
                    <a:pt x="100050" y="569658"/>
                  </a:lnTo>
                  <a:lnTo>
                    <a:pt x="222288" y="569658"/>
                  </a:lnTo>
                  <a:lnTo>
                    <a:pt x="222288" y="570306"/>
                  </a:lnTo>
                  <a:lnTo>
                    <a:pt x="564502" y="570306"/>
                  </a:lnTo>
                  <a:lnTo>
                    <a:pt x="564603" y="570903"/>
                  </a:lnTo>
                  <a:lnTo>
                    <a:pt x="712927" y="570903"/>
                  </a:lnTo>
                  <a:lnTo>
                    <a:pt x="712978" y="570306"/>
                  </a:lnTo>
                  <a:lnTo>
                    <a:pt x="723442" y="570306"/>
                  </a:lnTo>
                  <a:lnTo>
                    <a:pt x="723849" y="569658"/>
                  </a:lnTo>
                  <a:lnTo>
                    <a:pt x="731875" y="569658"/>
                  </a:lnTo>
                  <a:lnTo>
                    <a:pt x="731875" y="568960"/>
                  </a:lnTo>
                  <a:lnTo>
                    <a:pt x="739267" y="568960"/>
                  </a:lnTo>
                  <a:lnTo>
                    <a:pt x="739470" y="568325"/>
                  </a:lnTo>
                  <a:lnTo>
                    <a:pt x="746163" y="568325"/>
                  </a:lnTo>
                  <a:lnTo>
                    <a:pt x="746163" y="567677"/>
                  </a:lnTo>
                  <a:lnTo>
                    <a:pt x="752474" y="567677"/>
                  </a:lnTo>
                  <a:lnTo>
                    <a:pt x="752513" y="566979"/>
                  </a:lnTo>
                  <a:lnTo>
                    <a:pt x="758367" y="566979"/>
                  </a:lnTo>
                  <a:lnTo>
                    <a:pt x="758723" y="566331"/>
                  </a:lnTo>
                  <a:lnTo>
                    <a:pt x="764324" y="566331"/>
                  </a:lnTo>
                  <a:lnTo>
                    <a:pt x="764717" y="565696"/>
                  </a:lnTo>
                  <a:lnTo>
                    <a:pt x="770280" y="565696"/>
                  </a:lnTo>
                  <a:lnTo>
                    <a:pt x="770280" y="565099"/>
                  </a:lnTo>
                  <a:lnTo>
                    <a:pt x="775830" y="565099"/>
                  </a:lnTo>
                  <a:lnTo>
                    <a:pt x="776325" y="564350"/>
                  </a:lnTo>
                  <a:lnTo>
                    <a:pt x="781684" y="564350"/>
                  </a:lnTo>
                  <a:lnTo>
                    <a:pt x="781735" y="563753"/>
                  </a:lnTo>
                  <a:lnTo>
                    <a:pt x="787196" y="563753"/>
                  </a:lnTo>
                  <a:lnTo>
                    <a:pt x="787349" y="563105"/>
                  </a:lnTo>
                  <a:lnTo>
                    <a:pt x="792505" y="563105"/>
                  </a:lnTo>
                  <a:lnTo>
                    <a:pt x="792746" y="562470"/>
                  </a:lnTo>
                  <a:lnTo>
                    <a:pt x="798004" y="562470"/>
                  </a:lnTo>
                  <a:lnTo>
                    <a:pt x="798055" y="561771"/>
                  </a:lnTo>
                  <a:lnTo>
                    <a:pt x="802767" y="561771"/>
                  </a:lnTo>
                  <a:lnTo>
                    <a:pt x="802970" y="561124"/>
                  </a:lnTo>
                  <a:lnTo>
                    <a:pt x="807783" y="561124"/>
                  </a:lnTo>
                  <a:lnTo>
                    <a:pt x="807834" y="560476"/>
                  </a:lnTo>
                  <a:lnTo>
                    <a:pt x="812749" y="560476"/>
                  </a:lnTo>
                  <a:lnTo>
                    <a:pt x="812749" y="559892"/>
                  </a:lnTo>
                  <a:lnTo>
                    <a:pt x="817359" y="559892"/>
                  </a:lnTo>
                  <a:lnTo>
                    <a:pt x="817956" y="559193"/>
                  </a:lnTo>
                  <a:lnTo>
                    <a:pt x="822464" y="559193"/>
                  </a:lnTo>
                  <a:lnTo>
                    <a:pt x="822464" y="558546"/>
                  </a:lnTo>
                  <a:lnTo>
                    <a:pt x="826884" y="558546"/>
                  </a:lnTo>
                  <a:lnTo>
                    <a:pt x="827125" y="557898"/>
                  </a:lnTo>
                  <a:lnTo>
                    <a:pt x="831799" y="557898"/>
                  </a:lnTo>
                  <a:lnTo>
                    <a:pt x="831849" y="557263"/>
                  </a:lnTo>
                  <a:lnTo>
                    <a:pt x="836155" y="557263"/>
                  </a:lnTo>
                  <a:lnTo>
                    <a:pt x="836650" y="556564"/>
                  </a:lnTo>
                  <a:lnTo>
                    <a:pt x="841121" y="556564"/>
                  </a:lnTo>
                  <a:lnTo>
                    <a:pt x="841374" y="555917"/>
                  </a:lnTo>
                  <a:lnTo>
                    <a:pt x="845883" y="555917"/>
                  </a:lnTo>
                  <a:lnTo>
                    <a:pt x="846035" y="555269"/>
                  </a:lnTo>
                  <a:lnTo>
                    <a:pt x="850442" y="555269"/>
                  </a:lnTo>
                  <a:lnTo>
                    <a:pt x="850798" y="554583"/>
                  </a:lnTo>
                  <a:lnTo>
                    <a:pt x="855205" y="554583"/>
                  </a:lnTo>
                  <a:lnTo>
                    <a:pt x="855205" y="553986"/>
                  </a:lnTo>
                  <a:lnTo>
                    <a:pt x="859878" y="553986"/>
                  </a:lnTo>
                  <a:lnTo>
                    <a:pt x="860018" y="553339"/>
                  </a:lnTo>
                  <a:lnTo>
                    <a:pt x="864641" y="553339"/>
                  </a:lnTo>
                  <a:lnTo>
                    <a:pt x="864679" y="552691"/>
                  </a:lnTo>
                  <a:lnTo>
                    <a:pt x="869302" y="552691"/>
                  </a:lnTo>
                  <a:lnTo>
                    <a:pt x="869645" y="551993"/>
                  </a:lnTo>
                  <a:lnTo>
                    <a:pt x="874458" y="551993"/>
                  </a:lnTo>
                  <a:lnTo>
                    <a:pt x="874509" y="551358"/>
                  </a:lnTo>
                  <a:lnTo>
                    <a:pt x="879170" y="551358"/>
                  </a:lnTo>
                  <a:lnTo>
                    <a:pt x="879665" y="550710"/>
                  </a:lnTo>
                  <a:lnTo>
                    <a:pt x="884377" y="550710"/>
                  </a:lnTo>
                  <a:lnTo>
                    <a:pt x="885075" y="550062"/>
                  </a:lnTo>
                  <a:lnTo>
                    <a:pt x="889685" y="550062"/>
                  </a:lnTo>
                  <a:lnTo>
                    <a:pt x="889736" y="549364"/>
                  </a:lnTo>
                  <a:lnTo>
                    <a:pt x="894499" y="549364"/>
                  </a:lnTo>
                  <a:lnTo>
                    <a:pt x="895096" y="548779"/>
                  </a:lnTo>
                  <a:lnTo>
                    <a:pt x="900506" y="548779"/>
                  </a:lnTo>
                  <a:lnTo>
                    <a:pt x="900798" y="548132"/>
                  </a:lnTo>
                  <a:lnTo>
                    <a:pt x="906005" y="548132"/>
                  </a:lnTo>
                  <a:lnTo>
                    <a:pt x="906360" y="547484"/>
                  </a:lnTo>
                  <a:lnTo>
                    <a:pt x="911669" y="547484"/>
                  </a:lnTo>
                  <a:lnTo>
                    <a:pt x="911809" y="546785"/>
                  </a:lnTo>
                  <a:lnTo>
                    <a:pt x="917613" y="546785"/>
                  </a:lnTo>
                  <a:lnTo>
                    <a:pt x="917714" y="546150"/>
                  </a:lnTo>
                  <a:lnTo>
                    <a:pt x="923924" y="546150"/>
                  </a:lnTo>
                  <a:lnTo>
                    <a:pt x="923924" y="545503"/>
                  </a:lnTo>
                  <a:lnTo>
                    <a:pt x="930224" y="545503"/>
                  </a:lnTo>
                  <a:lnTo>
                    <a:pt x="930313" y="544906"/>
                  </a:lnTo>
                  <a:lnTo>
                    <a:pt x="936320" y="544906"/>
                  </a:lnTo>
                  <a:lnTo>
                    <a:pt x="936663" y="544157"/>
                  </a:lnTo>
                  <a:lnTo>
                    <a:pt x="943317" y="544157"/>
                  </a:lnTo>
                  <a:lnTo>
                    <a:pt x="943609" y="543560"/>
                  </a:lnTo>
                  <a:lnTo>
                    <a:pt x="950810" y="543560"/>
                  </a:lnTo>
                  <a:lnTo>
                    <a:pt x="950861" y="542925"/>
                  </a:lnTo>
                  <a:lnTo>
                    <a:pt x="959688" y="542925"/>
                  </a:lnTo>
                  <a:lnTo>
                    <a:pt x="959738" y="542226"/>
                  </a:lnTo>
                  <a:lnTo>
                    <a:pt x="969454" y="542226"/>
                  </a:lnTo>
                  <a:lnTo>
                    <a:pt x="969505" y="541579"/>
                  </a:lnTo>
                  <a:lnTo>
                    <a:pt x="979728" y="541579"/>
                  </a:lnTo>
                  <a:lnTo>
                    <a:pt x="979932" y="540931"/>
                  </a:lnTo>
                  <a:lnTo>
                    <a:pt x="992378" y="540931"/>
                  </a:lnTo>
                  <a:lnTo>
                    <a:pt x="992530" y="540296"/>
                  </a:lnTo>
                  <a:lnTo>
                    <a:pt x="1005230" y="540296"/>
                  </a:lnTo>
                  <a:lnTo>
                    <a:pt x="1005281" y="539597"/>
                  </a:lnTo>
                  <a:lnTo>
                    <a:pt x="1019670" y="539597"/>
                  </a:lnTo>
                  <a:lnTo>
                    <a:pt x="1019809" y="538950"/>
                  </a:lnTo>
                  <a:lnTo>
                    <a:pt x="1034542" y="538950"/>
                  </a:lnTo>
                  <a:lnTo>
                    <a:pt x="1034542" y="538353"/>
                  </a:lnTo>
                  <a:lnTo>
                    <a:pt x="1078306" y="538353"/>
                  </a:lnTo>
                  <a:lnTo>
                    <a:pt x="1078357" y="538950"/>
                  </a:lnTo>
                  <a:lnTo>
                    <a:pt x="1094968" y="538950"/>
                  </a:lnTo>
                  <a:lnTo>
                    <a:pt x="1095171" y="539597"/>
                  </a:lnTo>
                  <a:lnTo>
                    <a:pt x="1110703" y="539597"/>
                  </a:lnTo>
                  <a:lnTo>
                    <a:pt x="1111046" y="540296"/>
                  </a:lnTo>
                  <a:lnTo>
                    <a:pt x="1127569" y="540296"/>
                  </a:lnTo>
                  <a:lnTo>
                    <a:pt x="1127709" y="540931"/>
                  </a:lnTo>
                  <a:lnTo>
                    <a:pt x="1140459" y="540931"/>
                  </a:lnTo>
                  <a:lnTo>
                    <a:pt x="1140561" y="541579"/>
                  </a:lnTo>
                  <a:lnTo>
                    <a:pt x="1151128" y="541579"/>
                  </a:lnTo>
                  <a:lnTo>
                    <a:pt x="1152017" y="542226"/>
                  </a:lnTo>
                  <a:lnTo>
                    <a:pt x="1160957" y="542226"/>
                  </a:lnTo>
                  <a:lnTo>
                    <a:pt x="1161148" y="542925"/>
                  </a:lnTo>
                  <a:lnTo>
                    <a:pt x="1169682" y="542925"/>
                  </a:lnTo>
                  <a:lnTo>
                    <a:pt x="1169784" y="543560"/>
                  </a:lnTo>
                  <a:lnTo>
                    <a:pt x="1178267" y="543560"/>
                  </a:lnTo>
                  <a:lnTo>
                    <a:pt x="1178318" y="544157"/>
                  </a:lnTo>
                  <a:lnTo>
                    <a:pt x="1186548" y="544157"/>
                  </a:lnTo>
                  <a:lnTo>
                    <a:pt x="1186599" y="544906"/>
                  </a:lnTo>
                  <a:lnTo>
                    <a:pt x="1194981" y="544906"/>
                  </a:lnTo>
                  <a:lnTo>
                    <a:pt x="1194981" y="545503"/>
                  </a:lnTo>
                  <a:lnTo>
                    <a:pt x="1204061" y="545503"/>
                  </a:lnTo>
                  <a:lnTo>
                    <a:pt x="1204404" y="546150"/>
                  </a:lnTo>
                  <a:lnTo>
                    <a:pt x="1215516" y="546150"/>
                  </a:lnTo>
                  <a:lnTo>
                    <a:pt x="1215821" y="546785"/>
                  </a:lnTo>
                  <a:lnTo>
                    <a:pt x="1232788" y="546785"/>
                  </a:lnTo>
                  <a:lnTo>
                    <a:pt x="1232788" y="547484"/>
                  </a:lnTo>
                  <a:lnTo>
                    <a:pt x="1256347" y="547484"/>
                  </a:lnTo>
                  <a:lnTo>
                    <a:pt x="1256652" y="548132"/>
                  </a:lnTo>
                  <a:lnTo>
                    <a:pt x="1294853" y="548132"/>
                  </a:lnTo>
                  <a:lnTo>
                    <a:pt x="1295349" y="548779"/>
                  </a:lnTo>
                  <a:lnTo>
                    <a:pt x="1342720" y="548779"/>
                  </a:lnTo>
                  <a:lnTo>
                    <a:pt x="1342821" y="549364"/>
                  </a:lnTo>
                  <a:lnTo>
                    <a:pt x="1381125" y="549364"/>
                  </a:lnTo>
                  <a:lnTo>
                    <a:pt x="1381163" y="550062"/>
                  </a:lnTo>
                  <a:lnTo>
                    <a:pt x="1402803" y="550062"/>
                  </a:lnTo>
                  <a:lnTo>
                    <a:pt x="1403045" y="550710"/>
                  </a:lnTo>
                  <a:lnTo>
                    <a:pt x="1407807" y="550710"/>
                  </a:lnTo>
                  <a:lnTo>
                    <a:pt x="1407858" y="551358"/>
                  </a:lnTo>
                  <a:lnTo>
                    <a:pt x="1411287" y="551358"/>
                  </a:lnTo>
                  <a:lnTo>
                    <a:pt x="1411287" y="551993"/>
                  </a:lnTo>
                  <a:lnTo>
                    <a:pt x="1413814" y="551993"/>
                  </a:lnTo>
                  <a:lnTo>
                    <a:pt x="1413814" y="552691"/>
                  </a:lnTo>
                  <a:lnTo>
                    <a:pt x="1415402" y="552691"/>
                  </a:lnTo>
                  <a:lnTo>
                    <a:pt x="1415503" y="553339"/>
                  </a:lnTo>
                  <a:lnTo>
                    <a:pt x="1416634" y="553339"/>
                  </a:lnTo>
                  <a:lnTo>
                    <a:pt x="1416685" y="553986"/>
                  </a:lnTo>
                  <a:lnTo>
                    <a:pt x="1417637" y="553986"/>
                  </a:lnTo>
                  <a:lnTo>
                    <a:pt x="1417675" y="554583"/>
                  </a:lnTo>
                  <a:lnTo>
                    <a:pt x="1418475" y="554583"/>
                  </a:lnTo>
                  <a:lnTo>
                    <a:pt x="1418526" y="555269"/>
                  </a:lnTo>
                  <a:lnTo>
                    <a:pt x="1419263" y="555269"/>
                  </a:lnTo>
                  <a:lnTo>
                    <a:pt x="1419364" y="555917"/>
                  </a:lnTo>
                  <a:lnTo>
                    <a:pt x="1419961" y="555917"/>
                  </a:lnTo>
                  <a:lnTo>
                    <a:pt x="1420113" y="556564"/>
                  </a:lnTo>
                  <a:lnTo>
                    <a:pt x="1420609" y="556564"/>
                  </a:lnTo>
                  <a:lnTo>
                    <a:pt x="1420761" y="557263"/>
                  </a:lnTo>
                  <a:lnTo>
                    <a:pt x="1421256" y="557263"/>
                  </a:lnTo>
                  <a:lnTo>
                    <a:pt x="1421307" y="557898"/>
                  </a:lnTo>
                  <a:lnTo>
                    <a:pt x="1421752" y="557898"/>
                  </a:lnTo>
                  <a:lnTo>
                    <a:pt x="1421942" y="558546"/>
                  </a:lnTo>
                  <a:lnTo>
                    <a:pt x="1422349" y="558546"/>
                  </a:lnTo>
                  <a:lnTo>
                    <a:pt x="1422539" y="559193"/>
                  </a:lnTo>
                  <a:lnTo>
                    <a:pt x="1422793" y="559193"/>
                  </a:lnTo>
                  <a:lnTo>
                    <a:pt x="1422895" y="559892"/>
                  </a:lnTo>
                  <a:lnTo>
                    <a:pt x="1423085" y="559892"/>
                  </a:lnTo>
                  <a:lnTo>
                    <a:pt x="1423441" y="560476"/>
                  </a:lnTo>
                  <a:lnTo>
                    <a:pt x="1423784" y="560476"/>
                  </a:lnTo>
                  <a:lnTo>
                    <a:pt x="1423885" y="561124"/>
                  </a:lnTo>
                  <a:lnTo>
                    <a:pt x="1424228" y="561124"/>
                  </a:lnTo>
                  <a:lnTo>
                    <a:pt x="1424381" y="561771"/>
                  </a:lnTo>
                  <a:lnTo>
                    <a:pt x="1424673" y="561771"/>
                  </a:lnTo>
                  <a:lnTo>
                    <a:pt x="1424724" y="562470"/>
                  </a:lnTo>
                  <a:lnTo>
                    <a:pt x="1425066" y="562470"/>
                  </a:lnTo>
                  <a:lnTo>
                    <a:pt x="1425270" y="563105"/>
                  </a:lnTo>
                  <a:lnTo>
                    <a:pt x="1425575" y="563105"/>
                  </a:lnTo>
                  <a:lnTo>
                    <a:pt x="1425714" y="563753"/>
                  </a:lnTo>
                  <a:lnTo>
                    <a:pt x="1425917" y="563753"/>
                  </a:lnTo>
                  <a:lnTo>
                    <a:pt x="1426019" y="564350"/>
                  </a:lnTo>
                  <a:lnTo>
                    <a:pt x="1426070" y="564350"/>
                  </a:lnTo>
                  <a:lnTo>
                    <a:pt x="1426311" y="565099"/>
                  </a:lnTo>
                  <a:lnTo>
                    <a:pt x="1426616" y="565099"/>
                  </a:lnTo>
                  <a:lnTo>
                    <a:pt x="1426857" y="565696"/>
                  </a:lnTo>
                  <a:lnTo>
                    <a:pt x="1427060" y="565696"/>
                  </a:lnTo>
                  <a:lnTo>
                    <a:pt x="1427111" y="566331"/>
                  </a:lnTo>
                  <a:lnTo>
                    <a:pt x="1427403" y="566331"/>
                  </a:lnTo>
                  <a:lnTo>
                    <a:pt x="1427556" y="566979"/>
                  </a:lnTo>
                  <a:lnTo>
                    <a:pt x="1427848" y="567677"/>
                  </a:lnTo>
                  <a:lnTo>
                    <a:pt x="1428102" y="567677"/>
                  </a:lnTo>
                  <a:lnTo>
                    <a:pt x="1428343" y="568325"/>
                  </a:lnTo>
                  <a:lnTo>
                    <a:pt x="1428648" y="568960"/>
                  </a:lnTo>
                  <a:lnTo>
                    <a:pt x="1428940" y="569658"/>
                  </a:lnTo>
                  <a:lnTo>
                    <a:pt x="1429245" y="570306"/>
                  </a:lnTo>
                  <a:lnTo>
                    <a:pt x="1429689" y="570903"/>
                  </a:lnTo>
                  <a:lnTo>
                    <a:pt x="1430083" y="571550"/>
                  </a:lnTo>
                  <a:lnTo>
                    <a:pt x="1430528" y="572884"/>
                  </a:lnTo>
                  <a:lnTo>
                    <a:pt x="1430972" y="573532"/>
                  </a:lnTo>
                  <a:lnTo>
                    <a:pt x="1431378" y="574865"/>
                  </a:lnTo>
                  <a:lnTo>
                    <a:pt x="1431721" y="575462"/>
                  </a:lnTo>
                  <a:lnTo>
                    <a:pt x="1432115" y="576110"/>
                  </a:lnTo>
                  <a:lnTo>
                    <a:pt x="1432420" y="576758"/>
                  </a:lnTo>
                  <a:lnTo>
                    <a:pt x="1432560" y="577443"/>
                  </a:lnTo>
                  <a:lnTo>
                    <a:pt x="1432661" y="577443"/>
                  </a:lnTo>
                  <a:lnTo>
                    <a:pt x="1433106" y="578739"/>
                  </a:lnTo>
                  <a:lnTo>
                    <a:pt x="1433309" y="578739"/>
                  </a:lnTo>
                  <a:lnTo>
                    <a:pt x="1433512" y="579386"/>
                  </a:lnTo>
                  <a:lnTo>
                    <a:pt x="1433906" y="580072"/>
                  </a:lnTo>
                  <a:lnTo>
                    <a:pt x="1434198" y="580669"/>
                  </a:lnTo>
                  <a:lnTo>
                    <a:pt x="1434452" y="580669"/>
                  </a:lnTo>
                  <a:lnTo>
                    <a:pt x="1434642" y="581317"/>
                  </a:lnTo>
                  <a:lnTo>
                    <a:pt x="1435138" y="582663"/>
                  </a:lnTo>
                  <a:lnTo>
                    <a:pt x="1435684" y="583946"/>
                  </a:lnTo>
                  <a:lnTo>
                    <a:pt x="1435988" y="584644"/>
                  </a:lnTo>
                  <a:lnTo>
                    <a:pt x="1436382" y="585292"/>
                  </a:lnTo>
                  <a:lnTo>
                    <a:pt x="1436878" y="586524"/>
                  </a:lnTo>
                  <a:lnTo>
                    <a:pt x="1437373" y="587870"/>
                  </a:lnTo>
                  <a:lnTo>
                    <a:pt x="1437766" y="589153"/>
                  </a:lnTo>
                  <a:lnTo>
                    <a:pt x="1438173" y="589851"/>
                  </a:lnTo>
                  <a:lnTo>
                    <a:pt x="1438465" y="590499"/>
                  </a:lnTo>
                  <a:lnTo>
                    <a:pt x="1438719" y="591096"/>
                  </a:lnTo>
                  <a:lnTo>
                    <a:pt x="1439214" y="592429"/>
                  </a:lnTo>
                  <a:lnTo>
                    <a:pt x="1439760" y="593725"/>
                  </a:lnTo>
                  <a:lnTo>
                    <a:pt x="1440446" y="595706"/>
                  </a:lnTo>
                  <a:lnTo>
                    <a:pt x="1441145" y="597636"/>
                  </a:lnTo>
                  <a:lnTo>
                    <a:pt x="1441348" y="597636"/>
                  </a:lnTo>
                  <a:lnTo>
                    <a:pt x="1441589" y="598932"/>
                  </a:lnTo>
                  <a:lnTo>
                    <a:pt x="1441843" y="599618"/>
                  </a:lnTo>
                  <a:lnTo>
                    <a:pt x="1442288" y="600265"/>
                  </a:lnTo>
                  <a:lnTo>
                    <a:pt x="1442732" y="601510"/>
                  </a:lnTo>
                  <a:lnTo>
                    <a:pt x="1443380" y="603491"/>
                  </a:lnTo>
                  <a:lnTo>
                    <a:pt x="1443926" y="604837"/>
                  </a:lnTo>
                  <a:lnTo>
                    <a:pt x="1444116" y="605472"/>
                  </a:lnTo>
                  <a:lnTo>
                    <a:pt x="1444320" y="606069"/>
                  </a:lnTo>
                  <a:lnTo>
                    <a:pt x="1444815" y="606818"/>
                  </a:lnTo>
                  <a:lnTo>
                    <a:pt x="1445310" y="608063"/>
                  </a:lnTo>
                  <a:lnTo>
                    <a:pt x="1446250" y="610692"/>
                  </a:lnTo>
                  <a:lnTo>
                    <a:pt x="1447291" y="613270"/>
                  </a:lnTo>
                  <a:lnTo>
                    <a:pt x="1447546" y="613905"/>
                  </a:lnTo>
                  <a:lnTo>
                    <a:pt x="1447800" y="614604"/>
                  </a:lnTo>
                  <a:lnTo>
                    <a:pt x="1448688" y="617182"/>
                  </a:lnTo>
                  <a:lnTo>
                    <a:pt x="1449578" y="619175"/>
                  </a:lnTo>
                  <a:lnTo>
                    <a:pt x="1449882" y="620458"/>
                  </a:lnTo>
                  <a:lnTo>
                    <a:pt x="1450124" y="621106"/>
                  </a:lnTo>
                  <a:lnTo>
                    <a:pt x="1450428" y="621804"/>
                  </a:lnTo>
                  <a:lnTo>
                    <a:pt x="1450568" y="621804"/>
                  </a:lnTo>
                  <a:lnTo>
                    <a:pt x="1450771" y="622389"/>
                  </a:lnTo>
                  <a:lnTo>
                    <a:pt x="1451711" y="625018"/>
                  </a:lnTo>
                  <a:lnTo>
                    <a:pt x="1452600" y="627011"/>
                  </a:lnTo>
                  <a:lnTo>
                    <a:pt x="1453248" y="628891"/>
                  </a:lnTo>
                  <a:lnTo>
                    <a:pt x="1453896" y="630237"/>
                  </a:lnTo>
                  <a:lnTo>
                    <a:pt x="1454734" y="632218"/>
                  </a:lnTo>
                  <a:lnTo>
                    <a:pt x="1455534" y="634149"/>
                  </a:lnTo>
                  <a:lnTo>
                    <a:pt x="1455877" y="634796"/>
                  </a:lnTo>
                  <a:lnTo>
                    <a:pt x="1456181" y="635444"/>
                  </a:lnTo>
                  <a:lnTo>
                    <a:pt x="1456423" y="636092"/>
                  </a:lnTo>
                  <a:lnTo>
                    <a:pt x="1456677" y="636778"/>
                  </a:lnTo>
                  <a:lnTo>
                    <a:pt x="1457020" y="638022"/>
                  </a:lnTo>
                  <a:lnTo>
                    <a:pt x="1457363" y="638670"/>
                  </a:lnTo>
                  <a:lnTo>
                    <a:pt x="1457820" y="639356"/>
                  </a:lnTo>
                  <a:lnTo>
                    <a:pt x="1458061" y="640004"/>
                  </a:lnTo>
                  <a:lnTo>
                    <a:pt x="1458264" y="640651"/>
                  </a:lnTo>
                  <a:lnTo>
                    <a:pt x="1458950" y="641985"/>
                  </a:lnTo>
                  <a:lnTo>
                    <a:pt x="1459153" y="642582"/>
                  </a:lnTo>
                  <a:lnTo>
                    <a:pt x="1459306" y="643229"/>
                  </a:lnTo>
                  <a:lnTo>
                    <a:pt x="1459598" y="643928"/>
                  </a:lnTo>
                  <a:lnTo>
                    <a:pt x="1459953" y="644575"/>
                  </a:lnTo>
                  <a:lnTo>
                    <a:pt x="1460449" y="645210"/>
                  </a:lnTo>
                  <a:lnTo>
                    <a:pt x="1460893" y="646557"/>
                  </a:lnTo>
                  <a:lnTo>
                    <a:pt x="1460995" y="646557"/>
                  </a:lnTo>
                  <a:lnTo>
                    <a:pt x="1461084" y="647204"/>
                  </a:lnTo>
                  <a:lnTo>
                    <a:pt x="1461185" y="647204"/>
                  </a:lnTo>
                  <a:lnTo>
                    <a:pt x="1461579" y="647789"/>
                  </a:lnTo>
                  <a:lnTo>
                    <a:pt x="1461985" y="649135"/>
                  </a:lnTo>
                  <a:lnTo>
                    <a:pt x="1462087" y="649135"/>
                  </a:lnTo>
                  <a:lnTo>
                    <a:pt x="1462278" y="649783"/>
                  </a:lnTo>
                  <a:lnTo>
                    <a:pt x="1462430" y="649783"/>
                  </a:lnTo>
                  <a:lnTo>
                    <a:pt x="1462582" y="650418"/>
                  </a:lnTo>
                  <a:lnTo>
                    <a:pt x="1463573" y="652411"/>
                  </a:lnTo>
                  <a:lnTo>
                    <a:pt x="1464259" y="653643"/>
                  </a:lnTo>
                  <a:lnTo>
                    <a:pt x="1465059" y="655637"/>
                  </a:lnTo>
                  <a:lnTo>
                    <a:pt x="1465948" y="656971"/>
                  </a:lnTo>
                  <a:lnTo>
                    <a:pt x="1466443" y="658215"/>
                  </a:lnTo>
                  <a:lnTo>
                    <a:pt x="1466989" y="658901"/>
                  </a:lnTo>
                  <a:lnTo>
                    <a:pt x="1467091" y="659549"/>
                  </a:lnTo>
                  <a:lnTo>
                    <a:pt x="1467243" y="659549"/>
                  </a:lnTo>
                  <a:lnTo>
                    <a:pt x="1467485" y="660196"/>
                  </a:lnTo>
                  <a:lnTo>
                    <a:pt x="1467789" y="660844"/>
                  </a:lnTo>
                  <a:lnTo>
                    <a:pt x="1468031" y="661530"/>
                  </a:lnTo>
                  <a:lnTo>
                    <a:pt x="1468335" y="661530"/>
                  </a:lnTo>
                  <a:lnTo>
                    <a:pt x="1468577" y="662178"/>
                  </a:lnTo>
                  <a:lnTo>
                    <a:pt x="1468831" y="662775"/>
                  </a:lnTo>
                  <a:lnTo>
                    <a:pt x="1469072" y="662775"/>
                  </a:lnTo>
                  <a:lnTo>
                    <a:pt x="1469720" y="664121"/>
                  </a:lnTo>
                  <a:lnTo>
                    <a:pt x="1470025" y="664756"/>
                  </a:lnTo>
                  <a:lnTo>
                    <a:pt x="1470418" y="665404"/>
                  </a:lnTo>
                  <a:lnTo>
                    <a:pt x="1470761" y="666051"/>
                  </a:lnTo>
                  <a:lnTo>
                    <a:pt x="1471155" y="666750"/>
                  </a:lnTo>
                  <a:lnTo>
                    <a:pt x="1471612" y="667982"/>
                  </a:lnTo>
                  <a:lnTo>
                    <a:pt x="1472006" y="668731"/>
                  </a:lnTo>
                  <a:lnTo>
                    <a:pt x="1472247" y="668731"/>
                  </a:lnTo>
                  <a:lnTo>
                    <a:pt x="1472450" y="669328"/>
                  </a:lnTo>
                  <a:lnTo>
                    <a:pt x="1472691" y="669975"/>
                  </a:lnTo>
                  <a:lnTo>
                    <a:pt x="1473098" y="669975"/>
                  </a:lnTo>
                  <a:lnTo>
                    <a:pt x="1473200" y="670610"/>
                  </a:lnTo>
                  <a:lnTo>
                    <a:pt x="1473390" y="670610"/>
                  </a:lnTo>
                  <a:lnTo>
                    <a:pt x="1473542" y="671309"/>
                  </a:lnTo>
                  <a:lnTo>
                    <a:pt x="1473695" y="671309"/>
                  </a:lnTo>
                  <a:lnTo>
                    <a:pt x="1474088" y="671957"/>
                  </a:lnTo>
                  <a:lnTo>
                    <a:pt x="1474381" y="672604"/>
                  </a:lnTo>
                  <a:lnTo>
                    <a:pt x="1474685" y="673189"/>
                  </a:lnTo>
                  <a:lnTo>
                    <a:pt x="1474825" y="673189"/>
                  </a:lnTo>
                  <a:lnTo>
                    <a:pt x="1475028" y="673887"/>
                  </a:lnTo>
                  <a:lnTo>
                    <a:pt x="1475231" y="673887"/>
                  </a:lnTo>
                  <a:lnTo>
                    <a:pt x="1475422" y="674535"/>
                  </a:lnTo>
                  <a:lnTo>
                    <a:pt x="1475625" y="674535"/>
                  </a:lnTo>
                  <a:lnTo>
                    <a:pt x="1475917" y="675183"/>
                  </a:lnTo>
                  <a:lnTo>
                    <a:pt x="1476273" y="675183"/>
                  </a:lnTo>
                  <a:lnTo>
                    <a:pt x="1476375" y="675818"/>
                  </a:lnTo>
                  <a:lnTo>
                    <a:pt x="1476514" y="675818"/>
                  </a:lnTo>
                  <a:lnTo>
                    <a:pt x="1476819" y="676516"/>
                  </a:lnTo>
                  <a:lnTo>
                    <a:pt x="1477213" y="677164"/>
                  </a:lnTo>
                  <a:lnTo>
                    <a:pt x="1477416" y="677164"/>
                  </a:lnTo>
                  <a:lnTo>
                    <a:pt x="1477657" y="677811"/>
                  </a:lnTo>
                  <a:lnTo>
                    <a:pt x="1477962" y="678497"/>
                  </a:lnTo>
                  <a:lnTo>
                    <a:pt x="1478305" y="678497"/>
                  </a:lnTo>
                  <a:lnTo>
                    <a:pt x="1478406" y="679094"/>
                  </a:lnTo>
                  <a:lnTo>
                    <a:pt x="1478648" y="679094"/>
                  </a:lnTo>
                  <a:lnTo>
                    <a:pt x="1478851" y="679742"/>
                  </a:lnTo>
                  <a:lnTo>
                    <a:pt x="1479092" y="679742"/>
                  </a:lnTo>
                  <a:lnTo>
                    <a:pt x="1479296" y="680389"/>
                  </a:lnTo>
                  <a:lnTo>
                    <a:pt x="1479588" y="680389"/>
                  </a:lnTo>
                  <a:lnTo>
                    <a:pt x="1479791" y="681088"/>
                  </a:lnTo>
                  <a:lnTo>
                    <a:pt x="1479994" y="681088"/>
                  </a:lnTo>
                  <a:lnTo>
                    <a:pt x="1480134" y="681723"/>
                  </a:lnTo>
                  <a:lnTo>
                    <a:pt x="1480438" y="681723"/>
                  </a:lnTo>
                  <a:lnTo>
                    <a:pt x="1480680" y="682371"/>
                  </a:lnTo>
                  <a:lnTo>
                    <a:pt x="1480934" y="682371"/>
                  </a:lnTo>
                  <a:lnTo>
                    <a:pt x="1481086" y="683018"/>
                  </a:lnTo>
                  <a:lnTo>
                    <a:pt x="1481378" y="683018"/>
                  </a:lnTo>
                  <a:lnTo>
                    <a:pt x="1481772" y="683717"/>
                  </a:lnTo>
                  <a:lnTo>
                    <a:pt x="1482077" y="684301"/>
                  </a:lnTo>
                  <a:lnTo>
                    <a:pt x="1482267" y="684301"/>
                  </a:lnTo>
                  <a:lnTo>
                    <a:pt x="1483067" y="685596"/>
                  </a:lnTo>
                  <a:lnTo>
                    <a:pt x="1483169" y="685596"/>
                  </a:lnTo>
                  <a:lnTo>
                    <a:pt x="1483360" y="686295"/>
                  </a:lnTo>
                  <a:lnTo>
                    <a:pt x="1483804" y="686295"/>
                  </a:lnTo>
                  <a:lnTo>
                    <a:pt x="1483906" y="686930"/>
                  </a:lnTo>
                  <a:lnTo>
                    <a:pt x="1484261" y="686930"/>
                  </a:lnTo>
                  <a:lnTo>
                    <a:pt x="1484350" y="687578"/>
                  </a:lnTo>
                  <a:lnTo>
                    <a:pt x="1484807" y="687578"/>
                  </a:lnTo>
                  <a:lnTo>
                    <a:pt x="1484998" y="688175"/>
                  </a:lnTo>
                  <a:lnTo>
                    <a:pt x="1485252" y="688175"/>
                  </a:lnTo>
                  <a:lnTo>
                    <a:pt x="1485442" y="688924"/>
                  </a:lnTo>
                  <a:lnTo>
                    <a:pt x="1485798" y="688924"/>
                  </a:lnTo>
                  <a:lnTo>
                    <a:pt x="1486090" y="689521"/>
                  </a:lnTo>
                  <a:lnTo>
                    <a:pt x="1486344" y="689521"/>
                  </a:lnTo>
                  <a:lnTo>
                    <a:pt x="1486484" y="690156"/>
                  </a:lnTo>
                  <a:lnTo>
                    <a:pt x="1486839" y="690156"/>
                  </a:lnTo>
                  <a:lnTo>
                    <a:pt x="1487030" y="690854"/>
                  </a:lnTo>
                  <a:lnTo>
                    <a:pt x="1487487" y="690854"/>
                  </a:lnTo>
                  <a:lnTo>
                    <a:pt x="1487627" y="691502"/>
                  </a:lnTo>
                  <a:lnTo>
                    <a:pt x="1487982" y="691502"/>
                  </a:lnTo>
                  <a:lnTo>
                    <a:pt x="1488122" y="692150"/>
                  </a:lnTo>
                  <a:lnTo>
                    <a:pt x="1488566" y="692150"/>
                  </a:lnTo>
                  <a:lnTo>
                    <a:pt x="1488668" y="692785"/>
                  </a:lnTo>
                  <a:lnTo>
                    <a:pt x="1489024" y="692785"/>
                  </a:lnTo>
                  <a:lnTo>
                    <a:pt x="1489468" y="693483"/>
                  </a:lnTo>
                  <a:lnTo>
                    <a:pt x="1489760" y="693483"/>
                  </a:lnTo>
                  <a:lnTo>
                    <a:pt x="1490205" y="694131"/>
                  </a:lnTo>
                  <a:lnTo>
                    <a:pt x="1490256" y="694131"/>
                  </a:lnTo>
                  <a:lnTo>
                    <a:pt x="1490408" y="694728"/>
                  </a:lnTo>
                  <a:lnTo>
                    <a:pt x="1491005" y="694728"/>
                  </a:lnTo>
                  <a:lnTo>
                    <a:pt x="1491246" y="695375"/>
                  </a:lnTo>
                  <a:lnTo>
                    <a:pt x="1491602" y="695375"/>
                  </a:lnTo>
                  <a:lnTo>
                    <a:pt x="1491792" y="696061"/>
                  </a:lnTo>
                  <a:lnTo>
                    <a:pt x="1492199" y="696061"/>
                  </a:lnTo>
                  <a:lnTo>
                    <a:pt x="1492389" y="696709"/>
                  </a:lnTo>
                  <a:lnTo>
                    <a:pt x="1492935" y="696709"/>
                  </a:lnTo>
                  <a:lnTo>
                    <a:pt x="1493138" y="697357"/>
                  </a:lnTo>
                  <a:lnTo>
                    <a:pt x="1493583" y="697357"/>
                  </a:lnTo>
                  <a:lnTo>
                    <a:pt x="1493634" y="698004"/>
                  </a:lnTo>
                  <a:lnTo>
                    <a:pt x="1494231" y="698004"/>
                  </a:lnTo>
                  <a:lnTo>
                    <a:pt x="1494332" y="698690"/>
                  </a:lnTo>
                  <a:lnTo>
                    <a:pt x="1494916" y="698690"/>
                  </a:lnTo>
                  <a:lnTo>
                    <a:pt x="1495018" y="699287"/>
                  </a:lnTo>
                  <a:lnTo>
                    <a:pt x="1495818" y="699287"/>
                  </a:lnTo>
                  <a:lnTo>
                    <a:pt x="1495869" y="699935"/>
                  </a:lnTo>
                  <a:lnTo>
                    <a:pt x="1496555" y="699935"/>
                  </a:lnTo>
                  <a:lnTo>
                    <a:pt x="1496707" y="700583"/>
                  </a:lnTo>
                  <a:lnTo>
                    <a:pt x="1497406" y="700583"/>
                  </a:lnTo>
                  <a:lnTo>
                    <a:pt x="1497507" y="701268"/>
                  </a:lnTo>
                  <a:lnTo>
                    <a:pt x="1498193" y="701268"/>
                  </a:lnTo>
                  <a:lnTo>
                    <a:pt x="1498346" y="701916"/>
                  </a:lnTo>
                  <a:lnTo>
                    <a:pt x="1499184" y="701916"/>
                  </a:lnTo>
                  <a:lnTo>
                    <a:pt x="1499285" y="702564"/>
                  </a:lnTo>
                  <a:lnTo>
                    <a:pt x="1500187" y="702564"/>
                  </a:lnTo>
                  <a:lnTo>
                    <a:pt x="1500187" y="703262"/>
                  </a:lnTo>
                  <a:lnTo>
                    <a:pt x="1501127" y="703262"/>
                  </a:lnTo>
                  <a:lnTo>
                    <a:pt x="1501127" y="703897"/>
                  </a:lnTo>
                  <a:lnTo>
                    <a:pt x="1502219" y="703897"/>
                  </a:lnTo>
                  <a:lnTo>
                    <a:pt x="1502270" y="704494"/>
                  </a:lnTo>
                  <a:lnTo>
                    <a:pt x="1503362" y="704494"/>
                  </a:lnTo>
                  <a:lnTo>
                    <a:pt x="1503400" y="705142"/>
                  </a:lnTo>
                  <a:lnTo>
                    <a:pt x="1504543" y="705142"/>
                  </a:lnTo>
                  <a:lnTo>
                    <a:pt x="1504645" y="705840"/>
                  </a:lnTo>
                  <a:lnTo>
                    <a:pt x="1505991" y="705840"/>
                  </a:lnTo>
                  <a:lnTo>
                    <a:pt x="1506232" y="706488"/>
                  </a:lnTo>
                  <a:lnTo>
                    <a:pt x="1507477" y="706488"/>
                  </a:lnTo>
                  <a:lnTo>
                    <a:pt x="1507578" y="707123"/>
                  </a:lnTo>
                  <a:lnTo>
                    <a:pt x="1509255" y="707123"/>
                  </a:lnTo>
                  <a:lnTo>
                    <a:pt x="1509255" y="707771"/>
                  </a:lnTo>
                  <a:lnTo>
                    <a:pt x="1511300" y="707771"/>
                  </a:lnTo>
                  <a:lnTo>
                    <a:pt x="1511490" y="708469"/>
                  </a:lnTo>
                  <a:lnTo>
                    <a:pt x="1513725" y="708469"/>
                  </a:lnTo>
                  <a:lnTo>
                    <a:pt x="1513928" y="709117"/>
                  </a:lnTo>
                  <a:lnTo>
                    <a:pt x="1517192" y="709117"/>
                  </a:lnTo>
                  <a:lnTo>
                    <a:pt x="1517688" y="709701"/>
                  </a:lnTo>
                  <a:lnTo>
                    <a:pt x="1532978" y="709701"/>
                  </a:lnTo>
                  <a:lnTo>
                    <a:pt x="1533016" y="709117"/>
                  </a:lnTo>
                  <a:lnTo>
                    <a:pt x="1537195" y="709117"/>
                  </a:lnTo>
                  <a:lnTo>
                    <a:pt x="1537436" y="708469"/>
                  </a:lnTo>
                  <a:lnTo>
                    <a:pt x="1540560" y="708469"/>
                  </a:lnTo>
                  <a:lnTo>
                    <a:pt x="1540713" y="707771"/>
                  </a:lnTo>
                  <a:lnTo>
                    <a:pt x="1543291" y="707771"/>
                  </a:lnTo>
                  <a:lnTo>
                    <a:pt x="1543685" y="707123"/>
                  </a:lnTo>
                  <a:lnTo>
                    <a:pt x="1545767" y="707123"/>
                  </a:lnTo>
                  <a:lnTo>
                    <a:pt x="1546225" y="706488"/>
                  </a:lnTo>
                  <a:lnTo>
                    <a:pt x="1548307" y="706488"/>
                  </a:lnTo>
                  <a:lnTo>
                    <a:pt x="1548701" y="705840"/>
                  </a:lnTo>
                  <a:lnTo>
                    <a:pt x="1550479" y="705840"/>
                  </a:lnTo>
                  <a:lnTo>
                    <a:pt x="1550581" y="705142"/>
                  </a:lnTo>
                  <a:lnTo>
                    <a:pt x="1552524" y="705142"/>
                  </a:lnTo>
                  <a:lnTo>
                    <a:pt x="1552575" y="704494"/>
                  </a:lnTo>
                  <a:lnTo>
                    <a:pt x="1554556" y="704494"/>
                  </a:lnTo>
                  <a:lnTo>
                    <a:pt x="1554606" y="703897"/>
                  </a:lnTo>
                  <a:lnTo>
                    <a:pt x="1556435" y="703897"/>
                  </a:lnTo>
                  <a:lnTo>
                    <a:pt x="1556435" y="703262"/>
                  </a:lnTo>
                  <a:lnTo>
                    <a:pt x="1557972" y="703262"/>
                  </a:lnTo>
                  <a:lnTo>
                    <a:pt x="1558671" y="702564"/>
                  </a:lnTo>
                  <a:lnTo>
                    <a:pt x="1560055" y="702564"/>
                  </a:lnTo>
                  <a:lnTo>
                    <a:pt x="1560461" y="701916"/>
                  </a:lnTo>
                  <a:lnTo>
                    <a:pt x="1561795" y="701916"/>
                  </a:lnTo>
                  <a:lnTo>
                    <a:pt x="1562049" y="701268"/>
                  </a:lnTo>
                  <a:lnTo>
                    <a:pt x="1563433" y="701268"/>
                  </a:lnTo>
                  <a:lnTo>
                    <a:pt x="1563687" y="700583"/>
                  </a:lnTo>
                  <a:lnTo>
                    <a:pt x="1565224" y="700583"/>
                  </a:lnTo>
                  <a:lnTo>
                    <a:pt x="1565275" y="699935"/>
                  </a:lnTo>
                  <a:lnTo>
                    <a:pt x="1567002" y="699935"/>
                  </a:lnTo>
                  <a:lnTo>
                    <a:pt x="1567002" y="699287"/>
                  </a:lnTo>
                  <a:lnTo>
                    <a:pt x="1568589" y="699287"/>
                  </a:lnTo>
                  <a:lnTo>
                    <a:pt x="1568792" y="698690"/>
                  </a:lnTo>
                  <a:lnTo>
                    <a:pt x="1570075" y="698690"/>
                  </a:lnTo>
                  <a:lnTo>
                    <a:pt x="1570278" y="698004"/>
                  </a:lnTo>
                  <a:lnTo>
                    <a:pt x="1571663" y="698004"/>
                  </a:lnTo>
                  <a:lnTo>
                    <a:pt x="1571815" y="697357"/>
                  </a:lnTo>
                  <a:lnTo>
                    <a:pt x="1573110" y="697357"/>
                  </a:lnTo>
                  <a:lnTo>
                    <a:pt x="1573606" y="696709"/>
                  </a:lnTo>
                  <a:lnTo>
                    <a:pt x="1574838" y="696709"/>
                  </a:lnTo>
                  <a:lnTo>
                    <a:pt x="1575041" y="696061"/>
                  </a:lnTo>
                  <a:lnTo>
                    <a:pt x="1576336" y="696061"/>
                  </a:lnTo>
                  <a:lnTo>
                    <a:pt x="1577022" y="695375"/>
                  </a:lnTo>
                  <a:lnTo>
                    <a:pt x="1577924" y="695375"/>
                  </a:lnTo>
                  <a:lnTo>
                    <a:pt x="1578013" y="694728"/>
                  </a:lnTo>
                  <a:lnTo>
                    <a:pt x="1579460" y="694728"/>
                  </a:lnTo>
                  <a:lnTo>
                    <a:pt x="1579460" y="694131"/>
                  </a:lnTo>
                  <a:lnTo>
                    <a:pt x="1580896" y="694131"/>
                  </a:lnTo>
                  <a:lnTo>
                    <a:pt x="1580946" y="693483"/>
                  </a:lnTo>
                  <a:lnTo>
                    <a:pt x="1582331" y="693483"/>
                  </a:lnTo>
                  <a:lnTo>
                    <a:pt x="1582432" y="692785"/>
                  </a:lnTo>
                  <a:lnTo>
                    <a:pt x="1583778" y="692785"/>
                  </a:lnTo>
                  <a:lnTo>
                    <a:pt x="1584020" y="692150"/>
                  </a:lnTo>
                  <a:lnTo>
                    <a:pt x="1584960" y="692150"/>
                  </a:lnTo>
                  <a:lnTo>
                    <a:pt x="1585213" y="691502"/>
                  </a:lnTo>
                  <a:lnTo>
                    <a:pt x="1586598" y="691502"/>
                  </a:lnTo>
                  <a:lnTo>
                    <a:pt x="1586649" y="690854"/>
                  </a:lnTo>
                  <a:lnTo>
                    <a:pt x="1587741" y="690854"/>
                  </a:lnTo>
                  <a:lnTo>
                    <a:pt x="1587995" y="690156"/>
                  </a:lnTo>
                  <a:lnTo>
                    <a:pt x="1589430" y="690156"/>
                  </a:lnTo>
                  <a:lnTo>
                    <a:pt x="1589481" y="689521"/>
                  </a:lnTo>
                  <a:lnTo>
                    <a:pt x="1590814" y="689521"/>
                  </a:lnTo>
                  <a:lnTo>
                    <a:pt x="1590814" y="688924"/>
                  </a:lnTo>
                  <a:lnTo>
                    <a:pt x="1591856" y="688924"/>
                  </a:lnTo>
                  <a:lnTo>
                    <a:pt x="1592402" y="688175"/>
                  </a:lnTo>
                  <a:lnTo>
                    <a:pt x="1593151" y="688175"/>
                  </a:lnTo>
                  <a:lnTo>
                    <a:pt x="1593799" y="687578"/>
                  </a:lnTo>
                  <a:lnTo>
                    <a:pt x="1594980" y="687578"/>
                  </a:lnTo>
                  <a:lnTo>
                    <a:pt x="1594980" y="686930"/>
                  </a:lnTo>
                  <a:lnTo>
                    <a:pt x="1596275" y="686930"/>
                  </a:lnTo>
                  <a:lnTo>
                    <a:pt x="1596478" y="686295"/>
                  </a:lnTo>
                  <a:lnTo>
                    <a:pt x="1597660" y="686295"/>
                  </a:lnTo>
                  <a:lnTo>
                    <a:pt x="1598206" y="685596"/>
                  </a:lnTo>
                  <a:lnTo>
                    <a:pt x="1599196" y="685596"/>
                  </a:lnTo>
                  <a:lnTo>
                    <a:pt x="1599247" y="684949"/>
                  </a:lnTo>
                  <a:lnTo>
                    <a:pt x="1600593" y="684949"/>
                  </a:lnTo>
                  <a:lnTo>
                    <a:pt x="1600644" y="684301"/>
                  </a:lnTo>
                  <a:lnTo>
                    <a:pt x="1601927" y="684301"/>
                  </a:lnTo>
                  <a:lnTo>
                    <a:pt x="1602181" y="683717"/>
                  </a:lnTo>
                  <a:lnTo>
                    <a:pt x="1603413" y="683717"/>
                  </a:lnTo>
                  <a:lnTo>
                    <a:pt x="1604263" y="683018"/>
                  </a:lnTo>
                  <a:lnTo>
                    <a:pt x="1604860" y="683018"/>
                  </a:lnTo>
                  <a:lnTo>
                    <a:pt x="1604911" y="682371"/>
                  </a:lnTo>
                  <a:lnTo>
                    <a:pt x="1606143" y="682371"/>
                  </a:lnTo>
                  <a:lnTo>
                    <a:pt x="1606499" y="681723"/>
                  </a:lnTo>
                  <a:lnTo>
                    <a:pt x="1606740" y="681723"/>
                  </a:lnTo>
                  <a:lnTo>
                    <a:pt x="1607731" y="681088"/>
                  </a:lnTo>
                  <a:lnTo>
                    <a:pt x="1609077" y="681088"/>
                  </a:lnTo>
                  <a:lnTo>
                    <a:pt x="1609267" y="680389"/>
                  </a:lnTo>
                  <a:lnTo>
                    <a:pt x="1610613" y="680389"/>
                  </a:lnTo>
                  <a:lnTo>
                    <a:pt x="1610613" y="679742"/>
                  </a:lnTo>
                  <a:lnTo>
                    <a:pt x="1611998" y="679742"/>
                  </a:lnTo>
                  <a:lnTo>
                    <a:pt x="1612049" y="679094"/>
                  </a:lnTo>
                  <a:lnTo>
                    <a:pt x="1613344" y="679094"/>
                  </a:lnTo>
                  <a:lnTo>
                    <a:pt x="1613585" y="678497"/>
                  </a:lnTo>
                  <a:lnTo>
                    <a:pt x="1614931" y="678497"/>
                  </a:lnTo>
                  <a:lnTo>
                    <a:pt x="1614982" y="677811"/>
                  </a:lnTo>
                  <a:lnTo>
                    <a:pt x="1616214" y="677811"/>
                  </a:lnTo>
                  <a:lnTo>
                    <a:pt x="1617014" y="677164"/>
                  </a:lnTo>
                  <a:lnTo>
                    <a:pt x="1617903" y="677164"/>
                  </a:lnTo>
                  <a:lnTo>
                    <a:pt x="1617903" y="676516"/>
                  </a:lnTo>
                  <a:lnTo>
                    <a:pt x="1619389" y="676516"/>
                  </a:lnTo>
                  <a:lnTo>
                    <a:pt x="1619440" y="675818"/>
                  </a:lnTo>
                  <a:lnTo>
                    <a:pt x="1620837" y="675818"/>
                  </a:lnTo>
                  <a:lnTo>
                    <a:pt x="1621028" y="675183"/>
                  </a:lnTo>
                  <a:lnTo>
                    <a:pt x="1621967" y="675183"/>
                  </a:lnTo>
                  <a:lnTo>
                    <a:pt x="1622564" y="674535"/>
                  </a:lnTo>
                  <a:lnTo>
                    <a:pt x="1622767" y="674535"/>
                  </a:lnTo>
                  <a:lnTo>
                    <a:pt x="1624203" y="673887"/>
                  </a:lnTo>
                  <a:lnTo>
                    <a:pt x="1625295" y="673887"/>
                  </a:lnTo>
                  <a:lnTo>
                    <a:pt x="1625739" y="673189"/>
                  </a:lnTo>
                  <a:lnTo>
                    <a:pt x="1626641" y="673189"/>
                  </a:lnTo>
                  <a:lnTo>
                    <a:pt x="1627187" y="672604"/>
                  </a:lnTo>
                  <a:lnTo>
                    <a:pt x="1628368" y="672604"/>
                  </a:lnTo>
                  <a:lnTo>
                    <a:pt x="1628965" y="671957"/>
                  </a:lnTo>
                  <a:lnTo>
                    <a:pt x="1629905" y="671957"/>
                  </a:lnTo>
                  <a:lnTo>
                    <a:pt x="1629956" y="671309"/>
                  </a:lnTo>
                  <a:lnTo>
                    <a:pt x="1631492" y="671309"/>
                  </a:lnTo>
                  <a:lnTo>
                    <a:pt x="1631543" y="670610"/>
                  </a:lnTo>
                  <a:lnTo>
                    <a:pt x="1633029" y="670610"/>
                  </a:lnTo>
                  <a:lnTo>
                    <a:pt x="1633029" y="669975"/>
                  </a:lnTo>
                  <a:lnTo>
                    <a:pt x="1634616" y="669975"/>
                  </a:lnTo>
                  <a:lnTo>
                    <a:pt x="1634921" y="669328"/>
                  </a:lnTo>
                  <a:lnTo>
                    <a:pt x="1636166" y="669328"/>
                  </a:lnTo>
                  <a:lnTo>
                    <a:pt x="1636204" y="668731"/>
                  </a:lnTo>
                  <a:lnTo>
                    <a:pt x="1637753" y="668731"/>
                  </a:lnTo>
                  <a:lnTo>
                    <a:pt x="1637753" y="667982"/>
                  </a:lnTo>
                  <a:lnTo>
                    <a:pt x="1639239" y="667982"/>
                  </a:lnTo>
                  <a:lnTo>
                    <a:pt x="1639430" y="667385"/>
                  </a:lnTo>
                  <a:lnTo>
                    <a:pt x="1640827" y="667385"/>
                  </a:lnTo>
                  <a:lnTo>
                    <a:pt x="1641475" y="666750"/>
                  </a:lnTo>
                  <a:lnTo>
                    <a:pt x="1642414" y="666750"/>
                  </a:lnTo>
                  <a:lnTo>
                    <a:pt x="1642516" y="666051"/>
                  </a:lnTo>
                  <a:lnTo>
                    <a:pt x="1643900" y="666051"/>
                  </a:lnTo>
                  <a:lnTo>
                    <a:pt x="1644243" y="665404"/>
                  </a:lnTo>
                  <a:lnTo>
                    <a:pt x="1645691" y="665404"/>
                  </a:lnTo>
                  <a:lnTo>
                    <a:pt x="1645691" y="664756"/>
                  </a:lnTo>
                  <a:lnTo>
                    <a:pt x="1647075" y="664756"/>
                  </a:lnTo>
                  <a:lnTo>
                    <a:pt x="1647774" y="664121"/>
                  </a:lnTo>
                  <a:lnTo>
                    <a:pt x="1648663" y="664121"/>
                  </a:lnTo>
                  <a:lnTo>
                    <a:pt x="1648955" y="663422"/>
                  </a:lnTo>
                  <a:lnTo>
                    <a:pt x="1650491" y="663422"/>
                  </a:lnTo>
                  <a:lnTo>
                    <a:pt x="1650491" y="662775"/>
                  </a:lnTo>
                  <a:lnTo>
                    <a:pt x="1651736" y="662775"/>
                  </a:lnTo>
                  <a:lnTo>
                    <a:pt x="1652181" y="662178"/>
                  </a:lnTo>
                  <a:lnTo>
                    <a:pt x="1653717" y="662178"/>
                  </a:lnTo>
                  <a:lnTo>
                    <a:pt x="1653768" y="661530"/>
                  </a:lnTo>
                  <a:lnTo>
                    <a:pt x="1655254" y="661530"/>
                  </a:lnTo>
                  <a:lnTo>
                    <a:pt x="1655559" y="660844"/>
                  </a:lnTo>
                  <a:lnTo>
                    <a:pt x="1656943" y="660844"/>
                  </a:lnTo>
                  <a:lnTo>
                    <a:pt x="1657248" y="660196"/>
                  </a:lnTo>
                  <a:lnTo>
                    <a:pt x="1658632" y="660196"/>
                  </a:lnTo>
                  <a:lnTo>
                    <a:pt x="1658683" y="659549"/>
                  </a:lnTo>
                  <a:lnTo>
                    <a:pt x="1660271" y="659549"/>
                  </a:lnTo>
                  <a:lnTo>
                    <a:pt x="1660321" y="658901"/>
                  </a:lnTo>
                  <a:lnTo>
                    <a:pt x="1661464" y="658901"/>
                  </a:lnTo>
                  <a:lnTo>
                    <a:pt x="1662747" y="658215"/>
                  </a:lnTo>
                  <a:lnTo>
                    <a:pt x="1663649" y="658215"/>
                  </a:lnTo>
                  <a:lnTo>
                    <a:pt x="1663839" y="657618"/>
                  </a:lnTo>
                  <a:lnTo>
                    <a:pt x="1665236" y="657618"/>
                  </a:lnTo>
                  <a:lnTo>
                    <a:pt x="1665427" y="656971"/>
                  </a:lnTo>
                  <a:lnTo>
                    <a:pt x="1666913" y="656971"/>
                  </a:lnTo>
                  <a:lnTo>
                    <a:pt x="1667116" y="656323"/>
                  </a:lnTo>
                  <a:lnTo>
                    <a:pt x="1668500" y="656323"/>
                  </a:lnTo>
                  <a:lnTo>
                    <a:pt x="1668703" y="655637"/>
                  </a:lnTo>
                  <a:lnTo>
                    <a:pt x="1670392" y="655637"/>
                  </a:lnTo>
                  <a:lnTo>
                    <a:pt x="1670494" y="654989"/>
                  </a:lnTo>
                  <a:lnTo>
                    <a:pt x="1672031" y="654989"/>
                  </a:lnTo>
                  <a:lnTo>
                    <a:pt x="1672818" y="654342"/>
                  </a:lnTo>
                  <a:lnTo>
                    <a:pt x="1673860" y="654342"/>
                  </a:lnTo>
                  <a:lnTo>
                    <a:pt x="1674266" y="653643"/>
                  </a:lnTo>
                  <a:lnTo>
                    <a:pt x="1675307" y="653643"/>
                  </a:lnTo>
                  <a:lnTo>
                    <a:pt x="1675650" y="653008"/>
                  </a:lnTo>
                  <a:lnTo>
                    <a:pt x="1677288" y="653008"/>
                  </a:lnTo>
                  <a:lnTo>
                    <a:pt x="1677339" y="652411"/>
                  </a:lnTo>
                  <a:lnTo>
                    <a:pt x="1679066" y="652411"/>
                  </a:lnTo>
                  <a:lnTo>
                    <a:pt x="1679168" y="651764"/>
                  </a:lnTo>
                  <a:lnTo>
                    <a:pt x="1680857" y="651764"/>
                  </a:lnTo>
                  <a:lnTo>
                    <a:pt x="1680908" y="651065"/>
                  </a:lnTo>
                  <a:lnTo>
                    <a:pt x="1682241" y="651065"/>
                  </a:lnTo>
                  <a:lnTo>
                    <a:pt x="1682750" y="650418"/>
                  </a:lnTo>
                  <a:lnTo>
                    <a:pt x="1684134" y="650418"/>
                  </a:lnTo>
                  <a:lnTo>
                    <a:pt x="1684477" y="649783"/>
                  </a:lnTo>
                  <a:lnTo>
                    <a:pt x="1686267" y="649783"/>
                  </a:lnTo>
                  <a:lnTo>
                    <a:pt x="1686369" y="649135"/>
                  </a:lnTo>
                  <a:lnTo>
                    <a:pt x="1688096" y="649135"/>
                  </a:lnTo>
                  <a:lnTo>
                    <a:pt x="1688198" y="648436"/>
                  </a:lnTo>
                  <a:lnTo>
                    <a:pt x="1689938" y="648436"/>
                  </a:lnTo>
                  <a:lnTo>
                    <a:pt x="1689988" y="647789"/>
                  </a:lnTo>
                  <a:lnTo>
                    <a:pt x="1691766" y="647789"/>
                  </a:lnTo>
                  <a:lnTo>
                    <a:pt x="1691817" y="647204"/>
                  </a:lnTo>
                  <a:lnTo>
                    <a:pt x="1693011" y="647204"/>
                  </a:lnTo>
                  <a:lnTo>
                    <a:pt x="1693760" y="646557"/>
                  </a:lnTo>
                  <a:lnTo>
                    <a:pt x="1695246" y="646557"/>
                  </a:lnTo>
                  <a:lnTo>
                    <a:pt x="1695792" y="645858"/>
                  </a:lnTo>
                  <a:lnTo>
                    <a:pt x="1697532" y="645858"/>
                  </a:lnTo>
                  <a:lnTo>
                    <a:pt x="1697532" y="645210"/>
                  </a:lnTo>
                  <a:lnTo>
                    <a:pt x="1699463" y="645210"/>
                  </a:lnTo>
                  <a:lnTo>
                    <a:pt x="1699513" y="644575"/>
                  </a:lnTo>
                  <a:lnTo>
                    <a:pt x="1701495" y="644575"/>
                  </a:lnTo>
                  <a:lnTo>
                    <a:pt x="1701495" y="643928"/>
                  </a:lnTo>
                  <a:lnTo>
                    <a:pt x="1703425" y="643928"/>
                  </a:lnTo>
                  <a:lnTo>
                    <a:pt x="1703425" y="643229"/>
                  </a:lnTo>
                  <a:lnTo>
                    <a:pt x="1705419" y="643229"/>
                  </a:lnTo>
                  <a:lnTo>
                    <a:pt x="1705559" y="642582"/>
                  </a:lnTo>
                  <a:lnTo>
                    <a:pt x="1707502" y="642582"/>
                  </a:lnTo>
                  <a:lnTo>
                    <a:pt x="1707603" y="641985"/>
                  </a:lnTo>
                  <a:lnTo>
                    <a:pt x="1709432" y="641985"/>
                  </a:lnTo>
                  <a:lnTo>
                    <a:pt x="1709686" y="641299"/>
                  </a:lnTo>
                  <a:lnTo>
                    <a:pt x="1711515" y="641299"/>
                  </a:lnTo>
                  <a:lnTo>
                    <a:pt x="1711960" y="640651"/>
                  </a:lnTo>
                  <a:lnTo>
                    <a:pt x="1713750" y="640651"/>
                  </a:lnTo>
                  <a:lnTo>
                    <a:pt x="1713991" y="640004"/>
                  </a:lnTo>
                  <a:lnTo>
                    <a:pt x="1715388" y="640004"/>
                  </a:lnTo>
                  <a:lnTo>
                    <a:pt x="1716278" y="639356"/>
                  </a:lnTo>
                  <a:lnTo>
                    <a:pt x="1717916" y="639356"/>
                  </a:lnTo>
                  <a:lnTo>
                    <a:pt x="1718310" y="638670"/>
                  </a:lnTo>
                  <a:lnTo>
                    <a:pt x="1720151" y="638670"/>
                  </a:lnTo>
                  <a:lnTo>
                    <a:pt x="1720888" y="638022"/>
                  </a:lnTo>
                  <a:lnTo>
                    <a:pt x="1722386" y="638022"/>
                  </a:lnTo>
                  <a:lnTo>
                    <a:pt x="1722437" y="637375"/>
                  </a:lnTo>
                  <a:lnTo>
                    <a:pt x="1724367" y="637375"/>
                  </a:lnTo>
                  <a:lnTo>
                    <a:pt x="1724660" y="636778"/>
                  </a:lnTo>
                  <a:lnTo>
                    <a:pt x="1726793" y="636778"/>
                  </a:lnTo>
                  <a:lnTo>
                    <a:pt x="1726895" y="636092"/>
                  </a:lnTo>
                  <a:lnTo>
                    <a:pt x="1728825" y="636092"/>
                  </a:lnTo>
                  <a:lnTo>
                    <a:pt x="1729181" y="635444"/>
                  </a:lnTo>
                  <a:lnTo>
                    <a:pt x="1731010" y="635444"/>
                  </a:lnTo>
                  <a:lnTo>
                    <a:pt x="1731657" y="634796"/>
                  </a:lnTo>
                  <a:lnTo>
                    <a:pt x="1733689" y="634796"/>
                  </a:lnTo>
                  <a:lnTo>
                    <a:pt x="1733740" y="634149"/>
                  </a:lnTo>
                  <a:lnTo>
                    <a:pt x="1735874" y="634149"/>
                  </a:lnTo>
                  <a:lnTo>
                    <a:pt x="1736026" y="633463"/>
                  </a:lnTo>
                  <a:lnTo>
                    <a:pt x="1738312" y="633463"/>
                  </a:lnTo>
                  <a:lnTo>
                    <a:pt x="1738350" y="632815"/>
                  </a:lnTo>
                  <a:lnTo>
                    <a:pt x="1740738" y="632815"/>
                  </a:lnTo>
                  <a:lnTo>
                    <a:pt x="1740979" y="632218"/>
                  </a:lnTo>
                  <a:lnTo>
                    <a:pt x="1742668" y="632218"/>
                  </a:lnTo>
                  <a:lnTo>
                    <a:pt x="1744205" y="631571"/>
                  </a:lnTo>
                  <a:lnTo>
                    <a:pt x="1745551" y="631571"/>
                  </a:lnTo>
                  <a:lnTo>
                    <a:pt x="1745602" y="630872"/>
                  </a:lnTo>
                  <a:lnTo>
                    <a:pt x="1747875" y="630872"/>
                  </a:lnTo>
                  <a:lnTo>
                    <a:pt x="1748281" y="630237"/>
                  </a:lnTo>
                  <a:lnTo>
                    <a:pt x="1750504" y="630237"/>
                  </a:lnTo>
                  <a:lnTo>
                    <a:pt x="1750555" y="629589"/>
                  </a:lnTo>
                  <a:lnTo>
                    <a:pt x="1752942" y="629589"/>
                  </a:lnTo>
                  <a:lnTo>
                    <a:pt x="1753488" y="628891"/>
                  </a:lnTo>
                  <a:lnTo>
                    <a:pt x="1755571" y="628891"/>
                  </a:lnTo>
                  <a:lnTo>
                    <a:pt x="1755571" y="628243"/>
                  </a:lnTo>
                  <a:lnTo>
                    <a:pt x="1757159" y="628243"/>
                  </a:lnTo>
                  <a:lnTo>
                    <a:pt x="1758441" y="627608"/>
                  </a:lnTo>
                  <a:lnTo>
                    <a:pt x="1760728" y="627608"/>
                  </a:lnTo>
                  <a:lnTo>
                    <a:pt x="1760778" y="627011"/>
                  </a:lnTo>
                  <a:lnTo>
                    <a:pt x="1763204" y="627011"/>
                  </a:lnTo>
                  <a:lnTo>
                    <a:pt x="1763407" y="626262"/>
                  </a:lnTo>
                  <a:lnTo>
                    <a:pt x="1765490" y="626262"/>
                  </a:lnTo>
                  <a:lnTo>
                    <a:pt x="1766379" y="625665"/>
                  </a:lnTo>
                  <a:lnTo>
                    <a:pt x="1768017" y="625665"/>
                  </a:lnTo>
                  <a:lnTo>
                    <a:pt x="1768817" y="625018"/>
                  </a:lnTo>
                  <a:lnTo>
                    <a:pt x="1770799" y="625018"/>
                  </a:lnTo>
                  <a:lnTo>
                    <a:pt x="1771599" y="624383"/>
                  </a:lnTo>
                  <a:lnTo>
                    <a:pt x="1774316" y="624383"/>
                  </a:lnTo>
                  <a:lnTo>
                    <a:pt x="1774367" y="623684"/>
                  </a:lnTo>
                  <a:lnTo>
                    <a:pt x="1777149" y="623684"/>
                  </a:lnTo>
                  <a:lnTo>
                    <a:pt x="1777149" y="623036"/>
                  </a:lnTo>
                  <a:lnTo>
                    <a:pt x="1779981" y="623036"/>
                  </a:lnTo>
                  <a:lnTo>
                    <a:pt x="1780222" y="622389"/>
                  </a:lnTo>
                  <a:lnTo>
                    <a:pt x="1782559" y="622389"/>
                  </a:lnTo>
                  <a:lnTo>
                    <a:pt x="1783156" y="621804"/>
                  </a:lnTo>
                  <a:lnTo>
                    <a:pt x="1785429" y="621804"/>
                  </a:lnTo>
                  <a:lnTo>
                    <a:pt x="1786623" y="621106"/>
                  </a:lnTo>
                  <a:lnTo>
                    <a:pt x="1788413" y="621106"/>
                  </a:lnTo>
                  <a:lnTo>
                    <a:pt x="1789455" y="620458"/>
                  </a:lnTo>
                  <a:lnTo>
                    <a:pt x="1792033" y="620458"/>
                  </a:lnTo>
                  <a:lnTo>
                    <a:pt x="1792033" y="619810"/>
                  </a:lnTo>
                  <a:lnTo>
                    <a:pt x="1795056" y="619810"/>
                  </a:lnTo>
                  <a:lnTo>
                    <a:pt x="1795259" y="619175"/>
                  </a:lnTo>
                  <a:lnTo>
                    <a:pt x="1797888" y="619175"/>
                  </a:lnTo>
                  <a:lnTo>
                    <a:pt x="1798828" y="618477"/>
                  </a:lnTo>
                  <a:lnTo>
                    <a:pt x="1801507" y="618477"/>
                  </a:lnTo>
                  <a:lnTo>
                    <a:pt x="1801558" y="617829"/>
                  </a:lnTo>
                  <a:lnTo>
                    <a:pt x="1804885" y="617829"/>
                  </a:lnTo>
                  <a:lnTo>
                    <a:pt x="1805127" y="617182"/>
                  </a:lnTo>
                  <a:lnTo>
                    <a:pt x="1808302" y="617182"/>
                  </a:lnTo>
                  <a:lnTo>
                    <a:pt x="1808302" y="616496"/>
                  </a:lnTo>
                  <a:lnTo>
                    <a:pt x="1811731" y="616496"/>
                  </a:lnTo>
                  <a:lnTo>
                    <a:pt x="1811781" y="615899"/>
                  </a:lnTo>
                  <a:lnTo>
                    <a:pt x="1815007" y="615899"/>
                  </a:lnTo>
                  <a:lnTo>
                    <a:pt x="1815249" y="615251"/>
                  </a:lnTo>
                  <a:lnTo>
                    <a:pt x="1818525" y="615251"/>
                  </a:lnTo>
                  <a:lnTo>
                    <a:pt x="1818868" y="614604"/>
                  </a:lnTo>
                  <a:lnTo>
                    <a:pt x="1822399" y="614604"/>
                  </a:lnTo>
                  <a:lnTo>
                    <a:pt x="1822843" y="613905"/>
                  </a:lnTo>
                  <a:lnTo>
                    <a:pt x="1826209" y="613905"/>
                  </a:lnTo>
                  <a:lnTo>
                    <a:pt x="1826260" y="613270"/>
                  </a:lnTo>
                  <a:lnTo>
                    <a:pt x="1829841" y="613270"/>
                  </a:lnTo>
                  <a:lnTo>
                    <a:pt x="1830133" y="612622"/>
                  </a:lnTo>
                  <a:lnTo>
                    <a:pt x="1833600" y="612622"/>
                  </a:lnTo>
                  <a:lnTo>
                    <a:pt x="1833956" y="611975"/>
                  </a:lnTo>
                  <a:lnTo>
                    <a:pt x="1837423" y="611975"/>
                  </a:lnTo>
                  <a:lnTo>
                    <a:pt x="1837626" y="611276"/>
                  </a:lnTo>
                  <a:lnTo>
                    <a:pt x="1841449" y="611276"/>
                  </a:lnTo>
                  <a:lnTo>
                    <a:pt x="1841690" y="610692"/>
                  </a:lnTo>
                  <a:lnTo>
                    <a:pt x="1845310" y="610692"/>
                  </a:lnTo>
                  <a:lnTo>
                    <a:pt x="1845513" y="610044"/>
                  </a:lnTo>
                  <a:lnTo>
                    <a:pt x="1849335" y="610044"/>
                  </a:lnTo>
                  <a:lnTo>
                    <a:pt x="1849577" y="609396"/>
                  </a:lnTo>
                  <a:lnTo>
                    <a:pt x="1853349" y="609396"/>
                  </a:lnTo>
                  <a:lnTo>
                    <a:pt x="1853793" y="608698"/>
                  </a:lnTo>
                  <a:lnTo>
                    <a:pt x="1857616" y="608698"/>
                  </a:lnTo>
                  <a:lnTo>
                    <a:pt x="1857717" y="608063"/>
                  </a:lnTo>
                  <a:lnTo>
                    <a:pt x="1861883" y="608063"/>
                  </a:lnTo>
                  <a:lnTo>
                    <a:pt x="1861934" y="607415"/>
                  </a:lnTo>
                  <a:lnTo>
                    <a:pt x="1865947" y="607415"/>
                  </a:lnTo>
                  <a:lnTo>
                    <a:pt x="1866442" y="606818"/>
                  </a:lnTo>
                  <a:lnTo>
                    <a:pt x="1870760" y="606818"/>
                  </a:lnTo>
                  <a:lnTo>
                    <a:pt x="1870811" y="606069"/>
                  </a:lnTo>
                  <a:lnTo>
                    <a:pt x="1875421" y="606069"/>
                  </a:lnTo>
                  <a:lnTo>
                    <a:pt x="1875523" y="605472"/>
                  </a:lnTo>
                  <a:lnTo>
                    <a:pt x="1880184" y="605472"/>
                  </a:lnTo>
                  <a:lnTo>
                    <a:pt x="1880184" y="604837"/>
                  </a:lnTo>
                  <a:lnTo>
                    <a:pt x="1884806" y="604837"/>
                  </a:lnTo>
                  <a:lnTo>
                    <a:pt x="1885048" y="604139"/>
                  </a:lnTo>
                  <a:lnTo>
                    <a:pt x="1889810" y="604139"/>
                  </a:lnTo>
                  <a:lnTo>
                    <a:pt x="1889963" y="603491"/>
                  </a:lnTo>
                  <a:lnTo>
                    <a:pt x="1894078" y="603491"/>
                  </a:lnTo>
                  <a:lnTo>
                    <a:pt x="1895665" y="602843"/>
                  </a:lnTo>
                  <a:lnTo>
                    <a:pt x="1899983" y="602843"/>
                  </a:lnTo>
                  <a:lnTo>
                    <a:pt x="1900732" y="602208"/>
                  </a:lnTo>
                  <a:lnTo>
                    <a:pt x="1905444" y="602208"/>
                  </a:lnTo>
                  <a:lnTo>
                    <a:pt x="1905495" y="601510"/>
                  </a:lnTo>
                  <a:lnTo>
                    <a:pt x="1910841" y="601510"/>
                  </a:lnTo>
                  <a:lnTo>
                    <a:pt x="1910892" y="600862"/>
                  </a:lnTo>
                  <a:lnTo>
                    <a:pt x="1916252" y="600862"/>
                  </a:lnTo>
                  <a:lnTo>
                    <a:pt x="1916556" y="600265"/>
                  </a:lnTo>
                  <a:lnTo>
                    <a:pt x="1921954" y="600265"/>
                  </a:lnTo>
                  <a:lnTo>
                    <a:pt x="1922056" y="599618"/>
                  </a:lnTo>
                  <a:lnTo>
                    <a:pt x="1927567" y="599618"/>
                  </a:lnTo>
                  <a:lnTo>
                    <a:pt x="1927860" y="598932"/>
                  </a:lnTo>
                  <a:lnTo>
                    <a:pt x="1933371" y="598932"/>
                  </a:lnTo>
                  <a:lnTo>
                    <a:pt x="1933714" y="598284"/>
                  </a:lnTo>
                  <a:lnTo>
                    <a:pt x="1939074" y="598284"/>
                  </a:lnTo>
                  <a:lnTo>
                    <a:pt x="1939963" y="597636"/>
                  </a:lnTo>
                  <a:lnTo>
                    <a:pt x="1946465" y="597636"/>
                  </a:lnTo>
                  <a:lnTo>
                    <a:pt x="1946465" y="596989"/>
                  </a:lnTo>
                  <a:lnTo>
                    <a:pt x="1953310" y="596989"/>
                  </a:lnTo>
                  <a:lnTo>
                    <a:pt x="1953310" y="596303"/>
                  </a:lnTo>
                  <a:lnTo>
                    <a:pt x="1960460" y="596303"/>
                  </a:lnTo>
                  <a:lnTo>
                    <a:pt x="1960511" y="595706"/>
                  </a:lnTo>
                  <a:lnTo>
                    <a:pt x="1967801" y="595706"/>
                  </a:lnTo>
                  <a:lnTo>
                    <a:pt x="1967852" y="595058"/>
                  </a:lnTo>
                  <a:lnTo>
                    <a:pt x="1975294" y="595058"/>
                  </a:lnTo>
                  <a:lnTo>
                    <a:pt x="1975345" y="594410"/>
                  </a:lnTo>
                  <a:lnTo>
                    <a:pt x="1982927" y="594410"/>
                  </a:lnTo>
                  <a:lnTo>
                    <a:pt x="1983028" y="593725"/>
                  </a:lnTo>
                  <a:lnTo>
                    <a:pt x="1990864" y="593725"/>
                  </a:lnTo>
                  <a:lnTo>
                    <a:pt x="1991067" y="593077"/>
                  </a:lnTo>
                  <a:lnTo>
                    <a:pt x="1999005" y="593077"/>
                  </a:lnTo>
                  <a:lnTo>
                    <a:pt x="1999602" y="592429"/>
                  </a:lnTo>
                  <a:lnTo>
                    <a:pt x="2007984" y="592429"/>
                  </a:lnTo>
                  <a:lnTo>
                    <a:pt x="2008085" y="591731"/>
                  </a:lnTo>
                  <a:lnTo>
                    <a:pt x="2017407" y="591731"/>
                  </a:lnTo>
                  <a:lnTo>
                    <a:pt x="2017458" y="591096"/>
                  </a:lnTo>
                  <a:lnTo>
                    <a:pt x="2027237" y="591096"/>
                  </a:lnTo>
                  <a:lnTo>
                    <a:pt x="2027681" y="590499"/>
                  </a:lnTo>
                  <a:lnTo>
                    <a:pt x="2037841" y="590499"/>
                  </a:lnTo>
                  <a:lnTo>
                    <a:pt x="2038845" y="589851"/>
                  </a:lnTo>
                  <a:lnTo>
                    <a:pt x="2049906" y="589851"/>
                  </a:lnTo>
                  <a:lnTo>
                    <a:pt x="2050948" y="589153"/>
                  </a:lnTo>
                  <a:lnTo>
                    <a:pt x="2062111" y="589153"/>
                  </a:lnTo>
                  <a:lnTo>
                    <a:pt x="2063343" y="588505"/>
                  </a:lnTo>
                  <a:lnTo>
                    <a:pt x="2075497" y="588505"/>
                  </a:lnTo>
                  <a:lnTo>
                    <a:pt x="2075700" y="587870"/>
                  </a:lnTo>
                  <a:lnTo>
                    <a:pt x="2086660" y="587870"/>
                  </a:lnTo>
                  <a:lnTo>
                    <a:pt x="2087702" y="587222"/>
                  </a:lnTo>
                  <a:lnTo>
                    <a:pt x="2099170" y="587222"/>
                  </a:lnTo>
                  <a:lnTo>
                    <a:pt x="2099614" y="586524"/>
                  </a:lnTo>
                  <a:lnTo>
                    <a:pt x="2113546" y="586524"/>
                  </a:lnTo>
                  <a:lnTo>
                    <a:pt x="2114092" y="585876"/>
                  </a:lnTo>
                  <a:lnTo>
                    <a:pt x="2131910" y="585876"/>
                  </a:lnTo>
                  <a:lnTo>
                    <a:pt x="2131961" y="585292"/>
                  </a:lnTo>
                  <a:lnTo>
                    <a:pt x="2152789" y="585292"/>
                  </a:lnTo>
                  <a:lnTo>
                    <a:pt x="2152840" y="584644"/>
                  </a:lnTo>
                  <a:lnTo>
                    <a:pt x="2172982" y="584644"/>
                  </a:lnTo>
                  <a:lnTo>
                    <a:pt x="2173731" y="583946"/>
                  </a:lnTo>
                  <a:lnTo>
                    <a:pt x="2194610" y="583946"/>
                  </a:lnTo>
                  <a:lnTo>
                    <a:pt x="2194813" y="583298"/>
                  </a:lnTo>
                  <a:lnTo>
                    <a:pt x="2222842" y="583298"/>
                  </a:lnTo>
                  <a:lnTo>
                    <a:pt x="2223084" y="582663"/>
                  </a:lnTo>
                  <a:lnTo>
                    <a:pt x="2232964" y="582663"/>
                  </a:lnTo>
                  <a:lnTo>
                    <a:pt x="2233104" y="582015"/>
                  </a:lnTo>
                  <a:lnTo>
                    <a:pt x="2241041" y="582015"/>
                  </a:lnTo>
                  <a:lnTo>
                    <a:pt x="2241092" y="582663"/>
                  </a:lnTo>
                  <a:lnTo>
                    <a:pt x="2241245" y="582663"/>
                  </a:lnTo>
                  <a:lnTo>
                    <a:pt x="2241296" y="582015"/>
                  </a:lnTo>
                  <a:lnTo>
                    <a:pt x="2245613" y="582015"/>
                  </a:lnTo>
                  <a:lnTo>
                    <a:pt x="2245855" y="581317"/>
                  </a:lnTo>
                  <a:lnTo>
                    <a:pt x="2249830" y="581317"/>
                  </a:lnTo>
                  <a:lnTo>
                    <a:pt x="2250071" y="580669"/>
                  </a:lnTo>
                  <a:lnTo>
                    <a:pt x="2259355" y="580669"/>
                  </a:lnTo>
                  <a:lnTo>
                    <a:pt x="2259596" y="580072"/>
                  </a:lnTo>
                  <a:lnTo>
                    <a:pt x="2265057" y="580072"/>
                  </a:lnTo>
                  <a:lnTo>
                    <a:pt x="2265057" y="579386"/>
                  </a:lnTo>
                  <a:lnTo>
                    <a:pt x="2271458" y="579386"/>
                  </a:lnTo>
                  <a:lnTo>
                    <a:pt x="2271610" y="578739"/>
                  </a:lnTo>
                  <a:lnTo>
                    <a:pt x="2278506" y="578739"/>
                  </a:lnTo>
                  <a:lnTo>
                    <a:pt x="2279650" y="578091"/>
                  </a:lnTo>
                  <a:lnTo>
                    <a:pt x="2289670" y="578091"/>
                  </a:lnTo>
                  <a:lnTo>
                    <a:pt x="2289759" y="577443"/>
                  </a:lnTo>
                  <a:lnTo>
                    <a:pt x="2301417" y="577443"/>
                  </a:lnTo>
                  <a:lnTo>
                    <a:pt x="2302268" y="576758"/>
                  </a:lnTo>
                  <a:lnTo>
                    <a:pt x="2329802" y="576758"/>
                  </a:lnTo>
                  <a:lnTo>
                    <a:pt x="2329802" y="576110"/>
                  </a:lnTo>
                  <a:lnTo>
                    <a:pt x="2334069" y="576110"/>
                  </a:lnTo>
                  <a:lnTo>
                    <a:pt x="2334120" y="575462"/>
                  </a:lnTo>
                  <a:lnTo>
                    <a:pt x="2335161" y="575462"/>
                  </a:lnTo>
                  <a:lnTo>
                    <a:pt x="2335453" y="574865"/>
                  </a:lnTo>
                  <a:lnTo>
                    <a:pt x="2335847" y="574179"/>
                  </a:lnTo>
                  <a:lnTo>
                    <a:pt x="2335949" y="574179"/>
                  </a:lnTo>
                  <a:lnTo>
                    <a:pt x="2336253" y="573532"/>
                  </a:lnTo>
                  <a:lnTo>
                    <a:pt x="2336495" y="573532"/>
                  </a:lnTo>
                  <a:lnTo>
                    <a:pt x="2336596" y="572884"/>
                  </a:lnTo>
                  <a:lnTo>
                    <a:pt x="2336800" y="572884"/>
                  </a:lnTo>
                  <a:lnTo>
                    <a:pt x="2336990" y="572236"/>
                  </a:lnTo>
                  <a:lnTo>
                    <a:pt x="2337295" y="572236"/>
                  </a:lnTo>
                  <a:lnTo>
                    <a:pt x="2337485" y="571550"/>
                  </a:lnTo>
                  <a:lnTo>
                    <a:pt x="2337688" y="571550"/>
                  </a:lnTo>
                  <a:lnTo>
                    <a:pt x="2337879" y="570903"/>
                  </a:lnTo>
                  <a:lnTo>
                    <a:pt x="2338184" y="570306"/>
                  </a:lnTo>
                  <a:lnTo>
                    <a:pt x="2338527" y="569658"/>
                  </a:lnTo>
                  <a:lnTo>
                    <a:pt x="2338628" y="569658"/>
                  </a:lnTo>
                  <a:lnTo>
                    <a:pt x="2338831" y="568960"/>
                  </a:lnTo>
                  <a:lnTo>
                    <a:pt x="2339225" y="568325"/>
                  </a:lnTo>
                  <a:lnTo>
                    <a:pt x="2339517" y="567677"/>
                  </a:lnTo>
                  <a:lnTo>
                    <a:pt x="2339873" y="566979"/>
                  </a:lnTo>
                  <a:lnTo>
                    <a:pt x="2340013" y="566979"/>
                  </a:lnTo>
                  <a:lnTo>
                    <a:pt x="2340216" y="566331"/>
                  </a:lnTo>
                  <a:lnTo>
                    <a:pt x="2340559" y="565696"/>
                  </a:lnTo>
                  <a:lnTo>
                    <a:pt x="2340863" y="565099"/>
                  </a:lnTo>
                  <a:lnTo>
                    <a:pt x="2341105" y="564350"/>
                  </a:lnTo>
                  <a:lnTo>
                    <a:pt x="2341359" y="564350"/>
                  </a:lnTo>
                  <a:lnTo>
                    <a:pt x="2341753" y="563105"/>
                  </a:lnTo>
                  <a:lnTo>
                    <a:pt x="2342146" y="562470"/>
                  </a:lnTo>
                  <a:lnTo>
                    <a:pt x="2342451" y="561771"/>
                  </a:lnTo>
                  <a:lnTo>
                    <a:pt x="2342743" y="561124"/>
                  </a:lnTo>
                  <a:lnTo>
                    <a:pt x="2343188" y="560476"/>
                  </a:lnTo>
                  <a:lnTo>
                    <a:pt x="2343645" y="559193"/>
                  </a:lnTo>
                  <a:lnTo>
                    <a:pt x="2344038" y="558546"/>
                  </a:lnTo>
                  <a:lnTo>
                    <a:pt x="2344483" y="557898"/>
                  </a:lnTo>
                  <a:lnTo>
                    <a:pt x="2344978" y="556564"/>
                  </a:lnTo>
                  <a:lnTo>
                    <a:pt x="2345575" y="555269"/>
                  </a:lnTo>
                  <a:lnTo>
                    <a:pt x="2345918" y="554583"/>
                  </a:lnTo>
                  <a:lnTo>
                    <a:pt x="2346363" y="553339"/>
                  </a:lnTo>
                  <a:lnTo>
                    <a:pt x="2346566" y="553339"/>
                  </a:lnTo>
                  <a:lnTo>
                    <a:pt x="2346769" y="552691"/>
                  </a:lnTo>
                  <a:lnTo>
                    <a:pt x="2347061" y="551993"/>
                  </a:lnTo>
                  <a:lnTo>
                    <a:pt x="2347455" y="551358"/>
                  </a:lnTo>
                  <a:lnTo>
                    <a:pt x="2348052" y="550062"/>
                  </a:lnTo>
                  <a:lnTo>
                    <a:pt x="2348598" y="548779"/>
                  </a:lnTo>
                  <a:lnTo>
                    <a:pt x="2348750" y="548132"/>
                  </a:lnTo>
                  <a:lnTo>
                    <a:pt x="2348953" y="548132"/>
                  </a:lnTo>
                  <a:lnTo>
                    <a:pt x="2349500" y="546785"/>
                  </a:lnTo>
                  <a:lnTo>
                    <a:pt x="2350084" y="545503"/>
                  </a:lnTo>
                  <a:lnTo>
                    <a:pt x="2350630" y="544157"/>
                  </a:lnTo>
                  <a:lnTo>
                    <a:pt x="2350985" y="542925"/>
                  </a:lnTo>
                  <a:lnTo>
                    <a:pt x="2351481" y="542226"/>
                  </a:lnTo>
                  <a:lnTo>
                    <a:pt x="2351976" y="540931"/>
                  </a:lnTo>
                  <a:lnTo>
                    <a:pt x="2352624" y="539597"/>
                  </a:lnTo>
                  <a:lnTo>
                    <a:pt x="2352865" y="538950"/>
                  </a:lnTo>
                  <a:lnTo>
                    <a:pt x="2353170" y="538353"/>
                  </a:lnTo>
                  <a:lnTo>
                    <a:pt x="2353360" y="537705"/>
                  </a:lnTo>
                  <a:lnTo>
                    <a:pt x="2353614" y="537019"/>
                  </a:lnTo>
                  <a:lnTo>
                    <a:pt x="2353957" y="536371"/>
                  </a:lnTo>
                  <a:lnTo>
                    <a:pt x="2354211" y="535724"/>
                  </a:lnTo>
                  <a:lnTo>
                    <a:pt x="2354706" y="534390"/>
                  </a:lnTo>
                  <a:lnTo>
                    <a:pt x="2355202" y="533146"/>
                  </a:lnTo>
                  <a:lnTo>
                    <a:pt x="2355646" y="531812"/>
                  </a:lnTo>
                  <a:lnTo>
                    <a:pt x="2356091" y="531164"/>
                  </a:lnTo>
                  <a:lnTo>
                    <a:pt x="2356345" y="530517"/>
                  </a:lnTo>
                  <a:lnTo>
                    <a:pt x="2356586" y="529818"/>
                  </a:lnTo>
                  <a:lnTo>
                    <a:pt x="2357183" y="528586"/>
                  </a:lnTo>
                  <a:lnTo>
                    <a:pt x="2357780" y="527240"/>
                  </a:lnTo>
                  <a:lnTo>
                    <a:pt x="2358567" y="525310"/>
                  </a:lnTo>
                  <a:lnTo>
                    <a:pt x="2359469" y="522732"/>
                  </a:lnTo>
                  <a:lnTo>
                    <a:pt x="2360358" y="520750"/>
                  </a:lnTo>
                  <a:lnTo>
                    <a:pt x="2361349" y="518160"/>
                  </a:lnTo>
                  <a:lnTo>
                    <a:pt x="2361552" y="518160"/>
                  </a:lnTo>
                  <a:lnTo>
                    <a:pt x="2361742" y="517474"/>
                  </a:lnTo>
                  <a:lnTo>
                    <a:pt x="2362441" y="515531"/>
                  </a:lnTo>
                  <a:lnTo>
                    <a:pt x="2363381" y="513550"/>
                  </a:lnTo>
                  <a:lnTo>
                    <a:pt x="2363685" y="512953"/>
                  </a:lnTo>
                  <a:lnTo>
                    <a:pt x="2363927" y="512267"/>
                  </a:lnTo>
                  <a:lnTo>
                    <a:pt x="2364282" y="510971"/>
                  </a:lnTo>
                  <a:lnTo>
                    <a:pt x="2364727" y="510324"/>
                  </a:lnTo>
                  <a:lnTo>
                    <a:pt x="2364968" y="509638"/>
                  </a:lnTo>
                  <a:lnTo>
                    <a:pt x="2365171" y="508990"/>
                  </a:lnTo>
                  <a:lnTo>
                    <a:pt x="2365717" y="507746"/>
                  </a:lnTo>
                  <a:lnTo>
                    <a:pt x="2366657" y="505066"/>
                  </a:lnTo>
                  <a:lnTo>
                    <a:pt x="2367597" y="503186"/>
                  </a:lnTo>
                  <a:lnTo>
                    <a:pt x="2368892" y="499859"/>
                  </a:lnTo>
                  <a:lnTo>
                    <a:pt x="2369134" y="499211"/>
                  </a:lnTo>
                  <a:lnTo>
                    <a:pt x="2369438" y="498564"/>
                  </a:lnTo>
                  <a:lnTo>
                    <a:pt x="2370277" y="496633"/>
                  </a:lnTo>
                  <a:lnTo>
                    <a:pt x="2371077" y="494004"/>
                  </a:lnTo>
                  <a:lnTo>
                    <a:pt x="2371966" y="492074"/>
                  </a:lnTo>
                  <a:lnTo>
                    <a:pt x="2373896" y="487451"/>
                  </a:lnTo>
                  <a:lnTo>
                    <a:pt x="2375039" y="484873"/>
                  </a:lnTo>
                  <a:lnTo>
                    <a:pt x="2375979" y="482244"/>
                  </a:lnTo>
                  <a:lnTo>
                    <a:pt x="2376982" y="479666"/>
                  </a:lnTo>
                  <a:lnTo>
                    <a:pt x="2377871" y="477685"/>
                  </a:lnTo>
                  <a:lnTo>
                    <a:pt x="2378760" y="475793"/>
                  </a:lnTo>
                  <a:lnTo>
                    <a:pt x="2380106" y="472478"/>
                  </a:lnTo>
                  <a:lnTo>
                    <a:pt x="2381440" y="469252"/>
                  </a:lnTo>
                  <a:lnTo>
                    <a:pt x="2381834" y="467906"/>
                  </a:lnTo>
                  <a:lnTo>
                    <a:pt x="2382291" y="467271"/>
                  </a:lnTo>
                  <a:lnTo>
                    <a:pt x="2382583" y="466026"/>
                  </a:lnTo>
                  <a:lnTo>
                    <a:pt x="2382837" y="465328"/>
                  </a:lnTo>
                  <a:lnTo>
                    <a:pt x="2383078" y="465328"/>
                  </a:lnTo>
                  <a:lnTo>
                    <a:pt x="2383281" y="464680"/>
                  </a:lnTo>
                  <a:lnTo>
                    <a:pt x="2383878" y="463397"/>
                  </a:lnTo>
                  <a:lnTo>
                    <a:pt x="2384425" y="461467"/>
                  </a:lnTo>
                  <a:lnTo>
                    <a:pt x="2385707" y="458838"/>
                  </a:lnTo>
                  <a:lnTo>
                    <a:pt x="2386647" y="456247"/>
                  </a:lnTo>
                  <a:lnTo>
                    <a:pt x="2387193" y="454914"/>
                  </a:lnTo>
                  <a:lnTo>
                    <a:pt x="2387790" y="453618"/>
                  </a:lnTo>
                  <a:lnTo>
                    <a:pt x="2388730" y="451637"/>
                  </a:lnTo>
                  <a:lnTo>
                    <a:pt x="2389631" y="449059"/>
                  </a:lnTo>
                  <a:lnTo>
                    <a:pt x="2390317" y="447725"/>
                  </a:lnTo>
                  <a:lnTo>
                    <a:pt x="2391460" y="445135"/>
                  </a:lnTo>
                  <a:lnTo>
                    <a:pt x="2392705" y="441871"/>
                  </a:lnTo>
                  <a:lnTo>
                    <a:pt x="2393048" y="441274"/>
                  </a:lnTo>
                  <a:lnTo>
                    <a:pt x="2393441" y="440525"/>
                  </a:lnTo>
                  <a:lnTo>
                    <a:pt x="2393950" y="439280"/>
                  </a:lnTo>
                  <a:lnTo>
                    <a:pt x="2394534" y="437946"/>
                  </a:lnTo>
                  <a:lnTo>
                    <a:pt x="2394889" y="436651"/>
                  </a:lnTo>
                  <a:lnTo>
                    <a:pt x="2395283" y="436067"/>
                  </a:lnTo>
                  <a:lnTo>
                    <a:pt x="2396032" y="434073"/>
                  </a:lnTo>
                  <a:lnTo>
                    <a:pt x="2396718" y="432739"/>
                  </a:lnTo>
                  <a:lnTo>
                    <a:pt x="2398407" y="428866"/>
                  </a:lnTo>
                  <a:lnTo>
                    <a:pt x="2400046" y="424954"/>
                  </a:lnTo>
                  <a:lnTo>
                    <a:pt x="2400300" y="424307"/>
                  </a:lnTo>
                  <a:lnTo>
                    <a:pt x="2400642" y="423659"/>
                  </a:lnTo>
                  <a:lnTo>
                    <a:pt x="2400795" y="422960"/>
                  </a:lnTo>
                  <a:lnTo>
                    <a:pt x="2400935" y="422960"/>
                  </a:lnTo>
                  <a:lnTo>
                    <a:pt x="2401138" y="422325"/>
                  </a:lnTo>
                  <a:lnTo>
                    <a:pt x="2401379" y="421678"/>
                  </a:lnTo>
                  <a:lnTo>
                    <a:pt x="2402827" y="418401"/>
                  </a:lnTo>
                  <a:lnTo>
                    <a:pt x="2404313" y="415125"/>
                  </a:lnTo>
                  <a:lnTo>
                    <a:pt x="2405100" y="413194"/>
                  </a:lnTo>
                  <a:lnTo>
                    <a:pt x="2406002" y="411251"/>
                  </a:lnTo>
                  <a:lnTo>
                    <a:pt x="2406141" y="411251"/>
                  </a:lnTo>
                  <a:lnTo>
                    <a:pt x="2406345" y="410565"/>
                  </a:lnTo>
                  <a:lnTo>
                    <a:pt x="2406396" y="410565"/>
                  </a:lnTo>
                  <a:lnTo>
                    <a:pt x="2406548" y="409968"/>
                  </a:lnTo>
                  <a:lnTo>
                    <a:pt x="2408681" y="405358"/>
                  </a:lnTo>
                  <a:lnTo>
                    <a:pt x="2410866" y="400786"/>
                  </a:lnTo>
                  <a:lnTo>
                    <a:pt x="2411310" y="399554"/>
                  </a:lnTo>
                  <a:lnTo>
                    <a:pt x="2411755" y="398907"/>
                  </a:lnTo>
                  <a:lnTo>
                    <a:pt x="2412949" y="396227"/>
                  </a:lnTo>
                  <a:lnTo>
                    <a:pt x="2415031" y="391706"/>
                  </a:lnTo>
                  <a:lnTo>
                    <a:pt x="2415921" y="389725"/>
                  </a:lnTo>
                  <a:lnTo>
                    <a:pt x="2416314" y="388442"/>
                  </a:lnTo>
                  <a:lnTo>
                    <a:pt x="2416670" y="387794"/>
                  </a:lnTo>
                  <a:lnTo>
                    <a:pt x="2416860" y="387794"/>
                  </a:lnTo>
                  <a:lnTo>
                    <a:pt x="2417254" y="386499"/>
                  </a:lnTo>
                  <a:lnTo>
                    <a:pt x="2417356" y="386499"/>
                  </a:lnTo>
                  <a:lnTo>
                    <a:pt x="2417559" y="385813"/>
                  </a:lnTo>
                  <a:lnTo>
                    <a:pt x="2417800" y="385165"/>
                  </a:lnTo>
                  <a:lnTo>
                    <a:pt x="2419489" y="381939"/>
                  </a:lnTo>
                  <a:lnTo>
                    <a:pt x="2421128" y="378612"/>
                  </a:lnTo>
                  <a:lnTo>
                    <a:pt x="2421280" y="378015"/>
                  </a:lnTo>
                  <a:lnTo>
                    <a:pt x="2421432" y="378015"/>
                  </a:lnTo>
                  <a:lnTo>
                    <a:pt x="2421572" y="377368"/>
                  </a:lnTo>
                  <a:lnTo>
                    <a:pt x="2421674" y="377368"/>
                  </a:lnTo>
                  <a:lnTo>
                    <a:pt x="2422016" y="376733"/>
                  </a:lnTo>
                  <a:lnTo>
                    <a:pt x="2422271" y="376034"/>
                  </a:lnTo>
                  <a:lnTo>
                    <a:pt x="2423160" y="374154"/>
                  </a:lnTo>
                  <a:lnTo>
                    <a:pt x="2424010" y="372160"/>
                  </a:lnTo>
                  <a:lnTo>
                    <a:pt x="2425001" y="370179"/>
                  </a:lnTo>
                  <a:lnTo>
                    <a:pt x="2426093" y="368249"/>
                  </a:lnTo>
                  <a:lnTo>
                    <a:pt x="2426830" y="366255"/>
                  </a:lnTo>
                  <a:lnTo>
                    <a:pt x="2427630" y="364972"/>
                  </a:lnTo>
                  <a:lnTo>
                    <a:pt x="2429014" y="362394"/>
                  </a:lnTo>
                  <a:lnTo>
                    <a:pt x="2430360" y="359067"/>
                  </a:lnTo>
                  <a:lnTo>
                    <a:pt x="2431351" y="357187"/>
                  </a:lnTo>
                  <a:lnTo>
                    <a:pt x="2431503" y="357187"/>
                  </a:lnTo>
                  <a:lnTo>
                    <a:pt x="2431541" y="356489"/>
                  </a:lnTo>
                  <a:lnTo>
                    <a:pt x="2431592" y="356489"/>
                  </a:lnTo>
                  <a:lnTo>
                    <a:pt x="2434475" y="350634"/>
                  </a:lnTo>
                  <a:lnTo>
                    <a:pt x="2436063" y="348056"/>
                  </a:lnTo>
                  <a:lnTo>
                    <a:pt x="2437650" y="344779"/>
                  </a:lnTo>
                  <a:lnTo>
                    <a:pt x="2437701" y="344081"/>
                  </a:lnTo>
                  <a:lnTo>
                    <a:pt x="2437942" y="344081"/>
                  </a:lnTo>
                  <a:lnTo>
                    <a:pt x="2438146" y="343446"/>
                  </a:lnTo>
                  <a:lnTo>
                    <a:pt x="2438298" y="343446"/>
                  </a:lnTo>
                  <a:lnTo>
                    <a:pt x="2438400" y="342849"/>
                  </a:lnTo>
                  <a:lnTo>
                    <a:pt x="2438590" y="342849"/>
                  </a:lnTo>
                  <a:lnTo>
                    <a:pt x="2438742" y="342201"/>
                  </a:lnTo>
                  <a:lnTo>
                    <a:pt x="2438844" y="342201"/>
                  </a:lnTo>
                  <a:lnTo>
                    <a:pt x="2439288" y="341503"/>
                  </a:lnTo>
                  <a:lnTo>
                    <a:pt x="2439682" y="340855"/>
                  </a:lnTo>
                  <a:lnTo>
                    <a:pt x="2441028" y="338226"/>
                  </a:lnTo>
                  <a:lnTo>
                    <a:pt x="2442260" y="335648"/>
                  </a:lnTo>
                  <a:lnTo>
                    <a:pt x="2442959" y="334314"/>
                  </a:lnTo>
                  <a:lnTo>
                    <a:pt x="2443657" y="333019"/>
                  </a:lnTo>
                  <a:lnTo>
                    <a:pt x="2443746" y="332422"/>
                  </a:lnTo>
                  <a:lnTo>
                    <a:pt x="2444000" y="332422"/>
                  </a:lnTo>
                  <a:lnTo>
                    <a:pt x="2444102" y="331736"/>
                  </a:lnTo>
                  <a:lnTo>
                    <a:pt x="2444203" y="331736"/>
                  </a:lnTo>
                  <a:lnTo>
                    <a:pt x="2444445" y="331089"/>
                  </a:lnTo>
                  <a:lnTo>
                    <a:pt x="2444699" y="331089"/>
                  </a:lnTo>
                  <a:lnTo>
                    <a:pt x="2444750" y="330441"/>
                  </a:lnTo>
                  <a:lnTo>
                    <a:pt x="2444940" y="330441"/>
                  </a:lnTo>
                  <a:lnTo>
                    <a:pt x="2445092" y="329793"/>
                  </a:lnTo>
                  <a:lnTo>
                    <a:pt x="2446286" y="327812"/>
                  </a:lnTo>
                  <a:lnTo>
                    <a:pt x="2447467" y="325234"/>
                  </a:lnTo>
                  <a:lnTo>
                    <a:pt x="2447518" y="325234"/>
                  </a:lnTo>
                  <a:lnTo>
                    <a:pt x="2448420" y="323900"/>
                  </a:lnTo>
                  <a:lnTo>
                    <a:pt x="2449258" y="321907"/>
                  </a:lnTo>
                  <a:lnTo>
                    <a:pt x="2450452" y="320027"/>
                  </a:lnTo>
                  <a:lnTo>
                    <a:pt x="2451595" y="317449"/>
                  </a:lnTo>
                  <a:lnTo>
                    <a:pt x="2452281" y="316103"/>
                  </a:lnTo>
                  <a:lnTo>
                    <a:pt x="2453030" y="314820"/>
                  </a:lnTo>
                  <a:lnTo>
                    <a:pt x="2453576" y="314121"/>
                  </a:lnTo>
                  <a:lnTo>
                    <a:pt x="2453627" y="314121"/>
                  </a:lnTo>
                  <a:lnTo>
                    <a:pt x="2453766" y="313474"/>
                  </a:lnTo>
                  <a:lnTo>
                    <a:pt x="2454021" y="313474"/>
                  </a:lnTo>
                  <a:lnTo>
                    <a:pt x="2454173" y="312826"/>
                  </a:lnTo>
                  <a:lnTo>
                    <a:pt x="2454313" y="312826"/>
                  </a:lnTo>
                  <a:lnTo>
                    <a:pt x="2454465" y="312242"/>
                  </a:lnTo>
                  <a:lnTo>
                    <a:pt x="2455113" y="311543"/>
                  </a:lnTo>
                  <a:lnTo>
                    <a:pt x="2455811" y="310248"/>
                  </a:lnTo>
                  <a:lnTo>
                    <a:pt x="2455900" y="309562"/>
                  </a:lnTo>
                  <a:lnTo>
                    <a:pt x="2456205" y="309562"/>
                  </a:lnTo>
                  <a:lnTo>
                    <a:pt x="2456306" y="308914"/>
                  </a:lnTo>
                  <a:lnTo>
                    <a:pt x="2456497" y="308914"/>
                  </a:lnTo>
                  <a:lnTo>
                    <a:pt x="2456992" y="307619"/>
                  </a:lnTo>
                  <a:lnTo>
                    <a:pt x="2457488" y="306933"/>
                  </a:lnTo>
                  <a:lnTo>
                    <a:pt x="2461260" y="300482"/>
                  </a:lnTo>
                  <a:lnTo>
                    <a:pt x="2463152" y="296507"/>
                  </a:lnTo>
                  <a:lnTo>
                    <a:pt x="2463291" y="296507"/>
                  </a:lnTo>
                  <a:lnTo>
                    <a:pt x="2463495" y="295910"/>
                  </a:lnTo>
                  <a:lnTo>
                    <a:pt x="2463800" y="295910"/>
                  </a:lnTo>
                  <a:lnTo>
                    <a:pt x="2463838" y="295275"/>
                  </a:lnTo>
                  <a:lnTo>
                    <a:pt x="2464193" y="295275"/>
                  </a:lnTo>
                  <a:lnTo>
                    <a:pt x="2464193" y="294576"/>
                  </a:lnTo>
                  <a:lnTo>
                    <a:pt x="2464485" y="294576"/>
                  </a:lnTo>
                  <a:lnTo>
                    <a:pt x="2464739" y="293929"/>
                  </a:lnTo>
                  <a:lnTo>
                    <a:pt x="2464930" y="293929"/>
                  </a:lnTo>
                  <a:lnTo>
                    <a:pt x="2465133" y="293281"/>
                  </a:lnTo>
                  <a:lnTo>
                    <a:pt x="2465285" y="293281"/>
                  </a:lnTo>
                  <a:lnTo>
                    <a:pt x="2465387" y="292646"/>
                  </a:lnTo>
                  <a:lnTo>
                    <a:pt x="2465628" y="292646"/>
                  </a:lnTo>
                  <a:lnTo>
                    <a:pt x="2465730" y="291947"/>
                  </a:lnTo>
                  <a:lnTo>
                    <a:pt x="2466073" y="291947"/>
                  </a:lnTo>
                  <a:lnTo>
                    <a:pt x="2466124" y="291300"/>
                  </a:lnTo>
                  <a:lnTo>
                    <a:pt x="2466276" y="291300"/>
                  </a:lnTo>
                  <a:lnTo>
                    <a:pt x="2466873" y="290055"/>
                  </a:lnTo>
                  <a:lnTo>
                    <a:pt x="2468016" y="288074"/>
                  </a:lnTo>
                  <a:lnTo>
                    <a:pt x="2469146" y="286143"/>
                  </a:lnTo>
                  <a:lnTo>
                    <a:pt x="2469692" y="285496"/>
                  </a:lnTo>
                  <a:lnTo>
                    <a:pt x="2470340" y="284162"/>
                  </a:lnTo>
                  <a:lnTo>
                    <a:pt x="2470645" y="283514"/>
                  </a:lnTo>
                  <a:lnTo>
                    <a:pt x="2470988" y="283514"/>
                  </a:lnTo>
                  <a:lnTo>
                    <a:pt x="2472867" y="280289"/>
                  </a:lnTo>
                  <a:lnTo>
                    <a:pt x="2474810" y="276961"/>
                  </a:lnTo>
                  <a:lnTo>
                    <a:pt x="2475407" y="275729"/>
                  </a:lnTo>
                  <a:lnTo>
                    <a:pt x="2475991" y="275031"/>
                  </a:lnTo>
                  <a:lnTo>
                    <a:pt x="2478125" y="271107"/>
                  </a:lnTo>
                  <a:lnTo>
                    <a:pt x="2480259" y="267881"/>
                  </a:lnTo>
                  <a:lnTo>
                    <a:pt x="2480563" y="267195"/>
                  </a:lnTo>
                  <a:lnTo>
                    <a:pt x="2480805" y="267195"/>
                  </a:lnTo>
                  <a:lnTo>
                    <a:pt x="2482151" y="264617"/>
                  </a:lnTo>
                  <a:lnTo>
                    <a:pt x="2483535" y="262623"/>
                  </a:lnTo>
                  <a:lnTo>
                    <a:pt x="2483688" y="262623"/>
                  </a:lnTo>
                  <a:lnTo>
                    <a:pt x="2483789" y="261988"/>
                  </a:lnTo>
                  <a:lnTo>
                    <a:pt x="2486367" y="258114"/>
                  </a:lnTo>
                  <a:lnTo>
                    <a:pt x="2486418" y="258114"/>
                  </a:lnTo>
                  <a:lnTo>
                    <a:pt x="2486609" y="257416"/>
                  </a:lnTo>
                  <a:lnTo>
                    <a:pt x="2486913" y="257416"/>
                  </a:lnTo>
                  <a:lnTo>
                    <a:pt x="2487066" y="256768"/>
                  </a:lnTo>
                  <a:lnTo>
                    <a:pt x="2487409" y="256768"/>
                  </a:lnTo>
                  <a:lnTo>
                    <a:pt x="2487409" y="256133"/>
                  </a:lnTo>
                  <a:lnTo>
                    <a:pt x="2487803" y="256133"/>
                  </a:lnTo>
                  <a:lnTo>
                    <a:pt x="2487853" y="255536"/>
                  </a:lnTo>
                  <a:lnTo>
                    <a:pt x="2488247" y="255536"/>
                  </a:lnTo>
                  <a:lnTo>
                    <a:pt x="2488298" y="254787"/>
                  </a:lnTo>
                  <a:lnTo>
                    <a:pt x="2488691" y="254787"/>
                  </a:lnTo>
                  <a:lnTo>
                    <a:pt x="2488793" y="254190"/>
                  </a:lnTo>
                  <a:lnTo>
                    <a:pt x="2488996" y="254190"/>
                  </a:lnTo>
                  <a:lnTo>
                    <a:pt x="2489200" y="253542"/>
                  </a:lnTo>
                  <a:lnTo>
                    <a:pt x="2489441" y="253542"/>
                  </a:lnTo>
                  <a:lnTo>
                    <a:pt x="2490139" y="252209"/>
                  </a:lnTo>
                  <a:lnTo>
                    <a:pt x="2490381" y="251561"/>
                  </a:lnTo>
                  <a:lnTo>
                    <a:pt x="2490685" y="251561"/>
                  </a:lnTo>
                  <a:lnTo>
                    <a:pt x="2490825" y="250914"/>
                  </a:lnTo>
                  <a:lnTo>
                    <a:pt x="2491130" y="250914"/>
                  </a:lnTo>
                  <a:lnTo>
                    <a:pt x="2491282" y="250228"/>
                  </a:lnTo>
                  <a:lnTo>
                    <a:pt x="2491625" y="250228"/>
                  </a:lnTo>
                  <a:lnTo>
                    <a:pt x="2491727" y="249631"/>
                  </a:lnTo>
                  <a:lnTo>
                    <a:pt x="2491917" y="249631"/>
                  </a:lnTo>
                  <a:lnTo>
                    <a:pt x="2492121" y="248983"/>
                  </a:lnTo>
                  <a:lnTo>
                    <a:pt x="2492514" y="248983"/>
                  </a:lnTo>
                  <a:lnTo>
                    <a:pt x="2492565" y="248336"/>
                  </a:lnTo>
                  <a:lnTo>
                    <a:pt x="2492959" y="248336"/>
                  </a:lnTo>
                  <a:lnTo>
                    <a:pt x="2493010" y="247650"/>
                  </a:lnTo>
                  <a:lnTo>
                    <a:pt x="2493263" y="247650"/>
                  </a:lnTo>
                  <a:lnTo>
                    <a:pt x="2493657" y="247002"/>
                  </a:lnTo>
                  <a:lnTo>
                    <a:pt x="2493759" y="247002"/>
                  </a:lnTo>
                  <a:lnTo>
                    <a:pt x="2493962" y="246354"/>
                  </a:lnTo>
                  <a:lnTo>
                    <a:pt x="2494203" y="246354"/>
                  </a:lnTo>
                  <a:lnTo>
                    <a:pt x="2494356" y="245707"/>
                  </a:lnTo>
                  <a:lnTo>
                    <a:pt x="2494648" y="245707"/>
                  </a:lnTo>
                  <a:lnTo>
                    <a:pt x="2494851" y="245021"/>
                  </a:lnTo>
                  <a:lnTo>
                    <a:pt x="2495041" y="245021"/>
                  </a:lnTo>
                  <a:lnTo>
                    <a:pt x="2495740" y="243776"/>
                  </a:lnTo>
                  <a:lnTo>
                    <a:pt x="2496438" y="242430"/>
                  </a:lnTo>
                  <a:lnTo>
                    <a:pt x="2496832" y="242430"/>
                  </a:lnTo>
                  <a:lnTo>
                    <a:pt x="2497035" y="241795"/>
                  </a:lnTo>
                  <a:lnTo>
                    <a:pt x="2497086" y="241795"/>
                  </a:lnTo>
                  <a:lnTo>
                    <a:pt x="2498966" y="239217"/>
                  </a:lnTo>
                  <a:lnTo>
                    <a:pt x="2499309" y="238569"/>
                  </a:lnTo>
                  <a:lnTo>
                    <a:pt x="2499613" y="237871"/>
                  </a:lnTo>
                  <a:lnTo>
                    <a:pt x="2499855" y="237871"/>
                  </a:lnTo>
                  <a:lnTo>
                    <a:pt x="2500007" y="237223"/>
                  </a:lnTo>
                  <a:lnTo>
                    <a:pt x="2500109" y="237223"/>
                  </a:lnTo>
                  <a:lnTo>
                    <a:pt x="2501201" y="235940"/>
                  </a:lnTo>
                  <a:lnTo>
                    <a:pt x="2502242" y="233997"/>
                  </a:lnTo>
                  <a:lnTo>
                    <a:pt x="2502585" y="233997"/>
                  </a:lnTo>
                  <a:lnTo>
                    <a:pt x="2502979" y="233362"/>
                  </a:lnTo>
                  <a:lnTo>
                    <a:pt x="2503678" y="232016"/>
                  </a:lnTo>
                  <a:lnTo>
                    <a:pt x="2504325" y="231368"/>
                  </a:lnTo>
                  <a:lnTo>
                    <a:pt x="2504770" y="230733"/>
                  </a:lnTo>
                  <a:lnTo>
                    <a:pt x="2505214" y="230035"/>
                  </a:lnTo>
                  <a:lnTo>
                    <a:pt x="2505519" y="229387"/>
                  </a:lnTo>
                  <a:lnTo>
                    <a:pt x="2505570" y="229387"/>
                  </a:lnTo>
                  <a:lnTo>
                    <a:pt x="2506154" y="228790"/>
                  </a:lnTo>
                  <a:lnTo>
                    <a:pt x="2506700" y="228142"/>
                  </a:lnTo>
                  <a:lnTo>
                    <a:pt x="2507005" y="227457"/>
                  </a:lnTo>
                  <a:lnTo>
                    <a:pt x="2507246" y="227457"/>
                  </a:lnTo>
                  <a:lnTo>
                    <a:pt x="2507500" y="226809"/>
                  </a:lnTo>
                  <a:lnTo>
                    <a:pt x="2507741" y="226809"/>
                  </a:lnTo>
                  <a:lnTo>
                    <a:pt x="2508986" y="224828"/>
                  </a:lnTo>
                  <a:lnTo>
                    <a:pt x="2510281" y="222885"/>
                  </a:lnTo>
                  <a:lnTo>
                    <a:pt x="2510675" y="222250"/>
                  </a:lnTo>
                  <a:lnTo>
                    <a:pt x="2510967" y="222250"/>
                  </a:lnTo>
                  <a:lnTo>
                    <a:pt x="2511221" y="221602"/>
                  </a:lnTo>
                  <a:lnTo>
                    <a:pt x="2511425" y="221602"/>
                  </a:lnTo>
                  <a:lnTo>
                    <a:pt x="2511615" y="220954"/>
                  </a:lnTo>
                  <a:lnTo>
                    <a:pt x="2512060" y="220954"/>
                  </a:lnTo>
                  <a:lnTo>
                    <a:pt x="2512466" y="220256"/>
                  </a:lnTo>
                  <a:lnTo>
                    <a:pt x="2512809" y="219621"/>
                  </a:lnTo>
                  <a:lnTo>
                    <a:pt x="2513456" y="219024"/>
                  </a:lnTo>
                  <a:lnTo>
                    <a:pt x="2514053" y="217678"/>
                  </a:lnTo>
                  <a:lnTo>
                    <a:pt x="2514346" y="217678"/>
                  </a:lnTo>
                  <a:lnTo>
                    <a:pt x="2514638" y="217030"/>
                  </a:lnTo>
                  <a:lnTo>
                    <a:pt x="2514942" y="217030"/>
                  </a:lnTo>
                  <a:lnTo>
                    <a:pt x="2515539" y="215747"/>
                  </a:lnTo>
                  <a:lnTo>
                    <a:pt x="2515933" y="215049"/>
                  </a:lnTo>
                  <a:lnTo>
                    <a:pt x="2516327" y="215049"/>
                  </a:lnTo>
                  <a:lnTo>
                    <a:pt x="2516682" y="214401"/>
                  </a:lnTo>
                  <a:lnTo>
                    <a:pt x="2517025" y="213817"/>
                  </a:lnTo>
                  <a:lnTo>
                    <a:pt x="2517317" y="213817"/>
                  </a:lnTo>
                  <a:lnTo>
                    <a:pt x="2517673" y="213118"/>
                  </a:lnTo>
                  <a:lnTo>
                    <a:pt x="2517965" y="212471"/>
                  </a:lnTo>
                  <a:lnTo>
                    <a:pt x="2518359" y="212471"/>
                  </a:lnTo>
                  <a:lnTo>
                    <a:pt x="2518663" y="211823"/>
                  </a:lnTo>
                  <a:lnTo>
                    <a:pt x="2518905" y="211188"/>
                  </a:lnTo>
                  <a:lnTo>
                    <a:pt x="2519311" y="211188"/>
                  </a:lnTo>
                  <a:lnTo>
                    <a:pt x="2519362" y="210489"/>
                  </a:lnTo>
                  <a:lnTo>
                    <a:pt x="2519756" y="210489"/>
                  </a:lnTo>
                  <a:lnTo>
                    <a:pt x="2519997" y="209842"/>
                  </a:lnTo>
                  <a:lnTo>
                    <a:pt x="2520302" y="209842"/>
                  </a:lnTo>
                  <a:lnTo>
                    <a:pt x="2520696" y="209194"/>
                  </a:lnTo>
                  <a:lnTo>
                    <a:pt x="2521089" y="208597"/>
                  </a:lnTo>
                  <a:lnTo>
                    <a:pt x="2521394" y="207911"/>
                  </a:lnTo>
                  <a:lnTo>
                    <a:pt x="2521889" y="207911"/>
                  </a:lnTo>
                  <a:lnTo>
                    <a:pt x="2522080" y="207264"/>
                  </a:lnTo>
                  <a:lnTo>
                    <a:pt x="2522334" y="207264"/>
                  </a:lnTo>
                  <a:lnTo>
                    <a:pt x="2522575" y="206616"/>
                  </a:lnTo>
                  <a:lnTo>
                    <a:pt x="2522880" y="206616"/>
                  </a:lnTo>
                  <a:lnTo>
                    <a:pt x="2523223" y="205968"/>
                  </a:lnTo>
                  <a:lnTo>
                    <a:pt x="2523616" y="205282"/>
                  </a:lnTo>
                  <a:lnTo>
                    <a:pt x="2523871" y="205282"/>
                  </a:lnTo>
                  <a:lnTo>
                    <a:pt x="2524125" y="204635"/>
                  </a:lnTo>
                  <a:lnTo>
                    <a:pt x="2524315" y="204635"/>
                  </a:lnTo>
                  <a:lnTo>
                    <a:pt x="2524518" y="203987"/>
                  </a:lnTo>
                  <a:lnTo>
                    <a:pt x="2524760" y="203987"/>
                  </a:lnTo>
                  <a:lnTo>
                    <a:pt x="2525064" y="203390"/>
                  </a:lnTo>
                  <a:lnTo>
                    <a:pt x="2525458" y="203390"/>
                  </a:lnTo>
                  <a:lnTo>
                    <a:pt x="2525750" y="202704"/>
                  </a:lnTo>
                  <a:lnTo>
                    <a:pt x="2526106" y="202057"/>
                  </a:lnTo>
                  <a:lnTo>
                    <a:pt x="2526449" y="202057"/>
                  </a:lnTo>
                  <a:lnTo>
                    <a:pt x="2526791" y="201409"/>
                  </a:lnTo>
                  <a:lnTo>
                    <a:pt x="2527198" y="200711"/>
                  </a:lnTo>
                  <a:lnTo>
                    <a:pt x="2527541" y="200711"/>
                  </a:lnTo>
                  <a:lnTo>
                    <a:pt x="2527795" y="200076"/>
                  </a:lnTo>
                  <a:lnTo>
                    <a:pt x="2527985" y="200076"/>
                  </a:lnTo>
                  <a:lnTo>
                    <a:pt x="2528379" y="199428"/>
                  </a:lnTo>
                  <a:lnTo>
                    <a:pt x="2528785" y="198831"/>
                  </a:lnTo>
                  <a:lnTo>
                    <a:pt x="2529078" y="198831"/>
                  </a:lnTo>
                  <a:lnTo>
                    <a:pt x="2529382" y="198082"/>
                  </a:lnTo>
                  <a:lnTo>
                    <a:pt x="2529725" y="197485"/>
                  </a:lnTo>
                  <a:lnTo>
                    <a:pt x="2530068" y="197485"/>
                  </a:lnTo>
                  <a:lnTo>
                    <a:pt x="2530373" y="196850"/>
                  </a:lnTo>
                  <a:lnTo>
                    <a:pt x="2530614" y="196850"/>
                  </a:lnTo>
                  <a:lnTo>
                    <a:pt x="2530817" y="196202"/>
                  </a:lnTo>
                  <a:lnTo>
                    <a:pt x="2531160" y="196202"/>
                  </a:lnTo>
                  <a:lnTo>
                    <a:pt x="2531605" y="195504"/>
                  </a:lnTo>
                  <a:lnTo>
                    <a:pt x="2531960" y="194856"/>
                  </a:lnTo>
                  <a:lnTo>
                    <a:pt x="2532253" y="194856"/>
                  </a:lnTo>
                  <a:lnTo>
                    <a:pt x="2532456" y="194221"/>
                  </a:lnTo>
                  <a:lnTo>
                    <a:pt x="2532697" y="194221"/>
                  </a:lnTo>
                  <a:lnTo>
                    <a:pt x="2532951" y="193624"/>
                  </a:lnTo>
                  <a:lnTo>
                    <a:pt x="2533243" y="193624"/>
                  </a:lnTo>
                  <a:lnTo>
                    <a:pt x="2533446" y="192875"/>
                  </a:lnTo>
                  <a:lnTo>
                    <a:pt x="2533891" y="192875"/>
                  </a:lnTo>
                  <a:lnTo>
                    <a:pt x="2534043" y="192278"/>
                  </a:lnTo>
                  <a:lnTo>
                    <a:pt x="2534488" y="192278"/>
                  </a:lnTo>
                  <a:lnTo>
                    <a:pt x="2534780" y="191630"/>
                  </a:lnTo>
                  <a:lnTo>
                    <a:pt x="2535034" y="191630"/>
                  </a:lnTo>
                  <a:lnTo>
                    <a:pt x="2535275" y="190995"/>
                  </a:lnTo>
                  <a:lnTo>
                    <a:pt x="2535631" y="190296"/>
                  </a:lnTo>
                  <a:lnTo>
                    <a:pt x="2535923" y="190296"/>
                  </a:lnTo>
                  <a:lnTo>
                    <a:pt x="2536316" y="189649"/>
                  </a:lnTo>
                  <a:lnTo>
                    <a:pt x="2536621" y="189649"/>
                  </a:lnTo>
                  <a:lnTo>
                    <a:pt x="2537015" y="189001"/>
                  </a:lnTo>
                  <a:lnTo>
                    <a:pt x="2537713" y="188315"/>
                  </a:lnTo>
                  <a:lnTo>
                    <a:pt x="2537904" y="187718"/>
                  </a:lnTo>
                  <a:lnTo>
                    <a:pt x="2538361" y="187718"/>
                  </a:lnTo>
                  <a:lnTo>
                    <a:pt x="2538603" y="187071"/>
                  </a:lnTo>
                  <a:lnTo>
                    <a:pt x="2538806" y="187071"/>
                  </a:lnTo>
                  <a:lnTo>
                    <a:pt x="2539047" y="186423"/>
                  </a:lnTo>
                  <a:lnTo>
                    <a:pt x="2539453" y="186423"/>
                  </a:lnTo>
                  <a:lnTo>
                    <a:pt x="2539593" y="185737"/>
                  </a:lnTo>
                  <a:lnTo>
                    <a:pt x="2539796" y="185737"/>
                  </a:lnTo>
                  <a:lnTo>
                    <a:pt x="2540685" y="184442"/>
                  </a:lnTo>
                  <a:lnTo>
                    <a:pt x="2540939" y="184442"/>
                  </a:lnTo>
                  <a:lnTo>
                    <a:pt x="2541181" y="183794"/>
                  </a:lnTo>
                  <a:lnTo>
                    <a:pt x="2541485" y="183794"/>
                  </a:lnTo>
                  <a:lnTo>
                    <a:pt x="2541828" y="183108"/>
                  </a:lnTo>
                  <a:lnTo>
                    <a:pt x="2542171" y="183108"/>
                  </a:lnTo>
                  <a:lnTo>
                    <a:pt x="2542324" y="182511"/>
                  </a:lnTo>
                  <a:lnTo>
                    <a:pt x="2542717" y="182511"/>
                  </a:lnTo>
                  <a:lnTo>
                    <a:pt x="2542921" y="181864"/>
                  </a:lnTo>
                  <a:lnTo>
                    <a:pt x="2543314" y="181864"/>
                  </a:lnTo>
                  <a:lnTo>
                    <a:pt x="2543670" y="181216"/>
                  </a:lnTo>
                  <a:lnTo>
                    <a:pt x="2544254" y="180517"/>
                  </a:lnTo>
                  <a:lnTo>
                    <a:pt x="2544508" y="180517"/>
                  </a:lnTo>
                  <a:lnTo>
                    <a:pt x="2544762" y="179882"/>
                  </a:lnTo>
                  <a:lnTo>
                    <a:pt x="2545105" y="179882"/>
                  </a:lnTo>
                  <a:lnTo>
                    <a:pt x="2545346" y="179235"/>
                  </a:lnTo>
                  <a:lnTo>
                    <a:pt x="2545499" y="179235"/>
                  </a:lnTo>
                  <a:lnTo>
                    <a:pt x="2546045" y="178587"/>
                  </a:lnTo>
                  <a:lnTo>
                    <a:pt x="2546591" y="177889"/>
                  </a:lnTo>
                  <a:lnTo>
                    <a:pt x="2546845" y="177889"/>
                  </a:lnTo>
                  <a:lnTo>
                    <a:pt x="2547086" y="177304"/>
                  </a:lnTo>
                  <a:lnTo>
                    <a:pt x="2547480" y="177304"/>
                  </a:lnTo>
                  <a:lnTo>
                    <a:pt x="2547632" y="176657"/>
                  </a:lnTo>
                  <a:lnTo>
                    <a:pt x="2547937" y="176657"/>
                  </a:lnTo>
                  <a:lnTo>
                    <a:pt x="2548128" y="175958"/>
                  </a:lnTo>
                  <a:lnTo>
                    <a:pt x="2548674" y="175958"/>
                  </a:lnTo>
                  <a:lnTo>
                    <a:pt x="2548978" y="175311"/>
                  </a:lnTo>
                  <a:lnTo>
                    <a:pt x="2549271" y="175311"/>
                  </a:lnTo>
                  <a:lnTo>
                    <a:pt x="2549563" y="174676"/>
                  </a:lnTo>
                  <a:lnTo>
                    <a:pt x="2549918" y="174676"/>
                  </a:lnTo>
                  <a:lnTo>
                    <a:pt x="2550109" y="174028"/>
                  </a:lnTo>
                  <a:lnTo>
                    <a:pt x="2550464" y="174028"/>
                  </a:lnTo>
                  <a:lnTo>
                    <a:pt x="2550566" y="173329"/>
                  </a:lnTo>
                  <a:lnTo>
                    <a:pt x="2550858" y="173329"/>
                  </a:lnTo>
                  <a:lnTo>
                    <a:pt x="2551112" y="172682"/>
                  </a:lnTo>
                  <a:lnTo>
                    <a:pt x="2551556" y="172682"/>
                  </a:lnTo>
                  <a:lnTo>
                    <a:pt x="2551696" y="172085"/>
                  </a:lnTo>
                  <a:lnTo>
                    <a:pt x="2552001" y="172085"/>
                  </a:lnTo>
                  <a:lnTo>
                    <a:pt x="2552293" y="171450"/>
                  </a:lnTo>
                  <a:lnTo>
                    <a:pt x="2552649" y="171450"/>
                  </a:lnTo>
                  <a:lnTo>
                    <a:pt x="2552890" y="170751"/>
                  </a:lnTo>
                  <a:lnTo>
                    <a:pt x="2553436" y="170751"/>
                  </a:lnTo>
                  <a:lnTo>
                    <a:pt x="2553538" y="170104"/>
                  </a:lnTo>
                  <a:lnTo>
                    <a:pt x="2554084" y="170104"/>
                  </a:lnTo>
                  <a:lnTo>
                    <a:pt x="2554287" y="169456"/>
                  </a:lnTo>
                  <a:lnTo>
                    <a:pt x="2554630" y="169456"/>
                  </a:lnTo>
                  <a:lnTo>
                    <a:pt x="2554731" y="168821"/>
                  </a:lnTo>
                  <a:lnTo>
                    <a:pt x="2555125" y="168821"/>
                  </a:lnTo>
                  <a:lnTo>
                    <a:pt x="2555366" y="168122"/>
                  </a:lnTo>
                  <a:lnTo>
                    <a:pt x="2555875" y="168122"/>
                  </a:lnTo>
                  <a:lnTo>
                    <a:pt x="2556065" y="167475"/>
                  </a:lnTo>
                  <a:lnTo>
                    <a:pt x="2556560" y="167475"/>
                  </a:lnTo>
                  <a:lnTo>
                    <a:pt x="2556560" y="166878"/>
                  </a:lnTo>
                  <a:lnTo>
                    <a:pt x="2557056" y="166878"/>
                  </a:lnTo>
                  <a:lnTo>
                    <a:pt x="2557208" y="166230"/>
                  </a:lnTo>
                  <a:lnTo>
                    <a:pt x="2557703" y="166230"/>
                  </a:lnTo>
                  <a:lnTo>
                    <a:pt x="2557856" y="165544"/>
                  </a:lnTo>
                  <a:lnTo>
                    <a:pt x="2558351" y="165544"/>
                  </a:lnTo>
                  <a:lnTo>
                    <a:pt x="2558503" y="164896"/>
                  </a:lnTo>
                  <a:lnTo>
                    <a:pt x="2558948" y="164896"/>
                  </a:lnTo>
                  <a:lnTo>
                    <a:pt x="2559050" y="164249"/>
                  </a:lnTo>
                  <a:lnTo>
                    <a:pt x="2559634" y="164249"/>
                  </a:lnTo>
                  <a:lnTo>
                    <a:pt x="2559735" y="163563"/>
                  </a:lnTo>
                  <a:lnTo>
                    <a:pt x="2560129" y="163563"/>
                  </a:lnTo>
                  <a:lnTo>
                    <a:pt x="2560332" y="162915"/>
                  </a:lnTo>
                  <a:lnTo>
                    <a:pt x="2560878" y="162915"/>
                  </a:lnTo>
                  <a:lnTo>
                    <a:pt x="2561081" y="162318"/>
                  </a:lnTo>
                  <a:lnTo>
                    <a:pt x="2561526" y="162318"/>
                  </a:lnTo>
                  <a:lnTo>
                    <a:pt x="2561577" y="161671"/>
                  </a:lnTo>
                  <a:lnTo>
                    <a:pt x="2562225" y="161671"/>
                  </a:lnTo>
                  <a:lnTo>
                    <a:pt x="2562263" y="160972"/>
                  </a:lnTo>
                  <a:lnTo>
                    <a:pt x="2562809" y="160972"/>
                  </a:lnTo>
                  <a:lnTo>
                    <a:pt x="2562910" y="160337"/>
                  </a:lnTo>
                  <a:lnTo>
                    <a:pt x="2563406" y="160337"/>
                  </a:lnTo>
                  <a:lnTo>
                    <a:pt x="2563558" y="159689"/>
                  </a:lnTo>
                  <a:lnTo>
                    <a:pt x="2564155" y="159689"/>
                  </a:lnTo>
                  <a:lnTo>
                    <a:pt x="2564206" y="159042"/>
                  </a:lnTo>
                  <a:lnTo>
                    <a:pt x="2564752" y="159042"/>
                  </a:lnTo>
                  <a:lnTo>
                    <a:pt x="2564891" y="158343"/>
                  </a:lnTo>
                  <a:lnTo>
                    <a:pt x="2565400" y="158343"/>
                  </a:lnTo>
                  <a:lnTo>
                    <a:pt x="2565742" y="157708"/>
                  </a:lnTo>
                  <a:lnTo>
                    <a:pt x="2566035" y="157708"/>
                  </a:lnTo>
                  <a:lnTo>
                    <a:pt x="2566238" y="157111"/>
                  </a:lnTo>
                  <a:lnTo>
                    <a:pt x="2566682" y="157111"/>
                  </a:lnTo>
                  <a:lnTo>
                    <a:pt x="2567025" y="156464"/>
                  </a:lnTo>
                  <a:lnTo>
                    <a:pt x="2567381" y="156464"/>
                  </a:lnTo>
                  <a:lnTo>
                    <a:pt x="2567482" y="155765"/>
                  </a:lnTo>
                  <a:lnTo>
                    <a:pt x="2567927" y="155765"/>
                  </a:lnTo>
                  <a:lnTo>
                    <a:pt x="2568473" y="155117"/>
                  </a:lnTo>
                  <a:lnTo>
                    <a:pt x="2568968" y="154482"/>
                  </a:lnTo>
                  <a:lnTo>
                    <a:pt x="2569159" y="154482"/>
                  </a:lnTo>
                  <a:lnTo>
                    <a:pt x="2569616" y="153835"/>
                  </a:lnTo>
                  <a:lnTo>
                    <a:pt x="2569959" y="153835"/>
                  </a:lnTo>
                  <a:lnTo>
                    <a:pt x="2570111" y="153136"/>
                  </a:lnTo>
                  <a:lnTo>
                    <a:pt x="2570746" y="153136"/>
                  </a:lnTo>
                  <a:lnTo>
                    <a:pt x="2571241" y="152489"/>
                  </a:lnTo>
                  <a:lnTo>
                    <a:pt x="2571343" y="152489"/>
                  </a:lnTo>
                  <a:lnTo>
                    <a:pt x="2571546" y="151904"/>
                  </a:lnTo>
                  <a:lnTo>
                    <a:pt x="2572092" y="151904"/>
                  </a:lnTo>
                  <a:lnTo>
                    <a:pt x="2572194" y="151206"/>
                  </a:lnTo>
                  <a:lnTo>
                    <a:pt x="2572791" y="151206"/>
                  </a:lnTo>
                  <a:lnTo>
                    <a:pt x="2572829" y="150558"/>
                  </a:lnTo>
                  <a:lnTo>
                    <a:pt x="2573286" y="150558"/>
                  </a:lnTo>
                  <a:lnTo>
                    <a:pt x="2573731" y="149911"/>
                  </a:lnTo>
                  <a:lnTo>
                    <a:pt x="2574226" y="149276"/>
                  </a:lnTo>
                  <a:lnTo>
                    <a:pt x="2574671" y="149276"/>
                  </a:lnTo>
                  <a:lnTo>
                    <a:pt x="2574874" y="148577"/>
                  </a:lnTo>
                  <a:lnTo>
                    <a:pt x="2575509" y="148577"/>
                  </a:lnTo>
                  <a:lnTo>
                    <a:pt x="2575610" y="147929"/>
                  </a:lnTo>
                  <a:lnTo>
                    <a:pt x="2576106" y="147929"/>
                  </a:lnTo>
                  <a:lnTo>
                    <a:pt x="2576258" y="147282"/>
                  </a:lnTo>
                  <a:lnTo>
                    <a:pt x="2576906" y="147282"/>
                  </a:lnTo>
                  <a:lnTo>
                    <a:pt x="2577096" y="146685"/>
                  </a:lnTo>
                  <a:lnTo>
                    <a:pt x="2577553" y="146685"/>
                  </a:lnTo>
                  <a:lnTo>
                    <a:pt x="2577642" y="145999"/>
                  </a:lnTo>
                  <a:lnTo>
                    <a:pt x="2578290" y="145999"/>
                  </a:lnTo>
                  <a:lnTo>
                    <a:pt x="2578341" y="145351"/>
                  </a:lnTo>
                  <a:lnTo>
                    <a:pt x="2579039" y="145351"/>
                  </a:lnTo>
                  <a:lnTo>
                    <a:pt x="2579039" y="144704"/>
                  </a:lnTo>
                  <a:lnTo>
                    <a:pt x="2579725" y="144704"/>
                  </a:lnTo>
                  <a:lnTo>
                    <a:pt x="2579827" y="144056"/>
                  </a:lnTo>
                  <a:lnTo>
                    <a:pt x="2580424" y="144056"/>
                  </a:lnTo>
                  <a:lnTo>
                    <a:pt x="2580576" y="143370"/>
                  </a:lnTo>
                  <a:lnTo>
                    <a:pt x="2581021" y="143370"/>
                  </a:lnTo>
                  <a:lnTo>
                    <a:pt x="2581224" y="142722"/>
                  </a:lnTo>
                  <a:lnTo>
                    <a:pt x="2581859" y="142722"/>
                  </a:lnTo>
                  <a:lnTo>
                    <a:pt x="2582011" y="142075"/>
                  </a:lnTo>
                  <a:lnTo>
                    <a:pt x="2582557" y="142075"/>
                  </a:lnTo>
                  <a:lnTo>
                    <a:pt x="2582608" y="141478"/>
                  </a:lnTo>
                  <a:lnTo>
                    <a:pt x="2583256" y="141478"/>
                  </a:lnTo>
                  <a:lnTo>
                    <a:pt x="2583548" y="140792"/>
                  </a:lnTo>
                  <a:lnTo>
                    <a:pt x="2583903" y="140792"/>
                  </a:lnTo>
                  <a:lnTo>
                    <a:pt x="2584145" y="140144"/>
                  </a:lnTo>
                  <a:lnTo>
                    <a:pt x="2584640" y="140144"/>
                  </a:lnTo>
                  <a:lnTo>
                    <a:pt x="2584894" y="139496"/>
                  </a:lnTo>
                  <a:lnTo>
                    <a:pt x="2585389" y="139496"/>
                  </a:lnTo>
                  <a:lnTo>
                    <a:pt x="2585631" y="138798"/>
                  </a:lnTo>
                  <a:lnTo>
                    <a:pt x="2586228" y="138798"/>
                  </a:lnTo>
                  <a:lnTo>
                    <a:pt x="2586431" y="138163"/>
                  </a:lnTo>
                  <a:lnTo>
                    <a:pt x="2586977" y="138163"/>
                  </a:lnTo>
                  <a:lnTo>
                    <a:pt x="2587421" y="137515"/>
                  </a:lnTo>
                  <a:lnTo>
                    <a:pt x="2587967" y="136918"/>
                  </a:lnTo>
                  <a:lnTo>
                    <a:pt x="2588361" y="136918"/>
                  </a:lnTo>
                  <a:lnTo>
                    <a:pt x="2588666" y="136169"/>
                  </a:lnTo>
                  <a:lnTo>
                    <a:pt x="2589161" y="136169"/>
                  </a:lnTo>
                  <a:lnTo>
                    <a:pt x="2589352" y="135572"/>
                  </a:lnTo>
                  <a:lnTo>
                    <a:pt x="2589949" y="135572"/>
                  </a:lnTo>
                  <a:lnTo>
                    <a:pt x="2590101" y="134937"/>
                  </a:lnTo>
                  <a:lnTo>
                    <a:pt x="2590749" y="134937"/>
                  </a:lnTo>
                  <a:lnTo>
                    <a:pt x="2590838" y="134289"/>
                  </a:lnTo>
                  <a:lnTo>
                    <a:pt x="2591435" y="134289"/>
                  </a:lnTo>
                  <a:lnTo>
                    <a:pt x="2591688" y="133591"/>
                  </a:lnTo>
                  <a:lnTo>
                    <a:pt x="2592184" y="133591"/>
                  </a:lnTo>
                  <a:lnTo>
                    <a:pt x="2592336" y="132943"/>
                  </a:lnTo>
                  <a:lnTo>
                    <a:pt x="2593022" y="132943"/>
                  </a:lnTo>
                  <a:lnTo>
                    <a:pt x="2593124" y="132308"/>
                  </a:lnTo>
                  <a:lnTo>
                    <a:pt x="2593873" y="132308"/>
                  </a:lnTo>
                  <a:lnTo>
                    <a:pt x="2593873" y="131711"/>
                  </a:lnTo>
                  <a:lnTo>
                    <a:pt x="2594470" y="131711"/>
                  </a:lnTo>
                  <a:lnTo>
                    <a:pt x="2594610" y="130962"/>
                  </a:lnTo>
                  <a:lnTo>
                    <a:pt x="2595257" y="130962"/>
                  </a:lnTo>
                  <a:lnTo>
                    <a:pt x="2595460" y="130365"/>
                  </a:lnTo>
                  <a:lnTo>
                    <a:pt x="2595753" y="130365"/>
                  </a:lnTo>
                  <a:lnTo>
                    <a:pt x="2596248" y="129717"/>
                  </a:lnTo>
                  <a:lnTo>
                    <a:pt x="2596896" y="129717"/>
                  </a:lnTo>
                  <a:lnTo>
                    <a:pt x="2597048" y="129082"/>
                  </a:lnTo>
                  <a:lnTo>
                    <a:pt x="2597734" y="129082"/>
                  </a:lnTo>
                  <a:lnTo>
                    <a:pt x="2597734" y="128384"/>
                  </a:lnTo>
                  <a:lnTo>
                    <a:pt x="2598432" y="128384"/>
                  </a:lnTo>
                  <a:lnTo>
                    <a:pt x="2598534" y="127736"/>
                  </a:lnTo>
                  <a:lnTo>
                    <a:pt x="2599181" y="127736"/>
                  </a:lnTo>
                  <a:lnTo>
                    <a:pt x="2599677" y="127089"/>
                  </a:lnTo>
                  <a:lnTo>
                    <a:pt x="2600020" y="127089"/>
                  </a:lnTo>
                  <a:lnTo>
                    <a:pt x="2600223" y="126403"/>
                  </a:lnTo>
                  <a:lnTo>
                    <a:pt x="2600820" y="126403"/>
                  </a:lnTo>
                  <a:lnTo>
                    <a:pt x="2601366" y="125806"/>
                  </a:lnTo>
                  <a:lnTo>
                    <a:pt x="2601607" y="125806"/>
                  </a:lnTo>
                  <a:lnTo>
                    <a:pt x="2601709" y="125158"/>
                  </a:lnTo>
                  <a:lnTo>
                    <a:pt x="2602547" y="125158"/>
                  </a:lnTo>
                  <a:lnTo>
                    <a:pt x="2602547" y="124511"/>
                  </a:lnTo>
                  <a:lnTo>
                    <a:pt x="2602750" y="124511"/>
                  </a:lnTo>
                  <a:lnTo>
                    <a:pt x="2604388" y="123177"/>
                  </a:lnTo>
                  <a:lnTo>
                    <a:pt x="2604985" y="123177"/>
                  </a:lnTo>
                  <a:lnTo>
                    <a:pt x="2605036" y="122529"/>
                  </a:lnTo>
                  <a:lnTo>
                    <a:pt x="2605278" y="122529"/>
                  </a:lnTo>
                  <a:lnTo>
                    <a:pt x="2605976" y="121882"/>
                  </a:lnTo>
                  <a:lnTo>
                    <a:pt x="2606471" y="121882"/>
                  </a:lnTo>
                  <a:lnTo>
                    <a:pt x="2606814" y="121196"/>
                  </a:lnTo>
                  <a:lnTo>
                    <a:pt x="2607259" y="121196"/>
                  </a:lnTo>
                  <a:lnTo>
                    <a:pt x="2608262" y="120599"/>
                  </a:lnTo>
                  <a:lnTo>
                    <a:pt x="2608300" y="120599"/>
                  </a:lnTo>
                  <a:lnTo>
                    <a:pt x="2608999" y="119951"/>
                  </a:lnTo>
                  <a:lnTo>
                    <a:pt x="2609151" y="119951"/>
                  </a:lnTo>
                  <a:lnTo>
                    <a:pt x="2609303" y="119304"/>
                  </a:lnTo>
                  <a:lnTo>
                    <a:pt x="2609989" y="119304"/>
                  </a:lnTo>
                  <a:lnTo>
                    <a:pt x="2610040" y="118605"/>
                  </a:lnTo>
                  <a:lnTo>
                    <a:pt x="2610891" y="118605"/>
                  </a:lnTo>
                  <a:lnTo>
                    <a:pt x="2610980" y="117970"/>
                  </a:lnTo>
                  <a:lnTo>
                    <a:pt x="2611335" y="117970"/>
                  </a:lnTo>
                  <a:lnTo>
                    <a:pt x="2611780" y="117322"/>
                  </a:lnTo>
                  <a:lnTo>
                    <a:pt x="2612516" y="117322"/>
                  </a:lnTo>
                  <a:lnTo>
                    <a:pt x="2612618" y="116675"/>
                  </a:lnTo>
                  <a:lnTo>
                    <a:pt x="2613266" y="116675"/>
                  </a:lnTo>
                  <a:lnTo>
                    <a:pt x="2613609" y="115976"/>
                  </a:lnTo>
                  <a:lnTo>
                    <a:pt x="2614206" y="115976"/>
                  </a:lnTo>
                  <a:lnTo>
                    <a:pt x="2614409" y="115392"/>
                  </a:lnTo>
                  <a:lnTo>
                    <a:pt x="2615196" y="115392"/>
                  </a:lnTo>
                  <a:lnTo>
                    <a:pt x="2615247" y="114744"/>
                  </a:lnTo>
                  <a:lnTo>
                    <a:pt x="2616098" y="114744"/>
                  </a:lnTo>
                  <a:lnTo>
                    <a:pt x="2616149" y="114046"/>
                  </a:lnTo>
                  <a:lnTo>
                    <a:pt x="2616885" y="114046"/>
                  </a:lnTo>
                  <a:lnTo>
                    <a:pt x="2617038" y="113398"/>
                  </a:lnTo>
                  <a:lnTo>
                    <a:pt x="2617825" y="113398"/>
                  </a:lnTo>
                  <a:lnTo>
                    <a:pt x="2617927" y="112763"/>
                  </a:lnTo>
                  <a:lnTo>
                    <a:pt x="2618676" y="112763"/>
                  </a:lnTo>
                  <a:lnTo>
                    <a:pt x="2618968" y="112115"/>
                  </a:lnTo>
                  <a:lnTo>
                    <a:pt x="2619717" y="112115"/>
                  </a:lnTo>
                  <a:lnTo>
                    <a:pt x="2619768" y="111417"/>
                  </a:lnTo>
                  <a:lnTo>
                    <a:pt x="2620416" y="111417"/>
                  </a:lnTo>
                  <a:lnTo>
                    <a:pt x="2620759" y="110769"/>
                  </a:lnTo>
                  <a:lnTo>
                    <a:pt x="2621457" y="110769"/>
                  </a:lnTo>
                  <a:lnTo>
                    <a:pt x="2621800" y="110172"/>
                  </a:lnTo>
                  <a:lnTo>
                    <a:pt x="2622041" y="110172"/>
                  </a:lnTo>
                  <a:lnTo>
                    <a:pt x="2622689" y="109537"/>
                  </a:lnTo>
                  <a:lnTo>
                    <a:pt x="2623235" y="109537"/>
                  </a:lnTo>
                  <a:lnTo>
                    <a:pt x="2623286" y="108839"/>
                  </a:lnTo>
                  <a:lnTo>
                    <a:pt x="2624175" y="108839"/>
                  </a:lnTo>
                  <a:lnTo>
                    <a:pt x="2624277" y="108191"/>
                  </a:lnTo>
                  <a:lnTo>
                    <a:pt x="2624721" y="108191"/>
                  </a:lnTo>
                  <a:lnTo>
                    <a:pt x="2625216" y="107543"/>
                  </a:lnTo>
                  <a:lnTo>
                    <a:pt x="2625915" y="107543"/>
                  </a:lnTo>
                  <a:lnTo>
                    <a:pt x="2626410" y="106908"/>
                  </a:lnTo>
                  <a:lnTo>
                    <a:pt x="2627058" y="106908"/>
                  </a:lnTo>
                  <a:lnTo>
                    <a:pt x="2627109" y="106210"/>
                  </a:lnTo>
                  <a:lnTo>
                    <a:pt x="2627452" y="106210"/>
                  </a:lnTo>
                  <a:lnTo>
                    <a:pt x="2627998" y="105562"/>
                  </a:lnTo>
                  <a:lnTo>
                    <a:pt x="2628849" y="105562"/>
                  </a:lnTo>
                  <a:lnTo>
                    <a:pt x="2629242" y="104965"/>
                  </a:lnTo>
                  <a:lnTo>
                    <a:pt x="2629941" y="104965"/>
                  </a:lnTo>
                  <a:lnTo>
                    <a:pt x="2630030" y="104317"/>
                  </a:lnTo>
                  <a:lnTo>
                    <a:pt x="2630830" y="104317"/>
                  </a:lnTo>
                  <a:lnTo>
                    <a:pt x="2630931" y="103632"/>
                  </a:lnTo>
                  <a:lnTo>
                    <a:pt x="2631821" y="103632"/>
                  </a:lnTo>
                  <a:lnTo>
                    <a:pt x="2632024" y="102984"/>
                  </a:lnTo>
                  <a:lnTo>
                    <a:pt x="2632519" y="102984"/>
                  </a:lnTo>
                  <a:lnTo>
                    <a:pt x="2632963" y="102336"/>
                  </a:lnTo>
                  <a:lnTo>
                    <a:pt x="2633700" y="102336"/>
                  </a:lnTo>
                  <a:lnTo>
                    <a:pt x="2633853" y="101651"/>
                  </a:lnTo>
                  <a:lnTo>
                    <a:pt x="2634741" y="101651"/>
                  </a:lnTo>
                  <a:lnTo>
                    <a:pt x="2634792" y="101003"/>
                  </a:lnTo>
                  <a:lnTo>
                    <a:pt x="2635643" y="101003"/>
                  </a:lnTo>
                  <a:lnTo>
                    <a:pt x="2635885" y="100406"/>
                  </a:lnTo>
                  <a:lnTo>
                    <a:pt x="2636786" y="100406"/>
                  </a:lnTo>
                  <a:lnTo>
                    <a:pt x="2636875" y="99758"/>
                  </a:lnTo>
                  <a:lnTo>
                    <a:pt x="2637777" y="99758"/>
                  </a:lnTo>
                  <a:lnTo>
                    <a:pt x="2637777" y="99060"/>
                  </a:lnTo>
                  <a:lnTo>
                    <a:pt x="2638767" y="99060"/>
                  </a:lnTo>
                  <a:lnTo>
                    <a:pt x="2638869" y="98425"/>
                  </a:lnTo>
                  <a:lnTo>
                    <a:pt x="2639758" y="98425"/>
                  </a:lnTo>
                  <a:lnTo>
                    <a:pt x="2639910" y="97777"/>
                  </a:lnTo>
                  <a:lnTo>
                    <a:pt x="2640749" y="97777"/>
                  </a:lnTo>
                  <a:lnTo>
                    <a:pt x="2640901" y="97129"/>
                  </a:lnTo>
                  <a:lnTo>
                    <a:pt x="2641739" y="97129"/>
                  </a:lnTo>
                  <a:lnTo>
                    <a:pt x="2641993" y="96431"/>
                  </a:lnTo>
                  <a:lnTo>
                    <a:pt x="2642679" y="96431"/>
                  </a:lnTo>
                  <a:lnTo>
                    <a:pt x="2643187" y="95796"/>
                  </a:lnTo>
                  <a:lnTo>
                    <a:pt x="2643924" y="95796"/>
                  </a:lnTo>
                  <a:lnTo>
                    <a:pt x="2644025" y="95199"/>
                  </a:lnTo>
                  <a:lnTo>
                    <a:pt x="2645016" y="95199"/>
                  </a:lnTo>
                  <a:lnTo>
                    <a:pt x="2645117" y="94551"/>
                  </a:lnTo>
                  <a:lnTo>
                    <a:pt x="2645663" y="94551"/>
                  </a:lnTo>
                  <a:lnTo>
                    <a:pt x="2646311" y="93853"/>
                  </a:lnTo>
                  <a:lnTo>
                    <a:pt x="2647099" y="93853"/>
                  </a:lnTo>
                  <a:lnTo>
                    <a:pt x="2647251" y="93205"/>
                  </a:lnTo>
                  <a:lnTo>
                    <a:pt x="2648140" y="93205"/>
                  </a:lnTo>
                  <a:lnTo>
                    <a:pt x="2648292" y="92570"/>
                  </a:lnTo>
                  <a:lnTo>
                    <a:pt x="2649283" y="92570"/>
                  </a:lnTo>
                  <a:lnTo>
                    <a:pt x="2649334" y="91922"/>
                  </a:lnTo>
                  <a:lnTo>
                    <a:pt x="2650274" y="91922"/>
                  </a:lnTo>
                  <a:lnTo>
                    <a:pt x="2650426" y="91224"/>
                  </a:lnTo>
                  <a:lnTo>
                    <a:pt x="2651023" y="91224"/>
                  </a:lnTo>
                  <a:lnTo>
                    <a:pt x="2651620" y="90576"/>
                  </a:lnTo>
                  <a:lnTo>
                    <a:pt x="2652509" y="90576"/>
                  </a:lnTo>
                  <a:lnTo>
                    <a:pt x="2652661" y="89992"/>
                  </a:lnTo>
                  <a:lnTo>
                    <a:pt x="2653652" y="89992"/>
                  </a:lnTo>
                  <a:lnTo>
                    <a:pt x="2653791" y="89293"/>
                  </a:lnTo>
                  <a:lnTo>
                    <a:pt x="2654439" y="89293"/>
                  </a:lnTo>
                  <a:lnTo>
                    <a:pt x="2655239" y="88646"/>
                  </a:lnTo>
                  <a:lnTo>
                    <a:pt x="2655887" y="88646"/>
                  </a:lnTo>
                  <a:lnTo>
                    <a:pt x="2656027" y="87998"/>
                  </a:lnTo>
                  <a:lnTo>
                    <a:pt x="2657017" y="87998"/>
                  </a:lnTo>
                  <a:lnTo>
                    <a:pt x="2657068" y="87363"/>
                  </a:lnTo>
                  <a:lnTo>
                    <a:pt x="2658160" y="87363"/>
                  </a:lnTo>
                  <a:lnTo>
                    <a:pt x="2658160" y="86664"/>
                  </a:lnTo>
                  <a:lnTo>
                    <a:pt x="2659253" y="86664"/>
                  </a:lnTo>
                  <a:lnTo>
                    <a:pt x="2659405" y="86017"/>
                  </a:lnTo>
                  <a:lnTo>
                    <a:pt x="2660396" y="86017"/>
                  </a:lnTo>
                  <a:lnTo>
                    <a:pt x="2660599" y="85369"/>
                  </a:lnTo>
                  <a:lnTo>
                    <a:pt x="2661589" y="85369"/>
                  </a:lnTo>
                  <a:lnTo>
                    <a:pt x="2661691" y="84772"/>
                  </a:lnTo>
                  <a:lnTo>
                    <a:pt x="2662732" y="84772"/>
                  </a:lnTo>
                  <a:lnTo>
                    <a:pt x="2662872" y="84086"/>
                  </a:lnTo>
                  <a:lnTo>
                    <a:pt x="2664015" y="84086"/>
                  </a:lnTo>
                  <a:lnTo>
                    <a:pt x="2664015" y="83439"/>
                  </a:lnTo>
                  <a:lnTo>
                    <a:pt x="2665158" y="83439"/>
                  </a:lnTo>
                  <a:lnTo>
                    <a:pt x="2665310" y="82791"/>
                  </a:lnTo>
                  <a:lnTo>
                    <a:pt x="2666352" y="82791"/>
                  </a:lnTo>
                  <a:lnTo>
                    <a:pt x="2666453" y="82143"/>
                  </a:lnTo>
                  <a:lnTo>
                    <a:pt x="2667495" y="82143"/>
                  </a:lnTo>
                  <a:lnTo>
                    <a:pt x="2668625" y="81457"/>
                  </a:lnTo>
                  <a:lnTo>
                    <a:pt x="2668778" y="81457"/>
                  </a:lnTo>
                  <a:lnTo>
                    <a:pt x="2668828" y="80810"/>
                  </a:lnTo>
                  <a:lnTo>
                    <a:pt x="2669870" y="80810"/>
                  </a:lnTo>
                  <a:lnTo>
                    <a:pt x="2670314" y="80162"/>
                  </a:lnTo>
                  <a:lnTo>
                    <a:pt x="2671254" y="80162"/>
                  </a:lnTo>
                  <a:lnTo>
                    <a:pt x="2671305" y="79464"/>
                  </a:lnTo>
                  <a:lnTo>
                    <a:pt x="2672499" y="79464"/>
                  </a:lnTo>
                  <a:lnTo>
                    <a:pt x="2672600" y="78879"/>
                  </a:lnTo>
                  <a:lnTo>
                    <a:pt x="2673692" y="78879"/>
                  </a:lnTo>
                  <a:lnTo>
                    <a:pt x="2674188" y="78232"/>
                  </a:lnTo>
                  <a:lnTo>
                    <a:pt x="2674734" y="78232"/>
                  </a:lnTo>
                  <a:lnTo>
                    <a:pt x="2675178" y="77584"/>
                  </a:lnTo>
                  <a:lnTo>
                    <a:pt x="2676271" y="77584"/>
                  </a:lnTo>
                  <a:lnTo>
                    <a:pt x="2676321" y="76886"/>
                  </a:lnTo>
                  <a:lnTo>
                    <a:pt x="2677464" y="76886"/>
                  </a:lnTo>
                  <a:lnTo>
                    <a:pt x="2677604" y="76251"/>
                  </a:lnTo>
                  <a:lnTo>
                    <a:pt x="2678798" y="76251"/>
                  </a:lnTo>
                  <a:lnTo>
                    <a:pt x="2678950" y="75603"/>
                  </a:lnTo>
                  <a:lnTo>
                    <a:pt x="2680093" y="75603"/>
                  </a:lnTo>
                  <a:lnTo>
                    <a:pt x="2680385" y="75006"/>
                  </a:lnTo>
                  <a:lnTo>
                    <a:pt x="2681325" y="75006"/>
                  </a:lnTo>
                  <a:lnTo>
                    <a:pt x="2681973" y="74257"/>
                  </a:lnTo>
                  <a:lnTo>
                    <a:pt x="2682176" y="74257"/>
                  </a:lnTo>
                  <a:lnTo>
                    <a:pt x="2682913" y="73660"/>
                  </a:lnTo>
                  <a:lnTo>
                    <a:pt x="2683954" y="73660"/>
                  </a:lnTo>
                  <a:lnTo>
                    <a:pt x="2684500" y="73025"/>
                  </a:lnTo>
                  <a:lnTo>
                    <a:pt x="2685503" y="73025"/>
                  </a:lnTo>
                  <a:lnTo>
                    <a:pt x="2685503" y="72377"/>
                  </a:lnTo>
                  <a:lnTo>
                    <a:pt x="2686634" y="72377"/>
                  </a:lnTo>
                  <a:lnTo>
                    <a:pt x="2686888" y="71679"/>
                  </a:lnTo>
                  <a:lnTo>
                    <a:pt x="2688221" y="71679"/>
                  </a:lnTo>
                  <a:lnTo>
                    <a:pt x="2688272" y="71031"/>
                  </a:lnTo>
                  <a:lnTo>
                    <a:pt x="2689466" y="71031"/>
                  </a:lnTo>
                  <a:lnTo>
                    <a:pt x="2689618" y="70396"/>
                  </a:lnTo>
                  <a:lnTo>
                    <a:pt x="2690507" y="70396"/>
                  </a:lnTo>
                  <a:lnTo>
                    <a:pt x="2691053" y="69799"/>
                  </a:lnTo>
                  <a:lnTo>
                    <a:pt x="2691549" y="69799"/>
                  </a:lnTo>
                  <a:lnTo>
                    <a:pt x="2692438" y="69050"/>
                  </a:lnTo>
                  <a:lnTo>
                    <a:pt x="2693733" y="69050"/>
                  </a:lnTo>
                  <a:lnTo>
                    <a:pt x="2693784" y="68453"/>
                  </a:lnTo>
                  <a:lnTo>
                    <a:pt x="2695117" y="68453"/>
                  </a:lnTo>
                  <a:lnTo>
                    <a:pt x="2695270" y="67805"/>
                  </a:lnTo>
                  <a:lnTo>
                    <a:pt x="2696616" y="67805"/>
                  </a:lnTo>
                  <a:lnTo>
                    <a:pt x="2696654" y="67119"/>
                  </a:lnTo>
                  <a:lnTo>
                    <a:pt x="2697848" y="67119"/>
                  </a:lnTo>
                  <a:lnTo>
                    <a:pt x="2698241" y="66471"/>
                  </a:lnTo>
                  <a:lnTo>
                    <a:pt x="2699486" y="66471"/>
                  </a:lnTo>
                  <a:lnTo>
                    <a:pt x="2699791" y="65824"/>
                  </a:lnTo>
                  <a:lnTo>
                    <a:pt x="2700972" y="65824"/>
                  </a:lnTo>
                  <a:lnTo>
                    <a:pt x="2701074" y="65176"/>
                  </a:lnTo>
                  <a:lnTo>
                    <a:pt x="2702509" y="65176"/>
                  </a:lnTo>
                  <a:lnTo>
                    <a:pt x="2702560" y="64490"/>
                  </a:lnTo>
                  <a:lnTo>
                    <a:pt x="2703703" y="64490"/>
                  </a:lnTo>
                  <a:lnTo>
                    <a:pt x="2704007" y="63893"/>
                  </a:lnTo>
                  <a:lnTo>
                    <a:pt x="2705493" y="63893"/>
                  </a:lnTo>
                  <a:lnTo>
                    <a:pt x="2705544" y="63246"/>
                  </a:lnTo>
                  <a:lnTo>
                    <a:pt x="2706928" y="63246"/>
                  </a:lnTo>
                  <a:lnTo>
                    <a:pt x="2707182" y="62598"/>
                  </a:lnTo>
                  <a:lnTo>
                    <a:pt x="2708516" y="62598"/>
                  </a:lnTo>
                  <a:lnTo>
                    <a:pt x="2708617" y="61912"/>
                  </a:lnTo>
                  <a:lnTo>
                    <a:pt x="2710103" y="61912"/>
                  </a:lnTo>
                  <a:lnTo>
                    <a:pt x="2710205" y="61264"/>
                  </a:lnTo>
                  <a:lnTo>
                    <a:pt x="2711640" y="61264"/>
                  </a:lnTo>
                  <a:lnTo>
                    <a:pt x="2711843" y="60617"/>
                  </a:lnTo>
                  <a:lnTo>
                    <a:pt x="2713278" y="60617"/>
                  </a:lnTo>
                  <a:lnTo>
                    <a:pt x="2713380" y="59969"/>
                  </a:lnTo>
                  <a:lnTo>
                    <a:pt x="2714866" y="59969"/>
                  </a:lnTo>
                  <a:lnTo>
                    <a:pt x="2715018" y="59283"/>
                  </a:lnTo>
                  <a:lnTo>
                    <a:pt x="2716555" y="59283"/>
                  </a:lnTo>
                  <a:lnTo>
                    <a:pt x="2716606" y="58686"/>
                  </a:lnTo>
                  <a:lnTo>
                    <a:pt x="2718193" y="58686"/>
                  </a:lnTo>
                  <a:lnTo>
                    <a:pt x="2718244" y="58039"/>
                  </a:lnTo>
                  <a:lnTo>
                    <a:pt x="2719781" y="58039"/>
                  </a:lnTo>
                  <a:lnTo>
                    <a:pt x="2719831" y="57391"/>
                  </a:lnTo>
                  <a:lnTo>
                    <a:pt x="2721470" y="57391"/>
                  </a:lnTo>
                  <a:lnTo>
                    <a:pt x="2721559" y="56692"/>
                  </a:lnTo>
                  <a:lnTo>
                    <a:pt x="2723057" y="56692"/>
                  </a:lnTo>
                  <a:lnTo>
                    <a:pt x="2723197" y="56057"/>
                  </a:lnTo>
                  <a:lnTo>
                    <a:pt x="2724289" y="56057"/>
                  </a:lnTo>
                  <a:lnTo>
                    <a:pt x="2725038" y="55410"/>
                  </a:lnTo>
                  <a:lnTo>
                    <a:pt x="2726626" y="55410"/>
                  </a:lnTo>
                  <a:lnTo>
                    <a:pt x="2726677" y="54711"/>
                  </a:lnTo>
                  <a:lnTo>
                    <a:pt x="2728010" y="54711"/>
                  </a:lnTo>
                  <a:lnTo>
                    <a:pt x="2728861" y="54064"/>
                  </a:lnTo>
                  <a:lnTo>
                    <a:pt x="2730042" y="54064"/>
                  </a:lnTo>
                  <a:lnTo>
                    <a:pt x="2730195" y="53479"/>
                  </a:lnTo>
                  <a:lnTo>
                    <a:pt x="2731236" y="53479"/>
                  </a:lnTo>
                  <a:lnTo>
                    <a:pt x="2732036" y="52832"/>
                  </a:lnTo>
                  <a:lnTo>
                    <a:pt x="2733573" y="52832"/>
                  </a:lnTo>
                  <a:lnTo>
                    <a:pt x="2734017" y="52133"/>
                  </a:lnTo>
                  <a:lnTo>
                    <a:pt x="2735503" y="52133"/>
                  </a:lnTo>
                  <a:lnTo>
                    <a:pt x="2735503" y="51486"/>
                  </a:lnTo>
                  <a:lnTo>
                    <a:pt x="2737243" y="51486"/>
                  </a:lnTo>
                  <a:lnTo>
                    <a:pt x="2737434" y="50851"/>
                  </a:lnTo>
                  <a:lnTo>
                    <a:pt x="2739174" y="50851"/>
                  </a:lnTo>
                  <a:lnTo>
                    <a:pt x="2739174" y="50203"/>
                  </a:lnTo>
                  <a:lnTo>
                    <a:pt x="2741066" y="50203"/>
                  </a:lnTo>
                  <a:lnTo>
                    <a:pt x="2741155" y="49504"/>
                  </a:lnTo>
                  <a:lnTo>
                    <a:pt x="2742946" y="49504"/>
                  </a:lnTo>
                  <a:lnTo>
                    <a:pt x="2743149" y="48857"/>
                  </a:lnTo>
                  <a:lnTo>
                    <a:pt x="2744825" y="48857"/>
                  </a:lnTo>
                  <a:lnTo>
                    <a:pt x="2745130" y="48260"/>
                  </a:lnTo>
                  <a:lnTo>
                    <a:pt x="2746870" y="48260"/>
                  </a:lnTo>
                  <a:lnTo>
                    <a:pt x="2746870" y="47625"/>
                  </a:lnTo>
                  <a:lnTo>
                    <a:pt x="2748406" y="47625"/>
                  </a:lnTo>
                  <a:lnTo>
                    <a:pt x="2748902" y="46926"/>
                  </a:lnTo>
                  <a:lnTo>
                    <a:pt x="2750832" y="46926"/>
                  </a:lnTo>
                  <a:lnTo>
                    <a:pt x="2750883" y="46279"/>
                  </a:lnTo>
                  <a:lnTo>
                    <a:pt x="2752915" y="46279"/>
                  </a:lnTo>
                  <a:lnTo>
                    <a:pt x="2752966" y="45631"/>
                  </a:lnTo>
                  <a:lnTo>
                    <a:pt x="2754896" y="45631"/>
                  </a:lnTo>
                  <a:lnTo>
                    <a:pt x="2754947" y="44996"/>
                  </a:lnTo>
                  <a:lnTo>
                    <a:pt x="2756979" y="44996"/>
                  </a:lnTo>
                  <a:lnTo>
                    <a:pt x="2757233" y="44297"/>
                  </a:lnTo>
                  <a:lnTo>
                    <a:pt x="2758973" y="44297"/>
                  </a:lnTo>
                  <a:lnTo>
                    <a:pt x="2759214" y="43650"/>
                  </a:lnTo>
                  <a:lnTo>
                    <a:pt x="2761106" y="43650"/>
                  </a:lnTo>
                  <a:lnTo>
                    <a:pt x="2761297" y="43053"/>
                  </a:lnTo>
                  <a:lnTo>
                    <a:pt x="2762935" y="43053"/>
                  </a:lnTo>
                  <a:lnTo>
                    <a:pt x="2764180" y="42367"/>
                  </a:lnTo>
                  <a:lnTo>
                    <a:pt x="2765615" y="42367"/>
                  </a:lnTo>
                  <a:lnTo>
                    <a:pt x="2765869" y="41719"/>
                  </a:lnTo>
                  <a:lnTo>
                    <a:pt x="2767850" y="41719"/>
                  </a:lnTo>
                  <a:lnTo>
                    <a:pt x="2767901" y="41071"/>
                  </a:lnTo>
                  <a:lnTo>
                    <a:pt x="2769933" y="41071"/>
                  </a:lnTo>
                  <a:lnTo>
                    <a:pt x="2770428" y="40424"/>
                  </a:lnTo>
                  <a:lnTo>
                    <a:pt x="2772359" y="40424"/>
                  </a:lnTo>
                  <a:lnTo>
                    <a:pt x="2772613" y="39738"/>
                  </a:lnTo>
                  <a:lnTo>
                    <a:pt x="2774746" y="39738"/>
                  </a:lnTo>
                  <a:lnTo>
                    <a:pt x="2774848" y="39090"/>
                  </a:lnTo>
                  <a:lnTo>
                    <a:pt x="2777121" y="39090"/>
                  </a:lnTo>
                  <a:lnTo>
                    <a:pt x="2777172" y="38493"/>
                  </a:lnTo>
                  <a:lnTo>
                    <a:pt x="2779166" y="38493"/>
                  </a:lnTo>
                  <a:lnTo>
                    <a:pt x="2779712" y="37846"/>
                  </a:lnTo>
                  <a:lnTo>
                    <a:pt x="2781985" y="37846"/>
                  </a:lnTo>
                  <a:lnTo>
                    <a:pt x="2782138" y="37147"/>
                  </a:lnTo>
                  <a:lnTo>
                    <a:pt x="2784475" y="37147"/>
                  </a:lnTo>
                  <a:lnTo>
                    <a:pt x="2784513" y="36512"/>
                  </a:lnTo>
                  <a:lnTo>
                    <a:pt x="2786951" y="36512"/>
                  </a:lnTo>
                  <a:lnTo>
                    <a:pt x="2788335" y="35864"/>
                  </a:lnTo>
                  <a:lnTo>
                    <a:pt x="2789580" y="35864"/>
                  </a:lnTo>
                  <a:lnTo>
                    <a:pt x="2789821" y="35217"/>
                  </a:lnTo>
                  <a:lnTo>
                    <a:pt x="2792158" y="35217"/>
                  </a:lnTo>
                  <a:lnTo>
                    <a:pt x="2792209" y="34518"/>
                  </a:lnTo>
                  <a:lnTo>
                    <a:pt x="2794838" y="34518"/>
                  </a:lnTo>
                  <a:lnTo>
                    <a:pt x="2794888" y="33883"/>
                  </a:lnTo>
                  <a:lnTo>
                    <a:pt x="2797314" y="33883"/>
                  </a:lnTo>
                  <a:lnTo>
                    <a:pt x="2797568" y="33286"/>
                  </a:lnTo>
                  <a:lnTo>
                    <a:pt x="2800299" y="33286"/>
                  </a:lnTo>
                  <a:lnTo>
                    <a:pt x="2800349" y="32639"/>
                  </a:lnTo>
                  <a:lnTo>
                    <a:pt x="2803067" y="32639"/>
                  </a:lnTo>
                  <a:lnTo>
                    <a:pt x="2803118" y="31940"/>
                  </a:lnTo>
                  <a:lnTo>
                    <a:pt x="2805849" y="31940"/>
                  </a:lnTo>
                  <a:lnTo>
                    <a:pt x="2806153" y="31292"/>
                  </a:lnTo>
                  <a:lnTo>
                    <a:pt x="2808782" y="31292"/>
                  </a:lnTo>
                  <a:lnTo>
                    <a:pt x="2808973" y="30657"/>
                  </a:lnTo>
                  <a:lnTo>
                    <a:pt x="2811805" y="30657"/>
                  </a:lnTo>
                  <a:lnTo>
                    <a:pt x="2811856" y="29959"/>
                  </a:lnTo>
                  <a:lnTo>
                    <a:pt x="2814586" y="29959"/>
                  </a:lnTo>
                  <a:lnTo>
                    <a:pt x="2814828" y="29311"/>
                  </a:lnTo>
                  <a:lnTo>
                    <a:pt x="2817850" y="29311"/>
                  </a:lnTo>
                  <a:lnTo>
                    <a:pt x="2817850" y="28664"/>
                  </a:lnTo>
                  <a:lnTo>
                    <a:pt x="2820987" y="28664"/>
                  </a:lnTo>
                  <a:lnTo>
                    <a:pt x="2821025" y="28079"/>
                  </a:lnTo>
                  <a:lnTo>
                    <a:pt x="2824162" y="28079"/>
                  </a:lnTo>
                  <a:lnTo>
                    <a:pt x="2824353" y="27381"/>
                  </a:lnTo>
                  <a:lnTo>
                    <a:pt x="2827375" y="27381"/>
                  </a:lnTo>
                  <a:lnTo>
                    <a:pt x="2827578" y="26733"/>
                  </a:lnTo>
                  <a:lnTo>
                    <a:pt x="2830753" y="26733"/>
                  </a:lnTo>
                  <a:lnTo>
                    <a:pt x="2830855" y="26086"/>
                  </a:lnTo>
                  <a:lnTo>
                    <a:pt x="2833725" y="26086"/>
                  </a:lnTo>
                  <a:lnTo>
                    <a:pt x="2834373" y="25451"/>
                  </a:lnTo>
                  <a:lnTo>
                    <a:pt x="2837599" y="25451"/>
                  </a:lnTo>
                  <a:lnTo>
                    <a:pt x="2837700" y="24752"/>
                  </a:lnTo>
                  <a:lnTo>
                    <a:pt x="2840926" y="24752"/>
                  </a:lnTo>
                  <a:lnTo>
                    <a:pt x="2841218" y="24104"/>
                  </a:lnTo>
                  <a:lnTo>
                    <a:pt x="2844698" y="24104"/>
                  </a:lnTo>
                  <a:lnTo>
                    <a:pt x="2844838" y="23457"/>
                  </a:lnTo>
                  <a:lnTo>
                    <a:pt x="2848470" y="23457"/>
                  </a:lnTo>
                  <a:lnTo>
                    <a:pt x="2848559" y="22860"/>
                  </a:lnTo>
                  <a:lnTo>
                    <a:pt x="2852229" y="22860"/>
                  </a:lnTo>
                  <a:lnTo>
                    <a:pt x="2852331" y="22174"/>
                  </a:lnTo>
                  <a:lnTo>
                    <a:pt x="2856103" y="22174"/>
                  </a:lnTo>
                  <a:lnTo>
                    <a:pt x="2856496" y="21526"/>
                  </a:lnTo>
                  <a:lnTo>
                    <a:pt x="2859278" y="21526"/>
                  </a:lnTo>
                  <a:lnTo>
                    <a:pt x="2860268" y="20879"/>
                  </a:lnTo>
                  <a:lnTo>
                    <a:pt x="2864192" y="20879"/>
                  </a:lnTo>
                  <a:lnTo>
                    <a:pt x="2864434" y="20231"/>
                  </a:lnTo>
                  <a:lnTo>
                    <a:pt x="2868409" y="20231"/>
                  </a:lnTo>
                  <a:lnTo>
                    <a:pt x="2868650" y="19545"/>
                  </a:lnTo>
                  <a:lnTo>
                    <a:pt x="2872473" y="19545"/>
                  </a:lnTo>
                  <a:lnTo>
                    <a:pt x="2872917" y="18897"/>
                  </a:lnTo>
                  <a:lnTo>
                    <a:pt x="2877235" y="18897"/>
                  </a:lnTo>
                  <a:lnTo>
                    <a:pt x="2877680" y="18250"/>
                  </a:lnTo>
                  <a:lnTo>
                    <a:pt x="2881452" y="18250"/>
                  </a:lnTo>
                  <a:lnTo>
                    <a:pt x="2881896" y="17551"/>
                  </a:lnTo>
                  <a:lnTo>
                    <a:pt x="2886570" y="17551"/>
                  </a:lnTo>
                  <a:lnTo>
                    <a:pt x="2886659" y="16967"/>
                  </a:lnTo>
                  <a:lnTo>
                    <a:pt x="2891675" y="16967"/>
                  </a:lnTo>
                  <a:lnTo>
                    <a:pt x="2891675" y="16319"/>
                  </a:lnTo>
                  <a:lnTo>
                    <a:pt x="2896641" y="16319"/>
                  </a:lnTo>
                  <a:lnTo>
                    <a:pt x="2896882" y="15671"/>
                  </a:lnTo>
                  <a:lnTo>
                    <a:pt x="2901988" y="15671"/>
                  </a:lnTo>
                  <a:lnTo>
                    <a:pt x="2902292" y="14973"/>
                  </a:lnTo>
                  <a:lnTo>
                    <a:pt x="2907398" y="14973"/>
                  </a:lnTo>
                  <a:lnTo>
                    <a:pt x="2907792" y="14338"/>
                  </a:lnTo>
                  <a:lnTo>
                    <a:pt x="2913405" y="14338"/>
                  </a:lnTo>
                  <a:lnTo>
                    <a:pt x="2913405" y="13690"/>
                  </a:lnTo>
                  <a:lnTo>
                    <a:pt x="2919361" y="13690"/>
                  </a:lnTo>
                  <a:lnTo>
                    <a:pt x="2919361" y="13093"/>
                  </a:lnTo>
                  <a:lnTo>
                    <a:pt x="2925254" y="13093"/>
                  </a:lnTo>
                  <a:lnTo>
                    <a:pt x="2926105" y="12344"/>
                  </a:lnTo>
                  <a:lnTo>
                    <a:pt x="2931909" y="12344"/>
                  </a:lnTo>
                  <a:lnTo>
                    <a:pt x="2932150" y="11747"/>
                  </a:lnTo>
                  <a:lnTo>
                    <a:pt x="2938906" y="11747"/>
                  </a:lnTo>
                  <a:lnTo>
                    <a:pt x="2938906" y="11112"/>
                  </a:lnTo>
                  <a:lnTo>
                    <a:pt x="2945993" y="11112"/>
                  </a:lnTo>
                  <a:lnTo>
                    <a:pt x="2946196" y="10464"/>
                  </a:lnTo>
                  <a:lnTo>
                    <a:pt x="2953435" y="10464"/>
                  </a:lnTo>
                  <a:lnTo>
                    <a:pt x="2953588" y="9766"/>
                  </a:lnTo>
                  <a:lnTo>
                    <a:pt x="2961182" y="9766"/>
                  </a:lnTo>
                  <a:lnTo>
                    <a:pt x="2961373" y="9118"/>
                  </a:lnTo>
                  <a:lnTo>
                    <a:pt x="2969463" y="9118"/>
                  </a:lnTo>
                  <a:lnTo>
                    <a:pt x="2969564" y="8483"/>
                  </a:lnTo>
                  <a:lnTo>
                    <a:pt x="2978289" y="8483"/>
                  </a:lnTo>
                  <a:lnTo>
                    <a:pt x="2978340" y="7886"/>
                  </a:lnTo>
                  <a:lnTo>
                    <a:pt x="2987370" y="7886"/>
                  </a:lnTo>
                  <a:lnTo>
                    <a:pt x="2987713" y="7137"/>
                  </a:lnTo>
                  <a:lnTo>
                    <a:pt x="2997441" y="7137"/>
                  </a:lnTo>
                  <a:lnTo>
                    <a:pt x="2997885" y="6540"/>
                  </a:lnTo>
                  <a:lnTo>
                    <a:pt x="3008350" y="6540"/>
                  </a:lnTo>
                  <a:lnTo>
                    <a:pt x="3008706" y="5892"/>
                  </a:lnTo>
                  <a:lnTo>
                    <a:pt x="3020009" y="5892"/>
                  </a:lnTo>
                  <a:lnTo>
                    <a:pt x="3020060" y="5207"/>
                  </a:lnTo>
                  <a:lnTo>
                    <a:pt x="3032620" y="5207"/>
                  </a:lnTo>
                  <a:lnTo>
                    <a:pt x="3032709" y="4559"/>
                  </a:lnTo>
                  <a:lnTo>
                    <a:pt x="3046653" y="4559"/>
                  </a:lnTo>
                  <a:lnTo>
                    <a:pt x="3046653" y="3911"/>
                  </a:lnTo>
                  <a:lnTo>
                    <a:pt x="3062033" y="3911"/>
                  </a:lnTo>
                  <a:lnTo>
                    <a:pt x="3062084" y="3264"/>
                  </a:lnTo>
                  <a:lnTo>
                    <a:pt x="3078606" y="3264"/>
                  </a:lnTo>
                  <a:lnTo>
                    <a:pt x="3079496" y="2578"/>
                  </a:lnTo>
                  <a:lnTo>
                    <a:pt x="3099841" y="2578"/>
                  </a:lnTo>
                  <a:lnTo>
                    <a:pt x="3100730" y="1981"/>
                  </a:lnTo>
                  <a:lnTo>
                    <a:pt x="3124936" y="1981"/>
                  </a:lnTo>
                  <a:lnTo>
                    <a:pt x="3125038" y="1333"/>
                  </a:lnTo>
                  <a:lnTo>
                    <a:pt x="3158921" y="1333"/>
                  </a:lnTo>
                  <a:lnTo>
                    <a:pt x="3159264" y="686"/>
                  </a:lnTo>
                  <a:lnTo>
                    <a:pt x="3216719" y="686"/>
                  </a:lnTo>
                  <a:lnTo>
                    <a:pt x="3216770" y="0"/>
                  </a:lnTo>
                  <a:lnTo>
                    <a:pt x="3490810" y="0"/>
                  </a:lnTo>
                  <a:lnTo>
                    <a:pt x="3491649" y="686"/>
                  </a:lnTo>
                  <a:lnTo>
                    <a:pt x="3545573" y="686"/>
                  </a:lnTo>
                </a:path>
              </a:pathLst>
            </a:custGeom>
            <a:noFill/>
            <a:ln w="6350" cap="flat" cmpd="sng">
              <a:solidFill>
                <a:srgbClr val="FF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71" name="Freeform 162"/>
            <p:cNvSpPr/>
            <p:nvPr/>
          </p:nvSpPr>
          <p:spPr>
            <a:xfrm flipV="1">
              <a:off x="3679380" y="658813"/>
              <a:ext cx="226263" cy="0"/>
            </a:xfrm>
            <a:custGeom>
              <a:avLst/>
              <a:gdLst/>
              <a:ahLst/>
              <a:cxnLst/>
              <a:rect l="0" t="0" r="0" b="0"/>
              <a:pathLst>
                <a:path w="226263">
                  <a:moveTo>
                    <a:pt x="0" y="0"/>
                  </a:moveTo>
                  <a:lnTo>
                    <a:pt x="226263" y="0"/>
                  </a:lnTo>
                </a:path>
              </a:pathLst>
            </a:custGeom>
            <a:noFill/>
            <a:ln w="6350" cap="flat" cmpd="sng">
              <a:solidFill>
                <a:srgbClr val="009E73">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72" name="Freeform 163"/>
            <p:cNvSpPr/>
            <p:nvPr/>
          </p:nvSpPr>
          <p:spPr>
            <a:xfrm flipV="1">
              <a:off x="454279" y="740614"/>
              <a:ext cx="3545573" cy="502247"/>
            </a:xfrm>
            <a:custGeom>
              <a:avLst/>
              <a:gdLst/>
              <a:ahLst/>
              <a:cxnLst/>
              <a:rect l="0" t="0" r="0" b="0"/>
              <a:pathLst>
                <a:path w="3545573" h="502247">
                  <a:moveTo>
                    <a:pt x="0" y="266802"/>
                  </a:moveTo>
                  <a:lnTo>
                    <a:pt x="1384" y="266802"/>
                  </a:lnTo>
                  <a:lnTo>
                    <a:pt x="1485" y="266396"/>
                  </a:lnTo>
                  <a:lnTo>
                    <a:pt x="3314" y="266396"/>
                  </a:lnTo>
                  <a:lnTo>
                    <a:pt x="3365" y="266802"/>
                  </a:lnTo>
                  <a:lnTo>
                    <a:pt x="11506" y="266802"/>
                  </a:lnTo>
                  <a:lnTo>
                    <a:pt x="11607" y="267196"/>
                  </a:lnTo>
                  <a:lnTo>
                    <a:pt x="11950" y="267196"/>
                  </a:lnTo>
                  <a:lnTo>
                    <a:pt x="12001" y="266802"/>
                  </a:lnTo>
                  <a:lnTo>
                    <a:pt x="12839" y="266802"/>
                  </a:lnTo>
                  <a:lnTo>
                    <a:pt x="12890" y="267196"/>
                  </a:lnTo>
                  <a:lnTo>
                    <a:pt x="18503" y="267196"/>
                  </a:lnTo>
                  <a:lnTo>
                    <a:pt x="18541" y="267640"/>
                  </a:lnTo>
                  <a:lnTo>
                    <a:pt x="22720" y="267640"/>
                  </a:lnTo>
                  <a:lnTo>
                    <a:pt x="22809" y="267983"/>
                  </a:lnTo>
                  <a:lnTo>
                    <a:pt x="33832" y="267983"/>
                  </a:lnTo>
                  <a:lnTo>
                    <a:pt x="33921" y="268428"/>
                  </a:lnTo>
                  <a:lnTo>
                    <a:pt x="36258" y="268428"/>
                  </a:lnTo>
                  <a:lnTo>
                    <a:pt x="36309" y="268834"/>
                  </a:lnTo>
                  <a:lnTo>
                    <a:pt x="42316" y="268834"/>
                  </a:lnTo>
                  <a:lnTo>
                    <a:pt x="42354" y="269278"/>
                  </a:lnTo>
                  <a:lnTo>
                    <a:pt x="47866" y="269278"/>
                  </a:lnTo>
                  <a:lnTo>
                    <a:pt x="47967" y="269672"/>
                  </a:lnTo>
                  <a:lnTo>
                    <a:pt x="53873" y="269672"/>
                  </a:lnTo>
                  <a:lnTo>
                    <a:pt x="53924" y="270015"/>
                  </a:lnTo>
                  <a:lnTo>
                    <a:pt x="60223" y="270015"/>
                  </a:lnTo>
                  <a:lnTo>
                    <a:pt x="60274" y="270472"/>
                  </a:lnTo>
                  <a:lnTo>
                    <a:pt x="66675" y="270472"/>
                  </a:lnTo>
                  <a:lnTo>
                    <a:pt x="66713" y="270866"/>
                  </a:lnTo>
                  <a:lnTo>
                    <a:pt x="72275" y="270866"/>
                  </a:lnTo>
                  <a:lnTo>
                    <a:pt x="72377" y="271310"/>
                  </a:lnTo>
                  <a:lnTo>
                    <a:pt x="78473" y="271310"/>
                  </a:lnTo>
                  <a:lnTo>
                    <a:pt x="78524" y="271704"/>
                  </a:lnTo>
                  <a:lnTo>
                    <a:pt x="84975" y="271704"/>
                  </a:lnTo>
                  <a:lnTo>
                    <a:pt x="85026" y="272060"/>
                  </a:lnTo>
                  <a:lnTo>
                    <a:pt x="90436" y="272060"/>
                  </a:lnTo>
                  <a:lnTo>
                    <a:pt x="90487" y="272504"/>
                  </a:lnTo>
                  <a:lnTo>
                    <a:pt x="96837" y="272504"/>
                  </a:lnTo>
                  <a:lnTo>
                    <a:pt x="96875" y="272898"/>
                  </a:lnTo>
                  <a:lnTo>
                    <a:pt x="104965" y="272898"/>
                  </a:lnTo>
                  <a:lnTo>
                    <a:pt x="105016" y="273343"/>
                  </a:lnTo>
                  <a:lnTo>
                    <a:pt x="109677" y="273343"/>
                  </a:lnTo>
                  <a:lnTo>
                    <a:pt x="109727" y="273736"/>
                  </a:lnTo>
                  <a:lnTo>
                    <a:pt x="112902" y="273736"/>
                  </a:lnTo>
                  <a:lnTo>
                    <a:pt x="112953" y="274092"/>
                  </a:lnTo>
                  <a:lnTo>
                    <a:pt x="117424" y="274092"/>
                  </a:lnTo>
                  <a:lnTo>
                    <a:pt x="117475" y="274536"/>
                  </a:lnTo>
                  <a:lnTo>
                    <a:pt x="123520" y="274536"/>
                  </a:lnTo>
                  <a:lnTo>
                    <a:pt x="123571" y="274930"/>
                  </a:lnTo>
                  <a:lnTo>
                    <a:pt x="124015" y="274930"/>
                  </a:lnTo>
                  <a:lnTo>
                    <a:pt x="124066" y="274536"/>
                  </a:lnTo>
                  <a:lnTo>
                    <a:pt x="132841" y="274536"/>
                  </a:lnTo>
                  <a:lnTo>
                    <a:pt x="132892" y="274930"/>
                  </a:lnTo>
                  <a:lnTo>
                    <a:pt x="139191" y="274930"/>
                  </a:lnTo>
                  <a:lnTo>
                    <a:pt x="139242" y="275374"/>
                  </a:lnTo>
                  <a:lnTo>
                    <a:pt x="145503" y="275374"/>
                  </a:lnTo>
                  <a:lnTo>
                    <a:pt x="145541" y="275781"/>
                  </a:lnTo>
                  <a:lnTo>
                    <a:pt x="147777" y="275781"/>
                  </a:lnTo>
                  <a:lnTo>
                    <a:pt x="147827" y="276225"/>
                  </a:lnTo>
                  <a:lnTo>
                    <a:pt x="153339" y="276225"/>
                  </a:lnTo>
                  <a:lnTo>
                    <a:pt x="153441" y="276568"/>
                  </a:lnTo>
                  <a:lnTo>
                    <a:pt x="158940" y="276568"/>
                  </a:lnTo>
                  <a:lnTo>
                    <a:pt x="158991" y="276962"/>
                  </a:lnTo>
                  <a:lnTo>
                    <a:pt x="159931" y="276962"/>
                  </a:lnTo>
                  <a:lnTo>
                    <a:pt x="160032" y="276568"/>
                  </a:lnTo>
                  <a:lnTo>
                    <a:pt x="163512" y="276568"/>
                  </a:lnTo>
                  <a:lnTo>
                    <a:pt x="163550" y="276962"/>
                  </a:lnTo>
                  <a:lnTo>
                    <a:pt x="170052" y="276962"/>
                  </a:lnTo>
                  <a:lnTo>
                    <a:pt x="170205" y="277407"/>
                  </a:lnTo>
                  <a:lnTo>
                    <a:pt x="180670" y="277407"/>
                  </a:lnTo>
                  <a:lnTo>
                    <a:pt x="180721" y="277813"/>
                  </a:lnTo>
                  <a:lnTo>
                    <a:pt x="184594" y="277813"/>
                  </a:lnTo>
                  <a:lnTo>
                    <a:pt x="184645" y="277407"/>
                  </a:lnTo>
                  <a:lnTo>
                    <a:pt x="185635" y="277407"/>
                  </a:lnTo>
                  <a:lnTo>
                    <a:pt x="185686" y="277813"/>
                  </a:lnTo>
                  <a:lnTo>
                    <a:pt x="188163" y="277813"/>
                  </a:lnTo>
                  <a:lnTo>
                    <a:pt x="188214" y="278257"/>
                  </a:lnTo>
                  <a:lnTo>
                    <a:pt x="193166" y="278257"/>
                  </a:lnTo>
                  <a:lnTo>
                    <a:pt x="193268" y="278600"/>
                  </a:lnTo>
                  <a:lnTo>
                    <a:pt x="199516" y="278600"/>
                  </a:lnTo>
                  <a:lnTo>
                    <a:pt x="199567" y="278994"/>
                  </a:lnTo>
                  <a:lnTo>
                    <a:pt x="204584" y="278994"/>
                  </a:lnTo>
                  <a:lnTo>
                    <a:pt x="204685" y="279451"/>
                  </a:lnTo>
                  <a:lnTo>
                    <a:pt x="206768" y="279451"/>
                  </a:lnTo>
                  <a:lnTo>
                    <a:pt x="206819" y="279845"/>
                  </a:lnTo>
                  <a:lnTo>
                    <a:pt x="216839" y="279845"/>
                  </a:lnTo>
                  <a:lnTo>
                    <a:pt x="216979" y="280239"/>
                  </a:lnTo>
                  <a:lnTo>
                    <a:pt x="223088" y="280239"/>
                  </a:lnTo>
                  <a:lnTo>
                    <a:pt x="223139" y="280632"/>
                  </a:lnTo>
                  <a:lnTo>
                    <a:pt x="233705" y="280632"/>
                  </a:lnTo>
                  <a:lnTo>
                    <a:pt x="233756" y="281089"/>
                  </a:lnTo>
                  <a:lnTo>
                    <a:pt x="239750" y="281089"/>
                  </a:lnTo>
                  <a:lnTo>
                    <a:pt x="239852" y="281483"/>
                  </a:lnTo>
                  <a:lnTo>
                    <a:pt x="243077" y="281483"/>
                  </a:lnTo>
                  <a:lnTo>
                    <a:pt x="243128" y="281089"/>
                  </a:lnTo>
                  <a:lnTo>
                    <a:pt x="244373" y="281089"/>
                  </a:lnTo>
                  <a:lnTo>
                    <a:pt x="244424" y="281483"/>
                  </a:lnTo>
                  <a:lnTo>
                    <a:pt x="251561" y="281483"/>
                  </a:lnTo>
                  <a:lnTo>
                    <a:pt x="251663" y="281826"/>
                  </a:lnTo>
                  <a:lnTo>
                    <a:pt x="263220" y="281826"/>
                  </a:lnTo>
                  <a:lnTo>
                    <a:pt x="263271" y="282271"/>
                  </a:lnTo>
                  <a:lnTo>
                    <a:pt x="269125" y="282271"/>
                  </a:lnTo>
                  <a:lnTo>
                    <a:pt x="269227" y="282677"/>
                  </a:lnTo>
                  <a:lnTo>
                    <a:pt x="271157" y="282677"/>
                  </a:lnTo>
                  <a:lnTo>
                    <a:pt x="271208" y="282271"/>
                  </a:lnTo>
                  <a:lnTo>
                    <a:pt x="272643" y="282271"/>
                  </a:lnTo>
                  <a:lnTo>
                    <a:pt x="272745" y="282677"/>
                  </a:lnTo>
                  <a:lnTo>
                    <a:pt x="276809" y="282677"/>
                  </a:lnTo>
                  <a:lnTo>
                    <a:pt x="276859" y="283122"/>
                  </a:lnTo>
                  <a:lnTo>
                    <a:pt x="280733" y="283122"/>
                  </a:lnTo>
                  <a:lnTo>
                    <a:pt x="280784" y="283515"/>
                  </a:lnTo>
                  <a:lnTo>
                    <a:pt x="291998" y="283515"/>
                  </a:lnTo>
                  <a:lnTo>
                    <a:pt x="292049" y="283858"/>
                  </a:lnTo>
                  <a:lnTo>
                    <a:pt x="297941" y="283858"/>
                  </a:lnTo>
                  <a:lnTo>
                    <a:pt x="297992" y="284303"/>
                  </a:lnTo>
                  <a:lnTo>
                    <a:pt x="300380" y="284303"/>
                  </a:lnTo>
                  <a:lnTo>
                    <a:pt x="300431" y="284709"/>
                  </a:lnTo>
                  <a:lnTo>
                    <a:pt x="302259" y="284709"/>
                  </a:lnTo>
                  <a:lnTo>
                    <a:pt x="302310" y="284303"/>
                  </a:lnTo>
                  <a:lnTo>
                    <a:pt x="302907" y="284303"/>
                  </a:lnTo>
                  <a:lnTo>
                    <a:pt x="302958" y="284709"/>
                  </a:lnTo>
                  <a:lnTo>
                    <a:pt x="312229" y="284709"/>
                  </a:lnTo>
                  <a:lnTo>
                    <a:pt x="312331" y="284303"/>
                  </a:lnTo>
                  <a:lnTo>
                    <a:pt x="317042" y="284303"/>
                  </a:lnTo>
                  <a:lnTo>
                    <a:pt x="317093" y="284709"/>
                  </a:lnTo>
                  <a:lnTo>
                    <a:pt x="317842" y="284709"/>
                  </a:lnTo>
                  <a:lnTo>
                    <a:pt x="317893" y="284303"/>
                  </a:lnTo>
                  <a:lnTo>
                    <a:pt x="323392" y="284303"/>
                  </a:lnTo>
                  <a:lnTo>
                    <a:pt x="323443" y="284709"/>
                  </a:lnTo>
                  <a:lnTo>
                    <a:pt x="325335" y="284709"/>
                  </a:lnTo>
                  <a:lnTo>
                    <a:pt x="325386" y="284303"/>
                  </a:lnTo>
                  <a:lnTo>
                    <a:pt x="326174" y="284303"/>
                  </a:lnTo>
                  <a:lnTo>
                    <a:pt x="326326" y="284709"/>
                  </a:lnTo>
                  <a:lnTo>
                    <a:pt x="334264" y="284709"/>
                  </a:lnTo>
                  <a:lnTo>
                    <a:pt x="334314" y="285153"/>
                  </a:lnTo>
                  <a:lnTo>
                    <a:pt x="336245" y="285153"/>
                  </a:lnTo>
                  <a:lnTo>
                    <a:pt x="336296" y="285547"/>
                  </a:lnTo>
                  <a:lnTo>
                    <a:pt x="340309" y="285547"/>
                  </a:lnTo>
                  <a:lnTo>
                    <a:pt x="340359" y="285992"/>
                  </a:lnTo>
                  <a:lnTo>
                    <a:pt x="343534" y="285992"/>
                  </a:lnTo>
                  <a:lnTo>
                    <a:pt x="343585" y="286347"/>
                  </a:lnTo>
                  <a:lnTo>
                    <a:pt x="345427" y="286347"/>
                  </a:lnTo>
                  <a:lnTo>
                    <a:pt x="345528" y="285992"/>
                  </a:lnTo>
                  <a:lnTo>
                    <a:pt x="345821" y="285992"/>
                  </a:lnTo>
                  <a:lnTo>
                    <a:pt x="345871" y="286347"/>
                  </a:lnTo>
                  <a:lnTo>
                    <a:pt x="348703" y="286347"/>
                  </a:lnTo>
                  <a:lnTo>
                    <a:pt x="348792" y="286741"/>
                  </a:lnTo>
                  <a:lnTo>
                    <a:pt x="358571" y="286741"/>
                  </a:lnTo>
                  <a:lnTo>
                    <a:pt x="358673" y="287185"/>
                  </a:lnTo>
                  <a:lnTo>
                    <a:pt x="362394" y="287185"/>
                  </a:lnTo>
                  <a:lnTo>
                    <a:pt x="362445" y="286741"/>
                  </a:lnTo>
                  <a:lnTo>
                    <a:pt x="365963" y="286741"/>
                  </a:lnTo>
                  <a:lnTo>
                    <a:pt x="366013" y="287185"/>
                  </a:lnTo>
                  <a:lnTo>
                    <a:pt x="368299" y="287185"/>
                  </a:lnTo>
                  <a:lnTo>
                    <a:pt x="368338" y="286741"/>
                  </a:lnTo>
                  <a:lnTo>
                    <a:pt x="369887" y="286741"/>
                  </a:lnTo>
                  <a:lnTo>
                    <a:pt x="369925" y="287185"/>
                  </a:lnTo>
                  <a:lnTo>
                    <a:pt x="375145" y="287185"/>
                  </a:lnTo>
                  <a:lnTo>
                    <a:pt x="375234" y="287579"/>
                  </a:lnTo>
                  <a:lnTo>
                    <a:pt x="383921" y="287579"/>
                  </a:lnTo>
                  <a:lnTo>
                    <a:pt x="384073" y="288024"/>
                  </a:lnTo>
                  <a:lnTo>
                    <a:pt x="386156" y="288024"/>
                  </a:lnTo>
                  <a:lnTo>
                    <a:pt x="386207" y="287579"/>
                  </a:lnTo>
                  <a:lnTo>
                    <a:pt x="386600" y="287579"/>
                  </a:lnTo>
                  <a:lnTo>
                    <a:pt x="386651" y="288024"/>
                  </a:lnTo>
                  <a:lnTo>
                    <a:pt x="394284" y="288024"/>
                  </a:lnTo>
                  <a:lnTo>
                    <a:pt x="394385" y="288379"/>
                  </a:lnTo>
                  <a:lnTo>
                    <a:pt x="401231" y="288379"/>
                  </a:lnTo>
                  <a:lnTo>
                    <a:pt x="401332" y="288773"/>
                  </a:lnTo>
                  <a:lnTo>
                    <a:pt x="403466" y="288773"/>
                  </a:lnTo>
                  <a:lnTo>
                    <a:pt x="403567" y="288379"/>
                  </a:lnTo>
                  <a:lnTo>
                    <a:pt x="404761" y="288379"/>
                  </a:lnTo>
                  <a:lnTo>
                    <a:pt x="404812" y="288773"/>
                  </a:lnTo>
                  <a:lnTo>
                    <a:pt x="410616" y="288773"/>
                  </a:lnTo>
                  <a:lnTo>
                    <a:pt x="410654" y="289218"/>
                  </a:lnTo>
                  <a:lnTo>
                    <a:pt x="413384" y="289218"/>
                  </a:lnTo>
                  <a:lnTo>
                    <a:pt x="413435" y="289611"/>
                  </a:lnTo>
                  <a:lnTo>
                    <a:pt x="418896" y="289611"/>
                  </a:lnTo>
                  <a:lnTo>
                    <a:pt x="418998" y="290068"/>
                  </a:lnTo>
                  <a:lnTo>
                    <a:pt x="428815" y="290068"/>
                  </a:lnTo>
                  <a:lnTo>
                    <a:pt x="428866" y="290411"/>
                  </a:lnTo>
                  <a:lnTo>
                    <a:pt x="435216" y="290411"/>
                  </a:lnTo>
                  <a:lnTo>
                    <a:pt x="435317" y="290805"/>
                  </a:lnTo>
                  <a:lnTo>
                    <a:pt x="438099" y="290805"/>
                  </a:lnTo>
                  <a:lnTo>
                    <a:pt x="438149" y="291249"/>
                  </a:lnTo>
                  <a:lnTo>
                    <a:pt x="446925" y="291249"/>
                  </a:lnTo>
                  <a:lnTo>
                    <a:pt x="446976" y="291656"/>
                  </a:lnTo>
                  <a:lnTo>
                    <a:pt x="457339" y="291656"/>
                  </a:lnTo>
                  <a:lnTo>
                    <a:pt x="457390" y="292100"/>
                  </a:lnTo>
                  <a:lnTo>
                    <a:pt x="459968" y="292100"/>
                  </a:lnTo>
                  <a:lnTo>
                    <a:pt x="460070" y="292443"/>
                  </a:lnTo>
                  <a:lnTo>
                    <a:pt x="464680" y="292443"/>
                  </a:lnTo>
                  <a:lnTo>
                    <a:pt x="464832" y="292888"/>
                  </a:lnTo>
                  <a:lnTo>
                    <a:pt x="475056" y="292888"/>
                  </a:lnTo>
                  <a:lnTo>
                    <a:pt x="475157" y="293282"/>
                  </a:lnTo>
                  <a:lnTo>
                    <a:pt x="482295" y="293282"/>
                  </a:lnTo>
                  <a:lnTo>
                    <a:pt x="482346" y="293688"/>
                  </a:lnTo>
                  <a:lnTo>
                    <a:pt x="485127" y="293688"/>
                  </a:lnTo>
                  <a:lnTo>
                    <a:pt x="485228" y="293282"/>
                  </a:lnTo>
                  <a:lnTo>
                    <a:pt x="486956" y="293282"/>
                  </a:lnTo>
                  <a:lnTo>
                    <a:pt x="487057" y="293688"/>
                  </a:lnTo>
                  <a:lnTo>
                    <a:pt x="487807" y="293688"/>
                  </a:lnTo>
                  <a:lnTo>
                    <a:pt x="487946" y="293282"/>
                  </a:lnTo>
                  <a:lnTo>
                    <a:pt x="488899" y="293282"/>
                  </a:lnTo>
                  <a:lnTo>
                    <a:pt x="488949" y="293688"/>
                  </a:lnTo>
                  <a:lnTo>
                    <a:pt x="494347" y="293688"/>
                  </a:lnTo>
                  <a:lnTo>
                    <a:pt x="494398" y="294132"/>
                  </a:lnTo>
                  <a:lnTo>
                    <a:pt x="497382" y="294132"/>
                  </a:lnTo>
                  <a:lnTo>
                    <a:pt x="497471" y="293688"/>
                  </a:lnTo>
                  <a:lnTo>
                    <a:pt x="498017" y="293688"/>
                  </a:lnTo>
                  <a:lnTo>
                    <a:pt x="498068" y="294132"/>
                  </a:lnTo>
                  <a:lnTo>
                    <a:pt x="511314" y="294132"/>
                  </a:lnTo>
                  <a:lnTo>
                    <a:pt x="511365" y="294475"/>
                  </a:lnTo>
                  <a:lnTo>
                    <a:pt x="513346" y="294475"/>
                  </a:lnTo>
                  <a:lnTo>
                    <a:pt x="513448" y="294132"/>
                  </a:lnTo>
                  <a:lnTo>
                    <a:pt x="515683" y="294132"/>
                  </a:lnTo>
                  <a:lnTo>
                    <a:pt x="515734" y="294475"/>
                  </a:lnTo>
                  <a:lnTo>
                    <a:pt x="521982" y="294475"/>
                  </a:lnTo>
                  <a:lnTo>
                    <a:pt x="522033" y="294920"/>
                  </a:lnTo>
                  <a:lnTo>
                    <a:pt x="525005" y="294920"/>
                  </a:lnTo>
                  <a:lnTo>
                    <a:pt x="525056" y="295326"/>
                  </a:lnTo>
                  <a:lnTo>
                    <a:pt x="525602" y="295326"/>
                  </a:lnTo>
                  <a:lnTo>
                    <a:pt x="525653" y="294920"/>
                  </a:lnTo>
                  <a:lnTo>
                    <a:pt x="527735" y="294920"/>
                  </a:lnTo>
                  <a:lnTo>
                    <a:pt x="527786" y="295326"/>
                  </a:lnTo>
                  <a:lnTo>
                    <a:pt x="533984" y="295326"/>
                  </a:lnTo>
                  <a:lnTo>
                    <a:pt x="534085" y="295720"/>
                  </a:lnTo>
                  <a:lnTo>
                    <a:pt x="537908" y="295720"/>
                  </a:lnTo>
                  <a:lnTo>
                    <a:pt x="537959" y="296114"/>
                  </a:lnTo>
                  <a:lnTo>
                    <a:pt x="542175" y="296114"/>
                  </a:lnTo>
                  <a:lnTo>
                    <a:pt x="542226" y="296507"/>
                  </a:lnTo>
                  <a:lnTo>
                    <a:pt x="544461" y="296507"/>
                  </a:lnTo>
                  <a:lnTo>
                    <a:pt x="544512" y="296114"/>
                  </a:lnTo>
                  <a:lnTo>
                    <a:pt x="545998" y="296114"/>
                  </a:lnTo>
                  <a:lnTo>
                    <a:pt x="546049" y="296507"/>
                  </a:lnTo>
                  <a:lnTo>
                    <a:pt x="553580" y="296507"/>
                  </a:lnTo>
                  <a:lnTo>
                    <a:pt x="553631" y="296964"/>
                  </a:lnTo>
                  <a:lnTo>
                    <a:pt x="559485" y="296964"/>
                  </a:lnTo>
                  <a:lnTo>
                    <a:pt x="559638" y="297358"/>
                  </a:lnTo>
                  <a:lnTo>
                    <a:pt x="565988" y="297358"/>
                  </a:lnTo>
                  <a:lnTo>
                    <a:pt x="566038" y="297803"/>
                  </a:lnTo>
                  <a:lnTo>
                    <a:pt x="569163" y="297803"/>
                  </a:lnTo>
                  <a:lnTo>
                    <a:pt x="569213" y="297358"/>
                  </a:lnTo>
                  <a:lnTo>
                    <a:pt x="569607" y="297358"/>
                  </a:lnTo>
                  <a:lnTo>
                    <a:pt x="569658" y="297803"/>
                  </a:lnTo>
                  <a:lnTo>
                    <a:pt x="573430" y="297803"/>
                  </a:lnTo>
                  <a:lnTo>
                    <a:pt x="573481" y="297358"/>
                  </a:lnTo>
                  <a:lnTo>
                    <a:pt x="575716" y="297358"/>
                  </a:lnTo>
                  <a:lnTo>
                    <a:pt x="575754" y="297803"/>
                  </a:lnTo>
                  <a:lnTo>
                    <a:pt x="581913" y="297803"/>
                  </a:lnTo>
                  <a:lnTo>
                    <a:pt x="581964" y="298146"/>
                  </a:lnTo>
                  <a:lnTo>
                    <a:pt x="590143" y="298146"/>
                  </a:lnTo>
                  <a:lnTo>
                    <a:pt x="590245" y="298552"/>
                  </a:lnTo>
                  <a:lnTo>
                    <a:pt x="595109" y="298552"/>
                  </a:lnTo>
                  <a:lnTo>
                    <a:pt x="595210" y="298997"/>
                  </a:lnTo>
                  <a:lnTo>
                    <a:pt x="610882" y="298997"/>
                  </a:lnTo>
                  <a:lnTo>
                    <a:pt x="610933" y="299390"/>
                  </a:lnTo>
                  <a:lnTo>
                    <a:pt x="621995" y="299390"/>
                  </a:lnTo>
                  <a:lnTo>
                    <a:pt x="622046" y="299835"/>
                  </a:lnTo>
                  <a:lnTo>
                    <a:pt x="629094" y="299835"/>
                  </a:lnTo>
                  <a:lnTo>
                    <a:pt x="629145" y="300178"/>
                  </a:lnTo>
                  <a:lnTo>
                    <a:pt x="635888" y="300178"/>
                  </a:lnTo>
                  <a:lnTo>
                    <a:pt x="635939" y="300584"/>
                  </a:lnTo>
                  <a:lnTo>
                    <a:pt x="639063" y="300584"/>
                  </a:lnTo>
                  <a:lnTo>
                    <a:pt x="639216" y="300178"/>
                  </a:lnTo>
                  <a:lnTo>
                    <a:pt x="647242" y="300178"/>
                  </a:lnTo>
                  <a:lnTo>
                    <a:pt x="647293" y="300584"/>
                  </a:lnTo>
                  <a:lnTo>
                    <a:pt x="653148" y="300584"/>
                  </a:lnTo>
                  <a:lnTo>
                    <a:pt x="653199" y="301028"/>
                  </a:lnTo>
                  <a:lnTo>
                    <a:pt x="660793" y="301028"/>
                  </a:lnTo>
                  <a:lnTo>
                    <a:pt x="660844" y="301422"/>
                  </a:lnTo>
                  <a:lnTo>
                    <a:pt x="663765" y="301422"/>
                  </a:lnTo>
                  <a:lnTo>
                    <a:pt x="663816" y="301028"/>
                  </a:lnTo>
                  <a:lnTo>
                    <a:pt x="664311" y="301028"/>
                  </a:lnTo>
                  <a:lnTo>
                    <a:pt x="664413" y="301422"/>
                  </a:lnTo>
                  <a:lnTo>
                    <a:pt x="667829" y="301422"/>
                  </a:lnTo>
                  <a:lnTo>
                    <a:pt x="667880" y="301867"/>
                  </a:lnTo>
                  <a:lnTo>
                    <a:pt x="669620" y="301867"/>
                  </a:lnTo>
                  <a:lnTo>
                    <a:pt x="669671" y="301422"/>
                  </a:lnTo>
                  <a:lnTo>
                    <a:pt x="670610" y="301422"/>
                  </a:lnTo>
                  <a:lnTo>
                    <a:pt x="670661" y="301867"/>
                  </a:lnTo>
                  <a:lnTo>
                    <a:pt x="678205" y="301867"/>
                  </a:lnTo>
                  <a:lnTo>
                    <a:pt x="678256" y="302222"/>
                  </a:lnTo>
                  <a:lnTo>
                    <a:pt x="682663" y="302222"/>
                  </a:lnTo>
                  <a:lnTo>
                    <a:pt x="682764" y="301867"/>
                  </a:lnTo>
                  <a:lnTo>
                    <a:pt x="684212" y="301867"/>
                  </a:lnTo>
                  <a:lnTo>
                    <a:pt x="684250" y="302222"/>
                  </a:lnTo>
                  <a:lnTo>
                    <a:pt x="691845" y="302222"/>
                  </a:lnTo>
                  <a:lnTo>
                    <a:pt x="691896" y="302667"/>
                  </a:lnTo>
                  <a:lnTo>
                    <a:pt x="707720" y="302667"/>
                  </a:lnTo>
                  <a:lnTo>
                    <a:pt x="707821" y="303060"/>
                  </a:lnTo>
                  <a:lnTo>
                    <a:pt x="720471" y="303060"/>
                  </a:lnTo>
                  <a:lnTo>
                    <a:pt x="720623" y="303454"/>
                  </a:lnTo>
                  <a:lnTo>
                    <a:pt x="722947" y="303454"/>
                  </a:lnTo>
                  <a:lnTo>
                    <a:pt x="723049" y="303060"/>
                  </a:lnTo>
                  <a:lnTo>
                    <a:pt x="725182" y="303060"/>
                  </a:lnTo>
                  <a:lnTo>
                    <a:pt x="725233" y="303454"/>
                  </a:lnTo>
                  <a:lnTo>
                    <a:pt x="733018" y="303454"/>
                  </a:lnTo>
                  <a:lnTo>
                    <a:pt x="733120" y="303899"/>
                  </a:lnTo>
                  <a:lnTo>
                    <a:pt x="739724" y="303899"/>
                  </a:lnTo>
                  <a:lnTo>
                    <a:pt x="739774" y="304254"/>
                  </a:lnTo>
                  <a:lnTo>
                    <a:pt x="745121" y="304254"/>
                  </a:lnTo>
                  <a:lnTo>
                    <a:pt x="745172" y="304699"/>
                  </a:lnTo>
                  <a:lnTo>
                    <a:pt x="748157" y="304699"/>
                  </a:lnTo>
                  <a:lnTo>
                    <a:pt x="748207" y="304254"/>
                  </a:lnTo>
                  <a:lnTo>
                    <a:pt x="749439" y="304254"/>
                  </a:lnTo>
                  <a:lnTo>
                    <a:pt x="749490" y="304699"/>
                  </a:lnTo>
                  <a:lnTo>
                    <a:pt x="760412" y="304699"/>
                  </a:lnTo>
                  <a:lnTo>
                    <a:pt x="760450" y="305093"/>
                  </a:lnTo>
                  <a:lnTo>
                    <a:pt x="762038" y="305093"/>
                  </a:lnTo>
                  <a:lnTo>
                    <a:pt x="762139" y="305486"/>
                  </a:lnTo>
                  <a:lnTo>
                    <a:pt x="763181" y="305486"/>
                  </a:lnTo>
                  <a:lnTo>
                    <a:pt x="763282" y="305943"/>
                  </a:lnTo>
                  <a:lnTo>
                    <a:pt x="764425" y="305943"/>
                  </a:lnTo>
                  <a:lnTo>
                    <a:pt x="764476" y="306286"/>
                  </a:lnTo>
                  <a:lnTo>
                    <a:pt x="766508" y="306286"/>
                  </a:lnTo>
                  <a:lnTo>
                    <a:pt x="766559" y="306731"/>
                  </a:lnTo>
                  <a:lnTo>
                    <a:pt x="767702" y="306731"/>
                  </a:lnTo>
                  <a:lnTo>
                    <a:pt x="767803" y="307124"/>
                  </a:lnTo>
                  <a:lnTo>
                    <a:pt x="768794" y="307124"/>
                  </a:lnTo>
                  <a:lnTo>
                    <a:pt x="768845" y="307531"/>
                  </a:lnTo>
                  <a:lnTo>
                    <a:pt x="769886" y="307531"/>
                  </a:lnTo>
                  <a:lnTo>
                    <a:pt x="769937" y="307975"/>
                  </a:lnTo>
                  <a:lnTo>
                    <a:pt x="771664" y="307975"/>
                  </a:lnTo>
                  <a:lnTo>
                    <a:pt x="771715" y="308318"/>
                  </a:lnTo>
                  <a:lnTo>
                    <a:pt x="773252" y="308318"/>
                  </a:lnTo>
                  <a:lnTo>
                    <a:pt x="773303" y="308763"/>
                  </a:lnTo>
                  <a:lnTo>
                    <a:pt x="774446" y="308763"/>
                  </a:lnTo>
                  <a:lnTo>
                    <a:pt x="774496" y="309157"/>
                  </a:lnTo>
                  <a:lnTo>
                    <a:pt x="775588" y="309157"/>
                  </a:lnTo>
                  <a:lnTo>
                    <a:pt x="775639" y="309614"/>
                  </a:lnTo>
                  <a:lnTo>
                    <a:pt x="776782" y="309614"/>
                  </a:lnTo>
                  <a:lnTo>
                    <a:pt x="776871" y="310007"/>
                  </a:lnTo>
                  <a:lnTo>
                    <a:pt x="778509" y="310007"/>
                  </a:lnTo>
                  <a:lnTo>
                    <a:pt x="778560" y="310350"/>
                  </a:lnTo>
                  <a:lnTo>
                    <a:pt x="779703" y="310350"/>
                  </a:lnTo>
                  <a:lnTo>
                    <a:pt x="779805" y="310795"/>
                  </a:lnTo>
                  <a:lnTo>
                    <a:pt x="780592" y="310795"/>
                  </a:lnTo>
                  <a:lnTo>
                    <a:pt x="780643" y="311201"/>
                  </a:lnTo>
                  <a:lnTo>
                    <a:pt x="781494" y="311201"/>
                  </a:lnTo>
                  <a:lnTo>
                    <a:pt x="781545" y="311646"/>
                  </a:lnTo>
                  <a:lnTo>
                    <a:pt x="782586" y="311646"/>
                  </a:lnTo>
                  <a:lnTo>
                    <a:pt x="782637" y="311989"/>
                  </a:lnTo>
                  <a:lnTo>
                    <a:pt x="783526" y="311989"/>
                  </a:lnTo>
                  <a:lnTo>
                    <a:pt x="783577" y="312382"/>
                  </a:lnTo>
                  <a:lnTo>
                    <a:pt x="784720" y="312382"/>
                  </a:lnTo>
                  <a:lnTo>
                    <a:pt x="784809" y="312839"/>
                  </a:lnTo>
                  <a:lnTo>
                    <a:pt x="786307" y="312839"/>
                  </a:lnTo>
                  <a:lnTo>
                    <a:pt x="786396" y="313233"/>
                  </a:lnTo>
                  <a:lnTo>
                    <a:pt x="787844" y="313233"/>
                  </a:lnTo>
                  <a:lnTo>
                    <a:pt x="787895" y="313678"/>
                  </a:lnTo>
                  <a:lnTo>
                    <a:pt x="788936" y="313678"/>
                  </a:lnTo>
                  <a:lnTo>
                    <a:pt x="788987" y="314021"/>
                  </a:lnTo>
                  <a:lnTo>
                    <a:pt x="790028" y="314021"/>
                  </a:lnTo>
                  <a:lnTo>
                    <a:pt x="790067" y="314465"/>
                  </a:lnTo>
                  <a:lnTo>
                    <a:pt x="791311" y="314465"/>
                  </a:lnTo>
                  <a:lnTo>
                    <a:pt x="791413" y="314872"/>
                  </a:lnTo>
                  <a:lnTo>
                    <a:pt x="792505" y="314872"/>
                  </a:lnTo>
                  <a:lnTo>
                    <a:pt x="792556" y="315265"/>
                  </a:lnTo>
                  <a:lnTo>
                    <a:pt x="793496" y="315265"/>
                  </a:lnTo>
                  <a:lnTo>
                    <a:pt x="793546" y="315710"/>
                  </a:lnTo>
                  <a:lnTo>
                    <a:pt x="794245" y="315710"/>
                  </a:lnTo>
                  <a:lnTo>
                    <a:pt x="794334" y="316053"/>
                  </a:lnTo>
                  <a:lnTo>
                    <a:pt x="795134" y="316053"/>
                  </a:lnTo>
                  <a:lnTo>
                    <a:pt x="795235" y="316510"/>
                  </a:lnTo>
                  <a:lnTo>
                    <a:pt x="796378" y="316510"/>
                  </a:lnTo>
                  <a:lnTo>
                    <a:pt x="796417" y="316903"/>
                  </a:lnTo>
                  <a:lnTo>
                    <a:pt x="797813" y="316903"/>
                  </a:lnTo>
                  <a:lnTo>
                    <a:pt x="797864" y="317297"/>
                  </a:lnTo>
                  <a:lnTo>
                    <a:pt x="799007" y="317297"/>
                  </a:lnTo>
                  <a:lnTo>
                    <a:pt x="799096" y="317742"/>
                  </a:lnTo>
                  <a:lnTo>
                    <a:pt x="799998" y="317742"/>
                  </a:lnTo>
                  <a:lnTo>
                    <a:pt x="800049" y="318097"/>
                  </a:lnTo>
                  <a:lnTo>
                    <a:pt x="800988" y="318097"/>
                  </a:lnTo>
                  <a:lnTo>
                    <a:pt x="801039" y="318542"/>
                  </a:lnTo>
                  <a:lnTo>
                    <a:pt x="802322" y="318542"/>
                  </a:lnTo>
                  <a:lnTo>
                    <a:pt x="802373" y="318935"/>
                  </a:lnTo>
                  <a:lnTo>
                    <a:pt x="803719" y="318935"/>
                  </a:lnTo>
                  <a:lnTo>
                    <a:pt x="803859" y="319380"/>
                  </a:lnTo>
                  <a:lnTo>
                    <a:pt x="804608" y="319380"/>
                  </a:lnTo>
                  <a:lnTo>
                    <a:pt x="804659" y="319774"/>
                  </a:lnTo>
                  <a:lnTo>
                    <a:pt x="805446" y="319774"/>
                  </a:lnTo>
                  <a:lnTo>
                    <a:pt x="805497" y="320129"/>
                  </a:lnTo>
                  <a:lnTo>
                    <a:pt x="806246" y="320129"/>
                  </a:lnTo>
                  <a:lnTo>
                    <a:pt x="806348" y="320574"/>
                  </a:lnTo>
                  <a:lnTo>
                    <a:pt x="807135" y="320574"/>
                  </a:lnTo>
                  <a:lnTo>
                    <a:pt x="807186" y="320968"/>
                  </a:lnTo>
                  <a:lnTo>
                    <a:pt x="808278" y="320968"/>
                  </a:lnTo>
                  <a:lnTo>
                    <a:pt x="808380" y="321412"/>
                  </a:lnTo>
                  <a:lnTo>
                    <a:pt x="809663" y="321412"/>
                  </a:lnTo>
                  <a:lnTo>
                    <a:pt x="809764" y="321818"/>
                  </a:lnTo>
                  <a:lnTo>
                    <a:pt x="810666" y="321818"/>
                  </a:lnTo>
                  <a:lnTo>
                    <a:pt x="810704" y="322161"/>
                  </a:lnTo>
                  <a:lnTo>
                    <a:pt x="811555" y="322161"/>
                  </a:lnTo>
                  <a:lnTo>
                    <a:pt x="811606" y="322606"/>
                  </a:lnTo>
                  <a:lnTo>
                    <a:pt x="812342" y="322606"/>
                  </a:lnTo>
                  <a:lnTo>
                    <a:pt x="812393" y="322999"/>
                  </a:lnTo>
                  <a:lnTo>
                    <a:pt x="813384" y="322999"/>
                  </a:lnTo>
                  <a:lnTo>
                    <a:pt x="813434" y="323444"/>
                  </a:lnTo>
                  <a:lnTo>
                    <a:pt x="814285" y="323444"/>
                  </a:lnTo>
                  <a:lnTo>
                    <a:pt x="814336" y="323850"/>
                  </a:lnTo>
                  <a:lnTo>
                    <a:pt x="815467" y="323850"/>
                  </a:lnTo>
                  <a:lnTo>
                    <a:pt x="815517" y="324193"/>
                  </a:lnTo>
                  <a:lnTo>
                    <a:pt x="816470" y="324193"/>
                  </a:lnTo>
                  <a:lnTo>
                    <a:pt x="816609" y="324638"/>
                  </a:lnTo>
                  <a:lnTo>
                    <a:pt x="817460" y="324638"/>
                  </a:lnTo>
                  <a:lnTo>
                    <a:pt x="817511" y="325032"/>
                  </a:lnTo>
                  <a:lnTo>
                    <a:pt x="818299" y="325032"/>
                  </a:lnTo>
                  <a:lnTo>
                    <a:pt x="818451" y="325489"/>
                  </a:lnTo>
                  <a:lnTo>
                    <a:pt x="819391" y="325489"/>
                  </a:lnTo>
                  <a:lnTo>
                    <a:pt x="819492" y="325882"/>
                  </a:lnTo>
                  <a:lnTo>
                    <a:pt x="820534" y="325882"/>
                  </a:lnTo>
                  <a:lnTo>
                    <a:pt x="820635" y="326276"/>
                  </a:lnTo>
                  <a:lnTo>
                    <a:pt x="821867" y="326276"/>
                  </a:lnTo>
                  <a:lnTo>
                    <a:pt x="821918" y="326670"/>
                  </a:lnTo>
                  <a:lnTo>
                    <a:pt x="822909" y="326670"/>
                  </a:lnTo>
                  <a:lnTo>
                    <a:pt x="822959" y="327076"/>
                  </a:lnTo>
                  <a:lnTo>
                    <a:pt x="823810" y="327076"/>
                  </a:lnTo>
                  <a:lnTo>
                    <a:pt x="823912" y="327521"/>
                  </a:lnTo>
                  <a:lnTo>
                    <a:pt x="824750" y="327521"/>
                  </a:lnTo>
                  <a:lnTo>
                    <a:pt x="824801" y="327864"/>
                  </a:lnTo>
                  <a:lnTo>
                    <a:pt x="825842" y="327864"/>
                  </a:lnTo>
                  <a:lnTo>
                    <a:pt x="825893" y="328308"/>
                  </a:lnTo>
                  <a:lnTo>
                    <a:pt x="827278" y="328308"/>
                  </a:lnTo>
                  <a:lnTo>
                    <a:pt x="827328" y="328714"/>
                  </a:lnTo>
                  <a:lnTo>
                    <a:pt x="828167" y="328714"/>
                  </a:lnTo>
                  <a:lnTo>
                    <a:pt x="828217" y="329108"/>
                  </a:lnTo>
                  <a:lnTo>
                    <a:pt x="829068" y="329108"/>
                  </a:lnTo>
                  <a:lnTo>
                    <a:pt x="829119" y="329553"/>
                  </a:lnTo>
                  <a:lnTo>
                    <a:pt x="829805" y="329553"/>
                  </a:lnTo>
                  <a:lnTo>
                    <a:pt x="829957" y="329896"/>
                  </a:lnTo>
                  <a:lnTo>
                    <a:pt x="830757" y="329896"/>
                  </a:lnTo>
                  <a:lnTo>
                    <a:pt x="830846" y="330340"/>
                  </a:lnTo>
                  <a:lnTo>
                    <a:pt x="831888" y="330340"/>
                  </a:lnTo>
                  <a:lnTo>
                    <a:pt x="831989" y="330747"/>
                  </a:lnTo>
                  <a:lnTo>
                    <a:pt x="833132" y="330747"/>
                  </a:lnTo>
                  <a:lnTo>
                    <a:pt x="833183" y="331191"/>
                  </a:lnTo>
                  <a:lnTo>
                    <a:pt x="834072" y="331191"/>
                  </a:lnTo>
                  <a:lnTo>
                    <a:pt x="834174" y="331585"/>
                  </a:lnTo>
                  <a:lnTo>
                    <a:pt x="834923" y="331585"/>
                  </a:lnTo>
                  <a:lnTo>
                    <a:pt x="834974" y="331928"/>
                  </a:lnTo>
                  <a:lnTo>
                    <a:pt x="835659" y="331928"/>
                  </a:lnTo>
                  <a:lnTo>
                    <a:pt x="835710" y="332385"/>
                  </a:lnTo>
                  <a:lnTo>
                    <a:pt x="836358" y="332385"/>
                  </a:lnTo>
                  <a:lnTo>
                    <a:pt x="836409" y="332778"/>
                  </a:lnTo>
                  <a:lnTo>
                    <a:pt x="837501" y="332778"/>
                  </a:lnTo>
                  <a:lnTo>
                    <a:pt x="837552" y="333223"/>
                  </a:lnTo>
                  <a:lnTo>
                    <a:pt x="838784" y="333223"/>
                  </a:lnTo>
                  <a:lnTo>
                    <a:pt x="838834" y="333617"/>
                  </a:lnTo>
                  <a:lnTo>
                    <a:pt x="839978" y="333617"/>
                  </a:lnTo>
                  <a:lnTo>
                    <a:pt x="840028" y="333972"/>
                  </a:lnTo>
                  <a:lnTo>
                    <a:pt x="840828" y="333972"/>
                  </a:lnTo>
                  <a:lnTo>
                    <a:pt x="840917" y="334417"/>
                  </a:lnTo>
                  <a:lnTo>
                    <a:pt x="841768" y="334417"/>
                  </a:lnTo>
                  <a:lnTo>
                    <a:pt x="841819" y="334810"/>
                  </a:lnTo>
                  <a:lnTo>
                    <a:pt x="842556" y="334810"/>
                  </a:lnTo>
                  <a:lnTo>
                    <a:pt x="842708" y="335255"/>
                  </a:lnTo>
                  <a:lnTo>
                    <a:pt x="843546" y="335255"/>
                  </a:lnTo>
                  <a:lnTo>
                    <a:pt x="843597" y="335649"/>
                  </a:lnTo>
                  <a:lnTo>
                    <a:pt x="844588" y="335649"/>
                  </a:lnTo>
                  <a:lnTo>
                    <a:pt x="844689" y="336106"/>
                  </a:lnTo>
                  <a:lnTo>
                    <a:pt x="845731" y="336106"/>
                  </a:lnTo>
                  <a:lnTo>
                    <a:pt x="845832" y="336449"/>
                  </a:lnTo>
                  <a:lnTo>
                    <a:pt x="846721" y="336449"/>
                  </a:lnTo>
                  <a:lnTo>
                    <a:pt x="846772" y="336843"/>
                  </a:lnTo>
                  <a:lnTo>
                    <a:pt x="847471" y="336843"/>
                  </a:lnTo>
                  <a:lnTo>
                    <a:pt x="847623" y="337287"/>
                  </a:lnTo>
                  <a:lnTo>
                    <a:pt x="848359" y="337287"/>
                  </a:lnTo>
                  <a:lnTo>
                    <a:pt x="848410" y="337693"/>
                  </a:lnTo>
                  <a:lnTo>
                    <a:pt x="849312" y="337693"/>
                  </a:lnTo>
                  <a:lnTo>
                    <a:pt x="849452" y="338138"/>
                  </a:lnTo>
                  <a:lnTo>
                    <a:pt x="850442" y="338138"/>
                  </a:lnTo>
                  <a:lnTo>
                    <a:pt x="850493" y="338481"/>
                  </a:lnTo>
                  <a:lnTo>
                    <a:pt x="851839" y="338481"/>
                  </a:lnTo>
                  <a:lnTo>
                    <a:pt x="851941" y="338874"/>
                  </a:lnTo>
                  <a:lnTo>
                    <a:pt x="852728" y="338874"/>
                  </a:lnTo>
                  <a:lnTo>
                    <a:pt x="852830" y="339319"/>
                  </a:lnTo>
                  <a:lnTo>
                    <a:pt x="853528" y="339319"/>
                  </a:lnTo>
                  <a:lnTo>
                    <a:pt x="853567" y="339725"/>
                  </a:lnTo>
                  <a:lnTo>
                    <a:pt x="854468" y="339725"/>
                  </a:lnTo>
                  <a:lnTo>
                    <a:pt x="854519" y="340170"/>
                  </a:lnTo>
                  <a:lnTo>
                    <a:pt x="855357" y="340170"/>
                  </a:lnTo>
                  <a:lnTo>
                    <a:pt x="855459" y="340513"/>
                  </a:lnTo>
                  <a:lnTo>
                    <a:pt x="856500" y="340513"/>
                  </a:lnTo>
                  <a:lnTo>
                    <a:pt x="856551" y="340907"/>
                  </a:lnTo>
                  <a:lnTo>
                    <a:pt x="857745" y="340907"/>
                  </a:lnTo>
                  <a:lnTo>
                    <a:pt x="857834" y="341364"/>
                  </a:lnTo>
                  <a:lnTo>
                    <a:pt x="858735" y="341364"/>
                  </a:lnTo>
                  <a:lnTo>
                    <a:pt x="858786" y="341757"/>
                  </a:lnTo>
                  <a:lnTo>
                    <a:pt x="859523" y="341757"/>
                  </a:lnTo>
                  <a:lnTo>
                    <a:pt x="859574" y="342151"/>
                  </a:lnTo>
                  <a:lnTo>
                    <a:pt x="860463" y="342151"/>
                  </a:lnTo>
                  <a:lnTo>
                    <a:pt x="860564" y="342545"/>
                  </a:lnTo>
                  <a:lnTo>
                    <a:pt x="861313" y="342545"/>
                  </a:lnTo>
                  <a:lnTo>
                    <a:pt x="861364" y="343002"/>
                  </a:lnTo>
                  <a:lnTo>
                    <a:pt x="862253" y="343002"/>
                  </a:lnTo>
                  <a:lnTo>
                    <a:pt x="862355" y="343396"/>
                  </a:lnTo>
                  <a:lnTo>
                    <a:pt x="863295" y="343396"/>
                  </a:lnTo>
                  <a:lnTo>
                    <a:pt x="863396" y="343739"/>
                  </a:lnTo>
                  <a:lnTo>
                    <a:pt x="864285" y="343739"/>
                  </a:lnTo>
                  <a:lnTo>
                    <a:pt x="864336" y="344183"/>
                  </a:lnTo>
                  <a:lnTo>
                    <a:pt x="865225" y="344183"/>
                  </a:lnTo>
                  <a:lnTo>
                    <a:pt x="865327" y="344589"/>
                  </a:lnTo>
                  <a:lnTo>
                    <a:pt x="866127" y="344589"/>
                  </a:lnTo>
                  <a:lnTo>
                    <a:pt x="866228" y="345034"/>
                  </a:lnTo>
                  <a:lnTo>
                    <a:pt x="867168" y="345034"/>
                  </a:lnTo>
                  <a:lnTo>
                    <a:pt x="867219" y="345428"/>
                  </a:lnTo>
                  <a:lnTo>
                    <a:pt x="868057" y="345428"/>
                  </a:lnTo>
                  <a:lnTo>
                    <a:pt x="868108" y="345771"/>
                  </a:lnTo>
                  <a:lnTo>
                    <a:pt x="869048" y="345771"/>
                  </a:lnTo>
                  <a:lnTo>
                    <a:pt x="869099" y="346215"/>
                  </a:lnTo>
                  <a:lnTo>
                    <a:pt x="870445" y="346215"/>
                  </a:lnTo>
                  <a:lnTo>
                    <a:pt x="870534" y="346622"/>
                  </a:lnTo>
                  <a:lnTo>
                    <a:pt x="871486" y="346622"/>
                  </a:lnTo>
                  <a:lnTo>
                    <a:pt x="871537" y="347066"/>
                  </a:lnTo>
                  <a:lnTo>
                    <a:pt x="872274" y="347066"/>
                  </a:lnTo>
                  <a:lnTo>
                    <a:pt x="872375" y="347460"/>
                  </a:lnTo>
                  <a:lnTo>
                    <a:pt x="873163" y="347460"/>
                  </a:lnTo>
                  <a:lnTo>
                    <a:pt x="873264" y="347904"/>
                  </a:lnTo>
                  <a:lnTo>
                    <a:pt x="874166" y="347904"/>
                  </a:lnTo>
                  <a:lnTo>
                    <a:pt x="874204" y="348260"/>
                  </a:lnTo>
                  <a:lnTo>
                    <a:pt x="875296" y="348260"/>
                  </a:lnTo>
                  <a:lnTo>
                    <a:pt x="875347" y="348653"/>
                  </a:lnTo>
                  <a:lnTo>
                    <a:pt x="876490" y="348653"/>
                  </a:lnTo>
                  <a:lnTo>
                    <a:pt x="876541" y="349098"/>
                  </a:lnTo>
                  <a:lnTo>
                    <a:pt x="877239" y="349098"/>
                  </a:lnTo>
                  <a:lnTo>
                    <a:pt x="877379" y="349492"/>
                  </a:lnTo>
                  <a:lnTo>
                    <a:pt x="878332" y="349492"/>
                  </a:lnTo>
                  <a:lnTo>
                    <a:pt x="878382" y="349936"/>
                  </a:lnTo>
                  <a:lnTo>
                    <a:pt x="879221" y="349936"/>
                  </a:lnTo>
                  <a:lnTo>
                    <a:pt x="879271" y="350292"/>
                  </a:lnTo>
                  <a:lnTo>
                    <a:pt x="880059" y="350292"/>
                  </a:lnTo>
                  <a:lnTo>
                    <a:pt x="880109" y="350685"/>
                  </a:lnTo>
                  <a:lnTo>
                    <a:pt x="881062" y="350685"/>
                  </a:lnTo>
                  <a:lnTo>
                    <a:pt x="881100" y="351130"/>
                  </a:lnTo>
                  <a:lnTo>
                    <a:pt x="882396" y="351130"/>
                  </a:lnTo>
                  <a:lnTo>
                    <a:pt x="882446" y="351524"/>
                  </a:lnTo>
                  <a:lnTo>
                    <a:pt x="883234" y="351524"/>
                  </a:lnTo>
                  <a:lnTo>
                    <a:pt x="883284" y="351981"/>
                  </a:lnTo>
                  <a:lnTo>
                    <a:pt x="884034" y="351981"/>
                  </a:lnTo>
                  <a:lnTo>
                    <a:pt x="884135" y="352324"/>
                  </a:lnTo>
                  <a:lnTo>
                    <a:pt x="884821" y="352324"/>
                  </a:lnTo>
                  <a:lnTo>
                    <a:pt x="884872" y="352768"/>
                  </a:lnTo>
                  <a:lnTo>
                    <a:pt x="885418" y="352768"/>
                  </a:lnTo>
                  <a:lnTo>
                    <a:pt x="885520" y="353162"/>
                  </a:lnTo>
                  <a:lnTo>
                    <a:pt x="886218" y="353162"/>
                  </a:lnTo>
                  <a:lnTo>
                    <a:pt x="886269" y="353568"/>
                  </a:lnTo>
                  <a:lnTo>
                    <a:pt x="886955" y="353568"/>
                  </a:lnTo>
                  <a:lnTo>
                    <a:pt x="887107" y="354013"/>
                  </a:lnTo>
                  <a:lnTo>
                    <a:pt x="887996" y="354013"/>
                  </a:lnTo>
                  <a:lnTo>
                    <a:pt x="888047" y="354356"/>
                  </a:lnTo>
                  <a:lnTo>
                    <a:pt x="889139" y="354356"/>
                  </a:lnTo>
                  <a:lnTo>
                    <a:pt x="889190" y="354800"/>
                  </a:lnTo>
                  <a:lnTo>
                    <a:pt x="890041" y="354800"/>
                  </a:lnTo>
                  <a:lnTo>
                    <a:pt x="890130" y="355194"/>
                  </a:lnTo>
                  <a:lnTo>
                    <a:pt x="890778" y="355194"/>
                  </a:lnTo>
                  <a:lnTo>
                    <a:pt x="890828" y="355600"/>
                  </a:lnTo>
                  <a:lnTo>
                    <a:pt x="891527" y="355600"/>
                  </a:lnTo>
                  <a:lnTo>
                    <a:pt x="891628" y="356045"/>
                  </a:lnTo>
                  <a:lnTo>
                    <a:pt x="892213" y="356045"/>
                  </a:lnTo>
                  <a:lnTo>
                    <a:pt x="892314" y="356388"/>
                  </a:lnTo>
                  <a:lnTo>
                    <a:pt x="892911" y="356388"/>
                  </a:lnTo>
                  <a:lnTo>
                    <a:pt x="893013" y="356832"/>
                  </a:lnTo>
                  <a:lnTo>
                    <a:pt x="893762" y="356832"/>
                  </a:lnTo>
                  <a:lnTo>
                    <a:pt x="893800" y="357239"/>
                  </a:lnTo>
                  <a:lnTo>
                    <a:pt x="894600" y="357239"/>
                  </a:lnTo>
                  <a:lnTo>
                    <a:pt x="894651" y="357632"/>
                  </a:lnTo>
                  <a:lnTo>
                    <a:pt x="895692" y="357632"/>
                  </a:lnTo>
                  <a:lnTo>
                    <a:pt x="895743" y="358026"/>
                  </a:lnTo>
                  <a:lnTo>
                    <a:pt x="896480" y="358026"/>
                  </a:lnTo>
                  <a:lnTo>
                    <a:pt x="896531" y="358420"/>
                  </a:lnTo>
                  <a:lnTo>
                    <a:pt x="897178" y="358420"/>
                  </a:lnTo>
                  <a:lnTo>
                    <a:pt x="897280" y="358877"/>
                  </a:lnTo>
                  <a:lnTo>
                    <a:pt x="898017" y="358877"/>
                  </a:lnTo>
                  <a:lnTo>
                    <a:pt x="898067" y="359271"/>
                  </a:lnTo>
                  <a:lnTo>
                    <a:pt x="898867" y="359271"/>
                  </a:lnTo>
                  <a:lnTo>
                    <a:pt x="898918" y="359715"/>
                  </a:lnTo>
                  <a:lnTo>
                    <a:pt x="900010" y="359715"/>
                  </a:lnTo>
                  <a:lnTo>
                    <a:pt x="900061" y="360058"/>
                  </a:lnTo>
                  <a:lnTo>
                    <a:pt x="901395" y="360058"/>
                  </a:lnTo>
                  <a:lnTo>
                    <a:pt x="901446" y="360464"/>
                  </a:lnTo>
                  <a:lnTo>
                    <a:pt x="902385" y="360464"/>
                  </a:lnTo>
                  <a:lnTo>
                    <a:pt x="902436" y="360909"/>
                  </a:lnTo>
                  <a:lnTo>
                    <a:pt x="903185" y="360909"/>
                  </a:lnTo>
                  <a:lnTo>
                    <a:pt x="903236" y="361303"/>
                  </a:lnTo>
                  <a:lnTo>
                    <a:pt x="904328" y="361303"/>
                  </a:lnTo>
                  <a:lnTo>
                    <a:pt x="904367" y="361747"/>
                  </a:lnTo>
                  <a:lnTo>
                    <a:pt x="905319" y="361747"/>
                  </a:lnTo>
                  <a:lnTo>
                    <a:pt x="905370" y="362090"/>
                  </a:lnTo>
                  <a:lnTo>
                    <a:pt x="906208" y="362090"/>
                  </a:lnTo>
                  <a:lnTo>
                    <a:pt x="906259" y="362497"/>
                  </a:lnTo>
                  <a:lnTo>
                    <a:pt x="907097" y="362497"/>
                  </a:lnTo>
                  <a:lnTo>
                    <a:pt x="907148" y="362941"/>
                  </a:lnTo>
                  <a:lnTo>
                    <a:pt x="908494" y="362941"/>
                  </a:lnTo>
                  <a:lnTo>
                    <a:pt x="908545" y="363335"/>
                  </a:lnTo>
                  <a:lnTo>
                    <a:pt x="909383" y="363335"/>
                  </a:lnTo>
                  <a:lnTo>
                    <a:pt x="909434" y="363779"/>
                  </a:lnTo>
                  <a:lnTo>
                    <a:pt x="910221" y="363779"/>
                  </a:lnTo>
                  <a:lnTo>
                    <a:pt x="910272" y="364135"/>
                  </a:lnTo>
                  <a:lnTo>
                    <a:pt x="910920" y="364135"/>
                  </a:lnTo>
                  <a:lnTo>
                    <a:pt x="910971" y="364579"/>
                  </a:lnTo>
                  <a:lnTo>
                    <a:pt x="911567" y="364579"/>
                  </a:lnTo>
                  <a:lnTo>
                    <a:pt x="911618" y="364973"/>
                  </a:lnTo>
                  <a:lnTo>
                    <a:pt x="912266" y="364973"/>
                  </a:lnTo>
                  <a:lnTo>
                    <a:pt x="912304" y="365367"/>
                  </a:lnTo>
                  <a:lnTo>
                    <a:pt x="912850" y="365367"/>
                  </a:lnTo>
                  <a:lnTo>
                    <a:pt x="912952" y="365811"/>
                  </a:lnTo>
                  <a:lnTo>
                    <a:pt x="913498" y="365811"/>
                  </a:lnTo>
                  <a:lnTo>
                    <a:pt x="913549" y="366167"/>
                  </a:lnTo>
                  <a:lnTo>
                    <a:pt x="914196" y="366167"/>
                  </a:lnTo>
                  <a:lnTo>
                    <a:pt x="914298" y="366611"/>
                  </a:lnTo>
                  <a:lnTo>
                    <a:pt x="914895" y="366611"/>
                  </a:lnTo>
                  <a:lnTo>
                    <a:pt x="915034" y="367005"/>
                  </a:lnTo>
                  <a:lnTo>
                    <a:pt x="915784" y="367005"/>
                  </a:lnTo>
                  <a:lnTo>
                    <a:pt x="915885" y="367399"/>
                  </a:lnTo>
                  <a:lnTo>
                    <a:pt x="916622" y="367399"/>
                  </a:lnTo>
                  <a:lnTo>
                    <a:pt x="916673" y="367856"/>
                  </a:lnTo>
                  <a:lnTo>
                    <a:pt x="917574" y="367856"/>
                  </a:lnTo>
                  <a:lnTo>
                    <a:pt x="917613" y="368199"/>
                  </a:lnTo>
                  <a:lnTo>
                    <a:pt x="918413" y="368199"/>
                  </a:lnTo>
                  <a:lnTo>
                    <a:pt x="918463" y="368643"/>
                  </a:lnTo>
                  <a:lnTo>
                    <a:pt x="919302" y="368643"/>
                  </a:lnTo>
                  <a:lnTo>
                    <a:pt x="919353" y="369037"/>
                  </a:lnTo>
                  <a:lnTo>
                    <a:pt x="920051" y="369037"/>
                  </a:lnTo>
                  <a:lnTo>
                    <a:pt x="920102" y="369482"/>
                  </a:lnTo>
                  <a:lnTo>
                    <a:pt x="921245" y="369482"/>
                  </a:lnTo>
                  <a:lnTo>
                    <a:pt x="921334" y="369888"/>
                  </a:lnTo>
                  <a:lnTo>
                    <a:pt x="922375" y="369888"/>
                  </a:lnTo>
                  <a:lnTo>
                    <a:pt x="922477" y="370231"/>
                  </a:lnTo>
                  <a:lnTo>
                    <a:pt x="923074" y="370231"/>
                  </a:lnTo>
                  <a:lnTo>
                    <a:pt x="923175" y="370675"/>
                  </a:lnTo>
                  <a:lnTo>
                    <a:pt x="923823" y="370675"/>
                  </a:lnTo>
                  <a:lnTo>
                    <a:pt x="923874" y="371069"/>
                  </a:lnTo>
                  <a:lnTo>
                    <a:pt x="924610" y="371069"/>
                  </a:lnTo>
                  <a:lnTo>
                    <a:pt x="924763" y="371526"/>
                  </a:lnTo>
                  <a:lnTo>
                    <a:pt x="925461" y="371526"/>
                  </a:lnTo>
                  <a:lnTo>
                    <a:pt x="925512" y="371920"/>
                  </a:lnTo>
                  <a:lnTo>
                    <a:pt x="926249" y="371920"/>
                  </a:lnTo>
                  <a:lnTo>
                    <a:pt x="926350" y="372263"/>
                  </a:lnTo>
                  <a:lnTo>
                    <a:pt x="927239" y="372263"/>
                  </a:lnTo>
                  <a:lnTo>
                    <a:pt x="927290" y="372707"/>
                  </a:lnTo>
                  <a:lnTo>
                    <a:pt x="928039" y="372707"/>
                  </a:lnTo>
                  <a:lnTo>
                    <a:pt x="928141" y="373114"/>
                  </a:lnTo>
                  <a:lnTo>
                    <a:pt x="929081" y="373114"/>
                  </a:lnTo>
                  <a:lnTo>
                    <a:pt x="929132" y="373558"/>
                  </a:lnTo>
                  <a:lnTo>
                    <a:pt x="929868" y="373558"/>
                  </a:lnTo>
                  <a:lnTo>
                    <a:pt x="929970" y="373901"/>
                  </a:lnTo>
                  <a:lnTo>
                    <a:pt x="930859" y="373901"/>
                  </a:lnTo>
                  <a:lnTo>
                    <a:pt x="930909" y="374295"/>
                  </a:lnTo>
                  <a:lnTo>
                    <a:pt x="931900" y="374295"/>
                  </a:lnTo>
                  <a:lnTo>
                    <a:pt x="932053" y="374752"/>
                  </a:lnTo>
                  <a:lnTo>
                    <a:pt x="934491" y="374752"/>
                  </a:lnTo>
                  <a:lnTo>
                    <a:pt x="934529" y="375146"/>
                  </a:lnTo>
                  <a:lnTo>
                    <a:pt x="935482" y="375146"/>
                  </a:lnTo>
                  <a:lnTo>
                    <a:pt x="935532" y="375590"/>
                  </a:lnTo>
                  <a:lnTo>
                    <a:pt x="936371" y="375590"/>
                  </a:lnTo>
                  <a:lnTo>
                    <a:pt x="936421" y="375933"/>
                  </a:lnTo>
                  <a:lnTo>
                    <a:pt x="937120" y="375933"/>
                  </a:lnTo>
                  <a:lnTo>
                    <a:pt x="937209" y="376378"/>
                  </a:lnTo>
                  <a:lnTo>
                    <a:pt x="937958" y="376378"/>
                  </a:lnTo>
                  <a:lnTo>
                    <a:pt x="938110" y="376784"/>
                  </a:lnTo>
                  <a:lnTo>
                    <a:pt x="938796" y="376784"/>
                  </a:lnTo>
                  <a:lnTo>
                    <a:pt x="938847" y="377178"/>
                  </a:lnTo>
                  <a:lnTo>
                    <a:pt x="939698" y="377178"/>
                  </a:lnTo>
                  <a:lnTo>
                    <a:pt x="939749" y="377622"/>
                  </a:lnTo>
                  <a:lnTo>
                    <a:pt x="940434" y="377622"/>
                  </a:lnTo>
                  <a:lnTo>
                    <a:pt x="940536" y="377965"/>
                  </a:lnTo>
                  <a:lnTo>
                    <a:pt x="941336" y="377965"/>
                  </a:lnTo>
                  <a:lnTo>
                    <a:pt x="941387" y="378422"/>
                  </a:lnTo>
                  <a:lnTo>
                    <a:pt x="942073" y="378422"/>
                  </a:lnTo>
                  <a:lnTo>
                    <a:pt x="942124" y="378816"/>
                  </a:lnTo>
                  <a:lnTo>
                    <a:pt x="942974" y="378816"/>
                  </a:lnTo>
                  <a:lnTo>
                    <a:pt x="943013" y="379210"/>
                  </a:lnTo>
                  <a:lnTo>
                    <a:pt x="943813" y="379210"/>
                  </a:lnTo>
                  <a:lnTo>
                    <a:pt x="943863" y="379654"/>
                  </a:lnTo>
                  <a:lnTo>
                    <a:pt x="944511" y="379654"/>
                  </a:lnTo>
                  <a:lnTo>
                    <a:pt x="944562" y="380010"/>
                  </a:lnTo>
                  <a:lnTo>
                    <a:pt x="945197" y="380010"/>
                  </a:lnTo>
                  <a:lnTo>
                    <a:pt x="945248" y="380454"/>
                  </a:lnTo>
                  <a:lnTo>
                    <a:pt x="946188" y="380454"/>
                  </a:lnTo>
                  <a:lnTo>
                    <a:pt x="946289" y="380848"/>
                  </a:lnTo>
                  <a:lnTo>
                    <a:pt x="947280" y="380848"/>
                  </a:lnTo>
                  <a:lnTo>
                    <a:pt x="947331" y="381293"/>
                  </a:lnTo>
                  <a:lnTo>
                    <a:pt x="948131" y="381293"/>
                  </a:lnTo>
                  <a:lnTo>
                    <a:pt x="948182" y="381686"/>
                  </a:lnTo>
                  <a:lnTo>
                    <a:pt x="948918" y="381686"/>
                  </a:lnTo>
                  <a:lnTo>
                    <a:pt x="949071" y="382042"/>
                  </a:lnTo>
                  <a:lnTo>
                    <a:pt x="949909" y="382042"/>
                  </a:lnTo>
                  <a:lnTo>
                    <a:pt x="949959" y="382486"/>
                  </a:lnTo>
                  <a:lnTo>
                    <a:pt x="950709" y="382486"/>
                  </a:lnTo>
                  <a:lnTo>
                    <a:pt x="950861" y="382880"/>
                  </a:lnTo>
                  <a:lnTo>
                    <a:pt x="951649" y="382880"/>
                  </a:lnTo>
                  <a:lnTo>
                    <a:pt x="951750" y="383324"/>
                  </a:lnTo>
                  <a:lnTo>
                    <a:pt x="952944" y="383324"/>
                  </a:lnTo>
                  <a:lnTo>
                    <a:pt x="952995" y="383731"/>
                  </a:lnTo>
                  <a:lnTo>
                    <a:pt x="953884" y="383731"/>
                  </a:lnTo>
                  <a:lnTo>
                    <a:pt x="953985" y="384074"/>
                  </a:lnTo>
                  <a:lnTo>
                    <a:pt x="954773" y="384074"/>
                  </a:lnTo>
                  <a:lnTo>
                    <a:pt x="954824" y="384518"/>
                  </a:lnTo>
                  <a:lnTo>
                    <a:pt x="955573" y="384518"/>
                  </a:lnTo>
                  <a:lnTo>
                    <a:pt x="955624" y="384912"/>
                  </a:lnTo>
                  <a:lnTo>
                    <a:pt x="956411" y="384912"/>
                  </a:lnTo>
                  <a:lnTo>
                    <a:pt x="956513" y="385357"/>
                  </a:lnTo>
                  <a:lnTo>
                    <a:pt x="957453" y="385357"/>
                  </a:lnTo>
                  <a:lnTo>
                    <a:pt x="957605" y="385763"/>
                  </a:lnTo>
                  <a:lnTo>
                    <a:pt x="958443" y="385763"/>
                  </a:lnTo>
                  <a:lnTo>
                    <a:pt x="958545" y="386106"/>
                  </a:lnTo>
                  <a:lnTo>
                    <a:pt x="959535" y="386106"/>
                  </a:lnTo>
                  <a:lnTo>
                    <a:pt x="959586" y="386550"/>
                  </a:lnTo>
                  <a:lnTo>
                    <a:pt x="960335" y="386550"/>
                  </a:lnTo>
                  <a:lnTo>
                    <a:pt x="960386" y="386944"/>
                  </a:lnTo>
                  <a:lnTo>
                    <a:pt x="961072" y="386944"/>
                  </a:lnTo>
                  <a:lnTo>
                    <a:pt x="961174" y="387401"/>
                  </a:lnTo>
                  <a:lnTo>
                    <a:pt x="961974" y="387401"/>
                  </a:lnTo>
                  <a:lnTo>
                    <a:pt x="962024" y="387795"/>
                  </a:lnTo>
                  <a:lnTo>
                    <a:pt x="963066" y="387795"/>
                  </a:lnTo>
                  <a:lnTo>
                    <a:pt x="963104" y="388189"/>
                  </a:lnTo>
                  <a:lnTo>
                    <a:pt x="964006" y="388189"/>
                  </a:lnTo>
                  <a:lnTo>
                    <a:pt x="964057" y="388582"/>
                  </a:lnTo>
                  <a:lnTo>
                    <a:pt x="965098" y="388582"/>
                  </a:lnTo>
                  <a:lnTo>
                    <a:pt x="965149" y="388989"/>
                  </a:lnTo>
                  <a:lnTo>
                    <a:pt x="966088" y="388989"/>
                  </a:lnTo>
                  <a:lnTo>
                    <a:pt x="966139" y="389433"/>
                  </a:lnTo>
                  <a:lnTo>
                    <a:pt x="966927" y="389433"/>
                  </a:lnTo>
                  <a:lnTo>
                    <a:pt x="966978" y="389776"/>
                  </a:lnTo>
                  <a:lnTo>
                    <a:pt x="967727" y="389776"/>
                  </a:lnTo>
                  <a:lnTo>
                    <a:pt x="967867" y="390221"/>
                  </a:lnTo>
                  <a:lnTo>
                    <a:pt x="968616" y="390221"/>
                  </a:lnTo>
                  <a:lnTo>
                    <a:pt x="968717" y="390627"/>
                  </a:lnTo>
                  <a:lnTo>
                    <a:pt x="969416" y="390627"/>
                  </a:lnTo>
                  <a:lnTo>
                    <a:pt x="969454" y="391021"/>
                  </a:lnTo>
                  <a:lnTo>
                    <a:pt x="970356" y="391021"/>
                  </a:lnTo>
                  <a:lnTo>
                    <a:pt x="970407" y="391465"/>
                  </a:lnTo>
                  <a:lnTo>
                    <a:pt x="971346" y="391465"/>
                  </a:lnTo>
                  <a:lnTo>
                    <a:pt x="971448" y="391808"/>
                  </a:lnTo>
                  <a:lnTo>
                    <a:pt x="972235" y="391808"/>
                  </a:lnTo>
                  <a:lnTo>
                    <a:pt x="972286" y="392253"/>
                  </a:lnTo>
                  <a:lnTo>
                    <a:pt x="973035" y="392253"/>
                  </a:lnTo>
                  <a:lnTo>
                    <a:pt x="973086" y="392659"/>
                  </a:lnTo>
                  <a:lnTo>
                    <a:pt x="973721" y="392659"/>
                  </a:lnTo>
                  <a:lnTo>
                    <a:pt x="973772" y="393103"/>
                  </a:lnTo>
                  <a:lnTo>
                    <a:pt x="974521" y="393103"/>
                  </a:lnTo>
                  <a:lnTo>
                    <a:pt x="974623" y="393497"/>
                  </a:lnTo>
                  <a:lnTo>
                    <a:pt x="975309" y="393497"/>
                  </a:lnTo>
                  <a:lnTo>
                    <a:pt x="975359" y="393840"/>
                  </a:lnTo>
                  <a:lnTo>
                    <a:pt x="976210" y="393840"/>
                  </a:lnTo>
                  <a:lnTo>
                    <a:pt x="976261" y="394297"/>
                  </a:lnTo>
                  <a:lnTo>
                    <a:pt x="977442" y="394297"/>
                  </a:lnTo>
                  <a:lnTo>
                    <a:pt x="977595" y="394691"/>
                  </a:lnTo>
                  <a:lnTo>
                    <a:pt x="978395" y="394691"/>
                  </a:lnTo>
                  <a:lnTo>
                    <a:pt x="978484" y="395135"/>
                  </a:lnTo>
                  <a:lnTo>
                    <a:pt x="979627" y="395135"/>
                  </a:lnTo>
                  <a:lnTo>
                    <a:pt x="979678" y="395529"/>
                  </a:lnTo>
                  <a:lnTo>
                    <a:pt x="981468" y="395529"/>
                  </a:lnTo>
                  <a:lnTo>
                    <a:pt x="981519" y="395885"/>
                  </a:lnTo>
                  <a:lnTo>
                    <a:pt x="982662" y="395885"/>
                  </a:lnTo>
                  <a:lnTo>
                    <a:pt x="982700" y="396329"/>
                  </a:lnTo>
                  <a:lnTo>
                    <a:pt x="983348" y="396329"/>
                  </a:lnTo>
                  <a:lnTo>
                    <a:pt x="983399" y="396723"/>
                  </a:lnTo>
                  <a:lnTo>
                    <a:pt x="984199" y="396723"/>
                  </a:lnTo>
                  <a:lnTo>
                    <a:pt x="984288" y="397168"/>
                  </a:lnTo>
                  <a:lnTo>
                    <a:pt x="985088" y="397168"/>
                  </a:lnTo>
                  <a:lnTo>
                    <a:pt x="985138" y="397561"/>
                  </a:lnTo>
                  <a:lnTo>
                    <a:pt x="985875" y="397561"/>
                  </a:lnTo>
                  <a:lnTo>
                    <a:pt x="985977" y="398018"/>
                  </a:lnTo>
                  <a:lnTo>
                    <a:pt x="987018" y="398018"/>
                  </a:lnTo>
                  <a:lnTo>
                    <a:pt x="987120" y="398361"/>
                  </a:lnTo>
                  <a:lnTo>
                    <a:pt x="988009" y="398361"/>
                  </a:lnTo>
                  <a:lnTo>
                    <a:pt x="988059" y="398755"/>
                  </a:lnTo>
                  <a:lnTo>
                    <a:pt x="988758" y="398755"/>
                  </a:lnTo>
                  <a:lnTo>
                    <a:pt x="988809" y="399199"/>
                  </a:lnTo>
                  <a:lnTo>
                    <a:pt x="989457" y="399199"/>
                  </a:lnTo>
                  <a:lnTo>
                    <a:pt x="989507" y="399606"/>
                  </a:lnTo>
                  <a:lnTo>
                    <a:pt x="990142" y="399606"/>
                  </a:lnTo>
                  <a:lnTo>
                    <a:pt x="990193" y="400050"/>
                  </a:lnTo>
                  <a:lnTo>
                    <a:pt x="990790" y="400050"/>
                  </a:lnTo>
                  <a:lnTo>
                    <a:pt x="990841" y="400393"/>
                  </a:lnTo>
                  <a:lnTo>
                    <a:pt x="991438" y="400393"/>
                  </a:lnTo>
                  <a:lnTo>
                    <a:pt x="991539" y="400787"/>
                  </a:lnTo>
                  <a:lnTo>
                    <a:pt x="992085" y="400787"/>
                  </a:lnTo>
                  <a:lnTo>
                    <a:pt x="992187" y="401232"/>
                  </a:lnTo>
                  <a:lnTo>
                    <a:pt x="992682" y="401232"/>
                  </a:lnTo>
                  <a:lnTo>
                    <a:pt x="992822" y="401638"/>
                  </a:lnTo>
                  <a:lnTo>
                    <a:pt x="993470" y="401638"/>
                  </a:lnTo>
                  <a:lnTo>
                    <a:pt x="993521" y="402082"/>
                  </a:lnTo>
                  <a:lnTo>
                    <a:pt x="994117" y="402082"/>
                  </a:lnTo>
                  <a:lnTo>
                    <a:pt x="994168" y="402425"/>
                  </a:lnTo>
                  <a:lnTo>
                    <a:pt x="995057" y="402425"/>
                  </a:lnTo>
                  <a:lnTo>
                    <a:pt x="995108" y="402819"/>
                  </a:lnTo>
                  <a:lnTo>
                    <a:pt x="996099" y="402819"/>
                  </a:lnTo>
                  <a:lnTo>
                    <a:pt x="996200" y="403276"/>
                  </a:lnTo>
                  <a:lnTo>
                    <a:pt x="997089" y="403276"/>
                  </a:lnTo>
                  <a:lnTo>
                    <a:pt x="997140" y="403670"/>
                  </a:lnTo>
                  <a:lnTo>
                    <a:pt x="998283" y="403670"/>
                  </a:lnTo>
                  <a:lnTo>
                    <a:pt x="998334" y="404064"/>
                  </a:lnTo>
                  <a:lnTo>
                    <a:pt x="1000124" y="404064"/>
                  </a:lnTo>
                  <a:lnTo>
                    <a:pt x="1000163" y="404457"/>
                  </a:lnTo>
                  <a:lnTo>
                    <a:pt x="1001166" y="404457"/>
                  </a:lnTo>
                  <a:lnTo>
                    <a:pt x="1001204" y="404914"/>
                  </a:lnTo>
                  <a:lnTo>
                    <a:pt x="1002106" y="404914"/>
                  </a:lnTo>
                  <a:lnTo>
                    <a:pt x="1002157" y="405308"/>
                  </a:lnTo>
                  <a:lnTo>
                    <a:pt x="1002893" y="405308"/>
                  </a:lnTo>
                  <a:lnTo>
                    <a:pt x="1002995" y="405651"/>
                  </a:lnTo>
                  <a:lnTo>
                    <a:pt x="1003795" y="405651"/>
                  </a:lnTo>
                  <a:lnTo>
                    <a:pt x="1003884" y="406096"/>
                  </a:lnTo>
                  <a:lnTo>
                    <a:pt x="1004836" y="406096"/>
                  </a:lnTo>
                  <a:lnTo>
                    <a:pt x="1004925" y="406502"/>
                  </a:lnTo>
                  <a:lnTo>
                    <a:pt x="1005624" y="406502"/>
                  </a:lnTo>
                  <a:lnTo>
                    <a:pt x="1005725" y="406947"/>
                  </a:lnTo>
                  <a:lnTo>
                    <a:pt x="1006424" y="406947"/>
                  </a:lnTo>
                  <a:lnTo>
                    <a:pt x="1006474" y="407340"/>
                  </a:lnTo>
                  <a:lnTo>
                    <a:pt x="1007363" y="407340"/>
                  </a:lnTo>
                  <a:lnTo>
                    <a:pt x="1007414" y="407683"/>
                  </a:lnTo>
                  <a:lnTo>
                    <a:pt x="1008405" y="407683"/>
                  </a:lnTo>
                  <a:lnTo>
                    <a:pt x="1008456" y="408128"/>
                  </a:lnTo>
                  <a:lnTo>
                    <a:pt x="1009345" y="408128"/>
                  </a:lnTo>
                  <a:lnTo>
                    <a:pt x="1009396" y="408534"/>
                  </a:lnTo>
                  <a:lnTo>
                    <a:pt x="1010284" y="408534"/>
                  </a:lnTo>
                  <a:lnTo>
                    <a:pt x="1010386" y="408978"/>
                  </a:lnTo>
                  <a:lnTo>
                    <a:pt x="1011631" y="408978"/>
                  </a:lnTo>
                  <a:lnTo>
                    <a:pt x="1011682" y="409372"/>
                  </a:lnTo>
                  <a:lnTo>
                    <a:pt x="1013510" y="409372"/>
                  </a:lnTo>
                  <a:lnTo>
                    <a:pt x="1013561" y="409817"/>
                  </a:lnTo>
                  <a:lnTo>
                    <a:pt x="1014552" y="409817"/>
                  </a:lnTo>
                  <a:lnTo>
                    <a:pt x="1014653" y="410172"/>
                  </a:lnTo>
                  <a:lnTo>
                    <a:pt x="1016139" y="410172"/>
                  </a:lnTo>
                  <a:lnTo>
                    <a:pt x="1016190" y="410566"/>
                  </a:lnTo>
                  <a:lnTo>
                    <a:pt x="1017778" y="410566"/>
                  </a:lnTo>
                  <a:lnTo>
                    <a:pt x="1017828" y="411010"/>
                  </a:lnTo>
                  <a:lnTo>
                    <a:pt x="1019670" y="411010"/>
                  </a:lnTo>
                  <a:lnTo>
                    <a:pt x="1019759" y="411404"/>
                  </a:lnTo>
                  <a:lnTo>
                    <a:pt x="1020559" y="411404"/>
                  </a:lnTo>
                  <a:lnTo>
                    <a:pt x="1020660" y="411849"/>
                  </a:lnTo>
                  <a:lnTo>
                    <a:pt x="1021448" y="411849"/>
                  </a:lnTo>
                  <a:lnTo>
                    <a:pt x="1021499" y="412204"/>
                  </a:lnTo>
                  <a:lnTo>
                    <a:pt x="1022299" y="412204"/>
                  </a:lnTo>
                  <a:lnTo>
                    <a:pt x="1022349" y="412598"/>
                  </a:lnTo>
                  <a:lnTo>
                    <a:pt x="1023391" y="412598"/>
                  </a:lnTo>
                  <a:lnTo>
                    <a:pt x="1023429" y="413043"/>
                  </a:lnTo>
                  <a:lnTo>
                    <a:pt x="1025118" y="413043"/>
                  </a:lnTo>
                  <a:lnTo>
                    <a:pt x="1025220" y="413436"/>
                  </a:lnTo>
                  <a:lnTo>
                    <a:pt x="1026261" y="413436"/>
                  </a:lnTo>
                  <a:lnTo>
                    <a:pt x="1026363" y="413893"/>
                  </a:lnTo>
                  <a:lnTo>
                    <a:pt x="1027010" y="413893"/>
                  </a:lnTo>
                  <a:lnTo>
                    <a:pt x="1027061" y="414236"/>
                  </a:lnTo>
                  <a:lnTo>
                    <a:pt x="1027696" y="414236"/>
                  </a:lnTo>
                  <a:lnTo>
                    <a:pt x="1027747" y="414681"/>
                  </a:lnTo>
                  <a:lnTo>
                    <a:pt x="1028446" y="414681"/>
                  </a:lnTo>
                  <a:lnTo>
                    <a:pt x="1028496" y="415074"/>
                  </a:lnTo>
                  <a:lnTo>
                    <a:pt x="1029385" y="415074"/>
                  </a:lnTo>
                  <a:lnTo>
                    <a:pt x="1029436" y="415481"/>
                  </a:lnTo>
                  <a:lnTo>
                    <a:pt x="1030236" y="415481"/>
                  </a:lnTo>
                  <a:lnTo>
                    <a:pt x="1030287" y="415925"/>
                  </a:lnTo>
                  <a:lnTo>
                    <a:pt x="1031176" y="415925"/>
                  </a:lnTo>
                  <a:lnTo>
                    <a:pt x="1031227" y="416268"/>
                  </a:lnTo>
                  <a:lnTo>
                    <a:pt x="1032319" y="416268"/>
                  </a:lnTo>
                  <a:lnTo>
                    <a:pt x="1032370" y="416713"/>
                  </a:lnTo>
                  <a:lnTo>
                    <a:pt x="1033259" y="416713"/>
                  </a:lnTo>
                  <a:lnTo>
                    <a:pt x="1033360" y="417107"/>
                  </a:lnTo>
                  <a:lnTo>
                    <a:pt x="1034148" y="417107"/>
                  </a:lnTo>
                  <a:lnTo>
                    <a:pt x="1034199" y="417513"/>
                  </a:lnTo>
                  <a:lnTo>
                    <a:pt x="1034948" y="417513"/>
                  </a:lnTo>
                  <a:lnTo>
                    <a:pt x="1034999" y="417957"/>
                  </a:lnTo>
                  <a:lnTo>
                    <a:pt x="1035735" y="417957"/>
                  </a:lnTo>
                  <a:lnTo>
                    <a:pt x="1035786" y="418300"/>
                  </a:lnTo>
                  <a:lnTo>
                    <a:pt x="1036637" y="418300"/>
                  </a:lnTo>
                  <a:lnTo>
                    <a:pt x="1036675" y="418745"/>
                  </a:lnTo>
                  <a:lnTo>
                    <a:pt x="1038021" y="418745"/>
                  </a:lnTo>
                  <a:lnTo>
                    <a:pt x="1038123" y="419151"/>
                  </a:lnTo>
                  <a:lnTo>
                    <a:pt x="1038809" y="419151"/>
                  </a:lnTo>
                  <a:lnTo>
                    <a:pt x="1038859" y="419545"/>
                  </a:lnTo>
                  <a:lnTo>
                    <a:pt x="1039609" y="419545"/>
                  </a:lnTo>
                  <a:lnTo>
                    <a:pt x="1039710" y="419939"/>
                  </a:lnTo>
                  <a:lnTo>
                    <a:pt x="1040396" y="419939"/>
                  </a:lnTo>
                  <a:lnTo>
                    <a:pt x="1040447" y="420332"/>
                  </a:lnTo>
                  <a:lnTo>
                    <a:pt x="1040993" y="420332"/>
                  </a:lnTo>
                  <a:lnTo>
                    <a:pt x="1041095" y="420789"/>
                  </a:lnTo>
                  <a:lnTo>
                    <a:pt x="1042136" y="420789"/>
                  </a:lnTo>
                  <a:lnTo>
                    <a:pt x="1042238" y="420332"/>
                  </a:lnTo>
                  <a:lnTo>
                    <a:pt x="1043381" y="420332"/>
                  </a:lnTo>
                  <a:lnTo>
                    <a:pt x="1043432" y="419939"/>
                  </a:lnTo>
                  <a:lnTo>
                    <a:pt x="1045413" y="419939"/>
                  </a:lnTo>
                  <a:lnTo>
                    <a:pt x="1045463" y="420332"/>
                  </a:lnTo>
                  <a:lnTo>
                    <a:pt x="1046607" y="420332"/>
                  </a:lnTo>
                  <a:lnTo>
                    <a:pt x="1046657" y="420789"/>
                  </a:lnTo>
                  <a:lnTo>
                    <a:pt x="1047343" y="420789"/>
                  </a:lnTo>
                  <a:lnTo>
                    <a:pt x="1047496" y="421183"/>
                  </a:lnTo>
                  <a:lnTo>
                    <a:pt x="1048143" y="421183"/>
                  </a:lnTo>
                  <a:lnTo>
                    <a:pt x="1048194" y="421628"/>
                  </a:lnTo>
                  <a:lnTo>
                    <a:pt x="1048931" y="421628"/>
                  </a:lnTo>
                  <a:lnTo>
                    <a:pt x="1049032" y="421971"/>
                  </a:lnTo>
                  <a:lnTo>
                    <a:pt x="1049782" y="421971"/>
                  </a:lnTo>
                  <a:lnTo>
                    <a:pt x="1049921" y="422377"/>
                  </a:lnTo>
                  <a:lnTo>
                    <a:pt x="1050620" y="422377"/>
                  </a:lnTo>
                  <a:lnTo>
                    <a:pt x="1050671" y="422822"/>
                  </a:lnTo>
                  <a:lnTo>
                    <a:pt x="1051420" y="422822"/>
                  </a:lnTo>
                  <a:lnTo>
                    <a:pt x="1051509" y="423215"/>
                  </a:lnTo>
                  <a:lnTo>
                    <a:pt x="1052461" y="423215"/>
                  </a:lnTo>
                  <a:lnTo>
                    <a:pt x="1052512" y="423660"/>
                  </a:lnTo>
                  <a:lnTo>
                    <a:pt x="1053350" y="423660"/>
                  </a:lnTo>
                  <a:lnTo>
                    <a:pt x="1053401" y="424003"/>
                  </a:lnTo>
                  <a:lnTo>
                    <a:pt x="1054341" y="424003"/>
                  </a:lnTo>
                  <a:lnTo>
                    <a:pt x="1054442" y="424409"/>
                  </a:lnTo>
                  <a:lnTo>
                    <a:pt x="1055141" y="424409"/>
                  </a:lnTo>
                  <a:lnTo>
                    <a:pt x="1055179" y="424853"/>
                  </a:lnTo>
                  <a:lnTo>
                    <a:pt x="1056030" y="424853"/>
                  </a:lnTo>
                  <a:lnTo>
                    <a:pt x="1056081" y="425247"/>
                  </a:lnTo>
                  <a:lnTo>
                    <a:pt x="1056868" y="425247"/>
                  </a:lnTo>
                  <a:lnTo>
                    <a:pt x="1056970" y="425692"/>
                  </a:lnTo>
                  <a:lnTo>
                    <a:pt x="1057859" y="425692"/>
                  </a:lnTo>
                  <a:lnTo>
                    <a:pt x="1057909" y="426047"/>
                  </a:lnTo>
                  <a:lnTo>
                    <a:pt x="1058608" y="426047"/>
                  </a:lnTo>
                  <a:lnTo>
                    <a:pt x="1058659" y="426492"/>
                  </a:lnTo>
                  <a:lnTo>
                    <a:pt x="1059307" y="426492"/>
                  </a:lnTo>
                  <a:lnTo>
                    <a:pt x="1059357" y="426885"/>
                  </a:lnTo>
                  <a:lnTo>
                    <a:pt x="1059992" y="426885"/>
                  </a:lnTo>
                  <a:lnTo>
                    <a:pt x="1060043" y="427279"/>
                  </a:lnTo>
                  <a:lnTo>
                    <a:pt x="1060843" y="427279"/>
                  </a:lnTo>
                  <a:lnTo>
                    <a:pt x="1060894" y="427724"/>
                  </a:lnTo>
                  <a:lnTo>
                    <a:pt x="1061732" y="427724"/>
                  </a:lnTo>
                  <a:lnTo>
                    <a:pt x="1061783" y="428079"/>
                  </a:lnTo>
                  <a:lnTo>
                    <a:pt x="1062926" y="428079"/>
                  </a:lnTo>
                  <a:lnTo>
                    <a:pt x="1062977" y="428524"/>
                  </a:lnTo>
                  <a:lnTo>
                    <a:pt x="1064018" y="428524"/>
                  </a:lnTo>
                  <a:lnTo>
                    <a:pt x="1064069" y="428918"/>
                  </a:lnTo>
                  <a:lnTo>
                    <a:pt x="1065352" y="428918"/>
                  </a:lnTo>
                  <a:lnTo>
                    <a:pt x="1065403" y="429311"/>
                  </a:lnTo>
                  <a:lnTo>
                    <a:pt x="1067638" y="429311"/>
                  </a:lnTo>
                  <a:lnTo>
                    <a:pt x="1067688" y="429768"/>
                  </a:lnTo>
                  <a:lnTo>
                    <a:pt x="1069022" y="429768"/>
                  </a:lnTo>
                  <a:lnTo>
                    <a:pt x="1069073" y="430111"/>
                  </a:lnTo>
                  <a:lnTo>
                    <a:pt x="1070013" y="430111"/>
                  </a:lnTo>
                  <a:lnTo>
                    <a:pt x="1070114" y="430556"/>
                  </a:lnTo>
                  <a:lnTo>
                    <a:pt x="1071308" y="430556"/>
                  </a:lnTo>
                  <a:lnTo>
                    <a:pt x="1071359" y="430949"/>
                  </a:lnTo>
                  <a:lnTo>
                    <a:pt x="1072642" y="430949"/>
                  </a:lnTo>
                  <a:lnTo>
                    <a:pt x="1072692" y="431394"/>
                  </a:lnTo>
                  <a:lnTo>
                    <a:pt x="1074331" y="431394"/>
                  </a:lnTo>
                  <a:lnTo>
                    <a:pt x="1074432" y="431800"/>
                  </a:lnTo>
                  <a:lnTo>
                    <a:pt x="1075321" y="431800"/>
                  </a:lnTo>
                  <a:lnTo>
                    <a:pt x="1075423" y="432143"/>
                  </a:lnTo>
                  <a:lnTo>
                    <a:pt x="1076223" y="432143"/>
                  </a:lnTo>
                  <a:lnTo>
                    <a:pt x="1076274" y="432588"/>
                  </a:lnTo>
                  <a:lnTo>
                    <a:pt x="1077010" y="432588"/>
                  </a:lnTo>
                  <a:lnTo>
                    <a:pt x="1077061" y="432981"/>
                  </a:lnTo>
                  <a:lnTo>
                    <a:pt x="1077912" y="432981"/>
                  </a:lnTo>
                  <a:lnTo>
                    <a:pt x="1077950" y="433439"/>
                  </a:lnTo>
                  <a:lnTo>
                    <a:pt x="1079296" y="433439"/>
                  </a:lnTo>
                  <a:lnTo>
                    <a:pt x="1079398" y="433832"/>
                  </a:lnTo>
                  <a:lnTo>
                    <a:pt x="1081125" y="433832"/>
                  </a:lnTo>
                  <a:lnTo>
                    <a:pt x="1081227" y="434175"/>
                  </a:lnTo>
                  <a:lnTo>
                    <a:pt x="1081925" y="434175"/>
                  </a:lnTo>
                  <a:lnTo>
                    <a:pt x="1081976" y="434620"/>
                  </a:lnTo>
                  <a:lnTo>
                    <a:pt x="1082713" y="434620"/>
                  </a:lnTo>
                  <a:lnTo>
                    <a:pt x="1082814" y="435026"/>
                  </a:lnTo>
                  <a:lnTo>
                    <a:pt x="1083614" y="435026"/>
                  </a:lnTo>
                  <a:lnTo>
                    <a:pt x="1083716" y="435471"/>
                  </a:lnTo>
                  <a:lnTo>
                    <a:pt x="1084757" y="435471"/>
                  </a:lnTo>
                  <a:lnTo>
                    <a:pt x="1084846" y="435814"/>
                  </a:lnTo>
                  <a:lnTo>
                    <a:pt x="1085888" y="435814"/>
                  </a:lnTo>
                  <a:lnTo>
                    <a:pt x="1085989" y="436207"/>
                  </a:lnTo>
                  <a:lnTo>
                    <a:pt x="1087031" y="436207"/>
                  </a:lnTo>
                  <a:lnTo>
                    <a:pt x="1087132" y="436665"/>
                  </a:lnTo>
                  <a:lnTo>
                    <a:pt x="1087882" y="436665"/>
                  </a:lnTo>
                  <a:lnTo>
                    <a:pt x="1087932" y="437058"/>
                  </a:lnTo>
                  <a:lnTo>
                    <a:pt x="1088771" y="437058"/>
                  </a:lnTo>
                  <a:lnTo>
                    <a:pt x="1088821" y="437503"/>
                  </a:lnTo>
                  <a:lnTo>
                    <a:pt x="1089761" y="437503"/>
                  </a:lnTo>
                  <a:lnTo>
                    <a:pt x="1089863" y="437846"/>
                  </a:lnTo>
                  <a:lnTo>
                    <a:pt x="1091057" y="437846"/>
                  </a:lnTo>
                  <a:lnTo>
                    <a:pt x="1091196" y="438290"/>
                  </a:lnTo>
                  <a:lnTo>
                    <a:pt x="1091996" y="438290"/>
                  </a:lnTo>
                  <a:lnTo>
                    <a:pt x="1092098" y="438697"/>
                  </a:lnTo>
                  <a:lnTo>
                    <a:pt x="1093241" y="438697"/>
                  </a:lnTo>
                  <a:lnTo>
                    <a:pt x="1093279" y="439090"/>
                  </a:lnTo>
                  <a:lnTo>
                    <a:pt x="1094282" y="439090"/>
                  </a:lnTo>
                  <a:lnTo>
                    <a:pt x="1094371" y="439535"/>
                  </a:lnTo>
                  <a:lnTo>
                    <a:pt x="1094968" y="439535"/>
                  </a:lnTo>
                  <a:lnTo>
                    <a:pt x="1095070" y="439878"/>
                  </a:lnTo>
                  <a:lnTo>
                    <a:pt x="1095565" y="439878"/>
                  </a:lnTo>
                  <a:lnTo>
                    <a:pt x="1095616" y="440335"/>
                  </a:lnTo>
                  <a:lnTo>
                    <a:pt x="1096213" y="440335"/>
                  </a:lnTo>
                  <a:lnTo>
                    <a:pt x="1096263" y="440729"/>
                  </a:lnTo>
                  <a:lnTo>
                    <a:pt x="1096911" y="440729"/>
                  </a:lnTo>
                  <a:lnTo>
                    <a:pt x="1096962" y="441122"/>
                  </a:lnTo>
                  <a:lnTo>
                    <a:pt x="1097457" y="441122"/>
                  </a:lnTo>
                  <a:lnTo>
                    <a:pt x="1097546" y="441567"/>
                  </a:lnTo>
                  <a:lnTo>
                    <a:pt x="1098245" y="441567"/>
                  </a:lnTo>
                  <a:lnTo>
                    <a:pt x="1098296" y="441922"/>
                  </a:lnTo>
                  <a:lnTo>
                    <a:pt x="1099235" y="441922"/>
                  </a:lnTo>
                  <a:lnTo>
                    <a:pt x="1099286" y="442367"/>
                  </a:lnTo>
                  <a:lnTo>
                    <a:pt x="1102309" y="442367"/>
                  </a:lnTo>
                  <a:lnTo>
                    <a:pt x="1102359" y="442760"/>
                  </a:lnTo>
                  <a:lnTo>
                    <a:pt x="1103503" y="442760"/>
                  </a:lnTo>
                  <a:lnTo>
                    <a:pt x="1103553" y="443205"/>
                  </a:lnTo>
                  <a:lnTo>
                    <a:pt x="1104595" y="443205"/>
                  </a:lnTo>
                  <a:lnTo>
                    <a:pt x="1104646" y="443599"/>
                  </a:lnTo>
                  <a:lnTo>
                    <a:pt x="1105979" y="443599"/>
                  </a:lnTo>
                  <a:lnTo>
                    <a:pt x="1106030" y="443954"/>
                  </a:lnTo>
                  <a:lnTo>
                    <a:pt x="1107973" y="443954"/>
                  </a:lnTo>
                  <a:lnTo>
                    <a:pt x="1108024" y="444399"/>
                  </a:lnTo>
                  <a:lnTo>
                    <a:pt x="1109154" y="444399"/>
                  </a:lnTo>
                  <a:lnTo>
                    <a:pt x="1109205" y="444792"/>
                  </a:lnTo>
                  <a:lnTo>
                    <a:pt x="1110742" y="444792"/>
                  </a:lnTo>
                  <a:lnTo>
                    <a:pt x="1110792" y="445237"/>
                  </a:lnTo>
                  <a:lnTo>
                    <a:pt x="1113917" y="445237"/>
                  </a:lnTo>
                  <a:lnTo>
                    <a:pt x="1113967" y="445643"/>
                  </a:lnTo>
                  <a:lnTo>
                    <a:pt x="1114171" y="445643"/>
                  </a:lnTo>
                  <a:lnTo>
                    <a:pt x="1114323" y="445237"/>
                  </a:lnTo>
                  <a:lnTo>
                    <a:pt x="1115504" y="445237"/>
                  </a:lnTo>
                  <a:lnTo>
                    <a:pt x="1115555" y="444792"/>
                  </a:lnTo>
                  <a:lnTo>
                    <a:pt x="1120470" y="444792"/>
                  </a:lnTo>
                  <a:lnTo>
                    <a:pt x="1120521" y="445237"/>
                  </a:lnTo>
                  <a:lnTo>
                    <a:pt x="1121409" y="445237"/>
                  </a:lnTo>
                  <a:lnTo>
                    <a:pt x="1121460" y="445643"/>
                  </a:lnTo>
                  <a:lnTo>
                    <a:pt x="1123492" y="445643"/>
                  </a:lnTo>
                  <a:lnTo>
                    <a:pt x="1123543" y="445986"/>
                  </a:lnTo>
                  <a:lnTo>
                    <a:pt x="1124991" y="445986"/>
                  </a:lnTo>
                  <a:lnTo>
                    <a:pt x="1125029" y="446431"/>
                  </a:lnTo>
                  <a:lnTo>
                    <a:pt x="1126477" y="446431"/>
                  </a:lnTo>
                  <a:lnTo>
                    <a:pt x="1126578" y="446824"/>
                  </a:lnTo>
                  <a:lnTo>
                    <a:pt x="1127759" y="446824"/>
                  </a:lnTo>
                  <a:lnTo>
                    <a:pt x="1127810" y="447269"/>
                  </a:lnTo>
                  <a:lnTo>
                    <a:pt x="1128953" y="447269"/>
                  </a:lnTo>
                  <a:lnTo>
                    <a:pt x="1129055" y="447675"/>
                  </a:lnTo>
                  <a:lnTo>
                    <a:pt x="1130299" y="447675"/>
                  </a:lnTo>
                  <a:lnTo>
                    <a:pt x="1130338" y="448120"/>
                  </a:lnTo>
                  <a:lnTo>
                    <a:pt x="1131582" y="448120"/>
                  </a:lnTo>
                  <a:lnTo>
                    <a:pt x="1131633" y="448463"/>
                  </a:lnTo>
                  <a:lnTo>
                    <a:pt x="1132827" y="448463"/>
                  </a:lnTo>
                  <a:lnTo>
                    <a:pt x="1132928" y="448856"/>
                  </a:lnTo>
                  <a:lnTo>
                    <a:pt x="1134516" y="448856"/>
                  </a:lnTo>
                  <a:lnTo>
                    <a:pt x="1134554" y="448463"/>
                  </a:lnTo>
                  <a:lnTo>
                    <a:pt x="1140167" y="448463"/>
                  </a:lnTo>
                  <a:lnTo>
                    <a:pt x="1140218" y="448856"/>
                  </a:lnTo>
                  <a:lnTo>
                    <a:pt x="1141907" y="448856"/>
                  </a:lnTo>
                  <a:lnTo>
                    <a:pt x="1141996" y="449314"/>
                  </a:lnTo>
                  <a:lnTo>
                    <a:pt x="1144828" y="449314"/>
                  </a:lnTo>
                  <a:lnTo>
                    <a:pt x="1144930" y="449707"/>
                  </a:lnTo>
                  <a:lnTo>
                    <a:pt x="1146124" y="449707"/>
                  </a:lnTo>
                  <a:lnTo>
                    <a:pt x="1146174" y="450101"/>
                  </a:lnTo>
                  <a:lnTo>
                    <a:pt x="1147114" y="450101"/>
                  </a:lnTo>
                  <a:lnTo>
                    <a:pt x="1147216" y="450495"/>
                  </a:lnTo>
                  <a:lnTo>
                    <a:pt x="1148156" y="450495"/>
                  </a:lnTo>
                  <a:lnTo>
                    <a:pt x="1148207" y="450901"/>
                  </a:lnTo>
                  <a:lnTo>
                    <a:pt x="1153159" y="450901"/>
                  </a:lnTo>
                  <a:lnTo>
                    <a:pt x="1153210" y="451346"/>
                  </a:lnTo>
                  <a:lnTo>
                    <a:pt x="1156093" y="451346"/>
                  </a:lnTo>
                  <a:lnTo>
                    <a:pt x="1156195" y="451689"/>
                  </a:lnTo>
                  <a:lnTo>
                    <a:pt x="1158176" y="451689"/>
                  </a:lnTo>
                  <a:lnTo>
                    <a:pt x="1158227" y="452133"/>
                  </a:lnTo>
                  <a:lnTo>
                    <a:pt x="1159116" y="452133"/>
                  </a:lnTo>
                  <a:lnTo>
                    <a:pt x="1159268" y="452540"/>
                  </a:lnTo>
                  <a:lnTo>
                    <a:pt x="1160360" y="452540"/>
                  </a:lnTo>
                  <a:lnTo>
                    <a:pt x="1160462" y="452933"/>
                  </a:lnTo>
                  <a:lnTo>
                    <a:pt x="1161643" y="452933"/>
                  </a:lnTo>
                  <a:lnTo>
                    <a:pt x="1161745" y="453378"/>
                  </a:lnTo>
                  <a:lnTo>
                    <a:pt x="1162888" y="453378"/>
                  </a:lnTo>
                  <a:lnTo>
                    <a:pt x="1162938" y="453721"/>
                  </a:lnTo>
                  <a:lnTo>
                    <a:pt x="1163980" y="453721"/>
                  </a:lnTo>
                  <a:lnTo>
                    <a:pt x="1164031" y="454165"/>
                  </a:lnTo>
                  <a:lnTo>
                    <a:pt x="1164323" y="454165"/>
                  </a:lnTo>
                  <a:lnTo>
                    <a:pt x="1164374" y="453721"/>
                  </a:lnTo>
                  <a:lnTo>
                    <a:pt x="1165364" y="453721"/>
                  </a:lnTo>
                  <a:lnTo>
                    <a:pt x="1165415" y="454165"/>
                  </a:lnTo>
                  <a:lnTo>
                    <a:pt x="1165720" y="454165"/>
                  </a:lnTo>
                  <a:lnTo>
                    <a:pt x="1165809" y="453721"/>
                  </a:lnTo>
                  <a:lnTo>
                    <a:pt x="1167498" y="453721"/>
                  </a:lnTo>
                  <a:lnTo>
                    <a:pt x="1167549" y="454165"/>
                  </a:lnTo>
                  <a:lnTo>
                    <a:pt x="1169682" y="454165"/>
                  </a:lnTo>
                  <a:lnTo>
                    <a:pt x="1169733" y="454572"/>
                  </a:lnTo>
                  <a:lnTo>
                    <a:pt x="1171028" y="454572"/>
                  </a:lnTo>
                  <a:lnTo>
                    <a:pt x="1171067" y="455016"/>
                  </a:lnTo>
                  <a:lnTo>
                    <a:pt x="1172413" y="455016"/>
                  </a:lnTo>
                  <a:lnTo>
                    <a:pt x="1172463" y="455410"/>
                  </a:lnTo>
                  <a:lnTo>
                    <a:pt x="1174000" y="455410"/>
                  </a:lnTo>
                  <a:lnTo>
                    <a:pt x="1174051" y="455753"/>
                  </a:lnTo>
                  <a:lnTo>
                    <a:pt x="1175194" y="455753"/>
                  </a:lnTo>
                  <a:lnTo>
                    <a:pt x="1175245" y="456210"/>
                  </a:lnTo>
                  <a:lnTo>
                    <a:pt x="1176032" y="456210"/>
                  </a:lnTo>
                  <a:lnTo>
                    <a:pt x="1176083" y="456604"/>
                  </a:lnTo>
                  <a:lnTo>
                    <a:pt x="1179207" y="456604"/>
                  </a:lnTo>
                  <a:lnTo>
                    <a:pt x="1179309" y="457048"/>
                  </a:lnTo>
                  <a:lnTo>
                    <a:pt x="1181544" y="457048"/>
                  </a:lnTo>
                  <a:lnTo>
                    <a:pt x="1181595" y="457442"/>
                  </a:lnTo>
                  <a:lnTo>
                    <a:pt x="1182484" y="457442"/>
                  </a:lnTo>
                  <a:lnTo>
                    <a:pt x="1182585" y="457048"/>
                  </a:lnTo>
                  <a:lnTo>
                    <a:pt x="1183081" y="457048"/>
                  </a:lnTo>
                  <a:lnTo>
                    <a:pt x="1183131" y="457442"/>
                  </a:lnTo>
                  <a:lnTo>
                    <a:pt x="1185659" y="457442"/>
                  </a:lnTo>
                  <a:lnTo>
                    <a:pt x="1185760" y="457797"/>
                  </a:lnTo>
                  <a:lnTo>
                    <a:pt x="1186903" y="457797"/>
                  </a:lnTo>
                  <a:lnTo>
                    <a:pt x="1186941" y="458242"/>
                  </a:lnTo>
                  <a:lnTo>
                    <a:pt x="1187945" y="458242"/>
                  </a:lnTo>
                  <a:lnTo>
                    <a:pt x="1188034" y="458635"/>
                  </a:lnTo>
                  <a:lnTo>
                    <a:pt x="1189228" y="458635"/>
                  </a:lnTo>
                  <a:lnTo>
                    <a:pt x="1189278" y="459080"/>
                  </a:lnTo>
                  <a:lnTo>
                    <a:pt x="1191513" y="459080"/>
                  </a:lnTo>
                  <a:lnTo>
                    <a:pt x="1191564" y="458635"/>
                  </a:lnTo>
                  <a:lnTo>
                    <a:pt x="1192212" y="458635"/>
                  </a:lnTo>
                  <a:lnTo>
                    <a:pt x="1192250" y="458242"/>
                  </a:lnTo>
                  <a:lnTo>
                    <a:pt x="1193393" y="458242"/>
                  </a:lnTo>
                  <a:lnTo>
                    <a:pt x="1193495" y="458635"/>
                  </a:lnTo>
                  <a:lnTo>
                    <a:pt x="1196721" y="458635"/>
                  </a:lnTo>
                  <a:lnTo>
                    <a:pt x="1196771" y="459080"/>
                  </a:lnTo>
                  <a:lnTo>
                    <a:pt x="1198156" y="459080"/>
                  </a:lnTo>
                  <a:lnTo>
                    <a:pt x="1198257" y="459474"/>
                  </a:lnTo>
                  <a:lnTo>
                    <a:pt x="1201191" y="459474"/>
                  </a:lnTo>
                  <a:lnTo>
                    <a:pt x="1201229" y="459931"/>
                  </a:lnTo>
                  <a:lnTo>
                    <a:pt x="1201686" y="459931"/>
                  </a:lnTo>
                  <a:lnTo>
                    <a:pt x="1201775" y="459474"/>
                  </a:lnTo>
                  <a:lnTo>
                    <a:pt x="1202131" y="459474"/>
                  </a:lnTo>
                  <a:lnTo>
                    <a:pt x="1202181" y="459931"/>
                  </a:lnTo>
                  <a:lnTo>
                    <a:pt x="1204404" y="459931"/>
                  </a:lnTo>
                  <a:lnTo>
                    <a:pt x="1204455" y="459474"/>
                  </a:lnTo>
                  <a:lnTo>
                    <a:pt x="1205547" y="459474"/>
                  </a:lnTo>
                  <a:lnTo>
                    <a:pt x="1205598" y="459080"/>
                  </a:lnTo>
                  <a:lnTo>
                    <a:pt x="1208824" y="459080"/>
                  </a:lnTo>
                  <a:lnTo>
                    <a:pt x="1208925" y="459474"/>
                  </a:lnTo>
                  <a:lnTo>
                    <a:pt x="1209865" y="459474"/>
                  </a:lnTo>
                  <a:lnTo>
                    <a:pt x="1209916" y="459931"/>
                  </a:lnTo>
                  <a:lnTo>
                    <a:pt x="1210957" y="459931"/>
                  </a:lnTo>
                  <a:lnTo>
                    <a:pt x="1211008" y="460274"/>
                  </a:lnTo>
                  <a:lnTo>
                    <a:pt x="1211948" y="460274"/>
                  </a:lnTo>
                  <a:lnTo>
                    <a:pt x="1212100" y="460667"/>
                  </a:lnTo>
                  <a:lnTo>
                    <a:pt x="1213535" y="460667"/>
                  </a:lnTo>
                  <a:lnTo>
                    <a:pt x="1213586" y="461112"/>
                  </a:lnTo>
                  <a:lnTo>
                    <a:pt x="1215771" y="461112"/>
                  </a:lnTo>
                  <a:lnTo>
                    <a:pt x="1215821" y="460667"/>
                  </a:lnTo>
                  <a:lnTo>
                    <a:pt x="1217955" y="460667"/>
                  </a:lnTo>
                  <a:lnTo>
                    <a:pt x="1218006" y="461112"/>
                  </a:lnTo>
                  <a:lnTo>
                    <a:pt x="1220279" y="461112"/>
                  </a:lnTo>
                  <a:lnTo>
                    <a:pt x="1220330" y="461518"/>
                  </a:lnTo>
                  <a:lnTo>
                    <a:pt x="1225791" y="461518"/>
                  </a:lnTo>
                  <a:lnTo>
                    <a:pt x="1225892" y="461112"/>
                  </a:lnTo>
                  <a:lnTo>
                    <a:pt x="1226731" y="461112"/>
                  </a:lnTo>
                  <a:lnTo>
                    <a:pt x="1226832" y="460667"/>
                  </a:lnTo>
                  <a:lnTo>
                    <a:pt x="1228623" y="460667"/>
                  </a:lnTo>
                  <a:lnTo>
                    <a:pt x="1228674" y="461112"/>
                  </a:lnTo>
                  <a:lnTo>
                    <a:pt x="1229906" y="461112"/>
                  </a:lnTo>
                  <a:lnTo>
                    <a:pt x="1230007" y="461518"/>
                  </a:lnTo>
                  <a:lnTo>
                    <a:pt x="1232395" y="461518"/>
                  </a:lnTo>
                  <a:lnTo>
                    <a:pt x="1232484" y="461963"/>
                  </a:lnTo>
                  <a:lnTo>
                    <a:pt x="1235214" y="461963"/>
                  </a:lnTo>
                  <a:lnTo>
                    <a:pt x="1235265" y="462306"/>
                  </a:lnTo>
                  <a:lnTo>
                    <a:pt x="1237602" y="462306"/>
                  </a:lnTo>
                  <a:lnTo>
                    <a:pt x="1237703" y="461963"/>
                  </a:lnTo>
                  <a:lnTo>
                    <a:pt x="1237843" y="461963"/>
                  </a:lnTo>
                  <a:lnTo>
                    <a:pt x="1237945" y="462306"/>
                  </a:lnTo>
                  <a:lnTo>
                    <a:pt x="1240916" y="462306"/>
                  </a:lnTo>
                  <a:lnTo>
                    <a:pt x="1240967" y="462699"/>
                  </a:lnTo>
                  <a:lnTo>
                    <a:pt x="1243050" y="462699"/>
                  </a:lnTo>
                  <a:lnTo>
                    <a:pt x="1243152" y="463144"/>
                  </a:lnTo>
                  <a:lnTo>
                    <a:pt x="1245336" y="463144"/>
                  </a:lnTo>
                  <a:lnTo>
                    <a:pt x="1245438" y="462699"/>
                  </a:lnTo>
                  <a:lnTo>
                    <a:pt x="1247127" y="462699"/>
                  </a:lnTo>
                  <a:lnTo>
                    <a:pt x="1247228" y="462306"/>
                  </a:lnTo>
                  <a:lnTo>
                    <a:pt x="1251585" y="462306"/>
                  </a:lnTo>
                  <a:lnTo>
                    <a:pt x="1251635" y="462699"/>
                  </a:lnTo>
                  <a:lnTo>
                    <a:pt x="1253274" y="462699"/>
                  </a:lnTo>
                  <a:lnTo>
                    <a:pt x="1253426" y="463144"/>
                  </a:lnTo>
                  <a:lnTo>
                    <a:pt x="1254467" y="463144"/>
                  </a:lnTo>
                  <a:lnTo>
                    <a:pt x="1254518" y="463550"/>
                  </a:lnTo>
                  <a:lnTo>
                    <a:pt x="1256753" y="463550"/>
                  </a:lnTo>
                  <a:lnTo>
                    <a:pt x="1256791" y="463995"/>
                  </a:lnTo>
                  <a:lnTo>
                    <a:pt x="1258633" y="463995"/>
                  </a:lnTo>
                  <a:lnTo>
                    <a:pt x="1258684" y="464338"/>
                  </a:lnTo>
                  <a:lnTo>
                    <a:pt x="1260919" y="464338"/>
                  </a:lnTo>
                  <a:lnTo>
                    <a:pt x="1260970" y="464782"/>
                  </a:lnTo>
                  <a:lnTo>
                    <a:pt x="1263992" y="464782"/>
                  </a:lnTo>
                  <a:lnTo>
                    <a:pt x="1264043" y="464338"/>
                  </a:lnTo>
                  <a:lnTo>
                    <a:pt x="1264234" y="464338"/>
                  </a:lnTo>
                  <a:lnTo>
                    <a:pt x="1264335" y="464782"/>
                  </a:lnTo>
                  <a:lnTo>
                    <a:pt x="1266316" y="464782"/>
                  </a:lnTo>
                  <a:lnTo>
                    <a:pt x="1266367" y="465189"/>
                  </a:lnTo>
                  <a:lnTo>
                    <a:pt x="1267510" y="465189"/>
                  </a:lnTo>
                  <a:lnTo>
                    <a:pt x="1267561" y="465582"/>
                  </a:lnTo>
                  <a:lnTo>
                    <a:pt x="1268907" y="465582"/>
                  </a:lnTo>
                  <a:lnTo>
                    <a:pt x="1268996" y="465976"/>
                  </a:lnTo>
                  <a:lnTo>
                    <a:pt x="1270139" y="465976"/>
                  </a:lnTo>
                  <a:lnTo>
                    <a:pt x="1270190" y="466370"/>
                  </a:lnTo>
                  <a:lnTo>
                    <a:pt x="1271384" y="466370"/>
                  </a:lnTo>
                  <a:lnTo>
                    <a:pt x="1271485" y="466827"/>
                  </a:lnTo>
                  <a:lnTo>
                    <a:pt x="1273213" y="466827"/>
                  </a:lnTo>
                  <a:lnTo>
                    <a:pt x="1273314" y="467221"/>
                  </a:lnTo>
                  <a:lnTo>
                    <a:pt x="1274953" y="467221"/>
                  </a:lnTo>
                  <a:lnTo>
                    <a:pt x="1275003" y="467564"/>
                  </a:lnTo>
                  <a:lnTo>
                    <a:pt x="1276540" y="467564"/>
                  </a:lnTo>
                  <a:lnTo>
                    <a:pt x="1276591" y="468008"/>
                  </a:lnTo>
                  <a:lnTo>
                    <a:pt x="1277937" y="468008"/>
                  </a:lnTo>
                  <a:lnTo>
                    <a:pt x="1277975" y="468415"/>
                  </a:lnTo>
                  <a:lnTo>
                    <a:pt x="1279423" y="468415"/>
                  </a:lnTo>
                  <a:lnTo>
                    <a:pt x="1279525" y="468859"/>
                  </a:lnTo>
                  <a:lnTo>
                    <a:pt x="1281061" y="468859"/>
                  </a:lnTo>
                  <a:lnTo>
                    <a:pt x="1281112" y="469253"/>
                  </a:lnTo>
                  <a:lnTo>
                    <a:pt x="1282700" y="469253"/>
                  </a:lnTo>
                  <a:lnTo>
                    <a:pt x="1282738" y="469596"/>
                  </a:lnTo>
                  <a:lnTo>
                    <a:pt x="1284478" y="469596"/>
                  </a:lnTo>
                  <a:lnTo>
                    <a:pt x="1284528" y="470040"/>
                  </a:lnTo>
                  <a:lnTo>
                    <a:pt x="1286916" y="470040"/>
                  </a:lnTo>
                  <a:lnTo>
                    <a:pt x="1286954" y="470447"/>
                  </a:lnTo>
                  <a:lnTo>
                    <a:pt x="1288643" y="470447"/>
                  </a:lnTo>
                  <a:lnTo>
                    <a:pt x="1288745" y="470891"/>
                  </a:lnTo>
                  <a:lnTo>
                    <a:pt x="1290535" y="470891"/>
                  </a:lnTo>
                  <a:lnTo>
                    <a:pt x="1290586" y="471285"/>
                  </a:lnTo>
                  <a:lnTo>
                    <a:pt x="1291920" y="471285"/>
                  </a:lnTo>
                  <a:lnTo>
                    <a:pt x="1291971" y="471729"/>
                  </a:lnTo>
                  <a:lnTo>
                    <a:pt x="1293609" y="471729"/>
                  </a:lnTo>
                  <a:lnTo>
                    <a:pt x="1293710" y="472085"/>
                  </a:lnTo>
                  <a:lnTo>
                    <a:pt x="1296136" y="472085"/>
                  </a:lnTo>
                  <a:lnTo>
                    <a:pt x="1296238" y="472479"/>
                  </a:lnTo>
                  <a:lnTo>
                    <a:pt x="1297927" y="472479"/>
                  </a:lnTo>
                  <a:lnTo>
                    <a:pt x="1298028" y="472923"/>
                  </a:lnTo>
                  <a:lnTo>
                    <a:pt x="1299654" y="472923"/>
                  </a:lnTo>
                  <a:lnTo>
                    <a:pt x="1299705" y="473317"/>
                  </a:lnTo>
                  <a:lnTo>
                    <a:pt x="1301648" y="473317"/>
                  </a:lnTo>
                  <a:lnTo>
                    <a:pt x="1301699" y="473761"/>
                  </a:lnTo>
                  <a:lnTo>
                    <a:pt x="1303680" y="473761"/>
                  </a:lnTo>
                  <a:lnTo>
                    <a:pt x="1303731" y="474117"/>
                  </a:lnTo>
                  <a:lnTo>
                    <a:pt x="1305420" y="474117"/>
                  </a:lnTo>
                  <a:lnTo>
                    <a:pt x="1305509" y="474510"/>
                  </a:lnTo>
                  <a:lnTo>
                    <a:pt x="1308138" y="474510"/>
                  </a:lnTo>
                  <a:lnTo>
                    <a:pt x="1308239" y="474955"/>
                  </a:lnTo>
                  <a:lnTo>
                    <a:pt x="1310322" y="474955"/>
                  </a:lnTo>
                  <a:lnTo>
                    <a:pt x="1310373" y="475349"/>
                  </a:lnTo>
                  <a:lnTo>
                    <a:pt x="1312456" y="475349"/>
                  </a:lnTo>
                  <a:lnTo>
                    <a:pt x="1312557" y="475806"/>
                  </a:lnTo>
                  <a:lnTo>
                    <a:pt x="1314348" y="475806"/>
                  </a:lnTo>
                  <a:lnTo>
                    <a:pt x="1314399" y="476149"/>
                  </a:lnTo>
                  <a:lnTo>
                    <a:pt x="1316278" y="476149"/>
                  </a:lnTo>
                  <a:lnTo>
                    <a:pt x="1316380" y="476593"/>
                  </a:lnTo>
                  <a:lnTo>
                    <a:pt x="1318513" y="476593"/>
                  </a:lnTo>
                  <a:lnTo>
                    <a:pt x="1318564" y="476987"/>
                  </a:lnTo>
                  <a:lnTo>
                    <a:pt x="1321193" y="476987"/>
                  </a:lnTo>
                  <a:lnTo>
                    <a:pt x="1321244" y="477393"/>
                  </a:lnTo>
                  <a:lnTo>
                    <a:pt x="1322781" y="477393"/>
                  </a:lnTo>
                  <a:lnTo>
                    <a:pt x="1322831" y="477838"/>
                  </a:lnTo>
                  <a:lnTo>
                    <a:pt x="1324559" y="477838"/>
                  </a:lnTo>
                  <a:lnTo>
                    <a:pt x="1324610" y="478181"/>
                  </a:lnTo>
                  <a:lnTo>
                    <a:pt x="1325956" y="478181"/>
                  </a:lnTo>
                  <a:lnTo>
                    <a:pt x="1326006" y="478625"/>
                  </a:lnTo>
                  <a:lnTo>
                    <a:pt x="1327594" y="478625"/>
                  </a:lnTo>
                  <a:lnTo>
                    <a:pt x="1327645" y="479019"/>
                  </a:lnTo>
                  <a:lnTo>
                    <a:pt x="1331506" y="479019"/>
                  </a:lnTo>
                  <a:lnTo>
                    <a:pt x="1331607" y="479425"/>
                  </a:lnTo>
                  <a:lnTo>
                    <a:pt x="1333195" y="479425"/>
                  </a:lnTo>
                  <a:lnTo>
                    <a:pt x="1333246" y="479870"/>
                  </a:lnTo>
                  <a:lnTo>
                    <a:pt x="1335582" y="479870"/>
                  </a:lnTo>
                  <a:lnTo>
                    <a:pt x="1335671" y="480213"/>
                  </a:lnTo>
                  <a:lnTo>
                    <a:pt x="1337957" y="480213"/>
                  </a:lnTo>
                  <a:lnTo>
                    <a:pt x="1338008" y="480657"/>
                  </a:lnTo>
                  <a:lnTo>
                    <a:pt x="1339392" y="480657"/>
                  </a:lnTo>
                  <a:lnTo>
                    <a:pt x="1339443" y="481064"/>
                  </a:lnTo>
                  <a:lnTo>
                    <a:pt x="1340980" y="481064"/>
                  </a:lnTo>
                  <a:lnTo>
                    <a:pt x="1341031" y="481508"/>
                  </a:lnTo>
                  <a:lnTo>
                    <a:pt x="1343025" y="481508"/>
                  </a:lnTo>
                  <a:lnTo>
                    <a:pt x="1343063" y="481851"/>
                  </a:lnTo>
                  <a:lnTo>
                    <a:pt x="1345006" y="481851"/>
                  </a:lnTo>
                  <a:lnTo>
                    <a:pt x="1345056" y="482245"/>
                  </a:lnTo>
                  <a:lnTo>
                    <a:pt x="1346695" y="482245"/>
                  </a:lnTo>
                  <a:lnTo>
                    <a:pt x="1346784" y="482702"/>
                  </a:lnTo>
                  <a:lnTo>
                    <a:pt x="1348422" y="482702"/>
                  </a:lnTo>
                  <a:lnTo>
                    <a:pt x="1348473" y="483096"/>
                  </a:lnTo>
                  <a:lnTo>
                    <a:pt x="1350314" y="483096"/>
                  </a:lnTo>
                  <a:lnTo>
                    <a:pt x="1350416" y="483540"/>
                  </a:lnTo>
                  <a:lnTo>
                    <a:pt x="1352588" y="483540"/>
                  </a:lnTo>
                  <a:lnTo>
                    <a:pt x="1352689" y="483883"/>
                  </a:lnTo>
                  <a:lnTo>
                    <a:pt x="1354874" y="483883"/>
                  </a:lnTo>
                  <a:lnTo>
                    <a:pt x="1354975" y="484290"/>
                  </a:lnTo>
                  <a:lnTo>
                    <a:pt x="1357553" y="484290"/>
                  </a:lnTo>
                  <a:lnTo>
                    <a:pt x="1357655" y="484734"/>
                  </a:lnTo>
                  <a:lnTo>
                    <a:pt x="1359941" y="484734"/>
                  </a:lnTo>
                  <a:lnTo>
                    <a:pt x="1359979" y="485128"/>
                  </a:lnTo>
                  <a:lnTo>
                    <a:pt x="1361871" y="485128"/>
                  </a:lnTo>
                  <a:lnTo>
                    <a:pt x="1361973" y="485572"/>
                  </a:lnTo>
                  <a:lnTo>
                    <a:pt x="1364157" y="485572"/>
                  </a:lnTo>
                  <a:lnTo>
                    <a:pt x="1364246" y="485915"/>
                  </a:lnTo>
                  <a:lnTo>
                    <a:pt x="1366431" y="485915"/>
                  </a:lnTo>
                  <a:lnTo>
                    <a:pt x="1366532" y="486322"/>
                  </a:lnTo>
                  <a:lnTo>
                    <a:pt x="1368374" y="486322"/>
                  </a:lnTo>
                  <a:lnTo>
                    <a:pt x="1368425" y="486766"/>
                  </a:lnTo>
                  <a:lnTo>
                    <a:pt x="1370253" y="486766"/>
                  </a:lnTo>
                  <a:lnTo>
                    <a:pt x="1370355" y="487160"/>
                  </a:lnTo>
                  <a:lnTo>
                    <a:pt x="1373187" y="487160"/>
                  </a:lnTo>
                  <a:lnTo>
                    <a:pt x="1373225" y="487604"/>
                  </a:lnTo>
                  <a:lnTo>
                    <a:pt x="1374673" y="487604"/>
                  </a:lnTo>
                  <a:lnTo>
                    <a:pt x="1374724" y="487960"/>
                  </a:lnTo>
                  <a:lnTo>
                    <a:pt x="1376502" y="487960"/>
                  </a:lnTo>
                  <a:lnTo>
                    <a:pt x="1376553" y="488404"/>
                  </a:lnTo>
                  <a:lnTo>
                    <a:pt x="1380426" y="488404"/>
                  </a:lnTo>
                  <a:lnTo>
                    <a:pt x="1380477" y="488798"/>
                  </a:lnTo>
                  <a:lnTo>
                    <a:pt x="1382610" y="488798"/>
                  </a:lnTo>
                  <a:lnTo>
                    <a:pt x="1382661" y="489192"/>
                  </a:lnTo>
                  <a:lnTo>
                    <a:pt x="1384490" y="489192"/>
                  </a:lnTo>
                  <a:lnTo>
                    <a:pt x="1384541" y="489636"/>
                  </a:lnTo>
                  <a:lnTo>
                    <a:pt x="1387068" y="489636"/>
                  </a:lnTo>
                  <a:lnTo>
                    <a:pt x="1387170" y="489992"/>
                  </a:lnTo>
                  <a:lnTo>
                    <a:pt x="1388808" y="489992"/>
                  </a:lnTo>
                  <a:lnTo>
                    <a:pt x="1388960" y="490436"/>
                  </a:lnTo>
                  <a:lnTo>
                    <a:pt x="1390548" y="490436"/>
                  </a:lnTo>
                  <a:lnTo>
                    <a:pt x="1390599" y="490830"/>
                  </a:lnTo>
                  <a:lnTo>
                    <a:pt x="1392428" y="490830"/>
                  </a:lnTo>
                  <a:lnTo>
                    <a:pt x="1392580" y="491224"/>
                  </a:lnTo>
                  <a:lnTo>
                    <a:pt x="1394269" y="491224"/>
                  </a:lnTo>
                  <a:lnTo>
                    <a:pt x="1394409" y="491681"/>
                  </a:lnTo>
                  <a:lnTo>
                    <a:pt x="1396453" y="491681"/>
                  </a:lnTo>
                  <a:lnTo>
                    <a:pt x="1396491" y="492024"/>
                  </a:lnTo>
                  <a:lnTo>
                    <a:pt x="1398079" y="492024"/>
                  </a:lnTo>
                  <a:lnTo>
                    <a:pt x="1398130" y="492468"/>
                  </a:lnTo>
                  <a:lnTo>
                    <a:pt x="1400124" y="492468"/>
                  </a:lnTo>
                  <a:lnTo>
                    <a:pt x="1400175" y="492862"/>
                  </a:lnTo>
                  <a:lnTo>
                    <a:pt x="1402600" y="492862"/>
                  </a:lnTo>
                  <a:lnTo>
                    <a:pt x="1402651" y="493306"/>
                  </a:lnTo>
                  <a:lnTo>
                    <a:pt x="1405128" y="493306"/>
                  </a:lnTo>
                  <a:lnTo>
                    <a:pt x="1405178" y="493713"/>
                  </a:lnTo>
                  <a:lnTo>
                    <a:pt x="1407566" y="493713"/>
                  </a:lnTo>
                  <a:lnTo>
                    <a:pt x="1407604" y="494056"/>
                  </a:lnTo>
                  <a:lnTo>
                    <a:pt x="1409446" y="494056"/>
                  </a:lnTo>
                  <a:lnTo>
                    <a:pt x="1409598" y="494500"/>
                  </a:lnTo>
                  <a:lnTo>
                    <a:pt x="1411185" y="494500"/>
                  </a:lnTo>
                  <a:lnTo>
                    <a:pt x="1411236" y="494894"/>
                  </a:lnTo>
                  <a:lnTo>
                    <a:pt x="1413611" y="494894"/>
                  </a:lnTo>
                  <a:lnTo>
                    <a:pt x="1413713" y="495351"/>
                  </a:lnTo>
                  <a:lnTo>
                    <a:pt x="1417586" y="495351"/>
                  </a:lnTo>
                  <a:lnTo>
                    <a:pt x="1417637" y="495745"/>
                  </a:lnTo>
                  <a:lnTo>
                    <a:pt x="1419466" y="495745"/>
                  </a:lnTo>
                  <a:lnTo>
                    <a:pt x="1419567" y="496088"/>
                  </a:lnTo>
                  <a:lnTo>
                    <a:pt x="1421206" y="496088"/>
                  </a:lnTo>
                  <a:lnTo>
                    <a:pt x="1421256" y="496532"/>
                  </a:lnTo>
                  <a:lnTo>
                    <a:pt x="1423035" y="496532"/>
                  </a:lnTo>
                  <a:lnTo>
                    <a:pt x="1423085" y="496939"/>
                  </a:lnTo>
                  <a:lnTo>
                    <a:pt x="1425168" y="496939"/>
                  </a:lnTo>
                  <a:lnTo>
                    <a:pt x="1425270" y="497383"/>
                  </a:lnTo>
                  <a:lnTo>
                    <a:pt x="1426857" y="497383"/>
                  </a:lnTo>
                  <a:lnTo>
                    <a:pt x="1426908" y="497726"/>
                  </a:lnTo>
                  <a:lnTo>
                    <a:pt x="1428445" y="497726"/>
                  </a:lnTo>
                  <a:lnTo>
                    <a:pt x="1428496" y="498171"/>
                  </a:lnTo>
                  <a:lnTo>
                    <a:pt x="1431823" y="498171"/>
                  </a:lnTo>
                  <a:lnTo>
                    <a:pt x="1431874" y="498577"/>
                  </a:lnTo>
                  <a:lnTo>
                    <a:pt x="1434693" y="498577"/>
                  </a:lnTo>
                  <a:lnTo>
                    <a:pt x="1434795" y="498971"/>
                  </a:lnTo>
                  <a:lnTo>
                    <a:pt x="1436382" y="498971"/>
                  </a:lnTo>
                  <a:lnTo>
                    <a:pt x="1436433" y="499415"/>
                  </a:lnTo>
                  <a:lnTo>
                    <a:pt x="1440002" y="499415"/>
                  </a:lnTo>
                  <a:lnTo>
                    <a:pt x="1440053" y="499758"/>
                  </a:lnTo>
                  <a:lnTo>
                    <a:pt x="1443431" y="499758"/>
                  </a:lnTo>
                  <a:lnTo>
                    <a:pt x="1443481" y="500203"/>
                  </a:lnTo>
                  <a:lnTo>
                    <a:pt x="1445755" y="500203"/>
                  </a:lnTo>
                  <a:lnTo>
                    <a:pt x="1445806" y="500609"/>
                  </a:lnTo>
                  <a:lnTo>
                    <a:pt x="1449387" y="500609"/>
                  </a:lnTo>
                  <a:lnTo>
                    <a:pt x="1449425" y="501003"/>
                  </a:lnTo>
                  <a:lnTo>
                    <a:pt x="1452511" y="501003"/>
                  </a:lnTo>
                  <a:lnTo>
                    <a:pt x="1452562" y="501447"/>
                  </a:lnTo>
                  <a:lnTo>
                    <a:pt x="1454835" y="501447"/>
                  </a:lnTo>
                  <a:lnTo>
                    <a:pt x="1454886" y="501790"/>
                  </a:lnTo>
                  <a:lnTo>
                    <a:pt x="1457325" y="501790"/>
                  </a:lnTo>
                  <a:lnTo>
                    <a:pt x="1457363" y="502247"/>
                  </a:lnTo>
                  <a:lnTo>
                    <a:pt x="1464856" y="502247"/>
                  </a:lnTo>
                  <a:lnTo>
                    <a:pt x="1464957" y="501790"/>
                  </a:lnTo>
                  <a:lnTo>
                    <a:pt x="1465160" y="501790"/>
                  </a:lnTo>
                  <a:lnTo>
                    <a:pt x="1465211" y="501447"/>
                  </a:lnTo>
                  <a:lnTo>
                    <a:pt x="1465262" y="501447"/>
                  </a:lnTo>
                  <a:lnTo>
                    <a:pt x="1465300" y="501003"/>
                  </a:lnTo>
                  <a:lnTo>
                    <a:pt x="1465453" y="501003"/>
                  </a:lnTo>
                  <a:lnTo>
                    <a:pt x="1465503" y="500609"/>
                  </a:lnTo>
                  <a:lnTo>
                    <a:pt x="1465605" y="500609"/>
                  </a:lnTo>
                  <a:lnTo>
                    <a:pt x="1465656" y="500203"/>
                  </a:lnTo>
                  <a:lnTo>
                    <a:pt x="1465706" y="499758"/>
                  </a:lnTo>
                  <a:lnTo>
                    <a:pt x="1465757" y="499758"/>
                  </a:lnTo>
                  <a:lnTo>
                    <a:pt x="1465846" y="499415"/>
                  </a:lnTo>
                  <a:lnTo>
                    <a:pt x="1465897" y="498971"/>
                  </a:lnTo>
                  <a:lnTo>
                    <a:pt x="1465948" y="498971"/>
                  </a:lnTo>
                  <a:lnTo>
                    <a:pt x="1466100" y="498577"/>
                  </a:lnTo>
                  <a:lnTo>
                    <a:pt x="1466151" y="498171"/>
                  </a:lnTo>
                  <a:lnTo>
                    <a:pt x="1466202" y="497726"/>
                  </a:lnTo>
                  <a:lnTo>
                    <a:pt x="1466303" y="497726"/>
                  </a:lnTo>
                  <a:lnTo>
                    <a:pt x="1466341" y="497383"/>
                  </a:lnTo>
                  <a:lnTo>
                    <a:pt x="1466392" y="496939"/>
                  </a:lnTo>
                  <a:lnTo>
                    <a:pt x="1466443" y="496532"/>
                  </a:lnTo>
                  <a:lnTo>
                    <a:pt x="1466545" y="496088"/>
                  </a:lnTo>
                  <a:lnTo>
                    <a:pt x="1466646" y="496088"/>
                  </a:lnTo>
                  <a:lnTo>
                    <a:pt x="1466748" y="495745"/>
                  </a:lnTo>
                  <a:lnTo>
                    <a:pt x="1466799" y="495351"/>
                  </a:lnTo>
                  <a:lnTo>
                    <a:pt x="1466850" y="495351"/>
                  </a:lnTo>
                  <a:lnTo>
                    <a:pt x="1466888" y="494894"/>
                  </a:lnTo>
                  <a:lnTo>
                    <a:pt x="1466989" y="494500"/>
                  </a:lnTo>
                  <a:lnTo>
                    <a:pt x="1467040" y="494500"/>
                  </a:lnTo>
                  <a:lnTo>
                    <a:pt x="1467091" y="494056"/>
                  </a:lnTo>
                  <a:lnTo>
                    <a:pt x="1467192" y="493713"/>
                  </a:lnTo>
                  <a:lnTo>
                    <a:pt x="1467294" y="493713"/>
                  </a:lnTo>
                  <a:lnTo>
                    <a:pt x="1467345" y="493306"/>
                  </a:lnTo>
                  <a:lnTo>
                    <a:pt x="1467434" y="493306"/>
                  </a:lnTo>
                  <a:lnTo>
                    <a:pt x="1467485" y="492862"/>
                  </a:lnTo>
                  <a:lnTo>
                    <a:pt x="1467535" y="492862"/>
                  </a:lnTo>
                  <a:lnTo>
                    <a:pt x="1467586" y="492468"/>
                  </a:lnTo>
                  <a:lnTo>
                    <a:pt x="1467688" y="492024"/>
                  </a:lnTo>
                  <a:lnTo>
                    <a:pt x="1467738" y="492024"/>
                  </a:lnTo>
                  <a:lnTo>
                    <a:pt x="1467891" y="491681"/>
                  </a:lnTo>
                  <a:lnTo>
                    <a:pt x="1467980" y="491681"/>
                  </a:lnTo>
                  <a:lnTo>
                    <a:pt x="1468031" y="491224"/>
                  </a:lnTo>
                  <a:lnTo>
                    <a:pt x="1468132" y="491224"/>
                  </a:lnTo>
                  <a:lnTo>
                    <a:pt x="1468183" y="490830"/>
                  </a:lnTo>
                  <a:lnTo>
                    <a:pt x="1468234" y="490830"/>
                  </a:lnTo>
                  <a:lnTo>
                    <a:pt x="1468335" y="490436"/>
                  </a:lnTo>
                  <a:lnTo>
                    <a:pt x="1468475" y="490436"/>
                  </a:lnTo>
                  <a:lnTo>
                    <a:pt x="1468577" y="489992"/>
                  </a:lnTo>
                  <a:lnTo>
                    <a:pt x="1468678" y="489992"/>
                  </a:lnTo>
                  <a:lnTo>
                    <a:pt x="1468780" y="489636"/>
                  </a:lnTo>
                  <a:lnTo>
                    <a:pt x="1468932" y="489636"/>
                  </a:lnTo>
                  <a:lnTo>
                    <a:pt x="1469072" y="489192"/>
                  </a:lnTo>
                  <a:lnTo>
                    <a:pt x="1469275" y="489192"/>
                  </a:lnTo>
                  <a:lnTo>
                    <a:pt x="1469326" y="488798"/>
                  </a:lnTo>
                  <a:lnTo>
                    <a:pt x="1469516" y="488798"/>
                  </a:lnTo>
                  <a:lnTo>
                    <a:pt x="1469567" y="488404"/>
                  </a:lnTo>
                  <a:lnTo>
                    <a:pt x="1469821" y="488404"/>
                  </a:lnTo>
                  <a:lnTo>
                    <a:pt x="1469923" y="487960"/>
                  </a:lnTo>
                  <a:lnTo>
                    <a:pt x="1470164" y="487960"/>
                  </a:lnTo>
                  <a:lnTo>
                    <a:pt x="1470215" y="487604"/>
                  </a:lnTo>
                  <a:lnTo>
                    <a:pt x="1470520" y="487604"/>
                  </a:lnTo>
                  <a:lnTo>
                    <a:pt x="1470609" y="487160"/>
                  </a:lnTo>
                  <a:lnTo>
                    <a:pt x="1470913" y="487160"/>
                  </a:lnTo>
                  <a:lnTo>
                    <a:pt x="1470964" y="486766"/>
                  </a:lnTo>
                  <a:lnTo>
                    <a:pt x="1471206" y="486766"/>
                  </a:lnTo>
                  <a:lnTo>
                    <a:pt x="1471307" y="486322"/>
                  </a:lnTo>
                  <a:lnTo>
                    <a:pt x="1471561" y="486322"/>
                  </a:lnTo>
                  <a:lnTo>
                    <a:pt x="1471612" y="485915"/>
                  </a:lnTo>
                  <a:lnTo>
                    <a:pt x="1471803" y="485915"/>
                  </a:lnTo>
                  <a:lnTo>
                    <a:pt x="1471853" y="485572"/>
                  </a:lnTo>
                  <a:lnTo>
                    <a:pt x="1472196" y="485572"/>
                  </a:lnTo>
                  <a:lnTo>
                    <a:pt x="1472247" y="485128"/>
                  </a:lnTo>
                  <a:lnTo>
                    <a:pt x="1472450" y="485128"/>
                  </a:lnTo>
                  <a:lnTo>
                    <a:pt x="1472501" y="484734"/>
                  </a:lnTo>
                  <a:lnTo>
                    <a:pt x="1472793" y="484734"/>
                  </a:lnTo>
                  <a:lnTo>
                    <a:pt x="1472895" y="484290"/>
                  </a:lnTo>
                  <a:lnTo>
                    <a:pt x="1473098" y="484290"/>
                  </a:lnTo>
                  <a:lnTo>
                    <a:pt x="1473149" y="483883"/>
                  </a:lnTo>
                  <a:lnTo>
                    <a:pt x="1473441" y="483883"/>
                  </a:lnTo>
                  <a:lnTo>
                    <a:pt x="1473542" y="483540"/>
                  </a:lnTo>
                  <a:lnTo>
                    <a:pt x="1473784" y="483540"/>
                  </a:lnTo>
                  <a:lnTo>
                    <a:pt x="1473835" y="483096"/>
                  </a:lnTo>
                  <a:lnTo>
                    <a:pt x="1474139" y="483096"/>
                  </a:lnTo>
                  <a:lnTo>
                    <a:pt x="1474241" y="482702"/>
                  </a:lnTo>
                  <a:lnTo>
                    <a:pt x="1474381" y="482702"/>
                  </a:lnTo>
                  <a:lnTo>
                    <a:pt x="1474482" y="482245"/>
                  </a:lnTo>
                  <a:lnTo>
                    <a:pt x="1474825" y="482245"/>
                  </a:lnTo>
                  <a:lnTo>
                    <a:pt x="1474927" y="481851"/>
                  </a:lnTo>
                  <a:lnTo>
                    <a:pt x="1475231" y="481851"/>
                  </a:lnTo>
                  <a:lnTo>
                    <a:pt x="1475282" y="481508"/>
                  </a:lnTo>
                  <a:lnTo>
                    <a:pt x="1475524" y="481508"/>
                  </a:lnTo>
                  <a:lnTo>
                    <a:pt x="1475625" y="481064"/>
                  </a:lnTo>
                  <a:lnTo>
                    <a:pt x="1475968" y="481064"/>
                  </a:lnTo>
                  <a:lnTo>
                    <a:pt x="1476070" y="480657"/>
                  </a:lnTo>
                  <a:lnTo>
                    <a:pt x="1476413" y="480657"/>
                  </a:lnTo>
                  <a:lnTo>
                    <a:pt x="1476514" y="480213"/>
                  </a:lnTo>
                  <a:lnTo>
                    <a:pt x="1476870" y="480213"/>
                  </a:lnTo>
                  <a:lnTo>
                    <a:pt x="1477010" y="479870"/>
                  </a:lnTo>
                  <a:lnTo>
                    <a:pt x="1477111" y="479870"/>
                  </a:lnTo>
                  <a:lnTo>
                    <a:pt x="1477213" y="480213"/>
                  </a:lnTo>
                  <a:lnTo>
                    <a:pt x="1477263" y="480213"/>
                  </a:lnTo>
                  <a:lnTo>
                    <a:pt x="1477314" y="480657"/>
                  </a:lnTo>
                  <a:lnTo>
                    <a:pt x="1477416" y="481064"/>
                  </a:lnTo>
                  <a:lnTo>
                    <a:pt x="1477454" y="481508"/>
                  </a:lnTo>
                  <a:lnTo>
                    <a:pt x="1477556" y="481851"/>
                  </a:lnTo>
                  <a:lnTo>
                    <a:pt x="1477657" y="481851"/>
                  </a:lnTo>
                  <a:lnTo>
                    <a:pt x="1477708" y="482245"/>
                  </a:lnTo>
                  <a:lnTo>
                    <a:pt x="1478102" y="482245"/>
                  </a:lnTo>
                  <a:lnTo>
                    <a:pt x="1478203" y="481851"/>
                  </a:lnTo>
                  <a:lnTo>
                    <a:pt x="1478305" y="481508"/>
                  </a:lnTo>
                  <a:lnTo>
                    <a:pt x="1478356" y="481508"/>
                  </a:lnTo>
                  <a:lnTo>
                    <a:pt x="1478406" y="481064"/>
                  </a:lnTo>
                  <a:lnTo>
                    <a:pt x="1478546" y="479870"/>
                  </a:lnTo>
                  <a:lnTo>
                    <a:pt x="1478597" y="479425"/>
                  </a:lnTo>
                  <a:lnTo>
                    <a:pt x="1478648" y="479019"/>
                  </a:lnTo>
                  <a:lnTo>
                    <a:pt x="1478800" y="478181"/>
                  </a:lnTo>
                  <a:lnTo>
                    <a:pt x="1478902" y="476593"/>
                  </a:lnTo>
                  <a:lnTo>
                    <a:pt x="1479003" y="475806"/>
                  </a:lnTo>
                  <a:lnTo>
                    <a:pt x="1479092" y="474117"/>
                  </a:lnTo>
                  <a:lnTo>
                    <a:pt x="1479143" y="472923"/>
                  </a:lnTo>
                  <a:lnTo>
                    <a:pt x="1479245" y="472085"/>
                  </a:lnTo>
                  <a:lnTo>
                    <a:pt x="1479296" y="471285"/>
                  </a:lnTo>
                  <a:lnTo>
                    <a:pt x="1479448" y="470447"/>
                  </a:lnTo>
                  <a:lnTo>
                    <a:pt x="1479499" y="469253"/>
                  </a:lnTo>
                  <a:lnTo>
                    <a:pt x="1479588" y="467564"/>
                  </a:lnTo>
                  <a:lnTo>
                    <a:pt x="1479689" y="466370"/>
                  </a:lnTo>
                  <a:lnTo>
                    <a:pt x="1479740" y="465582"/>
                  </a:lnTo>
                  <a:lnTo>
                    <a:pt x="1479791" y="464338"/>
                  </a:lnTo>
                  <a:lnTo>
                    <a:pt x="1479892" y="463550"/>
                  </a:lnTo>
                  <a:lnTo>
                    <a:pt x="1479943" y="462699"/>
                  </a:lnTo>
                  <a:lnTo>
                    <a:pt x="1480045" y="461518"/>
                  </a:lnTo>
                  <a:lnTo>
                    <a:pt x="1480134" y="460667"/>
                  </a:lnTo>
                  <a:lnTo>
                    <a:pt x="1480185" y="459474"/>
                  </a:lnTo>
                  <a:lnTo>
                    <a:pt x="1480235" y="458635"/>
                  </a:lnTo>
                  <a:lnTo>
                    <a:pt x="1480286" y="457442"/>
                  </a:lnTo>
                  <a:lnTo>
                    <a:pt x="1480388" y="456210"/>
                  </a:lnTo>
                  <a:lnTo>
                    <a:pt x="1480438" y="455410"/>
                  </a:lnTo>
                  <a:lnTo>
                    <a:pt x="1480489" y="454165"/>
                  </a:lnTo>
                  <a:lnTo>
                    <a:pt x="1480629" y="453378"/>
                  </a:lnTo>
                  <a:lnTo>
                    <a:pt x="1480731" y="450901"/>
                  </a:lnTo>
                  <a:lnTo>
                    <a:pt x="1480832" y="450101"/>
                  </a:lnTo>
                  <a:lnTo>
                    <a:pt x="1480883" y="448856"/>
                  </a:lnTo>
                  <a:lnTo>
                    <a:pt x="1480934" y="448120"/>
                  </a:lnTo>
                  <a:lnTo>
                    <a:pt x="1481035" y="447269"/>
                  </a:lnTo>
                  <a:lnTo>
                    <a:pt x="1481086" y="445986"/>
                  </a:lnTo>
                  <a:lnTo>
                    <a:pt x="1481137" y="445237"/>
                  </a:lnTo>
                  <a:lnTo>
                    <a:pt x="1481277" y="444399"/>
                  </a:lnTo>
                  <a:lnTo>
                    <a:pt x="1481328" y="443599"/>
                  </a:lnTo>
                  <a:lnTo>
                    <a:pt x="1481378" y="442760"/>
                  </a:lnTo>
                  <a:lnTo>
                    <a:pt x="1481480" y="441567"/>
                  </a:lnTo>
                  <a:lnTo>
                    <a:pt x="1481581" y="439878"/>
                  </a:lnTo>
                  <a:lnTo>
                    <a:pt x="1481632" y="439090"/>
                  </a:lnTo>
                  <a:lnTo>
                    <a:pt x="1481721" y="437846"/>
                  </a:lnTo>
                  <a:lnTo>
                    <a:pt x="1481823" y="437058"/>
                  </a:lnTo>
                  <a:lnTo>
                    <a:pt x="1481874" y="436207"/>
                  </a:lnTo>
                  <a:lnTo>
                    <a:pt x="1481975" y="435026"/>
                  </a:lnTo>
                  <a:lnTo>
                    <a:pt x="1482026" y="434175"/>
                  </a:lnTo>
                  <a:lnTo>
                    <a:pt x="1482077" y="432981"/>
                  </a:lnTo>
                  <a:lnTo>
                    <a:pt x="1482178" y="432143"/>
                  </a:lnTo>
                  <a:lnTo>
                    <a:pt x="1482216" y="431394"/>
                  </a:lnTo>
                  <a:lnTo>
                    <a:pt x="1482267" y="430111"/>
                  </a:lnTo>
                  <a:lnTo>
                    <a:pt x="1482318" y="429311"/>
                  </a:lnTo>
                  <a:lnTo>
                    <a:pt x="1482471" y="428079"/>
                  </a:lnTo>
                  <a:lnTo>
                    <a:pt x="1482521" y="427279"/>
                  </a:lnTo>
                  <a:lnTo>
                    <a:pt x="1482623" y="426492"/>
                  </a:lnTo>
                  <a:lnTo>
                    <a:pt x="1482674" y="425692"/>
                  </a:lnTo>
                  <a:lnTo>
                    <a:pt x="1482725" y="424409"/>
                  </a:lnTo>
                  <a:lnTo>
                    <a:pt x="1482763" y="423660"/>
                  </a:lnTo>
                  <a:lnTo>
                    <a:pt x="1482864" y="422822"/>
                  </a:lnTo>
                  <a:lnTo>
                    <a:pt x="1482915" y="421971"/>
                  </a:lnTo>
                  <a:lnTo>
                    <a:pt x="1482966" y="421183"/>
                  </a:lnTo>
                  <a:lnTo>
                    <a:pt x="1483118" y="420332"/>
                  </a:lnTo>
                  <a:lnTo>
                    <a:pt x="1483169" y="419151"/>
                  </a:lnTo>
                  <a:lnTo>
                    <a:pt x="1483220" y="418300"/>
                  </a:lnTo>
                  <a:lnTo>
                    <a:pt x="1483360" y="417107"/>
                  </a:lnTo>
                  <a:lnTo>
                    <a:pt x="1483410" y="416268"/>
                  </a:lnTo>
                  <a:lnTo>
                    <a:pt x="1483461" y="415481"/>
                  </a:lnTo>
                  <a:lnTo>
                    <a:pt x="1483664" y="413893"/>
                  </a:lnTo>
                  <a:lnTo>
                    <a:pt x="1483766" y="413043"/>
                  </a:lnTo>
                  <a:lnTo>
                    <a:pt x="1483804" y="412204"/>
                  </a:lnTo>
                  <a:lnTo>
                    <a:pt x="1483855" y="411404"/>
                  </a:lnTo>
                  <a:lnTo>
                    <a:pt x="1483906" y="410566"/>
                  </a:lnTo>
                  <a:lnTo>
                    <a:pt x="1484007" y="409817"/>
                  </a:lnTo>
                  <a:lnTo>
                    <a:pt x="1484109" y="408128"/>
                  </a:lnTo>
                  <a:lnTo>
                    <a:pt x="1484210" y="407683"/>
                  </a:lnTo>
                  <a:lnTo>
                    <a:pt x="1484312" y="406947"/>
                  </a:lnTo>
                  <a:lnTo>
                    <a:pt x="1484350" y="406096"/>
                  </a:lnTo>
                  <a:lnTo>
                    <a:pt x="1484452" y="405308"/>
                  </a:lnTo>
                  <a:lnTo>
                    <a:pt x="1484503" y="404457"/>
                  </a:lnTo>
                  <a:lnTo>
                    <a:pt x="1484553" y="403670"/>
                  </a:lnTo>
                  <a:lnTo>
                    <a:pt x="1484655" y="402819"/>
                  </a:lnTo>
                  <a:lnTo>
                    <a:pt x="1484706" y="402082"/>
                  </a:lnTo>
                  <a:lnTo>
                    <a:pt x="1484756" y="401232"/>
                  </a:lnTo>
                  <a:lnTo>
                    <a:pt x="1484896" y="400393"/>
                  </a:lnTo>
                  <a:lnTo>
                    <a:pt x="1484947" y="399606"/>
                  </a:lnTo>
                  <a:lnTo>
                    <a:pt x="1484998" y="398755"/>
                  </a:lnTo>
                  <a:lnTo>
                    <a:pt x="1485049" y="398018"/>
                  </a:lnTo>
                  <a:lnTo>
                    <a:pt x="1485150" y="397168"/>
                  </a:lnTo>
                  <a:lnTo>
                    <a:pt x="1485201" y="396329"/>
                  </a:lnTo>
                  <a:lnTo>
                    <a:pt x="1485252" y="395529"/>
                  </a:lnTo>
                  <a:lnTo>
                    <a:pt x="1485353" y="394691"/>
                  </a:lnTo>
                  <a:lnTo>
                    <a:pt x="1485391" y="393840"/>
                  </a:lnTo>
                  <a:lnTo>
                    <a:pt x="1485493" y="393103"/>
                  </a:lnTo>
                  <a:lnTo>
                    <a:pt x="1485595" y="392659"/>
                  </a:lnTo>
                  <a:lnTo>
                    <a:pt x="1485646" y="391808"/>
                  </a:lnTo>
                  <a:lnTo>
                    <a:pt x="1485696" y="391021"/>
                  </a:lnTo>
                  <a:lnTo>
                    <a:pt x="1485798" y="390221"/>
                  </a:lnTo>
                  <a:lnTo>
                    <a:pt x="1485849" y="389433"/>
                  </a:lnTo>
                  <a:lnTo>
                    <a:pt x="1485900" y="388582"/>
                  </a:lnTo>
                  <a:lnTo>
                    <a:pt x="1485938" y="387795"/>
                  </a:lnTo>
                  <a:lnTo>
                    <a:pt x="1486090" y="386944"/>
                  </a:lnTo>
                  <a:lnTo>
                    <a:pt x="1486141" y="386106"/>
                  </a:lnTo>
                  <a:lnTo>
                    <a:pt x="1486242" y="384912"/>
                  </a:lnTo>
                  <a:lnTo>
                    <a:pt x="1486293" y="384074"/>
                  </a:lnTo>
                  <a:lnTo>
                    <a:pt x="1486344" y="383324"/>
                  </a:lnTo>
                  <a:lnTo>
                    <a:pt x="1486395" y="382042"/>
                  </a:lnTo>
                  <a:lnTo>
                    <a:pt x="1486484" y="381293"/>
                  </a:lnTo>
                  <a:lnTo>
                    <a:pt x="1486535" y="380454"/>
                  </a:lnTo>
                  <a:lnTo>
                    <a:pt x="1486585" y="379210"/>
                  </a:lnTo>
                  <a:lnTo>
                    <a:pt x="1486738" y="378422"/>
                  </a:lnTo>
                  <a:lnTo>
                    <a:pt x="1486788" y="377178"/>
                  </a:lnTo>
                  <a:lnTo>
                    <a:pt x="1486839" y="376378"/>
                  </a:lnTo>
                  <a:lnTo>
                    <a:pt x="1486941" y="375146"/>
                  </a:lnTo>
                  <a:lnTo>
                    <a:pt x="1486979" y="373901"/>
                  </a:lnTo>
                  <a:lnTo>
                    <a:pt x="1487030" y="373114"/>
                  </a:lnTo>
                  <a:lnTo>
                    <a:pt x="1487081" y="371920"/>
                  </a:lnTo>
                  <a:lnTo>
                    <a:pt x="1487182" y="370675"/>
                  </a:lnTo>
                  <a:lnTo>
                    <a:pt x="1487284" y="369888"/>
                  </a:lnTo>
                  <a:lnTo>
                    <a:pt x="1487385" y="368643"/>
                  </a:lnTo>
                  <a:lnTo>
                    <a:pt x="1487436" y="367856"/>
                  </a:lnTo>
                  <a:lnTo>
                    <a:pt x="1487487" y="366611"/>
                  </a:lnTo>
                  <a:lnTo>
                    <a:pt x="1487525" y="365811"/>
                  </a:lnTo>
                  <a:lnTo>
                    <a:pt x="1487627" y="364579"/>
                  </a:lnTo>
                  <a:lnTo>
                    <a:pt x="1487678" y="363779"/>
                  </a:lnTo>
                  <a:lnTo>
                    <a:pt x="1487728" y="362497"/>
                  </a:lnTo>
                  <a:lnTo>
                    <a:pt x="1487830" y="361747"/>
                  </a:lnTo>
                  <a:lnTo>
                    <a:pt x="1487931" y="360464"/>
                  </a:lnTo>
                  <a:lnTo>
                    <a:pt x="1487982" y="359715"/>
                  </a:lnTo>
                  <a:lnTo>
                    <a:pt x="1488071" y="358877"/>
                  </a:lnTo>
                  <a:lnTo>
                    <a:pt x="1488122" y="357632"/>
                  </a:lnTo>
                  <a:lnTo>
                    <a:pt x="1488173" y="356832"/>
                  </a:lnTo>
                  <a:lnTo>
                    <a:pt x="1488224" y="355600"/>
                  </a:lnTo>
                  <a:lnTo>
                    <a:pt x="1488325" y="354800"/>
                  </a:lnTo>
                  <a:lnTo>
                    <a:pt x="1488376" y="354013"/>
                  </a:lnTo>
                  <a:lnTo>
                    <a:pt x="1488427" y="352768"/>
                  </a:lnTo>
                  <a:lnTo>
                    <a:pt x="1488566" y="351981"/>
                  </a:lnTo>
                  <a:lnTo>
                    <a:pt x="1488617" y="351130"/>
                  </a:lnTo>
                  <a:lnTo>
                    <a:pt x="1488668" y="349936"/>
                  </a:lnTo>
                  <a:lnTo>
                    <a:pt x="1488770" y="349098"/>
                  </a:lnTo>
                  <a:lnTo>
                    <a:pt x="1488821" y="348260"/>
                  </a:lnTo>
                  <a:lnTo>
                    <a:pt x="1488871" y="347066"/>
                  </a:lnTo>
                  <a:lnTo>
                    <a:pt x="1488973" y="346215"/>
                  </a:lnTo>
                  <a:lnTo>
                    <a:pt x="1489024" y="345428"/>
                  </a:lnTo>
                  <a:lnTo>
                    <a:pt x="1489214" y="343739"/>
                  </a:lnTo>
                  <a:lnTo>
                    <a:pt x="1489265" y="343002"/>
                  </a:lnTo>
                  <a:lnTo>
                    <a:pt x="1489316" y="341757"/>
                  </a:lnTo>
                  <a:lnTo>
                    <a:pt x="1489417" y="340907"/>
                  </a:lnTo>
                  <a:lnTo>
                    <a:pt x="1489468" y="340170"/>
                  </a:lnTo>
                  <a:lnTo>
                    <a:pt x="1489570" y="338481"/>
                  </a:lnTo>
                  <a:lnTo>
                    <a:pt x="1489659" y="337693"/>
                  </a:lnTo>
                  <a:lnTo>
                    <a:pt x="1489760" y="336843"/>
                  </a:lnTo>
                  <a:lnTo>
                    <a:pt x="1489811" y="335649"/>
                  </a:lnTo>
                  <a:lnTo>
                    <a:pt x="1489913" y="334810"/>
                  </a:lnTo>
                  <a:lnTo>
                    <a:pt x="1489963" y="333972"/>
                  </a:lnTo>
                  <a:lnTo>
                    <a:pt x="1490014" y="333223"/>
                  </a:lnTo>
                  <a:lnTo>
                    <a:pt x="1490116" y="332385"/>
                  </a:lnTo>
                  <a:lnTo>
                    <a:pt x="1490154" y="331585"/>
                  </a:lnTo>
                  <a:lnTo>
                    <a:pt x="1490205" y="330747"/>
                  </a:lnTo>
                  <a:lnTo>
                    <a:pt x="1490357" y="329553"/>
                  </a:lnTo>
                  <a:lnTo>
                    <a:pt x="1490459" y="327864"/>
                  </a:lnTo>
                  <a:lnTo>
                    <a:pt x="1490560" y="327076"/>
                  </a:lnTo>
                  <a:lnTo>
                    <a:pt x="1490662" y="325489"/>
                  </a:lnTo>
                  <a:lnTo>
                    <a:pt x="1490700" y="324638"/>
                  </a:lnTo>
                  <a:lnTo>
                    <a:pt x="1490802" y="323850"/>
                  </a:lnTo>
                  <a:lnTo>
                    <a:pt x="1490853" y="322999"/>
                  </a:lnTo>
                  <a:lnTo>
                    <a:pt x="1491005" y="321818"/>
                  </a:lnTo>
                  <a:lnTo>
                    <a:pt x="1491106" y="320129"/>
                  </a:lnTo>
                  <a:lnTo>
                    <a:pt x="1491157" y="319380"/>
                  </a:lnTo>
                  <a:lnTo>
                    <a:pt x="1491246" y="318542"/>
                  </a:lnTo>
                  <a:lnTo>
                    <a:pt x="1491297" y="317742"/>
                  </a:lnTo>
                  <a:lnTo>
                    <a:pt x="1491399" y="316053"/>
                  </a:lnTo>
                  <a:lnTo>
                    <a:pt x="1491551" y="315265"/>
                  </a:lnTo>
                  <a:lnTo>
                    <a:pt x="1491602" y="314465"/>
                  </a:lnTo>
                  <a:lnTo>
                    <a:pt x="1491703" y="313678"/>
                  </a:lnTo>
                  <a:lnTo>
                    <a:pt x="1491792" y="311989"/>
                  </a:lnTo>
                  <a:lnTo>
                    <a:pt x="1491843" y="311201"/>
                  </a:lnTo>
                  <a:lnTo>
                    <a:pt x="1491945" y="310350"/>
                  </a:lnTo>
                  <a:lnTo>
                    <a:pt x="1491996" y="309614"/>
                  </a:lnTo>
                  <a:lnTo>
                    <a:pt x="1492046" y="308763"/>
                  </a:lnTo>
                  <a:lnTo>
                    <a:pt x="1492199" y="307975"/>
                  </a:lnTo>
                  <a:lnTo>
                    <a:pt x="1492288" y="306286"/>
                  </a:lnTo>
                  <a:lnTo>
                    <a:pt x="1492389" y="305093"/>
                  </a:lnTo>
                  <a:lnTo>
                    <a:pt x="1492440" y="304254"/>
                  </a:lnTo>
                  <a:lnTo>
                    <a:pt x="1492491" y="303454"/>
                  </a:lnTo>
                  <a:lnTo>
                    <a:pt x="1492592" y="302667"/>
                  </a:lnTo>
                  <a:lnTo>
                    <a:pt x="1492643" y="301867"/>
                  </a:lnTo>
                  <a:lnTo>
                    <a:pt x="1492694" y="301028"/>
                  </a:lnTo>
                  <a:lnTo>
                    <a:pt x="1492834" y="300178"/>
                  </a:lnTo>
                  <a:lnTo>
                    <a:pt x="1492885" y="299390"/>
                  </a:lnTo>
                  <a:lnTo>
                    <a:pt x="1492935" y="298552"/>
                  </a:lnTo>
                  <a:lnTo>
                    <a:pt x="1492986" y="297803"/>
                  </a:lnTo>
                  <a:lnTo>
                    <a:pt x="1493088" y="296964"/>
                  </a:lnTo>
                  <a:lnTo>
                    <a:pt x="1493138" y="296114"/>
                  </a:lnTo>
                  <a:lnTo>
                    <a:pt x="1493189" y="295326"/>
                  </a:lnTo>
                  <a:lnTo>
                    <a:pt x="1493291" y="294475"/>
                  </a:lnTo>
                  <a:lnTo>
                    <a:pt x="1493380" y="293688"/>
                  </a:lnTo>
                  <a:lnTo>
                    <a:pt x="1493431" y="292888"/>
                  </a:lnTo>
                  <a:lnTo>
                    <a:pt x="1493532" y="292100"/>
                  </a:lnTo>
                  <a:lnTo>
                    <a:pt x="1493583" y="290805"/>
                  </a:lnTo>
                  <a:lnTo>
                    <a:pt x="1493634" y="290068"/>
                  </a:lnTo>
                  <a:lnTo>
                    <a:pt x="1493735" y="289218"/>
                  </a:lnTo>
                  <a:lnTo>
                    <a:pt x="1493786" y="288379"/>
                  </a:lnTo>
                  <a:lnTo>
                    <a:pt x="1493837" y="287579"/>
                  </a:lnTo>
                  <a:lnTo>
                    <a:pt x="1493875" y="286741"/>
                  </a:lnTo>
                  <a:lnTo>
                    <a:pt x="1494028" y="285992"/>
                  </a:lnTo>
                  <a:lnTo>
                    <a:pt x="1494078" y="285153"/>
                  </a:lnTo>
                  <a:lnTo>
                    <a:pt x="1494180" y="284303"/>
                  </a:lnTo>
                  <a:lnTo>
                    <a:pt x="1494231" y="283515"/>
                  </a:lnTo>
                  <a:lnTo>
                    <a:pt x="1494332" y="281826"/>
                  </a:lnTo>
                  <a:lnTo>
                    <a:pt x="1494421" y="281089"/>
                  </a:lnTo>
                  <a:lnTo>
                    <a:pt x="1494472" y="280239"/>
                  </a:lnTo>
                  <a:lnTo>
                    <a:pt x="1494574" y="279451"/>
                  </a:lnTo>
                  <a:lnTo>
                    <a:pt x="1494675" y="278600"/>
                  </a:lnTo>
                  <a:lnTo>
                    <a:pt x="1494726" y="277813"/>
                  </a:lnTo>
                  <a:lnTo>
                    <a:pt x="1494777" y="277407"/>
                  </a:lnTo>
                  <a:lnTo>
                    <a:pt x="1494878" y="276568"/>
                  </a:lnTo>
                  <a:lnTo>
                    <a:pt x="1494916" y="275781"/>
                  </a:lnTo>
                  <a:lnTo>
                    <a:pt x="1495018" y="274092"/>
                  </a:lnTo>
                  <a:lnTo>
                    <a:pt x="1495120" y="273736"/>
                  </a:lnTo>
                  <a:lnTo>
                    <a:pt x="1495323" y="272060"/>
                  </a:lnTo>
                  <a:lnTo>
                    <a:pt x="1495374" y="271704"/>
                  </a:lnTo>
                  <a:lnTo>
                    <a:pt x="1495463" y="270015"/>
                  </a:lnTo>
                  <a:lnTo>
                    <a:pt x="1495564" y="269672"/>
                  </a:lnTo>
                  <a:lnTo>
                    <a:pt x="1495615" y="268834"/>
                  </a:lnTo>
                  <a:lnTo>
                    <a:pt x="1495666" y="268428"/>
                  </a:lnTo>
                  <a:lnTo>
                    <a:pt x="1495818" y="267640"/>
                  </a:lnTo>
                  <a:lnTo>
                    <a:pt x="1495869" y="266802"/>
                  </a:lnTo>
                  <a:lnTo>
                    <a:pt x="1496009" y="265608"/>
                  </a:lnTo>
                  <a:lnTo>
                    <a:pt x="1496060" y="264757"/>
                  </a:lnTo>
                  <a:lnTo>
                    <a:pt x="1496110" y="264364"/>
                  </a:lnTo>
                  <a:lnTo>
                    <a:pt x="1496161" y="263576"/>
                  </a:lnTo>
                  <a:lnTo>
                    <a:pt x="1496263" y="262725"/>
                  </a:lnTo>
                  <a:lnTo>
                    <a:pt x="1496313" y="262281"/>
                  </a:lnTo>
                  <a:lnTo>
                    <a:pt x="1496466" y="261532"/>
                  </a:lnTo>
                  <a:lnTo>
                    <a:pt x="1496504" y="261087"/>
                  </a:lnTo>
                  <a:lnTo>
                    <a:pt x="1496555" y="260249"/>
                  </a:lnTo>
                  <a:lnTo>
                    <a:pt x="1496606" y="259499"/>
                  </a:lnTo>
                  <a:lnTo>
                    <a:pt x="1496707" y="259055"/>
                  </a:lnTo>
                  <a:lnTo>
                    <a:pt x="1496758" y="258217"/>
                  </a:lnTo>
                  <a:lnTo>
                    <a:pt x="1496809" y="257417"/>
                  </a:lnTo>
                  <a:lnTo>
                    <a:pt x="1496910" y="257023"/>
                  </a:lnTo>
                  <a:lnTo>
                    <a:pt x="1496961" y="256185"/>
                  </a:lnTo>
                  <a:lnTo>
                    <a:pt x="1497050" y="255385"/>
                  </a:lnTo>
                  <a:lnTo>
                    <a:pt x="1497152" y="254991"/>
                  </a:lnTo>
                  <a:lnTo>
                    <a:pt x="1497203" y="254140"/>
                  </a:lnTo>
                  <a:lnTo>
                    <a:pt x="1497253" y="253353"/>
                  </a:lnTo>
                  <a:lnTo>
                    <a:pt x="1497355" y="252959"/>
                  </a:lnTo>
                  <a:lnTo>
                    <a:pt x="1497406" y="252108"/>
                  </a:lnTo>
                  <a:lnTo>
                    <a:pt x="1497456" y="251321"/>
                  </a:lnTo>
                  <a:lnTo>
                    <a:pt x="1497507" y="250927"/>
                  </a:lnTo>
                  <a:lnTo>
                    <a:pt x="1497647" y="250076"/>
                  </a:lnTo>
                  <a:lnTo>
                    <a:pt x="1497698" y="249289"/>
                  </a:lnTo>
                  <a:lnTo>
                    <a:pt x="1497850" y="248095"/>
                  </a:lnTo>
                  <a:lnTo>
                    <a:pt x="1497901" y="247244"/>
                  </a:lnTo>
                  <a:lnTo>
                    <a:pt x="1498053" y="246063"/>
                  </a:lnTo>
                  <a:lnTo>
                    <a:pt x="1498091" y="245618"/>
                  </a:lnTo>
                  <a:lnTo>
                    <a:pt x="1498142" y="244818"/>
                  </a:lnTo>
                  <a:lnTo>
                    <a:pt x="1498295" y="244374"/>
                  </a:lnTo>
                  <a:lnTo>
                    <a:pt x="1498396" y="242786"/>
                  </a:lnTo>
                  <a:lnTo>
                    <a:pt x="1498498" y="242342"/>
                  </a:lnTo>
                  <a:lnTo>
                    <a:pt x="1498549" y="241542"/>
                  </a:lnTo>
                  <a:lnTo>
                    <a:pt x="1498600" y="241148"/>
                  </a:lnTo>
                  <a:lnTo>
                    <a:pt x="1498638" y="240703"/>
                  </a:lnTo>
                  <a:lnTo>
                    <a:pt x="1498739" y="239954"/>
                  </a:lnTo>
                  <a:lnTo>
                    <a:pt x="1498841" y="239510"/>
                  </a:lnTo>
                  <a:lnTo>
                    <a:pt x="1498942" y="238672"/>
                  </a:lnTo>
                  <a:lnTo>
                    <a:pt x="1498993" y="238265"/>
                  </a:lnTo>
                  <a:lnTo>
                    <a:pt x="1499044" y="237478"/>
                  </a:lnTo>
                  <a:lnTo>
                    <a:pt x="1499095" y="237084"/>
                  </a:lnTo>
                  <a:lnTo>
                    <a:pt x="1499184" y="236639"/>
                  </a:lnTo>
                  <a:lnTo>
                    <a:pt x="1499235" y="235890"/>
                  </a:lnTo>
                  <a:lnTo>
                    <a:pt x="1499285" y="235446"/>
                  </a:lnTo>
                  <a:lnTo>
                    <a:pt x="1499336" y="234595"/>
                  </a:lnTo>
                  <a:lnTo>
                    <a:pt x="1499488" y="234201"/>
                  </a:lnTo>
                  <a:lnTo>
                    <a:pt x="1499641" y="233007"/>
                  </a:lnTo>
                  <a:lnTo>
                    <a:pt x="1499679" y="232563"/>
                  </a:lnTo>
                  <a:lnTo>
                    <a:pt x="1499730" y="232220"/>
                  </a:lnTo>
                  <a:lnTo>
                    <a:pt x="1499781" y="231775"/>
                  </a:lnTo>
                  <a:lnTo>
                    <a:pt x="1499882" y="230975"/>
                  </a:lnTo>
                  <a:lnTo>
                    <a:pt x="1499933" y="230531"/>
                  </a:lnTo>
                  <a:lnTo>
                    <a:pt x="1500085" y="230188"/>
                  </a:lnTo>
                  <a:lnTo>
                    <a:pt x="1500136" y="229743"/>
                  </a:lnTo>
                  <a:lnTo>
                    <a:pt x="1500187" y="228893"/>
                  </a:lnTo>
                  <a:lnTo>
                    <a:pt x="1500225" y="228499"/>
                  </a:lnTo>
                  <a:lnTo>
                    <a:pt x="1500327" y="228156"/>
                  </a:lnTo>
                  <a:lnTo>
                    <a:pt x="1500378" y="227699"/>
                  </a:lnTo>
                  <a:lnTo>
                    <a:pt x="1500428" y="226860"/>
                  </a:lnTo>
                  <a:lnTo>
                    <a:pt x="1500530" y="226467"/>
                  </a:lnTo>
                  <a:lnTo>
                    <a:pt x="1500581" y="226111"/>
                  </a:lnTo>
                  <a:lnTo>
                    <a:pt x="1500682" y="225667"/>
                  </a:lnTo>
                  <a:lnTo>
                    <a:pt x="1500771" y="224828"/>
                  </a:lnTo>
                  <a:lnTo>
                    <a:pt x="1500822" y="224435"/>
                  </a:lnTo>
                  <a:lnTo>
                    <a:pt x="1500873" y="223978"/>
                  </a:lnTo>
                  <a:lnTo>
                    <a:pt x="1500924" y="223241"/>
                  </a:lnTo>
                  <a:lnTo>
                    <a:pt x="1501025" y="222797"/>
                  </a:lnTo>
                  <a:lnTo>
                    <a:pt x="1501076" y="222390"/>
                  </a:lnTo>
                  <a:lnTo>
                    <a:pt x="1501127" y="221946"/>
                  </a:lnTo>
                  <a:lnTo>
                    <a:pt x="1501228" y="221209"/>
                  </a:lnTo>
                  <a:lnTo>
                    <a:pt x="1501317" y="220764"/>
                  </a:lnTo>
                  <a:lnTo>
                    <a:pt x="1501368" y="220358"/>
                  </a:lnTo>
                  <a:lnTo>
                    <a:pt x="1501470" y="219914"/>
                  </a:lnTo>
                  <a:lnTo>
                    <a:pt x="1501521" y="219177"/>
                  </a:lnTo>
                  <a:lnTo>
                    <a:pt x="1501571" y="218720"/>
                  </a:lnTo>
                  <a:lnTo>
                    <a:pt x="1501673" y="218326"/>
                  </a:lnTo>
                  <a:lnTo>
                    <a:pt x="1501724" y="217932"/>
                  </a:lnTo>
                  <a:lnTo>
                    <a:pt x="1501775" y="217082"/>
                  </a:lnTo>
                  <a:lnTo>
                    <a:pt x="1501914" y="216688"/>
                  </a:lnTo>
                  <a:lnTo>
                    <a:pt x="1501965" y="216345"/>
                  </a:lnTo>
                  <a:lnTo>
                    <a:pt x="1502016" y="215900"/>
                  </a:lnTo>
                  <a:lnTo>
                    <a:pt x="1502117" y="215049"/>
                  </a:lnTo>
                  <a:lnTo>
                    <a:pt x="1502168" y="214656"/>
                  </a:lnTo>
                  <a:lnTo>
                    <a:pt x="1502219" y="214313"/>
                  </a:lnTo>
                  <a:lnTo>
                    <a:pt x="1502270" y="213462"/>
                  </a:lnTo>
                  <a:lnTo>
                    <a:pt x="1502359" y="213018"/>
                  </a:lnTo>
                  <a:lnTo>
                    <a:pt x="1502410" y="212624"/>
                  </a:lnTo>
                  <a:lnTo>
                    <a:pt x="1502511" y="212179"/>
                  </a:lnTo>
                  <a:lnTo>
                    <a:pt x="1502613" y="211430"/>
                  </a:lnTo>
                  <a:lnTo>
                    <a:pt x="1502663" y="210985"/>
                  </a:lnTo>
                  <a:lnTo>
                    <a:pt x="1502714" y="210147"/>
                  </a:lnTo>
                  <a:lnTo>
                    <a:pt x="1502816" y="209792"/>
                  </a:lnTo>
                  <a:lnTo>
                    <a:pt x="1502854" y="209398"/>
                  </a:lnTo>
                  <a:lnTo>
                    <a:pt x="1502905" y="208560"/>
                  </a:lnTo>
                  <a:lnTo>
                    <a:pt x="1502956" y="208103"/>
                  </a:lnTo>
                  <a:lnTo>
                    <a:pt x="1503108" y="207760"/>
                  </a:lnTo>
                  <a:lnTo>
                    <a:pt x="1503159" y="206922"/>
                  </a:lnTo>
                  <a:lnTo>
                    <a:pt x="1503260" y="206515"/>
                  </a:lnTo>
                  <a:lnTo>
                    <a:pt x="1503311" y="206071"/>
                  </a:lnTo>
                  <a:lnTo>
                    <a:pt x="1503362" y="205283"/>
                  </a:lnTo>
                  <a:lnTo>
                    <a:pt x="1503400" y="204889"/>
                  </a:lnTo>
                  <a:lnTo>
                    <a:pt x="1503502" y="204483"/>
                  </a:lnTo>
                  <a:lnTo>
                    <a:pt x="1503553" y="203696"/>
                  </a:lnTo>
                  <a:lnTo>
                    <a:pt x="1503603" y="203251"/>
                  </a:lnTo>
                  <a:lnTo>
                    <a:pt x="1503756" y="202845"/>
                  </a:lnTo>
                  <a:lnTo>
                    <a:pt x="1503806" y="202057"/>
                  </a:lnTo>
                  <a:lnTo>
                    <a:pt x="1503857" y="201664"/>
                  </a:lnTo>
                  <a:lnTo>
                    <a:pt x="1503946" y="201207"/>
                  </a:lnTo>
                  <a:lnTo>
                    <a:pt x="1503997" y="200368"/>
                  </a:lnTo>
                  <a:lnTo>
                    <a:pt x="1504048" y="200025"/>
                  </a:lnTo>
                  <a:lnTo>
                    <a:pt x="1504099" y="199619"/>
                  </a:lnTo>
                  <a:lnTo>
                    <a:pt x="1504200" y="199174"/>
                  </a:lnTo>
                  <a:lnTo>
                    <a:pt x="1504302" y="198336"/>
                  </a:lnTo>
                  <a:lnTo>
                    <a:pt x="1504403" y="197993"/>
                  </a:lnTo>
                  <a:lnTo>
                    <a:pt x="1504441" y="197587"/>
                  </a:lnTo>
                  <a:lnTo>
                    <a:pt x="1504492" y="196749"/>
                  </a:lnTo>
                  <a:lnTo>
                    <a:pt x="1504543" y="196304"/>
                  </a:lnTo>
                  <a:lnTo>
                    <a:pt x="1504645" y="195949"/>
                  </a:lnTo>
                  <a:lnTo>
                    <a:pt x="1504696" y="195110"/>
                  </a:lnTo>
                  <a:lnTo>
                    <a:pt x="1504746" y="194717"/>
                  </a:lnTo>
                  <a:lnTo>
                    <a:pt x="1504848" y="194272"/>
                  </a:lnTo>
                  <a:lnTo>
                    <a:pt x="1504988" y="193078"/>
                  </a:lnTo>
                  <a:lnTo>
                    <a:pt x="1505089" y="192685"/>
                  </a:lnTo>
                  <a:lnTo>
                    <a:pt x="1505140" y="192228"/>
                  </a:lnTo>
                  <a:lnTo>
                    <a:pt x="1505191" y="191440"/>
                  </a:lnTo>
                  <a:lnTo>
                    <a:pt x="1505292" y="191047"/>
                  </a:lnTo>
                  <a:lnTo>
                    <a:pt x="1505343" y="190602"/>
                  </a:lnTo>
                  <a:lnTo>
                    <a:pt x="1505394" y="189853"/>
                  </a:lnTo>
                  <a:lnTo>
                    <a:pt x="1505445" y="189408"/>
                  </a:lnTo>
                  <a:lnTo>
                    <a:pt x="1505585" y="189014"/>
                  </a:lnTo>
                  <a:lnTo>
                    <a:pt x="1505635" y="188164"/>
                  </a:lnTo>
                  <a:lnTo>
                    <a:pt x="1505686" y="187821"/>
                  </a:lnTo>
                  <a:lnTo>
                    <a:pt x="1505788" y="187376"/>
                  </a:lnTo>
                  <a:lnTo>
                    <a:pt x="1505838" y="186970"/>
                  </a:lnTo>
                  <a:lnTo>
                    <a:pt x="1505889" y="186182"/>
                  </a:lnTo>
                  <a:lnTo>
                    <a:pt x="1505991" y="185789"/>
                  </a:lnTo>
                  <a:lnTo>
                    <a:pt x="1506029" y="185332"/>
                  </a:lnTo>
                  <a:lnTo>
                    <a:pt x="1506131" y="184938"/>
                  </a:lnTo>
                  <a:lnTo>
                    <a:pt x="1506232" y="184493"/>
                  </a:lnTo>
                  <a:lnTo>
                    <a:pt x="1506283" y="183706"/>
                  </a:lnTo>
                  <a:lnTo>
                    <a:pt x="1506334" y="183299"/>
                  </a:lnTo>
                  <a:lnTo>
                    <a:pt x="1506435" y="182906"/>
                  </a:lnTo>
                  <a:lnTo>
                    <a:pt x="1506486" y="182461"/>
                  </a:lnTo>
                  <a:lnTo>
                    <a:pt x="1506537" y="182118"/>
                  </a:lnTo>
                  <a:lnTo>
                    <a:pt x="1506575" y="181268"/>
                  </a:lnTo>
                  <a:lnTo>
                    <a:pt x="1506677" y="180874"/>
                  </a:lnTo>
                  <a:lnTo>
                    <a:pt x="1506778" y="180429"/>
                  </a:lnTo>
                  <a:lnTo>
                    <a:pt x="1506880" y="180074"/>
                  </a:lnTo>
                  <a:lnTo>
                    <a:pt x="1506931" y="179629"/>
                  </a:lnTo>
                  <a:lnTo>
                    <a:pt x="1506981" y="179235"/>
                  </a:lnTo>
                  <a:lnTo>
                    <a:pt x="1507032" y="178397"/>
                  </a:lnTo>
                  <a:lnTo>
                    <a:pt x="1507121" y="178042"/>
                  </a:lnTo>
                  <a:lnTo>
                    <a:pt x="1507172" y="177597"/>
                  </a:lnTo>
                  <a:lnTo>
                    <a:pt x="1507223" y="177203"/>
                  </a:lnTo>
                  <a:lnTo>
                    <a:pt x="1507375" y="176759"/>
                  </a:lnTo>
                  <a:lnTo>
                    <a:pt x="1507426" y="176353"/>
                  </a:lnTo>
                  <a:lnTo>
                    <a:pt x="1507477" y="176010"/>
                  </a:lnTo>
                  <a:lnTo>
                    <a:pt x="1507578" y="175565"/>
                  </a:lnTo>
                  <a:lnTo>
                    <a:pt x="1507616" y="174727"/>
                  </a:lnTo>
                  <a:lnTo>
                    <a:pt x="1507667" y="174321"/>
                  </a:lnTo>
                  <a:lnTo>
                    <a:pt x="1507718" y="173978"/>
                  </a:lnTo>
                  <a:lnTo>
                    <a:pt x="1507820" y="173533"/>
                  </a:lnTo>
                  <a:lnTo>
                    <a:pt x="1507871" y="173139"/>
                  </a:lnTo>
                  <a:lnTo>
                    <a:pt x="1508023" y="172682"/>
                  </a:lnTo>
                  <a:lnTo>
                    <a:pt x="1508163" y="171501"/>
                  </a:lnTo>
                  <a:lnTo>
                    <a:pt x="1508264" y="171095"/>
                  </a:lnTo>
                  <a:lnTo>
                    <a:pt x="1508315" y="170650"/>
                  </a:lnTo>
                  <a:lnTo>
                    <a:pt x="1508366" y="170307"/>
                  </a:lnTo>
                  <a:lnTo>
                    <a:pt x="1508467" y="169863"/>
                  </a:lnTo>
                  <a:lnTo>
                    <a:pt x="1508569" y="169457"/>
                  </a:lnTo>
                  <a:lnTo>
                    <a:pt x="1508620" y="168618"/>
                  </a:lnTo>
                  <a:lnTo>
                    <a:pt x="1508709" y="168275"/>
                  </a:lnTo>
                  <a:lnTo>
                    <a:pt x="1508760" y="167831"/>
                  </a:lnTo>
                  <a:lnTo>
                    <a:pt x="1508810" y="167424"/>
                  </a:lnTo>
                  <a:lnTo>
                    <a:pt x="1508861" y="166980"/>
                  </a:lnTo>
                  <a:lnTo>
                    <a:pt x="1508963" y="166586"/>
                  </a:lnTo>
                  <a:lnTo>
                    <a:pt x="1509013" y="166243"/>
                  </a:lnTo>
                  <a:lnTo>
                    <a:pt x="1509064" y="165786"/>
                  </a:lnTo>
                  <a:lnTo>
                    <a:pt x="1509204" y="165393"/>
                  </a:lnTo>
                  <a:lnTo>
                    <a:pt x="1509255" y="164948"/>
                  </a:lnTo>
                  <a:lnTo>
                    <a:pt x="1509306" y="164554"/>
                  </a:lnTo>
                  <a:lnTo>
                    <a:pt x="1509407" y="164199"/>
                  </a:lnTo>
                  <a:lnTo>
                    <a:pt x="1509458" y="163754"/>
                  </a:lnTo>
                  <a:lnTo>
                    <a:pt x="1509509" y="163360"/>
                  </a:lnTo>
                  <a:lnTo>
                    <a:pt x="1509610" y="162916"/>
                  </a:lnTo>
                  <a:lnTo>
                    <a:pt x="1509661" y="162522"/>
                  </a:lnTo>
                  <a:lnTo>
                    <a:pt x="1509712" y="162065"/>
                  </a:lnTo>
                  <a:lnTo>
                    <a:pt x="1509852" y="161722"/>
                  </a:lnTo>
                  <a:lnTo>
                    <a:pt x="1509903" y="161328"/>
                  </a:lnTo>
                  <a:lnTo>
                    <a:pt x="1509953" y="160884"/>
                  </a:lnTo>
                  <a:lnTo>
                    <a:pt x="1510055" y="160478"/>
                  </a:lnTo>
                  <a:lnTo>
                    <a:pt x="1510106" y="160033"/>
                  </a:lnTo>
                  <a:lnTo>
                    <a:pt x="1510156" y="159690"/>
                  </a:lnTo>
                  <a:lnTo>
                    <a:pt x="1510207" y="159297"/>
                  </a:lnTo>
                  <a:lnTo>
                    <a:pt x="1510296" y="158852"/>
                  </a:lnTo>
                  <a:lnTo>
                    <a:pt x="1510398" y="158446"/>
                  </a:lnTo>
                  <a:lnTo>
                    <a:pt x="1510449" y="158001"/>
                  </a:lnTo>
                  <a:lnTo>
                    <a:pt x="1510550" y="157658"/>
                  </a:lnTo>
                  <a:lnTo>
                    <a:pt x="1510601" y="157658"/>
                  </a:lnTo>
                  <a:lnTo>
                    <a:pt x="1510652" y="157264"/>
                  </a:lnTo>
                  <a:lnTo>
                    <a:pt x="1510753" y="156807"/>
                  </a:lnTo>
                  <a:lnTo>
                    <a:pt x="1510842" y="156020"/>
                  </a:lnTo>
                  <a:lnTo>
                    <a:pt x="1510893" y="156020"/>
                  </a:lnTo>
                  <a:lnTo>
                    <a:pt x="1511046" y="155626"/>
                  </a:lnTo>
                  <a:lnTo>
                    <a:pt x="1511096" y="155169"/>
                  </a:lnTo>
                  <a:lnTo>
                    <a:pt x="1511198" y="154775"/>
                  </a:lnTo>
                  <a:lnTo>
                    <a:pt x="1511249" y="154432"/>
                  </a:lnTo>
                  <a:lnTo>
                    <a:pt x="1511300" y="154432"/>
                  </a:lnTo>
                  <a:lnTo>
                    <a:pt x="1511338" y="153988"/>
                  </a:lnTo>
                  <a:lnTo>
                    <a:pt x="1511439" y="153582"/>
                  </a:lnTo>
                  <a:lnTo>
                    <a:pt x="1511490" y="153137"/>
                  </a:lnTo>
                  <a:lnTo>
                    <a:pt x="1511642" y="152743"/>
                  </a:lnTo>
                  <a:lnTo>
                    <a:pt x="1511693" y="152400"/>
                  </a:lnTo>
                  <a:lnTo>
                    <a:pt x="1511744" y="151956"/>
                  </a:lnTo>
                  <a:lnTo>
                    <a:pt x="1511795" y="151549"/>
                  </a:lnTo>
                  <a:lnTo>
                    <a:pt x="1511884" y="151105"/>
                  </a:lnTo>
                  <a:lnTo>
                    <a:pt x="1511935" y="150711"/>
                  </a:lnTo>
                  <a:lnTo>
                    <a:pt x="1511985" y="150267"/>
                  </a:lnTo>
                  <a:lnTo>
                    <a:pt x="1512036" y="149911"/>
                  </a:lnTo>
                  <a:lnTo>
                    <a:pt x="1512138" y="149911"/>
                  </a:lnTo>
                  <a:lnTo>
                    <a:pt x="1512239" y="149518"/>
                  </a:lnTo>
                  <a:lnTo>
                    <a:pt x="1512341" y="149073"/>
                  </a:lnTo>
                  <a:lnTo>
                    <a:pt x="1512379" y="148679"/>
                  </a:lnTo>
                  <a:lnTo>
                    <a:pt x="1512430" y="148235"/>
                  </a:lnTo>
                  <a:lnTo>
                    <a:pt x="1512481" y="147879"/>
                  </a:lnTo>
                  <a:lnTo>
                    <a:pt x="1512582" y="147485"/>
                  </a:lnTo>
                  <a:lnTo>
                    <a:pt x="1512633" y="147041"/>
                  </a:lnTo>
                  <a:lnTo>
                    <a:pt x="1512684" y="146647"/>
                  </a:lnTo>
                  <a:lnTo>
                    <a:pt x="1512836" y="146190"/>
                  </a:lnTo>
                  <a:lnTo>
                    <a:pt x="1512887" y="145847"/>
                  </a:lnTo>
                  <a:lnTo>
                    <a:pt x="1512925" y="145403"/>
                  </a:lnTo>
                  <a:lnTo>
                    <a:pt x="1513027" y="145009"/>
                  </a:lnTo>
                  <a:lnTo>
                    <a:pt x="1513078" y="144603"/>
                  </a:lnTo>
                  <a:lnTo>
                    <a:pt x="1513128" y="144158"/>
                  </a:lnTo>
                  <a:lnTo>
                    <a:pt x="1513230" y="143815"/>
                  </a:lnTo>
                  <a:lnTo>
                    <a:pt x="1513281" y="143371"/>
                  </a:lnTo>
                  <a:lnTo>
                    <a:pt x="1513331" y="142977"/>
                  </a:lnTo>
                  <a:lnTo>
                    <a:pt x="1513471" y="142571"/>
                  </a:lnTo>
                  <a:lnTo>
                    <a:pt x="1513522" y="142571"/>
                  </a:lnTo>
                  <a:lnTo>
                    <a:pt x="1513573" y="142126"/>
                  </a:lnTo>
                  <a:lnTo>
                    <a:pt x="1513624" y="141783"/>
                  </a:lnTo>
                  <a:lnTo>
                    <a:pt x="1513725" y="141339"/>
                  </a:lnTo>
                  <a:lnTo>
                    <a:pt x="1513827" y="140539"/>
                  </a:lnTo>
                  <a:lnTo>
                    <a:pt x="1513928" y="140145"/>
                  </a:lnTo>
                  <a:lnTo>
                    <a:pt x="1514017" y="140145"/>
                  </a:lnTo>
                  <a:lnTo>
                    <a:pt x="1514068" y="139751"/>
                  </a:lnTo>
                  <a:lnTo>
                    <a:pt x="1514170" y="139294"/>
                  </a:lnTo>
                  <a:lnTo>
                    <a:pt x="1514221" y="138900"/>
                  </a:lnTo>
                  <a:lnTo>
                    <a:pt x="1514271" y="138456"/>
                  </a:lnTo>
                  <a:lnTo>
                    <a:pt x="1514373" y="138456"/>
                  </a:lnTo>
                  <a:lnTo>
                    <a:pt x="1514424" y="138113"/>
                  </a:lnTo>
                  <a:lnTo>
                    <a:pt x="1514475" y="137707"/>
                  </a:lnTo>
                  <a:lnTo>
                    <a:pt x="1514513" y="137707"/>
                  </a:lnTo>
                  <a:lnTo>
                    <a:pt x="1514665" y="137262"/>
                  </a:lnTo>
                  <a:lnTo>
                    <a:pt x="1514716" y="136868"/>
                  </a:lnTo>
                  <a:lnTo>
                    <a:pt x="1514817" y="136424"/>
                  </a:lnTo>
                  <a:lnTo>
                    <a:pt x="1514868" y="136424"/>
                  </a:lnTo>
                  <a:lnTo>
                    <a:pt x="1514919" y="136081"/>
                  </a:lnTo>
                  <a:lnTo>
                    <a:pt x="1514970" y="136081"/>
                  </a:lnTo>
                  <a:lnTo>
                    <a:pt x="1515059" y="135674"/>
                  </a:lnTo>
                  <a:lnTo>
                    <a:pt x="1515110" y="135230"/>
                  </a:lnTo>
                  <a:lnTo>
                    <a:pt x="1515160" y="135230"/>
                  </a:lnTo>
                  <a:lnTo>
                    <a:pt x="1515313" y="134836"/>
                  </a:lnTo>
                  <a:lnTo>
                    <a:pt x="1515363" y="134836"/>
                  </a:lnTo>
                  <a:lnTo>
                    <a:pt x="1515414" y="134392"/>
                  </a:lnTo>
                  <a:lnTo>
                    <a:pt x="1515516" y="134036"/>
                  </a:lnTo>
                  <a:lnTo>
                    <a:pt x="1515554" y="134036"/>
                  </a:lnTo>
                  <a:lnTo>
                    <a:pt x="1515605" y="133592"/>
                  </a:lnTo>
                  <a:lnTo>
                    <a:pt x="1515656" y="133592"/>
                  </a:lnTo>
                  <a:lnTo>
                    <a:pt x="1515757" y="133198"/>
                  </a:lnTo>
                  <a:lnTo>
                    <a:pt x="1515859" y="133198"/>
                  </a:lnTo>
                  <a:lnTo>
                    <a:pt x="1515960" y="132804"/>
                  </a:lnTo>
                  <a:lnTo>
                    <a:pt x="1516011" y="132804"/>
                  </a:lnTo>
                  <a:lnTo>
                    <a:pt x="1516062" y="132360"/>
                  </a:lnTo>
                  <a:lnTo>
                    <a:pt x="1516100" y="132004"/>
                  </a:lnTo>
                  <a:lnTo>
                    <a:pt x="1516202" y="132004"/>
                  </a:lnTo>
                  <a:lnTo>
                    <a:pt x="1516253" y="131560"/>
                  </a:lnTo>
                  <a:lnTo>
                    <a:pt x="1516303" y="131560"/>
                  </a:lnTo>
                  <a:lnTo>
                    <a:pt x="1516405" y="131166"/>
                  </a:lnTo>
                  <a:lnTo>
                    <a:pt x="1516506" y="131166"/>
                  </a:lnTo>
                  <a:lnTo>
                    <a:pt x="1516557" y="130772"/>
                  </a:lnTo>
                  <a:lnTo>
                    <a:pt x="1516646" y="130772"/>
                  </a:lnTo>
                  <a:lnTo>
                    <a:pt x="1516697" y="130315"/>
                  </a:lnTo>
                  <a:lnTo>
                    <a:pt x="1516799" y="130315"/>
                  </a:lnTo>
                  <a:lnTo>
                    <a:pt x="1516900" y="129972"/>
                  </a:lnTo>
                  <a:lnTo>
                    <a:pt x="1516951" y="129972"/>
                  </a:lnTo>
                  <a:lnTo>
                    <a:pt x="1517103" y="129528"/>
                  </a:lnTo>
                  <a:lnTo>
                    <a:pt x="1517141" y="129528"/>
                  </a:lnTo>
                  <a:lnTo>
                    <a:pt x="1517192" y="129134"/>
                  </a:lnTo>
                  <a:lnTo>
                    <a:pt x="1517243" y="129134"/>
                  </a:lnTo>
                  <a:lnTo>
                    <a:pt x="1517345" y="128689"/>
                  </a:lnTo>
                  <a:lnTo>
                    <a:pt x="1517396" y="128689"/>
                  </a:lnTo>
                  <a:lnTo>
                    <a:pt x="1517446" y="128283"/>
                  </a:lnTo>
                  <a:lnTo>
                    <a:pt x="1517548" y="128283"/>
                  </a:lnTo>
                  <a:lnTo>
                    <a:pt x="1517599" y="127940"/>
                  </a:lnTo>
                  <a:lnTo>
                    <a:pt x="1517688" y="127940"/>
                  </a:lnTo>
                  <a:lnTo>
                    <a:pt x="1517789" y="127496"/>
                  </a:lnTo>
                  <a:lnTo>
                    <a:pt x="1517891" y="127496"/>
                  </a:lnTo>
                  <a:lnTo>
                    <a:pt x="1517992" y="127102"/>
                  </a:lnTo>
                  <a:lnTo>
                    <a:pt x="1518043" y="127102"/>
                  </a:lnTo>
                  <a:lnTo>
                    <a:pt x="1518094" y="126645"/>
                  </a:lnTo>
                  <a:lnTo>
                    <a:pt x="1518145" y="126645"/>
                  </a:lnTo>
                  <a:lnTo>
                    <a:pt x="1518234" y="126251"/>
                  </a:lnTo>
                  <a:lnTo>
                    <a:pt x="1518335" y="126251"/>
                  </a:lnTo>
                  <a:lnTo>
                    <a:pt x="1518386" y="125908"/>
                  </a:lnTo>
                  <a:lnTo>
                    <a:pt x="1518488" y="125908"/>
                  </a:lnTo>
                  <a:lnTo>
                    <a:pt x="1518538" y="125464"/>
                  </a:lnTo>
                  <a:lnTo>
                    <a:pt x="1518589" y="125464"/>
                  </a:lnTo>
                  <a:lnTo>
                    <a:pt x="1518691" y="125057"/>
                  </a:lnTo>
                  <a:lnTo>
                    <a:pt x="1518729" y="125057"/>
                  </a:lnTo>
                  <a:lnTo>
                    <a:pt x="1518780" y="124613"/>
                  </a:lnTo>
                  <a:lnTo>
                    <a:pt x="1518932" y="124613"/>
                  </a:lnTo>
                  <a:lnTo>
                    <a:pt x="1518983" y="124270"/>
                  </a:lnTo>
                  <a:lnTo>
                    <a:pt x="1519034" y="124270"/>
                  </a:lnTo>
                  <a:lnTo>
                    <a:pt x="1519135" y="123876"/>
                  </a:lnTo>
                  <a:lnTo>
                    <a:pt x="1519186" y="123876"/>
                  </a:lnTo>
                  <a:lnTo>
                    <a:pt x="1519237" y="123419"/>
                  </a:lnTo>
                  <a:lnTo>
                    <a:pt x="1519275" y="123419"/>
                  </a:lnTo>
                  <a:lnTo>
                    <a:pt x="1519377" y="123025"/>
                  </a:lnTo>
                  <a:lnTo>
                    <a:pt x="1519428" y="123025"/>
                  </a:lnTo>
                  <a:lnTo>
                    <a:pt x="1519580" y="122581"/>
                  </a:lnTo>
                  <a:lnTo>
                    <a:pt x="1519681" y="122581"/>
                  </a:lnTo>
                  <a:lnTo>
                    <a:pt x="1519732" y="122238"/>
                  </a:lnTo>
                  <a:lnTo>
                    <a:pt x="1519821" y="122238"/>
                  </a:lnTo>
                  <a:lnTo>
                    <a:pt x="1519872" y="121793"/>
                  </a:lnTo>
                  <a:lnTo>
                    <a:pt x="1519923" y="121793"/>
                  </a:lnTo>
                  <a:lnTo>
                    <a:pt x="1519974" y="121387"/>
                  </a:lnTo>
                  <a:lnTo>
                    <a:pt x="1520126" y="121387"/>
                  </a:lnTo>
                  <a:lnTo>
                    <a:pt x="1520177" y="120993"/>
                  </a:lnTo>
                  <a:lnTo>
                    <a:pt x="1520278" y="120993"/>
                  </a:lnTo>
                  <a:lnTo>
                    <a:pt x="1520316" y="120549"/>
                  </a:lnTo>
                  <a:lnTo>
                    <a:pt x="1520367" y="120549"/>
                  </a:lnTo>
                  <a:lnTo>
                    <a:pt x="1520418" y="120206"/>
                  </a:lnTo>
                  <a:lnTo>
                    <a:pt x="1520520" y="120206"/>
                  </a:lnTo>
                  <a:lnTo>
                    <a:pt x="1520571" y="119749"/>
                  </a:lnTo>
                  <a:lnTo>
                    <a:pt x="1520621" y="119749"/>
                  </a:lnTo>
                  <a:lnTo>
                    <a:pt x="1520774" y="119355"/>
                  </a:lnTo>
                  <a:lnTo>
                    <a:pt x="1520825" y="119355"/>
                  </a:lnTo>
                  <a:lnTo>
                    <a:pt x="1520863" y="118961"/>
                  </a:lnTo>
                  <a:lnTo>
                    <a:pt x="1520964" y="118961"/>
                  </a:lnTo>
                  <a:lnTo>
                    <a:pt x="1521015" y="118517"/>
                  </a:lnTo>
                  <a:lnTo>
                    <a:pt x="1521066" y="118517"/>
                  </a:lnTo>
                  <a:lnTo>
                    <a:pt x="1521167" y="118161"/>
                  </a:lnTo>
                  <a:lnTo>
                    <a:pt x="1521320" y="118161"/>
                  </a:lnTo>
                  <a:lnTo>
                    <a:pt x="1521409" y="117717"/>
                  </a:lnTo>
                  <a:lnTo>
                    <a:pt x="1521460" y="117717"/>
                  </a:lnTo>
                  <a:lnTo>
                    <a:pt x="1521510" y="117323"/>
                  </a:lnTo>
                  <a:lnTo>
                    <a:pt x="1521561" y="117323"/>
                  </a:lnTo>
                  <a:lnTo>
                    <a:pt x="1521663" y="116878"/>
                  </a:lnTo>
                  <a:lnTo>
                    <a:pt x="1521713" y="116878"/>
                  </a:lnTo>
                  <a:lnTo>
                    <a:pt x="1521764" y="116485"/>
                  </a:lnTo>
                  <a:lnTo>
                    <a:pt x="1521866" y="116485"/>
                  </a:lnTo>
                  <a:lnTo>
                    <a:pt x="1521955" y="116129"/>
                  </a:lnTo>
                  <a:lnTo>
                    <a:pt x="1522107" y="116129"/>
                  </a:lnTo>
                  <a:lnTo>
                    <a:pt x="1522158" y="115685"/>
                  </a:lnTo>
                  <a:lnTo>
                    <a:pt x="1522209" y="115685"/>
                  </a:lnTo>
                  <a:lnTo>
                    <a:pt x="1522310" y="115291"/>
                  </a:lnTo>
                  <a:lnTo>
                    <a:pt x="1522361" y="115291"/>
                  </a:lnTo>
                  <a:lnTo>
                    <a:pt x="1522412" y="114847"/>
                  </a:lnTo>
                  <a:lnTo>
                    <a:pt x="1522552" y="114847"/>
                  </a:lnTo>
                  <a:lnTo>
                    <a:pt x="1522603" y="114440"/>
                  </a:lnTo>
                  <a:lnTo>
                    <a:pt x="1522653" y="114440"/>
                  </a:lnTo>
                  <a:lnTo>
                    <a:pt x="1522755" y="114097"/>
                  </a:lnTo>
                  <a:lnTo>
                    <a:pt x="1522806" y="114097"/>
                  </a:lnTo>
                  <a:lnTo>
                    <a:pt x="1522856" y="113653"/>
                  </a:lnTo>
                  <a:lnTo>
                    <a:pt x="1522996" y="113653"/>
                  </a:lnTo>
                  <a:lnTo>
                    <a:pt x="1523047" y="113259"/>
                  </a:lnTo>
                  <a:lnTo>
                    <a:pt x="1523149" y="113259"/>
                  </a:lnTo>
                  <a:lnTo>
                    <a:pt x="1523250" y="112814"/>
                  </a:lnTo>
                  <a:lnTo>
                    <a:pt x="1523301" y="112814"/>
                  </a:lnTo>
                  <a:lnTo>
                    <a:pt x="1523352" y="112408"/>
                  </a:lnTo>
                  <a:lnTo>
                    <a:pt x="1523453" y="112408"/>
                  </a:lnTo>
                  <a:lnTo>
                    <a:pt x="1523491" y="111964"/>
                  </a:lnTo>
                  <a:lnTo>
                    <a:pt x="1523542" y="111964"/>
                  </a:lnTo>
                  <a:lnTo>
                    <a:pt x="1523593" y="111621"/>
                  </a:lnTo>
                  <a:lnTo>
                    <a:pt x="1523796" y="111621"/>
                  </a:lnTo>
                  <a:lnTo>
                    <a:pt x="1523898" y="111227"/>
                  </a:lnTo>
                  <a:lnTo>
                    <a:pt x="1523949" y="111227"/>
                  </a:lnTo>
                  <a:lnTo>
                    <a:pt x="1524000" y="110770"/>
                  </a:lnTo>
                  <a:lnTo>
                    <a:pt x="1524038" y="110770"/>
                  </a:lnTo>
                  <a:lnTo>
                    <a:pt x="1524139" y="110376"/>
                  </a:lnTo>
                  <a:lnTo>
                    <a:pt x="1524190" y="110376"/>
                  </a:lnTo>
                  <a:lnTo>
                    <a:pt x="1524241" y="109982"/>
                  </a:lnTo>
                  <a:lnTo>
                    <a:pt x="1524393" y="109982"/>
                  </a:lnTo>
                  <a:lnTo>
                    <a:pt x="1524444" y="109589"/>
                  </a:lnTo>
                  <a:lnTo>
                    <a:pt x="1524495" y="109589"/>
                  </a:lnTo>
                  <a:lnTo>
                    <a:pt x="1524584" y="109182"/>
                  </a:lnTo>
                  <a:lnTo>
                    <a:pt x="1524685" y="109182"/>
                  </a:lnTo>
                  <a:lnTo>
                    <a:pt x="1524736" y="108738"/>
                  </a:lnTo>
                  <a:lnTo>
                    <a:pt x="1524838" y="108738"/>
                  </a:lnTo>
                  <a:lnTo>
                    <a:pt x="1524888" y="108395"/>
                  </a:lnTo>
                  <a:lnTo>
                    <a:pt x="1525041" y="108395"/>
                  </a:lnTo>
                  <a:lnTo>
                    <a:pt x="1525079" y="107950"/>
                  </a:lnTo>
                  <a:lnTo>
                    <a:pt x="1525130" y="107950"/>
                  </a:lnTo>
                  <a:lnTo>
                    <a:pt x="1525181" y="107544"/>
                  </a:lnTo>
                  <a:lnTo>
                    <a:pt x="1525282" y="107544"/>
                  </a:lnTo>
                  <a:lnTo>
                    <a:pt x="1525333" y="107150"/>
                  </a:lnTo>
                  <a:lnTo>
                    <a:pt x="1525384" y="107150"/>
                  </a:lnTo>
                  <a:lnTo>
                    <a:pt x="1525485" y="106706"/>
                  </a:lnTo>
                  <a:lnTo>
                    <a:pt x="1525587" y="106706"/>
                  </a:lnTo>
                  <a:lnTo>
                    <a:pt x="1525625" y="106363"/>
                  </a:lnTo>
                  <a:lnTo>
                    <a:pt x="1525727" y="106363"/>
                  </a:lnTo>
                  <a:lnTo>
                    <a:pt x="1525778" y="105918"/>
                  </a:lnTo>
                  <a:lnTo>
                    <a:pt x="1525930" y="105918"/>
                  </a:lnTo>
                  <a:lnTo>
                    <a:pt x="1525981" y="105512"/>
                  </a:lnTo>
                  <a:lnTo>
                    <a:pt x="1526031" y="105512"/>
                  </a:lnTo>
                  <a:lnTo>
                    <a:pt x="1526082" y="105068"/>
                  </a:lnTo>
                  <a:lnTo>
                    <a:pt x="1526222" y="105068"/>
                  </a:lnTo>
                  <a:lnTo>
                    <a:pt x="1526273" y="104674"/>
                  </a:lnTo>
                  <a:lnTo>
                    <a:pt x="1526324" y="104674"/>
                  </a:lnTo>
                  <a:lnTo>
                    <a:pt x="1526425" y="104331"/>
                  </a:lnTo>
                  <a:lnTo>
                    <a:pt x="1526476" y="104331"/>
                  </a:lnTo>
                  <a:lnTo>
                    <a:pt x="1526527" y="103874"/>
                  </a:lnTo>
                  <a:lnTo>
                    <a:pt x="1526628" y="103874"/>
                  </a:lnTo>
                  <a:lnTo>
                    <a:pt x="1526666" y="103480"/>
                  </a:lnTo>
                  <a:lnTo>
                    <a:pt x="1526768" y="103480"/>
                  </a:lnTo>
                  <a:lnTo>
                    <a:pt x="1526870" y="103035"/>
                  </a:lnTo>
                  <a:lnTo>
                    <a:pt x="1526921" y="103035"/>
                  </a:lnTo>
                  <a:lnTo>
                    <a:pt x="1526971" y="102642"/>
                  </a:lnTo>
                  <a:lnTo>
                    <a:pt x="1527073" y="102642"/>
                  </a:lnTo>
                  <a:lnTo>
                    <a:pt x="1527124" y="102286"/>
                  </a:lnTo>
                  <a:lnTo>
                    <a:pt x="1527175" y="102286"/>
                  </a:lnTo>
                  <a:lnTo>
                    <a:pt x="1527213" y="101842"/>
                  </a:lnTo>
                  <a:lnTo>
                    <a:pt x="1527314" y="101842"/>
                  </a:lnTo>
                  <a:lnTo>
                    <a:pt x="1527416" y="101448"/>
                  </a:lnTo>
                  <a:lnTo>
                    <a:pt x="1527517" y="101448"/>
                  </a:lnTo>
                  <a:lnTo>
                    <a:pt x="1527568" y="101003"/>
                  </a:lnTo>
                  <a:lnTo>
                    <a:pt x="1527619" y="101003"/>
                  </a:lnTo>
                  <a:lnTo>
                    <a:pt x="1527670" y="100610"/>
                  </a:lnTo>
                  <a:lnTo>
                    <a:pt x="1527759" y="100610"/>
                  </a:lnTo>
                  <a:lnTo>
                    <a:pt x="1527810" y="100153"/>
                  </a:lnTo>
                  <a:lnTo>
                    <a:pt x="1527860" y="100153"/>
                  </a:lnTo>
                  <a:lnTo>
                    <a:pt x="1528013" y="99810"/>
                  </a:lnTo>
                  <a:lnTo>
                    <a:pt x="1528063" y="99810"/>
                  </a:lnTo>
                  <a:lnTo>
                    <a:pt x="1528114" y="99416"/>
                  </a:lnTo>
                  <a:lnTo>
                    <a:pt x="1528216" y="99416"/>
                  </a:lnTo>
                  <a:lnTo>
                    <a:pt x="1528254" y="98972"/>
                  </a:lnTo>
                  <a:lnTo>
                    <a:pt x="1528305" y="98972"/>
                  </a:lnTo>
                  <a:lnTo>
                    <a:pt x="1528356" y="98565"/>
                  </a:lnTo>
                  <a:lnTo>
                    <a:pt x="1528457" y="98565"/>
                  </a:lnTo>
                  <a:lnTo>
                    <a:pt x="1528508" y="98121"/>
                  </a:lnTo>
                  <a:lnTo>
                    <a:pt x="1528660" y="98121"/>
                  </a:lnTo>
                  <a:lnTo>
                    <a:pt x="1528711" y="97778"/>
                  </a:lnTo>
                  <a:lnTo>
                    <a:pt x="1528762" y="97778"/>
                  </a:lnTo>
                  <a:lnTo>
                    <a:pt x="1528800" y="97384"/>
                  </a:lnTo>
                  <a:lnTo>
                    <a:pt x="1528902" y="97384"/>
                  </a:lnTo>
                  <a:lnTo>
                    <a:pt x="1528953" y="96939"/>
                  </a:lnTo>
                  <a:lnTo>
                    <a:pt x="1529003" y="96939"/>
                  </a:lnTo>
                  <a:lnTo>
                    <a:pt x="1529105" y="96533"/>
                  </a:lnTo>
                  <a:lnTo>
                    <a:pt x="1529156" y="96533"/>
                  </a:lnTo>
                  <a:lnTo>
                    <a:pt x="1529257" y="96089"/>
                  </a:lnTo>
                  <a:lnTo>
                    <a:pt x="1529346" y="96089"/>
                  </a:lnTo>
                  <a:lnTo>
                    <a:pt x="1529397" y="95746"/>
                  </a:lnTo>
                  <a:lnTo>
                    <a:pt x="1529448" y="95746"/>
                  </a:lnTo>
                  <a:lnTo>
                    <a:pt x="1529499" y="95301"/>
                  </a:lnTo>
                  <a:lnTo>
                    <a:pt x="1529651" y="95301"/>
                  </a:lnTo>
                  <a:lnTo>
                    <a:pt x="1529702" y="94895"/>
                  </a:lnTo>
                  <a:lnTo>
                    <a:pt x="1529841" y="94895"/>
                  </a:lnTo>
                  <a:lnTo>
                    <a:pt x="1529892" y="94501"/>
                  </a:lnTo>
                  <a:lnTo>
                    <a:pt x="1529943" y="94501"/>
                  </a:lnTo>
                  <a:lnTo>
                    <a:pt x="1530045" y="94107"/>
                  </a:lnTo>
                  <a:lnTo>
                    <a:pt x="1530096" y="94107"/>
                  </a:lnTo>
                  <a:lnTo>
                    <a:pt x="1530146" y="93714"/>
                  </a:lnTo>
                  <a:lnTo>
                    <a:pt x="1530248" y="93714"/>
                  </a:lnTo>
                  <a:lnTo>
                    <a:pt x="1530299" y="93257"/>
                  </a:lnTo>
                  <a:lnTo>
                    <a:pt x="1530350" y="93257"/>
                  </a:lnTo>
                  <a:lnTo>
                    <a:pt x="1530489" y="92863"/>
                  </a:lnTo>
                  <a:lnTo>
                    <a:pt x="1530540" y="92863"/>
                  </a:lnTo>
                  <a:lnTo>
                    <a:pt x="1530591" y="92520"/>
                  </a:lnTo>
                  <a:lnTo>
                    <a:pt x="1530692" y="92520"/>
                  </a:lnTo>
                  <a:lnTo>
                    <a:pt x="1530743" y="92075"/>
                  </a:lnTo>
                  <a:lnTo>
                    <a:pt x="1530794" y="92075"/>
                  </a:lnTo>
                  <a:lnTo>
                    <a:pt x="1530845" y="91669"/>
                  </a:lnTo>
                  <a:lnTo>
                    <a:pt x="1530934" y="91669"/>
                  </a:lnTo>
                  <a:lnTo>
                    <a:pt x="1531035" y="91224"/>
                  </a:lnTo>
                  <a:lnTo>
                    <a:pt x="1531086" y="91224"/>
                  </a:lnTo>
                  <a:lnTo>
                    <a:pt x="1531188" y="90831"/>
                  </a:lnTo>
                  <a:lnTo>
                    <a:pt x="1531238" y="90831"/>
                  </a:lnTo>
                  <a:lnTo>
                    <a:pt x="1531289" y="90488"/>
                  </a:lnTo>
                  <a:lnTo>
                    <a:pt x="1531429" y="90488"/>
                  </a:lnTo>
                  <a:lnTo>
                    <a:pt x="1531480" y="90043"/>
                  </a:lnTo>
                  <a:lnTo>
                    <a:pt x="1531531" y="90043"/>
                  </a:lnTo>
                  <a:lnTo>
                    <a:pt x="1531683" y="89637"/>
                  </a:lnTo>
                  <a:lnTo>
                    <a:pt x="1531734" y="89637"/>
                  </a:lnTo>
                  <a:lnTo>
                    <a:pt x="1531835" y="89193"/>
                  </a:lnTo>
                  <a:lnTo>
                    <a:pt x="1531886" y="89193"/>
                  </a:lnTo>
                  <a:lnTo>
                    <a:pt x="1531937" y="88799"/>
                  </a:lnTo>
                  <a:lnTo>
                    <a:pt x="1531975" y="88799"/>
                  </a:lnTo>
                  <a:lnTo>
                    <a:pt x="1532077" y="88354"/>
                  </a:lnTo>
                  <a:lnTo>
                    <a:pt x="1532128" y="88354"/>
                  </a:lnTo>
                  <a:lnTo>
                    <a:pt x="1532178" y="87999"/>
                  </a:lnTo>
                  <a:lnTo>
                    <a:pt x="1532331" y="87999"/>
                  </a:lnTo>
                  <a:lnTo>
                    <a:pt x="1532381" y="87605"/>
                  </a:lnTo>
                  <a:lnTo>
                    <a:pt x="1532432" y="87605"/>
                  </a:lnTo>
                  <a:lnTo>
                    <a:pt x="1532521" y="87160"/>
                  </a:lnTo>
                  <a:lnTo>
                    <a:pt x="1532572" y="87160"/>
                  </a:lnTo>
                  <a:lnTo>
                    <a:pt x="1532623" y="86767"/>
                  </a:lnTo>
                  <a:lnTo>
                    <a:pt x="1532674" y="86767"/>
                  </a:lnTo>
                  <a:lnTo>
                    <a:pt x="1532775" y="86322"/>
                  </a:lnTo>
                  <a:lnTo>
                    <a:pt x="1532978" y="86322"/>
                  </a:lnTo>
                  <a:lnTo>
                    <a:pt x="1533016" y="85967"/>
                  </a:lnTo>
                  <a:lnTo>
                    <a:pt x="1533067" y="85967"/>
                  </a:lnTo>
                  <a:lnTo>
                    <a:pt x="1533118" y="85573"/>
                  </a:lnTo>
                  <a:lnTo>
                    <a:pt x="1533220" y="85573"/>
                  </a:lnTo>
                  <a:lnTo>
                    <a:pt x="1533271" y="85128"/>
                  </a:lnTo>
                  <a:lnTo>
                    <a:pt x="1533321" y="85128"/>
                  </a:lnTo>
                  <a:lnTo>
                    <a:pt x="1533423" y="84735"/>
                  </a:lnTo>
                  <a:lnTo>
                    <a:pt x="1533525" y="84735"/>
                  </a:lnTo>
                  <a:lnTo>
                    <a:pt x="1533563" y="84278"/>
                  </a:lnTo>
                  <a:lnTo>
                    <a:pt x="1533664" y="84278"/>
                  </a:lnTo>
                  <a:lnTo>
                    <a:pt x="1533715" y="83935"/>
                  </a:lnTo>
                  <a:lnTo>
                    <a:pt x="1533867" y="83935"/>
                  </a:lnTo>
                  <a:lnTo>
                    <a:pt x="1533918" y="83490"/>
                  </a:lnTo>
                  <a:lnTo>
                    <a:pt x="1533969" y="83490"/>
                  </a:lnTo>
                  <a:lnTo>
                    <a:pt x="1534109" y="83097"/>
                  </a:lnTo>
                  <a:lnTo>
                    <a:pt x="1534160" y="83097"/>
                  </a:lnTo>
                  <a:lnTo>
                    <a:pt x="1534210" y="82690"/>
                  </a:lnTo>
                  <a:lnTo>
                    <a:pt x="1534261" y="82690"/>
                  </a:lnTo>
                  <a:lnTo>
                    <a:pt x="1534363" y="82246"/>
                  </a:lnTo>
                  <a:lnTo>
                    <a:pt x="1534413" y="82246"/>
                  </a:lnTo>
                  <a:lnTo>
                    <a:pt x="1534464" y="81903"/>
                  </a:lnTo>
                  <a:lnTo>
                    <a:pt x="1534604" y="81903"/>
                  </a:lnTo>
                  <a:lnTo>
                    <a:pt x="1534706" y="81458"/>
                  </a:lnTo>
                  <a:lnTo>
                    <a:pt x="1534807" y="81458"/>
                  </a:lnTo>
                  <a:lnTo>
                    <a:pt x="1534858" y="81064"/>
                  </a:lnTo>
                  <a:lnTo>
                    <a:pt x="1534909" y="81064"/>
                  </a:lnTo>
                  <a:lnTo>
                    <a:pt x="1535010" y="80658"/>
                  </a:lnTo>
                  <a:lnTo>
                    <a:pt x="1535112" y="80658"/>
                  </a:lnTo>
                  <a:lnTo>
                    <a:pt x="1535150" y="80214"/>
                  </a:lnTo>
                  <a:lnTo>
                    <a:pt x="1535303" y="80214"/>
                  </a:lnTo>
                  <a:lnTo>
                    <a:pt x="1535353" y="79871"/>
                  </a:lnTo>
                  <a:lnTo>
                    <a:pt x="1535455" y="79871"/>
                  </a:lnTo>
                  <a:lnTo>
                    <a:pt x="1535506" y="79426"/>
                  </a:lnTo>
                  <a:lnTo>
                    <a:pt x="1535556" y="79426"/>
                  </a:lnTo>
                  <a:lnTo>
                    <a:pt x="1535607" y="79020"/>
                  </a:lnTo>
                  <a:lnTo>
                    <a:pt x="1535747" y="79020"/>
                  </a:lnTo>
                  <a:lnTo>
                    <a:pt x="1535798" y="78575"/>
                  </a:lnTo>
                  <a:lnTo>
                    <a:pt x="1535950" y="78575"/>
                  </a:lnTo>
                  <a:lnTo>
                    <a:pt x="1536001" y="78232"/>
                  </a:lnTo>
                  <a:lnTo>
                    <a:pt x="1536052" y="78232"/>
                  </a:lnTo>
                  <a:lnTo>
                    <a:pt x="1536153" y="77839"/>
                  </a:lnTo>
                  <a:lnTo>
                    <a:pt x="1536242" y="77839"/>
                  </a:lnTo>
                  <a:lnTo>
                    <a:pt x="1536293" y="77382"/>
                  </a:lnTo>
                  <a:lnTo>
                    <a:pt x="1536395" y="77382"/>
                  </a:lnTo>
                  <a:lnTo>
                    <a:pt x="1536496" y="76988"/>
                  </a:lnTo>
                  <a:lnTo>
                    <a:pt x="1536598" y="76988"/>
                  </a:lnTo>
                  <a:lnTo>
                    <a:pt x="1536649" y="76543"/>
                  </a:lnTo>
                  <a:lnTo>
                    <a:pt x="1536738" y="76543"/>
                  </a:lnTo>
                  <a:lnTo>
                    <a:pt x="1536839" y="76200"/>
                  </a:lnTo>
                  <a:lnTo>
                    <a:pt x="1536890" y="76200"/>
                  </a:lnTo>
                  <a:lnTo>
                    <a:pt x="1536941" y="75794"/>
                  </a:lnTo>
                  <a:lnTo>
                    <a:pt x="1537144" y="75794"/>
                  </a:lnTo>
                  <a:lnTo>
                    <a:pt x="1537195" y="75349"/>
                  </a:lnTo>
                  <a:lnTo>
                    <a:pt x="1537284" y="75349"/>
                  </a:lnTo>
                  <a:lnTo>
                    <a:pt x="1537335" y="74956"/>
                  </a:lnTo>
                  <a:lnTo>
                    <a:pt x="1537436" y="74956"/>
                  </a:lnTo>
                  <a:lnTo>
                    <a:pt x="1537538" y="74511"/>
                  </a:lnTo>
                  <a:lnTo>
                    <a:pt x="1537588" y="74511"/>
                  </a:lnTo>
                  <a:lnTo>
                    <a:pt x="1537639" y="74168"/>
                  </a:lnTo>
                  <a:lnTo>
                    <a:pt x="1537830" y="74168"/>
                  </a:lnTo>
                  <a:lnTo>
                    <a:pt x="1537881" y="73762"/>
                  </a:lnTo>
                  <a:lnTo>
                    <a:pt x="1537982" y="73762"/>
                  </a:lnTo>
                  <a:lnTo>
                    <a:pt x="1538033" y="73318"/>
                  </a:lnTo>
                  <a:lnTo>
                    <a:pt x="1538185" y="73318"/>
                  </a:lnTo>
                  <a:lnTo>
                    <a:pt x="1538236" y="72924"/>
                  </a:lnTo>
                  <a:lnTo>
                    <a:pt x="1538427" y="72924"/>
                  </a:lnTo>
                  <a:lnTo>
                    <a:pt x="1538478" y="72479"/>
                  </a:lnTo>
                  <a:lnTo>
                    <a:pt x="1538528" y="72479"/>
                  </a:lnTo>
                  <a:lnTo>
                    <a:pt x="1538630" y="72124"/>
                  </a:lnTo>
                  <a:lnTo>
                    <a:pt x="1538731" y="72124"/>
                  </a:lnTo>
                  <a:lnTo>
                    <a:pt x="1538782" y="71679"/>
                  </a:lnTo>
                  <a:lnTo>
                    <a:pt x="1538871" y="71679"/>
                  </a:lnTo>
                  <a:lnTo>
                    <a:pt x="1538973" y="71285"/>
                  </a:lnTo>
                  <a:lnTo>
                    <a:pt x="1539125" y="71285"/>
                  </a:lnTo>
                  <a:lnTo>
                    <a:pt x="1539176" y="70892"/>
                  </a:lnTo>
                  <a:lnTo>
                    <a:pt x="1539227" y="70892"/>
                  </a:lnTo>
                  <a:lnTo>
                    <a:pt x="1539328" y="70447"/>
                  </a:lnTo>
                  <a:lnTo>
                    <a:pt x="1539417" y="70447"/>
                  </a:lnTo>
                  <a:lnTo>
                    <a:pt x="1539570" y="70092"/>
                  </a:lnTo>
                  <a:lnTo>
                    <a:pt x="1539671" y="70092"/>
                  </a:lnTo>
                  <a:lnTo>
                    <a:pt x="1539773" y="69647"/>
                  </a:lnTo>
                  <a:lnTo>
                    <a:pt x="1539824" y="69647"/>
                  </a:lnTo>
                  <a:lnTo>
                    <a:pt x="1539875" y="69253"/>
                  </a:lnTo>
                  <a:lnTo>
                    <a:pt x="1540014" y="69253"/>
                  </a:lnTo>
                  <a:lnTo>
                    <a:pt x="1540065" y="68860"/>
                  </a:lnTo>
                  <a:lnTo>
                    <a:pt x="1540268" y="68860"/>
                  </a:lnTo>
                  <a:lnTo>
                    <a:pt x="1540319" y="68403"/>
                  </a:lnTo>
                  <a:lnTo>
                    <a:pt x="1540370" y="68403"/>
                  </a:lnTo>
                  <a:lnTo>
                    <a:pt x="1540459" y="68060"/>
                  </a:lnTo>
                  <a:lnTo>
                    <a:pt x="1540560" y="68060"/>
                  </a:lnTo>
                  <a:lnTo>
                    <a:pt x="1540611" y="67615"/>
                  </a:lnTo>
                  <a:lnTo>
                    <a:pt x="1540814" y="67615"/>
                  </a:lnTo>
                  <a:lnTo>
                    <a:pt x="1540916" y="67222"/>
                  </a:lnTo>
                  <a:lnTo>
                    <a:pt x="1540954" y="67222"/>
                  </a:lnTo>
                  <a:lnTo>
                    <a:pt x="1541005" y="66777"/>
                  </a:lnTo>
                  <a:lnTo>
                    <a:pt x="1541157" y="66777"/>
                  </a:lnTo>
                  <a:lnTo>
                    <a:pt x="1541208" y="66371"/>
                  </a:lnTo>
                  <a:lnTo>
                    <a:pt x="1541411" y="66371"/>
                  </a:lnTo>
                  <a:lnTo>
                    <a:pt x="1541462" y="66028"/>
                  </a:lnTo>
                  <a:lnTo>
                    <a:pt x="1541500" y="66028"/>
                  </a:lnTo>
                  <a:lnTo>
                    <a:pt x="1541602" y="65583"/>
                  </a:lnTo>
                  <a:lnTo>
                    <a:pt x="1541703" y="65583"/>
                  </a:lnTo>
                  <a:lnTo>
                    <a:pt x="1541805" y="65189"/>
                  </a:lnTo>
                  <a:lnTo>
                    <a:pt x="1541906" y="65189"/>
                  </a:lnTo>
                  <a:lnTo>
                    <a:pt x="1542046" y="64732"/>
                  </a:lnTo>
                  <a:lnTo>
                    <a:pt x="1542148" y="64732"/>
                  </a:lnTo>
                  <a:lnTo>
                    <a:pt x="1542199" y="64339"/>
                  </a:lnTo>
                  <a:lnTo>
                    <a:pt x="1542351" y="64339"/>
                  </a:lnTo>
                  <a:lnTo>
                    <a:pt x="1542402" y="63996"/>
                  </a:lnTo>
                  <a:lnTo>
                    <a:pt x="1542503" y="63996"/>
                  </a:lnTo>
                  <a:lnTo>
                    <a:pt x="1542592" y="63551"/>
                  </a:lnTo>
                  <a:lnTo>
                    <a:pt x="1542745" y="63551"/>
                  </a:lnTo>
                  <a:lnTo>
                    <a:pt x="1542796" y="63145"/>
                  </a:lnTo>
                  <a:lnTo>
                    <a:pt x="1542948" y="63145"/>
                  </a:lnTo>
                  <a:lnTo>
                    <a:pt x="1542999" y="62700"/>
                  </a:lnTo>
                  <a:lnTo>
                    <a:pt x="1543088" y="62700"/>
                  </a:lnTo>
                  <a:lnTo>
                    <a:pt x="1543240" y="62357"/>
                  </a:lnTo>
                  <a:lnTo>
                    <a:pt x="1543291" y="62357"/>
                  </a:lnTo>
                  <a:lnTo>
                    <a:pt x="1543392" y="61913"/>
                  </a:lnTo>
                  <a:lnTo>
                    <a:pt x="1543494" y="61913"/>
                  </a:lnTo>
                  <a:lnTo>
                    <a:pt x="1543545" y="61507"/>
                  </a:lnTo>
                  <a:lnTo>
                    <a:pt x="1543685" y="61507"/>
                  </a:lnTo>
                  <a:lnTo>
                    <a:pt x="1543786" y="61113"/>
                  </a:lnTo>
                  <a:lnTo>
                    <a:pt x="1543938" y="61113"/>
                  </a:lnTo>
                  <a:lnTo>
                    <a:pt x="1543989" y="60668"/>
                  </a:lnTo>
                  <a:lnTo>
                    <a:pt x="1544091" y="60668"/>
                  </a:lnTo>
                  <a:lnTo>
                    <a:pt x="1544129" y="60325"/>
                  </a:lnTo>
                  <a:lnTo>
                    <a:pt x="1544231" y="60325"/>
                  </a:lnTo>
                  <a:lnTo>
                    <a:pt x="1544332" y="59881"/>
                  </a:lnTo>
                  <a:lnTo>
                    <a:pt x="1544535" y="59881"/>
                  </a:lnTo>
                  <a:lnTo>
                    <a:pt x="1544586" y="59474"/>
                  </a:lnTo>
                  <a:lnTo>
                    <a:pt x="1544675" y="59474"/>
                  </a:lnTo>
                  <a:lnTo>
                    <a:pt x="1544777" y="59081"/>
                  </a:lnTo>
                  <a:lnTo>
                    <a:pt x="1544828" y="59081"/>
                  </a:lnTo>
                  <a:lnTo>
                    <a:pt x="1544878" y="58636"/>
                  </a:lnTo>
                  <a:lnTo>
                    <a:pt x="1545081" y="58636"/>
                  </a:lnTo>
                  <a:lnTo>
                    <a:pt x="1545132" y="58293"/>
                  </a:lnTo>
                  <a:lnTo>
                    <a:pt x="1545272" y="58293"/>
                  </a:lnTo>
                  <a:lnTo>
                    <a:pt x="1545323" y="57836"/>
                  </a:lnTo>
                  <a:lnTo>
                    <a:pt x="1545475" y="57836"/>
                  </a:lnTo>
                  <a:lnTo>
                    <a:pt x="1545526" y="57443"/>
                  </a:lnTo>
                  <a:lnTo>
                    <a:pt x="1545716" y="57443"/>
                  </a:lnTo>
                  <a:lnTo>
                    <a:pt x="1545767" y="57049"/>
                  </a:lnTo>
                  <a:lnTo>
                    <a:pt x="1545920" y="57049"/>
                  </a:lnTo>
                  <a:lnTo>
                    <a:pt x="1545971" y="56604"/>
                  </a:lnTo>
                  <a:lnTo>
                    <a:pt x="1546123" y="56604"/>
                  </a:lnTo>
                  <a:lnTo>
                    <a:pt x="1546174" y="56249"/>
                  </a:lnTo>
                  <a:lnTo>
                    <a:pt x="1546364" y="56249"/>
                  </a:lnTo>
                  <a:lnTo>
                    <a:pt x="1546415" y="55804"/>
                  </a:lnTo>
                  <a:lnTo>
                    <a:pt x="1546618" y="55804"/>
                  </a:lnTo>
                  <a:lnTo>
                    <a:pt x="1546669" y="55410"/>
                  </a:lnTo>
                  <a:lnTo>
                    <a:pt x="1546860" y="55410"/>
                  </a:lnTo>
                  <a:lnTo>
                    <a:pt x="1546910" y="54966"/>
                  </a:lnTo>
                  <a:lnTo>
                    <a:pt x="1547063" y="54966"/>
                  </a:lnTo>
                  <a:lnTo>
                    <a:pt x="1547113" y="54572"/>
                  </a:lnTo>
                  <a:lnTo>
                    <a:pt x="1547266" y="54572"/>
                  </a:lnTo>
                  <a:lnTo>
                    <a:pt x="1547304" y="54217"/>
                  </a:lnTo>
                  <a:lnTo>
                    <a:pt x="1547507" y="54217"/>
                  </a:lnTo>
                  <a:lnTo>
                    <a:pt x="1547558" y="53772"/>
                  </a:lnTo>
                  <a:lnTo>
                    <a:pt x="1547761" y="53772"/>
                  </a:lnTo>
                  <a:lnTo>
                    <a:pt x="1547812" y="53378"/>
                  </a:lnTo>
                  <a:lnTo>
                    <a:pt x="1547952" y="53378"/>
                  </a:lnTo>
                  <a:lnTo>
                    <a:pt x="1548053" y="52934"/>
                  </a:lnTo>
                  <a:lnTo>
                    <a:pt x="1548256" y="52934"/>
                  </a:lnTo>
                  <a:lnTo>
                    <a:pt x="1548307" y="52528"/>
                  </a:lnTo>
                  <a:lnTo>
                    <a:pt x="1548447" y="52528"/>
                  </a:lnTo>
                  <a:lnTo>
                    <a:pt x="1548498" y="52185"/>
                  </a:lnTo>
                  <a:lnTo>
                    <a:pt x="1548752" y="52185"/>
                  </a:lnTo>
                  <a:lnTo>
                    <a:pt x="1548853" y="51740"/>
                  </a:lnTo>
                  <a:lnTo>
                    <a:pt x="1548942" y="51740"/>
                  </a:lnTo>
                  <a:lnTo>
                    <a:pt x="1548993" y="51347"/>
                  </a:lnTo>
                  <a:lnTo>
                    <a:pt x="1549298" y="51347"/>
                  </a:lnTo>
                  <a:lnTo>
                    <a:pt x="1549349" y="50902"/>
                  </a:lnTo>
                  <a:lnTo>
                    <a:pt x="1549438" y="50902"/>
                  </a:lnTo>
                  <a:lnTo>
                    <a:pt x="1549539" y="50496"/>
                  </a:lnTo>
                  <a:lnTo>
                    <a:pt x="1549742" y="50496"/>
                  </a:lnTo>
                  <a:lnTo>
                    <a:pt x="1549793" y="50051"/>
                  </a:lnTo>
                  <a:lnTo>
                    <a:pt x="1550035" y="50051"/>
                  </a:lnTo>
                  <a:lnTo>
                    <a:pt x="1550085" y="49708"/>
                  </a:lnTo>
                  <a:lnTo>
                    <a:pt x="1550288" y="49708"/>
                  </a:lnTo>
                  <a:lnTo>
                    <a:pt x="1550339" y="49314"/>
                  </a:lnTo>
                  <a:lnTo>
                    <a:pt x="1550581" y="49314"/>
                  </a:lnTo>
                  <a:lnTo>
                    <a:pt x="1550682" y="48857"/>
                  </a:lnTo>
                  <a:lnTo>
                    <a:pt x="1550885" y="48857"/>
                  </a:lnTo>
                  <a:lnTo>
                    <a:pt x="1550936" y="48464"/>
                  </a:lnTo>
                  <a:lnTo>
                    <a:pt x="1551178" y="48464"/>
                  </a:lnTo>
                  <a:lnTo>
                    <a:pt x="1551228" y="48070"/>
                  </a:lnTo>
                  <a:lnTo>
                    <a:pt x="1551431" y="48070"/>
                  </a:lnTo>
                  <a:lnTo>
                    <a:pt x="1551482" y="47676"/>
                  </a:lnTo>
                  <a:lnTo>
                    <a:pt x="1551724" y="47676"/>
                  </a:lnTo>
                  <a:lnTo>
                    <a:pt x="1551825" y="47270"/>
                  </a:lnTo>
                  <a:lnTo>
                    <a:pt x="1552028" y="47270"/>
                  </a:lnTo>
                  <a:lnTo>
                    <a:pt x="1552066" y="46825"/>
                  </a:lnTo>
                  <a:lnTo>
                    <a:pt x="1552321" y="46825"/>
                  </a:lnTo>
                  <a:lnTo>
                    <a:pt x="1552371" y="46482"/>
                  </a:lnTo>
                  <a:lnTo>
                    <a:pt x="1552613" y="46482"/>
                  </a:lnTo>
                  <a:lnTo>
                    <a:pt x="1552714" y="46038"/>
                  </a:lnTo>
                  <a:lnTo>
                    <a:pt x="1552968" y="46038"/>
                  </a:lnTo>
                  <a:lnTo>
                    <a:pt x="1553019" y="45632"/>
                  </a:lnTo>
                  <a:lnTo>
                    <a:pt x="1553260" y="45632"/>
                  </a:lnTo>
                  <a:lnTo>
                    <a:pt x="1553311" y="45187"/>
                  </a:lnTo>
                  <a:lnTo>
                    <a:pt x="1553616" y="45187"/>
                  </a:lnTo>
                  <a:lnTo>
                    <a:pt x="1553654" y="44793"/>
                  </a:lnTo>
                  <a:lnTo>
                    <a:pt x="1553857" y="44793"/>
                  </a:lnTo>
                  <a:lnTo>
                    <a:pt x="1553908" y="44450"/>
                  </a:lnTo>
                  <a:lnTo>
                    <a:pt x="1554200" y="44450"/>
                  </a:lnTo>
                  <a:lnTo>
                    <a:pt x="1554302" y="44006"/>
                  </a:lnTo>
                  <a:lnTo>
                    <a:pt x="1554505" y="44006"/>
                  </a:lnTo>
                  <a:lnTo>
                    <a:pt x="1554556" y="43599"/>
                  </a:lnTo>
                  <a:lnTo>
                    <a:pt x="1554848" y="43599"/>
                  </a:lnTo>
                  <a:lnTo>
                    <a:pt x="1554899" y="43155"/>
                  </a:lnTo>
                  <a:lnTo>
                    <a:pt x="1555203" y="43155"/>
                  </a:lnTo>
                  <a:lnTo>
                    <a:pt x="1555241" y="42761"/>
                  </a:lnTo>
                  <a:lnTo>
                    <a:pt x="1555648" y="42761"/>
                  </a:lnTo>
                  <a:lnTo>
                    <a:pt x="1555699" y="42418"/>
                  </a:lnTo>
                  <a:lnTo>
                    <a:pt x="1556334" y="42418"/>
                  </a:lnTo>
                  <a:lnTo>
                    <a:pt x="1556385" y="41961"/>
                  </a:lnTo>
                  <a:lnTo>
                    <a:pt x="1557972" y="41961"/>
                  </a:lnTo>
                  <a:lnTo>
                    <a:pt x="1558023" y="41568"/>
                  </a:lnTo>
                  <a:lnTo>
                    <a:pt x="1560956" y="41568"/>
                  </a:lnTo>
                  <a:lnTo>
                    <a:pt x="1561007" y="41123"/>
                  </a:lnTo>
                  <a:lnTo>
                    <a:pt x="1567306" y="41123"/>
                  </a:lnTo>
                  <a:lnTo>
                    <a:pt x="1567357" y="40729"/>
                  </a:lnTo>
                  <a:lnTo>
                    <a:pt x="1622171" y="40729"/>
                  </a:lnTo>
                  <a:lnTo>
                    <a:pt x="1622221" y="41123"/>
                  </a:lnTo>
                  <a:lnTo>
                    <a:pt x="1642211" y="41123"/>
                  </a:lnTo>
                  <a:lnTo>
                    <a:pt x="1642313" y="41568"/>
                  </a:lnTo>
                  <a:lnTo>
                    <a:pt x="1650949" y="41568"/>
                  </a:lnTo>
                  <a:lnTo>
                    <a:pt x="1651000" y="41961"/>
                  </a:lnTo>
                  <a:lnTo>
                    <a:pt x="1718513" y="41961"/>
                  </a:lnTo>
                  <a:lnTo>
                    <a:pt x="1718563" y="42418"/>
                  </a:lnTo>
                  <a:lnTo>
                    <a:pt x="1766188" y="42418"/>
                  </a:lnTo>
                  <a:lnTo>
                    <a:pt x="1766239" y="42761"/>
                  </a:lnTo>
                  <a:lnTo>
                    <a:pt x="1820900" y="42761"/>
                  </a:lnTo>
                  <a:lnTo>
                    <a:pt x="1821002" y="43155"/>
                  </a:lnTo>
                  <a:lnTo>
                    <a:pt x="1875281" y="43155"/>
                  </a:lnTo>
                  <a:lnTo>
                    <a:pt x="1875332" y="43599"/>
                  </a:lnTo>
                  <a:lnTo>
                    <a:pt x="1875967" y="43599"/>
                  </a:lnTo>
                  <a:lnTo>
                    <a:pt x="1876018" y="43155"/>
                  </a:lnTo>
                  <a:lnTo>
                    <a:pt x="1876374" y="43155"/>
                  </a:lnTo>
                  <a:lnTo>
                    <a:pt x="1876425" y="43599"/>
                  </a:lnTo>
                  <a:lnTo>
                    <a:pt x="1903158" y="43599"/>
                  </a:lnTo>
                  <a:lnTo>
                    <a:pt x="1903209" y="44006"/>
                  </a:lnTo>
                  <a:lnTo>
                    <a:pt x="1951875" y="44006"/>
                  </a:lnTo>
                  <a:lnTo>
                    <a:pt x="1951926" y="44450"/>
                  </a:lnTo>
                  <a:lnTo>
                    <a:pt x="2016963" y="44450"/>
                  </a:lnTo>
                  <a:lnTo>
                    <a:pt x="2017064" y="44793"/>
                  </a:lnTo>
                  <a:lnTo>
                    <a:pt x="2054860" y="44793"/>
                  </a:lnTo>
                  <a:lnTo>
                    <a:pt x="2054910" y="45187"/>
                  </a:lnTo>
                  <a:lnTo>
                    <a:pt x="2076450" y="45187"/>
                  </a:lnTo>
                  <a:lnTo>
                    <a:pt x="2076488" y="45632"/>
                  </a:lnTo>
                  <a:lnTo>
                    <a:pt x="2149919" y="45632"/>
                  </a:lnTo>
                  <a:lnTo>
                    <a:pt x="2149970" y="46038"/>
                  </a:lnTo>
                  <a:lnTo>
                    <a:pt x="2174824" y="46038"/>
                  </a:lnTo>
                  <a:lnTo>
                    <a:pt x="2174875" y="46482"/>
                  </a:lnTo>
                  <a:lnTo>
                    <a:pt x="2199970" y="46482"/>
                  </a:lnTo>
                  <a:lnTo>
                    <a:pt x="2200021" y="46825"/>
                  </a:lnTo>
                  <a:lnTo>
                    <a:pt x="2262682" y="46825"/>
                  </a:lnTo>
                  <a:lnTo>
                    <a:pt x="2262771" y="47270"/>
                  </a:lnTo>
                  <a:lnTo>
                    <a:pt x="2300084" y="47270"/>
                  </a:lnTo>
                  <a:lnTo>
                    <a:pt x="2300236" y="47676"/>
                  </a:lnTo>
                  <a:lnTo>
                    <a:pt x="2396616" y="47676"/>
                  </a:lnTo>
                  <a:lnTo>
                    <a:pt x="2396667" y="47270"/>
                  </a:lnTo>
                  <a:lnTo>
                    <a:pt x="2401239" y="47270"/>
                  </a:lnTo>
                  <a:lnTo>
                    <a:pt x="2401341" y="46825"/>
                  </a:lnTo>
                  <a:lnTo>
                    <a:pt x="2405646" y="46825"/>
                  </a:lnTo>
                  <a:lnTo>
                    <a:pt x="2405697" y="46482"/>
                  </a:lnTo>
                  <a:lnTo>
                    <a:pt x="2409367" y="46482"/>
                  </a:lnTo>
                  <a:lnTo>
                    <a:pt x="2409418" y="46038"/>
                  </a:lnTo>
                  <a:lnTo>
                    <a:pt x="2413190" y="46038"/>
                  </a:lnTo>
                  <a:lnTo>
                    <a:pt x="2413241" y="45632"/>
                  </a:lnTo>
                  <a:lnTo>
                    <a:pt x="2416670" y="45632"/>
                  </a:lnTo>
                  <a:lnTo>
                    <a:pt x="2416759" y="45187"/>
                  </a:lnTo>
                  <a:lnTo>
                    <a:pt x="2420480" y="45187"/>
                  </a:lnTo>
                  <a:lnTo>
                    <a:pt x="2420531" y="44793"/>
                  </a:lnTo>
                  <a:lnTo>
                    <a:pt x="2424506" y="44793"/>
                  </a:lnTo>
                  <a:lnTo>
                    <a:pt x="2424556" y="44450"/>
                  </a:lnTo>
                  <a:lnTo>
                    <a:pt x="2428227" y="44450"/>
                  </a:lnTo>
                  <a:lnTo>
                    <a:pt x="2428328" y="44006"/>
                  </a:lnTo>
                  <a:lnTo>
                    <a:pt x="2432050" y="44006"/>
                  </a:lnTo>
                  <a:lnTo>
                    <a:pt x="2432088" y="43599"/>
                  </a:lnTo>
                  <a:lnTo>
                    <a:pt x="2436507" y="43599"/>
                  </a:lnTo>
                  <a:lnTo>
                    <a:pt x="2436558" y="43155"/>
                  </a:lnTo>
                  <a:lnTo>
                    <a:pt x="2440622" y="43155"/>
                  </a:lnTo>
                  <a:lnTo>
                    <a:pt x="2440673" y="42761"/>
                  </a:lnTo>
                  <a:lnTo>
                    <a:pt x="2445194" y="42761"/>
                  </a:lnTo>
                  <a:lnTo>
                    <a:pt x="2445245" y="42418"/>
                  </a:lnTo>
                  <a:lnTo>
                    <a:pt x="2450553" y="42418"/>
                  </a:lnTo>
                  <a:lnTo>
                    <a:pt x="2450591" y="41961"/>
                  </a:lnTo>
                  <a:lnTo>
                    <a:pt x="2455862" y="41961"/>
                  </a:lnTo>
                  <a:lnTo>
                    <a:pt x="2455900" y="41568"/>
                  </a:lnTo>
                  <a:lnTo>
                    <a:pt x="2461310" y="41568"/>
                  </a:lnTo>
                  <a:lnTo>
                    <a:pt x="2461361" y="41123"/>
                  </a:lnTo>
                  <a:lnTo>
                    <a:pt x="2466873" y="41123"/>
                  </a:lnTo>
                  <a:lnTo>
                    <a:pt x="2466924" y="40729"/>
                  </a:lnTo>
                  <a:lnTo>
                    <a:pt x="2472778" y="40729"/>
                  </a:lnTo>
                  <a:lnTo>
                    <a:pt x="2472816" y="40374"/>
                  </a:lnTo>
                  <a:lnTo>
                    <a:pt x="2480119" y="40374"/>
                  </a:lnTo>
                  <a:lnTo>
                    <a:pt x="2480170" y="39929"/>
                  </a:lnTo>
                  <a:lnTo>
                    <a:pt x="2487955" y="39929"/>
                  </a:lnTo>
                  <a:lnTo>
                    <a:pt x="2488006" y="39535"/>
                  </a:lnTo>
                  <a:lnTo>
                    <a:pt x="2495041" y="39535"/>
                  </a:lnTo>
                  <a:lnTo>
                    <a:pt x="2495092" y="39091"/>
                  </a:lnTo>
                  <a:lnTo>
                    <a:pt x="2504173" y="39091"/>
                  </a:lnTo>
                  <a:lnTo>
                    <a:pt x="2504325" y="38697"/>
                  </a:lnTo>
                  <a:lnTo>
                    <a:pt x="2512910" y="38697"/>
                  </a:lnTo>
                  <a:lnTo>
                    <a:pt x="2512961" y="38240"/>
                  </a:lnTo>
                  <a:lnTo>
                    <a:pt x="2523871" y="38240"/>
                  </a:lnTo>
                  <a:lnTo>
                    <a:pt x="2523921" y="37897"/>
                  </a:lnTo>
                  <a:lnTo>
                    <a:pt x="2534285" y="37897"/>
                  </a:lnTo>
                  <a:lnTo>
                    <a:pt x="2534335" y="37503"/>
                  </a:lnTo>
                  <a:lnTo>
                    <a:pt x="2543619" y="37503"/>
                  </a:lnTo>
                  <a:lnTo>
                    <a:pt x="2543670" y="37059"/>
                  </a:lnTo>
                  <a:lnTo>
                    <a:pt x="2552153" y="37059"/>
                  </a:lnTo>
                  <a:lnTo>
                    <a:pt x="2552191" y="36653"/>
                  </a:lnTo>
                  <a:lnTo>
                    <a:pt x="2560675" y="36653"/>
                  </a:lnTo>
                  <a:lnTo>
                    <a:pt x="2560828" y="36208"/>
                  </a:lnTo>
                  <a:lnTo>
                    <a:pt x="2570162" y="36208"/>
                  </a:lnTo>
                  <a:lnTo>
                    <a:pt x="2570200" y="35865"/>
                  </a:lnTo>
                  <a:lnTo>
                    <a:pt x="2578239" y="35865"/>
                  </a:lnTo>
                  <a:lnTo>
                    <a:pt x="2578290" y="35472"/>
                  </a:lnTo>
                  <a:lnTo>
                    <a:pt x="2587663" y="35472"/>
                  </a:lnTo>
                  <a:lnTo>
                    <a:pt x="2587764" y="35027"/>
                  </a:lnTo>
                  <a:lnTo>
                    <a:pt x="2596946" y="35027"/>
                  </a:lnTo>
                  <a:lnTo>
                    <a:pt x="2597048" y="34621"/>
                  </a:lnTo>
                  <a:lnTo>
                    <a:pt x="2607068" y="34621"/>
                  </a:lnTo>
                  <a:lnTo>
                    <a:pt x="2607119" y="34176"/>
                  </a:lnTo>
                  <a:lnTo>
                    <a:pt x="2616936" y="34176"/>
                  </a:lnTo>
                  <a:lnTo>
                    <a:pt x="2617038" y="33833"/>
                  </a:lnTo>
                  <a:lnTo>
                    <a:pt x="2627312" y="33833"/>
                  </a:lnTo>
                  <a:lnTo>
                    <a:pt x="2627350" y="33389"/>
                  </a:lnTo>
                  <a:lnTo>
                    <a:pt x="2638374" y="33389"/>
                  </a:lnTo>
                  <a:lnTo>
                    <a:pt x="2638425" y="32982"/>
                  </a:lnTo>
                  <a:lnTo>
                    <a:pt x="2648991" y="32982"/>
                  </a:lnTo>
                  <a:lnTo>
                    <a:pt x="2649029" y="32589"/>
                  </a:lnTo>
                  <a:lnTo>
                    <a:pt x="2659506" y="32589"/>
                  </a:lnTo>
                  <a:lnTo>
                    <a:pt x="2659557" y="32195"/>
                  </a:lnTo>
                  <a:lnTo>
                    <a:pt x="2668828" y="32195"/>
                  </a:lnTo>
                  <a:lnTo>
                    <a:pt x="2668981" y="31801"/>
                  </a:lnTo>
                  <a:lnTo>
                    <a:pt x="2679153" y="31801"/>
                  </a:lnTo>
                  <a:lnTo>
                    <a:pt x="2679191" y="31344"/>
                  </a:lnTo>
                  <a:lnTo>
                    <a:pt x="2687980" y="31344"/>
                  </a:lnTo>
                  <a:lnTo>
                    <a:pt x="2688031" y="30950"/>
                  </a:lnTo>
                  <a:lnTo>
                    <a:pt x="2697899" y="30950"/>
                  </a:lnTo>
                  <a:lnTo>
                    <a:pt x="2698000" y="30607"/>
                  </a:lnTo>
                  <a:lnTo>
                    <a:pt x="2708071" y="30607"/>
                  </a:lnTo>
                  <a:lnTo>
                    <a:pt x="2708173" y="30163"/>
                  </a:lnTo>
                  <a:lnTo>
                    <a:pt x="2717939" y="30163"/>
                  </a:lnTo>
                  <a:lnTo>
                    <a:pt x="2717990" y="29757"/>
                  </a:lnTo>
                  <a:lnTo>
                    <a:pt x="2727718" y="29757"/>
                  </a:lnTo>
                  <a:lnTo>
                    <a:pt x="2727769" y="29312"/>
                  </a:lnTo>
                  <a:lnTo>
                    <a:pt x="2738628" y="29312"/>
                  </a:lnTo>
                  <a:lnTo>
                    <a:pt x="2738678" y="28918"/>
                  </a:lnTo>
                  <a:lnTo>
                    <a:pt x="2750629" y="28918"/>
                  </a:lnTo>
                  <a:lnTo>
                    <a:pt x="2750680" y="28474"/>
                  </a:lnTo>
                  <a:lnTo>
                    <a:pt x="2760802" y="28474"/>
                  </a:lnTo>
                  <a:lnTo>
                    <a:pt x="2760853" y="28131"/>
                  </a:lnTo>
                  <a:lnTo>
                    <a:pt x="2772117" y="28131"/>
                  </a:lnTo>
                  <a:lnTo>
                    <a:pt x="2772168" y="27724"/>
                  </a:lnTo>
                  <a:lnTo>
                    <a:pt x="2782341" y="27724"/>
                  </a:lnTo>
                  <a:lnTo>
                    <a:pt x="2782379" y="27280"/>
                  </a:lnTo>
                  <a:lnTo>
                    <a:pt x="2793250" y="27280"/>
                  </a:lnTo>
                  <a:lnTo>
                    <a:pt x="2793301" y="26886"/>
                  </a:lnTo>
                  <a:lnTo>
                    <a:pt x="2803715" y="26886"/>
                  </a:lnTo>
                  <a:lnTo>
                    <a:pt x="2803867" y="26442"/>
                  </a:lnTo>
                  <a:lnTo>
                    <a:pt x="2815132" y="26442"/>
                  </a:lnTo>
                  <a:lnTo>
                    <a:pt x="2815221" y="26086"/>
                  </a:lnTo>
                  <a:lnTo>
                    <a:pt x="2826638" y="26086"/>
                  </a:lnTo>
                  <a:lnTo>
                    <a:pt x="2826689" y="25693"/>
                  </a:lnTo>
                  <a:lnTo>
                    <a:pt x="2836316" y="25693"/>
                  </a:lnTo>
                  <a:lnTo>
                    <a:pt x="2836354" y="25248"/>
                  </a:lnTo>
                  <a:lnTo>
                    <a:pt x="2847276" y="25248"/>
                  </a:lnTo>
                  <a:lnTo>
                    <a:pt x="2847327" y="24854"/>
                  </a:lnTo>
                  <a:lnTo>
                    <a:pt x="2857842" y="24854"/>
                  </a:lnTo>
                  <a:lnTo>
                    <a:pt x="2857944" y="24410"/>
                  </a:lnTo>
                  <a:lnTo>
                    <a:pt x="2868104" y="24410"/>
                  </a:lnTo>
                  <a:lnTo>
                    <a:pt x="2868206" y="24054"/>
                  </a:lnTo>
                  <a:lnTo>
                    <a:pt x="2878378" y="24054"/>
                  </a:lnTo>
                  <a:lnTo>
                    <a:pt x="2878480" y="23660"/>
                  </a:lnTo>
                  <a:lnTo>
                    <a:pt x="2889643" y="23660"/>
                  </a:lnTo>
                  <a:lnTo>
                    <a:pt x="2889694" y="23216"/>
                  </a:lnTo>
                  <a:lnTo>
                    <a:pt x="2900756" y="23216"/>
                  </a:lnTo>
                  <a:lnTo>
                    <a:pt x="2900806" y="22822"/>
                  </a:lnTo>
                  <a:lnTo>
                    <a:pt x="2912656" y="22822"/>
                  </a:lnTo>
                  <a:lnTo>
                    <a:pt x="2912757" y="22365"/>
                  </a:lnTo>
                  <a:lnTo>
                    <a:pt x="2923527" y="22365"/>
                  </a:lnTo>
                  <a:lnTo>
                    <a:pt x="2923628" y="22022"/>
                  </a:lnTo>
                  <a:lnTo>
                    <a:pt x="2934639" y="22022"/>
                  </a:lnTo>
                  <a:lnTo>
                    <a:pt x="2934741" y="21578"/>
                  </a:lnTo>
                  <a:lnTo>
                    <a:pt x="2945003" y="21578"/>
                  </a:lnTo>
                  <a:lnTo>
                    <a:pt x="2945053" y="21184"/>
                  </a:lnTo>
                  <a:lnTo>
                    <a:pt x="2955378" y="21184"/>
                  </a:lnTo>
                  <a:lnTo>
                    <a:pt x="2955417" y="20778"/>
                  </a:lnTo>
                  <a:lnTo>
                    <a:pt x="2965145" y="20778"/>
                  </a:lnTo>
                  <a:lnTo>
                    <a:pt x="2965196" y="20333"/>
                  </a:lnTo>
                  <a:lnTo>
                    <a:pt x="2977299" y="20333"/>
                  </a:lnTo>
                  <a:lnTo>
                    <a:pt x="2977400" y="19990"/>
                  </a:lnTo>
                  <a:lnTo>
                    <a:pt x="2985579" y="19990"/>
                  </a:lnTo>
                  <a:lnTo>
                    <a:pt x="2985630" y="19546"/>
                  </a:lnTo>
                  <a:lnTo>
                    <a:pt x="2997390" y="19546"/>
                  </a:lnTo>
                  <a:lnTo>
                    <a:pt x="2997441" y="19152"/>
                  </a:lnTo>
                  <a:lnTo>
                    <a:pt x="3006864" y="19152"/>
                  </a:lnTo>
                  <a:lnTo>
                    <a:pt x="3006915" y="18746"/>
                  </a:lnTo>
                  <a:lnTo>
                    <a:pt x="3018917" y="18746"/>
                  </a:lnTo>
                  <a:lnTo>
                    <a:pt x="3018967" y="18301"/>
                  </a:lnTo>
                  <a:lnTo>
                    <a:pt x="3030131" y="18301"/>
                  </a:lnTo>
                  <a:lnTo>
                    <a:pt x="3030232" y="17958"/>
                  </a:lnTo>
                  <a:lnTo>
                    <a:pt x="3041688" y="17958"/>
                  </a:lnTo>
                  <a:lnTo>
                    <a:pt x="3041789" y="17514"/>
                  </a:lnTo>
                  <a:lnTo>
                    <a:pt x="3052216" y="17514"/>
                  </a:lnTo>
                  <a:lnTo>
                    <a:pt x="3052305" y="17107"/>
                  </a:lnTo>
                  <a:lnTo>
                    <a:pt x="3064268" y="17107"/>
                  </a:lnTo>
                  <a:lnTo>
                    <a:pt x="3064319" y="16663"/>
                  </a:lnTo>
                  <a:lnTo>
                    <a:pt x="3074288" y="16663"/>
                  </a:lnTo>
                  <a:lnTo>
                    <a:pt x="3074339" y="16320"/>
                  </a:lnTo>
                  <a:lnTo>
                    <a:pt x="3085592" y="16320"/>
                  </a:lnTo>
                  <a:lnTo>
                    <a:pt x="3085642" y="15926"/>
                  </a:lnTo>
                  <a:lnTo>
                    <a:pt x="3096209" y="15926"/>
                  </a:lnTo>
                  <a:lnTo>
                    <a:pt x="3096260" y="15469"/>
                  </a:lnTo>
                  <a:lnTo>
                    <a:pt x="3108324" y="15469"/>
                  </a:lnTo>
                  <a:lnTo>
                    <a:pt x="3108363" y="15075"/>
                  </a:lnTo>
                  <a:lnTo>
                    <a:pt x="3118789" y="15075"/>
                  </a:lnTo>
                  <a:lnTo>
                    <a:pt x="3118891" y="14631"/>
                  </a:lnTo>
                  <a:lnTo>
                    <a:pt x="3129305" y="14631"/>
                  </a:lnTo>
                  <a:lnTo>
                    <a:pt x="3129356" y="14288"/>
                  </a:lnTo>
                  <a:lnTo>
                    <a:pt x="3140468" y="14288"/>
                  </a:lnTo>
                  <a:lnTo>
                    <a:pt x="3140519" y="13882"/>
                  </a:lnTo>
                  <a:lnTo>
                    <a:pt x="3151822" y="13882"/>
                  </a:lnTo>
                  <a:lnTo>
                    <a:pt x="3151873" y="13437"/>
                  </a:lnTo>
                  <a:lnTo>
                    <a:pt x="3163341" y="13437"/>
                  </a:lnTo>
                  <a:lnTo>
                    <a:pt x="3163379" y="13043"/>
                  </a:lnTo>
                  <a:lnTo>
                    <a:pt x="3175342" y="13043"/>
                  </a:lnTo>
                  <a:lnTo>
                    <a:pt x="3175393" y="12599"/>
                  </a:lnTo>
                  <a:lnTo>
                    <a:pt x="3186010" y="12599"/>
                  </a:lnTo>
                  <a:lnTo>
                    <a:pt x="3186061" y="12256"/>
                  </a:lnTo>
                  <a:lnTo>
                    <a:pt x="3198761" y="12256"/>
                  </a:lnTo>
                  <a:lnTo>
                    <a:pt x="3198812" y="11799"/>
                  </a:lnTo>
                  <a:lnTo>
                    <a:pt x="3209671" y="11799"/>
                  </a:lnTo>
                  <a:lnTo>
                    <a:pt x="3209721" y="11405"/>
                  </a:lnTo>
                  <a:lnTo>
                    <a:pt x="3220986" y="11405"/>
                  </a:lnTo>
                  <a:lnTo>
                    <a:pt x="3221037" y="11011"/>
                  </a:lnTo>
                  <a:lnTo>
                    <a:pt x="3232289" y="11011"/>
                  </a:lnTo>
                  <a:lnTo>
                    <a:pt x="3232340" y="10567"/>
                  </a:lnTo>
                  <a:lnTo>
                    <a:pt x="3242119" y="10567"/>
                  </a:lnTo>
                  <a:lnTo>
                    <a:pt x="3242170" y="10211"/>
                  </a:lnTo>
                  <a:lnTo>
                    <a:pt x="3253727" y="10211"/>
                  </a:lnTo>
                  <a:lnTo>
                    <a:pt x="3253828" y="9767"/>
                  </a:lnTo>
                  <a:lnTo>
                    <a:pt x="3263595" y="9767"/>
                  </a:lnTo>
                  <a:lnTo>
                    <a:pt x="3263646" y="9373"/>
                  </a:lnTo>
                  <a:lnTo>
                    <a:pt x="3276142" y="9373"/>
                  </a:lnTo>
                  <a:lnTo>
                    <a:pt x="3276193" y="8979"/>
                  </a:lnTo>
                  <a:lnTo>
                    <a:pt x="3288347" y="8979"/>
                  </a:lnTo>
                  <a:lnTo>
                    <a:pt x="3288398" y="8535"/>
                  </a:lnTo>
                  <a:lnTo>
                    <a:pt x="3300552" y="8535"/>
                  </a:lnTo>
                  <a:lnTo>
                    <a:pt x="3300603" y="8179"/>
                  </a:lnTo>
                  <a:lnTo>
                    <a:pt x="3312160" y="8179"/>
                  </a:lnTo>
                  <a:lnTo>
                    <a:pt x="3312210" y="7735"/>
                  </a:lnTo>
                  <a:lnTo>
                    <a:pt x="3324224" y="7735"/>
                  </a:lnTo>
                  <a:lnTo>
                    <a:pt x="3324263" y="7341"/>
                  </a:lnTo>
                  <a:lnTo>
                    <a:pt x="3337064" y="7341"/>
                  </a:lnTo>
                  <a:lnTo>
                    <a:pt x="3337115" y="6947"/>
                  </a:lnTo>
                  <a:lnTo>
                    <a:pt x="3347935" y="6947"/>
                  </a:lnTo>
                  <a:lnTo>
                    <a:pt x="3347986" y="6490"/>
                  </a:lnTo>
                  <a:lnTo>
                    <a:pt x="3359835" y="6490"/>
                  </a:lnTo>
                  <a:lnTo>
                    <a:pt x="3359886" y="6147"/>
                  </a:lnTo>
                  <a:lnTo>
                    <a:pt x="3371443" y="6147"/>
                  </a:lnTo>
                  <a:lnTo>
                    <a:pt x="3371545" y="5703"/>
                  </a:lnTo>
                  <a:lnTo>
                    <a:pt x="3382416" y="5703"/>
                  </a:lnTo>
                  <a:lnTo>
                    <a:pt x="3382454" y="5309"/>
                  </a:lnTo>
                  <a:lnTo>
                    <a:pt x="3394214" y="5309"/>
                  </a:lnTo>
                  <a:lnTo>
                    <a:pt x="3394265" y="4864"/>
                  </a:lnTo>
                  <a:lnTo>
                    <a:pt x="3404539" y="4864"/>
                  </a:lnTo>
                  <a:lnTo>
                    <a:pt x="3404679" y="4458"/>
                  </a:lnTo>
                  <a:lnTo>
                    <a:pt x="3417684" y="4458"/>
                  </a:lnTo>
                  <a:lnTo>
                    <a:pt x="3417785" y="4115"/>
                  </a:lnTo>
                  <a:lnTo>
                    <a:pt x="3429038" y="4115"/>
                  </a:lnTo>
                  <a:lnTo>
                    <a:pt x="3429139" y="3671"/>
                  </a:lnTo>
                  <a:lnTo>
                    <a:pt x="3440798" y="3671"/>
                  </a:lnTo>
                  <a:lnTo>
                    <a:pt x="3440849" y="3277"/>
                  </a:lnTo>
                  <a:lnTo>
                    <a:pt x="3452406" y="3277"/>
                  </a:lnTo>
                  <a:lnTo>
                    <a:pt x="3452507" y="2820"/>
                  </a:lnTo>
                  <a:lnTo>
                    <a:pt x="3463518" y="2820"/>
                  </a:lnTo>
                  <a:lnTo>
                    <a:pt x="3463671" y="2426"/>
                  </a:lnTo>
                  <a:lnTo>
                    <a:pt x="3476320" y="2426"/>
                  </a:lnTo>
                  <a:lnTo>
                    <a:pt x="3476421" y="2083"/>
                  </a:lnTo>
                  <a:lnTo>
                    <a:pt x="3486785" y="2083"/>
                  </a:lnTo>
                  <a:lnTo>
                    <a:pt x="3486835" y="1639"/>
                  </a:lnTo>
                  <a:lnTo>
                    <a:pt x="3498545" y="1639"/>
                  </a:lnTo>
                  <a:lnTo>
                    <a:pt x="3498596" y="1232"/>
                  </a:lnTo>
                  <a:lnTo>
                    <a:pt x="3508959" y="1232"/>
                  </a:lnTo>
                  <a:lnTo>
                    <a:pt x="3509010" y="788"/>
                  </a:lnTo>
                  <a:lnTo>
                    <a:pt x="3523500" y="788"/>
                  </a:lnTo>
                  <a:lnTo>
                    <a:pt x="3523551" y="445"/>
                  </a:lnTo>
                  <a:lnTo>
                    <a:pt x="3534168" y="445"/>
                  </a:lnTo>
                  <a:lnTo>
                    <a:pt x="3534219" y="0"/>
                  </a:lnTo>
                  <a:lnTo>
                    <a:pt x="3545573" y="0"/>
                  </a:lnTo>
                </a:path>
              </a:pathLst>
            </a:custGeom>
            <a:noFill/>
            <a:ln w="6350" cap="flat" cmpd="sng">
              <a:solidFill>
                <a:srgbClr val="009E73">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73" name="Freeform 164"/>
            <p:cNvSpPr/>
            <p:nvPr/>
          </p:nvSpPr>
          <p:spPr>
            <a:xfrm flipV="1">
              <a:off x="454279" y="384620"/>
              <a:ext cx="3545585" cy="1955152"/>
            </a:xfrm>
            <a:custGeom>
              <a:avLst/>
              <a:gdLst/>
              <a:ahLst/>
              <a:cxnLst/>
              <a:rect l="0" t="0" r="0" b="0"/>
              <a:pathLst>
                <a:path w="3545585" h="1955152">
                  <a:moveTo>
                    <a:pt x="0" y="1955152"/>
                  </a:moveTo>
                  <a:lnTo>
                    <a:pt x="3545585" y="1955152"/>
                  </a:lnTo>
                  <a:lnTo>
                    <a:pt x="3545585" y="0"/>
                  </a:lnTo>
                  <a:lnTo>
                    <a:pt x="0" y="0"/>
                  </a:lnTo>
                  <a:lnTo>
                    <a:pt x="0" y="1955152"/>
                  </a:lnTo>
                  <a:close/>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74" name="Rectangle 165"/>
            <p:cNvSpPr/>
            <p:nvPr/>
          </p:nvSpPr>
          <p:spPr>
            <a:xfrm>
              <a:off x="190500" y="2276016"/>
              <a:ext cx="216544" cy="113384"/>
            </a:xfrm>
            <a:prstGeom prst="rect">
              <a:avLst/>
            </a:prstGeom>
          </p:spPr>
          <p:txBody>
            <a:bodyPr wrap="none" lIns="0" tIns="0" rIns="0" bIns="0">
              <a:spAutoFit/>
            </a:bodyPr>
            <a:lstStyle/>
            <a:p>
              <a:pPr marL="0"/>
              <a:r>
                <a:rPr lang="en-US" sz="666" b="0" i="0" spc="0" baseline="0" dirty="0">
                  <a:solidFill>
                    <a:srgbClr val="000000"/>
                  </a:solidFill>
                  <a:latin typeface="Arial"/>
                </a:rPr>
                <a:t>-1500</a:t>
              </a:r>
            </a:p>
          </p:txBody>
        </p:sp>
        <p:sp>
          <p:nvSpPr>
            <p:cNvPr id="75" name="Rectangle 166"/>
            <p:cNvSpPr/>
            <p:nvPr/>
          </p:nvSpPr>
          <p:spPr>
            <a:xfrm>
              <a:off x="190500" y="2113075"/>
              <a:ext cx="216544" cy="113384"/>
            </a:xfrm>
            <a:prstGeom prst="rect">
              <a:avLst/>
            </a:prstGeom>
          </p:spPr>
          <p:txBody>
            <a:bodyPr wrap="none" lIns="0" tIns="0" rIns="0" bIns="0">
              <a:spAutoFit/>
            </a:bodyPr>
            <a:lstStyle/>
            <a:p>
              <a:pPr marL="0"/>
              <a:r>
                <a:rPr lang="en-US" sz="666" b="0" i="0" spc="0" baseline="0" dirty="0">
                  <a:solidFill>
                    <a:srgbClr val="000000"/>
                  </a:solidFill>
                  <a:latin typeface="Arial"/>
                </a:rPr>
                <a:t>-1250</a:t>
              </a:r>
            </a:p>
          </p:txBody>
        </p:sp>
        <p:sp>
          <p:nvSpPr>
            <p:cNvPr id="76" name="Rectangle 167"/>
            <p:cNvSpPr/>
            <p:nvPr/>
          </p:nvSpPr>
          <p:spPr>
            <a:xfrm>
              <a:off x="190500" y="1950134"/>
              <a:ext cx="216544" cy="113384"/>
            </a:xfrm>
            <a:prstGeom prst="rect">
              <a:avLst/>
            </a:prstGeom>
          </p:spPr>
          <p:txBody>
            <a:bodyPr wrap="none" lIns="0" tIns="0" rIns="0" bIns="0">
              <a:spAutoFit/>
            </a:bodyPr>
            <a:lstStyle/>
            <a:p>
              <a:pPr marL="0"/>
              <a:r>
                <a:rPr lang="en-US" sz="666" b="0" i="0" spc="0" baseline="0" dirty="0">
                  <a:solidFill>
                    <a:srgbClr val="000000"/>
                  </a:solidFill>
                  <a:latin typeface="Arial"/>
                </a:rPr>
                <a:t>-1000</a:t>
              </a:r>
            </a:p>
          </p:txBody>
        </p:sp>
        <p:sp>
          <p:nvSpPr>
            <p:cNvPr id="77" name="Rectangle 168"/>
            <p:cNvSpPr/>
            <p:nvPr/>
          </p:nvSpPr>
          <p:spPr>
            <a:xfrm>
              <a:off x="237616" y="1787193"/>
              <a:ext cx="169457" cy="113384"/>
            </a:xfrm>
            <a:prstGeom prst="rect">
              <a:avLst/>
            </a:prstGeom>
          </p:spPr>
          <p:txBody>
            <a:bodyPr wrap="none" lIns="0" tIns="0" rIns="0" bIns="0">
              <a:spAutoFit/>
            </a:bodyPr>
            <a:lstStyle/>
            <a:p>
              <a:pPr marL="0"/>
              <a:r>
                <a:rPr lang="en-US" sz="666" b="0" i="0" spc="0" baseline="0" dirty="0">
                  <a:solidFill>
                    <a:srgbClr val="000000"/>
                  </a:solidFill>
                  <a:latin typeface="Arial"/>
                </a:rPr>
                <a:t>-750</a:t>
              </a:r>
            </a:p>
          </p:txBody>
        </p:sp>
        <p:sp>
          <p:nvSpPr>
            <p:cNvPr id="78" name="Rectangle 169"/>
            <p:cNvSpPr/>
            <p:nvPr/>
          </p:nvSpPr>
          <p:spPr>
            <a:xfrm>
              <a:off x="237616" y="1624315"/>
              <a:ext cx="169457" cy="113384"/>
            </a:xfrm>
            <a:prstGeom prst="rect">
              <a:avLst/>
            </a:prstGeom>
          </p:spPr>
          <p:txBody>
            <a:bodyPr wrap="none" lIns="0" tIns="0" rIns="0" bIns="0">
              <a:spAutoFit/>
            </a:bodyPr>
            <a:lstStyle/>
            <a:p>
              <a:pPr marL="0"/>
              <a:r>
                <a:rPr lang="en-US" sz="666" b="0" i="0" spc="0" baseline="0" dirty="0">
                  <a:solidFill>
                    <a:srgbClr val="000000"/>
                  </a:solidFill>
                  <a:latin typeface="Arial"/>
                </a:rPr>
                <a:t>-500</a:t>
              </a:r>
            </a:p>
          </p:txBody>
        </p:sp>
        <p:sp>
          <p:nvSpPr>
            <p:cNvPr id="79" name="Rectangle 170"/>
            <p:cNvSpPr/>
            <p:nvPr/>
          </p:nvSpPr>
          <p:spPr>
            <a:xfrm>
              <a:off x="237616" y="1461375"/>
              <a:ext cx="169457" cy="113384"/>
            </a:xfrm>
            <a:prstGeom prst="rect">
              <a:avLst/>
            </a:prstGeom>
          </p:spPr>
          <p:txBody>
            <a:bodyPr wrap="none" lIns="0" tIns="0" rIns="0" bIns="0">
              <a:spAutoFit/>
            </a:bodyPr>
            <a:lstStyle/>
            <a:p>
              <a:pPr marL="0"/>
              <a:r>
                <a:rPr lang="en-US" sz="666" b="0" i="0" spc="0" baseline="0" dirty="0">
                  <a:solidFill>
                    <a:srgbClr val="000000"/>
                  </a:solidFill>
                  <a:latin typeface="Arial"/>
                </a:rPr>
                <a:t>-250</a:t>
              </a:r>
            </a:p>
          </p:txBody>
        </p:sp>
        <p:sp>
          <p:nvSpPr>
            <p:cNvPr id="80" name="Rectangle 171"/>
            <p:cNvSpPr/>
            <p:nvPr/>
          </p:nvSpPr>
          <p:spPr>
            <a:xfrm>
              <a:off x="336550" y="1298434"/>
              <a:ext cx="70610" cy="113384"/>
            </a:xfrm>
            <a:prstGeom prst="rect">
              <a:avLst/>
            </a:prstGeom>
          </p:spPr>
          <p:txBody>
            <a:bodyPr wrap="none" lIns="0" tIns="0" rIns="0" bIns="0">
              <a:spAutoFit/>
            </a:bodyPr>
            <a:lstStyle/>
            <a:p>
              <a:pPr marL="0"/>
              <a:r>
                <a:rPr lang="en-US" sz="666" b="0" i="0" spc="0" baseline="0" dirty="0">
                  <a:solidFill>
                    <a:srgbClr val="000000"/>
                  </a:solidFill>
                  <a:latin typeface="Arial"/>
                </a:rPr>
                <a:t> 0</a:t>
              </a:r>
            </a:p>
          </p:txBody>
        </p:sp>
        <p:sp>
          <p:nvSpPr>
            <p:cNvPr id="81" name="Rectangle 172"/>
            <p:cNvSpPr/>
            <p:nvPr/>
          </p:nvSpPr>
          <p:spPr>
            <a:xfrm>
              <a:off x="242315" y="1135493"/>
              <a:ext cx="164785" cy="113384"/>
            </a:xfrm>
            <a:prstGeom prst="rect">
              <a:avLst/>
            </a:prstGeom>
          </p:spPr>
          <p:txBody>
            <a:bodyPr wrap="none" lIns="0" tIns="0" rIns="0" bIns="0">
              <a:spAutoFit/>
            </a:bodyPr>
            <a:lstStyle/>
            <a:p>
              <a:pPr marL="0"/>
              <a:r>
                <a:rPr lang="en-US" sz="666" b="0" i="0" spc="0" baseline="0" dirty="0">
                  <a:solidFill>
                    <a:srgbClr val="000000"/>
                  </a:solidFill>
                  <a:latin typeface="Arial"/>
                </a:rPr>
                <a:t> 250</a:t>
              </a:r>
            </a:p>
          </p:txBody>
        </p:sp>
        <p:sp>
          <p:nvSpPr>
            <p:cNvPr id="82" name="Rectangle 173"/>
            <p:cNvSpPr/>
            <p:nvPr/>
          </p:nvSpPr>
          <p:spPr>
            <a:xfrm>
              <a:off x="242315" y="972552"/>
              <a:ext cx="164785" cy="113384"/>
            </a:xfrm>
            <a:prstGeom prst="rect">
              <a:avLst/>
            </a:prstGeom>
          </p:spPr>
          <p:txBody>
            <a:bodyPr wrap="none" lIns="0" tIns="0" rIns="0" bIns="0">
              <a:spAutoFit/>
            </a:bodyPr>
            <a:lstStyle/>
            <a:p>
              <a:pPr marL="0"/>
              <a:r>
                <a:rPr lang="en-US" sz="666" b="0" i="0" spc="0" baseline="0" dirty="0">
                  <a:solidFill>
                    <a:srgbClr val="000000"/>
                  </a:solidFill>
                  <a:latin typeface="Arial"/>
                </a:rPr>
                <a:t> 500</a:t>
              </a:r>
            </a:p>
          </p:txBody>
        </p:sp>
        <p:sp>
          <p:nvSpPr>
            <p:cNvPr id="83" name="Rectangle 174"/>
            <p:cNvSpPr/>
            <p:nvPr/>
          </p:nvSpPr>
          <p:spPr>
            <a:xfrm>
              <a:off x="242315" y="809611"/>
              <a:ext cx="164785" cy="113384"/>
            </a:xfrm>
            <a:prstGeom prst="rect">
              <a:avLst/>
            </a:prstGeom>
          </p:spPr>
          <p:txBody>
            <a:bodyPr wrap="none" lIns="0" tIns="0" rIns="0" bIns="0">
              <a:spAutoFit/>
            </a:bodyPr>
            <a:lstStyle/>
            <a:p>
              <a:pPr marL="0"/>
              <a:r>
                <a:rPr lang="en-US" sz="666" b="0" i="0" spc="0" baseline="0" dirty="0">
                  <a:solidFill>
                    <a:srgbClr val="000000"/>
                  </a:solidFill>
                  <a:latin typeface="Arial"/>
                </a:rPr>
                <a:t> 750</a:t>
              </a:r>
            </a:p>
          </p:txBody>
        </p:sp>
        <p:sp>
          <p:nvSpPr>
            <p:cNvPr id="84" name="Rectangle 175"/>
            <p:cNvSpPr/>
            <p:nvPr/>
          </p:nvSpPr>
          <p:spPr>
            <a:xfrm>
              <a:off x="195198" y="646733"/>
              <a:ext cx="211873" cy="113384"/>
            </a:xfrm>
            <a:prstGeom prst="rect">
              <a:avLst/>
            </a:prstGeom>
          </p:spPr>
          <p:txBody>
            <a:bodyPr wrap="none" lIns="0" tIns="0" rIns="0" bIns="0">
              <a:spAutoFit/>
            </a:bodyPr>
            <a:lstStyle/>
            <a:p>
              <a:pPr marL="0"/>
              <a:r>
                <a:rPr lang="en-US" sz="666" b="0" i="0" spc="0" baseline="0" dirty="0">
                  <a:solidFill>
                    <a:srgbClr val="000000"/>
                  </a:solidFill>
                  <a:latin typeface="Arial"/>
                </a:rPr>
                <a:t> 1000</a:t>
              </a:r>
            </a:p>
          </p:txBody>
        </p:sp>
        <p:sp>
          <p:nvSpPr>
            <p:cNvPr id="85" name="Rectangle 176"/>
            <p:cNvSpPr/>
            <p:nvPr/>
          </p:nvSpPr>
          <p:spPr>
            <a:xfrm>
              <a:off x="195198" y="483792"/>
              <a:ext cx="211873" cy="113384"/>
            </a:xfrm>
            <a:prstGeom prst="rect">
              <a:avLst/>
            </a:prstGeom>
          </p:spPr>
          <p:txBody>
            <a:bodyPr wrap="none" lIns="0" tIns="0" rIns="0" bIns="0">
              <a:spAutoFit/>
            </a:bodyPr>
            <a:lstStyle/>
            <a:p>
              <a:pPr marL="0"/>
              <a:r>
                <a:rPr lang="en-US" sz="666" b="0" i="0" spc="0" baseline="0" dirty="0">
                  <a:solidFill>
                    <a:srgbClr val="000000"/>
                  </a:solidFill>
                  <a:latin typeface="Arial"/>
                </a:rPr>
                <a:t> 1250</a:t>
              </a:r>
            </a:p>
          </p:txBody>
        </p:sp>
        <p:sp>
          <p:nvSpPr>
            <p:cNvPr id="86" name="Rectangle 177"/>
            <p:cNvSpPr/>
            <p:nvPr/>
          </p:nvSpPr>
          <p:spPr>
            <a:xfrm>
              <a:off x="195198" y="320851"/>
              <a:ext cx="211873" cy="113384"/>
            </a:xfrm>
            <a:prstGeom prst="rect">
              <a:avLst/>
            </a:prstGeom>
          </p:spPr>
          <p:txBody>
            <a:bodyPr wrap="none" lIns="0" tIns="0" rIns="0" bIns="0">
              <a:spAutoFit/>
            </a:bodyPr>
            <a:lstStyle/>
            <a:p>
              <a:pPr marL="0"/>
              <a:r>
                <a:rPr lang="en-US" sz="666" b="0" i="0" spc="0" baseline="0" dirty="0">
                  <a:solidFill>
                    <a:srgbClr val="000000"/>
                  </a:solidFill>
                  <a:latin typeface="Arial"/>
                </a:rPr>
                <a:t> 1500</a:t>
              </a:r>
            </a:p>
          </p:txBody>
        </p:sp>
        <p:sp>
          <p:nvSpPr>
            <p:cNvPr id="87" name="Rectangle 178"/>
            <p:cNvSpPr/>
            <p:nvPr/>
          </p:nvSpPr>
          <p:spPr>
            <a:xfrm>
              <a:off x="596900" y="2370568"/>
              <a:ext cx="423746" cy="207936"/>
            </a:xfrm>
            <a:prstGeom prst="rect">
              <a:avLst/>
            </a:prstGeom>
          </p:spPr>
          <p:txBody>
            <a:bodyPr wrap="none" lIns="0" tIns="0" rIns="0" bIns="0">
              <a:spAutoFit/>
            </a:bodyPr>
            <a:lstStyle/>
            <a:p>
              <a:pPr marL="0"/>
              <a:r>
                <a:rPr lang="en-US" sz="666" b="0" i="0" spc="0" baseline="0" dirty="0">
                  <a:solidFill>
                    <a:srgbClr val="000000"/>
                  </a:solidFill>
                  <a:latin typeface="Arial"/>
                </a:rPr>
                <a:t>15.05.2025</a:t>
              </a:r>
            </a:p>
            <a:p>
              <a:pPr marL="11811">
                <a:lnSpc>
                  <a:spcPts val="744"/>
                </a:lnSpc>
              </a:pPr>
              <a:r>
                <a:rPr lang="en-US" sz="666" b="0" i="0" spc="0" baseline="0" dirty="0">
                  <a:solidFill>
                    <a:srgbClr val="000000"/>
                  </a:solidFill>
                  <a:latin typeface="Arial"/>
                </a:rPr>
                <a:t>12:50:38.6</a:t>
              </a:r>
            </a:p>
          </p:txBody>
        </p:sp>
        <p:sp>
          <p:nvSpPr>
            <p:cNvPr id="88" name="Rectangle 179"/>
            <p:cNvSpPr/>
            <p:nvPr/>
          </p:nvSpPr>
          <p:spPr>
            <a:xfrm>
              <a:off x="1306004" y="2370568"/>
              <a:ext cx="423746" cy="207936"/>
            </a:xfrm>
            <a:prstGeom prst="rect">
              <a:avLst/>
            </a:prstGeom>
          </p:spPr>
          <p:txBody>
            <a:bodyPr wrap="none" lIns="0" tIns="0" rIns="0" bIns="0">
              <a:spAutoFit/>
            </a:bodyPr>
            <a:lstStyle/>
            <a:p>
              <a:pPr marL="0"/>
              <a:r>
                <a:rPr lang="en-US" sz="666" b="0" i="0" spc="0" baseline="0" dirty="0">
                  <a:solidFill>
                    <a:srgbClr val="000000"/>
                  </a:solidFill>
                  <a:latin typeface="Arial"/>
                </a:rPr>
                <a:t>15.05.2025</a:t>
              </a:r>
            </a:p>
            <a:p>
              <a:pPr marL="11811">
                <a:lnSpc>
                  <a:spcPts val="744"/>
                </a:lnSpc>
              </a:pPr>
              <a:r>
                <a:rPr lang="en-US" sz="666" b="0" i="0" spc="0" baseline="0" dirty="0">
                  <a:solidFill>
                    <a:srgbClr val="000000"/>
                  </a:solidFill>
                  <a:latin typeface="Arial"/>
                </a:rPr>
                <a:t>12:50:38.8</a:t>
              </a:r>
            </a:p>
          </p:txBody>
        </p:sp>
        <p:sp>
          <p:nvSpPr>
            <p:cNvPr id="89" name="Rectangle 180"/>
            <p:cNvSpPr/>
            <p:nvPr/>
          </p:nvSpPr>
          <p:spPr>
            <a:xfrm>
              <a:off x="2015108" y="2370568"/>
              <a:ext cx="423746" cy="207936"/>
            </a:xfrm>
            <a:prstGeom prst="rect">
              <a:avLst/>
            </a:prstGeom>
          </p:spPr>
          <p:txBody>
            <a:bodyPr wrap="none" lIns="0" tIns="0" rIns="0" bIns="0">
              <a:spAutoFit/>
            </a:bodyPr>
            <a:lstStyle/>
            <a:p>
              <a:pPr marL="0"/>
              <a:r>
                <a:rPr lang="en-US" sz="666" b="0" i="0" spc="0" baseline="0" dirty="0">
                  <a:solidFill>
                    <a:srgbClr val="000000"/>
                  </a:solidFill>
                  <a:latin typeface="Arial"/>
                </a:rPr>
                <a:t>15.05.2025</a:t>
              </a:r>
            </a:p>
            <a:p>
              <a:pPr marL="11811">
                <a:lnSpc>
                  <a:spcPts val="744"/>
                </a:lnSpc>
              </a:pPr>
              <a:r>
                <a:rPr lang="en-US" sz="666" b="0" i="0" spc="0" baseline="0" dirty="0">
                  <a:solidFill>
                    <a:srgbClr val="000000"/>
                  </a:solidFill>
                  <a:latin typeface="Arial"/>
                </a:rPr>
                <a:t>12:50:39.0</a:t>
              </a:r>
            </a:p>
          </p:txBody>
        </p:sp>
        <p:sp>
          <p:nvSpPr>
            <p:cNvPr id="90" name="Rectangle 181"/>
            <p:cNvSpPr/>
            <p:nvPr/>
          </p:nvSpPr>
          <p:spPr>
            <a:xfrm>
              <a:off x="2724213" y="2370568"/>
              <a:ext cx="423746" cy="207936"/>
            </a:xfrm>
            <a:prstGeom prst="rect">
              <a:avLst/>
            </a:prstGeom>
          </p:spPr>
          <p:txBody>
            <a:bodyPr wrap="none" lIns="0" tIns="0" rIns="0" bIns="0">
              <a:spAutoFit/>
            </a:bodyPr>
            <a:lstStyle/>
            <a:p>
              <a:pPr marL="0"/>
              <a:r>
                <a:rPr lang="en-US" sz="666" b="0" i="0" spc="0" baseline="0" dirty="0">
                  <a:solidFill>
                    <a:srgbClr val="000000"/>
                  </a:solidFill>
                  <a:latin typeface="Arial"/>
                </a:rPr>
                <a:t>15.05.2025</a:t>
              </a:r>
            </a:p>
            <a:p>
              <a:pPr marL="11810">
                <a:lnSpc>
                  <a:spcPts val="744"/>
                </a:lnSpc>
              </a:pPr>
              <a:r>
                <a:rPr lang="en-US" sz="666" b="0" i="0" spc="0" baseline="0" dirty="0">
                  <a:solidFill>
                    <a:srgbClr val="000000"/>
                  </a:solidFill>
                  <a:latin typeface="Arial"/>
                </a:rPr>
                <a:t>12:50:39.2</a:t>
              </a:r>
            </a:p>
          </p:txBody>
        </p:sp>
        <p:sp>
          <p:nvSpPr>
            <p:cNvPr id="91" name="Rectangle 182"/>
            <p:cNvSpPr/>
            <p:nvPr/>
          </p:nvSpPr>
          <p:spPr>
            <a:xfrm>
              <a:off x="3433317" y="2370568"/>
              <a:ext cx="423746" cy="207936"/>
            </a:xfrm>
            <a:prstGeom prst="rect">
              <a:avLst/>
            </a:prstGeom>
          </p:spPr>
          <p:txBody>
            <a:bodyPr wrap="none" lIns="0" tIns="0" rIns="0" bIns="0">
              <a:spAutoFit/>
            </a:bodyPr>
            <a:lstStyle/>
            <a:p>
              <a:pPr marL="0"/>
              <a:r>
                <a:rPr lang="en-US" sz="666" b="0" i="0" spc="0" baseline="0" dirty="0">
                  <a:solidFill>
                    <a:srgbClr val="000000"/>
                  </a:solidFill>
                  <a:latin typeface="Arial"/>
                </a:rPr>
                <a:t>15.05.2025</a:t>
              </a:r>
            </a:p>
            <a:p>
              <a:pPr marL="11810">
                <a:lnSpc>
                  <a:spcPts val="744"/>
                </a:lnSpc>
              </a:pPr>
              <a:r>
                <a:rPr lang="en-US" sz="666" b="0" i="0" spc="0" baseline="0" dirty="0">
                  <a:solidFill>
                    <a:srgbClr val="000000"/>
                  </a:solidFill>
                  <a:latin typeface="Arial"/>
                </a:rPr>
                <a:t>12:50:39.4</a:t>
              </a:r>
            </a:p>
          </p:txBody>
        </p:sp>
        <p:sp>
          <p:nvSpPr>
            <p:cNvPr id="92" name="Rectangle 183"/>
            <p:cNvSpPr/>
            <p:nvPr/>
          </p:nvSpPr>
          <p:spPr>
            <a:xfrm>
              <a:off x="4046982" y="2276016"/>
              <a:ext cx="216544" cy="113384"/>
            </a:xfrm>
            <a:prstGeom prst="rect">
              <a:avLst/>
            </a:prstGeom>
          </p:spPr>
          <p:txBody>
            <a:bodyPr wrap="none" lIns="0" tIns="0" rIns="0" bIns="0">
              <a:spAutoFit/>
            </a:bodyPr>
            <a:lstStyle/>
            <a:p>
              <a:pPr marL="0"/>
              <a:r>
                <a:rPr lang="en-US" sz="666" b="0" i="0" spc="0" baseline="0" dirty="0">
                  <a:solidFill>
                    <a:srgbClr val="009E73"/>
                  </a:solidFill>
                  <a:latin typeface="Arial"/>
                </a:rPr>
                <a:t>-2400</a:t>
              </a:r>
            </a:p>
          </p:txBody>
        </p:sp>
        <p:sp>
          <p:nvSpPr>
            <p:cNvPr id="93" name="Rectangle 184"/>
            <p:cNvSpPr/>
            <p:nvPr/>
          </p:nvSpPr>
          <p:spPr>
            <a:xfrm>
              <a:off x="4046982" y="2113075"/>
              <a:ext cx="216544" cy="113384"/>
            </a:xfrm>
            <a:prstGeom prst="rect">
              <a:avLst/>
            </a:prstGeom>
          </p:spPr>
          <p:txBody>
            <a:bodyPr wrap="none" lIns="0" tIns="0" rIns="0" bIns="0">
              <a:spAutoFit/>
            </a:bodyPr>
            <a:lstStyle/>
            <a:p>
              <a:pPr marL="0"/>
              <a:r>
                <a:rPr lang="en-US" sz="666" b="0" i="0" spc="0" baseline="0" dirty="0">
                  <a:solidFill>
                    <a:srgbClr val="009E73"/>
                  </a:solidFill>
                  <a:latin typeface="Arial"/>
                </a:rPr>
                <a:t>-2000</a:t>
              </a:r>
            </a:p>
          </p:txBody>
        </p:sp>
        <p:sp>
          <p:nvSpPr>
            <p:cNvPr id="94" name="Rectangle 185"/>
            <p:cNvSpPr/>
            <p:nvPr/>
          </p:nvSpPr>
          <p:spPr>
            <a:xfrm>
              <a:off x="4046982" y="1950134"/>
              <a:ext cx="216544" cy="113384"/>
            </a:xfrm>
            <a:prstGeom prst="rect">
              <a:avLst/>
            </a:prstGeom>
          </p:spPr>
          <p:txBody>
            <a:bodyPr wrap="none" lIns="0" tIns="0" rIns="0" bIns="0">
              <a:spAutoFit/>
            </a:bodyPr>
            <a:lstStyle/>
            <a:p>
              <a:pPr marL="0"/>
              <a:r>
                <a:rPr lang="en-US" sz="666" b="0" i="0" spc="0" baseline="0" dirty="0">
                  <a:solidFill>
                    <a:srgbClr val="009E73"/>
                  </a:solidFill>
                  <a:latin typeface="Arial"/>
                </a:rPr>
                <a:t>-1600</a:t>
              </a:r>
            </a:p>
          </p:txBody>
        </p:sp>
        <p:sp>
          <p:nvSpPr>
            <p:cNvPr id="95" name="Rectangle 186"/>
            <p:cNvSpPr/>
            <p:nvPr/>
          </p:nvSpPr>
          <p:spPr>
            <a:xfrm>
              <a:off x="4046982" y="1787193"/>
              <a:ext cx="216544" cy="113384"/>
            </a:xfrm>
            <a:prstGeom prst="rect">
              <a:avLst/>
            </a:prstGeom>
          </p:spPr>
          <p:txBody>
            <a:bodyPr wrap="none" lIns="0" tIns="0" rIns="0" bIns="0">
              <a:spAutoFit/>
            </a:bodyPr>
            <a:lstStyle/>
            <a:p>
              <a:pPr marL="0"/>
              <a:r>
                <a:rPr lang="en-US" sz="666" b="0" i="0" spc="0" baseline="0" dirty="0">
                  <a:solidFill>
                    <a:srgbClr val="009E73"/>
                  </a:solidFill>
                  <a:latin typeface="Arial"/>
                </a:rPr>
                <a:t>-1200</a:t>
              </a:r>
            </a:p>
          </p:txBody>
        </p:sp>
        <p:sp>
          <p:nvSpPr>
            <p:cNvPr id="96" name="Rectangle 187"/>
            <p:cNvSpPr/>
            <p:nvPr/>
          </p:nvSpPr>
          <p:spPr>
            <a:xfrm>
              <a:off x="4046982" y="1624315"/>
              <a:ext cx="169457" cy="113384"/>
            </a:xfrm>
            <a:prstGeom prst="rect">
              <a:avLst/>
            </a:prstGeom>
          </p:spPr>
          <p:txBody>
            <a:bodyPr wrap="none" lIns="0" tIns="0" rIns="0" bIns="0">
              <a:spAutoFit/>
            </a:bodyPr>
            <a:lstStyle/>
            <a:p>
              <a:pPr marL="0"/>
              <a:r>
                <a:rPr lang="en-US" sz="666" b="0" i="0" spc="0" baseline="0" dirty="0">
                  <a:solidFill>
                    <a:srgbClr val="009E73"/>
                  </a:solidFill>
                  <a:latin typeface="Arial"/>
                </a:rPr>
                <a:t>-800</a:t>
              </a:r>
            </a:p>
          </p:txBody>
        </p:sp>
        <p:sp>
          <p:nvSpPr>
            <p:cNvPr id="97" name="Rectangle 188"/>
            <p:cNvSpPr/>
            <p:nvPr/>
          </p:nvSpPr>
          <p:spPr>
            <a:xfrm>
              <a:off x="4046982" y="1461375"/>
              <a:ext cx="169457" cy="113384"/>
            </a:xfrm>
            <a:prstGeom prst="rect">
              <a:avLst/>
            </a:prstGeom>
          </p:spPr>
          <p:txBody>
            <a:bodyPr wrap="none" lIns="0" tIns="0" rIns="0" bIns="0">
              <a:spAutoFit/>
            </a:bodyPr>
            <a:lstStyle/>
            <a:p>
              <a:pPr marL="0"/>
              <a:r>
                <a:rPr lang="en-US" sz="666" b="0" i="0" spc="0" baseline="0" dirty="0">
                  <a:solidFill>
                    <a:srgbClr val="009E73"/>
                  </a:solidFill>
                  <a:latin typeface="Arial"/>
                </a:rPr>
                <a:t>-400</a:t>
              </a:r>
            </a:p>
          </p:txBody>
        </p:sp>
        <p:sp>
          <p:nvSpPr>
            <p:cNvPr id="98" name="Rectangle 189"/>
            <p:cNvSpPr/>
            <p:nvPr/>
          </p:nvSpPr>
          <p:spPr>
            <a:xfrm>
              <a:off x="4046982" y="1298434"/>
              <a:ext cx="70610" cy="113384"/>
            </a:xfrm>
            <a:prstGeom prst="rect">
              <a:avLst/>
            </a:prstGeom>
          </p:spPr>
          <p:txBody>
            <a:bodyPr wrap="none" lIns="0" tIns="0" rIns="0" bIns="0">
              <a:spAutoFit/>
            </a:bodyPr>
            <a:lstStyle/>
            <a:p>
              <a:pPr marL="0"/>
              <a:r>
                <a:rPr lang="en-US" sz="666" b="0" i="0" spc="0" baseline="0" dirty="0">
                  <a:solidFill>
                    <a:srgbClr val="009E73"/>
                  </a:solidFill>
                  <a:latin typeface="Arial"/>
                </a:rPr>
                <a:t> 0</a:t>
              </a:r>
            </a:p>
          </p:txBody>
        </p:sp>
        <p:sp>
          <p:nvSpPr>
            <p:cNvPr id="99" name="Rectangle 190"/>
            <p:cNvSpPr/>
            <p:nvPr/>
          </p:nvSpPr>
          <p:spPr>
            <a:xfrm>
              <a:off x="4046982" y="1135493"/>
              <a:ext cx="164785" cy="113384"/>
            </a:xfrm>
            <a:prstGeom prst="rect">
              <a:avLst/>
            </a:prstGeom>
          </p:spPr>
          <p:txBody>
            <a:bodyPr wrap="none" lIns="0" tIns="0" rIns="0" bIns="0">
              <a:spAutoFit/>
            </a:bodyPr>
            <a:lstStyle/>
            <a:p>
              <a:pPr marL="0"/>
              <a:r>
                <a:rPr lang="en-US" sz="666" b="0" i="0" spc="0" baseline="0" dirty="0">
                  <a:solidFill>
                    <a:srgbClr val="009E73"/>
                  </a:solidFill>
                  <a:latin typeface="Arial"/>
                </a:rPr>
                <a:t> 400</a:t>
              </a:r>
            </a:p>
          </p:txBody>
        </p:sp>
        <p:sp>
          <p:nvSpPr>
            <p:cNvPr id="100" name="Rectangle 191"/>
            <p:cNvSpPr/>
            <p:nvPr/>
          </p:nvSpPr>
          <p:spPr>
            <a:xfrm>
              <a:off x="4046982" y="972552"/>
              <a:ext cx="164785" cy="113384"/>
            </a:xfrm>
            <a:prstGeom prst="rect">
              <a:avLst/>
            </a:prstGeom>
          </p:spPr>
          <p:txBody>
            <a:bodyPr wrap="none" lIns="0" tIns="0" rIns="0" bIns="0">
              <a:spAutoFit/>
            </a:bodyPr>
            <a:lstStyle/>
            <a:p>
              <a:pPr marL="0"/>
              <a:r>
                <a:rPr lang="en-US" sz="666" b="0" i="0" spc="0" baseline="0" dirty="0">
                  <a:solidFill>
                    <a:srgbClr val="009E73"/>
                  </a:solidFill>
                  <a:latin typeface="Arial"/>
                </a:rPr>
                <a:t> 800</a:t>
              </a:r>
            </a:p>
          </p:txBody>
        </p:sp>
        <p:sp>
          <p:nvSpPr>
            <p:cNvPr id="101" name="Rectangle 192"/>
            <p:cNvSpPr/>
            <p:nvPr/>
          </p:nvSpPr>
          <p:spPr>
            <a:xfrm>
              <a:off x="4046982" y="809611"/>
              <a:ext cx="211873" cy="113384"/>
            </a:xfrm>
            <a:prstGeom prst="rect">
              <a:avLst/>
            </a:prstGeom>
          </p:spPr>
          <p:txBody>
            <a:bodyPr wrap="none" lIns="0" tIns="0" rIns="0" bIns="0">
              <a:spAutoFit/>
            </a:bodyPr>
            <a:lstStyle/>
            <a:p>
              <a:pPr marL="0"/>
              <a:r>
                <a:rPr lang="en-US" sz="666" b="0" i="0" spc="0" baseline="0" dirty="0">
                  <a:solidFill>
                    <a:srgbClr val="009E73"/>
                  </a:solidFill>
                  <a:latin typeface="Arial"/>
                </a:rPr>
                <a:t> 1200</a:t>
              </a:r>
            </a:p>
          </p:txBody>
        </p:sp>
        <p:sp>
          <p:nvSpPr>
            <p:cNvPr id="102" name="Rectangle 193"/>
            <p:cNvSpPr/>
            <p:nvPr/>
          </p:nvSpPr>
          <p:spPr>
            <a:xfrm>
              <a:off x="4046982" y="646733"/>
              <a:ext cx="211873" cy="113384"/>
            </a:xfrm>
            <a:prstGeom prst="rect">
              <a:avLst/>
            </a:prstGeom>
          </p:spPr>
          <p:txBody>
            <a:bodyPr wrap="none" lIns="0" tIns="0" rIns="0" bIns="0">
              <a:spAutoFit/>
            </a:bodyPr>
            <a:lstStyle/>
            <a:p>
              <a:pPr marL="0"/>
              <a:r>
                <a:rPr lang="en-US" sz="666" b="0" i="0" spc="0" baseline="0" dirty="0">
                  <a:solidFill>
                    <a:srgbClr val="009E73"/>
                  </a:solidFill>
                  <a:latin typeface="Arial"/>
                </a:rPr>
                <a:t> 1600</a:t>
              </a:r>
            </a:p>
          </p:txBody>
        </p:sp>
        <p:sp>
          <p:nvSpPr>
            <p:cNvPr id="103" name="Rectangle 194"/>
            <p:cNvSpPr/>
            <p:nvPr/>
          </p:nvSpPr>
          <p:spPr>
            <a:xfrm>
              <a:off x="4046982" y="483792"/>
              <a:ext cx="211873" cy="113384"/>
            </a:xfrm>
            <a:prstGeom prst="rect">
              <a:avLst/>
            </a:prstGeom>
          </p:spPr>
          <p:txBody>
            <a:bodyPr wrap="none" lIns="0" tIns="0" rIns="0" bIns="0">
              <a:spAutoFit/>
            </a:bodyPr>
            <a:lstStyle/>
            <a:p>
              <a:pPr marL="0"/>
              <a:r>
                <a:rPr lang="en-US" sz="666" b="0" i="0" spc="0" baseline="0" dirty="0">
                  <a:solidFill>
                    <a:srgbClr val="009E73"/>
                  </a:solidFill>
                  <a:latin typeface="Arial"/>
                </a:rPr>
                <a:t> 2000</a:t>
              </a:r>
            </a:p>
          </p:txBody>
        </p:sp>
        <p:sp>
          <p:nvSpPr>
            <p:cNvPr id="104" name="Rectangle 195"/>
            <p:cNvSpPr/>
            <p:nvPr/>
          </p:nvSpPr>
          <p:spPr>
            <a:xfrm>
              <a:off x="4046982" y="320851"/>
              <a:ext cx="211873" cy="113384"/>
            </a:xfrm>
            <a:prstGeom prst="rect">
              <a:avLst/>
            </a:prstGeom>
          </p:spPr>
          <p:txBody>
            <a:bodyPr wrap="none" lIns="0" tIns="0" rIns="0" bIns="0">
              <a:spAutoFit/>
            </a:bodyPr>
            <a:lstStyle/>
            <a:p>
              <a:pPr marL="0"/>
              <a:r>
                <a:rPr lang="en-US" sz="666" b="0" i="0" spc="0" baseline="0" dirty="0">
                  <a:solidFill>
                    <a:srgbClr val="009E73"/>
                  </a:solidFill>
                  <a:latin typeface="Arial"/>
                </a:rPr>
                <a:t> 2400</a:t>
              </a:r>
            </a:p>
          </p:txBody>
        </p:sp>
        <p:sp>
          <p:nvSpPr>
            <p:cNvPr id="105" name="Rectangle 196"/>
            <p:cNvSpPr/>
            <p:nvPr/>
          </p:nvSpPr>
          <p:spPr>
            <a:xfrm>
              <a:off x="808862" y="1135493"/>
              <a:ext cx="155794" cy="128861"/>
            </a:xfrm>
            <a:prstGeom prst="rect">
              <a:avLst/>
            </a:prstGeom>
          </p:spPr>
          <p:txBody>
            <a:bodyPr wrap="none" lIns="0" tIns="0" rIns="0" bIns="0">
              <a:spAutoFit/>
            </a:bodyPr>
            <a:lstStyle/>
            <a:p>
              <a:pPr marL="0"/>
              <a:r>
                <a:rPr lang="en-US" sz="666" b="0" i="0" spc="0" baseline="0" dirty="0">
                  <a:solidFill>
                    <a:srgbClr val="A0A0A0"/>
                  </a:solidFill>
                  <a:latin typeface="Arial"/>
                </a:rPr>
                <a:t>+U</a:t>
              </a:r>
              <a:r>
                <a:rPr lang="en-US" sz="808" b="0" i="0" spc="0" baseline="-28125" dirty="0">
                  <a:solidFill>
                    <a:srgbClr val="A0A0A0"/>
                  </a:solidFill>
                  <a:latin typeface="Arial"/>
                </a:rPr>
                <a:t>S</a:t>
              </a:r>
            </a:p>
          </p:txBody>
        </p:sp>
        <p:sp>
          <p:nvSpPr>
            <p:cNvPr id="106" name="Rectangle 197"/>
            <p:cNvSpPr/>
            <p:nvPr/>
          </p:nvSpPr>
          <p:spPr>
            <a:xfrm>
              <a:off x="808862" y="1461375"/>
              <a:ext cx="134522" cy="128861"/>
            </a:xfrm>
            <a:prstGeom prst="rect">
              <a:avLst/>
            </a:prstGeom>
          </p:spPr>
          <p:txBody>
            <a:bodyPr wrap="none" lIns="0" tIns="0" rIns="0" bIns="0">
              <a:spAutoFit/>
            </a:bodyPr>
            <a:lstStyle/>
            <a:p>
              <a:pPr marL="0"/>
              <a:r>
                <a:rPr lang="en-US" sz="666" b="0" i="0" spc="0" baseline="0" dirty="0">
                  <a:solidFill>
                    <a:srgbClr val="A0A0A0"/>
                  </a:solidFill>
                  <a:latin typeface="Arial"/>
                </a:rPr>
                <a:t>-U</a:t>
              </a:r>
              <a:r>
                <a:rPr lang="en-US" sz="808" b="0" i="0" spc="0" baseline="-28125" dirty="0">
                  <a:solidFill>
                    <a:srgbClr val="A0A0A0"/>
                  </a:solidFill>
                  <a:latin typeface="Arial"/>
                </a:rPr>
                <a:t>S</a:t>
              </a:r>
            </a:p>
          </p:txBody>
        </p:sp>
        <p:sp>
          <p:nvSpPr>
            <p:cNvPr id="107" name="Rectangle 198"/>
            <p:cNvSpPr/>
            <p:nvPr/>
          </p:nvSpPr>
          <p:spPr>
            <a:xfrm>
              <a:off x="2723451" y="744460"/>
              <a:ext cx="654448" cy="113384"/>
            </a:xfrm>
            <a:prstGeom prst="rect">
              <a:avLst/>
            </a:prstGeom>
          </p:spPr>
          <p:txBody>
            <a:bodyPr wrap="none" lIns="0" tIns="0" rIns="0" bIns="0">
              <a:spAutoFit/>
            </a:bodyPr>
            <a:lstStyle/>
            <a:p>
              <a:pPr marL="0"/>
              <a:r>
                <a:rPr lang="en-US" sz="666" b="0" i="0" spc="0" baseline="0" dirty="0">
                  <a:solidFill>
                    <a:srgbClr val="A0A0A0"/>
                  </a:solidFill>
                  <a:latin typeface="Arial"/>
                </a:rPr>
                <a:t>Abschaltung</a:t>
              </a:r>
              <a:r>
                <a:rPr lang="en-US" sz="666" b="0" i="0" spc="-36" baseline="0" dirty="0">
                  <a:solidFill>
                    <a:srgbClr val="A0A0A0"/>
                  </a:solidFill>
                  <a:latin typeface="Arial"/>
                </a:rPr>
                <a:t> </a:t>
              </a:r>
              <a:r>
                <a:rPr lang="en-US" sz="666" b="0" i="0" spc="0" baseline="0" dirty="0">
                  <a:solidFill>
                    <a:srgbClr val="A0A0A0"/>
                  </a:solidFill>
                  <a:latin typeface="Arial"/>
                </a:rPr>
                <a:t>AAE</a:t>
              </a:r>
            </a:p>
          </p:txBody>
        </p:sp>
        <p:sp>
          <p:nvSpPr>
            <p:cNvPr id="108" name="Rectangle 199"/>
            <p:cNvSpPr/>
            <p:nvPr/>
          </p:nvSpPr>
          <p:spPr>
            <a:xfrm>
              <a:off x="3378263" y="405941"/>
              <a:ext cx="254032" cy="302487"/>
            </a:xfrm>
            <a:prstGeom prst="rect">
              <a:avLst/>
            </a:prstGeom>
          </p:spPr>
          <p:txBody>
            <a:bodyPr wrap="none" lIns="0" tIns="0" rIns="0" bIns="0">
              <a:spAutoFit/>
            </a:bodyPr>
            <a:lstStyle/>
            <a:p>
              <a:pPr marL="0"/>
              <a:r>
                <a:rPr lang="en-US" sz="666" b="0" i="0" spc="0" baseline="0" dirty="0">
                  <a:solidFill>
                    <a:srgbClr val="000000"/>
                  </a:solidFill>
                  <a:latin typeface="Arial"/>
                </a:rPr>
                <a:t>QRAM</a:t>
              </a:r>
            </a:p>
            <a:p>
              <a:pPr marL="94043">
                <a:lnSpc>
                  <a:spcPts val="744"/>
                </a:lnSpc>
              </a:pPr>
              <a:r>
                <a:rPr lang="en-US" sz="666" b="0" i="0" spc="0" baseline="0" dirty="0">
                  <a:solidFill>
                    <a:srgbClr val="000000"/>
                  </a:solidFill>
                  <a:latin typeface="Arial"/>
                </a:rPr>
                <a:t>QInt</a:t>
              </a:r>
            </a:p>
            <a:p>
              <a:pPr marL="61086">
                <a:lnSpc>
                  <a:spcPts val="744"/>
                </a:lnSpc>
              </a:pPr>
              <a:r>
                <a:rPr lang="en-US" sz="666" b="0" i="0" spc="0" baseline="0" dirty="0">
                  <a:solidFill>
                    <a:srgbClr val="000000"/>
                  </a:solidFill>
                  <a:latin typeface="Arial"/>
                </a:rPr>
                <a:t>Wdia</a:t>
              </a:r>
            </a:p>
          </p:txBody>
        </p:sp>
        <p:sp>
          <p:nvSpPr>
            <p:cNvPr id="109" name="Rectangle 200"/>
            <p:cNvSpPr/>
            <p:nvPr/>
          </p:nvSpPr>
          <p:spPr>
            <a:xfrm rot="-5400000">
              <a:off x="-68656" y="1305493"/>
              <a:ext cx="301086" cy="113384"/>
            </a:xfrm>
            <a:prstGeom prst="rect">
              <a:avLst/>
            </a:prstGeom>
          </p:spPr>
          <p:txBody>
            <a:bodyPr wrap="none" lIns="0" tIns="0" rIns="0" bIns="0">
              <a:spAutoFit/>
            </a:bodyPr>
            <a:lstStyle/>
            <a:p>
              <a:pPr marL="0"/>
              <a:r>
                <a:rPr lang="en-US" sz="666" b="0" i="0" spc="0" baseline="0" dirty="0">
                  <a:solidFill>
                    <a:srgbClr val="000000"/>
                  </a:solidFill>
                  <a:latin typeface="Arial"/>
                </a:rPr>
                <a:t>U in mV</a:t>
              </a:r>
            </a:p>
          </p:txBody>
        </p:sp>
        <p:sp>
          <p:nvSpPr>
            <p:cNvPr id="110" name="Rectangle 201"/>
            <p:cNvSpPr/>
            <p:nvPr/>
          </p:nvSpPr>
          <p:spPr>
            <a:xfrm rot="-5400000">
              <a:off x="4242811" y="1305501"/>
              <a:ext cx="254082" cy="113384"/>
            </a:xfrm>
            <a:prstGeom prst="rect">
              <a:avLst/>
            </a:prstGeom>
          </p:spPr>
          <p:txBody>
            <a:bodyPr wrap="none" lIns="0" tIns="0" rIns="0" bIns="0">
              <a:spAutoFit/>
            </a:bodyPr>
            <a:lstStyle/>
            <a:p>
              <a:pPr marL="0"/>
              <a:r>
                <a:rPr lang="en-US" sz="666" b="0" i="0" spc="0" baseline="0" dirty="0">
                  <a:solidFill>
                    <a:srgbClr val="009E73"/>
                  </a:solidFill>
                  <a:latin typeface="Arial"/>
                </a:rPr>
                <a:t>E in kJ</a:t>
              </a:r>
            </a:p>
          </p:txBody>
        </p:sp>
        <p:sp>
          <p:nvSpPr>
            <p:cNvPr id="111" name="Rectangle 202"/>
            <p:cNvSpPr/>
            <p:nvPr/>
          </p:nvSpPr>
          <p:spPr>
            <a:xfrm>
              <a:off x="2062511" y="2606915"/>
              <a:ext cx="329240" cy="113384"/>
            </a:xfrm>
            <a:prstGeom prst="rect">
              <a:avLst/>
            </a:prstGeom>
          </p:spPr>
          <p:txBody>
            <a:bodyPr wrap="none" lIns="0" tIns="0" rIns="0" bIns="0">
              <a:spAutoFit/>
            </a:bodyPr>
            <a:lstStyle/>
            <a:p>
              <a:pPr marL="0"/>
              <a:r>
                <a:rPr lang="en-US" sz="666" b="0" i="0" spc="0" baseline="0" dirty="0">
                  <a:solidFill>
                    <a:srgbClr val="000000"/>
                  </a:solidFill>
                  <a:latin typeface="Arial"/>
                </a:rPr>
                <a:t>TTE-Zeit</a:t>
              </a:r>
            </a:p>
          </p:txBody>
        </p:sp>
        <p:sp>
          <p:nvSpPr>
            <p:cNvPr id="112" name="Rectangle 203"/>
            <p:cNvSpPr/>
            <p:nvPr/>
          </p:nvSpPr>
          <p:spPr>
            <a:xfrm>
              <a:off x="1890553" y="84504"/>
              <a:ext cx="672991" cy="113384"/>
            </a:xfrm>
            <a:prstGeom prst="rect">
              <a:avLst/>
            </a:prstGeom>
          </p:spPr>
          <p:txBody>
            <a:bodyPr wrap="none" lIns="0" tIns="0" rIns="0" bIns="0">
              <a:spAutoFit/>
            </a:bodyPr>
            <a:lstStyle/>
            <a:p>
              <a:pPr marL="0"/>
              <a:r>
                <a:rPr lang="en-US" sz="666" b="0" i="0" spc="0" baseline="0" dirty="0">
                  <a:solidFill>
                    <a:srgbClr val="000000"/>
                  </a:solidFill>
                  <a:latin typeface="Arial"/>
                </a:rPr>
                <a:t>AAB10 / DL1-DL2</a:t>
              </a:r>
            </a:p>
          </p:txBody>
        </p:sp>
        <p:sp>
          <p:nvSpPr>
            <p:cNvPr id="113" name="Rectangle 204"/>
            <p:cNvSpPr/>
            <p:nvPr/>
          </p:nvSpPr>
          <p:spPr>
            <a:xfrm>
              <a:off x="1740217" y="212522"/>
              <a:ext cx="973716" cy="83760"/>
            </a:xfrm>
            <a:prstGeom prst="rect">
              <a:avLst/>
            </a:prstGeom>
          </p:spPr>
          <p:txBody>
            <a:bodyPr wrap="none" lIns="0" tIns="0" rIns="0" bIns="0">
              <a:spAutoFit/>
            </a:bodyPr>
            <a:lstStyle/>
            <a:p>
              <a:pPr marL="0"/>
              <a:r>
                <a:rPr lang="en-US" sz="433" b="0" i="0" spc="0" baseline="0" dirty="0">
                  <a:solidFill>
                    <a:srgbClr val="000000"/>
                  </a:solidFill>
                  <a:latin typeface="Arial"/>
                </a:rPr>
                <a:t>T=50ms / U</a:t>
              </a:r>
              <a:r>
                <a:rPr lang="en-US" sz="525" b="0" i="0" spc="0" baseline="-28125" dirty="0">
                  <a:solidFill>
                    <a:srgbClr val="000000"/>
                  </a:solidFill>
                  <a:latin typeface="Arial"/>
                </a:rPr>
                <a:t>S</a:t>
              </a:r>
              <a:r>
                <a:rPr lang="en-US" sz="433" b="0" i="0" spc="0" baseline="0" dirty="0">
                  <a:solidFill>
                    <a:srgbClr val="000000"/>
                  </a:solidFill>
                  <a:latin typeface="Arial"/>
                </a:rPr>
                <a:t>=150mV / QInt</a:t>
              </a:r>
              <a:r>
                <a:rPr lang="en-US" sz="525" b="0" i="0" spc="0" baseline="-28125" dirty="0">
                  <a:solidFill>
                    <a:srgbClr val="000000"/>
                  </a:solidFill>
                  <a:latin typeface="Arial"/>
                </a:rPr>
                <a:t>max</a:t>
              </a:r>
              <a:r>
                <a:rPr lang="en-US" sz="433" b="0" i="0" spc="0" baseline="0" dirty="0">
                  <a:solidFill>
                    <a:srgbClr val="000000"/>
                  </a:solidFill>
                  <a:latin typeface="Arial"/>
                </a:rPr>
                <a:t>=198mV</a:t>
              </a:r>
            </a:p>
          </p:txBody>
        </p:sp>
      </p:grpSp>
      <p:grpSp>
        <p:nvGrpSpPr>
          <p:cNvPr id="114" name="Gruppieren 113"/>
          <p:cNvGrpSpPr/>
          <p:nvPr/>
        </p:nvGrpSpPr>
        <p:grpSpPr>
          <a:xfrm>
            <a:off x="7456226" y="909000"/>
            <a:ext cx="4401349" cy="2635795"/>
            <a:chOff x="25195" y="84504"/>
            <a:chExt cx="4401349" cy="2635795"/>
          </a:xfrm>
        </p:grpSpPr>
        <p:sp>
          <p:nvSpPr>
            <p:cNvPr id="115" name="Freeform 100"/>
            <p:cNvSpPr/>
            <p:nvPr/>
          </p:nvSpPr>
          <p:spPr>
            <a:xfrm flipV="1">
              <a:off x="454279" y="2339772"/>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16" name="Freeform 101"/>
            <p:cNvSpPr/>
            <p:nvPr/>
          </p:nvSpPr>
          <p:spPr>
            <a:xfrm flipV="1">
              <a:off x="454279" y="2339772"/>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17" name="Freeform 102"/>
            <p:cNvSpPr/>
            <p:nvPr/>
          </p:nvSpPr>
          <p:spPr>
            <a:xfrm flipV="1">
              <a:off x="454279" y="2168970"/>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18" name="Freeform 103"/>
            <p:cNvSpPr/>
            <p:nvPr/>
          </p:nvSpPr>
          <p:spPr>
            <a:xfrm flipV="1">
              <a:off x="454279" y="2168970"/>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19" name="Freeform 104"/>
            <p:cNvSpPr/>
            <p:nvPr/>
          </p:nvSpPr>
          <p:spPr>
            <a:xfrm flipV="1">
              <a:off x="454279" y="1998168"/>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20" name="Freeform 105"/>
            <p:cNvSpPr/>
            <p:nvPr/>
          </p:nvSpPr>
          <p:spPr>
            <a:xfrm flipV="1">
              <a:off x="454279" y="1998168"/>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21" name="Freeform 106"/>
            <p:cNvSpPr/>
            <p:nvPr/>
          </p:nvSpPr>
          <p:spPr>
            <a:xfrm flipV="1">
              <a:off x="454279" y="1827365"/>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22" name="Freeform 107"/>
            <p:cNvSpPr/>
            <p:nvPr/>
          </p:nvSpPr>
          <p:spPr>
            <a:xfrm flipV="1">
              <a:off x="454279" y="1827365"/>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23" name="Freeform 108"/>
            <p:cNvSpPr/>
            <p:nvPr/>
          </p:nvSpPr>
          <p:spPr>
            <a:xfrm flipV="1">
              <a:off x="454279" y="1656512"/>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24" name="Freeform 109"/>
            <p:cNvSpPr/>
            <p:nvPr/>
          </p:nvSpPr>
          <p:spPr>
            <a:xfrm flipV="1">
              <a:off x="454279" y="1656512"/>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25" name="Freeform 110"/>
            <p:cNvSpPr/>
            <p:nvPr/>
          </p:nvSpPr>
          <p:spPr>
            <a:xfrm flipV="1">
              <a:off x="454279" y="1485697"/>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26" name="Freeform 111"/>
            <p:cNvSpPr/>
            <p:nvPr/>
          </p:nvSpPr>
          <p:spPr>
            <a:xfrm flipV="1">
              <a:off x="454279" y="1485697"/>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27" name="Freeform 112"/>
            <p:cNvSpPr/>
            <p:nvPr/>
          </p:nvSpPr>
          <p:spPr>
            <a:xfrm flipV="1">
              <a:off x="454279" y="1314895"/>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28" name="Freeform 113"/>
            <p:cNvSpPr/>
            <p:nvPr/>
          </p:nvSpPr>
          <p:spPr>
            <a:xfrm flipV="1">
              <a:off x="454279" y="1314895"/>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29" name="Freeform 114"/>
            <p:cNvSpPr/>
            <p:nvPr/>
          </p:nvSpPr>
          <p:spPr>
            <a:xfrm flipV="1">
              <a:off x="454279" y="1144143"/>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30" name="Freeform 115"/>
            <p:cNvSpPr/>
            <p:nvPr/>
          </p:nvSpPr>
          <p:spPr>
            <a:xfrm flipV="1">
              <a:off x="454279" y="1144143"/>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31" name="Freeform 116"/>
            <p:cNvSpPr/>
            <p:nvPr/>
          </p:nvSpPr>
          <p:spPr>
            <a:xfrm flipV="1">
              <a:off x="454279" y="973341"/>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32" name="Freeform 117"/>
            <p:cNvSpPr/>
            <p:nvPr/>
          </p:nvSpPr>
          <p:spPr>
            <a:xfrm flipV="1">
              <a:off x="454279" y="973341"/>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33" name="Freeform 118"/>
            <p:cNvSpPr/>
            <p:nvPr/>
          </p:nvSpPr>
          <p:spPr>
            <a:xfrm flipV="1">
              <a:off x="454279" y="802526"/>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34" name="Freeform 119"/>
            <p:cNvSpPr/>
            <p:nvPr/>
          </p:nvSpPr>
          <p:spPr>
            <a:xfrm flipV="1">
              <a:off x="454279" y="802526"/>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35" name="Freeform 120"/>
            <p:cNvSpPr/>
            <p:nvPr/>
          </p:nvSpPr>
          <p:spPr>
            <a:xfrm flipV="1">
              <a:off x="454279" y="631673"/>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36" name="Freeform 121"/>
            <p:cNvSpPr/>
            <p:nvPr/>
          </p:nvSpPr>
          <p:spPr>
            <a:xfrm flipV="1">
              <a:off x="454279" y="631673"/>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37" name="Freeform 122"/>
            <p:cNvSpPr/>
            <p:nvPr/>
          </p:nvSpPr>
          <p:spPr>
            <a:xfrm flipV="1">
              <a:off x="454279" y="460871"/>
              <a:ext cx="2989503" cy="0"/>
            </a:xfrm>
            <a:custGeom>
              <a:avLst/>
              <a:gdLst/>
              <a:ahLst/>
              <a:cxnLst/>
              <a:rect l="0" t="0" r="0" b="0"/>
              <a:pathLst>
                <a:path w="2989503">
                  <a:moveTo>
                    <a:pt x="0" y="0"/>
                  </a:moveTo>
                  <a:lnTo>
                    <a:pt x="298950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38" name="Freeform 123"/>
            <p:cNvSpPr/>
            <p:nvPr/>
          </p:nvSpPr>
          <p:spPr>
            <a:xfrm flipV="1">
              <a:off x="3952722" y="460871"/>
              <a:ext cx="47130" cy="0"/>
            </a:xfrm>
            <a:custGeom>
              <a:avLst/>
              <a:gdLst/>
              <a:ahLst/>
              <a:cxnLst/>
              <a:rect l="0" t="0" r="0" b="0"/>
              <a:pathLst>
                <a:path w="47130">
                  <a:moveTo>
                    <a:pt x="0" y="0"/>
                  </a:moveTo>
                  <a:lnTo>
                    <a:pt x="47130"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39" name="Freeform 124"/>
            <p:cNvSpPr/>
            <p:nvPr/>
          </p:nvSpPr>
          <p:spPr>
            <a:xfrm flipV="1">
              <a:off x="454279" y="460871"/>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40" name="Freeform 125"/>
            <p:cNvSpPr/>
            <p:nvPr/>
          </p:nvSpPr>
          <p:spPr>
            <a:xfrm flipV="1">
              <a:off x="454279" y="290069"/>
              <a:ext cx="3545573" cy="0"/>
            </a:xfrm>
            <a:custGeom>
              <a:avLst/>
              <a:gdLst/>
              <a:ahLst/>
              <a:cxnLst/>
              <a:rect l="0" t="0" r="0" b="0"/>
              <a:pathLst>
                <a:path w="3545573">
                  <a:moveTo>
                    <a:pt x="0" y="0"/>
                  </a:moveTo>
                  <a:lnTo>
                    <a:pt x="3545573" y="0"/>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41" name="Freeform 126"/>
            <p:cNvSpPr/>
            <p:nvPr/>
          </p:nvSpPr>
          <p:spPr>
            <a:xfrm flipV="1">
              <a:off x="454279" y="290069"/>
              <a:ext cx="37795" cy="0"/>
            </a:xfrm>
            <a:custGeom>
              <a:avLst/>
              <a:gdLst/>
              <a:ahLst/>
              <a:cxnLst/>
              <a:rect l="0" t="0" r="0" b="0"/>
              <a:pathLst>
                <a:path w="37795">
                  <a:moveTo>
                    <a:pt x="0" y="0"/>
                  </a:moveTo>
                  <a:lnTo>
                    <a:pt x="37795"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42" name="Freeform 127"/>
            <p:cNvSpPr/>
            <p:nvPr/>
          </p:nvSpPr>
          <p:spPr>
            <a:xfrm flipV="1">
              <a:off x="454279" y="290069"/>
              <a:ext cx="0" cy="2049703"/>
            </a:xfrm>
            <a:custGeom>
              <a:avLst/>
              <a:gdLst/>
              <a:ahLst/>
              <a:cxnLst/>
              <a:rect l="0" t="0" r="0" b="0"/>
              <a:pathLst>
                <a:path h="2049703">
                  <a:moveTo>
                    <a:pt x="0" y="0"/>
                  </a:moveTo>
                  <a:lnTo>
                    <a:pt x="0" y="2049703"/>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43" name="Freeform 128"/>
            <p:cNvSpPr/>
            <p:nvPr/>
          </p:nvSpPr>
          <p:spPr>
            <a:xfrm flipV="1">
              <a:off x="454279" y="2302028"/>
              <a:ext cx="0" cy="37744"/>
            </a:xfrm>
            <a:custGeom>
              <a:avLst/>
              <a:gdLst/>
              <a:ahLst/>
              <a:cxnLst/>
              <a:rect l="0" t="0" r="0" b="0"/>
              <a:pathLst>
                <a:path h="37744">
                  <a:moveTo>
                    <a:pt x="0" y="0"/>
                  </a:moveTo>
                  <a:lnTo>
                    <a:pt x="0" y="37744"/>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44" name="Freeform 129"/>
            <p:cNvSpPr/>
            <p:nvPr/>
          </p:nvSpPr>
          <p:spPr>
            <a:xfrm flipV="1">
              <a:off x="1045222" y="290069"/>
              <a:ext cx="0" cy="2049703"/>
            </a:xfrm>
            <a:custGeom>
              <a:avLst/>
              <a:gdLst/>
              <a:ahLst/>
              <a:cxnLst/>
              <a:rect l="0" t="0" r="0" b="0"/>
              <a:pathLst>
                <a:path h="2049703">
                  <a:moveTo>
                    <a:pt x="0" y="0"/>
                  </a:moveTo>
                  <a:lnTo>
                    <a:pt x="0" y="2049703"/>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45" name="Freeform 130"/>
            <p:cNvSpPr/>
            <p:nvPr/>
          </p:nvSpPr>
          <p:spPr>
            <a:xfrm flipV="1">
              <a:off x="1045222" y="2302028"/>
              <a:ext cx="0" cy="37744"/>
            </a:xfrm>
            <a:custGeom>
              <a:avLst/>
              <a:gdLst/>
              <a:ahLst/>
              <a:cxnLst/>
              <a:rect l="0" t="0" r="0" b="0"/>
              <a:pathLst>
                <a:path h="37744">
                  <a:moveTo>
                    <a:pt x="0" y="0"/>
                  </a:moveTo>
                  <a:lnTo>
                    <a:pt x="0" y="37744"/>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46" name="Freeform 131"/>
            <p:cNvSpPr/>
            <p:nvPr/>
          </p:nvSpPr>
          <p:spPr>
            <a:xfrm flipV="1">
              <a:off x="1636115" y="290069"/>
              <a:ext cx="0" cy="2049703"/>
            </a:xfrm>
            <a:custGeom>
              <a:avLst/>
              <a:gdLst/>
              <a:ahLst/>
              <a:cxnLst/>
              <a:rect l="0" t="0" r="0" b="0"/>
              <a:pathLst>
                <a:path h="2049703">
                  <a:moveTo>
                    <a:pt x="0" y="0"/>
                  </a:moveTo>
                  <a:lnTo>
                    <a:pt x="0" y="2049703"/>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47" name="Freeform 132"/>
            <p:cNvSpPr/>
            <p:nvPr/>
          </p:nvSpPr>
          <p:spPr>
            <a:xfrm flipV="1">
              <a:off x="1636115" y="2302028"/>
              <a:ext cx="0" cy="37744"/>
            </a:xfrm>
            <a:custGeom>
              <a:avLst/>
              <a:gdLst/>
              <a:ahLst/>
              <a:cxnLst/>
              <a:rect l="0" t="0" r="0" b="0"/>
              <a:pathLst>
                <a:path h="37744">
                  <a:moveTo>
                    <a:pt x="0" y="0"/>
                  </a:moveTo>
                  <a:lnTo>
                    <a:pt x="0" y="37744"/>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48" name="Freeform 133"/>
            <p:cNvSpPr/>
            <p:nvPr/>
          </p:nvSpPr>
          <p:spPr>
            <a:xfrm flipV="1">
              <a:off x="2227059" y="290069"/>
              <a:ext cx="0" cy="2049703"/>
            </a:xfrm>
            <a:custGeom>
              <a:avLst/>
              <a:gdLst/>
              <a:ahLst/>
              <a:cxnLst/>
              <a:rect l="0" t="0" r="0" b="0"/>
              <a:pathLst>
                <a:path h="2049703">
                  <a:moveTo>
                    <a:pt x="0" y="0"/>
                  </a:moveTo>
                  <a:lnTo>
                    <a:pt x="0" y="2049703"/>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49" name="Freeform 134"/>
            <p:cNvSpPr/>
            <p:nvPr/>
          </p:nvSpPr>
          <p:spPr>
            <a:xfrm flipV="1">
              <a:off x="2227059" y="2302028"/>
              <a:ext cx="0" cy="37744"/>
            </a:xfrm>
            <a:custGeom>
              <a:avLst/>
              <a:gdLst/>
              <a:ahLst/>
              <a:cxnLst/>
              <a:rect l="0" t="0" r="0" b="0"/>
              <a:pathLst>
                <a:path h="37744">
                  <a:moveTo>
                    <a:pt x="0" y="0"/>
                  </a:moveTo>
                  <a:lnTo>
                    <a:pt x="0" y="37744"/>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50" name="Freeform 135"/>
            <p:cNvSpPr/>
            <p:nvPr/>
          </p:nvSpPr>
          <p:spPr>
            <a:xfrm flipV="1">
              <a:off x="2818015" y="290069"/>
              <a:ext cx="0" cy="2049703"/>
            </a:xfrm>
            <a:custGeom>
              <a:avLst/>
              <a:gdLst/>
              <a:ahLst/>
              <a:cxnLst/>
              <a:rect l="0" t="0" r="0" b="0"/>
              <a:pathLst>
                <a:path h="2049703">
                  <a:moveTo>
                    <a:pt x="0" y="0"/>
                  </a:moveTo>
                  <a:lnTo>
                    <a:pt x="0" y="2049703"/>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51" name="Freeform 136"/>
            <p:cNvSpPr/>
            <p:nvPr/>
          </p:nvSpPr>
          <p:spPr>
            <a:xfrm flipV="1">
              <a:off x="2818015" y="2302028"/>
              <a:ext cx="0" cy="37744"/>
            </a:xfrm>
            <a:custGeom>
              <a:avLst/>
              <a:gdLst/>
              <a:ahLst/>
              <a:cxnLst/>
              <a:rect l="0" t="0" r="0" b="0"/>
              <a:pathLst>
                <a:path h="37744">
                  <a:moveTo>
                    <a:pt x="0" y="0"/>
                  </a:moveTo>
                  <a:lnTo>
                    <a:pt x="0" y="37744"/>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52" name="Freeform 137"/>
            <p:cNvSpPr/>
            <p:nvPr/>
          </p:nvSpPr>
          <p:spPr>
            <a:xfrm flipV="1">
              <a:off x="3408959" y="290069"/>
              <a:ext cx="0" cy="2049703"/>
            </a:xfrm>
            <a:custGeom>
              <a:avLst/>
              <a:gdLst/>
              <a:ahLst/>
              <a:cxnLst/>
              <a:rect l="0" t="0" r="0" b="0"/>
              <a:pathLst>
                <a:path h="2049703">
                  <a:moveTo>
                    <a:pt x="0" y="0"/>
                  </a:moveTo>
                  <a:lnTo>
                    <a:pt x="0" y="2049703"/>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53" name="Freeform 138"/>
            <p:cNvSpPr/>
            <p:nvPr/>
          </p:nvSpPr>
          <p:spPr>
            <a:xfrm flipV="1">
              <a:off x="3408959" y="2302028"/>
              <a:ext cx="0" cy="37744"/>
            </a:xfrm>
            <a:custGeom>
              <a:avLst/>
              <a:gdLst/>
              <a:ahLst/>
              <a:cxnLst/>
              <a:rect l="0" t="0" r="0" b="0"/>
              <a:pathLst>
                <a:path h="37744">
                  <a:moveTo>
                    <a:pt x="0" y="0"/>
                  </a:moveTo>
                  <a:lnTo>
                    <a:pt x="0" y="37744"/>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54" name="Freeform 139"/>
            <p:cNvSpPr/>
            <p:nvPr/>
          </p:nvSpPr>
          <p:spPr>
            <a:xfrm flipV="1">
              <a:off x="3999852" y="290069"/>
              <a:ext cx="0" cy="2049703"/>
            </a:xfrm>
            <a:custGeom>
              <a:avLst/>
              <a:gdLst/>
              <a:ahLst/>
              <a:cxnLst/>
              <a:rect l="0" t="0" r="0" b="0"/>
              <a:pathLst>
                <a:path h="2049703">
                  <a:moveTo>
                    <a:pt x="0" y="0"/>
                  </a:moveTo>
                  <a:lnTo>
                    <a:pt x="0" y="2049703"/>
                  </a:lnTo>
                </a:path>
              </a:pathLst>
            </a:custGeom>
            <a:noFill/>
            <a:ln w="3175" cap="flat" cmpd="sng">
              <a:solidFill>
                <a:srgbClr val="000000">
                  <a:alpha val="100000"/>
                </a:srgbClr>
              </a:solidFill>
              <a:custDash>
                <a:ds d="80000" sp="800000"/>
              </a:custDash>
              <a:miter lim="48259"/>
            </a:ln>
          </p:spPr>
          <p:style>
            <a:lnRef idx="2">
              <a:schemeClr val="accent1">
                <a:shade val="50000"/>
              </a:schemeClr>
            </a:lnRef>
            <a:fillRef idx="1">
              <a:schemeClr val="accent1"/>
            </a:fillRef>
            <a:effectRef idx="0">
              <a:schemeClr val="accent1"/>
            </a:effectRef>
            <a:fontRef idx="minor">
              <a:schemeClr val="lt1"/>
            </a:fontRef>
          </p:style>
        </p:sp>
        <p:sp>
          <p:nvSpPr>
            <p:cNvPr id="155" name="Freeform 140"/>
            <p:cNvSpPr/>
            <p:nvPr/>
          </p:nvSpPr>
          <p:spPr>
            <a:xfrm flipV="1">
              <a:off x="3999852" y="2302028"/>
              <a:ext cx="0" cy="37744"/>
            </a:xfrm>
            <a:custGeom>
              <a:avLst/>
              <a:gdLst/>
              <a:ahLst/>
              <a:cxnLst/>
              <a:rect l="0" t="0" r="0" b="0"/>
              <a:pathLst>
                <a:path h="37744">
                  <a:moveTo>
                    <a:pt x="0" y="0"/>
                  </a:moveTo>
                  <a:lnTo>
                    <a:pt x="0" y="37744"/>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56" name="Freeform 141"/>
            <p:cNvSpPr/>
            <p:nvPr/>
          </p:nvSpPr>
          <p:spPr>
            <a:xfrm flipV="1">
              <a:off x="3962107" y="2339772"/>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57" name="Freeform 142"/>
            <p:cNvSpPr/>
            <p:nvPr/>
          </p:nvSpPr>
          <p:spPr>
            <a:xfrm flipV="1">
              <a:off x="3962107" y="2168970"/>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58" name="Freeform 143"/>
            <p:cNvSpPr/>
            <p:nvPr/>
          </p:nvSpPr>
          <p:spPr>
            <a:xfrm flipV="1">
              <a:off x="3962107" y="1998168"/>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59" name="Freeform 144"/>
            <p:cNvSpPr/>
            <p:nvPr/>
          </p:nvSpPr>
          <p:spPr>
            <a:xfrm flipV="1">
              <a:off x="3962107" y="1827365"/>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60" name="Freeform 145"/>
            <p:cNvSpPr/>
            <p:nvPr/>
          </p:nvSpPr>
          <p:spPr>
            <a:xfrm flipV="1">
              <a:off x="3962107" y="1656512"/>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61" name="Freeform 146"/>
            <p:cNvSpPr/>
            <p:nvPr/>
          </p:nvSpPr>
          <p:spPr>
            <a:xfrm flipV="1">
              <a:off x="3962107" y="1485697"/>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62" name="Freeform 147"/>
            <p:cNvSpPr/>
            <p:nvPr/>
          </p:nvSpPr>
          <p:spPr>
            <a:xfrm flipV="1">
              <a:off x="3962107" y="1314895"/>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63" name="Freeform 148"/>
            <p:cNvSpPr/>
            <p:nvPr/>
          </p:nvSpPr>
          <p:spPr>
            <a:xfrm flipV="1">
              <a:off x="3962107" y="1144143"/>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64" name="Freeform 149"/>
            <p:cNvSpPr/>
            <p:nvPr/>
          </p:nvSpPr>
          <p:spPr>
            <a:xfrm flipV="1">
              <a:off x="3962107" y="973341"/>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65" name="Freeform 150"/>
            <p:cNvSpPr/>
            <p:nvPr/>
          </p:nvSpPr>
          <p:spPr>
            <a:xfrm flipV="1">
              <a:off x="3962107" y="802526"/>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66" name="Freeform 151"/>
            <p:cNvSpPr/>
            <p:nvPr/>
          </p:nvSpPr>
          <p:spPr>
            <a:xfrm flipV="1">
              <a:off x="3962107" y="631673"/>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67" name="Freeform 152"/>
            <p:cNvSpPr/>
            <p:nvPr/>
          </p:nvSpPr>
          <p:spPr>
            <a:xfrm flipV="1">
              <a:off x="3962107" y="460871"/>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68" name="Freeform 153"/>
            <p:cNvSpPr/>
            <p:nvPr/>
          </p:nvSpPr>
          <p:spPr>
            <a:xfrm flipV="1">
              <a:off x="3962107" y="290069"/>
              <a:ext cx="37745" cy="0"/>
            </a:xfrm>
            <a:custGeom>
              <a:avLst/>
              <a:gdLst/>
              <a:ahLst/>
              <a:cxnLst/>
              <a:rect l="0" t="0" r="0" b="0"/>
              <a:pathLst>
                <a:path w="37745">
                  <a:moveTo>
                    <a:pt x="37745" y="0"/>
                  </a:moveTo>
                  <a:lnTo>
                    <a:pt x="0" y="0"/>
                  </a:lnTo>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69" name="Freeform 154"/>
            <p:cNvSpPr/>
            <p:nvPr/>
          </p:nvSpPr>
          <p:spPr>
            <a:xfrm flipV="1">
              <a:off x="454279" y="290069"/>
              <a:ext cx="3545585" cy="2049716"/>
            </a:xfrm>
            <a:custGeom>
              <a:avLst/>
              <a:gdLst/>
              <a:ahLst/>
              <a:cxnLst/>
              <a:rect l="0" t="0" r="0" b="0"/>
              <a:pathLst>
                <a:path w="3545585" h="2049716">
                  <a:moveTo>
                    <a:pt x="0" y="2049716"/>
                  </a:moveTo>
                  <a:lnTo>
                    <a:pt x="3545585" y="2049716"/>
                  </a:lnTo>
                  <a:lnTo>
                    <a:pt x="3545585" y="0"/>
                  </a:lnTo>
                  <a:lnTo>
                    <a:pt x="0" y="0"/>
                  </a:lnTo>
                  <a:lnTo>
                    <a:pt x="0" y="2049716"/>
                  </a:lnTo>
                  <a:close/>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70" name="Freeform 155"/>
            <p:cNvSpPr/>
            <p:nvPr/>
          </p:nvSpPr>
          <p:spPr>
            <a:xfrm flipV="1">
              <a:off x="3679380" y="375146"/>
              <a:ext cx="226263" cy="0"/>
            </a:xfrm>
            <a:custGeom>
              <a:avLst/>
              <a:gdLst/>
              <a:ahLst/>
              <a:cxnLst/>
              <a:rect l="0" t="0" r="0" b="0"/>
              <a:pathLst>
                <a:path w="226263">
                  <a:moveTo>
                    <a:pt x="0" y="0"/>
                  </a:moveTo>
                  <a:lnTo>
                    <a:pt x="226263" y="0"/>
                  </a:lnTo>
                </a:path>
              </a:pathLst>
            </a:custGeom>
            <a:noFill/>
            <a:ln w="6350" cap="flat" cmpd="sng">
              <a:solidFill>
                <a:srgbClr val="0000FF">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71" name="Freeform 156"/>
            <p:cNvSpPr/>
            <p:nvPr/>
          </p:nvSpPr>
          <p:spPr>
            <a:xfrm flipV="1">
              <a:off x="609345" y="1259587"/>
              <a:ext cx="3098165" cy="255536"/>
            </a:xfrm>
            <a:custGeom>
              <a:avLst/>
              <a:gdLst/>
              <a:ahLst/>
              <a:cxnLst/>
              <a:rect l="0" t="0" r="0" b="0"/>
              <a:pathLst>
                <a:path w="3098165" h="255536">
                  <a:moveTo>
                    <a:pt x="0" y="200876"/>
                  </a:moveTo>
                  <a:lnTo>
                    <a:pt x="0" y="202260"/>
                  </a:lnTo>
                  <a:lnTo>
                    <a:pt x="0" y="200876"/>
                  </a:lnTo>
                  <a:lnTo>
                    <a:pt x="0" y="202260"/>
                  </a:lnTo>
                  <a:lnTo>
                    <a:pt x="0" y="200876"/>
                  </a:lnTo>
                  <a:lnTo>
                    <a:pt x="51" y="200876"/>
                  </a:lnTo>
                  <a:lnTo>
                    <a:pt x="51" y="202260"/>
                  </a:lnTo>
                  <a:lnTo>
                    <a:pt x="51" y="200876"/>
                  </a:lnTo>
                  <a:lnTo>
                    <a:pt x="51" y="202260"/>
                  </a:lnTo>
                  <a:lnTo>
                    <a:pt x="51" y="200876"/>
                  </a:lnTo>
                  <a:lnTo>
                    <a:pt x="51" y="202260"/>
                  </a:lnTo>
                  <a:lnTo>
                    <a:pt x="51" y="200228"/>
                  </a:lnTo>
                  <a:lnTo>
                    <a:pt x="51" y="200876"/>
                  </a:lnTo>
                  <a:lnTo>
                    <a:pt x="102" y="200228"/>
                  </a:lnTo>
                  <a:lnTo>
                    <a:pt x="102" y="198831"/>
                  </a:lnTo>
                  <a:lnTo>
                    <a:pt x="204" y="198831"/>
                  </a:lnTo>
                  <a:lnTo>
                    <a:pt x="204" y="196799"/>
                  </a:lnTo>
                  <a:lnTo>
                    <a:pt x="204" y="199530"/>
                  </a:lnTo>
                  <a:lnTo>
                    <a:pt x="204" y="198831"/>
                  </a:lnTo>
                  <a:lnTo>
                    <a:pt x="204" y="199530"/>
                  </a:lnTo>
                  <a:lnTo>
                    <a:pt x="204" y="197447"/>
                  </a:lnTo>
                  <a:lnTo>
                    <a:pt x="255" y="197447"/>
                  </a:lnTo>
                  <a:lnTo>
                    <a:pt x="255" y="196799"/>
                  </a:lnTo>
                  <a:lnTo>
                    <a:pt x="255" y="200876"/>
                  </a:lnTo>
                  <a:lnTo>
                    <a:pt x="255" y="199530"/>
                  </a:lnTo>
                  <a:lnTo>
                    <a:pt x="305" y="199530"/>
                  </a:lnTo>
                  <a:lnTo>
                    <a:pt x="305" y="200876"/>
                  </a:lnTo>
                  <a:lnTo>
                    <a:pt x="305" y="200228"/>
                  </a:lnTo>
                  <a:lnTo>
                    <a:pt x="407" y="200228"/>
                  </a:lnTo>
                  <a:lnTo>
                    <a:pt x="407" y="200876"/>
                  </a:lnTo>
                  <a:lnTo>
                    <a:pt x="407" y="200228"/>
                  </a:lnTo>
                  <a:lnTo>
                    <a:pt x="407" y="200876"/>
                  </a:lnTo>
                  <a:lnTo>
                    <a:pt x="458" y="200876"/>
                  </a:lnTo>
                  <a:lnTo>
                    <a:pt x="458" y="200228"/>
                  </a:lnTo>
                  <a:lnTo>
                    <a:pt x="458" y="200876"/>
                  </a:lnTo>
                  <a:lnTo>
                    <a:pt x="509" y="200876"/>
                  </a:lnTo>
                  <a:lnTo>
                    <a:pt x="509" y="202260"/>
                  </a:lnTo>
                  <a:lnTo>
                    <a:pt x="509" y="200876"/>
                  </a:lnTo>
                  <a:lnTo>
                    <a:pt x="509" y="202260"/>
                  </a:lnTo>
                  <a:lnTo>
                    <a:pt x="509" y="200876"/>
                  </a:lnTo>
                  <a:lnTo>
                    <a:pt x="547" y="200876"/>
                  </a:lnTo>
                  <a:lnTo>
                    <a:pt x="547" y="200228"/>
                  </a:lnTo>
                  <a:lnTo>
                    <a:pt x="547" y="200876"/>
                  </a:lnTo>
                  <a:lnTo>
                    <a:pt x="547" y="199530"/>
                  </a:lnTo>
                  <a:lnTo>
                    <a:pt x="648" y="199530"/>
                  </a:lnTo>
                  <a:lnTo>
                    <a:pt x="648" y="200228"/>
                  </a:lnTo>
                  <a:lnTo>
                    <a:pt x="648" y="197447"/>
                  </a:lnTo>
                  <a:lnTo>
                    <a:pt x="648" y="198831"/>
                  </a:lnTo>
                  <a:lnTo>
                    <a:pt x="648" y="197447"/>
                  </a:lnTo>
                  <a:lnTo>
                    <a:pt x="699" y="197447"/>
                  </a:lnTo>
                  <a:lnTo>
                    <a:pt x="699" y="196113"/>
                  </a:lnTo>
                  <a:lnTo>
                    <a:pt x="699" y="196799"/>
                  </a:lnTo>
                  <a:lnTo>
                    <a:pt x="699" y="195415"/>
                  </a:lnTo>
                  <a:lnTo>
                    <a:pt x="699" y="197447"/>
                  </a:lnTo>
                  <a:lnTo>
                    <a:pt x="750" y="197447"/>
                  </a:lnTo>
                  <a:lnTo>
                    <a:pt x="750" y="196799"/>
                  </a:lnTo>
                  <a:lnTo>
                    <a:pt x="750" y="199530"/>
                  </a:lnTo>
                  <a:lnTo>
                    <a:pt x="851" y="199530"/>
                  </a:lnTo>
                  <a:lnTo>
                    <a:pt x="851" y="198831"/>
                  </a:lnTo>
                  <a:lnTo>
                    <a:pt x="851" y="199530"/>
                  </a:lnTo>
                  <a:lnTo>
                    <a:pt x="902" y="199530"/>
                  </a:lnTo>
                  <a:lnTo>
                    <a:pt x="902" y="200228"/>
                  </a:lnTo>
                  <a:lnTo>
                    <a:pt x="902" y="199530"/>
                  </a:lnTo>
                  <a:lnTo>
                    <a:pt x="902" y="200228"/>
                  </a:lnTo>
                  <a:lnTo>
                    <a:pt x="953" y="200228"/>
                  </a:lnTo>
                  <a:lnTo>
                    <a:pt x="953" y="200876"/>
                  </a:lnTo>
                  <a:lnTo>
                    <a:pt x="953" y="200228"/>
                  </a:lnTo>
                  <a:lnTo>
                    <a:pt x="953" y="200876"/>
                  </a:lnTo>
                  <a:lnTo>
                    <a:pt x="1004" y="200876"/>
                  </a:lnTo>
                  <a:lnTo>
                    <a:pt x="1004" y="202260"/>
                  </a:lnTo>
                  <a:lnTo>
                    <a:pt x="1004" y="200876"/>
                  </a:lnTo>
                  <a:lnTo>
                    <a:pt x="1004" y="202260"/>
                  </a:lnTo>
                  <a:lnTo>
                    <a:pt x="1093" y="202260"/>
                  </a:lnTo>
                  <a:lnTo>
                    <a:pt x="1093" y="200228"/>
                  </a:lnTo>
                  <a:lnTo>
                    <a:pt x="1143" y="200228"/>
                  </a:lnTo>
                  <a:lnTo>
                    <a:pt x="1143" y="198831"/>
                  </a:lnTo>
                  <a:lnTo>
                    <a:pt x="1194" y="198831"/>
                  </a:lnTo>
                  <a:lnTo>
                    <a:pt x="1194" y="196799"/>
                  </a:lnTo>
                  <a:lnTo>
                    <a:pt x="1194" y="198831"/>
                  </a:lnTo>
                  <a:lnTo>
                    <a:pt x="1194" y="197447"/>
                  </a:lnTo>
                  <a:lnTo>
                    <a:pt x="1194" y="198831"/>
                  </a:lnTo>
                  <a:lnTo>
                    <a:pt x="1194" y="197447"/>
                  </a:lnTo>
                  <a:lnTo>
                    <a:pt x="1245" y="196799"/>
                  </a:lnTo>
                  <a:lnTo>
                    <a:pt x="1245" y="196113"/>
                  </a:lnTo>
                  <a:lnTo>
                    <a:pt x="1245" y="199530"/>
                  </a:lnTo>
                  <a:lnTo>
                    <a:pt x="1245" y="198831"/>
                  </a:lnTo>
                  <a:lnTo>
                    <a:pt x="1347" y="197447"/>
                  </a:lnTo>
                  <a:lnTo>
                    <a:pt x="1347" y="199530"/>
                  </a:lnTo>
                  <a:lnTo>
                    <a:pt x="1347" y="197447"/>
                  </a:lnTo>
                  <a:lnTo>
                    <a:pt x="1398" y="197447"/>
                  </a:lnTo>
                  <a:lnTo>
                    <a:pt x="1398" y="199530"/>
                  </a:lnTo>
                  <a:lnTo>
                    <a:pt x="1398" y="198831"/>
                  </a:lnTo>
                  <a:lnTo>
                    <a:pt x="1398" y="199530"/>
                  </a:lnTo>
                  <a:lnTo>
                    <a:pt x="1398" y="198831"/>
                  </a:lnTo>
                  <a:lnTo>
                    <a:pt x="1398" y="199530"/>
                  </a:lnTo>
                  <a:lnTo>
                    <a:pt x="1398" y="198831"/>
                  </a:lnTo>
                  <a:lnTo>
                    <a:pt x="1448" y="199530"/>
                  </a:lnTo>
                  <a:lnTo>
                    <a:pt x="1448" y="200228"/>
                  </a:lnTo>
                  <a:lnTo>
                    <a:pt x="1448" y="199530"/>
                  </a:lnTo>
                  <a:lnTo>
                    <a:pt x="1448" y="200228"/>
                  </a:lnTo>
                  <a:lnTo>
                    <a:pt x="1448" y="199530"/>
                  </a:lnTo>
                  <a:lnTo>
                    <a:pt x="1448" y="200228"/>
                  </a:lnTo>
                  <a:lnTo>
                    <a:pt x="1448" y="199530"/>
                  </a:lnTo>
                  <a:lnTo>
                    <a:pt x="1448" y="200228"/>
                  </a:lnTo>
                  <a:lnTo>
                    <a:pt x="1550" y="200228"/>
                  </a:lnTo>
                  <a:lnTo>
                    <a:pt x="1550" y="200876"/>
                  </a:lnTo>
                  <a:lnTo>
                    <a:pt x="1550" y="200228"/>
                  </a:lnTo>
                  <a:lnTo>
                    <a:pt x="1588" y="200228"/>
                  </a:lnTo>
                  <a:lnTo>
                    <a:pt x="1588" y="199530"/>
                  </a:lnTo>
                  <a:lnTo>
                    <a:pt x="1588" y="200228"/>
                  </a:lnTo>
                  <a:lnTo>
                    <a:pt x="1588" y="199530"/>
                  </a:lnTo>
                  <a:lnTo>
                    <a:pt x="1588" y="200228"/>
                  </a:lnTo>
                  <a:lnTo>
                    <a:pt x="1588" y="199530"/>
                  </a:lnTo>
                  <a:lnTo>
                    <a:pt x="1588" y="200228"/>
                  </a:lnTo>
                  <a:lnTo>
                    <a:pt x="1639" y="199530"/>
                  </a:lnTo>
                  <a:lnTo>
                    <a:pt x="1639" y="198831"/>
                  </a:lnTo>
                  <a:lnTo>
                    <a:pt x="1639" y="199530"/>
                  </a:lnTo>
                  <a:lnTo>
                    <a:pt x="1639" y="198831"/>
                  </a:lnTo>
                  <a:lnTo>
                    <a:pt x="1639" y="199530"/>
                  </a:lnTo>
                  <a:lnTo>
                    <a:pt x="1639" y="198831"/>
                  </a:lnTo>
                  <a:lnTo>
                    <a:pt x="1690" y="199530"/>
                  </a:lnTo>
                  <a:lnTo>
                    <a:pt x="1690" y="200228"/>
                  </a:lnTo>
                  <a:lnTo>
                    <a:pt x="1690" y="198831"/>
                  </a:lnTo>
                  <a:lnTo>
                    <a:pt x="1690" y="200228"/>
                  </a:lnTo>
                  <a:lnTo>
                    <a:pt x="1791" y="200228"/>
                  </a:lnTo>
                  <a:lnTo>
                    <a:pt x="1791" y="202260"/>
                  </a:lnTo>
                  <a:lnTo>
                    <a:pt x="1791" y="200228"/>
                  </a:lnTo>
                  <a:lnTo>
                    <a:pt x="1791" y="200876"/>
                  </a:lnTo>
                  <a:lnTo>
                    <a:pt x="1791" y="200228"/>
                  </a:lnTo>
                  <a:lnTo>
                    <a:pt x="1842" y="200876"/>
                  </a:lnTo>
                  <a:lnTo>
                    <a:pt x="1842" y="200228"/>
                  </a:lnTo>
                  <a:lnTo>
                    <a:pt x="1893" y="200876"/>
                  </a:lnTo>
                  <a:lnTo>
                    <a:pt x="1893" y="200228"/>
                  </a:lnTo>
                  <a:lnTo>
                    <a:pt x="1893" y="200876"/>
                  </a:lnTo>
                  <a:lnTo>
                    <a:pt x="1893" y="200228"/>
                  </a:lnTo>
                  <a:lnTo>
                    <a:pt x="1893" y="200876"/>
                  </a:lnTo>
                  <a:lnTo>
                    <a:pt x="1994" y="200876"/>
                  </a:lnTo>
                  <a:lnTo>
                    <a:pt x="1994" y="200228"/>
                  </a:lnTo>
                  <a:lnTo>
                    <a:pt x="1994" y="200876"/>
                  </a:lnTo>
                  <a:lnTo>
                    <a:pt x="2045" y="200876"/>
                  </a:lnTo>
                  <a:lnTo>
                    <a:pt x="2045" y="200228"/>
                  </a:lnTo>
                  <a:lnTo>
                    <a:pt x="2045" y="200876"/>
                  </a:lnTo>
                  <a:lnTo>
                    <a:pt x="2096" y="200228"/>
                  </a:lnTo>
                  <a:lnTo>
                    <a:pt x="2096" y="200876"/>
                  </a:lnTo>
                  <a:lnTo>
                    <a:pt x="2096" y="200228"/>
                  </a:lnTo>
                  <a:lnTo>
                    <a:pt x="2096" y="200876"/>
                  </a:lnTo>
                  <a:lnTo>
                    <a:pt x="2096" y="199530"/>
                  </a:lnTo>
                  <a:lnTo>
                    <a:pt x="2096" y="200228"/>
                  </a:lnTo>
                  <a:lnTo>
                    <a:pt x="2096" y="199530"/>
                  </a:lnTo>
                  <a:lnTo>
                    <a:pt x="2134" y="199530"/>
                  </a:lnTo>
                  <a:lnTo>
                    <a:pt x="2134" y="198831"/>
                  </a:lnTo>
                  <a:lnTo>
                    <a:pt x="2134" y="199530"/>
                  </a:lnTo>
                  <a:lnTo>
                    <a:pt x="2134" y="198831"/>
                  </a:lnTo>
                  <a:lnTo>
                    <a:pt x="2134" y="199530"/>
                  </a:lnTo>
                  <a:lnTo>
                    <a:pt x="2134" y="198831"/>
                  </a:lnTo>
                  <a:lnTo>
                    <a:pt x="2134" y="199530"/>
                  </a:lnTo>
                  <a:lnTo>
                    <a:pt x="2134" y="198831"/>
                  </a:lnTo>
                  <a:lnTo>
                    <a:pt x="2134" y="200228"/>
                  </a:lnTo>
                  <a:lnTo>
                    <a:pt x="2236" y="200228"/>
                  </a:lnTo>
                  <a:lnTo>
                    <a:pt x="2236" y="198831"/>
                  </a:lnTo>
                  <a:lnTo>
                    <a:pt x="2236" y="202260"/>
                  </a:lnTo>
                  <a:lnTo>
                    <a:pt x="2236" y="200876"/>
                  </a:lnTo>
                  <a:lnTo>
                    <a:pt x="2286" y="200876"/>
                  </a:lnTo>
                  <a:lnTo>
                    <a:pt x="2286" y="200228"/>
                  </a:lnTo>
                  <a:lnTo>
                    <a:pt x="2286" y="202260"/>
                  </a:lnTo>
                  <a:lnTo>
                    <a:pt x="2286" y="200876"/>
                  </a:lnTo>
                  <a:lnTo>
                    <a:pt x="2439" y="200876"/>
                  </a:lnTo>
                  <a:lnTo>
                    <a:pt x="2439" y="202260"/>
                  </a:lnTo>
                  <a:lnTo>
                    <a:pt x="2439" y="200876"/>
                  </a:lnTo>
                  <a:lnTo>
                    <a:pt x="2439" y="202260"/>
                  </a:lnTo>
                  <a:lnTo>
                    <a:pt x="2439" y="200876"/>
                  </a:lnTo>
                  <a:lnTo>
                    <a:pt x="2490" y="200876"/>
                  </a:lnTo>
                  <a:lnTo>
                    <a:pt x="2490" y="202260"/>
                  </a:lnTo>
                  <a:lnTo>
                    <a:pt x="2490" y="200228"/>
                  </a:lnTo>
                  <a:lnTo>
                    <a:pt x="2490" y="200876"/>
                  </a:lnTo>
                  <a:lnTo>
                    <a:pt x="2541" y="200876"/>
                  </a:lnTo>
                  <a:lnTo>
                    <a:pt x="2541" y="200228"/>
                  </a:lnTo>
                  <a:lnTo>
                    <a:pt x="2591" y="200228"/>
                  </a:lnTo>
                  <a:lnTo>
                    <a:pt x="2591" y="198831"/>
                  </a:lnTo>
                  <a:lnTo>
                    <a:pt x="2591" y="199530"/>
                  </a:lnTo>
                  <a:lnTo>
                    <a:pt x="2591" y="198831"/>
                  </a:lnTo>
                  <a:lnTo>
                    <a:pt x="2591" y="199530"/>
                  </a:lnTo>
                  <a:lnTo>
                    <a:pt x="2591" y="197447"/>
                  </a:lnTo>
                  <a:lnTo>
                    <a:pt x="2680" y="197447"/>
                  </a:lnTo>
                  <a:lnTo>
                    <a:pt x="2680" y="196799"/>
                  </a:lnTo>
                  <a:lnTo>
                    <a:pt x="2680" y="197447"/>
                  </a:lnTo>
                  <a:lnTo>
                    <a:pt x="2680" y="196799"/>
                  </a:lnTo>
                  <a:lnTo>
                    <a:pt x="2680" y="198831"/>
                  </a:lnTo>
                  <a:lnTo>
                    <a:pt x="2731" y="197447"/>
                  </a:lnTo>
                  <a:lnTo>
                    <a:pt x="2731" y="198831"/>
                  </a:lnTo>
                  <a:lnTo>
                    <a:pt x="2731" y="197447"/>
                  </a:lnTo>
                  <a:lnTo>
                    <a:pt x="2731" y="200228"/>
                  </a:lnTo>
                  <a:lnTo>
                    <a:pt x="2731" y="199530"/>
                  </a:lnTo>
                  <a:lnTo>
                    <a:pt x="2731" y="200228"/>
                  </a:lnTo>
                  <a:lnTo>
                    <a:pt x="2731" y="199530"/>
                  </a:lnTo>
                  <a:lnTo>
                    <a:pt x="2782" y="199530"/>
                  </a:lnTo>
                  <a:lnTo>
                    <a:pt x="2782" y="200228"/>
                  </a:lnTo>
                  <a:lnTo>
                    <a:pt x="2782" y="199530"/>
                  </a:lnTo>
                  <a:lnTo>
                    <a:pt x="2782" y="200876"/>
                  </a:lnTo>
                  <a:lnTo>
                    <a:pt x="2782" y="200228"/>
                  </a:lnTo>
                  <a:lnTo>
                    <a:pt x="2833" y="200228"/>
                  </a:lnTo>
                  <a:lnTo>
                    <a:pt x="2833" y="200876"/>
                  </a:lnTo>
                  <a:lnTo>
                    <a:pt x="2833" y="200228"/>
                  </a:lnTo>
                  <a:lnTo>
                    <a:pt x="2833" y="200876"/>
                  </a:lnTo>
                  <a:lnTo>
                    <a:pt x="2833" y="200228"/>
                  </a:lnTo>
                  <a:lnTo>
                    <a:pt x="2833" y="200876"/>
                  </a:lnTo>
                  <a:lnTo>
                    <a:pt x="2934" y="200876"/>
                  </a:lnTo>
                  <a:lnTo>
                    <a:pt x="2934" y="202260"/>
                  </a:lnTo>
                  <a:lnTo>
                    <a:pt x="2934" y="200876"/>
                  </a:lnTo>
                  <a:lnTo>
                    <a:pt x="2985" y="202260"/>
                  </a:lnTo>
                  <a:lnTo>
                    <a:pt x="2985" y="200876"/>
                  </a:lnTo>
                  <a:lnTo>
                    <a:pt x="2985" y="202260"/>
                  </a:lnTo>
                  <a:lnTo>
                    <a:pt x="2985" y="200876"/>
                  </a:lnTo>
                  <a:lnTo>
                    <a:pt x="2985" y="202260"/>
                  </a:lnTo>
                  <a:lnTo>
                    <a:pt x="3036" y="202260"/>
                  </a:lnTo>
                  <a:lnTo>
                    <a:pt x="3036" y="200228"/>
                  </a:lnTo>
                  <a:lnTo>
                    <a:pt x="3137" y="200228"/>
                  </a:lnTo>
                  <a:lnTo>
                    <a:pt x="3137" y="198831"/>
                  </a:lnTo>
                  <a:lnTo>
                    <a:pt x="3175" y="198831"/>
                  </a:lnTo>
                  <a:lnTo>
                    <a:pt x="3175" y="199530"/>
                  </a:lnTo>
                  <a:lnTo>
                    <a:pt x="3175" y="198831"/>
                  </a:lnTo>
                  <a:lnTo>
                    <a:pt x="3175" y="199530"/>
                  </a:lnTo>
                  <a:lnTo>
                    <a:pt x="3175" y="197447"/>
                  </a:lnTo>
                  <a:lnTo>
                    <a:pt x="3226" y="197447"/>
                  </a:lnTo>
                  <a:lnTo>
                    <a:pt x="3226" y="200228"/>
                  </a:lnTo>
                  <a:lnTo>
                    <a:pt x="3226" y="198831"/>
                  </a:lnTo>
                  <a:lnTo>
                    <a:pt x="3277" y="198831"/>
                  </a:lnTo>
                  <a:lnTo>
                    <a:pt x="3277" y="200228"/>
                  </a:lnTo>
                  <a:lnTo>
                    <a:pt x="3277" y="199530"/>
                  </a:lnTo>
                  <a:lnTo>
                    <a:pt x="3277" y="200228"/>
                  </a:lnTo>
                  <a:lnTo>
                    <a:pt x="3277" y="199530"/>
                  </a:lnTo>
                  <a:lnTo>
                    <a:pt x="3379" y="199530"/>
                  </a:lnTo>
                  <a:lnTo>
                    <a:pt x="3379" y="200876"/>
                  </a:lnTo>
                  <a:lnTo>
                    <a:pt x="3379" y="200228"/>
                  </a:lnTo>
                  <a:lnTo>
                    <a:pt x="3379" y="200876"/>
                  </a:lnTo>
                  <a:lnTo>
                    <a:pt x="3379" y="200228"/>
                  </a:lnTo>
                  <a:lnTo>
                    <a:pt x="3379" y="200876"/>
                  </a:lnTo>
                  <a:lnTo>
                    <a:pt x="3379" y="200228"/>
                  </a:lnTo>
                  <a:lnTo>
                    <a:pt x="3430" y="200876"/>
                  </a:lnTo>
                  <a:lnTo>
                    <a:pt x="3430" y="202260"/>
                  </a:lnTo>
                  <a:lnTo>
                    <a:pt x="3430" y="200876"/>
                  </a:lnTo>
                  <a:lnTo>
                    <a:pt x="3430" y="202260"/>
                  </a:lnTo>
                  <a:lnTo>
                    <a:pt x="3430" y="200876"/>
                  </a:lnTo>
                  <a:lnTo>
                    <a:pt x="3430" y="202260"/>
                  </a:lnTo>
                  <a:lnTo>
                    <a:pt x="3430" y="200876"/>
                  </a:lnTo>
                  <a:lnTo>
                    <a:pt x="3430" y="202260"/>
                  </a:lnTo>
                  <a:lnTo>
                    <a:pt x="3430" y="200876"/>
                  </a:lnTo>
                  <a:lnTo>
                    <a:pt x="3480" y="200876"/>
                  </a:lnTo>
                  <a:lnTo>
                    <a:pt x="3480" y="200228"/>
                  </a:lnTo>
                  <a:lnTo>
                    <a:pt x="3480" y="200876"/>
                  </a:lnTo>
                  <a:lnTo>
                    <a:pt x="3582" y="200876"/>
                  </a:lnTo>
                  <a:lnTo>
                    <a:pt x="3582" y="199530"/>
                  </a:lnTo>
                  <a:lnTo>
                    <a:pt x="3633" y="199530"/>
                  </a:lnTo>
                  <a:lnTo>
                    <a:pt x="3633" y="197447"/>
                  </a:lnTo>
                  <a:lnTo>
                    <a:pt x="3633" y="198831"/>
                  </a:lnTo>
                  <a:lnTo>
                    <a:pt x="3684" y="198831"/>
                  </a:lnTo>
                  <a:lnTo>
                    <a:pt x="3684" y="199530"/>
                  </a:lnTo>
                  <a:lnTo>
                    <a:pt x="3684" y="197447"/>
                  </a:lnTo>
                  <a:lnTo>
                    <a:pt x="3684" y="198831"/>
                  </a:lnTo>
                  <a:lnTo>
                    <a:pt x="3684" y="197447"/>
                  </a:lnTo>
                  <a:lnTo>
                    <a:pt x="3722" y="198831"/>
                  </a:lnTo>
                  <a:lnTo>
                    <a:pt x="3722" y="200228"/>
                  </a:lnTo>
                  <a:lnTo>
                    <a:pt x="3722" y="198831"/>
                  </a:lnTo>
                  <a:lnTo>
                    <a:pt x="3722" y="199530"/>
                  </a:lnTo>
                  <a:lnTo>
                    <a:pt x="3722" y="198831"/>
                  </a:lnTo>
                  <a:lnTo>
                    <a:pt x="3722" y="199530"/>
                  </a:lnTo>
                  <a:lnTo>
                    <a:pt x="3823" y="199530"/>
                  </a:lnTo>
                  <a:lnTo>
                    <a:pt x="3823" y="200228"/>
                  </a:lnTo>
                  <a:lnTo>
                    <a:pt x="3823" y="199530"/>
                  </a:lnTo>
                  <a:lnTo>
                    <a:pt x="3823" y="200228"/>
                  </a:lnTo>
                  <a:lnTo>
                    <a:pt x="3823" y="199530"/>
                  </a:lnTo>
                  <a:lnTo>
                    <a:pt x="3823" y="200228"/>
                  </a:lnTo>
                  <a:lnTo>
                    <a:pt x="3874" y="200228"/>
                  </a:lnTo>
                  <a:lnTo>
                    <a:pt x="3874" y="200876"/>
                  </a:lnTo>
                  <a:lnTo>
                    <a:pt x="3925" y="200876"/>
                  </a:lnTo>
                  <a:lnTo>
                    <a:pt x="3925" y="200228"/>
                  </a:lnTo>
                  <a:lnTo>
                    <a:pt x="3925" y="200876"/>
                  </a:lnTo>
                  <a:lnTo>
                    <a:pt x="3925" y="200228"/>
                  </a:lnTo>
                  <a:lnTo>
                    <a:pt x="3925" y="200876"/>
                  </a:lnTo>
                  <a:lnTo>
                    <a:pt x="4026" y="200876"/>
                  </a:lnTo>
                  <a:lnTo>
                    <a:pt x="4026" y="200228"/>
                  </a:lnTo>
                  <a:lnTo>
                    <a:pt x="4026" y="200876"/>
                  </a:lnTo>
                  <a:lnTo>
                    <a:pt x="4026" y="200228"/>
                  </a:lnTo>
                  <a:lnTo>
                    <a:pt x="4026" y="200876"/>
                  </a:lnTo>
                  <a:lnTo>
                    <a:pt x="4077" y="200876"/>
                  </a:lnTo>
                  <a:lnTo>
                    <a:pt x="4077" y="200228"/>
                  </a:lnTo>
                  <a:lnTo>
                    <a:pt x="4077" y="200876"/>
                  </a:lnTo>
                  <a:lnTo>
                    <a:pt x="4077" y="200228"/>
                  </a:lnTo>
                  <a:lnTo>
                    <a:pt x="4077" y="200876"/>
                  </a:lnTo>
                  <a:lnTo>
                    <a:pt x="4077" y="199530"/>
                  </a:lnTo>
                  <a:lnTo>
                    <a:pt x="4128" y="199530"/>
                  </a:lnTo>
                  <a:lnTo>
                    <a:pt x="4128" y="200228"/>
                  </a:lnTo>
                  <a:lnTo>
                    <a:pt x="4128" y="197447"/>
                  </a:lnTo>
                  <a:lnTo>
                    <a:pt x="4128" y="198831"/>
                  </a:lnTo>
                  <a:lnTo>
                    <a:pt x="4128" y="197447"/>
                  </a:lnTo>
                  <a:lnTo>
                    <a:pt x="4128" y="198831"/>
                  </a:lnTo>
                  <a:lnTo>
                    <a:pt x="4179" y="198831"/>
                  </a:lnTo>
                  <a:lnTo>
                    <a:pt x="4179" y="197447"/>
                  </a:lnTo>
                  <a:lnTo>
                    <a:pt x="4179" y="198831"/>
                  </a:lnTo>
                  <a:lnTo>
                    <a:pt x="4179" y="197447"/>
                  </a:lnTo>
                  <a:lnTo>
                    <a:pt x="4179" y="199530"/>
                  </a:lnTo>
                  <a:lnTo>
                    <a:pt x="4268" y="199530"/>
                  </a:lnTo>
                  <a:lnTo>
                    <a:pt x="4268" y="198831"/>
                  </a:lnTo>
                  <a:lnTo>
                    <a:pt x="4268" y="199530"/>
                  </a:lnTo>
                  <a:lnTo>
                    <a:pt x="4318" y="199530"/>
                  </a:lnTo>
                  <a:lnTo>
                    <a:pt x="4318" y="198831"/>
                  </a:lnTo>
                  <a:lnTo>
                    <a:pt x="4318" y="199530"/>
                  </a:lnTo>
                  <a:lnTo>
                    <a:pt x="4318" y="198831"/>
                  </a:lnTo>
                  <a:lnTo>
                    <a:pt x="4318" y="200228"/>
                  </a:lnTo>
                  <a:lnTo>
                    <a:pt x="4318" y="199530"/>
                  </a:lnTo>
                  <a:lnTo>
                    <a:pt x="4318" y="200228"/>
                  </a:lnTo>
                  <a:lnTo>
                    <a:pt x="4318" y="199530"/>
                  </a:lnTo>
                  <a:lnTo>
                    <a:pt x="4318" y="200228"/>
                  </a:lnTo>
                  <a:lnTo>
                    <a:pt x="4318" y="199530"/>
                  </a:lnTo>
                  <a:lnTo>
                    <a:pt x="4369" y="199530"/>
                  </a:lnTo>
                  <a:lnTo>
                    <a:pt x="4369" y="200228"/>
                  </a:lnTo>
                  <a:lnTo>
                    <a:pt x="4369" y="199530"/>
                  </a:lnTo>
                  <a:lnTo>
                    <a:pt x="4369" y="200228"/>
                  </a:lnTo>
                  <a:lnTo>
                    <a:pt x="4420" y="200228"/>
                  </a:lnTo>
                  <a:lnTo>
                    <a:pt x="4420" y="200876"/>
                  </a:lnTo>
                  <a:lnTo>
                    <a:pt x="4420" y="200228"/>
                  </a:lnTo>
                  <a:lnTo>
                    <a:pt x="4420" y="200876"/>
                  </a:lnTo>
                  <a:lnTo>
                    <a:pt x="4420" y="200228"/>
                  </a:lnTo>
                  <a:lnTo>
                    <a:pt x="4522" y="200228"/>
                  </a:lnTo>
                  <a:lnTo>
                    <a:pt x="4522" y="199530"/>
                  </a:lnTo>
                  <a:lnTo>
                    <a:pt x="4522" y="200228"/>
                  </a:lnTo>
                  <a:lnTo>
                    <a:pt x="4573" y="200228"/>
                  </a:lnTo>
                  <a:lnTo>
                    <a:pt x="4573" y="198831"/>
                  </a:lnTo>
                  <a:lnTo>
                    <a:pt x="4573" y="199530"/>
                  </a:lnTo>
                  <a:lnTo>
                    <a:pt x="4623" y="198831"/>
                  </a:lnTo>
                  <a:lnTo>
                    <a:pt x="4623" y="197447"/>
                  </a:lnTo>
                  <a:lnTo>
                    <a:pt x="4623" y="199530"/>
                  </a:lnTo>
                  <a:lnTo>
                    <a:pt x="4725" y="198831"/>
                  </a:lnTo>
                  <a:lnTo>
                    <a:pt x="4725" y="197447"/>
                  </a:lnTo>
                  <a:lnTo>
                    <a:pt x="4725" y="200876"/>
                  </a:lnTo>
                  <a:lnTo>
                    <a:pt x="4725" y="199530"/>
                  </a:lnTo>
                  <a:lnTo>
                    <a:pt x="4763" y="199530"/>
                  </a:lnTo>
                  <a:lnTo>
                    <a:pt x="4763" y="200876"/>
                  </a:lnTo>
                  <a:lnTo>
                    <a:pt x="4763" y="200228"/>
                  </a:lnTo>
                  <a:lnTo>
                    <a:pt x="4814" y="200228"/>
                  </a:lnTo>
                  <a:lnTo>
                    <a:pt x="4814" y="199530"/>
                  </a:lnTo>
                  <a:lnTo>
                    <a:pt x="4814" y="200228"/>
                  </a:lnTo>
                  <a:lnTo>
                    <a:pt x="4814" y="199530"/>
                  </a:lnTo>
                  <a:lnTo>
                    <a:pt x="4814" y="200228"/>
                  </a:lnTo>
                  <a:lnTo>
                    <a:pt x="4814" y="199530"/>
                  </a:lnTo>
                  <a:lnTo>
                    <a:pt x="4814" y="200876"/>
                  </a:lnTo>
                  <a:lnTo>
                    <a:pt x="4814" y="200228"/>
                  </a:lnTo>
                  <a:lnTo>
                    <a:pt x="4814" y="200876"/>
                  </a:lnTo>
                  <a:lnTo>
                    <a:pt x="4814" y="200228"/>
                  </a:lnTo>
                  <a:lnTo>
                    <a:pt x="4865" y="200228"/>
                  </a:lnTo>
                  <a:lnTo>
                    <a:pt x="4865" y="200876"/>
                  </a:lnTo>
                  <a:lnTo>
                    <a:pt x="4865" y="200228"/>
                  </a:lnTo>
                  <a:lnTo>
                    <a:pt x="4865" y="200876"/>
                  </a:lnTo>
                  <a:lnTo>
                    <a:pt x="4865" y="200228"/>
                  </a:lnTo>
                  <a:lnTo>
                    <a:pt x="4865" y="200876"/>
                  </a:lnTo>
                  <a:lnTo>
                    <a:pt x="4966" y="200876"/>
                  </a:lnTo>
                  <a:lnTo>
                    <a:pt x="4966" y="200228"/>
                  </a:lnTo>
                  <a:lnTo>
                    <a:pt x="4966" y="200876"/>
                  </a:lnTo>
                  <a:lnTo>
                    <a:pt x="4966" y="200228"/>
                  </a:lnTo>
                  <a:lnTo>
                    <a:pt x="5017" y="200228"/>
                  </a:lnTo>
                  <a:lnTo>
                    <a:pt x="5017" y="200876"/>
                  </a:lnTo>
                  <a:lnTo>
                    <a:pt x="5017" y="200228"/>
                  </a:lnTo>
                  <a:lnTo>
                    <a:pt x="5017" y="200876"/>
                  </a:lnTo>
                  <a:lnTo>
                    <a:pt x="5017" y="200228"/>
                  </a:lnTo>
                  <a:lnTo>
                    <a:pt x="5017" y="200876"/>
                  </a:lnTo>
                  <a:lnTo>
                    <a:pt x="5017" y="200228"/>
                  </a:lnTo>
                  <a:lnTo>
                    <a:pt x="5068" y="200228"/>
                  </a:lnTo>
                  <a:lnTo>
                    <a:pt x="5068" y="199530"/>
                  </a:lnTo>
                  <a:lnTo>
                    <a:pt x="5068" y="200228"/>
                  </a:lnTo>
                  <a:lnTo>
                    <a:pt x="5068" y="199530"/>
                  </a:lnTo>
                  <a:lnTo>
                    <a:pt x="5169" y="199530"/>
                  </a:lnTo>
                  <a:lnTo>
                    <a:pt x="5169" y="198831"/>
                  </a:lnTo>
                  <a:lnTo>
                    <a:pt x="5169" y="199530"/>
                  </a:lnTo>
                  <a:lnTo>
                    <a:pt x="5169" y="198831"/>
                  </a:lnTo>
                  <a:lnTo>
                    <a:pt x="5169" y="200876"/>
                  </a:lnTo>
                  <a:lnTo>
                    <a:pt x="5169" y="199530"/>
                  </a:lnTo>
                  <a:lnTo>
                    <a:pt x="5220" y="198831"/>
                  </a:lnTo>
                  <a:lnTo>
                    <a:pt x="5220" y="202260"/>
                  </a:lnTo>
                  <a:lnTo>
                    <a:pt x="5220" y="200876"/>
                  </a:lnTo>
                  <a:lnTo>
                    <a:pt x="5220" y="202260"/>
                  </a:lnTo>
                  <a:lnTo>
                    <a:pt x="5220" y="199530"/>
                  </a:lnTo>
                  <a:lnTo>
                    <a:pt x="5271" y="200228"/>
                  </a:lnTo>
                  <a:lnTo>
                    <a:pt x="5271" y="202260"/>
                  </a:lnTo>
                  <a:lnTo>
                    <a:pt x="5271" y="200228"/>
                  </a:lnTo>
                  <a:lnTo>
                    <a:pt x="5271" y="202260"/>
                  </a:lnTo>
                  <a:lnTo>
                    <a:pt x="5309" y="200876"/>
                  </a:lnTo>
                  <a:lnTo>
                    <a:pt x="5309" y="202260"/>
                  </a:lnTo>
                  <a:lnTo>
                    <a:pt x="5309" y="200876"/>
                  </a:lnTo>
                  <a:lnTo>
                    <a:pt x="5309" y="202260"/>
                  </a:lnTo>
                  <a:lnTo>
                    <a:pt x="5309" y="200876"/>
                  </a:lnTo>
                  <a:lnTo>
                    <a:pt x="5309" y="202260"/>
                  </a:lnTo>
                  <a:lnTo>
                    <a:pt x="5309" y="200876"/>
                  </a:lnTo>
                  <a:lnTo>
                    <a:pt x="5309" y="202260"/>
                  </a:lnTo>
                  <a:lnTo>
                    <a:pt x="5309" y="200876"/>
                  </a:lnTo>
                  <a:lnTo>
                    <a:pt x="5411" y="200876"/>
                  </a:lnTo>
                  <a:lnTo>
                    <a:pt x="5411" y="202260"/>
                  </a:lnTo>
                  <a:lnTo>
                    <a:pt x="5411" y="200876"/>
                  </a:lnTo>
                  <a:lnTo>
                    <a:pt x="5411" y="202260"/>
                  </a:lnTo>
                  <a:lnTo>
                    <a:pt x="5411" y="200876"/>
                  </a:lnTo>
                  <a:lnTo>
                    <a:pt x="5461" y="202260"/>
                  </a:lnTo>
                  <a:lnTo>
                    <a:pt x="5461" y="200228"/>
                  </a:lnTo>
                  <a:lnTo>
                    <a:pt x="5512" y="200228"/>
                  </a:lnTo>
                  <a:lnTo>
                    <a:pt x="5512" y="200876"/>
                  </a:lnTo>
                  <a:lnTo>
                    <a:pt x="5512" y="200228"/>
                  </a:lnTo>
                  <a:lnTo>
                    <a:pt x="5512" y="200876"/>
                  </a:lnTo>
                  <a:lnTo>
                    <a:pt x="5512" y="200228"/>
                  </a:lnTo>
                  <a:lnTo>
                    <a:pt x="5614" y="200228"/>
                  </a:lnTo>
                  <a:lnTo>
                    <a:pt x="5614" y="197447"/>
                  </a:lnTo>
                  <a:lnTo>
                    <a:pt x="5665" y="197447"/>
                  </a:lnTo>
                  <a:lnTo>
                    <a:pt x="5665" y="200228"/>
                  </a:lnTo>
                  <a:lnTo>
                    <a:pt x="5665" y="197447"/>
                  </a:lnTo>
                  <a:lnTo>
                    <a:pt x="5665" y="200228"/>
                  </a:lnTo>
                  <a:lnTo>
                    <a:pt x="5716" y="200228"/>
                  </a:lnTo>
                  <a:lnTo>
                    <a:pt x="5716" y="202260"/>
                  </a:lnTo>
                  <a:lnTo>
                    <a:pt x="5716" y="199530"/>
                  </a:lnTo>
                  <a:lnTo>
                    <a:pt x="5716" y="200876"/>
                  </a:lnTo>
                  <a:lnTo>
                    <a:pt x="5766" y="200876"/>
                  </a:lnTo>
                  <a:lnTo>
                    <a:pt x="5766" y="200228"/>
                  </a:lnTo>
                  <a:lnTo>
                    <a:pt x="5766" y="202260"/>
                  </a:lnTo>
                  <a:lnTo>
                    <a:pt x="5855" y="200876"/>
                  </a:lnTo>
                  <a:lnTo>
                    <a:pt x="5855" y="202260"/>
                  </a:lnTo>
                  <a:lnTo>
                    <a:pt x="5855" y="200876"/>
                  </a:lnTo>
                  <a:lnTo>
                    <a:pt x="5855" y="202260"/>
                  </a:lnTo>
                  <a:lnTo>
                    <a:pt x="5855" y="200876"/>
                  </a:lnTo>
                  <a:lnTo>
                    <a:pt x="5855" y="202260"/>
                  </a:lnTo>
                  <a:lnTo>
                    <a:pt x="5855" y="200876"/>
                  </a:lnTo>
                  <a:lnTo>
                    <a:pt x="5855" y="202260"/>
                  </a:lnTo>
                  <a:lnTo>
                    <a:pt x="5906" y="202260"/>
                  </a:lnTo>
                  <a:lnTo>
                    <a:pt x="5906" y="200876"/>
                  </a:lnTo>
                  <a:lnTo>
                    <a:pt x="5906" y="202260"/>
                  </a:lnTo>
                  <a:lnTo>
                    <a:pt x="5906" y="200876"/>
                  </a:lnTo>
                  <a:lnTo>
                    <a:pt x="5906" y="202260"/>
                  </a:lnTo>
                  <a:lnTo>
                    <a:pt x="5906" y="200876"/>
                  </a:lnTo>
                  <a:lnTo>
                    <a:pt x="5906" y="202260"/>
                  </a:lnTo>
                  <a:lnTo>
                    <a:pt x="5957" y="202260"/>
                  </a:lnTo>
                  <a:lnTo>
                    <a:pt x="5957" y="200876"/>
                  </a:lnTo>
                  <a:lnTo>
                    <a:pt x="6008" y="200876"/>
                  </a:lnTo>
                  <a:lnTo>
                    <a:pt x="6008" y="199530"/>
                  </a:lnTo>
                  <a:lnTo>
                    <a:pt x="6109" y="199530"/>
                  </a:lnTo>
                  <a:lnTo>
                    <a:pt x="6109" y="198831"/>
                  </a:lnTo>
                  <a:lnTo>
                    <a:pt x="6109" y="199530"/>
                  </a:lnTo>
                  <a:lnTo>
                    <a:pt x="6109" y="197447"/>
                  </a:lnTo>
                  <a:lnTo>
                    <a:pt x="6109" y="198831"/>
                  </a:lnTo>
                  <a:lnTo>
                    <a:pt x="6109" y="197447"/>
                  </a:lnTo>
                  <a:lnTo>
                    <a:pt x="6109" y="199530"/>
                  </a:lnTo>
                  <a:lnTo>
                    <a:pt x="6160" y="199530"/>
                  </a:lnTo>
                  <a:lnTo>
                    <a:pt x="6160" y="200228"/>
                  </a:lnTo>
                  <a:lnTo>
                    <a:pt x="6160" y="197447"/>
                  </a:lnTo>
                  <a:lnTo>
                    <a:pt x="6160" y="202260"/>
                  </a:lnTo>
                  <a:lnTo>
                    <a:pt x="6160" y="200876"/>
                  </a:lnTo>
                  <a:lnTo>
                    <a:pt x="6211" y="200876"/>
                  </a:lnTo>
                  <a:lnTo>
                    <a:pt x="6211" y="199530"/>
                  </a:lnTo>
                  <a:lnTo>
                    <a:pt x="6211" y="200876"/>
                  </a:lnTo>
                  <a:lnTo>
                    <a:pt x="6312" y="200228"/>
                  </a:lnTo>
                  <a:lnTo>
                    <a:pt x="6312" y="202260"/>
                  </a:lnTo>
                  <a:lnTo>
                    <a:pt x="6312" y="200876"/>
                  </a:lnTo>
                  <a:lnTo>
                    <a:pt x="6350" y="200876"/>
                  </a:lnTo>
                  <a:lnTo>
                    <a:pt x="6350" y="202260"/>
                  </a:lnTo>
                  <a:lnTo>
                    <a:pt x="6350" y="200876"/>
                  </a:lnTo>
                  <a:lnTo>
                    <a:pt x="6350" y="202260"/>
                  </a:lnTo>
                  <a:lnTo>
                    <a:pt x="6350" y="200876"/>
                  </a:lnTo>
                  <a:lnTo>
                    <a:pt x="6401" y="200876"/>
                  </a:lnTo>
                  <a:lnTo>
                    <a:pt x="6401" y="202260"/>
                  </a:lnTo>
                  <a:lnTo>
                    <a:pt x="6401" y="200876"/>
                  </a:lnTo>
                  <a:lnTo>
                    <a:pt x="6401" y="202260"/>
                  </a:lnTo>
                  <a:lnTo>
                    <a:pt x="6452" y="202260"/>
                  </a:lnTo>
                  <a:lnTo>
                    <a:pt x="6452" y="200228"/>
                  </a:lnTo>
                  <a:lnTo>
                    <a:pt x="6452" y="200876"/>
                  </a:lnTo>
                  <a:lnTo>
                    <a:pt x="6554" y="200228"/>
                  </a:lnTo>
                  <a:lnTo>
                    <a:pt x="6554" y="200876"/>
                  </a:lnTo>
                  <a:lnTo>
                    <a:pt x="6554" y="198831"/>
                  </a:lnTo>
                  <a:lnTo>
                    <a:pt x="6605" y="198831"/>
                  </a:lnTo>
                  <a:lnTo>
                    <a:pt x="6605" y="196113"/>
                  </a:lnTo>
                  <a:lnTo>
                    <a:pt x="6605" y="197447"/>
                  </a:lnTo>
                  <a:lnTo>
                    <a:pt x="6655" y="198831"/>
                  </a:lnTo>
                  <a:lnTo>
                    <a:pt x="6655" y="199530"/>
                  </a:lnTo>
                  <a:lnTo>
                    <a:pt x="6655" y="196799"/>
                  </a:lnTo>
                  <a:lnTo>
                    <a:pt x="6655" y="200228"/>
                  </a:lnTo>
                  <a:lnTo>
                    <a:pt x="6757" y="200228"/>
                  </a:lnTo>
                  <a:lnTo>
                    <a:pt x="6757" y="198831"/>
                  </a:lnTo>
                  <a:lnTo>
                    <a:pt x="6757" y="200228"/>
                  </a:lnTo>
                  <a:lnTo>
                    <a:pt x="6808" y="200228"/>
                  </a:lnTo>
                  <a:lnTo>
                    <a:pt x="6808" y="199530"/>
                  </a:lnTo>
                  <a:lnTo>
                    <a:pt x="6808" y="200876"/>
                  </a:lnTo>
                  <a:lnTo>
                    <a:pt x="6808" y="200228"/>
                  </a:lnTo>
                  <a:lnTo>
                    <a:pt x="6859" y="200228"/>
                  </a:lnTo>
                  <a:lnTo>
                    <a:pt x="6859" y="200876"/>
                  </a:lnTo>
                  <a:lnTo>
                    <a:pt x="6897" y="200876"/>
                  </a:lnTo>
                  <a:lnTo>
                    <a:pt x="6897" y="200228"/>
                  </a:lnTo>
                  <a:lnTo>
                    <a:pt x="6897" y="202260"/>
                  </a:lnTo>
                  <a:lnTo>
                    <a:pt x="6897" y="200876"/>
                  </a:lnTo>
                  <a:lnTo>
                    <a:pt x="6897" y="202260"/>
                  </a:lnTo>
                  <a:lnTo>
                    <a:pt x="6897" y="200876"/>
                  </a:lnTo>
                  <a:lnTo>
                    <a:pt x="6998" y="200876"/>
                  </a:lnTo>
                  <a:lnTo>
                    <a:pt x="6998" y="200228"/>
                  </a:lnTo>
                  <a:lnTo>
                    <a:pt x="6998" y="202260"/>
                  </a:lnTo>
                  <a:lnTo>
                    <a:pt x="6998" y="200876"/>
                  </a:lnTo>
                  <a:lnTo>
                    <a:pt x="7049" y="200228"/>
                  </a:lnTo>
                  <a:lnTo>
                    <a:pt x="7049" y="198831"/>
                  </a:lnTo>
                  <a:lnTo>
                    <a:pt x="7049" y="199530"/>
                  </a:lnTo>
                  <a:lnTo>
                    <a:pt x="7100" y="198831"/>
                  </a:lnTo>
                  <a:lnTo>
                    <a:pt x="7100" y="196799"/>
                  </a:lnTo>
                  <a:lnTo>
                    <a:pt x="7100" y="198831"/>
                  </a:lnTo>
                  <a:lnTo>
                    <a:pt x="7201" y="198831"/>
                  </a:lnTo>
                  <a:lnTo>
                    <a:pt x="7201" y="196113"/>
                  </a:lnTo>
                  <a:lnTo>
                    <a:pt x="7201" y="200228"/>
                  </a:lnTo>
                  <a:lnTo>
                    <a:pt x="7201" y="199530"/>
                  </a:lnTo>
                  <a:lnTo>
                    <a:pt x="7252" y="199530"/>
                  </a:lnTo>
                  <a:lnTo>
                    <a:pt x="7252" y="197447"/>
                  </a:lnTo>
                  <a:lnTo>
                    <a:pt x="7252" y="199530"/>
                  </a:lnTo>
                  <a:lnTo>
                    <a:pt x="7252" y="198831"/>
                  </a:lnTo>
                  <a:lnTo>
                    <a:pt x="7303" y="198831"/>
                  </a:lnTo>
                  <a:lnTo>
                    <a:pt x="7303" y="199530"/>
                  </a:lnTo>
                  <a:lnTo>
                    <a:pt x="7303" y="198831"/>
                  </a:lnTo>
                  <a:lnTo>
                    <a:pt x="7303" y="199530"/>
                  </a:lnTo>
                  <a:lnTo>
                    <a:pt x="7354" y="199530"/>
                  </a:lnTo>
                  <a:lnTo>
                    <a:pt x="7354" y="198831"/>
                  </a:lnTo>
                  <a:lnTo>
                    <a:pt x="7354" y="200228"/>
                  </a:lnTo>
                  <a:lnTo>
                    <a:pt x="7354" y="199530"/>
                  </a:lnTo>
                  <a:lnTo>
                    <a:pt x="7354" y="200228"/>
                  </a:lnTo>
                  <a:lnTo>
                    <a:pt x="7443" y="200228"/>
                  </a:lnTo>
                  <a:lnTo>
                    <a:pt x="7443" y="199530"/>
                  </a:lnTo>
                  <a:lnTo>
                    <a:pt x="7443" y="200876"/>
                  </a:lnTo>
                  <a:lnTo>
                    <a:pt x="7443" y="200228"/>
                  </a:lnTo>
                  <a:lnTo>
                    <a:pt x="7443" y="200876"/>
                  </a:lnTo>
                  <a:lnTo>
                    <a:pt x="7493" y="200228"/>
                  </a:lnTo>
                  <a:lnTo>
                    <a:pt x="7493" y="200876"/>
                  </a:lnTo>
                  <a:lnTo>
                    <a:pt x="7493" y="200228"/>
                  </a:lnTo>
                  <a:lnTo>
                    <a:pt x="7493" y="200876"/>
                  </a:lnTo>
                  <a:lnTo>
                    <a:pt x="7544" y="200228"/>
                  </a:lnTo>
                  <a:lnTo>
                    <a:pt x="7544" y="199530"/>
                  </a:lnTo>
                  <a:lnTo>
                    <a:pt x="7544" y="200228"/>
                  </a:lnTo>
                  <a:lnTo>
                    <a:pt x="7544" y="198831"/>
                  </a:lnTo>
                  <a:lnTo>
                    <a:pt x="7595" y="198831"/>
                  </a:lnTo>
                  <a:lnTo>
                    <a:pt x="7595" y="197447"/>
                  </a:lnTo>
                  <a:lnTo>
                    <a:pt x="7595" y="199530"/>
                  </a:lnTo>
                  <a:lnTo>
                    <a:pt x="7595" y="198831"/>
                  </a:lnTo>
                  <a:lnTo>
                    <a:pt x="7697" y="197447"/>
                  </a:lnTo>
                  <a:lnTo>
                    <a:pt x="7697" y="202260"/>
                  </a:lnTo>
                  <a:lnTo>
                    <a:pt x="7697" y="199530"/>
                  </a:lnTo>
                  <a:lnTo>
                    <a:pt x="7748" y="199530"/>
                  </a:lnTo>
                  <a:lnTo>
                    <a:pt x="7748" y="200876"/>
                  </a:lnTo>
                  <a:lnTo>
                    <a:pt x="7748" y="200228"/>
                  </a:lnTo>
                  <a:lnTo>
                    <a:pt x="7748" y="200876"/>
                  </a:lnTo>
                  <a:lnTo>
                    <a:pt x="7748" y="200228"/>
                  </a:lnTo>
                  <a:lnTo>
                    <a:pt x="7798" y="200228"/>
                  </a:lnTo>
                  <a:lnTo>
                    <a:pt x="7798" y="200876"/>
                  </a:lnTo>
                  <a:lnTo>
                    <a:pt x="7798" y="200228"/>
                  </a:lnTo>
                  <a:lnTo>
                    <a:pt x="7798" y="200876"/>
                  </a:lnTo>
                  <a:lnTo>
                    <a:pt x="7900" y="200876"/>
                  </a:lnTo>
                  <a:lnTo>
                    <a:pt x="7900" y="200228"/>
                  </a:lnTo>
                  <a:lnTo>
                    <a:pt x="7900" y="200876"/>
                  </a:lnTo>
                  <a:lnTo>
                    <a:pt x="7900" y="200228"/>
                  </a:lnTo>
                  <a:lnTo>
                    <a:pt x="7938" y="200228"/>
                  </a:lnTo>
                  <a:lnTo>
                    <a:pt x="7938" y="200876"/>
                  </a:lnTo>
                  <a:lnTo>
                    <a:pt x="7938" y="200228"/>
                  </a:lnTo>
                  <a:lnTo>
                    <a:pt x="7938" y="200876"/>
                  </a:lnTo>
                  <a:lnTo>
                    <a:pt x="7938" y="200228"/>
                  </a:lnTo>
                  <a:lnTo>
                    <a:pt x="7938" y="200876"/>
                  </a:lnTo>
                  <a:lnTo>
                    <a:pt x="7938" y="200228"/>
                  </a:lnTo>
                  <a:lnTo>
                    <a:pt x="7938" y="200876"/>
                  </a:lnTo>
                  <a:lnTo>
                    <a:pt x="7938" y="200228"/>
                  </a:lnTo>
                  <a:lnTo>
                    <a:pt x="7989" y="200228"/>
                  </a:lnTo>
                  <a:lnTo>
                    <a:pt x="7989" y="199530"/>
                  </a:lnTo>
                  <a:lnTo>
                    <a:pt x="8040" y="200228"/>
                  </a:lnTo>
                  <a:lnTo>
                    <a:pt x="8040" y="197447"/>
                  </a:lnTo>
                  <a:lnTo>
                    <a:pt x="8141" y="198831"/>
                  </a:lnTo>
                  <a:lnTo>
                    <a:pt x="8141" y="200228"/>
                  </a:lnTo>
                  <a:lnTo>
                    <a:pt x="8141" y="198831"/>
                  </a:lnTo>
                  <a:lnTo>
                    <a:pt x="8141" y="199530"/>
                  </a:lnTo>
                  <a:lnTo>
                    <a:pt x="8192" y="199530"/>
                  </a:lnTo>
                  <a:lnTo>
                    <a:pt x="8192" y="200876"/>
                  </a:lnTo>
                  <a:lnTo>
                    <a:pt x="8192" y="200228"/>
                  </a:lnTo>
                  <a:lnTo>
                    <a:pt x="8192" y="200876"/>
                  </a:lnTo>
                  <a:lnTo>
                    <a:pt x="8243" y="200876"/>
                  </a:lnTo>
                  <a:lnTo>
                    <a:pt x="8243" y="200228"/>
                  </a:lnTo>
                  <a:lnTo>
                    <a:pt x="8243" y="200876"/>
                  </a:lnTo>
                  <a:lnTo>
                    <a:pt x="8344" y="200876"/>
                  </a:lnTo>
                  <a:lnTo>
                    <a:pt x="8344" y="200228"/>
                  </a:lnTo>
                  <a:lnTo>
                    <a:pt x="8344" y="200876"/>
                  </a:lnTo>
                  <a:lnTo>
                    <a:pt x="8395" y="200876"/>
                  </a:lnTo>
                  <a:lnTo>
                    <a:pt x="8395" y="200228"/>
                  </a:lnTo>
                  <a:lnTo>
                    <a:pt x="8395" y="200876"/>
                  </a:lnTo>
                  <a:lnTo>
                    <a:pt x="8395" y="200228"/>
                  </a:lnTo>
                  <a:lnTo>
                    <a:pt x="8446" y="200876"/>
                  </a:lnTo>
                  <a:lnTo>
                    <a:pt x="8446" y="200228"/>
                  </a:lnTo>
                  <a:lnTo>
                    <a:pt x="8446" y="200876"/>
                  </a:lnTo>
                  <a:lnTo>
                    <a:pt x="8446" y="200228"/>
                  </a:lnTo>
                  <a:lnTo>
                    <a:pt x="8446" y="200876"/>
                  </a:lnTo>
                  <a:lnTo>
                    <a:pt x="8484" y="200228"/>
                  </a:lnTo>
                  <a:lnTo>
                    <a:pt x="8484" y="199530"/>
                  </a:lnTo>
                  <a:lnTo>
                    <a:pt x="8484" y="200228"/>
                  </a:lnTo>
                  <a:lnTo>
                    <a:pt x="8484" y="198831"/>
                  </a:lnTo>
                  <a:lnTo>
                    <a:pt x="8586" y="198831"/>
                  </a:lnTo>
                  <a:lnTo>
                    <a:pt x="8586" y="196799"/>
                  </a:lnTo>
                  <a:lnTo>
                    <a:pt x="8586" y="197447"/>
                  </a:lnTo>
                  <a:lnTo>
                    <a:pt x="8586" y="196113"/>
                  </a:lnTo>
                  <a:lnTo>
                    <a:pt x="8586" y="196799"/>
                  </a:lnTo>
                  <a:lnTo>
                    <a:pt x="8636" y="197447"/>
                  </a:lnTo>
                  <a:lnTo>
                    <a:pt x="8636" y="198831"/>
                  </a:lnTo>
                  <a:lnTo>
                    <a:pt x="8636" y="196113"/>
                  </a:lnTo>
                  <a:lnTo>
                    <a:pt x="8636" y="199530"/>
                  </a:lnTo>
                  <a:lnTo>
                    <a:pt x="8687" y="199530"/>
                  </a:lnTo>
                  <a:lnTo>
                    <a:pt x="8687" y="200228"/>
                  </a:lnTo>
                  <a:lnTo>
                    <a:pt x="8687" y="198831"/>
                  </a:lnTo>
                  <a:lnTo>
                    <a:pt x="8687" y="200228"/>
                  </a:lnTo>
                  <a:lnTo>
                    <a:pt x="8789" y="200228"/>
                  </a:lnTo>
                  <a:lnTo>
                    <a:pt x="8789" y="200876"/>
                  </a:lnTo>
                  <a:lnTo>
                    <a:pt x="8789" y="199530"/>
                  </a:lnTo>
                  <a:lnTo>
                    <a:pt x="8789" y="200876"/>
                  </a:lnTo>
                  <a:lnTo>
                    <a:pt x="8840" y="200876"/>
                  </a:lnTo>
                  <a:lnTo>
                    <a:pt x="8840" y="200228"/>
                  </a:lnTo>
                  <a:lnTo>
                    <a:pt x="8840" y="200876"/>
                  </a:lnTo>
                  <a:lnTo>
                    <a:pt x="8840" y="200228"/>
                  </a:lnTo>
                  <a:lnTo>
                    <a:pt x="8840" y="200876"/>
                  </a:lnTo>
                  <a:lnTo>
                    <a:pt x="8840" y="200228"/>
                  </a:lnTo>
                  <a:lnTo>
                    <a:pt x="8840" y="200876"/>
                  </a:lnTo>
                  <a:lnTo>
                    <a:pt x="8891" y="200876"/>
                  </a:lnTo>
                  <a:lnTo>
                    <a:pt x="8891" y="200228"/>
                  </a:lnTo>
                  <a:lnTo>
                    <a:pt x="8891" y="202260"/>
                  </a:lnTo>
                  <a:lnTo>
                    <a:pt x="8891" y="200876"/>
                  </a:lnTo>
                  <a:lnTo>
                    <a:pt x="8891" y="202260"/>
                  </a:lnTo>
                  <a:lnTo>
                    <a:pt x="8891" y="200876"/>
                  </a:lnTo>
                  <a:lnTo>
                    <a:pt x="8941" y="200876"/>
                  </a:lnTo>
                  <a:lnTo>
                    <a:pt x="8941" y="202260"/>
                  </a:lnTo>
                  <a:lnTo>
                    <a:pt x="8941" y="200876"/>
                  </a:lnTo>
                  <a:lnTo>
                    <a:pt x="8941" y="202260"/>
                  </a:lnTo>
                  <a:lnTo>
                    <a:pt x="8941" y="200228"/>
                  </a:lnTo>
                  <a:lnTo>
                    <a:pt x="8941" y="200876"/>
                  </a:lnTo>
                  <a:lnTo>
                    <a:pt x="9030" y="200228"/>
                  </a:lnTo>
                  <a:lnTo>
                    <a:pt x="9030" y="198831"/>
                  </a:lnTo>
                  <a:lnTo>
                    <a:pt x="9081" y="198831"/>
                  </a:lnTo>
                  <a:lnTo>
                    <a:pt x="9081" y="197447"/>
                  </a:lnTo>
                  <a:lnTo>
                    <a:pt x="9081" y="198831"/>
                  </a:lnTo>
                  <a:lnTo>
                    <a:pt x="9081" y="196799"/>
                  </a:lnTo>
                  <a:lnTo>
                    <a:pt x="9081" y="197447"/>
                  </a:lnTo>
                  <a:lnTo>
                    <a:pt x="9132" y="198831"/>
                  </a:lnTo>
                  <a:lnTo>
                    <a:pt x="9132" y="197447"/>
                  </a:lnTo>
                  <a:lnTo>
                    <a:pt x="9132" y="198831"/>
                  </a:lnTo>
                  <a:lnTo>
                    <a:pt x="9132" y="196799"/>
                  </a:lnTo>
                  <a:lnTo>
                    <a:pt x="9132" y="199530"/>
                  </a:lnTo>
                  <a:lnTo>
                    <a:pt x="9183" y="199530"/>
                  </a:lnTo>
                  <a:lnTo>
                    <a:pt x="9183" y="200228"/>
                  </a:lnTo>
                  <a:lnTo>
                    <a:pt x="9183" y="199530"/>
                  </a:lnTo>
                  <a:lnTo>
                    <a:pt x="9183" y="200228"/>
                  </a:lnTo>
                  <a:lnTo>
                    <a:pt x="9183" y="199530"/>
                  </a:lnTo>
                  <a:lnTo>
                    <a:pt x="9284" y="199530"/>
                  </a:lnTo>
                  <a:lnTo>
                    <a:pt x="9284" y="200228"/>
                  </a:lnTo>
                  <a:lnTo>
                    <a:pt x="9284" y="199530"/>
                  </a:lnTo>
                  <a:lnTo>
                    <a:pt x="9284" y="200228"/>
                  </a:lnTo>
                  <a:lnTo>
                    <a:pt x="9284" y="199530"/>
                  </a:lnTo>
                  <a:lnTo>
                    <a:pt x="9284" y="200228"/>
                  </a:lnTo>
                  <a:lnTo>
                    <a:pt x="9284" y="199530"/>
                  </a:lnTo>
                  <a:lnTo>
                    <a:pt x="9284" y="200228"/>
                  </a:lnTo>
                  <a:lnTo>
                    <a:pt x="9335" y="200228"/>
                  </a:lnTo>
                  <a:lnTo>
                    <a:pt x="9335" y="199530"/>
                  </a:lnTo>
                  <a:lnTo>
                    <a:pt x="9335" y="200228"/>
                  </a:lnTo>
                  <a:lnTo>
                    <a:pt x="9386" y="200228"/>
                  </a:lnTo>
                  <a:lnTo>
                    <a:pt x="9386" y="200876"/>
                  </a:lnTo>
                  <a:lnTo>
                    <a:pt x="9386" y="200228"/>
                  </a:lnTo>
                  <a:lnTo>
                    <a:pt x="9386" y="200876"/>
                  </a:lnTo>
                  <a:lnTo>
                    <a:pt x="9487" y="200876"/>
                  </a:lnTo>
                  <a:lnTo>
                    <a:pt x="9487" y="200228"/>
                  </a:lnTo>
                  <a:lnTo>
                    <a:pt x="9487" y="202260"/>
                  </a:lnTo>
                  <a:lnTo>
                    <a:pt x="9487" y="200228"/>
                  </a:lnTo>
                  <a:lnTo>
                    <a:pt x="9487" y="200876"/>
                  </a:lnTo>
                  <a:lnTo>
                    <a:pt x="9487" y="200228"/>
                  </a:lnTo>
                  <a:lnTo>
                    <a:pt x="9525" y="200228"/>
                  </a:lnTo>
                  <a:lnTo>
                    <a:pt x="9525" y="199530"/>
                  </a:lnTo>
                  <a:lnTo>
                    <a:pt x="9525" y="200228"/>
                  </a:lnTo>
                  <a:lnTo>
                    <a:pt x="9525" y="198831"/>
                  </a:lnTo>
                  <a:lnTo>
                    <a:pt x="9525" y="199530"/>
                  </a:lnTo>
                  <a:lnTo>
                    <a:pt x="9525" y="198831"/>
                  </a:lnTo>
                  <a:lnTo>
                    <a:pt x="9525" y="199530"/>
                  </a:lnTo>
                  <a:lnTo>
                    <a:pt x="9525" y="198831"/>
                  </a:lnTo>
                  <a:lnTo>
                    <a:pt x="9576" y="197447"/>
                  </a:lnTo>
                  <a:lnTo>
                    <a:pt x="9576" y="196113"/>
                  </a:lnTo>
                  <a:lnTo>
                    <a:pt x="9576" y="196799"/>
                  </a:lnTo>
                  <a:lnTo>
                    <a:pt x="9576" y="196113"/>
                  </a:lnTo>
                  <a:lnTo>
                    <a:pt x="9576" y="196799"/>
                  </a:lnTo>
                  <a:lnTo>
                    <a:pt x="9627" y="196799"/>
                  </a:lnTo>
                  <a:lnTo>
                    <a:pt x="9627" y="197447"/>
                  </a:lnTo>
                  <a:lnTo>
                    <a:pt x="9627" y="196799"/>
                  </a:lnTo>
                  <a:lnTo>
                    <a:pt x="9627" y="198831"/>
                  </a:lnTo>
                  <a:lnTo>
                    <a:pt x="9729" y="199530"/>
                  </a:lnTo>
                  <a:lnTo>
                    <a:pt x="9729" y="198831"/>
                  </a:lnTo>
                  <a:lnTo>
                    <a:pt x="9729" y="199530"/>
                  </a:lnTo>
                  <a:lnTo>
                    <a:pt x="9729" y="197447"/>
                  </a:lnTo>
                  <a:lnTo>
                    <a:pt x="9729" y="199530"/>
                  </a:lnTo>
                  <a:lnTo>
                    <a:pt x="9780" y="199530"/>
                  </a:lnTo>
                  <a:lnTo>
                    <a:pt x="9780" y="197447"/>
                  </a:lnTo>
                  <a:lnTo>
                    <a:pt x="9780" y="199530"/>
                  </a:lnTo>
                  <a:lnTo>
                    <a:pt x="9830" y="199530"/>
                  </a:lnTo>
                  <a:lnTo>
                    <a:pt x="9830" y="200228"/>
                  </a:lnTo>
                  <a:lnTo>
                    <a:pt x="9932" y="200228"/>
                  </a:lnTo>
                  <a:lnTo>
                    <a:pt x="9932" y="200876"/>
                  </a:lnTo>
                  <a:lnTo>
                    <a:pt x="9932" y="200228"/>
                  </a:lnTo>
                  <a:lnTo>
                    <a:pt x="9932" y="200876"/>
                  </a:lnTo>
                  <a:lnTo>
                    <a:pt x="9983" y="200876"/>
                  </a:lnTo>
                  <a:lnTo>
                    <a:pt x="9983" y="200228"/>
                  </a:lnTo>
                  <a:lnTo>
                    <a:pt x="9983" y="200876"/>
                  </a:lnTo>
                  <a:lnTo>
                    <a:pt x="9983" y="200228"/>
                  </a:lnTo>
                  <a:lnTo>
                    <a:pt x="10034" y="200228"/>
                  </a:lnTo>
                  <a:lnTo>
                    <a:pt x="10034" y="198831"/>
                  </a:lnTo>
                  <a:lnTo>
                    <a:pt x="10072" y="198831"/>
                  </a:lnTo>
                  <a:lnTo>
                    <a:pt x="10072" y="196799"/>
                  </a:lnTo>
                  <a:lnTo>
                    <a:pt x="10072" y="198831"/>
                  </a:lnTo>
                  <a:lnTo>
                    <a:pt x="10173" y="198831"/>
                  </a:lnTo>
                  <a:lnTo>
                    <a:pt x="10173" y="196799"/>
                  </a:lnTo>
                  <a:lnTo>
                    <a:pt x="10173" y="200228"/>
                  </a:lnTo>
                  <a:lnTo>
                    <a:pt x="10173" y="199530"/>
                  </a:lnTo>
                  <a:lnTo>
                    <a:pt x="10224" y="199530"/>
                  </a:lnTo>
                  <a:lnTo>
                    <a:pt x="10224" y="197447"/>
                  </a:lnTo>
                  <a:lnTo>
                    <a:pt x="10224" y="199530"/>
                  </a:lnTo>
                  <a:lnTo>
                    <a:pt x="10275" y="198831"/>
                  </a:lnTo>
                  <a:lnTo>
                    <a:pt x="10275" y="197447"/>
                  </a:lnTo>
                  <a:lnTo>
                    <a:pt x="10275" y="198831"/>
                  </a:lnTo>
                  <a:lnTo>
                    <a:pt x="10376" y="198831"/>
                  </a:lnTo>
                  <a:lnTo>
                    <a:pt x="10376" y="199530"/>
                  </a:lnTo>
                  <a:lnTo>
                    <a:pt x="10376" y="198831"/>
                  </a:lnTo>
                  <a:lnTo>
                    <a:pt x="10376" y="199530"/>
                  </a:lnTo>
                  <a:lnTo>
                    <a:pt x="10427" y="199530"/>
                  </a:lnTo>
                  <a:lnTo>
                    <a:pt x="10427" y="200228"/>
                  </a:lnTo>
                  <a:lnTo>
                    <a:pt x="10427" y="199530"/>
                  </a:lnTo>
                  <a:lnTo>
                    <a:pt x="10427" y="200228"/>
                  </a:lnTo>
                  <a:lnTo>
                    <a:pt x="10427" y="199530"/>
                  </a:lnTo>
                  <a:lnTo>
                    <a:pt x="10427" y="200228"/>
                  </a:lnTo>
                  <a:lnTo>
                    <a:pt x="10427" y="199530"/>
                  </a:lnTo>
                  <a:lnTo>
                    <a:pt x="10478" y="199530"/>
                  </a:lnTo>
                  <a:lnTo>
                    <a:pt x="10478" y="200228"/>
                  </a:lnTo>
                  <a:lnTo>
                    <a:pt x="10478" y="199530"/>
                  </a:lnTo>
                  <a:lnTo>
                    <a:pt x="10478" y="200228"/>
                  </a:lnTo>
                  <a:lnTo>
                    <a:pt x="10478" y="199530"/>
                  </a:lnTo>
                  <a:lnTo>
                    <a:pt x="10529" y="199530"/>
                  </a:lnTo>
                  <a:lnTo>
                    <a:pt x="10529" y="198831"/>
                  </a:lnTo>
                  <a:lnTo>
                    <a:pt x="10529" y="199530"/>
                  </a:lnTo>
                  <a:lnTo>
                    <a:pt x="10529" y="198831"/>
                  </a:lnTo>
                  <a:lnTo>
                    <a:pt x="10618" y="198831"/>
                  </a:lnTo>
                  <a:lnTo>
                    <a:pt x="10618" y="197447"/>
                  </a:lnTo>
                  <a:lnTo>
                    <a:pt x="10618" y="199530"/>
                  </a:lnTo>
                  <a:lnTo>
                    <a:pt x="10618" y="198831"/>
                  </a:lnTo>
                  <a:lnTo>
                    <a:pt x="10668" y="198831"/>
                  </a:lnTo>
                  <a:lnTo>
                    <a:pt x="10668" y="197447"/>
                  </a:lnTo>
                  <a:lnTo>
                    <a:pt x="10668" y="200876"/>
                  </a:lnTo>
                  <a:lnTo>
                    <a:pt x="10668" y="199530"/>
                  </a:lnTo>
                  <a:lnTo>
                    <a:pt x="10719" y="199530"/>
                  </a:lnTo>
                  <a:lnTo>
                    <a:pt x="10719" y="200876"/>
                  </a:lnTo>
                  <a:lnTo>
                    <a:pt x="10719" y="199530"/>
                  </a:lnTo>
                  <a:lnTo>
                    <a:pt x="10770" y="199530"/>
                  </a:lnTo>
                  <a:lnTo>
                    <a:pt x="10770" y="200876"/>
                  </a:lnTo>
                  <a:lnTo>
                    <a:pt x="10770" y="200228"/>
                  </a:lnTo>
                  <a:lnTo>
                    <a:pt x="10770" y="200876"/>
                  </a:lnTo>
                  <a:lnTo>
                    <a:pt x="10770" y="200228"/>
                  </a:lnTo>
                  <a:lnTo>
                    <a:pt x="10770" y="200876"/>
                  </a:lnTo>
                  <a:lnTo>
                    <a:pt x="10770" y="200228"/>
                  </a:lnTo>
                  <a:lnTo>
                    <a:pt x="10770" y="200876"/>
                  </a:lnTo>
                  <a:lnTo>
                    <a:pt x="10770" y="200228"/>
                  </a:lnTo>
                  <a:lnTo>
                    <a:pt x="10872" y="200876"/>
                  </a:lnTo>
                  <a:lnTo>
                    <a:pt x="10872" y="200228"/>
                  </a:lnTo>
                  <a:lnTo>
                    <a:pt x="10872" y="200876"/>
                  </a:lnTo>
                  <a:lnTo>
                    <a:pt x="10872" y="200228"/>
                  </a:lnTo>
                  <a:lnTo>
                    <a:pt x="10872" y="200876"/>
                  </a:lnTo>
                  <a:lnTo>
                    <a:pt x="10872" y="200228"/>
                  </a:lnTo>
                  <a:lnTo>
                    <a:pt x="10923" y="200228"/>
                  </a:lnTo>
                  <a:lnTo>
                    <a:pt x="10923" y="200876"/>
                  </a:lnTo>
                  <a:lnTo>
                    <a:pt x="10923" y="200228"/>
                  </a:lnTo>
                  <a:lnTo>
                    <a:pt x="10923" y="200876"/>
                  </a:lnTo>
                  <a:lnTo>
                    <a:pt x="10973" y="200876"/>
                  </a:lnTo>
                  <a:lnTo>
                    <a:pt x="10973" y="200228"/>
                  </a:lnTo>
                  <a:lnTo>
                    <a:pt x="10973" y="200876"/>
                  </a:lnTo>
                  <a:lnTo>
                    <a:pt x="10973" y="199530"/>
                  </a:lnTo>
                  <a:lnTo>
                    <a:pt x="10973" y="200228"/>
                  </a:lnTo>
                  <a:lnTo>
                    <a:pt x="10973" y="199530"/>
                  </a:lnTo>
                  <a:lnTo>
                    <a:pt x="10973" y="200228"/>
                  </a:lnTo>
                  <a:lnTo>
                    <a:pt x="10973" y="199530"/>
                  </a:lnTo>
                  <a:lnTo>
                    <a:pt x="11075" y="199530"/>
                  </a:lnTo>
                  <a:lnTo>
                    <a:pt x="11075" y="198831"/>
                  </a:lnTo>
                  <a:lnTo>
                    <a:pt x="11075" y="199530"/>
                  </a:lnTo>
                  <a:lnTo>
                    <a:pt x="11075" y="198831"/>
                  </a:lnTo>
                  <a:lnTo>
                    <a:pt x="11075" y="199530"/>
                  </a:lnTo>
                  <a:lnTo>
                    <a:pt x="11113" y="199530"/>
                  </a:lnTo>
                  <a:lnTo>
                    <a:pt x="11113" y="200228"/>
                  </a:lnTo>
                  <a:lnTo>
                    <a:pt x="11113" y="199530"/>
                  </a:lnTo>
                  <a:lnTo>
                    <a:pt x="11113" y="200876"/>
                  </a:lnTo>
                  <a:lnTo>
                    <a:pt x="11164" y="200876"/>
                  </a:lnTo>
                  <a:lnTo>
                    <a:pt x="11164" y="202260"/>
                  </a:lnTo>
                  <a:lnTo>
                    <a:pt x="11164" y="200876"/>
                  </a:lnTo>
                  <a:lnTo>
                    <a:pt x="11164" y="202260"/>
                  </a:lnTo>
                  <a:lnTo>
                    <a:pt x="11164" y="200876"/>
                  </a:lnTo>
                  <a:lnTo>
                    <a:pt x="11164" y="202260"/>
                  </a:lnTo>
                  <a:lnTo>
                    <a:pt x="11164" y="200876"/>
                  </a:lnTo>
                  <a:lnTo>
                    <a:pt x="11164" y="202260"/>
                  </a:lnTo>
                  <a:lnTo>
                    <a:pt x="11215" y="202260"/>
                  </a:lnTo>
                  <a:lnTo>
                    <a:pt x="11215" y="200876"/>
                  </a:lnTo>
                  <a:lnTo>
                    <a:pt x="11215" y="202260"/>
                  </a:lnTo>
                  <a:lnTo>
                    <a:pt x="11215" y="200876"/>
                  </a:lnTo>
                  <a:lnTo>
                    <a:pt x="11215" y="202260"/>
                  </a:lnTo>
                  <a:lnTo>
                    <a:pt x="11215" y="200876"/>
                  </a:lnTo>
                  <a:lnTo>
                    <a:pt x="11215" y="202260"/>
                  </a:lnTo>
                  <a:lnTo>
                    <a:pt x="11215" y="200876"/>
                  </a:lnTo>
                  <a:lnTo>
                    <a:pt x="11215" y="202260"/>
                  </a:lnTo>
                  <a:lnTo>
                    <a:pt x="11316" y="202260"/>
                  </a:lnTo>
                  <a:lnTo>
                    <a:pt x="11316" y="200876"/>
                  </a:lnTo>
                  <a:lnTo>
                    <a:pt x="11316" y="202260"/>
                  </a:lnTo>
                  <a:lnTo>
                    <a:pt x="11316" y="200876"/>
                  </a:lnTo>
                  <a:lnTo>
                    <a:pt x="11316" y="202260"/>
                  </a:lnTo>
                  <a:lnTo>
                    <a:pt x="11367" y="202260"/>
                  </a:lnTo>
                  <a:lnTo>
                    <a:pt x="11367" y="200876"/>
                  </a:lnTo>
                  <a:lnTo>
                    <a:pt x="11367" y="202260"/>
                  </a:lnTo>
                  <a:lnTo>
                    <a:pt x="11367" y="200876"/>
                  </a:lnTo>
                  <a:lnTo>
                    <a:pt x="11418" y="200876"/>
                  </a:lnTo>
                  <a:lnTo>
                    <a:pt x="11418" y="202260"/>
                  </a:lnTo>
                  <a:lnTo>
                    <a:pt x="11418" y="200228"/>
                  </a:lnTo>
                  <a:lnTo>
                    <a:pt x="11519" y="200228"/>
                  </a:lnTo>
                  <a:lnTo>
                    <a:pt x="11519" y="199530"/>
                  </a:lnTo>
                  <a:lnTo>
                    <a:pt x="11519" y="200228"/>
                  </a:lnTo>
                  <a:lnTo>
                    <a:pt x="11519" y="198831"/>
                  </a:lnTo>
                  <a:lnTo>
                    <a:pt x="11519" y="199530"/>
                  </a:lnTo>
                  <a:lnTo>
                    <a:pt x="11570" y="199530"/>
                  </a:lnTo>
                  <a:lnTo>
                    <a:pt x="11570" y="198831"/>
                  </a:lnTo>
                  <a:lnTo>
                    <a:pt x="11621" y="198831"/>
                  </a:lnTo>
                  <a:lnTo>
                    <a:pt x="11621" y="199530"/>
                  </a:lnTo>
                  <a:lnTo>
                    <a:pt x="11621" y="198831"/>
                  </a:lnTo>
                  <a:lnTo>
                    <a:pt x="11621" y="200228"/>
                  </a:lnTo>
                  <a:lnTo>
                    <a:pt x="11659" y="200228"/>
                  </a:lnTo>
                  <a:lnTo>
                    <a:pt x="11659" y="200876"/>
                  </a:lnTo>
                  <a:lnTo>
                    <a:pt x="11761" y="200876"/>
                  </a:lnTo>
                  <a:lnTo>
                    <a:pt x="11761" y="200228"/>
                  </a:lnTo>
                  <a:lnTo>
                    <a:pt x="11761" y="200876"/>
                  </a:lnTo>
                  <a:lnTo>
                    <a:pt x="11761" y="200228"/>
                  </a:lnTo>
                  <a:lnTo>
                    <a:pt x="11761" y="200876"/>
                  </a:lnTo>
                  <a:lnTo>
                    <a:pt x="11811" y="200876"/>
                  </a:lnTo>
                  <a:lnTo>
                    <a:pt x="11811" y="202959"/>
                  </a:lnTo>
                  <a:lnTo>
                    <a:pt x="11811" y="202260"/>
                  </a:lnTo>
                  <a:lnTo>
                    <a:pt x="11862" y="202260"/>
                  </a:lnTo>
                  <a:lnTo>
                    <a:pt x="11862" y="202959"/>
                  </a:lnTo>
                  <a:lnTo>
                    <a:pt x="11862" y="200876"/>
                  </a:lnTo>
                  <a:lnTo>
                    <a:pt x="11862" y="202260"/>
                  </a:lnTo>
                  <a:lnTo>
                    <a:pt x="11964" y="202260"/>
                  </a:lnTo>
                  <a:lnTo>
                    <a:pt x="11964" y="200876"/>
                  </a:lnTo>
                  <a:lnTo>
                    <a:pt x="11964" y="202260"/>
                  </a:lnTo>
                  <a:lnTo>
                    <a:pt x="11964" y="200876"/>
                  </a:lnTo>
                  <a:lnTo>
                    <a:pt x="12015" y="200876"/>
                  </a:lnTo>
                  <a:lnTo>
                    <a:pt x="12015" y="198831"/>
                  </a:lnTo>
                  <a:lnTo>
                    <a:pt x="12066" y="198831"/>
                  </a:lnTo>
                  <a:lnTo>
                    <a:pt x="12066" y="199530"/>
                  </a:lnTo>
                  <a:lnTo>
                    <a:pt x="12066" y="198831"/>
                  </a:lnTo>
                  <a:lnTo>
                    <a:pt x="12066" y="200228"/>
                  </a:lnTo>
                  <a:lnTo>
                    <a:pt x="12066" y="199530"/>
                  </a:lnTo>
                  <a:lnTo>
                    <a:pt x="12116" y="199530"/>
                  </a:lnTo>
                  <a:lnTo>
                    <a:pt x="12116" y="202260"/>
                  </a:lnTo>
                  <a:lnTo>
                    <a:pt x="12116" y="200228"/>
                  </a:lnTo>
                  <a:lnTo>
                    <a:pt x="12205" y="200228"/>
                  </a:lnTo>
                  <a:lnTo>
                    <a:pt x="12205" y="200876"/>
                  </a:lnTo>
                  <a:lnTo>
                    <a:pt x="12256" y="200228"/>
                  </a:lnTo>
                  <a:lnTo>
                    <a:pt x="12256" y="202260"/>
                  </a:lnTo>
                  <a:lnTo>
                    <a:pt x="12256" y="200876"/>
                  </a:lnTo>
                  <a:lnTo>
                    <a:pt x="12256" y="202260"/>
                  </a:lnTo>
                  <a:lnTo>
                    <a:pt x="12256" y="200876"/>
                  </a:lnTo>
                  <a:lnTo>
                    <a:pt x="12307" y="200876"/>
                  </a:lnTo>
                  <a:lnTo>
                    <a:pt x="12307" y="202959"/>
                  </a:lnTo>
                  <a:lnTo>
                    <a:pt x="12358" y="202959"/>
                  </a:lnTo>
                  <a:lnTo>
                    <a:pt x="12358" y="200876"/>
                  </a:lnTo>
                  <a:lnTo>
                    <a:pt x="12358" y="202260"/>
                  </a:lnTo>
                  <a:lnTo>
                    <a:pt x="12358" y="200876"/>
                  </a:lnTo>
                  <a:lnTo>
                    <a:pt x="12358" y="202260"/>
                  </a:lnTo>
                  <a:lnTo>
                    <a:pt x="12459" y="202260"/>
                  </a:lnTo>
                  <a:lnTo>
                    <a:pt x="12459" y="200876"/>
                  </a:lnTo>
                  <a:lnTo>
                    <a:pt x="12459" y="202260"/>
                  </a:lnTo>
                  <a:lnTo>
                    <a:pt x="12459" y="200876"/>
                  </a:lnTo>
                  <a:lnTo>
                    <a:pt x="12459" y="202260"/>
                  </a:lnTo>
                  <a:lnTo>
                    <a:pt x="12459" y="200876"/>
                  </a:lnTo>
                  <a:lnTo>
                    <a:pt x="12459" y="202260"/>
                  </a:lnTo>
                  <a:lnTo>
                    <a:pt x="12459" y="200228"/>
                  </a:lnTo>
                  <a:lnTo>
                    <a:pt x="12510" y="200228"/>
                  </a:lnTo>
                  <a:lnTo>
                    <a:pt x="12510" y="197447"/>
                  </a:lnTo>
                  <a:lnTo>
                    <a:pt x="12561" y="197447"/>
                  </a:lnTo>
                  <a:lnTo>
                    <a:pt x="12561" y="199530"/>
                  </a:lnTo>
                  <a:lnTo>
                    <a:pt x="12561" y="198831"/>
                  </a:lnTo>
                  <a:lnTo>
                    <a:pt x="12662" y="198831"/>
                  </a:lnTo>
                  <a:lnTo>
                    <a:pt x="12662" y="197447"/>
                  </a:lnTo>
                  <a:lnTo>
                    <a:pt x="12662" y="200228"/>
                  </a:lnTo>
                  <a:lnTo>
                    <a:pt x="12662" y="199530"/>
                  </a:lnTo>
                  <a:lnTo>
                    <a:pt x="12700" y="199530"/>
                  </a:lnTo>
                  <a:lnTo>
                    <a:pt x="12700" y="200876"/>
                  </a:lnTo>
                  <a:lnTo>
                    <a:pt x="12700" y="200228"/>
                  </a:lnTo>
                  <a:lnTo>
                    <a:pt x="12700" y="200876"/>
                  </a:lnTo>
                  <a:lnTo>
                    <a:pt x="12751" y="200228"/>
                  </a:lnTo>
                  <a:lnTo>
                    <a:pt x="12751" y="200876"/>
                  </a:lnTo>
                  <a:lnTo>
                    <a:pt x="12751" y="200228"/>
                  </a:lnTo>
                  <a:lnTo>
                    <a:pt x="12751" y="202260"/>
                  </a:lnTo>
                  <a:lnTo>
                    <a:pt x="12751" y="200876"/>
                  </a:lnTo>
                  <a:lnTo>
                    <a:pt x="12802" y="200876"/>
                  </a:lnTo>
                  <a:lnTo>
                    <a:pt x="12802" y="202959"/>
                  </a:lnTo>
                  <a:lnTo>
                    <a:pt x="12802" y="202260"/>
                  </a:lnTo>
                  <a:lnTo>
                    <a:pt x="12802" y="202959"/>
                  </a:lnTo>
                  <a:lnTo>
                    <a:pt x="12904" y="202959"/>
                  </a:lnTo>
                  <a:lnTo>
                    <a:pt x="12904" y="202260"/>
                  </a:lnTo>
                  <a:lnTo>
                    <a:pt x="12904" y="202959"/>
                  </a:lnTo>
                  <a:lnTo>
                    <a:pt x="12904" y="202260"/>
                  </a:lnTo>
                  <a:lnTo>
                    <a:pt x="12955" y="200876"/>
                  </a:lnTo>
                  <a:lnTo>
                    <a:pt x="12955" y="202260"/>
                  </a:lnTo>
                  <a:lnTo>
                    <a:pt x="12955" y="200228"/>
                  </a:lnTo>
                  <a:lnTo>
                    <a:pt x="12955" y="200876"/>
                  </a:lnTo>
                  <a:lnTo>
                    <a:pt x="12955" y="200228"/>
                  </a:lnTo>
                  <a:lnTo>
                    <a:pt x="13005" y="200228"/>
                  </a:lnTo>
                  <a:lnTo>
                    <a:pt x="13005" y="198831"/>
                  </a:lnTo>
                  <a:lnTo>
                    <a:pt x="13107" y="198831"/>
                  </a:lnTo>
                  <a:lnTo>
                    <a:pt x="13107" y="200228"/>
                  </a:lnTo>
                  <a:lnTo>
                    <a:pt x="13107" y="198831"/>
                  </a:lnTo>
                  <a:lnTo>
                    <a:pt x="13107" y="199530"/>
                  </a:lnTo>
                  <a:lnTo>
                    <a:pt x="13158" y="200228"/>
                  </a:lnTo>
                  <a:lnTo>
                    <a:pt x="13158" y="199530"/>
                  </a:lnTo>
                  <a:lnTo>
                    <a:pt x="13158" y="200228"/>
                  </a:lnTo>
                  <a:lnTo>
                    <a:pt x="13158" y="198831"/>
                  </a:lnTo>
                  <a:lnTo>
                    <a:pt x="13158" y="200228"/>
                  </a:lnTo>
                  <a:lnTo>
                    <a:pt x="13209" y="200228"/>
                  </a:lnTo>
                  <a:lnTo>
                    <a:pt x="13209" y="199530"/>
                  </a:lnTo>
                  <a:lnTo>
                    <a:pt x="13209" y="200228"/>
                  </a:lnTo>
                  <a:lnTo>
                    <a:pt x="13247" y="199530"/>
                  </a:lnTo>
                  <a:lnTo>
                    <a:pt x="13247" y="200228"/>
                  </a:lnTo>
                  <a:lnTo>
                    <a:pt x="13247" y="199530"/>
                  </a:lnTo>
                  <a:lnTo>
                    <a:pt x="13247" y="200228"/>
                  </a:lnTo>
                  <a:lnTo>
                    <a:pt x="13247" y="199530"/>
                  </a:lnTo>
                  <a:lnTo>
                    <a:pt x="13247" y="200876"/>
                  </a:lnTo>
                  <a:lnTo>
                    <a:pt x="13247" y="200228"/>
                  </a:lnTo>
                  <a:lnTo>
                    <a:pt x="13348" y="200228"/>
                  </a:lnTo>
                  <a:lnTo>
                    <a:pt x="13348" y="200876"/>
                  </a:lnTo>
                  <a:lnTo>
                    <a:pt x="13348" y="200228"/>
                  </a:lnTo>
                  <a:lnTo>
                    <a:pt x="13348" y="200876"/>
                  </a:lnTo>
                  <a:lnTo>
                    <a:pt x="13348" y="200228"/>
                  </a:lnTo>
                  <a:lnTo>
                    <a:pt x="13348" y="200876"/>
                  </a:lnTo>
                  <a:lnTo>
                    <a:pt x="13348" y="200228"/>
                  </a:lnTo>
                  <a:lnTo>
                    <a:pt x="13348" y="200876"/>
                  </a:lnTo>
                  <a:lnTo>
                    <a:pt x="13348" y="200228"/>
                  </a:lnTo>
                  <a:lnTo>
                    <a:pt x="13348" y="200876"/>
                  </a:lnTo>
                  <a:lnTo>
                    <a:pt x="13399" y="200876"/>
                  </a:lnTo>
                  <a:lnTo>
                    <a:pt x="13399" y="200228"/>
                  </a:lnTo>
                  <a:lnTo>
                    <a:pt x="13399" y="200876"/>
                  </a:lnTo>
                  <a:lnTo>
                    <a:pt x="13399" y="200228"/>
                  </a:lnTo>
                  <a:lnTo>
                    <a:pt x="13399" y="200876"/>
                  </a:lnTo>
                  <a:lnTo>
                    <a:pt x="13399" y="200228"/>
                  </a:lnTo>
                  <a:lnTo>
                    <a:pt x="13399" y="200876"/>
                  </a:lnTo>
                  <a:lnTo>
                    <a:pt x="13450" y="200876"/>
                  </a:lnTo>
                  <a:lnTo>
                    <a:pt x="13450" y="200228"/>
                  </a:lnTo>
                  <a:lnTo>
                    <a:pt x="13450" y="200876"/>
                  </a:lnTo>
                  <a:lnTo>
                    <a:pt x="13450" y="200228"/>
                  </a:lnTo>
                  <a:lnTo>
                    <a:pt x="13551" y="200228"/>
                  </a:lnTo>
                  <a:lnTo>
                    <a:pt x="13551" y="198831"/>
                  </a:lnTo>
                  <a:lnTo>
                    <a:pt x="13551" y="200228"/>
                  </a:lnTo>
                  <a:lnTo>
                    <a:pt x="13602" y="200228"/>
                  </a:lnTo>
                  <a:lnTo>
                    <a:pt x="13602" y="198831"/>
                  </a:lnTo>
                  <a:lnTo>
                    <a:pt x="13602" y="199530"/>
                  </a:lnTo>
                  <a:lnTo>
                    <a:pt x="13602" y="198831"/>
                  </a:lnTo>
                  <a:lnTo>
                    <a:pt x="13602" y="200876"/>
                  </a:lnTo>
                  <a:lnTo>
                    <a:pt x="13653" y="200228"/>
                  </a:lnTo>
                  <a:lnTo>
                    <a:pt x="13653" y="199530"/>
                  </a:lnTo>
                  <a:lnTo>
                    <a:pt x="13653" y="200228"/>
                  </a:lnTo>
                  <a:lnTo>
                    <a:pt x="13653" y="199530"/>
                  </a:lnTo>
                  <a:lnTo>
                    <a:pt x="13653" y="202260"/>
                  </a:lnTo>
                  <a:lnTo>
                    <a:pt x="13653" y="200876"/>
                  </a:lnTo>
                  <a:lnTo>
                    <a:pt x="13704" y="200876"/>
                  </a:lnTo>
                  <a:lnTo>
                    <a:pt x="13704" y="202260"/>
                  </a:lnTo>
                  <a:lnTo>
                    <a:pt x="13704" y="200876"/>
                  </a:lnTo>
                  <a:lnTo>
                    <a:pt x="13793" y="200876"/>
                  </a:lnTo>
                  <a:lnTo>
                    <a:pt x="13793" y="200228"/>
                  </a:lnTo>
                  <a:lnTo>
                    <a:pt x="13793" y="202260"/>
                  </a:lnTo>
                  <a:lnTo>
                    <a:pt x="13793" y="200876"/>
                  </a:lnTo>
                  <a:lnTo>
                    <a:pt x="13793" y="202260"/>
                  </a:lnTo>
                  <a:lnTo>
                    <a:pt x="13793" y="200876"/>
                  </a:lnTo>
                  <a:lnTo>
                    <a:pt x="13793" y="202260"/>
                  </a:lnTo>
                  <a:lnTo>
                    <a:pt x="13843" y="202260"/>
                  </a:lnTo>
                  <a:lnTo>
                    <a:pt x="13843" y="200876"/>
                  </a:lnTo>
                  <a:lnTo>
                    <a:pt x="13843" y="202260"/>
                  </a:lnTo>
                  <a:lnTo>
                    <a:pt x="13843" y="200876"/>
                  </a:lnTo>
                  <a:lnTo>
                    <a:pt x="13894" y="200876"/>
                  </a:lnTo>
                  <a:lnTo>
                    <a:pt x="13894" y="200228"/>
                  </a:lnTo>
                  <a:lnTo>
                    <a:pt x="13945" y="200228"/>
                  </a:lnTo>
                  <a:lnTo>
                    <a:pt x="13945" y="199530"/>
                  </a:lnTo>
                  <a:lnTo>
                    <a:pt x="13945" y="200228"/>
                  </a:lnTo>
                  <a:lnTo>
                    <a:pt x="13945" y="199530"/>
                  </a:lnTo>
                  <a:lnTo>
                    <a:pt x="14047" y="198831"/>
                  </a:lnTo>
                  <a:lnTo>
                    <a:pt x="14047" y="200228"/>
                  </a:lnTo>
                  <a:lnTo>
                    <a:pt x="14047" y="199530"/>
                  </a:lnTo>
                  <a:lnTo>
                    <a:pt x="14098" y="199530"/>
                  </a:lnTo>
                  <a:lnTo>
                    <a:pt x="14098" y="202260"/>
                  </a:lnTo>
                  <a:lnTo>
                    <a:pt x="14098" y="200228"/>
                  </a:lnTo>
                  <a:lnTo>
                    <a:pt x="14148" y="200228"/>
                  </a:lnTo>
                  <a:lnTo>
                    <a:pt x="14148" y="202959"/>
                  </a:lnTo>
                  <a:lnTo>
                    <a:pt x="14148" y="200876"/>
                  </a:lnTo>
                  <a:lnTo>
                    <a:pt x="14250" y="202260"/>
                  </a:lnTo>
                  <a:lnTo>
                    <a:pt x="14250" y="200876"/>
                  </a:lnTo>
                  <a:lnTo>
                    <a:pt x="14250" y="202260"/>
                  </a:lnTo>
                  <a:lnTo>
                    <a:pt x="14250" y="200876"/>
                  </a:lnTo>
                  <a:lnTo>
                    <a:pt x="14250" y="202260"/>
                  </a:lnTo>
                  <a:lnTo>
                    <a:pt x="14250" y="200876"/>
                  </a:lnTo>
                  <a:lnTo>
                    <a:pt x="14288" y="200876"/>
                  </a:lnTo>
                  <a:lnTo>
                    <a:pt x="14288" y="202260"/>
                  </a:lnTo>
                  <a:lnTo>
                    <a:pt x="14288" y="200876"/>
                  </a:lnTo>
                  <a:lnTo>
                    <a:pt x="14288" y="202260"/>
                  </a:lnTo>
                  <a:lnTo>
                    <a:pt x="14339" y="202260"/>
                  </a:lnTo>
                  <a:lnTo>
                    <a:pt x="14339" y="200228"/>
                  </a:lnTo>
                  <a:lnTo>
                    <a:pt x="14390" y="200228"/>
                  </a:lnTo>
                  <a:lnTo>
                    <a:pt x="14390" y="199530"/>
                  </a:lnTo>
                  <a:lnTo>
                    <a:pt x="14390" y="200228"/>
                  </a:lnTo>
                  <a:lnTo>
                    <a:pt x="14390" y="199530"/>
                  </a:lnTo>
                  <a:lnTo>
                    <a:pt x="14491" y="200228"/>
                  </a:lnTo>
                  <a:lnTo>
                    <a:pt x="14491" y="199530"/>
                  </a:lnTo>
                  <a:lnTo>
                    <a:pt x="14491" y="200228"/>
                  </a:lnTo>
                  <a:lnTo>
                    <a:pt x="14491" y="199530"/>
                  </a:lnTo>
                  <a:lnTo>
                    <a:pt x="14491" y="200228"/>
                  </a:lnTo>
                  <a:lnTo>
                    <a:pt x="14491" y="197447"/>
                  </a:lnTo>
                  <a:lnTo>
                    <a:pt x="14542" y="197447"/>
                  </a:lnTo>
                  <a:lnTo>
                    <a:pt x="14542" y="196799"/>
                  </a:lnTo>
                  <a:lnTo>
                    <a:pt x="14542" y="199530"/>
                  </a:lnTo>
                  <a:lnTo>
                    <a:pt x="14542" y="197447"/>
                  </a:lnTo>
                  <a:lnTo>
                    <a:pt x="14542" y="198831"/>
                  </a:lnTo>
                  <a:lnTo>
                    <a:pt x="14542" y="197447"/>
                  </a:lnTo>
                  <a:lnTo>
                    <a:pt x="14593" y="197447"/>
                  </a:lnTo>
                  <a:lnTo>
                    <a:pt x="14593" y="200876"/>
                  </a:lnTo>
                  <a:lnTo>
                    <a:pt x="14593" y="199530"/>
                  </a:lnTo>
                  <a:lnTo>
                    <a:pt x="14694" y="199530"/>
                  </a:lnTo>
                  <a:lnTo>
                    <a:pt x="14694" y="200876"/>
                  </a:lnTo>
                  <a:lnTo>
                    <a:pt x="14694" y="200228"/>
                  </a:lnTo>
                  <a:lnTo>
                    <a:pt x="14694" y="200876"/>
                  </a:lnTo>
                  <a:lnTo>
                    <a:pt x="14694" y="200228"/>
                  </a:lnTo>
                  <a:lnTo>
                    <a:pt x="14745" y="200876"/>
                  </a:lnTo>
                  <a:lnTo>
                    <a:pt x="14745" y="202260"/>
                  </a:lnTo>
                  <a:lnTo>
                    <a:pt x="14745" y="200876"/>
                  </a:lnTo>
                  <a:lnTo>
                    <a:pt x="14745" y="202260"/>
                  </a:lnTo>
                  <a:lnTo>
                    <a:pt x="14796" y="200876"/>
                  </a:lnTo>
                  <a:lnTo>
                    <a:pt x="14796" y="202260"/>
                  </a:lnTo>
                  <a:lnTo>
                    <a:pt x="14834" y="202260"/>
                  </a:lnTo>
                  <a:lnTo>
                    <a:pt x="14834" y="202959"/>
                  </a:lnTo>
                  <a:lnTo>
                    <a:pt x="14834" y="200876"/>
                  </a:lnTo>
                  <a:lnTo>
                    <a:pt x="14834" y="202260"/>
                  </a:lnTo>
                  <a:lnTo>
                    <a:pt x="14834" y="200876"/>
                  </a:lnTo>
                  <a:lnTo>
                    <a:pt x="14936" y="200876"/>
                  </a:lnTo>
                  <a:lnTo>
                    <a:pt x="14936" y="200228"/>
                  </a:lnTo>
                  <a:lnTo>
                    <a:pt x="14986" y="200228"/>
                  </a:lnTo>
                  <a:lnTo>
                    <a:pt x="14986" y="197447"/>
                  </a:lnTo>
                  <a:lnTo>
                    <a:pt x="15037" y="197447"/>
                  </a:lnTo>
                  <a:lnTo>
                    <a:pt x="15037" y="199530"/>
                  </a:lnTo>
                  <a:lnTo>
                    <a:pt x="15037" y="197447"/>
                  </a:lnTo>
                  <a:lnTo>
                    <a:pt x="15037" y="199530"/>
                  </a:lnTo>
                  <a:lnTo>
                    <a:pt x="15139" y="200228"/>
                  </a:lnTo>
                  <a:lnTo>
                    <a:pt x="15139" y="200876"/>
                  </a:lnTo>
                  <a:lnTo>
                    <a:pt x="15139" y="199530"/>
                  </a:lnTo>
                  <a:lnTo>
                    <a:pt x="15139" y="200228"/>
                  </a:lnTo>
                  <a:lnTo>
                    <a:pt x="15190" y="200228"/>
                  </a:lnTo>
                  <a:lnTo>
                    <a:pt x="15190" y="200876"/>
                  </a:lnTo>
                  <a:lnTo>
                    <a:pt x="15190" y="200228"/>
                  </a:lnTo>
                  <a:lnTo>
                    <a:pt x="15190" y="200876"/>
                  </a:lnTo>
                  <a:lnTo>
                    <a:pt x="15241" y="200876"/>
                  </a:lnTo>
                  <a:lnTo>
                    <a:pt x="15241" y="200228"/>
                  </a:lnTo>
                  <a:lnTo>
                    <a:pt x="15241" y="200876"/>
                  </a:lnTo>
                  <a:lnTo>
                    <a:pt x="15291" y="200876"/>
                  </a:lnTo>
                  <a:lnTo>
                    <a:pt x="15291" y="202260"/>
                  </a:lnTo>
                  <a:lnTo>
                    <a:pt x="15291" y="200876"/>
                  </a:lnTo>
                  <a:lnTo>
                    <a:pt x="15291" y="202260"/>
                  </a:lnTo>
                  <a:lnTo>
                    <a:pt x="15380" y="200876"/>
                  </a:lnTo>
                  <a:lnTo>
                    <a:pt x="15380" y="202260"/>
                  </a:lnTo>
                  <a:lnTo>
                    <a:pt x="15380" y="200876"/>
                  </a:lnTo>
                  <a:lnTo>
                    <a:pt x="15380" y="202260"/>
                  </a:lnTo>
                  <a:lnTo>
                    <a:pt x="15380" y="200876"/>
                  </a:lnTo>
                  <a:lnTo>
                    <a:pt x="15380" y="202260"/>
                  </a:lnTo>
                  <a:lnTo>
                    <a:pt x="15380" y="200876"/>
                  </a:lnTo>
                  <a:lnTo>
                    <a:pt x="15431" y="200876"/>
                  </a:lnTo>
                  <a:lnTo>
                    <a:pt x="15431" y="200228"/>
                  </a:lnTo>
                  <a:lnTo>
                    <a:pt x="15431" y="200876"/>
                  </a:lnTo>
                  <a:lnTo>
                    <a:pt x="15431" y="200228"/>
                  </a:lnTo>
                  <a:lnTo>
                    <a:pt x="15431" y="200876"/>
                  </a:lnTo>
                  <a:lnTo>
                    <a:pt x="15431" y="200228"/>
                  </a:lnTo>
                  <a:lnTo>
                    <a:pt x="15482" y="199530"/>
                  </a:lnTo>
                  <a:lnTo>
                    <a:pt x="15482" y="200228"/>
                  </a:lnTo>
                  <a:lnTo>
                    <a:pt x="15482" y="196799"/>
                  </a:lnTo>
                  <a:lnTo>
                    <a:pt x="15482" y="197447"/>
                  </a:lnTo>
                  <a:lnTo>
                    <a:pt x="15482" y="196799"/>
                  </a:lnTo>
                  <a:lnTo>
                    <a:pt x="15482" y="197447"/>
                  </a:lnTo>
                  <a:lnTo>
                    <a:pt x="15533" y="197447"/>
                  </a:lnTo>
                  <a:lnTo>
                    <a:pt x="15533" y="199530"/>
                  </a:lnTo>
                  <a:lnTo>
                    <a:pt x="15533" y="196799"/>
                  </a:lnTo>
                  <a:lnTo>
                    <a:pt x="15533" y="200228"/>
                  </a:lnTo>
                  <a:lnTo>
                    <a:pt x="15634" y="200228"/>
                  </a:lnTo>
                  <a:lnTo>
                    <a:pt x="15634" y="197447"/>
                  </a:lnTo>
                  <a:lnTo>
                    <a:pt x="15634" y="200228"/>
                  </a:lnTo>
                  <a:lnTo>
                    <a:pt x="15685" y="200228"/>
                  </a:lnTo>
                  <a:lnTo>
                    <a:pt x="15685" y="199530"/>
                  </a:lnTo>
                  <a:lnTo>
                    <a:pt x="15685" y="200228"/>
                  </a:lnTo>
                  <a:lnTo>
                    <a:pt x="15685" y="199530"/>
                  </a:lnTo>
                  <a:lnTo>
                    <a:pt x="15685" y="200228"/>
                  </a:lnTo>
                  <a:lnTo>
                    <a:pt x="15736" y="200228"/>
                  </a:lnTo>
                  <a:lnTo>
                    <a:pt x="15736" y="200876"/>
                  </a:lnTo>
                  <a:lnTo>
                    <a:pt x="15736" y="200228"/>
                  </a:lnTo>
                  <a:lnTo>
                    <a:pt x="15837" y="200228"/>
                  </a:lnTo>
                  <a:lnTo>
                    <a:pt x="15837" y="200876"/>
                  </a:lnTo>
                  <a:lnTo>
                    <a:pt x="15837" y="200228"/>
                  </a:lnTo>
                  <a:lnTo>
                    <a:pt x="15837" y="200876"/>
                  </a:lnTo>
                  <a:lnTo>
                    <a:pt x="15837" y="200228"/>
                  </a:lnTo>
                  <a:lnTo>
                    <a:pt x="15837" y="200876"/>
                  </a:lnTo>
                  <a:lnTo>
                    <a:pt x="15875" y="200876"/>
                  </a:lnTo>
                  <a:lnTo>
                    <a:pt x="15875" y="202260"/>
                  </a:lnTo>
                  <a:lnTo>
                    <a:pt x="15875" y="200876"/>
                  </a:lnTo>
                  <a:lnTo>
                    <a:pt x="15875" y="202260"/>
                  </a:lnTo>
                  <a:lnTo>
                    <a:pt x="15875" y="200876"/>
                  </a:lnTo>
                  <a:lnTo>
                    <a:pt x="15926" y="200876"/>
                  </a:lnTo>
                  <a:lnTo>
                    <a:pt x="15926" y="200228"/>
                  </a:lnTo>
                  <a:lnTo>
                    <a:pt x="15926" y="200876"/>
                  </a:lnTo>
                  <a:lnTo>
                    <a:pt x="15926" y="199530"/>
                  </a:lnTo>
                  <a:lnTo>
                    <a:pt x="15977" y="199530"/>
                  </a:lnTo>
                  <a:lnTo>
                    <a:pt x="15977" y="196799"/>
                  </a:lnTo>
                  <a:lnTo>
                    <a:pt x="15977" y="197447"/>
                  </a:lnTo>
                  <a:lnTo>
                    <a:pt x="16079" y="197447"/>
                  </a:lnTo>
                  <a:lnTo>
                    <a:pt x="16079" y="198831"/>
                  </a:lnTo>
                  <a:lnTo>
                    <a:pt x="16079" y="196799"/>
                  </a:lnTo>
                  <a:lnTo>
                    <a:pt x="16079" y="198831"/>
                  </a:lnTo>
                  <a:lnTo>
                    <a:pt x="16130" y="199530"/>
                  </a:lnTo>
                  <a:lnTo>
                    <a:pt x="16130" y="197447"/>
                  </a:lnTo>
                  <a:lnTo>
                    <a:pt x="16130" y="198831"/>
                  </a:lnTo>
                  <a:lnTo>
                    <a:pt x="16130" y="197447"/>
                  </a:lnTo>
                  <a:lnTo>
                    <a:pt x="16130" y="200228"/>
                  </a:lnTo>
                  <a:lnTo>
                    <a:pt x="16130" y="199530"/>
                  </a:lnTo>
                  <a:lnTo>
                    <a:pt x="16180" y="199530"/>
                  </a:lnTo>
                  <a:lnTo>
                    <a:pt x="16180" y="198831"/>
                  </a:lnTo>
                  <a:lnTo>
                    <a:pt x="16180" y="200228"/>
                  </a:lnTo>
                  <a:lnTo>
                    <a:pt x="16180" y="199530"/>
                  </a:lnTo>
                  <a:lnTo>
                    <a:pt x="16282" y="199530"/>
                  </a:lnTo>
                  <a:lnTo>
                    <a:pt x="16282" y="200228"/>
                  </a:lnTo>
                  <a:lnTo>
                    <a:pt x="16282" y="199530"/>
                  </a:lnTo>
                  <a:lnTo>
                    <a:pt x="16282" y="200228"/>
                  </a:lnTo>
                  <a:lnTo>
                    <a:pt x="16282" y="199530"/>
                  </a:lnTo>
                  <a:lnTo>
                    <a:pt x="16333" y="199530"/>
                  </a:lnTo>
                  <a:lnTo>
                    <a:pt x="16333" y="200228"/>
                  </a:lnTo>
                  <a:lnTo>
                    <a:pt x="16422" y="200228"/>
                  </a:lnTo>
                  <a:lnTo>
                    <a:pt x="16422" y="199530"/>
                  </a:lnTo>
                  <a:lnTo>
                    <a:pt x="16422" y="200228"/>
                  </a:lnTo>
                  <a:lnTo>
                    <a:pt x="16422" y="198831"/>
                  </a:lnTo>
                  <a:lnTo>
                    <a:pt x="16523" y="198831"/>
                  </a:lnTo>
                  <a:lnTo>
                    <a:pt x="16523" y="197447"/>
                  </a:lnTo>
                  <a:lnTo>
                    <a:pt x="16523" y="199530"/>
                  </a:lnTo>
                  <a:lnTo>
                    <a:pt x="16523" y="198831"/>
                  </a:lnTo>
                  <a:lnTo>
                    <a:pt x="16574" y="198831"/>
                  </a:lnTo>
                  <a:lnTo>
                    <a:pt x="16574" y="196799"/>
                  </a:lnTo>
                  <a:lnTo>
                    <a:pt x="16574" y="200876"/>
                  </a:lnTo>
                  <a:lnTo>
                    <a:pt x="16574" y="199530"/>
                  </a:lnTo>
                  <a:lnTo>
                    <a:pt x="16625" y="199530"/>
                  </a:lnTo>
                  <a:lnTo>
                    <a:pt x="16625" y="200876"/>
                  </a:lnTo>
                  <a:lnTo>
                    <a:pt x="16625" y="200228"/>
                  </a:lnTo>
                  <a:lnTo>
                    <a:pt x="16726" y="200228"/>
                  </a:lnTo>
                  <a:lnTo>
                    <a:pt x="16726" y="200876"/>
                  </a:lnTo>
                  <a:lnTo>
                    <a:pt x="16726" y="200228"/>
                  </a:lnTo>
                  <a:lnTo>
                    <a:pt x="16726" y="200876"/>
                  </a:lnTo>
                  <a:lnTo>
                    <a:pt x="16726" y="200228"/>
                  </a:lnTo>
                  <a:lnTo>
                    <a:pt x="16726" y="200876"/>
                  </a:lnTo>
                  <a:lnTo>
                    <a:pt x="16777" y="200876"/>
                  </a:lnTo>
                  <a:lnTo>
                    <a:pt x="16777" y="200228"/>
                  </a:lnTo>
                  <a:lnTo>
                    <a:pt x="16777" y="200876"/>
                  </a:lnTo>
                  <a:lnTo>
                    <a:pt x="16777" y="200228"/>
                  </a:lnTo>
                  <a:lnTo>
                    <a:pt x="16777" y="200876"/>
                  </a:lnTo>
                  <a:lnTo>
                    <a:pt x="16777" y="200228"/>
                  </a:lnTo>
                  <a:lnTo>
                    <a:pt x="16777" y="200876"/>
                  </a:lnTo>
                  <a:lnTo>
                    <a:pt x="16777" y="200228"/>
                  </a:lnTo>
                  <a:lnTo>
                    <a:pt x="16828" y="200228"/>
                  </a:lnTo>
                  <a:lnTo>
                    <a:pt x="16828" y="202260"/>
                  </a:lnTo>
                  <a:lnTo>
                    <a:pt x="16879" y="202260"/>
                  </a:lnTo>
                  <a:lnTo>
                    <a:pt x="16879" y="200228"/>
                  </a:lnTo>
                  <a:lnTo>
                    <a:pt x="16879" y="200876"/>
                  </a:lnTo>
                  <a:lnTo>
                    <a:pt x="16968" y="200876"/>
                  </a:lnTo>
                  <a:lnTo>
                    <a:pt x="16968" y="198831"/>
                  </a:lnTo>
                  <a:lnTo>
                    <a:pt x="17018" y="199530"/>
                  </a:lnTo>
                  <a:lnTo>
                    <a:pt x="17018" y="200228"/>
                  </a:lnTo>
                  <a:lnTo>
                    <a:pt x="17018" y="198831"/>
                  </a:lnTo>
                  <a:lnTo>
                    <a:pt x="17018" y="199530"/>
                  </a:lnTo>
                  <a:lnTo>
                    <a:pt x="17018" y="198831"/>
                  </a:lnTo>
                  <a:lnTo>
                    <a:pt x="17069" y="199530"/>
                  </a:lnTo>
                  <a:lnTo>
                    <a:pt x="17069" y="202260"/>
                  </a:lnTo>
                  <a:lnTo>
                    <a:pt x="17069" y="200228"/>
                  </a:lnTo>
                  <a:lnTo>
                    <a:pt x="17069" y="200876"/>
                  </a:lnTo>
                  <a:lnTo>
                    <a:pt x="17120" y="200876"/>
                  </a:lnTo>
                  <a:lnTo>
                    <a:pt x="17120" y="202260"/>
                  </a:lnTo>
                  <a:lnTo>
                    <a:pt x="17120" y="200876"/>
                  </a:lnTo>
                  <a:lnTo>
                    <a:pt x="17120" y="202260"/>
                  </a:lnTo>
                  <a:lnTo>
                    <a:pt x="17120" y="200876"/>
                  </a:lnTo>
                  <a:lnTo>
                    <a:pt x="17222" y="200876"/>
                  </a:lnTo>
                  <a:lnTo>
                    <a:pt x="17222" y="202260"/>
                  </a:lnTo>
                  <a:lnTo>
                    <a:pt x="17222" y="200876"/>
                  </a:lnTo>
                  <a:lnTo>
                    <a:pt x="17222" y="202260"/>
                  </a:lnTo>
                  <a:lnTo>
                    <a:pt x="17222" y="200876"/>
                  </a:lnTo>
                  <a:lnTo>
                    <a:pt x="17222" y="202260"/>
                  </a:lnTo>
                  <a:lnTo>
                    <a:pt x="17222" y="200876"/>
                  </a:lnTo>
                  <a:lnTo>
                    <a:pt x="17222" y="202260"/>
                  </a:lnTo>
                  <a:lnTo>
                    <a:pt x="17222" y="200876"/>
                  </a:lnTo>
                  <a:lnTo>
                    <a:pt x="17273" y="200876"/>
                  </a:lnTo>
                  <a:lnTo>
                    <a:pt x="17273" y="202260"/>
                  </a:lnTo>
                  <a:lnTo>
                    <a:pt x="17273" y="200876"/>
                  </a:lnTo>
                  <a:lnTo>
                    <a:pt x="17273" y="202260"/>
                  </a:lnTo>
                  <a:lnTo>
                    <a:pt x="17323" y="202260"/>
                  </a:lnTo>
                  <a:lnTo>
                    <a:pt x="17323" y="200876"/>
                  </a:lnTo>
                  <a:lnTo>
                    <a:pt x="17323" y="202260"/>
                  </a:lnTo>
                  <a:lnTo>
                    <a:pt x="17323" y="200876"/>
                  </a:lnTo>
                  <a:lnTo>
                    <a:pt x="17323" y="202260"/>
                  </a:lnTo>
                  <a:lnTo>
                    <a:pt x="17323" y="200876"/>
                  </a:lnTo>
                  <a:lnTo>
                    <a:pt x="17425" y="200876"/>
                  </a:lnTo>
                  <a:lnTo>
                    <a:pt x="17425" y="200228"/>
                  </a:lnTo>
                  <a:lnTo>
                    <a:pt x="17425" y="200876"/>
                  </a:lnTo>
                  <a:lnTo>
                    <a:pt x="17425" y="200228"/>
                  </a:lnTo>
                  <a:lnTo>
                    <a:pt x="17425" y="200876"/>
                  </a:lnTo>
                  <a:lnTo>
                    <a:pt x="17425" y="199530"/>
                  </a:lnTo>
                  <a:lnTo>
                    <a:pt x="17463" y="199530"/>
                  </a:lnTo>
                  <a:lnTo>
                    <a:pt x="17463" y="196799"/>
                  </a:lnTo>
                  <a:lnTo>
                    <a:pt x="17463" y="197447"/>
                  </a:lnTo>
                  <a:lnTo>
                    <a:pt x="17514" y="198831"/>
                  </a:lnTo>
                  <a:lnTo>
                    <a:pt x="17514" y="199530"/>
                  </a:lnTo>
                  <a:lnTo>
                    <a:pt x="17514" y="197447"/>
                  </a:lnTo>
                  <a:lnTo>
                    <a:pt x="17514" y="200228"/>
                  </a:lnTo>
                  <a:lnTo>
                    <a:pt x="17565" y="200876"/>
                  </a:lnTo>
                  <a:lnTo>
                    <a:pt x="17565" y="200228"/>
                  </a:lnTo>
                  <a:lnTo>
                    <a:pt x="17565" y="202260"/>
                  </a:lnTo>
                  <a:lnTo>
                    <a:pt x="17666" y="202260"/>
                  </a:lnTo>
                  <a:lnTo>
                    <a:pt x="17666" y="200228"/>
                  </a:lnTo>
                  <a:lnTo>
                    <a:pt x="17666" y="200876"/>
                  </a:lnTo>
                  <a:lnTo>
                    <a:pt x="17666" y="200228"/>
                  </a:lnTo>
                  <a:lnTo>
                    <a:pt x="17666" y="202260"/>
                  </a:lnTo>
                  <a:lnTo>
                    <a:pt x="17666" y="200876"/>
                  </a:lnTo>
                  <a:lnTo>
                    <a:pt x="17666" y="202260"/>
                  </a:lnTo>
                  <a:lnTo>
                    <a:pt x="17666" y="200876"/>
                  </a:lnTo>
                  <a:lnTo>
                    <a:pt x="17717" y="200876"/>
                  </a:lnTo>
                  <a:lnTo>
                    <a:pt x="17717" y="202260"/>
                  </a:lnTo>
                  <a:lnTo>
                    <a:pt x="17717" y="200876"/>
                  </a:lnTo>
                  <a:lnTo>
                    <a:pt x="17717" y="202260"/>
                  </a:lnTo>
                  <a:lnTo>
                    <a:pt x="17717" y="200876"/>
                  </a:lnTo>
                  <a:lnTo>
                    <a:pt x="17768" y="200876"/>
                  </a:lnTo>
                  <a:lnTo>
                    <a:pt x="17768" y="202260"/>
                  </a:lnTo>
                  <a:lnTo>
                    <a:pt x="17768" y="200876"/>
                  </a:lnTo>
                  <a:lnTo>
                    <a:pt x="17768" y="202260"/>
                  </a:lnTo>
                  <a:lnTo>
                    <a:pt x="17768" y="200876"/>
                  </a:lnTo>
                  <a:lnTo>
                    <a:pt x="17869" y="200876"/>
                  </a:lnTo>
                  <a:lnTo>
                    <a:pt x="17869" y="202260"/>
                  </a:lnTo>
                  <a:lnTo>
                    <a:pt x="17869" y="200876"/>
                  </a:lnTo>
                  <a:lnTo>
                    <a:pt x="17869" y="202260"/>
                  </a:lnTo>
                  <a:lnTo>
                    <a:pt x="17869" y="200876"/>
                  </a:lnTo>
                  <a:lnTo>
                    <a:pt x="17920" y="200876"/>
                  </a:lnTo>
                  <a:lnTo>
                    <a:pt x="17920" y="199530"/>
                  </a:lnTo>
                  <a:lnTo>
                    <a:pt x="17971" y="199530"/>
                  </a:lnTo>
                  <a:lnTo>
                    <a:pt x="17971" y="197447"/>
                  </a:lnTo>
                  <a:lnTo>
                    <a:pt x="17971" y="199530"/>
                  </a:lnTo>
                  <a:lnTo>
                    <a:pt x="18009" y="199530"/>
                  </a:lnTo>
                  <a:lnTo>
                    <a:pt x="18009" y="197447"/>
                  </a:lnTo>
                  <a:lnTo>
                    <a:pt x="18009" y="200228"/>
                  </a:lnTo>
                  <a:lnTo>
                    <a:pt x="18111" y="200228"/>
                  </a:lnTo>
                  <a:lnTo>
                    <a:pt x="18111" y="200876"/>
                  </a:lnTo>
                  <a:lnTo>
                    <a:pt x="18161" y="200876"/>
                  </a:lnTo>
                  <a:lnTo>
                    <a:pt x="18161" y="200228"/>
                  </a:lnTo>
                  <a:lnTo>
                    <a:pt x="18161" y="200876"/>
                  </a:lnTo>
                  <a:lnTo>
                    <a:pt x="18161" y="200228"/>
                  </a:lnTo>
                  <a:lnTo>
                    <a:pt x="18161" y="200876"/>
                  </a:lnTo>
                  <a:lnTo>
                    <a:pt x="18161" y="200228"/>
                  </a:lnTo>
                  <a:lnTo>
                    <a:pt x="18212" y="200228"/>
                  </a:lnTo>
                  <a:lnTo>
                    <a:pt x="18212" y="200876"/>
                  </a:lnTo>
                  <a:lnTo>
                    <a:pt x="18212" y="200228"/>
                  </a:lnTo>
                  <a:lnTo>
                    <a:pt x="18212" y="202260"/>
                  </a:lnTo>
                  <a:lnTo>
                    <a:pt x="18212" y="200876"/>
                  </a:lnTo>
                  <a:lnTo>
                    <a:pt x="18314" y="202260"/>
                  </a:lnTo>
                  <a:lnTo>
                    <a:pt x="18314" y="200876"/>
                  </a:lnTo>
                  <a:lnTo>
                    <a:pt x="18314" y="202260"/>
                  </a:lnTo>
                  <a:lnTo>
                    <a:pt x="18314" y="200876"/>
                  </a:lnTo>
                  <a:lnTo>
                    <a:pt x="18314" y="202260"/>
                  </a:lnTo>
                  <a:lnTo>
                    <a:pt x="18314" y="200876"/>
                  </a:lnTo>
                  <a:lnTo>
                    <a:pt x="18314" y="202260"/>
                  </a:lnTo>
                  <a:lnTo>
                    <a:pt x="18365" y="202260"/>
                  </a:lnTo>
                  <a:lnTo>
                    <a:pt x="18365" y="200876"/>
                  </a:lnTo>
                  <a:lnTo>
                    <a:pt x="18365" y="202260"/>
                  </a:lnTo>
                  <a:lnTo>
                    <a:pt x="18365" y="200876"/>
                  </a:lnTo>
                  <a:lnTo>
                    <a:pt x="18365" y="202260"/>
                  </a:lnTo>
                  <a:lnTo>
                    <a:pt x="18365" y="200228"/>
                  </a:lnTo>
                  <a:lnTo>
                    <a:pt x="18416" y="200876"/>
                  </a:lnTo>
                  <a:lnTo>
                    <a:pt x="18416" y="198831"/>
                  </a:lnTo>
                  <a:lnTo>
                    <a:pt x="18466" y="198831"/>
                  </a:lnTo>
                  <a:lnTo>
                    <a:pt x="18466" y="196799"/>
                  </a:lnTo>
                  <a:lnTo>
                    <a:pt x="18466" y="197447"/>
                  </a:lnTo>
                  <a:lnTo>
                    <a:pt x="18466" y="196799"/>
                  </a:lnTo>
                  <a:lnTo>
                    <a:pt x="18466" y="197447"/>
                  </a:lnTo>
                  <a:lnTo>
                    <a:pt x="18555" y="198831"/>
                  </a:lnTo>
                  <a:lnTo>
                    <a:pt x="18555" y="199530"/>
                  </a:lnTo>
                  <a:lnTo>
                    <a:pt x="18555" y="196113"/>
                  </a:lnTo>
                  <a:lnTo>
                    <a:pt x="18555" y="200228"/>
                  </a:lnTo>
                  <a:lnTo>
                    <a:pt x="18606" y="200228"/>
                  </a:lnTo>
                  <a:lnTo>
                    <a:pt x="18606" y="198831"/>
                  </a:lnTo>
                  <a:lnTo>
                    <a:pt x="18606" y="200228"/>
                  </a:lnTo>
                  <a:lnTo>
                    <a:pt x="18606" y="199530"/>
                  </a:lnTo>
                  <a:lnTo>
                    <a:pt x="18657" y="200228"/>
                  </a:lnTo>
                  <a:lnTo>
                    <a:pt x="18657" y="199530"/>
                  </a:lnTo>
                  <a:lnTo>
                    <a:pt x="18657" y="200228"/>
                  </a:lnTo>
                  <a:lnTo>
                    <a:pt x="18657" y="199530"/>
                  </a:lnTo>
                  <a:lnTo>
                    <a:pt x="18657" y="200228"/>
                  </a:lnTo>
                  <a:lnTo>
                    <a:pt x="18657" y="199530"/>
                  </a:lnTo>
                  <a:lnTo>
                    <a:pt x="18657" y="200228"/>
                  </a:lnTo>
                  <a:lnTo>
                    <a:pt x="18708" y="200228"/>
                  </a:lnTo>
                  <a:lnTo>
                    <a:pt x="18708" y="200876"/>
                  </a:lnTo>
                  <a:lnTo>
                    <a:pt x="18708" y="200228"/>
                  </a:lnTo>
                  <a:lnTo>
                    <a:pt x="18809" y="200876"/>
                  </a:lnTo>
                  <a:lnTo>
                    <a:pt x="18809" y="202260"/>
                  </a:lnTo>
                  <a:lnTo>
                    <a:pt x="18809" y="200876"/>
                  </a:lnTo>
                  <a:lnTo>
                    <a:pt x="18860" y="200876"/>
                  </a:lnTo>
                  <a:lnTo>
                    <a:pt x="18860" y="202260"/>
                  </a:lnTo>
                  <a:lnTo>
                    <a:pt x="18860" y="200876"/>
                  </a:lnTo>
                  <a:lnTo>
                    <a:pt x="18911" y="200876"/>
                  </a:lnTo>
                  <a:lnTo>
                    <a:pt x="18911" y="199530"/>
                  </a:lnTo>
                  <a:lnTo>
                    <a:pt x="19012" y="199530"/>
                  </a:lnTo>
                  <a:lnTo>
                    <a:pt x="19012" y="197447"/>
                  </a:lnTo>
                  <a:lnTo>
                    <a:pt x="19012" y="199530"/>
                  </a:lnTo>
                  <a:lnTo>
                    <a:pt x="19012" y="198831"/>
                  </a:lnTo>
                  <a:lnTo>
                    <a:pt x="19050" y="198831"/>
                  </a:lnTo>
                  <a:lnTo>
                    <a:pt x="19050" y="196113"/>
                  </a:lnTo>
                  <a:lnTo>
                    <a:pt x="19050" y="200228"/>
                  </a:lnTo>
                  <a:lnTo>
                    <a:pt x="19050" y="199530"/>
                  </a:lnTo>
                  <a:lnTo>
                    <a:pt x="19101" y="199530"/>
                  </a:lnTo>
                  <a:lnTo>
                    <a:pt x="19101" y="198831"/>
                  </a:lnTo>
                  <a:lnTo>
                    <a:pt x="19101" y="200228"/>
                  </a:lnTo>
                  <a:lnTo>
                    <a:pt x="19101" y="198831"/>
                  </a:lnTo>
                  <a:lnTo>
                    <a:pt x="19152" y="198831"/>
                  </a:lnTo>
                  <a:lnTo>
                    <a:pt x="19152" y="199530"/>
                  </a:lnTo>
                  <a:lnTo>
                    <a:pt x="19254" y="199530"/>
                  </a:lnTo>
                  <a:lnTo>
                    <a:pt x="19254" y="200228"/>
                  </a:lnTo>
                  <a:lnTo>
                    <a:pt x="19254" y="199530"/>
                  </a:lnTo>
                  <a:lnTo>
                    <a:pt x="19254" y="200228"/>
                  </a:lnTo>
                  <a:lnTo>
                    <a:pt x="19305" y="200228"/>
                  </a:lnTo>
                  <a:lnTo>
                    <a:pt x="19305" y="200876"/>
                  </a:lnTo>
                  <a:lnTo>
                    <a:pt x="19305" y="200228"/>
                  </a:lnTo>
                  <a:lnTo>
                    <a:pt x="19305" y="200876"/>
                  </a:lnTo>
                  <a:lnTo>
                    <a:pt x="19305" y="200228"/>
                  </a:lnTo>
                  <a:lnTo>
                    <a:pt x="19355" y="200876"/>
                  </a:lnTo>
                  <a:lnTo>
                    <a:pt x="19355" y="200228"/>
                  </a:lnTo>
                  <a:lnTo>
                    <a:pt x="19355" y="200876"/>
                  </a:lnTo>
                  <a:lnTo>
                    <a:pt x="19355" y="200228"/>
                  </a:lnTo>
                  <a:lnTo>
                    <a:pt x="19355" y="200876"/>
                  </a:lnTo>
                  <a:lnTo>
                    <a:pt x="19355" y="200228"/>
                  </a:lnTo>
                  <a:lnTo>
                    <a:pt x="19355" y="200876"/>
                  </a:lnTo>
                  <a:lnTo>
                    <a:pt x="19355" y="199530"/>
                  </a:lnTo>
                  <a:lnTo>
                    <a:pt x="19355" y="200228"/>
                  </a:lnTo>
                  <a:lnTo>
                    <a:pt x="19457" y="199530"/>
                  </a:lnTo>
                  <a:lnTo>
                    <a:pt x="19457" y="200228"/>
                  </a:lnTo>
                  <a:lnTo>
                    <a:pt x="19457" y="199530"/>
                  </a:lnTo>
                  <a:lnTo>
                    <a:pt x="19457" y="200228"/>
                  </a:lnTo>
                  <a:lnTo>
                    <a:pt x="19457" y="198831"/>
                  </a:lnTo>
                  <a:lnTo>
                    <a:pt x="19457" y="199530"/>
                  </a:lnTo>
                  <a:lnTo>
                    <a:pt x="19508" y="198831"/>
                  </a:lnTo>
                  <a:lnTo>
                    <a:pt x="19508" y="200228"/>
                  </a:lnTo>
                  <a:lnTo>
                    <a:pt x="19508" y="198831"/>
                  </a:lnTo>
                  <a:lnTo>
                    <a:pt x="19559" y="198831"/>
                  </a:lnTo>
                  <a:lnTo>
                    <a:pt x="19559" y="202260"/>
                  </a:lnTo>
                  <a:lnTo>
                    <a:pt x="19559" y="200876"/>
                  </a:lnTo>
                  <a:lnTo>
                    <a:pt x="19559" y="202260"/>
                  </a:lnTo>
                  <a:lnTo>
                    <a:pt x="19559" y="200228"/>
                  </a:lnTo>
                  <a:lnTo>
                    <a:pt x="19559" y="200876"/>
                  </a:lnTo>
                  <a:lnTo>
                    <a:pt x="19597" y="200876"/>
                  </a:lnTo>
                  <a:lnTo>
                    <a:pt x="19597" y="202260"/>
                  </a:lnTo>
                  <a:lnTo>
                    <a:pt x="19597" y="200228"/>
                  </a:lnTo>
                  <a:lnTo>
                    <a:pt x="19597" y="200876"/>
                  </a:lnTo>
                  <a:lnTo>
                    <a:pt x="19597" y="200228"/>
                  </a:lnTo>
                  <a:lnTo>
                    <a:pt x="19698" y="200228"/>
                  </a:lnTo>
                  <a:lnTo>
                    <a:pt x="19698" y="200876"/>
                  </a:lnTo>
                  <a:lnTo>
                    <a:pt x="19698" y="200228"/>
                  </a:lnTo>
                  <a:lnTo>
                    <a:pt x="19698" y="200876"/>
                  </a:lnTo>
                  <a:lnTo>
                    <a:pt x="19698" y="200228"/>
                  </a:lnTo>
                  <a:lnTo>
                    <a:pt x="19698" y="202260"/>
                  </a:lnTo>
                  <a:lnTo>
                    <a:pt x="19749" y="202260"/>
                  </a:lnTo>
                  <a:lnTo>
                    <a:pt x="19749" y="200876"/>
                  </a:lnTo>
                  <a:lnTo>
                    <a:pt x="19749" y="202260"/>
                  </a:lnTo>
                  <a:lnTo>
                    <a:pt x="19749" y="200228"/>
                  </a:lnTo>
                  <a:lnTo>
                    <a:pt x="19749" y="202260"/>
                  </a:lnTo>
                  <a:lnTo>
                    <a:pt x="19749" y="200876"/>
                  </a:lnTo>
                  <a:lnTo>
                    <a:pt x="19800" y="200876"/>
                  </a:lnTo>
                  <a:lnTo>
                    <a:pt x="19800" y="202260"/>
                  </a:lnTo>
                  <a:lnTo>
                    <a:pt x="19800" y="200876"/>
                  </a:lnTo>
                  <a:lnTo>
                    <a:pt x="19901" y="200876"/>
                  </a:lnTo>
                  <a:lnTo>
                    <a:pt x="19901" y="200228"/>
                  </a:lnTo>
                  <a:lnTo>
                    <a:pt x="19901" y="200876"/>
                  </a:lnTo>
                  <a:lnTo>
                    <a:pt x="19901" y="199530"/>
                  </a:lnTo>
                  <a:lnTo>
                    <a:pt x="19952" y="199530"/>
                  </a:lnTo>
                  <a:lnTo>
                    <a:pt x="19952" y="198831"/>
                  </a:lnTo>
                  <a:lnTo>
                    <a:pt x="19952" y="199530"/>
                  </a:lnTo>
                  <a:lnTo>
                    <a:pt x="19952" y="198831"/>
                  </a:lnTo>
                  <a:lnTo>
                    <a:pt x="19952" y="199530"/>
                  </a:lnTo>
                  <a:lnTo>
                    <a:pt x="20003" y="200228"/>
                  </a:lnTo>
                  <a:lnTo>
                    <a:pt x="20003" y="199530"/>
                  </a:lnTo>
                  <a:lnTo>
                    <a:pt x="20003" y="200228"/>
                  </a:lnTo>
                  <a:lnTo>
                    <a:pt x="20003" y="199530"/>
                  </a:lnTo>
                  <a:lnTo>
                    <a:pt x="20003" y="202260"/>
                  </a:lnTo>
                  <a:lnTo>
                    <a:pt x="20054" y="202260"/>
                  </a:lnTo>
                  <a:lnTo>
                    <a:pt x="20054" y="200876"/>
                  </a:lnTo>
                  <a:lnTo>
                    <a:pt x="20054" y="202260"/>
                  </a:lnTo>
                  <a:lnTo>
                    <a:pt x="20143" y="202260"/>
                  </a:lnTo>
                  <a:lnTo>
                    <a:pt x="20143" y="200876"/>
                  </a:lnTo>
                  <a:lnTo>
                    <a:pt x="20143" y="202260"/>
                  </a:lnTo>
                  <a:lnTo>
                    <a:pt x="20143" y="200876"/>
                  </a:lnTo>
                  <a:lnTo>
                    <a:pt x="20143" y="202959"/>
                  </a:lnTo>
                  <a:lnTo>
                    <a:pt x="20143" y="202260"/>
                  </a:lnTo>
                  <a:lnTo>
                    <a:pt x="20193" y="202260"/>
                  </a:lnTo>
                  <a:lnTo>
                    <a:pt x="20193" y="200876"/>
                  </a:lnTo>
                  <a:lnTo>
                    <a:pt x="20193" y="202260"/>
                  </a:lnTo>
                  <a:lnTo>
                    <a:pt x="20193" y="200876"/>
                  </a:lnTo>
                  <a:lnTo>
                    <a:pt x="20193" y="202959"/>
                  </a:lnTo>
                  <a:lnTo>
                    <a:pt x="20193" y="202260"/>
                  </a:lnTo>
                  <a:lnTo>
                    <a:pt x="20244" y="202260"/>
                  </a:lnTo>
                  <a:lnTo>
                    <a:pt x="20244" y="202959"/>
                  </a:lnTo>
                  <a:lnTo>
                    <a:pt x="20244" y="202260"/>
                  </a:lnTo>
                  <a:lnTo>
                    <a:pt x="20295" y="200876"/>
                  </a:lnTo>
                  <a:lnTo>
                    <a:pt x="20295" y="202260"/>
                  </a:lnTo>
                  <a:lnTo>
                    <a:pt x="20295" y="200228"/>
                  </a:lnTo>
                  <a:lnTo>
                    <a:pt x="20397" y="200228"/>
                  </a:lnTo>
                  <a:lnTo>
                    <a:pt x="20397" y="197447"/>
                  </a:lnTo>
                  <a:lnTo>
                    <a:pt x="20448" y="198831"/>
                  </a:lnTo>
                  <a:lnTo>
                    <a:pt x="20448" y="197447"/>
                  </a:lnTo>
                  <a:lnTo>
                    <a:pt x="20448" y="198831"/>
                  </a:lnTo>
                  <a:lnTo>
                    <a:pt x="20498" y="199530"/>
                  </a:lnTo>
                  <a:lnTo>
                    <a:pt x="20498" y="198831"/>
                  </a:lnTo>
                  <a:lnTo>
                    <a:pt x="20498" y="200228"/>
                  </a:lnTo>
                  <a:lnTo>
                    <a:pt x="20600" y="200228"/>
                  </a:lnTo>
                  <a:lnTo>
                    <a:pt x="20600" y="199530"/>
                  </a:lnTo>
                  <a:lnTo>
                    <a:pt x="20600" y="200876"/>
                  </a:lnTo>
                  <a:lnTo>
                    <a:pt x="20638" y="200876"/>
                  </a:lnTo>
                  <a:lnTo>
                    <a:pt x="20638" y="199530"/>
                  </a:lnTo>
                  <a:lnTo>
                    <a:pt x="20638" y="200876"/>
                  </a:lnTo>
                  <a:lnTo>
                    <a:pt x="20638" y="200228"/>
                  </a:lnTo>
                  <a:lnTo>
                    <a:pt x="20638" y="200876"/>
                  </a:lnTo>
                  <a:lnTo>
                    <a:pt x="20689" y="200876"/>
                  </a:lnTo>
                  <a:lnTo>
                    <a:pt x="20689" y="200228"/>
                  </a:lnTo>
                  <a:lnTo>
                    <a:pt x="20689" y="202260"/>
                  </a:lnTo>
                  <a:lnTo>
                    <a:pt x="20689" y="200876"/>
                  </a:lnTo>
                  <a:lnTo>
                    <a:pt x="20689" y="202260"/>
                  </a:lnTo>
                  <a:lnTo>
                    <a:pt x="20740" y="202959"/>
                  </a:lnTo>
                  <a:lnTo>
                    <a:pt x="20740" y="202260"/>
                  </a:lnTo>
                  <a:lnTo>
                    <a:pt x="20841" y="202260"/>
                  </a:lnTo>
                  <a:lnTo>
                    <a:pt x="20841" y="202959"/>
                  </a:lnTo>
                  <a:lnTo>
                    <a:pt x="20841" y="200876"/>
                  </a:lnTo>
                  <a:lnTo>
                    <a:pt x="20892" y="200876"/>
                  </a:lnTo>
                  <a:lnTo>
                    <a:pt x="20892" y="199530"/>
                  </a:lnTo>
                  <a:lnTo>
                    <a:pt x="20943" y="198831"/>
                  </a:lnTo>
                  <a:lnTo>
                    <a:pt x="20943" y="197447"/>
                  </a:lnTo>
                  <a:lnTo>
                    <a:pt x="20943" y="200228"/>
                  </a:lnTo>
                  <a:lnTo>
                    <a:pt x="20943" y="199530"/>
                  </a:lnTo>
                  <a:lnTo>
                    <a:pt x="21044" y="199530"/>
                  </a:lnTo>
                  <a:lnTo>
                    <a:pt x="21044" y="198831"/>
                  </a:lnTo>
                  <a:lnTo>
                    <a:pt x="21044" y="202260"/>
                  </a:lnTo>
                  <a:lnTo>
                    <a:pt x="21044" y="199530"/>
                  </a:lnTo>
                  <a:lnTo>
                    <a:pt x="21095" y="199530"/>
                  </a:lnTo>
                  <a:lnTo>
                    <a:pt x="21095" y="200876"/>
                  </a:lnTo>
                  <a:lnTo>
                    <a:pt x="21095" y="200228"/>
                  </a:lnTo>
                  <a:lnTo>
                    <a:pt x="21095" y="200876"/>
                  </a:lnTo>
                  <a:lnTo>
                    <a:pt x="21095" y="200228"/>
                  </a:lnTo>
                  <a:lnTo>
                    <a:pt x="21146" y="200228"/>
                  </a:lnTo>
                  <a:lnTo>
                    <a:pt x="21146" y="200876"/>
                  </a:lnTo>
                  <a:lnTo>
                    <a:pt x="21184" y="200876"/>
                  </a:lnTo>
                  <a:lnTo>
                    <a:pt x="21184" y="202260"/>
                  </a:lnTo>
                  <a:lnTo>
                    <a:pt x="21184" y="200876"/>
                  </a:lnTo>
                  <a:lnTo>
                    <a:pt x="21184" y="202260"/>
                  </a:lnTo>
                  <a:lnTo>
                    <a:pt x="21184" y="200876"/>
                  </a:lnTo>
                  <a:lnTo>
                    <a:pt x="21184" y="202260"/>
                  </a:lnTo>
                  <a:lnTo>
                    <a:pt x="21286" y="202260"/>
                  </a:lnTo>
                  <a:lnTo>
                    <a:pt x="21286" y="202959"/>
                  </a:lnTo>
                  <a:lnTo>
                    <a:pt x="21286" y="200876"/>
                  </a:lnTo>
                  <a:lnTo>
                    <a:pt x="21336" y="202260"/>
                  </a:lnTo>
                  <a:lnTo>
                    <a:pt x="21336" y="200228"/>
                  </a:lnTo>
                  <a:lnTo>
                    <a:pt x="21336" y="200876"/>
                  </a:lnTo>
                  <a:lnTo>
                    <a:pt x="21336" y="200228"/>
                  </a:lnTo>
                  <a:lnTo>
                    <a:pt x="21336" y="200876"/>
                  </a:lnTo>
                  <a:lnTo>
                    <a:pt x="21336" y="200228"/>
                  </a:lnTo>
                  <a:lnTo>
                    <a:pt x="21387" y="200228"/>
                  </a:lnTo>
                  <a:lnTo>
                    <a:pt x="21387" y="198831"/>
                  </a:lnTo>
                  <a:lnTo>
                    <a:pt x="21387" y="199530"/>
                  </a:lnTo>
                  <a:lnTo>
                    <a:pt x="21387" y="198831"/>
                  </a:lnTo>
                  <a:lnTo>
                    <a:pt x="21489" y="198831"/>
                  </a:lnTo>
                  <a:lnTo>
                    <a:pt x="21489" y="197447"/>
                  </a:lnTo>
                  <a:lnTo>
                    <a:pt x="21489" y="200228"/>
                  </a:lnTo>
                  <a:lnTo>
                    <a:pt x="21489" y="197447"/>
                  </a:lnTo>
                  <a:lnTo>
                    <a:pt x="21540" y="197447"/>
                  </a:lnTo>
                  <a:lnTo>
                    <a:pt x="21540" y="200876"/>
                  </a:lnTo>
                  <a:lnTo>
                    <a:pt x="21540" y="197447"/>
                  </a:lnTo>
                  <a:lnTo>
                    <a:pt x="21591" y="197447"/>
                  </a:lnTo>
                  <a:lnTo>
                    <a:pt x="21591" y="200228"/>
                  </a:lnTo>
                  <a:lnTo>
                    <a:pt x="21591" y="199530"/>
                  </a:lnTo>
                  <a:lnTo>
                    <a:pt x="21641" y="199530"/>
                  </a:lnTo>
                  <a:lnTo>
                    <a:pt x="21641" y="200876"/>
                  </a:lnTo>
                  <a:lnTo>
                    <a:pt x="21641" y="200228"/>
                  </a:lnTo>
                  <a:lnTo>
                    <a:pt x="21641" y="200876"/>
                  </a:lnTo>
                  <a:lnTo>
                    <a:pt x="21641" y="200228"/>
                  </a:lnTo>
                  <a:lnTo>
                    <a:pt x="21730" y="200228"/>
                  </a:lnTo>
                  <a:lnTo>
                    <a:pt x="21730" y="202959"/>
                  </a:lnTo>
                  <a:lnTo>
                    <a:pt x="21781" y="202260"/>
                  </a:lnTo>
                  <a:lnTo>
                    <a:pt x="21781" y="200228"/>
                  </a:lnTo>
                  <a:lnTo>
                    <a:pt x="21781" y="202260"/>
                  </a:lnTo>
                  <a:lnTo>
                    <a:pt x="21832" y="200876"/>
                  </a:lnTo>
                  <a:lnTo>
                    <a:pt x="21832" y="200228"/>
                  </a:lnTo>
                  <a:lnTo>
                    <a:pt x="21832" y="200876"/>
                  </a:lnTo>
                  <a:lnTo>
                    <a:pt x="21832" y="200228"/>
                  </a:lnTo>
                  <a:lnTo>
                    <a:pt x="21832" y="200876"/>
                  </a:lnTo>
                  <a:lnTo>
                    <a:pt x="21883" y="200228"/>
                  </a:lnTo>
                  <a:lnTo>
                    <a:pt x="21883" y="198831"/>
                  </a:lnTo>
                  <a:lnTo>
                    <a:pt x="21984" y="198831"/>
                  </a:lnTo>
                  <a:lnTo>
                    <a:pt x="21984" y="199530"/>
                  </a:lnTo>
                  <a:lnTo>
                    <a:pt x="21984" y="197447"/>
                  </a:lnTo>
                  <a:lnTo>
                    <a:pt x="21984" y="198831"/>
                  </a:lnTo>
                  <a:lnTo>
                    <a:pt x="22035" y="199530"/>
                  </a:lnTo>
                  <a:lnTo>
                    <a:pt x="22035" y="200876"/>
                  </a:lnTo>
                  <a:lnTo>
                    <a:pt x="22035" y="198831"/>
                  </a:lnTo>
                  <a:lnTo>
                    <a:pt x="22035" y="200228"/>
                  </a:lnTo>
                  <a:lnTo>
                    <a:pt x="22086" y="200228"/>
                  </a:lnTo>
                  <a:lnTo>
                    <a:pt x="22086" y="200876"/>
                  </a:lnTo>
                  <a:lnTo>
                    <a:pt x="22086" y="199530"/>
                  </a:lnTo>
                  <a:lnTo>
                    <a:pt x="22086" y="200228"/>
                  </a:lnTo>
                  <a:lnTo>
                    <a:pt x="22187" y="200228"/>
                  </a:lnTo>
                  <a:lnTo>
                    <a:pt x="22187" y="199530"/>
                  </a:lnTo>
                  <a:lnTo>
                    <a:pt x="22187" y="200228"/>
                  </a:lnTo>
                  <a:lnTo>
                    <a:pt x="22187" y="199530"/>
                  </a:lnTo>
                  <a:lnTo>
                    <a:pt x="22187" y="200876"/>
                  </a:lnTo>
                  <a:lnTo>
                    <a:pt x="22187" y="200228"/>
                  </a:lnTo>
                  <a:lnTo>
                    <a:pt x="22225" y="200228"/>
                  </a:lnTo>
                  <a:lnTo>
                    <a:pt x="22225" y="200876"/>
                  </a:lnTo>
                  <a:lnTo>
                    <a:pt x="22225" y="200228"/>
                  </a:lnTo>
                  <a:lnTo>
                    <a:pt x="22225" y="200876"/>
                  </a:lnTo>
                  <a:lnTo>
                    <a:pt x="22225" y="200228"/>
                  </a:lnTo>
                  <a:lnTo>
                    <a:pt x="22276" y="200876"/>
                  </a:lnTo>
                  <a:lnTo>
                    <a:pt x="22276" y="200228"/>
                  </a:lnTo>
                  <a:lnTo>
                    <a:pt x="22276" y="200876"/>
                  </a:lnTo>
                  <a:lnTo>
                    <a:pt x="22276" y="200228"/>
                  </a:lnTo>
                  <a:lnTo>
                    <a:pt x="22276" y="200876"/>
                  </a:lnTo>
                  <a:lnTo>
                    <a:pt x="22276" y="200228"/>
                  </a:lnTo>
                  <a:lnTo>
                    <a:pt x="22276" y="200876"/>
                  </a:lnTo>
                  <a:lnTo>
                    <a:pt x="22276" y="200228"/>
                  </a:lnTo>
                  <a:lnTo>
                    <a:pt x="22276" y="200876"/>
                  </a:lnTo>
                  <a:lnTo>
                    <a:pt x="22327" y="200228"/>
                  </a:lnTo>
                  <a:lnTo>
                    <a:pt x="22327" y="199530"/>
                  </a:lnTo>
                  <a:lnTo>
                    <a:pt x="22429" y="199530"/>
                  </a:lnTo>
                  <a:lnTo>
                    <a:pt x="22429" y="198831"/>
                  </a:lnTo>
                  <a:lnTo>
                    <a:pt x="22429" y="199530"/>
                  </a:lnTo>
                  <a:lnTo>
                    <a:pt x="22429" y="198831"/>
                  </a:lnTo>
                  <a:lnTo>
                    <a:pt x="22429" y="199530"/>
                  </a:lnTo>
                  <a:lnTo>
                    <a:pt x="22429" y="198831"/>
                  </a:lnTo>
                  <a:lnTo>
                    <a:pt x="22429" y="199530"/>
                  </a:lnTo>
                  <a:lnTo>
                    <a:pt x="22429" y="198831"/>
                  </a:lnTo>
                  <a:lnTo>
                    <a:pt x="22429" y="200228"/>
                  </a:lnTo>
                  <a:lnTo>
                    <a:pt x="22480" y="199530"/>
                  </a:lnTo>
                  <a:lnTo>
                    <a:pt x="22480" y="198831"/>
                  </a:lnTo>
                  <a:lnTo>
                    <a:pt x="22480" y="202260"/>
                  </a:lnTo>
                  <a:lnTo>
                    <a:pt x="22530" y="202260"/>
                  </a:lnTo>
                  <a:lnTo>
                    <a:pt x="22530" y="199530"/>
                  </a:lnTo>
                  <a:lnTo>
                    <a:pt x="22530" y="200228"/>
                  </a:lnTo>
                  <a:lnTo>
                    <a:pt x="22530" y="199530"/>
                  </a:lnTo>
                  <a:lnTo>
                    <a:pt x="22530" y="200876"/>
                  </a:lnTo>
                  <a:lnTo>
                    <a:pt x="22530" y="200228"/>
                  </a:lnTo>
                  <a:lnTo>
                    <a:pt x="22530" y="200876"/>
                  </a:lnTo>
                  <a:lnTo>
                    <a:pt x="22632" y="200228"/>
                  </a:lnTo>
                  <a:lnTo>
                    <a:pt x="22632" y="200876"/>
                  </a:lnTo>
                  <a:lnTo>
                    <a:pt x="22683" y="200876"/>
                  </a:lnTo>
                  <a:lnTo>
                    <a:pt x="22683" y="202260"/>
                  </a:lnTo>
                  <a:lnTo>
                    <a:pt x="22683" y="200876"/>
                  </a:lnTo>
                  <a:lnTo>
                    <a:pt x="22734" y="200876"/>
                  </a:lnTo>
                  <a:lnTo>
                    <a:pt x="22734" y="202260"/>
                  </a:lnTo>
                  <a:lnTo>
                    <a:pt x="22734" y="200876"/>
                  </a:lnTo>
                  <a:lnTo>
                    <a:pt x="22734" y="202260"/>
                  </a:lnTo>
                  <a:lnTo>
                    <a:pt x="22734" y="200876"/>
                  </a:lnTo>
                  <a:lnTo>
                    <a:pt x="22734" y="202260"/>
                  </a:lnTo>
                  <a:lnTo>
                    <a:pt x="22734" y="200876"/>
                  </a:lnTo>
                  <a:lnTo>
                    <a:pt x="22772" y="200876"/>
                  </a:lnTo>
                  <a:lnTo>
                    <a:pt x="22772" y="200228"/>
                  </a:lnTo>
                  <a:lnTo>
                    <a:pt x="22772" y="200876"/>
                  </a:lnTo>
                  <a:lnTo>
                    <a:pt x="22873" y="200228"/>
                  </a:lnTo>
                  <a:lnTo>
                    <a:pt x="22873" y="200876"/>
                  </a:lnTo>
                  <a:lnTo>
                    <a:pt x="22873" y="199530"/>
                  </a:lnTo>
                  <a:lnTo>
                    <a:pt x="22924" y="199530"/>
                  </a:lnTo>
                  <a:lnTo>
                    <a:pt x="22924" y="197447"/>
                  </a:lnTo>
                  <a:lnTo>
                    <a:pt x="22924" y="200876"/>
                  </a:lnTo>
                  <a:lnTo>
                    <a:pt x="22924" y="199530"/>
                  </a:lnTo>
                  <a:lnTo>
                    <a:pt x="22975" y="199530"/>
                  </a:lnTo>
                  <a:lnTo>
                    <a:pt x="22975" y="202260"/>
                  </a:lnTo>
                  <a:lnTo>
                    <a:pt x="22975" y="200228"/>
                  </a:lnTo>
                  <a:lnTo>
                    <a:pt x="23076" y="200228"/>
                  </a:lnTo>
                  <a:lnTo>
                    <a:pt x="23076" y="202260"/>
                  </a:lnTo>
                  <a:lnTo>
                    <a:pt x="23076" y="200228"/>
                  </a:lnTo>
                  <a:lnTo>
                    <a:pt x="23127" y="200228"/>
                  </a:lnTo>
                  <a:lnTo>
                    <a:pt x="23127" y="202260"/>
                  </a:lnTo>
                  <a:lnTo>
                    <a:pt x="23127" y="200876"/>
                  </a:lnTo>
                  <a:lnTo>
                    <a:pt x="23127" y="202260"/>
                  </a:lnTo>
                  <a:lnTo>
                    <a:pt x="23127" y="200876"/>
                  </a:lnTo>
                  <a:lnTo>
                    <a:pt x="23178" y="202260"/>
                  </a:lnTo>
                  <a:lnTo>
                    <a:pt x="23178" y="202959"/>
                  </a:lnTo>
                  <a:lnTo>
                    <a:pt x="23178" y="200876"/>
                  </a:lnTo>
                  <a:lnTo>
                    <a:pt x="23178" y="202260"/>
                  </a:lnTo>
                  <a:lnTo>
                    <a:pt x="23229" y="202260"/>
                  </a:lnTo>
                  <a:lnTo>
                    <a:pt x="23229" y="200876"/>
                  </a:lnTo>
                  <a:lnTo>
                    <a:pt x="23229" y="202260"/>
                  </a:lnTo>
                  <a:lnTo>
                    <a:pt x="23229" y="200876"/>
                  </a:lnTo>
                  <a:lnTo>
                    <a:pt x="23318" y="200876"/>
                  </a:lnTo>
                  <a:lnTo>
                    <a:pt x="23318" y="200228"/>
                  </a:lnTo>
                  <a:lnTo>
                    <a:pt x="23368" y="200228"/>
                  </a:lnTo>
                  <a:lnTo>
                    <a:pt x="23368" y="197447"/>
                  </a:lnTo>
                  <a:lnTo>
                    <a:pt x="23419" y="197447"/>
                  </a:lnTo>
                  <a:lnTo>
                    <a:pt x="23419" y="196799"/>
                  </a:lnTo>
                  <a:lnTo>
                    <a:pt x="23419" y="200228"/>
                  </a:lnTo>
                  <a:lnTo>
                    <a:pt x="23419" y="198831"/>
                  </a:lnTo>
                  <a:lnTo>
                    <a:pt x="23419" y="199530"/>
                  </a:lnTo>
                  <a:lnTo>
                    <a:pt x="23419" y="197447"/>
                  </a:lnTo>
                  <a:lnTo>
                    <a:pt x="23470" y="197447"/>
                  </a:lnTo>
                  <a:lnTo>
                    <a:pt x="23470" y="200876"/>
                  </a:lnTo>
                  <a:lnTo>
                    <a:pt x="23470" y="199530"/>
                  </a:lnTo>
                  <a:lnTo>
                    <a:pt x="23572" y="199530"/>
                  </a:lnTo>
                  <a:lnTo>
                    <a:pt x="23572" y="200876"/>
                  </a:lnTo>
                  <a:lnTo>
                    <a:pt x="23572" y="200228"/>
                  </a:lnTo>
                  <a:lnTo>
                    <a:pt x="23572" y="200876"/>
                  </a:lnTo>
                  <a:lnTo>
                    <a:pt x="23572" y="200228"/>
                  </a:lnTo>
                  <a:lnTo>
                    <a:pt x="23623" y="200228"/>
                  </a:lnTo>
                  <a:lnTo>
                    <a:pt x="23623" y="202260"/>
                  </a:lnTo>
                  <a:lnTo>
                    <a:pt x="23673" y="202260"/>
                  </a:lnTo>
                  <a:lnTo>
                    <a:pt x="23673" y="200876"/>
                  </a:lnTo>
                  <a:lnTo>
                    <a:pt x="23673" y="202260"/>
                  </a:lnTo>
                  <a:lnTo>
                    <a:pt x="23673" y="200876"/>
                  </a:lnTo>
                  <a:lnTo>
                    <a:pt x="23673" y="202260"/>
                  </a:lnTo>
                  <a:lnTo>
                    <a:pt x="23673" y="200876"/>
                  </a:lnTo>
                  <a:lnTo>
                    <a:pt x="23673" y="202260"/>
                  </a:lnTo>
                  <a:lnTo>
                    <a:pt x="23673" y="200876"/>
                  </a:lnTo>
                  <a:lnTo>
                    <a:pt x="23673" y="202260"/>
                  </a:lnTo>
                  <a:lnTo>
                    <a:pt x="23775" y="202260"/>
                  </a:lnTo>
                  <a:lnTo>
                    <a:pt x="23775" y="200876"/>
                  </a:lnTo>
                  <a:lnTo>
                    <a:pt x="23775" y="202260"/>
                  </a:lnTo>
                  <a:lnTo>
                    <a:pt x="23775" y="200876"/>
                  </a:lnTo>
                  <a:lnTo>
                    <a:pt x="23813" y="200876"/>
                  </a:lnTo>
                  <a:lnTo>
                    <a:pt x="23813" y="200228"/>
                  </a:lnTo>
                  <a:lnTo>
                    <a:pt x="23813" y="200876"/>
                  </a:lnTo>
                  <a:lnTo>
                    <a:pt x="23813" y="199530"/>
                  </a:lnTo>
                  <a:lnTo>
                    <a:pt x="23813" y="200228"/>
                  </a:lnTo>
                  <a:lnTo>
                    <a:pt x="23864" y="200228"/>
                  </a:lnTo>
                  <a:lnTo>
                    <a:pt x="23864" y="197447"/>
                  </a:lnTo>
                  <a:lnTo>
                    <a:pt x="23864" y="199530"/>
                  </a:lnTo>
                  <a:lnTo>
                    <a:pt x="23915" y="199530"/>
                  </a:lnTo>
                  <a:lnTo>
                    <a:pt x="23915" y="200228"/>
                  </a:lnTo>
                  <a:lnTo>
                    <a:pt x="23915" y="197447"/>
                  </a:lnTo>
                  <a:lnTo>
                    <a:pt x="23915" y="200876"/>
                  </a:lnTo>
                  <a:lnTo>
                    <a:pt x="24016" y="200876"/>
                  </a:lnTo>
                  <a:lnTo>
                    <a:pt x="24016" y="199530"/>
                  </a:lnTo>
                  <a:lnTo>
                    <a:pt x="24016" y="200228"/>
                  </a:lnTo>
                  <a:lnTo>
                    <a:pt x="24016" y="199530"/>
                  </a:lnTo>
                  <a:lnTo>
                    <a:pt x="24016" y="200876"/>
                  </a:lnTo>
                  <a:lnTo>
                    <a:pt x="24067" y="200876"/>
                  </a:lnTo>
                  <a:lnTo>
                    <a:pt x="24067" y="200228"/>
                  </a:lnTo>
                  <a:lnTo>
                    <a:pt x="24067" y="200876"/>
                  </a:lnTo>
                  <a:lnTo>
                    <a:pt x="24067" y="200228"/>
                  </a:lnTo>
                  <a:lnTo>
                    <a:pt x="24067" y="202260"/>
                  </a:lnTo>
                  <a:lnTo>
                    <a:pt x="24067" y="200876"/>
                  </a:lnTo>
                  <a:lnTo>
                    <a:pt x="24118" y="200876"/>
                  </a:lnTo>
                  <a:lnTo>
                    <a:pt x="24118" y="202260"/>
                  </a:lnTo>
                  <a:lnTo>
                    <a:pt x="24118" y="200876"/>
                  </a:lnTo>
                  <a:lnTo>
                    <a:pt x="24219" y="200876"/>
                  </a:lnTo>
                  <a:lnTo>
                    <a:pt x="24219" y="202260"/>
                  </a:lnTo>
                  <a:lnTo>
                    <a:pt x="24219" y="200876"/>
                  </a:lnTo>
                  <a:lnTo>
                    <a:pt x="24219" y="202260"/>
                  </a:lnTo>
                  <a:lnTo>
                    <a:pt x="24219" y="200876"/>
                  </a:lnTo>
                  <a:lnTo>
                    <a:pt x="24219" y="202260"/>
                  </a:lnTo>
                  <a:lnTo>
                    <a:pt x="24219" y="200876"/>
                  </a:lnTo>
                  <a:lnTo>
                    <a:pt x="24219" y="202260"/>
                  </a:lnTo>
                  <a:lnTo>
                    <a:pt x="24219" y="200876"/>
                  </a:lnTo>
                  <a:lnTo>
                    <a:pt x="24270" y="200876"/>
                  </a:lnTo>
                  <a:lnTo>
                    <a:pt x="24270" y="200228"/>
                  </a:lnTo>
                  <a:lnTo>
                    <a:pt x="24270" y="200876"/>
                  </a:lnTo>
                  <a:lnTo>
                    <a:pt x="24321" y="200228"/>
                  </a:lnTo>
                  <a:lnTo>
                    <a:pt x="24321" y="199530"/>
                  </a:lnTo>
                  <a:lnTo>
                    <a:pt x="24321" y="200228"/>
                  </a:lnTo>
                  <a:lnTo>
                    <a:pt x="24321" y="199530"/>
                  </a:lnTo>
                  <a:lnTo>
                    <a:pt x="24321" y="200228"/>
                  </a:lnTo>
                  <a:lnTo>
                    <a:pt x="24321" y="199530"/>
                  </a:lnTo>
                  <a:lnTo>
                    <a:pt x="24359" y="199530"/>
                  </a:lnTo>
                  <a:lnTo>
                    <a:pt x="24359" y="196799"/>
                  </a:lnTo>
                  <a:lnTo>
                    <a:pt x="24359" y="197447"/>
                  </a:lnTo>
                  <a:lnTo>
                    <a:pt x="24461" y="197447"/>
                  </a:lnTo>
                  <a:lnTo>
                    <a:pt x="24461" y="196799"/>
                  </a:lnTo>
                  <a:lnTo>
                    <a:pt x="24461" y="198831"/>
                  </a:lnTo>
                  <a:lnTo>
                    <a:pt x="24511" y="199530"/>
                  </a:lnTo>
                  <a:lnTo>
                    <a:pt x="24511" y="198831"/>
                  </a:lnTo>
                  <a:lnTo>
                    <a:pt x="24511" y="199530"/>
                  </a:lnTo>
                  <a:lnTo>
                    <a:pt x="24511" y="198831"/>
                  </a:lnTo>
                  <a:lnTo>
                    <a:pt x="24511" y="199530"/>
                  </a:lnTo>
                  <a:lnTo>
                    <a:pt x="24511" y="198831"/>
                  </a:lnTo>
                  <a:lnTo>
                    <a:pt x="24511" y="199530"/>
                  </a:lnTo>
                  <a:lnTo>
                    <a:pt x="24562" y="199530"/>
                  </a:lnTo>
                  <a:lnTo>
                    <a:pt x="24562" y="200228"/>
                  </a:lnTo>
                  <a:lnTo>
                    <a:pt x="24562" y="199530"/>
                  </a:lnTo>
                  <a:lnTo>
                    <a:pt x="24562" y="200228"/>
                  </a:lnTo>
                  <a:lnTo>
                    <a:pt x="24562" y="199530"/>
                  </a:lnTo>
                  <a:lnTo>
                    <a:pt x="24562" y="200876"/>
                  </a:lnTo>
                  <a:lnTo>
                    <a:pt x="24664" y="200876"/>
                  </a:lnTo>
                  <a:lnTo>
                    <a:pt x="24664" y="200228"/>
                  </a:lnTo>
                  <a:lnTo>
                    <a:pt x="24664" y="200876"/>
                  </a:lnTo>
                  <a:lnTo>
                    <a:pt x="24715" y="200876"/>
                  </a:lnTo>
                  <a:lnTo>
                    <a:pt x="24715" y="200228"/>
                  </a:lnTo>
                  <a:lnTo>
                    <a:pt x="24715" y="200876"/>
                  </a:lnTo>
                  <a:lnTo>
                    <a:pt x="24766" y="200876"/>
                  </a:lnTo>
                  <a:lnTo>
                    <a:pt x="24766" y="202260"/>
                  </a:lnTo>
                  <a:lnTo>
                    <a:pt x="24766" y="200876"/>
                  </a:lnTo>
                  <a:lnTo>
                    <a:pt x="24766" y="202260"/>
                  </a:lnTo>
                  <a:lnTo>
                    <a:pt x="24766" y="200876"/>
                  </a:lnTo>
                  <a:lnTo>
                    <a:pt x="24816" y="200876"/>
                  </a:lnTo>
                  <a:lnTo>
                    <a:pt x="24816" y="200228"/>
                  </a:lnTo>
                  <a:lnTo>
                    <a:pt x="24816" y="200876"/>
                  </a:lnTo>
                  <a:lnTo>
                    <a:pt x="24816" y="199530"/>
                  </a:lnTo>
                  <a:lnTo>
                    <a:pt x="24905" y="199530"/>
                  </a:lnTo>
                  <a:lnTo>
                    <a:pt x="24905" y="197447"/>
                  </a:lnTo>
                  <a:lnTo>
                    <a:pt x="24905" y="198831"/>
                  </a:lnTo>
                  <a:lnTo>
                    <a:pt x="24905" y="196799"/>
                  </a:lnTo>
                  <a:lnTo>
                    <a:pt x="24956" y="196799"/>
                  </a:lnTo>
                  <a:lnTo>
                    <a:pt x="24956" y="197447"/>
                  </a:lnTo>
                  <a:lnTo>
                    <a:pt x="24956" y="196113"/>
                  </a:lnTo>
                  <a:lnTo>
                    <a:pt x="24956" y="197447"/>
                  </a:lnTo>
                  <a:lnTo>
                    <a:pt x="25007" y="198831"/>
                  </a:lnTo>
                  <a:lnTo>
                    <a:pt x="25007" y="197447"/>
                  </a:lnTo>
                  <a:lnTo>
                    <a:pt x="25007" y="198831"/>
                  </a:lnTo>
                  <a:lnTo>
                    <a:pt x="25007" y="197447"/>
                  </a:lnTo>
                  <a:lnTo>
                    <a:pt x="25007" y="198831"/>
                  </a:lnTo>
                  <a:lnTo>
                    <a:pt x="25058" y="198831"/>
                  </a:lnTo>
                  <a:lnTo>
                    <a:pt x="25058" y="199530"/>
                  </a:lnTo>
                  <a:lnTo>
                    <a:pt x="25058" y="197447"/>
                  </a:lnTo>
                  <a:lnTo>
                    <a:pt x="25058" y="199530"/>
                  </a:lnTo>
                  <a:lnTo>
                    <a:pt x="25159" y="199530"/>
                  </a:lnTo>
                  <a:lnTo>
                    <a:pt x="25159" y="198831"/>
                  </a:lnTo>
                  <a:lnTo>
                    <a:pt x="25159" y="199530"/>
                  </a:lnTo>
                  <a:lnTo>
                    <a:pt x="25159" y="198831"/>
                  </a:lnTo>
                  <a:lnTo>
                    <a:pt x="25159" y="199530"/>
                  </a:lnTo>
                  <a:lnTo>
                    <a:pt x="25210" y="199530"/>
                  </a:lnTo>
                  <a:lnTo>
                    <a:pt x="25210" y="200228"/>
                  </a:lnTo>
                  <a:lnTo>
                    <a:pt x="25210" y="199530"/>
                  </a:lnTo>
                  <a:lnTo>
                    <a:pt x="25210" y="200228"/>
                  </a:lnTo>
                  <a:lnTo>
                    <a:pt x="25210" y="199530"/>
                  </a:lnTo>
                  <a:lnTo>
                    <a:pt x="25210" y="200228"/>
                  </a:lnTo>
                  <a:lnTo>
                    <a:pt x="25261" y="200228"/>
                  </a:lnTo>
                  <a:lnTo>
                    <a:pt x="25261" y="200876"/>
                  </a:lnTo>
                  <a:lnTo>
                    <a:pt x="25261" y="200228"/>
                  </a:lnTo>
                  <a:lnTo>
                    <a:pt x="25261" y="200876"/>
                  </a:lnTo>
                  <a:lnTo>
                    <a:pt x="25261" y="200228"/>
                  </a:lnTo>
                  <a:lnTo>
                    <a:pt x="25362" y="200228"/>
                  </a:lnTo>
                  <a:lnTo>
                    <a:pt x="25362" y="200876"/>
                  </a:lnTo>
                  <a:lnTo>
                    <a:pt x="25362" y="199530"/>
                  </a:lnTo>
                  <a:lnTo>
                    <a:pt x="25362" y="200228"/>
                  </a:lnTo>
                  <a:lnTo>
                    <a:pt x="25362" y="199530"/>
                  </a:lnTo>
                  <a:lnTo>
                    <a:pt x="25400" y="199530"/>
                  </a:lnTo>
                  <a:lnTo>
                    <a:pt x="25400" y="198831"/>
                  </a:lnTo>
                  <a:lnTo>
                    <a:pt x="25400" y="199530"/>
                  </a:lnTo>
                  <a:lnTo>
                    <a:pt x="25400" y="198831"/>
                  </a:lnTo>
                  <a:lnTo>
                    <a:pt x="25451" y="199530"/>
                  </a:lnTo>
                  <a:lnTo>
                    <a:pt x="25451" y="198831"/>
                  </a:lnTo>
                  <a:lnTo>
                    <a:pt x="25451" y="199530"/>
                  </a:lnTo>
                  <a:lnTo>
                    <a:pt x="25451" y="198831"/>
                  </a:lnTo>
                  <a:lnTo>
                    <a:pt x="25451" y="200228"/>
                  </a:lnTo>
                  <a:lnTo>
                    <a:pt x="25502" y="200228"/>
                  </a:lnTo>
                  <a:lnTo>
                    <a:pt x="25502" y="200876"/>
                  </a:lnTo>
                  <a:lnTo>
                    <a:pt x="25502" y="200228"/>
                  </a:lnTo>
                  <a:lnTo>
                    <a:pt x="25604" y="200228"/>
                  </a:lnTo>
                  <a:lnTo>
                    <a:pt x="25604" y="200876"/>
                  </a:lnTo>
                  <a:lnTo>
                    <a:pt x="25604" y="199530"/>
                  </a:lnTo>
                  <a:lnTo>
                    <a:pt x="25655" y="199530"/>
                  </a:lnTo>
                  <a:lnTo>
                    <a:pt x="25655" y="200876"/>
                  </a:lnTo>
                  <a:lnTo>
                    <a:pt x="25655" y="200228"/>
                  </a:lnTo>
                  <a:lnTo>
                    <a:pt x="25705" y="200228"/>
                  </a:lnTo>
                  <a:lnTo>
                    <a:pt x="25705" y="200876"/>
                  </a:lnTo>
                  <a:lnTo>
                    <a:pt x="25807" y="200876"/>
                  </a:lnTo>
                  <a:lnTo>
                    <a:pt x="25807" y="200228"/>
                  </a:lnTo>
                  <a:lnTo>
                    <a:pt x="25807" y="200876"/>
                  </a:lnTo>
                  <a:lnTo>
                    <a:pt x="25807" y="200228"/>
                  </a:lnTo>
                  <a:lnTo>
                    <a:pt x="25807" y="200876"/>
                  </a:lnTo>
                  <a:lnTo>
                    <a:pt x="25807" y="200228"/>
                  </a:lnTo>
                  <a:lnTo>
                    <a:pt x="25858" y="200228"/>
                  </a:lnTo>
                  <a:lnTo>
                    <a:pt x="25858" y="199530"/>
                  </a:lnTo>
                  <a:lnTo>
                    <a:pt x="25858" y="200228"/>
                  </a:lnTo>
                  <a:lnTo>
                    <a:pt x="25858" y="199530"/>
                  </a:lnTo>
                  <a:lnTo>
                    <a:pt x="25858" y="200228"/>
                  </a:lnTo>
                  <a:lnTo>
                    <a:pt x="25858" y="199530"/>
                  </a:lnTo>
                  <a:lnTo>
                    <a:pt x="25909" y="199530"/>
                  </a:lnTo>
                  <a:lnTo>
                    <a:pt x="25909" y="200228"/>
                  </a:lnTo>
                  <a:lnTo>
                    <a:pt x="25909" y="199530"/>
                  </a:lnTo>
                  <a:lnTo>
                    <a:pt x="25909" y="200876"/>
                  </a:lnTo>
                  <a:lnTo>
                    <a:pt x="25909" y="200228"/>
                  </a:lnTo>
                  <a:lnTo>
                    <a:pt x="25947" y="200876"/>
                  </a:lnTo>
                  <a:lnTo>
                    <a:pt x="25947" y="202959"/>
                  </a:lnTo>
                  <a:lnTo>
                    <a:pt x="25947" y="202260"/>
                  </a:lnTo>
                  <a:lnTo>
                    <a:pt x="26048" y="202959"/>
                  </a:lnTo>
                  <a:lnTo>
                    <a:pt x="26048" y="202260"/>
                  </a:lnTo>
                  <a:lnTo>
                    <a:pt x="26099" y="202260"/>
                  </a:lnTo>
                  <a:lnTo>
                    <a:pt x="26099" y="202959"/>
                  </a:lnTo>
                  <a:lnTo>
                    <a:pt x="26099" y="202260"/>
                  </a:lnTo>
                  <a:lnTo>
                    <a:pt x="26099" y="202959"/>
                  </a:lnTo>
                  <a:lnTo>
                    <a:pt x="26099" y="200876"/>
                  </a:lnTo>
                  <a:lnTo>
                    <a:pt x="26099" y="202260"/>
                  </a:lnTo>
                  <a:lnTo>
                    <a:pt x="26150" y="202260"/>
                  </a:lnTo>
                  <a:lnTo>
                    <a:pt x="26150" y="200876"/>
                  </a:lnTo>
                  <a:lnTo>
                    <a:pt x="26150" y="202260"/>
                  </a:lnTo>
                  <a:lnTo>
                    <a:pt x="26150" y="200876"/>
                  </a:lnTo>
                  <a:lnTo>
                    <a:pt x="26150" y="202260"/>
                  </a:lnTo>
                  <a:lnTo>
                    <a:pt x="26150" y="200876"/>
                  </a:lnTo>
                  <a:lnTo>
                    <a:pt x="26251" y="200876"/>
                  </a:lnTo>
                  <a:lnTo>
                    <a:pt x="26251" y="202260"/>
                  </a:lnTo>
                  <a:lnTo>
                    <a:pt x="26251" y="200228"/>
                  </a:lnTo>
                  <a:lnTo>
                    <a:pt x="26251" y="200876"/>
                  </a:lnTo>
                  <a:lnTo>
                    <a:pt x="26302" y="200876"/>
                  </a:lnTo>
                  <a:lnTo>
                    <a:pt x="26302" y="199530"/>
                  </a:lnTo>
                  <a:lnTo>
                    <a:pt x="26302" y="200228"/>
                  </a:lnTo>
                  <a:lnTo>
                    <a:pt x="26302" y="199530"/>
                  </a:lnTo>
                  <a:lnTo>
                    <a:pt x="26302" y="200228"/>
                  </a:lnTo>
                  <a:lnTo>
                    <a:pt x="26302" y="198831"/>
                  </a:lnTo>
                  <a:lnTo>
                    <a:pt x="26353" y="198831"/>
                  </a:lnTo>
                  <a:lnTo>
                    <a:pt x="26353" y="199530"/>
                  </a:lnTo>
                  <a:lnTo>
                    <a:pt x="26353" y="197447"/>
                  </a:lnTo>
                  <a:lnTo>
                    <a:pt x="26353" y="200228"/>
                  </a:lnTo>
                  <a:lnTo>
                    <a:pt x="26404" y="200228"/>
                  </a:lnTo>
                  <a:lnTo>
                    <a:pt x="26404" y="197447"/>
                  </a:lnTo>
                  <a:lnTo>
                    <a:pt x="26404" y="200876"/>
                  </a:lnTo>
                  <a:lnTo>
                    <a:pt x="26493" y="200876"/>
                  </a:lnTo>
                  <a:lnTo>
                    <a:pt x="26493" y="199530"/>
                  </a:lnTo>
                  <a:lnTo>
                    <a:pt x="26493" y="202959"/>
                  </a:lnTo>
                  <a:lnTo>
                    <a:pt x="26543" y="202959"/>
                  </a:lnTo>
                  <a:lnTo>
                    <a:pt x="26543" y="200876"/>
                  </a:lnTo>
                  <a:lnTo>
                    <a:pt x="26543" y="202260"/>
                  </a:lnTo>
                  <a:lnTo>
                    <a:pt x="26543" y="200876"/>
                  </a:lnTo>
                  <a:lnTo>
                    <a:pt x="26543" y="202959"/>
                  </a:lnTo>
                  <a:lnTo>
                    <a:pt x="26543" y="202260"/>
                  </a:lnTo>
                  <a:lnTo>
                    <a:pt x="26594" y="202260"/>
                  </a:lnTo>
                  <a:lnTo>
                    <a:pt x="26594" y="202959"/>
                  </a:lnTo>
                  <a:lnTo>
                    <a:pt x="26594" y="202260"/>
                  </a:lnTo>
                  <a:lnTo>
                    <a:pt x="26645" y="202260"/>
                  </a:lnTo>
                  <a:lnTo>
                    <a:pt x="26645" y="202959"/>
                  </a:lnTo>
                  <a:lnTo>
                    <a:pt x="26645" y="202260"/>
                  </a:lnTo>
                  <a:lnTo>
                    <a:pt x="26645" y="202959"/>
                  </a:lnTo>
                  <a:lnTo>
                    <a:pt x="26645" y="202260"/>
                  </a:lnTo>
                  <a:lnTo>
                    <a:pt x="26747" y="202260"/>
                  </a:lnTo>
                  <a:lnTo>
                    <a:pt x="26747" y="200876"/>
                  </a:lnTo>
                  <a:lnTo>
                    <a:pt x="26747" y="202260"/>
                  </a:lnTo>
                  <a:lnTo>
                    <a:pt x="26747" y="200876"/>
                  </a:lnTo>
                  <a:lnTo>
                    <a:pt x="26747" y="202260"/>
                  </a:lnTo>
                  <a:lnTo>
                    <a:pt x="26747" y="200876"/>
                  </a:lnTo>
                  <a:lnTo>
                    <a:pt x="26798" y="200876"/>
                  </a:lnTo>
                  <a:lnTo>
                    <a:pt x="26798" y="199530"/>
                  </a:lnTo>
                  <a:lnTo>
                    <a:pt x="26798" y="200228"/>
                  </a:lnTo>
                  <a:lnTo>
                    <a:pt x="26798" y="199530"/>
                  </a:lnTo>
                  <a:lnTo>
                    <a:pt x="26798" y="200228"/>
                  </a:lnTo>
                  <a:lnTo>
                    <a:pt x="26798" y="198831"/>
                  </a:lnTo>
                  <a:lnTo>
                    <a:pt x="26848" y="198831"/>
                  </a:lnTo>
                  <a:lnTo>
                    <a:pt x="26848" y="200228"/>
                  </a:lnTo>
                  <a:lnTo>
                    <a:pt x="26848" y="198831"/>
                  </a:lnTo>
                  <a:lnTo>
                    <a:pt x="26950" y="198831"/>
                  </a:lnTo>
                  <a:lnTo>
                    <a:pt x="26950" y="202260"/>
                  </a:lnTo>
                  <a:lnTo>
                    <a:pt x="26950" y="200228"/>
                  </a:lnTo>
                  <a:lnTo>
                    <a:pt x="26988" y="200228"/>
                  </a:lnTo>
                  <a:lnTo>
                    <a:pt x="26988" y="202260"/>
                  </a:lnTo>
                  <a:lnTo>
                    <a:pt x="26988" y="200876"/>
                  </a:lnTo>
                  <a:lnTo>
                    <a:pt x="26988" y="202260"/>
                  </a:lnTo>
                  <a:lnTo>
                    <a:pt x="26988" y="200876"/>
                  </a:lnTo>
                  <a:lnTo>
                    <a:pt x="27039" y="200876"/>
                  </a:lnTo>
                  <a:lnTo>
                    <a:pt x="27039" y="202260"/>
                  </a:lnTo>
                  <a:lnTo>
                    <a:pt x="27039" y="200876"/>
                  </a:lnTo>
                  <a:lnTo>
                    <a:pt x="27039" y="202260"/>
                  </a:lnTo>
                  <a:lnTo>
                    <a:pt x="27039" y="200876"/>
                  </a:lnTo>
                  <a:lnTo>
                    <a:pt x="27039" y="202260"/>
                  </a:lnTo>
                  <a:lnTo>
                    <a:pt x="27090" y="202260"/>
                  </a:lnTo>
                  <a:lnTo>
                    <a:pt x="27090" y="200876"/>
                  </a:lnTo>
                  <a:lnTo>
                    <a:pt x="27090" y="202959"/>
                  </a:lnTo>
                  <a:lnTo>
                    <a:pt x="27090" y="202260"/>
                  </a:lnTo>
                  <a:lnTo>
                    <a:pt x="27191" y="202260"/>
                  </a:lnTo>
                  <a:lnTo>
                    <a:pt x="27191" y="200876"/>
                  </a:lnTo>
                  <a:lnTo>
                    <a:pt x="27242" y="200876"/>
                  </a:lnTo>
                  <a:lnTo>
                    <a:pt x="27242" y="202260"/>
                  </a:lnTo>
                  <a:lnTo>
                    <a:pt x="27242" y="200228"/>
                  </a:lnTo>
                  <a:lnTo>
                    <a:pt x="27242" y="200876"/>
                  </a:lnTo>
                  <a:lnTo>
                    <a:pt x="27242" y="200228"/>
                  </a:lnTo>
                  <a:lnTo>
                    <a:pt x="27293" y="200228"/>
                  </a:lnTo>
                  <a:lnTo>
                    <a:pt x="27293" y="197447"/>
                  </a:lnTo>
                  <a:lnTo>
                    <a:pt x="27293" y="198831"/>
                  </a:lnTo>
                  <a:lnTo>
                    <a:pt x="27293" y="197447"/>
                  </a:lnTo>
                  <a:lnTo>
                    <a:pt x="27394" y="197447"/>
                  </a:lnTo>
                  <a:lnTo>
                    <a:pt x="27394" y="196799"/>
                  </a:lnTo>
                  <a:lnTo>
                    <a:pt x="27394" y="198831"/>
                  </a:lnTo>
                  <a:lnTo>
                    <a:pt x="27394" y="196799"/>
                  </a:lnTo>
                  <a:lnTo>
                    <a:pt x="27445" y="196799"/>
                  </a:lnTo>
                  <a:lnTo>
                    <a:pt x="27445" y="200228"/>
                  </a:lnTo>
                  <a:lnTo>
                    <a:pt x="27445" y="197447"/>
                  </a:lnTo>
                  <a:lnTo>
                    <a:pt x="27445" y="198831"/>
                  </a:lnTo>
                  <a:lnTo>
                    <a:pt x="27496" y="198831"/>
                  </a:lnTo>
                  <a:lnTo>
                    <a:pt x="27496" y="200876"/>
                  </a:lnTo>
                  <a:lnTo>
                    <a:pt x="27496" y="200228"/>
                  </a:lnTo>
                  <a:lnTo>
                    <a:pt x="27534" y="200228"/>
                  </a:lnTo>
                  <a:lnTo>
                    <a:pt x="27534" y="200876"/>
                  </a:lnTo>
                  <a:lnTo>
                    <a:pt x="27534" y="200228"/>
                  </a:lnTo>
                  <a:lnTo>
                    <a:pt x="27534" y="200876"/>
                  </a:lnTo>
                  <a:lnTo>
                    <a:pt x="27534" y="200228"/>
                  </a:lnTo>
                  <a:lnTo>
                    <a:pt x="27534" y="200876"/>
                  </a:lnTo>
                  <a:lnTo>
                    <a:pt x="27636" y="200228"/>
                  </a:lnTo>
                  <a:lnTo>
                    <a:pt x="27636" y="200876"/>
                  </a:lnTo>
                  <a:lnTo>
                    <a:pt x="27686" y="200876"/>
                  </a:lnTo>
                  <a:lnTo>
                    <a:pt x="27686" y="202260"/>
                  </a:lnTo>
                  <a:lnTo>
                    <a:pt x="27686" y="200876"/>
                  </a:lnTo>
                  <a:lnTo>
                    <a:pt x="27686" y="202260"/>
                  </a:lnTo>
                  <a:lnTo>
                    <a:pt x="27686" y="200876"/>
                  </a:lnTo>
                  <a:lnTo>
                    <a:pt x="27737" y="200876"/>
                  </a:lnTo>
                  <a:lnTo>
                    <a:pt x="27737" y="200228"/>
                  </a:lnTo>
                  <a:lnTo>
                    <a:pt x="27839" y="200228"/>
                  </a:lnTo>
                  <a:lnTo>
                    <a:pt x="27839" y="196799"/>
                  </a:lnTo>
                  <a:lnTo>
                    <a:pt x="27890" y="196799"/>
                  </a:lnTo>
                  <a:lnTo>
                    <a:pt x="27890" y="198831"/>
                  </a:lnTo>
                  <a:lnTo>
                    <a:pt x="27890" y="196113"/>
                  </a:lnTo>
                  <a:lnTo>
                    <a:pt x="27890" y="197447"/>
                  </a:lnTo>
                  <a:lnTo>
                    <a:pt x="27941" y="198831"/>
                  </a:lnTo>
                  <a:lnTo>
                    <a:pt x="27941" y="200228"/>
                  </a:lnTo>
                  <a:lnTo>
                    <a:pt x="27941" y="197447"/>
                  </a:lnTo>
                  <a:lnTo>
                    <a:pt x="27941" y="198831"/>
                  </a:lnTo>
                  <a:lnTo>
                    <a:pt x="27941" y="197447"/>
                  </a:lnTo>
                  <a:lnTo>
                    <a:pt x="27941" y="198831"/>
                  </a:lnTo>
                  <a:lnTo>
                    <a:pt x="27991" y="199530"/>
                  </a:lnTo>
                  <a:lnTo>
                    <a:pt x="27991" y="198831"/>
                  </a:lnTo>
                  <a:lnTo>
                    <a:pt x="27991" y="199530"/>
                  </a:lnTo>
                  <a:lnTo>
                    <a:pt x="28080" y="199530"/>
                  </a:lnTo>
                  <a:lnTo>
                    <a:pt x="28080" y="198831"/>
                  </a:lnTo>
                  <a:lnTo>
                    <a:pt x="28080" y="199530"/>
                  </a:lnTo>
                  <a:lnTo>
                    <a:pt x="28131" y="199530"/>
                  </a:lnTo>
                  <a:lnTo>
                    <a:pt x="28131" y="200228"/>
                  </a:lnTo>
                  <a:lnTo>
                    <a:pt x="28131" y="199530"/>
                  </a:lnTo>
                  <a:lnTo>
                    <a:pt x="28131" y="200228"/>
                  </a:lnTo>
                  <a:lnTo>
                    <a:pt x="28182" y="200228"/>
                  </a:lnTo>
                  <a:lnTo>
                    <a:pt x="28182" y="200876"/>
                  </a:lnTo>
                  <a:lnTo>
                    <a:pt x="28182" y="200228"/>
                  </a:lnTo>
                  <a:lnTo>
                    <a:pt x="28233" y="200228"/>
                  </a:lnTo>
                  <a:lnTo>
                    <a:pt x="28233" y="199530"/>
                  </a:lnTo>
                  <a:lnTo>
                    <a:pt x="28334" y="199530"/>
                  </a:lnTo>
                  <a:lnTo>
                    <a:pt x="28334" y="197447"/>
                  </a:lnTo>
                  <a:lnTo>
                    <a:pt x="28334" y="198831"/>
                  </a:lnTo>
                  <a:lnTo>
                    <a:pt x="28334" y="197447"/>
                  </a:lnTo>
                  <a:lnTo>
                    <a:pt x="28334" y="198831"/>
                  </a:lnTo>
                  <a:lnTo>
                    <a:pt x="28385" y="198831"/>
                  </a:lnTo>
                  <a:lnTo>
                    <a:pt x="28385" y="197447"/>
                  </a:lnTo>
                  <a:lnTo>
                    <a:pt x="28385" y="198831"/>
                  </a:lnTo>
                  <a:lnTo>
                    <a:pt x="28385" y="197447"/>
                  </a:lnTo>
                  <a:lnTo>
                    <a:pt x="28385" y="200228"/>
                  </a:lnTo>
                  <a:lnTo>
                    <a:pt x="28436" y="200228"/>
                  </a:lnTo>
                  <a:lnTo>
                    <a:pt x="28436" y="200876"/>
                  </a:lnTo>
                  <a:lnTo>
                    <a:pt x="28436" y="198831"/>
                  </a:lnTo>
                  <a:lnTo>
                    <a:pt x="28436" y="200228"/>
                  </a:lnTo>
                  <a:lnTo>
                    <a:pt x="28537" y="200228"/>
                  </a:lnTo>
                  <a:lnTo>
                    <a:pt x="28537" y="199530"/>
                  </a:lnTo>
                  <a:lnTo>
                    <a:pt x="28537" y="200228"/>
                  </a:lnTo>
                  <a:lnTo>
                    <a:pt x="28575" y="200228"/>
                  </a:lnTo>
                  <a:lnTo>
                    <a:pt x="28575" y="199530"/>
                  </a:lnTo>
                  <a:lnTo>
                    <a:pt x="28575" y="200228"/>
                  </a:lnTo>
                  <a:lnTo>
                    <a:pt x="28626" y="200228"/>
                  </a:lnTo>
                  <a:lnTo>
                    <a:pt x="28626" y="200876"/>
                  </a:lnTo>
                  <a:lnTo>
                    <a:pt x="28626" y="200228"/>
                  </a:lnTo>
                  <a:lnTo>
                    <a:pt x="28626" y="200876"/>
                  </a:lnTo>
                  <a:lnTo>
                    <a:pt x="28626" y="200228"/>
                  </a:lnTo>
                  <a:lnTo>
                    <a:pt x="28626" y="200876"/>
                  </a:lnTo>
                  <a:lnTo>
                    <a:pt x="28626" y="200228"/>
                  </a:lnTo>
                  <a:lnTo>
                    <a:pt x="28677" y="200228"/>
                  </a:lnTo>
                  <a:lnTo>
                    <a:pt x="28677" y="200876"/>
                  </a:lnTo>
                  <a:lnTo>
                    <a:pt x="28677" y="199530"/>
                  </a:lnTo>
                  <a:lnTo>
                    <a:pt x="28779" y="200228"/>
                  </a:lnTo>
                  <a:lnTo>
                    <a:pt x="28779" y="199530"/>
                  </a:lnTo>
                  <a:lnTo>
                    <a:pt x="28779" y="200228"/>
                  </a:lnTo>
                  <a:lnTo>
                    <a:pt x="28779" y="199530"/>
                  </a:lnTo>
                  <a:lnTo>
                    <a:pt x="28779" y="200228"/>
                  </a:lnTo>
                  <a:lnTo>
                    <a:pt x="28779" y="198831"/>
                  </a:lnTo>
                  <a:lnTo>
                    <a:pt x="28779" y="199530"/>
                  </a:lnTo>
                  <a:lnTo>
                    <a:pt x="28779" y="198831"/>
                  </a:lnTo>
                  <a:lnTo>
                    <a:pt x="28779" y="199530"/>
                  </a:lnTo>
                  <a:lnTo>
                    <a:pt x="28830" y="198831"/>
                  </a:lnTo>
                  <a:lnTo>
                    <a:pt x="28830" y="196799"/>
                  </a:lnTo>
                  <a:lnTo>
                    <a:pt x="28830" y="199530"/>
                  </a:lnTo>
                  <a:lnTo>
                    <a:pt x="28880" y="199530"/>
                  </a:lnTo>
                  <a:lnTo>
                    <a:pt x="28880" y="197447"/>
                  </a:lnTo>
                  <a:lnTo>
                    <a:pt x="28880" y="200876"/>
                  </a:lnTo>
                  <a:lnTo>
                    <a:pt x="28880" y="200228"/>
                  </a:lnTo>
                  <a:lnTo>
                    <a:pt x="28982" y="200228"/>
                  </a:lnTo>
                  <a:lnTo>
                    <a:pt x="28982" y="199530"/>
                  </a:lnTo>
                  <a:lnTo>
                    <a:pt x="28982" y="200228"/>
                  </a:lnTo>
                  <a:lnTo>
                    <a:pt x="28982" y="199530"/>
                  </a:lnTo>
                  <a:lnTo>
                    <a:pt x="28982" y="200228"/>
                  </a:lnTo>
                  <a:lnTo>
                    <a:pt x="29033" y="200228"/>
                  </a:lnTo>
                  <a:lnTo>
                    <a:pt x="29033" y="199530"/>
                  </a:lnTo>
                  <a:lnTo>
                    <a:pt x="29033" y="200228"/>
                  </a:lnTo>
                  <a:lnTo>
                    <a:pt x="29033" y="199530"/>
                  </a:lnTo>
                  <a:lnTo>
                    <a:pt x="29033" y="200228"/>
                  </a:lnTo>
                  <a:lnTo>
                    <a:pt x="29084" y="200228"/>
                  </a:lnTo>
                  <a:lnTo>
                    <a:pt x="29084" y="199530"/>
                  </a:lnTo>
                  <a:lnTo>
                    <a:pt x="29084" y="200228"/>
                  </a:lnTo>
                  <a:lnTo>
                    <a:pt x="29084" y="199530"/>
                  </a:lnTo>
                  <a:lnTo>
                    <a:pt x="29084" y="200876"/>
                  </a:lnTo>
                  <a:lnTo>
                    <a:pt x="29084" y="200228"/>
                  </a:lnTo>
                  <a:lnTo>
                    <a:pt x="29122" y="200228"/>
                  </a:lnTo>
                  <a:lnTo>
                    <a:pt x="29122" y="200876"/>
                  </a:lnTo>
                  <a:lnTo>
                    <a:pt x="29122" y="200228"/>
                  </a:lnTo>
                  <a:lnTo>
                    <a:pt x="29122" y="200876"/>
                  </a:lnTo>
                  <a:lnTo>
                    <a:pt x="29122" y="200228"/>
                  </a:lnTo>
                  <a:lnTo>
                    <a:pt x="29122" y="200876"/>
                  </a:lnTo>
                  <a:lnTo>
                    <a:pt x="29122" y="200228"/>
                  </a:lnTo>
                  <a:lnTo>
                    <a:pt x="29223" y="200228"/>
                  </a:lnTo>
                  <a:lnTo>
                    <a:pt x="29223" y="199530"/>
                  </a:lnTo>
                  <a:lnTo>
                    <a:pt x="29274" y="199530"/>
                  </a:lnTo>
                  <a:lnTo>
                    <a:pt x="29274" y="198831"/>
                  </a:lnTo>
                  <a:lnTo>
                    <a:pt x="29274" y="199530"/>
                  </a:lnTo>
                  <a:lnTo>
                    <a:pt x="29274" y="197447"/>
                  </a:lnTo>
                  <a:lnTo>
                    <a:pt x="29274" y="198831"/>
                  </a:lnTo>
                  <a:lnTo>
                    <a:pt x="29274" y="197447"/>
                  </a:lnTo>
                  <a:lnTo>
                    <a:pt x="29274" y="198831"/>
                  </a:lnTo>
                  <a:lnTo>
                    <a:pt x="29325" y="198831"/>
                  </a:lnTo>
                  <a:lnTo>
                    <a:pt x="29325" y="196113"/>
                  </a:lnTo>
                  <a:lnTo>
                    <a:pt x="29325" y="197447"/>
                  </a:lnTo>
                  <a:lnTo>
                    <a:pt x="29426" y="197447"/>
                  </a:lnTo>
                  <a:lnTo>
                    <a:pt x="29426" y="196113"/>
                  </a:lnTo>
                  <a:lnTo>
                    <a:pt x="29426" y="199530"/>
                  </a:lnTo>
                  <a:lnTo>
                    <a:pt x="29477" y="199530"/>
                  </a:lnTo>
                  <a:lnTo>
                    <a:pt x="29477" y="197447"/>
                  </a:lnTo>
                  <a:lnTo>
                    <a:pt x="29477" y="199530"/>
                  </a:lnTo>
                  <a:lnTo>
                    <a:pt x="29528" y="199530"/>
                  </a:lnTo>
                  <a:lnTo>
                    <a:pt x="29528" y="198831"/>
                  </a:lnTo>
                  <a:lnTo>
                    <a:pt x="29528" y="199530"/>
                  </a:lnTo>
                  <a:lnTo>
                    <a:pt x="29579" y="199530"/>
                  </a:lnTo>
                  <a:lnTo>
                    <a:pt x="29579" y="200228"/>
                  </a:lnTo>
                  <a:lnTo>
                    <a:pt x="29579" y="199530"/>
                  </a:lnTo>
                  <a:lnTo>
                    <a:pt x="29579" y="200228"/>
                  </a:lnTo>
                  <a:lnTo>
                    <a:pt x="29668" y="200228"/>
                  </a:lnTo>
                  <a:lnTo>
                    <a:pt x="29668" y="200876"/>
                  </a:lnTo>
                  <a:lnTo>
                    <a:pt x="29668" y="200228"/>
                  </a:lnTo>
                  <a:lnTo>
                    <a:pt x="29718" y="200228"/>
                  </a:lnTo>
                  <a:lnTo>
                    <a:pt x="29718" y="199530"/>
                  </a:lnTo>
                  <a:lnTo>
                    <a:pt x="29769" y="200228"/>
                  </a:lnTo>
                  <a:lnTo>
                    <a:pt x="29769" y="199530"/>
                  </a:lnTo>
                  <a:lnTo>
                    <a:pt x="29769" y="200228"/>
                  </a:lnTo>
                  <a:lnTo>
                    <a:pt x="29769" y="197447"/>
                  </a:lnTo>
                  <a:lnTo>
                    <a:pt x="29820" y="197447"/>
                  </a:lnTo>
                  <a:lnTo>
                    <a:pt x="29820" y="196799"/>
                  </a:lnTo>
                  <a:lnTo>
                    <a:pt x="29820" y="199530"/>
                  </a:lnTo>
                  <a:lnTo>
                    <a:pt x="29820" y="198831"/>
                  </a:lnTo>
                  <a:lnTo>
                    <a:pt x="29922" y="198831"/>
                  </a:lnTo>
                  <a:lnTo>
                    <a:pt x="29922" y="196799"/>
                  </a:lnTo>
                  <a:lnTo>
                    <a:pt x="29922" y="200876"/>
                  </a:lnTo>
                  <a:lnTo>
                    <a:pt x="29922" y="198831"/>
                  </a:lnTo>
                  <a:lnTo>
                    <a:pt x="29973" y="198831"/>
                  </a:lnTo>
                  <a:lnTo>
                    <a:pt x="29973" y="200228"/>
                  </a:lnTo>
                  <a:lnTo>
                    <a:pt x="29973" y="199530"/>
                  </a:lnTo>
                  <a:lnTo>
                    <a:pt x="30023" y="199530"/>
                  </a:lnTo>
                  <a:lnTo>
                    <a:pt x="30023" y="200876"/>
                  </a:lnTo>
                  <a:lnTo>
                    <a:pt x="30023" y="199530"/>
                  </a:lnTo>
                  <a:lnTo>
                    <a:pt x="30125" y="200228"/>
                  </a:lnTo>
                  <a:lnTo>
                    <a:pt x="30125" y="199530"/>
                  </a:lnTo>
                  <a:lnTo>
                    <a:pt x="30125" y="200228"/>
                  </a:lnTo>
                  <a:lnTo>
                    <a:pt x="30163" y="200876"/>
                  </a:lnTo>
                  <a:lnTo>
                    <a:pt x="30163" y="200228"/>
                  </a:lnTo>
                  <a:lnTo>
                    <a:pt x="30163" y="200876"/>
                  </a:lnTo>
                  <a:lnTo>
                    <a:pt x="30163" y="200228"/>
                  </a:lnTo>
                  <a:lnTo>
                    <a:pt x="30214" y="200228"/>
                  </a:lnTo>
                  <a:lnTo>
                    <a:pt x="30214" y="199530"/>
                  </a:lnTo>
                  <a:lnTo>
                    <a:pt x="30265" y="199530"/>
                  </a:lnTo>
                  <a:lnTo>
                    <a:pt x="30265" y="197447"/>
                  </a:lnTo>
                  <a:lnTo>
                    <a:pt x="30265" y="198831"/>
                  </a:lnTo>
                  <a:lnTo>
                    <a:pt x="30265" y="196799"/>
                  </a:lnTo>
                  <a:lnTo>
                    <a:pt x="30265" y="197447"/>
                  </a:lnTo>
                  <a:lnTo>
                    <a:pt x="30265" y="196799"/>
                  </a:lnTo>
                  <a:lnTo>
                    <a:pt x="30366" y="196799"/>
                  </a:lnTo>
                  <a:lnTo>
                    <a:pt x="30366" y="198831"/>
                  </a:lnTo>
                  <a:lnTo>
                    <a:pt x="30366" y="197447"/>
                  </a:lnTo>
                  <a:lnTo>
                    <a:pt x="30417" y="197447"/>
                  </a:lnTo>
                  <a:lnTo>
                    <a:pt x="30417" y="196799"/>
                  </a:lnTo>
                  <a:lnTo>
                    <a:pt x="30417" y="200228"/>
                  </a:lnTo>
                  <a:lnTo>
                    <a:pt x="30417" y="198831"/>
                  </a:lnTo>
                  <a:lnTo>
                    <a:pt x="30468" y="198831"/>
                  </a:lnTo>
                  <a:lnTo>
                    <a:pt x="30468" y="199530"/>
                  </a:lnTo>
                  <a:lnTo>
                    <a:pt x="30468" y="198831"/>
                  </a:lnTo>
                  <a:lnTo>
                    <a:pt x="30468" y="199530"/>
                  </a:lnTo>
                  <a:lnTo>
                    <a:pt x="30569" y="199530"/>
                  </a:lnTo>
                  <a:lnTo>
                    <a:pt x="30569" y="200228"/>
                  </a:lnTo>
                  <a:lnTo>
                    <a:pt x="30569" y="199530"/>
                  </a:lnTo>
                  <a:lnTo>
                    <a:pt x="30569" y="200228"/>
                  </a:lnTo>
                  <a:lnTo>
                    <a:pt x="30620" y="200228"/>
                  </a:lnTo>
                  <a:lnTo>
                    <a:pt x="30620" y="200876"/>
                  </a:lnTo>
                  <a:lnTo>
                    <a:pt x="30620" y="200228"/>
                  </a:lnTo>
                  <a:lnTo>
                    <a:pt x="30620" y="200876"/>
                  </a:lnTo>
                  <a:lnTo>
                    <a:pt x="30620" y="200228"/>
                  </a:lnTo>
                  <a:lnTo>
                    <a:pt x="30620" y="200876"/>
                  </a:lnTo>
                  <a:lnTo>
                    <a:pt x="30671" y="200876"/>
                  </a:lnTo>
                  <a:lnTo>
                    <a:pt x="30671" y="200228"/>
                  </a:lnTo>
                  <a:lnTo>
                    <a:pt x="30671" y="200876"/>
                  </a:lnTo>
                  <a:lnTo>
                    <a:pt x="30671" y="200228"/>
                  </a:lnTo>
                  <a:lnTo>
                    <a:pt x="30671" y="200876"/>
                  </a:lnTo>
                  <a:lnTo>
                    <a:pt x="30671" y="200228"/>
                  </a:lnTo>
                  <a:lnTo>
                    <a:pt x="30671" y="200876"/>
                  </a:lnTo>
                  <a:lnTo>
                    <a:pt x="30709" y="200228"/>
                  </a:lnTo>
                  <a:lnTo>
                    <a:pt x="30709" y="199530"/>
                  </a:lnTo>
                  <a:lnTo>
                    <a:pt x="30709" y="200228"/>
                  </a:lnTo>
                  <a:lnTo>
                    <a:pt x="30709" y="199530"/>
                  </a:lnTo>
                  <a:lnTo>
                    <a:pt x="30811" y="199530"/>
                  </a:lnTo>
                  <a:lnTo>
                    <a:pt x="30811" y="198831"/>
                  </a:lnTo>
                  <a:lnTo>
                    <a:pt x="30811" y="199530"/>
                  </a:lnTo>
                  <a:lnTo>
                    <a:pt x="30811" y="196799"/>
                  </a:lnTo>
                  <a:lnTo>
                    <a:pt x="30811" y="197447"/>
                  </a:lnTo>
                  <a:lnTo>
                    <a:pt x="30811" y="196799"/>
                  </a:lnTo>
                  <a:lnTo>
                    <a:pt x="30861" y="196799"/>
                  </a:lnTo>
                  <a:lnTo>
                    <a:pt x="30861" y="198831"/>
                  </a:lnTo>
                  <a:lnTo>
                    <a:pt x="30861" y="196799"/>
                  </a:lnTo>
                  <a:lnTo>
                    <a:pt x="30861" y="197447"/>
                  </a:lnTo>
                  <a:lnTo>
                    <a:pt x="30912" y="197447"/>
                  </a:lnTo>
                  <a:lnTo>
                    <a:pt x="30912" y="200228"/>
                  </a:lnTo>
                  <a:lnTo>
                    <a:pt x="30912" y="197447"/>
                  </a:lnTo>
                  <a:lnTo>
                    <a:pt x="30912" y="199530"/>
                  </a:lnTo>
                  <a:lnTo>
                    <a:pt x="31014" y="199530"/>
                  </a:lnTo>
                  <a:lnTo>
                    <a:pt x="31014" y="198831"/>
                  </a:lnTo>
                  <a:lnTo>
                    <a:pt x="31014" y="199530"/>
                  </a:lnTo>
                  <a:lnTo>
                    <a:pt x="31065" y="199530"/>
                  </a:lnTo>
                  <a:lnTo>
                    <a:pt x="31065" y="200228"/>
                  </a:lnTo>
                  <a:lnTo>
                    <a:pt x="31065" y="199530"/>
                  </a:lnTo>
                  <a:lnTo>
                    <a:pt x="31065" y="200228"/>
                  </a:lnTo>
                  <a:lnTo>
                    <a:pt x="31065" y="199530"/>
                  </a:lnTo>
                  <a:lnTo>
                    <a:pt x="31065" y="200228"/>
                  </a:lnTo>
                  <a:lnTo>
                    <a:pt x="31065" y="199530"/>
                  </a:lnTo>
                  <a:lnTo>
                    <a:pt x="31065" y="200228"/>
                  </a:lnTo>
                  <a:lnTo>
                    <a:pt x="31116" y="200228"/>
                  </a:lnTo>
                  <a:lnTo>
                    <a:pt x="31116" y="199530"/>
                  </a:lnTo>
                  <a:lnTo>
                    <a:pt x="31116" y="200876"/>
                  </a:lnTo>
                  <a:lnTo>
                    <a:pt x="31116" y="200228"/>
                  </a:lnTo>
                  <a:lnTo>
                    <a:pt x="31166" y="200876"/>
                  </a:lnTo>
                  <a:lnTo>
                    <a:pt x="31166" y="200228"/>
                  </a:lnTo>
                  <a:lnTo>
                    <a:pt x="31166" y="200876"/>
                  </a:lnTo>
                  <a:lnTo>
                    <a:pt x="31166" y="200228"/>
                  </a:lnTo>
                  <a:lnTo>
                    <a:pt x="31166" y="200876"/>
                  </a:lnTo>
                  <a:lnTo>
                    <a:pt x="31166" y="200228"/>
                  </a:lnTo>
                  <a:lnTo>
                    <a:pt x="31166" y="200876"/>
                  </a:lnTo>
                  <a:lnTo>
                    <a:pt x="31166" y="200228"/>
                  </a:lnTo>
                  <a:lnTo>
                    <a:pt x="31255" y="200228"/>
                  </a:lnTo>
                  <a:lnTo>
                    <a:pt x="31255" y="199530"/>
                  </a:lnTo>
                  <a:lnTo>
                    <a:pt x="31306" y="199530"/>
                  </a:lnTo>
                  <a:lnTo>
                    <a:pt x="31306" y="197447"/>
                  </a:lnTo>
                  <a:lnTo>
                    <a:pt x="31306" y="198831"/>
                  </a:lnTo>
                  <a:lnTo>
                    <a:pt x="31306" y="197447"/>
                  </a:lnTo>
                  <a:lnTo>
                    <a:pt x="31306" y="198831"/>
                  </a:lnTo>
                  <a:lnTo>
                    <a:pt x="31306" y="197447"/>
                  </a:lnTo>
                  <a:lnTo>
                    <a:pt x="31357" y="198831"/>
                  </a:lnTo>
                  <a:lnTo>
                    <a:pt x="31357" y="197447"/>
                  </a:lnTo>
                  <a:lnTo>
                    <a:pt x="31357" y="199530"/>
                  </a:lnTo>
                  <a:lnTo>
                    <a:pt x="31408" y="200228"/>
                  </a:lnTo>
                  <a:lnTo>
                    <a:pt x="31408" y="199530"/>
                  </a:lnTo>
                  <a:lnTo>
                    <a:pt x="31408" y="200228"/>
                  </a:lnTo>
                  <a:lnTo>
                    <a:pt x="31408" y="199530"/>
                  </a:lnTo>
                  <a:lnTo>
                    <a:pt x="31408" y="200228"/>
                  </a:lnTo>
                  <a:lnTo>
                    <a:pt x="31408" y="198831"/>
                  </a:lnTo>
                  <a:lnTo>
                    <a:pt x="31408" y="200228"/>
                  </a:lnTo>
                  <a:lnTo>
                    <a:pt x="31509" y="200228"/>
                  </a:lnTo>
                  <a:lnTo>
                    <a:pt x="31509" y="198831"/>
                  </a:lnTo>
                  <a:lnTo>
                    <a:pt x="31509" y="200228"/>
                  </a:lnTo>
                  <a:lnTo>
                    <a:pt x="31560" y="200228"/>
                  </a:lnTo>
                  <a:lnTo>
                    <a:pt x="31560" y="200876"/>
                  </a:lnTo>
                  <a:lnTo>
                    <a:pt x="31560" y="200228"/>
                  </a:lnTo>
                  <a:lnTo>
                    <a:pt x="31560" y="200876"/>
                  </a:lnTo>
                  <a:lnTo>
                    <a:pt x="31560" y="200228"/>
                  </a:lnTo>
                  <a:lnTo>
                    <a:pt x="31611" y="200228"/>
                  </a:lnTo>
                  <a:lnTo>
                    <a:pt x="31611" y="200876"/>
                  </a:lnTo>
                  <a:lnTo>
                    <a:pt x="31611" y="200228"/>
                  </a:lnTo>
                  <a:lnTo>
                    <a:pt x="31611" y="200876"/>
                  </a:lnTo>
                  <a:lnTo>
                    <a:pt x="31611" y="200228"/>
                  </a:lnTo>
                  <a:lnTo>
                    <a:pt x="31712" y="200876"/>
                  </a:lnTo>
                  <a:lnTo>
                    <a:pt x="31712" y="200228"/>
                  </a:lnTo>
                  <a:lnTo>
                    <a:pt x="31712" y="200876"/>
                  </a:lnTo>
                  <a:lnTo>
                    <a:pt x="31712" y="200228"/>
                  </a:lnTo>
                  <a:lnTo>
                    <a:pt x="31712" y="200876"/>
                  </a:lnTo>
                  <a:lnTo>
                    <a:pt x="31712" y="200228"/>
                  </a:lnTo>
                  <a:lnTo>
                    <a:pt x="31750" y="200228"/>
                  </a:lnTo>
                  <a:lnTo>
                    <a:pt x="31750" y="199530"/>
                  </a:lnTo>
                  <a:lnTo>
                    <a:pt x="31801" y="199530"/>
                  </a:lnTo>
                  <a:lnTo>
                    <a:pt x="31801" y="198831"/>
                  </a:lnTo>
                  <a:lnTo>
                    <a:pt x="31801" y="200228"/>
                  </a:lnTo>
                  <a:lnTo>
                    <a:pt x="31801" y="199530"/>
                  </a:lnTo>
                  <a:lnTo>
                    <a:pt x="31801" y="200228"/>
                  </a:lnTo>
                  <a:lnTo>
                    <a:pt x="31801" y="199530"/>
                  </a:lnTo>
                  <a:lnTo>
                    <a:pt x="31852" y="199530"/>
                  </a:lnTo>
                  <a:lnTo>
                    <a:pt x="31852" y="198831"/>
                  </a:lnTo>
                  <a:lnTo>
                    <a:pt x="31852" y="202260"/>
                  </a:lnTo>
                  <a:lnTo>
                    <a:pt x="31852" y="200228"/>
                  </a:lnTo>
                  <a:lnTo>
                    <a:pt x="31954" y="200228"/>
                  </a:lnTo>
                  <a:lnTo>
                    <a:pt x="31954" y="202260"/>
                  </a:lnTo>
                  <a:lnTo>
                    <a:pt x="31954" y="200876"/>
                  </a:lnTo>
                  <a:lnTo>
                    <a:pt x="32005" y="200228"/>
                  </a:lnTo>
                  <a:lnTo>
                    <a:pt x="32005" y="202260"/>
                  </a:lnTo>
                  <a:lnTo>
                    <a:pt x="32005" y="200876"/>
                  </a:lnTo>
                  <a:lnTo>
                    <a:pt x="32055" y="202260"/>
                  </a:lnTo>
                  <a:lnTo>
                    <a:pt x="32055" y="200228"/>
                  </a:lnTo>
                  <a:lnTo>
                    <a:pt x="32157" y="200876"/>
                  </a:lnTo>
                  <a:lnTo>
                    <a:pt x="32157" y="200228"/>
                  </a:lnTo>
                  <a:lnTo>
                    <a:pt x="32157" y="200876"/>
                  </a:lnTo>
                  <a:lnTo>
                    <a:pt x="32157" y="200228"/>
                  </a:lnTo>
                  <a:lnTo>
                    <a:pt x="32157" y="200876"/>
                  </a:lnTo>
                  <a:lnTo>
                    <a:pt x="32157" y="200228"/>
                  </a:lnTo>
                  <a:lnTo>
                    <a:pt x="32157" y="200876"/>
                  </a:lnTo>
                  <a:lnTo>
                    <a:pt x="32208" y="200876"/>
                  </a:lnTo>
                  <a:lnTo>
                    <a:pt x="32208" y="199530"/>
                  </a:lnTo>
                  <a:lnTo>
                    <a:pt x="32259" y="199530"/>
                  </a:lnTo>
                  <a:lnTo>
                    <a:pt x="32259" y="198831"/>
                  </a:lnTo>
                  <a:lnTo>
                    <a:pt x="32259" y="199530"/>
                  </a:lnTo>
                  <a:lnTo>
                    <a:pt x="32259" y="197447"/>
                  </a:lnTo>
                  <a:lnTo>
                    <a:pt x="32259" y="198831"/>
                  </a:lnTo>
                  <a:lnTo>
                    <a:pt x="32259" y="197447"/>
                  </a:lnTo>
                  <a:lnTo>
                    <a:pt x="32297" y="197447"/>
                  </a:lnTo>
                  <a:lnTo>
                    <a:pt x="32297" y="196799"/>
                  </a:lnTo>
                  <a:lnTo>
                    <a:pt x="32297" y="197447"/>
                  </a:lnTo>
                  <a:lnTo>
                    <a:pt x="32297" y="196799"/>
                  </a:lnTo>
                  <a:lnTo>
                    <a:pt x="32297" y="198831"/>
                  </a:lnTo>
                  <a:lnTo>
                    <a:pt x="32297" y="197447"/>
                  </a:lnTo>
                  <a:lnTo>
                    <a:pt x="32297" y="198831"/>
                  </a:lnTo>
                  <a:lnTo>
                    <a:pt x="32297" y="196799"/>
                  </a:lnTo>
                  <a:lnTo>
                    <a:pt x="32398" y="196799"/>
                  </a:lnTo>
                  <a:lnTo>
                    <a:pt x="32398" y="200228"/>
                  </a:lnTo>
                  <a:lnTo>
                    <a:pt x="32398" y="199530"/>
                  </a:lnTo>
                  <a:lnTo>
                    <a:pt x="32398" y="200228"/>
                  </a:lnTo>
                  <a:lnTo>
                    <a:pt x="32398" y="199530"/>
                  </a:lnTo>
                  <a:lnTo>
                    <a:pt x="32449" y="199530"/>
                  </a:lnTo>
                  <a:lnTo>
                    <a:pt x="32449" y="198831"/>
                  </a:lnTo>
                  <a:lnTo>
                    <a:pt x="32449" y="200228"/>
                  </a:lnTo>
                  <a:lnTo>
                    <a:pt x="32449" y="199530"/>
                  </a:lnTo>
                  <a:lnTo>
                    <a:pt x="32449" y="200228"/>
                  </a:lnTo>
                  <a:lnTo>
                    <a:pt x="32500" y="200228"/>
                  </a:lnTo>
                  <a:lnTo>
                    <a:pt x="32500" y="199530"/>
                  </a:lnTo>
                  <a:lnTo>
                    <a:pt x="32500" y="200876"/>
                  </a:lnTo>
                  <a:lnTo>
                    <a:pt x="32601" y="200876"/>
                  </a:lnTo>
                  <a:lnTo>
                    <a:pt x="32601" y="202260"/>
                  </a:lnTo>
                  <a:lnTo>
                    <a:pt x="32601" y="200228"/>
                  </a:lnTo>
                  <a:lnTo>
                    <a:pt x="32601" y="200876"/>
                  </a:lnTo>
                  <a:lnTo>
                    <a:pt x="32652" y="200876"/>
                  </a:lnTo>
                  <a:lnTo>
                    <a:pt x="32652" y="202260"/>
                  </a:lnTo>
                  <a:lnTo>
                    <a:pt x="32652" y="200228"/>
                  </a:lnTo>
                  <a:lnTo>
                    <a:pt x="32652" y="200876"/>
                  </a:lnTo>
                  <a:lnTo>
                    <a:pt x="32652" y="200228"/>
                  </a:lnTo>
                  <a:lnTo>
                    <a:pt x="32652" y="200876"/>
                  </a:lnTo>
                  <a:lnTo>
                    <a:pt x="32703" y="200876"/>
                  </a:lnTo>
                  <a:lnTo>
                    <a:pt x="32703" y="199530"/>
                  </a:lnTo>
                  <a:lnTo>
                    <a:pt x="32703" y="200228"/>
                  </a:lnTo>
                  <a:lnTo>
                    <a:pt x="32754" y="199530"/>
                  </a:lnTo>
                  <a:lnTo>
                    <a:pt x="32754" y="198831"/>
                  </a:lnTo>
                  <a:lnTo>
                    <a:pt x="32843" y="198831"/>
                  </a:lnTo>
                  <a:lnTo>
                    <a:pt x="32843" y="197447"/>
                  </a:lnTo>
                  <a:lnTo>
                    <a:pt x="32843" y="199530"/>
                  </a:lnTo>
                  <a:lnTo>
                    <a:pt x="32843" y="197447"/>
                  </a:lnTo>
                  <a:lnTo>
                    <a:pt x="32893" y="198831"/>
                  </a:lnTo>
                  <a:lnTo>
                    <a:pt x="32893" y="199530"/>
                  </a:lnTo>
                  <a:lnTo>
                    <a:pt x="32893" y="198831"/>
                  </a:lnTo>
                  <a:lnTo>
                    <a:pt x="32944" y="199530"/>
                  </a:lnTo>
                  <a:lnTo>
                    <a:pt x="32944" y="200228"/>
                  </a:lnTo>
                  <a:lnTo>
                    <a:pt x="32995" y="200228"/>
                  </a:lnTo>
                  <a:lnTo>
                    <a:pt x="32995" y="199530"/>
                  </a:lnTo>
                  <a:lnTo>
                    <a:pt x="32995" y="200876"/>
                  </a:lnTo>
                  <a:lnTo>
                    <a:pt x="32995" y="200228"/>
                  </a:lnTo>
                  <a:lnTo>
                    <a:pt x="33097" y="200876"/>
                  </a:lnTo>
                  <a:lnTo>
                    <a:pt x="33097" y="200228"/>
                  </a:lnTo>
                  <a:lnTo>
                    <a:pt x="33097" y="200876"/>
                  </a:lnTo>
                  <a:lnTo>
                    <a:pt x="33097" y="200228"/>
                  </a:lnTo>
                  <a:lnTo>
                    <a:pt x="33097" y="200876"/>
                  </a:lnTo>
                  <a:lnTo>
                    <a:pt x="33097" y="200228"/>
                  </a:lnTo>
                  <a:lnTo>
                    <a:pt x="33148" y="200876"/>
                  </a:lnTo>
                  <a:lnTo>
                    <a:pt x="33148" y="200228"/>
                  </a:lnTo>
                  <a:lnTo>
                    <a:pt x="33148" y="200876"/>
                  </a:lnTo>
                  <a:lnTo>
                    <a:pt x="33148" y="200228"/>
                  </a:lnTo>
                  <a:lnTo>
                    <a:pt x="33148" y="200876"/>
                  </a:lnTo>
                  <a:lnTo>
                    <a:pt x="33198" y="200876"/>
                  </a:lnTo>
                  <a:lnTo>
                    <a:pt x="33198" y="200228"/>
                  </a:lnTo>
                  <a:lnTo>
                    <a:pt x="33198" y="200876"/>
                  </a:lnTo>
                  <a:lnTo>
                    <a:pt x="33198" y="200228"/>
                  </a:lnTo>
                  <a:lnTo>
                    <a:pt x="33198" y="200876"/>
                  </a:lnTo>
                  <a:lnTo>
                    <a:pt x="33198" y="200228"/>
                  </a:lnTo>
                  <a:lnTo>
                    <a:pt x="33300" y="200228"/>
                  </a:lnTo>
                  <a:lnTo>
                    <a:pt x="33300" y="198831"/>
                  </a:lnTo>
                  <a:lnTo>
                    <a:pt x="33338" y="197447"/>
                  </a:lnTo>
                  <a:lnTo>
                    <a:pt x="33338" y="196113"/>
                  </a:lnTo>
                  <a:lnTo>
                    <a:pt x="33338" y="198831"/>
                  </a:lnTo>
                  <a:lnTo>
                    <a:pt x="33338" y="196799"/>
                  </a:lnTo>
                  <a:lnTo>
                    <a:pt x="33389" y="196799"/>
                  </a:lnTo>
                  <a:lnTo>
                    <a:pt x="33389" y="196113"/>
                  </a:lnTo>
                  <a:lnTo>
                    <a:pt x="33389" y="199530"/>
                  </a:lnTo>
                  <a:lnTo>
                    <a:pt x="33389" y="197447"/>
                  </a:lnTo>
                  <a:lnTo>
                    <a:pt x="33440" y="196799"/>
                  </a:lnTo>
                  <a:lnTo>
                    <a:pt x="33440" y="199530"/>
                  </a:lnTo>
                  <a:lnTo>
                    <a:pt x="33440" y="198831"/>
                  </a:lnTo>
                  <a:lnTo>
                    <a:pt x="33440" y="199530"/>
                  </a:lnTo>
                  <a:lnTo>
                    <a:pt x="33440" y="198831"/>
                  </a:lnTo>
                  <a:lnTo>
                    <a:pt x="33541" y="198831"/>
                  </a:lnTo>
                  <a:lnTo>
                    <a:pt x="33541" y="199530"/>
                  </a:lnTo>
                  <a:lnTo>
                    <a:pt x="33592" y="199530"/>
                  </a:lnTo>
                  <a:lnTo>
                    <a:pt x="33592" y="200876"/>
                  </a:lnTo>
                  <a:lnTo>
                    <a:pt x="33643" y="200876"/>
                  </a:lnTo>
                  <a:lnTo>
                    <a:pt x="33643" y="200228"/>
                  </a:lnTo>
                  <a:lnTo>
                    <a:pt x="33643" y="200876"/>
                  </a:lnTo>
                  <a:lnTo>
                    <a:pt x="33744" y="200876"/>
                  </a:lnTo>
                  <a:lnTo>
                    <a:pt x="33744" y="200228"/>
                  </a:lnTo>
                  <a:lnTo>
                    <a:pt x="33795" y="200228"/>
                  </a:lnTo>
                  <a:lnTo>
                    <a:pt x="33795" y="198831"/>
                  </a:lnTo>
                  <a:lnTo>
                    <a:pt x="33795" y="199530"/>
                  </a:lnTo>
                  <a:lnTo>
                    <a:pt x="33846" y="199530"/>
                  </a:lnTo>
                  <a:lnTo>
                    <a:pt x="33846" y="198831"/>
                  </a:lnTo>
                  <a:lnTo>
                    <a:pt x="33846" y="199530"/>
                  </a:lnTo>
                  <a:lnTo>
                    <a:pt x="33846" y="197447"/>
                  </a:lnTo>
                  <a:lnTo>
                    <a:pt x="33846" y="200228"/>
                  </a:lnTo>
                  <a:lnTo>
                    <a:pt x="33884" y="200228"/>
                  </a:lnTo>
                  <a:lnTo>
                    <a:pt x="33884" y="199530"/>
                  </a:lnTo>
                  <a:lnTo>
                    <a:pt x="33884" y="200876"/>
                  </a:lnTo>
                  <a:lnTo>
                    <a:pt x="33884" y="200228"/>
                  </a:lnTo>
                  <a:lnTo>
                    <a:pt x="33884" y="200876"/>
                  </a:lnTo>
                  <a:lnTo>
                    <a:pt x="33986" y="200228"/>
                  </a:lnTo>
                  <a:lnTo>
                    <a:pt x="33986" y="199530"/>
                  </a:lnTo>
                  <a:lnTo>
                    <a:pt x="33986" y="200228"/>
                  </a:lnTo>
                  <a:lnTo>
                    <a:pt x="33986" y="199530"/>
                  </a:lnTo>
                  <a:lnTo>
                    <a:pt x="34036" y="199530"/>
                  </a:lnTo>
                  <a:lnTo>
                    <a:pt x="34036" y="200228"/>
                  </a:lnTo>
                  <a:lnTo>
                    <a:pt x="34036" y="199530"/>
                  </a:lnTo>
                  <a:lnTo>
                    <a:pt x="34036" y="200228"/>
                  </a:lnTo>
                  <a:lnTo>
                    <a:pt x="34087" y="200228"/>
                  </a:lnTo>
                  <a:lnTo>
                    <a:pt x="34087" y="199530"/>
                  </a:lnTo>
                  <a:lnTo>
                    <a:pt x="34087" y="200228"/>
                  </a:lnTo>
                  <a:lnTo>
                    <a:pt x="34087" y="199530"/>
                  </a:lnTo>
                  <a:lnTo>
                    <a:pt x="34087" y="200228"/>
                  </a:lnTo>
                  <a:lnTo>
                    <a:pt x="34189" y="199530"/>
                  </a:lnTo>
                  <a:lnTo>
                    <a:pt x="34189" y="200228"/>
                  </a:lnTo>
                  <a:lnTo>
                    <a:pt x="34189" y="199530"/>
                  </a:lnTo>
                  <a:lnTo>
                    <a:pt x="34189" y="200876"/>
                  </a:lnTo>
                  <a:lnTo>
                    <a:pt x="34189" y="200228"/>
                  </a:lnTo>
                  <a:lnTo>
                    <a:pt x="34240" y="200228"/>
                  </a:lnTo>
                  <a:lnTo>
                    <a:pt x="34240" y="199530"/>
                  </a:lnTo>
                  <a:lnTo>
                    <a:pt x="34240" y="200228"/>
                  </a:lnTo>
                  <a:lnTo>
                    <a:pt x="34240" y="199530"/>
                  </a:lnTo>
                  <a:lnTo>
                    <a:pt x="34291" y="199530"/>
                  </a:lnTo>
                  <a:lnTo>
                    <a:pt x="34291" y="198831"/>
                  </a:lnTo>
                  <a:lnTo>
                    <a:pt x="34291" y="200876"/>
                  </a:lnTo>
                  <a:lnTo>
                    <a:pt x="34291" y="198831"/>
                  </a:lnTo>
                  <a:lnTo>
                    <a:pt x="34291" y="199530"/>
                  </a:lnTo>
                  <a:lnTo>
                    <a:pt x="34291" y="198831"/>
                  </a:lnTo>
                  <a:lnTo>
                    <a:pt x="34341" y="199530"/>
                  </a:lnTo>
                  <a:lnTo>
                    <a:pt x="34341" y="202959"/>
                  </a:lnTo>
                  <a:lnTo>
                    <a:pt x="34341" y="200228"/>
                  </a:lnTo>
                  <a:lnTo>
                    <a:pt x="34341" y="200876"/>
                  </a:lnTo>
                  <a:lnTo>
                    <a:pt x="34430" y="200876"/>
                  </a:lnTo>
                  <a:lnTo>
                    <a:pt x="34430" y="202959"/>
                  </a:lnTo>
                  <a:lnTo>
                    <a:pt x="34430" y="202260"/>
                  </a:lnTo>
                  <a:lnTo>
                    <a:pt x="34481" y="202959"/>
                  </a:lnTo>
                  <a:lnTo>
                    <a:pt x="34481" y="202260"/>
                  </a:lnTo>
                  <a:lnTo>
                    <a:pt x="34532" y="202260"/>
                  </a:lnTo>
                  <a:lnTo>
                    <a:pt x="34532" y="202959"/>
                  </a:lnTo>
                  <a:lnTo>
                    <a:pt x="34532" y="202260"/>
                  </a:lnTo>
                  <a:lnTo>
                    <a:pt x="34532" y="202959"/>
                  </a:lnTo>
                  <a:lnTo>
                    <a:pt x="34532" y="202260"/>
                  </a:lnTo>
                  <a:lnTo>
                    <a:pt x="34532" y="202959"/>
                  </a:lnTo>
                  <a:lnTo>
                    <a:pt x="34532" y="200876"/>
                  </a:lnTo>
                  <a:lnTo>
                    <a:pt x="34532" y="202959"/>
                  </a:lnTo>
                  <a:lnTo>
                    <a:pt x="34583" y="202959"/>
                  </a:lnTo>
                  <a:lnTo>
                    <a:pt x="34583" y="202260"/>
                  </a:lnTo>
                  <a:lnTo>
                    <a:pt x="34583" y="202959"/>
                  </a:lnTo>
                  <a:lnTo>
                    <a:pt x="34583" y="200876"/>
                  </a:lnTo>
                  <a:lnTo>
                    <a:pt x="34583" y="202260"/>
                  </a:lnTo>
                  <a:lnTo>
                    <a:pt x="34684" y="202260"/>
                  </a:lnTo>
                  <a:lnTo>
                    <a:pt x="34684" y="200876"/>
                  </a:lnTo>
                  <a:lnTo>
                    <a:pt x="34684" y="202260"/>
                  </a:lnTo>
                  <a:lnTo>
                    <a:pt x="34684" y="200228"/>
                  </a:lnTo>
                  <a:lnTo>
                    <a:pt x="34684" y="200876"/>
                  </a:lnTo>
                  <a:lnTo>
                    <a:pt x="34684" y="200228"/>
                  </a:lnTo>
                  <a:lnTo>
                    <a:pt x="34735" y="199530"/>
                  </a:lnTo>
                  <a:lnTo>
                    <a:pt x="34735" y="198831"/>
                  </a:lnTo>
                  <a:lnTo>
                    <a:pt x="34735" y="200228"/>
                  </a:lnTo>
                  <a:lnTo>
                    <a:pt x="34786" y="200228"/>
                  </a:lnTo>
                  <a:lnTo>
                    <a:pt x="34786" y="202959"/>
                  </a:lnTo>
                  <a:lnTo>
                    <a:pt x="34887" y="202959"/>
                  </a:lnTo>
                  <a:lnTo>
                    <a:pt x="34887" y="202260"/>
                  </a:lnTo>
                  <a:lnTo>
                    <a:pt x="34887" y="203594"/>
                  </a:lnTo>
                  <a:lnTo>
                    <a:pt x="34887" y="202959"/>
                  </a:lnTo>
                  <a:lnTo>
                    <a:pt x="34925" y="203594"/>
                  </a:lnTo>
                  <a:lnTo>
                    <a:pt x="34925" y="202959"/>
                  </a:lnTo>
                  <a:lnTo>
                    <a:pt x="34925" y="203594"/>
                  </a:lnTo>
                  <a:lnTo>
                    <a:pt x="34976" y="203594"/>
                  </a:lnTo>
                  <a:lnTo>
                    <a:pt x="34976" y="202959"/>
                  </a:lnTo>
                  <a:lnTo>
                    <a:pt x="34976" y="203594"/>
                  </a:lnTo>
                  <a:lnTo>
                    <a:pt x="35027" y="202959"/>
                  </a:lnTo>
                  <a:lnTo>
                    <a:pt x="35027" y="202260"/>
                  </a:lnTo>
                  <a:lnTo>
                    <a:pt x="35027" y="202959"/>
                  </a:lnTo>
                  <a:lnTo>
                    <a:pt x="35129" y="202260"/>
                  </a:lnTo>
                  <a:lnTo>
                    <a:pt x="35129" y="200876"/>
                  </a:lnTo>
                  <a:lnTo>
                    <a:pt x="35129" y="202260"/>
                  </a:lnTo>
                  <a:lnTo>
                    <a:pt x="35129" y="200228"/>
                  </a:lnTo>
                  <a:lnTo>
                    <a:pt x="35180" y="200876"/>
                  </a:lnTo>
                  <a:lnTo>
                    <a:pt x="35180" y="198831"/>
                  </a:lnTo>
                  <a:lnTo>
                    <a:pt x="35180" y="199530"/>
                  </a:lnTo>
                  <a:lnTo>
                    <a:pt x="35180" y="198831"/>
                  </a:lnTo>
                  <a:lnTo>
                    <a:pt x="35180" y="199530"/>
                  </a:lnTo>
                  <a:lnTo>
                    <a:pt x="35180" y="197447"/>
                  </a:lnTo>
                  <a:lnTo>
                    <a:pt x="35230" y="197447"/>
                  </a:lnTo>
                  <a:lnTo>
                    <a:pt x="35230" y="196799"/>
                  </a:lnTo>
                  <a:lnTo>
                    <a:pt x="35230" y="198831"/>
                  </a:lnTo>
                  <a:lnTo>
                    <a:pt x="35230" y="197447"/>
                  </a:lnTo>
                  <a:lnTo>
                    <a:pt x="35230" y="198831"/>
                  </a:lnTo>
                  <a:lnTo>
                    <a:pt x="35332" y="198831"/>
                  </a:lnTo>
                  <a:lnTo>
                    <a:pt x="35332" y="200876"/>
                  </a:lnTo>
                  <a:lnTo>
                    <a:pt x="35332" y="199530"/>
                  </a:lnTo>
                  <a:lnTo>
                    <a:pt x="35383" y="199530"/>
                  </a:lnTo>
                  <a:lnTo>
                    <a:pt x="35383" y="200876"/>
                  </a:lnTo>
                  <a:lnTo>
                    <a:pt x="35434" y="200876"/>
                  </a:lnTo>
                  <a:lnTo>
                    <a:pt x="35434" y="202260"/>
                  </a:lnTo>
                  <a:lnTo>
                    <a:pt x="35472" y="202260"/>
                  </a:lnTo>
                  <a:lnTo>
                    <a:pt x="35472" y="202959"/>
                  </a:lnTo>
                  <a:lnTo>
                    <a:pt x="35472" y="202260"/>
                  </a:lnTo>
                  <a:lnTo>
                    <a:pt x="35573" y="202260"/>
                  </a:lnTo>
                  <a:lnTo>
                    <a:pt x="35573" y="202959"/>
                  </a:lnTo>
                  <a:lnTo>
                    <a:pt x="35624" y="202959"/>
                  </a:lnTo>
                  <a:lnTo>
                    <a:pt x="35624" y="200876"/>
                  </a:lnTo>
                  <a:lnTo>
                    <a:pt x="35675" y="200876"/>
                  </a:lnTo>
                  <a:lnTo>
                    <a:pt x="35675" y="198831"/>
                  </a:lnTo>
                  <a:lnTo>
                    <a:pt x="35776" y="198831"/>
                  </a:lnTo>
                  <a:lnTo>
                    <a:pt x="35776" y="199530"/>
                  </a:lnTo>
                  <a:lnTo>
                    <a:pt x="35776" y="197447"/>
                  </a:lnTo>
                  <a:lnTo>
                    <a:pt x="35776" y="198831"/>
                  </a:lnTo>
                  <a:lnTo>
                    <a:pt x="35776" y="197447"/>
                  </a:lnTo>
                  <a:lnTo>
                    <a:pt x="35776" y="199530"/>
                  </a:lnTo>
                  <a:lnTo>
                    <a:pt x="35827" y="199530"/>
                  </a:lnTo>
                  <a:lnTo>
                    <a:pt x="35827" y="200228"/>
                  </a:lnTo>
                  <a:lnTo>
                    <a:pt x="35827" y="199530"/>
                  </a:lnTo>
                  <a:lnTo>
                    <a:pt x="35827" y="200228"/>
                  </a:lnTo>
                  <a:lnTo>
                    <a:pt x="35827" y="199530"/>
                  </a:lnTo>
                  <a:lnTo>
                    <a:pt x="35827" y="200228"/>
                  </a:lnTo>
                  <a:lnTo>
                    <a:pt x="35827" y="199530"/>
                  </a:lnTo>
                  <a:lnTo>
                    <a:pt x="35827" y="200876"/>
                  </a:lnTo>
                  <a:lnTo>
                    <a:pt x="35878" y="200876"/>
                  </a:lnTo>
                  <a:lnTo>
                    <a:pt x="35878" y="200228"/>
                  </a:lnTo>
                  <a:lnTo>
                    <a:pt x="35878" y="200876"/>
                  </a:lnTo>
                  <a:lnTo>
                    <a:pt x="35929" y="200876"/>
                  </a:lnTo>
                  <a:lnTo>
                    <a:pt x="35929" y="200228"/>
                  </a:lnTo>
                  <a:lnTo>
                    <a:pt x="35929" y="200876"/>
                  </a:lnTo>
                  <a:lnTo>
                    <a:pt x="36018" y="200876"/>
                  </a:lnTo>
                  <a:lnTo>
                    <a:pt x="36018" y="202260"/>
                  </a:lnTo>
                  <a:lnTo>
                    <a:pt x="36018" y="200876"/>
                  </a:lnTo>
                  <a:lnTo>
                    <a:pt x="36018" y="202260"/>
                  </a:lnTo>
                  <a:lnTo>
                    <a:pt x="36018" y="200876"/>
                  </a:lnTo>
                  <a:lnTo>
                    <a:pt x="36068" y="200876"/>
                  </a:lnTo>
                  <a:lnTo>
                    <a:pt x="36068" y="202260"/>
                  </a:lnTo>
                  <a:lnTo>
                    <a:pt x="36068" y="200876"/>
                  </a:lnTo>
                  <a:lnTo>
                    <a:pt x="36068" y="202260"/>
                  </a:lnTo>
                  <a:lnTo>
                    <a:pt x="36068" y="200876"/>
                  </a:lnTo>
                  <a:lnTo>
                    <a:pt x="36119" y="200876"/>
                  </a:lnTo>
                  <a:lnTo>
                    <a:pt x="36119" y="200228"/>
                  </a:lnTo>
                  <a:lnTo>
                    <a:pt x="36119" y="200876"/>
                  </a:lnTo>
                  <a:lnTo>
                    <a:pt x="36119" y="200228"/>
                  </a:lnTo>
                  <a:lnTo>
                    <a:pt x="36170" y="200228"/>
                  </a:lnTo>
                  <a:lnTo>
                    <a:pt x="36170" y="196799"/>
                  </a:lnTo>
                  <a:lnTo>
                    <a:pt x="36272" y="196799"/>
                  </a:lnTo>
                  <a:lnTo>
                    <a:pt x="36272" y="198831"/>
                  </a:lnTo>
                  <a:lnTo>
                    <a:pt x="36272" y="196799"/>
                  </a:lnTo>
                  <a:lnTo>
                    <a:pt x="36323" y="196799"/>
                  </a:lnTo>
                  <a:lnTo>
                    <a:pt x="36323" y="199530"/>
                  </a:lnTo>
                  <a:lnTo>
                    <a:pt x="36323" y="198831"/>
                  </a:lnTo>
                  <a:lnTo>
                    <a:pt x="36373" y="198831"/>
                  </a:lnTo>
                  <a:lnTo>
                    <a:pt x="36373" y="200228"/>
                  </a:lnTo>
                  <a:lnTo>
                    <a:pt x="36373" y="198831"/>
                  </a:lnTo>
                  <a:lnTo>
                    <a:pt x="36373" y="199530"/>
                  </a:lnTo>
                  <a:lnTo>
                    <a:pt x="36475" y="199530"/>
                  </a:lnTo>
                  <a:lnTo>
                    <a:pt x="36475" y="200228"/>
                  </a:lnTo>
                  <a:lnTo>
                    <a:pt x="36475" y="199530"/>
                  </a:lnTo>
                  <a:lnTo>
                    <a:pt x="36475" y="200228"/>
                  </a:lnTo>
                  <a:lnTo>
                    <a:pt x="36513" y="200228"/>
                  </a:lnTo>
                  <a:lnTo>
                    <a:pt x="36513" y="199530"/>
                  </a:lnTo>
                  <a:lnTo>
                    <a:pt x="36513" y="200876"/>
                  </a:lnTo>
                  <a:lnTo>
                    <a:pt x="36513" y="200228"/>
                  </a:lnTo>
                  <a:lnTo>
                    <a:pt x="36513" y="200876"/>
                  </a:lnTo>
                  <a:lnTo>
                    <a:pt x="36564" y="200876"/>
                  </a:lnTo>
                  <a:lnTo>
                    <a:pt x="36564" y="202260"/>
                  </a:lnTo>
                  <a:lnTo>
                    <a:pt x="36564" y="200876"/>
                  </a:lnTo>
                  <a:lnTo>
                    <a:pt x="36564" y="202260"/>
                  </a:lnTo>
                  <a:lnTo>
                    <a:pt x="36564" y="200228"/>
                  </a:lnTo>
                  <a:lnTo>
                    <a:pt x="36564" y="200876"/>
                  </a:lnTo>
                  <a:lnTo>
                    <a:pt x="36615" y="200876"/>
                  </a:lnTo>
                  <a:lnTo>
                    <a:pt x="36615" y="202260"/>
                  </a:lnTo>
                  <a:lnTo>
                    <a:pt x="36615" y="200228"/>
                  </a:lnTo>
                  <a:lnTo>
                    <a:pt x="36615" y="200876"/>
                  </a:lnTo>
                  <a:lnTo>
                    <a:pt x="36615" y="200228"/>
                  </a:lnTo>
                  <a:lnTo>
                    <a:pt x="36716" y="200228"/>
                  </a:lnTo>
                  <a:lnTo>
                    <a:pt x="36716" y="196799"/>
                  </a:lnTo>
                  <a:lnTo>
                    <a:pt x="36767" y="196799"/>
                  </a:lnTo>
                  <a:lnTo>
                    <a:pt x="36767" y="196113"/>
                  </a:lnTo>
                  <a:lnTo>
                    <a:pt x="36767" y="197447"/>
                  </a:lnTo>
                  <a:lnTo>
                    <a:pt x="36767" y="195415"/>
                  </a:lnTo>
                  <a:lnTo>
                    <a:pt x="36818" y="195415"/>
                  </a:lnTo>
                  <a:lnTo>
                    <a:pt x="36818" y="199530"/>
                  </a:lnTo>
                  <a:lnTo>
                    <a:pt x="36818" y="196113"/>
                  </a:lnTo>
                  <a:lnTo>
                    <a:pt x="36919" y="196113"/>
                  </a:lnTo>
                  <a:lnTo>
                    <a:pt x="36919" y="198831"/>
                  </a:lnTo>
                  <a:lnTo>
                    <a:pt x="36919" y="196799"/>
                  </a:lnTo>
                  <a:lnTo>
                    <a:pt x="36919" y="197447"/>
                  </a:lnTo>
                  <a:lnTo>
                    <a:pt x="36970" y="197447"/>
                  </a:lnTo>
                  <a:lnTo>
                    <a:pt x="36970" y="199530"/>
                  </a:lnTo>
                  <a:lnTo>
                    <a:pt x="36970" y="197447"/>
                  </a:lnTo>
                  <a:lnTo>
                    <a:pt x="36970" y="198831"/>
                  </a:lnTo>
                  <a:lnTo>
                    <a:pt x="37021" y="198831"/>
                  </a:lnTo>
                  <a:lnTo>
                    <a:pt x="37021" y="199530"/>
                  </a:lnTo>
                  <a:lnTo>
                    <a:pt x="37021" y="198831"/>
                  </a:lnTo>
                  <a:lnTo>
                    <a:pt x="37021" y="199530"/>
                  </a:lnTo>
                  <a:lnTo>
                    <a:pt x="37059" y="199530"/>
                  </a:lnTo>
                  <a:lnTo>
                    <a:pt x="37059" y="200228"/>
                  </a:lnTo>
                  <a:lnTo>
                    <a:pt x="37059" y="199530"/>
                  </a:lnTo>
                  <a:lnTo>
                    <a:pt x="37059" y="200228"/>
                  </a:lnTo>
                  <a:lnTo>
                    <a:pt x="37059" y="199530"/>
                  </a:lnTo>
                  <a:lnTo>
                    <a:pt x="37059" y="200228"/>
                  </a:lnTo>
                  <a:lnTo>
                    <a:pt x="37161" y="200228"/>
                  </a:lnTo>
                  <a:lnTo>
                    <a:pt x="37161" y="199530"/>
                  </a:lnTo>
                  <a:lnTo>
                    <a:pt x="37161" y="200228"/>
                  </a:lnTo>
                  <a:lnTo>
                    <a:pt x="37161" y="199530"/>
                  </a:lnTo>
                  <a:lnTo>
                    <a:pt x="37161" y="200228"/>
                  </a:lnTo>
                  <a:lnTo>
                    <a:pt x="37161" y="198831"/>
                  </a:lnTo>
                  <a:lnTo>
                    <a:pt x="37211" y="198831"/>
                  </a:lnTo>
                  <a:lnTo>
                    <a:pt x="37211" y="199530"/>
                  </a:lnTo>
                  <a:lnTo>
                    <a:pt x="37211" y="196799"/>
                  </a:lnTo>
                  <a:lnTo>
                    <a:pt x="37262" y="196799"/>
                  </a:lnTo>
                  <a:lnTo>
                    <a:pt x="37262" y="198831"/>
                  </a:lnTo>
                  <a:lnTo>
                    <a:pt x="37262" y="197447"/>
                  </a:lnTo>
                  <a:lnTo>
                    <a:pt x="37262" y="198831"/>
                  </a:lnTo>
                  <a:lnTo>
                    <a:pt x="37262" y="196113"/>
                  </a:lnTo>
                  <a:lnTo>
                    <a:pt x="37262" y="196799"/>
                  </a:lnTo>
                  <a:lnTo>
                    <a:pt x="37364" y="196799"/>
                  </a:lnTo>
                  <a:lnTo>
                    <a:pt x="37364" y="199530"/>
                  </a:lnTo>
                  <a:lnTo>
                    <a:pt x="37364" y="197447"/>
                  </a:lnTo>
                  <a:lnTo>
                    <a:pt x="37415" y="197447"/>
                  </a:lnTo>
                  <a:lnTo>
                    <a:pt x="37415" y="199530"/>
                  </a:lnTo>
                  <a:lnTo>
                    <a:pt x="37415" y="197447"/>
                  </a:lnTo>
                  <a:lnTo>
                    <a:pt x="37415" y="198831"/>
                  </a:lnTo>
                  <a:lnTo>
                    <a:pt x="37415" y="197447"/>
                  </a:lnTo>
                  <a:lnTo>
                    <a:pt x="37415" y="198831"/>
                  </a:lnTo>
                  <a:lnTo>
                    <a:pt x="37466" y="198831"/>
                  </a:lnTo>
                  <a:lnTo>
                    <a:pt x="37466" y="199530"/>
                  </a:lnTo>
                  <a:lnTo>
                    <a:pt x="37466" y="198831"/>
                  </a:lnTo>
                  <a:lnTo>
                    <a:pt x="37516" y="198831"/>
                  </a:lnTo>
                  <a:lnTo>
                    <a:pt x="37516" y="197447"/>
                  </a:lnTo>
                  <a:lnTo>
                    <a:pt x="37516" y="199530"/>
                  </a:lnTo>
                  <a:lnTo>
                    <a:pt x="37516" y="198831"/>
                  </a:lnTo>
                  <a:lnTo>
                    <a:pt x="37516" y="200228"/>
                  </a:lnTo>
                  <a:lnTo>
                    <a:pt x="37516" y="199530"/>
                  </a:lnTo>
                  <a:lnTo>
                    <a:pt x="37605" y="200228"/>
                  </a:lnTo>
                  <a:lnTo>
                    <a:pt x="37656" y="200228"/>
                  </a:lnTo>
                  <a:lnTo>
                    <a:pt x="37656" y="199530"/>
                  </a:lnTo>
                  <a:lnTo>
                    <a:pt x="37656" y="200228"/>
                  </a:lnTo>
                  <a:lnTo>
                    <a:pt x="37656" y="199530"/>
                  </a:lnTo>
                  <a:lnTo>
                    <a:pt x="37656" y="200228"/>
                  </a:lnTo>
                  <a:lnTo>
                    <a:pt x="37656" y="199530"/>
                  </a:lnTo>
                  <a:lnTo>
                    <a:pt x="37707" y="199530"/>
                  </a:lnTo>
                  <a:lnTo>
                    <a:pt x="37707" y="197447"/>
                  </a:lnTo>
                  <a:lnTo>
                    <a:pt x="37707" y="198831"/>
                  </a:lnTo>
                  <a:lnTo>
                    <a:pt x="37707" y="197447"/>
                  </a:lnTo>
                  <a:lnTo>
                    <a:pt x="37707" y="198831"/>
                  </a:lnTo>
                  <a:lnTo>
                    <a:pt x="37707" y="196799"/>
                  </a:lnTo>
                  <a:lnTo>
                    <a:pt x="37758" y="197447"/>
                  </a:lnTo>
                  <a:lnTo>
                    <a:pt x="37758" y="198831"/>
                  </a:lnTo>
                  <a:lnTo>
                    <a:pt x="37758" y="197447"/>
                  </a:lnTo>
                  <a:lnTo>
                    <a:pt x="37859" y="197447"/>
                  </a:lnTo>
                  <a:lnTo>
                    <a:pt x="37859" y="200228"/>
                  </a:lnTo>
                  <a:lnTo>
                    <a:pt x="37859" y="199530"/>
                  </a:lnTo>
                  <a:lnTo>
                    <a:pt x="37910" y="199530"/>
                  </a:lnTo>
                  <a:lnTo>
                    <a:pt x="37910" y="198831"/>
                  </a:lnTo>
                  <a:lnTo>
                    <a:pt x="37910" y="199530"/>
                  </a:lnTo>
                  <a:lnTo>
                    <a:pt x="38062" y="199530"/>
                  </a:lnTo>
                  <a:lnTo>
                    <a:pt x="38062" y="200228"/>
                  </a:lnTo>
                  <a:lnTo>
                    <a:pt x="38062" y="199530"/>
                  </a:lnTo>
                  <a:lnTo>
                    <a:pt x="38062" y="200228"/>
                  </a:lnTo>
                  <a:lnTo>
                    <a:pt x="38062" y="199530"/>
                  </a:lnTo>
                  <a:lnTo>
                    <a:pt x="38062" y="200228"/>
                  </a:lnTo>
                  <a:lnTo>
                    <a:pt x="38062" y="199530"/>
                  </a:lnTo>
                  <a:lnTo>
                    <a:pt x="38100" y="200228"/>
                  </a:lnTo>
                  <a:lnTo>
                    <a:pt x="38100" y="199530"/>
                  </a:lnTo>
                  <a:lnTo>
                    <a:pt x="38100" y="200228"/>
                  </a:lnTo>
                  <a:lnTo>
                    <a:pt x="38100" y="199530"/>
                  </a:lnTo>
                  <a:lnTo>
                    <a:pt x="38100" y="200228"/>
                  </a:lnTo>
                  <a:lnTo>
                    <a:pt x="38100" y="199530"/>
                  </a:lnTo>
                  <a:lnTo>
                    <a:pt x="38100" y="200228"/>
                  </a:lnTo>
                  <a:lnTo>
                    <a:pt x="38100" y="199530"/>
                  </a:lnTo>
                  <a:lnTo>
                    <a:pt x="38151" y="199530"/>
                  </a:lnTo>
                  <a:lnTo>
                    <a:pt x="38151" y="197447"/>
                  </a:lnTo>
                  <a:lnTo>
                    <a:pt x="38151" y="198831"/>
                  </a:lnTo>
                  <a:lnTo>
                    <a:pt x="38202" y="197447"/>
                  </a:lnTo>
                  <a:lnTo>
                    <a:pt x="38202" y="196799"/>
                  </a:lnTo>
                  <a:lnTo>
                    <a:pt x="38202" y="197447"/>
                  </a:lnTo>
                  <a:lnTo>
                    <a:pt x="38202" y="196799"/>
                  </a:lnTo>
                  <a:lnTo>
                    <a:pt x="38202" y="197447"/>
                  </a:lnTo>
                  <a:lnTo>
                    <a:pt x="38202" y="196799"/>
                  </a:lnTo>
                  <a:lnTo>
                    <a:pt x="38304" y="196799"/>
                  </a:lnTo>
                  <a:lnTo>
                    <a:pt x="38304" y="196113"/>
                  </a:lnTo>
                  <a:lnTo>
                    <a:pt x="38304" y="197447"/>
                  </a:lnTo>
                  <a:lnTo>
                    <a:pt x="38304" y="196799"/>
                  </a:lnTo>
                  <a:lnTo>
                    <a:pt x="38304" y="197447"/>
                  </a:lnTo>
                  <a:lnTo>
                    <a:pt x="38355" y="196799"/>
                  </a:lnTo>
                  <a:lnTo>
                    <a:pt x="38355" y="199530"/>
                  </a:lnTo>
                  <a:lnTo>
                    <a:pt x="38355" y="198831"/>
                  </a:lnTo>
                  <a:lnTo>
                    <a:pt x="38405" y="198831"/>
                  </a:lnTo>
                  <a:lnTo>
                    <a:pt x="38405" y="199530"/>
                  </a:lnTo>
                  <a:lnTo>
                    <a:pt x="38405" y="198831"/>
                  </a:lnTo>
                  <a:lnTo>
                    <a:pt x="38405" y="199530"/>
                  </a:lnTo>
                  <a:lnTo>
                    <a:pt x="38507" y="199530"/>
                  </a:lnTo>
                  <a:lnTo>
                    <a:pt x="38507" y="200228"/>
                  </a:lnTo>
                  <a:lnTo>
                    <a:pt x="38507" y="199530"/>
                  </a:lnTo>
                  <a:lnTo>
                    <a:pt x="38507" y="200228"/>
                  </a:lnTo>
                  <a:lnTo>
                    <a:pt x="38507" y="199530"/>
                  </a:lnTo>
                  <a:lnTo>
                    <a:pt x="38558" y="199530"/>
                  </a:lnTo>
                  <a:lnTo>
                    <a:pt x="38558" y="200228"/>
                  </a:lnTo>
                  <a:lnTo>
                    <a:pt x="38558" y="199530"/>
                  </a:lnTo>
                  <a:lnTo>
                    <a:pt x="38558" y="200228"/>
                  </a:lnTo>
                  <a:lnTo>
                    <a:pt x="38558" y="199530"/>
                  </a:lnTo>
                  <a:lnTo>
                    <a:pt x="38558" y="200228"/>
                  </a:lnTo>
                  <a:lnTo>
                    <a:pt x="38647" y="200228"/>
                  </a:lnTo>
                  <a:lnTo>
                    <a:pt x="38647" y="198831"/>
                  </a:lnTo>
                  <a:lnTo>
                    <a:pt x="38647" y="199530"/>
                  </a:lnTo>
                  <a:lnTo>
                    <a:pt x="38647" y="198831"/>
                  </a:lnTo>
                  <a:lnTo>
                    <a:pt x="38748" y="198831"/>
                  </a:lnTo>
                  <a:lnTo>
                    <a:pt x="38748" y="197447"/>
                  </a:lnTo>
                  <a:lnTo>
                    <a:pt x="38748" y="198831"/>
                  </a:lnTo>
                  <a:lnTo>
                    <a:pt x="38748" y="196799"/>
                  </a:lnTo>
                  <a:lnTo>
                    <a:pt x="38748" y="198831"/>
                  </a:lnTo>
                  <a:lnTo>
                    <a:pt x="38799" y="198831"/>
                  </a:lnTo>
                  <a:lnTo>
                    <a:pt x="38799" y="199530"/>
                  </a:lnTo>
                  <a:lnTo>
                    <a:pt x="38799" y="197447"/>
                  </a:lnTo>
                  <a:lnTo>
                    <a:pt x="38799" y="200228"/>
                  </a:lnTo>
                  <a:lnTo>
                    <a:pt x="38850" y="199530"/>
                  </a:lnTo>
                  <a:lnTo>
                    <a:pt x="38850" y="200228"/>
                  </a:lnTo>
                  <a:lnTo>
                    <a:pt x="38850" y="199530"/>
                  </a:lnTo>
                  <a:lnTo>
                    <a:pt x="38850" y="200228"/>
                  </a:lnTo>
                  <a:lnTo>
                    <a:pt x="38850" y="199530"/>
                  </a:lnTo>
                  <a:lnTo>
                    <a:pt x="38850" y="200228"/>
                  </a:lnTo>
                  <a:lnTo>
                    <a:pt x="38850" y="199530"/>
                  </a:lnTo>
                  <a:lnTo>
                    <a:pt x="38850" y="200876"/>
                  </a:lnTo>
                  <a:lnTo>
                    <a:pt x="38850" y="200228"/>
                  </a:lnTo>
                  <a:lnTo>
                    <a:pt x="38951" y="200228"/>
                  </a:lnTo>
                  <a:lnTo>
                    <a:pt x="38951" y="199530"/>
                  </a:lnTo>
                  <a:lnTo>
                    <a:pt x="38951" y="200228"/>
                  </a:lnTo>
                  <a:lnTo>
                    <a:pt x="38951" y="199530"/>
                  </a:lnTo>
                  <a:lnTo>
                    <a:pt x="38951" y="200876"/>
                  </a:lnTo>
                  <a:lnTo>
                    <a:pt x="39002" y="200228"/>
                  </a:lnTo>
                  <a:lnTo>
                    <a:pt x="39002" y="200876"/>
                  </a:lnTo>
                  <a:lnTo>
                    <a:pt x="39002" y="200228"/>
                  </a:lnTo>
                  <a:lnTo>
                    <a:pt x="39002" y="200876"/>
                  </a:lnTo>
                  <a:lnTo>
                    <a:pt x="39002" y="200228"/>
                  </a:lnTo>
                  <a:lnTo>
                    <a:pt x="39002" y="200876"/>
                  </a:lnTo>
                  <a:lnTo>
                    <a:pt x="39002" y="200228"/>
                  </a:lnTo>
                  <a:lnTo>
                    <a:pt x="39053" y="200876"/>
                  </a:lnTo>
                  <a:lnTo>
                    <a:pt x="39053" y="200228"/>
                  </a:lnTo>
                  <a:lnTo>
                    <a:pt x="39053" y="200876"/>
                  </a:lnTo>
                  <a:lnTo>
                    <a:pt x="39053" y="200228"/>
                  </a:lnTo>
                  <a:lnTo>
                    <a:pt x="39053" y="200876"/>
                  </a:lnTo>
                  <a:lnTo>
                    <a:pt x="39053" y="200228"/>
                  </a:lnTo>
                  <a:lnTo>
                    <a:pt x="39053" y="200876"/>
                  </a:lnTo>
                  <a:lnTo>
                    <a:pt x="39053" y="200228"/>
                  </a:lnTo>
                  <a:lnTo>
                    <a:pt x="39104" y="200228"/>
                  </a:lnTo>
                  <a:lnTo>
                    <a:pt x="39104" y="200876"/>
                  </a:lnTo>
                  <a:lnTo>
                    <a:pt x="39104" y="199530"/>
                  </a:lnTo>
                  <a:lnTo>
                    <a:pt x="39193" y="199530"/>
                  </a:lnTo>
                  <a:lnTo>
                    <a:pt x="39193" y="197447"/>
                  </a:lnTo>
                  <a:lnTo>
                    <a:pt x="39193" y="198831"/>
                  </a:lnTo>
                  <a:lnTo>
                    <a:pt x="39193" y="197447"/>
                  </a:lnTo>
                  <a:lnTo>
                    <a:pt x="39243" y="197447"/>
                  </a:lnTo>
                  <a:lnTo>
                    <a:pt x="39243" y="198831"/>
                  </a:lnTo>
                  <a:lnTo>
                    <a:pt x="39243" y="194716"/>
                  </a:lnTo>
                  <a:lnTo>
                    <a:pt x="39243" y="195415"/>
                  </a:lnTo>
                  <a:lnTo>
                    <a:pt x="39294" y="195415"/>
                  </a:lnTo>
                  <a:lnTo>
                    <a:pt x="39294" y="197447"/>
                  </a:lnTo>
                  <a:lnTo>
                    <a:pt x="39294" y="195415"/>
                  </a:lnTo>
                  <a:lnTo>
                    <a:pt x="39294" y="196799"/>
                  </a:lnTo>
                  <a:lnTo>
                    <a:pt x="39345" y="197447"/>
                  </a:lnTo>
                  <a:lnTo>
                    <a:pt x="39345" y="198831"/>
                  </a:lnTo>
                  <a:lnTo>
                    <a:pt x="39345" y="196799"/>
                  </a:lnTo>
                  <a:lnTo>
                    <a:pt x="39345" y="198831"/>
                  </a:lnTo>
                  <a:lnTo>
                    <a:pt x="39447" y="198831"/>
                  </a:lnTo>
                  <a:lnTo>
                    <a:pt x="39447" y="199530"/>
                  </a:lnTo>
                  <a:lnTo>
                    <a:pt x="39447" y="197447"/>
                  </a:lnTo>
                  <a:lnTo>
                    <a:pt x="39447" y="199530"/>
                  </a:lnTo>
                  <a:lnTo>
                    <a:pt x="39498" y="200228"/>
                  </a:lnTo>
                  <a:lnTo>
                    <a:pt x="39498" y="199530"/>
                  </a:lnTo>
                  <a:lnTo>
                    <a:pt x="39498" y="200228"/>
                  </a:lnTo>
                  <a:lnTo>
                    <a:pt x="39548" y="200228"/>
                  </a:lnTo>
                  <a:lnTo>
                    <a:pt x="39548" y="200876"/>
                  </a:lnTo>
                  <a:lnTo>
                    <a:pt x="39650" y="200228"/>
                  </a:lnTo>
                  <a:lnTo>
                    <a:pt x="39650" y="202260"/>
                  </a:lnTo>
                  <a:lnTo>
                    <a:pt x="39650" y="200228"/>
                  </a:lnTo>
                  <a:lnTo>
                    <a:pt x="39688" y="200228"/>
                  </a:lnTo>
                  <a:lnTo>
                    <a:pt x="39688" y="200876"/>
                  </a:lnTo>
                  <a:lnTo>
                    <a:pt x="39688" y="199530"/>
                  </a:lnTo>
                  <a:lnTo>
                    <a:pt x="39739" y="199530"/>
                  </a:lnTo>
                  <a:lnTo>
                    <a:pt x="39739" y="198831"/>
                  </a:lnTo>
                  <a:lnTo>
                    <a:pt x="39739" y="199530"/>
                  </a:lnTo>
                  <a:lnTo>
                    <a:pt x="39739" y="196113"/>
                  </a:lnTo>
                  <a:lnTo>
                    <a:pt x="39739" y="197447"/>
                  </a:lnTo>
                  <a:lnTo>
                    <a:pt x="39790" y="197447"/>
                  </a:lnTo>
                  <a:lnTo>
                    <a:pt x="39790" y="198831"/>
                  </a:lnTo>
                  <a:lnTo>
                    <a:pt x="39790" y="195415"/>
                  </a:lnTo>
                  <a:lnTo>
                    <a:pt x="39790" y="198831"/>
                  </a:lnTo>
                  <a:lnTo>
                    <a:pt x="39891" y="198831"/>
                  </a:lnTo>
                  <a:lnTo>
                    <a:pt x="39891" y="196799"/>
                  </a:lnTo>
                  <a:lnTo>
                    <a:pt x="39891" y="198831"/>
                  </a:lnTo>
                  <a:lnTo>
                    <a:pt x="39942" y="198831"/>
                  </a:lnTo>
                  <a:lnTo>
                    <a:pt x="39942" y="197447"/>
                  </a:lnTo>
                  <a:lnTo>
                    <a:pt x="39942" y="199530"/>
                  </a:lnTo>
                  <a:lnTo>
                    <a:pt x="39942" y="198831"/>
                  </a:lnTo>
                  <a:lnTo>
                    <a:pt x="39942" y="199530"/>
                  </a:lnTo>
                  <a:lnTo>
                    <a:pt x="39942" y="198831"/>
                  </a:lnTo>
                  <a:lnTo>
                    <a:pt x="39993" y="198831"/>
                  </a:lnTo>
                  <a:lnTo>
                    <a:pt x="39993" y="199530"/>
                  </a:lnTo>
                  <a:lnTo>
                    <a:pt x="39993" y="198831"/>
                  </a:lnTo>
                  <a:lnTo>
                    <a:pt x="39993" y="199530"/>
                  </a:lnTo>
                  <a:lnTo>
                    <a:pt x="40094" y="199530"/>
                  </a:lnTo>
                  <a:lnTo>
                    <a:pt x="40094" y="200228"/>
                  </a:lnTo>
                  <a:lnTo>
                    <a:pt x="40094" y="199530"/>
                  </a:lnTo>
                  <a:lnTo>
                    <a:pt x="40094" y="200228"/>
                  </a:lnTo>
                  <a:lnTo>
                    <a:pt x="40094" y="199530"/>
                  </a:lnTo>
                  <a:lnTo>
                    <a:pt x="40094" y="200228"/>
                  </a:lnTo>
                  <a:lnTo>
                    <a:pt x="40145" y="200228"/>
                  </a:lnTo>
                  <a:lnTo>
                    <a:pt x="40145" y="200876"/>
                  </a:lnTo>
                  <a:lnTo>
                    <a:pt x="40145" y="200228"/>
                  </a:lnTo>
                  <a:lnTo>
                    <a:pt x="40196" y="199530"/>
                  </a:lnTo>
                  <a:lnTo>
                    <a:pt x="40196" y="200228"/>
                  </a:lnTo>
                  <a:lnTo>
                    <a:pt x="40196" y="198831"/>
                  </a:lnTo>
                  <a:lnTo>
                    <a:pt x="40196" y="199530"/>
                  </a:lnTo>
                  <a:lnTo>
                    <a:pt x="40196" y="198831"/>
                  </a:lnTo>
                  <a:lnTo>
                    <a:pt x="40234" y="198831"/>
                  </a:lnTo>
                  <a:lnTo>
                    <a:pt x="40234" y="197447"/>
                  </a:lnTo>
                  <a:lnTo>
                    <a:pt x="40234" y="199530"/>
                  </a:lnTo>
                  <a:lnTo>
                    <a:pt x="40336" y="198831"/>
                  </a:lnTo>
                  <a:lnTo>
                    <a:pt x="40336" y="196799"/>
                  </a:lnTo>
                  <a:lnTo>
                    <a:pt x="40336" y="200228"/>
                  </a:lnTo>
                  <a:lnTo>
                    <a:pt x="40386" y="199530"/>
                  </a:lnTo>
                  <a:lnTo>
                    <a:pt x="40386" y="198831"/>
                  </a:lnTo>
                  <a:lnTo>
                    <a:pt x="40386" y="200228"/>
                  </a:lnTo>
                  <a:lnTo>
                    <a:pt x="40386" y="199530"/>
                  </a:lnTo>
                  <a:lnTo>
                    <a:pt x="40437" y="199530"/>
                  </a:lnTo>
                  <a:lnTo>
                    <a:pt x="40437" y="200228"/>
                  </a:lnTo>
                  <a:lnTo>
                    <a:pt x="40437" y="199530"/>
                  </a:lnTo>
                  <a:lnTo>
                    <a:pt x="40437" y="200228"/>
                  </a:lnTo>
                  <a:lnTo>
                    <a:pt x="40437" y="199530"/>
                  </a:lnTo>
                  <a:lnTo>
                    <a:pt x="40437" y="200228"/>
                  </a:lnTo>
                  <a:lnTo>
                    <a:pt x="40539" y="200228"/>
                  </a:lnTo>
                  <a:lnTo>
                    <a:pt x="40539" y="199530"/>
                  </a:lnTo>
                  <a:lnTo>
                    <a:pt x="40539" y="200228"/>
                  </a:lnTo>
                  <a:lnTo>
                    <a:pt x="40590" y="200228"/>
                  </a:lnTo>
                  <a:lnTo>
                    <a:pt x="40590" y="200876"/>
                  </a:lnTo>
                  <a:lnTo>
                    <a:pt x="40590" y="200228"/>
                  </a:lnTo>
                  <a:lnTo>
                    <a:pt x="40590" y="200876"/>
                  </a:lnTo>
                  <a:lnTo>
                    <a:pt x="40590" y="200228"/>
                  </a:lnTo>
                  <a:lnTo>
                    <a:pt x="40641" y="200228"/>
                  </a:lnTo>
                  <a:lnTo>
                    <a:pt x="40641" y="200876"/>
                  </a:lnTo>
                  <a:lnTo>
                    <a:pt x="40641" y="200228"/>
                  </a:lnTo>
                  <a:lnTo>
                    <a:pt x="40641" y="200876"/>
                  </a:lnTo>
                  <a:lnTo>
                    <a:pt x="40641" y="200228"/>
                  </a:lnTo>
                  <a:lnTo>
                    <a:pt x="40641" y="200876"/>
                  </a:lnTo>
                  <a:lnTo>
                    <a:pt x="40641" y="200228"/>
                  </a:lnTo>
                  <a:lnTo>
                    <a:pt x="40641" y="200876"/>
                  </a:lnTo>
                  <a:lnTo>
                    <a:pt x="40641" y="200228"/>
                  </a:lnTo>
                  <a:lnTo>
                    <a:pt x="40691" y="200228"/>
                  </a:lnTo>
                  <a:lnTo>
                    <a:pt x="40691" y="200876"/>
                  </a:lnTo>
                  <a:lnTo>
                    <a:pt x="40691" y="198831"/>
                  </a:lnTo>
                  <a:lnTo>
                    <a:pt x="40691" y="199530"/>
                  </a:lnTo>
                  <a:lnTo>
                    <a:pt x="40780" y="199530"/>
                  </a:lnTo>
                  <a:lnTo>
                    <a:pt x="40780" y="200228"/>
                  </a:lnTo>
                  <a:lnTo>
                    <a:pt x="40780" y="199530"/>
                  </a:lnTo>
                  <a:lnTo>
                    <a:pt x="40780" y="200228"/>
                  </a:lnTo>
                  <a:lnTo>
                    <a:pt x="40780" y="199530"/>
                  </a:lnTo>
                  <a:lnTo>
                    <a:pt x="40780" y="200228"/>
                  </a:lnTo>
                  <a:lnTo>
                    <a:pt x="40831" y="200876"/>
                  </a:lnTo>
                  <a:lnTo>
                    <a:pt x="40831" y="202260"/>
                  </a:lnTo>
                  <a:lnTo>
                    <a:pt x="40831" y="200876"/>
                  </a:lnTo>
                  <a:lnTo>
                    <a:pt x="40882" y="202260"/>
                  </a:lnTo>
                  <a:lnTo>
                    <a:pt x="40882" y="202959"/>
                  </a:lnTo>
                  <a:lnTo>
                    <a:pt x="40882" y="202260"/>
                  </a:lnTo>
                  <a:lnTo>
                    <a:pt x="40882" y="202959"/>
                  </a:lnTo>
                  <a:lnTo>
                    <a:pt x="40882" y="202260"/>
                  </a:lnTo>
                  <a:lnTo>
                    <a:pt x="40933" y="202260"/>
                  </a:lnTo>
                  <a:lnTo>
                    <a:pt x="40933" y="200876"/>
                  </a:lnTo>
                  <a:lnTo>
                    <a:pt x="41034" y="200876"/>
                  </a:lnTo>
                  <a:lnTo>
                    <a:pt x="41034" y="202959"/>
                  </a:lnTo>
                  <a:lnTo>
                    <a:pt x="41034" y="200876"/>
                  </a:lnTo>
                  <a:lnTo>
                    <a:pt x="41034" y="202260"/>
                  </a:lnTo>
                  <a:lnTo>
                    <a:pt x="41034" y="200876"/>
                  </a:lnTo>
                  <a:lnTo>
                    <a:pt x="41034" y="202260"/>
                  </a:lnTo>
                  <a:lnTo>
                    <a:pt x="41034" y="200876"/>
                  </a:lnTo>
                  <a:lnTo>
                    <a:pt x="41034" y="202260"/>
                  </a:lnTo>
                  <a:lnTo>
                    <a:pt x="41034" y="200876"/>
                  </a:lnTo>
                  <a:lnTo>
                    <a:pt x="41085" y="200876"/>
                  </a:lnTo>
                  <a:lnTo>
                    <a:pt x="41085" y="202260"/>
                  </a:lnTo>
                  <a:lnTo>
                    <a:pt x="41085" y="200876"/>
                  </a:lnTo>
                  <a:lnTo>
                    <a:pt x="41085" y="202260"/>
                  </a:lnTo>
                  <a:lnTo>
                    <a:pt x="41085" y="200876"/>
                  </a:lnTo>
                  <a:lnTo>
                    <a:pt x="41136" y="200876"/>
                  </a:lnTo>
                  <a:lnTo>
                    <a:pt x="41136" y="199530"/>
                  </a:lnTo>
                  <a:lnTo>
                    <a:pt x="41237" y="198831"/>
                  </a:lnTo>
                  <a:lnTo>
                    <a:pt x="41237" y="197447"/>
                  </a:lnTo>
                  <a:lnTo>
                    <a:pt x="41237" y="198831"/>
                  </a:lnTo>
                  <a:lnTo>
                    <a:pt x="41237" y="197447"/>
                  </a:lnTo>
                  <a:lnTo>
                    <a:pt x="41237" y="198831"/>
                  </a:lnTo>
                  <a:lnTo>
                    <a:pt x="41237" y="197447"/>
                  </a:lnTo>
                  <a:lnTo>
                    <a:pt x="41237" y="198831"/>
                  </a:lnTo>
                  <a:lnTo>
                    <a:pt x="41275" y="198831"/>
                  </a:lnTo>
                  <a:lnTo>
                    <a:pt x="41275" y="199530"/>
                  </a:lnTo>
                  <a:lnTo>
                    <a:pt x="41275" y="198831"/>
                  </a:lnTo>
                  <a:lnTo>
                    <a:pt x="41275" y="199530"/>
                  </a:lnTo>
                  <a:lnTo>
                    <a:pt x="41275" y="198831"/>
                  </a:lnTo>
                  <a:lnTo>
                    <a:pt x="41275" y="200228"/>
                  </a:lnTo>
                  <a:lnTo>
                    <a:pt x="41326" y="200876"/>
                  </a:lnTo>
                  <a:lnTo>
                    <a:pt x="41326" y="200228"/>
                  </a:lnTo>
                  <a:lnTo>
                    <a:pt x="41326" y="202260"/>
                  </a:lnTo>
                  <a:lnTo>
                    <a:pt x="41377" y="202260"/>
                  </a:lnTo>
                  <a:lnTo>
                    <a:pt x="41377" y="200876"/>
                  </a:lnTo>
                  <a:lnTo>
                    <a:pt x="41377" y="202260"/>
                  </a:lnTo>
                  <a:lnTo>
                    <a:pt x="41377" y="200876"/>
                  </a:lnTo>
                  <a:lnTo>
                    <a:pt x="41377" y="202260"/>
                  </a:lnTo>
                  <a:lnTo>
                    <a:pt x="41479" y="202260"/>
                  </a:lnTo>
                  <a:lnTo>
                    <a:pt x="41479" y="200876"/>
                  </a:lnTo>
                  <a:lnTo>
                    <a:pt x="41479" y="202260"/>
                  </a:lnTo>
                  <a:lnTo>
                    <a:pt x="41530" y="202260"/>
                  </a:lnTo>
                  <a:lnTo>
                    <a:pt x="41530" y="200876"/>
                  </a:lnTo>
                  <a:lnTo>
                    <a:pt x="41530" y="202260"/>
                  </a:lnTo>
                  <a:lnTo>
                    <a:pt x="41580" y="202260"/>
                  </a:lnTo>
                  <a:lnTo>
                    <a:pt x="41580" y="200876"/>
                  </a:lnTo>
                  <a:lnTo>
                    <a:pt x="41580" y="202260"/>
                  </a:lnTo>
                  <a:lnTo>
                    <a:pt x="41580" y="200876"/>
                  </a:lnTo>
                  <a:lnTo>
                    <a:pt x="41580" y="202260"/>
                  </a:lnTo>
                  <a:lnTo>
                    <a:pt x="41580" y="200876"/>
                  </a:lnTo>
                  <a:lnTo>
                    <a:pt x="41682" y="202260"/>
                  </a:lnTo>
                  <a:lnTo>
                    <a:pt x="41682" y="199530"/>
                  </a:lnTo>
                  <a:lnTo>
                    <a:pt x="41682" y="200228"/>
                  </a:lnTo>
                  <a:lnTo>
                    <a:pt x="41682" y="199530"/>
                  </a:lnTo>
                  <a:lnTo>
                    <a:pt x="41733" y="199530"/>
                  </a:lnTo>
                  <a:lnTo>
                    <a:pt x="41733" y="197447"/>
                  </a:lnTo>
                  <a:lnTo>
                    <a:pt x="41733" y="199530"/>
                  </a:lnTo>
                  <a:lnTo>
                    <a:pt x="41733" y="198831"/>
                  </a:lnTo>
                  <a:lnTo>
                    <a:pt x="41784" y="198831"/>
                  </a:lnTo>
                  <a:lnTo>
                    <a:pt x="41784" y="200876"/>
                  </a:lnTo>
                  <a:lnTo>
                    <a:pt x="41784" y="200228"/>
                  </a:lnTo>
                  <a:lnTo>
                    <a:pt x="41822" y="200228"/>
                  </a:lnTo>
                  <a:lnTo>
                    <a:pt x="41822" y="202260"/>
                  </a:lnTo>
                  <a:lnTo>
                    <a:pt x="41822" y="200876"/>
                  </a:lnTo>
                  <a:lnTo>
                    <a:pt x="41923" y="200876"/>
                  </a:lnTo>
                  <a:lnTo>
                    <a:pt x="41923" y="202260"/>
                  </a:lnTo>
                  <a:lnTo>
                    <a:pt x="41923" y="200876"/>
                  </a:lnTo>
                  <a:lnTo>
                    <a:pt x="41974" y="202260"/>
                  </a:lnTo>
                  <a:lnTo>
                    <a:pt x="41974" y="200876"/>
                  </a:lnTo>
                  <a:lnTo>
                    <a:pt x="41974" y="202959"/>
                  </a:lnTo>
                  <a:lnTo>
                    <a:pt x="41974" y="202260"/>
                  </a:lnTo>
                  <a:lnTo>
                    <a:pt x="42025" y="202260"/>
                  </a:lnTo>
                  <a:lnTo>
                    <a:pt x="42025" y="202959"/>
                  </a:lnTo>
                  <a:lnTo>
                    <a:pt x="42025" y="202260"/>
                  </a:lnTo>
                  <a:lnTo>
                    <a:pt x="42025" y="202959"/>
                  </a:lnTo>
                  <a:lnTo>
                    <a:pt x="42025" y="202260"/>
                  </a:lnTo>
                  <a:lnTo>
                    <a:pt x="42126" y="202260"/>
                  </a:lnTo>
                  <a:lnTo>
                    <a:pt x="42126" y="200876"/>
                  </a:lnTo>
                  <a:lnTo>
                    <a:pt x="42126" y="202260"/>
                  </a:lnTo>
                  <a:lnTo>
                    <a:pt x="42126" y="200228"/>
                  </a:lnTo>
                  <a:lnTo>
                    <a:pt x="42177" y="200876"/>
                  </a:lnTo>
                  <a:lnTo>
                    <a:pt x="42177" y="199530"/>
                  </a:lnTo>
                  <a:lnTo>
                    <a:pt x="42177" y="200228"/>
                  </a:lnTo>
                  <a:lnTo>
                    <a:pt x="42177" y="197447"/>
                  </a:lnTo>
                  <a:lnTo>
                    <a:pt x="42228" y="197447"/>
                  </a:lnTo>
                  <a:lnTo>
                    <a:pt x="42228" y="200876"/>
                  </a:lnTo>
                  <a:lnTo>
                    <a:pt x="42228" y="198831"/>
                  </a:lnTo>
                  <a:lnTo>
                    <a:pt x="42228" y="199530"/>
                  </a:lnTo>
                  <a:lnTo>
                    <a:pt x="42279" y="200228"/>
                  </a:lnTo>
                  <a:lnTo>
                    <a:pt x="42279" y="202260"/>
                  </a:lnTo>
                  <a:lnTo>
                    <a:pt x="42279" y="200228"/>
                  </a:lnTo>
                  <a:lnTo>
                    <a:pt x="42279" y="200876"/>
                  </a:lnTo>
                  <a:lnTo>
                    <a:pt x="42368" y="202260"/>
                  </a:lnTo>
                  <a:lnTo>
                    <a:pt x="42368" y="200876"/>
                  </a:lnTo>
                  <a:lnTo>
                    <a:pt x="42368" y="202260"/>
                  </a:lnTo>
                  <a:lnTo>
                    <a:pt x="42368" y="200876"/>
                  </a:lnTo>
                  <a:lnTo>
                    <a:pt x="42368" y="202260"/>
                  </a:lnTo>
                  <a:lnTo>
                    <a:pt x="42368" y="200228"/>
                  </a:lnTo>
                  <a:lnTo>
                    <a:pt x="42368" y="200876"/>
                  </a:lnTo>
                  <a:lnTo>
                    <a:pt x="42418" y="200876"/>
                  </a:lnTo>
                  <a:lnTo>
                    <a:pt x="42418" y="202260"/>
                  </a:lnTo>
                  <a:lnTo>
                    <a:pt x="42418" y="200876"/>
                  </a:lnTo>
                  <a:lnTo>
                    <a:pt x="42418" y="202260"/>
                  </a:lnTo>
                  <a:lnTo>
                    <a:pt x="42418" y="200876"/>
                  </a:lnTo>
                  <a:lnTo>
                    <a:pt x="42418" y="202260"/>
                  </a:lnTo>
                  <a:lnTo>
                    <a:pt x="42469" y="202260"/>
                  </a:lnTo>
                  <a:lnTo>
                    <a:pt x="42469" y="202959"/>
                  </a:lnTo>
                  <a:lnTo>
                    <a:pt x="42520" y="202959"/>
                  </a:lnTo>
                  <a:lnTo>
                    <a:pt x="42520" y="202260"/>
                  </a:lnTo>
                  <a:lnTo>
                    <a:pt x="42520" y="202959"/>
                  </a:lnTo>
                  <a:lnTo>
                    <a:pt x="42520" y="202260"/>
                  </a:lnTo>
                  <a:lnTo>
                    <a:pt x="42520" y="202959"/>
                  </a:lnTo>
                  <a:lnTo>
                    <a:pt x="42520" y="202260"/>
                  </a:lnTo>
                  <a:lnTo>
                    <a:pt x="42520" y="202959"/>
                  </a:lnTo>
                  <a:lnTo>
                    <a:pt x="42520" y="202260"/>
                  </a:lnTo>
                  <a:lnTo>
                    <a:pt x="42622" y="202260"/>
                  </a:lnTo>
                  <a:lnTo>
                    <a:pt x="42622" y="200876"/>
                  </a:lnTo>
                  <a:lnTo>
                    <a:pt x="42622" y="202260"/>
                  </a:lnTo>
                  <a:lnTo>
                    <a:pt x="42622" y="200876"/>
                  </a:lnTo>
                  <a:lnTo>
                    <a:pt x="42622" y="202260"/>
                  </a:lnTo>
                  <a:lnTo>
                    <a:pt x="42622" y="200228"/>
                  </a:lnTo>
                  <a:lnTo>
                    <a:pt x="42673" y="200228"/>
                  </a:lnTo>
                  <a:lnTo>
                    <a:pt x="42673" y="198831"/>
                  </a:lnTo>
                  <a:lnTo>
                    <a:pt x="42673" y="199530"/>
                  </a:lnTo>
                  <a:lnTo>
                    <a:pt x="42673" y="198831"/>
                  </a:lnTo>
                  <a:lnTo>
                    <a:pt x="42673" y="200228"/>
                  </a:lnTo>
                  <a:lnTo>
                    <a:pt x="42723" y="200228"/>
                  </a:lnTo>
                  <a:lnTo>
                    <a:pt x="42723" y="200876"/>
                  </a:lnTo>
                  <a:lnTo>
                    <a:pt x="42723" y="198831"/>
                  </a:lnTo>
                  <a:lnTo>
                    <a:pt x="42723" y="202959"/>
                  </a:lnTo>
                  <a:lnTo>
                    <a:pt x="42723" y="202260"/>
                  </a:lnTo>
                  <a:lnTo>
                    <a:pt x="42825" y="202260"/>
                  </a:lnTo>
                  <a:lnTo>
                    <a:pt x="42825" y="200228"/>
                  </a:lnTo>
                  <a:lnTo>
                    <a:pt x="42825" y="202959"/>
                  </a:lnTo>
                  <a:lnTo>
                    <a:pt x="42825" y="202260"/>
                  </a:lnTo>
                  <a:lnTo>
                    <a:pt x="42863" y="202260"/>
                  </a:lnTo>
                  <a:lnTo>
                    <a:pt x="42863" y="200228"/>
                  </a:lnTo>
                  <a:lnTo>
                    <a:pt x="42863" y="202260"/>
                  </a:lnTo>
                  <a:lnTo>
                    <a:pt x="42863" y="200876"/>
                  </a:lnTo>
                  <a:lnTo>
                    <a:pt x="42863" y="202260"/>
                  </a:lnTo>
                  <a:lnTo>
                    <a:pt x="42863" y="200876"/>
                  </a:lnTo>
                  <a:lnTo>
                    <a:pt x="42914" y="200876"/>
                  </a:lnTo>
                  <a:lnTo>
                    <a:pt x="42914" y="202260"/>
                  </a:lnTo>
                  <a:lnTo>
                    <a:pt x="42914" y="200876"/>
                  </a:lnTo>
                  <a:lnTo>
                    <a:pt x="42914" y="202260"/>
                  </a:lnTo>
                  <a:lnTo>
                    <a:pt x="42914" y="200876"/>
                  </a:lnTo>
                  <a:lnTo>
                    <a:pt x="42914" y="202260"/>
                  </a:lnTo>
                  <a:lnTo>
                    <a:pt x="42914" y="200876"/>
                  </a:lnTo>
                  <a:lnTo>
                    <a:pt x="42914" y="202260"/>
                  </a:lnTo>
                  <a:lnTo>
                    <a:pt x="42914" y="200876"/>
                  </a:lnTo>
                  <a:lnTo>
                    <a:pt x="42965" y="200876"/>
                  </a:lnTo>
                  <a:lnTo>
                    <a:pt x="42965" y="202260"/>
                  </a:lnTo>
                  <a:lnTo>
                    <a:pt x="42965" y="200876"/>
                  </a:lnTo>
                  <a:lnTo>
                    <a:pt x="42965" y="202260"/>
                  </a:lnTo>
                  <a:lnTo>
                    <a:pt x="43066" y="202260"/>
                  </a:lnTo>
                  <a:lnTo>
                    <a:pt x="43066" y="200876"/>
                  </a:lnTo>
                  <a:lnTo>
                    <a:pt x="43066" y="202260"/>
                  </a:lnTo>
                  <a:lnTo>
                    <a:pt x="43066" y="200876"/>
                  </a:lnTo>
                  <a:lnTo>
                    <a:pt x="43066" y="202260"/>
                  </a:lnTo>
                  <a:lnTo>
                    <a:pt x="43066" y="200876"/>
                  </a:lnTo>
                  <a:lnTo>
                    <a:pt x="43117" y="200876"/>
                  </a:lnTo>
                  <a:lnTo>
                    <a:pt x="43117" y="200228"/>
                  </a:lnTo>
                  <a:lnTo>
                    <a:pt x="43117" y="200876"/>
                  </a:lnTo>
                  <a:lnTo>
                    <a:pt x="43117" y="199530"/>
                  </a:lnTo>
                  <a:lnTo>
                    <a:pt x="43168" y="199530"/>
                  </a:lnTo>
                  <a:lnTo>
                    <a:pt x="43168" y="198831"/>
                  </a:lnTo>
                  <a:lnTo>
                    <a:pt x="43168" y="200228"/>
                  </a:lnTo>
                  <a:lnTo>
                    <a:pt x="43168" y="199530"/>
                  </a:lnTo>
                  <a:lnTo>
                    <a:pt x="43168" y="200228"/>
                  </a:lnTo>
                  <a:lnTo>
                    <a:pt x="43168" y="199530"/>
                  </a:lnTo>
                  <a:lnTo>
                    <a:pt x="43269" y="198831"/>
                  </a:lnTo>
                  <a:lnTo>
                    <a:pt x="43269" y="202959"/>
                  </a:lnTo>
                  <a:lnTo>
                    <a:pt x="43269" y="200228"/>
                  </a:lnTo>
                  <a:lnTo>
                    <a:pt x="43320" y="200228"/>
                  </a:lnTo>
                  <a:lnTo>
                    <a:pt x="43320" y="202260"/>
                  </a:lnTo>
                  <a:lnTo>
                    <a:pt x="43320" y="200876"/>
                  </a:lnTo>
                  <a:lnTo>
                    <a:pt x="43371" y="200876"/>
                  </a:lnTo>
                  <a:lnTo>
                    <a:pt x="43371" y="202260"/>
                  </a:lnTo>
                  <a:lnTo>
                    <a:pt x="43371" y="200876"/>
                  </a:lnTo>
                  <a:lnTo>
                    <a:pt x="43371" y="202959"/>
                  </a:lnTo>
                  <a:lnTo>
                    <a:pt x="43371" y="200876"/>
                  </a:lnTo>
                  <a:lnTo>
                    <a:pt x="43409" y="202260"/>
                  </a:lnTo>
                  <a:lnTo>
                    <a:pt x="43409" y="200876"/>
                  </a:lnTo>
                  <a:lnTo>
                    <a:pt x="43409" y="202260"/>
                  </a:lnTo>
                  <a:lnTo>
                    <a:pt x="43511" y="202260"/>
                  </a:lnTo>
                  <a:lnTo>
                    <a:pt x="43511" y="202959"/>
                  </a:lnTo>
                  <a:lnTo>
                    <a:pt x="43511" y="202260"/>
                  </a:lnTo>
                  <a:lnTo>
                    <a:pt x="43511" y="202959"/>
                  </a:lnTo>
                  <a:lnTo>
                    <a:pt x="43511" y="202260"/>
                  </a:lnTo>
                  <a:lnTo>
                    <a:pt x="43511" y="202959"/>
                  </a:lnTo>
                  <a:lnTo>
                    <a:pt x="43511" y="202260"/>
                  </a:lnTo>
                  <a:lnTo>
                    <a:pt x="43561" y="202260"/>
                  </a:lnTo>
                  <a:lnTo>
                    <a:pt x="43561" y="200876"/>
                  </a:lnTo>
                  <a:lnTo>
                    <a:pt x="43561" y="202260"/>
                  </a:lnTo>
                  <a:lnTo>
                    <a:pt x="43561" y="200876"/>
                  </a:lnTo>
                  <a:lnTo>
                    <a:pt x="43561" y="202260"/>
                  </a:lnTo>
                  <a:lnTo>
                    <a:pt x="43561" y="200228"/>
                  </a:lnTo>
                  <a:lnTo>
                    <a:pt x="43561" y="200876"/>
                  </a:lnTo>
                  <a:lnTo>
                    <a:pt x="43612" y="200876"/>
                  </a:lnTo>
                  <a:lnTo>
                    <a:pt x="43612" y="198831"/>
                  </a:lnTo>
                  <a:lnTo>
                    <a:pt x="43612" y="199530"/>
                  </a:lnTo>
                  <a:lnTo>
                    <a:pt x="43714" y="198831"/>
                  </a:lnTo>
                  <a:lnTo>
                    <a:pt x="43714" y="199530"/>
                  </a:lnTo>
                  <a:lnTo>
                    <a:pt x="43714" y="197447"/>
                  </a:lnTo>
                  <a:lnTo>
                    <a:pt x="43714" y="198831"/>
                  </a:lnTo>
                  <a:lnTo>
                    <a:pt x="43765" y="198831"/>
                  </a:lnTo>
                  <a:lnTo>
                    <a:pt x="43765" y="202260"/>
                  </a:lnTo>
                  <a:lnTo>
                    <a:pt x="43765" y="200228"/>
                  </a:lnTo>
                  <a:lnTo>
                    <a:pt x="43765" y="200876"/>
                  </a:lnTo>
                  <a:lnTo>
                    <a:pt x="43816" y="200228"/>
                  </a:lnTo>
                  <a:lnTo>
                    <a:pt x="43816" y="200876"/>
                  </a:lnTo>
                  <a:lnTo>
                    <a:pt x="43816" y="200228"/>
                  </a:lnTo>
                  <a:lnTo>
                    <a:pt x="43866" y="200876"/>
                  </a:lnTo>
                  <a:lnTo>
                    <a:pt x="43866" y="200228"/>
                  </a:lnTo>
                  <a:lnTo>
                    <a:pt x="43866" y="202260"/>
                  </a:lnTo>
                  <a:lnTo>
                    <a:pt x="43866" y="200876"/>
                  </a:lnTo>
                  <a:lnTo>
                    <a:pt x="43955" y="200876"/>
                  </a:lnTo>
                  <a:lnTo>
                    <a:pt x="43955" y="202260"/>
                  </a:lnTo>
                  <a:lnTo>
                    <a:pt x="43955" y="200876"/>
                  </a:lnTo>
                  <a:lnTo>
                    <a:pt x="44006" y="202260"/>
                  </a:lnTo>
                  <a:lnTo>
                    <a:pt x="44006" y="200876"/>
                  </a:lnTo>
                  <a:lnTo>
                    <a:pt x="44006" y="202260"/>
                  </a:lnTo>
                  <a:lnTo>
                    <a:pt x="44006" y="200876"/>
                  </a:lnTo>
                  <a:lnTo>
                    <a:pt x="44006" y="202260"/>
                  </a:lnTo>
                  <a:lnTo>
                    <a:pt x="44006" y="200876"/>
                  </a:lnTo>
                  <a:lnTo>
                    <a:pt x="44057" y="200876"/>
                  </a:lnTo>
                  <a:lnTo>
                    <a:pt x="44057" y="202260"/>
                  </a:lnTo>
                  <a:lnTo>
                    <a:pt x="44057" y="199530"/>
                  </a:lnTo>
                  <a:lnTo>
                    <a:pt x="44108" y="200228"/>
                  </a:lnTo>
                  <a:lnTo>
                    <a:pt x="44108" y="199530"/>
                  </a:lnTo>
                  <a:lnTo>
                    <a:pt x="44108" y="200228"/>
                  </a:lnTo>
                  <a:lnTo>
                    <a:pt x="44108" y="197447"/>
                  </a:lnTo>
                  <a:lnTo>
                    <a:pt x="44209" y="197447"/>
                  </a:lnTo>
                  <a:lnTo>
                    <a:pt x="44209" y="198831"/>
                  </a:lnTo>
                  <a:lnTo>
                    <a:pt x="44209" y="197447"/>
                  </a:lnTo>
                  <a:lnTo>
                    <a:pt x="44260" y="196799"/>
                  </a:lnTo>
                  <a:lnTo>
                    <a:pt x="44260" y="200228"/>
                  </a:lnTo>
                  <a:lnTo>
                    <a:pt x="44260" y="198831"/>
                  </a:lnTo>
                  <a:lnTo>
                    <a:pt x="44260" y="199530"/>
                  </a:lnTo>
                  <a:lnTo>
                    <a:pt x="44311" y="199530"/>
                  </a:lnTo>
                  <a:lnTo>
                    <a:pt x="44311" y="200228"/>
                  </a:lnTo>
                  <a:lnTo>
                    <a:pt x="44311" y="199530"/>
                  </a:lnTo>
                  <a:lnTo>
                    <a:pt x="44412" y="199530"/>
                  </a:lnTo>
                  <a:lnTo>
                    <a:pt x="44412" y="200876"/>
                  </a:lnTo>
                  <a:lnTo>
                    <a:pt x="44450" y="200876"/>
                  </a:lnTo>
                  <a:lnTo>
                    <a:pt x="44450" y="202260"/>
                  </a:lnTo>
                  <a:lnTo>
                    <a:pt x="44450" y="200876"/>
                  </a:lnTo>
                  <a:lnTo>
                    <a:pt x="44450" y="202260"/>
                  </a:lnTo>
                  <a:lnTo>
                    <a:pt x="44501" y="202260"/>
                  </a:lnTo>
                  <a:lnTo>
                    <a:pt x="44501" y="200876"/>
                  </a:lnTo>
                  <a:lnTo>
                    <a:pt x="44501" y="202260"/>
                  </a:lnTo>
                  <a:lnTo>
                    <a:pt x="44552" y="202260"/>
                  </a:lnTo>
                  <a:lnTo>
                    <a:pt x="44552" y="200876"/>
                  </a:lnTo>
                  <a:lnTo>
                    <a:pt x="44552" y="202260"/>
                  </a:lnTo>
                  <a:lnTo>
                    <a:pt x="44552" y="200228"/>
                  </a:lnTo>
                  <a:lnTo>
                    <a:pt x="44552" y="200876"/>
                  </a:lnTo>
                  <a:lnTo>
                    <a:pt x="44552" y="200228"/>
                  </a:lnTo>
                  <a:lnTo>
                    <a:pt x="44654" y="200228"/>
                  </a:lnTo>
                  <a:lnTo>
                    <a:pt x="44654" y="198831"/>
                  </a:lnTo>
                  <a:lnTo>
                    <a:pt x="44654" y="199530"/>
                  </a:lnTo>
                  <a:lnTo>
                    <a:pt x="44705" y="198831"/>
                  </a:lnTo>
                  <a:lnTo>
                    <a:pt x="44705" y="199530"/>
                  </a:lnTo>
                  <a:lnTo>
                    <a:pt x="44705" y="198831"/>
                  </a:lnTo>
                  <a:lnTo>
                    <a:pt x="44705" y="199530"/>
                  </a:lnTo>
                  <a:lnTo>
                    <a:pt x="44755" y="200228"/>
                  </a:lnTo>
                  <a:lnTo>
                    <a:pt x="44755" y="199530"/>
                  </a:lnTo>
                  <a:lnTo>
                    <a:pt x="44755" y="200228"/>
                  </a:lnTo>
                  <a:lnTo>
                    <a:pt x="44857" y="200228"/>
                  </a:lnTo>
                  <a:lnTo>
                    <a:pt x="44857" y="199530"/>
                  </a:lnTo>
                  <a:lnTo>
                    <a:pt x="44857" y="200228"/>
                  </a:lnTo>
                  <a:lnTo>
                    <a:pt x="44908" y="200228"/>
                  </a:lnTo>
                  <a:lnTo>
                    <a:pt x="44908" y="200876"/>
                  </a:lnTo>
                  <a:lnTo>
                    <a:pt x="44959" y="200876"/>
                  </a:lnTo>
                  <a:lnTo>
                    <a:pt x="44959" y="200228"/>
                  </a:lnTo>
                  <a:lnTo>
                    <a:pt x="44959" y="200876"/>
                  </a:lnTo>
                  <a:lnTo>
                    <a:pt x="44997" y="200876"/>
                  </a:lnTo>
                  <a:lnTo>
                    <a:pt x="44997" y="202260"/>
                  </a:lnTo>
                  <a:lnTo>
                    <a:pt x="44997" y="200876"/>
                  </a:lnTo>
                  <a:lnTo>
                    <a:pt x="45098" y="200876"/>
                  </a:lnTo>
                  <a:lnTo>
                    <a:pt x="45098" y="199530"/>
                  </a:lnTo>
                  <a:lnTo>
                    <a:pt x="45098" y="200228"/>
                  </a:lnTo>
                  <a:lnTo>
                    <a:pt x="45149" y="200228"/>
                  </a:lnTo>
                  <a:lnTo>
                    <a:pt x="45149" y="198831"/>
                  </a:lnTo>
                  <a:lnTo>
                    <a:pt x="45149" y="199530"/>
                  </a:lnTo>
                  <a:lnTo>
                    <a:pt x="45149" y="197447"/>
                  </a:lnTo>
                  <a:lnTo>
                    <a:pt x="45149" y="198831"/>
                  </a:lnTo>
                  <a:lnTo>
                    <a:pt x="45149" y="197447"/>
                  </a:lnTo>
                  <a:lnTo>
                    <a:pt x="45200" y="196799"/>
                  </a:lnTo>
                  <a:lnTo>
                    <a:pt x="45200" y="197447"/>
                  </a:lnTo>
                  <a:lnTo>
                    <a:pt x="45200" y="196799"/>
                  </a:lnTo>
                  <a:lnTo>
                    <a:pt x="45200" y="198831"/>
                  </a:lnTo>
                  <a:lnTo>
                    <a:pt x="45200" y="196799"/>
                  </a:lnTo>
                  <a:lnTo>
                    <a:pt x="45301" y="197447"/>
                  </a:lnTo>
                  <a:lnTo>
                    <a:pt x="45301" y="200228"/>
                  </a:lnTo>
                  <a:lnTo>
                    <a:pt x="45301" y="198831"/>
                  </a:lnTo>
                  <a:lnTo>
                    <a:pt x="45352" y="199530"/>
                  </a:lnTo>
                  <a:lnTo>
                    <a:pt x="45352" y="200228"/>
                  </a:lnTo>
                  <a:lnTo>
                    <a:pt x="45352" y="199530"/>
                  </a:lnTo>
                  <a:lnTo>
                    <a:pt x="45352" y="200228"/>
                  </a:lnTo>
                  <a:lnTo>
                    <a:pt x="45403" y="200228"/>
                  </a:lnTo>
                  <a:lnTo>
                    <a:pt x="45403" y="199530"/>
                  </a:lnTo>
                  <a:lnTo>
                    <a:pt x="45403" y="200228"/>
                  </a:lnTo>
                  <a:lnTo>
                    <a:pt x="45403" y="199530"/>
                  </a:lnTo>
                  <a:lnTo>
                    <a:pt x="45403" y="200876"/>
                  </a:lnTo>
                  <a:lnTo>
                    <a:pt x="45454" y="200876"/>
                  </a:lnTo>
                  <a:lnTo>
                    <a:pt x="45454" y="200228"/>
                  </a:lnTo>
                  <a:lnTo>
                    <a:pt x="45454" y="200876"/>
                  </a:lnTo>
                  <a:lnTo>
                    <a:pt x="45454" y="200228"/>
                  </a:lnTo>
                  <a:lnTo>
                    <a:pt x="45454" y="200876"/>
                  </a:lnTo>
                  <a:lnTo>
                    <a:pt x="45454" y="200228"/>
                  </a:lnTo>
                  <a:lnTo>
                    <a:pt x="45454" y="200876"/>
                  </a:lnTo>
                  <a:lnTo>
                    <a:pt x="45543" y="200876"/>
                  </a:lnTo>
                  <a:lnTo>
                    <a:pt x="45543" y="200228"/>
                  </a:lnTo>
                  <a:lnTo>
                    <a:pt x="45593" y="200228"/>
                  </a:lnTo>
                  <a:lnTo>
                    <a:pt x="45593" y="200876"/>
                  </a:lnTo>
                  <a:lnTo>
                    <a:pt x="45593" y="199530"/>
                  </a:lnTo>
                  <a:lnTo>
                    <a:pt x="45644" y="199530"/>
                  </a:lnTo>
                  <a:lnTo>
                    <a:pt x="45644" y="197447"/>
                  </a:lnTo>
                  <a:lnTo>
                    <a:pt x="45644" y="198831"/>
                  </a:lnTo>
                  <a:lnTo>
                    <a:pt x="45644" y="196799"/>
                  </a:lnTo>
                  <a:lnTo>
                    <a:pt x="45695" y="197447"/>
                  </a:lnTo>
                  <a:lnTo>
                    <a:pt x="45695" y="198831"/>
                  </a:lnTo>
                  <a:lnTo>
                    <a:pt x="45695" y="196799"/>
                  </a:lnTo>
                  <a:lnTo>
                    <a:pt x="45695" y="198831"/>
                  </a:lnTo>
                  <a:lnTo>
                    <a:pt x="45797" y="199530"/>
                  </a:lnTo>
                  <a:lnTo>
                    <a:pt x="45797" y="200228"/>
                  </a:lnTo>
                  <a:lnTo>
                    <a:pt x="45797" y="197447"/>
                  </a:lnTo>
                  <a:lnTo>
                    <a:pt x="45797" y="199530"/>
                  </a:lnTo>
                  <a:lnTo>
                    <a:pt x="45848" y="199530"/>
                  </a:lnTo>
                  <a:lnTo>
                    <a:pt x="45848" y="198831"/>
                  </a:lnTo>
                  <a:lnTo>
                    <a:pt x="45848" y="199530"/>
                  </a:lnTo>
                  <a:lnTo>
                    <a:pt x="45898" y="199530"/>
                  </a:lnTo>
                  <a:lnTo>
                    <a:pt x="45898" y="198831"/>
                  </a:lnTo>
                  <a:lnTo>
                    <a:pt x="45898" y="200228"/>
                  </a:lnTo>
                  <a:lnTo>
                    <a:pt x="46000" y="200228"/>
                  </a:lnTo>
                  <a:lnTo>
                    <a:pt x="46000" y="199530"/>
                  </a:lnTo>
                  <a:lnTo>
                    <a:pt x="46000" y="200228"/>
                  </a:lnTo>
                  <a:lnTo>
                    <a:pt x="46000" y="199530"/>
                  </a:lnTo>
                  <a:lnTo>
                    <a:pt x="46038" y="200228"/>
                  </a:lnTo>
                  <a:lnTo>
                    <a:pt x="46038" y="200876"/>
                  </a:lnTo>
                  <a:lnTo>
                    <a:pt x="46038" y="199530"/>
                  </a:lnTo>
                  <a:lnTo>
                    <a:pt x="46038" y="200228"/>
                  </a:lnTo>
                  <a:lnTo>
                    <a:pt x="46089" y="200228"/>
                  </a:lnTo>
                  <a:lnTo>
                    <a:pt x="46089" y="199530"/>
                  </a:lnTo>
                  <a:lnTo>
                    <a:pt x="46140" y="199530"/>
                  </a:lnTo>
                  <a:lnTo>
                    <a:pt x="46140" y="197447"/>
                  </a:lnTo>
                  <a:lnTo>
                    <a:pt x="46140" y="199530"/>
                  </a:lnTo>
                  <a:lnTo>
                    <a:pt x="46140" y="198831"/>
                  </a:lnTo>
                  <a:lnTo>
                    <a:pt x="46140" y="199530"/>
                  </a:lnTo>
                  <a:lnTo>
                    <a:pt x="46241" y="199530"/>
                  </a:lnTo>
                  <a:lnTo>
                    <a:pt x="46241" y="197447"/>
                  </a:lnTo>
                  <a:lnTo>
                    <a:pt x="46241" y="200228"/>
                  </a:lnTo>
                  <a:lnTo>
                    <a:pt x="46292" y="199530"/>
                  </a:lnTo>
                  <a:lnTo>
                    <a:pt x="46292" y="200228"/>
                  </a:lnTo>
                  <a:lnTo>
                    <a:pt x="46292" y="199530"/>
                  </a:lnTo>
                  <a:lnTo>
                    <a:pt x="46292" y="200228"/>
                  </a:lnTo>
                  <a:lnTo>
                    <a:pt x="46292" y="199530"/>
                  </a:lnTo>
                  <a:lnTo>
                    <a:pt x="46292" y="200876"/>
                  </a:lnTo>
                  <a:lnTo>
                    <a:pt x="46292" y="199530"/>
                  </a:lnTo>
                  <a:lnTo>
                    <a:pt x="46292" y="200228"/>
                  </a:lnTo>
                  <a:lnTo>
                    <a:pt x="46343" y="199530"/>
                  </a:lnTo>
                  <a:lnTo>
                    <a:pt x="46343" y="200228"/>
                  </a:lnTo>
                  <a:lnTo>
                    <a:pt x="46444" y="200228"/>
                  </a:lnTo>
                  <a:lnTo>
                    <a:pt x="46444" y="200876"/>
                  </a:lnTo>
                  <a:lnTo>
                    <a:pt x="46444" y="200228"/>
                  </a:lnTo>
                  <a:lnTo>
                    <a:pt x="46444" y="200876"/>
                  </a:lnTo>
                  <a:lnTo>
                    <a:pt x="46444" y="200228"/>
                  </a:lnTo>
                  <a:lnTo>
                    <a:pt x="46444" y="200876"/>
                  </a:lnTo>
                  <a:lnTo>
                    <a:pt x="46444" y="200228"/>
                  </a:lnTo>
                  <a:lnTo>
                    <a:pt x="46444" y="200876"/>
                  </a:lnTo>
                  <a:lnTo>
                    <a:pt x="46495" y="200876"/>
                  </a:lnTo>
                  <a:lnTo>
                    <a:pt x="46495" y="200228"/>
                  </a:lnTo>
                  <a:lnTo>
                    <a:pt x="46495" y="200876"/>
                  </a:lnTo>
                  <a:lnTo>
                    <a:pt x="46495" y="200228"/>
                  </a:lnTo>
                  <a:lnTo>
                    <a:pt x="46495" y="200876"/>
                  </a:lnTo>
                  <a:lnTo>
                    <a:pt x="46495" y="200228"/>
                  </a:lnTo>
                  <a:lnTo>
                    <a:pt x="46495" y="200876"/>
                  </a:lnTo>
                  <a:lnTo>
                    <a:pt x="46495" y="200228"/>
                  </a:lnTo>
                  <a:lnTo>
                    <a:pt x="46546" y="200228"/>
                  </a:lnTo>
                  <a:lnTo>
                    <a:pt x="46546" y="200876"/>
                  </a:lnTo>
                  <a:lnTo>
                    <a:pt x="46546" y="200228"/>
                  </a:lnTo>
                  <a:lnTo>
                    <a:pt x="46546" y="200876"/>
                  </a:lnTo>
                  <a:lnTo>
                    <a:pt x="46546" y="199530"/>
                  </a:lnTo>
                  <a:lnTo>
                    <a:pt x="46546" y="200228"/>
                  </a:lnTo>
                  <a:lnTo>
                    <a:pt x="46584" y="200228"/>
                  </a:lnTo>
                  <a:lnTo>
                    <a:pt x="46584" y="199530"/>
                  </a:lnTo>
                  <a:lnTo>
                    <a:pt x="46686" y="199530"/>
                  </a:lnTo>
                  <a:lnTo>
                    <a:pt x="46686" y="200228"/>
                  </a:lnTo>
                  <a:lnTo>
                    <a:pt x="46686" y="199530"/>
                  </a:lnTo>
                  <a:lnTo>
                    <a:pt x="46736" y="199530"/>
                  </a:lnTo>
                  <a:lnTo>
                    <a:pt x="46736" y="200876"/>
                  </a:lnTo>
                  <a:lnTo>
                    <a:pt x="46736" y="200228"/>
                  </a:lnTo>
                  <a:lnTo>
                    <a:pt x="46787" y="200228"/>
                  </a:lnTo>
                  <a:lnTo>
                    <a:pt x="46787" y="202260"/>
                  </a:lnTo>
                  <a:lnTo>
                    <a:pt x="46787" y="200876"/>
                  </a:lnTo>
                  <a:lnTo>
                    <a:pt x="46889" y="200876"/>
                  </a:lnTo>
                  <a:lnTo>
                    <a:pt x="46889" y="202260"/>
                  </a:lnTo>
                  <a:lnTo>
                    <a:pt x="46889" y="200876"/>
                  </a:lnTo>
                  <a:lnTo>
                    <a:pt x="46889" y="202260"/>
                  </a:lnTo>
                  <a:lnTo>
                    <a:pt x="46889" y="200876"/>
                  </a:lnTo>
                  <a:lnTo>
                    <a:pt x="46889" y="202260"/>
                  </a:lnTo>
                  <a:lnTo>
                    <a:pt x="46889" y="200876"/>
                  </a:lnTo>
                  <a:lnTo>
                    <a:pt x="46889" y="202260"/>
                  </a:lnTo>
                  <a:lnTo>
                    <a:pt x="46940" y="202260"/>
                  </a:lnTo>
                  <a:lnTo>
                    <a:pt x="46940" y="200876"/>
                  </a:lnTo>
                  <a:lnTo>
                    <a:pt x="46940" y="202260"/>
                  </a:lnTo>
                  <a:lnTo>
                    <a:pt x="46940" y="200876"/>
                  </a:lnTo>
                  <a:lnTo>
                    <a:pt x="46940" y="202260"/>
                  </a:lnTo>
                  <a:lnTo>
                    <a:pt x="46940" y="200876"/>
                  </a:lnTo>
                  <a:lnTo>
                    <a:pt x="46991" y="200876"/>
                  </a:lnTo>
                  <a:lnTo>
                    <a:pt x="46991" y="200228"/>
                  </a:lnTo>
                  <a:lnTo>
                    <a:pt x="47041" y="200228"/>
                  </a:lnTo>
                  <a:lnTo>
                    <a:pt x="47041" y="199530"/>
                  </a:lnTo>
                  <a:lnTo>
                    <a:pt x="47130" y="199530"/>
                  </a:lnTo>
                  <a:lnTo>
                    <a:pt x="47130" y="198831"/>
                  </a:lnTo>
                  <a:lnTo>
                    <a:pt x="47130" y="199530"/>
                  </a:lnTo>
                  <a:lnTo>
                    <a:pt x="47130" y="197447"/>
                  </a:lnTo>
                  <a:lnTo>
                    <a:pt x="47130" y="199530"/>
                  </a:lnTo>
                  <a:lnTo>
                    <a:pt x="47181" y="200228"/>
                  </a:lnTo>
                  <a:lnTo>
                    <a:pt x="47181" y="198831"/>
                  </a:lnTo>
                  <a:lnTo>
                    <a:pt x="47181" y="202260"/>
                  </a:lnTo>
                  <a:lnTo>
                    <a:pt x="47232" y="200876"/>
                  </a:lnTo>
                  <a:lnTo>
                    <a:pt x="47232" y="199530"/>
                  </a:lnTo>
                  <a:lnTo>
                    <a:pt x="47232" y="202260"/>
                  </a:lnTo>
                  <a:lnTo>
                    <a:pt x="47232" y="200876"/>
                  </a:lnTo>
                  <a:lnTo>
                    <a:pt x="47283" y="202260"/>
                  </a:lnTo>
                  <a:lnTo>
                    <a:pt x="47283" y="200876"/>
                  </a:lnTo>
                  <a:lnTo>
                    <a:pt x="47283" y="202260"/>
                  </a:lnTo>
                  <a:lnTo>
                    <a:pt x="47384" y="202260"/>
                  </a:lnTo>
                  <a:lnTo>
                    <a:pt x="47384" y="202959"/>
                  </a:lnTo>
                  <a:lnTo>
                    <a:pt x="47384" y="202260"/>
                  </a:lnTo>
                  <a:lnTo>
                    <a:pt x="47435" y="202260"/>
                  </a:lnTo>
                  <a:lnTo>
                    <a:pt x="47435" y="202959"/>
                  </a:lnTo>
                  <a:lnTo>
                    <a:pt x="47435" y="202260"/>
                  </a:lnTo>
                  <a:lnTo>
                    <a:pt x="47435" y="202959"/>
                  </a:lnTo>
                  <a:lnTo>
                    <a:pt x="47435" y="200876"/>
                  </a:lnTo>
                  <a:lnTo>
                    <a:pt x="47435" y="202260"/>
                  </a:lnTo>
                  <a:lnTo>
                    <a:pt x="47486" y="202260"/>
                  </a:lnTo>
                  <a:lnTo>
                    <a:pt x="47486" y="200876"/>
                  </a:lnTo>
                  <a:lnTo>
                    <a:pt x="47486" y="202260"/>
                  </a:lnTo>
                  <a:lnTo>
                    <a:pt x="47486" y="200876"/>
                  </a:lnTo>
                  <a:lnTo>
                    <a:pt x="47587" y="200228"/>
                  </a:lnTo>
                  <a:lnTo>
                    <a:pt x="47587" y="200876"/>
                  </a:lnTo>
                  <a:lnTo>
                    <a:pt x="47587" y="198831"/>
                  </a:lnTo>
                  <a:lnTo>
                    <a:pt x="47625" y="199530"/>
                  </a:lnTo>
                  <a:lnTo>
                    <a:pt x="47625" y="198831"/>
                  </a:lnTo>
                  <a:lnTo>
                    <a:pt x="47625" y="199530"/>
                  </a:lnTo>
                  <a:lnTo>
                    <a:pt x="47625" y="198831"/>
                  </a:lnTo>
                  <a:lnTo>
                    <a:pt x="47625" y="200876"/>
                  </a:lnTo>
                  <a:lnTo>
                    <a:pt x="47625" y="199530"/>
                  </a:lnTo>
                  <a:lnTo>
                    <a:pt x="47676" y="199530"/>
                  </a:lnTo>
                  <a:lnTo>
                    <a:pt x="47676" y="202260"/>
                  </a:lnTo>
                  <a:lnTo>
                    <a:pt x="47676" y="199530"/>
                  </a:lnTo>
                  <a:lnTo>
                    <a:pt x="47727" y="200228"/>
                  </a:lnTo>
                  <a:lnTo>
                    <a:pt x="47727" y="199530"/>
                  </a:lnTo>
                  <a:lnTo>
                    <a:pt x="47727" y="202260"/>
                  </a:lnTo>
                  <a:lnTo>
                    <a:pt x="47727" y="200876"/>
                  </a:lnTo>
                  <a:lnTo>
                    <a:pt x="47727" y="202260"/>
                  </a:lnTo>
                  <a:lnTo>
                    <a:pt x="47727" y="200228"/>
                  </a:lnTo>
                  <a:lnTo>
                    <a:pt x="47727" y="200876"/>
                  </a:lnTo>
                  <a:lnTo>
                    <a:pt x="47829" y="200876"/>
                  </a:lnTo>
                  <a:lnTo>
                    <a:pt x="47829" y="202260"/>
                  </a:lnTo>
                  <a:lnTo>
                    <a:pt x="47829" y="200876"/>
                  </a:lnTo>
                  <a:lnTo>
                    <a:pt x="47829" y="202959"/>
                  </a:lnTo>
                  <a:lnTo>
                    <a:pt x="47829" y="200876"/>
                  </a:lnTo>
                  <a:lnTo>
                    <a:pt x="47829" y="202260"/>
                  </a:lnTo>
                  <a:lnTo>
                    <a:pt x="47880" y="202260"/>
                  </a:lnTo>
                  <a:lnTo>
                    <a:pt x="47880" y="202959"/>
                  </a:lnTo>
                  <a:lnTo>
                    <a:pt x="47930" y="202959"/>
                  </a:lnTo>
                  <a:lnTo>
                    <a:pt x="47930" y="202260"/>
                  </a:lnTo>
                  <a:lnTo>
                    <a:pt x="47930" y="202959"/>
                  </a:lnTo>
                  <a:lnTo>
                    <a:pt x="47930" y="202260"/>
                  </a:lnTo>
                  <a:lnTo>
                    <a:pt x="47930" y="202959"/>
                  </a:lnTo>
                  <a:lnTo>
                    <a:pt x="47930" y="202260"/>
                  </a:lnTo>
                  <a:lnTo>
                    <a:pt x="48032" y="202260"/>
                  </a:lnTo>
                  <a:lnTo>
                    <a:pt x="48032" y="200876"/>
                  </a:lnTo>
                  <a:lnTo>
                    <a:pt x="48032" y="202260"/>
                  </a:lnTo>
                  <a:lnTo>
                    <a:pt x="48032" y="200876"/>
                  </a:lnTo>
                  <a:lnTo>
                    <a:pt x="48032" y="202260"/>
                  </a:lnTo>
                  <a:lnTo>
                    <a:pt x="48032" y="200228"/>
                  </a:lnTo>
                  <a:lnTo>
                    <a:pt x="48083" y="200228"/>
                  </a:lnTo>
                  <a:lnTo>
                    <a:pt x="48083" y="197447"/>
                  </a:lnTo>
                  <a:lnTo>
                    <a:pt x="48134" y="197447"/>
                  </a:lnTo>
                  <a:lnTo>
                    <a:pt x="48134" y="196799"/>
                  </a:lnTo>
                  <a:lnTo>
                    <a:pt x="48134" y="197447"/>
                  </a:lnTo>
                  <a:lnTo>
                    <a:pt x="48134" y="196799"/>
                  </a:lnTo>
                  <a:lnTo>
                    <a:pt x="48134" y="198831"/>
                  </a:lnTo>
                  <a:lnTo>
                    <a:pt x="48172" y="197447"/>
                  </a:lnTo>
                  <a:lnTo>
                    <a:pt x="48172" y="196799"/>
                  </a:lnTo>
                  <a:lnTo>
                    <a:pt x="48172" y="200228"/>
                  </a:lnTo>
                  <a:lnTo>
                    <a:pt x="48172" y="199530"/>
                  </a:lnTo>
                  <a:lnTo>
                    <a:pt x="48172" y="200228"/>
                  </a:lnTo>
                  <a:lnTo>
                    <a:pt x="48172" y="198831"/>
                  </a:lnTo>
                  <a:lnTo>
                    <a:pt x="48273" y="198831"/>
                  </a:lnTo>
                  <a:lnTo>
                    <a:pt x="48273" y="200228"/>
                  </a:lnTo>
                  <a:lnTo>
                    <a:pt x="48273" y="199530"/>
                  </a:lnTo>
                  <a:lnTo>
                    <a:pt x="48273" y="200228"/>
                  </a:lnTo>
                  <a:lnTo>
                    <a:pt x="48273" y="199530"/>
                  </a:lnTo>
                  <a:lnTo>
                    <a:pt x="48273" y="200228"/>
                  </a:lnTo>
                  <a:lnTo>
                    <a:pt x="48324" y="199530"/>
                  </a:lnTo>
                  <a:lnTo>
                    <a:pt x="48324" y="200228"/>
                  </a:lnTo>
                  <a:lnTo>
                    <a:pt x="48324" y="199530"/>
                  </a:lnTo>
                  <a:lnTo>
                    <a:pt x="48324" y="200876"/>
                  </a:lnTo>
                  <a:lnTo>
                    <a:pt x="48324" y="200228"/>
                  </a:lnTo>
                  <a:lnTo>
                    <a:pt x="48324" y="200876"/>
                  </a:lnTo>
                  <a:lnTo>
                    <a:pt x="48324" y="200228"/>
                  </a:lnTo>
                  <a:lnTo>
                    <a:pt x="48324" y="200876"/>
                  </a:lnTo>
                  <a:lnTo>
                    <a:pt x="48324" y="200228"/>
                  </a:lnTo>
                  <a:lnTo>
                    <a:pt x="48375" y="200228"/>
                  </a:lnTo>
                  <a:lnTo>
                    <a:pt x="48375" y="202260"/>
                  </a:lnTo>
                  <a:lnTo>
                    <a:pt x="48375" y="200876"/>
                  </a:lnTo>
                  <a:lnTo>
                    <a:pt x="48375" y="202260"/>
                  </a:lnTo>
                  <a:lnTo>
                    <a:pt x="48476" y="202260"/>
                  </a:lnTo>
                  <a:lnTo>
                    <a:pt x="48476" y="202959"/>
                  </a:lnTo>
                  <a:lnTo>
                    <a:pt x="48476" y="202260"/>
                  </a:lnTo>
                  <a:lnTo>
                    <a:pt x="48476" y="202959"/>
                  </a:lnTo>
                  <a:lnTo>
                    <a:pt x="48476" y="202260"/>
                  </a:lnTo>
                  <a:lnTo>
                    <a:pt x="48527" y="202959"/>
                  </a:lnTo>
                  <a:lnTo>
                    <a:pt x="48527" y="200876"/>
                  </a:lnTo>
                  <a:lnTo>
                    <a:pt x="48527" y="202260"/>
                  </a:lnTo>
                  <a:lnTo>
                    <a:pt x="48527" y="200876"/>
                  </a:lnTo>
                  <a:lnTo>
                    <a:pt x="48527" y="202260"/>
                  </a:lnTo>
                  <a:lnTo>
                    <a:pt x="48527" y="200876"/>
                  </a:lnTo>
                  <a:lnTo>
                    <a:pt x="48578" y="200876"/>
                  </a:lnTo>
                  <a:lnTo>
                    <a:pt x="48578" y="198831"/>
                  </a:lnTo>
                  <a:lnTo>
                    <a:pt x="48578" y="199530"/>
                  </a:lnTo>
                  <a:lnTo>
                    <a:pt x="48578" y="198831"/>
                  </a:lnTo>
                  <a:lnTo>
                    <a:pt x="48629" y="197447"/>
                  </a:lnTo>
                  <a:lnTo>
                    <a:pt x="48629" y="198831"/>
                  </a:lnTo>
                  <a:lnTo>
                    <a:pt x="48629" y="197447"/>
                  </a:lnTo>
                  <a:lnTo>
                    <a:pt x="48629" y="199530"/>
                  </a:lnTo>
                  <a:lnTo>
                    <a:pt x="48629" y="196799"/>
                  </a:lnTo>
                  <a:lnTo>
                    <a:pt x="48718" y="196799"/>
                  </a:lnTo>
                  <a:lnTo>
                    <a:pt x="48718" y="200228"/>
                  </a:lnTo>
                  <a:lnTo>
                    <a:pt x="48718" y="198831"/>
                  </a:lnTo>
                  <a:lnTo>
                    <a:pt x="48768" y="198831"/>
                  </a:lnTo>
                  <a:lnTo>
                    <a:pt x="48768" y="200228"/>
                  </a:lnTo>
                  <a:lnTo>
                    <a:pt x="48768" y="199530"/>
                  </a:lnTo>
                  <a:lnTo>
                    <a:pt x="48819" y="199530"/>
                  </a:lnTo>
                  <a:lnTo>
                    <a:pt x="48819" y="200228"/>
                  </a:lnTo>
                  <a:lnTo>
                    <a:pt x="48819" y="199530"/>
                  </a:lnTo>
                  <a:lnTo>
                    <a:pt x="48819" y="200228"/>
                  </a:lnTo>
                  <a:lnTo>
                    <a:pt x="48819" y="199530"/>
                  </a:lnTo>
                  <a:lnTo>
                    <a:pt x="48870" y="199530"/>
                  </a:lnTo>
                  <a:lnTo>
                    <a:pt x="48870" y="200228"/>
                  </a:lnTo>
                  <a:lnTo>
                    <a:pt x="48870" y="199530"/>
                  </a:lnTo>
                  <a:lnTo>
                    <a:pt x="48870" y="200228"/>
                  </a:lnTo>
                  <a:lnTo>
                    <a:pt x="48870" y="199530"/>
                  </a:lnTo>
                  <a:lnTo>
                    <a:pt x="48870" y="200876"/>
                  </a:lnTo>
                  <a:lnTo>
                    <a:pt x="48972" y="200228"/>
                  </a:lnTo>
                  <a:lnTo>
                    <a:pt x="48972" y="200876"/>
                  </a:lnTo>
                  <a:lnTo>
                    <a:pt x="48972" y="200228"/>
                  </a:lnTo>
                  <a:lnTo>
                    <a:pt x="48972" y="200876"/>
                  </a:lnTo>
                  <a:lnTo>
                    <a:pt x="48972" y="200228"/>
                  </a:lnTo>
                  <a:lnTo>
                    <a:pt x="48972" y="200876"/>
                  </a:lnTo>
                  <a:lnTo>
                    <a:pt x="48972" y="200228"/>
                  </a:lnTo>
                  <a:lnTo>
                    <a:pt x="48972" y="200876"/>
                  </a:lnTo>
                  <a:lnTo>
                    <a:pt x="48972" y="200228"/>
                  </a:lnTo>
                  <a:lnTo>
                    <a:pt x="49023" y="200876"/>
                  </a:lnTo>
                  <a:lnTo>
                    <a:pt x="49023" y="200228"/>
                  </a:lnTo>
                  <a:lnTo>
                    <a:pt x="49023" y="200876"/>
                  </a:lnTo>
                  <a:lnTo>
                    <a:pt x="49023" y="200228"/>
                  </a:lnTo>
                  <a:lnTo>
                    <a:pt x="49073" y="200228"/>
                  </a:lnTo>
                  <a:lnTo>
                    <a:pt x="49073" y="199530"/>
                  </a:lnTo>
                  <a:lnTo>
                    <a:pt x="49073" y="200228"/>
                  </a:lnTo>
                  <a:lnTo>
                    <a:pt x="49073" y="197447"/>
                  </a:lnTo>
                  <a:lnTo>
                    <a:pt x="49073" y="198831"/>
                  </a:lnTo>
                  <a:lnTo>
                    <a:pt x="49175" y="198831"/>
                  </a:lnTo>
                  <a:lnTo>
                    <a:pt x="49175" y="200228"/>
                  </a:lnTo>
                  <a:lnTo>
                    <a:pt x="49175" y="197447"/>
                  </a:lnTo>
                  <a:lnTo>
                    <a:pt x="49175" y="200876"/>
                  </a:lnTo>
                  <a:lnTo>
                    <a:pt x="49213" y="202260"/>
                  </a:lnTo>
                  <a:lnTo>
                    <a:pt x="49213" y="199530"/>
                  </a:lnTo>
                  <a:lnTo>
                    <a:pt x="49213" y="200228"/>
                  </a:lnTo>
                  <a:lnTo>
                    <a:pt x="49213" y="199530"/>
                  </a:lnTo>
                  <a:lnTo>
                    <a:pt x="49213" y="200228"/>
                  </a:lnTo>
                  <a:lnTo>
                    <a:pt x="49264" y="200876"/>
                  </a:lnTo>
                  <a:lnTo>
                    <a:pt x="49264" y="200228"/>
                  </a:lnTo>
                  <a:lnTo>
                    <a:pt x="49264" y="200876"/>
                  </a:lnTo>
                  <a:lnTo>
                    <a:pt x="49315" y="200876"/>
                  </a:lnTo>
                  <a:lnTo>
                    <a:pt x="49315" y="200228"/>
                  </a:lnTo>
                  <a:lnTo>
                    <a:pt x="49315" y="200876"/>
                  </a:lnTo>
                  <a:lnTo>
                    <a:pt x="49315" y="200228"/>
                  </a:lnTo>
                  <a:lnTo>
                    <a:pt x="49315" y="200876"/>
                  </a:lnTo>
                  <a:lnTo>
                    <a:pt x="49315" y="200228"/>
                  </a:lnTo>
                  <a:lnTo>
                    <a:pt x="49416" y="200228"/>
                  </a:lnTo>
                  <a:lnTo>
                    <a:pt x="49416" y="200876"/>
                  </a:lnTo>
                  <a:lnTo>
                    <a:pt x="49416" y="200228"/>
                  </a:lnTo>
                  <a:lnTo>
                    <a:pt x="49416" y="202260"/>
                  </a:lnTo>
                  <a:lnTo>
                    <a:pt x="49416" y="200876"/>
                  </a:lnTo>
                  <a:lnTo>
                    <a:pt x="49467" y="200876"/>
                  </a:lnTo>
                  <a:lnTo>
                    <a:pt x="49467" y="200228"/>
                  </a:lnTo>
                  <a:lnTo>
                    <a:pt x="49467" y="200876"/>
                  </a:lnTo>
                  <a:lnTo>
                    <a:pt x="49467" y="200228"/>
                  </a:lnTo>
                  <a:lnTo>
                    <a:pt x="49518" y="200228"/>
                  </a:lnTo>
                  <a:lnTo>
                    <a:pt x="49518" y="200876"/>
                  </a:lnTo>
                  <a:lnTo>
                    <a:pt x="49518" y="199530"/>
                  </a:lnTo>
                  <a:lnTo>
                    <a:pt x="49619" y="198831"/>
                  </a:lnTo>
                  <a:lnTo>
                    <a:pt x="49619" y="199530"/>
                  </a:lnTo>
                  <a:lnTo>
                    <a:pt x="49619" y="197447"/>
                  </a:lnTo>
                  <a:lnTo>
                    <a:pt x="49619" y="198831"/>
                  </a:lnTo>
                  <a:lnTo>
                    <a:pt x="49619" y="197447"/>
                  </a:lnTo>
                  <a:lnTo>
                    <a:pt x="49670" y="197447"/>
                  </a:lnTo>
                  <a:lnTo>
                    <a:pt x="49670" y="199530"/>
                  </a:lnTo>
                  <a:lnTo>
                    <a:pt x="49670" y="198831"/>
                  </a:lnTo>
                  <a:lnTo>
                    <a:pt x="49670" y="200228"/>
                  </a:lnTo>
                  <a:lnTo>
                    <a:pt x="49721" y="200228"/>
                  </a:lnTo>
                  <a:lnTo>
                    <a:pt x="49721" y="199530"/>
                  </a:lnTo>
                  <a:lnTo>
                    <a:pt x="49721" y="200228"/>
                  </a:lnTo>
                  <a:lnTo>
                    <a:pt x="49721" y="199530"/>
                  </a:lnTo>
                  <a:lnTo>
                    <a:pt x="49721" y="200228"/>
                  </a:lnTo>
                  <a:lnTo>
                    <a:pt x="49759" y="200228"/>
                  </a:lnTo>
                  <a:lnTo>
                    <a:pt x="49759" y="200876"/>
                  </a:lnTo>
                  <a:lnTo>
                    <a:pt x="49759" y="200228"/>
                  </a:lnTo>
                  <a:lnTo>
                    <a:pt x="49759" y="200876"/>
                  </a:lnTo>
                  <a:lnTo>
                    <a:pt x="49759" y="200228"/>
                  </a:lnTo>
                  <a:lnTo>
                    <a:pt x="49861" y="200228"/>
                  </a:lnTo>
                  <a:lnTo>
                    <a:pt x="49861" y="200876"/>
                  </a:lnTo>
                  <a:lnTo>
                    <a:pt x="49861" y="200228"/>
                  </a:lnTo>
                  <a:lnTo>
                    <a:pt x="49911" y="200228"/>
                  </a:lnTo>
                  <a:lnTo>
                    <a:pt x="49911" y="200876"/>
                  </a:lnTo>
                  <a:lnTo>
                    <a:pt x="49911" y="200228"/>
                  </a:lnTo>
                  <a:lnTo>
                    <a:pt x="49911" y="200876"/>
                  </a:lnTo>
                  <a:lnTo>
                    <a:pt x="49962" y="200876"/>
                  </a:lnTo>
                  <a:lnTo>
                    <a:pt x="49962" y="200228"/>
                  </a:lnTo>
                  <a:lnTo>
                    <a:pt x="49962" y="200876"/>
                  </a:lnTo>
                  <a:lnTo>
                    <a:pt x="49962" y="200228"/>
                  </a:lnTo>
                  <a:lnTo>
                    <a:pt x="50064" y="200228"/>
                  </a:lnTo>
                  <a:lnTo>
                    <a:pt x="50064" y="200876"/>
                  </a:lnTo>
                  <a:lnTo>
                    <a:pt x="50064" y="198831"/>
                  </a:lnTo>
                  <a:lnTo>
                    <a:pt x="50115" y="198831"/>
                  </a:lnTo>
                  <a:lnTo>
                    <a:pt x="50115" y="196799"/>
                  </a:lnTo>
                  <a:lnTo>
                    <a:pt x="50115" y="197447"/>
                  </a:lnTo>
                  <a:lnTo>
                    <a:pt x="50115" y="196799"/>
                  </a:lnTo>
                  <a:lnTo>
                    <a:pt x="50115" y="198831"/>
                  </a:lnTo>
                  <a:lnTo>
                    <a:pt x="50166" y="198831"/>
                  </a:lnTo>
                  <a:lnTo>
                    <a:pt x="50166" y="199530"/>
                  </a:lnTo>
                  <a:lnTo>
                    <a:pt x="50166" y="196799"/>
                  </a:lnTo>
                  <a:lnTo>
                    <a:pt x="50166" y="197447"/>
                  </a:lnTo>
                  <a:lnTo>
                    <a:pt x="50166" y="196799"/>
                  </a:lnTo>
                  <a:lnTo>
                    <a:pt x="50166" y="200228"/>
                  </a:lnTo>
                  <a:lnTo>
                    <a:pt x="50216" y="200228"/>
                  </a:lnTo>
                  <a:lnTo>
                    <a:pt x="50216" y="198831"/>
                  </a:lnTo>
                  <a:lnTo>
                    <a:pt x="50216" y="200876"/>
                  </a:lnTo>
                  <a:lnTo>
                    <a:pt x="50305" y="200228"/>
                  </a:lnTo>
                  <a:lnTo>
                    <a:pt x="50305" y="199530"/>
                  </a:lnTo>
                  <a:lnTo>
                    <a:pt x="50305" y="200876"/>
                  </a:lnTo>
                  <a:lnTo>
                    <a:pt x="50305" y="200228"/>
                  </a:lnTo>
                  <a:lnTo>
                    <a:pt x="50356" y="200228"/>
                  </a:lnTo>
                  <a:lnTo>
                    <a:pt x="50356" y="200876"/>
                  </a:lnTo>
                  <a:lnTo>
                    <a:pt x="50356" y="200228"/>
                  </a:lnTo>
                  <a:lnTo>
                    <a:pt x="50356" y="200876"/>
                  </a:lnTo>
                  <a:lnTo>
                    <a:pt x="50356" y="200228"/>
                  </a:lnTo>
                  <a:lnTo>
                    <a:pt x="50356" y="200876"/>
                  </a:lnTo>
                  <a:lnTo>
                    <a:pt x="50356" y="200228"/>
                  </a:lnTo>
                  <a:lnTo>
                    <a:pt x="50356" y="200876"/>
                  </a:lnTo>
                  <a:lnTo>
                    <a:pt x="50407" y="200876"/>
                  </a:lnTo>
                  <a:lnTo>
                    <a:pt x="50407" y="202260"/>
                  </a:lnTo>
                  <a:lnTo>
                    <a:pt x="50407" y="200876"/>
                  </a:lnTo>
                  <a:lnTo>
                    <a:pt x="50407" y="202260"/>
                  </a:lnTo>
                  <a:lnTo>
                    <a:pt x="50407" y="200876"/>
                  </a:lnTo>
                  <a:lnTo>
                    <a:pt x="50407" y="202260"/>
                  </a:lnTo>
                  <a:lnTo>
                    <a:pt x="50407" y="200876"/>
                  </a:lnTo>
                  <a:lnTo>
                    <a:pt x="50458" y="200876"/>
                  </a:lnTo>
                  <a:lnTo>
                    <a:pt x="50458" y="202260"/>
                  </a:lnTo>
                  <a:lnTo>
                    <a:pt x="50458" y="200876"/>
                  </a:lnTo>
                  <a:lnTo>
                    <a:pt x="50458" y="202260"/>
                  </a:lnTo>
                  <a:lnTo>
                    <a:pt x="50458" y="200228"/>
                  </a:lnTo>
                  <a:lnTo>
                    <a:pt x="50458" y="200876"/>
                  </a:lnTo>
                  <a:lnTo>
                    <a:pt x="50559" y="200228"/>
                  </a:lnTo>
                  <a:lnTo>
                    <a:pt x="50559" y="199530"/>
                  </a:lnTo>
                  <a:lnTo>
                    <a:pt x="50610" y="199530"/>
                  </a:lnTo>
                  <a:lnTo>
                    <a:pt x="50610" y="197447"/>
                  </a:lnTo>
                  <a:lnTo>
                    <a:pt x="50610" y="198831"/>
                  </a:lnTo>
                  <a:lnTo>
                    <a:pt x="50610" y="197447"/>
                  </a:lnTo>
                  <a:lnTo>
                    <a:pt x="50610" y="199530"/>
                  </a:lnTo>
                  <a:lnTo>
                    <a:pt x="50661" y="198831"/>
                  </a:lnTo>
                  <a:lnTo>
                    <a:pt x="50661" y="197447"/>
                  </a:lnTo>
                  <a:lnTo>
                    <a:pt x="50661" y="202260"/>
                  </a:lnTo>
                  <a:lnTo>
                    <a:pt x="50661" y="199530"/>
                  </a:lnTo>
                  <a:lnTo>
                    <a:pt x="50762" y="199530"/>
                  </a:lnTo>
                  <a:lnTo>
                    <a:pt x="50762" y="200228"/>
                  </a:lnTo>
                  <a:lnTo>
                    <a:pt x="50762" y="199530"/>
                  </a:lnTo>
                  <a:lnTo>
                    <a:pt x="50762" y="200876"/>
                  </a:lnTo>
                  <a:lnTo>
                    <a:pt x="50762" y="200228"/>
                  </a:lnTo>
                  <a:lnTo>
                    <a:pt x="50800" y="200228"/>
                  </a:lnTo>
                  <a:lnTo>
                    <a:pt x="50800" y="200876"/>
                  </a:lnTo>
                  <a:lnTo>
                    <a:pt x="50800" y="200228"/>
                  </a:lnTo>
                  <a:lnTo>
                    <a:pt x="50800" y="200876"/>
                  </a:lnTo>
                  <a:lnTo>
                    <a:pt x="50851" y="200876"/>
                  </a:lnTo>
                  <a:lnTo>
                    <a:pt x="50851" y="200228"/>
                  </a:lnTo>
                  <a:lnTo>
                    <a:pt x="50851" y="200876"/>
                  </a:lnTo>
                  <a:lnTo>
                    <a:pt x="50851" y="200228"/>
                  </a:lnTo>
                  <a:lnTo>
                    <a:pt x="50851" y="200876"/>
                  </a:lnTo>
                  <a:lnTo>
                    <a:pt x="50851" y="200228"/>
                  </a:lnTo>
                  <a:lnTo>
                    <a:pt x="50902" y="200876"/>
                  </a:lnTo>
                  <a:lnTo>
                    <a:pt x="50902" y="202260"/>
                  </a:lnTo>
                  <a:lnTo>
                    <a:pt x="50902" y="200876"/>
                  </a:lnTo>
                  <a:lnTo>
                    <a:pt x="50902" y="202260"/>
                  </a:lnTo>
                  <a:lnTo>
                    <a:pt x="50902" y="200876"/>
                  </a:lnTo>
                  <a:lnTo>
                    <a:pt x="51004" y="200876"/>
                  </a:lnTo>
                  <a:lnTo>
                    <a:pt x="51004" y="200228"/>
                  </a:lnTo>
                  <a:lnTo>
                    <a:pt x="51004" y="200876"/>
                  </a:lnTo>
                  <a:lnTo>
                    <a:pt x="51004" y="200228"/>
                  </a:lnTo>
                  <a:lnTo>
                    <a:pt x="51055" y="200228"/>
                  </a:lnTo>
                  <a:lnTo>
                    <a:pt x="51055" y="198831"/>
                  </a:lnTo>
                  <a:lnTo>
                    <a:pt x="51055" y="199530"/>
                  </a:lnTo>
                  <a:lnTo>
                    <a:pt x="51055" y="198831"/>
                  </a:lnTo>
                  <a:lnTo>
                    <a:pt x="51105" y="197447"/>
                  </a:lnTo>
                  <a:lnTo>
                    <a:pt x="51105" y="196799"/>
                  </a:lnTo>
                  <a:lnTo>
                    <a:pt x="51105" y="199530"/>
                  </a:lnTo>
                  <a:lnTo>
                    <a:pt x="51105" y="198831"/>
                  </a:lnTo>
                  <a:lnTo>
                    <a:pt x="51207" y="197447"/>
                  </a:lnTo>
                  <a:lnTo>
                    <a:pt x="51207" y="200228"/>
                  </a:lnTo>
                  <a:lnTo>
                    <a:pt x="51207" y="199530"/>
                  </a:lnTo>
                  <a:lnTo>
                    <a:pt x="51258" y="199530"/>
                  </a:lnTo>
                  <a:lnTo>
                    <a:pt x="51258" y="200876"/>
                  </a:lnTo>
                  <a:lnTo>
                    <a:pt x="51258" y="200228"/>
                  </a:lnTo>
                  <a:lnTo>
                    <a:pt x="51258" y="200876"/>
                  </a:lnTo>
                  <a:lnTo>
                    <a:pt x="51258" y="200228"/>
                  </a:lnTo>
                  <a:lnTo>
                    <a:pt x="51258" y="200876"/>
                  </a:lnTo>
                  <a:lnTo>
                    <a:pt x="51258" y="200228"/>
                  </a:lnTo>
                  <a:lnTo>
                    <a:pt x="51258" y="200876"/>
                  </a:lnTo>
                  <a:lnTo>
                    <a:pt x="51258" y="199530"/>
                  </a:lnTo>
                  <a:lnTo>
                    <a:pt x="51258" y="200228"/>
                  </a:lnTo>
                  <a:lnTo>
                    <a:pt x="51309" y="199530"/>
                  </a:lnTo>
                  <a:lnTo>
                    <a:pt x="51309" y="200876"/>
                  </a:lnTo>
                  <a:lnTo>
                    <a:pt x="51347" y="200876"/>
                  </a:lnTo>
                  <a:lnTo>
                    <a:pt x="51347" y="200228"/>
                  </a:lnTo>
                  <a:lnTo>
                    <a:pt x="51347" y="200876"/>
                  </a:lnTo>
                  <a:lnTo>
                    <a:pt x="51347" y="200228"/>
                  </a:lnTo>
                  <a:lnTo>
                    <a:pt x="51347" y="202260"/>
                  </a:lnTo>
                  <a:lnTo>
                    <a:pt x="51448" y="200876"/>
                  </a:lnTo>
                  <a:lnTo>
                    <a:pt x="51448" y="200228"/>
                  </a:lnTo>
                  <a:lnTo>
                    <a:pt x="51448" y="202260"/>
                  </a:lnTo>
                  <a:lnTo>
                    <a:pt x="51499" y="200876"/>
                  </a:lnTo>
                  <a:lnTo>
                    <a:pt x="51499" y="199530"/>
                  </a:lnTo>
                  <a:lnTo>
                    <a:pt x="51499" y="200876"/>
                  </a:lnTo>
                  <a:lnTo>
                    <a:pt x="51499" y="199530"/>
                  </a:lnTo>
                  <a:lnTo>
                    <a:pt x="51550" y="199530"/>
                  </a:lnTo>
                  <a:lnTo>
                    <a:pt x="51550" y="196799"/>
                  </a:lnTo>
                  <a:lnTo>
                    <a:pt x="51550" y="197447"/>
                  </a:lnTo>
                  <a:lnTo>
                    <a:pt x="51651" y="197447"/>
                  </a:lnTo>
                  <a:lnTo>
                    <a:pt x="51651" y="196113"/>
                  </a:lnTo>
                  <a:lnTo>
                    <a:pt x="51651" y="198831"/>
                  </a:lnTo>
                  <a:lnTo>
                    <a:pt x="51651" y="196113"/>
                  </a:lnTo>
                  <a:lnTo>
                    <a:pt x="51702" y="196113"/>
                  </a:lnTo>
                  <a:lnTo>
                    <a:pt x="51702" y="200228"/>
                  </a:lnTo>
                  <a:lnTo>
                    <a:pt x="51702" y="197447"/>
                  </a:lnTo>
                  <a:lnTo>
                    <a:pt x="51753" y="197447"/>
                  </a:lnTo>
                  <a:lnTo>
                    <a:pt x="51753" y="199530"/>
                  </a:lnTo>
                  <a:lnTo>
                    <a:pt x="51753" y="198831"/>
                  </a:lnTo>
                  <a:lnTo>
                    <a:pt x="51804" y="198831"/>
                  </a:lnTo>
                  <a:lnTo>
                    <a:pt x="51804" y="199530"/>
                  </a:lnTo>
                  <a:lnTo>
                    <a:pt x="51804" y="198831"/>
                  </a:lnTo>
                  <a:lnTo>
                    <a:pt x="51804" y="199530"/>
                  </a:lnTo>
                  <a:lnTo>
                    <a:pt x="51804" y="198831"/>
                  </a:lnTo>
                  <a:lnTo>
                    <a:pt x="51804" y="199530"/>
                  </a:lnTo>
                  <a:lnTo>
                    <a:pt x="51893" y="199530"/>
                  </a:lnTo>
                  <a:lnTo>
                    <a:pt x="51893" y="200228"/>
                  </a:lnTo>
                  <a:lnTo>
                    <a:pt x="51893" y="199530"/>
                  </a:lnTo>
                  <a:lnTo>
                    <a:pt x="51893" y="200228"/>
                  </a:lnTo>
                  <a:lnTo>
                    <a:pt x="51943" y="200228"/>
                  </a:lnTo>
                  <a:lnTo>
                    <a:pt x="51943" y="200876"/>
                  </a:lnTo>
                  <a:lnTo>
                    <a:pt x="51943" y="200228"/>
                  </a:lnTo>
                  <a:lnTo>
                    <a:pt x="51943" y="202260"/>
                  </a:lnTo>
                  <a:lnTo>
                    <a:pt x="51943" y="200228"/>
                  </a:lnTo>
                  <a:lnTo>
                    <a:pt x="51994" y="200228"/>
                  </a:lnTo>
                  <a:lnTo>
                    <a:pt x="51994" y="199530"/>
                  </a:lnTo>
                  <a:lnTo>
                    <a:pt x="51994" y="200228"/>
                  </a:lnTo>
                  <a:lnTo>
                    <a:pt x="51994" y="199530"/>
                  </a:lnTo>
                  <a:lnTo>
                    <a:pt x="51994" y="200228"/>
                  </a:lnTo>
                  <a:lnTo>
                    <a:pt x="51994" y="199530"/>
                  </a:lnTo>
                  <a:lnTo>
                    <a:pt x="51994" y="200228"/>
                  </a:lnTo>
                  <a:lnTo>
                    <a:pt x="52045" y="200228"/>
                  </a:lnTo>
                  <a:lnTo>
                    <a:pt x="52045" y="198831"/>
                  </a:lnTo>
                  <a:lnTo>
                    <a:pt x="52045" y="199530"/>
                  </a:lnTo>
                  <a:lnTo>
                    <a:pt x="52045" y="198831"/>
                  </a:lnTo>
                  <a:lnTo>
                    <a:pt x="52147" y="198831"/>
                  </a:lnTo>
                  <a:lnTo>
                    <a:pt x="52147" y="199530"/>
                  </a:lnTo>
                  <a:lnTo>
                    <a:pt x="52147" y="197447"/>
                  </a:lnTo>
                  <a:lnTo>
                    <a:pt x="52147" y="199530"/>
                  </a:lnTo>
                  <a:lnTo>
                    <a:pt x="52198" y="200228"/>
                  </a:lnTo>
                  <a:lnTo>
                    <a:pt x="52198" y="199530"/>
                  </a:lnTo>
                  <a:lnTo>
                    <a:pt x="52198" y="200228"/>
                  </a:lnTo>
                  <a:lnTo>
                    <a:pt x="52248" y="200876"/>
                  </a:lnTo>
                  <a:lnTo>
                    <a:pt x="52248" y="200228"/>
                  </a:lnTo>
                  <a:lnTo>
                    <a:pt x="52248" y="200876"/>
                  </a:lnTo>
                  <a:lnTo>
                    <a:pt x="52248" y="199530"/>
                  </a:lnTo>
                  <a:lnTo>
                    <a:pt x="52248" y="200228"/>
                  </a:lnTo>
                  <a:lnTo>
                    <a:pt x="52248" y="199530"/>
                  </a:lnTo>
                  <a:lnTo>
                    <a:pt x="52248" y="200228"/>
                  </a:lnTo>
                  <a:lnTo>
                    <a:pt x="52350" y="200228"/>
                  </a:lnTo>
                  <a:lnTo>
                    <a:pt x="52350" y="199530"/>
                  </a:lnTo>
                  <a:lnTo>
                    <a:pt x="52350" y="200876"/>
                  </a:lnTo>
                  <a:lnTo>
                    <a:pt x="52350" y="200228"/>
                  </a:lnTo>
                  <a:lnTo>
                    <a:pt x="52388" y="200228"/>
                  </a:lnTo>
                  <a:lnTo>
                    <a:pt x="52388" y="200876"/>
                  </a:lnTo>
                  <a:lnTo>
                    <a:pt x="52388" y="200228"/>
                  </a:lnTo>
                  <a:lnTo>
                    <a:pt x="52388" y="202260"/>
                  </a:lnTo>
                  <a:lnTo>
                    <a:pt x="52439" y="202260"/>
                  </a:lnTo>
                  <a:lnTo>
                    <a:pt x="52439" y="200876"/>
                  </a:lnTo>
                  <a:lnTo>
                    <a:pt x="52490" y="200876"/>
                  </a:lnTo>
                  <a:lnTo>
                    <a:pt x="52490" y="200228"/>
                  </a:lnTo>
                  <a:lnTo>
                    <a:pt x="52490" y="200876"/>
                  </a:lnTo>
                  <a:lnTo>
                    <a:pt x="52490" y="199530"/>
                  </a:lnTo>
                  <a:lnTo>
                    <a:pt x="52490" y="200228"/>
                  </a:lnTo>
                  <a:lnTo>
                    <a:pt x="52591" y="199530"/>
                  </a:lnTo>
                  <a:lnTo>
                    <a:pt x="52591" y="198831"/>
                  </a:lnTo>
                  <a:lnTo>
                    <a:pt x="52591" y="200228"/>
                  </a:lnTo>
                  <a:lnTo>
                    <a:pt x="52642" y="200228"/>
                  </a:lnTo>
                  <a:lnTo>
                    <a:pt x="52642" y="199530"/>
                  </a:lnTo>
                  <a:lnTo>
                    <a:pt x="52642" y="202959"/>
                  </a:lnTo>
                  <a:lnTo>
                    <a:pt x="52642" y="202260"/>
                  </a:lnTo>
                  <a:lnTo>
                    <a:pt x="52693" y="200876"/>
                  </a:lnTo>
                  <a:lnTo>
                    <a:pt x="52693" y="202260"/>
                  </a:lnTo>
                  <a:lnTo>
                    <a:pt x="52693" y="200876"/>
                  </a:lnTo>
                  <a:lnTo>
                    <a:pt x="52693" y="202959"/>
                  </a:lnTo>
                  <a:lnTo>
                    <a:pt x="52693" y="200876"/>
                  </a:lnTo>
                  <a:lnTo>
                    <a:pt x="52794" y="200876"/>
                  </a:lnTo>
                  <a:lnTo>
                    <a:pt x="52794" y="202260"/>
                  </a:lnTo>
                  <a:lnTo>
                    <a:pt x="52794" y="200876"/>
                  </a:lnTo>
                  <a:lnTo>
                    <a:pt x="52794" y="202260"/>
                  </a:lnTo>
                  <a:lnTo>
                    <a:pt x="52794" y="200876"/>
                  </a:lnTo>
                  <a:lnTo>
                    <a:pt x="52845" y="202260"/>
                  </a:lnTo>
                  <a:lnTo>
                    <a:pt x="52845" y="200876"/>
                  </a:lnTo>
                  <a:lnTo>
                    <a:pt x="52845" y="202959"/>
                  </a:lnTo>
                  <a:lnTo>
                    <a:pt x="52845" y="200876"/>
                  </a:lnTo>
                  <a:lnTo>
                    <a:pt x="52845" y="202260"/>
                  </a:lnTo>
                  <a:lnTo>
                    <a:pt x="52845" y="200876"/>
                  </a:lnTo>
                  <a:lnTo>
                    <a:pt x="52896" y="202260"/>
                  </a:lnTo>
                  <a:lnTo>
                    <a:pt x="52896" y="200876"/>
                  </a:lnTo>
                  <a:lnTo>
                    <a:pt x="52896" y="202260"/>
                  </a:lnTo>
                  <a:lnTo>
                    <a:pt x="52896" y="200876"/>
                  </a:lnTo>
                  <a:lnTo>
                    <a:pt x="52934" y="200876"/>
                  </a:lnTo>
                  <a:lnTo>
                    <a:pt x="52934" y="200228"/>
                  </a:lnTo>
                  <a:lnTo>
                    <a:pt x="53036" y="200228"/>
                  </a:lnTo>
                  <a:lnTo>
                    <a:pt x="53036" y="199530"/>
                  </a:lnTo>
                  <a:lnTo>
                    <a:pt x="53036" y="200228"/>
                  </a:lnTo>
                  <a:lnTo>
                    <a:pt x="53036" y="198831"/>
                  </a:lnTo>
                  <a:lnTo>
                    <a:pt x="53086" y="198831"/>
                  </a:lnTo>
                  <a:lnTo>
                    <a:pt x="53086" y="196799"/>
                  </a:lnTo>
                  <a:lnTo>
                    <a:pt x="53086" y="199530"/>
                  </a:lnTo>
                  <a:lnTo>
                    <a:pt x="53086" y="198831"/>
                  </a:lnTo>
                  <a:lnTo>
                    <a:pt x="53137" y="198831"/>
                  </a:lnTo>
                  <a:lnTo>
                    <a:pt x="53137" y="197447"/>
                  </a:lnTo>
                  <a:lnTo>
                    <a:pt x="53137" y="200876"/>
                  </a:lnTo>
                  <a:lnTo>
                    <a:pt x="53137" y="199530"/>
                  </a:lnTo>
                  <a:lnTo>
                    <a:pt x="53239" y="199530"/>
                  </a:lnTo>
                  <a:lnTo>
                    <a:pt x="53239" y="200228"/>
                  </a:lnTo>
                  <a:lnTo>
                    <a:pt x="53239" y="199530"/>
                  </a:lnTo>
                  <a:lnTo>
                    <a:pt x="53239" y="200876"/>
                  </a:lnTo>
                  <a:lnTo>
                    <a:pt x="53239" y="199530"/>
                  </a:lnTo>
                  <a:lnTo>
                    <a:pt x="53290" y="199530"/>
                  </a:lnTo>
                  <a:lnTo>
                    <a:pt x="53290" y="200876"/>
                  </a:lnTo>
                  <a:lnTo>
                    <a:pt x="53290" y="200228"/>
                  </a:lnTo>
                  <a:lnTo>
                    <a:pt x="53290" y="200876"/>
                  </a:lnTo>
                  <a:lnTo>
                    <a:pt x="53341" y="200876"/>
                  </a:lnTo>
                  <a:lnTo>
                    <a:pt x="53341" y="202260"/>
                  </a:lnTo>
                  <a:lnTo>
                    <a:pt x="53341" y="200876"/>
                  </a:lnTo>
                  <a:lnTo>
                    <a:pt x="53341" y="202260"/>
                  </a:lnTo>
                  <a:lnTo>
                    <a:pt x="53341" y="200876"/>
                  </a:lnTo>
                  <a:lnTo>
                    <a:pt x="53341" y="202260"/>
                  </a:lnTo>
                  <a:lnTo>
                    <a:pt x="53341" y="200876"/>
                  </a:lnTo>
                  <a:lnTo>
                    <a:pt x="53341" y="202260"/>
                  </a:lnTo>
                  <a:lnTo>
                    <a:pt x="53391" y="200876"/>
                  </a:lnTo>
                  <a:lnTo>
                    <a:pt x="53391" y="202260"/>
                  </a:lnTo>
                  <a:lnTo>
                    <a:pt x="53391" y="200876"/>
                  </a:lnTo>
                  <a:lnTo>
                    <a:pt x="53391" y="202260"/>
                  </a:lnTo>
                  <a:lnTo>
                    <a:pt x="53391" y="200876"/>
                  </a:lnTo>
                  <a:lnTo>
                    <a:pt x="53480" y="202260"/>
                  </a:lnTo>
                  <a:lnTo>
                    <a:pt x="53480" y="200876"/>
                  </a:lnTo>
                  <a:lnTo>
                    <a:pt x="53480" y="202260"/>
                  </a:lnTo>
                  <a:lnTo>
                    <a:pt x="53480" y="200228"/>
                  </a:lnTo>
                  <a:lnTo>
                    <a:pt x="53480" y="200876"/>
                  </a:lnTo>
                  <a:lnTo>
                    <a:pt x="53531" y="200228"/>
                  </a:lnTo>
                  <a:lnTo>
                    <a:pt x="53531" y="199530"/>
                  </a:lnTo>
                  <a:lnTo>
                    <a:pt x="53531" y="200228"/>
                  </a:lnTo>
                  <a:lnTo>
                    <a:pt x="53531" y="198831"/>
                  </a:lnTo>
                  <a:lnTo>
                    <a:pt x="53531" y="199530"/>
                  </a:lnTo>
                  <a:lnTo>
                    <a:pt x="53531" y="198831"/>
                  </a:lnTo>
                  <a:lnTo>
                    <a:pt x="53582" y="198831"/>
                  </a:lnTo>
                  <a:lnTo>
                    <a:pt x="53582" y="196799"/>
                  </a:lnTo>
                  <a:lnTo>
                    <a:pt x="53582" y="198831"/>
                  </a:lnTo>
                  <a:lnTo>
                    <a:pt x="53582" y="197447"/>
                  </a:lnTo>
                  <a:lnTo>
                    <a:pt x="53633" y="197447"/>
                  </a:lnTo>
                  <a:lnTo>
                    <a:pt x="53633" y="198831"/>
                  </a:lnTo>
                  <a:lnTo>
                    <a:pt x="53633" y="197447"/>
                  </a:lnTo>
                  <a:lnTo>
                    <a:pt x="53633" y="199530"/>
                  </a:lnTo>
                  <a:lnTo>
                    <a:pt x="53734" y="199530"/>
                  </a:lnTo>
                  <a:lnTo>
                    <a:pt x="53734" y="198831"/>
                  </a:lnTo>
                  <a:lnTo>
                    <a:pt x="53734" y="200228"/>
                  </a:lnTo>
                  <a:lnTo>
                    <a:pt x="53734" y="199530"/>
                  </a:lnTo>
                  <a:lnTo>
                    <a:pt x="53785" y="199530"/>
                  </a:lnTo>
                  <a:lnTo>
                    <a:pt x="53785" y="198831"/>
                  </a:lnTo>
                  <a:lnTo>
                    <a:pt x="53785" y="200228"/>
                  </a:lnTo>
                  <a:lnTo>
                    <a:pt x="53785" y="199530"/>
                  </a:lnTo>
                  <a:lnTo>
                    <a:pt x="53785" y="200228"/>
                  </a:lnTo>
                  <a:lnTo>
                    <a:pt x="53836" y="200228"/>
                  </a:lnTo>
                  <a:lnTo>
                    <a:pt x="53836" y="200876"/>
                  </a:lnTo>
                  <a:lnTo>
                    <a:pt x="53937" y="200876"/>
                  </a:lnTo>
                  <a:lnTo>
                    <a:pt x="53937" y="202260"/>
                  </a:lnTo>
                  <a:lnTo>
                    <a:pt x="53937" y="200876"/>
                  </a:lnTo>
                  <a:lnTo>
                    <a:pt x="53937" y="202260"/>
                  </a:lnTo>
                  <a:lnTo>
                    <a:pt x="53937" y="200876"/>
                  </a:lnTo>
                  <a:lnTo>
                    <a:pt x="53937" y="202260"/>
                  </a:lnTo>
                  <a:lnTo>
                    <a:pt x="53937" y="200876"/>
                  </a:lnTo>
                  <a:lnTo>
                    <a:pt x="53937" y="202260"/>
                  </a:lnTo>
                  <a:lnTo>
                    <a:pt x="53975" y="202260"/>
                  </a:lnTo>
                  <a:lnTo>
                    <a:pt x="53975" y="200228"/>
                  </a:lnTo>
                  <a:lnTo>
                    <a:pt x="54026" y="200228"/>
                  </a:lnTo>
                  <a:lnTo>
                    <a:pt x="54026" y="198831"/>
                  </a:lnTo>
                  <a:lnTo>
                    <a:pt x="54026" y="199530"/>
                  </a:lnTo>
                  <a:lnTo>
                    <a:pt x="54026" y="198831"/>
                  </a:lnTo>
                  <a:lnTo>
                    <a:pt x="54077" y="197447"/>
                  </a:lnTo>
                  <a:lnTo>
                    <a:pt x="54077" y="199530"/>
                  </a:lnTo>
                  <a:lnTo>
                    <a:pt x="54077" y="197447"/>
                  </a:lnTo>
                  <a:lnTo>
                    <a:pt x="54179" y="197447"/>
                  </a:lnTo>
                  <a:lnTo>
                    <a:pt x="54179" y="199530"/>
                  </a:lnTo>
                  <a:lnTo>
                    <a:pt x="54179" y="198831"/>
                  </a:lnTo>
                  <a:lnTo>
                    <a:pt x="54179" y="199530"/>
                  </a:lnTo>
                  <a:lnTo>
                    <a:pt x="54179" y="198831"/>
                  </a:lnTo>
                  <a:lnTo>
                    <a:pt x="54179" y="199530"/>
                  </a:lnTo>
                  <a:lnTo>
                    <a:pt x="54179" y="198831"/>
                  </a:lnTo>
                  <a:lnTo>
                    <a:pt x="54230" y="198831"/>
                  </a:lnTo>
                  <a:lnTo>
                    <a:pt x="54230" y="197447"/>
                  </a:lnTo>
                  <a:lnTo>
                    <a:pt x="54230" y="200228"/>
                  </a:lnTo>
                  <a:lnTo>
                    <a:pt x="54230" y="199530"/>
                  </a:lnTo>
                  <a:lnTo>
                    <a:pt x="54280" y="199530"/>
                  </a:lnTo>
                  <a:lnTo>
                    <a:pt x="54280" y="200228"/>
                  </a:lnTo>
                  <a:lnTo>
                    <a:pt x="54382" y="200228"/>
                  </a:lnTo>
                  <a:lnTo>
                    <a:pt x="54382" y="200876"/>
                  </a:lnTo>
                  <a:lnTo>
                    <a:pt x="54382" y="200228"/>
                  </a:lnTo>
                  <a:lnTo>
                    <a:pt x="54382" y="200876"/>
                  </a:lnTo>
                  <a:lnTo>
                    <a:pt x="54382" y="200228"/>
                  </a:lnTo>
                  <a:lnTo>
                    <a:pt x="54382" y="200876"/>
                  </a:lnTo>
                  <a:lnTo>
                    <a:pt x="54433" y="200876"/>
                  </a:lnTo>
                  <a:lnTo>
                    <a:pt x="54433" y="202260"/>
                  </a:lnTo>
                  <a:lnTo>
                    <a:pt x="54433" y="200876"/>
                  </a:lnTo>
                  <a:lnTo>
                    <a:pt x="54484" y="202260"/>
                  </a:lnTo>
                  <a:lnTo>
                    <a:pt x="54484" y="200228"/>
                  </a:lnTo>
                  <a:lnTo>
                    <a:pt x="54522" y="200228"/>
                  </a:lnTo>
                  <a:lnTo>
                    <a:pt x="54522" y="200876"/>
                  </a:lnTo>
                  <a:lnTo>
                    <a:pt x="54522" y="199530"/>
                  </a:lnTo>
                  <a:lnTo>
                    <a:pt x="54522" y="200876"/>
                  </a:lnTo>
                  <a:lnTo>
                    <a:pt x="54623" y="200876"/>
                  </a:lnTo>
                  <a:lnTo>
                    <a:pt x="54623" y="199530"/>
                  </a:lnTo>
                  <a:lnTo>
                    <a:pt x="54623" y="202959"/>
                  </a:lnTo>
                  <a:lnTo>
                    <a:pt x="54623" y="202260"/>
                  </a:lnTo>
                  <a:lnTo>
                    <a:pt x="54674" y="202260"/>
                  </a:lnTo>
                  <a:lnTo>
                    <a:pt x="54674" y="199530"/>
                  </a:lnTo>
                  <a:lnTo>
                    <a:pt x="54674" y="202959"/>
                  </a:lnTo>
                  <a:lnTo>
                    <a:pt x="54674" y="200876"/>
                  </a:lnTo>
                  <a:lnTo>
                    <a:pt x="54725" y="200876"/>
                  </a:lnTo>
                  <a:lnTo>
                    <a:pt x="54725" y="200228"/>
                  </a:lnTo>
                  <a:lnTo>
                    <a:pt x="54725" y="200876"/>
                  </a:lnTo>
                  <a:lnTo>
                    <a:pt x="54725" y="200228"/>
                  </a:lnTo>
                  <a:lnTo>
                    <a:pt x="54725" y="200876"/>
                  </a:lnTo>
                  <a:lnTo>
                    <a:pt x="54725" y="200228"/>
                  </a:lnTo>
                  <a:lnTo>
                    <a:pt x="54826" y="200228"/>
                  </a:lnTo>
                  <a:lnTo>
                    <a:pt x="54826" y="200876"/>
                  </a:lnTo>
                  <a:lnTo>
                    <a:pt x="54877" y="200876"/>
                  </a:lnTo>
                  <a:lnTo>
                    <a:pt x="54877" y="200228"/>
                  </a:lnTo>
                  <a:lnTo>
                    <a:pt x="54928" y="200876"/>
                  </a:lnTo>
                  <a:lnTo>
                    <a:pt x="54928" y="200228"/>
                  </a:lnTo>
                  <a:lnTo>
                    <a:pt x="54928" y="200876"/>
                  </a:lnTo>
                  <a:lnTo>
                    <a:pt x="54928" y="200228"/>
                  </a:lnTo>
                  <a:lnTo>
                    <a:pt x="54979" y="200228"/>
                  </a:lnTo>
                  <a:lnTo>
                    <a:pt x="54979" y="199530"/>
                  </a:lnTo>
                  <a:lnTo>
                    <a:pt x="54979" y="200876"/>
                  </a:lnTo>
                  <a:lnTo>
                    <a:pt x="55068" y="200876"/>
                  </a:lnTo>
                  <a:lnTo>
                    <a:pt x="55068" y="202260"/>
                  </a:lnTo>
                  <a:lnTo>
                    <a:pt x="55068" y="200228"/>
                  </a:lnTo>
                  <a:lnTo>
                    <a:pt x="55068" y="204292"/>
                  </a:lnTo>
                  <a:lnTo>
                    <a:pt x="55118" y="204292"/>
                  </a:lnTo>
                  <a:lnTo>
                    <a:pt x="55118" y="203594"/>
                  </a:lnTo>
                  <a:lnTo>
                    <a:pt x="55118" y="204292"/>
                  </a:lnTo>
                  <a:lnTo>
                    <a:pt x="55118" y="203594"/>
                  </a:lnTo>
                  <a:lnTo>
                    <a:pt x="55169" y="203594"/>
                  </a:lnTo>
                  <a:lnTo>
                    <a:pt x="55169" y="204292"/>
                  </a:lnTo>
                  <a:lnTo>
                    <a:pt x="55169" y="203594"/>
                  </a:lnTo>
                  <a:lnTo>
                    <a:pt x="55169" y="204292"/>
                  </a:lnTo>
                  <a:lnTo>
                    <a:pt x="55169" y="203594"/>
                  </a:lnTo>
                  <a:lnTo>
                    <a:pt x="55169" y="204292"/>
                  </a:lnTo>
                  <a:lnTo>
                    <a:pt x="55169" y="203594"/>
                  </a:lnTo>
                  <a:lnTo>
                    <a:pt x="55169" y="204292"/>
                  </a:lnTo>
                  <a:lnTo>
                    <a:pt x="55220" y="203594"/>
                  </a:lnTo>
                  <a:lnTo>
                    <a:pt x="55220" y="202959"/>
                  </a:lnTo>
                  <a:lnTo>
                    <a:pt x="55322" y="203594"/>
                  </a:lnTo>
                  <a:lnTo>
                    <a:pt x="55322" y="202959"/>
                  </a:lnTo>
                  <a:lnTo>
                    <a:pt x="55322" y="203594"/>
                  </a:lnTo>
                  <a:lnTo>
                    <a:pt x="55322" y="202959"/>
                  </a:lnTo>
                  <a:lnTo>
                    <a:pt x="55322" y="203594"/>
                  </a:lnTo>
                  <a:lnTo>
                    <a:pt x="55322" y="202959"/>
                  </a:lnTo>
                  <a:lnTo>
                    <a:pt x="55322" y="203594"/>
                  </a:lnTo>
                  <a:lnTo>
                    <a:pt x="55373" y="202959"/>
                  </a:lnTo>
                  <a:lnTo>
                    <a:pt x="55373" y="202260"/>
                  </a:lnTo>
                  <a:lnTo>
                    <a:pt x="55373" y="202959"/>
                  </a:lnTo>
                  <a:lnTo>
                    <a:pt x="55373" y="200876"/>
                  </a:lnTo>
                  <a:lnTo>
                    <a:pt x="55373" y="202260"/>
                  </a:lnTo>
                  <a:lnTo>
                    <a:pt x="55373" y="200876"/>
                  </a:lnTo>
                  <a:lnTo>
                    <a:pt x="55423" y="202260"/>
                  </a:lnTo>
                  <a:lnTo>
                    <a:pt x="55423" y="200228"/>
                  </a:lnTo>
                  <a:lnTo>
                    <a:pt x="55525" y="200228"/>
                  </a:lnTo>
                  <a:lnTo>
                    <a:pt x="55525" y="198831"/>
                  </a:lnTo>
                  <a:lnTo>
                    <a:pt x="55525" y="199530"/>
                  </a:lnTo>
                  <a:lnTo>
                    <a:pt x="55525" y="198831"/>
                  </a:lnTo>
                  <a:lnTo>
                    <a:pt x="55525" y="200876"/>
                  </a:lnTo>
                  <a:lnTo>
                    <a:pt x="55525" y="200228"/>
                  </a:lnTo>
                  <a:lnTo>
                    <a:pt x="55563" y="200228"/>
                  </a:lnTo>
                  <a:lnTo>
                    <a:pt x="55563" y="202959"/>
                  </a:lnTo>
                  <a:lnTo>
                    <a:pt x="55563" y="202260"/>
                  </a:lnTo>
                  <a:lnTo>
                    <a:pt x="55614" y="202260"/>
                  </a:lnTo>
                  <a:lnTo>
                    <a:pt x="55614" y="202959"/>
                  </a:lnTo>
                  <a:lnTo>
                    <a:pt x="55614" y="202260"/>
                  </a:lnTo>
                  <a:lnTo>
                    <a:pt x="55614" y="202959"/>
                  </a:lnTo>
                  <a:lnTo>
                    <a:pt x="55665" y="202959"/>
                  </a:lnTo>
                  <a:lnTo>
                    <a:pt x="55665" y="203594"/>
                  </a:lnTo>
                  <a:lnTo>
                    <a:pt x="55665" y="202959"/>
                  </a:lnTo>
                  <a:lnTo>
                    <a:pt x="55665" y="203594"/>
                  </a:lnTo>
                  <a:lnTo>
                    <a:pt x="55665" y="202959"/>
                  </a:lnTo>
                  <a:lnTo>
                    <a:pt x="55665" y="203594"/>
                  </a:lnTo>
                  <a:lnTo>
                    <a:pt x="55665" y="202959"/>
                  </a:lnTo>
                  <a:lnTo>
                    <a:pt x="55665" y="203594"/>
                  </a:lnTo>
                  <a:lnTo>
                    <a:pt x="55817" y="203594"/>
                  </a:lnTo>
                  <a:lnTo>
                    <a:pt x="55817" y="202959"/>
                  </a:lnTo>
                  <a:lnTo>
                    <a:pt x="55817" y="203594"/>
                  </a:lnTo>
                  <a:lnTo>
                    <a:pt x="55817" y="202959"/>
                  </a:lnTo>
                  <a:lnTo>
                    <a:pt x="55817" y="203594"/>
                  </a:lnTo>
                  <a:lnTo>
                    <a:pt x="55817" y="202959"/>
                  </a:lnTo>
                  <a:lnTo>
                    <a:pt x="55817" y="203594"/>
                  </a:lnTo>
                  <a:lnTo>
                    <a:pt x="55868" y="202959"/>
                  </a:lnTo>
                  <a:lnTo>
                    <a:pt x="55868" y="200876"/>
                  </a:lnTo>
                  <a:lnTo>
                    <a:pt x="55969" y="200876"/>
                  </a:lnTo>
                  <a:lnTo>
                    <a:pt x="55969" y="199530"/>
                  </a:lnTo>
                  <a:lnTo>
                    <a:pt x="55969" y="200228"/>
                  </a:lnTo>
                  <a:lnTo>
                    <a:pt x="55969" y="198831"/>
                  </a:lnTo>
                  <a:lnTo>
                    <a:pt x="56020" y="198831"/>
                  </a:lnTo>
                  <a:lnTo>
                    <a:pt x="56020" y="200228"/>
                  </a:lnTo>
                  <a:lnTo>
                    <a:pt x="56020" y="198831"/>
                  </a:lnTo>
                  <a:lnTo>
                    <a:pt x="56020" y="200228"/>
                  </a:lnTo>
                  <a:lnTo>
                    <a:pt x="56071" y="200876"/>
                  </a:lnTo>
                  <a:lnTo>
                    <a:pt x="56071" y="202959"/>
                  </a:lnTo>
                  <a:lnTo>
                    <a:pt x="56071" y="200228"/>
                  </a:lnTo>
                  <a:lnTo>
                    <a:pt x="56071" y="202260"/>
                  </a:lnTo>
                  <a:lnTo>
                    <a:pt x="56109" y="202260"/>
                  </a:lnTo>
                  <a:lnTo>
                    <a:pt x="56109" y="200876"/>
                  </a:lnTo>
                  <a:lnTo>
                    <a:pt x="56109" y="202260"/>
                  </a:lnTo>
                  <a:lnTo>
                    <a:pt x="56109" y="200876"/>
                  </a:lnTo>
                  <a:lnTo>
                    <a:pt x="56109" y="202260"/>
                  </a:lnTo>
                  <a:lnTo>
                    <a:pt x="56211" y="202959"/>
                  </a:lnTo>
                  <a:lnTo>
                    <a:pt x="56211" y="202260"/>
                  </a:lnTo>
                  <a:lnTo>
                    <a:pt x="56211" y="202959"/>
                  </a:lnTo>
                  <a:lnTo>
                    <a:pt x="56211" y="202260"/>
                  </a:lnTo>
                  <a:lnTo>
                    <a:pt x="56211" y="202959"/>
                  </a:lnTo>
                  <a:lnTo>
                    <a:pt x="56261" y="202959"/>
                  </a:lnTo>
                  <a:lnTo>
                    <a:pt x="56261" y="202260"/>
                  </a:lnTo>
                  <a:lnTo>
                    <a:pt x="56261" y="202959"/>
                  </a:lnTo>
                  <a:lnTo>
                    <a:pt x="56312" y="203594"/>
                  </a:lnTo>
                  <a:lnTo>
                    <a:pt x="56312" y="202260"/>
                  </a:lnTo>
                  <a:lnTo>
                    <a:pt x="56312" y="202959"/>
                  </a:lnTo>
                  <a:lnTo>
                    <a:pt x="56414" y="202959"/>
                  </a:lnTo>
                  <a:lnTo>
                    <a:pt x="56414" y="200876"/>
                  </a:lnTo>
                  <a:lnTo>
                    <a:pt x="56465" y="200228"/>
                  </a:lnTo>
                  <a:lnTo>
                    <a:pt x="56465" y="199530"/>
                  </a:lnTo>
                  <a:lnTo>
                    <a:pt x="56465" y="202260"/>
                  </a:lnTo>
                  <a:lnTo>
                    <a:pt x="56465" y="200876"/>
                  </a:lnTo>
                  <a:lnTo>
                    <a:pt x="56516" y="200876"/>
                  </a:lnTo>
                  <a:lnTo>
                    <a:pt x="56516" y="200228"/>
                  </a:lnTo>
                  <a:lnTo>
                    <a:pt x="56516" y="200876"/>
                  </a:lnTo>
                  <a:lnTo>
                    <a:pt x="56516" y="199530"/>
                  </a:lnTo>
                  <a:lnTo>
                    <a:pt x="56516" y="203594"/>
                  </a:lnTo>
                  <a:lnTo>
                    <a:pt x="56516" y="202260"/>
                  </a:lnTo>
                  <a:lnTo>
                    <a:pt x="56566" y="202260"/>
                  </a:lnTo>
                  <a:lnTo>
                    <a:pt x="56566" y="200228"/>
                  </a:lnTo>
                  <a:lnTo>
                    <a:pt x="56566" y="202959"/>
                  </a:lnTo>
                  <a:lnTo>
                    <a:pt x="56566" y="200876"/>
                  </a:lnTo>
                  <a:lnTo>
                    <a:pt x="56655" y="200876"/>
                  </a:lnTo>
                  <a:lnTo>
                    <a:pt x="56655" y="202260"/>
                  </a:lnTo>
                  <a:lnTo>
                    <a:pt x="56655" y="200876"/>
                  </a:lnTo>
                  <a:lnTo>
                    <a:pt x="56706" y="202260"/>
                  </a:lnTo>
                  <a:lnTo>
                    <a:pt x="56706" y="202959"/>
                  </a:lnTo>
                  <a:lnTo>
                    <a:pt x="56706" y="202260"/>
                  </a:lnTo>
                  <a:lnTo>
                    <a:pt x="56757" y="202260"/>
                  </a:lnTo>
                  <a:lnTo>
                    <a:pt x="56757" y="202959"/>
                  </a:lnTo>
                  <a:lnTo>
                    <a:pt x="56757" y="202260"/>
                  </a:lnTo>
                  <a:lnTo>
                    <a:pt x="56757" y="202959"/>
                  </a:lnTo>
                  <a:lnTo>
                    <a:pt x="56757" y="202260"/>
                  </a:lnTo>
                  <a:lnTo>
                    <a:pt x="56757" y="202959"/>
                  </a:lnTo>
                  <a:lnTo>
                    <a:pt x="56757" y="202260"/>
                  </a:lnTo>
                  <a:lnTo>
                    <a:pt x="56808" y="202260"/>
                  </a:lnTo>
                  <a:lnTo>
                    <a:pt x="56808" y="200876"/>
                  </a:lnTo>
                  <a:lnTo>
                    <a:pt x="56909" y="200228"/>
                  </a:lnTo>
                  <a:lnTo>
                    <a:pt x="56909" y="200876"/>
                  </a:lnTo>
                  <a:lnTo>
                    <a:pt x="56909" y="199530"/>
                  </a:lnTo>
                  <a:lnTo>
                    <a:pt x="56960" y="199530"/>
                  </a:lnTo>
                  <a:lnTo>
                    <a:pt x="56960" y="197447"/>
                  </a:lnTo>
                  <a:lnTo>
                    <a:pt x="56960" y="199530"/>
                  </a:lnTo>
                  <a:lnTo>
                    <a:pt x="57011" y="198831"/>
                  </a:lnTo>
                  <a:lnTo>
                    <a:pt x="57011" y="199530"/>
                  </a:lnTo>
                  <a:lnTo>
                    <a:pt x="57011" y="198831"/>
                  </a:lnTo>
                  <a:lnTo>
                    <a:pt x="57011" y="199530"/>
                  </a:lnTo>
                  <a:lnTo>
                    <a:pt x="57011" y="198831"/>
                  </a:lnTo>
                  <a:lnTo>
                    <a:pt x="57011" y="200228"/>
                  </a:lnTo>
                  <a:lnTo>
                    <a:pt x="57112" y="200228"/>
                  </a:lnTo>
                  <a:lnTo>
                    <a:pt x="57112" y="199530"/>
                  </a:lnTo>
                  <a:lnTo>
                    <a:pt x="57112" y="200228"/>
                  </a:lnTo>
                  <a:lnTo>
                    <a:pt x="57112" y="199530"/>
                  </a:lnTo>
                  <a:lnTo>
                    <a:pt x="57112" y="200876"/>
                  </a:lnTo>
                  <a:lnTo>
                    <a:pt x="57112" y="200228"/>
                  </a:lnTo>
                  <a:lnTo>
                    <a:pt x="57150" y="200228"/>
                  </a:lnTo>
                  <a:lnTo>
                    <a:pt x="57150" y="199530"/>
                  </a:lnTo>
                  <a:lnTo>
                    <a:pt x="57150" y="200876"/>
                  </a:lnTo>
                  <a:lnTo>
                    <a:pt x="57150" y="200228"/>
                  </a:lnTo>
                  <a:lnTo>
                    <a:pt x="57150" y="200876"/>
                  </a:lnTo>
                  <a:lnTo>
                    <a:pt x="57201" y="200876"/>
                  </a:lnTo>
                  <a:lnTo>
                    <a:pt x="57201" y="200228"/>
                  </a:lnTo>
                  <a:lnTo>
                    <a:pt x="57201" y="200876"/>
                  </a:lnTo>
                  <a:lnTo>
                    <a:pt x="57252" y="200876"/>
                  </a:lnTo>
                  <a:lnTo>
                    <a:pt x="57252" y="202260"/>
                  </a:lnTo>
                  <a:lnTo>
                    <a:pt x="57252" y="200876"/>
                  </a:lnTo>
                  <a:lnTo>
                    <a:pt x="57354" y="200876"/>
                  </a:lnTo>
                  <a:lnTo>
                    <a:pt x="57354" y="200228"/>
                  </a:lnTo>
                  <a:lnTo>
                    <a:pt x="57405" y="200876"/>
                  </a:lnTo>
                  <a:lnTo>
                    <a:pt x="57405" y="199530"/>
                  </a:lnTo>
                  <a:lnTo>
                    <a:pt x="57455" y="198831"/>
                  </a:lnTo>
                  <a:lnTo>
                    <a:pt x="57455" y="197447"/>
                  </a:lnTo>
                  <a:lnTo>
                    <a:pt x="57455" y="198831"/>
                  </a:lnTo>
                  <a:lnTo>
                    <a:pt x="57455" y="197447"/>
                  </a:lnTo>
                  <a:lnTo>
                    <a:pt x="57557" y="197447"/>
                  </a:lnTo>
                  <a:lnTo>
                    <a:pt x="57557" y="198831"/>
                  </a:lnTo>
                  <a:lnTo>
                    <a:pt x="57557" y="196113"/>
                  </a:lnTo>
                  <a:lnTo>
                    <a:pt x="57557" y="200228"/>
                  </a:lnTo>
                  <a:lnTo>
                    <a:pt x="57557" y="199530"/>
                  </a:lnTo>
                  <a:lnTo>
                    <a:pt x="57608" y="199530"/>
                  </a:lnTo>
                  <a:lnTo>
                    <a:pt x="57608" y="196799"/>
                  </a:lnTo>
                  <a:lnTo>
                    <a:pt x="57608" y="199530"/>
                  </a:lnTo>
                  <a:lnTo>
                    <a:pt x="57659" y="199530"/>
                  </a:lnTo>
                  <a:lnTo>
                    <a:pt x="57659" y="197447"/>
                  </a:lnTo>
                  <a:lnTo>
                    <a:pt x="57659" y="199530"/>
                  </a:lnTo>
                  <a:lnTo>
                    <a:pt x="57659" y="198831"/>
                  </a:lnTo>
                  <a:lnTo>
                    <a:pt x="57659" y="199530"/>
                  </a:lnTo>
                  <a:lnTo>
                    <a:pt x="57697" y="199530"/>
                  </a:lnTo>
                  <a:lnTo>
                    <a:pt x="57697" y="198831"/>
                  </a:lnTo>
                  <a:lnTo>
                    <a:pt x="57697" y="200228"/>
                  </a:lnTo>
                  <a:lnTo>
                    <a:pt x="57697" y="199530"/>
                  </a:lnTo>
                  <a:lnTo>
                    <a:pt x="57697" y="200228"/>
                  </a:lnTo>
                  <a:lnTo>
                    <a:pt x="57697" y="199530"/>
                  </a:lnTo>
                  <a:lnTo>
                    <a:pt x="57798" y="199530"/>
                  </a:lnTo>
                  <a:lnTo>
                    <a:pt x="57798" y="200228"/>
                  </a:lnTo>
                  <a:lnTo>
                    <a:pt x="57798" y="199530"/>
                  </a:lnTo>
                  <a:lnTo>
                    <a:pt x="57798" y="200228"/>
                  </a:lnTo>
                  <a:lnTo>
                    <a:pt x="57798" y="199530"/>
                  </a:lnTo>
                  <a:lnTo>
                    <a:pt x="57798" y="200228"/>
                  </a:lnTo>
                  <a:lnTo>
                    <a:pt x="57849" y="199530"/>
                  </a:lnTo>
                  <a:lnTo>
                    <a:pt x="57849" y="200228"/>
                  </a:lnTo>
                  <a:lnTo>
                    <a:pt x="57849" y="199530"/>
                  </a:lnTo>
                  <a:lnTo>
                    <a:pt x="57849" y="200228"/>
                  </a:lnTo>
                  <a:lnTo>
                    <a:pt x="57849" y="199530"/>
                  </a:lnTo>
                  <a:lnTo>
                    <a:pt x="57849" y="200228"/>
                  </a:lnTo>
                  <a:lnTo>
                    <a:pt x="57900" y="199530"/>
                  </a:lnTo>
                  <a:lnTo>
                    <a:pt x="57900" y="200228"/>
                  </a:lnTo>
                  <a:lnTo>
                    <a:pt x="57900" y="197447"/>
                  </a:lnTo>
                  <a:lnTo>
                    <a:pt x="57900" y="198831"/>
                  </a:lnTo>
                  <a:lnTo>
                    <a:pt x="58001" y="198831"/>
                  </a:lnTo>
                  <a:lnTo>
                    <a:pt x="58001" y="196799"/>
                  </a:lnTo>
                  <a:lnTo>
                    <a:pt x="58001" y="197447"/>
                  </a:lnTo>
                  <a:lnTo>
                    <a:pt x="58001" y="196113"/>
                  </a:lnTo>
                  <a:lnTo>
                    <a:pt x="58001" y="197447"/>
                  </a:lnTo>
                  <a:lnTo>
                    <a:pt x="58052" y="197447"/>
                  </a:lnTo>
                  <a:lnTo>
                    <a:pt x="58052" y="196113"/>
                  </a:lnTo>
                  <a:lnTo>
                    <a:pt x="58052" y="199530"/>
                  </a:lnTo>
                  <a:lnTo>
                    <a:pt x="58052" y="198831"/>
                  </a:lnTo>
                  <a:lnTo>
                    <a:pt x="58103" y="198831"/>
                  </a:lnTo>
                  <a:lnTo>
                    <a:pt x="58103" y="196799"/>
                  </a:lnTo>
                  <a:lnTo>
                    <a:pt x="58103" y="198831"/>
                  </a:lnTo>
                  <a:lnTo>
                    <a:pt x="58154" y="198831"/>
                  </a:lnTo>
                  <a:lnTo>
                    <a:pt x="58154" y="197447"/>
                  </a:lnTo>
                  <a:lnTo>
                    <a:pt x="58154" y="198831"/>
                  </a:lnTo>
                  <a:lnTo>
                    <a:pt x="58154" y="197447"/>
                  </a:lnTo>
                  <a:lnTo>
                    <a:pt x="58154" y="198831"/>
                  </a:lnTo>
                  <a:lnTo>
                    <a:pt x="58243" y="198831"/>
                  </a:lnTo>
                  <a:lnTo>
                    <a:pt x="58243" y="199530"/>
                  </a:lnTo>
                  <a:lnTo>
                    <a:pt x="58243" y="198831"/>
                  </a:lnTo>
                  <a:lnTo>
                    <a:pt x="58243" y="199530"/>
                  </a:lnTo>
                  <a:lnTo>
                    <a:pt x="58243" y="198831"/>
                  </a:lnTo>
                  <a:lnTo>
                    <a:pt x="58293" y="199530"/>
                  </a:lnTo>
                  <a:lnTo>
                    <a:pt x="58293" y="200228"/>
                  </a:lnTo>
                  <a:lnTo>
                    <a:pt x="58395" y="200228"/>
                  </a:lnTo>
                  <a:lnTo>
                    <a:pt x="58395" y="199530"/>
                  </a:lnTo>
                  <a:lnTo>
                    <a:pt x="58395" y="200228"/>
                  </a:lnTo>
                  <a:lnTo>
                    <a:pt x="58395" y="199530"/>
                  </a:lnTo>
                  <a:lnTo>
                    <a:pt x="58497" y="198831"/>
                  </a:lnTo>
                  <a:lnTo>
                    <a:pt x="58497" y="197447"/>
                  </a:lnTo>
                  <a:lnTo>
                    <a:pt x="58497" y="200228"/>
                  </a:lnTo>
                  <a:lnTo>
                    <a:pt x="58497" y="198831"/>
                  </a:lnTo>
                  <a:lnTo>
                    <a:pt x="58548" y="198831"/>
                  </a:lnTo>
                  <a:lnTo>
                    <a:pt x="58548" y="197447"/>
                  </a:lnTo>
                  <a:lnTo>
                    <a:pt x="58548" y="198831"/>
                  </a:lnTo>
                  <a:lnTo>
                    <a:pt x="58548" y="197447"/>
                  </a:lnTo>
                  <a:lnTo>
                    <a:pt x="58548" y="200876"/>
                  </a:lnTo>
                  <a:lnTo>
                    <a:pt x="58548" y="198831"/>
                  </a:lnTo>
                  <a:lnTo>
                    <a:pt x="58598" y="198831"/>
                  </a:lnTo>
                  <a:lnTo>
                    <a:pt x="58598" y="200876"/>
                  </a:lnTo>
                  <a:lnTo>
                    <a:pt x="58598" y="199530"/>
                  </a:lnTo>
                  <a:lnTo>
                    <a:pt x="58700" y="199530"/>
                  </a:lnTo>
                  <a:lnTo>
                    <a:pt x="58700" y="200228"/>
                  </a:lnTo>
                  <a:lnTo>
                    <a:pt x="58700" y="199530"/>
                  </a:lnTo>
                  <a:lnTo>
                    <a:pt x="58700" y="200228"/>
                  </a:lnTo>
                  <a:lnTo>
                    <a:pt x="58738" y="200228"/>
                  </a:lnTo>
                  <a:lnTo>
                    <a:pt x="58738" y="199530"/>
                  </a:lnTo>
                  <a:lnTo>
                    <a:pt x="58789" y="200228"/>
                  </a:lnTo>
                  <a:lnTo>
                    <a:pt x="58789" y="199530"/>
                  </a:lnTo>
                  <a:lnTo>
                    <a:pt x="58789" y="200228"/>
                  </a:lnTo>
                  <a:lnTo>
                    <a:pt x="58789" y="199530"/>
                  </a:lnTo>
                  <a:lnTo>
                    <a:pt x="58789" y="200228"/>
                  </a:lnTo>
                  <a:lnTo>
                    <a:pt x="58840" y="200228"/>
                  </a:lnTo>
                  <a:lnTo>
                    <a:pt x="58840" y="199530"/>
                  </a:lnTo>
                  <a:lnTo>
                    <a:pt x="58840" y="200228"/>
                  </a:lnTo>
                  <a:lnTo>
                    <a:pt x="58840" y="198831"/>
                  </a:lnTo>
                  <a:lnTo>
                    <a:pt x="58941" y="198831"/>
                  </a:lnTo>
                  <a:lnTo>
                    <a:pt x="58941" y="197447"/>
                  </a:lnTo>
                  <a:lnTo>
                    <a:pt x="58941" y="200228"/>
                  </a:lnTo>
                  <a:lnTo>
                    <a:pt x="58992" y="199530"/>
                  </a:lnTo>
                  <a:lnTo>
                    <a:pt x="58992" y="198831"/>
                  </a:lnTo>
                  <a:lnTo>
                    <a:pt x="58992" y="200876"/>
                  </a:lnTo>
                  <a:lnTo>
                    <a:pt x="59043" y="200876"/>
                  </a:lnTo>
                  <a:lnTo>
                    <a:pt x="59043" y="200228"/>
                  </a:lnTo>
                  <a:lnTo>
                    <a:pt x="59043" y="200876"/>
                  </a:lnTo>
                  <a:lnTo>
                    <a:pt x="59144" y="200876"/>
                  </a:lnTo>
                  <a:lnTo>
                    <a:pt x="59144" y="202260"/>
                  </a:lnTo>
                  <a:lnTo>
                    <a:pt x="59144" y="200876"/>
                  </a:lnTo>
                  <a:lnTo>
                    <a:pt x="59144" y="202260"/>
                  </a:lnTo>
                  <a:lnTo>
                    <a:pt x="59195" y="202260"/>
                  </a:lnTo>
                  <a:lnTo>
                    <a:pt x="59195" y="200228"/>
                  </a:lnTo>
                  <a:lnTo>
                    <a:pt x="59195" y="202260"/>
                  </a:lnTo>
                  <a:lnTo>
                    <a:pt x="59246" y="202260"/>
                  </a:lnTo>
                  <a:lnTo>
                    <a:pt x="59246" y="200876"/>
                  </a:lnTo>
                  <a:lnTo>
                    <a:pt x="59246" y="202260"/>
                  </a:lnTo>
                  <a:lnTo>
                    <a:pt x="59246" y="200228"/>
                  </a:lnTo>
                  <a:lnTo>
                    <a:pt x="59246" y="200876"/>
                  </a:lnTo>
                  <a:lnTo>
                    <a:pt x="59246" y="200228"/>
                  </a:lnTo>
                  <a:lnTo>
                    <a:pt x="59246" y="200876"/>
                  </a:lnTo>
                  <a:lnTo>
                    <a:pt x="59284" y="200876"/>
                  </a:lnTo>
                  <a:lnTo>
                    <a:pt x="59284" y="199530"/>
                  </a:lnTo>
                  <a:lnTo>
                    <a:pt x="59284" y="200228"/>
                  </a:lnTo>
                  <a:lnTo>
                    <a:pt x="59284" y="199530"/>
                  </a:lnTo>
                  <a:lnTo>
                    <a:pt x="59386" y="199530"/>
                  </a:lnTo>
                  <a:lnTo>
                    <a:pt x="59386" y="198831"/>
                  </a:lnTo>
                  <a:lnTo>
                    <a:pt x="59386" y="199530"/>
                  </a:lnTo>
                  <a:lnTo>
                    <a:pt x="59386" y="198831"/>
                  </a:lnTo>
                  <a:lnTo>
                    <a:pt x="59386" y="199530"/>
                  </a:lnTo>
                  <a:lnTo>
                    <a:pt x="59386" y="197447"/>
                  </a:lnTo>
                  <a:lnTo>
                    <a:pt x="59436" y="197447"/>
                  </a:lnTo>
                  <a:lnTo>
                    <a:pt x="59436" y="199530"/>
                  </a:lnTo>
                  <a:lnTo>
                    <a:pt x="59436" y="198831"/>
                  </a:lnTo>
                  <a:lnTo>
                    <a:pt x="59436" y="199530"/>
                  </a:lnTo>
                  <a:lnTo>
                    <a:pt x="59487" y="200228"/>
                  </a:lnTo>
                  <a:lnTo>
                    <a:pt x="59487" y="202260"/>
                  </a:lnTo>
                  <a:lnTo>
                    <a:pt x="59487" y="200228"/>
                  </a:lnTo>
                  <a:lnTo>
                    <a:pt x="59487" y="200876"/>
                  </a:lnTo>
                  <a:lnTo>
                    <a:pt x="59589" y="200876"/>
                  </a:lnTo>
                  <a:lnTo>
                    <a:pt x="59589" y="202959"/>
                  </a:lnTo>
                  <a:lnTo>
                    <a:pt x="59589" y="200876"/>
                  </a:lnTo>
                  <a:lnTo>
                    <a:pt x="59589" y="202260"/>
                  </a:lnTo>
                  <a:lnTo>
                    <a:pt x="59640" y="202260"/>
                  </a:lnTo>
                  <a:lnTo>
                    <a:pt x="59640" y="202959"/>
                  </a:lnTo>
                  <a:lnTo>
                    <a:pt x="59640" y="200876"/>
                  </a:lnTo>
                  <a:lnTo>
                    <a:pt x="59640" y="202260"/>
                  </a:lnTo>
                  <a:lnTo>
                    <a:pt x="59691" y="202260"/>
                  </a:lnTo>
                  <a:lnTo>
                    <a:pt x="59691" y="202959"/>
                  </a:lnTo>
                  <a:lnTo>
                    <a:pt x="59691" y="202260"/>
                  </a:lnTo>
                  <a:lnTo>
                    <a:pt x="59741" y="202260"/>
                  </a:lnTo>
                  <a:lnTo>
                    <a:pt x="59741" y="200876"/>
                  </a:lnTo>
                  <a:lnTo>
                    <a:pt x="59830" y="200876"/>
                  </a:lnTo>
                  <a:lnTo>
                    <a:pt x="59830" y="199530"/>
                  </a:lnTo>
                  <a:lnTo>
                    <a:pt x="59881" y="199530"/>
                  </a:lnTo>
                  <a:lnTo>
                    <a:pt x="59881" y="196799"/>
                  </a:lnTo>
                  <a:lnTo>
                    <a:pt x="59932" y="196113"/>
                  </a:lnTo>
                  <a:lnTo>
                    <a:pt x="59932" y="197447"/>
                  </a:lnTo>
                  <a:lnTo>
                    <a:pt x="59932" y="196799"/>
                  </a:lnTo>
                  <a:lnTo>
                    <a:pt x="59932" y="197447"/>
                  </a:lnTo>
                  <a:lnTo>
                    <a:pt x="59932" y="196113"/>
                  </a:lnTo>
                  <a:lnTo>
                    <a:pt x="59983" y="196799"/>
                  </a:lnTo>
                  <a:lnTo>
                    <a:pt x="59983" y="200228"/>
                  </a:lnTo>
                  <a:lnTo>
                    <a:pt x="59983" y="197447"/>
                  </a:lnTo>
                  <a:lnTo>
                    <a:pt x="59983" y="199530"/>
                  </a:lnTo>
                  <a:lnTo>
                    <a:pt x="60084" y="199530"/>
                  </a:lnTo>
                  <a:lnTo>
                    <a:pt x="60084" y="198831"/>
                  </a:lnTo>
                  <a:lnTo>
                    <a:pt x="60084" y="200876"/>
                  </a:lnTo>
                  <a:lnTo>
                    <a:pt x="60135" y="200876"/>
                  </a:lnTo>
                  <a:lnTo>
                    <a:pt x="60135" y="200228"/>
                  </a:lnTo>
                  <a:lnTo>
                    <a:pt x="60135" y="200876"/>
                  </a:lnTo>
                  <a:lnTo>
                    <a:pt x="60135" y="200228"/>
                  </a:lnTo>
                  <a:lnTo>
                    <a:pt x="60135" y="200876"/>
                  </a:lnTo>
                  <a:lnTo>
                    <a:pt x="60186" y="200876"/>
                  </a:lnTo>
                  <a:lnTo>
                    <a:pt x="60186" y="202260"/>
                  </a:lnTo>
                  <a:lnTo>
                    <a:pt x="60186" y="200876"/>
                  </a:lnTo>
                  <a:lnTo>
                    <a:pt x="60186" y="202260"/>
                  </a:lnTo>
                  <a:lnTo>
                    <a:pt x="60186" y="200876"/>
                  </a:lnTo>
                  <a:lnTo>
                    <a:pt x="60186" y="202260"/>
                  </a:lnTo>
                  <a:lnTo>
                    <a:pt x="60287" y="202260"/>
                  </a:lnTo>
                  <a:lnTo>
                    <a:pt x="60287" y="200876"/>
                  </a:lnTo>
                  <a:lnTo>
                    <a:pt x="60287" y="202260"/>
                  </a:lnTo>
                  <a:lnTo>
                    <a:pt x="60287" y="200876"/>
                  </a:lnTo>
                  <a:lnTo>
                    <a:pt x="60325" y="200876"/>
                  </a:lnTo>
                  <a:lnTo>
                    <a:pt x="60325" y="200228"/>
                  </a:lnTo>
                  <a:lnTo>
                    <a:pt x="60325" y="200876"/>
                  </a:lnTo>
                  <a:lnTo>
                    <a:pt x="60325" y="199530"/>
                  </a:lnTo>
                  <a:lnTo>
                    <a:pt x="60376" y="199530"/>
                  </a:lnTo>
                  <a:lnTo>
                    <a:pt x="60376" y="196799"/>
                  </a:lnTo>
                  <a:lnTo>
                    <a:pt x="60427" y="196799"/>
                  </a:lnTo>
                  <a:lnTo>
                    <a:pt x="60427" y="197447"/>
                  </a:lnTo>
                  <a:lnTo>
                    <a:pt x="60427" y="195415"/>
                  </a:lnTo>
                  <a:lnTo>
                    <a:pt x="60427" y="197447"/>
                  </a:lnTo>
                  <a:lnTo>
                    <a:pt x="60529" y="197447"/>
                  </a:lnTo>
                  <a:lnTo>
                    <a:pt x="60529" y="198831"/>
                  </a:lnTo>
                  <a:lnTo>
                    <a:pt x="60529" y="197447"/>
                  </a:lnTo>
                  <a:lnTo>
                    <a:pt x="60529" y="198831"/>
                  </a:lnTo>
                  <a:lnTo>
                    <a:pt x="60529" y="196113"/>
                  </a:lnTo>
                  <a:lnTo>
                    <a:pt x="60529" y="198831"/>
                  </a:lnTo>
                  <a:lnTo>
                    <a:pt x="60580" y="198831"/>
                  </a:lnTo>
                  <a:lnTo>
                    <a:pt x="60580" y="197447"/>
                  </a:lnTo>
                  <a:lnTo>
                    <a:pt x="60580" y="198831"/>
                  </a:lnTo>
                  <a:lnTo>
                    <a:pt x="60630" y="198831"/>
                  </a:lnTo>
                  <a:lnTo>
                    <a:pt x="60630" y="197447"/>
                  </a:lnTo>
                  <a:lnTo>
                    <a:pt x="60630" y="199530"/>
                  </a:lnTo>
                  <a:lnTo>
                    <a:pt x="60732" y="199530"/>
                  </a:lnTo>
                  <a:lnTo>
                    <a:pt x="60732" y="200228"/>
                  </a:lnTo>
                  <a:lnTo>
                    <a:pt x="60834" y="200228"/>
                  </a:lnTo>
                  <a:lnTo>
                    <a:pt x="60834" y="199530"/>
                  </a:lnTo>
                  <a:lnTo>
                    <a:pt x="60834" y="200228"/>
                  </a:lnTo>
                  <a:lnTo>
                    <a:pt x="60834" y="199530"/>
                  </a:lnTo>
                  <a:lnTo>
                    <a:pt x="60834" y="200228"/>
                  </a:lnTo>
                  <a:lnTo>
                    <a:pt x="60834" y="199530"/>
                  </a:lnTo>
                  <a:lnTo>
                    <a:pt x="60872" y="199530"/>
                  </a:lnTo>
                  <a:lnTo>
                    <a:pt x="60872" y="197447"/>
                  </a:lnTo>
                  <a:lnTo>
                    <a:pt x="60872" y="198831"/>
                  </a:lnTo>
                  <a:lnTo>
                    <a:pt x="60872" y="197447"/>
                  </a:lnTo>
                  <a:lnTo>
                    <a:pt x="60872" y="199530"/>
                  </a:lnTo>
                  <a:lnTo>
                    <a:pt x="60872" y="198831"/>
                  </a:lnTo>
                  <a:lnTo>
                    <a:pt x="60973" y="198831"/>
                  </a:lnTo>
                  <a:lnTo>
                    <a:pt x="60973" y="196799"/>
                  </a:lnTo>
                  <a:lnTo>
                    <a:pt x="60973" y="200228"/>
                  </a:lnTo>
                  <a:lnTo>
                    <a:pt x="60973" y="199530"/>
                  </a:lnTo>
                  <a:lnTo>
                    <a:pt x="61024" y="200228"/>
                  </a:lnTo>
                  <a:lnTo>
                    <a:pt x="61024" y="198831"/>
                  </a:lnTo>
                  <a:lnTo>
                    <a:pt x="61024" y="200228"/>
                  </a:lnTo>
                  <a:lnTo>
                    <a:pt x="61024" y="198831"/>
                  </a:lnTo>
                  <a:lnTo>
                    <a:pt x="61075" y="199530"/>
                  </a:lnTo>
                  <a:lnTo>
                    <a:pt x="61075" y="198831"/>
                  </a:lnTo>
                  <a:lnTo>
                    <a:pt x="61075" y="200228"/>
                  </a:lnTo>
                  <a:lnTo>
                    <a:pt x="61075" y="199530"/>
                  </a:lnTo>
                  <a:lnTo>
                    <a:pt x="61176" y="199530"/>
                  </a:lnTo>
                  <a:lnTo>
                    <a:pt x="61176" y="200228"/>
                  </a:lnTo>
                  <a:lnTo>
                    <a:pt x="61176" y="199530"/>
                  </a:lnTo>
                  <a:lnTo>
                    <a:pt x="61227" y="199530"/>
                  </a:lnTo>
                  <a:lnTo>
                    <a:pt x="61227" y="200228"/>
                  </a:lnTo>
                  <a:lnTo>
                    <a:pt x="61227" y="199530"/>
                  </a:lnTo>
                  <a:lnTo>
                    <a:pt x="61227" y="200228"/>
                  </a:lnTo>
                  <a:lnTo>
                    <a:pt x="61278" y="200228"/>
                  </a:lnTo>
                  <a:lnTo>
                    <a:pt x="61278" y="199530"/>
                  </a:lnTo>
                  <a:lnTo>
                    <a:pt x="61278" y="200228"/>
                  </a:lnTo>
                  <a:lnTo>
                    <a:pt x="61278" y="199530"/>
                  </a:lnTo>
                  <a:lnTo>
                    <a:pt x="61329" y="199530"/>
                  </a:lnTo>
                  <a:lnTo>
                    <a:pt x="61329" y="198831"/>
                  </a:lnTo>
                  <a:lnTo>
                    <a:pt x="61329" y="199530"/>
                  </a:lnTo>
                  <a:lnTo>
                    <a:pt x="61329" y="197447"/>
                  </a:lnTo>
                  <a:lnTo>
                    <a:pt x="61329" y="198831"/>
                  </a:lnTo>
                  <a:lnTo>
                    <a:pt x="61329" y="197447"/>
                  </a:lnTo>
                  <a:lnTo>
                    <a:pt x="61418" y="197447"/>
                  </a:lnTo>
                  <a:lnTo>
                    <a:pt x="61418" y="196799"/>
                  </a:lnTo>
                  <a:lnTo>
                    <a:pt x="61418" y="199530"/>
                  </a:lnTo>
                  <a:lnTo>
                    <a:pt x="61468" y="198831"/>
                  </a:lnTo>
                  <a:lnTo>
                    <a:pt x="61468" y="196799"/>
                  </a:lnTo>
                  <a:lnTo>
                    <a:pt x="61468" y="200228"/>
                  </a:lnTo>
                  <a:lnTo>
                    <a:pt x="61468" y="199530"/>
                  </a:lnTo>
                  <a:lnTo>
                    <a:pt x="61519" y="199530"/>
                  </a:lnTo>
                  <a:lnTo>
                    <a:pt x="61519" y="198831"/>
                  </a:lnTo>
                  <a:lnTo>
                    <a:pt x="61519" y="200228"/>
                  </a:lnTo>
                  <a:lnTo>
                    <a:pt x="61519" y="199530"/>
                  </a:lnTo>
                  <a:lnTo>
                    <a:pt x="61570" y="198831"/>
                  </a:lnTo>
                  <a:lnTo>
                    <a:pt x="61570" y="200228"/>
                  </a:lnTo>
                  <a:lnTo>
                    <a:pt x="61570" y="199530"/>
                  </a:lnTo>
                  <a:lnTo>
                    <a:pt x="61570" y="200228"/>
                  </a:lnTo>
                  <a:lnTo>
                    <a:pt x="61570" y="199530"/>
                  </a:lnTo>
                  <a:lnTo>
                    <a:pt x="61672" y="199530"/>
                  </a:lnTo>
                  <a:lnTo>
                    <a:pt x="61672" y="200228"/>
                  </a:lnTo>
                  <a:lnTo>
                    <a:pt x="61672" y="199530"/>
                  </a:lnTo>
                  <a:lnTo>
                    <a:pt x="61723" y="200228"/>
                  </a:lnTo>
                  <a:lnTo>
                    <a:pt x="61723" y="199530"/>
                  </a:lnTo>
                  <a:lnTo>
                    <a:pt x="61723" y="200228"/>
                  </a:lnTo>
                  <a:lnTo>
                    <a:pt x="61723" y="199530"/>
                  </a:lnTo>
                  <a:lnTo>
                    <a:pt x="61723" y="200228"/>
                  </a:lnTo>
                  <a:lnTo>
                    <a:pt x="61773" y="200228"/>
                  </a:lnTo>
                  <a:lnTo>
                    <a:pt x="61773" y="198831"/>
                  </a:lnTo>
                  <a:lnTo>
                    <a:pt x="61875" y="198831"/>
                  </a:lnTo>
                  <a:lnTo>
                    <a:pt x="61875" y="197447"/>
                  </a:lnTo>
                  <a:lnTo>
                    <a:pt x="61875" y="198831"/>
                  </a:lnTo>
                  <a:lnTo>
                    <a:pt x="61875" y="196799"/>
                  </a:lnTo>
                  <a:lnTo>
                    <a:pt x="61913" y="196799"/>
                  </a:lnTo>
                  <a:lnTo>
                    <a:pt x="61913" y="193383"/>
                  </a:lnTo>
                  <a:lnTo>
                    <a:pt x="61964" y="193383"/>
                  </a:lnTo>
                  <a:lnTo>
                    <a:pt x="61964" y="196113"/>
                  </a:lnTo>
                  <a:lnTo>
                    <a:pt x="61964" y="194716"/>
                  </a:lnTo>
                  <a:lnTo>
                    <a:pt x="62015" y="194716"/>
                  </a:lnTo>
                  <a:lnTo>
                    <a:pt x="62015" y="197447"/>
                  </a:lnTo>
                  <a:lnTo>
                    <a:pt x="62015" y="195415"/>
                  </a:lnTo>
                  <a:lnTo>
                    <a:pt x="62015" y="196113"/>
                  </a:lnTo>
                  <a:lnTo>
                    <a:pt x="62116" y="196799"/>
                  </a:lnTo>
                  <a:lnTo>
                    <a:pt x="62116" y="197447"/>
                  </a:lnTo>
                  <a:lnTo>
                    <a:pt x="62116" y="196799"/>
                  </a:lnTo>
                  <a:lnTo>
                    <a:pt x="62167" y="196799"/>
                  </a:lnTo>
                  <a:lnTo>
                    <a:pt x="62167" y="198831"/>
                  </a:lnTo>
                  <a:lnTo>
                    <a:pt x="62167" y="197447"/>
                  </a:lnTo>
                  <a:lnTo>
                    <a:pt x="62167" y="198831"/>
                  </a:lnTo>
                  <a:lnTo>
                    <a:pt x="62167" y="197447"/>
                  </a:lnTo>
                  <a:lnTo>
                    <a:pt x="62167" y="198831"/>
                  </a:lnTo>
                  <a:lnTo>
                    <a:pt x="62167" y="197447"/>
                  </a:lnTo>
                  <a:lnTo>
                    <a:pt x="62167" y="198831"/>
                  </a:lnTo>
                  <a:lnTo>
                    <a:pt x="62218" y="198831"/>
                  </a:lnTo>
                  <a:lnTo>
                    <a:pt x="62218" y="199530"/>
                  </a:lnTo>
                  <a:lnTo>
                    <a:pt x="62218" y="198831"/>
                  </a:lnTo>
                  <a:lnTo>
                    <a:pt x="62218" y="199530"/>
                  </a:lnTo>
                  <a:lnTo>
                    <a:pt x="62218" y="198831"/>
                  </a:lnTo>
                  <a:lnTo>
                    <a:pt x="62218" y="200228"/>
                  </a:lnTo>
                  <a:lnTo>
                    <a:pt x="62218" y="199530"/>
                  </a:lnTo>
                  <a:lnTo>
                    <a:pt x="62218" y="200228"/>
                  </a:lnTo>
                  <a:lnTo>
                    <a:pt x="62218" y="199530"/>
                  </a:lnTo>
                  <a:lnTo>
                    <a:pt x="62218" y="200228"/>
                  </a:lnTo>
                  <a:lnTo>
                    <a:pt x="62319" y="200228"/>
                  </a:lnTo>
                  <a:lnTo>
                    <a:pt x="62319" y="198831"/>
                  </a:lnTo>
                  <a:lnTo>
                    <a:pt x="62319" y="199530"/>
                  </a:lnTo>
                  <a:lnTo>
                    <a:pt x="62370" y="199530"/>
                  </a:lnTo>
                  <a:lnTo>
                    <a:pt x="62370" y="198831"/>
                  </a:lnTo>
                  <a:lnTo>
                    <a:pt x="62421" y="198831"/>
                  </a:lnTo>
                  <a:lnTo>
                    <a:pt x="62421" y="195415"/>
                  </a:lnTo>
                  <a:lnTo>
                    <a:pt x="62459" y="195415"/>
                  </a:lnTo>
                  <a:lnTo>
                    <a:pt x="62459" y="194716"/>
                  </a:lnTo>
                  <a:lnTo>
                    <a:pt x="62459" y="195415"/>
                  </a:lnTo>
                  <a:lnTo>
                    <a:pt x="62459" y="193383"/>
                  </a:lnTo>
                  <a:lnTo>
                    <a:pt x="62459" y="195415"/>
                  </a:lnTo>
                  <a:lnTo>
                    <a:pt x="62561" y="195415"/>
                  </a:lnTo>
                  <a:lnTo>
                    <a:pt x="62561" y="192684"/>
                  </a:lnTo>
                  <a:lnTo>
                    <a:pt x="62561" y="196113"/>
                  </a:lnTo>
                  <a:lnTo>
                    <a:pt x="62561" y="195415"/>
                  </a:lnTo>
                  <a:lnTo>
                    <a:pt x="62611" y="195415"/>
                  </a:lnTo>
                  <a:lnTo>
                    <a:pt x="62611" y="194716"/>
                  </a:lnTo>
                  <a:lnTo>
                    <a:pt x="62611" y="196113"/>
                  </a:lnTo>
                  <a:lnTo>
                    <a:pt x="62611" y="195415"/>
                  </a:lnTo>
                  <a:lnTo>
                    <a:pt x="62662" y="195415"/>
                  </a:lnTo>
                  <a:lnTo>
                    <a:pt x="62662" y="196799"/>
                  </a:lnTo>
                  <a:lnTo>
                    <a:pt x="62662" y="196113"/>
                  </a:lnTo>
                  <a:lnTo>
                    <a:pt x="62662" y="196799"/>
                  </a:lnTo>
                  <a:lnTo>
                    <a:pt x="62662" y="196113"/>
                  </a:lnTo>
                  <a:lnTo>
                    <a:pt x="62662" y="196799"/>
                  </a:lnTo>
                  <a:lnTo>
                    <a:pt x="62764" y="196799"/>
                  </a:lnTo>
                  <a:lnTo>
                    <a:pt x="62764" y="198831"/>
                  </a:lnTo>
                  <a:lnTo>
                    <a:pt x="62764" y="197447"/>
                  </a:lnTo>
                  <a:lnTo>
                    <a:pt x="62764" y="198831"/>
                  </a:lnTo>
                  <a:lnTo>
                    <a:pt x="62815" y="198831"/>
                  </a:lnTo>
                  <a:lnTo>
                    <a:pt x="62815" y="199530"/>
                  </a:lnTo>
                  <a:lnTo>
                    <a:pt x="62815" y="198831"/>
                  </a:lnTo>
                  <a:lnTo>
                    <a:pt x="62815" y="199530"/>
                  </a:lnTo>
                  <a:lnTo>
                    <a:pt x="62866" y="199530"/>
                  </a:lnTo>
                  <a:lnTo>
                    <a:pt x="62866" y="198831"/>
                  </a:lnTo>
                  <a:lnTo>
                    <a:pt x="62866" y="199530"/>
                  </a:lnTo>
                  <a:lnTo>
                    <a:pt x="62866" y="198831"/>
                  </a:lnTo>
                  <a:lnTo>
                    <a:pt x="62866" y="199530"/>
                  </a:lnTo>
                  <a:lnTo>
                    <a:pt x="62866" y="198831"/>
                  </a:lnTo>
                  <a:lnTo>
                    <a:pt x="62916" y="197447"/>
                  </a:lnTo>
                  <a:lnTo>
                    <a:pt x="62916" y="198831"/>
                  </a:lnTo>
                  <a:lnTo>
                    <a:pt x="62916" y="196113"/>
                  </a:lnTo>
                  <a:lnTo>
                    <a:pt x="63005" y="196113"/>
                  </a:lnTo>
                  <a:lnTo>
                    <a:pt x="63005" y="195415"/>
                  </a:lnTo>
                  <a:lnTo>
                    <a:pt x="63005" y="196113"/>
                  </a:lnTo>
                  <a:lnTo>
                    <a:pt x="63005" y="194716"/>
                  </a:lnTo>
                  <a:lnTo>
                    <a:pt x="63005" y="195415"/>
                  </a:lnTo>
                  <a:lnTo>
                    <a:pt x="63005" y="192684"/>
                  </a:lnTo>
                  <a:lnTo>
                    <a:pt x="63005" y="194716"/>
                  </a:lnTo>
                  <a:lnTo>
                    <a:pt x="63056" y="195415"/>
                  </a:lnTo>
                  <a:lnTo>
                    <a:pt x="63056" y="192684"/>
                  </a:lnTo>
                  <a:lnTo>
                    <a:pt x="63056" y="196113"/>
                  </a:lnTo>
                  <a:lnTo>
                    <a:pt x="63107" y="196113"/>
                  </a:lnTo>
                  <a:lnTo>
                    <a:pt x="63107" y="195415"/>
                  </a:lnTo>
                  <a:lnTo>
                    <a:pt x="63107" y="196113"/>
                  </a:lnTo>
                  <a:lnTo>
                    <a:pt x="63107" y="194716"/>
                  </a:lnTo>
                  <a:lnTo>
                    <a:pt x="63107" y="196113"/>
                  </a:lnTo>
                  <a:lnTo>
                    <a:pt x="63158" y="196113"/>
                  </a:lnTo>
                  <a:lnTo>
                    <a:pt x="63158" y="195415"/>
                  </a:lnTo>
                  <a:lnTo>
                    <a:pt x="63158" y="196799"/>
                  </a:lnTo>
                  <a:lnTo>
                    <a:pt x="63259" y="196799"/>
                  </a:lnTo>
                  <a:lnTo>
                    <a:pt x="63259" y="196113"/>
                  </a:lnTo>
                  <a:lnTo>
                    <a:pt x="63259" y="197447"/>
                  </a:lnTo>
                  <a:lnTo>
                    <a:pt x="63259" y="196799"/>
                  </a:lnTo>
                  <a:lnTo>
                    <a:pt x="63259" y="197447"/>
                  </a:lnTo>
                  <a:lnTo>
                    <a:pt x="63310" y="197447"/>
                  </a:lnTo>
                  <a:lnTo>
                    <a:pt x="63310" y="198831"/>
                  </a:lnTo>
                  <a:lnTo>
                    <a:pt x="63361" y="198831"/>
                  </a:lnTo>
                  <a:lnTo>
                    <a:pt x="63361" y="199530"/>
                  </a:lnTo>
                  <a:lnTo>
                    <a:pt x="63361" y="198831"/>
                  </a:lnTo>
                  <a:lnTo>
                    <a:pt x="63361" y="199530"/>
                  </a:lnTo>
                  <a:lnTo>
                    <a:pt x="63361" y="198831"/>
                  </a:lnTo>
                  <a:lnTo>
                    <a:pt x="63361" y="199530"/>
                  </a:lnTo>
                  <a:lnTo>
                    <a:pt x="63361" y="198831"/>
                  </a:lnTo>
                  <a:lnTo>
                    <a:pt x="63361" y="199530"/>
                  </a:lnTo>
                  <a:lnTo>
                    <a:pt x="63462" y="199530"/>
                  </a:lnTo>
                  <a:lnTo>
                    <a:pt x="63462" y="197447"/>
                  </a:lnTo>
                  <a:lnTo>
                    <a:pt x="63462" y="198831"/>
                  </a:lnTo>
                  <a:lnTo>
                    <a:pt x="63462" y="197447"/>
                  </a:lnTo>
                  <a:lnTo>
                    <a:pt x="63462" y="198831"/>
                  </a:lnTo>
                  <a:lnTo>
                    <a:pt x="63500" y="197447"/>
                  </a:lnTo>
                  <a:lnTo>
                    <a:pt x="63500" y="196113"/>
                  </a:lnTo>
                  <a:lnTo>
                    <a:pt x="63500" y="197447"/>
                  </a:lnTo>
                  <a:lnTo>
                    <a:pt x="63500" y="196799"/>
                  </a:lnTo>
                  <a:lnTo>
                    <a:pt x="63551" y="196799"/>
                  </a:lnTo>
                  <a:lnTo>
                    <a:pt x="63551" y="194716"/>
                  </a:lnTo>
                  <a:lnTo>
                    <a:pt x="63551" y="197447"/>
                  </a:lnTo>
                  <a:lnTo>
                    <a:pt x="63551" y="196799"/>
                  </a:lnTo>
                  <a:lnTo>
                    <a:pt x="63602" y="196799"/>
                  </a:lnTo>
                  <a:lnTo>
                    <a:pt x="63602" y="195415"/>
                  </a:lnTo>
                  <a:lnTo>
                    <a:pt x="63602" y="196799"/>
                  </a:lnTo>
                  <a:lnTo>
                    <a:pt x="63602" y="196113"/>
                  </a:lnTo>
                  <a:lnTo>
                    <a:pt x="63704" y="196113"/>
                  </a:lnTo>
                  <a:lnTo>
                    <a:pt x="63704" y="195415"/>
                  </a:lnTo>
                  <a:lnTo>
                    <a:pt x="63704" y="196113"/>
                  </a:lnTo>
                  <a:lnTo>
                    <a:pt x="63704" y="195415"/>
                  </a:lnTo>
                  <a:lnTo>
                    <a:pt x="63704" y="196799"/>
                  </a:lnTo>
                  <a:lnTo>
                    <a:pt x="63704" y="196113"/>
                  </a:lnTo>
                  <a:lnTo>
                    <a:pt x="63704" y="196799"/>
                  </a:lnTo>
                  <a:lnTo>
                    <a:pt x="63704" y="196113"/>
                  </a:lnTo>
                  <a:lnTo>
                    <a:pt x="63755" y="196113"/>
                  </a:lnTo>
                  <a:lnTo>
                    <a:pt x="63755" y="196799"/>
                  </a:lnTo>
                  <a:lnTo>
                    <a:pt x="63805" y="196799"/>
                  </a:lnTo>
                  <a:lnTo>
                    <a:pt x="63805" y="198831"/>
                  </a:lnTo>
                  <a:lnTo>
                    <a:pt x="63805" y="197447"/>
                  </a:lnTo>
                  <a:lnTo>
                    <a:pt x="63805" y="198831"/>
                  </a:lnTo>
                  <a:lnTo>
                    <a:pt x="63805" y="197447"/>
                  </a:lnTo>
                  <a:lnTo>
                    <a:pt x="63907" y="197447"/>
                  </a:lnTo>
                  <a:lnTo>
                    <a:pt x="63907" y="198831"/>
                  </a:lnTo>
                  <a:lnTo>
                    <a:pt x="63907" y="197447"/>
                  </a:lnTo>
                  <a:lnTo>
                    <a:pt x="63958" y="197447"/>
                  </a:lnTo>
                  <a:lnTo>
                    <a:pt x="63958" y="198831"/>
                  </a:lnTo>
                  <a:lnTo>
                    <a:pt x="63958" y="197447"/>
                  </a:lnTo>
                  <a:lnTo>
                    <a:pt x="63958" y="198831"/>
                  </a:lnTo>
                  <a:lnTo>
                    <a:pt x="63958" y="197447"/>
                  </a:lnTo>
                  <a:lnTo>
                    <a:pt x="63958" y="198831"/>
                  </a:lnTo>
                  <a:lnTo>
                    <a:pt x="63958" y="196799"/>
                  </a:lnTo>
                  <a:lnTo>
                    <a:pt x="64009" y="197447"/>
                  </a:lnTo>
                  <a:lnTo>
                    <a:pt x="64009" y="196799"/>
                  </a:lnTo>
                  <a:lnTo>
                    <a:pt x="64009" y="197447"/>
                  </a:lnTo>
                  <a:lnTo>
                    <a:pt x="64009" y="196799"/>
                  </a:lnTo>
                  <a:lnTo>
                    <a:pt x="64009" y="198831"/>
                  </a:lnTo>
                  <a:lnTo>
                    <a:pt x="64009" y="196799"/>
                  </a:lnTo>
                  <a:lnTo>
                    <a:pt x="64047" y="196799"/>
                  </a:lnTo>
                  <a:lnTo>
                    <a:pt x="64047" y="199530"/>
                  </a:lnTo>
                  <a:lnTo>
                    <a:pt x="64047" y="197447"/>
                  </a:lnTo>
                  <a:lnTo>
                    <a:pt x="64148" y="198831"/>
                  </a:lnTo>
                  <a:lnTo>
                    <a:pt x="64148" y="197447"/>
                  </a:lnTo>
                  <a:lnTo>
                    <a:pt x="64148" y="199530"/>
                  </a:lnTo>
                  <a:lnTo>
                    <a:pt x="64148" y="198831"/>
                  </a:lnTo>
                  <a:lnTo>
                    <a:pt x="64199" y="199530"/>
                  </a:lnTo>
                  <a:lnTo>
                    <a:pt x="64199" y="198831"/>
                  </a:lnTo>
                  <a:lnTo>
                    <a:pt x="64199" y="199530"/>
                  </a:lnTo>
                  <a:lnTo>
                    <a:pt x="64199" y="198831"/>
                  </a:lnTo>
                  <a:lnTo>
                    <a:pt x="64250" y="198831"/>
                  </a:lnTo>
                  <a:lnTo>
                    <a:pt x="64250" y="199530"/>
                  </a:lnTo>
                  <a:lnTo>
                    <a:pt x="64250" y="198831"/>
                  </a:lnTo>
                  <a:lnTo>
                    <a:pt x="64351" y="198831"/>
                  </a:lnTo>
                  <a:lnTo>
                    <a:pt x="64351" y="199530"/>
                  </a:lnTo>
                  <a:lnTo>
                    <a:pt x="64351" y="198831"/>
                  </a:lnTo>
                  <a:lnTo>
                    <a:pt x="64351" y="199530"/>
                  </a:lnTo>
                  <a:lnTo>
                    <a:pt x="64351" y="198831"/>
                  </a:lnTo>
                  <a:lnTo>
                    <a:pt x="64351" y="199530"/>
                  </a:lnTo>
                  <a:lnTo>
                    <a:pt x="64402" y="198831"/>
                  </a:lnTo>
                  <a:lnTo>
                    <a:pt x="64402" y="199530"/>
                  </a:lnTo>
                  <a:lnTo>
                    <a:pt x="64402" y="198831"/>
                  </a:lnTo>
                  <a:lnTo>
                    <a:pt x="64402" y="199530"/>
                  </a:lnTo>
                  <a:lnTo>
                    <a:pt x="64453" y="198831"/>
                  </a:lnTo>
                  <a:lnTo>
                    <a:pt x="64453" y="199530"/>
                  </a:lnTo>
                  <a:lnTo>
                    <a:pt x="64453" y="196799"/>
                  </a:lnTo>
                  <a:lnTo>
                    <a:pt x="64504" y="196799"/>
                  </a:lnTo>
                  <a:lnTo>
                    <a:pt x="64504" y="199530"/>
                  </a:lnTo>
                  <a:lnTo>
                    <a:pt x="64504" y="197447"/>
                  </a:lnTo>
                  <a:lnTo>
                    <a:pt x="64504" y="198831"/>
                  </a:lnTo>
                  <a:lnTo>
                    <a:pt x="64593" y="198831"/>
                  </a:lnTo>
                  <a:lnTo>
                    <a:pt x="64593" y="200876"/>
                  </a:lnTo>
                  <a:lnTo>
                    <a:pt x="64593" y="198831"/>
                  </a:lnTo>
                  <a:lnTo>
                    <a:pt x="64593" y="200228"/>
                  </a:lnTo>
                  <a:lnTo>
                    <a:pt x="64643" y="200228"/>
                  </a:lnTo>
                  <a:lnTo>
                    <a:pt x="64643" y="200876"/>
                  </a:lnTo>
                  <a:lnTo>
                    <a:pt x="64643" y="200228"/>
                  </a:lnTo>
                  <a:lnTo>
                    <a:pt x="64694" y="200228"/>
                  </a:lnTo>
                  <a:lnTo>
                    <a:pt x="64694" y="200876"/>
                  </a:lnTo>
                  <a:lnTo>
                    <a:pt x="64694" y="200228"/>
                  </a:lnTo>
                  <a:lnTo>
                    <a:pt x="64694" y="200876"/>
                  </a:lnTo>
                  <a:lnTo>
                    <a:pt x="64694" y="200228"/>
                  </a:lnTo>
                  <a:lnTo>
                    <a:pt x="64745" y="200228"/>
                  </a:lnTo>
                  <a:lnTo>
                    <a:pt x="64745" y="200876"/>
                  </a:lnTo>
                  <a:lnTo>
                    <a:pt x="64745" y="200228"/>
                  </a:lnTo>
                  <a:lnTo>
                    <a:pt x="64745" y="200876"/>
                  </a:lnTo>
                  <a:lnTo>
                    <a:pt x="64745" y="200228"/>
                  </a:lnTo>
                  <a:lnTo>
                    <a:pt x="64847" y="200876"/>
                  </a:lnTo>
                  <a:lnTo>
                    <a:pt x="64847" y="199530"/>
                  </a:lnTo>
                  <a:lnTo>
                    <a:pt x="64847" y="200228"/>
                  </a:lnTo>
                  <a:lnTo>
                    <a:pt x="64847" y="199530"/>
                  </a:lnTo>
                  <a:lnTo>
                    <a:pt x="64898" y="199530"/>
                  </a:lnTo>
                  <a:lnTo>
                    <a:pt x="64898" y="198831"/>
                  </a:lnTo>
                  <a:lnTo>
                    <a:pt x="64898" y="199530"/>
                  </a:lnTo>
                  <a:lnTo>
                    <a:pt x="64898" y="198831"/>
                  </a:lnTo>
                  <a:lnTo>
                    <a:pt x="64948" y="198831"/>
                  </a:lnTo>
                  <a:lnTo>
                    <a:pt x="64948" y="196799"/>
                  </a:lnTo>
                  <a:lnTo>
                    <a:pt x="64948" y="200228"/>
                  </a:lnTo>
                  <a:lnTo>
                    <a:pt x="65050" y="199530"/>
                  </a:lnTo>
                  <a:lnTo>
                    <a:pt x="65050" y="197447"/>
                  </a:lnTo>
                  <a:lnTo>
                    <a:pt x="65050" y="202260"/>
                  </a:lnTo>
                  <a:lnTo>
                    <a:pt x="65050" y="200876"/>
                  </a:lnTo>
                  <a:lnTo>
                    <a:pt x="65088" y="200876"/>
                  </a:lnTo>
                  <a:lnTo>
                    <a:pt x="65088" y="200228"/>
                  </a:lnTo>
                  <a:lnTo>
                    <a:pt x="65088" y="202260"/>
                  </a:lnTo>
                  <a:lnTo>
                    <a:pt x="65088" y="200876"/>
                  </a:lnTo>
                  <a:lnTo>
                    <a:pt x="65139" y="200876"/>
                  </a:lnTo>
                  <a:lnTo>
                    <a:pt x="65139" y="202260"/>
                  </a:lnTo>
                  <a:lnTo>
                    <a:pt x="65190" y="200876"/>
                  </a:lnTo>
                  <a:lnTo>
                    <a:pt x="65190" y="202959"/>
                  </a:lnTo>
                  <a:lnTo>
                    <a:pt x="65190" y="200876"/>
                  </a:lnTo>
                  <a:lnTo>
                    <a:pt x="65190" y="202260"/>
                  </a:lnTo>
                  <a:lnTo>
                    <a:pt x="65291" y="202260"/>
                  </a:lnTo>
                  <a:lnTo>
                    <a:pt x="65291" y="200876"/>
                  </a:lnTo>
                  <a:lnTo>
                    <a:pt x="65342" y="200876"/>
                  </a:lnTo>
                  <a:lnTo>
                    <a:pt x="65342" y="200228"/>
                  </a:lnTo>
                  <a:lnTo>
                    <a:pt x="65342" y="202260"/>
                  </a:lnTo>
                  <a:lnTo>
                    <a:pt x="65342" y="200228"/>
                  </a:lnTo>
                  <a:lnTo>
                    <a:pt x="65393" y="200228"/>
                  </a:lnTo>
                  <a:lnTo>
                    <a:pt x="65393" y="199530"/>
                  </a:lnTo>
                  <a:lnTo>
                    <a:pt x="65393" y="200228"/>
                  </a:lnTo>
                  <a:lnTo>
                    <a:pt x="65494" y="200228"/>
                  </a:lnTo>
                  <a:lnTo>
                    <a:pt x="65494" y="199530"/>
                  </a:lnTo>
                  <a:lnTo>
                    <a:pt x="65494" y="200228"/>
                  </a:lnTo>
                  <a:lnTo>
                    <a:pt x="65494" y="199530"/>
                  </a:lnTo>
                  <a:lnTo>
                    <a:pt x="65494" y="202260"/>
                  </a:lnTo>
                  <a:lnTo>
                    <a:pt x="65545" y="202260"/>
                  </a:lnTo>
                  <a:lnTo>
                    <a:pt x="65545" y="200876"/>
                  </a:lnTo>
                  <a:lnTo>
                    <a:pt x="65545" y="202959"/>
                  </a:lnTo>
                  <a:lnTo>
                    <a:pt x="65545" y="202260"/>
                  </a:lnTo>
                  <a:lnTo>
                    <a:pt x="65596" y="202260"/>
                  </a:lnTo>
                  <a:lnTo>
                    <a:pt x="65596" y="200876"/>
                  </a:lnTo>
                  <a:lnTo>
                    <a:pt x="65596" y="202260"/>
                  </a:lnTo>
                  <a:lnTo>
                    <a:pt x="65596" y="200876"/>
                  </a:lnTo>
                  <a:lnTo>
                    <a:pt x="65596" y="202959"/>
                  </a:lnTo>
                  <a:lnTo>
                    <a:pt x="65634" y="202260"/>
                  </a:lnTo>
                  <a:lnTo>
                    <a:pt x="65634" y="202959"/>
                  </a:lnTo>
                  <a:lnTo>
                    <a:pt x="65634" y="202260"/>
                  </a:lnTo>
                  <a:lnTo>
                    <a:pt x="65634" y="202959"/>
                  </a:lnTo>
                  <a:lnTo>
                    <a:pt x="65634" y="202260"/>
                  </a:lnTo>
                  <a:lnTo>
                    <a:pt x="65634" y="202959"/>
                  </a:lnTo>
                  <a:lnTo>
                    <a:pt x="65634" y="202260"/>
                  </a:lnTo>
                  <a:lnTo>
                    <a:pt x="65736" y="202260"/>
                  </a:lnTo>
                  <a:lnTo>
                    <a:pt x="65736" y="202959"/>
                  </a:lnTo>
                  <a:lnTo>
                    <a:pt x="65736" y="202260"/>
                  </a:lnTo>
                  <a:lnTo>
                    <a:pt x="65736" y="202959"/>
                  </a:lnTo>
                  <a:lnTo>
                    <a:pt x="65736" y="202260"/>
                  </a:lnTo>
                  <a:lnTo>
                    <a:pt x="65736" y="202959"/>
                  </a:lnTo>
                  <a:lnTo>
                    <a:pt x="65736" y="202260"/>
                  </a:lnTo>
                  <a:lnTo>
                    <a:pt x="65786" y="202260"/>
                  </a:lnTo>
                  <a:lnTo>
                    <a:pt x="65786" y="202959"/>
                  </a:lnTo>
                  <a:lnTo>
                    <a:pt x="65786" y="202260"/>
                  </a:lnTo>
                  <a:lnTo>
                    <a:pt x="65786" y="202959"/>
                  </a:lnTo>
                  <a:lnTo>
                    <a:pt x="65786" y="202260"/>
                  </a:lnTo>
                  <a:lnTo>
                    <a:pt x="65786" y="202959"/>
                  </a:lnTo>
                  <a:lnTo>
                    <a:pt x="65786" y="200876"/>
                  </a:lnTo>
                  <a:lnTo>
                    <a:pt x="65837" y="200876"/>
                  </a:lnTo>
                  <a:lnTo>
                    <a:pt x="65837" y="200228"/>
                  </a:lnTo>
                  <a:lnTo>
                    <a:pt x="65939" y="200228"/>
                  </a:lnTo>
                  <a:lnTo>
                    <a:pt x="65939" y="197447"/>
                  </a:lnTo>
                  <a:lnTo>
                    <a:pt x="65939" y="198831"/>
                  </a:lnTo>
                  <a:lnTo>
                    <a:pt x="65939" y="196799"/>
                  </a:lnTo>
                  <a:lnTo>
                    <a:pt x="65990" y="196799"/>
                  </a:lnTo>
                  <a:lnTo>
                    <a:pt x="65990" y="194716"/>
                  </a:lnTo>
                  <a:lnTo>
                    <a:pt x="65990" y="195415"/>
                  </a:lnTo>
                  <a:lnTo>
                    <a:pt x="65990" y="193383"/>
                  </a:lnTo>
                  <a:lnTo>
                    <a:pt x="66041" y="194716"/>
                  </a:lnTo>
                  <a:lnTo>
                    <a:pt x="66041" y="196113"/>
                  </a:lnTo>
                  <a:lnTo>
                    <a:pt x="66041" y="193383"/>
                  </a:lnTo>
                  <a:lnTo>
                    <a:pt x="66041" y="196113"/>
                  </a:lnTo>
                  <a:lnTo>
                    <a:pt x="66091" y="196799"/>
                  </a:lnTo>
                  <a:lnTo>
                    <a:pt x="66091" y="197447"/>
                  </a:lnTo>
                  <a:lnTo>
                    <a:pt x="66091" y="196113"/>
                  </a:lnTo>
                  <a:lnTo>
                    <a:pt x="66091" y="197447"/>
                  </a:lnTo>
                  <a:lnTo>
                    <a:pt x="66180" y="198831"/>
                  </a:lnTo>
                  <a:lnTo>
                    <a:pt x="66180" y="197447"/>
                  </a:lnTo>
                  <a:lnTo>
                    <a:pt x="66180" y="199530"/>
                  </a:lnTo>
                  <a:lnTo>
                    <a:pt x="66231" y="199530"/>
                  </a:lnTo>
                  <a:lnTo>
                    <a:pt x="66231" y="200876"/>
                  </a:lnTo>
                  <a:lnTo>
                    <a:pt x="66282" y="200876"/>
                  </a:lnTo>
                  <a:lnTo>
                    <a:pt x="66282" y="202260"/>
                  </a:lnTo>
                  <a:lnTo>
                    <a:pt x="66282" y="200876"/>
                  </a:lnTo>
                  <a:lnTo>
                    <a:pt x="66282" y="202260"/>
                  </a:lnTo>
                  <a:lnTo>
                    <a:pt x="66282" y="200876"/>
                  </a:lnTo>
                  <a:lnTo>
                    <a:pt x="66282" y="202260"/>
                  </a:lnTo>
                  <a:lnTo>
                    <a:pt x="66333" y="202260"/>
                  </a:lnTo>
                  <a:lnTo>
                    <a:pt x="66333" y="200876"/>
                  </a:lnTo>
                  <a:lnTo>
                    <a:pt x="66333" y="202260"/>
                  </a:lnTo>
                  <a:lnTo>
                    <a:pt x="66333" y="200876"/>
                  </a:lnTo>
                  <a:lnTo>
                    <a:pt x="66333" y="202260"/>
                  </a:lnTo>
                  <a:lnTo>
                    <a:pt x="66333" y="200876"/>
                  </a:lnTo>
                  <a:lnTo>
                    <a:pt x="66333" y="202260"/>
                  </a:lnTo>
                  <a:lnTo>
                    <a:pt x="66333" y="200876"/>
                  </a:lnTo>
                  <a:lnTo>
                    <a:pt x="66434" y="200876"/>
                  </a:lnTo>
                  <a:lnTo>
                    <a:pt x="66434" y="200228"/>
                  </a:lnTo>
                  <a:lnTo>
                    <a:pt x="66434" y="202260"/>
                  </a:lnTo>
                  <a:lnTo>
                    <a:pt x="66434" y="199530"/>
                  </a:lnTo>
                  <a:lnTo>
                    <a:pt x="66485" y="199530"/>
                  </a:lnTo>
                  <a:lnTo>
                    <a:pt x="66485" y="196113"/>
                  </a:lnTo>
                  <a:lnTo>
                    <a:pt x="66536" y="195415"/>
                  </a:lnTo>
                  <a:lnTo>
                    <a:pt x="66536" y="196113"/>
                  </a:lnTo>
                  <a:lnTo>
                    <a:pt x="66536" y="192684"/>
                  </a:lnTo>
                  <a:lnTo>
                    <a:pt x="66536" y="193383"/>
                  </a:lnTo>
                  <a:lnTo>
                    <a:pt x="66637" y="193383"/>
                  </a:lnTo>
                  <a:lnTo>
                    <a:pt x="66637" y="191986"/>
                  </a:lnTo>
                  <a:lnTo>
                    <a:pt x="66637" y="195415"/>
                  </a:lnTo>
                  <a:lnTo>
                    <a:pt x="66637" y="194716"/>
                  </a:lnTo>
                  <a:lnTo>
                    <a:pt x="66675" y="194716"/>
                  </a:lnTo>
                  <a:lnTo>
                    <a:pt x="66675" y="193383"/>
                  </a:lnTo>
                  <a:lnTo>
                    <a:pt x="66675" y="195415"/>
                  </a:lnTo>
                  <a:lnTo>
                    <a:pt x="66726" y="195415"/>
                  </a:lnTo>
                  <a:lnTo>
                    <a:pt x="66726" y="196799"/>
                  </a:lnTo>
                  <a:lnTo>
                    <a:pt x="66777" y="196799"/>
                  </a:lnTo>
                  <a:lnTo>
                    <a:pt x="66777" y="199530"/>
                  </a:lnTo>
                  <a:lnTo>
                    <a:pt x="66879" y="199530"/>
                  </a:lnTo>
                  <a:lnTo>
                    <a:pt x="66879" y="200876"/>
                  </a:lnTo>
                  <a:lnTo>
                    <a:pt x="66930" y="200876"/>
                  </a:lnTo>
                  <a:lnTo>
                    <a:pt x="66930" y="202260"/>
                  </a:lnTo>
                  <a:lnTo>
                    <a:pt x="66930" y="200228"/>
                  </a:lnTo>
                  <a:lnTo>
                    <a:pt x="66930" y="202260"/>
                  </a:lnTo>
                  <a:lnTo>
                    <a:pt x="66980" y="202260"/>
                  </a:lnTo>
                  <a:lnTo>
                    <a:pt x="66980" y="198831"/>
                  </a:lnTo>
                  <a:lnTo>
                    <a:pt x="66980" y="199530"/>
                  </a:lnTo>
                  <a:lnTo>
                    <a:pt x="67082" y="198831"/>
                  </a:lnTo>
                  <a:lnTo>
                    <a:pt x="67082" y="199530"/>
                  </a:lnTo>
                  <a:lnTo>
                    <a:pt x="67082" y="196799"/>
                  </a:lnTo>
                  <a:lnTo>
                    <a:pt x="67133" y="196799"/>
                  </a:lnTo>
                  <a:lnTo>
                    <a:pt x="67133" y="200228"/>
                  </a:lnTo>
                  <a:lnTo>
                    <a:pt x="67133" y="197447"/>
                  </a:lnTo>
                  <a:lnTo>
                    <a:pt x="67184" y="198831"/>
                  </a:lnTo>
                  <a:lnTo>
                    <a:pt x="67184" y="199530"/>
                  </a:lnTo>
                  <a:lnTo>
                    <a:pt x="67184" y="198831"/>
                  </a:lnTo>
                  <a:lnTo>
                    <a:pt x="67184" y="199530"/>
                  </a:lnTo>
                  <a:lnTo>
                    <a:pt x="67184" y="198831"/>
                  </a:lnTo>
                  <a:lnTo>
                    <a:pt x="67222" y="198831"/>
                  </a:lnTo>
                  <a:lnTo>
                    <a:pt x="67323" y="199530"/>
                  </a:lnTo>
                  <a:lnTo>
                    <a:pt x="67323" y="198831"/>
                  </a:lnTo>
                  <a:lnTo>
                    <a:pt x="67323" y="200228"/>
                  </a:lnTo>
                  <a:lnTo>
                    <a:pt x="67374" y="200228"/>
                  </a:lnTo>
                  <a:lnTo>
                    <a:pt x="67374" y="202260"/>
                  </a:lnTo>
                  <a:lnTo>
                    <a:pt x="67425" y="202260"/>
                  </a:lnTo>
                  <a:lnTo>
                    <a:pt x="67425" y="200228"/>
                  </a:lnTo>
                  <a:lnTo>
                    <a:pt x="67425" y="200876"/>
                  </a:lnTo>
                  <a:lnTo>
                    <a:pt x="67425" y="200228"/>
                  </a:lnTo>
                  <a:lnTo>
                    <a:pt x="67425" y="202260"/>
                  </a:lnTo>
                  <a:lnTo>
                    <a:pt x="67425" y="200876"/>
                  </a:lnTo>
                  <a:lnTo>
                    <a:pt x="67526" y="200876"/>
                  </a:lnTo>
                  <a:lnTo>
                    <a:pt x="67526" y="199530"/>
                  </a:lnTo>
                  <a:lnTo>
                    <a:pt x="67526" y="200228"/>
                  </a:lnTo>
                  <a:lnTo>
                    <a:pt x="67577" y="200228"/>
                  </a:lnTo>
                  <a:lnTo>
                    <a:pt x="67577" y="200876"/>
                  </a:lnTo>
                  <a:lnTo>
                    <a:pt x="67577" y="199530"/>
                  </a:lnTo>
                  <a:lnTo>
                    <a:pt x="67577" y="200876"/>
                  </a:lnTo>
                  <a:lnTo>
                    <a:pt x="67628" y="200876"/>
                  </a:lnTo>
                  <a:lnTo>
                    <a:pt x="67628" y="202260"/>
                  </a:lnTo>
                  <a:lnTo>
                    <a:pt x="67628" y="200228"/>
                  </a:lnTo>
                  <a:lnTo>
                    <a:pt x="67628" y="202260"/>
                  </a:lnTo>
                  <a:lnTo>
                    <a:pt x="67679" y="202260"/>
                  </a:lnTo>
                  <a:lnTo>
                    <a:pt x="67679" y="200228"/>
                  </a:lnTo>
                  <a:lnTo>
                    <a:pt x="67679" y="200876"/>
                  </a:lnTo>
                  <a:lnTo>
                    <a:pt x="67768" y="200876"/>
                  </a:lnTo>
                  <a:lnTo>
                    <a:pt x="67768" y="200228"/>
                  </a:lnTo>
                  <a:lnTo>
                    <a:pt x="67768" y="200876"/>
                  </a:lnTo>
                  <a:lnTo>
                    <a:pt x="67768" y="200228"/>
                  </a:lnTo>
                  <a:lnTo>
                    <a:pt x="67768" y="200876"/>
                  </a:lnTo>
                  <a:lnTo>
                    <a:pt x="67818" y="200876"/>
                  </a:lnTo>
                  <a:lnTo>
                    <a:pt x="67818" y="200228"/>
                  </a:lnTo>
                  <a:lnTo>
                    <a:pt x="67818" y="200876"/>
                  </a:lnTo>
                  <a:lnTo>
                    <a:pt x="67818" y="200228"/>
                  </a:lnTo>
                  <a:lnTo>
                    <a:pt x="67818" y="200876"/>
                  </a:lnTo>
                  <a:lnTo>
                    <a:pt x="67818" y="200228"/>
                  </a:lnTo>
                  <a:lnTo>
                    <a:pt x="67869" y="200228"/>
                  </a:lnTo>
                  <a:lnTo>
                    <a:pt x="67869" y="200876"/>
                  </a:lnTo>
                  <a:lnTo>
                    <a:pt x="67869" y="200228"/>
                  </a:lnTo>
                  <a:lnTo>
                    <a:pt x="67920" y="200228"/>
                  </a:lnTo>
                  <a:lnTo>
                    <a:pt x="67920" y="199530"/>
                  </a:lnTo>
                  <a:lnTo>
                    <a:pt x="67920" y="200228"/>
                  </a:lnTo>
                  <a:lnTo>
                    <a:pt x="67920" y="198831"/>
                  </a:lnTo>
                  <a:lnTo>
                    <a:pt x="68022" y="198831"/>
                  </a:lnTo>
                  <a:lnTo>
                    <a:pt x="68022" y="197447"/>
                  </a:lnTo>
                  <a:lnTo>
                    <a:pt x="68022" y="199530"/>
                  </a:lnTo>
                  <a:lnTo>
                    <a:pt x="68073" y="200228"/>
                  </a:lnTo>
                  <a:lnTo>
                    <a:pt x="68073" y="199530"/>
                  </a:lnTo>
                  <a:lnTo>
                    <a:pt x="68073" y="200228"/>
                  </a:lnTo>
                  <a:lnTo>
                    <a:pt x="68073" y="199530"/>
                  </a:lnTo>
                  <a:lnTo>
                    <a:pt x="68073" y="202260"/>
                  </a:lnTo>
                  <a:lnTo>
                    <a:pt x="68123" y="202260"/>
                  </a:lnTo>
                  <a:lnTo>
                    <a:pt x="68123" y="200876"/>
                  </a:lnTo>
                  <a:lnTo>
                    <a:pt x="68123" y="202260"/>
                  </a:lnTo>
                  <a:lnTo>
                    <a:pt x="68123" y="200876"/>
                  </a:lnTo>
                  <a:lnTo>
                    <a:pt x="68123" y="202959"/>
                  </a:lnTo>
                  <a:lnTo>
                    <a:pt x="68123" y="202260"/>
                  </a:lnTo>
                  <a:lnTo>
                    <a:pt x="68123" y="202959"/>
                  </a:lnTo>
                  <a:lnTo>
                    <a:pt x="68123" y="202260"/>
                  </a:lnTo>
                  <a:lnTo>
                    <a:pt x="68263" y="202260"/>
                  </a:lnTo>
                  <a:lnTo>
                    <a:pt x="68263" y="202959"/>
                  </a:lnTo>
                  <a:lnTo>
                    <a:pt x="68263" y="202260"/>
                  </a:lnTo>
                  <a:lnTo>
                    <a:pt x="68263" y="202959"/>
                  </a:lnTo>
                  <a:lnTo>
                    <a:pt x="68314" y="202959"/>
                  </a:lnTo>
                  <a:lnTo>
                    <a:pt x="68314" y="202260"/>
                  </a:lnTo>
                  <a:lnTo>
                    <a:pt x="68314" y="202959"/>
                  </a:lnTo>
                  <a:lnTo>
                    <a:pt x="68314" y="202260"/>
                  </a:lnTo>
                  <a:lnTo>
                    <a:pt x="68365" y="202260"/>
                  </a:lnTo>
                  <a:lnTo>
                    <a:pt x="68365" y="200876"/>
                  </a:lnTo>
                  <a:lnTo>
                    <a:pt x="68365" y="202260"/>
                  </a:lnTo>
                  <a:lnTo>
                    <a:pt x="68365" y="200876"/>
                  </a:lnTo>
                  <a:lnTo>
                    <a:pt x="68365" y="202260"/>
                  </a:lnTo>
                  <a:lnTo>
                    <a:pt x="68365" y="200876"/>
                  </a:lnTo>
                  <a:lnTo>
                    <a:pt x="68466" y="200876"/>
                  </a:lnTo>
                  <a:lnTo>
                    <a:pt x="68466" y="199530"/>
                  </a:lnTo>
                  <a:lnTo>
                    <a:pt x="68466" y="200228"/>
                  </a:lnTo>
                  <a:lnTo>
                    <a:pt x="68466" y="199530"/>
                  </a:lnTo>
                  <a:lnTo>
                    <a:pt x="68517" y="199530"/>
                  </a:lnTo>
                  <a:lnTo>
                    <a:pt x="68517" y="198831"/>
                  </a:lnTo>
                  <a:lnTo>
                    <a:pt x="68517" y="200228"/>
                  </a:lnTo>
                  <a:lnTo>
                    <a:pt x="68568" y="200228"/>
                  </a:lnTo>
                  <a:lnTo>
                    <a:pt x="68568" y="198831"/>
                  </a:lnTo>
                  <a:lnTo>
                    <a:pt x="68568" y="200876"/>
                  </a:lnTo>
                  <a:lnTo>
                    <a:pt x="68669" y="200876"/>
                  </a:lnTo>
                  <a:lnTo>
                    <a:pt x="68669" y="200228"/>
                  </a:lnTo>
                  <a:lnTo>
                    <a:pt x="68669" y="200876"/>
                  </a:lnTo>
                  <a:lnTo>
                    <a:pt x="68669" y="200228"/>
                  </a:lnTo>
                  <a:lnTo>
                    <a:pt x="68669" y="202260"/>
                  </a:lnTo>
                  <a:lnTo>
                    <a:pt x="68669" y="200876"/>
                  </a:lnTo>
                  <a:lnTo>
                    <a:pt x="68669" y="202260"/>
                  </a:lnTo>
                  <a:lnTo>
                    <a:pt x="68720" y="200876"/>
                  </a:lnTo>
                  <a:lnTo>
                    <a:pt x="68720" y="202260"/>
                  </a:lnTo>
                  <a:lnTo>
                    <a:pt x="68771" y="200876"/>
                  </a:lnTo>
                  <a:lnTo>
                    <a:pt x="68771" y="203594"/>
                  </a:lnTo>
                  <a:lnTo>
                    <a:pt x="68771" y="202959"/>
                  </a:lnTo>
                  <a:lnTo>
                    <a:pt x="68809" y="202959"/>
                  </a:lnTo>
                  <a:lnTo>
                    <a:pt x="68809" y="203594"/>
                  </a:lnTo>
                  <a:lnTo>
                    <a:pt x="68809" y="202959"/>
                  </a:lnTo>
                  <a:lnTo>
                    <a:pt x="68809" y="203594"/>
                  </a:lnTo>
                  <a:lnTo>
                    <a:pt x="68809" y="202959"/>
                  </a:lnTo>
                  <a:lnTo>
                    <a:pt x="68809" y="203594"/>
                  </a:lnTo>
                  <a:lnTo>
                    <a:pt x="68809" y="202959"/>
                  </a:lnTo>
                  <a:lnTo>
                    <a:pt x="68911" y="202959"/>
                  </a:lnTo>
                  <a:lnTo>
                    <a:pt x="68911" y="202260"/>
                  </a:lnTo>
                  <a:lnTo>
                    <a:pt x="68911" y="202959"/>
                  </a:lnTo>
                  <a:lnTo>
                    <a:pt x="68911" y="202260"/>
                  </a:lnTo>
                  <a:lnTo>
                    <a:pt x="68911" y="202959"/>
                  </a:lnTo>
                  <a:lnTo>
                    <a:pt x="68911" y="200876"/>
                  </a:lnTo>
                  <a:lnTo>
                    <a:pt x="68961" y="202260"/>
                  </a:lnTo>
                  <a:lnTo>
                    <a:pt x="68961" y="200876"/>
                  </a:lnTo>
                  <a:lnTo>
                    <a:pt x="68961" y="202959"/>
                  </a:lnTo>
                  <a:lnTo>
                    <a:pt x="69012" y="202959"/>
                  </a:lnTo>
                  <a:lnTo>
                    <a:pt x="69012" y="200876"/>
                  </a:lnTo>
                  <a:lnTo>
                    <a:pt x="69012" y="204990"/>
                  </a:lnTo>
                  <a:lnTo>
                    <a:pt x="69012" y="203594"/>
                  </a:lnTo>
                  <a:lnTo>
                    <a:pt x="69114" y="203594"/>
                  </a:lnTo>
                  <a:lnTo>
                    <a:pt x="69114" y="204292"/>
                  </a:lnTo>
                  <a:lnTo>
                    <a:pt x="69165" y="203594"/>
                  </a:lnTo>
                  <a:lnTo>
                    <a:pt x="69165" y="204292"/>
                  </a:lnTo>
                  <a:lnTo>
                    <a:pt x="69216" y="204292"/>
                  </a:lnTo>
                  <a:lnTo>
                    <a:pt x="69216" y="203594"/>
                  </a:lnTo>
                  <a:lnTo>
                    <a:pt x="69216" y="204292"/>
                  </a:lnTo>
                  <a:lnTo>
                    <a:pt x="69216" y="203594"/>
                  </a:lnTo>
                  <a:lnTo>
                    <a:pt x="69216" y="204292"/>
                  </a:lnTo>
                  <a:lnTo>
                    <a:pt x="69216" y="203594"/>
                  </a:lnTo>
                  <a:lnTo>
                    <a:pt x="69216" y="204292"/>
                  </a:lnTo>
                  <a:lnTo>
                    <a:pt x="69216" y="203594"/>
                  </a:lnTo>
                  <a:lnTo>
                    <a:pt x="69216" y="204292"/>
                  </a:lnTo>
                  <a:lnTo>
                    <a:pt x="69266" y="204292"/>
                  </a:lnTo>
                  <a:lnTo>
                    <a:pt x="69266" y="203594"/>
                  </a:lnTo>
                  <a:lnTo>
                    <a:pt x="69266" y="204292"/>
                  </a:lnTo>
                  <a:lnTo>
                    <a:pt x="69355" y="203594"/>
                  </a:lnTo>
                  <a:lnTo>
                    <a:pt x="69355" y="202260"/>
                  </a:lnTo>
                  <a:lnTo>
                    <a:pt x="69355" y="202959"/>
                  </a:lnTo>
                  <a:lnTo>
                    <a:pt x="69355" y="202260"/>
                  </a:lnTo>
                  <a:lnTo>
                    <a:pt x="69406" y="202959"/>
                  </a:lnTo>
                  <a:lnTo>
                    <a:pt x="69406" y="202260"/>
                  </a:lnTo>
                  <a:lnTo>
                    <a:pt x="69406" y="203594"/>
                  </a:lnTo>
                  <a:lnTo>
                    <a:pt x="69406" y="202959"/>
                  </a:lnTo>
                  <a:lnTo>
                    <a:pt x="69406" y="203594"/>
                  </a:lnTo>
                  <a:lnTo>
                    <a:pt x="69457" y="202959"/>
                  </a:lnTo>
                  <a:lnTo>
                    <a:pt x="69457" y="204990"/>
                  </a:lnTo>
                  <a:lnTo>
                    <a:pt x="69457" y="204292"/>
                  </a:lnTo>
                  <a:lnTo>
                    <a:pt x="69508" y="204292"/>
                  </a:lnTo>
                  <a:lnTo>
                    <a:pt x="69508" y="206324"/>
                  </a:lnTo>
                  <a:lnTo>
                    <a:pt x="69508" y="204990"/>
                  </a:lnTo>
                  <a:lnTo>
                    <a:pt x="69609" y="204990"/>
                  </a:lnTo>
                  <a:lnTo>
                    <a:pt x="69609" y="206324"/>
                  </a:lnTo>
                  <a:lnTo>
                    <a:pt x="69609" y="204292"/>
                  </a:lnTo>
                  <a:lnTo>
                    <a:pt x="69609" y="204990"/>
                  </a:lnTo>
                  <a:lnTo>
                    <a:pt x="69660" y="206324"/>
                  </a:lnTo>
                  <a:lnTo>
                    <a:pt x="69660" y="204292"/>
                  </a:lnTo>
                  <a:lnTo>
                    <a:pt x="69660" y="204990"/>
                  </a:lnTo>
                  <a:lnTo>
                    <a:pt x="69660" y="204292"/>
                  </a:lnTo>
                  <a:lnTo>
                    <a:pt x="69711" y="204292"/>
                  </a:lnTo>
                  <a:lnTo>
                    <a:pt x="69812" y="203594"/>
                  </a:lnTo>
                  <a:lnTo>
                    <a:pt x="69812" y="204292"/>
                  </a:lnTo>
                  <a:lnTo>
                    <a:pt x="69812" y="202959"/>
                  </a:lnTo>
                  <a:lnTo>
                    <a:pt x="69850" y="202959"/>
                  </a:lnTo>
                  <a:lnTo>
                    <a:pt x="69850" y="200876"/>
                  </a:lnTo>
                  <a:lnTo>
                    <a:pt x="69850" y="202260"/>
                  </a:lnTo>
                  <a:lnTo>
                    <a:pt x="69850" y="200876"/>
                  </a:lnTo>
                  <a:lnTo>
                    <a:pt x="69850" y="202959"/>
                  </a:lnTo>
                  <a:lnTo>
                    <a:pt x="69901" y="202959"/>
                  </a:lnTo>
                  <a:lnTo>
                    <a:pt x="69901" y="200876"/>
                  </a:lnTo>
                  <a:lnTo>
                    <a:pt x="69901" y="204292"/>
                  </a:lnTo>
                  <a:lnTo>
                    <a:pt x="69952" y="204292"/>
                  </a:lnTo>
                  <a:lnTo>
                    <a:pt x="69952" y="202959"/>
                  </a:lnTo>
                  <a:lnTo>
                    <a:pt x="69952" y="204292"/>
                  </a:lnTo>
                  <a:lnTo>
                    <a:pt x="70054" y="204990"/>
                  </a:lnTo>
                  <a:lnTo>
                    <a:pt x="70054" y="204292"/>
                  </a:lnTo>
                  <a:lnTo>
                    <a:pt x="70054" y="204990"/>
                  </a:lnTo>
                  <a:lnTo>
                    <a:pt x="70054" y="204292"/>
                  </a:lnTo>
                  <a:lnTo>
                    <a:pt x="70054" y="204990"/>
                  </a:lnTo>
                  <a:lnTo>
                    <a:pt x="70054" y="204292"/>
                  </a:lnTo>
                  <a:lnTo>
                    <a:pt x="70054" y="204990"/>
                  </a:lnTo>
                  <a:lnTo>
                    <a:pt x="70105" y="204990"/>
                  </a:lnTo>
                  <a:lnTo>
                    <a:pt x="70105" y="204292"/>
                  </a:lnTo>
                  <a:lnTo>
                    <a:pt x="70105" y="204990"/>
                  </a:lnTo>
                  <a:lnTo>
                    <a:pt x="70155" y="204990"/>
                  </a:lnTo>
                  <a:lnTo>
                    <a:pt x="70155" y="206324"/>
                  </a:lnTo>
                  <a:lnTo>
                    <a:pt x="70155" y="204990"/>
                  </a:lnTo>
                  <a:lnTo>
                    <a:pt x="70155" y="206324"/>
                  </a:lnTo>
                  <a:lnTo>
                    <a:pt x="70155" y="204990"/>
                  </a:lnTo>
                  <a:lnTo>
                    <a:pt x="70257" y="206324"/>
                  </a:lnTo>
                  <a:lnTo>
                    <a:pt x="70257" y="204990"/>
                  </a:lnTo>
                  <a:lnTo>
                    <a:pt x="70257" y="206324"/>
                  </a:lnTo>
                  <a:lnTo>
                    <a:pt x="70257" y="204292"/>
                  </a:lnTo>
                  <a:lnTo>
                    <a:pt x="70308" y="204292"/>
                  </a:lnTo>
                  <a:lnTo>
                    <a:pt x="70308" y="203594"/>
                  </a:lnTo>
                  <a:lnTo>
                    <a:pt x="70308" y="204292"/>
                  </a:lnTo>
                  <a:lnTo>
                    <a:pt x="70308" y="203594"/>
                  </a:lnTo>
                  <a:lnTo>
                    <a:pt x="70308" y="204292"/>
                  </a:lnTo>
                  <a:lnTo>
                    <a:pt x="70308" y="202959"/>
                  </a:lnTo>
                  <a:lnTo>
                    <a:pt x="70359" y="202959"/>
                  </a:lnTo>
                  <a:lnTo>
                    <a:pt x="70359" y="200228"/>
                  </a:lnTo>
                  <a:lnTo>
                    <a:pt x="70359" y="202959"/>
                  </a:lnTo>
                  <a:lnTo>
                    <a:pt x="70397" y="202959"/>
                  </a:lnTo>
                  <a:lnTo>
                    <a:pt x="70397" y="202260"/>
                  </a:lnTo>
                  <a:lnTo>
                    <a:pt x="70397" y="203594"/>
                  </a:lnTo>
                  <a:lnTo>
                    <a:pt x="70498" y="203594"/>
                  </a:lnTo>
                  <a:lnTo>
                    <a:pt x="70498" y="202959"/>
                  </a:lnTo>
                  <a:lnTo>
                    <a:pt x="70498" y="203594"/>
                  </a:lnTo>
                  <a:lnTo>
                    <a:pt x="70549" y="203594"/>
                  </a:lnTo>
                  <a:lnTo>
                    <a:pt x="70549" y="204292"/>
                  </a:lnTo>
                  <a:lnTo>
                    <a:pt x="70549" y="203594"/>
                  </a:lnTo>
                  <a:lnTo>
                    <a:pt x="70549" y="204292"/>
                  </a:lnTo>
                  <a:lnTo>
                    <a:pt x="70549" y="203594"/>
                  </a:lnTo>
                  <a:lnTo>
                    <a:pt x="70600" y="203594"/>
                  </a:lnTo>
                  <a:lnTo>
                    <a:pt x="70600" y="204292"/>
                  </a:lnTo>
                  <a:lnTo>
                    <a:pt x="70600" y="203594"/>
                  </a:lnTo>
                  <a:lnTo>
                    <a:pt x="70600" y="204990"/>
                  </a:lnTo>
                  <a:lnTo>
                    <a:pt x="70701" y="204292"/>
                  </a:lnTo>
                  <a:lnTo>
                    <a:pt x="70701" y="204990"/>
                  </a:lnTo>
                  <a:lnTo>
                    <a:pt x="70701" y="204292"/>
                  </a:lnTo>
                  <a:lnTo>
                    <a:pt x="70752" y="204292"/>
                  </a:lnTo>
                  <a:lnTo>
                    <a:pt x="70752" y="203594"/>
                  </a:lnTo>
                  <a:lnTo>
                    <a:pt x="70752" y="204292"/>
                  </a:lnTo>
                  <a:lnTo>
                    <a:pt x="70803" y="203594"/>
                  </a:lnTo>
                  <a:lnTo>
                    <a:pt x="70803" y="202260"/>
                  </a:lnTo>
                  <a:lnTo>
                    <a:pt x="70803" y="202959"/>
                  </a:lnTo>
                  <a:lnTo>
                    <a:pt x="70803" y="202260"/>
                  </a:lnTo>
                  <a:lnTo>
                    <a:pt x="70854" y="202260"/>
                  </a:lnTo>
                  <a:lnTo>
                    <a:pt x="70854" y="202959"/>
                  </a:lnTo>
                  <a:lnTo>
                    <a:pt x="70854" y="200876"/>
                  </a:lnTo>
                  <a:lnTo>
                    <a:pt x="70854" y="202260"/>
                  </a:lnTo>
                  <a:lnTo>
                    <a:pt x="70943" y="200876"/>
                  </a:lnTo>
                  <a:lnTo>
                    <a:pt x="70943" y="203594"/>
                  </a:lnTo>
                  <a:lnTo>
                    <a:pt x="70943" y="202260"/>
                  </a:lnTo>
                  <a:lnTo>
                    <a:pt x="70943" y="202959"/>
                  </a:lnTo>
                  <a:lnTo>
                    <a:pt x="70993" y="202959"/>
                  </a:lnTo>
                  <a:lnTo>
                    <a:pt x="70993" y="203594"/>
                  </a:lnTo>
                  <a:lnTo>
                    <a:pt x="70993" y="202260"/>
                  </a:lnTo>
                  <a:lnTo>
                    <a:pt x="70993" y="202959"/>
                  </a:lnTo>
                  <a:lnTo>
                    <a:pt x="71044" y="202959"/>
                  </a:lnTo>
                  <a:lnTo>
                    <a:pt x="71044" y="203594"/>
                  </a:lnTo>
                  <a:lnTo>
                    <a:pt x="71044" y="202959"/>
                  </a:lnTo>
                  <a:lnTo>
                    <a:pt x="71044" y="203594"/>
                  </a:lnTo>
                  <a:lnTo>
                    <a:pt x="71044" y="202959"/>
                  </a:lnTo>
                  <a:lnTo>
                    <a:pt x="71044" y="203594"/>
                  </a:lnTo>
                  <a:lnTo>
                    <a:pt x="71095" y="203594"/>
                  </a:lnTo>
                  <a:lnTo>
                    <a:pt x="71095" y="202959"/>
                  </a:lnTo>
                  <a:lnTo>
                    <a:pt x="71095" y="203594"/>
                  </a:lnTo>
                  <a:lnTo>
                    <a:pt x="71095" y="202260"/>
                  </a:lnTo>
                  <a:lnTo>
                    <a:pt x="71095" y="203594"/>
                  </a:lnTo>
                  <a:lnTo>
                    <a:pt x="71197" y="203594"/>
                  </a:lnTo>
                  <a:lnTo>
                    <a:pt x="71197" y="204292"/>
                  </a:lnTo>
                  <a:lnTo>
                    <a:pt x="71197" y="203594"/>
                  </a:lnTo>
                  <a:lnTo>
                    <a:pt x="71248" y="203594"/>
                  </a:lnTo>
                  <a:lnTo>
                    <a:pt x="71248" y="202959"/>
                  </a:lnTo>
                  <a:lnTo>
                    <a:pt x="71298" y="202959"/>
                  </a:lnTo>
                  <a:lnTo>
                    <a:pt x="71298" y="200876"/>
                  </a:lnTo>
                  <a:lnTo>
                    <a:pt x="71298" y="202260"/>
                  </a:lnTo>
                  <a:lnTo>
                    <a:pt x="71298" y="200876"/>
                  </a:lnTo>
                  <a:lnTo>
                    <a:pt x="71298" y="202959"/>
                  </a:lnTo>
                  <a:lnTo>
                    <a:pt x="71400" y="202959"/>
                  </a:lnTo>
                  <a:lnTo>
                    <a:pt x="71400" y="200876"/>
                  </a:lnTo>
                  <a:lnTo>
                    <a:pt x="71400" y="202260"/>
                  </a:lnTo>
                  <a:lnTo>
                    <a:pt x="71400" y="200876"/>
                  </a:lnTo>
                  <a:lnTo>
                    <a:pt x="71400" y="203594"/>
                  </a:lnTo>
                  <a:lnTo>
                    <a:pt x="71438" y="203594"/>
                  </a:lnTo>
                  <a:lnTo>
                    <a:pt x="71438" y="202260"/>
                  </a:lnTo>
                  <a:lnTo>
                    <a:pt x="71438" y="203594"/>
                  </a:lnTo>
                  <a:lnTo>
                    <a:pt x="71489" y="203594"/>
                  </a:lnTo>
                  <a:lnTo>
                    <a:pt x="71489" y="202260"/>
                  </a:lnTo>
                  <a:lnTo>
                    <a:pt x="71489" y="203594"/>
                  </a:lnTo>
                  <a:lnTo>
                    <a:pt x="71540" y="203594"/>
                  </a:lnTo>
                  <a:lnTo>
                    <a:pt x="71540" y="202959"/>
                  </a:lnTo>
                  <a:lnTo>
                    <a:pt x="71540" y="203594"/>
                  </a:lnTo>
                  <a:lnTo>
                    <a:pt x="71540" y="202959"/>
                  </a:lnTo>
                  <a:lnTo>
                    <a:pt x="71540" y="203594"/>
                  </a:lnTo>
                  <a:lnTo>
                    <a:pt x="71540" y="202959"/>
                  </a:lnTo>
                  <a:lnTo>
                    <a:pt x="71540" y="203594"/>
                  </a:lnTo>
                  <a:lnTo>
                    <a:pt x="71641" y="203594"/>
                  </a:lnTo>
                  <a:lnTo>
                    <a:pt x="71641" y="202959"/>
                  </a:lnTo>
                  <a:lnTo>
                    <a:pt x="71641" y="203594"/>
                  </a:lnTo>
                  <a:lnTo>
                    <a:pt x="71641" y="202959"/>
                  </a:lnTo>
                  <a:lnTo>
                    <a:pt x="71692" y="202959"/>
                  </a:lnTo>
                  <a:lnTo>
                    <a:pt x="71692" y="202260"/>
                  </a:lnTo>
                  <a:lnTo>
                    <a:pt x="71692" y="202959"/>
                  </a:lnTo>
                  <a:lnTo>
                    <a:pt x="71692" y="202260"/>
                  </a:lnTo>
                  <a:lnTo>
                    <a:pt x="71692" y="202959"/>
                  </a:lnTo>
                  <a:lnTo>
                    <a:pt x="71692" y="202260"/>
                  </a:lnTo>
                  <a:lnTo>
                    <a:pt x="71743" y="202260"/>
                  </a:lnTo>
                  <a:lnTo>
                    <a:pt x="71743" y="200228"/>
                  </a:lnTo>
                  <a:lnTo>
                    <a:pt x="71743" y="200876"/>
                  </a:lnTo>
                  <a:lnTo>
                    <a:pt x="71844" y="200876"/>
                  </a:lnTo>
                  <a:lnTo>
                    <a:pt x="71844" y="199530"/>
                  </a:lnTo>
                  <a:lnTo>
                    <a:pt x="71844" y="200228"/>
                  </a:lnTo>
                  <a:lnTo>
                    <a:pt x="71844" y="198831"/>
                  </a:lnTo>
                  <a:lnTo>
                    <a:pt x="71844" y="199530"/>
                  </a:lnTo>
                  <a:lnTo>
                    <a:pt x="71895" y="199530"/>
                  </a:lnTo>
                  <a:lnTo>
                    <a:pt x="71895" y="200228"/>
                  </a:lnTo>
                  <a:lnTo>
                    <a:pt x="71895" y="199530"/>
                  </a:lnTo>
                  <a:lnTo>
                    <a:pt x="71895" y="200228"/>
                  </a:lnTo>
                  <a:lnTo>
                    <a:pt x="71895" y="199530"/>
                  </a:lnTo>
                  <a:lnTo>
                    <a:pt x="71895" y="200876"/>
                  </a:lnTo>
                  <a:lnTo>
                    <a:pt x="71946" y="202260"/>
                  </a:lnTo>
                  <a:lnTo>
                    <a:pt x="71946" y="200228"/>
                  </a:lnTo>
                  <a:lnTo>
                    <a:pt x="71946" y="202959"/>
                  </a:lnTo>
                  <a:lnTo>
                    <a:pt x="71984" y="202959"/>
                  </a:lnTo>
                  <a:lnTo>
                    <a:pt x="71984" y="200876"/>
                  </a:lnTo>
                  <a:lnTo>
                    <a:pt x="71984" y="202959"/>
                  </a:lnTo>
                  <a:lnTo>
                    <a:pt x="72086" y="202959"/>
                  </a:lnTo>
                  <a:lnTo>
                    <a:pt x="72086" y="202260"/>
                  </a:lnTo>
                  <a:lnTo>
                    <a:pt x="72086" y="202959"/>
                  </a:lnTo>
                  <a:lnTo>
                    <a:pt x="72136" y="202959"/>
                  </a:lnTo>
                  <a:lnTo>
                    <a:pt x="72136" y="202260"/>
                  </a:lnTo>
                  <a:lnTo>
                    <a:pt x="72136" y="202959"/>
                  </a:lnTo>
                  <a:lnTo>
                    <a:pt x="72187" y="202959"/>
                  </a:lnTo>
                  <a:lnTo>
                    <a:pt x="72187" y="203594"/>
                  </a:lnTo>
                  <a:lnTo>
                    <a:pt x="72187" y="202260"/>
                  </a:lnTo>
                  <a:lnTo>
                    <a:pt x="72289" y="202260"/>
                  </a:lnTo>
                  <a:lnTo>
                    <a:pt x="72289" y="200876"/>
                  </a:lnTo>
                  <a:lnTo>
                    <a:pt x="72289" y="202260"/>
                  </a:lnTo>
                  <a:lnTo>
                    <a:pt x="72289" y="200876"/>
                  </a:lnTo>
                  <a:lnTo>
                    <a:pt x="72289" y="202260"/>
                  </a:lnTo>
                  <a:lnTo>
                    <a:pt x="72289" y="200228"/>
                  </a:lnTo>
                  <a:lnTo>
                    <a:pt x="72340" y="200228"/>
                  </a:lnTo>
                  <a:lnTo>
                    <a:pt x="72340" y="198831"/>
                  </a:lnTo>
                  <a:lnTo>
                    <a:pt x="72340" y="199530"/>
                  </a:lnTo>
                  <a:lnTo>
                    <a:pt x="72340" y="197447"/>
                  </a:lnTo>
                  <a:lnTo>
                    <a:pt x="72340" y="198831"/>
                  </a:lnTo>
                  <a:lnTo>
                    <a:pt x="72391" y="199530"/>
                  </a:lnTo>
                  <a:lnTo>
                    <a:pt x="72391" y="197447"/>
                  </a:lnTo>
                  <a:lnTo>
                    <a:pt x="72391" y="200228"/>
                  </a:lnTo>
                  <a:lnTo>
                    <a:pt x="72441" y="200228"/>
                  </a:lnTo>
                  <a:lnTo>
                    <a:pt x="72441" y="199530"/>
                  </a:lnTo>
                  <a:lnTo>
                    <a:pt x="72441" y="200228"/>
                  </a:lnTo>
                  <a:lnTo>
                    <a:pt x="72441" y="199530"/>
                  </a:lnTo>
                  <a:lnTo>
                    <a:pt x="72441" y="200876"/>
                  </a:lnTo>
                  <a:lnTo>
                    <a:pt x="72441" y="200228"/>
                  </a:lnTo>
                  <a:lnTo>
                    <a:pt x="72441" y="200876"/>
                  </a:lnTo>
                  <a:lnTo>
                    <a:pt x="72441" y="200228"/>
                  </a:lnTo>
                  <a:lnTo>
                    <a:pt x="72530" y="200228"/>
                  </a:lnTo>
                  <a:lnTo>
                    <a:pt x="72530" y="200876"/>
                  </a:lnTo>
                  <a:lnTo>
                    <a:pt x="72530" y="200228"/>
                  </a:lnTo>
                  <a:lnTo>
                    <a:pt x="72530" y="200876"/>
                  </a:lnTo>
                  <a:lnTo>
                    <a:pt x="72530" y="200228"/>
                  </a:lnTo>
                  <a:lnTo>
                    <a:pt x="72530" y="200876"/>
                  </a:lnTo>
                  <a:lnTo>
                    <a:pt x="72530" y="200228"/>
                  </a:lnTo>
                  <a:lnTo>
                    <a:pt x="72581" y="200228"/>
                  </a:lnTo>
                  <a:lnTo>
                    <a:pt x="72581" y="200876"/>
                  </a:lnTo>
                  <a:lnTo>
                    <a:pt x="72581" y="200228"/>
                  </a:lnTo>
                  <a:lnTo>
                    <a:pt x="72581" y="200876"/>
                  </a:lnTo>
                  <a:lnTo>
                    <a:pt x="72632" y="200876"/>
                  </a:lnTo>
                  <a:lnTo>
                    <a:pt x="72632" y="202260"/>
                  </a:lnTo>
                  <a:lnTo>
                    <a:pt x="72632" y="200876"/>
                  </a:lnTo>
                  <a:lnTo>
                    <a:pt x="72632" y="202260"/>
                  </a:lnTo>
                  <a:lnTo>
                    <a:pt x="72632" y="200876"/>
                  </a:lnTo>
                  <a:lnTo>
                    <a:pt x="72632" y="202260"/>
                  </a:lnTo>
                  <a:lnTo>
                    <a:pt x="72683" y="200876"/>
                  </a:lnTo>
                  <a:lnTo>
                    <a:pt x="72683" y="202260"/>
                  </a:lnTo>
                  <a:lnTo>
                    <a:pt x="72683" y="200876"/>
                  </a:lnTo>
                  <a:lnTo>
                    <a:pt x="72683" y="202260"/>
                  </a:lnTo>
                  <a:lnTo>
                    <a:pt x="72683" y="200876"/>
                  </a:lnTo>
                  <a:lnTo>
                    <a:pt x="72784" y="200876"/>
                  </a:lnTo>
                  <a:lnTo>
                    <a:pt x="72784" y="199530"/>
                  </a:lnTo>
                  <a:lnTo>
                    <a:pt x="72835" y="199530"/>
                  </a:lnTo>
                  <a:lnTo>
                    <a:pt x="72835" y="200228"/>
                  </a:lnTo>
                  <a:lnTo>
                    <a:pt x="72835" y="199530"/>
                  </a:lnTo>
                  <a:lnTo>
                    <a:pt x="72886" y="198831"/>
                  </a:lnTo>
                  <a:lnTo>
                    <a:pt x="72886" y="200876"/>
                  </a:lnTo>
                  <a:lnTo>
                    <a:pt x="72886" y="200228"/>
                  </a:lnTo>
                  <a:lnTo>
                    <a:pt x="72987" y="200228"/>
                  </a:lnTo>
                  <a:lnTo>
                    <a:pt x="72987" y="202260"/>
                  </a:lnTo>
                  <a:lnTo>
                    <a:pt x="72987" y="200876"/>
                  </a:lnTo>
                  <a:lnTo>
                    <a:pt x="73025" y="200228"/>
                  </a:lnTo>
                  <a:lnTo>
                    <a:pt x="73025" y="200876"/>
                  </a:lnTo>
                  <a:lnTo>
                    <a:pt x="73076" y="200876"/>
                  </a:lnTo>
                  <a:lnTo>
                    <a:pt x="73076" y="200228"/>
                  </a:lnTo>
                  <a:lnTo>
                    <a:pt x="73076" y="202260"/>
                  </a:lnTo>
                  <a:lnTo>
                    <a:pt x="73127" y="202260"/>
                  </a:lnTo>
                  <a:lnTo>
                    <a:pt x="73127" y="202959"/>
                  </a:lnTo>
                  <a:lnTo>
                    <a:pt x="73127" y="202260"/>
                  </a:lnTo>
                  <a:lnTo>
                    <a:pt x="73229" y="202260"/>
                  </a:lnTo>
                  <a:lnTo>
                    <a:pt x="73229" y="200876"/>
                  </a:lnTo>
                  <a:lnTo>
                    <a:pt x="73229" y="202959"/>
                  </a:lnTo>
                  <a:lnTo>
                    <a:pt x="73229" y="200876"/>
                  </a:lnTo>
                  <a:lnTo>
                    <a:pt x="73280" y="200876"/>
                  </a:lnTo>
                  <a:lnTo>
                    <a:pt x="73280" y="199530"/>
                  </a:lnTo>
                  <a:lnTo>
                    <a:pt x="73330" y="199530"/>
                  </a:lnTo>
                  <a:lnTo>
                    <a:pt x="73330" y="198831"/>
                  </a:lnTo>
                  <a:lnTo>
                    <a:pt x="73330" y="200876"/>
                  </a:lnTo>
                  <a:lnTo>
                    <a:pt x="73330" y="199530"/>
                  </a:lnTo>
                  <a:lnTo>
                    <a:pt x="73432" y="199530"/>
                  </a:lnTo>
                  <a:lnTo>
                    <a:pt x="73432" y="202260"/>
                  </a:lnTo>
                  <a:lnTo>
                    <a:pt x="73432" y="200228"/>
                  </a:lnTo>
                  <a:lnTo>
                    <a:pt x="73483" y="200228"/>
                  </a:lnTo>
                  <a:lnTo>
                    <a:pt x="73483" y="202260"/>
                  </a:lnTo>
                  <a:lnTo>
                    <a:pt x="73483" y="200228"/>
                  </a:lnTo>
                  <a:lnTo>
                    <a:pt x="73483" y="200876"/>
                  </a:lnTo>
                  <a:lnTo>
                    <a:pt x="73534" y="200876"/>
                  </a:lnTo>
                  <a:lnTo>
                    <a:pt x="73534" y="202260"/>
                  </a:lnTo>
                  <a:lnTo>
                    <a:pt x="73534" y="200876"/>
                  </a:lnTo>
                  <a:lnTo>
                    <a:pt x="73572" y="200876"/>
                  </a:lnTo>
                  <a:lnTo>
                    <a:pt x="73572" y="202260"/>
                  </a:lnTo>
                  <a:lnTo>
                    <a:pt x="73572" y="200876"/>
                  </a:lnTo>
                  <a:lnTo>
                    <a:pt x="73572" y="202260"/>
                  </a:lnTo>
                  <a:lnTo>
                    <a:pt x="73572" y="200876"/>
                  </a:lnTo>
                  <a:lnTo>
                    <a:pt x="73673" y="202260"/>
                  </a:lnTo>
                  <a:lnTo>
                    <a:pt x="73673" y="200876"/>
                  </a:lnTo>
                  <a:lnTo>
                    <a:pt x="73673" y="202260"/>
                  </a:lnTo>
                  <a:lnTo>
                    <a:pt x="73673" y="200876"/>
                  </a:lnTo>
                  <a:lnTo>
                    <a:pt x="73724" y="200876"/>
                  </a:lnTo>
                  <a:lnTo>
                    <a:pt x="73724" y="200228"/>
                  </a:lnTo>
                  <a:lnTo>
                    <a:pt x="73775" y="200228"/>
                  </a:lnTo>
                  <a:lnTo>
                    <a:pt x="73775" y="197447"/>
                  </a:lnTo>
                  <a:lnTo>
                    <a:pt x="73876" y="197447"/>
                  </a:lnTo>
                  <a:lnTo>
                    <a:pt x="73876" y="200228"/>
                  </a:lnTo>
                  <a:lnTo>
                    <a:pt x="73876" y="197447"/>
                  </a:lnTo>
                  <a:lnTo>
                    <a:pt x="73876" y="199530"/>
                  </a:lnTo>
                  <a:lnTo>
                    <a:pt x="73927" y="199530"/>
                  </a:lnTo>
                  <a:lnTo>
                    <a:pt x="73927" y="202260"/>
                  </a:lnTo>
                  <a:lnTo>
                    <a:pt x="73927" y="199530"/>
                  </a:lnTo>
                  <a:lnTo>
                    <a:pt x="73927" y="200876"/>
                  </a:lnTo>
                  <a:lnTo>
                    <a:pt x="73978" y="202260"/>
                  </a:lnTo>
                  <a:lnTo>
                    <a:pt x="73978" y="200228"/>
                  </a:lnTo>
                  <a:lnTo>
                    <a:pt x="73978" y="200876"/>
                  </a:lnTo>
                  <a:lnTo>
                    <a:pt x="74029" y="200876"/>
                  </a:lnTo>
                  <a:lnTo>
                    <a:pt x="74029" y="202260"/>
                  </a:lnTo>
                  <a:lnTo>
                    <a:pt x="74029" y="200876"/>
                  </a:lnTo>
                  <a:lnTo>
                    <a:pt x="74118" y="200876"/>
                  </a:lnTo>
                  <a:lnTo>
                    <a:pt x="74118" y="202260"/>
                  </a:lnTo>
                  <a:lnTo>
                    <a:pt x="74118" y="200876"/>
                  </a:lnTo>
                  <a:lnTo>
                    <a:pt x="74118" y="202260"/>
                  </a:lnTo>
                  <a:lnTo>
                    <a:pt x="74168" y="202260"/>
                  </a:lnTo>
                  <a:lnTo>
                    <a:pt x="74168" y="200876"/>
                  </a:lnTo>
                  <a:lnTo>
                    <a:pt x="74168" y="202260"/>
                  </a:lnTo>
                  <a:lnTo>
                    <a:pt x="74168" y="200876"/>
                  </a:lnTo>
                  <a:lnTo>
                    <a:pt x="74168" y="202260"/>
                  </a:lnTo>
                  <a:lnTo>
                    <a:pt x="74168" y="200876"/>
                  </a:lnTo>
                  <a:lnTo>
                    <a:pt x="74168" y="202260"/>
                  </a:lnTo>
                  <a:lnTo>
                    <a:pt x="74168" y="200876"/>
                  </a:lnTo>
                  <a:lnTo>
                    <a:pt x="74168" y="202260"/>
                  </a:lnTo>
                  <a:lnTo>
                    <a:pt x="74168" y="200876"/>
                  </a:lnTo>
                  <a:lnTo>
                    <a:pt x="74219" y="200876"/>
                  </a:lnTo>
                  <a:lnTo>
                    <a:pt x="74219" y="202260"/>
                  </a:lnTo>
                  <a:lnTo>
                    <a:pt x="74219" y="199530"/>
                  </a:lnTo>
                  <a:lnTo>
                    <a:pt x="74270" y="199530"/>
                  </a:lnTo>
                  <a:lnTo>
                    <a:pt x="74270" y="197447"/>
                  </a:lnTo>
                  <a:lnTo>
                    <a:pt x="74372" y="197447"/>
                  </a:lnTo>
                  <a:lnTo>
                    <a:pt x="74372" y="198831"/>
                  </a:lnTo>
                  <a:lnTo>
                    <a:pt x="74372" y="197447"/>
                  </a:lnTo>
                  <a:lnTo>
                    <a:pt x="74372" y="198831"/>
                  </a:lnTo>
                  <a:lnTo>
                    <a:pt x="74372" y="197447"/>
                  </a:lnTo>
                  <a:lnTo>
                    <a:pt x="74423" y="197447"/>
                  </a:lnTo>
                  <a:lnTo>
                    <a:pt x="74423" y="200228"/>
                  </a:lnTo>
                  <a:lnTo>
                    <a:pt x="74423" y="199530"/>
                  </a:lnTo>
                  <a:lnTo>
                    <a:pt x="74473" y="199530"/>
                  </a:lnTo>
                  <a:lnTo>
                    <a:pt x="74473" y="200228"/>
                  </a:lnTo>
                  <a:lnTo>
                    <a:pt x="74473" y="199530"/>
                  </a:lnTo>
                  <a:lnTo>
                    <a:pt x="74473" y="200228"/>
                  </a:lnTo>
                  <a:lnTo>
                    <a:pt x="74575" y="200228"/>
                  </a:lnTo>
                  <a:lnTo>
                    <a:pt x="74575" y="200876"/>
                  </a:lnTo>
                  <a:lnTo>
                    <a:pt x="74575" y="200228"/>
                  </a:lnTo>
                  <a:lnTo>
                    <a:pt x="74575" y="200876"/>
                  </a:lnTo>
                  <a:lnTo>
                    <a:pt x="74613" y="200876"/>
                  </a:lnTo>
                  <a:lnTo>
                    <a:pt x="74613" y="202260"/>
                  </a:lnTo>
                  <a:lnTo>
                    <a:pt x="74613" y="200876"/>
                  </a:lnTo>
                  <a:lnTo>
                    <a:pt x="74613" y="202260"/>
                  </a:lnTo>
                  <a:lnTo>
                    <a:pt x="74613" y="200876"/>
                  </a:lnTo>
                  <a:lnTo>
                    <a:pt x="74613" y="202260"/>
                  </a:lnTo>
                  <a:lnTo>
                    <a:pt x="74664" y="202260"/>
                  </a:lnTo>
                  <a:lnTo>
                    <a:pt x="74664" y="200876"/>
                  </a:lnTo>
                  <a:lnTo>
                    <a:pt x="74664" y="202260"/>
                  </a:lnTo>
                  <a:lnTo>
                    <a:pt x="74664" y="200876"/>
                  </a:lnTo>
                  <a:lnTo>
                    <a:pt x="74664" y="202260"/>
                  </a:lnTo>
                  <a:lnTo>
                    <a:pt x="74664" y="200876"/>
                  </a:lnTo>
                  <a:lnTo>
                    <a:pt x="74715" y="200876"/>
                  </a:lnTo>
                  <a:lnTo>
                    <a:pt x="74715" y="200228"/>
                  </a:lnTo>
                  <a:lnTo>
                    <a:pt x="74715" y="200876"/>
                  </a:lnTo>
                  <a:lnTo>
                    <a:pt x="74715" y="199530"/>
                  </a:lnTo>
                  <a:lnTo>
                    <a:pt x="74816" y="199530"/>
                  </a:lnTo>
                  <a:lnTo>
                    <a:pt x="74816" y="196799"/>
                  </a:lnTo>
                  <a:lnTo>
                    <a:pt x="74816" y="197447"/>
                  </a:lnTo>
                  <a:lnTo>
                    <a:pt x="74867" y="197447"/>
                  </a:lnTo>
                  <a:lnTo>
                    <a:pt x="74867" y="198831"/>
                  </a:lnTo>
                  <a:lnTo>
                    <a:pt x="74867" y="197447"/>
                  </a:lnTo>
                  <a:lnTo>
                    <a:pt x="74867" y="198831"/>
                  </a:lnTo>
                  <a:lnTo>
                    <a:pt x="74867" y="196799"/>
                  </a:lnTo>
                  <a:lnTo>
                    <a:pt x="74867" y="199530"/>
                  </a:lnTo>
                  <a:lnTo>
                    <a:pt x="74918" y="199530"/>
                  </a:lnTo>
                  <a:lnTo>
                    <a:pt x="74918" y="200228"/>
                  </a:lnTo>
                  <a:lnTo>
                    <a:pt x="74918" y="198831"/>
                  </a:lnTo>
                  <a:lnTo>
                    <a:pt x="74918" y="199530"/>
                  </a:lnTo>
                  <a:lnTo>
                    <a:pt x="75019" y="199530"/>
                  </a:lnTo>
                  <a:lnTo>
                    <a:pt x="75019" y="200228"/>
                  </a:lnTo>
                  <a:lnTo>
                    <a:pt x="75019" y="198831"/>
                  </a:lnTo>
                  <a:lnTo>
                    <a:pt x="75019" y="199530"/>
                  </a:lnTo>
                  <a:lnTo>
                    <a:pt x="75070" y="199530"/>
                  </a:lnTo>
                  <a:lnTo>
                    <a:pt x="75070" y="200228"/>
                  </a:lnTo>
                  <a:lnTo>
                    <a:pt x="75070" y="199530"/>
                  </a:lnTo>
                  <a:lnTo>
                    <a:pt x="75070" y="200228"/>
                  </a:lnTo>
                  <a:lnTo>
                    <a:pt x="75121" y="200228"/>
                  </a:lnTo>
                  <a:lnTo>
                    <a:pt x="75121" y="200876"/>
                  </a:lnTo>
                  <a:lnTo>
                    <a:pt x="75121" y="200228"/>
                  </a:lnTo>
                  <a:lnTo>
                    <a:pt x="75121" y="200876"/>
                  </a:lnTo>
                  <a:lnTo>
                    <a:pt x="75159" y="200876"/>
                  </a:lnTo>
                  <a:lnTo>
                    <a:pt x="75159" y="200228"/>
                  </a:lnTo>
                  <a:lnTo>
                    <a:pt x="75261" y="200228"/>
                  </a:lnTo>
                  <a:lnTo>
                    <a:pt x="75261" y="200876"/>
                  </a:lnTo>
                  <a:lnTo>
                    <a:pt x="75261" y="199530"/>
                  </a:lnTo>
                  <a:lnTo>
                    <a:pt x="75261" y="200228"/>
                  </a:lnTo>
                  <a:lnTo>
                    <a:pt x="75261" y="199530"/>
                  </a:lnTo>
                  <a:lnTo>
                    <a:pt x="75311" y="199530"/>
                  </a:lnTo>
                  <a:lnTo>
                    <a:pt x="75311" y="198831"/>
                  </a:lnTo>
                  <a:lnTo>
                    <a:pt x="75311" y="199530"/>
                  </a:lnTo>
                  <a:lnTo>
                    <a:pt x="75362" y="198831"/>
                  </a:lnTo>
                  <a:lnTo>
                    <a:pt x="75362" y="197447"/>
                  </a:lnTo>
                  <a:lnTo>
                    <a:pt x="75362" y="198831"/>
                  </a:lnTo>
                  <a:lnTo>
                    <a:pt x="75362" y="197447"/>
                  </a:lnTo>
                  <a:lnTo>
                    <a:pt x="75362" y="198831"/>
                  </a:lnTo>
                  <a:lnTo>
                    <a:pt x="75362" y="197447"/>
                  </a:lnTo>
                  <a:lnTo>
                    <a:pt x="75362" y="199530"/>
                  </a:lnTo>
                  <a:lnTo>
                    <a:pt x="75464" y="199530"/>
                  </a:lnTo>
                  <a:lnTo>
                    <a:pt x="75464" y="198831"/>
                  </a:lnTo>
                  <a:lnTo>
                    <a:pt x="75464" y="199530"/>
                  </a:lnTo>
                  <a:lnTo>
                    <a:pt x="75515" y="198831"/>
                  </a:lnTo>
                  <a:lnTo>
                    <a:pt x="75515" y="199530"/>
                  </a:lnTo>
                  <a:lnTo>
                    <a:pt x="75515" y="198831"/>
                  </a:lnTo>
                  <a:lnTo>
                    <a:pt x="75515" y="199530"/>
                  </a:lnTo>
                  <a:lnTo>
                    <a:pt x="75515" y="198831"/>
                  </a:lnTo>
                  <a:lnTo>
                    <a:pt x="75566" y="198831"/>
                  </a:lnTo>
                  <a:lnTo>
                    <a:pt x="75566" y="200228"/>
                  </a:lnTo>
                  <a:lnTo>
                    <a:pt x="75566" y="199530"/>
                  </a:lnTo>
                  <a:lnTo>
                    <a:pt x="75566" y="200228"/>
                  </a:lnTo>
                  <a:lnTo>
                    <a:pt x="75566" y="199530"/>
                  </a:lnTo>
                  <a:lnTo>
                    <a:pt x="75616" y="199530"/>
                  </a:lnTo>
                  <a:lnTo>
                    <a:pt x="75616" y="200876"/>
                  </a:lnTo>
                  <a:lnTo>
                    <a:pt x="75616" y="199530"/>
                  </a:lnTo>
                  <a:lnTo>
                    <a:pt x="75616" y="200228"/>
                  </a:lnTo>
                  <a:lnTo>
                    <a:pt x="75756" y="200228"/>
                  </a:lnTo>
                  <a:lnTo>
                    <a:pt x="75756" y="199530"/>
                  </a:lnTo>
                  <a:lnTo>
                    <a:pt x="75756" y="200228"/>
                  </a:lnTo>
                  <a:lnTo>
                    <a:pt x="75756" y="199530"/>
                  </a:lnTo>
                  <a:lnTo>
                    <a:pt x="75756" y="200228"/>
                  </a:lnTo>
                  <a:lnTo>
                    <a:pt x="75756" y="198831"/>
                  </a:lnTo>
                  <a:lnTo>
                    <a:pt x="75756" y="199530"/>
                  </a:lnTo>
                  <a:lnTo>
                    <a:pt x="75756" y="198831"/>
                  </a:lnTo>
                  <a:lnTo>
                    <a:pt x="75807" y="198831"/>
                  </a:lnTo>
                  <a:lnTo>
                    <a:pt x="75807" y="200876"/>
                  </a:lnTo>
                  <a:lnTo>
                    <a:pt x="75807" y="198831"/>
                  </a:lnTo>
                  <a:lnTo>
                    <a:pt x="75807" y="200876"/>
                  </a:lnTo>
                  <a:lnTo>
                    <a:pt x="75858" y="202260"/>
                  </a:lnTo>
                  <a:lnTo>
                    <a:pt x="75858" y="202959"/>
                  </a:lnTo>
                  <a:lnTo>
                    <a:pt x="75858" y="200876"/>
                  </a:lnTo>
                  <a:lnTo>
                    <a:pt x="75858" y="202260"/>
                  </a:lnTo>
                  <a:lnTo>
                    <a:pt x="75959" y="202260"/>
                  </a:lnTo>
                  <a:lnTo>
                    <a:pt x="75959" y="202959"/>
                  </a:lnTo>
                  <a:lnTo>
                    <a:pt x="75959" y="200876"/>
                  </a:lnTo>
                  <a:lnTo>
                    <a:pt x="75959" y="202959"/>
                  </a:lnTo>
                  <a:lnTo>
                    <a:pt x="76010" y="202959"/>
                  </a:lnTo>
                  <a:lnTo>
                    <a:pt x="76010" y="200876"/>
                  </a:lnTo>
                  <a:lnTo>
                    <a:pt x="76010" y="202260"/>
                  </a:lnTo>
                  <a:lnTo>
                    <a:pt x="76061" y="202260"/>
                  </a:lnTo>
                  <a:lnTo>
                    <a:pt x="76061" y="200876"/>
                  </a:lnTo>
                  <a:lnTo>
                    <a:pt x="76061" y="202959"/>
                  </a:lnTo>
                  <a:lnTo>
                    <a:pt x="76061" y="202260"/>
                  </a:lnTo>
                  <a:lnTo>
                    <a:pt x="76162" y="202260"/>
                  </a:lnTo>
                  <a:lnTo>
                    <a:pt x="76162" y="200876"/>
                  </a:lnTo>
                  <a:lnTo>
                    <a:pt x="76162" y="202260"/>
                  </a:lnTo>
                  <a:lnTo>
                    <a:pt x="76162" y="200876"/>
                  </a:lnTo>
                  <a:lnTo>
                    <a:pt x="76200" y="200876"/>
                  </a:lnTo>
                  <a:lnTo>
                    <a:pt x="76200" y="199530"/>
                  </a:lnTo>
                  <a:lnTo>
                    <a:pt x="76251" y="199530"/>
                  </a:lnTo>
                  <a:lnTo>
                    <a:pt x="76251" y="198831"/>
                  </a:lnTo>
                  <a:lnTo>
                    <a:pt x="76251" y="200876"/>
                  </a:lnTo>
                  <a:lnTo>
                    <a:pt x="76302" y="200876"/>
                  </a:lnTo>
                  <a:lnTo>
                    <a:pt x="76302" y="199530"/>
                  </a:lnTo>
                  <a:lnTo>
                    <a:pt x="76302" y="202959"/>
                  </a:lnTo>
                  <a:lnTo>
                    <a:pt x="76404" y="202260"/>
                  </a:lnTo>
                  <a:lnTo>
                    <a:pt x="76404" y="200876"/>
                  </a:lnTo>
                  <a:lnTo>
                    <a:pt x="76404" y="202959"/>
                  </a:lnTo>
                  <a:lnTo>
                    <a:pt x="76404" y="202260"/>
                  </a:lnTo>
                  <a:lnTo>
                    <a:pt x="76455" y="202260"/>
                  </a:lnTo>
                  <a:lnTo>
                    <a:pt x="76455" y="200876"/>
                  </a:lnTo>
                  <a:lnTo>
                    <a:pt x="76455" y="202260"/>
                  </a:lnTo>
                  <a:lnTo>
                    <a:pt x="76455" y="200876"/>
                  </a:lnTo>
                  <a:lnTo>
                    <a:pt x="76455" y="202959"/>
                  </a:lnTo>
                  <a:lnTo>
                    <a:pt x="76505" y="202959"/>
                  </a:lnTo>
                  <a:lnTo>
                    <a:pt x="76505" y="202260"/>
                  </a:lnTo>
                  <a:lnTo>
                    <a:pt x="76505" y="203594"/>
                  </a:lnTo>
                  <a:lnTo>
                    <a:pt x="76505" y="202959"/>
                  </a:lnTo>
                  <a:lnTo>
                    <a:pt x="76505" y="203594"/>
                  </a:lnTo>
                  <a:lnTo>
                    <a:pt x="76505" y="202959"/>
                  </a:lnTo>
                  <a:lnTo>
                    <a:pt x="76607" y="202959"/>
                  </a:lnTo>
                  <a:lnTo>
                    <a:pt x="76607" y="203594"/>
                  </a:lnTo>
                  <a:lnTo>
                    <a:pt x="76607" y="202260"/>
                  </a:lnTo>
                  <a:lnTo>
                    <a:pt x="76658" y="202260"/>
                  </a:lnTo>
                  <a:lnTo>
                    <a:pt x="76658" y="200228"/>
                  </a:lnTo>
                  <a:lnTo>
                    <a:pt x="76658" y="200876"/>
                  </a:lnTo>
                  <a:lnTo>
                    <a:pt x="76709" y="200228"/>
                  </a:lnTo>
                  <a:lnTo>
                    <a:pt x="76709" y="200876"/>
                  </a:lnTo>
                  <a:lnTo>
                    <a:pt x="76709" y="197447"/>
                  </a:lnTo>
                  <a:lnTo>
                    <a:pt x="76747" y="197447"/>
                  </a:lnTo>
                  <a:lnTo>
                    <a:pt x="76747" y="198831"/>
                  </a:lnTo>
                  <a:lnTo>
                    <a:pt x="76747" y="197447"/>
                  </a:lnTo>
                  <a:lnTo>
                    <a:pt x="76747" y="199530"/>
                  </a:lnTo>
                  <a:lnTo>
                    <a:pt x="76747" y="198831"/>
                  </a:lnTo>
                  <a:lnTo>
                    <a:pt x="76848" y="197447"/>
                  </a:lnTo>
                  <a:lnTo>
                    <a:pt x="76848" y="200876"/>
                  </a:lnTo>
                  <a:lnTo>
                    <a:pt x="76848" y="199530"/>
                  </a:lnTo>
                  <a:lnTo>
                    <a:pt x="76899" y="199530"/>
                  </a:lnTo>
                  <a:lnTo>
                    <a:pt x="76899" y="200876"/>
                  </a:lnTo>
                  <a:lnTo>
                    <a:pt x="76899" y="200228"/>
                  </a:lnTo>
                  <a:lnTo>
                    <a:pt x="76950" y="200876"/>
                  </a:lnTo>
                  <a:lnTo>
                    <a:pt x="76950" y="200228"/>
                  </a:lnTo>
                  <a:lnTo>
                    <a:pt x="76950" y="202260"/>
                  </a:lnTo>
                  <a:lnTo>
                    <a:pt x="76950" y="200876"/>
                  </a:lnTo>
                  <a:lnTo>
                    <a:pt x="77051" y="200876"/>
                  </a:lnTo>
                  <a:lnTo>
                    <a:pt x="77051" y="202260"/>
                  </a:lnTo>
                  <a:lnTo>
                    <a:pt x="77102" y="202260"/>
                  </a:lnTo>
                  <a:lnTo>
                    <a:pt x="77102" y="202959"/>
                  </a:lnTo>
                  <a:lnTo>
                    <a:pt x="77102" y="202260"/>
                  </a:lnTo>
                  <a:lnTo>
                    <a:pt x="77102" y="202959"/>
                  </a:lnTo>
                  <a:lnTo>
                    <a:pt x="77102" y="202260"/>
                  </a:lnTo>
                  <a:lnTo>
                    <a:pt x="77102" y="202959"/>
                  </a:lnTo>
                  <a:lnTo>
                    <a:pt x="77102" y="202260"/>
                  </a:lnTo>
                  <a:lnTo>
                    <a:pt x="77153" y="202959"/>
                  </a:lnTo>
                  <a:lnTo>
                    <a:pt x="77153" y="200228"/>
                  </a:lnTo>
                  <a:lnTo>
                    <a:pt x="77153" y="200876"/>
                  </a:lnTo>
                  <a:lnTo>
                    <a:pt x="77204" y="200228"/>
                  </a:lnTo>
                  <a:lnTo>
                    <a:pt x="77204" y="199530"/>
                  </a:lnTo>
                  <a:lnTo>
                    <a:pt x="77204" y="200228"/>
                  </a:lnTo>
                  <a:lnTo>
                    <a:pt x="77204" y="198831"/>
                  </a:lnTo>
                  <a:lnTo>
                    <a:pt x="77204" y="199530"/>
                  </a:lnTo>
                  <a:lnTo>
                    <a:pt x="77204" y="198831"/>
                  </a:lnTo>
                  <a:lnTo>
                    <a:pt x="77293" y="198831"/>
                  </a:lnTo>
                  <a:lnTo>
                    <a:pt x="77293" y="197447"/>
                  </a:lnTo>
                  <a:lnTo>
                    <a:pt x="77293" y="199530"/>
                  </a:lnTo>
                  <a:lnTo>
                    <a:pt x="77293" y="198831"/>
                  </a:lnTo>
                  <a:lnTo>
                    <a:pt x="77293" y="199530"/>
                  </a:lnTo>
                  <a:lnTo>
                    <a:pt x="77293" y="198831"/>
                  </a:lnTo>
                  <a:lnTo>
                    <a:pt x="77343" y="198831"/>
                  </a:lnTo>
                  <a:lnTo>
                    <a:pt x="77343" y="197447"/>
                  </a:lnTo>
                  <a:lnTo>
                    <a:pt x="77343" y="199530"/>
                  </a:lnTo>
                  <a:lnTo>
                    <a:pt x="77343" y="198831"/>
                  </a:lnTo>
                  <a:lnTo>
                    <a:pt x="77343" y="200228"/>
                  </a:lnTo>
                  <a:lnTo>
                    <a:pt x="77343" y="199530"/>
                  </a:lnTo>
                  <a:lnTo>
                    <a:pt x="77394" y="199530"/>
                  </a:lnTo>
                  <a:lnTo>
                    <a:pt x="77394" y="200228"/>
                  </a:lnTo>
                  <a:lnTo>
                    <a:pt x="77394" y="199530"/>
                  </a:lnTo>
                  <a:lnTo>
                    <a:pt x="77394" y="200228"/>
                  </a:lnTo>
                  <a:lnTo>
                    <a:pt x="77394" y="199530"/>
                  </a:lnTo>
                  <a:lnTo>
                    <a:pt x="77445" y="199530"/>
                  </a:lnTo>
                  <a:lnTo>
                    <a:pt x="77445" y="200876"/>
                  </a:lnTo>
                  <a:lnTo>
                    <a:pt x="77547" y="200228"/>
                  </a:lnTo>
                  <a:lnTo>
                    <a:pt x="77547" y="202260"/>
                  </a:lnTo>
                  <a:lnTo>
                    <a:pt x="77547" y="200876"/>
                  </a:lnTo>
                  <a:lnTo>
                    <a:pt x="77547" y="202260"/>
                  </a:lnTo>
                  <a:lnTo>
                    <a:pt x="77598" y="202260"/>
                  </a:lnTo>
                  <a:lnTo>
                    <a:pt x="77598" y="200876"/>
                  </a:lnTo>
                  <a:lnTo>
                    <a:pt x="77598" y="202959"/>
                  </a:lnTo>
                  <a:lnTo>
                    <a:pt x="77598" y="202260"/>
                  </a:lnTo>
                  <a:lnTo>
                    <a:pt x="77648" y="202260"/>
                  </a:lnTo>
                  <a:lnTo>
                    <a:pt x="77648" y="200876"/>
                  </a:lnTo>
                  <a:lnTo>
                    <a:pt x="77648" y="202260"/>
                  </a:lnTo>
                  <a:lnTo>
                    <a:pt x="77648" y="200228"/>
                  </a:lnTo>
                  <a:lnTo>
                    <a:pt x="77750" y="200228"/>
                  </a:lnTo>
                  <a:lnTo>
                    <a:pt x="77750" y="197447"/>
                  </a:lnTo>
                  <a:lnTo>
                    <a:pt x="77788" y="197447"/>
                  </a:lnTo>
                  <a:lnTo>
                    <a:pt x="77788" y="198831"/>
                  </a:lnTo>
                  <a:lnTo>
                    <a:pt x="77788" y="197447"/>
                  </a:lnTo>
                  <a:lnTo>
                    <a:pt x="77788" y="198831"/>
                  </a:lnTo>
                  <a:lnTo>
                    <a:pt x="77839" y="198831"/>
                  </a:lnTo>
                  <a:lnTo>
                    <a:pt x="77839" y="197447"/>
                  </a:lnTo>
                  <a:lnTo>
                    <a:pt x="77839" y="199530"/>
                  </a:lnTo>
                  <a:lnTo>
                    <a:pt x="77890" y="198831"/>
                  </a:lnTo>
                  <a:lnTo>
                    <a:pt x="77890" y="200228"/>
                  </a:lnTo>
                  <a:lnTo>
                    <a:pt x="77890" y="199530"/>
                  </a:lnTo>
                  <a:lnTo>
                    <a:pt x="77991" y="199530"/>
                  </a:lnTo>
                  <a:lnTo>
                    <a:pt x="77991" y="200228"/>
                  </a:lnTo>
                  <a:lnTo>
                    <a:pt x="77991" y="199530"/>
                  </a:lnTo>
                  <a:lnTo>
                    <a:pt x="77991" y="200228"/>
                  </a:lnTo>
                  <a:lnTo>
                    <a:pt x="78042" y="200228"/>
                  </a:lnTo>
                  <a:lnTo>
                    <a:pt x="78042" y="200876"/>
                  </a:lnTo>
                  <a:lnTo>
                    <a:pt x="78042" y="200228"/>
                  </a:lnTo>
                  <a:lnTo>
                    <a:pt x="78042" y="200876"/>
                  </a:lnTo>
                  <a:lnTo>
                    <a:pt x="78042" y="200228"/>
                  </a:lnTo>
                  <a:lnTo>
                    <a:pt x="78042" y="200876"/>
                  </a:lnTo>
                  <a:lnTo>
                    <a:pt x="78093" y="200876"/>
                  </a:lnTo>
                  <a:lnTo>
                    <a:pt x="78093" y="202260"/>
                  </a:lnTo>
                  <a:lnTo>
                    <a:pt x="78093" y="200876"/>
                  </a:lnTo>
                  <a:lnTo>
                    <a:pt x="78194" y="200876"/>
                  </a:lnTo>
                  <a:lnTo>
                    <a:pt x="78194" y="200228"/>
                  </a:lnTo>
                  <a:lnTo>
                    <a:pt x="78194" y="200876"/>
                  </a:lnTo>
                  <a:lnTo>
                    <a:pt x="78194" y="200228"/>
                  </a:lnTo>
                  <a:lnTo>
                    <a:pt x="78245" y="200228"/>
                  </a:lnTo>
                  <a:lnTo>
                    <a:pt x="78245" y="198831"/>
                  </a:lnTo>
                  <a:lnTo>
                    <a:pt x="78296" y="198831"/>
                  </a:lnTo>
                  <a:lnTo>
                    <a:pt x="78296" y="197447"/>
                  </a:lnTo>
                  <a:lnTo>
                    <a:pt x="78296" y="198831"/>
                  </a:lnTo>
                  <a:lnTo>
                    <a:pt x="78296" y="197447"/>
                  </a:lnTo>
                  <a:lnTo>
                    <a:pt x="78296" y="198831"/>
                  </a:lnTo>
                  <a:lnTo>
                    <a:pt x="78296" y="197447"/>
                  </a:lnTo>
                  <a:lnTo>
                    <a:pt x="78334" y="197447"/>
                  </a:lnTo>
                  <a:lnTo>
                    <a:pt x="78334" y="200228"/>
                  </a:lnTo>
                  <a:lnTo>
                    <a:pt x="78334" y="199530"/>
                  </a:lnTo>
                  <a:lnTo>
                    <a:pt x="78334" y="200228"/>
                  </a:lnTo>
                  <a:lnTo>
                    <a:pt x="78334" y="198831"/>
                  </a:lnTo>
                  <a:lnTo>
                    <a:pt x="78334" y="199530"/>
                  </a:lnTo>
                  <a:lnTo>
                    <a:pt x="78334" y="198831"/>
                  </a:lnTo>
                  <a:lnTo>
                    <a:pt x="78436" y="198831"/>
                  </a:lnTo>
                  <a:lnTo>
                    <a:pt x="78436" y="199530"/>
                  </a:lnTo>
                  <a:lnTo>
                    <a:pt x="78436" y="198831"/>
                  </a:lnTo>
                  <a:lnTo>
                    <a:pt x="78436" y="199530"/>
                  </a:lnTo>
                  <a:lnTo>
                    <a:pt x="78436" y="198831"/>
                  </a:lnTo>
                  <a:lnTo>
                    <a:pt x="78436" y="199530"/>
                  </a:lnTo>
                  <a:lnTo>
                    <a:pt x="78486" y="199530"/>
                  </a:lnTo>
                  <a:lnTo>
                    <a:pt x="78486" y="198831"/>
                  </a:lnTo>
                  <a:lnTo>
                    <a:pt x="78486" y="200228"/>
                  </a:lnTo>
                  <a:lnTo>
                    <a:pt x="78486" y="199530"/>
                  </a:lnTo>
                  <a:lnTo>
                    <a:pt x="78486" y="200228"/>
                  </a:lnTo>
                  <a:lnTo>
                    <a:pt x="78537" y="200228"/>
                  </a:lnTo>
                  <a:lnTo>
                    <a:pt x="78537" y="199530"/>
                  </a:lnTo>
                  <a:lnTo>
                    <a:pt x="78537" y="200228"/>
                  </a:lnTo>
                  <a:lnTo>
                    <a:pt x="78537" y="199530"/>
                  </a:lnTo>
                  <a:lnTo>
                    <a:pt x="78537" y="200228"/>
                  </a:lnTo>
                  <a:lnTo>
                    <a:pt x="78537" y="199530"/>
                  </a:lnTo>
                  <a:lnTo>
                    <a:pt x="78537" y="200228"/>
                  </a:lnTo>
                  <a:lnTo>
                    <a:pt x="78639" y="200228"/>
                  </a:lnTo>
                  <a:lnTo>
                    <a:pt x="78639" y="200876"/>
                  </a:lnTo>
                  <a:lnTo>
                    <a:pt x="78639" y="200228"/>
                  </a:lnTo>
                  <a:lnTo>
                    <a:pt x="78690" y="200228"/>
                  </a:lnTo>
                  <a:lnTo>
                    <a:pt x="78690" y="199530"/>
                  </a:lnTo>
                  <a:lnTo>
                    <a:pt x="78690" y="200228"/>
                  </a:lnTo>
                  <a:lnTo>
                    <a:pt x="78690" y="199530"/>
                  </a:lnTo>
                  <a:lnTo>
                    <a:pt x="78741" y="199530"/>
                  </a:lnTo>
                  <a:lnTo>
                    <a:pt x="78741" y="197447"/>
                  </a:lnTo>
                  <a:lnTo>
                    <a:pt x="78741" y="199530"/>
                  </a:lnTo>
                  <a:lnTo>
                    <a:pt x="78791" y="199530"/>
                  </a:lnTo>
                  <a:lnTo>
                    <a:pt x="78791" y="200228"/>
                  </a:lnTo>
                  <a:lnTo>
                    <a:pt x="78791" y="198831"/>
                  </a:lnTo>
                  <a:lnTo>
                    <a:pt x="78791" y="199530"/>
                  </a:lnTo>
                  <a:lnTo>
                    <a:pt x="78791" y="197447"/>
                  </a:lnTo>
                  <a:lnTo>
                    <a:pt x="78791" y="200228"/>
                  </a:lnTo>
                  <a:lnTo>
                    <a:pt x="78880" y="200876"/>
                  </a:lnTo>
                  <a:lnTo>
                    <a:pt x="78880" y="199530"/>
                  </a:lnTo>
                  <a:lnTo>
                    <a:pt x="78880" y="200876"/>
                  </a:lnTo>
                  <a:lnTo>
                    <a:pt x="78880" y="200228"/>
                  </a:lnTo>
                  <a:lnTo>
                    <a:pt x="78880" y="200876"/>
                  </a:lnTo>
                  <a:lnTo>
                    <a:pt x="78880" y="200228"/>
                  </a:lnTo>
                  <a:lnTo>
                    <a:pt x="78931" y="200228"/>
                  </a:lnTo>
                  <a:lnTo>
                    <a:pt x="78931" y="199530"/>
                  </a:lnTo>
                  <a:lnTo>
                    <a:pt x="78931" y="200228"/>
                  </a:lnTo>
                  <a:lnTo>
                    <a:pt x="78982" y="200228"/>
                  </a:lnTo>
                  <a:lnTo>
                    <a:pt x="78982" y="200876"/>
                  </a:lnTo>
                  <a:lnTo>
                    <a:pt x="78982" y="200228"/>
                  </a:lnTo>
                  <a:lnTo>
                    <a:pt x="79033" y="200876"/>
                  </a:lnTo>
                  <a:lnTo>
                    <a:pt x="79033" y="200228"/>
                  </a:lnTo>
                  <a:lnTo>
                    <a:pt x="79033" y="200876"/>
                  </a:lnTo>
                  <a:lnTo>
                    <a:pt x="79033" y="200228"/>
                  </a:lnTo>
                  <a:lnTo>
                    <a:pt x="79134" y="200228"/>
                  </a:lnTo>
                  <a:lnTo>
                    <a:pt x="79134" y="200876"/>
                  </a:lnTo>
                  <a:lnTo>
                    <a:pt x="79134" y="200228"/>
                  </a:lnTo>
                  <a:lnTo>
                    <a:pt x="79134" y="200876"/>
                  </a:lnTo>
                  <a:lnTo>
                    <a:pt x="79134" y="200228"/>
                  </a:lnTo>
                  <a:lnTo>
                    <a:pt x="79185" y="200876"/>
                  </a:lnTo>
                  <a:lnTo>
                    <a:pt x="79185" y="199530"/>
                  </a:lnTo>
                  <a:lnTo>
                    <a:pt x="79185" y="200228"/>
                  </a:lnTo>
                  <a:lnTo>
                    <a:pt x="79185" y="199530"/>
                  </a:lnTo>
                  <a:lnTo>
                    <a:pt x="79236" y="199530"/>
                  </a:lnTo>
                  <a:lnTo>
                    <a:pt x="79236" y="197447"/>
                  </a:lnTo>
                  <a:lnTo>
                    <a:pt x="79236" y="198831"/>
                  </a:lnTo>
                  <a:lnTo>
                    <a:pt x="79236" y="196799"/>
                  </a:lnTo>
                  <a:lnTo>
                    <a:pt x="79236" y="197447"/>
                  </a:lnTo>
                  <a:lnTo>
                    <a:pt x="79337" y="197447"/>
                  </a:lnTo>
                  <a:lnTo>
                    <a:pt x="79337" y="199530"/>
                  </a:lnTo>
                  <a:lnTo>
                    <a:pt x="79337" y="197447"/>
                  </a:lnTo>
                  <a:lnTo>
                    <a:pt x="79337" y="199530"/>
                  </a:lnTo>
                  <a:lnTo>
                    <a:pt x="79375" y="199530"/>
                  </a:lnTo>
                  <a:lnTo>
                    <a:pt x="79375" y="200228"/>
                  </a:lnTo>
                  <a:lnTo>
                    <a:pt x="79375" y="199530"/>
                  </a:lnTo>
                  <a:lnTo>
                    <a:pt x="79375" y="200228"/>
                  </a:lnTo>
                  <a:lnTo>
                    <a:pt x="79426" y="200228"/>
                  </a:lnTo>
                  <a:lnTo>
                    <a:pt x="79426" y="200876"/>
                  </a:lnTo>
                  <a:lnTo>
                    <a:pt x="79426" y="199530"/>
                  </a:lnTo>
                  <a:lnTo>
                    <a:pt x="79426" y="200228"/>
                  </a:lnTo>
                  <a:lnTo>
                    <a:pt x="79477" y="200228"/>
                  </a:lnTo>
                  <a:lnTo>
                    <a:pt x="79477" y="200876"/>
                  </a:lnTo>
                  <a:lnTo>
                    <a:pt x="79477" y="200228"/>
                  </a:lnTo>
                  <a:lnTo>
                    <a:pt x="79579" y="200228"/>
                  </a:lnTo>
                  <a:lnTo>
                    <a:pt x="79579" y="200876"/>
                  </a:lnTo>
                  <a:lnTo>
                    <a:pt x="79579" y="200228"/>
                  </a:lnTo>
                  <a:lnTo>
                    <a:pt x="79579" y="200876"/>
                  </a:lnTo>
                  <a:lnTo>
                    <a:pt x="79630" y="200876"/>
                  </a:lnTo>
                  <a:lnTo>
                    <a:pt x="79630" y="200228"/>
                  </a:lnTo>
                  <a:lnTo>
                    <a:pt x="79630" y="200876"/>
                  </a:lnTo>
                  <a:lnTo>
                    <a:pt x="79630" y="200228"/>
                  </a:lnTo>
                  <a:lnTo>
                    <a:pt x="79630" y="200876"/>
                  </a:lnTo>
                  <a:lnTo>
                    <a:pt x="79630" y="200228"/>
                  </a:lnTo>
                  <a:lnTo>
                    <a:pt x="79630" y="200876"/>
                  </a:lnTo>
                  <a:lnTo>
                    <a:pt x="79630" y="199530"/>
                  </a:lnTo>
                  <a:lnTo>
                    <a:pt x="79680" y="199530"/>
                  </a:lnTo>
                  <a:lnTo>
                    <a:pt x="79680" y="200228"/>
                  </a:lnTo>
                  <a:lnTo>
                    <a:pt x="79680" y="198831"/>
                  </a:lnTo>
                  <a:lnTo>
                    <a:pt x="79782" y="198831"/>
                  </a:lnTo>
                  <a:lnTo>
                    <a:pt x="79782" y="196799"/>
                  </a:lnTo>
                  <a:lnTo>
                    <a:pt x="79782" y="198831"/>
                  </a:lnTo>
                  <a:lnTo>
                    <a:pt x="79833" y="198831"/>
                  </a:lnTo>
                  <a:lnTo>
                    <a:pt x="79833" y="196799"/>
                  </a:lnTo>
                  <a:lnTo>
                    <a:pt x="79833" y="200228"/>
                  </a:lnTo>
                  <a:lnTo>
                    <a:pt x="79884" y="200228"/>
                  </a:lnTo>
                  <a:lnTo>
                    <a:pt x="79884" y="199530"/>
                  </a:lnTo>
                  <a:lnTo>
                    <a:pt x="79884" y="200228"/>
                  </a:lnTo>
                  <a:lnTo>
                    <a:pt x="79922" y="200228"/>
                  </a:lnTo>
                  <a:lnTo>
                    <a:pt x="79922" y="200876"/>
                  </a:lnTo>
                  <a:lnTo>
                    <a:pt x="79922" y="200228"/>
                  </a:lnTo>
                  <a:lnTo>
                    <a:pt x="79922" y="200876"/>
                  </a:lnTo>
                  <a:lnTo>
                    <a:pt x="79922" y="200228"/>
                  </a:lnTo>
                  <a:lnTo>
                    <a:pt x="80023" y="200228"/>
                  </a:lnTo>
                  <a:lnTo>
                    <a:pt x="80023" y="200876"/>
                  </a:lnTo>
                  <a:lnTo>
                    <a:pt x="80074" y="200876"/>
                  </a:lnTo>
                  <a:lnTo>
                    <a:pt x="80074" y="200228"/>
                  </a:lnTo>
                  <a:lnTo>
                    <a:pt x="80074" y="200876"/>
                  </a:lnTo>
                  <a:lnTo>
                    <a:pt x="80074" y="200228"/>
                  </a:lnTo>
                  <a:lnTo>
                    <a:pt x="80074" y="200876"/>
                  </a:lnTo>
                  <a:lnTo>
                    <a:pt x="80125" y="200876"/>
                  </a:lnTo>
                  <a:lnTo>
                    <a:pt x="80125" y="202260"/>
                  </a:lnTo>
                  <a:lnTo>
                    <a:pt x="80125" y="200228"/>
                  </a:lnTo>
                  <a:lnTo>
                    <a:pt x="80125" y="200876"/>
                  </a:lnTo>
                  <a:lnTo>
                    <a:pt x="80125" y="200228"/>
                  </a:lnTo>
                  <a:lnTo>
                    <a:pt x="80226" y="200228"/>
                  </a:lnTo>
                  <a:lnTo>
                    <a:pt x="80226" y="199530"/>
                  </a:lnTo>
                  <a:lnTo>
                    <a:pt x="80226" y="200228"/>
                  </a:lnTo>
                  <a:lnTo>
                    <a:pt x="80226" y="199530"/>
                  </a:lnTo>
                  <a:lnTo>
                    <a:pt x="80226" y="200228"/>
                  </a:lnTo>
                  <a:lnTo>
                    <a:pt x="80226" y="198831"/>
                  </a:lnTo>
                  <a:lnTo>
                    <a:pt x="80226" y="199530"/>
                  </a:lnTo>
                  <a:lnTo>
                    <a:pt x="80277" y="199530"/>
                  </a:lnTo>
                  <a:lnTo>
                    <a:pt x="80277" y="196799"/>
                  </a:lnTo>
                  <a:lnTo>
                    <a:pt x="80277" y="199530"/>
                  </a:lnTo>
                  <a:lnTo>
                    <a:pt x="80277" y="198831"/>
                  </a:lnTo>
                  <a:lnTo>
                    <a:pt x="80328" y="198831"/>
                  </a:lnTo>
                  <a:lnTo>
                    <a:pt x="80328" y="197447"/>
                  </a:lnTo>
                  <a:lnTo>
                    <a:pt x="80328" y="200228"/>
                  </a:lnTo>
                  <a:lnTo>
                    <a:pt x="80328" y="199530"/>
                  </a:lnTo>
                  <a:lnTo>
                    <a:pt x="80379" y="199530"/>
                  </a:lnTo>
                  <a:lnTo>
                    <a:pt x="80379" y="198831"/>
                  </a:lnTo>
                  <a:lnTo>
                    <a:pt x="80379" y="200876"/>
                  </a:lnTo>
                  <a:lnTo>
                    <a:pt x="80379" y="200228"/>
                  </a:lnTo>
                  <a:lnTo>
                    <a:pt x="80518" y="200228"/>
                  </a:lnTo>
                  <a:lnTo>
                    <a:pt x="80518" y="200876"/>
                  </a:lnTo>
                  <a:lnTo>
                    <a:pt x="80518" y="200228"/>
                  </a:lnTo>
                  <a:lnTo>
                    <a:pt x="80518" y="200876"/>
                  </a:lnTo>
                  <a:lnTo>
                    <a:pt x="80518" y="200228"/>
                  </a:lnTo>
                  <a:lnTo>
                    <a:pt x="80518" y="200876"/>
                  </a:lnTo>
                  <a:lnTo>
                    <a:pt x="80569" y="200876"/>
                  </a:lnTo>
                  <a:lnTo>
                    <a:pt x="80569" y="200228"/>
                  </a:lnTo>
                  <a:lnTo>
                    <a:pt x="80569" y="200876"/>
                  </a:lnTo>
                  <a:lnTo>
                    <a:pt x="80569" y="200228"/>
                  </a:lnTo>
                  <a:lnTo>
                    <a:pt x="80569" y="200876"/>
                  </a:lnTo>
                  <a:lnTo>
                    <a:pt x="80620" y="200876"/>
                  </a:lnTo>
                  <a:lnTo>
                    <a:pt x="80620" y="200228"/>
                  </a:lnTo>
                  <a:lnTo>
                    <a:pt x="80722" y="200228"/>
                  </a:lnTo>
                  <a:lnTo>
                    <a:pt x="80722" y="198831"/>
                  </a:lnTo>
                  <a:lnTo>
                    <a:pt x="80773" y="198831"/>
                  </a:lnTo>
                  <a:lnTo>
                    <a:pt x="80773" y="196799"/>
                  </a:lnTo>
                  <a:lnTo>
                    <a:pt x="80773" y="198831"/>
                  </a:lnTo>
                  <a:lnTo>
                    <a:pt x="80773" y="197447"/>
                  </a:lnTo>
                  <a:lnTo>
                    <a:pt x="80823" y="197447"/>
                  </a:lnTo>
                  <a:lnTo>
                    <a:pt x="80823" y="196799"/>
                  </a:lnTo>
                  <a:lnTo>
                    <a:pt x="80823" y="200228"/>
                  </a:lnTo>
                  <a:lnTo>
                    <a:pt x="80823" y="199530"/>
                  </a:lnTo>
                  <a:lnTo>
                    <a:pt x="80823" y="200228"/>
                  </a:lnTo>
                  <a:lnTo>
                    <a:pt x="80823" y="199530"/>
                  </a:lnTo>
                  <a:lnTo>
                    <a:pt x="80925" y="199530"/>
                  </a:lnTo>
                  <a:lnTo>
                    <a:pt x="80925" y="198831"/>
                  </a:lnTo>
                  <a:lnTo>
                    <a:pt x="80925" y="200228"/>
                  </a:lnTo>
                  <a:lnTo>
                    <a:pt x="80925" y="199530"/>
                  </a:lnTo>
                  <a:lnTo>
                    <a:pt x="80963" y="199530"/>
                  </a:lnTo>
                  <a:lnTo>
                    <a:pt x="80963" y="200228"/>
                  </a:lnTo>
                  <a:lnTo>
                    <a:pt x="81014" y="200228"/>
                  </a:lnTo>
                  <a:lnTo>
                    <a:pt x="81014" y="200876"/>
                  </a:lnTo>
                  <a:lnTo>
                    <a:pt x="81014" y="200228"/>
                  </a:lnTo>
                  <a:lnTo>
                    <a:pt x="81065" y="200228"/>
                  </a:lnTo>
                  <a:lnTo>
                    <a:pt x="81065" y="200876"/>
                  </a:lnTo>
                  <a:lnTo>
                    <a:pt x="81166" y="200876"/>
                  </a:lnTo>
                  <a:lnTo>
                    <a:pt x="81166" y="202260"/>
                  </a:lnTo>
                  <a:lnTo>
                    <a:pt x="81166" y="199530"/>
                  </a:lnTo>
                  <a:lnTo>
                    <a:pt x="81217" y="199530"/>
                  </a:lnTo>
                  <a:lnTo>
                    <a:pt x="81217" y="198831"/>
                  </a:lnTo>
                  <a:lnTo>
                    <a:pt x="81217" y="199530"/>
                  </a:lnTo>
                  <a:lnTo>
                    <a:pt x="81217" y="197447"/>
                  </a:lnTo>
                  <a:lnTo>
                    <a:pt x="81268" y="197447"/>
                  </a:lnTo>
                  <a:lnTo>
                    <a:pt x="81268" y="198831"/>
                  </a:lnTo>
                  <a:lnTo>
                    <a:pt x="81268" y="196799"/>
                  </a:lnTo>
                  <a:lnTo>
                    <a:pt x="81369" y="196799"/>
                  </a:lnTo>
                  <a:lnTo>
                    <a:pt x="81369" y="199530"/>
                  </a:lnTo>
                  <a:lnTo>
                    <a:pt x="81369" y="198831"/>
                  </a:lnTo>
                  <a:lnTo>
                    <a:pt x="81420" y="198831"/>
                  </a:lnTo>
                  <a:lnTo>
                    <a:pt x="81420" y="200228"/>
                  </a:lnTo>
                  <a:lnTo>
                    <a:pt x="81420" y="198831"/>
                  </a:lnTo>
                  <a:lnTo>
                    <a:pt x="81420" y="199530"/>
                  </a:lnTo>
                  <a:lnTo>
                    <a:pt x="81420" y="198831"/>
                  </a:lnTo>
                  <a:lnTo>
                    <a:pt x="81471" y="198831"/>
                  </a:lnTo>
                  <a:lnTo>
                    <a:pt x="81471" y="199530"/>
                  </a:lnTo>
                  <a:lnTo>
                    <a:pt x="81471" y="198831"/>
                  </a:lnTo>
                  <a:lnTo>
                    <a:pt x="81471" y="199530"/>
                  </a:lnTo>
                  <a:lnTo>
                    <a:pt x="81471" y="198831"/>
                  </a:lnTo>
                  <a:lnTo>
                    <a:pt x="81471" y="199530"/>
                  </a:lnTo>
                  <a:lnTo>
                    <a:pt x="81509" y="199530"/>
                  </a:lnTo>
                  <a:lnTo>
                    <a:pt x="81509" y="200228"/>
                  </a:lnTo>
                  <a:lnTo>
                    <a:pt x="81509" y="199530"/>
                  </a:lnTo>
                  <a:lnTo>
                    <a:pt x="81509" y="200228"/>
                  </a:lnTo>
                  <a:lnTo>
                    <a:pt x="81509" y="199530"/>
                  </a:lnTo>
                  <a:lnTo>
                    <a:pt x="81509" y="200228"/>
                  </a:lnTo>
                  <a:lnTo>
                    <a:pt x="81611" y="200228"/>
                  </a:lnTo>
                  <a:lnTo>
                    <a:pt x="81611" y="200876"/>
                  </a:lnTo>
                  <a:lnTo>
                    <a:pt x="81611" y="200228"/>
                  </a:lnTo>
                  <a:lnTo>
                    <a:pt x="81661" y="200876"/>
                  </a:lnTo>
                  <a:lnTo>
                    <a:pt x="81661" y="200228"/>
                  </a:lnTo>
                  <a:lnTo>
                    <a:pt x="81661" y="200876"/>
                  </a:lnTo>
                  <a:lnTo>
                    <a:pt x="81661" y="199530"/>
                  </a:lnTo>
                  <a:lnTo>
                    <a:pt x="81661" y="200228"/>
                  </a:lnTo>
                  <a:lnTo>
                    <a:pt x="81661" y="199530"/>
                  </a:lnTo>
                  <a:lnTo>
                    <a:pt x="81712" y="199530"/>
                  </a:lnTo>
                  <a:lnTo>
                    <a:pt x="81712" y="198831"/>
                  </a:lnTo>
                  <a:lnTo>
                    <a:pt x="81712" y="199530"/>
                  </a:lnTo>
                  <a:lnTo>
                    <a:pt x="81712" y="198831"/>
                  </a:lnTo>
                  <a:lnTo>
                    <a:pt x="81712" y="200228"/>
                  </a:lnTo>
                  <a:lnTo>
                    <a:pt x="81814" y="199530"/>
                  </a:lnTo>
                  <a:lnTo>
                    <a:pt x="81814" y="198831"/>
                  </a:lnTo>
                  <a:lnTo>
                    <a:pt x="81814" y="199530"/>
                  </a:lnTo>
                  <a:lnTo>
                    <a:pt x="81814" y="197447"/>
                  </a:lnTo>
                  <a:lnTo>
                    <a:pt x="81814" y="200876"/>
                  </a:lnTo>
                  <a:lnTo>
                    <a:pt x="81865" y="200876"/>
                  </a:lnTo>
                  <a:lnTo>
                    <a:pt x="81865" y="200228"/>
                  </a:lnTo>
                  <a:lnTo>
                    <a:pt x="81865" y="200876"/>
                  </a:lnTo>
                  <a:lnTo>
                    <a:pt x="81865" y="200228"/>
                  </a:lnTo>
                  <a:lnTo>
                    <a:pt x="81865" y="200876"/>
                  </a:lnTo>
                  <a:lnTo>
                    <a:pt x="81865" y="200228"/>
                  </a:lnTo>
                  <a:lnTo>
                    <a:pt x="81865" y="202260"/>
                  </a:lnTo>
                  <a:lnTo>
                    <a:pt x="81865" y="200876"/>
                  </a:lnTo>
                  <a:lnTo>
                    <a:pt x="82055" y="200876"/>
                  </a:lnTo>
                  <a:lnTo>
                    <a:pt x="82055" y="202260"/>
                  </a:lnTo>
                  <a:lnTo>
                    <a:pt x="82055" y="200876"/>
                  </a:lnTo>
                  <a:lnTo>
                    <a:pt x="82055" y="202260"/>
                  </a:lnTo>
                  <a:lnTo>
                    <a:pt x="82055" y="200876"/>
                  </a:lnTo>
                  <a:lnTo>
                    <a:pt x="82055" y="202260"/>
                  </a:lnTo>
                  <a:lnTo>
                    <a:pt x="82055" y="200876"/>
                  </a:lnTo>
                  <a:lnTo>
                    <a:pt x="82055" y="202260"/>
                  </a:lnTo>
                  <a:lnTo>
                    <a:pt x="82055" y="200876"/>
                  </a:lnTo>
                  <a:lnTo>
                    <a:pt x="82055" y="202260"/>
                  </a:lnTo>
                  <a:lnTo>
                    <a:pt x="82106" y="200876"/>
                  </a:lnTo>
                  <a:lnTo>
                    <a:pt x="82106" y="202260"/>
                  </a:lnTo>
                  <a:lnTo>
                    <a:pt x="82106" y="200876"/>
                  </a:lnTo>
                  <a:lnTo>
                    <a:pt x="82106" y="202260"/>
                  </a:lnTo>
                  <a:lnTo>
                    <a:pt x="82106" y="200228"/>
                  </a:lnTo>
                  <a:lnTo>
                    <a:pt x="82106" y="200876"/>
                  </a:lnTo>
                  <a:lnTo>
                    <a:pt x="82157" y="200876"/>
                  </a:lnTo>
                  <a:lnTo>
                    <a:pt x="82157" y="202260"/>
                  </a:lnTo>
                  <a:lnTo>
                    <a:pt x="82157" y="199530"/>
                  </a:lnTo>
                  <a:lnTo>
                    <a:pt x="82157" y="200228"/>
                  </a:lnTo>
                  <a:lnTo>
                    <a:pt x="82157" y="199530"/>
                  </a:lnTo>
                  <a:lnTo>
                    <a:pt x="82208" y="199530"/>
                  </a:lnTo>
                  <a:lnTo>
                    <a:pt x="82208" y="198831"/>
                  </a:lnTo>
                  <a:lnTo>
                    <a:pt x="82208" y="199530"/>
                  </a:lnTo>
                  <a:lnTo>
                    <a:pt x="82208" y="196799"/>
                  </a:lnTo>
                  <a:lnTo>
                    <a:pt x="82208" y="197447"/>
                  </a:lnTo>
                  <a:lnTo>
                    <a:pt x="82309" y="197447"/>
                  </a:lnTo>
                  <a:lnTo>
                    <a:pt x="82309" y="195415"/>
                  </a:lnTo>
                  <a:lnTo>
                    <a:pt x="82309" y="196799"/>
                  </a:lnTo>
                  <a:lnTo>
                    <a:pt x="82360" y="196799"/>
                  </a:lnTo>
                  <a:lnTo>
                    <a:pt x="82360" y="196113"/>
                  </a:lnTo>
                  <a:lnTo>
                    <a:pt x="82360" y="198831"/>
                  </a:lnTo>
                  <a:lnTo>
                    <a:pt x="82360" y="197447"/>
                  </a:lnTo>
                  <a:lnTo>
                    <a:pt x="82411" y="197447"/>
                  </a:lnTo>
                  <a:lnTo>
                    <a:pt x="82411" y="196799"/>
                  </a:lnTo>
                  <a:lnTo>
                    <a:pt x="82411" y="198831"/>
                  </a:lnTo>
                  <a:lnTo>
                    <a:pt x="82411" y="197447"/>
                  </a:lnTo>
                  <a:lnTo>
                    <a:pt x="82512" y="197447"/>
                  </a:lnTo>
                  <a:lnTo>
                    <a:pt x="82512" y="199530"/>
                  </a:lnTo>
                  <a:lnTo>
                    <a:pt x="82512" y="198831"/>
                  </a:lnTo>
                  <a:lnTo>
                    <a:pt x="82512" y="199530"/>
                  </a:lnTo>
                  <a:lnTo>
                    <a:pt x="82512" y="198831"/>
                  </a:lnTo>
                  <a:lnTo>
                    <a:pt x="82512" y="199530"/>
                  </a:lnTo>
                  <a:lnTo>
                    <a:pt x="82550" y="199530"/>
                  </a:lnTo>
                  <a:lnTo>
                    <a:pt x="82550" y="200876"/>
                  </a:lnTo>
                  <a:lnTo>
                    <a:pt x="82601" y="200876"/>
                  </a:lnTo>
                  <a:lnTo>
                    <a:pt x="82601" y="200228"/>
                  </a:lnTo>
                  <a:lnTo>
                    <a:pt x="82601" y="200876"/>
                  </a:lnTo>
                  <a:lnTo>
                    <a:pt x="82652" y="200876"/>
                  </a:lnTo>
                  <a:lnTo>
                    <a:pt x="82652" y="199530"/>
                  </a:lnTo>
                  <a:lnTo>
                    <a:pt x="82754" y="199530"/>
                  </a:lnTo>
                  <a:lnTo>
                    <a:pt x="82754" y="200228"/>
                  </a:lnTo>
                  <a:lnTo>
                    <a:pt x="82754" y="197447"/>
                  </a:lnTo>
                  <a:lnTo>
                    <a:pt x="82805" y="197447"/>
                  </a:lnTo>
                  <a:lnTo>
                    <a:pt x="82805" y="194716"/>
                  </a:lnTo>
                  <a:lnTo>
                    <a:pt x="82855" y="194716"/>
                  </a:lnTo>
                  <a:lnTo>
                    <a:pt x="82855" y="192684"/>
                  </a:lnTo>
                  <a:lnTo>
                    <a:pt x="82855" y="194716"/>
                  </a:lnTo>
                  <a:lnTo>
                    <a:pt x="82855" y="193383"/>
                  </a:lnTo>
                  <a:lnTo>
                    <a:pt x="82957" y="192684"/>
                  </a:lnTo>
                  <a:lnTo>
                    <a:pt x="82957" y="195415"/>
                  </a:lnTo>
                  <a:lnTo>
                    <a:pt x="82957" y="194716"/>
                  </a:lnTo>
                  <a:lnTo>
                    <a:pt x="82957" y="195415"/>
                  </a:lnTo>
                  <a:lnTo>
                    <a:pt x="82957" y="194716"/>
                  </a:lnTo>
                  <a:lnTo>
                    <a:pt x="83008" y="194716"/>
                  </a:lnTo>
                  <a:lnTo>
                    <a:pt x="83008" y="193383"/>
                  </a:lnTo>
                  <a:lnTo>
                    <a:pt x="83008" y="196799"/>
                  </a:lnTo>
                  <a:lnTo>
                    <a:pt x="83008" y="195415"/>
                  </a:lnTo>
                  <a:lnTo>
                    <a:pt x="83008" y="196113"/>
                  </a:lnTo>
                  <a:lnTo>
                    <a:pt x="83059" y="196113"/>
                  </a:lnTo>
                  <a:lnTo>
                    <a:pt x="83059" y="198831"/>
                  </a:lnTo>
                  <a:lnTo>
                    <a:pt x="83097" y="197447"/>
                  </a:lnTo>
                  <a:lnTo>
                    <a:pt x="83097" y="199530"/>
                  </a:lnTo>
                  <a:lnTo>
                    <a:pt x="83097" y="198831"/>
                  </a:lnTo>
                  <a:lnTo>
                    <a:pt x="83097" y="200228"/>
                  </a:lnTo>
                  <a:lnTo>
                    <a:pt x="83097" y="199530"/>
                  </a:lnTo>
                  <a:lnTo>
                    <a:pt x="83097" y="200228"/>
                  </a:lnTo>
                  <a:lnTo>
                    <a:pt x="83198" y="200228"/>
                  </a:lnTo>
                  <a:lnTo>
                    <a:pt x="83198" y="199530"/>
                  </a:lnTo>
                  <a:lnTo>
                    <a:pt x="83198" y="200228"/>
                  </a:lnTo>
                  <a:lnTo>
                    <a:pt x="83198" y="199530"/>
                  </a:lnTo>
                  <a:lnTo>
                    <a:pt x="83198" y="200876"/>
                  </a:lnTo>
                  <a:lnTo>
                    <a:pt x="83249" y="200876"/>
                  </a:lnTo>
                  <a:lnTo>
                    <a:pt x="83249" y="200228"/>
                  </a:lnTo>
                  <a:lnTo>
                    <a:pt x="83249" y="200876"/>
                  </a:lnTo>
                  <a:lnTo>
                    <a:pt x="83249" y="200228"/>
                  </a:lnTo>
                  <a:lnTo>
                    <a:pt x="83300" y="200228"/>
                  </a:lnTo>
                  <a:lnTo>
                    <a:pt x="83300" y="198831"/>
                  </a:lnTo>
                  <a:lnTo>
                    <a:pt x="83300" y="199530"/>
                  </a:lnTo>
                  <a:lnTo>
                    <a:pt x="83300" y="197447"/>
                  </a:lnTo>
                  <a:lnTo>
                    <a:pt x="83401" y="197447"/>
                  </a:lnTo>
                  <a:lnTo>
                    <a:pt x="83401" y="199530"/>
                  </a:lnTo>
                  <a:lnTo>
                    <a:pt x="83401" y="196799"/>
                  </a:lnTo>
                  <a:lnTo>
                    <a:pt x="83401" y="198831"/>
                  </a:lnTo>
                  <a:lnTo>
                    <a:pt x="83452" y="199530"/>
                  </a:lnTo>
                  <a:lnTo>
                    <a:pt x="83452" y="200228"/>
                  </a:lnTo>
                  <a:lnTo>
                    <a:pt x="83452" y="199530"/>
                  </a:lnTo>
                  <a:lnTo>
                    <a:pt x="83452" y="200228"/>
                  </a:lnTo>
                  <a:lnTo>
                    <a:pt x="83452" y="197447"/>
                  </a:lnTo>
                  <a:lnTo>
                    <a:pt x="83452" y="198831"/>
                  </a:lnTo>
                  <a:lnTo>
                    <a:pt x="83503" y="198831"/>
                  </a:lnTo>
                  <a:lnTo>
                    <a:pt x="83503" y="199530"/>
                  </a:lnTo>
                  <a:lnTo>
                    <a:pt x="83503" y="197447"/>
                  </a:lnTo>
                  <a:lnTo>
                    <a:pt x="83503" y="198831"/>
                  </a:lnTo>
                  <a:lnTo>
                    <a:pt x="83554" y="198831"/>
                  </a:lnTo>
                  <a:lnTo>
                    <a:pt x="83554" y="199530"/>
                  </a:lnTo>
                  <a:lnTo>
                    <a:pt x="83554" y="198831"/>
                  </a:lnTo>
                  <a:lnTo>
                    <a:pt x="83554" y="199530"/>
                  </a:lnTo>
                  <a:lnTo>
                    <a:pt x="83643" y="199530"/>
                  </a:lnTo>
                  <a:lnTo>
                    <a:pt x="83643" y="200228"/>
                  </a:lnTo>
                  <a:lnTo>
                    <a:pt x="83643" y="199530"/>
                  </a:lnTo>
                  <a:lnTo>
                    <a:pt x="83643" y="200228"/>
                  </a:lnTo>
                  <a:lnTo>
                    <a:pt x="83643" y="199530"/>
                  </a:lnTo>
                  <a:lnTo>
                    <a:pt x="83693" y="199530"/>
                  </a:lnTo>
                  <a:lnTo>
                    <a:pt x="83693" y="200228"/>
                  </a:lnTo>
                  <a:lnTo>
                    <a:pt x="83693" y="199530"/>
                  </a:lnTo>
                  <a:lnTo>
                    <a:pt x="83693" y="200228"/>
                  </a:lnTo>
                  <a:lnTo>
                    <a:pt x="83693" y="199530"/>
                  </a:lnTo>
                  <a:lnTo>
                    <a:pt x="83693" y="202260"/>
                  </a:lnTo>
                  <a:lnTo>
                    <a:pt x="83693" y="200876"/>
                  </a:lnTo>
                  <a:lnTo>
                    <a:pt x="83744" y="200228"/>
                  </a:lnTo>
                  <a:lnTo>
                    <a:pt x="83744" y="200876"/>
                  </a:lnTo>
                  <a:lnTo>
                    <a:pt x="83744" y="199530"/>
                  </a:lnTo>
                  <a:lnTo>
                    <a:pt x="83795" y="199530"/>
                  </a:lnTo>
                  <a:lnTo>
                    <a:pt x="83795" y="200228"/>
                  </a:lnTo>
                  <a:lnTo>
                    <a:pt x="83795" y="196799"/>
                  </a:lnTo>
                  <a:lnTo>
                    <a:pt x="83897" y="196799"/>
                  </a:lnTo>
                  <a:lnTo>
                    <a:pt x="83897" y="199530"/>
                  </a:lnTo>
                  <a:lnTo>
                    <a:pt x="83897" y="197447"/>
                  </a:lnTo>
                  <a:lnTo>
                    <a:pt x="83897" y="198831"/>
                  </a:lnTo>
                  <a:lnTo>
                    <a:pt x="83948" y="198831"/>
                  </a:lnTo>
                  <a:lnTo>
                    <a:pt x="83948" y="200228"/>
                  </a:lnTo>
                  <a:lnTo>
                    <a:pt x="83948" y="198831"/>
                  </a:lnTo>
                  <a:lnTo>
                    <a:pt x="83948" y="199530"/>
                  </a:lnTo>
                  <a:lnTo>
                    <a:pt x="83998" y="200228"/>
                  </a:lnTo>
                  <a:lnTo>
                    <a:pt x="83998" y="199530"/>
                  </a:lnTo>
                  <a:lnTo>
                    <a:pt x="83998" y="200228"/>
                  </a:lnTo>
                  <a:lnTo>
                    <a:pt x="83998" y="199530"/>
                  </a:lnTo>
                  <a:lnTo>
                    <a:pt x="83998" y="200228"/>
                  </a:lnTo>
                  <a:lnTo>
                    <a:pt x="83998" y="199530"/>
                  </a:lnTo>
                  <a:lnTo>
                    <a:pt x="84100" y="200228"/>
                  </a:lnTo>
                  <a:lnTo>
                    <a:pt x="84100" y="199530"/>
                  </a:lnTo>
                  <a:lnTo>
                    <a:pt x="84100" y="200228"/>
                  </a:lnTo>
                  <a:lnTo>
                    <a:pt x="84100" y="199530"/>
                  </a:lnTo>
                  <a:lnTo>
                    <a:pt x="84100" y="200228"/>
                  </a:lnTo>
                  <a:lnTo>
                    <a:pt x="84100" y="199530"/>
                  </a:lnTo>
                  <a:lnTo>
                    <a:pt x="84100" y="200228"/>
                  </a:lnTo>
                  <a:lnTo>
                    <a:pt x="84138" y="200228"/>
                  </a:lnTo>
                  <a:lnTo>
                    <a:pt x="84138" y="199530"/>
                  </a:lnTo>
                  <a:lnTo>
                    <a:pt x="84138" y="200228"/>
                  </a:lnTo>
                  <a:lnTo>
                    <a:pt x="84138" y="199530"/>
                  </a:lnTo>
                  <a:lnTo>
                    <a:pt x="84138" y="200228"/>
                  </a:lnTo>
                  <a:lnTo>
                    <a:pt x="84189" y="200228"/>
                  </a:lnTo>
                  <a:lnTo>
                    <a:pt x="84189" y="200876"/>
                  </a:lnTo>
                  <a:lnTo>
                    <a:pt x="84189" y="200228"/>
                  </a:lnTo>
                  <a:lnTo>
                    <a:pt x="84189" y="200876"/>
                  </a:lnTo>
                  <a:lnTo>
                    <a:pt x="84189" y="200228"/>
                  </a:lnTo>
                  <a:lnTo>
                    <a:pt x="84189" y="200876"/>
                  </a:lnTo>
                  <a:lnTo>
                    <a:pt x="84240" y="200876"/>
                  </a:lnTo>
                  <a:lnTo>
                    <a:pt x="84240" y="200228"/>
                  </a:lnTo>
                  <a:lnTo>
                    <a:pt x="84341" y="200228"/>
                  </a:lnTo>
                  <a:lnTo>
                    <a:pt x="84341" y="198831"/>
                  </a:lnTo>
                  <a:lnTo>
                    <a:pt x="84392" y="198831"/>
                  </a:lnTo>
                  <a:lnTo>
                    <a:pt x="84392" y="199530"/>
                  </a:lnTo>
                  <a:lnTo>
                    <a:pt x="84392" y="197447"/>
                  </a:lnTo>
                  <a:lnTo>
                    <a:pt x="84392" y="198831"/>
                  </a:lnTo>
                  <a:lnTo>
                    <a:pt x="84392" y="197447"/>
                  </a:lnTo>
                  <a:lnTo>
                    <a:pt x="84392" y="200228"/>
                  </a:lnTo>
                  <a:lnTo>
                    <a:pt x="84443" y="200228"/>
                  </a:lnTo>
                  <a:lnTo>
                    <a:pt x="84443" y="200876"/>
                  </a:lnTo>
                  <a:lnTo>
                    <a:pt x="84443" y="199530"/>
                  </a:lnTo>
                  <a:lnTo>
                    <a:pt x="84443" y="200228"/>
                  </a:lnTo>
                  <a:lnTo>
                    <a:pt x="84544" y="200228"/>
                  </a:lnTo>
                  <a:lnTo>
                    <a:pt x="84544" y="200876"/>
                  </a:lnTo>
                  <a:lnTo>
                    <a:pt x="84544" y="199530"/>
                  </a:lnTo>
                  <a:lnTo>
                    <a:pt x="84544" y="200228"/>
                  </a:lnTo>
                  <a:lnTo>
                    <a:pt x="84544" y="199530"/>
                  </a:lnTo>
                  <a:lnTo>
                    <a:pt x="84544" y="200876"/>
                  </a:lnTo>
                  <a:lnTo>
                    <a:pt x="84544" y="200228"/>
                  </a:lnTo>
                  <a:lnTo>
                    <a:pt x="84544" y="200876"/>
                  </a:lnTo>
                  <a:lnTo>
                    <a:pt x="84595" y="200228"/>
                  </a:lnTo>
                  <a:lnTo>
                    <a:pt x="84595" y="199530"/>
                  </a:lnTo>
                  <a:lnTo>
                    <a:pt x="84595" y="200876"/>
                  </a:lnTo>
                  <a:lnTo>
                    <a:pt x="84595" y="200228"/>
                  </a:lnTo>
                  <a:lnTo>
                    <a:pt x="84646" y="200228"/>
                  </a:lnTo>
                  <a:lnTo>
                    <a:pt x="84646" y="200876"/>
                  </a:lnTo>
                  <a:lnTo>
                    <a:pt x="84646" y="200228"/>
                  </a:lnTo>
                  <a:lnTo>
                    <a:pt x="84646" y="200876"/>
                  </a:lnTo>
                  <a:lnTo>
                    <a:pt x="84646" y="200228"/>
                  </a:lnTo>
                  <a:lnTo>
                    <a:pt x="84646" y="200876"/>
                  </a:lnTo>
                  <a:lnTo>
                    <a:pt x="84646" y="200228"/>
                  </a:lnTo>
                  <a:lnTo>
                    <a:pt x="84684" y="200876"/>
                  </a:lnTo>
                  <a:lnTo>
                    <a:pt x="84684" y="202260"/>
                  </a:lnTo>
                  <a:lnTo>
                    <a:pt x="84684" y="200228"/>
                  </a:lnTo>
                  <a:lnTo>
                    <a:pt x="84684" y="202260"/>
                  </a:lnTo>
                  <a:lnTo>
                    <a:pt x="84786" y="202260"/>
                  </a:lnTo>
                  <a:lnTo>
                    <a:pt x="84786" y="200228"/>
                  </a:lnTo>
                  <a:lnTo>
                    <a:pt x="84786" y="203594"/>
                  </a:lnTo>
                  <a:lnTo>
                    <a:pt x="84786" y="202959"/>
                  </a:lnTo>
                  <a:lnTo>
                    <a:pt x="84786" y="203594"/>
                  </a:lnTo>
                  <a:lnTo>
                    <a:pt x="84786" y="202959"/>
                  </a:lnTo>
                  <a:lnTo>
                    <a:pt x="84836" y="202959"/>
                  </a:lnTo>
                  <a:lnTo>
                    <a:pt x="84836" y="202260"/>
                  </a:lnTo>
                  <a:lnTo>
                    <a:pt x="84836" y="204990"/>
                  </a:lnTo>
                  <a:lnTo>
                    <a:pt x="84887" y="204292"/>
                  </a:lnTo>
                  <a:lnTo>
                    <a:pt x="84887" y="206324"/>
                  </a:lnTo>
                  <a:lnTo>
                    <a:pt x="84887" y="204990"/>
                  </a:lnTo>
                  <a:lnTo>
                    <a:pt x="84887" y="206324"/>
                  </a:lnTo>
                  <a:lnTo>
                    <a:pt x="84887" y="204990"/>
                  </a:lnTo>
                  <a:lnTo>
                    <a:pt x="84989" y="204990"/>
                  </a:lnTo>
                  <a:lnTo>
                    <a:pt x="84989" y="207022"/>
                  </a:lnTo>
                  <a:lnTo>
                    <a:pt x="84989" y="204990"/>
                  </a:lnTo>
                  <a:lnTo>
                    <a:pt x="84989" y="206324"/>
                  </a:lnTo>
                  <a:lnTo>
                    <a:pt x="85040" y="206324"/>
                  </a:lnTo>
                  <a:lnTo>
                    <a:pt x="85040" y="204990"/>
                  </a:lnTo>
                  <a:lnTo>
                    <a:pt x="85040" y="206324"/>
                  </a:lnTo>
                  <a:lnTo>
                    <a:pt x="85040" y="204292"/>
                  </a:lnTo>
                  <a:lnTo>
                    <a:pt x="85040" y="204990"/>
                  </a:lnTo>
                  <a:lnTo>
                    <a:pt x="85091" y="204292"/>
                  </a:lnTo>
                  <a:lnTo>
                    <a:pt x="85091" y="203594"/>
                  </a:lnTo>
                  <a:lnTo>
                    <a:pt x="85091" y="204292"/>
                  </a:lnTo>
                  <a:lnTo>
                    <a:pt x="85091" y="202959"/>
                  </a:lnTo>
                  <a:lnTo>
                    <a:pt x="85141" y="203594"/>
                  </a:lnTo>
                  <a:lnTo>
                    <a:pt x="85141" y="202260"/>
                  </a:lnTo>
                  <a:lnTo>
                    <a:pt x="85141" y="202959"/>
                  </a:lnTo>
                  <a:lnTo>
                    <a:pt x="85141" y="202260"/>
                  </a:lnTo>
                  <a:lnTo>
                    <a:pt x="85230" y="202260"/>
                  </a:lnTo>
                  <a:lnTo>
                    <a:pt x="85230" y="200228"/>
                  </a:lnTo>
                  <a:lnTo>
                    <a:pt x="85230" y="200876"/>
                  </a:lnTo>
                  <a:lnTo>
                    <a:pt x="85230" y="200228"/>
                  </a:lnTo>
                  <a:lnTo>
                    <a:pt x="85281" y="199530"/>
                  </a:lnTo>
                  <a:lnTo>
                    <a:pt x="85281" y="202260"/>
                  </a:lnTo>
                  <a:lnTo>
                    <a:pt x="85281" y="200876"/>
                  </a:lnTo>
                  <a:lnTo>
                    <a:pt x="85281" y="202260"/>
                  </a:lnTo>
                  <a:lnTo>
                    <a:pt x="85281" y="200876"/>
                  </a:lnTo>
                  <a:lnTo>
                    <a:pt x="85332" y="200228"/>
                  </a:lnTo>
                  <a:lnTo>
                    <a:pt x="85332" y="203594"/>
                  </a:lnTo>
                  <a:lnTo>
                    <a:pt x="85332" y="202260"/>
                  </a:lnTo>
                  <a:lnTo>
                    <a:pt x="85332" y="202959"/>
                  </a:lnTo>
                  <a:lnTo>
                    <a:pt x="85383" y="202959"/>
                  </a:lnTo>
                  <a:lnTo>
                    <a:pt x="85383" y="204292"/>
                  </a:lnTo>
                  <a:lnTo>
                    <a:pt x="85383" y="203594"/>
                  </a:lnTo>
                  <a:lnTo>
                    <a:pt x="85383" y="204292"/>
                  </a:lnTo>
                  <a:lnTo>
                    <a:pt x="85383" y="203594"/>
                  </a:lnTo>
                  <a:lnTo>
                    <a:pt x="85484" y="203594"/>
                  </a:lnTo>
                  <a:lnTo>
                    <a:pt x="85484" y="204990"/>
                  </a:lnTo>
                  <a:lnTo>
                    <a:pt x="85484" y="204292"/>
                  </a:lnTo>
                  <a:lnTo>
                    <a:pt x="85484" y="204990"/>
                  </a:lnTo>
                  <a:lnTo>
                    <a:pt x="85484" y="204292"/>
                  </a:lnTo>
                  <a:lnTo>
                    <a:pt x="85484" y="204990"/>
                  </a:lnTo>
                  <a:lnTo>
                    <a:pt x="85535" y="204990"/>
                  </a:lnTo>
                  <a:lnTo>
                    <a:pt x="85535" y="204292"/>
                  </a:lnTo>
                  <a:lnTo>
                    <a:pt x="85535" y="204990"/>
                  </a:lnTo>
                  <a:lnTo>
                    <a:pt x="85535" y="204292"/>
                  </a:lnTo>
                  <a:lnTo>
                    <a:pt x="85586" y="204292"/>
                  </a:lnTo>
                  <a:lnTo>
                    <a:pt x="85586" y="203594"/>
                  </a:lnTo>
                  <a:lnTo>
                    <a:pt x="85586" y="204292"/>
                  </a:lnTo>
                  <a:lnTo>
                    <a:pt x="85586" y="203594"/>
                  </a:lnTo>
                  <a:lnTo>
                    <a:pt x="85586" y="204292"/>
                  </a:lnTo>
                  <a:lnTo>
                    <a:pt x="85687" y="204292"/>
                  </a:lnTo>
                  <a:lnTo>
                    <a:pt x="85687" y="202959"/>
                  </a:lnTo>
                  <a:lnTo>
                    <a:pt x="85687" y="203594"/>
                  </a:lnTo>
                  <a:lnTo>
                    <a:pt x="85687" y="202959"/>
                  </a:lnTo>
                  <a:lnTo>
                    <a:pt x="85687" y="204990"/>
                  </a:lnTo>
                  <a:lnTo>
                    <a:pt x="85725" y="204990"/>
                  </a:lnTo>
                  <a:lnTo>
                    <a:pt x="85725" y="202959"/>
                  </a:lnTo>
                  <a:lnTo>
                    <a:pt x="85725" y="203594"/>
                  </a:lnTo>
                  <a:lnTo>
                    <a:pt x="85725" y="202959"/>
                  </a:lnTo>
                  <a:lnTo>
                    <a:pt x="85725" y="207022"/>
                  </a:lnTo>
                  <a:lnTo>
                    <a:pt x="85725" y="206324"/>
                  </a:lnTo>
                  <a:lnTo>
                    <a:pt x="85776" y="206324"/>
                  </a:lnTo>
                  <a:lnTo>
                    <a:pt x="85776" y="204292"/>
                  </a:lnTo>
                  <a:lnTo>
                    <a:pt x="85776" y="206324"/>
                  </a:lnTo>
                  <a:lnTo>
                    <a:pt x="85827" y="204990"/>
                  </a:lnTo>
                  <a:lnTo>
                    <a:pt x="85827" y="204292"/>
                  </a:lnTo>
                  <a:lnTo>
                    <a:pt x="85827" y="204990"/>
                  </a:lnTo>
                  <a:lnTo>
                    <a:pt x="85827" y="204292"/>
                  </a:lnTo>
                  <a:lnTo>
                    <a:pt x="85827" y="206324"/>
                  </a:lnTo>
                  <a:lnTo>
                    <a:pt x="85827" y="204990"/>
                  </a:lnTo>
                  <a:lnTo>
                    <a:pt x="85929" y="204990"/>
                  </a:lnTo>
                  <a:lnTo>
                    <a:pt x="85929" y="206324"/>
                  </a:lnTo>
                  <a:lnTo>
                    <a:pt x="85929" y="204990"/>
                  </a:lnTo>
                  <a:lnTo>
                    <a:pt x="85929" y="206324"/>
                  </a:lnTo>
                  <a:lnTo>
                    <a:pt x="85929" y="204990"/>
                  </a:lnTo>
                  <a:lnTo>
                    <a:pt x="85980" y="206324"/>
                  </a:lnTo>
                  <a:lnTo>
                    <a:pt x="85980" y="204990"/>
                  </a:lnTo>
                  <a:lnTo>
                    <a:pt x="85980" y="206324"/>
                  </a:lnTo>
                  <a:lnTo>
                    <a:pt x="85980" y="204990"/>
                  </a:lnTo>
                  <a:lnTo>
                    <a:pt x="85980" y="206324"/>
                  </a:lnTo>
                  <a:lnTo>
                    <a:pt x="85980" y="204990"/>
                  </a:lnTo>
                  <a:lnTo>
                    <a:pt x="85980" y="206324"/>
                  </a:lnTo>
                  <a:lnTo>
                    <a:pt x="85980" y="204990"/>
                  </a:lnTo>
                  <a:lnTo>
                    <a:pt x="86030" y="204292"/>
                  </a:lnTo>
                  <a:lnTo>
                    <a:pt x="86030" y="204990"/>
                  </a:lnTo>
                  <a:lnTo>
                    <a:pt x="86030" y="203594"/>
                  </a:lnTo>
                  <a:lnTo>
                    <a:pt x="86030" y="204292"/>
                  </a:lnTo>
                  <a:lnTo>
                    <a:pt x="86030" y="203594"/>
                  </a:lnTo>
                  <a:lnTo>
                    <a:pt x="86132" y="203594"/>
                  </a:lnTo>
                  <a:lnTo>
                    <a:pt x="86132" y="202959"/>
                  </a:lnTo>
                  <a:lnTo>
                    <a:pt x="86132" y="203594"/>
                  </a:lnTo>
                  <a:lnTo>
                    <a:pt x="86132" y="202260"/>
                  </a:lnTo>
                  <a:lnTo>
                    <a:pt x="86183" y="202260"/>
                  </a:lnTo>
                  <a:lnTo>
                    <a:pt x="86183" y="200876"/>
                  </a:lnTo>
                  <a:lnTo>
                    <a:pt x="86183" y="202959"/>
                  </a:lnTo>
                  <a:lnTo>
                    <a:pt x="86234" y="202959"/>
                  </a:lnTo>
                  <a:lnTo>
                    <a:pt x="86234" y="202260"/>
                  </a:lnTo>
                  <a:lnTo>
                    <a:pt x="86234" y="204292"/>
                  </a:lnTo>
                  <a:lnTo>
                    <a:pt x="86272" y="204292"/>
                  </a:lnTo>
                  <a:lnTo>
                    <a:pt x="86272" y="203594"/>
                  </a:lnTo>
                  <a:lnTo>
                    <a:pt x="86272" y="204990"/>
                  </a:lnTo>
                  <a:lnTo>
                    <a:pt x="86272" y="204292"/>
                  </a:lnTo>
                  <a:lnTo>
                    <a:pt x="86373" y="204292"/>
                  </a:lnTo>
                  <a:lnTo>
                    <a:pt x="86373" y="204990"/>
                  </a:lnTo>
                  <a:lnTo>
                    <a:pt x="86373" y="204292"/>
                  </a:lnTo>
                  <a:lnTo>
                    <a:pt x="86424" y="204292"/>
                  </a:lnTo>
                  <a:lnTo>
                    <a:pt x="86424" y="204990"/>
                  </a:lnTo>
                  <a:lnTo>
                    <a:pt x="86424" y="204292"/>
                  </a:lnTo>
                  <a:lnTo>
                    <a:pt x="86424" y="204990"/>
                  </a:lnTo>
                  <a:lnTo>
                    <a:pt x="86424" y="204292"/>
                  </a:lnTo>
                  <a:lnTo>
                    <a:pt x="86424" y="204990"/>
                  </a:lnTo>
                  <a:lnTo>
                    <a:pt x="86424" y="204292"/>
                  </a:lnTo>
                  <a:lnTo>
                    <a:pt x="86424" y="204990"/>
                  </a:lnTo>
                  <a:lnTo>
                    <a:pt x="86424" y="204292"/>
                  </a:lnTo>
                  <a:lnTo>
                    <a:pt x="86475" y="204292"/>
                  </a:lnTo>
                  <a:lnTo>
                    <a:pt x="86475" y="204990"/>
                  </a:lnTo>
                  <a:lnTo>
                    <a:pt x="86475" y="204292"/>
                  </a:lnTo>
                  <a:lnTo>
                    <a:pt x="86475" y="204990"/>
                  </a:lnTo>
                  <a:lnTo>
                    <a:pt x="86475" y="204292"/>
                  </a:lnTo>
                  <a:lnTo>
                    <a:pt x="86475" y="204990"/>
                  </a:lnTo>
                  <a:lnTo>
                    <a:pt x="86475" y="204292"/>
                  </a:lnTo>
                  <a:lnTo>
                    <a:pt x="86576" y="204292"/>
                  </a:lnTo>
                  <a:lnTo>
                    <a:pt x="86576" y="203594"/>
                  </a:lnTo>
                  <a:lnTo>
                    <a:pt x="86576" y="204292"/>
                  </a:lnTo>
                  <a:lnTo>
                    <a:pt x="86576" y="203594"/>
                  </a:lnTo>
                  <a:lnTo>
                    <a:pt x="86627" y="203594"/>
                  </a:lnTo>
                  <a:lnTo>
                    <a:pt x="86627" y="200876"/>
                  </a:lnTo>
                  <a:lnTo>
                    <a:pt x="86678" y="200876"/>
                  </a:lnTo>
                  <a:lnTo>
                    <a:pt x="86678" y="200228"/>
                  </a:lnTo>
                  <a:lnTo>
                    <a:pt x="86678" y="200876"/>
                  </a:lnTo>
                  <a:lnTo>
                    <a:pt x="86678" y="200228"/>
                  </a:lnTo>
                  <a:lnTo>
                    <a:pt x="86678" y="202260"/>
                  </a:lnTo>
                  <a:lnTo>
                    <a:pt x="86678" y="200876"/>
                  </a:lnTo>
                  <a:lnTo>
                    <a:pt x="86729" y="200228"/>
                  </a:lnTo>
                  <a:lnTo>
                    <a:pt x="86729" y="199530"/>
                  </a:lnTo>
                  <a:lnTo>
                    <a:pt x="86729" y="202959"/>
                  </a:lnTo>
                  <a:lnTo>
                    <a:pt x="86729" y="202260"/>
                  </a:lnTo>
                  <a:lnTo>
                    <a:pt x="86729" y="202959"/>
                  </a:lnTo>
                  <a:lnTo>
                    <a:pt x="86729" y="200876"/>
                  </a:lnTo>
                  <a:lnTo>
                    <a:pt x="86818" y="200876"/>
                  </a:lnTo>
                  <a:lnTo>
                    <a:pt x="86818" y="202959"/>
                  </a:lnTo>
                  <a:lnTo>
                    <a:pt x="86818" y="202260"/>
                  </a:lnTo>
                  <a:lnTo>
                    <a:pt x="86818" y="202959"/>
                  </a:lnTo>
                  <a:lnTo>
                    <a:pt x="86818" y="202260"/>
                  </a:lnTo>
                  <a:lnTo>
                    <a:pt x="86818" y="202959"/>
                  </a:lnTo>
                  <a:lnTo>
                    <a:pt x="86818" y="202260"/>
                  </a:lnTo>
                  <a:lnTo>
                    <a:pt x="86868" y="202260"/>
                  </a:lnTo>
                  <a:lnTo>
                    <a:pt x="86868" y="202959"/>
                  </a:lnTo>
                  <a:lnTo>
                    <a:pt x="86868" y="202260"/>
                  </a:lnTo>
                  <a:lnTo>
                    <a:pt x="86868" y="202959"/>
                  </a:lnTo>
                  <a:lnTo>
                    <a:pt x="86868" y="202260"/>
                  </a:lnTo>
                  <a:lnTo>
                    <a:pt x="86868" y="203594"/>
                  </a:lnTo>
                  <a:lnTo>
                    <a:pt x="86868" y="202959"/>
                  </a:lnTo>
                  <a:lnTo>
                    <a:pt x="86868" y="203594"/>
                  </a:lnTo>
                  <a:lnTo>
                    <a:pt x="86919" y="203594"/>
                  </a:lnTo>
                  <a:lnTo>
                    <a:pt x="86919" y="202959"/>
                  </a:lnTo>
                  <a:lnTo>
                    <a:pt x="86919" y="204292"/>
                  </a:lnTo>
                  <a:lnTo>
                    <a:pt x="86919" y="203594"/>
                  </a:lnTo>
                  <a:lnTo>
                    <a:pt x="86970" y="203594"/>
                  </a:lnTo>
                  <a:lnTo>
                    <a:pt x="86970" y="204292"/>
                  </a:lnTo>
                  <a:lnTo>
                    <a:pt x="86970" y="203594"/>
                  </a:lnTo>
                  <a:lnTo>
                    <a:pt x="87072" y="203594"/>
                  </a:lnTo>
                  <a:lnTo>
                    <a:pt x="87072" y="202959"/>
                  </a:lnTo>
                  <a:lnTo>
                    <a:pt x="87123" y="202959"/>
                  </a:lnTo>
                  <a:lnTo>
                    <a:pt x="87123" y="200876"/>
                  </a:lnTo>
                  <a:lnTo>
                    <a:pt x="87173" y="200876"/>
                  </a:lnTo>
                  <a:lnTo>
                    <a:pt x="87173" y="200228"/>
                  </a:lnTo>
                  <a:lnTo>
                    <a:pt x="87173" y="202260"/>
                  </a:lnTo>
                  <a:lnTo>
                    <a:pt x="87173" y="199530"/>
                  </a:lnTo>
                  <a:lnTo>
                    <a:pt x="87173" y="200228"/>
                  </a:lnTo>
                  <a:lnTo>
                    <a:pt x="87275" y="200228"/>
                  </a:lnTo>
                  <a:lnTo>
                    <a:pt x="87275" y="202260"/>
                  </a:lnTo>
                  <a:lnTo>
                    <a:pt x="87275" y="200228"/>
                  </a:lnTo>
                  <a:lnTo>
                    <a:pt x="87275" y="200876"/>
                  </a:lnTo>
                  <a:lnTo>
                    <a:pt x="87313" y="200876"/>
                  </a:lnTo>
                  <a:lnTo>
                    <a:pt x="87313" y="202260"/>
                  </a:lnTo>
                  <a:lnTo>
                    <a:pt x="87313" y="200876"/>
                  </a:lnTo>
                  <a:lnTo>
                    <a:pt x="87364" y="200876"/>
                  </a:lnTo>
                  <a:lnTo>
                    <a:pt x="87364" y="202260"/>
                  </a:lnTo>
                  <a:lnTo>
                    <a:pt x="87364" y="200876"/>
                  </a:lnTo>
                  <a:lnTo>
                    <a:pt x="87364" y="202260"/>
                  </a:lnTo>
                  <a:lnTo>
                    <a:pt x="87364" y="200876"/>
                  </a:lnTo>
                  <a:lnTo>
                    <a:pt x="87364" y="202959"/>
                  </a:lnTo>
                  <a:lnTo>
                    <a:pt x="87364" y="202260"/>
                  </a:lnTo>
                  <a:lnTo>
                    <a:pt x="87415" y="202959"/>
                  </a:lnTo>
                  <a:lnTo>
                    <a:pt x="87415" y="202260"/>
                  </a:lnTo>
                  <a:lnTo>
                    <a:pt x="87415" y="202959"/>
                  </a:lnTo>
                  <a:lnTo>
                    <a:pt x="87415" y="202260"/>
                  </a:lnTo>
                  <a:lnTo>
                    <a:pt x="87415" y="202959"/>
                  </a:lnTo>
                  <a:lnTo>
                    <a:pt x="87516" y="202959"/>
                  </a:lnTo>
                  <a:lnTo>
                    <a:pt x="87516" y="202260"/>
                  </a:lnTo>
                  <a:lnTo>
                    <a:pt x="87516" y="202959"/>
                  </a:lnTo>
                  <a:lnTo>
                    <a:pt x="87516" y="202260"/>
                  </a:lnTo>
                  <a:lnTo>
                    <a:pt x="87567" y="202260"/>
                  </a:lnTo>
                  <a:lnTo>
                    <a:pt x="87567" y="202959"/>
                  </a:lnTo>
                  <a:lnTo>
                    <a:pt x="87567" y="200876"/>
                  </a:lnTo>
                  <a:lnTo>
                    <a:pt x="87567" y="202260"/>
                  </a:lnTo>
                  <a:lnTo>
                    <a:pt x="87567" y="200876"/>
                  </a:lnTo>
                  <a:lnTo>
                    <a:pt x="87567" y="202260"/>
                  </a:lnTo>
                  <a:lnTo>
                    <a:pt x="87618" y="200876"/>
                  </a:lnTo>
                  <a:lnTo>
                    <a:pt x="87618" y="202260"/>
                  </a:lnTo>
                  <a:lnTo>
                    <a:pt x="87618" y="200228"/>
                  </a:lnTo>
                  <a:lnTo>
                    <a:pt x="87618" y="202260"/>
                  </a:lnTo>
                  <a:lnTo>
                    <a:pt x="87719" y="202959"/>
                  </a:lnTo>
                  <a:lnTo>
                    <a:pt x="87719" y="199530"/>
                  </a:lnTo>
                  <a:lnTo>
                    <a:pt x="87719" y="203594"/>
                  </a:lnTo>
                  <a:lnTo>
                    <a:pt x="87770" y="203594"/>
                  </a:lnTo>
                  <a:lnTo>
                    <a:pt x="87770" y="200876"/>
                  </a:lnTo>
                  <a:lnTo>
                    <a:pt x="87770" y="202959"/>
                  </a:lnTo>
                  <a:lnTo>
                    <a:pt x="87821" y="202959"/>
                  </a:lnTo>
                  <a:lnTo>
                    <a:pt x="87821" y="202260"/>
                  </a:lnTo>
                  <a:lnTo>
                    <a:pt x="87821" y="202959"/>
                  </a:lnTo>
                  <a:lnTo>
                    <a:pt x="87821" y="200876"/>
                  </a:lnTo>
                  <a:lnTo>
                    <a:pt x="87821" y="202959"/>
                  </a:lnTo>
                  <a:lnTo>
                    <a:pt x="87859" y="202959"/>
                  </a:lnTo>
                  <a:lnTo>
                    <a:pt x="87859" y="202260"/>
                  </a:lnTo>
                  <a:lnTo>
                    <a:pt x="87859" y="202959"/>
                  </a:lnTo>
                  <a:lnTo>
                    <a:pt x="87859" y="202260"/>
                  </a:lnTo>
                  <a:lnTo>
                    <a:pt x="87859" y="203594"/>
                  </a:lnTo>
                  <a:lnTo>
                    <a:pt x="87859" y="202959"/>
                  </a:lnTo>
                  <a:lnTo>
                    <a:pt x="87961" y="202959"/>
                  </a:lnTo>
                  <a:lnTo>
                    <a:pt x="87961" y="202260"/>
                  </a:lnTo>
                  <a:lnTo>
                    <a:pt x="87961" y="202959"/>
                  </a:lnTo>
                  <a:lnTo>
                    <a:pt x="87961" y="202260"/>
                  </a:lnTo>
                  <a:lnTo>
                    <a:pt x="87961" y="202959"/>
                  </a:lnTo>
                  <a:lnTo>
                    <a:pt x="87961" y="202260"/>
                  </a:lnTo>
                  <a:lnTo>
                    <a:pt x="88011" y="202959"/>
                  </a:lnTo>
                  <a:lnTo>
                    <a:pt x="88011" y="202260"/>
                  </a:lnTo>
                  <a:lnTo>
                    <a:pt x="88011" y="202959"/>
                  </a:lnTo>
                  <a:lnTo>
                    <a:pt x="88011" y="202260"/>
                  </a:lnTo>
                  <a:lnTo>
                    <a:pt x="88062" y="202260"/>
                  </a:lnTo>
                  <a:lnTo>
                    <a:pt x="88062" y="200876"/>
                  </a:lnTo>
                  <a:lnTo>
                    <a:pt x="88164" y="200876"/>
                  </a:lnTo>
                  <a:lnTo>
                    <a:pt x="88164" y="202260"/>
                  </a:lnTo>
                  <a:lnTo>
                    <a:pt x="88164" y="200228"/>
                  </a:lnTo>
                  <a:lnTo>
                    <a:pt x="88164" y="202260"/>
                  </a:lnTo>
                  <a:lnTo>
                    <a:pt x="88215" y="200876"/>
                  </a:lnTo>
                  <a:lnTo>
                    <a:pt x="88215" y="200228"/>
                  </a:lnTo>
                  <a:lnTo>
                    <a:pt x="88215" y="202959"/>
                  </a:lnTo>
                  <a:lnTo>
                    <a:pt x="88215" y="202260"/>
                  </a:lnTo>
                  <a:lnTo>
                    <a:pt x="88266" y="202260"/>
                  </a:lnTo>
                  <a:lnTo>
                    <a:pt x="88266" y="203594"/>
                  </a:lnTo>
                  <a:lnTo>
                    <a:pt x="88266" y="202959"/>
                  </a:lnTo>
                  <a:lnTo>
                    <a:pt x="88316" y="202959"/>
                  </a:lnTo>
                  <a:lnTo>
                    <a:pt x="88316" y="202260"/>
                  </a:lnTo>
                  <a:lnTo>
                    <a:pt x="88316" y="203594"/>
                  </a:lnTo>
                  <a:lnTo>
                    <a:pt x="88316" y="202959"/>
                  </a:lnTo>
                  <a:lnTo>
                    <a:pt x="88316" y="203594"/>
                  </a:lnTo>
                  <a:lnTo>
                    <a:pt x="88405" y="203594"/>
                  </a:lnTo>
                  <a:lnTo>
                    <a:pt x="88405" y="202959"/>
                  </a:lnTo>
                  <a:lnTo>
                    <a:pt x="88405" y="203594"/>
                  </a:lnTo>
                  <a:lnTo>
                    <a:pt x="88405" y="202959"/>
                  </a:lnTo>
                  <a:lnTo>
                    <a:pt x="88405" y="203594"/>
                  </a:lnTo>
                  <a:lnTo>
                    <a:pt x="88405" y="202959"/>
                  </a:lnTo>
                  <a:lnTo>
                    <a:pt x="88405" y="203594"/>
                  </a:lnTo>
                  <a:lnTo>
                    <a:pt x="88405" y="202959"/>
                  </a:lnTo>
                  <a:lnTo>
                    <a:pt x="88405" y="203594"/>
                  </a:lnTo>
                  <a:lnTo>
                    <a:pt x="88405" y="202959"/>
                  </a:lnTo>
                  <a:lnTo>
                    <a:pt x="88456" y="202260"/>
                  </a:lnTo>
                  <a:lnTo>
                    <a:pt x="88456" y="202959"/>
                  </a:lnTo>
                  <a:lnTo>
                    <a:pt x="88456" y="202260"/>
                  </a:lnTo>
                  <a:lnTo>
                    <a:pt x="88456" y="202959"/>
                  </a:lnTo>
                  <a:lnTo>
                    <a:pt x="88456" y="202260"/>
                  </a:lnTo>
                  <a:lnTo>
                    <a:pt x="88456" y="202959"/>
                  </a:lnTo>
                  <a:lnTo>
                    <a:pt x="88456" y="202260"/>
                  </a:lnTo>
                  <a:lnTo>
                    <a:pt x="88507" y="202260"/>
                  </a:lnTo>
                  <a:lnTo>
                    <a:pt x="88507" y="200876"/>
                  </a:lnTo>
                  <a:lnTo>
                    <a:pt x="88558" y="200876"/>
                  </a:lnTo>
                  <a:lnTo>
                    <a:pt x="88558" y="202260"/>
                  </a:lnTo>
                  <a:lnTo>
                    <a:pt x="88558" y="199530"/>
                  </a:lnTo>
                  <a:lnTo>
                    <a:pt x="88659" y="199530"/>
                  </a:lnTo>
                  <a:lnTo>
                    <a:pt x="88659" y="198831"/>
                  </a:lnTo>
                  <a:lnTo>
                    <a:pt x="88659" y="200876"/>
                  </a:lnTo>
                  <a:lnTo>
                    <a:pt x="88659" y="199530"/>
                  </a:lnTo>
                  <a:lnTo>
                    <a:pt x="88710" y="199530"/>
                  </a:lnTo>
                  <a:lnTo>
                    <a:pt x="88710" y="202260"/>
                  </a:lnTo>
                  <a:lnTo>
                    <a:pt x="88710" y="200228"/>
                  </a:lnTo>
                  <a:lnTo>
                    <a:pt x="88761" y="200228"/>
                  </a:lnTo>
                  <a:lnTo>
                    <a:pt x="88761" y="202260"/>
                  </a:lnTo>
                  <a:lnTo>
                    <a:pt x="88761" y="200876"/>
                  </a:lnTo>
                  <a:lnTo>
                    <a:pt x="88761" y="202260"/>
                  </a:lnTo>
                  <a:lnTo>
                    <a:pt x="88862" y="202260"/>
                  </a:lnTo>
                  <a:lnTo>
                    <a:pt x="88862" y="202959"/>
                  </a:lnTo>
                  <a:lnTo>
                    <a:pt x="88862" y="202260"/>
                  </a:lnTo>
                  <a:lnTo>
                    <a:pt x="88862" y="202959"/>
                  </a:lnTo>
                  <a:lnTo>
                    <a:pt x="88862" y="202260"/>
                  </a:lnTo>
                  <a:lnTo>
                    <a:pt x="88900" y="202260"/>
                  </a:lnTo>
                  <a:lnTo>
                    <a:pt x="88900" y="202959"/>
                  </a:lnTo>
                  <a:lnTo>
                    <a:pt x="88900" y="202260"/>
                  </a:lnTo>
                  <a:lnTo>
                    <a:pt x="88900" y="202959"/>
                  </a:lnTo>
                  <a:lnTo>
                    <a:pt x="88900" y="202260"/>
                  </a:lnTo>
                  <a:lnTo>
                    <a:pt x="88900" y="202959"/>
                  </a:lnTo>
                  <a:lnTo>
                    <a:pt x="88951" y="202959"/>
                  </a:lnTo>
                  <a:lnTo>
                    <a:pt x="88951" y="200876"/>
                  </a:lnTo>
                  <a:lnTo>
                    <a:pt x="88951" y="202959"/>
                  </a:lnTo>
                  <a:lnTo>
                    <a:pt x="88951" y="202260"/>
                  </a:lnTo>
                  <a:lnTo>
                    <a:pt x="89002" y="202959"/>
                  </a:lnTo>
                  <a:lnTo>
                    <a:pt x="89002" y="200876"/>
                  </a:lnTo>
                  <a:lnTo>
                    <a:pt x="89002" y="202260"/>
                  </a:lnTo>
                  <a:lnTo>
                    <a:pt x="89104" y="200876"/>
                  </a:lnTo>
                  <a:lnTo>
                    <a:pt x="89104" y="198831"/>
                  </a:lnTo>
                  <a:lnTo>
                    <a:pt x="89155" y="198831"/>
                  </a:lnTo>
                  <a:lnTo>
                    <a:pt x="89155" y="200876"/>
                  </a:lnTo>
                  <a:lnTo>
                    <a:pt x="89155" y="198831"/>
                  </a:lnTo>
                  <a:lnTo>
                    <a:pt x="89155" y="199530"/>
                  </a:lnTo>
                  <a:lnTo>
                    <a:pt x="89205" y="200228"/>
                  </a:lnTo>
                  <a:lnTo>
                    <a:pt x="89205" y="202260"/>
                  </a:lnTo>
                  <a:lnTo>
                    <a:pt x="89205" y="199530"/>
                  </a:lnTo>
                  <a:lnTo>
                    <a:pt x="89205" y="200228"/>
                  </a:lnTo>
                  <a:lnTo>
                    <a:pt x="89307" y="200876"/>
                  </a:lnTo>
                  <a:lnTo>
                    <a:pt x="89307" y="202260"/>
                  </a:lnTo>
                  <a:lnTo>
                    <a:pt x="89307" y="200228"/>
                  </a:lnTo>
                  <a:lnTo>
                    <a:pt x="89307" y="200876"/>
                  </a:lnTo>
                  <a:lnTo>
                    <a:pt x="89307" y="200228"/>
                  </a:lnTo>
                  <a:lnTo>
                    <a:pt x="89307" y="202260"/>
                  </a:lnTo>
                  <a:lnTo>
                    <a:pt x="89358" y="202260"/>
                  </a:lnTo>
                  <a:lnTo>
                    <a:pt x="89358" y="200876"/>
                  </a:lnTo>
                  <a:lnTo>
                    <a:pt x="89358" y="202959"/>
                  </a:lnTo>
                  <a:lnTo>
                    <a:pt x="89409" y="202959"/>
                  </a:lnTo>
                  <a:lnTo>
                    <a:pt x="89409" y="202260"/>
                  </a:lnTo>
                  <a:lnTo>
                    <a:pt x="89409" y="202959"/>
                  </a:lnTo>
                  <a:lnTo>
                    <a:pt x="89409" y="202260"/>
                  </a:lnTo>
                  <a:lnTo>
                    <a:pt x="89409" y="202959"/>
                  </a:lnTo>
                  <a:lnTo>
                    <a:pt x="89409" y="202260"/>
                  </a:lnTo>
                  <a:lnTo>
                    <a:pt x="89447" y="202260"/>
                  </a:lnTo>
                  <a:lnTo>
                    <a:pt x="89447" y="202959"/>
                  </a:lnTo>
                  <a:lnTo>
                    <a:pt x="89447" y="200876"/>
                  </a:lnTo>
                  <a:lnTo>
                    <a:pt x="89447" y="202260"/>
                  </a:lnTo>
                  <a:lnTo>
                    <a:pt x="89447" y="200876"/>
                  </a:lnTo>
                  <a:lnTo>
                    <a:pt x="89548" y="200876"/>
                  </a:lnTo>
                  <a:lnTo>
                    <a:pt x="89548" y="202260"/>
                  </a:lnTo>
                  <a:lnTo>
                    <a:pt x="89548" y="200228"/>
                  </a:lnTo>
                  <a:lnTo>
                    <a:pt x="89548" y="200876"/>
                  </a:lnTo>
                  <a:lnTo>
                    <a:pt x="89548" y="200228"/>
                  </a:lnTo>
                  <a:lnTo>
                    <a:pt x="89599" y="200228"/>
                  </a:lnTo>
                  <a:lnTo>
                    <a:pt x="89599" y="197447"/>
                  </a:lnTo>
                  <a:lnTo>
                    <a:pt x="89650" y="197447"/>
                  </a:lnTo>
                  <a:lnTo>
                    <a:pt x="89650" y="198831"/>
                  </a:lnTo>
                  <a:lnTo>
                    <a:pt x="89650" y="196799"/>
                  </a:lnTo>
                  <a:lnTo>
                    <a:pt x="89751" y="196799"/>
                  </a:lnTo>
                  <a:lnTo>
                    <a:pt x="89751" y="199530"/>
                  </a:lnTo>
                  <a:lnTo>
                    <a:pt x="89751" y="198831"/>
                  </a:lnTo>
                  <a:lnTo>
                    <a:pt x="89802" y="198831"/>
                  </a:lnTo>
                  <a:lnTo>
                    <a:pt x="89802" y="200228"/>
                  </a:lnTo>
                  <a:lnTo>
                    <a:pt x="89802" y="199530"/>
                  </a:lnTo>
                  <a:lnTo>
                    <a:pt x="89802" y="200228"/>
                  </a:lnTo>
                  <a:lnTo>
                    <a:pt x="89853" y="200228"/>
                  </a:lnTo>
                  <a:lnTo>
                    <a:pt x="89853" y="200876"/>
                  </a:lnTo>
                  <a:lnTo>
                    <a:pt x="89853" y="200228"/>
                  </a:lnTo>
                  <a:lnTo>
                    <a:pt x="89853" y="200876"/>
                  </a:lnTo>
                  <a:lnTo>
                    <a:pt x="89853" y="200228"/>
                  </a:lnTo>
                  <a:lnTo>
                    <a:pt x="89853" y="200876"/>
                  </a:lnTo>
                  <a:lnTo>
                    <a:pt x="89904" y="200876"/>
                  </a:lnTo>
                  <a:lnTo>
                    <a:pt x="89904" y="202260"/>
                  </a:lnTo>
                  <a:lnTo>
                    <a:pt x="89904" y="200876"/>
                  </a:lnTo>
                  <a:lnTo>
                    <a:pt x="89904" y="202260"/>
                  </a:lnTo>
                  <a:lnTo>
                    <a:pt x="89904" y="200876"/>
                  </a:lnTo>
                  <a:lnTo>
                    <a:pt x="89904" y="202959"/>
                  </a:lnTo>
                  <a:lnTo>
                    <a:pt x="89904" y="202260"/>
                  </a:lnTo>
                  <a:lnTo>
                    <a:pt x="89993" y="202260"/>
                  </a:lnTo>
                  <a:lnTo>
                    <a:pt x="89993" y="200876"/>
                  </a:lnTo>
                  <a:lnTo>
                    <a:pt x="89993" y="202260"/>
                  </a:lnTo>
                  <a:lnTo>
                    <a:pt x="90043" y="202260"/>
                  </a:lnTo>
                  <a:lnTo>
                    <a:pt x="90043" y="200876"/>
                  </a:lnTo>
                  <a:lnTo>
                    <a:pt x="90043" y="202260"/>
                  </a:lnTo>
                  <a:lnTo>
                    <a:pt x="90043" y="200876"/>
                  </a:lnTo>
                  <a:lnTo>
                    <a:pt x="90043" y="202260"/>
                  </a:lnTo>
                  <a:lnTo>
                    <a:pt x="90043" y="200876"/>
                  </a:lnTo>
                  <a:lnTo>
                    <a:pt x="90094" y="200876"/>
                  </a:lnTo>
                  <a:lnTo>
                    <a:pt x="90094" y="198831"/>
                  </a:lnTo>
                  <a:lnTo>
                    <a:pt x="90145" y="197447"/>
                  </a:lnTo>
                  <a:lnTo>
                    <a:pt x="90145" y="198831"/>
                  </a:lnTo>
                  <a:lnTo>
                    <a:pt x="90145" y="197447"/>
                  </a:lnTo>
                  <a:lnTo>
                    <a:pt x="90145" y="198831"/>
                  </a:lnTo>
                  <a:lnTo>
                    <a:pt x="90247" y="198831"/>
                  </a:lnTo>
                  <a:lnTo>
                    <a:pt x="90247" y="200228"/>
                  </a:lnTo>
                  <a:lnTo>
                    <a:pt x="90247" y="198831"/>
                  </a:lnTo>
                  <a:lnTo>
                    <a:pt x="90247" y="199530"/>
                  </a:lnTo>
                  <a:lnTo>
                    <a:pt x="90298" y="199530"/>
                  </a:lnTo>
                  <a:lnTo>
                    <a:pt x="90298" y="198831"/>
                  </a:lnTo>
                  <a:lnTo>
                    <a:pt x="90298" y="200228"/>
                  </a:lnTo>
                  <a:lnTo>
                    <a:pt x="90348" y="199530"/>
                  </a:lnTo>
                  <a:lnTo>
                    <a:pt x="90348" y="200228"/>
                  </a:lnTo>
                  <a:lnTo>
                    <a:pt x="90348" y="199530"/>
                  </a:lnTo>
                  <a:lnTo>
                    <a:pt x="90348" y="200228"/>
                  </a:lnTo>
                  <a:lnTo>
                    <a:pt x="90348" y="199530"/>
                  </a:lnTo>
                  <a:lnTo>
                    <a:pt x="90348" y="200228"/>
                  </a:lnTo>
                  <a:lnTo>
                    <a:pt x="90450" y="200228"/>
                  </a:lnTo>
                  <a:lnTo>
                    <a:pt x="90450" y="200876"/>
                  </a:lnTo>
                  <a:lnTo>
                    <a:pt x="90488" y="200876"/>
                  </a:lnTo>
                  <a:lnTo>
                    <a:pt x="90488" y="200228"/>
                  </a:lnTo>
                  <a:lnTo>
                    <a:pt x="90488" y="200876"/>
                  </a:lnTo>
                  <a:lnTo>
                    <a:pt x="90488" y="200228"/>
                  </a:lnTo>
                  <a:lnTo>
                    <a:pt x="90488" y="202260"/>
                  </a:lnTo>
                  <a:lnTo>
                    <a:pt x="90488" y="200876"/>
                  </a:lnTo>
                  <a:lnTo>
                    <a:pt x="90539" y="200876"/>
                  </a:lnTo>
                  <a:lnTo>
                    <a:pt x="90539" y="200228"/>
                  </a:lnTo>
                  <a:lnTo>
                    <a:pt x="90539" y="200876"/>
                  </a:lnTo>
                  <a:lnTo>
                    <a:pt x="90539" y="200228"/>
                  </a:lnTo>
                  <a:lnTo>
                    <a:pt x="90539" y="200876"/>
                  </a:lnTo>
                  <a:lnTo>
                    <a:pt x="90539" y="200228"/>
                  </a:lnTo>
                  <a:lnTo>
                    <a:pt x="90539" y="200876"/>
                  </a:lnTo>
                  <a:lnTo>
                    <a:pt x="90539" y="199530"/>
                  </a:lnTo>
                  <a:lnTo>
                    <a:pt x="90590" y="199530"/>
                  </a:lnTo>
                  <a:lnTo>
                    <a:pt x="90590" y="198831"/>
                  </a:lnTo>
                  <a:lnTo>
                    <a:pt x="90691" y="199530"/>
                  </a:lnTo>
                  <a:lnTo>
                    <a:pt x="90691" y="198831"/>
                  </a:lnTo>
                  <a:lnTo>
                    <a:pt x="90691" y="200876"/>
                  </a:lnTo>
                  <a:lnTo>
                    <a:pt x="90742" y="200876"/>
                  </a:lnTo>
                  <a:lnTo>
                    <a:pt x="90742" y="199530"/>
                  </a:lnTo>
                  <a:lnTo>
                    <a:pt x="90742" y="200876"/>
                  </a:lnTo>
                  <a:lnTo>
                    <a:pt x="90793" y="200876"/>
                  </a:lnTo>
                  <a:lnTo>
                    <a:pt x="90793" y="200228"/>
                  </a:lnTo>
                  <a:lnTo>
                    <a:pt x="90793" y="200876"/>
                  </a:lnTo>
                  <a:lnTo>
                    <a:pt x="90793" y="200228"/>
                  </a:lnTo>
                  <a:lnTo>
                    <a:pt x="90793" y="200876"/>
                  </a:lnTo>
                  <a:lnTo>
                    <a:pt x="90894" y="200876"/>
                  </a:lnTo>
                  <a:lnTo>
                    <a:pt x="90894" y="200228"/>
                  </a:lnTo>
                  <a:lnTo>
                    <a:pt x="90894" y="200876"/>
                  </a:lnTo>
                  <a:lnTo>
                    <a:pt x="90894" y="200228"/>
                  </a:lnTo>
                  <a:lnTo>
                    <a:pt x="90894" y="200876"/>
                  </a:lnTo>
                  <a:lnTo>
                    <a:pt x="90945" y="200876"/>
                  </a:lnTo>
                  <a:lnTo>
                    <a:pt x="90945" y="202260"/>
                  </a:lnTo>
                  <a:lnTo>
                    <a:pt x="90945" y="200876"/>
                  </a:lnTo>
                  <a:lnTo>
                    <a:pt x="90945" y="202260"/>
                  </a:lnTo>
                  <a:lnTo>
                    <a:pt x="90945" y="200876"/>
                  </a:lnTo>
                  <a:lnTo>
                    <a:pt x="90996" y="200876"/>
                  </a:lnTo>
                  <a:lnTo>
                    <a:pt x="90996" y="202260"/>
                  </a:lnTo>
                  <a:lnTo>
                    <a:pt x="90996" y="200876"/>
                  </a:lnTo>
                  <a:lnTo>
                    <a:pt x="90996" y="202260"/>
                  </a:lnTo>
                  <a:lnTo>
                    <a:pt x="90996" y="200876"/>
                  </a:lnTo>
                  <a:lnTo>
                    <a:pt x="91034" y="200876"/>
                  </a:lnTo>
                  <a:lnTo>
                    <a:pt x="91034" y="199530"/>
                  </a:lnTo>
                  <a:lnTo>
                    <a:pt x="91136" y="199530"/>
                  </a:lnTo>
                  <a:lnTo>
                    <a:pt x="91136" y="198831"/>
                  </a:lnTo>
                  <a:lnTo>
                    <a:pt x="91136" y="199530"/>
                  </a:lnTo>
                  <a:lnTo>
                    <a:pt x="91136" y="198831"/>
                  </a:lnTo>
                  <a:lnTo>
                    <a:pt x="91136" y="199530"/>
                  </a:lnTo>
                  <a:lnTo>
                    <a:pt x="91186" y="199530"/>
                  </a:lnTo>
                  <a:lnTo>
                    <a:pt x="91186" y="198831"/>
                  </a:lnTo>
                  <a:lnTo>
                    <a:pt x="91186" y="200876"/>
                  </a:lnTo>
                  <a:lnTo>
                    <a:pt x="91237" y="200876"/>
                  </a:lnTo>
                  <a:lnTo>
                    <a:pt x="91237" y="200228"/>
                  </a:lnTo>
                  <a:lnTo>
                    <a:pt x="91237" y="200876"/>
                  </a:lnTo>
                  <a:lnTo>
                    <a:pt x="91237" y="200228"/>
                  </a:lnTo>
                  <a:lnTo>
                    <a:pt x="91237" y="200876"/>
                  </a:lnTo>
                  <a:lnTo>
                    <a:pt x="91237" y="200228"/>
                  </a:lnTo>
                  <a:lnTo>
                    <a:pt x="91237" y="202260"/>
                  </a:lnTo>
                  <a:lnTo>
                    <a:pt x="91237" y="200876"/>
                  </a:lnTo>
                  <a:lnTo>
                    <a:pt x="91339" y="200876"/>
                  </a:lnTo>
                  <a:lnTo>
                    <a:pt x="91339" y="200228"/>
                  </a:lnTo>
                  <a:lnTo>
                    <a:pt x="91339" y="200876"/>
                  </a:lnTo>
                  <a:lnTo>
                    <a:pt x="91339" y="200228"/>
                  </a:lnTo>
                  <a:lnTo>
                    <a:pt x="91390" y="200228"/>
                  </a:lnTo>
                  <a:lnTo>
                    <a:pt x="91390" y="200876"/>
                  </a:lnTo>
                  <a:lnTo>
                    <a:pt x="91390" y="200228"/>
                  </a:lnTo>
                  <a:lnTo>
                    <a:pt x="91390" y="200876"/>
                  </a:lnTo>
                  <a:lnTo>
                    <a:pt x="91491" y="200876"/>
                  </a:lnTo>
                  <a:lnTo>
                    <a:pt x="91491" y="200228"/>
                  </a:lnTo>
                  <a:lnTo>
                    <a:pt x="91491" y="200876"/>
                  </a:lnTo>
                  <a:lnTo>
                    <a:pt x="91491" y="200228"/>
                  </a:lnTo>
                  <a:lnTo>
                    <a:pt x="91580" y="199530"/>
                  </a:lnTo>
                  <a:lnTo>
                    <a:pt x="91580" y="200228"/>
                  </a:lnTo>
                  <a:lnTo>
                    <a:pt x="91580" y="197447"/>
                  </a:lnTo>
                  <a:lnTo>
                    <a:pt x="91631" y="197447"/>
                  </a:lnTo>
                  <a:lnTo>
                    <a:pt x="91631" y="196799"/>
                  </a:lnTo>
                  <a:lnTo>
                    <a:pt x="91631" y="198831"/>
                  </a:lnTo>
                  <a:lnTo>
                    <a:pt x="91682" y="198831"/>
                  </a:lnTo>
                  <a:lnTo>
                    <a:pt x="91682" y="200876"/>
                  </a:lnTo>
                  <a:lnTo>
                    <a:pt x="91682" y="200228"/>
                  </a:lnTo>
                  <a:lnTo>
                    <a:pt x="91733" y="200228"/>
                  </a:lnTo>
                  <a:lnTo>
                    <a:pt x="91733" y="199530"/>
                  </a:lnTo>
                  <a:lnTo>
                    <a:pt x="91733" y="200876"/>
                  </a:lnTo>
                  <a:lnTo>
                    <a:pt x="91733" y="200228"/>
                  </a:lnTo>
                  <a:lnTo>
                    <a:pt x="91733" y="200876"/>
                  </a:lnTo>
                  <a:lnTo>
                    <a:pt x="91733" y="200228"/>
                  </a:lnTo>
                  <a:lnTo>
                    <a:pt x="91733" y="200876"/>
                  </a:lnTo>
                  <a:lnTo>
                    <a:pt x="91733" y="200228"/>
                  </a:lnTo>
                  <a:lnTo>
                    <a:pt x="91834" y="200228"/>
                  </a:lnTo>
                  <a:lnTo>
                    <a:pt x="91834" y="200876"/>
                  </a:lnTo>
                  <a:lnTo>
                    <a:pt x="91834" y="200228"/>
                  </a:lnTo>
                  <a:lnTo>
                    <a:pt x="91885" y="200228"/>
                  </a:lnTo>
                  <a:lnTo>
                    <a:pt x="91885" y="200876"/>
                  </a:lnTo>
                  <a:lnTo>
                    <a:pt x="91885" y="200228"/>
                  </a:lnTo>
                  <a:lnTo>
                    <a:pt x="91885" y="202260"/>
                  </a:lnTo>
                  <a:lnTo>
                    <a:pt x="91885" y="200876"/>
                  </a:lnTo>
                  <a:lnTo>
                    <a:pt x="91885" y="202260"/>
                  </a:lnTo>
                  <a:lnTo>
                    <a:pt x="91936" y="202260"/>
                  </a:lnTo>
                  <a:lnTo>
                    <a:pt x="91936" y="200876"/>
                  </a:lnTo>
                  <a:lnTo>
                    <a:pt x="91936" y="202959"/>
                  </a:lnTo>
                  <a:lnTo>
                    <a:pt x="91936" y="200876"/>
                  </a:lnTo>
                  <a:lnTo>
                    <a:pt x="92037" y="200876"/>
                  </a:lnTo>
                  <a:lnTo>
                    <a:pt x="92037" y="202260"/>
                  </a:lnTo>
                  <a:lnTo>
                    <a:pt x="92037" y="200876"/>
                  </a:lnTo>
                  <a:lnTo>
                    <a:pt x="92075" y="200876"/>
                  </a:lnTo>
                  <a:lnTo>
                    <a:pt x="92075" y="199530"/>
                  </a:lnTo>
                  <a:lnTo>
                    <a:pt x="92075" y="200228"/>
                  </a:lnTo>
                  <a:lnTo>
                    <a:pt x="92075" y="198831"/>
                  </a:lnTo>
                  <a:lnTo>
                    <a:pt x="92126" y="198831"/>
                  </a:lnTo>
                  <a:lnTo>
                    <a:pt x="92126" y="197447"/>
                  </a:lnTo>
                  <a:lnTo>
                    <a:pt x="92126" y="199530"/>
                  </a:lnTo>
                  <a:lnTo>
                    <a:pt x="92177" y="199530"/>
                  </a:lnTo>
                  <a:lnTo>
                    <a:pt x="92177" y="200876"/>
                  </a:lnTo>
                  <a:lnTo>
                    <a:pt x="92177" y="200228"/>
                  </a:lnTo>
                  <a:lnTo>
                    <a:pt x="92177" y="200876"/>
                  </a:lnTo>
                  <a:lnTo>
                    <a:pt x="92279" y="200228"/>
                  </a:lnTo>
                  <a:lnTo>
                    <a:pt x="92279" y="200876"/>
                  </a:lnTo>
                  <a:lnTo>
                    <a:pt x="92279" y="200228"/>
                  </a:lnTo>
                  <a:lnTo>
                    <a:pt x="92279" y="200876"/>
                  </a:lnTo>
                  <a:lnTo>
                    <a:pt x="92330" y="200876"/>
                  </a:lnTo>
                  <a:lnTo>
                    <a:pt x="92330" y="202260"/>
                  </a:lnTo>
                  <a:lnTo>
                    <a:pt x="92380" y="202260"/>
                  </a:lnTo>
                  <a:lnTo>
                    <a:pt x="92380" y="200876"/>
                  </a:lnTo>
                  <a:lnTo>
                    <a:pt x="92380" y="202959"/>
                  </a:lnTo>
                  <a:lnTo>
                    <a:pt x="92482" y="202260"/>
                  </a:lnTo>
                  <a:lnTo>
                    <a:pt x="92482" y="200876"/>
                  </a:lnTo>
                  <a:lnTo>
                    <a:pt x="92482" y="202260"/>
                  </a:lnTo>
                  <a:lnTo>
                    <a:pt x="92482" y="200876"/>
                  </a:lnTo>
                  <a:lnTo>
                    <a:pt x="92482" y="202260"/>
                  </a:lnTo>
                  <a:lnTo>
                    <a:pt x="92482" y="200876"/>
                  </a:lnTo>
                  <a:lnTo>
                    <a:pt x="92482" y="202260"/>
                  </a:lnTo>
                  <a:lnTo>
                    <a:pt x="92482" y="200876"/>
                  </a:lnTo>
                  <a:lnTo>
                    <a:pt x="92533" y="200876"/>
                  </a:lnTo>
                  <a:lnTo>
                    <a:pt x="92533" y="200228"/>
                  </a:lnTo>
                  <a:lnTo>
                    <a:pt x="92533" y="200876"/>
                  </a:lnTo>
                  <a:lnTo>
                    <a:pt x="92533" y="199530"/>
                  </a:lnTo>
                  <a:lnTo>
                    <a:pt x="92584" y="199530"/>
                  </a:lnTo>
                  <a:lnTo>
                    <a:pt x="92584" y="197447"/>
                  </a:lnTo>
                  <a:lnTo>
                    <a:pt x="92584" y="198831"/>
                  </a:lnTo>
                  <a:lnTo>
                    <a:pt x="92584" y="197447"/>
                  </a:lnTo>
                  <a:lnTo>
                    <a:pt x="92622" y="197447"/>
                  </a:lnTo>
                  <a:lnTo>
                    <a:pt x="92622" y="198831"/>
                  </a:lnTo>
                  <a:lnTo>
                    <a:pt x="92622" y="197447"/>
                  </a:lnTo>
                  <a:lnTo>
                    <a:pt x="92622" y="200228"/>
                  </a:lnTo>
                  <a:lnTo>
                    <a:pt x="92723" y="200876"/>
                  </a:lnTo>
                  <a:lnTo>
                    <a:pt x="92723" y="199530"/>
                  </a:lnTo>
                  <a:lnTo>
                    <a:pt x="92723" y="200228"/>
                  </a:lnTo>
                  <a:lnTo>
                    <a:pt x="92774" y="200228"/>
                  </a:lnTo>
                  <a:lnTo>
                    <a:pt x="92774" y="199530"/>
                  </a:lnTo>
                  <a:lnTo>
                    <a:pt x="92774" y="200228"/>
                  </a:lnTo>
                  <a:lnTo>
                    <a:pt x="92825" y="200228"/>
                  </a:lnTo>
                  <a:lnTo>
                    <a:pt x="92825" y="200876"/>
                  </a:lnTo>
                  <a:lnTo>
                    <a:pt x="92825" y="200228"/>
                  </a:lnTo>
                  <a:lnTo>
                    <a:pt x="92825" y="200876"/>
                  </a:lnTo>
                  <a:lnTo>
                    <a:pt x="92825" y="200228"/>
                  </a:lnTo>
                  <a:lnTo>
                    <a:pt x="92926" y="200876"/>
                  </a:lnTo>
                  <a:lnTo>
                    <a:pt x="92926" y="202260"/>
                  </a:lnTo>
                  <a:lnTo>
                    <a:pt x="92977" y="202260"/>
                  </a:lnTo>
                  <a:lnTo>
                    <a:pt x="92977" y="202959"/>
                  </a:lnTo>
                  <a:lnTo>
                    <a:pt x="92977" y="200876"/>
                  </a:lnTo>
                  <a:lnTo>
                    <a:pt x="92977" y="202260"/>
                  </a:lnTo>
                  <a:lnTo>
                    <a:pt x="92977" y="200876"/>
                  </a:lnTo>
                  <a:lnTo>
                    <a:pt x="92977" y="202260"/>
                  </a:lnTo>
                  <a:lnTo>
                    <a:pt x="92977" y="200876"/>
                  </a:lnTo>
                  <a:lnTo>
                    <a:pt x="93028" y="200876"/>
                  </a:lnTo>
                  <a:lnTo>
                    <a:pt x="93028" y="199530"/>
                  </a:lnTo>
                  <a:lnTo>
                    <a:pt x="93079" y="199530"/>
                  </a:lnTo>
                  <a:lnTo>
                    <a:pt x="93079" y="198831"/>
                  </a:lnTo>
                  <a:lnTo>
                    <a:pt x="93079" y="199530"/>
                  </a:lnTo>
                  <a:lnTo>
                    <a:pt x="93168" y="198831"/>
                  </a:lnTo>
                  <a:lnTo>
                    <a:pt x="93168" y="196799"/>
                  </a:lnTo>
                  <a:lnTo>
                    <a:pt x="93168" y="200228"/>
                  </a:lnTo>
                  <a:lnTo>
                    <a:pt x="93218" y="200228"/>
                  </a:lnTo>
                  <a:lnTo>
                    <a:pt x="93218" y="198831"/>
                  </a:lnTo>
                  <a:lnTo>
                    <a:pt x="93218" y="199530"/>
                  </a:lnTo>
                  <a:lnTo>
                    <a:pt x="93218" y="198831"/>
                  </a:lnTo>
                  <a:lnTo>
                    <a:pt x="93218" y="200228"/>
                  </a:lnTo>
                  <a:lnTo>
                    <a:pt x="93218" y="199530"/>
                  </a:lnTo>
                  <a:lnTo>
                    <a:pt x="93218" y="200228"/>
                  </a:lnTo>
                  <a:lnTo>
                    <a:pt x="93218" y="199530"/>
                  </a:lnTo>
                  <a:lnTo>
                    <a:pt x="93269" y="199530"/>
                  </a:lnTo>
                  <a:lnTo>
                    <a:pt x="93269" y="200228"/>
                  </a:lnTo>
                  <a:lnTo>
                    <a:pt x="93269" y="198831"/>
                  </a:lnTo>
                  <a:lnTo>
                    <a:pt x="93269" y="200228"/>
                  </a:lnTo>
                  <a:lnTo>
                    <a:pt x="93269" y="199530"/>
                  </a:lnTo>
                  <a:lnTo>
                    <a:pt x="93320" y="199530"/>
                  </a:lnTo>
                  <a:lnTo>
                    <a:pt x="93320" y="200228"/>
                  </a:lnTo>
                  <a:lnTo>
                    <a:pt x="93320" y="199530"/>
                  </a:lnTo>
                  <a:lnTo>
                    <a:pt x="93320" y="200228"/>
                  </a:lnTo>
                  <a:lnTo>
                    <a:pt x="93422" y="200876"/>
                  </a:lnTo>
                  <a:lnTo>
                    <a:pt x="93422" y="200228"/>
                  </a:lnTo>
                  <a:lnTo>
                    <a:pt x="93422" y="200876"/>
                  </a:lnTo>
                  <a:lnTo>
                    <a:pt x="93422" y="200228"/>
                  </a:lnTo>
                  <a:lnTo>
                    <a:pt x="93422" y="200876"/>
                  </a:lnTo>
                  <a:lnTo>
                    <a:pt x="93422" y="200228"/>
                  </a:lnTo>
                  <a:lnTo>
                    <a:pt x="93422" y="200876"/>
                  </a:lnTo>
                  <a:lnTo>
                    <a:pt x="93422" y="200228"/>
                  </a:lnTo>
                  <a:lnTo>
                    <a:pt x="93422" y="200876"/>
                  </a:lnTo>
                  <a:lnTo>
                    <a:pt x="93473" y="200876"/>
                  </a:lnTo>
                  <a:lnTo>
                    <a:pt x="93473" y="202260"/>
                  </a:lnTo>
                  <a:lnTo>
                    <a:pt x="93473" y="199530"/>
                  </a:lnTo>
                  <a:lnTo>
                    <a:pt x="93523" y="199530"/>
                  </a:lnTo>
                  <a:lnTo>
                    <a:pt x="93523" y="200228"/>
                  </a:lnTo>
                  <a:lnTo>
                    <a:pt x="93523" y="199530"/>
                  </a:lnTo>
                  <a:lnTo>
                    <a:pt x="93523" y="200228"/>
                  </a:lnTo>
                  <a:lnTo>
                    <a:pt x="93523" y="198831"/>
                  </a:lnTo>
                  <a:lnTo>
                    <a:pt x="93625" y="198831"/>
                  </a:lnTo>
                  <a:lnTo>
                    <a:pt x="93625" y="197447"/>
                  </a:lnTo>
                  <a:lnTo>
                    <a:pt x="93625" y="198831"/>
                  </a:lnTo>
                  <a:lnTo>
                    <a:pt x="93625" y="197447"/>
                  </a:lnTo>
                  <a:lnTo>
                    <a:pt x="93625" y="200228"/>
                  </a:lnTo>
                  <a:lnTo>
                    <a:pt x="93625" y="198831"/>
                  </a:lnTo>
                  <a:lnTo>
                    <a:pt x="93663" y="197447"/>
                  </a:lnTo>
                  <a:lnTo>
                    <a:pt x="93663" y="202260"/>
                  </a:lnTo>
                  <a:lnTo>
                    <a:pt x="93663" y="199530"/>
                  </a:lnTo>
                  <a:lnTo>
                    <a:pt x="93714" y="199530"/>
                  </a:lnTo>
                  <a:lnTo>
                    <a:pt x="93714" y="200876"/>
                  </a:lnTo>
                  <a:lnTo>
                    <a:pt x="93714" y="199530"/>
                  </a:lnTo>
                  <a:lnTo>
                    <a:pt x="93765" y="199530"/>
                  </a:lnTo>
                  <a:lnTo>
                    <a:pt x="93765" y="200876"/>
                  </a:lnTo>
                  <a:lnTo>
                    <a:pt x="93765" y="200228"/>
                  </a:lnTo>
                  <a:lnTo>
                    <a:pt x="93866" y="200228"/>
                  </a:lnTo>
                  <a:lnTo>
                    <a:pt x="93866" y="200876"/>
                  </a:lnTo>
                  <a:lnTo>
                    <a:pt x="93866" y="200228"/>
                  </a:lnTo>
                  <a:lnTo>
                    <a:pt x="93866" y="200876"/>
                  </a:lnTo>
                  <a:lnTo>
                    <a:pt x="93866" y="200228"/>
                  </a:lnTo>
                  <a:lnTo>
                    <a:pt x="93866" y="202260"/>
                  </a:lnTo>
                  <a:lnTo>
                    <a:pt x="93866" y="200876"/>
                  </a:lnTo>
                  <a:lnTo>
                    <a:pt x="93917" y="200876"/>
                  </a:lnTo>
                  <a:lnTo>
                    <a:pt x="93917" y="202260"/>
                  </a:lnTo>
                  <a:lnTo>
                    <a:pt x="93917" y="200876"/>
                  </a:lnTo>
                  <a:lnTo>
                    <a:pt x="93917" y="202260"/>
                  </a:lnTo>
                  <a:lnTo>
                    <a:pt x="93968" y="202260"/>
                  </a:lnTo>
                  <a:lnTo>
                    <a:pt x="93968" y="200228"/>
                  </a:lnTo>
                  <a:lnTo>
                    <a:pt x="94069" y="200228"/>
                  </a:lnTo>
                  <a:lnTo>
                    <a:pt x="94069" y="199530"/>
                  </a:lnTo>
                  <a:lnTo>
                    <a:pt x="94069" y="200228"/>
                  </a:lnTo>
                  <a:lnTo>
                    <a:pt x="94069" y="199530"/>
                  </a:lnTo>
                  <a:lnTo>
                    <a:pt x="94069" y="200228"/>
                  </a:lnTo>
                  <a:lnTo>
                    <a:pt x="94069" y="199530"/>
                  </a:lnTo>
                  <a:lnTo>
                    <a:pt x="94120" y="199530"/>
                  </a:lnTo>
                  <a:lnTo>
                    <a:pt x="94120" y="200876"/>
                  </a:lnTo>
                  <a:lnTo>
                    <a:pt x="94120" y="199530"/>
                  </a:lnTo>
                  <a:lnTo>
                    <a:pt x="94120" y="202260"/>
                  </a:lnTo>
                  <a:lnTo>
                    <a:pt x="94171" y="202959"/>
                  </a:lnTo>
                  <a:lnTo>
                    <a:pt x="94171" y="203594"/>
                  </a:lnTo>
                  <a:lnTo>
                    <a:pt x="94171" y="200876"/>
                  </a:lnTo>
                  <a:lnTo>
                    <a:pt x="94171" y="202959"/>
                  </a:lnTo>
                  <a:lnTo>
                    <a:pt x="94209" y="202260"/>
                  </a:lnTo>
                  <a:lnTo>
                    <a:pt x="94209" y="202959"/>
                  </a:lnTo>
                  <a:lnTo>
                    <a:pt x="94209" y="200876"/>
                  </a:lnTo>
                  <a:lnTo>
                    <a:pt x="94209" y="202260"/>
                  </a:lnTo>
                  <a:lnTo>
                    <a:pt x="94311" y="202260"/>
                  </a:lnTo>
                  <a:lnTo>
                    <a:pt x="94311" y="200876"/>
                  </a:lnTo>
                  <a:lnTo>
                    <a:pt x="94311" y="202959"/>
                  </a:lnTo>
                  <a:lnTo>
                    <a:pt x="94311" y="202260"/>
                  </a:lnTo>
                  <a:lnTo>
                    <a:pt x="94361" y="202959"/>
                  </a:lnTo>
                  <a:lnTo>
                    <a:pt x="94361" y="200876"/>
                  </a:lnTo>
                  <a:lnTo>
                    <a:pt x="94361" y="202260"/>
                  </a:lnTo>
                  <a:lnTo>
                    <a:pt x="94412" y="202260"/>
                  </a:lnTo>
                  <a:lnTo>
                    <a:pt x="94412" y="200228"/>
                  </a:lnTo>
                  <a:lnTo>
                    <a:pt x="94412" y="200876"/>
                  </a:lnTo>
                  <a:lnTo>
                    <a:pt x="94514" y="200876"/>
                  </a:lnTo>
                  <a:lnTo>
                    <a:pt x="94514" y="199530"/>
                  </a:lnTo>
                  <a:lnTo>
                    <a:pt x="94565" y="199530"/>
                  </a:lnTo>
                  <a:lnTo>
                    <a:pt x="94565" y="197447"/>
                  </a:lnTo>
                  <a:lnTo>
                    <a:pt x="94565" y="199530"/>
                  </a:lnTo>
                  <a:lnTo>
                    <a:pt x="94616" y="199530"/>
                  </a:lnTo>
                  <a:lnTo>
                    <a:pt x="94616" y="200228"/>
                  </a:lnTo>
                  <a:lnTo>
                    <a:pt x="94616" y="198831"/>
                  </a:lnTo>
                  <a:lnTo>
                    <a:pt x="94616" y="202959"/>
                  </a:lnTo>
                  <a:lnTo>
                    <a:pt x="94616" y="202260"/>
                  </a:lnTo>
                  <a:lnTo>
                    <a:pt x="94666" y="202260"/>
                  </a:lnTo>
                  <a:lnTo>
                    <a:pt x="94666" y="199530"/>
                  </a:lnTo>
                  <a:lnTo>
                    <a:pt x="94666" y="202260"/>
                  </a:lnTo>
                  <a:lnTo>
                    <a:pt x="94755" y="202260"/>
                  </a:lnTo>
                  <a:lnTo>
                    <a:pt x="94755" y="200228"/>
                  </a:lnTo>
                  <a:lnTo>
                    <a:pt x="94755" y="202260"/>
                  </a:lnTo>
                  <a:lnTo>
                    <a:pt x="94806" y="200876"/>
                  </a:lnTo>
                  <a:lnTo>
                    <a:pt x="94806" y="200228"/>
                  </a:lnTo>
                  <a:lnTo>
                    <a:pt x="94806" y="202260"/>
                  </a:lnTo>
                  <a:lnTo>
                    <a:pt x="94806" y="200876"/>
                  </a:lnTo>
                  <a:lnTo>
                    <a:pt x="94806" y="202260"/>
                  </a:lnTo>
                  <a:lnTo>
                    <a:pt x="94806" y="200876"/>
                  </a:lnTo>
                  <a:lnTo>
                    <a:pt x="94806" y="202260"/>
                  </a:lnTo>
                  <a:lnTo>
                    <a:pt x="94857" y="202260"/>
                  </a:lnTo>
                  <a:lnTo>
                    <a:pt x="94857" y="202959"/>
                  </a:lnTo>
                  <a:lnTo>
                    <a:pt x="94857" y="202260"/>
                  </a:lnTo>
                  <a:lnTo>
                    <a:pt x="94908" y="202260"/>
                  </a:lnTo>
                  <a:lnTo>
                    <a:pt x="94908" y="200228"/>
                  </a:lnTo>
                  <a:lnTo>
                    <a:pt x="95009" y="200228"/>
                  </a:lnTo>
                  <a:lnTo>
                    <a:pt x="95009" y="200876"/>
                  </a:lnTo>
                  <a:lnTo>
                    <a:pt x="95009" y="199530"/>
                  </a:lnTo>
                  <a:lnTo>
                    <a:pt x="95009" y="200228"/>
                  </a:lnTo>
                  <a:lnTo>
                    <a:pt x="95009" y="199530"/>
                  </a:lnTo>
                  <a:lnTo>
                    <a:pt x="95009" y="200228"/>
                  </a:lnTo>
                  <a:lnTo>
                    <a:pt x="95009" y="199530"/>
                  </a:lnTo>
                  <a:lnTo>
                    <a:pt x="95009" y="200228"/>
                  </a:lnTo>
                  <a:lnTo>
                    <a:pt x="95009" y="198831"/>
                  </a:lnTo>
                  <a:lnTo>
                    <a:pt x="95060" y="199530"/>
                  </a:lnTo>
                  <a:lnTo>
                    <a:pt x="95060" y="197447"/>
                  </a:lnTo>
                  <a:lnTo>
                    <a:pt x="95060" y="200228"/>
                  </a:lnTo>
                  <a:lnTo>
                    <a:pt x="95060" y="199530"/>
                  </a:lnTo>
                  <a:lnTo>
                    <a:pt x="95060" y="200228"/>
                  </a:lnTo>
                  <a:lnTo>
                    <a:pt x="95111" y="199530"/>
                  </a:lnTo>
                  <a:lnTo>
                    <a:pt x="95111" y="198831"/>
                  </a:lnTo>
                  <a:lnTo>
                    <a:pt x="95111" y="202260"/>
                  </a:lnTo>
                  <a:lnTo>
                    <a:pt x="95111" y="200228"/>
                  </a:lnTo>
                  <a:lnTo>
                    <a:pt x="95212" y="200228"/>
                  </a:lnTo>
                  <a:lnTo>
                    <a:pt x="95212" y="199530"/>
                  </a:lnTo>
                  <a:lnTo>
                    <a:pt x="95212" y="200228"/>
                  </a:lnTo>
                  <a:lnTo>
                    <a:pt x="95212" y="199530"/>
                  </a:lnTo>
                  <a:lnTo>
                    <a:pt x="95212" y="200876"/>
                  </a:lnTo>
                  <a:lnTo>
                    <a:pt x="95212" y="200228"/>
                  </a:lnTo>
                  <a:lnTo>
                    <a:pt x="95250" y="200228"/>
                  </a:lnTo>
                  <a:lnTo>
                    <a:pt x="95250" y="200876"/>
                  </a:lnTo>
                  <a:lnTo>
                    <a:pt x="95250" y="200228"/>
                  </a:lnTo>
                  <a:lnTo>
                    <a:pt x="95301" y="200228"/>
                  </a:lnTo>
                  <a:lnTo>
                    <a:pt x="95301" y="202260"/>
                  </a:lnTo>
                  <a:lnTo>
                    <a:pt x="95301" y="200876"/>
                  </a:lnTo>
                  <a:lnTo>
                    <a:pt x="95301" y="202260"/>
                  </a:lnTo>
                  <a:lnTo>
                    <a:pt x="95352" y="202260"/>
                  </a:lnTo>
                  <a:lnTo>
                    <a:pt x="95352" y="200876"/>
                  </a:lnTo>
                  <a:lnTo>
                    <a:pt x="95352" y="202260"/>
                  </a:lnTo>
                  <a:lnTo>
                    <a:pt x="95454" y="200876"/>
                  </a:lnTo>
                  <a:lnTo>
                    <a:pt x="95454" y="200228"/>
                  </a:lnTo>
                  <a:lnTo>
                    <a:pt x="95454" y="200876"/>
                  </a:lnTo>
                  <a:lnTo>
                    <a:pt x="95505" y="200228"/>
                  </a:lnTo>
                  <a:lnTo>
                    <a:pt x="95505" y="199530"/>
                  </a:lnTo>
                  <a:lnTo>
                    <a:pt x="95505" y="200228"/>
                  </a:lnTo>
                  <a:lnTo>
                    <a:pt x="95505" y="198831"/>
                  </a:lnTo>
                  <a:lnTo>
                    <a:pt x="95505" y="199530"/>
                  </a:lnTo>
                  <a:lnTo>
                    <a:pt x="95505" y="198831"/>
                  </a:lnTo>
                  <a:lnTo>
                    <a:pt x="95555" y="198831"/>
                  </a:lnTo>
                  <a:lnTo>
                    <a:pt x="95555" y="196799"/>
                  </a:lnTo>
                  <a:lnTo>
                    <a:pt x="95555" y="199530"/>
                  </a:lnTo>
                  <a:lnTo>
                    <a:pt x="95657" y="199530"/>
                  </a:lnTo>
                  <a:lnTo>
                    <a:pt x="95657" y="196113"/>
                  </a:lnTo>
                  <a:lnTo>
                    <a:pt x="95657" y="199530"/>
                  </a:lnTo>
                  <a:lnTo>
                    <a:pt x="95708" y="199530"/>
                  </a:lnTo>
                  <a:lnTo>
                    <a:pt x="95708" y="197447"/>
                  </a:lnTo>
                  <a:lnTo>
                    <a:pt x="95708" y="200228"/>
                  </a:lnTo>
                  <a:lnTo>
                    <a:pt x="95708" y="199530"/>
                  </a:lnTo>
                  <a:lnTo>
                    <a:pt x="95759" y="199530"/>
                  </a:lnTo>
                  <a:lnTo>
                    <a:pt x="95759" y="200228"/>
                  </a:lnTo>
                  <a:lnTo>
                    <a:pt x="95759" y="199530"/>
                  </a:lnTo>
                  <a:lnTo>
                    <a:pt x="95759" y="200228"/>
                  </a:lnTo>
                  <a:lnTo>
                    <a:pt x="95797" y="200228"/>
                  </a:lnTo>
                  <a:lnTo>
                    <a:pt x="95797" y="200876"/>
                  </a:lnTo>
                  <a:lnTo>
                    <a:pt x="95898" y="200876"/>
                  </a:lnTo>
                  <a:lnTo>
                    <a:pt x="95898" y="202260"/>
                  </a:lnTo>
                  <a:lnTo>
                    <a:pt x="95898" y="200876"/>
                  </a:lnTo>
                  <a:lnTo>
                    <a:pt x="95898" y="202260"/>
                  </a:lnTo>
                  <a:lnTo>
                    <a:pt x="95898" y="200876"/>
                  </a:lnTo>
                  <a:lnTo>
                    <a:pt x="95949" y="200876"/>
                  </a:lnTo>
                  <a:lnTo>
                    <a:pt x="95949" y="202260"/>
                  </a:lnTo>
                  <a:lnTo>
                    <a:pt x="95949" y="200876"/>
                  </a:lnTo>
                  <a:lnTo>
                    <a:pt x="95949" y="202260"/>
                  </a:lnTo>
                  <a:lnTo>
                    <a:pt x="95949" y="200228"/>
                  </a:lnTo>
                  <a:lnTo>
                    <a:pt x="96000" y="200228"/>
                  </a:lnTo>
                  <a:lnTo>
                    <a:pt x="96000" y="200876"/>
                  </a:lnTo>
                  <a:lnTo>
                    <a:pt x="96000" y="198831"/>
                  </a:lnTo>
                  <a:lnTo>
                    <a:pt x="96101" y="198831"/>
                  </a:lnTo>
                  <a:lnTo>
                    <a:pt x="96101" y="199530"/>
                  </a:lnTo>
                  <a:lnTo>
                    <a:pt x="96101" y="197447"/>
                  </a:lnTo>
                  <a:lnTo>
                    <a:pt x="96152" y="197447"/>
                  </a:lnTo>
                  <a:lnTo>
                    <a:pt x="96152" y="200228"/>
                  </a:lnTo>
                  <a:lnTo>
                    <a:pt x="96152" y="198831"/>
                  </a:lnTo>
                  <a:lnTo>
                    <a:pt x="96203" y="198831"/>
                  </a:lnTo>
                  <a:lnTo>
                    <a:pt x="96203" y="200228"/>
                  </a:lnTo>
                  <a:lnTo>
                    <a:pt x="96203" y="198831"/>
                  </a:lnTo>
                  <a:lnTo>
                    <a:pt x="96254" y="198831"/>
                  </a:lnTo>
                  <a:lnTo>
                    <a:pt x="96254" y="199530"/>
                  </a:lnTo>
                  <a:lnTo>
                    <a:pt x="96343" y="199530"/>
                  </a:lnTo>
                  <a:lnTo>
                    <a:pt x="96343" y="200876"/>
                  </a:lnTo>
                  <a:lnTo>
                    <a:pt x="96343" y="200228"/>
                  </a:lnTo>
                  <a:lnTo>
                    <a:pt x="96444" y="200228"/>
                  </a:lnTo>
                  <a:lnTo>
                    <a:pt x="96444" y="200876"/>
                  </a:lnTo>
                  <a:lnTo>
                    <a:pt x="96444" y="200228"/>
                  </a:lnTo>
                  <a:lnTo>
                    <a:pt x="96444" y="200876"/>
                  </a:lnTo>
                  <a:lnTo>
                    <a:pt x="96444" y="199530"/>
                  </a:lnTo>
                  <a:lnTo>
                    <a:pt x="96444" y="200228"/>
                  </a:lnTo>
                  <a:lnTo>
                    <a:pt x="96444" y="199530"/>
                  </a:lnTo>
                  <a:lnTo>
                    <a:pt x="96444" y="200228"/>
                  </a:lnTo>
                  <a:lnTo>
                    <a:pt x="96495" y="200228"/>
                  </a:lnTo>
                  <a:lnTo>
                    <a:pt x="96495" y="198831"/>
                  </a:lnTo>
                  <a:lnTo>
                    <a:pt x="96495" y="200228"/>
                  </a:lnTo>
                  <a:lnTo>
                    <a:pt x="96597" y="200228"/>
                  </a:lnTo>
                  <a:lnTo>
                    <a:pt x="96597" y="200876"/>
                  </a:lnTo>
                  <a:lnTo>
                    <a:pt x="96597" y="199530"/>
                  </a:lnTo>
                  <a:lnTo>
                    <a:pt x="96597" y="202959"/>
                  </a:lnTo>
                  <a:lnTo>
                    <a:pt x="96648" y="202959"/>
                  </a:lnTo>
                  <a:lnTo>
                    <a:pt x="96648" y="200228"/>
                  </a:lnTo>
                  <a:lnTo>
                    <a:pt x="96648" y="202959"/>
                  </a:lnTo>
                  <a:lnTo>
                    <a:pt x="96698" y="202260"/>
                  </a:lnTo>
                  <a:lnTo>
                    <a:pt x="96698" y="200876"/>
                  </a:lnTo>
                  <a:lnTo>
                    <a:pt x="96698" y="202959"/>
                  </a:lnTo>
                  <a:lnTo>
                    <a:pt x="96698" y="202260"/>
                  </a:lnTo>
                  <a:lnTo>
                    <a:pt x="96800" y="202260"/>
                  </a:lnTo>
                  <a:lnTo>
                    <a:pt x="96800" y="200876"/>
                  </a:lnTo>
                  <a:lnTo>
                    <a:pt x="96800" y="202260"/>
                  </a:lnTo>
                  <a:lnTo>
                    <a:pt x="96800" y="200876"/>
                  </a:lnTo>
                  <a:lnTo>
                    <a:pt x="96800" y="202959"/>
                  </a:lnTo>
                  <a:lnTo>
                    <a:pt x="96800" y="202260"/>
                  </a:lnTo>
                  <a:lnTo>
                    <a:pt x="96800" y="202959"/>
                  </a:lnTo>
                  <a:lnTo>
                    <a:pt x="96800" y="202260"/>
                  </a:lnTo>
                  <a:lnTo>
                    <a:pt x="96838" y="200876"/>
                  </a:lnTo>
                  <a:lnTo>
                    <a:pt x="96838" y="202260"/>
                  </a:lnTo>
                  <a:lnTo>
                    <a:pt x="96838" y="200876"/>
                  </a:lnTo>
                  <a:lnTo>
                    <a:pt x="96838" y="202260"/>
                  </a:lnTo>
                  <a:lnTo>
                    <a:pt x="96838" y="200228"/>
                  </a:lnTo>
                  <a:lnTo>
                    <a:pt x="96838" y="200876"/>
                  </a:lnTo>
                  <a:lnTo>
                    <a:pt x="96889" y="200876"/>
                  </a:lnTo>
                  <a:lnTo>
                    <a:pt x="96889" y="200228"/>
                  </a:lnTo>
                  <a:lnTo>
                    <a:pt x="96889" y="200876"/>
                  </a:lnTo>
                  <a:lnTo>
                    <a:pt x="96889" y="200228"/>
                  </a:lnTo>
                  <a:lnTo>
                    <a:pt x="96940" y="200228"/>
                  </a:lnTo>
                  <a:lnTo>
                    <a:pt x="96940" y="200876"/>
                  </a:lnTo>
                  <a:lnTo>
                    <a:pt x="96940" y="199530"/>
                  </a:lnTo>
                  <a:lnTo>
                    <a:pt x="97041" y="199530"/>
                  </a:lnTo>
                  <a:lnTo>
                    <a:pt x="97041" y="198831"/>
                  </a:lnTo>
                  <a:lnTo>
                    <a:pt x="97041" y="199530"/>
                  </a:lnTo>
                  <a:lnTo>
                    <a:pt x="97041" y="197447"/>
                  </a:lnTo>
                  <a:lnTo>
                    <a:pt x="97041" y="200228"/>
                  </a:lnTo>
                  <a:lnTo>
                    <a:pt x="97092" y="200228"/>
                  </a:lnTo>
                  <a:lnTo>
                    <a:pt x="97092" y="198831"/>
                  </a:lnTo>
                  <a:lnTo>
                    <a:pt x="97092" y="202260"/>
                  </a:lnTo>
                  <a:lnTo>
                    <a:pt x="97092" y="200876"/>
                  </a:lnTo>
                  <a:lnTo>
                    <a:pt x="97143" y="200876"/>
                  </a:lnTo>
                  <a:lnTo>
                    <a:pt x="97143" y="199530"/>
                  </a:lnTo>
                  <a:lnTo>
                    <a:pt x="97143" y="202260"/>
                  </a:lnTo>
                  <a:lnTo>
                    <a:pt x="97143" y="200876"/>
                  </a:lnTo>
                  <a:lnTo>
                    <a:pt x="97143" y="202260"/>
                  </a:lnTo>
                  <a:lnTo>
                    <a:pt x="97244" y="200876"/>
                  </a:lnTo>
                  <a:lnTo>
                    <a:pt x="97244" y="202260"/>
                  </a:lnTo>
                  <a:lnTo>
                    <a:pt x="97244" y="200876"/>
                  </a:lnTo>
                  <a:lnTo>
                    <a:pt x="97244" y="202260"/>
                  </a:lnTo>
                  <a:lnTo>
                    <a:pt x="97295" y="202260"/>
                  </a:lnTo>
                  <a:lnTo>
                    <a:pt x="97295" y="200876"/>
                  </a:lnTo>
                  <a:lnTo>
                    <a:pt x="97295" y="202260"/>
                  </a:lnTo>
                  <a:lnTo>
                    <a:pt x="97295" y="200876"/>
                  </a:lnTo>
                  <a:lnTo>
                    <a:pt x="97295" y="202260"/>
                  </a:lnTo>
                  <a:lnTo>
                    <a:pt x="97346" y="202260"/>
                  </a:lnTo>
                  <a:lnTo>
                    <a:pt x="97346" y="200228"/>
                  </a:lnTo>
                  <a:lnTo>
                    <a:pt x="97384" y="200228"/>
                  </a:lnTo>
                  <a:lnTo>
                    <a:pt x="97384" y="200876"/>
                  </a:lnTo>
                  <a:lnTo>
                    <a:pt x="97384" y="199530"/>
                  </a:lnTo>
                  <a:lnTo>
                    <a:pt x="97384" y="200228"/>
                  </a:lnTo>
                  <a:lnTo>
                    <a:pt x="97486" y="199530"/>
                  </a:lnTo>
                  <a:lnTo>
                    <a:pt x="97486" y="200228"/>
                  </a:lnTo>
                  <a:lnTo>
                    <a:pt x="97486" y="199530"/>
                  </a:lnTo>
                  <a:lnTo>
                    <a:pt x="97486" y="200228"/>
                  </a:lnTo>
                  <a:lnTo>
                    <a:pt x="97486" y="198831"/>
                  </a:lnTo>
                  <a:lnTo>
                    <a:pt x="97486" y="199530"/>
                  </a:lnTo>
                  <a:lnTo>
                    <a:pt x="97486" y="198831"/>
                  </a:lnTo>
                  <a:lnTo>
                    <a:pt x="97536" y="198831"/>
                  </a:lnTo>
                  <a:lnTo>
                    <a:pt x="97536" y="196799"/>
                  </a:lnTo>
                  <a:lnTo>
                    <a:pt x="97536" y="199530"/>
                  </a:lnTo>
                  <a:lnTo>
                    <a:pt x="97536" y="197447"/>
                  </a:lnTo>
                  <a:lnTo>
                    <a:pt x="97587" y="197447"/>
                  </a:lnTo>
                  <a:lnTo>
                    <a:pt x="97587" y="196799"/>
                  </a:lnTo>
                  <a:lnTo>
                    <a:pt x="97587" y="197447"/>
                  </a:lnTo>
                  <a:lnTo>
                    <a:pt x="97587" y="196799"/>
                  </a:lnTo>
                  <a:lnTo>
                    <a:pt x="97587" y="200228"/>
                  </a:lnTo>
                  <a:lnTo>
                    <a:pt x="97587" y="199530"/>
                  </a:lnTo>
                  <a:lnTo>
                    <a:pt x="97689" y="199530"/>
                  </a:lnTo>
                  <a:lnTo>
                    <a:pt x="97689" y="198831"/>
                  </a:lnTo>
                  <a:lnTo>
                    <a:pt x="97689" y="200876"/>
                  </a:lnTo>
                  <a:lnTo>
                    <a:pt x="97689" y="199530"/>
                  </a:lnTo>
                  <a:lnTo>
                    <a:pt x="97740" y="200228"/>
                  </a:lnTo>
                  <a:lnTo>
                    <a:pt x="97740" y="202260"/>
                  </a:lnTo>
                  <a:lnTo>
                    <a:pt x="97740" y="200228"/>
                  </a:lnTo>
                  <a:lnTo>
                    <a:pt x="97740" y="200876"/>
                  </a:lnTo>
                  <a:lnTo>
                    <a:pt x="97791" y="200876"/>
                  </a:lnTo>
                  <a:lnTo>
                    <a:pt x="97791" y="202260"/>
                  </a:lnTo>
                  <a:lnTo>
                    <a:pt x="97791" y="200876"/>
                  </a:lnTo>
                  <a:lnTo>
                    <a:pt x="97791" y="202260"/>
                  </a:lnTo>
                  <a:lnTo>
                    <a:pt x="97841" y="202260"/>
                  </a:lnTo>
                  <a:lnTo>
                    <a:pt x="97841" y="200876"/>
                  </a:lnTo>
                  <a:lnTo>
                    <a:pt x="97841" y="202260"/>
                  </a:lnTo>
                  <a:lnTo>
                    <a:pt x="97841" y="200876"/>
                  </a:lnTo>
                  <a:lnTo>
                    <a:pt x="97930" y="202260"/>
                  </a:lnTo>
                  <a:lnTo>
                    <a:pt x="97930" y="200228"/>
                  </a:lnTo>
                  <a:lnTo>
                    <a:pt x="97930" y="200876"/>
                  </a:lnTo>
                  <a:lnTo>
                    <a:pt x="97930" y="200228"/>
                  </a:lnTo>
                  <a:lnTo>
                    <a:pt x="97981" y="200228"/>
                  </a:lnTo>
                  <a:lnTo>
                    <a:pt x="97981" y="198831"/>
                  </a:lnTo>
                  <a:lnTo>
                    <a:pt x="98032" y="198831"/>
                  </a:lnTo>
                  <a:lnTo>
                    <a:pt x="98032" y="197447"/>
                  </a:lnTo>
                  <a:lnTo>
                    <a:pt x="98032" y="199530"/>
                  </a:lnTo>
                  <a:lnTo>
                    <a:pt x="98032" y="197447"/>
                  </a:lnTo>
                  <a:lnTo>
                    <a:pt x="98083" y="198831"/>
                  </a:lnTo>
                  <a:lnTo>
                    <a:pt x="98083" y="200228"/>
                  </a:lnTo>
                  <a:lnTo>
                    <a:pt x="98083" y="199530"/>
                  </a:lnTo>
                  <a:lnTo>
                    <a:pt x="98184" y="200228"/>
                  </a:lnTo>
                  <a:lnTo>
                    <a:pt x="98184" y="199530"/>
                  </a:lnTo>
                  <a:lnTo>
                    <a:pt x="98184" y="200228"/>
                  </a:lnTo>
                  <a:lnTo>
                    <a:pt x="98184" y="199530"/>
                  </a:lnTo>
                  <a:lnTo>
                    <a:pt x="98184" y="200228"/>
                  </a:lnTo>
                  <a:lnTo>
                    <a:pt x="98235" y="200228"/>
                  </a:lnTo>
                  <a:lnTo>
                    <a:pt x="98235" y="200876"/>
                  </a:lnTo>
                  <a:lnTo>
                    <a:pt x="98286" y="200876"/>
                  </a:lnTo>
                  <a:lnTo>
                    <a:pt x="98286" y="200228"/>
                  </a:lnTo>
                  <a:lnTo>
                    <a:pt x="98286" y="200876"/>
                  </a:lnTo>
                  <a:lnTo>
                    <a:pt x="98286" y="200228"/>
                  </a:lnTo>
                  <a:lnTo>
                    <a:pt x="98286" y="200876"/>
                  </a:lnTo>
                  <a:lnTo>
                    <a:pt x="98286" y="200228"/>
                  </a:lnTo>
                  <a:lnTo>
                    <a:pt x="98286" y="202260"/>
                  </a:lnTo>
                  <a:lnTo>
                    <a:pt x="98286" y="200876"/>
                  </a:lnTo>
                  <a:lnTo>
                    <a:pt x="98387" y="200876"/>
                  </a:lnTo>
                  <a:lnTo>
                    <a:pt x="98387" y="202260"/>
                  </a:lnTo>
                  <a:lnTo>
                    <a:pt x="98387" y="200228"/>
                  </a:lnTo>
                  <a:lnTo>
                    <a:pt x="98387" y="200876"/>
                  </a:lnTo>
                  <a:lnTo>
                    <a:pt x="98425" y="200876"/>
                  </a:lnTo>
                  <a:lnTo>
                    <a:pt x="98425" y="200228"/>
                  </a:lnTo>
                  <a:lnTo>
                    <a:pt x="98425" y="200876"/>
                  </a:lnTo>
                  <a:lnTo>
                    <a:pt x="98425" y="200228"/>
                  </a:lnTo>
                  <a:lnTo>
                    <a:pt x="98476" y="200228"/>
                  </a:lnTo>
                  <a:lnTo>
                    <a:pt x="98476" y="197447"/>
                  </a:lnTo>
                  <a:lnTo>
                    <a:pt x="98527" y="196799"/>
                  </a:lnTo>
                  <a:lnTo>
                    <a:pt x="98527" y="197447"/>
                  </a:lnTo>
                  <a:lnTo>
                    <a:pt x="98527" y="196799"/>
                  </a:lnTo>
                  <a:lnTo>
                    <a:pt x="98629" y="196799"/>
                  </a:lnTo>
                  <a:lnTo>
                    <a:pt x="98629" y="199530"/>
                  </a:lnTo>
                  <a:lnTo>
                    <a:pt x="98629" y="197447"/>
                  </a:lnTo>
                  <a:lnTo>
                    <a:pt x="98680" y="197447"/>
                  </a:lnTo>
                  <a:lnTo>
                    <a:pt x="98680" y="199530"/>
                  </a:lnTo>
                  <a:lnTo>
                    <a:pt x="98730" y="199530"/>
                  </a:lnTo>
                  <a:lnTo>
                    <a:pt x="98730" y="200228"/>
                  </a:lnTo>
                  <a:lnTo>
                    <a:pt x="98730" y="199530"/>
                  </a:lnTo>
                  <a:lnTo>
                    <a:pt x="98730" y="200228"/>
                  </a:lnTo>
                  <a:lnTo>
                    <a:pt x="98730" y="199530"/>
                  </a:lnTo>
                  <a:lnTo>
                    <a:pt x="98832" y="200228"/>
                  </a:lnTo>
                  <a:lnTo>
                    <a:pt x="98832" y="200876"/>
                  </a:lnTo>
                  <a:lnTo>
                    <a:pt x="98832" y="200228"/>
                  </a:lnTo>
                  <a:lnTo>
                    <a:pt x="98883" y="200876"/>
                  </a:lnTo>
                  <a:lnTo>
                    <a:pt x="98883" y="200228"/>
                  </a:lnTo>
                  <a:lnTo>
                    <a:pt x="98883" y="200876"/>
                  </a:lnTo>
                  <a:lnTo>
                    <a:pt x="98883" y="200228"/>
                  </a:lnTo>
                  <a:lnTo>
                    <a:pt x="98883" y="200876"/>
                  </a:lnTo>
                  <a:lnTo>
                    <a:pt x="98883" y="200228"/>
                  </a:lnTo>
                  <a:lnTo>
                    <a:pt x="98883" y="200876"/>
                  </a:lnTo>
                  <a:lnTo>
                    <a:pt x="98883" y="200228"/>
                  </a:lnTo>
                  <a:lnTo>
                    <a:pt x="98883" y="200876"/>
                  </a:lnTo>
                  <a:lnTo>
                    <a:pt x="98934" y="200876"/>
                  </a:lnTo>
                  <a:lnTo>
                    <a:pt x="98934" y="200228"/>
                  </a:lnTo>
                  <a:lnTo>
                    <a:pt x="98934" y="200876"/>
                  </a:lnTo>
                  <a:lnTo>
                    <a:pt x="98934" y="200228"/>
                  </a:lnTo>
                  <a:lnTo>
                    <a:pt x="98934" y="200876"/>
                  </a:lnTo>
                  <a:lnTo>
                    <a:pt x="98934" y="200228"/>
                  </a:lnTo>
                  <a:lnTo>
                    <a:pt x="98934" y="200876"/>
                  </a:lnTo>
                  <a:lnTo>
                    <a:pt x="98934" y="199530"/>
                  </a:lnTo>
                  <a:lnTo>
                    <a:pt x="98934" y="200228"/>
                  </a:lnTo>
                  <a:lnTo>
                    <a:pt x="98934" y="199530"/>
                  </a:lnTo>
                  <a:lnTo>
                    <a:pt x="98972" y="199530"/>
                  </a:lnTo>
                  <a:lnTo>
                    <a:pt x="98972" y="196799"/>
                  </a:lnTo>
                  <a:lnTo>
                    <a:pt x="99073" y="196799"/>
                  </a:lnTo>
                  <a:lnTo>
                    <a:pt x="99073" y="197447"/>
                  </a:lnTo>
                  <a:lnTo>
                    <a:pt x="99073" y="196799"/>
                  </a:lnTo>
                  <a:lnTo>
                    <a:pt x="99073" y="197447"/>
                  </a:lnTo>
                  <a:lnTo>
                    <a:pt x="99073" y="196799"/>
                  </a:lnTo>
                  <a:lnTo>
                    <a:pt x="99124" y="196799"/>
                  </a:lnTo>
                  <a:lnTo>
                    <a:pt x="99124" y="198831"/>
                  </a:lnTo>
                  <a:lnTo>
                    <a:pt x="99124" y="197447"/>
                  </a:lnTo>
                  <a:lnTo>
                    <a:pt x="99124" y="198831"/>
                  </a:lnTo>
                  <a:lnTo>
                    <a:pt x="99175" y="198831"/>
                  </a:lnTo>
                  <a:lnTo>
                    <a:pt x="99175" y="199530"/>
                  </a:lnTo>
                  <a:lnTo>
                    <a:pt x="99175" y="197447"/>
                  </a:lnTo>
                  <a:lnTo>
                    <a:pt x="99175" y="198831"/>
                  </a:lnTo>
                  <a:lnTo>
                    <a:pt x="99276" y="198831"/>
                  </a:lnTo>
                  <a:lnTo>
                    <a:pt x="99276" y="199530"/>
                  </a:lnTo>
                  <a:lnTo>
                    <a:pt x="99276" y="198831"/>
                  </a:lnTo>
                  <a:lnTo>
                    <a:pt x="99276" y="199530"/>
                  </a:lnTo>
                  <a:lnTo>
                    <a:pt x="99276" y="198831"/>
                  </a:lnTo>
                  <a:lnTo>
                    <a:pt x="99327" y="198831"/>
                  </a:lnTo>
                  <a:lnTo>
                    <a:pt x="99327" y="199530"/>
                  </a:lnTo>
                  <a:lnTo>
                    <a:pt x="99327" y="198831"/>
                  </a:lnTo>
                  <a:lnTo>
                    <a:pt x="99327" y="199530"/>
                  </a:lnTo>
                  <a:lnTo>
                    <a:pt x="99378" y="199530"/>
                  </a:lnTo>
                  <a:lnTo>
                    <a:pt x="99378" y="200228"/>
                  </a:lnTo>
                  <a:lnTo>
                    <a:pt x="99378" y="199530"/>
                  </a:lnTo>
                  <a:lnTo>
                    <a:pt x="99378" y="200228"/>
                  </a:lnTo>
                  <a:lnTo>
                    <a:pt x="99378" y="199530"/>
                  </a:lnTo>
                  <a:lnTo>
                    <a:pt x="99378" y="200228"/>
                  </a:lnTo>
                  <a:lnTo>
                    <a:pt x="99378" y="199530"/>
                  </a:lnTo>
                  <a:lnTo>
                    <a:pt x="99378" y="200228"/>
                  </a:lnTo>
                  <a:lnTo>
                    <a:pt x="99429" y="200228"/>
                  </a:lnTo>
                  <a:lnTo>
                    <a:pt x="99429" y="199530"/>
                  </a:lnTo>
                  <a:lnTo>
                    <a:pt x="99429" y="200228"/>
                  </a:lnTo>
                  <a:lnTo>
                    <a:pt x="99429" y="199530"/>
                  </a:lnTo>
                  <a:lnTo>
                    <a:pt x="99518" y="199530"/>
                  </a:lnTo>
                  <a:lnTo>
                    <a:pt x="99518" y="198831"/>
                  </a:lnTo>
                  <a:lnTo>
                    <a:pt x="99518" y="199530"/>
                  </a:lnTo>
                  <a:lnTo>
                    <a:pt x="99518" y="196799"/>
                  </a:lnTo>
                  <a:lnTo>
                    <a:pt x="99518" y="197447"/>
                  </a:lnTo>
                  <a:lnTo>
                    <a:pt x="99568" y="197447"/>
                  </a:lnTo>
                  <a:lnTo>
                    <a:pt x="99568" y="196799"/>
                  </a:lnTo>
                  <a:lnTo>
                    <a:pt x="99568" y="198831"/>
                  </a:lnTo>
                  <a:lnTo>
                    <a:pt x="99619" y="198831"/>
                  </a:lnTo>
                  <a:lnTo>
                    <a:pt x="99619" y="199530"/>
                  </a:lnTo>
                  <a:lnTo>
                    <a:pt x="99619" y="197447"/>
                  </a:lnTo>
                  <a:lnTo>
                    <a:pt x="99619" y="199530"/>
                  </a:lnTo>
                  <a:lnTo>
                    <a:pt x="99670" y="199530"/>
                  </a:lnTo>
                  <a:lnTo>
                    <a:pt x="99670" y="200228"/>
                  </a:lnTo>
                  <a:lnTo>
                    <a:pt x="99670" y="199530"/>
                  </a:lnTo>
                  <a:lnTo>
                    <a:pt x="99670" y="200228"/>
                  </a:lnTo>
                  <a:lnTo>
                    <a:pt x="99670" y="199530"/>
                  </a:lnTo>
                  <a:lnTo>
                    <a:pt x="99670" y="200228"/>
                  </a:lnTo>
                  <a:lnTo>
                    <a:pt x="99772" y="200228"/>
                  </a:lnTo>
                  <a:lnTo>
                    <a:pt x="99772" y="199530"/>
                  </a:lnTo>
                  <a:lnTo>
                    <a:pt x="99772" y="200228"/>
                  </a:lnTo>
                  <a:lnTo>
                    <a:pt x="99772" y="199530"/>
                  </a:lnTo>
                  <a:lnTo>
                    <a:pt x="99823" y="199530"/>
                  </a:lnTo>
                  <a:lnTo>
                    <a:pt x="99823" y="200228"/>
                  </a:lnTo>
                  <a:lnTo>
                    <a:pt x="99823" y="199530"/>
                  </a:lnTo>
                  <a:lnTo>
                    <a:pt x="99823" y="200228"/>
                  </a:lnTo>
                  <a:lnTo>
                    <a:pt x="99873" y="200228"/>
                  </a:lnTo>
                  <a:lnTo>
                    <a:pt x="99873" y="200876"/>
                  </a:lnTo>
                  <a:lnTo>
                    <a:pt x="99873" y="200228"/>
                  </a:lnTo>
                  <a:lnTo>
                    <a:pt x="99975" y="200228"/>
                  </a:lnTo>
                  <a:lnTo>
                    <a:pt x="99975" y="199530"/>
                  </a:lnTo>
                  <a:lnTo>
                    <a:pt x="100013" y="199530"/>
                  </a:lnTo>
                  <a:lnTo>
                    <a:pt x="100013" y="197447"/>
                  </a:lnTo>
                  <a:lnTo>
                    <a:pt x="100013" y="199530"/>
                  </a:lnTo>
                  <a:lnTo>
                    <a:pt x="100064" y="200228"/>
                  </a:lnTo>
                  <a:lnTo>
                    <a:pt x="100064" y="198831"/>
                  </a:lnTo>
                  <a:lnTo>
                    <a:pt x="100064" y="202260"/>
                  </a:lnTo>
                  <a:lnTo>
                    <a:pt x="100064" y="200876"/>
                  </a:lnTo>
                  <a:lnTo>
                    <a:pt x="100115" y="200876"/>
                  </a:lnTo>
                  <a:lnTo>
                    <a:pt x="100115" y="200228"/>
                  </a:lnTo>
                  <a:lnTo>
                    <a:pt x="100115" y="202260"/>
                  </a:lnTo>
                  <a:lnTo>
                    <a:pt x="100115" y="200228"/>
                  </a:lnTo>
                  <a:lnTo>
                    <a:pt x="100216" y="200876"/>
                  </a:lnTo>
                  <a:lnTo>
                    <a:pt x="100216" y="200228"/>
                  </a:lnTo>
                  <a:lnTo>
                    <a:pt x="100216" y="200876"/>
                  </a:lnTo>
                  <a:lnTo>
                    <a:pt x="100216" y="200228"/>
                  </a:lnTo>
                  <a:lnTo>
                    <a:pt x="100216" y="200876"/>
                  </a:lnTo>
                  <a:lnTo>
                    <a:pt x="100216" y="200228"/>
                  </a:lnTo>
                  <a:lnTo>
                    <a:pt x="100267" y="200228"/>
                  </a:lnTo>
                  <a:lnTo>
                    <a:pt x="100267" y="200876"/>
                  </a:lnTo>
                  <a:lnTo>
                    <a:pt x="100267" y="200228"/>
                  </a:lnTo>
                  <a:lnTo>
                    <a:pt x="100267" y="200876"/>
                  </a:lnTo>
                  <a:lnTo>
                    <a:pt x="100267" y="200228"/>
                  </a:lnTo>
                  <a:lnTo>
                    <a:pt x="100267" y="200876"/>
                  </a:lnTo>
                  <a:lnTo>
                    <a:pt x="100267" y="200228"/>
                  </a:lnTo>
                  <a:lnTo>
                    <a:pt x="100267" y="200876"/>
                  </a:lnTo>
                  <a:lnTo>
                    <a:pt x="100267" y="200228"/>
                  </a:lnTo>
                  <a:lnTo>
                    <a:pt x="100318" y="200876"/>
                  </a:lnTo>
                  <a:lnTo>
                    <a:pt x="100318" y="200228"/>
                  </a:lnTo>
                  <a:lnTo>
                    <a:pt x="100318" y="200876"/>
                  </a:lnTo>
                  <a:lnTo>
                    <a:pt x="100318" y="200228"/>
                  </a:lnTo>
                  <a:lnTo>
                    <a:pt x="100419" y="200228"/>
                  </a:lnTo>
                  <a:lnTo>
                    <a:pt x="100419" y="202260"/>
                  </a:lnTo>
                  <a:lnTo>
                    <a:pt x="100419" y="200228"/>
                  </a:lnTo>
                  <a:lnTo>
                    <a:pt x="100470" y="199530"/>
                  </a:lnTo>
                  <a:lnTo>
                    <a:pt x="100470" y="200228"/>
                  </a:lnTo>
                  <a:lnTo>
                    <a:pt x="100470" y="198831"/>
                  </a:lnTo>
                  <a:lnTo>
                    <a:pt x="100470" y="199530"/>
                  </a:lnTo>
                  <a:lnTo>
                    <a:pt x="100470" y="197447"/>
                  </a:lnTo>
                  <a:lnTo>
                    <a:pt x="100521" y="196799"/>
                  </a:lnTo>
                  <a:lnTo>
                    <a:pt x="100521" y="197447"/>
                  </a:lnTo>
                  <a:lnTo>
                    <a:pt x="100521" y="196799"/>
                  </a:lnTo>
                  <a:lnTo>
                    <a:pt x="100521" y="198831"/>
                  </a:lnTo>
                  <a:lnTo>
                    <a:pt x="100521" y="197447"/>
                  </a:lnTo>
                  <a:lnTo>
                    <a:pt x="100559" y="197447"/>
                  </a:lnTo>
                  <a:lnTo>
                    <a:pt x="100559" y="200876"/>
                  </a:lnTo>
                  <a:lnTo>
                    <a:pt x="100559" y="200228"/>
                  </a:lnTo>
                  <a:lnTo>
                    <a:pt x="100661" y="199530"/>
                  </a:lnTo>
                  <a:lnTo>
                    <a:pt x="100661" y="200876"/>
                  </a:lnTo>
                  <a:lnTo>
                    <a:pt x="100661" y="200228"/>
                  </a:lnTo>
                  <a:lnTo>
                    <a:pt x="100661" y="200876"/>
                  </a:lnTo>
                  <a:lnTo>
                    <a:pt x="100661" y="200228"/>
                  </a:lnTo>
                  <a:lnTo>
                    <a:pt x="100711" y="200228"/>
                  </a:lnTo>
                  <a:lnTo>
                    <a:pt x="100711" y="200876"/>
                  </a:lnTo>
                  <a:lnTo>
                    <a:pt x="100711" y="200228"/>
                  </a:lnTo>
                  <a:lnTo>
                    <a:pt x="100711" y="200876"/>
                  </a:lnTo>
                  <a:lnTo>
                    <a:pt x="100711" y="200228"/>
                  </a:lnTo>
                  <a:lnTo>
                    <a:pt x="100711" y="200876"/>
                  </a:lnTo>
                  <a:lnTo>
                    <a:pt x="100711" y="200228"/>
                  </a:lnTo>
                  <a:lnTo>
                    <a:pt x="100762" y="200228"/>
                  </a:lnTo>
                  <a:lnTo>
                    <a:pt x="100762" y="200876"/>
                  </a:lnTo>
                  <a:lnTo>
                    <a:pt x="100762" y="200228"/>
                  </a:lnTo>
                  <a:lnTo>
                    <a:pt x="100762" y="200876"/>
                  </a:lnTo>
                  <a:lnTo>
                    <a:pt x="100864" y="200876"/>
                  </a:lnTo>
                  <a:lnTo>
                    <a:pt x="100864" y="202260"/>
                  </a:lnTo>
                  <a:lnTo>
                    <a:pt x="100864" y="200876"/>
                  </a:lnTo>
                  <a:lnTo>
                    <a:pt x="100864" y="202260"/>
                  </a:lnTo>
                  <a:lnTo>
                    <a:pt x="100864" y="200876"/>
                  </a:lnTo>
                  <a:lnTo>
                    <a:pt x="100915" y="200876"/>
                  </a:lnTo>
                  <a:lnTo>
                    <a:pt x="100915" y="199530"/>
                  </a:lnTo>
                  <a:lnTo>
                    <a:pt x="100966" y="200228"/>
                  </a:lnTo>
                  <a:lnTo>
                    <a:pt x="100966" y="198831"/>
                  </a:lnTo>
                  <a:lnTo>
                    <a:pt x="100966" y="199530"/>
                  </a:lnTo>
                  <a:lnTo>
                    <a:pt x="100966" y="197447"/>
                  </a:lnTo>
                  <a:lnTo>
                    <a:pt x="101016" y="197447"/>
                  </a:lnTo>
                  <a:lnTo>
                    <a:pt x="101016" y="199530"/>
                  </a:lnTo>
                  <a:lnTo>
                    <a:pt x="101016" y="197447"/>
                  </a:lnTo>
                  <a:lnTo>
                    <a:pt x="101016" y="198831"/>
                  </a:lnTo>
                  <a:lnTo>
                    <a:pt x="101105" y="197447"/>
                  </a:lnTo>
                  <a:lnTo>
                    <a:pt x="101105" y="200228"/>
                  </a:lnTo>
                  <a:lnTo>
                    <a:pt x="101105" y="199530"/>
                  </a:lnTo>
                  <a:lnTo>
                    <a:pt x="101105" y="200228"/>
                  </a:lnTo>
                  <a:lnTo>
                    <a:pt x="101156" y="200228"/>
                  </a:lnTo>
                  <a:lnTo>
                    <a:pt x="101156" y="200876"/>
                  </a:lnTo>
                  <a:lnTo>
                    <a:pt x="101156" y="200228"/>
                  </a:lnTo>
                  <a:lnTo>
                    <a:pt x="101156" y="200876"/>
                  </a:lnTo>
                  <a:lnTo>
                    <a:pt x="101156" y="200228"/>
                  </a:lnTo>
                  <a:lnTo>
                    <a:pt x="101207" y="200876"/>
                  </a:lnTo>
                  <a:lnTo>
                    <a:pt x="101207" y="200228"/>
                  </a:lnTo>
                  <a:lnTo>
                    <a:pt x="101207" y="200876"/>
                  </a:lnTo>
                  <a:lnTo>
                    <a:pt x="101207" y="200228"/>
                  </a:lnTo>
                  <a:lnTo>
                    <a:pt x="101207" y="200876"/>
                  </a:lnTo>
                  <a:lnTo>
                    <a:pt x="101258" y="200876"/>
                  </a:lnTo>
                  <a:lnTo>
                    <a:pt x="101258" y="200228"/>
                  </a:lnTo>
                  <a:lnTo>
                    <a:pt x="101258" y="200876"/>
                  </a:lnTo>
                  <a:lnTo>
                    <a:pt x="101258" y="200228"/>
                  </a:lnTo>
                  <a:lnTo>
                    <a:pt x="101258" y="200876"/>
                  </a:lnTo>
                  <a:lnTo>
                    <a:pt x="101258" y="200228"/>
                  </a:lnTo>
                  <a:lnTo>
                    <a:pt x="101258" y="200876"/>
                  </a:lnTo>
                  <a:lnTo>
                    <a:pt x="101359" y="200876"/>
                  </a:lnTo>
                  <a:lnTo>
                    <a:pt x="101359" y="202260"/>
                  </a:lnTo>
                  <a:lnTo>
                    <a:pt x="101359" y="200876"/>
                  </a:lnTo>
                  <a:lnTo>
                    <a:pt x="101359" y="202260"/>
                  </a:lnTo>
                  <a:lnTo>
                    <a:pt x="101359" y="200876"/>
                  </a:lnTo>
                  <a:lnTo>
                    <a:pt x="101410" y="200876"/>
                  </a:lnTo>
                  <a:lnTo>
                    <a:pt x="101410" y="199530"/>
                  </a:lnTo>
                  <a:lnTo>
                    <a:pt x="101461" y="199530"/>
                  </a:lnTo>
                  <a:lnTo>
                    <a:pt x="101461" y="198831"/>
                  </a:lnTo>
                  <a:lnTo>
                    <a:pt x="101461" y="199530"/>
                  </a:lnTo>
                  <a:lnTo>
                    <a:pt x="101461" y="197447"/>
                  </a:lnTo>
                  <a:lnTo>
                    <a:pt x="101562" y="196799"/>
                  </a:lnTo>
                  <a:lnTo>
                    <a:pt x="101562" y="197447"/>
                  </a:lnTo>
                  <a:lnTo>
                    <a:pt x="101562" y="196799"/>
                  </a:lnTo>
                  <a:lnTo>
                    <a:pt x="101562" y="197447"/>
                  </a:lnTo>
                  <a:lnTo>
                    <a:pt x="101562" y="196113"/>
                  </a:lnTo>
                  <a:lnTo>
                    <a:pt x="101600" y="196799"/>
                  </a:lnTo>
                  <a:lnTo>
                    <a:pt x="101600" y="199530"/>
                  </a:lnTo>
                  <a:lnTo>
                    <a:pt x="101600" y="198831"/>
                  </a:lnTo>
                  <a:lnTo>
                    <a:pt x="101651" y="197447"/>
                  </a:lnTo>
                  <a:lnTo>
                    <a:pt x="101651" y="199530"/>
                  </a:lnTo>
                  <a:lnTo>
                    <a:pt x="101651" y="198831"/>
                  </a:lnTo>
                  <a:lnTo>
                    <a:pt x="101651" y="199530"/>
                  </a:lnTo>
                  <a:lnTo>
                    <a:pt x="101702" y="199530"/>
                  </a:lnTo>
                  <a:lnTo>
                    <a:pt x="101702" y="200228"/>
                  </a:lnTo>
                  <a:lnTo>
                    <a:pt x="101702" y="199530"/>
                  </a:lnTo>
                  <a:lnTo>
                    <a:pt x="101702" y="200228"/>
                  </a:lnTo>
                  <a:lnTo>
                    <a:pt x="101804" y="200876"/>
                  </a:lnTo>
                  <a:lnTo>
                    <a:pt x="101804" y="200228"/>
                  </a:lnTo>
                  <a:lnTo>
                    <a:pt x="101804" y="200876"/>
                  </a:lnTo>
                  <a:lnTo>
                    <a:pt x="101855" y="200876"/>
                  </a:lnTo>
                  <a:lnTo>
                    <a:pt x="101855" y="202260"/>
                  </a:lnTo>
                  <a:lnTo>
                    <a:pt x="101855" y="200876"/>
                  </a:lnTo>
                  <a:lnTo>
                    <a:pt x="101855" y="202260"/>
                  </a:lnTo>
                  <a:lnTo>
                    <a:pt x="101855" y="200876"/>
                  </a:lnTo>
                  <a:lnTo>
                    <a:pt x="101855" y="202260"/>
                  </a:lnTo>
                  <a:lnTo>
                    <a:pt x="101855" y="200876"/>
                  </a:lnTo>
                  <a:lnTo>
                    <a:pt x="101855" y="202260"/>
                  </a:lnTo>
                  <a:lnTo>
                    <a:pt x="101855" y="200876"/>
                  </a:lnTo>
                  <a:lnTo>
                    <a:pt x="101905" y="200876"/>
                  </a:lnTo>
                  <a:lnTo>
                    <a:pt x="101905" y="199530"/>
                  </a:lnTo>
                  <a:lnTo>
                    <a:pt x="102007" y="199530"/>
                  </a:lnTo>
                  <a:lnTo>
                    <a:pt x="102007" y="196799"/>
                  </a:lnTo>
                  <a:lnTo>
                    <a:pt x="102058" y="196799"/>
                  </a:lnTo>
                  <a:lnTo>
                    <a:pt x="102058" y="198831"/>
                  </a:lnTo>
                  <a:lnTo>
                    <a:pt x="102058" y="197447"/>
                  </a:lnTo>
                  <a:lnTo>
                    <a:pt x="102058" y="199530"/>
                  </a:lnTo>
                  <a:lnTo>
                    <a:pt x="102058" y="197447"/>
                  </a:lnTo>
                  <a:lnTo>
                    <a:pt x="102109" y="198831"/>
                  </a:lnTo>
                  <a:lnTo>
                    <a:pt x="102109" y="199530"/>
                  </a:lnTo>
                  <a:lnTo>
                    <a:pt x="102109" y="198831"/>
                  </a:lnTo>
                  <a:lnTo>
                    <a:pt x="102109" y="199530"/>
                  </a:lnTo>
                  <a:lnTo>
                    <a:pt x="102147" y="199530"/>
                  </a:lnTo>
                  <a:lnTo>
                    <a:pt x="102147" y="198831"/>
                  </a:lnTo>
                  <a:lnTo>
                    <a:pt x="102248" y="199530"/>
                  </a:lnTo>
                  <a:lnTo>
                    <a:pt x="102248" y="198831"/>
                  </a:lnTo>
                  <a:lnTo>
                    <a:pt x="102248" y="199530"/>
                  </a:lnTo>
                  <a:lnTo>
                    <a:pt x="102248" y="198831"/>
                  </a:lnTo>
                  <a:lnTo>
                    <a:pt x="102248" y="199530"/>
                  </a:lnTo>
                  <a:lnTo>
                    <a:pt x="102248" y="198831"/>
                  </a:lnTo>
                  <a:lnTo>
                    <a:pt x="102248" y="199530"/>
                  </a:lnTo>
                  <a:lnTo>
                    <a:pt x="102248" y="198831"/>
                  </a:lnTo>
                  <a:lnTo>
                    <a:pt x="102248" y="200228"/>
                  </a:lnTo>
                  <a:lnTo>
                    <a:pt x="102248" y="199530"/>
                  </a:lnTo>
                  <a:lnTo>
                    <a:pt x="102299" y="199530"/>
                  </a:lnTo>
                  <a:lnTo>
                    <a:pt x="102299" y="200228"/>
                  </a:lnTo>
                  <a:lnTo>
                    <a:pt x="102299" y="199530"/>
                  </a:lnTo>
                  <a:lnTo>
                    <a:pt x="102299" y="200228"/>
                  </a:lnTo>
                  <a:lnTo>
                    <a:pt x="102350" y="200228"/>
                  </a:lnTo>
                  <a:lnTo>
                    <a:pt x="102350" y="200876"/>
                  </a:lnTo>
                  <a:lnTo>
                    <a:pt x="102350" y="200228"/>
                  </a:lnTo>
                  <a:lnTo>
                    <a:pt x="102451" y="200228"/>
                  </a:lnTo>
                  <a:lnTo>
                    <a:pt x="102451" y="198831"/>
                  </a:lnTo>
                  <a:lnTo>
                    <a:pt x="102451" y="199530"/>
                  </a:lnTo>
                  <a:lnTo>
                    <a:pt x="102502" y="198831"/>
                  </a:lnTo>
                  <a:lnTo>
                    <a:pt x="102502" y="199530"/>
                  </a:lnTo>
                  <a:lnTo>
                    <a:pt x="102502" y="198831"/>
                  </a:lnTo>
                  <a:lnTo>
                    <a:pt x="102502" y="199530"/>
                  </a:lnTo>
                  <a:lnTo>
                    <a:pt x="102553" y="199530"/>
                  </a:lnTo>
                  <a:lnTo>
                    <a:pt x="102553" y="200228"/>
                  </a:lnTo>
                  <a:lnTo>
                    <a:pt x="102553" y="198831"/>
                  </a:lnTo>
                  <a:lnTo>
                    <a:pt x="102553" y="199530"/>
                  </a:lnTo>
                  <a:lnTo>
                    <a:pt x="102553" y="198831"/>
                  </a:lnTo>
                  <a:lnTo>
                    <a:pt x="102553" y="200876"/>
                  </a:lnTo>
                  <a:lnTo>
                    <a:pt x="102553" y="200228"/>
                  </a:lnTo>
                  <a:lnTo>
                    <a:pt x="102553" y="200876"/>
                  </a:lnTo>
                  <a:lnTo>
                    <a:pt x="102553" y="200228"/>
                  </a:lnTo>
                  <a:lnTo>
                    <a:pt x="102604" y="200228"/>
                  </a:lnTo>
                  <a:lnTo>
                    <a:pt x="102604" y="200876"/>
                  </a:lnTo>
                  <a:lnTo>
                    <a:pt x="102604" y="200228"/>
                  </a:lnTo>
                  <a:lnTo>
                    <a:pt x="102604" y="200876"/>
                  </a:lnTo>
                  <a:lnTo>
                    <a:pt x="102604" y="200228"/>
                  </a:lnTo>
                  <a:lnTo>
                    <a:pt x="102693" y="200228"/>
                  </a:lnTo>
                  <a:lnTo>
                    <a:pt x="102693" y="200876"/>
                  </a:lnTo>
                  <a:lnTo>
                    <a:pt x="102693" y="200228"/>
                  </a:lnTo>
                  <a:lnTo>
                    <a:pt x="102693" y="200876"/>
                  </a:lnTo>
                  <a:lnTo>
                    <a:pt x="102693" y="200228"/>
                  </a:lnTo>
                  <a:lnTo>
                    <a:pt x="102693" y="200876"/>
                  </a:lnTo>
                  <a:lnTo>
                    <a:pt x="102693" y="200228"/>
                  </a:lnTo>
                  <a:lnTo>
                    <a:pt x="102743" y="200228"/>
                  </a:lnTo>
                  <a:lnTo>
                    <a:pt x="102743" y="202260"/>
                  </a:lnTo>
                  <a:lnTo>
                    <a:pt x="102743" y="200876"/>
                  </a:lnTo>
                  <a:lnTo>
                    <a:pt x="102794" y="200876"/>
                  </a:lnTo>
                  <a:lnTo>
                    <a:pt x="102794" y="202260"/>
                  </a:lnTo>
                  <a:lnTo>
                    <a:pt x="102794" y="200876"/>
                  </a:lnTo>
                  <a:lnTo>
                    <a:pt x="102794" y="202260"/>
                  </a:lnTo>
                  <a:lnTo>
                    <a:pt x="102794" y="200876"/>
                  </a:lnTo>
                  <a:lnTo>
                    <a:pt x="102845" y="200876"/>
                  </a:lnTo>
                  <a:lnTo>
                    <a:pt x="102845" y="202260"/>
                  </a:lnTo>
                  <a:lnTo>
                    <a:pt x="102845" y="200228"/>
                  </a:lnTo>
                  <a:lnTo>
                    <a:pt x="102947" y="200228"/>
                  </a:lnTo>
                  <a:lnTo>
                    <a:pt x="102947" y="198831"/>
                  </a:lnTo>
                  <a:lnTo>
                    <a:pt x="102998" y="198831"/>
                  </a:lnTo>
                  <a:lnTo>
                    <a:pt x="102998" y="199530"/>
                  </a:lnTo>
                  <a:lnTo>
                    <a:pt x="102998" y="198831"/>
                  </a:lnTo>
                  <a:lnTo>
                    <a:pt x="102998" y="200228"/>
                  </a:lnTo>
                  <a:lnTo>
                    <a:pt x="102998" y="199530"/>
                  </a:lnTo>
                  <a:lnTo>
                    <a:pt x="102998" y="200228"/>
                  </a:lnTo>
                  <a:lnTo>
                    <a:pt x="102998" y="199530"/>
                  </a:lnTo>
                  <a:lnTo>
                    <a:pt x="103048" y="199530"/>
                  </a:lnTo>
                  <a:lnTo>
                    <a:pt x="103048" y="202260"/>
                  </a:lnTo>
                  <a:lnTo>
                    <a:pt x="103048" y="200876"/>
                  </a:lnTo>
                  <a:lnTo>
                    <a:pt x="103150" y="200876"/>
                  </a:lnTo>
                  <a:lnTo>
                    <a:pt x="103150" y="202260"/>
                  </a:lnTo>
                  <a:lnTo>
                    <a:pt x="103150" y="200876"/>
                  </a:lnTo>
                  <a:lnTo>
                    <a:pt x="103150" y="202260"/>
                  </a:lnTo>
                  <a:lnTo>
                    <a:pt x="103188" y="200876"/>
                  </a:lnTo>
                  <a:lnTo>
                    <a:pt x="103188" y="200228"/>
                  </a:lnTo>
                  <a:lnTo>
                    <a:pt x="103188" y="200876"/>
                  </a:lnTo>
                  <a:lnTo>
                    <a:pt x="103239" y="200876"/>
                  </a:lnTo>
                  <a:lnTo>
                    <a:pt x="103239" y="202260"/>
                  </a:lnTo>
                  <a:lnTo>
                    <a:pt x="103239" y="200876"/>
                  </a:lnTo>
                  <a:lnTo>
                    <a:pt x="103290" y="200876"/>
                  </a:lnTo>
                  <a:lnTo>
                    <a:pt x="103290" y="202260"/>
                  </a:lnTo>
                  <a:lnTo>
                    <a:pt x="103290" y="200228"/>
                  </a:lnTo>
                  <a:lnTo>
                    <a:pt x="103290" y="200876"/>
                  </a:lnTo>
                  <a:lnTo>
                    <a:pt x="103391" y="200876"/>
                  </a:lnTo>
                  <a:lnTo>
                    <a:pt x="103391" y="200228"/>
                  </a:lnTo>
                  <a:lnTo>
                    <a:pt x="103391" y="200876"/>
                  </a:lnTo>
                  <a:lnTo>
                    <a:pt x="103391" y="200228"/>
                  </a:lnTo>
                  <a:lnTo>
                    <a:pt x="103391" y="200876"/>
                  </a:lnTo>
                  <a:lnTo>
                    <a:pt x="103391" y="199530"/>
                  </a:lnTo>
                  <a:lnTo>
                    <a:pt x="103442" y="198831"/>
                  </a:lnTo>
                  <a:lnTo>
                    <a:pt x="103442" y="196799"/>
                  </a:lnTo>
                  <a:lnTo>
                    <a:pt x="103442" y="197447"/>
                  </a:lnTo>
                  <a:lnTo>
                    <a:pt x="103493" y="197447"/>
                  </a:lnTo>
                  <a:lnTo>
                    <a:pt x="103493" y="199530"/>
                  </a:lnTo>
                  <a:lnTo>
                    <a:pt x="103493" y="197447"/>
                  </a:lnTo>
                  <a:lnTo>
                    <a:pt x="103493" y="199530"/>
                  </a:lnTo>
                  <a:lnTo>
                    <a:pt x="103594" y="199530"/>
                  </a:lnTo>
                  <a:lnTo>
                    <a:pt x="103594" y="200228"/>
                  </a:lnTo>
                  <a:lnTo>
                    <a:pt x="103594" y="199530"/>
                  </a:lnTo>
                  <a:lnTo>
                    <a:pt x="103594" y="200228"/>
                  </a:lnTo>
                  <a:lnTo>
                    <a:pt x="103645" y="200228"/>
                  </a:lnTo>
                  <a:lnTo>
                    <a:pt x="103645" y="200876"/>
                  </a:lnTo>
                  <a:lnTo>
                    <a:pt x="103645" y="200228"/>
                  </a:lnTo>
                  <a:lnTo>
                    <a:pt x="103645" y="200876"/>
                  </a:lnTo>
                  <a:lnTo>
                    <a:pt x="103645" y="200228"/>
                  </a:lnTo>
                  <a:lnTo>
                    <a:pt x="103645" y="200876"/>
                  </a:lnTo>
                  <a:lnTo>
                    <a:pt x="103696" y="200876"/>
                  </a:lnTo>
                  <a:lnTo>
                    <a:pt x="103696" y="200228"/>
                  </a:lnTo>
                  <a:lnTo>
                    <a:pt x="103696" y="202260"/>
                  </a:lnTo>
                  <a:lnTo>
                    <a:pt x="103734" y="202260"/>
                  </a:lnTo>
                  <a:lnTo>
                    <a:pt x="103734" y="200876"/>
                  </a:lnTo>
                  <a:lnTo>
                    <a:pt x="103734" y="202260"/>
                  </a:lnTo>
                  <a:lnTo>
                    <a:pt x="103734" y="200876"/>
                  </a:lnTo>
                  <a:lnTo>
                    <a:pt x="103734" y="202260"/>
                  </a:lnTo>
                  <a:lnTo>
                    <a:pt x="103734" y="200876"/>
                  </a:lnTo>
                  <a:lnTo>
                    <a:pt x="103734" y="202260"/>
                  </a:lnTo>
                  <a:lnTo>
                    <a:pt x="103836" y="202260"/>
                  </a:lnTo>
                  <a:lnTo>
                    <a:pt x="103836" y="200876"/>
                  </a:lnTo>
                  <a:lnTo>
                    <a:pt x="103836" y="202260"/>
                  </a:lnTo>
                  <a:lnTo>
                    <a:pt x="103836" y="200876"/>
                  </a:lnTo>
                  <a:lnTo>
                    <a:pt x="103836" y="202260"/>
                  </a:lnTo>
                  <a:lnTo>
                    <a:pt x="103836" y="200876"/>
                  </a:lnTo>
                  <a:lnTo>
                    <a:pt x="103886" y="200876"/>
                  </a:lnTo>
                  <a:lnTo>
                    <a:pt x="103886" y="200228"/>
                  </a:lnTo>
                  <a:lnTo>
                    <a:pt x="103886" y="200876"/>
                  </a:lnTo>
                  <a:lnTo>
                    <a:pt x="103886" y="198831"/>
                  </a:lnTo>
                  <a:lnTo>
                    <a:pt x="103886" y="199530"/>
                  </a:lnTo>
                  <a:lnTo>
                    <a:pt x="103937" y="199530"/>
                  </a:lnTo>
                  <a:lnTo>
                    <a:pt x="103937" y="197447"/>
                  </a:lnTo>
                  <a:lnTo>
                    <a:pt x="103937" y="198831"/>
                  </a:lnTo>
                  <a:lnTo>
                    <a:pt x="103937" y="197447"/>
                  </a:lnTo>
                  <a:lnTo>
                    <a:pt x="103937" y="198831"/>
                  </a:lnTo>
                  <a:lnTo>
                    <a:pt x="104039" y="198831"/>
                  </a:lnTo>
                  <a:lnTo>
                    <a:pt x="104039" y="199530"/>
                  </a:lnTo>
                  <a:lnTo>
                    <a:pt x="104039" y="198831"/>
                  </a:lnTo>
                  <a:lnTo>
                    <a:pt x="104039" y="200876"/>
                  </a:lnTo>
                  <a:lnTo>
                    <a:pt x="104090" y="200228"/>
                  </a:lnTo>
                  <a:lnTo>
                    <a:pt x="104090" y="199530"/>
                  </a:lnTo>
                  <a:lnTo>
                    <a:pt x="104090" y="200876"/>
                  </a:lnTo>
                  <a:lnTo>
                    <a:pt x="104141" y="200876"/>
                  </a:lnTo>
                  <a:lnTo>
                    <a:pt x="104141" y="200228"/>
                  </a:lnTo>
                  <a:lnTo>
                    <a:pt x="104141" y="200876"/>
                  </a:lnTo>
                  <a:lnTo>
                    <a:pt x="104141" y="200228"/>
                  </a:lnTo>
                  <a:lnTo>
                    <a:pt x="104141" y="200876"/>
                  </a:lnTo>
                  <a:lnTo>
                    <a:pt x="104191" y="200876"/>
                  </a:lnTo>
                  <a:lnTo>
                    <a:pt x="104191" y="200228"/>
                  </a:lnTo>
                  <a:lnTo>
                    <a:pt x="104191" y="200876"/>
                  </a:lnTo>
                  <a:lnTo>
                    <a:pt x="104191" y="200228"/>
                  </a:lnTo>
                  <a:lnTo>
                    <a:pt x="104191" y="200876"/>
                  </a:lnTo>
                  <a:lnTo>
                    <a:pt x="104191" y="200228"/>
                  </a:lnTo>
                  <a:lnTo>
                    <a:pt x="104191" y="202260"/>
                  </a:lnTo>
                  <a:lnTo>
                    <a:pt x="104280" y="202260"/>
                  </a:lnTo>
                  <a:lnTo>
                    <a:pt x="104280" y="200876"/>
                  </a:lnTo>
                  <a:lnTo>
                    <a:pt x="104280" y="202260"/>
                  </a:lnTo>
                  <a:lnTo>
                    <a:pt x="104280" y="200876"/>
                  </a:lnTo>
                  <a:lnTo>
                    <a:pt x="104280" y="202260"/>
                  </a:lnTo>
                  <a:lnTo>
                    <a:pt x="104331" y="202260"/>
                  </a:lnTo>
                  <a:lnTo>
                    <a:pt x="104331" y="200876"/>
                  </a:lnTo>
                  <a:lnTo>
                    <a:pt x="104331" y="202260"/>
                  </a:lnTo>
                  <a:lnTo>
                    <a:pt x="104331" y="200876"/>
                  </a:lnTo>
                  <a:lnTo>
                    <a:pt x="104331" y="202260"/>
                  </a:lnTo>
                  <a:lnTo>
                    <a:pt x="104331" y="200876"/>
                  </a:lnTo>
                  <a:lnTo>
                    <a:pt x="104331" y="202260"/>
                  </a:lnTo>
                  <a:lnTo>
                    <a:pt x="104331" y="200228"/>
                  </a:lnTo>
                  <a:lnTo>
                    <a:pt x="104331" y="200876"/>
                  </a:lnTo>
                  <a:lnTo>
                    <a:pt x="104382" y="200228"/>
                  </a:lnTo>
                  <a:lnTo>
                    <a:pt x="104382" y="198831"/>
                  </a:lnTo>
                  <a:lnTo>
                    <a:pt x="104433" y="198831"/>
                  </a:lnTo>
                  <a:lnTo>
                    <a:pt x="104433" y="199530"/>
                  </a:lnTo>
                  <a:lnTo>
                    <a:pt x="104433" y="196799"/>
                  </a:lnTo>
                  <a:lnTo>
                    <a:pt x="104433" y="199530"/>
                  </a:lnTo>
                  <a:lnTo>
                    <a:pt x="104534" y="199530"/>
                  </a:lnTo>
                  <a:lnTo>
                    <a:pt x="104534" y="197447"/>
                  </a:lnTo>
                  <a:lnTo>
                    <a:pt x="104534" y="198831"/>
                  </a:lnTo>
                  <a:lnTo>
                    <a:pt x="104534" y="197447"/>
                  </a:lnTo>
                  <a:lnTo>
                    <a:pt x="104534" y="198831"/>
                  </a:lnTo>
                  <a:lnTo>
                    <a:pt x="104534" y="197447"/>
                  </a:lnTo>
                  <a:lnTo>
                    <a:pt x="104534" y="200228"/>
                  </a:lnTo>
                  <a:lnTo>
                    <a:pt x="104585" y="199530"/>
                  </a:lnTo>
                  <a:lnTo>
                    <a:pt x="104585" y="198831"/>
                  </a:lnTo>
                  <a:lnTo>
                    <a:pt x="104585" y="200228"/>
                  </a:lnTo>
                  <a:lnTo>
                    <a:pt x="104585" y="199530"/>
                  </a:lnTo>
                  <a:lnTo>
                    <a:pt x="104636" y="199530"/>
                  </a:lnTo>
                  <a:lnTo>
                    <a:pt x="104636" y="200228"/>
                  </a:lnTo>
                  <a:lnTo>
                    <a:pt x="104636" y="199530"/>
                  </a:lnTo>
                  <a:lnTo>
                    <a:pt x="104737" y="200228"/>
                  </a:lnTo>
                  <a:lnTo>
                    <a:pt x="104737" y="199530"/>
                  </a:lnTo>
                  <a:lnTo>
                    <a:pt x="104737" y="200876"/>
                  </a:lnTo>
                  <a:lnTo>
                    <a:pt x="104737" y="200228"/>
                  </a:lnTo>
                  <a:lnTo>
                    <a:pt x="104737" y="200876"/>
                  </a:lnTo>
                  <a:lnTo>
                    <a:pt x="104775" y="200876"/>
                  </a:lnTo>
                  <a:lnTo>
                    <a:pt x="104775" y="202260"/>
                  </a:lnTo>
                  <a:lnTo>
                    <a:pt x="104775" y="200876"/>
                  </a:lnTo>
                  <a:lnTo>
                    <a:pt x="104775" y="202260"/>
                  </a:lnTo>
                  <a:lnTo>
                    <a:pt x="104775" y="200876"/>
                  </a:lnTo>
                  <a:lnTo>
                    <a:pt x="104775" y="202260"/>
                  </a:lnTo>
                  <a:lnTo>
                    <a:pt x="104826" y="202260"/>
                  </a:lnTo>
                  <a:lnTo>
                    <a:pt x="104826" y="200876"/>
                  </a:lnTo>
                  <a:lnTo>
                    <a:pt x="104826" y="202260"/>
                  </a:lnTo>
                  <a:lnTo>
                    <a:pt x="104826" y="200228"/>
                  </a:lnTo>
                  <a:lnTo>
                    <a:pt x="104877" y="200876"/>
                  </a:lnTo>
                  <a:lnTo>
                    <a:pt x="104877" y="199530"/>
                  </a:lnTo>
                  <a:lnTo>
                    <a:pt x="104877" y="200228"/>
                  </a:lnTo>
                  <a:lnTo>
                    <a:pt x="104877" y="198831"/>
                  </a:lnTo>
                  <a:lnTo>
                    <a:pt x="104979" y="198831"/>
                  </a:lnTo>
                  <a:lnTo>
                    <a:pt x="104979" y="197447"/>
                  </a:lnTo>
                  <a:lnTo>
                    <a:pt x="104979" y="198831"/>
                  </a:lnTo>
                  <a:lnTo>
                    <a:pt x="104979" y="197447"/>
                  </a:lnTo>
                  <a:lnTo>
                    <a:pt x="104979" y="198831"/>
                  </a:lnTo>
                  <a:lnTo>
                    <a:pt x="104979" y="197447"/>
                  </a:lnTo>
                  <a:lnTo>
                    <a:pt x="105030" y="197447"/>
                  </a:lnTo>
                  <a:lnTo>
                    <a:pt x="105030" y="196799"/>
                  </a:lnTo>
                  <a:lnTo>
                    <a:pt x="105030" y="199530"/>
                  </a:lnTo>
                  <a:lnTo>
                    <a:pt x="105030" y="198831"/>
                  </a:lnTo>
                  <a:lnTo>
                    <a:pt x="105080" y="198831"/>
                  </a:lnTo>
                  <a:lnTo>
                    <a:pt x="105080" y="197447"/>
                  </a:lnTo>
                  <a:lnTo>
                    <a:pt x="105080" y="198831"/>
                  </a:lnTo>
                  <a:lnTo>
                    <a:pt x="105080" y="197447"/>
                  </a:lnTo>
                  <a:lnTo>
                    <a:pt x="105080" y="199530"/>
                  </a:lnTo>
                  <a:lnTo>
                    <a:pt x="105080" y="198831"/>
                  </a:lnTo>
                  <a:lnTo>
                    <a:pt x="105182" y="198831"/>
                  </a:lnTo>
                  <a:lnTo>
                    <a:pt x="105182" y="199530"/>
                  </a:lnTo>
                  <a:lnTo>
                    <a:pt x="105233" y="199530"/>
                  </a:lnTo>
                  <a:lnTo>
                    <a:pt x="105233" y="200228"/>
                  </a:lnTo>
                  <a:lnTo>
                    <a:pt x="105233" y="199530"/>
                  </a:lnTo>
                  <a:lnTo>
                    <a:pt x="105233" y="200228"/>
                  </a:lnTo>
                  <a:lnTo>
                    <a:pt x="105233" y="199530"/>
                  </a:lnTo>
                  <a:lnTo>
                    <a:pt x="105233" y="200228"/>
                  </a:lnTo>
                  <a:lnTo>
                    <a:pt x="105233" y="199530"/>
                  </a:lnTo>
                  <a:lnTo>
                    <a:pt x="105233" y="200228"/>
                  </a:lnTo>
                  <a:lnTo>
                    <a:pt x="105233" y="199530"/>
                  </a:lnTo>
                  <a:lnTo>
                    <a:pt x="105233" y="200228"/>
                  </a:lnTo>
                  <a:lnTo>
                    <a:pt x="105322" y="200228"/>
                  </a:lnTo>
                  <a:lnTo>
                    <a:pt x="105322" y="199530"/>
                  </a:lnTo>
                  <a:lnTo>
                    <a:pt x="105322" y="200228"/>
                  </a:lnTo>
                  <a:lnTo>
                    <a:pt x="105322" y="199530"/>
                  </a:lnTo>
                  <a:lnTo>
                    <a:pt x="105322" y="200228"/>
                  </a:lnTo>
                  <a:lnTo>
                    <a:pt x="105423" y="200228"/>
                  </a:lnTo>
                  <a:lnTo>
                    <a:pt x="105423" y="199530"/>
                  </a:lnTo>
                  <a:lnTo>
                    <a:pt x="105423" y="200228"/>
                  </a:lnTo>
                  <a:lnTo>
                    <a:pt x="105423" y="197447"/>
                  </a:lnTo>
                  <a:lnTo>
                    <a:pt x="105474" y="197447"/>
                  </a:lnTo>
                  <a:lnTo>
                    <a:pt x="105474" y="200228"/>
                  </a:lnTo>
                  <a:lnTo>
                    <a:pt x="105474" y="198831"/>
                  </a:lnTo>
                  <a:lnTo>
                    <a:pt x="105474" y="200228"/>
                  </a:lnTo>
                  <a:lnTo>
                    <a:pt x="105525" y="200228"/>
                  </a:lnTo>
                  <a:lnTo>
                    <a:pt x="105525" y="202260"/>
                  </a:lnTo>
                  <a:lnTo>
                    <a:pt x="105525" y="199530"/>
                  </a:lnTo>
                  <a:lnTo>
                    <a:pt x="105525" y="200876"/>
                  </a:lnTo>
                  <a:lnTo>
                    <a:pt x="105525" y="200228"/>
                  </a:lnTo>
                  <a:lnTo>
                    <a:pt x="105626" y="200876"/>
                  </a:lnTo>
                  <a:lnTo>
                    <a:pt x="105626" y="200228"/>
                  </a:lnTo>
                  <a:lnTo>
                    <a:pt x="105626" y="200876"/>
                  </a:lnTo>
                  <a:lnTo>
                    <a:pt x="105677" y="200876"/>
                  </a:lnTo>
                  <a:lnTo>
                    <a:pt x="105677" y="200228"/>
                  </a:lnTo>
                  <a:lnTo>
                    <a:pt x="105677" y="200876"/>
                  </a:lnTo>
                  <a:lnTo>
                    <a:pt x="105677" y="200228"/>
                  </a:lnTo>
                  <a:lnTo>
                    <a:pt x="105677" y="200876"/>
                  </a:lnTo>
                  <a:lnTo>
                    <a:pt x="105677" y="200228"/>
                  </a:lnTo>
                  <a:lnTo>
                    <a:pt x="105677" y="200876"/>
                  </a:lnTo>
                  <a:lnTo>
                    <a:pt x="105677" y="200228"/>
                  </a:lnTo>
                  <a:lnTo>
                    <a:pt x="105677" y="200876"/>
                  </a:lnTo>
                  <a:lnTo>
                    <a:pt x="105728" y="200876"/>
                  </a:lnTo>
                  <a:lnTo>
                    <a:pt x="105728" y="200228"/>
                  </a:lnTo>
                  <a:lnTo>
                    <a:pt x="105728" y="200876"/>
                  </a:lnTo>
                  <a:lnTo>
                    <a:pt x="105779" y="200876"/>
                  </a:lnTo>
                  <a:lnTo>
                    <a:pt x="105779" y="202260"/>
                  </a:lnTo>
                  <a:lnTo>
                    <a:pt x="105779" y="200876"/>
                  </a:lnTo>
                  <a:lnTo>
                    <a:pt x="105779" y="202260"/>
                  </a:lnTo>
                  <a:lnTo>
                    <a:pt x="105779" y="200228"/>
                  </a:lnTo>
                  <a:lnTo>
                    <a:pt x="105779" y="200876"/>
                  </a:lnTo>
                  <a:lnTo>
                    <a:pt x="105868" y="200228"/>
                  </a:lnTo>
                  <a:lnTo>
                    <a:pt x="105868" y="200876"/>
                  </a:lnTo>
                  <a:lnTo>
                    <a:pt x="105868" y="200228"/>
                  </a:lnTo>
                  <a:lnTo>
                    <a:pt x="105868" y="200876"/>
                  </a:lnTo>
                  <a:lnTo>
                    <a:pt x="105868" y="200228"/>
                  </a:lnTo>
                  <a:lnTo>
                    <a:pt x="105918" y="200228"/>
                  </a:lnTo>
                  <a:lnTo>
                    <a:pt x="105918" y="198831"/>
                  </a:lnTo>
                  <a:lnTo>
                    <a:pt x="105918" y="199530"/>
                  </a:lnTo>
                  <a:lnTo>
                    <a:pt x="105918" y="198831"/>
                  </a:lnTo>
                  <a:lnTo>
                    <a:pt x="105918" y="200228"/>
                  </a:lnTo>
                  <a:lnTo>
                    <a:pt x="105969" y="200228"/>
                  </a:lnTo>
                  <a:lnTo>
                    <a:pt x="105969" y="199530"/>
                  </a:lnTo>
                  <a:lnTo>
                    <a:pt x="105969" y="202260"/>
                  </a:lnTo>
                  <a:lnTo>
                    <a:pt x="106020" y="202260"/>
                  </a:lnTo>
                  <a:lnTo>
                    <a:pt x="106020" y="200876"/>
                  </a:lnTo>
                  <a:lnTo>
                    <a:pt x="106020" y="202260"/>
                  </a:lnTo>
                  <a:lnTo>
                    <a:pt x="106020" y="200876"/>
                  </a:lnTo>
                  <a:lnTo>
                    <a:pt x="106020" y="202260"/>
                  </a:lnTo>
                  <a:lnTo>
                    <a:pt x="106122" y="202260"/>
                  </a:lnTo>
                  <a:lnTo>
                    <a:pt x="106122" y="200876"/>
                  </a:lnTo>
                  <a:lnTo>
                    <a:pt x="106122" y="202260"/>
                  </a:lnTo>
                  <a:lnTo>
                    <a:pt x="106122" y="200876"/>
                  </a:lnTo>
                  <a:lnTo>
                    <a:pt x="106122" y="202260"/>
                  </a:lnTo>
                  <a:lnTo>
                    <a:pt x="106122" y="200876"/>
                  </a:lnTo>
                  <a:lnTo>
                    <a:pt x="106122" y="202959"/>
                  </a:lnTo>
                  <a:lnTo>
                    <a:pt x="106122" y="200876"/>
                  </a:lnTo>
                  <a:lnTo>
                    <a:pt x="106173" y="202260"/>
                  </a:lnTo>
                  <a:lnTo>
                    <a:pt x="106173" y="200876"/>
                  </a:lnTo>
                  <a:lnTo>
                    <a:pt x="106173" y="202260"/>
                  </a:lnTo>
                  <a:lnTo>
                    <a:pt x="106173" y="200876"/>
                  </a:lnTo>
                  <a:lnTo>
                    <a:pt x="106173" y="202959"/>
                  </a:lnTo>
                  <a:lnTo>
                    <a:pt x="106173" y="202260"/>
                  </a:lnTo>
                  <a:lnTo>
                    <a:pt x="106223" y="202260"/>
                  </a:lnTo>
                  <a:lnTo>
                    <a:pt x="106223" y="200876"/>
                  </a:lnTo>
                  <a:lnTo>
                    <a:pt x="106223" y="202260"/>
                  </a:lnTo>
                  <a:lnTo>
                    <a:pt x="106223" y="200876"/>
                  </a:lnTo>
                  <a:lnTo>
                    <a:pt x="106325" y="200876"/>
                  </a:lnTo>
                  <a:lnTo>
                    <a:pt x="106325" y="200228"/>
                  </a:lnTo>
                  <a:lnTo>
                    <a:pt x="106325" y="200876"/>
                  </a:lnTo>
                  <a:lnTo>
                    <a:pt x="106325" y="200228"/>
                  </a:lnTo>
                  <a:lnTo>
                    <a:pt x="106363" y="200228"/>
                  </a:lnTo>
                  <a:lnTo>
                    <a:pt x="106363" y="199530"/>
                  </a:lnTo>
                  <a:lnTo>
                    <a:pt x="106363" y="200228"/>
                  </a:lnTo>
                  <a:lnTo>
                    <a:pt x="106363" y="197447"/>
                  </a:lnTo>
                  <a:lnTo>
                    <a:pt x="106414" y="197447"/>
                  </a:lnTo>
                  <a:lnTo>
                    <a:pt x="106414" y="199530"/>
                  </a:lnTo>
                  <a:lnTo>
                    <a:pt x="106414" y="198831"/>
                  </a:lnTo>
                  <a:lnTo>
                    <a:pt x="106465" y="198831"/>
                  </a:lnTo>
                  <a:lnTo>
                    <a:pt x="106465" y="197447"/>
                  </a:lnTo>
                  <a:lnTo>
                    <a:pt x="106465" y="202260"/>
                  </a:lnTo>
                  <a:lnTo>
                    <a:pt x="106465" y="200228"/>
                  </a:lnTo>
                  <a:lnTo>
                    <a:pt x="106566" y="200228"/>
                  </a:lnTo>
                  <a:lnTo>
                    <a:pt x="106566" y="200876"/>
                  </a:lnTo>
                  <a:lnTo>
                    <a:pt x="106566" y="200228"/>
                  </a:lnTo>
                  <a:lnTo>
                    <a:pt x="106617" y="200228"/>
                  </a:lnTo>
                  <a:lnTo>
                    <a:pt x="106617" y="199530"/>
                  </a:lnTo>
                  <a:lnTo>
                    <a:pt x="106617" y="202260"/>
                  </a:lnTo>
                  <a:lnTo>
                    <a:pt x="106617" y="200876"/>
                  </a:lnTo>
                  <a:lnTo>
                    <a:pt x="106668" y="202260"/>
                  </a:lnTo>
                  <a:lnTo>
                    <a:pt x="106668" y="200876"/>
                  </a:lnTo>
                  <a:lnTo>
                    <a:pt x="106668" y="202260"/>
                  </a:lnTo>
                  <a:lnTo>
                    <a:pt x="106668" y="200876"/>
                  </a:lnTo>
                  <a:lnTo>
                    <a:pt x="106668" y="202260"/>
                  </a:lnTo>
                  <a:lnTo>
                    <a:pt x="106769" y="202260"/>
                  </a:lnTo>
                  <a:lnTo>
                    <a:pt x="106769" y="202959"/>
                  </a:lnTo>
                  <a:lnTo>
                    <a:pt x="106769" y="200876"/>
                  </a:lnTo>
                  <a:lnTo>
                    <a:pt x="106769" y="202260"/>
                  </a:lnTo>
                  <a:lnTo>
                    <a:pt x="106820" y="202260"/>
                  </a:lnTo>
                  <a:lnTo>
                    <a:pt x="106820" y="200228"/>
                  </a:lnTo>
                  <a:lnTo>
                    <a:pt x="106871" y="200228"/>
                  </a:lnTo>
                  <a:lnTo>
                    <a:pt x="106871" y="199530"/>
                  </a:lnTo>
                  <a:lnTo>
                    <a:pt x="106871" y="200228"/>
                  </a:lnTo>
                  <a:lnTo>
                    <a:pt x="106871" y="199530"/>
                  </a:lnTo>
                  <a:lnTo>
                    <a:pt x="106871" y="200228"/>
                  </a:lnTo>
                  <a:lnTo>
                    <a:pt x="106871" y="198831"/>
                  </a:lnTo>
                  <a:lnTo>
                    <a:pt x="106909" y="198831"/>
                  </a:lnTo>
                  <a:lnTo>
                    <a:pt x="106909" y="200228"/>
                  </a:lnTo>
                  <a:lnTo>
                    <a:pt x="106909" y="197447"/>
                  </a:lnTo>
                  <a:lnTo>
                    <a:pt x="106909" y="198831"/>
                  </a:lnTo>
                  <a:lnTo>
                    <a:pt x="107011" y="198831"/>
                  </a:lnTo>
                  <a:lnTo>
                    <a:pt x="107011" y="202260"/>
                  </a:lnTo>
                  <a:lnTo>
                    <a:pt x="107011" y="199530"/>
                  </a:lnTo>
                  <a:lnTo>
                    <a:pt x="107011" y="200228"/>
                  </a:lnTo>
                  <a:lnTo>
                    <a:pt x="107061" y="200876"/>
                  </a:lnTo>
                  <a:lnTo>
                    <a:pt x="107061" y="202260"/>
                  </a:lnTo>
                  <a:lnTo>
                    <a:pt x="107061" y="200228"/>
                  </a:lnTo>
                  <a:lnTo>
                    <a:pt x="107061" y="200876"/>
                  </a:lnTo>
                  <a:lnTo>
                    <a:pt x="107061" y="200228"/>
                  </a:lnTo>
                  <a:lnTo>
                    <a:pt x="107061" y="202260"/>
                  </a:lnTo>
                  <a:lnTo>
                    <a:pt x="107112" y="202260"/>
                  </a:lnTo>
                  <a:lnTo>
                    <a:pt x="107112" y="200876"/>
                  </a:lnTo>
                  <a:lnTo>
                    <a:pt x="107112" y="202260"/>
                  </a:lnTo>
                  <a:lnTo>
                    <a:pt x="107112" y="200876"/>
                  </a:lnTo>
                  <a:lnTo>
                    <a:pt x="107112" y="202260"/>
                  </a:lnTo>
                  <a:lnTo>
                    <a:pt x="107214" y="202260"/>
                  </a:lnTo>
                  <a:lnTo>
                    <a:pt x="107214" y="200876"/>
                  </a:lnTo>
                  <a:lnTo>
                    <a:pt x="107214" y="202260"/>
                  </a:lnTo>
                  <a:lnTo>
                    <a:pt x="107265" y="200876"/>
                  </a:lnTo>
                  <a:lnTo>
                    <a:pt x="107265" y="202260"/>
                  </a:lnTo>
                  <a:lnTo>
                    <a:pt x="107265" y="200876"/>
                  </a:lnTo>
                  <a:lnTo>
                    <a:pt x="107265" y="202260"/>
                  </a:lnTo>
                  <a:lnTo>
                    <a:pt x="107265" y="200876"/>
                  </a:lnTo>
                  <a:lnTo>
                    <a:pt x="107265" y="202260"/>
                  </a:lnTo>
                  <a:lnTo>
                    <a:pt x="107265" y="200876"/>
                  </a:lnTo>
                  <a:lnTo>
                    <a:pt x="107316" y="200876"/>
                  </a:lnTo>
                  <a:lnTo>
                    <a:pt x="107316" y="200228"/>
                  </a:lnTo>
                  <a:lnTo>
                    <a:pt x="107316" y="200876"/>
                  </a:lnTo>
                  <a:lnTo>
                    <a:pt x="107316" y="200228"/>
                  </a:lnTo>
                  <a:lnTo>
                    <a:pt x="107316" y="200876"/>
                  </a:lnTo>
                  <a:lnTo>
                    <a:pt x="107316" y="199530"/>
                  </a:lnTo>
                  <a:lnTo>
                    <a:pt x="107316" y="200228"/>
                  </a:lnTo>
                  <a:lnTo>
                    <a:pt x="107316" y="199530"/>
                  </a:lnTo>
                  <a:lnTo>
                    <a:pt x="107366" y="199530"/>
                  </a:lnTo>
                  <a:lnTo>
                    <a:pt x="107366" y="196799"/>
                  </a:lnTo>
                  <a:lnTo>
                    <a:pt x="107455" y="196799"/>
                  </a:lnTo>
                  <a:lnTo>
                    <a:pt x="107455" y="199530"/>
                  </a:lnTo>
                  <a:lnTo>
                    <a:pt x="107455" y="197447"/>
                  </a:lnTo>
                  <a:lnTo>
                    <a:pt x="107455" y="198831"/>
                  </a:lnTo>
                  <a:lnTo>
                    <a:pt x="107506" y="198831"/>
                  </a:lnTo>
                  <a:lnTo>
                    <a:pt x="107506" y="200228"/>
                  </a:lnTo>
                  <a:lnTo>
                    <a:pt x="107506" y="199530"/>
                  </a:lnTo>
                  <a:lnTo>
                    <a:pt x="107506" y="200228"/>
                  </a:lnTo>
                  <a:lnTo>
                    <a:pt x="107557" y="200876"/>
                  </a:lnTo>
                  <a:lnTo>
                    <a:pt x="107557" y="199530"/>
                  </a:lnTo>
                  <a:lnTo>
                    <a:pt x="107557" y="200228"/>
                  </a:lnTo>
                  <a:lnTo>
                    <a:pt x="107557" y="199530"/>
                  </a:lnTo>
                  <a:lnTo>
                    <a:pt x="107557" y="200228"/>
                  </a:lnTo>
                  <a:lnTo>
                    <a:pt x="107608" y="199530"/>
                  </a:lnTo>
                  <a:lnTo>
                    <a:pt x="107608" y="200876"/>
                  </a:lnTo>
                  <a:lnTo>
                    <a:pt x="107608" y="200228"/>
                  </a:lnTo>
                  <a:lnTo>
                    <a:pt x="107608" y="200876"/>
                  </a:lnTo>
                  <a:lnTo>
                    <a:pt x="107709" y="202260"/>
                  </a:lnTo>
                  <a:lnTo>
                    <a:pt x="107709" y="200876"/>
                  </a:lnTo>
                  <a:lnTo>
                    <a:pt x="107709" y="202260"/>
                  </a:lnTo>
                  <a:lnTo>
                    <a:pt x="107709" y="200876"/>
                  </a:lnTo>
                  <a:lnTo>
                    <a:pt x="107709" y="202260"/>
                  </a:lnTo>
                  <a:lnTo>
                    <a:pt x="107709" y="200876"/>
                  </a:lnTo>
                  <a:lnTo>
                    <a:pt x="107760" y="202260"/>
                  </a:lnTo>
                  <a:lnTo>
                    <a:pt x="107760" y="200876"/>
                  </a:lnTo>
                  <a:lnTo>
                    <a:pt x="107760" y="202260"/>
                  </a:lnTo>
                  <a:lnTo>
                    <a:pt x="107811" y="200876"/>
                  </a:lnTo>
                  <a:lnTo>
                    <a:pt x="107811" y="199530"/>
                  </a:lnTo>
                  <a:lnTo>
                    <a:pt x="107912" y="199530"/>
                  </a:lnTo>
                  <a:lnTo>
                    <a:pt x="107912" y="200228"/>
                  </a:lnTo>
                  <a:lnTo>
                    <a:pt x="107912" y="198831"/>
                  </a:lnTo>
                  <a:lnTo>
                    <a:pt x="107912" y="199530"/>
                  </a:lnTo>
                  <a:lnTo>
                    <a:pt x="107950" y="199530"/>
                  </a:lnTo>
                  <a:lnTo>
                    <a:pt x="107950" y="197447"/>
                  </a:lnTo>
                  <a:lnTo>
                    <a:pt x="107950" y="200876"/>
                  </a:lnTo>
                  <a:lnTo>
                    <a:pt x="108001" y="200228"/>
                  </a:lnTo>
                  <a:lnTo>
                    <a:pt x="108001" y="198831"/>
                  </a:lnTo>
                  <a:lnTo>
                    <a:pt x="108001" y="200876"/>
                  </a:lnTo>
                  <a:lnTo>
                    <a:pt x="108001" y="200228"/>
                  </a:lnTo>
                  <a:lnTo>
                    <a:pt x="108001" y="200876"/>
                  </a:lnTo>
                  <a:lnTo>
                    <a:pt x="108001" y="200228"/>
                  </a:lnTo>
                  <a:lnTo>
                    <a:pt x="108052" y="200228"/>
                  </a:lnTo>
                  <a:lnTo>
                    <a:pt x="108052" y="199530"/>
                  </a:lnTo>
                  <a:lnTo>
                    <a:pt x="108052" y="200228"/>
                  </a:lnTo>
                  <a:lnTo>
                    <a:pt x="108052" y="199530"/>
                  </a:lnTo>
                  <a:lnTo>
                    <a:pt x="108052" y="200228"/>
                  </a:lnTo>
                  <a:lnTo>
                    <a:pt x="108052" y="199530"/>
                  </a:lnTo>
                  <a:lnTo>
                    <a:pt x="108052" y="200228"/>
                  </a:lnTo>
                  <a:lnTo>
                    <a:pt x="108154" y="200228"/>
                  </a:lnTo>
                  <a:lnTo>
                    <a:pt x="108154" y="199530"/>
                  </a:lnTo>
                  <a:lnTo>
                    <a:pt x="108154" y="200228"/>
                  </a:lnTo>
                  <a:lnTo>
                    <a:pt x="108154" y="199530"/>
                  </a:lnTo>
                  <a:lnTo>
                    <a:pt x="108154" y="200228"/>
                  </a:lnTo>
                  <a:lnTo>
                    <a:pt x="108205" y="200228"/>
                  </a:lnTo>
                  <a:lnTo>
                    <a:pt x="108205" y="200876"/>
                  </a:lnTo>
                  <a:lnTo>
                    <a:pt x="108205" y="200228"/>
                  </a:lnTo>
                  <a:lnTo>
                    <a:pt x="108205" y="200876"/>
                  </a:lnTo>
                  <a:lnTo>
                    <a:pt x="108205" y="200228"/>
                  </a:lnTo>
                  <a:lnTo>
                    <a:pt x="108255" y="200876"/>
                  </a:lnTo>
                  <a:lnTo>
                    <a:pt x="108255" y="200228"/>
                  </a:lnTo>
                  <a:lnTo>
                    <a:pt x="108255" y="200876"/>
                  </a:lnTo>
                  <a:lnTo>
                    <a:pt x="108255" y="199530"/>
                  </a:lnTo>
                  <a:lnTo>
                    <a:pt x="108255" y="200228"/>
                  </a:lnTo>
                  <a:lnTo>
                    <a:pt x="108357" y="200228"/>
                  </a:lnTo>
                  <a:lnTo>
                    <a:pt x="108357" y="199530"/>
                  </a:lnTo>
                  <a:lnTo>
                    <a:pt x="108357" y="200228"/>
                  </a:lnTo>
                  <a:lnTo>
                    <a:pt x="108357" y="199530"/>
                  </a:lnTo>
                  <a:lnTo>
                    <a:pt x="108357" y="200228"/>
                  </a:lnTo>
                  <a:lnTo>
                    <a:pt x="108357" y="198831"/>
                  </a:lnTo>
                  <a:lnTo>
                    <a:pt x="108357" y="199530"/>
                  </a:lnTo>
                  <a:lnTo>
                    <a:pt x="108357" y="198831"/>
                  </a:lnTo>
                  <a:lnTo>
                    <a:pt x="108357" y="199530"/>
                  </a:lnTo>
                  <a:lnTo>
                    <a:pt x="108408" y="199530"/>
                  </a:lnTo>
                  <a:lnTo>
                    <a:pt x="108408" y="197447"/>
                  </a:lnTo>
                  <a:lnTo>
                    <a:pt x="108408" y="199530"/>
                  </a:lnTo>
                  <a:lnTo>
                    <a:pt x="108459" y="199530"/>
                  </a:lnTo>
                  <a:lnTo>
                    <a:pt x="108459" y="197447"/>
                  </a:lnTo>
                  <a:lnTo>
                    <a:pt x="108459" y="200876"/>
                  </a:lnTo>
                  <a:lnTo>
                    <a:pt x="108459" y="200228"/>
                  </a:lnTo>
                  <a:lnTo>
                    <a:pt x="108497" y="200228"/>
                  </a:lnTo>
                  <a:lnTo>
                    <a:pt x="108497" y="199530"/>
                  </a:lnTo>
                  <a:lnTo>
                    <a:pt x="108497" y="200876"/>
                  </a:lnTo>
                  <a:lnTo>
                    <a:pt x="108497" y="200228"/>
                  </a:lnTo>
                  <a:lnTo>
                    <a:pt x="108497" y="200876"/>
                  </a:lnTo>
                  <a:lnTo>
                    <a:pt x="108598" y="200876"/>
                  </a:lnTo>
                  <a:lnTo>
                    <a:pt x="108598" y="200228"/>
                  </a:lnTo>
                  <a:lnTo>
                    <a:pt x="108598" y="200876"/>
                  </a:lnTo>
                  <a:lnTo>
                    <a:pt x="108598" y="200228"/>
                  </a:lnTo>
                  <a:lnTo>
                    <a:pt x="108598" y="200876"/>
                  </a:lnTo>
                  <a:lnTo>
                    <a:pt x="108598" y="200228"/>
                  </a:lnTo>
                  <a:lnTo>
                    <a:pt x="108598" y="200876"/>
                  </a:lnTo>
                  <a:lnTo>
                    <a:pt x="108598" y="200228"/>
                  </a:lnTo>
                  <a:lnTo>
                    <a:pt x="108649" y="200228"/>
                  </a:lnTo>
                  <a:lnTo>
                    <a:pt x="108649" y="200876"/>
                  </a:lnTo>
                  <a:lnTo>
                    <a:pt x="108700" y="200228"/>
                  </a:lnTo>
                  <a:lnTo>
                    <a:pt x="108700" y="200876"/>
                  </a:lnTo>
                  <a:lnTo>
                    <a:pt x="108700" y="200228"/>
                  </a:lnTo>
                  <a:lnTo>
                    <a:pt x="108700" y="200876"/>
                  </a:lnTo>
                  <a:lnTo>
                    <a:pt x="108700" y="200228"/>
                  </a:lnTo>
                  <a:lnTo>
                    <a:pt x="108700" y="200876"/>
                  </a:lnTo>
                  <a:lnTo>
                    <a:pt x="108801" y="200228"/>
                  </a:lnTo>
                  <a:lnTo>
                    <a:pt x="108801" y="200876"/>
                  </a:lnTo>
                  <a:lnTo>
                    <a:pt x="108801" y="200228"/>
                  </a:lnTo>
                  <a:lnTo>
                    <a:pt x="108801" y="200876"/>
                  </a:lnTo>
                  <a:lnTo>
                    <a:pt x="108801" y="200228"/>
                  </a:lnTo>
                  <a:lnTo>
                    <a:pt x="108801" y="200876"/>
                  </a:lnTo>
                  <a:lnTo>
                    <a:pt x="108801" y="200228"/>
                  </a:lnTo>
                  <a:lnTo>
                    <a:pt x="108801" y="200876"/>
                  </a:lnTo>
                  <a:lnTo>
                    <a:pt x="108801" y="200228"/>
                  </a:lnTo>
                  <a:lnTo>
                    <a:pt x="108801" y="200876"/>
                  </a:lnTo>
                  <a:lnTo>
                    <a:pt x="108852" y="200876"/>
                  </a:lnTo>
                  <a:lnTo>
                    <a:pt x="108852" y="200228"/>
                  </a:lnTo>
                  <a:lnTo>
                    <a:pt x="108852" y="200876"/>
                  </a:lnTo>
                  <a:lnTo>
                    <a:pt x="108852" y="197447"/>
                  </a:lnTo>
                  <a:lnTo>
                    <a:pt x="108852" y="198831"/>
                  </a:lnTo>
                  <a:lnTo>
                    <a:pt x="108903" y="197447"/>
                  </a:lnTo>
                  <a:lnTo>
                    <a:pt x="108903" y="200228"/>
                  </a:lnTo>
                  <a:lnTo>
                    <a:pt x="108903" y="198831"/>
                  </a:lnTo>
                  <a:lnTo>
                    <a:pt x="108954" y="198831"/>
                  </a:lnTo>
                  <a:lnTo>
                    <a:pt x="108954" y="200876"/>
                  </a:lnTo>
                  <a:lnTo>
                    <a:pt x="108954" y="199530"/>
                  </a:lnTo>
                  <a:lnTo>
                    <a:pt x="109043" y="199530"/>
                  </a:lnTo>
                  <a:lnTo>
                    <a:pt x="109043" y="200876"/>
                  </a:lnTo>
                  <a:lnTo>
                    <a:pt x="109043" y="200228"/>
                  </a:lnTo>
                  <a:lnTo>
                    <a:pt x="109043" y="200876"/>
                  </a:lnTo>
                  <a:lnTo>
                    <a:pt x="109043" y="200228"/>
                  </a:lnTo>
                  <a:lnTo>
                    <a:pt x="109093" y="200228"/>
                  </a:lnTo>
                  <a:lnTo>
                    <a:pt x="109093" y="202260"/>
                  </a:lnTo>
                  <a:lnTo>
                    <a:pt x="109093" y="200876"/>
                  </a:lnTo>
                  <a:lnTo>
                    <a:pt x="109144" y="200876"/>
                  </a:lnTo>
                  <a:lnTo>
                    <a:pt x="109144" y="202260"/>
                  </a:lnTo>
                  <a:lnTo>
                    <a:pt x="109144" y="200876"/>
                  </a:lnTo>
                  <a:lnTo>
                    <a:pt x="109195" y="200876"/>
                  </a:lnTo>
                  <a:lnTo>
                    <a:pt x="109195" y="200228"/>
                  </a:lnTo>
                  <a:lnTo>
                    <a:pt x="109297" y="200228"/>
                  </a:lnTo>
                  <a:lnTo>
                    <a:pt x="109297" y="199530"/>
                  </a:lnTo>
                  <a:lnTo>
                    <a:pt x="109297" y="200228"/>
                  </a:lnTo>
                  <a:lnTo>
                    <a:pt x="109297" y="199530"/>
                  </a:lnTo>
                  <a:lnTo>
                    <a:pt x="109348" y="199530"/>
                  </a:lnTo>
                  <a:lnTo>
                    <a:pt x="109348" y="196799"/>
                  </a:lnTo>
                  <a:lnTo>
                    <a:pt x="109348" y="197447"/>
                  </a:lnTo>
                  <a:lnTo>
                    <a:pt x="109398" y="198831"/>
                  </a:lnTo>
                  <a:lnTo>
                    <a:pt x="109398" y="199530"/>
                  </a:lnTo>
                  <a:lnTo>
                    <a:pt x="109398" y="197447"/>
                  </a:lnTo>
                  <a:lnTo>
                    <a:pt x="109398" y="198831"/>
                  </a:lnTo>
                  <a:lnTo>
                    <a:pt x="109398" y="197447"/>
                  </a:lnTo>
                  <a:lnTo>
                    <a:pt x="109398" y="200228"/>
                  </a:lnTo>
                  <a:lnTo>
                    <a:pt x="109500" y="200228"/>
                  </a:lnTo>
                  <a:lnTo>
                    <a:pt x="109500" y="200876"/>
                  </a:lnTo>
                  <a:lnTo>
                    <a:pt x="109500" y="199530"/>
                  </a:lnTo>
                  <a:lnTo>
                    <a:pt x="109500" y="200228"/>
                  </a:lnTo>
                  <a:lnTo>
                    <a:pt x="109500" y="199530"/>
                  </a:lnTo>
                  <a:lnTo>
                    <a:pt x="109500" y="200228"/>
                  </a:lnTo>
                  <a:lnTo>
                    <a:pt x="109500" y="199530"/>
                  </a:lnTo>
                  <a:lnTo>
                    <a:pt x="109500" y="200228"/>
                  </a:lnTo>
                  <a:lnTo>
                    <a:pt x="109500" y="199530"/>
                  </a:lnTo>
                  <a:lnTo>
                    <a:pt x="109500" y="200228"/>
                  </a:lnTo>
                  <a:lnTo>
                    <a:pt x="109500" y="199530"/>
                  </a:lnTo>
                  <a:lnTo>
                    <a:pt x="109500" y="200876"/>
                  </a:lnTo>
                  <a:lnTo>
                    <a:pt x="109538" y="200876"/>
                  </a:lnTo>
                  <a:lnTo>
                    <a:pt x="109538" y="200228"/>
                  </a:lnTo>
                  <a:lnTo>
                    <a:pt x="109538" y="200876"/>
                  </a:lnTo>
                  <a:lnTo>
                    <a:pt x="109538" y="200228"/>
                  </a:lnTo>
                  <a:lnTo>
                    <a:pt x="109538" y="200876"/>
                  </a:lnTo>
                  <a:lnTo>
                    <a:pt x="109538" y="200228"/>
                  </a:lnTo>
                  <a:lnTo>
                    <a:pt x="109538" y="202260"/>
                  </a:lnTo>
                  <a:lnTo>
                    <a:pt x="109538" y="200876"/>
                  </a:lnTo>
                  <a:lnTo>
                    <a:pt x="109589" y="200876"/>
                  </a:lnTo>
                  <a:lnTo>
                    <a:pt x="109589" y="202260"/>
                  </a:lnTo>
                  <a:lnTo>
                    <a:pt x="109589" y="200876"/>
                  </a:lnTo>
                  <a:lnTo>
                    <a:pt x="109640" y="200876"/>
                  </a:lnTo>
                  <a:lnTo>
                    <a:pt x="109640" y="202260"/>
                  </a:lnTo>
                  <a:lnTo>
                    <a:pt x="109640" y="200876"/>
                  </a:lnTo>
                  <a:lnTo>
                    <a:pt x="109741" y="200876"/>
                  </a:lnTo>
                  <a:lnTo>
                    <a:pt x="109741" y="200228"/>
                  </a:lnTo>
                  <a:lnTo>
                    <a:pt x="109741" y="200876"/>
                  </a:lnTo>
                  <a:lnTo>
                    <a:pt x="109741" y="200228"/>
                  </a:lnTo>
                  <a:lnTo>
                    <a:pt x="109792" y="200876"/>
                  </a:lnTo>
                  <a:lnTo>
                    <a:pt x="109792" y="199530"/>
                  </a:lnTo>
                  <a:lnTo>
                    <a:pt x="109792" y="200228"/>
                  </a:lnTo>
                  <a:lnTo>
                    <a:pt x="109792" y="199530"/>
                  </a:lnTo>
                  <a:lnTo>
                    <a:pt x="109843" y="198831"/>
                  </a:lnTo>
                  <a:lnTo>
                    <a:pt x="109843" y="197447"/>
                  </a:lnTo>
                  <a:lnTo>
                    <a:pt x="109843" y="198831"/>
                  </a:lnTo>
                  <a:lnTo>
                    <a:pt x="109843" y="196799"/>
                  </a:lnTo>
                  <a:lnTo>
                    <a:pt x="109843" y="197447"/>
                  </a:lnTo>
                  <a:lnTo>
                    <a:pt x="109843" y="196799"/>
                  </a:lnTo>
                  <a:lnTo>
                    <a:pt x="109843" y="198831"/>
                  </a:lnTo>
                  <a:lnTo>
                    <a:pt x="109944" y="198831"/>
                  </a:lnTo>
                  <a:lnTo>
                    <a:pt x="109944" y="197447"/>
                  </a:lnTo>
                  <a:lnTo>
                    <a:pt x="109944" y="200228"/>
                  </a:lnTo>
                  <a:lnTo>
                    <a:pt x="109944" y="199530"/>
                  </a:lnTo>
                  <a:lnTo>
                    <a:pt x="109995" y="199530"/>
                  </a:lnTo>
                  <a:lnTo>
                    <a:pt x="109995" y="200228"/>
                  </a:lnTo>
                  <a:lnTo>
                    <a:pt x="109995" y="199530"/>
                  </a:lnTo>
                  <a:lnTo>
                    <a:pt x="109995" y="200228"/>
                  </a:lnTo>
                  <a:lnTo>
                    <a:pt x="109995" y="199530"/>
                  </a:lnTo>
                  <a:lnTo>
                    <a:pt x="109995" y="200228"/>
                  </a:lnTo>
                  <a:lnTo>
                    <a:pt x="110046" y="200228"/>
                  </a:lnTo>
                  <a:lnTo>
                    <a:pt x="110046" y="200876"/>
                  </a:lnTo>
                  <a:lnTo>
                    <a:pt x="110046" y="200228"/>
                  </a:lnTo>
                  <a:lnTo>
                    <a:pt x="110084" y="200228"/>
                  </a:lnTo>
                  <a:lnTo>
                    <a:pt x="110084" y="200876"/>
                  </a:lnTo>
                  <a:lnTo>
                    <a:pt x="110084" y="200228"/>
                  </a:lnTo>
                  <a:lnTo>
                    <a:pt x="110084" y="200876"/>
                  </a:lnTo>
                  <a:lnTo>
                    <a:pt x="110186" y="200876"/>
                  </a:lnTo>
                  <a:lnTo>
                    <a:pt x="110186" y="202260"/>
                  </a:lnTo>
                  <a:lnTo>
                    <a:pt x="110186" y="200876"/>
                  </a:lnTo>
                  <a:lnTo>
                    <a:pt x="110186" y="202260"/>
                  </a:lnTo>
                  <a:lnTo>
                    <a:pt x="110186" y="200876"/>
                  </a:lnTo>
                  <a:lnTo>
                    <a:pt x="110186" y="202260"/>
                  </a:lnTo>
                  <a:lnTo>
                    <a:pt x="110186" y="200876"/>
                  </a:lnTo>
                  <a:lnTo>
                    <a:pt x="110236" y="200876"/>
                  </a:lnTo>
                  <a:lnTo>
                    <a:pt x="110236" y="200228"/>
                  </a:lnTo>
                  <a:lnTo>
                    <a:pt x="110287" y="200228"/>
                  </a:lnTo>
                  <a:lnTo>
                    <a:pt x="110287" y="198831"/>
                  </a:lnTo>
                  <a:lnTo>
                    <a:pt x="110389" y="198831"/>
                  </a:lnTo>
                  <a:lnTo>
                    <a:pt x="110389" y="196799"/>
                  </a:lnTo>
                  <a:lnTo>
                    <a:pt x="110389" y="197447"/>
                  </a:lnTo>
                  <a:lnTo>
                    <a:pt x="110389" y="196799"/>
                  </a:lnTo>
                  <a:lnTo>
                    <a:pt x="110440" y="196799"/>
                  </a:lnTo>
                  <a:lnTo>
                    <a:pt x="110440" y="197447"/>
                  </a:lnTo>
                  <a:lnTo>
                    <a:pt x="110440" y="196113"/>
                  </a:lnTo>
                  <a:lnTo>
                    <a:pt x="110440" y="198831"/>
                  </a:lnTo>
                  <a:lnTo>
                    <a:pt x="110491" y="198831"/>
                  </a:lnTo>
                  <a:lnTo>
                    <a:pt x="110491" y="199530"/>
                  </a:lnTo>
                  <a:lnTo>
                    <a:pt x="110491" y="197447"/>
                  </a:lnTo>
                  <a:lnTo>
                    <a:pt x="110491" y="199530"/>
                  </a:lnTo>
                  <a:lnTo>
                    <a:pt x="110541" y="199530"/>
                  </a:lnTo>
                  <a:lnTo>
                    <a:pt x="110541" y="198831"/>
                  </a:lnTo>
                  <a:lnTo>
                    <a:pt x="110541" y="199530"/>
                  </a:lnTo>
                  <a:lnTo>
                    <a:pt x="110541" y="198831"/>
                  </a:lnTo>
                  <a:lnTo>
                    <a:pt x="110541" y="199530"/>
                  </a:lnTo>
                  <a:lnTo>
                    <a:pt x="110630" y="199530"/>
                  </a:lnTo>
                  <a:lnTo>
                    <a:pt x="110630" y="198831"/>
                  </a:lnTo>
                  <a:lnTo>
                    <a:pt x="110630" y="200228"/>
                  </a:lnTo>
                  <a:lnTo>
                    <a:pt x="110630" y="199530"/>
                  </a:lnTo>
                  <a:lnTo>
                    <a:pt x="110681" y="200228"/>
                  </a:lnTo>
                  <a:lnTo>
                    <a:pt x="110681" y="200876"/>
                  </a:lnTo>
                  <a:lnTo>
                    <a:pt x="110681" y="200228"/>
                  </a:lnTo>
                  <a:lnTo>
                    <a:pt x="110681" y="200876"/>
                  </a:lnTo>
                  <a:lnTo>
                    <a:pt x="110681" y="200228"/>
                  </a:lnTo>
                  <a:lnTo>
                    <a:pt x="110681" y="200876"/>
                  </a:lnTo>
                  <a:lnTo>
                    <a:pt x="110681" y="200228"/>
                  </a:lnTo>
                  <a:lnTo>
                    <a:pt x="110732" y="200228"/>
                  </a:lnTo>
                  <a:lnTo>
                    <a:pt x="110732" y="200876"/>
                  </a:lnTo>
                  <a:lnTo>
                    <a:pt x="110732" y="200228"/>
                  </a:lnTo>
                  <a:lnTo>
                    <a:pt x="110732" y="200876"/>
                  </a:lnTo>
                  <a:lnTo>
                    <a:pt x="110732" y="200228"/>
                  </a:lnTo>
                  <a:lnTo>
                    <a:pt x="110732" y="200876"/>
                  </a:lnTo>
                  <a:lnTo>
                    <a:pt x="110783" y="200228"/>
                  </a:lnTo>
                  <a:lnTo>
                    <a:pt x="110783" y="199530"/>
                  </a:lnTo>
                  <a:lnTo>
                    <a:pt x="110783" y="200228"/>
                  </a:lnTo>
                  <a:lnTo>
                    <a:pt x="110783" y="198831"/>
                  </a:lnTo>
                  <a:lnTo>
                    <a:pt x="110884" y="198831"/>
                  </a:lnTo>
                  <a:lnTo>
                    <a:pt x="110884" y="196113"/>
                  </a:lnTo>
                  <a:lnTo>
                    <a:pt x="110884" y="197447"/>
                  </a:lnTo>
                  <a:lnTo>
                    <a:pt x="110935" y="197447"/>
                  </a:lnTo>
                  <a:lnTo>
                    <a:pt x="110935" y="196113"/>
                  </a:lnTo>
                  <a:lnTo>
                    <a:pt x="110935" y="199530"/>
                  </a:lnTo>
                  <a:lnTo>
                    <a:pt x="110935" y="198831"/>
                  </a:lnTo>
                  <a:lnTo>
                    <a:pt x="110986" y="198831"/>
                  </a:lnTo>
                  <a:lnTo>
                    <a:pt x="110986" y="196799"/>
                  </a:lnTo>
                  <a:lnTo>
                    <a:pt x="110986" y="199530"/>
                  </a:lnTo>
                  <a:lnTo>
                    <a:pt x="110986" y="198831"/>
                  </a:lnTo>
                  <a:lnTo>
                    <a:pt x="110986" y="199530"/>
                  </a:lnTo>
                  <a:lnTo>
                    <a:pt x="110986" y="198831"/>
                  </a:lnTo>
                  <a:lnTo>
                    <a:pt x="111087" y="198831"/>
                  </a:lnTo>
                  <a:lnTo>
                    <a:pt x="111087" y="197447"/>
                  </a:lnTo>
                  <a:lnTo>
                    <a:pt x="111087" y="199530"/>
                  </a:lnTo>
                  <a:lnTo>
                    <a:pt x="111087" y="198831"/>
                  </a:lnTo>
                  <a:lnTo>
                    <a:pt x="111125" y="198831"/>
                  </a:lnTo>
                  <a:lnTo>
                    <a:pt x="111125" y="199530"/>
                  </a:lnTo>
                  <a:lnTo>
                    <a:pt x="111125" y="198831"/>
                  </a:lnTo>
                  <a:lnTo>
                    <a:pt x="111125" y="199530"/>
                  </a:lnTo>
                  <a:lnTo>
                    <a:pt x="111176" y="199530"/>
                  </a:lnTo>
                  <a:lnTo>
                    <a:pt x="111176" y="200228"/>
                  </a:lnTo>
                  <a:lnTo>
                    <a:pt x="111176" y="199530"/>
                  </a:lnTo>
                  <a:lnTo>
                    <a:pt x="111176" y="200228"/>
                  </a:lnTo>
                  <a:lnTo>
                    <a:pt x="111227" y="199530"/>
                  </a:lnTo>
                  <a:lnTo>
                    <a:pt x="111227" y="200228"/>
                  </a:lnTo>
                  <a:lnTo>
                    <a:pt x="111227" y="199530"/>
                  </a:lnTo>
                  <a:lnTo>
                    <a:pt x="111227" y="200228"/>
                  </a:lnTo>
                  <a:lnTo>
                    <a:pt x="111227" y="199530"/>
                  </a:lnTo>
                  <a:lnTo>
                    <a:pt x="111227" y="200228"/>
                  </a:lnTo>
                  <a:lnTo>
                    <a:pt x="111227" y="199530"/>
                  </a:lnTo>
                  <a:lnTo>
                    <a:pt x="111227" y="200228"/>
                  </a:lnTo>
                  <a:lnTo>
                    <a:pt x="111227" y="199530"/>
                  </a:lnTo>
                  <a:lnTo>
                    <a:pt x="111329" y="199530"/>
                  </a:lnTo>
                  <a:lnTo>
                    <a:pt x="111329" y="198831"/>
                  </a:lnTo>
                  <a:lnTo>
                    <a:pt x="111329" y="199530"/>
                  </a:lnTo>
                  <a:lnTo>
                    <a:pt x="111329" y="197447"/>
                  </a:lnTo>
                  <a:lnTo>
                    <a:pt x="111380" y="196799"/>
                  </a:lnTo>
                  <a:lnTo>
                    <a:pt x="111380" y="197447"/>
                  </a:lnTo>
                  <a:lnTo>
                    <a:pt x="111380" y="196799"/>
                  </a:lnTo>
                  <a:lnTo>
                    <a:pt x="111380" y="198831"/>
                  </a:lnTo>
                  <a:lnTo>
                    <a:pt x="111380" y="197447"/>
                  </a:lnTo>
                  <a:lnTo>
                    <a:pt x="111380" y="198831"/>
                  </a:lnTo>
                  <a:lnTo>
                    <a:pt x="111380" y="196799"/>
                  </a:lnTo>
                  <a:lnTo>
                    <a:pt x="111430" y="196799"/>
                  </a:lnTo>
                  <a:lnTo>
                    <a:pt x="111430" y="200228"/>
                  </a:lnTo>
                  <a:lnTo>
                    <a:pt x="111430" y="199530"/>
                  </a:lnTo>
                  <a:lnTo>
                    <a:pt x="111430" y="200228"/>
                  </a:lnTo>
                  <a:lnTo>
                    <a:pt x="111430" y="198831"/>
                  </a:lnTo>
                  <a:lnTo>
                    <a:pt x="111532" y="198831"/>
                  </a:lnTo>
                  <a:lnTo>
                    <a:pt x="111532" y="200228"/>
                  </a:lnTo>
                  <a:lnTo>
                    <a:pt x="111532" y="199530"/>
                  </a:lnTo>
                  <a:lnTo>
                    <a:pt x="111583" y="199530"/>
                  </a:lnTo>
                  <a:lnTo>
                    <a:pt x="111583" y="200228"/>
                  </a:lnTo>
                  <a:lnTo>
                    <a:pt x="111583" y="199530"/>
                  </a:lnTo>
                  <a:lnTo>
                    <a:pt x="111583" y="200228"/>
                  </a:lnTo>
                  <a:lnTo>
                    <a:pt x="111583" y="199530"/>
                  </a:lnTo>
                  <a:lnTo>
                    <a:pt x="111583" y="200228"/>
                  </a:lnTo>
                  <a:lnTo>
                    <a:pt x="111583" y="199530"/>
                  </a:lnTo>
                  <a:lnTo>
                    <a:pt x="111634" y="199530"/>
                  </a:lnTo>
                  <a:lnTo>
                    <a:pt x="111634" y="200228"/>
                  </a:lnTo>
                  <a:lnTo>
                    <a:pt x="111634" y="199530"/>
                  </a:lnTo>
                  <a:lnTo>
                    <a:pt x="111634" y="200228"/>
                  </a:lnTo>
                  <a:lnTo>
                    <a:pt x="111634" y="199530"/>
                  </a:lnTo>
                  <a:lnTo>
                    <a:pt x="111634" y="200228"/>
                  </a:lnTo>
                  <a:lnTo>
                    <a:pt x="111672" y="199530"/>
                  </a:lnTo>
                  <a:lnTo>
                    <a:pt x="111672" y="200228"/>
                  </a:lnTo>
                  <a:lnTo>
                    <a:pt x="111672" y="199530"/>
                  </a:lnTo>
                  <a:lnTo>
                    <a:pt x="111672" y="200228"/>
                  </a:lnTo>
                  <a:lnTo>
                    <a:pt x="111672" y="199530"/>
                  </a:lnTo>
                  <a:lnTo>
                    <a:pt x="111672" y="200228"/>
                  </a:lnTo>
                  <a:lnTo>
                    <a:pt x="111773" y="200228"/>
                  </a:lnTo>
                  <a:lnTo>
                    <a:pt x="111773" y="199530"/>
                  </a:lnTo>
                  <a:lnTo>
                    <a:pt x="111824" y="199530"/>
                  </a:lnTo>
                  <a:lnTo>
                    <a:pt x="111824" y="198831"/>
                  </a:lnTo>
                  <a:lnTo>
                    <a:pt x="111824" y="199530"/>
                  </a:lnTo>
                  <a:lnTo>
                    <a:pt x="111824" y="196799"/>
                  </a:lnTo>
                  <a:lnTo>
                    <a:pt x="111875" y="196799"/>
                  </a:lnTo>
                  <a:lnTo>
                    <a:pt x="111875" y="199530"/>
                  </a:lnTo>
                  <a:lnTo>
                    <a:pt x="111875" y="197447"/>
                  </a:lnTo>
                  <a:lnTo>
                    <a:pt x="111976" y="197447"/>
                  </a:lnTo>
                  <a:lnTo>
                    <a:pt x="111976" y="200876"/>
                  </a:lnTo>
                  <a:lnTo>
                    <a:pt x="111976" y="198831"/>
                  </a:lnTo>
                  <a:lnTo>
                    <a:pt x="111976" y="200228"/>
                  </a:lnTo>
                  <a:lnTo>
                    <a:pt x="112027" y="200228"/>
                  </a:lnTo>
                  <a:lnTo>
                    <a:pt x="112027" y="199530"/>
                  </a:lnTo>
                  <a:lnTo>
                    <a:pt x="112027" y="200228"/>
                  </a:lnTo>
                  <a:lnTo>
                    <a:pt x="112078" y="200228"/>
                  </a:lnTo>
                  <a:lnTo>
                    <a:pt x="112078" y="200876"/>
                  </a:lnTo>
                  <a:lnTo>
                    <a:pt x="112078" y="200228"/>
                  </a:lnTo>
                  <a:lnTo>
                    <a:pt x="112078" y="200876"/>
                  </a:lnTo>
                  <a:lnTo>
                    <a:pt x="112078" y="200228"/>
                  </a:lnTo>
                  <a:lnTo>
                    <a:pt x="112129" y="200228"/>
                  </a:lnTo>
                  <a:lnTo>
                    <a:pt x="112129" y="199530"/>
                  </a:lnTo>
                  <a:lnTo>
                    <a:pt x="112129" y="200876"/>
                  </a:lnTo>
                  <a:lnTo>
                    <a:pt x="112129" y="200228"/>
                  </a:lnTo>
                  <a:lnTo>
                    <a:pt x="112129" y="200876"/>
                  </a:lnTo>
                  <a:lnTo>
                    <a:pt x="112218" y="200228"/>
                  </a:lnTo>
                  <a:lnTo>
                    <a:pt x="112218" y="200876"/>
                  </a:lnTo>
                  <a:lnTo>
                    <a:pt x="112218" y="200228"/>
                  </a:lnTo>
                  <a:lnTo>
                    <a:pt x="112218" y="200876"/>
                  </a:lnTo>
                  <a:lnTo>
                    <a:pt x="112218" y="200228"/>
                  </a:lnTo>
                  <a:lnTo>
                    <a:pt x="112268" y="200228"/>
                  </a:lnTo>
                  <a:lnTo>
                    <a:pt x="112268" y="199530"/>
                  </a:lnTo>
                  <a:lnTo>
                    <a:pt x="112268" y="200228"/>
                  </a:lnTo>
                  <a:lnTo>
                    <a:pt x="112268" y="198831"/>
                  </a:lnTo>
                  <a:lnTo>
                    <a:pt x="112268" y="199530"/>
                  </a:lnTo>
                  <a:lnTo>
                    <a:pt x="112319" y="198831"/>
                  </a:lnTo>
                  <a:lnTo>
                    <a:pt x="112319" y="196113"/>
                  </a:lnTo>
                  <a:lnTo>
                    <a:pt x="112319" y="196799"/>
                  </a:lnTo>
                  <a:lnTo>
                    <a:pt x="112370" y="196113"/>
                  </a:lnTo>
                  <a:lnTo>
                    <a:pt x="112370" y="198831"/>
                  </a:lnTo>
                  <a:lnTo>
                    <a:pt x="112370" y="196799"/>
                  </a:lnTo>
                  <a:lnTo>
                    <a:pt x="112370" y="197447"/>
                  </a:lnTo>
                  <a:lnTo>
                    <a:pt x="112370" y="196799"/>
                  </a:lnTo>
                  <a:lnTo>
                    <a:pt x="112370" y="198831"/>
                  </a:lnTo>
                  <a:lnTo>
                    <a:pt x="112472" y="198831"/>
                  </a:lnTo>
                  <a:lnTo>
                    <a:pt x="112472" y="200228"/>
                  </a:lnTo>
                  <a:lnTo>
                    <a:pt x="112472" y="198831"/>
                  </a:lnTo>
                  <a:lnTo>
                    <a:pt x="112472" y="199530"/>
                  </a:lnTo>
                  <a:lnTo>
                    <a:pt x="112472" y="198831"/>
                  </a:lnTo>
                  <a:lnTo>
                    <a:pt x="112472" y="199530"/>
                  </a:lnTo>
                  <a:lnTo>
                    <a:pt x="112523" y="199530"/>
                  </a:lnTo>
                  <a:lnTo>
                    <a:pt x="112523" y="200228"/>
                  </a:lnTo>
                  <a:lnTo>
                    <a:pt x="112523" y="198831"/>
                  </a:lnTo>
                  <a:lnTo>
                    <a:pt x="112523" y="199530"/>
                  </a:lnTo>
                  <a:lnTo>
                    <a:pt x="112523" y="198831"/>
                  </a:lnTo>
                  <a:lnTo>
                    <a:pt x="112523" y="199530"/>
                  </a:lnTo>
                  <a:lnTo>
                    <a:pt x="112573" y="200228"/>
                  </a:lnTo>
                  <a:lnTo>
                    <a:pt x="112573" y="199530"/>
                  </a:lnTo>
                  <a:lnTo>
                    <a:pt x="112573" y="200228"/>
                  </a:lnTo>
                  <a:lnTo>
                    <a:pt x="112573" y="199530"/>
                  </a:lnTo>
                  <a:lnTo>
                    <a:pt x="112573" y="200228"/>
                  </a:lnTo>
                  <a:lnTo>
                    <a:pt x="112675" y="200228"/>
                  </a:lnTo>
                  <a:lnTo>
                    <a:pt x="112675" y="199530"/>
                  </a:lnTo>
                  <a:lnTo>
                    <a:pt x="112675" y="200876"/>
                  </a:lnTo>
                  <a:lnTo>
                    <a:pt x="112713" y="200876"/>
                  </a:lnTo>
                  <a:lnTo>
                    <a:pt x="112713" y="200228"/>
                  </a:lnTo>
                  <a:lnTo>
                    <a:pt x="112713" y="200876"/>
                  </a:lnTo>
                  <a:lnTo>
                    <a:pt x="112713" y="200228"/>
                  </a:lnTo>
                  <a:lnTo>
                    <a:pt x="112713" y="200876"/>
                  </a:lnTo>
                  <a:lnTo>
                    <a:pt x="112713" y="200228"/>
                  </a:lnTo>
                  <a:lnTo>
                    <a:pt x="112713" y="200876"/>
                  </a:lnTo>
                  <a:lnTo>
                    <a:pt x="112713" y="200228"/>
                  </a:lnTo>
                  <a:lnTo>
                    <a:pt x="112764" y="200228"/>
                  </a:lnTo>
                  <a:lnTo>
                    <a:pt x="112764" y="198831"/>
                  </a:lnTo>
                  <a:lnTo>
                    <a:pt x="112815" y="198831"/>
                  </a:lnTo>
                  <a:lnTo>
                    <a:pt x="112815" y="196799"/>
                  </a:lnTo>
                  <a:lnTo>
                    <a:pt x="112815" y="197447"/>
                  </a:lnTo>
                  <a:lnTo>
                    <a:pt x="112815" y="196799"/>
                  </a:lnTo>
                  <a:lnTo>
                    <a:pt x="112815" y="197447"/>
                  </a:lnTo>
                  <a:lnTo>
                    <a:pt x="112916" y="197447"/>
                  </a:lnTo>
                  <a:lnTo>
                    <a:pt x="112916" y="198831"/>
                  </a:lnTo>
                  <a:lnTo>
                    <a:pt x="112916" y="196799"/>
                  </a:lnTo>
                  <a:lnTo>
                    <a:pt x="112916" y="200228"/>
                  </a:lnTo>
                  <a:lnTo>
                    <a:pt x="112967" y="200228"/>
                  </a:lnTo>
                  <a:lnTo>
                    <a:pt x="112967" y="198831"/>
                  </a:lnTo>
                  <a:lnTo>
                    <a:pt x="112967" y="200228"/>
                  </a:lnTo>
                  <a:lnTo>
                    <a:pt x="113018" y="200228"/>
                  </a:lnTo>
                  <a:lnTo>
                    <a:pt x="113018" y="199530"/>
                  </a:lnTo>
                  <a:lnTo>
                    <a:pt x="113018" y="200228"/>
                  </a:lnTo>
                  <a:lnTo>
                    <a:pt x="113018" y="199530"/>
                  </a:lnTo>
                  <a:lnTo>
                    <a:pt x="113018" y="200228"/>
                  </a:lnTo>
                  <a:lnTo>
                    <a:pt x="113018" y="199530"/>
                  </a:lnTo>
                  <a:lnTo>
                    <a:pt x="113119" y="200228"/>
                  </a:lnTo>
                  <a:lnTo>
                    <a:pt x="113119" y="199530"/>
                  </a:lnTo>
                  <a:lnTo>
                    <a:pt x="113119" y="200228"/>
                  </a:lnTo>
                  <a:lnTo>
                    <a:pt x="113119" y="199530"/>
                  </a:lnTo>
                  <a:lnTo>
                    <a:pt x="113119" y="200228"/>
                  </a:lnTo>
                  <a:lnTo>
                    <a:pt x="113170" y="200228"/>
                  </a:lnTo>
                  <a:lnTo>
                    <a:pt x="113170" y="199530"/>
                  </a:lnTo>
                  <a:lnTo>
                    <a:pt x="113170" y="200876"/>
                  </a:lnTo>
                  <a:lnTo>
                    <a:pt x="113170" y="200228"/>
                  </a:lnTo>
                  <a:lnTo>
                    <a:pt x="113170" y="200876"/>
                  </a:lnTo>
                  <a:lnTo>
                    <a:pt x="113170" y="200228"/>
                  </a:lnTo>
                  <a:lnTo>
                    <a:pt x="113170" y="200876"/>
                  </a:lnTo>
                  <a:lnTo>
                    <a:pt x="113221" y="200228"/>
                  </a:lnTo>
                  <a:lnTo>
                    <a:pt x="113221" y="200876"/>
                  </a:lnTo>
                  <a:lnTo>
                    <a:pt x="113221" y="200228"/>
                  </a:lnTo>
                  <a:lnTo>
                    <a:pt x="113221" y="200876"/>
                  </a:lnTo>
                  <a:lnTo>
                    <a:pt x="113221" y="200228"/>
                  </a:lnTo>
                  <a:lnTo>
                    <a:pt x="113221" y="200876"/>
                  </a:lnTo>
                  <a:lnTo>
                    <a:pt x="113221" y="200228"/>
                  </a:lnTo>
                  <a:lnTo>
                    <a:pt x="113259" y="200228"/>
                  </a:lnTo>
                  <a:lnTo>
                    <a:pt x="113259" y="198831"/>
                  </a:lnTo>
                  <a:lnTo>
                    <a:pt x="113259" y="199530"/>
                  </a:lnTo>
                  <a:lnTo>
                    <a:pt x="113259" y="198831"/>
                  </a:lnTo>
                  <a:lnTo>
                    <a:pt x="113361" y="197447"/>
                  </a:lnTo>
                  <a:lnTo>
                    <a:pt x="113361" y="196113"/>
                  </a:lnTo>
                  <a:lnTo>
                    <a:pt x="113361" y="196799"/>
                  </a:lnTo>
                  <a:lnTo>
                    <a:pt x="113361" y="196113"/>
                  </a:lnTo>
                  <a:lnTo>
                    <a:pt x="113361" y="196799"/>
                  </a:lnTo>
                  <a:lnTo>
                    <a:pt x="113411" y="196799"/>
                  </a:lnTo>
                  <a:lnTo>
                    <a:pt x="113411" y="197447"/>
                  </a:lnTo>
                  <a:lnTo>
                    <a:pt x="113411" y="196799"/>
                  </a:lnTo>
                  <a:lnTo>
                    <a:pt x="113411" y="199530"/>
                  </a:lnTo>
                  <a:lnTo>
                    <a:pt x="113462" y="199530"/>
                  </a:lnTo>
                  <a:lnTo>
                    <a:pt x="113462" y="198831"/>
                  </a:lnTo>
                  <a:lnTo>
                    <a:pt x="113462" y="199530"/>
                  </a:lnTo>
                  <a:lnTo>
                    <a:pt x="113564" y="199530"/>
                  </a:lnTo>
                  <a:lnTo>
                    <a:pt x="113564" y="198831"/>
                  </a:lnTo>
                  <a:lnTo>
                    <a:pt x="113564" y="200228"/>
                  </a:lnTo>
                  <a:lnTo>
                    <a:pt x="113564" y="199530"/>
                  </a:lnTo>
                  <a:lnTo>
                    <a:pt x="113564" y="200228"/>
                  </a:lnTo>
                  <a:lnTo>
                    <a:pt x="113564" y="199530"/>
                  </a:lnTo>
                  <a:lnTo>
                    <a:pt x="113615" y="199530"/>
                  </a:lnTo>
                  <a:lnTo>
                    <a:pt x="113615" y="200228"/>
                  </a:lnTo>
                  <a:lnTo>
                    <a:pt x="113615" y="199530"/>
                  </a:lnTo>
                  <a:lnTo>
                    <a:pt x="113615" y="200228"/>
                  </a:lnTo>
                  <a:lnTo>
                    <a:pt x="113615" y="199530"/>
                  </a:lnTo>
                  <a:lnTo>
                    <a:pt x="113615" y="200228"/>
                  </a:lnTo>
                  <a:lnTo>
                    <a:pt x="113615" y="199530"/>
                  </a:lnTo>
                  <a:lnTo>
                    <a:pt x="113615" y="200228"/>
                  </a:lnTo>
                  <a:lnTo>
                    <a:pt x="113615" y="199530"/>
                  </a:lnTo>
                  <a:lnTo>
                    <a:pt x="113615" y="200228"/>
                  </a:lnTo>
                  <a:lnTo>
                    <a:pt x="113615" y="199530"/>
                  </a:lnTo>
                  <a:lnTo>
                    <a:pt x="113615" y="200228"/>
                  </a:lnTo>
                  <a:lnTo>
                    <a:pt x="113666" y="200228"/>
                  </a:lnTo>
                  <a:lnTo>
                    <a:pt x="113666" y="199530"/>
                  </a:lnTo>
                  <a:lnTo>
                    <a:pt x="113666" y="200876"/>
                  </a:lnTo>
                  <a:lnTo>
                    <a:pt x="113716" y="200228"/>
                  </a:lnTo>
                  <a:lnTo>
                    <a:pt x="113716" y="200876"/>
                  </a:lnTo>
                  <a:lnTo>
                    <a:pt x="113716" y="199530"/>
                  </a:lnTo>
                  <a:lnTo>
                    <a:pt x="113716" y="200228"/>
                  </a:lnTo>
                  <a:lnTo>
                    <a:pt x="113805" y="199530"/>
                  </a:lnTo>
                  <a:lnTo>
                    <a:pt x="113805" y="200228"/>
                  </a:lnTo>
                  <a:lnTo>
                    <a:pt x="113805" y="198831"/>
                  </a:lnTo>
                  <a:lnTo>
                    <a:pt x="113856" y="198831"/>
                  </a:lnTo>
                  <a:lnTo>
                    <a:pt x="113856" y="199530"/>
                  </a:lnTo>
                  <a:lnTo>
                    <a:pt x="113856" y="196799"/>
                  </a:lnTo>
                  <a:lnTo>
                    <a:pt x="113856" y="197447"/>
                  </a:lnTo>
                  <a:lnTo>
                    <a:pt x="113907" y="197447"/>
                  </a:lnTo>
                  <a:lnTo>
                    <a:pt x="113907" y="196799"/>
                  </a:lnTo>
                  <a:lnTo>
                    <a:pt x="113907" y="197447"/>
                  </a:lnTo>
                  <a:lnTo>
                    <a:pt x="113907" y="196113"/>
                  </a:lnTo>
                  <a:lnTo>
                    <a:pt x="113907" y="199530"/>
                  </a:lnTo>
                  <a:lnTo>
                    <a:pt x="113907" y="198831"/>
                  </a:lnTo>
                  <a:lnTo>
                    <a:pt x="113958" y="198831"/>
                  </a:lnTo>
                  <a:lnTo>
                    <a:pt x="113958" y="197447"/>
                  </a:lnTo>
                  <a:lnTo>
                    <a:pt x="113958" y="198831"/>
                  </a:lnTo>
                  <a:lnTo>
                    <a:pt x="114059" y="198831"/>
                  </a:lnTo>
                  <a:lnTo>
                    <a:pt x="114059" y="197447"/>
                  </a:lnTo>
                  <a:lnTo>
                    <a:pt x="114059" y="198831"/>
                  </a:lnTo>
                  <a:lnTo>
                    <a:pt x="114059" y="197447"/>
                  </a:lnTo>
                  <a:lnTo>
                    <a:pt x="114059" y="198831"/>
                  </a:lnTo>
                  <a:lnTo>
                    <a:pt x="114059" y="197447"/>
                  </a:lnTo>
                  <a:lnTo>
                    <a:pt x="114059" y="198831"/>
                  </a:lnTo>
                  <a:lnTo>
                    <a:pt x="114110" y="199530"/>
                  </a:lnTo>
                  <a:lnTo>
                    <a:pt x="114110" y="198831"/>
                  </a:lnTo>
                  <a:lnTo>
                    <a:pt x="114110" y="199530"/>
                  </a:lnTo>
                  <a:lnTo>
                    <a:pt x="114110" y="198831"/>
                  </a:lnTo>
                  <a:lnTo>
                    <a:pt x="114110" y="199530"/>
                  </a:lnTo>
                  <a:lnTo>
                    <a:pt x="114110" y="198831"/>
                  </a:lnTo>
                  <a:lnTo>
                    <a:pt x="114110" y="199530"/>
                  </a:lnTo>
                  <a:lnTo>
                    <a:pt x="114161" y="199530"/>
                  </a:lnTo>
                  <a:lnTo>
                    <a:pt x="114161" y="200228"/>
                  </a:lnTo>
                  <a:lnTo>
                    <a:pt x="114161" y="199530"/>
                  </a:lnTo>
                  <a:lnTo>
                    <a:pt x="114161" y="200228"/>
                  </a:lnTo>
                  <a:lnTo>
                    <a:pt x="114161" y="199530"/>
                  </a:lnTo>
                  <a:lnTo>
                    <a:pt x="114161" y="200228"/>
                  </a:lnTo>
                  <a:lnTo>
                    <a:pt x="114161" y="199530"/>
                  </a:lnTo>
                  <a:lnTo>
                    <a:pt x="114161" y="200228"/>
                  </a:lnTo>
                  <a:lnTo>
                    <a:pt x="114262" y="200228"/>
                  </a:lnTo>
                  <a:lnTo>
                    <a:pt x="114262" y="199530"/>
                  </a:lnTo>
                  <a:lnTo>
                    <a:pt x="114262" y="200228"/>
                  </a:lnTo>
                  <a:lnTo>
                    <a:pt x="114262" y="198831"/>
                  </a:lnTo>
                  <a:lnTo>
                    <a:pt x="114300" y="198831"/>
                  </a:lnTo>
                  <a:lnTo>
                    <a:pt x="114300" y="199530"/>
                  </a:lnTo>
                  <a:lnTo>
                    <a:pt x="114300" y="198831"/>
                  </a:lnTo>
                  <a:lnTo>
                    <a:pt x="114351" y="198831"/>
                  </a:lnTo>
                  <a:lnTo>
                    <a:pt x="114351" y="197447"/>
                  </a:lnTo>
                  <a:lnTo>
                    <a:pt x="114351" y="199530"/>
                  </a:lnTo>
                  <a:lnTo>
                    <a:pt x="114351" y="198831"/>
                  </a:lnTo>
                  <a:lnTo>
                    <a:pt x="114402" y="198831"/>
                  </a:lnTo>
                  <a:lnTo>
                    <a:pt x="114402" y="197447"/>
                  </a:lnTo>
                  <a:lnTo>
                    <a:pt x="114402" y="200228"/>
                  </a:lnTo>
                  <a:lnTo>
                    <a:pt x="114402" y="199530"/>
                  </a:lnTo>
                  <a:lnTo>
                    <a:pt x="114402" y="200228"/>
                  </a:lnTo>
                  <a:lnTo>
                    <a:pt x="114402" y="199530"/>
                  </a:lnTo>
                  <a:lnTo>
                    <a:pt x="114402" y="200228"/>
                  </a:lnTo>
                  <a:lnTo>
                    <a:pt x="114402" y="199530"/>
                  </a:lnTo>
                  <a:lnTo>
                    <a:pt x="114504" y="199530"/>
                  </a:lnTo>
                  <a:lnTo>
                    <a:pt x="114504" y="200228"/>
                  </a:lnTo>
                  <a:lnTo>
                    <a:pt x="114504" y="199530"/>
                  </a:lnTo>
                  <a:lnTo>
                    <a:pt x="114555" y="199530"/>
                  </a:lnTo>
                  <a:lnTo>
                    <a:pt x="114555" y="200228"/>
                  </a:lnTo>
                  <a:lnTo>
                    <a:pt x="114555" y="199530"/>
                  </a:lnTo>
                  <a:lnTo>
                    <a:pt x="114555" y="200228"/>
                  </a:lnTo>
                  <a:lnTo>
                    <a:pt x="114555" y="199530"/>
                  </a:lnTo>
                  <a:lnTo>
                    <a:pt x="114605" y="200228"/>
                  </a:lnTo>
                  <a:lnTo>
                    <a:pt x="114605" y="199530"/>
                  </a:lnTo>
                  <a:lnTo>
                    <a:pt x="114605" y="200228"/>
                  </a:lnTo>
                  <a:lnTo>
                    <a:pt x="114707" y="200228"/>
                  </a:lnTo>
                  <a:lnTo>
                    <a:pt x="114707" y="200876"/>
                  </a:lnTo>
                  <a:lnTo>
                    <a:pt x="114707" y="200228"/>
                  </a:lnTo>
                  <a:lnTo>
                    <a:pt x="114758" y="200228"/>
                  </a:lnTo>
                  <a:lnTo>
                    <a:pt x="114758" y="199530"/>
                  </a:lnTo>
                  <a:lnTo>
                    <a:pt x="114809" y="199530"/>
                  </a:lnTo>
                  <a:lnTo>
                    <a:pt x="114809" y="197447"/>
                  </a:lnTo>
                  <a:lnTo>
                    <a:pt x="114809" y="199530"/>
                  </a:lnTo>
                  <a:lnTo>
                    <a:pt x="114809" y="198831"/>
                  </a:lnTo>
                  <a:lnTo>
                    <a:pt x="114809" y="199530"/>
                  </a:lnTo>
                  <a:lnTo>
                    <a:pt x="114809" y="198831"/>
                  </a:lnTo>
                  <a:lnTo>
                    <a:pt x="114847" y="197447"/>
                  </a:lnTo>
                  <a:lnTo>
                    <a:pt x="114847" y="199530"/>
                  </a:lnTo>
                  <a:lnTo>
                    <a:pt x="114847" y="198831"/>
                  </a:lnTo>
                  <a:lnTo>
                    <a:pt x="114847" y="199530"/>
                  </a:lnTo>
                  <a:lnTo>
                    <a:pt x="114948" y="200228"/>
                  </a:lnTo>
                  <a:lnTo>
                    <a:pt x="114948" y="199530"/>
                  </a:lnTo>
                  <a:lnTo>
                    <a:pt x="114948" y="200228"/>
                  </a:lnTo>
                  <a:lnTo>
                    <a:pt x="114999" y="200228"/>
                  </a:lnTo>
                  <a:lnTo>
                    <a:pt x="114999" y="199530"/>
                  </a:lnTo>
                  <a:lnTo>
                    <a:pt x="114999" y="200876"/>
                  </a:lnTo>
                  <a:lnTo>
                    <a:pt x="115050" y="200228"/>
                  </a:lnTo>
                  <a:lnTo>
                    <a:pt x="115050" y="200876"/>
                  </a:lnTo>
                  <a:lnTo>
                    <a:pt x="115050" y="200228"/>
                  </a:lnTo>
                  <a:lnTo>
                    <a:pt x="115050" y="200876"/>
                  </a:lnTo>
                  <a:lnTo>
                    <a:pt x="115151" y="200876"/>
                  </a:lnTo>
                  <a:lnTo>
                    <a:pt x="115151" y="200228"/>
                  </a:lnTo>
                  <a:lnTo>
                    <a:pt x="115151" y="200876"/>
                  </a:lnTo>
                  <a:lnTo>
                    <a:pt x="115151" y="200228"/>
                  </a:lnTo>
                  <a:lnTo>
                    <a:pt x="115151" y="200876"/>
                  </a:lnTo>
                  <a:lnTo>
                    <a:pt x="115151" y="200228"/>
                  </a:lnTo>
                  <a:lnTo>
                    <a:pt x="115151" y="200876"/>
                  </a:lnTo>
                  <a:lnTo>
                    <a:pt x="115202" y="200876"/>
                  </a:lnTo>
                  <a:lnTo>
                    <a:pt x="115202" y="200228"/>
                  </a:lnTo>
                  <a:lnTo>
                    <a:pt x="115202" y="200876"/>
                  </a:lnTo>
                  <a:lnTo>
                    <a:pt x="115202" y="200228"/>
                  </a:lnTo>
                  <a:lnTo>
                    <a:pt x="115202" y="200876"/>
                  </a:lnTo>
                  <a:lnTo>
                    <a:pt x="115202" y="200228"/>
                  </a:lnTo>
                  <a:lnTo>
                    <a:pt x="115202" y="200876"/>
                  </a:lnTo>
                  <a:lnTo>
                    <a:pt x="115202" y="200228"/>
                  </a:lnTo>
                  <a:lnTo>
                    <a:pt x="115253" y="200228"/>
                  </a:lnTo>
                  <a:lnTo>
                    <a:pt x="115253" y="197447"/>
                  </a:lnTo>
                  <a:lnTo>
                    <a:pt x="115253" y="198831"/>
                  </a:lnTo>
                  <a:lnTo>
                    <a:pt x="115304" y="198831"/>
                  </a:lnTo>
                  <a:lnTo>
                    <a:pt x="115304" y="196799"/>
                  </a:lnTo>
                  <a:lnTo>
                    <a:pt x="115304" y="197447"/>
                  </a:lnTo>
                  <a:lnTo>
                    <a:pt x="115393" y="198831"/>
                  </a:lnTo>
                  <a:lnTo>
                    <a:pt x="115393" y="197447"/>
                  </a:lnTo>
                  <a:lnTo>
                    <a:pt x="115393" y="198831"/>
                  </a:lnTo>
                  <a:lnTo>
                    <a:pt x="115393" y="196799"/>
                  </a:lnTo>
                  <a:lnTo>
                    <a:pt x="115393" y="200228"/>
                  </a:lnTo>
                  <a:lnTo>
                    <a:pt x="115443" y="199530"/>
                  </a:lnTo>
                  <a:lnTo>
                    <a:pt x="115443" y="200228"/>
                  </a:lnTo>
                  <a:lnTo>
                    <a:pt x="115494" y="200228"/>
                  </a:lnTo>
                  <a:lnTo>
                    <a:pt x="115494" y="199530"/>
                  </a:lnTo>
                  <a:lnTo>
                    <a:pt x="115494" y="200228"/>
                  </a:lnTo>
                  <a:lnTo>
                    <a:pt x="115494" y="199530"/>
                  </a:lnTo>
                  <a:lnTo>
                    <a:pt x="115494" y="200228"/>
                  </a:lnTo>
                  <a:lnTo>
                    <a:pt x="115545" y="200228"/>
                  </a:lnTo>
                  <a:lnTo>
                    <a:pt x="115545" y="200876"/>
                  </a:lnTo>
                  <a:lnTo>
                    <a:pt x="115545" y="200228"/>
                  </a:lnTo>
                  <a:lnTo>
                    <a:pt x="115545" y="200876"/>
                  </a:lnTo>
                  <a:lnTo>
                    <a:pt x="115647" y="200876"/>
                  </a:lnTo>
                  <a:lnTo>
                    <a:pt x="115647" y="202260"/>
                  </a:lnTo>
                  <a:lnTo>
                    <a:pt x="115647" y="200876"/>
                  </a:lnTo>
                  <a:lnTo>
                    <a:pt x="115647" y="202260"/>
                  </a:lnTo>
                  <a:lnTo>
                    <a:pt x="115647" y="200876"/>
                  </a:lnTo>
                  <a:lnTo>
                    <a:pt x="115698" y="200876"/>
                  </a:lnTo>
                  <a:lnTo>
                    <a:pt x="115698" y="200228"/>
                  </a:lnTo>
                  <a:lnTo>
                    <a:pt x="115698" y="200876"/>
                  </a:lnTo>
                  <a:lnTo>
                    <a:pt x="115698" y="200228"/>
                  </a:lnTo>
                  <a:lnTo>
                    <a:pt x="115748" y="200228"/>
                  </a:lnTo>
                  <a:lnTo>
                    <a:pt x="115748" y="198831"/>
                  </a:lnTo>
                  <a:lnTo>
                    <a:pt x="115850" y="198831"/>
                  </a:lnTo>
                  <a:lnTo>
                    <a:pt x="115850" y="197447"/>
                  </a:lnTo>
                  <a:lnTo>
                    <a:pt x="115850" y="198831"/>
                  </a:lnTo>
                  <a:lnTo>
                    <a:pt x="115850" y="197447"/>
                  </a:lnTo>
                  <a:lnTo>
                    <a:pt x="115850" y="198831"/>
                  </a:lnTo>
                  <a:lnTo>
                    <a:pt x="115888" y="198831"/>
                  </a:lnTo>
                  <a:lnTo>
                    <a:pt x="115888" y="199530"/>
                  </a:lnTo>
                  <a:lnTo>
                    <a:pt x="115888" y="197447"/>
                  </a:lnTo>
                  <a:lnTo>
                    <a:pt x="115888" y="199530"/>
                  </a:lnTo>
                  <a:lnTo>
                    <a:pt x="115939" y="199530"/>
                  </a:lnTo>
                  <a:lnTo>
                    <a:pt x="115939" y="200228"/>
                  </a:lnTo>
                  <a:lnTo>
                    <a:pt x="115939" y="199530"/>
                  </a:lnTo>
                  <a:lnTo>
                    <a:pt x="115990" y="199530"/>
                  </a:lnTo>
                  <a:lnTo>
                    <a:pt x="115990" y="200228"/>
                  </a:lnTo>
                  <a:lnTo>
                    <a:pt x="115990" y="199530"/>
                  </a:lnTo>
                  <a:lnTo>
                    <a:pt x="115990" y="200228"/>
                  </a:lnTo>
                  <a:lnTo>
                    <a:pt x="116091" y="200228"/>
                  </a:lnTo>
                  <a:lnTo>
                    <a:pt x="116091" y="200876"/>
                  </a:lnTo>
                  <a:lnTo>
                    <a:pt x="116091" y="200228"/>
                  </a:lnTo>
                  <a:lnTo>
                    <a:pt x="116091" y="200876"/>
                  </a:lnTo>
                  <a:lnTo>
                    <a:pt x="116142" y="200876"/>
                  </a:lnTo>
                  <a:lnTo>
                    <a:pt x="116142" y="200228"/>
                  </a:lnTo>
                  <a:lnTo>
                    <a:pt x="116142" y="200876"/>
                  </a:lnTo>
                  <a:lnTo>
                    <a:pt x="116142" y="200228"/>
                  </a:lnTo>
                  <a:lnTo>
                    <a:pt x="116142" y="200876"/>
                  </a:lnTo>
                  <a:lnTo>
                    <a:pt x="116142" y="200228"/>
                  </a:lnTo>
                  <a:lnTo>
                    <a:pt x="116142" y="200876"/>
                  </a:lnTo>
                  <a:lnTo>
                    <a:pt x="116193" y="200876"/>
                  </a:lnTo>
                  <a:lnTo>
                    <a:pt x="116193" y="200228"/>
                  </a:lnTo>
                  <a:lnTo>
                    <a:pt x="116193" y="200876"/>
                  </a:lnTo>
                  <a:lnTo>
                    <a:pt x="116193" y="200228"/>
                  </a:lnTo>
                  <a:lnTo>
                    <a:pt x="116193" y="200876"/>
                  </a:lnTo>
                  <a:lnTo>
                    <a:pt x="116193" y="200228"/>
                  </a:lnTo>
                  <a:lnTo>
                    <a:pt x="116193" y="200876"/>
                  </a:lnTo>
                  <a:lnTo>
                    <a:pt x="116193" y="199530"/>
                  </a:lnTo>
                  <a:lnTo>
                    <a:pt x="116294" y="199530"/>
                  </a:lnTo>
                  <a:lnTo>
                    <a:pt x="116294" y="200228"/>
                  </a:lnTo>
                  <a:lnTo>
                    <a:pt x="116294" y="198831"/>
                  </a:lnTo>
                  <a:lnTo>
                    <a:pt x="116345" y="198831"/>
                  </a:lnTo>
                  <a:lnTo>
                    <a:pt x="116345" y="196799"/>
                  </a:lnTo>
                  <a:lnTo>
                    <a:pt x="116345" y="197447"/>
                  </a:lnTo>
                  <a:lnTo>
                    <a:pt x="116345" y="196799"/>
                  </a:lnTo>
                  <a:lnTo>
                    <a:pt x="116345" y="197447"/>
                  </a:lnTo>
                  <a:lnTo>
                    <a:pt x="116345" y="196799"/>
                  </a:lnTo>
                  <a:lnTo>
                    <a:pt x="116396" y="196799"/>
                  </a:lnTo>
                  <a:lnTo>
                    <a:pt x="116396" y="197447"/>
                  </a:lnTo>
                  <a:lnTo>
                    <a:pt x="116396" y="196113"/>
                  </a:lnTo>
                  <a:lnTo>
                    <a:pt x="116396" y="198831"/>
                  </a:lnTo>
                  <a:lnTo>
                    <a:pt x="116434" y="198831"/>
                  </a:lnTo>
                  <a:lnTo>
                    <a:pt x="116434" y="197447"/>
                  </a:lnTo>
                  <a:lnTo>
                    <a:pt x="116434" y="198831"/>
                  </a:lnTo>
                  <a:lnTo>
                    <a:pt x="116434" y="197447"/>
                  </a:lnTo>
                  <a:lnTo>
                    <a:pt x="116434" y="199530"/>
                  </a:lnTo>
                  <a:lnTo>
                    <a:pt x="116536" y="199530"/>
                  </a:lnTo>
                  <a:lnTo>
                    <a:pt x="116536" y="198831"/>
                  </a:lnTo>
                  <a:lnTo>
                    <a:pt x="116536" y="199530"/>
                  </a:lnTo>
                  <a:lnTo>
                    <a:pt x="116536" y="198831"/>
                  </a:lnTo>
                  <a:lnTo>
                    <a:pt x="116536" y="200228"/>
                  </a:lnTo>
                  <a:lnTo>
                    <a:pt x="116586" y="200228"/>
                  </a:lnTo>
                  <a:lnTo>
                    <a:pt x="116586" y="200876"/>
                  </a:lnTo>
                  <a:lnTo>
                    <a:pt x="116586" y="200228"/>
                  </a:lnTo>
                  <a:lnTo>
                    <a:pt x="116637" y="200228"/>
                  </a:lnTo>
                  <a:lnTo>
                    <a:pt x="116637" y="200876"/>
                  </a:lnTo>
                  <a:lnTo>
                    <a:pt x="116637" y="200228"/>
                  </a:lnTo>
                  <a:lnTo>
                    <a:pt x="116637" y="200876"/>
                  </a:lnTo>
                  <a:lnTo>
                    <a:pt x="116637" y="200228"/>
                  </a:lnTo>
                  <a:lnTo>
                    <a:pt x="116637" y="200876"/>
                  </a:lnTo>
                  <a:lnTo>
                    <a:pt x="116739" y="200876"/>
                  </a:lnTo>
                  <a:lnTo>
                    <a:pt x="116739" y="200228"/>
                  </a:lnTo>
                  <a:lnTo>
                    <a:pt x="116739" y="200876"/>
                  </a:lnTo>
                  <a:lnTo>
                    <a:pt x="116739" y="200228"/>
                  </a:lnTo>
                  <a:lnTo>
                    <a:pt x="116790" y="200228"/>
                  </a:lnTo>
                  <a:lnTo>
                    <a:pt x="116790" y="199530"/>
                  </a:lnTo>
                  <a:lnTo>
                    <a:pt x="116790" y="200228"/>
                  </a:lnTo>
                  <a:lnTo>
                    <a:pt x="116790" y="198831"/>
                  </a:lnTo>
                  <a:lnTo>
                    <a:pt x="116841" y="198831"/>
                  </a:lnTo>
                  <a:lnTo>
                    <a:pt x="116841" y="197447"/>
                  </a:lnTo>
                  <a:lnTo>
                    <a:pt x="116841" y="198831"/>
                  </a:lnTo>
                  <a:lnTo>
                    <a:pt x="116841" y="197447"/>
                  </a:lnTo>
                  <a:lnTo>
                    <a:pt x="116891" y="197447"/>
                  </a:lnTo>
                  <a:lnTo>
                    <a:pt x="116891" y="196113"/>
                  </a:lnTo>
                  <a:lnTo>
                    <a:pt x="116891" y="198831"/>
                  </a:lnTo>
                  <a:lnTo>
                    <a:pt x="116980" y="198831"/>
                  </a:lnTo>
                  <a:lnTo>
                    <a:pt x="116980" y="197447"/>
                  </a:lnTo>
                  <a:lnTo>
                    <a:pt x="116980" y="199530"/>
                  </a:lnTo>
                  <a:lnTo>
                    <a:pt x="116980" y="198831"/>
                  </a:lnTo>
                  <a:lnTo>
                    <a:pt x="116980" y="199530"/>
                  </a:lnTo>
                  <a:lnTo>
                    <a:pt x="116980" y="198831"/>
                  </a:lnTo>
                  <a:lnTo>
                    <a:pt x="117031" y="197447"/>
                  </a:lnTo>
                  <a:lnTo>
                    <a:pt x="117031" y="199530"/>
                  </a:lnTo>
                  <a:lnTo>
                    <a:pt x="117031" y="198831"/>
                  </a:lnTo>
                  <a:lnTo>
                    <a:pt x="117031" y="199530"/>
                  </a:lnTo>
                  <a:lnTo>
                    <a:pt x="117031" y="198831"/>
                  </a:lnTo>
                  <a:lnTo>
                    <a:pt x="117082" y="198831"/>
                  </a:lnTo>
                  <a:lnTo>
                    <a:pt x="117082" y="200228"/>
                  </a:lnTo>
                  <a:lnTo>
                    <a:pt x="117082" y="199530"/>
                  </a:lnTo>
                  <a:lnTo>
                    <a:pt x="117082" y="200228"/>
                  </a:lnTo>
                  <a:lnTo>
                    <a:pt x="117082" y="199530"/>
                  </a:lnTo>
                  <a:lnTo>
                    <a:pt x="117133" y="199530"/>
                  </a:lnTo>
                  <a:lnTo>
                    <a:pt x="117133" y="200228"/>
                  </a:lnTo>
                  <a:lnTo>
                    <a:pt x="117133" y="199530"/>
                  </a:lnTo>
                  <a:lnTo>
                    <a:pt x="117133" y="200228"/>
                  </a:lnTo>
                  <a:lnTo>
                    <a:pt x="117133" y="199530"/>
                  </a:lnTo>
                  <a:lnTo>
                    <a:pt x="117133" y="200228"/>
                  </a:lnTo>
                  <a:lnTo>
                    <a:pt x="117234" y="199530"/>
                  </a:lnTo>
                  <a:lnTo>
                    <a:pt x="117234" y="200228"/>
                  </a:lnTo>
                  <a:lnTo>
                    <a:pt x="117234" y="199530"/>
                  </a:lnTo>
                  <a:lnTo>
                    <a:pt x="117234" y="200228"/>
                  </a:lnTo>
                  <a:lnTo>
                    <a:pt x="117234" y="199530"/>
                  </a:lnTo>
                  <a:lnTo>
                    <a:pt x="117285" y="200228"/>
                  </a:lnTo>
                  <a:lnTo>
                    <a:pt x="117285" y="198831"/>
                  </a:lnTo>
                  <a:lnTo>
                    <a:pt x="117285" y="199530"/>
                  </a:lnTo>
                  <a:lnTo>
                    <a:pt x="117285" y="198831"/>
                  </a:lnTo>
                  <a:lnTo>
                    <a:pt x="117336" y="199530"/>
                  </a:lnTo>
                  <a:lnTo>
                    <a:pt x="117336" y="198831"/>
                  </a:lnTo>
                  <a:lnTo>
                    <a:pt x="117336" y="199530"/>
                  </a:lnTo>
                  <a:lnTo>
                    <a:pt x="117336" y="198831"/>
                  </a:lnTo>
                  <a:lnTo>
                    <a:pt x="117336" y="199530"/>
                  </a:lnTo>
                  <a:lnTo>
                    <a:pt x="117336" y="197447"/>
                  </a:lnTo>
                  <a:lnTo>
                    <a:pt x="117336" y="198831"/>
                  </a:lnTo>
                  <a:lnTo>
                    <a:pt x="117437" y="199530"/>
                  </a:lnTo>
                  <a:lnTo>
                    <a:pt x="117437" y="200228"/>
                  </a:lnTo>
                  <a:lnTo>
                    <a:pt x="117437" y="199530"/>
                  </a:lnTo>
                  <a:lnTo>
                    <a:pt x="117437" y="200228"/>
                  </a:lnTo>
                  <a:lnTo>
                    <a:pt x="117475" y="200876"/>
                  </a:lnTo>
                  <a:lnTo>
                    <a:pt x="117475" y="200228"/>
                  </a:lnTo>
                  <a:lnTo>
                    <a:pt x="117526" y="200228"/>
                  </a:lnTo>
                  <a:lnTo>
                    <a:pt x="117526" y="200876"/>
                  </a:lnTo>
                  <a:lnTo>
                    <a:pt x="117526" y="200228"/>
                  </a:lnTo>
                  <a:lnTo>
                    <a:pt x="117526" y="200876"/>
                  </a:lnTo>
                  <a:lnTo>
                    <a:pt x="117577" y="200876"/>
                  </a:lnTo>
                  <a:lnTo>
                    <a:pt x="117577" y="200228"/>
                  </a:lnTo>
                  <a:lnTo>
                    <a:pt x="117577" y="200876"/>
                  </a:lnTo>
                  <a:lnTo>
                    <a:pt x="117679" y="200876"/>
                  </a:lnTo>
                  <a:lnTo>
                    <a:pt x="117679" y="200228"/>
                  </a:lnTo>
                  <a:lnTo>
                    <a:pt x="117679" y="200876"/>
                  </a:lnTo>
                  <a:lnTo>
                    <a:pt x="117730" y="200876"/>
                  </a:lnTo>
                  <a:lnTo>
                    <a:pt x="117730" y="199530"/>
                  </a:lnTo>
                  <a:lnTo>
                    <a:pt x="117730" y="200228"/>
                  </a:lnTo>
                  <a:lnTo>
                    <a:pt x="117730" y="199530"/>
                  </a:lnTo>
                  <a:lnTo>
                    <a:pt x="117780" y="199530"/>
                  </a:lnTo>
                  <a:lnTo>
                    <a:pt x="117780" y="198831"/>
                  </a:lnTo>
                  <a:lnTo>
                    <a:pt x="117780" y="199530"/>
                  </a:lnTo>
                  <a:lnTo>
                    <a:pt x="117780" y="198831"/>
                  </a:lnTo>
                  <a:lnTo>
                    <a:pt x="117780" y="199530"/>
                  </a:lnTo>
                  <a:lnTo>
                    <a:pt x="117882" y="199530"/>
                  </a:lnTo>
                  <a:lnTo>
                    <a:pt x="117882" y="200228"/>
                  </a:lnTo>
                  <a:lnTo>
                    <a:pt x="117882" y="198831"/>
                  </a:lnTo>
                  <a:lnTo>
                    <a:pt x="117882" y="202260"/>
                  </a:lnTo>
                  <a:lnTo>
                    <a:pt x="117882" y="200876"/>
                  </a:lnTo>
                  <a:lnTo>
                    <a:pt x="117933" y="200876"/>
                  </a:lnTo>
                  <a:lnTo>
                    <a:pt x="117933" y="199530"/>
                  </a:lnTo>
                  <a:lnTo>
                    <a:pt x="117933" y="202260"/>
                  </a:lnTo>
                  <a:lnTo>
                    <a:pt x="117984" y="200876"/>
                  </a:lnTo>
                  <a:lnTo>
                    <a:pt x="117984" y="200228"/>
                  </a:lnTo>
                  <a:lnTo>
                    <a:pt x="117984" y="202260"/>
                  </a:lnTo>
                  <a:lnTo>
                    <a:pt x="117984" y="200876"/>
                  </a:lnTo>
                  <a:lnTo>
                    <a:pt x="117984" y="202260"/>
                  </a:lnTo>
                  <a:lnTo>
                    <a:pt x="118022" y="202260"/>
                  </a:lnTo>
                  <a:lnTo>
                    <a:pt x="118022" y="200876"/>
                  </a:lnTo>
                  <a:lnTo>
                    <a:pt x="118022" y="202260"/>
                  </a:lnTo>
                  <a:lnTo>
                    <a:pt x="118022" y="200876"/>
                  </a:lnTo>
                  <a:lnTo>
                    <a:pt x="118022" y="202260"/>
                  </a:lnTo>
                  <a:lnTo>
                    <a:pt x="118022" y="200876"/>
                  </a:lnTo>
                  <a:lnTo>
                    <a:pt x="118123" y="200876"/>
                  </a:lnTo>
                  <a:lnTo>
                    <a:pt x="118123" y="202260"/>
                  </a:lnTo>
                  <a:lnTo>
                    <a:pt x="118123" y="200228"/>
                  </a:lnTo>
                  <a:lnTo>
                    <a:pt x="118174" y="200228"/>
                  </a:lnTo>
                  <a:lnTo>
                    <a:pt x="118174" y="200876"/>
                  </a:lnTo>
                  <a:lnTo>
                    <a:pt x="118174" y="200228"/>
                  </a:lnTo>
                  <a:lnTo>
                    <a:pt x="118174" y="200876"/>
                  </a:lnTo>
                  <a:lnTo>
                    <a:pt x="118174" y="200228"/>
                  </a:lnTo>
                  <a:lnTo>
                    <a:pt x="118174" y="200876"/>
                  </a:lnTo>
                  <a:lnTo>
                    <a:pt x="118174" y="200228"/>
                  </a:lnTo>
                  <a:lnTo>
                    <a:pt x="118225" y="200876"/>
                  </a:lnTo>
                  <a:lnTo>
                    <a:pt x="118225" y="199530"/>
                  </a:lnTo>
                  <a:lnTo>
                    <a:pt x="118225" y="200228"/>
                  </a:lnTo>
                  <a:lnTo>
                    <a:pt x="118225" y="199530"/>
                  </a:lnTo>
                  <a:lnTo>
                    <a:pt x="118225" y="200228"/>
                  </a:lnTo>
                  <a:lnTo>
                    <a:pt x="118225" y="198831"/>
                  </a:lnTo>
                  <a:lnTo>
                    <a:pt x="118326" y="198831"/>
                  </a:lnTo>
                  <a:lnTo>
                    <a:pt x="118326" y="196799"/>
                  </a:lnTo>
                  <a:lnTo>
                    <a:pt x="118326" y="199530"/>
                  </a:lnTo>
                  <a:lnTo>
                    <a:pt x="118326" y="198831"/>
                  </a:lnTo>
                  <a:lnTo>
                    <a:pt x="118377" y="198831"/>
                  </a:lnTo>
                  <a:lnTo>
                    <a:pt x="118377" y="197447"/>
                  </a:lnTo>
                  <a:lnTo>
                    <a:pt x="118377" y="198831"/>
                  </a:lnTo>
                  <a:lnTo>
                    <a:pt x="118377" y="197447"/>
                  </a:lnTo>
                  <a:lnTo>
                    <a:pt x="118377" y="200228"/>
                  </a:lnTo>
                  <a:lnTo>
                    <a:pt x="118377" y="199530"/>
                  </a:lnTo>
                  <a:lnTo>
                    <a:pt x="118377" y="200228"/>
                  </a:lnTo>
                  <a:lnTo>
                    <a:pt x="118377" y="199530"/>
                  </a:lnTo>
                  <a:lnTo>
                    <a:pt x="118377" y="200228"/>
                  </a:lnTo>
                  <a:lnTo>
                    <a:pt x="118377" y="199530"/>
                  </a:lnTo>
                  <a:lnTo>
                    <a:pt x="118428" y="198831"/>
                  </a:lnTo>
                  <a:lnTo>
                    <a:pt x="118428" y="200228"/>
                  </a:lnTo>
                  <a:lnTo>
                    <a:pt x="118479" y="200228"/>
                  </a:lnTo>
                  <a:lnTo>
                    <a:pt x="118479" y="202260"/>
                  </a:lnTo>
                  <a:lnTo>
                    <a:pt x="118479" y="200876"/>
                  </a:lnTo>
                  <a:lnTo>
                    <a:pt x="118568" y="200876"/>
                  </a:lnTo>
                  <a:lnTo>
                    <a:pt x="118568" y="202260"/>
                  </a:lnTo>
                  <a:lnTo>
                    <a:pt x="118568" y="200876"/>
                  </a:lnTo>
                  <a:lnTo>
                    <a:pt x="118568" y="202260"/>
                  </a:lnTo>
                  <a:lnTo>
                    <a:pt x="118568" y="200876"/>
                  </a:lnTo>
                  <a:lnTo>
                    <a:pt x="118568" y="202260"/>
                  </a:lnTo>
                  <a:lnTo>
                    <a:pt x="118568" y="200876"/>
                  </a:lnTo>
                  <a:lnTo>
                    <a:pt x="118568" y="202260"/>
                  </a:lnTo>
                  <a:lnTo>
                    <a:pt x="118618" y="202260"/>
                  </a:lnTo>
                  <a:lnTo>
                    <a:pt x="118618" y="200876"/>
                  </a:lnTo>
                  <a:lnTo>
                    <a:pt x="118618" y="202260"/>
                  </a:lnTo>
                  <a:lnTo>
                    <a:pt x="118618" y="200876"/>
                  </a:lnTo>
                  <a:lnTo>
                    <a:pt x="118669" y="200876"/>
                  </a:lnTo>
                  <a:lnTo>
                    <a:pt x="118669" y="200228"/>
                  </a:lnTo>
                  <a:lnTo>
                    <a:pt x="118669" y="200876"/>
                  </a:lnTo>
                  <a:lnTo>
                    <a:pt x="118669" y="200228"/>
                  </a:lnTo>
                  <a:lnTo>
                    <a:pt x="118669" y="200876"/>
                  </a:lnTo>
                  <a:lnTo>
                    <a:pt x="118720" y="200228"/>
                  </a:lnTo>
                  <a:lnTo>
                    <a:pt x="118720" y="197447"/>
                  </a:lnTo>
                  <a:lnTo>
                    <a:pt x="118720" y="198831"/>
                  </a:lnTo>
                  <a:lnTo>
                    <a:pt x="118720" y="197447"/>
                  </a:lnTo>
                  <a:lnTo>
                    <a:pt x="118822" y="197447"/>
                  </a:lnTo>
                  <a:lnTo>
                    <a:pt x="118822" y="198831"/>
                  </a:lnTo>
                  <a:lnTo>
                    <a:pt x="118822" y="197447"/>
                  </a:lnTo>
                  <a:lnTo>
                    <a:pt x="118822" y="198831"/>
                  </a:lnTo>
                  <a:lnTo>
                    <a:pt x="118822" y="197447"/>
                  </a:lnTo>
                  <a:lnTo>
                    <a:pt x="118873" y="197447"/>
                  </a:lnTo>
                  <a:lnTo>
                    <a:pt x="118873" y="200228"/>
                  </a:lnTo>
                  <a:lnTo>
                    <a:pt x="118923" y="200228"/>
                  </a:lnTo>
                  <a:lnTo>
                    <a:pt x="118923" y="199530"/>
                  </a:lnTo>
                  <a:lnTo>
                    <a:pt x="118923" y="200876"/>
                  </a:lnTo>
                  <a:lnTo>
                    <a:pt x="118923" y="200228"/>
                  </a:lnTo>
                  <a:lnTo>
                    <a:pt x="119025" y="200228"/>
                  </a:lnTo>
                  <a:lnTo>
                    <a:pt x="119025" y="200876"/>
                  </a:lnTo>
                  <a:lnTo>
                    <a:pt x="119025" y="200228"/>
                  </a:lnTo>
                  <a:lnTo>
                    <a:pt x="119025" y="200876"/>
                  </a:lnTo>
                  <a:lnTo>
                    <a:pt x="119025" y="200228"/>
                  </a:lnTo>
                  <a:lnTo>
                    <a:pt x="119025" y="200876"/>
                  </a:lnTo>
                  <a:lnTo>
                    <a:pt x="119025" y="200228"/>
                  </a:lnTo>
                  <a:lnTo>
                    <a:pt x="119025" y="200876"/>
                  </a:lnTo>
                  <a:lnTo>
                    <a:pt x="119063" y="200228"/>
                  </a:lnTo>
                  <a:lnTo>
                    <a:pt x="119063" y="200876"/>
                  </a:lnTo>
                  <a:lnTo>
                    <a:pt x="119063" y="200228"/>
                  </a:lnTo>
                  <a:lnTo>
                    <a:pt x="119063" y="200876"/>
                  </a:lnTo>
                  <a:lnTo>
                    <a:pt x="119114" y="200876"/>
                  </a:lnTo>
                  <a:lnTo>
                    <a:pt x="119114" y="202260"/>
                  </a:lnTo>
                  <a:lnTo>
                    <a:pt x="119114" y="200228"/>
                  </a:lnTo>
                  <a:lnTo>
                    <a:pt x="119114" y="200876"/>
                  </a:lnTo>
                  <a:lnTo>
                    <a:pt x="119165" y="200876"/>
                  </a:lnTo>
                  <a:lnTo>
                    <a:pt x="119165" y="200228"/>
                  </a:lnTo>
                  <a:lnTo>
                    <a:pt x="119266" y="200228"/>
                  </a:lnTo>
                  <a:lnTo>
                    <a:pt x="119266" y="197447"/>
                  </a:lnTo>
                  <a:lnTo>
                    <a:pt x="119317" y="196799"/>
                  </a:lnTo>
                  <a:lnTo>
                    <a:pt x="119317" y="197447"/>
                  </a:lnTo>
                  <a:lnTo>
                    <a:pt x="119368" y="197447"/>
                  </a:lnTo>
                  <a:lnTo>
                    <a:pt x="119368" y="196799"/>
                  </a:lnTo>
                  <a:lnTo>
                    <a:pt x="119368" y="199530"/>
                  </a:lnTo>
                  <a:lnTo>
                    <a:pt x="119368" y="198831"/>
                  </a:lnTo>
                  <a:lnTo>
                    <a:pt x="119368" y="199530"/>
                  </a:lnTo>
                  <a:lnTo>
                    <a:pt x="119368" y="198831"/>
                  </a:lnTo>
                  <a:lnTo>
                    <a:pt x="119469" y="198831"/>
                  </a:lnTo>
                  <a:lnTo>
                    <a:pt x="119469" y="197447"/>
                  </a:lnTo>
                  <a:lnTo>
                    <a:pt x="119469" y="200228"/>
                  </a:lnTo>
                  <a:lnTo>
                    <a:pt x="119469" y="199530"/>
                  </a:lnTo>
                  <a:lnTo>
                    <a:pt x="119520" y="199530"/>
                  </a:lnTo>
                  <a:lnTo>
                    <a:pt x="119520" y="200228"/>
                  </a:lnTo>
                  <a:lnTo>
                    <a:pt x="119571" y="200228"/>
                  </a:lnTo>
                  <a:lnTo>
                    <a:pt x="119571" y="200876"/>
                  </a:lnTo>
                  <a:lnTo>
                    <a:pt x="119571" y="200228"/>
                  </a:lnTo>
                  <a:lnTo>
                    <a:pt x="119571" y="200876"/>
                  </a:lnTo>
                  <a:lnTo>
                    <a:pt x="119571" y="200228"/>
                  </a:lnTo>
                  <a:lnTo>
                    <a:pt x="119571" y="200876"/>
                  </a:lnTo>
                  <a:lnTo>
                    <a:pt x="119609" y="200876"/>
                  </a:lnTo>
                  <a:lnTo>
                    <a:pt x="119609" y="202260"/>
                  </a:lnTo>
                  <a:lnTo>
                    <a:pt x="119609" y="200876"/>
                  </a:lnTo>
                  <a:lnTo>
                    <a:pt x="119711" y="202260"/>
                  </a:lnTo>
                  <a:lnTo>
                    <a:pt x="119711" y="200228"/>
                  </a:lnTo>
                  <a:lnTo>
                    <a:pt x="119711" y="200876"/>
                  </a:lnTo>
                  <a:lnTo>
                    <a:pt x="119711" y="200228"/>
                  </a:lnTo>
                  <a:lnTo>
                    <a:pt x="119711" y="200876"/>
                  </a:lnTo>
                  <a:lnTo>
                    <a:pt x="119711" y="200228"/>
                  </a:lnTo>
                  <a:lnTo>
                    <a:pt x="119761" y="200228"/>
                  </a:lnTo>
                  <a:lnTo>
                    <a:pt x="119761" y="199530"/>
                  </a:lnTo>
                  <a:lnTo>
                    <a:pt x="119761" y="200228"/>
                  </a:lnTo>
                  <a:lnTo>
                    <a:pt x="119761" y="197447"/>
                  </a:lnTo>
                  <a:lnTo>
                    <a:pt x="119761" y="198831"/>
                  </a:lnTo>
                  <a:lnTo>
                    <a:pt x="119812" y="198831"/>
                  </a:lnTo>
                  <a:lnTo>
                    <a:pt x="119812" y="197447"/>
                  </a:lnTo>
                  <a:lnTo>
                    <a:pt x="119812" y="198831"/>
                  </a:lnTo>
                  <a:lnTo>
                    <a:pt x="119812" y="197447"/>
                  </a:lnTo>
                  <a:lnTo>
                    <a:pt x="119914" y="197447"/>
                  </a:lnTo>
                  <a:lnTo>
                    <a:pt x="119914" y="200228"/>
                  </a:lnTo>
                  <a:lnTo>
                    <a:pt x="119914" y="199530"/>
                  </a:lnTo>
                  <a:lnTo>
                    <a:pt x="119914" y="200228"/>
                  </a:lnTo>
                  <a:lnTo>
                    <a:pt x="119914" y="198831"/>
                  </a:lnTo>
                  <a:lnTo>
                    <a:pt x="119914" y="199530"/>
                  </a:lnTo>
                  <a:lnTo>
                    <a:pt x="119914" y="198831"/>
                  </a:lnTo>
                  <a:lnTo>
                    <a:pt x="119965" y="199530"/>
                  </a:lnTo>
                  <a:lnTo>
                    <a:pt x="119965" y="198831"/>
                  </a:lnTo>
                  <a:lnTo>
                    <a:pt x="119965" y="199530"/>
                  </a:lnTo>
                  <a:lnTo>
                    <a:pt x="120016" y="199530"/>
                  </a:lnTo>
                  <a:lnTo>
                    <a:pt x="120016" y="198831"/>
                  </a:lnTo>
                  <a:lnTo>
                    <a:pt x="120016" y="199530"/>
                  </a:lnTo>
                  <a:lnTo>
                    <a:pt x="120066" y="199530"/>
                  </a:lnTo>
                  <a:lnTo>
                    <a:pt x="120066" y="200228"/>
                  </a:lnTo>
                  <a:lnTo>
                    <a:pt x="120066" y="199530"/>
                  </a:lnTo>
                  <a:lnTo>
                    <a:pt x="120066" y="200228"/>
                  </a:lnTo>
                  <a:lnTo>
                    <a:pt x="120155" y="200228"/>
                  </a:lnTo>
                  <a:lnTo>
                    <a:pt x="120155" y="199530"/>
                  </a:lnTo>
                  <a:lnTo>
                    <a:pt x="120155" y="200228"/>
                  </a:lnTo>
                  <a:lnTo>
                    <a:pt x="120155" y="199530"/>
                  </a:lnTo>
                  <a:lnTo>
                    <a:pt x="120155" y="200228"/>
                  </a:lnTo>
                  <a:lnTo>
                    <a:pt x="120155" y="199530"/>
                  </a:lnTo>
                  <a:lnTo>
                    <a:pt x="120155" y="200876"/>
                  </a:lnTo>
                  <a:lnTo>
                    <a:pt x="120206" y="200228"/>
                  </a:lnTo>
                  <a:lnTo>
                    <a:pt x="120206" y="199530"/>
                  </a:lnTo>
                  <a:lnTo>
                    <a:pt x="120206" y="200228"/>
                  </a:lnTo>
                  <a:lnTo>
                    <a:pt x="120206" y="199530"/>
                  </a:lnTo>
                  <a:lnTo>
                    <a:pt x="120257" y="199530"/>
                  </a:lnTo>
                  <a:lnTo>
                    <a:pt x="120257" y="197447"/>
                  </a:lnTo>
                  <a:lnTo>
                    <a:pt x="120257" y="200228"/>
                  </a:lnTo>
                  <a:lnTo>
                    <a:pt x="120257" y="199530"/>
                  </a:lnTo>
                  <a:lnTo>
                    <a:pt x="120308" y="199530"/>
                  </a:lnTo>
                  <a:lnTo>
                    <a:pt x="120308" y="197447"/>
                  </a:lnTo>
                  <a:lnTo>
                    <a:pt x="120308" y="202260"/>
                  </a:lnTo>
                  <a:lnTo>
                    <a:pt x="120308" y="200876"/>
                  </a:lnTo>
                  <a:lnTo>
                    <a:pt x="120409" y="200876"/>
                  </a:lnTo>
                  <a:lnTo>
                    <a:pt x="120409" y="200228"/>
                  </a:lnTo>
                  <a:lnTo>
                    <a:pt x="120409" y="200876"/>
                  </a:lnTo>
                  <a:lnTo>
                    <a:pt x="120460" y="200876"/>
                  </a:lnTo>
                  <a:lnTo>
                    <a:pt x="120460" y="200228"/>
                  </a:lnTo>
                  <a:lnTo>
                    <a:pt x="120460" y="200876"/>
                  </a:lnTo>
                  <a:lnTo>
                    <a:pt x="120460" y="200228"/>
                  </a:lnTo>
                  <a:lnTo>
                    <a:pt x="120460" y="200876"/>
                  </a:lnTo>
                  <a:lnTo>
                    <a:pt x="120511" y="200876"/>
                  </a:lnTo>
                  <a:lnTo>
                    <a:pt x="120511" y="200228"/>
                  </a:lnTo>
                  <a:lnTo>
                    <a:pt x="120511" y="200876"/>
                  </a:lnTo>
                  <a:lnTo>
                    <a:pt x="120511" y="200228"/>
                  </a:lnTo>
                  <a:lnTo>
                    <a:pt x="120511" y="200876"/>
                  </a:lnTo>
                  <a:lnTo>
                    <a:pt x="120511" y="200228"/>
                  </a:lnTo>
                  <a:lnTo>
                    <a:pt x="120511" y="200876"/>
                  </a:lnTo>
                  <a:lnTo>
                    <a:pt x="120511" y="200228"/>
                  </a:lnTo>
                  <a:lnTo>
                    <a:pt x="120612" y="200228"/>
                  </a:lnTo>
                  <a:lnTo>
                    <a:pt x="120612" y="202260"/>
                  </a:lnTo>
                  <a:lnTo>
                    <a:pt x="120612" y="200876"/>
                  </a:lnTo>
                  <a:lnTo>
                    <a:pt x="120612" y="202260"/>
                  </a:lnTo>
                  <a:lnTo>
                    <a:pt x="120612" y="200876"/>
                  </a:lnTo>
                  <a:lnTo>
                    <a:pt x="120650" y="200876"/>
                  </a:lnTo>
                  <a:lnTo>
                    <a:pt x="120650" y="202260"/>
                  </a:lnTo>
                  <a:lnTo>
                    <a:pt x="120650" y="200876"/>
                  </a:lnTo>
                  <a:lnTo>
                    <a:pt x="120650" y="202260"/>
                  </a:lnTo>
                  <a:lnTo>
                    <a:pt x="120650" y="200228"/>
                  </a:lnTo>
                  <a:lnTo>
                    <a:pt x="120701" y="200228"/>
                  </a:lnTo>
                  <a:lnTo>
                    <a:pt x="120701" y="199530"/>
                  </a:lnTo>
                  <a:lnTo>
                    <a:pt x="120701" y="200228"/>
                  </a:lnTo>
                  <a:lnTo>
                    <a:pt x="120701" y="198831"/>
                  </a:lnTo>
                  <a:lnTo>
                    <a:pt x="120701" y="199530"/>
                  </a:lnTo>
                  <a:lnTo>
                    <a:pt x="120752" y="199530"/>
                  </a:lnTo>
                  <a:lnTo>
                    <a:pt x="120752" y="197447"/>
                  </a:lnTo>
                  <a:lnTo>
                    <a:pt x="120752" y="199530"/>
                  </a:lnTo>
                  <a:lnTo>
                    <a:pt x="120854" y="199530"/>
                  </a:lnTo>
                  <a:lnTo>
                    <a:pt x="120854" y="198831"/>
                  </a:lnTo>
                  <a:lnTo>
                    <a:pt x="120854" y="200876"/>
                  </a:lnTo>
                  <a:lnTo>
                    <a:pt x="120905" y="200876"/>
                  </a:lnTo>
                  <a:lnTo>
                    <a:pt x="120905" y="200228"/>
                  </a:lnTo>
                  <a:lnTo>
                    <a:pt x="120905" y="202260"/>
                  </a:lnTo>
                  <a:lnTo>
                    <a:pt x="120905" y="200876"/>
                  </a:lnTo>
                  <a:lnTo>
                    <a:pt x="120955" y="200876"/>
                  </a:lnTo>
                  <a:lnTo>
                    <a:pt x="120955" y="202260"/>
                  </a:lnTo>
                  <a:lnTo>
                    <a:pt x="120955" y="200876"/>
                  </a:lnTo>
                  <a:lnTo>
                    <a:pt x="121057" y="200876"/>
                  </a:lnTo>
                  <a:lnTo>
                    <a:pt x="121057" y="202260"/>
                  </a:lnTo>
                  <a:lnTo>
                    <a:pt x="121057" y="200876"/>
                  </a:lnTo>
                  <a:lnTo>
                    <a:pt x="121057" y="202260"/>
                  </a:lnTo>
                  <a:lnTo>
                    <a:pt x="121057" y="200876"/>
                  </a:lnTo>
                  <a:lnTo>
                    <a:pt x="121057" y="202260"/>
                  </a:lnTo>
                  <a:lnTo>
                    <a:pt x="121108" y="200876"/>
                  </a:lnTo>
                  <a:lnTo>
                    <a:pt x="121108" y="202260"/>
                  </a:lnTo>
                  <a:lnTo>
                    <a:pt x="121108" y="200876"/>
                  </a:lnTo>
                  <a:lnTo>
                    <a:pt x="121108" y="202260"/>
                  </a:lnTo>
                  <a:lnTo>
                    <a:pt x="121108" y="200876"/>
                  </a:lnTo>
                  <a:lnTo>
                    <a:pt x="121159" y="200876"/>
                  </a:lnTo>
                  <a:lnTo>
                    <a:pt x="121159" y="202260"/>
                  </a:lnTo>
                  <a:lnTo>
                    <a:pt x="121159" y="200228"/>
                  </a:lnTo>
                  <a:lnTo>
                    <a:pt x="121159" y="200876"/>
                  </a:lnTo>
                  <a:lnTo>
                    <a:pt x="121159" y="200228"/>
                  </a:lnTo>
                  <a:lnTo>
                    <a:pt x="121197" y="200228"/>
                  </a:lnTo>
                  <a:lnTo>
                    <a:pt x="121197" y="199530"/>
                  </a:lnTo>
                  <a:lnTo>
                    <a:pt x="121197" y="200228"/>
                  </a:lnTo>
                  <a:lnTo>
                    <a:pt x="121197" y="199530"/>
                  </a:lnTo>
                  <a:lnTo>
                    <a:pt x="121197" y="200228"/>
                  </a:lnTo>
                  <a:lnTo>
                    <a:pt x="121197" y="197447"/>
                  </a:lnTo>
                  <a:lnTo>
                    <a:pt x="121298" y="197447"/>
                  </a:lnTo>
                  <a:lnTo>
                    <a:pt x="121298" y="198831"/>
                  </a:lnTo>
                  <a:lnTo>
                    <a:pt x="121298" y="197447"/>
                  </a:lnTo>
                  <a:lnTo>
                    <a:pt x="121298" y="198831"/>
                  </a:lnTo>
                  <a:lnTo>
                    <a:pt x="121298" y="197447"/>
                  </a:lnTo>
                  <a:lnTo>
                    <a:pt x="121298" y="198831"/>
                  </a:lnTo>
                  <a:lnTo>
                    <a:pt x="121298" y="197447"/>
                  </a:lnTo>
                  <a:lnTo>
                    <a:pt x="121349" y="197447"/>
                  </a:lnTo>
                  <a:lnTo>
                    <a:pt x="121349" y="200876"/>
                  </a:lnTo>
                  <a:lnTo>
                    <a:pt x="121400" y="200876"/>
                  </a:lnTo>
                  <a:lnTo>
                    <a:pt x="121400" y="200228"/>
                  </a:lnTo>
                  <a:lnTo>
                    <a:pt x="121400" y="200876"/>
                  </a:lnTo>
                  <a:lnTo>
                    <a:pt x="121400" y="200228"/>
                  </a:lnTo>
                  <a:lnTo>
                    <a:pt x="121400" y="200876"/>
                  </a:lnTo>
                  <a:lnTo>
                    <a:pt x="121400" y="200228"/>
                  </a:lnTo>
                  <a:lnTo>
                    <a:pt x="121501" y="200228"/>
                  </a:lnTo>
                  <a:lnTo>
                    <a:pt x="121501" y="202260"/>
                  </a:lnTo>
                  <a:lnTo>
                    <a:pt x="121501" y="200876"/>
                  </a:lnTo>
                  <a:lnTo>
                    <a:pt x="121552" y="202260"/>
                  </a:lnTo>
                  <a:lnTo>
                    <a:pt x="121552" y="200876"/>
                  </a:lnTo>
                  <a:lnTo>
                    <a:pt x="121552" y="202260"/>
                  </a:lnTo>
                  <a:lnTo>
                    <a:pt x="121603" y="202260"/>
                  </a:lnTo>
                  <a:lnTo>
                    <a:pt x="121603" y="200876"/>
                  </a:lnTo>
                  <a:lnTo>
                    <a:pt x="121654" y="202260"/>
                  </a:lnTo>
                  <a:lnTo>
                    <a:pt x="121654" y="200876"/>
                  </a:lnTo>
                  <a:lnTo>
                    <a:pt x="121654" y="202260"/>
                  </a:lnTo>
                  <a:lnTo>
                    <a:pt x="121654" y="200228"/>
                  </a:lnTo>
                  <a:lnTo>
                    <a:pt x="121654" y="200876"/>
                  </a:lnTo>
                  <a:lnTo>
                    <a:pt x="121654" y="200228"/>
                  </a:lnTo>
                  <a:lnTo>
                    <a:pt x="121743" y="200228"/>
                  </a:lnTo>
                  <a:lnTo>
                    <a:pt x="121743" y="197447"/>
                  </a:lnTo>
                  <a:lnTo>
                    <a:pt x="121793" y="198831"/>
                  </a:lnTo>
                  <a:lnTo>
                    <a:pt x="121793" y="199530"/>
                  </a:lnTo>
                  <a:lnTo>
                    <a:pt x="121793" y="197447"/>
                  </a:lnTo>
                  <a:lnTo>
                    <a:pt x="121793" y="200228"/>
                  </a:lnTo>
                  <a:lnTo>
                    <a:pt x="121844" y="200228"/>
                  </a:lnTo>
                  <a:lnTo>
                    <a:pt x="121844" y="200876"/>
                  </a:lnTo>
                  <a:lnTo>
                    <a:pt x="121844" y="200228"/>
                  </a:lnTo>
                  <a:lnTo>
                    <a:pt x="121844" y="200876"/>
                  </a:lnTo>
                  <a:lnTo>
                    <a:pt x="121895" y="200876"/>
                  </a:lnTo>
                  <a:lnTo>
                    <a:pt x="121895" y="200228"/>
                  </a:lnTo>
                  <a:lnTo>
                    <a:pt x="121895" y="202260"/>
                  </a:lnTo>
                  <a:lnTo>
                    <a:pt x="121895" y="200876"/>
                  </a:lnTo>
                  <a:lnTo>
                    <a:pt x="121997" y="200876"/>
                  </a:lnTo>
                  <a:lnTo>
                    <a:pt x="121997" y="200228"/>
                  </a:lnTo>
                  <a:lnTo>
                    <a:pt x="121997" y="202260"/>
                  </a:lnTo>
                  <a:lnTo>
                    <a:pt x="122048" y="200876"/>
                  </a:lnTo>
                  <a:lnTo>
                    <a:pt x="122048" y="202260"/>
                  </a:lnTo>
                  <a:lnTo>
                    <a:pt x="122048" y="200876"/>
                  </a:lnTo>
                  <a:lnTo>
                    <a:pt x="122048" y="202260"/>
                  </a:lnTo>
                  <a:lnTo>
                    <a:pt x="122048" y="200876"/>
                  </a:lnTo>
                  <a:lnTo>
                    <a:pt x="122048" y="202260"/>
                  </a:lnTo>
                  <a:lnTo>
                    <a:pt x="122048" y="200876"/>
                  </a:lnTo>
                  <a:lnTo>
                    <a:pt x="122098" y="200876"/>
                  </a:lnTo>
                  <a:lnTo>
                    <a:pt x="122098" y="202260"/>
                  </a:lnTo>
                  <a:lnTo>
                    <a:pt x="122098" y="200876"/>
                  </a:lnTo>
                  <a:lnTo>
                    <a:pt x="122098" y="202260"/>
                  </a:lnTo>
                  <a:lnTo>
                    <a:pt x="122098" y="200876"/>
                  </a:lnTo>
                  <a:lnTo>
                    <a:pt x="122098" y="202260"/>
                  </a:lnTo>
                  <a:lnTo>
                    <a:pt x="122098" y="200876"/>
                  </a:lnTo>
                  <a:lnTo>
                    <a:pt x="122200" y="200876"/>
                  </a:lnTo>
                  <a:lnTo>
                    <a:pt x="122200" y="200228"/>
                  </a:lnTo>
                  <a:lnTo>
                    <a:pt x="122200" y="200876"/>
                  </a:lnTo>
                  <a:lnTo>
                    <a:pt x="122200" y="200228"/>
                  </a:lnTo>
                  <a:lnTo>
                    <a:pt x="122200" y="200876"/>
                  </a:lnTo>
                  <a:lnTo>
                    <a:pt x="122200" y="199530"/>
                  </a:lnTo>
                  <a:lnTo>
                    <a:pt x="122200" y="200228"/>
                  </a:lnTo>
                  <a:lnTo>
                    <a:pt x="122200" y="199530"/>
                  </a:lnTo>
                  <a:lnTo>
                    <a:pt x="122238" y="199530"/>
                  </a:lnTo>
                  <a:lnTo>
                    <a:pt x="122238" y="196799"/>
                  </a:lnTo>
                  <a:lnTo>
                    <a:pt x="122238" y="197447"/>
                  </a:lnTo>
                  <a:lnTo>
                    <a:pt x="122238" y="196799"/>
                  </a:lnTo>
                  <a:lnTo>
                    <a:pt x="122238" y="197447"/>
                  </a:lnTo>
                  <a:lnTo>
                    <a:pt x="122289" y="197447"/>
                  </a:lnTo>
                  <a:lnTo>
                    <a:pt x="122289" y="198831"/>
                  </a:lnTo>
                  <a:lnTo>
                    <a:pt x="122289" y="197447"/>
                  </a:lnTo>
                  <a:lnTo>
                    <a:pt x="122289" y="198831"/>
                  </a:lnTo>
                  <a:lnTo>
                    <a:pt x="122289" y="197447"/>
                  </a:lnTo>
                  <a:lnTo>
                    <a:pt x="122289" y="198831"/>
                  </a:lnTo>
                  <a:lnTo>
                    <a:pt x="122289" y="197447"/>
                  </a:lnTo>
                  <a:lnTo>
                    <a:pt x="122289" y="200228"/>
                  </a:lnTo>
                  <a:lnTo>
                    <a:pt x="122340" y="200228"/>
                  </a:lnTo>
                  <a:lnTo>
                    <a:pt x="122340" y="199530"/>
                  </a:lnTo>
                  <a:lnTo>
                    <a:pt x="122340" y="200228"/>
                  </a:lnTo>
                  <a:lnTo>
                    <a:pt x="122340" y="199530"/>
                  </a:lnTo>
                  <a:lnTo>
                    <a:pt x="122340" y="200228"/>
                  </a:lnTo>
                  <a:lnTo>
                    <a:pt x="122441" y="199530"/>
                  </a:lnTo>
                  <a:lnTo>
                    <a:pt x="122441" y="200228"/>
                  </a:lnTo>
                  <a:lnTo>
                    <a:pt x="122441" y="199530"/>
                  </a:lnTo>
                  <a:lnTo>
                    <a:pt x="122441" y="200228"/>
                  </a:lnTo>
                  <a:lnTo>
                    <a:pt x="122441" y="199530"/>
                  </a:lnTo>
                  <a:lnTo>
                    <a:pt x="122441" y="200228"/>
                  </a:lnTo>
                  <a:lnTo>
                    <a:pt x="122492" y="200228"/>
                  </a:lnTo>
                  <a:lnTo>
                    <a:pt x="122492" y="200876"/>
                  </a:lnTo>
                  <a:lnTo>
                    <a:pt x="122543" y="200876"/>
                  </a:lnTo>
                  <a:lnTo>
                    <a:pt x="122543" y="202260"/>
                  </a:lnTo>
                  <a:lnTo>
                    <a:pt x="122543" y="200876"/>
                  </a:lnTo>
                  <a:lnTo>
                    <a:pt x="122644" y="200876"/>
                  </a:lnTo>
                  <a:lnTo>
                    <a:pt x="122644" y="202260"/>
                  </a:lnTo>
                  <a:lnTo>
                    <a:pt x="122644" y="200228"/>
                  </a:lnTo>
                  <a:lnTo>
                    <a:pt x="122644" y="200876"/>
                  </a:lnTo>
                  <a:lnTo>
                    <a:pt x="122695" y="200876"/>
                  </a:lnTo>
                  <a:lnTo>
                    <a:pt x="122695" y="198831"/>
                  </a:lnTo>
                  <a:lnTo>
                    <a:pt x="122746" y="198831"/>
                  </a:lnTo>
                  <a:lnTo>
                    <a:pt x="122746" y="197447"/>
                  </a:lnTo>
                  <a:lnTo>
                    <a:pt x="122746" y="198831"/>
                  </a:lnTo>
                  <a:lnTo>
                    <a:pt x="122746" y="196799"/>
                  </a:lnTo>
                  <a:lnTo>
                    <a:pt x="122746" y="197447"/>
                  </a:lnTo>
                  <a:lnTo>
                    <a:pt x="122784" y="197447"/>
                  </a:lnTo>
                  <a:lnTo>
                    <a:pt x="122784" y="198831"/>
                  </a:lnTo>
                  <a:lnTo>
                    <a:pt x="122784" y="195415"/>
                  </a:lnTo>
                  <a:lnTo>
                    <a:pt x="122784" y="200228"/>
                  </a:lnTo>
                  <a:lnTo>
                    <a:pt x="122886" y="200228"/>
                  </a:lnTo>
                  <a:lnTo>
                    <a:pt x="122886" y="196799"/>
                  </a:lnTo>
                  <a:lnTo>
                    <a:pt x="122886" y="199530"/>
                  </a:lnTo>
                  <a:lnTo>
                    <a:pt x="122886" y="198831"/>
                  </a:lnTo>
                  <a:lnTo>
                    <a:pt x="122936" y="198831"/>
                  </a:lnTo>
                  <a:lnTo>
                    <a:pt x="122936" y="199530"/>
                  </a:lnTo>
                  <a:lnTo>
                    <a:pt x="122936" y="198831"/>
                  </a:lnTo>
                  <a:lnTo>
                    <a:pt x="122936" y="199530"/>
                  </a:lnTo>
                  <a:lnTo>
                    <a:pt x="122936" y="197447"/>
                  </a:lnTo>
                  <a:lnTo>
                    <a:pt x="122936" y="199530"/>
                  </a:lnTo>
                  <a:lnTo>
                    <a:pt x="122936" y="198831"/>
                  </a:lnTo>
                  <a:lnTo>
                    <a:pt x="122936" y="199530"/>
                  </a:lnTo>
                  <a:lnTo>
                    <a:pt x="122936" y="198831"/>
                  </a:lnTo>
                  <a:lnTo>
                    <a:pt x="122936" y="199530"/>
                  </a:lnTo>
                  <a:lnTo>
                    <a:pt x="122987" y="199530"/>
                  </a:lnTo>
                  <a:lnTo>
                    <a:pt x="122987" y="198831"/>
                  </a:lnTo>
                  <a:lnTo>
                    <a:pt x="122987" y="199530"/>
                  </a:lnTo>
                  <a:lnTo>
                    <a:pt x="122987" y="198831"/>
                  </a:lnTo>
                  <a:lnTo>
                    <a:pt x="122987" y="199530"/>
                  </a:lnTo>
                  <a:lnTo>
                    <a:pt x="122987" y="197447"/>
                  </a:lnTo>
                  <a:lnTo>
                    <a:pt x="122987" y="200228"/>
                  </a:lnTo>
                  <a:lnTo>
                    <a:pt x="122987" y="199530"/>
                  </a:lnTo>
                  <a:lnTo>
                    <a:pt x="122987" y="200228"/>
                  </a:lnTo>
                  <a:lnTo>
                    <a:pt x="122987" y="199530"/>
                  </a:lnTo>
                  <a:lnTo>
                    <a:pt x="123089" y="199530"/>
                  </a:lnTo>
                  <a:lnTo>
                    <a:pt x="123089" y="200228"/>
                  </a:lnTo>
                  <a:lnTo>
                    <a:pt x="123089" y="199530"/>
                  </a:lnTo>
                  <a:lnTo>
                    <a:pt x="123089" y="200876"/>
                  </a:lnTo>
                  <a:lnTo>
                    <a:pt x="123089" y="200228"/>
                  </a:lnTo>
                  <a:lnTo>
                    <a:pt x="123140" y="200228"/>
                  </a:lnTo>
                  <a:lnTo>
                    <a:pt x="123140" y="200876"/>
                  </a:lnTo>
                  <a:lnTo>
                    <a:pt x="123140" y="200228"/>
                  </a:lnTo>
                  <a:lnTo>
                    <a:pt x="123140" y="200876"/>
                  </a:lnTo>
                  <a:lnTo>
                    <a:pt x="123140" y="199530"/>
                  </a:lnTo>
                  <a:lnTo>
                    <a:pt x="123140" y="200228"/>
                  </a:lnTo>
                  <a:lnTo>
                    <a:pt x="123191" y="200228"/>
                  </a:lnTo>
                  <a:lnTo>
                    <a:pt x="123191" y="199530"/>
                  </a:lnTo>
                  <a:lnTo>
                    <a:pt x="123191" y="200228"/>
                  </a:lnTo>
                  <a:lnTo>
                    <a:pt x="123191" y="198831"/>
                  </a:lnTo>
                  <a:lnTo>
                    <a:pt x="123191" y="199530"/>
                  </a:lnTo>
                  <a:lnTo>
                    <a:pt x="123191" y="198831"/>
                  </a:lnTo>
                  <a:lnTo>
                    <a:pt x="123241" y="198831"/>
                  </a:lnTo>
                  <a:lnTo>
                    <a:pt x="123241" y="196799"/>
                  </a:lnTo>
                  <a:lnTo>
                    <a:pt x="123241" y="199530"/>
                  </a:lnTo>
                  <a:lnTo>
                    <a:pt x="123330" y="199530"/>
                  </a:lnTo>
                  <a:lnTo>
                    <a:pt x="123330" y="196799"/>
                  </a:lnTo>
                  <a:lnTo>
                    <a:pt x="123330" y="200228"/>
                  </a:lnTo>
                  <a:lnTo>
                    <a:pt x="123381" y="200228"/>
                  </a:lnTo>
                  <a:lnTo>
                    <a:pt x="123381" y="198831"/>
                  </a:lnTo>
                  <a:lnTo>
                    <a:pt x="123381" y="199530"/>
                  </a:lnTo>
                  <a:lnTo>
                    <a:pt x="123381" y="198831"/>
                  </a:lnTo>
                  <a:lnTo>
                    <a:pt x="123381" y="200228"/>
                  </a:lnTo>
                  <a:lnTo>
                    <a:pt x="123381" y="199530"/>
                  </a:lnTo>
                  <a:lnTo>
                    <a:pt x="123432" y="199530"/>
                  </a:lnTo>
                  <a:lnTo>
                    <a:pt x="123432" y="198831"/>
                  </a:lnTo>
                  <a:lnTo>
                    <a:pt x="123432" y="199530"/>
                  </a:lnTo>
                  <a:lnTo>
                    <a:pt x="123483" y="199530"/>
                  </a:lnTo>
                  <a:lnTo>
                    <a:pt x="123483" y="200228"/>
                  </a:lnTo>
                  <a:lnTo>
                    <a:pt x="123483" y="199530"/>
                  </a:lnTo>
                  <a:lnTo>
                    <a:pt x="123483" y="200876"/>
                  </a:lnTo>
                  <a:lnTo>
                    <a:pt x="123483" y="200228"/>
                  </a:lnTo>
                  <a:lnTo>
                    <a:pt x="123584" y="200228"/>
                  </a:lnTo>
                  <a:lnTo>
                    <a:pt x="123584" y="200876"/>
                  </a:lnTo>
                  <a:lnTo>
                    <a:pt x="123584" y="200228"/>
                  </a:lnTo>
                  <a:lnTo>
                    <a:pt x="123584" y="200876"/>
                  </a:lnTo>
                  <a:lnTo>
                    <a:pt x="123584" y="200228"/>
                  </a:lnTo>
                  <a:lnTo>
                    <a:pt x="123584" y="200876"/>
                  </a:lnTo>
                  <a:lnTo>
                    <a:pt x="123635" y="200876"/>
                  </a:lnTo>
                  <a:lnTo>
                    <a:pt x="123635" y="202260"/>
                  </a:lnTo>
                  <a:lnTo>
                    <a:pt x="123635" y="200228"/>
                  </a:lnTo>
                  <a:lnTo>
                    <a:pt x="123635" y="200876"/>
                  </a:lnTo>
                  <a:lnTo>
                    <a:pt x="123635" y="200228"/>
                  </a:lnTo>
                  <a:lnTo>
                    <a:pt x="123686" y="200228"/>
                  </a:lnTo>
                  <a:lnTo>
                    <a:pt x="123686" y="198831"/>
                  </a:lnTo>
                  <a:lnTo>
                    <a:pt x="123686" y="199530"/>
                  </a:lnTo>
                  <a:lnTo>
                    <a:pt x="123787" y="198831"/>
                  </a:lnTo>
                  <a:lnTo>
                    <a:pt x="123787" y="199530"/>
                  </a:lnTo>
                  <a:lnTo>
                    <a:pt x="123787" y="197447"/>
                  </a:lnTo>
                  <a:lnTo>
                    <a:pt x="123787" y="200228"/>
                  </a:lnTo>
                  <a:lnTo>
                    <a:pt x="123825" y="200228"/>
                  </a:lnTo>
                  <a:lnTo>
                    <a:pt x="123825" y="198831"/>
                  </a:lnTo>
                  <a:lnTo>
                    <a:pt x="123825" y="200876"/>
                  </a:lnTo>
                  <a:lnTo>
                    <a:pt x="123876" y="200228"/>
                  </a:lnTo>
                  <a:lnTo>
                    <a:pt x="123876" y="199530"/>
                  </a:lnTo>
                  <a:lnTo>
                    <a:pt x="123876" y="200228"/>
                  </a:lnTo>
                  <a:lnTo>
                    <a:pt x="123876" y="199530"/>
                  </a:lnTo>
                  <a:lnTo>
                    <a:pt x="123876" y="200228"/>
                  </a:lnTo>
                  <a:lnTo>
                    <a:pt x="123927" y="199530"/>
                  </a:lnTo>
                  <a:lnTo>
                    <a:pt x="123927" y="200228"/>
                  </a:lnTo>
                  <a:lnTo>
                    <a:pt x="123927" y="199530"/>
                  </a:lnTo>
                  <a:lnTo>
                    <a:pt x="123927" y="200228"/>
                  </a:lnTo>
                  <a:lnTo>
                    <a:pt x="124029" y="200228"/>
                  </a:lnTo>
                  <a:lnTo>
                    <a:pt x="124029" y="200876"/>
                  </a:lnTo>
                  <a:lnTo>
                    <a:pt x="124029" y="200228"/>
                  </a:lnTo>
                  <a:lnTo>
                    <a:pt x="124029" y="200876"/>
                  </a:lnTo>
                  <a:lnTo>
                    <a:pt x="124029" y="200228"/>
                  </a:lnTo>
                  <a:lnTo>
                    <a:pt x="124029" y="200876"/>
                  </a:lnTo>
                  <a:lnTo>
                    <a:pt x="124080" y="200876"/>
                  </a:lnTo>
                  <a:lnTo>
                    <a:pt x="124080" y="200228"/>
                  </a:lnTo>
                  <a:lnTo>
                    <a:pt x="124130" y="200876"/>
                  </a:lnTo>
                  <a:lnTo>
                    <a:pt x="124130" y="199530"/>
                  </a:lnTo>
                  <a:lnTo>
                    <a:pt x="124232" y="199530"/>
                  </a:lnTo>
                  <a:lnTo>
                    <a:pt x="124232" y="198831"/>
                  </a:lnTo>
                  <a:lnTo>
                    <a:pt x="124232" y="199530"/>
                  </a:lnTo>
                  <a:lnTo>
                    <a:pt x="124232" y="198831"/>
                  </a:lnTo>
                  <a:lnTo>
                    <a:pt x="124232" y="199530"/>
                  </a:lnTo>
                  <a:lnTo>
                    <a:pt x="124232" y="198831"/>
                  </a:lnTo>
                  <a:lnTo>
                    <a:pt x="124232" y="199530"/>
                  </a:lnTo>
                  <a:lnTo>
                    <a:pt x="124232" y="198831"/>
                  </a:lnTo>
                  <a:lnTo>
                    <a:pt x="124283" y="198831"/>
                  </a:lnTo>
                  <a:lnTo>
                    <a:pt x="124283" y="196799"/>
                  </a:lnTo>
                  <a:lnTo>
                    <a:pt x="124283" y="199530"/>
                  </a:lnTo>
                  <a:lnTo>
                    <a:pt x="124283" y="198831"/>
                  </a:lnTo>
                  <a:lnTo>
                    <a:pt x="124334" y="198831"/>
                  </a:lnTo>
                  <a:lnTo>
                    <a:pt x="124334" y="197447"/>
                  </a:lnTo>
                  <a:lnTo>
                    <a:pt x="124334" y="200228"/>
                  </a:lnTo>
                  <a:lnTo>
                    <a:pt x="124334" y="199530"/>
                  </a:lnTo>
                  <a:lnTo>
                    <a:pt x="124372" y="199530"/>
                  </a:lnTo>
                  <a:lnTo>
                    <a:pt x="124372" y="198831"/>
                  </a:lnTo>
                  <a:lnTo>
                    <a:pt x="124372" y="200228"/>
                  </a:lnTo>
                  <a:lnTo>
                    <a:pt x="124372" y="199530"/>
                  </a:lnTo>
                  <a:lnTo>
                    <a:pt x="124372" y="200228"/>
                  </a:lnTo>
                  <a:lnTo>
                    <a:pt x="124473" y="199530"/>
                  </a:lnTo>
                  <a:lnTo>
                    <a:pt x="124473" y="200876"/>
                  </a:lnTo>
                  <a:lnTo>
                    <a:pt x="124473" y="200228"/>
                  </a:lnTo>
                  <a:lnTo>
                    <a:pt x="124473" y="200876"/>
                  </a:lnTo>
                  <a:lnTo>
                    <a:pt x="124524" y="200876"/>
                  </a:lnTo>
                  <a:lnTo>
                    <a:pt x="124524" y="200228"/>
                  </a:lnTo>
                  <a:lnTo>
                    <a:pt x="124524" y="200876"/>
                  </a:lnTo>
                  <a:lnTo>
                    <a:pt x="124524" y="200228"/>
                  </a:lnTo>
                  <a:lnTo>
                    <a:pt x="124575" y="200876"/>
                  </a:lnTo>
                  <a:lnTo>
                    <a:pt x="124575" y="200228"/>
                  </a:lnTo>
                  <a:lnTo>
                    <a:pt x="124575" y="200876"/>
                  </a:lnTo>
                  <a:lnTo>
                    <a:pt x="124676" y="200876"/>
                  </a:lnTo>
                  <a:lnTo>
                    <a:pt x="124676" y="199530"/>
                  </a:lnTo>
                  <a:lnTo>
                    <a:pt x="124676" y="200228"/>
                  </a:lnTo>
                  <a:lnTo>
                    <a:pt x="124676" y="199530"/>
                  </a:lnTo>
                  <a:lnTo>
                    <a:pt x="124676" y="200228"/>
                  </a:lnTo>
                  <a:lnTo>
                    <a:pt x="124676" y="199530"/>
                  </a:lnTo>
                  <a:lnTo>
                    <a:pt x="124676" y="200228"/>
                  </a:lnTo>
                  <a:lnTo>
                    <a:pt x="124676" y="199530"/>
                  </a:lnTo>
                  <a:lnTo>
                    <a:pt x="124676" y="200228"/>
                  </a:lnTo>
                  <a:lnTo>
                    <a:pt x="124727" y="200228"/>
                  </a:lnTo>
                  <a:lnTo>
                    <a:pt x="124727" y="198831"/>
                  </a:lnTo>
                  <a:lnTo>
                    <a:pt x="124727" y="199530"/>
                  </a:lnTo>
                  <a:lnTo>
                    <a:pt x="124727" y="197447"/>
                  </a:lnTo>
                  <a:lnTo>
                    <a:pt x="124778" y="197447"/>
                  </a:lnTo>
                  <a:lnTo>
                    <a:pt x="124778" y="196799"/>
                  </a:lnTo>
                  <a:lnTo>
                    <a:pt x="124778" y="197447"/>
                  </a:lnTo>
                  <a:lnTo>
                    <a:pt x="124778" y="196799"/>
                  </a:lnTo>
                  <a:lnTo>
                    <a:pt x="124778" y="200228"/>
                  </a:lnTo>
                  <a:lnTo>
                    <a:pt x="124778" y="197447"/>
                  </a:lnTo>
                  <a:lnTo>
                    <a:pt x="124829" y="197447"/>
                  </a:lnTo>
                  <a:lnTo>
                    <a:pt x="124829" y="200876"/>
                  </a:lnTo>
                  <a:lnTo>
                    <a:pt x="124829" y="200228"/>
                  </a:lnTo>
                  <a:lnTo>
                    <a:pt x="124829" y="200876"/>
                  </a:lnTo>
                  <a:lnTo>
                    <a:pt x="124829" y="199530"/>
                  </a:lnTo>
                  <a:lnTo>
                    <a:pt x="124918" y="199530"/>
                  </a:lnTo>
                  <a:lnTo>
                    <a:pt x="124918" y="200876"/>
                  </a:lnTo>
                  <a:lnTo>
                    <a:pt x="124918" y="199530"/>
                  </a:lnTo>
                  <a:lnTo>
                    <a:pt x="124918" y="200228"/>
                  </a:lnTo>
                  <a:lnTo>
                    <a:pt x="124968" y="200228"/>
                  </a:lnTo>
                  <a:lnTo>
                    <a:pt x="124968" y="200876"/>
                  </a:lnTo>
                  <a:lnTo>
                    <a:pt x="124968" y="200228"/>
                  </a:lnTo>
                  <a:lnTo>
                    <a:pt x="124968" y="200876"/>
                  </a:lnTo>
                  <a:lnTo>
                    <a:pt x="124968" y="200228"/>
                  </a:lnTo>
                  <a:lnTo>
                    <a:pt x="124968" y="200876"/>
                  </a:lnTo>
                  <a:lnTo>
                    <a:pt x="125070" y="200876"/>
                  </a:lnTo>
                  <a:lnTo>
                    <a:pt x="125070" y="200228"/>
                  </a:lnTo>
                  <a:lnTo>
                    <a:pt x="125172" y="200228"/>
                  </a:lnTo>
                  <a:lnTo>
                    <a:pt x="125172" y="199530"/>
                  </a:lnTo>
                  <a:lnTo>
                    <a:pt x="125223" y="198831"/>
                  </a:lnTo>
                  <a:lnTo>
                    <a:pt x="125223" y="200228"/>
                  </a:lnTo>
                  <a:lnTo>
                    <a:pt x="125223" y="197447"/>
                  </a:lnTo>
                  <a:lnTo>
                    <a:pt x="125273" y="197447"/>
                  </a:lnTo>
                  <a:lnTo>
                    <a:pt x="125273" y="199530"/>
                  </a:lnTo>
                  <a:lnTo>
                    <a:pt x="125273" y="196799"/>
                  </a:lnTo>
                  <a:lnTo>
                    <a:pt x="125273" y="197447"/>
                  </a:lnTo>
                  <a:lnTo>
                    <a:pt x="125375" y="198831"/>
                  </a:lnTo>
                  <a:lnTo>
                    <a:pt x="125375" y="200228"/>
                  </a:lnTo>
                  <a:lnTo>
                    <a:pt x="125375" y="199530"/>
                  </a:lnTo>
                  <a:lnTo>
                    <a:pt x="125375" y="200228"/>
                  </a:lnTo>
                  <a:lnTo>
                    <a:pt x="125375" y="198831"/>
                  </a:lnTo>
                  <a:lnTo>
                    <a:pt x="125375" y="199530"/>
                  </a:lnTo>
                  <a:lnTo>
                    <a:pt x="125413" y="199530"/>
                  </a:lnTo>
                  <a:lnTo>
                    <a:pt x="125413" y="200876"/>
                  </a:lnTo>
                  <a:lnTo>
                    <a:pt x="125413" y="200228"/>
                  </a:lnTo>
                  <a:lnTo>
                    <a:pt x="125413" y="200876"/>
                  </a:lnTo>
                  <a:lnTo>
                    <a:pt x="125413" y="199530"/>
                  </a:lnTo>
                  <a:lnTo>
                    <a:pt x="125413" y="200228"/>
                  </a:lnTo>
                  <a:lnTo>
                    <a:pt x="125413" y="199530"/>
                  </a:lnTo>
                  <a:lnTo>
                    <a:pt x="125413" y="200228"/>
                  </a:lnTo>
                  <a:lnTo>
                    <a:pt x="125464" y="200228"/>
                  </a:lnTo>
                  <a:lnTo>
                    <a:pt x="125464" y="200876"/>
                  </a:lnTo>
                  <a:lnTo>
                    <a:pt x="125464" y="200228"/>
                  </a:lnTo>
                  <a:lnTo>
                    <a:pt x="125464" y="200876"/>
                  </a:lnTo>
                  <a:lnTo>
                    <a:pt x="125464" y="200228"/>
                  </a:lnTo>
                  <a:lnTo>
                    <a:pt x="125464" y="200876"/>
                  </a:lnTo>
                  <a:lnTo>
                    <a:pt x="125464" y="200228"/>
                  </a:lnTo>
                  <a:lnTo>
                    <a:pt x="125464" y="202260"/>
                  </a:lnTo>
                  <a:lnTo>
                    <a:pt x="125515" y="202260"/>
                  </a:lnTo>
                  <a:lnTo>
                    <a:pt x="125515" y="200876"/>
                  </a:lnTo>
                  <a:lnTo>
                    <a:pt x="125515" y="202260"/>
                  </a:lnTo>
                  <a:lnTo>
                    <a:pt x="125515" y="200876"/>
                  </a:lnTo>
                  <a:lnTo>
                    <a:pt x="125515" y="202260"/>
                  </a:lnTo>
                  <a:lnTo>
                    <a:pt x="125616" y="202260"/>
                  </a:lnTo>
                  <a:lnTo>
                    <a:pt x="125616" y="200876"/>
                  </a:lnTo>
                  <a:lnTo>
                    <a:pt x="125616" y="202260"/>
                  </a:lnTo>
                  <a:lnTo>
                    <a:pt x="125616" y="200876"/>
                  </a:lnTo>
                  <a:lnTo>
                    <a:pt x="125667" y="200876"/>
                  </a:lnTo>
                  <a:lnTo>
                    <a:pt x="125667" y="200228"/>
                  </a:lnTo>
                  <a:lnTo>
                    <a:pt x="125667" y="200876"/>
                  </a:lnTo>
                  <a:lnTo>
                    <a:pt x="125667" y="200228"/>
                  </a:lnTo>
                  <a:lnTo>
                    <a:pt x="125667" y="200876"/>
                  </a:lnTo>
                  <a:lnTo>
                    <a:pt x="125667" y="199530"/>
                  </a:lnTo>
                  <a:lnTo>
                    <a:pt x="125718" y="199530"/>
                  </a:lnTo>
                  <a:lnTo>
                    <a:pt x="125718" y="197447"/>
                  </a:lnTo>
                  <a:lnTo>
                    <a:pt x="125718" y="199530"/>
                  </a:lnTo>
                  <a:lnTo>
                    <a:pt x="125819" y="199530"/>
                  </a:lnTo>
                  <a:lnTo>
                    <a:pt x="125819" y="196799"/>
                  </a:lnTo>
                  <a:lnTo>
                    <a:pt x="125819" y="200228"/>
                  </a:lnTo>
                  <a:lnTo>
                    <a:pt x="125870" y="200228"/>
                  </a:lnTo>
                  <a:lnTo>
                    <a:pt x="125870" y="198831"/>
                  </a:lnTo>
                  <a:lnTo>
                    <a:pt x="125870" y="199530"/>
                  </a:lnTo>
                  <a:lnTo>
                    <a:pt x="125870" y="198831"/>
                  </a:lnTo>
                  <a:lnTo>
                    <a:pt x="125870" y="200228"/>
                  </a:lnTo>
                  <a:lnTo>
                    <a:pt x="125921" y="200228"/>
                  </a:lnTo>
                  <a:lnTo>
                    <a:pt x="125921" y="199530"/>
                  </a:lnTo>
                  <a:lnTo>
                    <a:pt x="125921" y="200228"/>
                  </a:lnTo>
                  <a:lnTo>
                    <a:pt x="125921" y="199530"/>
                  </a:lnTo>
                  <a:lnTo>
                    <a:pt x="125921" y="200228"/>
                  </a:lnTo>
                  <a:lnTo>
                    <a:pt x="125921" y="199530"/>
                  </a:lnTo>
                  <a:lnTo>
                    <a:pt x="125921" y="200228"/>
                  </a:lnTo>
                  <a:lnTo>
                    <a:pt x="125959" y="200228"/>
                  </a:lnTo>
                  <a:lnTo>
                    <a:pt x="125959" y="200876"/>
                  </a:lnTo>
                  <a:lnTo>
                    <a:pt x="125959" y="200228"/>
                  </a:lnTo>
                  <a:lnTo>
                    <a:pt x="126061" y="200876"/>
                  </a:lnTo>
                  <a:lnTo>
                    <a:pt x="126061" y="200228"/>
                  </a:lnTo>
                  <a:lnTo>
                    <a:pt x="126061" y="200876"/>
                  </a:lnTo>
                  <a:lnTo>
                    <a:pt x="126061" y="200228"/>
                  </a:lnTo>
                  <a:lnTo>
                    <a:pt x="126061" y="200876"/>
                  </a:lnTo>
                  <a:lnTo>
                    <a:pt x="126061" y="200228"/>
                  </a:lnTo>
                  <a:lnTo>
                    <a:pt x="126061" y="200876"/>
                  </a:lnTo>
                  <a:lnTo>
                    <a:pt x="126111" y="200876"/>
                  </a:lnTo>
                  <a:lnTo>
                    <a:pt x="126111" y="200228"/>
                  </a:lnTo>
                  <a:lnTo>
                    <a:pt x="126111" y="200876"/>
                  </a:lnTo>
                  <a:lnTo>
                    <a:pt x="126111" y="200228"/>
                  </a:lnTo>
                  <a:lnTo>
                    <a:pt x="126111" y="200876"/>
                  </a:lnTo>
                  <a:lnTo>
                    <a:pt x="126111" y="200228"/>
                  </a:lnTo>
                  <a:lnTo>
                    <a:pt x="126162" y="200228"/>
                  </a:lnTo>
                  <a:lnTo>
                    <a:pt x="126162" y="199530"/>
                  </a:lnTo>
                  <a:lnTo>
                    <a:pt x="126264" y="199530"/>
                  </a:lnTo>
                  <a:lnTo>
                    <a:pt x="126264" y="197447"/>
                  </a:lnTo>
                  <a:lnTo>
                    <a:pt x="126264" y="200876"/>
                  </a:lnTo>
                  <a:lnTo>
                    <a:pt x="126264" y="200228"/>
                  </a:lnTo>
                  <a:lnTo>
                    <a:pt x="126315" y="199530"/>
                  </a:lnTo>
                  <a:lnTo>
                    <a:pt x="126315" y="197447"/>
                  </a:lnTo>
                  <a:lnTo>
                    <a:pt x="126315" y="202260"/>
                  </a:lnTo>
                  <a:lnTo>
                    <a:pt x="126315" y="200228"/>
                  </a:lnTo>
                  <a:lnTo>
                    <a:pt x="126366" y="200228"/>
                  </a:lnTo>
                  <a:lnTo>
                    <a:pt x="126366" y="200876"/>
                  </a:lnTo>
                  <a:lnTo>
                    <a:pt x="126416" y="200876"/>
                  </a:lnTo>
                  <a:lnTo>
                    <a:pt x="126416" y="202260"/>
                  </a:lnTo>
                  <a:lnTo>
                    <a:pt x="126416" y="200876"/>
                  </a:lnTo>
                  <a:lnTo>
                    <a:pt x="126416" y="202260"/>
                  </a:lnTo>
                  <a:lnTo>
                    <a:pt x="126416" y="200876"/>
                  </a:lnTo>
                  <a:lnTo>
                    <a:pt x="126505" y="200876"/>
                  </a:lnTo>
                  <a:lnTo>
                    <a:pt x="126505" y="202260"/>
                  </a:lnTo>
                  <a:lnTo>
                    <a:pt x="126505" y="200876"/>
                  </a:lnTo>
                  <a:lnTo>
                    <a:pt x="126505" y="202260"/>
                  </a:lnTo>
                  <a:lnTo>
                    <a:pt x="126505" y="200876"/>
                  </a:lnTo>
                  <a:lnTo>
                    <a:pt x="126556" y="200876"/>
                  </a:lnTo>
                  <a:lnTo>
                    <a:pt x="126556" y="202260"/>
                  </a:lnTo>
                  <a:lnTo>
                    <a:pt x="126556" y="200876"/>
                  </a:lnTo>
                  <a:lnTo>
                    <a:pt x="126556" y="202260"/>
                  </a:lnTo>
                  <a:lnTo>
                    <a:pt x="126556" y="200876"/>
                  </a:lnTo>
                  <a:lnTo>
                    <a:pt x="126556" y="202260"/>
                  </a:lnTo>
                  <a:lnTo>
                    <a:pt x="126607" y="202260"/>
                  </a:lnTo>
                  <a:lnTo>
                    <a:pt x="126607" y="200876"/>
                  </a:lnTo>
                  <a:lnTo>
                    <a:pt x="126607" y="202260"/>
                  </a:lnTo>
                  <a:lnTo>
                    <a:pt x="126607" y="200876"/>
                  </a:lnTo>
                  <a:lnTo>
                    <a:pt x="126658" y="200876"/>
                  </a:lnTo>
                  <a:lnTo>
                    <a:pt x="126658" y="200228"/>
                  </a:lnTo>
                  <a:lnTo>
                    <a:pt x="126658" y="200876"/>
                  </a:lnTo>
                  <a:lnTo>
                    <a:pt x="126658" y="198831"/>
                  </a:lnTo>
                  <a:lnTo>
                    <a:pt x="126759" y="198831"/>
                  </a:lnTo>
                  <a:lnTo>
                    <a:pt x="126759" y="200228"/>
                  </a:lnTo>
                  <a:lnTo>
                    <a:pt x="126759" y="199530"/>
                  </a:lnTo>
                  <a:lnTo>
                    <a:pt x="126810" y="199530"/>
                  </a:lnTo>
                  <a:lnTo>
                    <a:pt x="126810" y="198831"/>
                  </a:lnTo>
                  <a:lnTo>
                    <a:pt x="126810" y="200876"/>
                  </a:lnTo>
                  <a:lnTo>
                    <a:pt x="126810" y="199530"/>
                  </a:lnTo>
                  <a:lnTo>
                    <a:pt x="126810" y="200228"/>
                  </a:lnTo>
                  <a:lnTo>
                    <a:pt x="126861" y="200228"/>
                  </a:lnTo>
                  <a:lnTo>
                    <a:pt x="126861" y="202260"/>
                  </a:lnTo>
                  <a:lnTo>
                    <a:pt x="126861" y="200876"/>
                  </a:lnTo>
                  <a:lnTo>
                    <a:pt x="126861" y="202260"/>
                  </a:lnTo>
                  <a:lnTo>
                    <a:pt x="126861" y="200876"/>
                  </a:lnTo>
                  <a:lnTo>
                    <a:pt x="126861" y="202260"/>
                  </a:lnTo>
                  <a:lnTo>
                    <a:pt x="126861" y="200228"/>
                  </a:lnTo>
                  <a:lnTo>
                    <a:pt x="126962" y="200876"/>
                  </a:lnTo>
                  <a:lnTo>
                    <a:pt x="126962" y="202260"/>
                  </a:lnTo>
                  <a:lnTo>
                    <a:pt x="126962" y="200876"/>
                  </a:lnTo>
                  <a:lnTo>
                    <a:pt x="126962" y="202260"/>
                  </a:lnTo>
                  <a:lnTo>
                    <a:pt x="126962" y="200876"/>
                  </a:lnTo>
                  <a:lnTo>
                    <a:pt x="126962" y="202260"/>
                  </a:lnTo>
                  <a:lnTo>
                    <a:pt x="126962" y="200876"/>
                  </a:lnTo>
                  <a:lnTo>
                    <a:pt x="127000" y="200876"/>
                  </a:lnTo>
                  <a:lnTo>
                    <a:pt x="127000" y="202260"/>
                  </a:lnTo>
                  <a:lnTo>
                    <a:pt x="127000" y="200876"/>
                  </a:lnTo>
                  <a:lnTo>
                    <a:pt x="127000" y="202260"/>
                  </a:lnTo>
                  <a:lnTo>
                    <a:pt x="127000" y="200876"/>
                  </a:lnTo>
                  <a:lnTo>
                    <a:pt x="127000" y="202260"/>
                  </a:lnTo>
                  <a:lnTo>
                    <a:pt x="127000" y="200876"/>
                  </a:lnTo>
                  <a:lnTo>
                    <a:pt x="127000" y="202260"/>
                  </a:lnTo>
                  <a:lnTo>
                    <a:pt x="127051" y="202260"/>
                  </a:lnTo>
                  <a:lnTo>
                    <a:pt x="127051" y="200876"/>
                  </a:lnTo>
                  <a:lnTo>
                    <a:pt x="127051" y="202260"/>
                  </a:lnTo>
                  <a:lnTo>
                    <a:pt x="127051" y="200228"/>
                  </a:lnTo>
                  <a:lnTo>
                    <a:pt x="127102" y="200228"/>
                  </a:lnTo>
                  <a:lnTo>
                    <a:pt x="127102" y="200876"/>
                  </a:lnTo>
                  <a:lnTo>
                    <a:pt x="127102" y="200228"/>
                  </a:lnTo>
                  <a:lnTo>
                    <a:pt x="127102" y="200876"/>
                  </a:lnTo>
                  <a:lnTo>
                    <a:pt x="127102" y="200228"/>
                  </a:lnTo>
                  <a:lnTo>
                    <a:pt x="127204" y="200228"/>
                  </a:lnTo>
                  <a:lnTo>
                    <a:pt x="127204" y="199530"/>
                  </a:lnTo>
                  <a:lnTo>
                    <a:pt x="127204" y="200228"/>
                  </a:lnTo>
                  <a:lnTo>
                    <a:pt x="127204" y="197447"/>
                  </a:lnTo>
                  <a:lnTo>
                    <a:pt x="127204" y="198831"/>
                  </a:lnTo>
                  <a:lnTo>
                    <a:pt x="127204" y="197447"/>
                  </a:lnTo>
                  <a:lnTo>
                    <a:pt x="127255" y="197447"/>
                  </a:lnTo>
                  <a:lnTo>
                    <a:pt x="127255" y="199530"/>
                  </a:lnTo>
                  <a:lnTo>
                    <a:pt x="127255" y="197447"/>
                  </a:lnTo>
                  <a:lnTo>
                    <a:pt x="127305" y="197447"/>
                  </a:lnTo>
                  <a:lnTo>
                    <a:pt x="127305" y="200876"/>
                  </a:lnTo>
                  <a:lnTo>
                    <a:pt x="127305" y="199530"/>
                  </a:lnTo>
                  <a:lnTo>
                    <a:pt x="127407" y="199530"/>
                  </a:lnTo>
                  <a:lnTo>
                    <a:pt x="127407" y="200876"/>
                  </a:lnTo>
                  <a:lnTo>
                    <a:pt x="127407" y="200228"/>
                  </a:lnTo>
                  <a:lnTo>
                    <a:pt x="127407" y="200876"/>
                  </a:lnTo>
                  <a:lnTo>
                    <a:pt x="127458" y="200876"/>
                  </a:lnTo>
                  <a:lnTo>
                    <a:pt x="127458" y="200228"/>
                  </a:lnTo>
                  <a:lnTo>
                    <a:pt x="127458" y="202260"/>
                  </a:lnTo>
                  <a:lnTo>
                    <a:pt x="127458" y="200876"/>
                  </a:lnTo>
                  <a:lnTo>
                    <a:pt x="127509" y="200876"/>
                  </a:lnTo>
                  <a:lnTo>
                    <a:pt x="127509" y="202260"/>
                  </a:lnTo>
                  <a:lnTo>
                    <a:pt x="127509" y="200876"/>
                  </a:lnTo>
                  <a:lnTo>
                    <a:pt x="127509" y="202260"/>
                  </a:lnTo>
                  <a:lnTo>
                    <a:pt x="127547" y="202260"/>
                  </a:lnTo>
                  <a:lnTo>
                    <a:pt x="127547" y="202959"/>
                  </a:lnTo>
                  <a:lnTo>
                    <a:pt x="127547" y="202260"/>
                  </a:lnTo>
                  <a:lnTo>
                    <a:pt x="127547" y="202959"/>
                  </a:lnTo>
                  <a:lnTo>
                    <a:pt x="127547" y="202260"/>
                  </a:lnTo>
                  <a:lnTo>
                    <a:pt x="127547" y="202959"/>
                  </a:lnTo>
                  <a:lnTo>
                    <a:pt x="127547" y="202260"/>
                  </a:lnTo>
                  <a:lnTo>
                    <a:pt x="127648" y="202260"/>
                  </a:lnTo>
                  <a:lnTo>
                    <a:pt x="127648" y="200876"/>
                  </a:lnTo>
                  <a:lnTo>
                    <a:pt x="127648" y="202260"/>
                  </a:lnTo>
                  <a:lnTo>
                    <a:pt x="127648" y="200228"/>
                  </a:lnTo>
                  <a:lnTo>
                    <a:pt x="127699" y="200876"/>
                  </a:lnTo>
                  <a:lnTo>
                    <a:pt x="127699" y="198831"/>
                  </a:lnTo>
                  <a:lnTo>
                    <a:pt x="127699" y="199530"/>
                  </a:lnTo>
                  <a:lnTo>
                    <a:pt x="127699" y="198831"/>
                  </a:lnTo>
                  <a:lnTo>
                    <a:pt x="127750" y="198831"/>
                  </a:lnTo>
                  <a:lnTo>
                    <a:pt x="127750" y="199530"/>
                  </a:lnTo>
                  <a:lnTo>
                    <a:pt x="127750" y="198831"/>
                  </a:lnTo>
                  <a:lnTo>
                    <a:pt x="127750" y="199530"/>
                  </a:lnTo>
                  <a:lnTo>
                    <a:pt x="127851" y="199530"/>
                  </a:lnTo>
                  <a:lnTo>
                    <a:pt x="127851" y="200876"/>
                  </a:lnTo>
                  <a:lnTo>
                    <a:pt x="127851" y="199530"/>
                  </a:lnTo>
                  <a:lnTo>
                    <a:pt x="127851" y="200876"/>
                  </a:lnTo>
                  <a:lnTo>
                    <a:pt x="127902" y="200876"/>
                  </a:lnTo>
                  <a:lnTo>
                    <a:pt x="127902" y="200228"/>
                  </a:lnTo>
                  <a:lnTo>
                    <a:pt x="127902" y="200876"/>
                  </a:lnTo>
                  <a:lnTo>
                    <a:pt x="127953" y="200876"/>
                  </a:lnTo>
                  <a:lnTo>
                    <a:pt x="127953" y="200228"/>
                  </a:lnTo>
                  <a:lnTo>
                    <a:pt x="127953" y="202260"/>
                  </a:lnTo>
                  <a:lnTo>
                    <a:pt x="128004" y="202260"/>
                  </a:lnTo>
                  <a:lnTo>
                    <a:pt x="128004" y="200876"/>
                  </a:lnTo>
                  <a:lnTo>
                    <a:pt x="128004" y="202260"/>
                  </a:lnTo>
                  <a:lnTo>
                    <a:pt x="128004" y="200876"/>
                  </a:lnTo>
                  <a:lnTo>
                    <a:pt x="128093" y="202260"/>
                  </a:lnTo>
                  <a:lnTo>
                    <a:pt x="128093" y="202959"/>
                  </a:lnTo>
                  <a:lnTo>
                    <a:pt x="128093" y="200876"/>
                  </a:lnTo>
                  <a:lnTo>
                    <a:pt x="128093" y="202260"/>
                  </a:lnTo>
                  <a:lnTo>
                    <a:pt x="128093" y="200876"/>
                  </a:lnTo>
                  <a:lnTo>
                    <a:pt x="128143" y="200876"/>
                  </a:lnTo>
                  <a:lnTo>
                    <a:pt x="128143" y="200228"/>
                  </a:lnTo>
                  <a:lnTo>
                    <a:pt x="128194" y="200228"/>
                  </a:lnTo>
                  <a:lnTo>
                    <a:pt x="128194" y="196799"/>
                  </a:lnTo>
                  <a:lnTo>
                    <a:pt x="128194" y="197447"/>
                  </a:lnTo>
                  <a:lnTo>
                    <a:pt x="128245" y="197447"/>
                  </a:lnTo>
                  <a:lnTo>
                    <a:pt x="128245" y="196799"/>
                  </a:lnTo>
                  <a:lnTo>
                    <a:pt x="128245" y="198831"/>
                  </a:lnTo>
                  <a:lnTo>
                    <a:pt x="128245" y="197447"/>
                  </a:lnTo>
                  <a:lnTo>
                    <a:pt x="128245" y="198831"/>
                  </a:lnTo>
                  <a:lnTo>
                    <a:pt x="128245" y="196799"/>
                  </a:lnTo>
                  <a:lnTo>
                    <a:pt x="128347" y="197447"/>
                  </a:lnTo>
                  <a:lnTo>
                    <a:pt x="128347" y="200228"/>
                  </a:lnTo>
                  <a:lnTo>
                    <a:pt x="128347" y="198831"/>
                  </a:lnTo>
                  <a:lnTo>
                    <a:pt x="128347" y="199530"/>
                  </a:lnTo>
                  <a:lnTo>
                    <a:pt x="128398" y="199530"/>
                  </a:lnTo>
                  <a:lnTo>
                    <a:pt x="128398" y="200228"/>
                  </a:lnTo>
                  <a:lnTo>
                    <a:pt x="128398" y="199530"/>
                  </a:lnTo>
                  <a:lnTo>
                    <a:pt x="128398" y="200228"/>
                  </a:lnTo>
                  <a:lnTo>
                    <a:pt x="128398" y="199530"/>
                  </a:lnTo>
                  <a:lnTo>
                    <a:pt x="128398" y="200228"/>
                  </a:lnTo>
                  <a:lnTo>
                    <a:pt x="128448" y="200228"/>
                  </a:lnTo>
                  <a:lnTo>
                    <a:pt x="128448" y="199530"/>
                  </a:lnTo>
                  <a:lnTo>
                    <a:pt x="128448" y="200228"/>
                  </a:lnTo>
                  <a:lnTo>
                    <a:pt x="128448" y="199530"/>
                  </a:lnTo>
                  <a:lnTo>
                    <a:pt x="128448" y="200228"/>
                  </a:lnTo>
                  <a:lnTo>
                    <a:pt x="128448" y="199530"/>
                  </a:lnTo>
                  <a:lnTo>
                    <a:pt x="128550" y="199530"/>
                  </a:lnTo>
                  <a:lnTo>
                    <a:pt x="128550" y="202260"/>
                  </a:lnTo>
                  <a:lnTo>
                    <a:pt x="128588" y="200876"/>
                  </a:lnTo>
                  <a:lnTo>
                    <a:pt x="128588" y="202260"/>
                  </a:lnTo>
                  <a:lnTo>
                    <a:pt x="128588" y="200876"/>
                  </a:lnTo>
                  <a:lnTo>
                    <a:pt x="128588" y="202260"/>
                  </a:lnTo>
                  <a:lnTo>
                    <a:pt x="128588" y="200876"/>
                  </a:lnTo>
                  <a:lnTo>
                    <a:pt x="128588" y="202260"/>
                  </a:lnTo>
                  <a:lnTo>
                    <a:pt x="128588" y="200876"/>
                  </a:lnTo>
                  <a:lnTo>
                    <a:pt x="128588" y="202260"/>
                  </a:lnTo>
                  <a:lnTo>
                    <a:pt x="128588" y="200876"/>
                  </a:lnTo>
                  <a:lnTo>
                    <a:pt x="128588" y="202260"/>
                  </a:lnTo>
                  <a:lnTo>
                    <a:pt x="128639" y="200876"/>
                  </a:lnTo>
                  <a:lnTo>
                    <a:pt x="128639" y="202260"/>
                  </a:lnTo>
                  <a:lnTo>
                    <a:pt x="128639" y="200228"/>
                  </a:lnTo>
                  <a:lnTo>
                    <a:pt x="128639" y="200876"/>
                  </a:lnTo>
                  <a:lnTo>
                    <a:pt x="128639" y="200228"/>
                  </a:lnTo>
                  <a:lnTo>
                    <a:pt x="128639" y="200876"/>
                  </a:lnTo>
                  <a:lnTo>
                    <a:pt x="128639" y="200228"/>
                  </a:lnTo>
                  <a:lnTo>
                    <a:pt x="128690" y="199530"/>
                  </a:lnTo>
                  <a:lnTo>
                    <a:pt x="128690" y="198831"/>
                  </a:lnTo>
                  <a:lnTo>
                    <a:pt x="128690" y="199530"/>
                  </a:lnTo>
                  <a:lnTo>
                    <a:pt x="128690" y="198831"/>
                  </a:lnTo>
                  <a:lnTo>
                    <a:pt x="128690" y="200228"/>
                  </a:lnTo>
                  <a:lnTo>
                    <a:pt x="128690" y="199530"/>
                  </a:lnTo>
                  <a:lnTo>
                    <a:pt x="128791" y="199530"/>
                  </a:lnTo>
                  <a:lnTo>
                    <a:pt x="128791" y="197447"/>
                  </a:lnTo>
                  <a:lnTo>
                    <a:pt x="128791" y="200876"/>
                  </a:lnTo>
                  <a:lnTo>
                    <a:pt x="128791" y="200228"/>
                  </a:lnTo>
                  <a:lnTo>
                    <a:pt x="128842" y="200228"/>
                  </a:lnTo>
                  <a:lnTo>
                    <a:pt x="128842" y="199530"/>
                  </a:lnTo>
                  <a:lnTo>
                    <a:pt x="128842" y="200876"/>
                  </a:lnTo>
                  <a:lnTo>
                    <a:pt x="128893" y="200228"/>
                  </a:lnTo>
                  <a:lnTo>
                    <a:pt x="128893" y="200876"/>
                  </a:lnTo>
                  <a:lnTo>
                    <a:pt x="128893" y="200228"/>
                  </a:lnTo>
                  <a:lnTo>
                    <a:pt x="128893" y="200876"/>
                  </a:lnTo>
                  <a:lnTo>
                    <a:pt x="128893" y="200228"/>
                  </a:lnTo>
                  <a:lnTo>
                    <a:pt x="128893" y="200876"/>
                  </a:lnTo>
                  <a:lnTo>
                    <a:pt x="128893" y="200228"/>
                  </a:lnTo>
                  <a:lnTo>
                    <a:pt x="128893" y="200876"/>
                  </a:lnTo>
                  <a:lnTo>
                    <a:pt x="128994" y="200876"/>
                  </a:lnTo>
                  <a:lnTo>
                    <a:pt x="128994" y="199530"/>
                  </a:lnTo>
                  <a:lnTo>
                    <a:pt x="128994" y="200228"/>
                  </a:lnTo>
                  <a:lnTo>
                    <a:pt x="129045" y="200228"/>
                  </a:lnTo>
                  <a:lnTo>
                    <a:pt x="129045" y="200876"/>
                  </a:lnTo>
                  <a:lnTo>
                    <a:pt x="129045" y="200228"/>
                  </a:lnTo>
                  <a:lnTo>
                    <a:pt x="129045" y="200876"/>
                  </a:lnTo>
                  <a:lnTo>
                    <a:pt x="129045" y="200228"/>
                  </a:lnTo>
                  <a:lnTo>
                    <a:pt x="129045" y="200876"/>
                  </a:lnTo>
                  <a:lnTo>
                    <a:pt x="129096" y="200876"/>
                  </a:lnTo>
                  <a:lnTo>
                    <a:pt x="129096" y="200228"/>
                  </a:lnTo>
                  <a:lnTo>
                    <a:pt x="129096" y="200876"/>
                  </a:lnTo>
                  <a:lnTo>
                    <a:pt x="129096" y="200228"/>
                  </a:lnTo>
                  <a:lnTo>
                    <a:pt x="129096" y="200876"/>
                  </a:lnTo>
                  <a:lnTo>
                    <a:pt x="129096" y="200228"/>
                  </a:lnTo>
                  <a:lnTo>
                    <a:pt x="129134" y="200228"/>
                  </a:lnTo>
                  <a:lnTo>
                    <a:pt x="129134" y="199530"/>
                  </a:lnTo>
                  <a:lnTo>
                    <a:pt x="129134" y="200228"/>
                  </a:lnTo>
                  <a:lnTo>
                    <a:pt x="129134" y="199530"/>
                  </a:lnTo>
                  <a:lnTo>
                    <a:pt x="129134" y="200228"/>
                  </a:lnTo>
                  <a:lnTo>
                    <a:pt x="129134" y="198831"/>
                  </a:lnTo>
                  <a:lnTo>
                    <a:pt x="129236" y="198831"/>
                  </a:lnTo>
                  <a:lnTo>
                    <a:pt x="129236" y="200876"/>
                  </a:lnTo>
                  <a:lnTo>
                    <a:pt x="129236" y="199530"/>
                  </a:lnTo>
                  <a:lnTo>
                    <a:pt x="129286" y="199530"/>
                  </a:lnTo>
                  <a:lnTo>
                    <a:pt x="129286" y="202959"/>
                  </a:lnTo>
                  <a:lnTo>
                    <a:pt x="129286" y="200228"/>
                  </a:lnTo>
                  <a:lnTo>
                    <a:pt x="129337" y="200228"/>
                  </a:lnTo>
                  <a:lnTo>
                    <a:pt x="129337" y="202959"/>
                  </a:lnTo>
                  <a:lnTo>
                    <a:pt x="129337" y="202260"/>
                  </a:lnTo>
                  <a:lnTo>
                    <a:pt x="129439" y="202260"/>
                  </a:lnTo>
                  <a:lnTo>
                    <a:pt x="129439" y="202959"/>
                  </a:lnTo>
                  <a:lnTo>
                    <a:pt x="129439" y="202260"/>
                  </a:lnTo>
                  <a:lnTo>
                    <a:pt x="129490" y="202260"/>
                  </a:lnTo>
                  <a:lnTo>
                    <a:pt x="129490" y="202959"/>
                  </a:lnTo>
                  <a:lnTo>
                    <a:pt x="129490" y="202260"/>
                  </a:lnTo>
                  <a:lnTo>
                    <a:pt x="129490" y="202959"/>
                  </a:lnTo>
                  <a:lnTo>
                    <a:pt x="129541" y="202260"/>
                  </a:lnTo>
                  <a:lnTo>
                    <a:pt x="129541" y="202959"/>
                  </a:lnTo>
                  <a:lnTo>
                    <a:pt x="129541" y="202260"/>
                  </a:lnTo>
                  <a:lnTo>
                    <a:pt x="129541" y="202959"/>
                  </a:lnTo>
                  <a:lnTo>
                    <a:pt x="129541" y="202260"/>
                  </a:lnTo>
                  <a:lnTo>
                    <a:pt x="129541" y="202959"/>
                  </a:lnTo>
                  <a:lnTo>
                    <a:pt x="129541" y="202260"/>
                  </a:lnTo>
                  <a:lnTo>
                    <a:pt x="129541" y="202959"/>
                  </a:lnTo>
                  <a:lnTo>
                    <a:pt x="129541" y="202260"/>
                  </a:lnTo>
                  <a:lnTo>
                    <a:pt x="129591" y="202260"/>
                  </a:lnTo>
                  <a:lnTo>
                    <a:pt x="129591" y="200228"/>
                  </a:lnTo>
                  <a:lnTo>
                    <a:pt x="129591" y="200876"/>
                  </a:lnTo>
                  <a:lnTo>
                    <a:pt x="129680" y="200876"/>
                  </a:lnTo>
                  <a:lnTo>
                    <a:pt x="129680" y="199530"/>
                  </a:lnTo>
                  <a:lnTo>
                    <a:pt x="129680" y="200876"/>
                  </a:lnTo>
                  <a:lnTo>
                    <a:pt x="129731" y="202260"/>
                  </a:lnTo>
                  <a:lnTo>
                    <a:pt x="129731" y="200228"/>
                  </a:lnTo>
                  <a:lnTo>
                    <a:pt x="129731" y="203594"/>
                  </a:lnTo>
                  <a:lnTo>
                    <a:pt x="129782" y="202959"/>
                  </a:lnTo>
                  <a:lnTo>
                    <a:pt x="129782" y="202260"/>
                  </a:lnTo>
                  <a:lnTo>
                    <a:pt x="129782" y="203594"/>
                  </a:lnTo>
                  <a:lnTo>
                    <a:pt x="129782" y="202959"/>
                  </a:lnTo>
                  <a:lnTo>
                    <a:pt x="129833" y="203594"/>
                  </a:lnTo>
                  <a:lnTo>
                    <a:pt x="129833" y="202959"/>
                  </a:lnTo>
                  <a:lnTo>
                    <a:pt x="129833" y="203594"/>
                  </a:lnTo>
                  <a:lnTo>
                    <a:pt x="129833" y="202959"/>
                  </a:lnTo>
                  <a:lnTo>
                    <a:pt x="129934" y="202959"/>
                  </a:lnTo>
                  <a:lnTo>
                    <a:pt x="129934" y="203594"/>
                  </a:lnTo>
                  <a:lnTo>
                    <a:pt x="129934" y="202959"/>
                  </a:lnTo>
                  <a:lnTo>
                    <a:pt x="129934" y="203594"/>
                  </a:lnTo>
                  <a:lnTo>
                    <a:pt x="129934" y="202959"/>
                  </a:lnTo>
                  <a:lnTo>
                    <a:pt x="129934" y="203594"/>
                  </a:lnTo>
                  <a:lnTo>
                    <a:pt x="129934" y="202959"/>
                  </a:lnTo>
                  <a:lnTo>
                    <a:pt x="129985" y="202959"/>
                  </a:lnTo>
                  <a:lnTo>
                    <a:pt x="129985" y="203594"/>
                  </a:lnTo>
                  <a:lnTo>
                    <a:pt x="129985" y="202959"/>
                  </a:lnTo>
                  <a:lnTo>
                    <a:pt x="129985" y="203594"/>
                  </a:lnTo>
                  <a:lnTo>
                    <a:pt x="129985" y="202959"/>
                  </a:lnTo>
                  <a:lnTo>
                    <a:pt x="129985" y="203594"/>
                  </a:lnTo>
                  <a:lnTo>
                    <a:pt x="129985" y="202260"/>
                  </a:lnTo>
                  <a:lnTo>
                    <a:pt x="130036" y="202959"/>
                  </a:lnTo>
                  <a:lnTo>
                    <a:pt x="130036" y="202260"/>
                  </a:lnTo>
                  <a:lnTo>
                    <a:pt x="130137" y="202260"/>
                  </a:lnTo>
                  <a:lnTo>
                    <a:pt x="130137" y="200228"/>
                  </a:lnTo>
                  <a:lnTo>
                    <a:pt x="130137" y="200876"/>
                  </a:lnTo>
                  <a:lnTo>
                    <a:pt x="130137" y="200228"/>
                  </a:lnTo>
                  <a:lnTo>
                    <a:pt x="130137" y="200876"/>
                  </a:lnTo>
                  <a:lnTo>
                    <a:pt x="130137" y="199530"/>
                  </a:lnTo>
                  <a:lnTo>
                    <a:pt x="130137" y="200228"/>
                  </a:lnTo>
                  <a:lnTo>
                    <a:pt x="130137" y="199530"/>
                  </a:lnTo>
                  <a:lnTo>
                    <a:pt x="130175" y="199530"/>
                  </a:lnTo>
                  <a:lnTo>
                    <a:pt x="130175" y="198831"/>
                  </a:lnTo>
                  <a:lnTo>
                    <a:pt x="130175" y="200228"/>
                  </a:lnTo>
                  <a:lnTo>
                    <a:pt x="130226" y="200228"/>
                  </a:lnTo>
                  <a:lnTo>
                    <a:pt x="130226" y="198831"/>
                  </a:lnTo>
                  <a:lnTo>
                    <a:pt x="130226" y="202260"/>
                  </a:lnTo>
                  <a:lnTo>
                    <a:pt x="130226" y="200876"/>
                  </a:lnTo>
                  <a:lnTo>
                    <a:pt x="130226" y="202260"/>
                  </a:lnTo>
                  <a:lnTo>
                    <a:pt x="130226" y="200876"/>
                  </a:lnTo>
                  <a:lnTo>
                    <a:pt x="130277" y="200876"/>
                  </a:lnTo>
                  <a:lnTo>
                    <a:pt x="130277" y="202260"/>
                  </a:lnTo>
                  <a:lnTo>
                    <a:pt x="130379" y="202260"/>
                  </a:lnTo>
                  <a:lnTo>
                    <a:pt x="130379" y="200876"/>
                  </a:lnTo>
                  <a:lnTo>
                    <a:pt x="130379" y="202959"/>
                  </a:lnTo>
                  <a:lnTo>
                    <a:pt x="130379" y="202260"/>
                  </a:lnTo>
                  <a:lnTo>
                    <a:pt x="130430" y="202260"/>
                  </a:lnTo>
                  <a:lnTo>
                    <a:pt x="130430" y="203594"/>
                  </a:lnTo>
                  <a:lnTo>
                    <a:pt x="130430" y="202959"/>
                  </a:lnTo>
                  <a:lnTo>
                    <a:pt x="130430" y="203594"/>
                  </a:lnTo>
                  <a:lnTo>
                    <a:pt x="130480" y="203594"/>
                  </a:lnTo>
                  <a:lnTo>
                    <a:pt x="130480" y="202959"/>
                  </a:lnTo>
                  <a:lnTo>
                    <a:pt x="130582" y="202959"/>
                  </a:lnTo>
                  <a:lnTo>
                    <a:pt x="130582" y="203594"/>
                  </a:lnTo>
                  <a:lnTo>
                    <a:pt x="130582" y="202260"/>
                  </a:lnTo>
                  <a:lnTo>
                    <a:pt x="130582" y="202959"/>
                  </a:lnTo>
                  <a:lnTo>
                    <a:pt x="130582" y="200876"/>
                  </a:lnTo>
                  <a:lnTo>
                    <a:pt x="130633" y="200876"/>
                  </a:lnTo>
                  <a:lnTo>
                    <a:pt x="130633" y="202260"/>
                  </a:lnTo>
                  <a:lnTo>
                    <a:pt x="130633" y="199530"/>
                  </a:lnTo>
                  <a:lnTo>
                    <a:pt x="130684" y="199530"/>
                  </a:lnTo>
                  <a:lnTo>
                    <a:pt x="130684" y="200876"/>
                  </a:lnTo>
                  <a:lnTo>
                    <a:pt x="130684" y="199530"/>
                  </a:lnTo>
                  <a:lnTo>
                    <a:pt x="130684" y="200228"/>
                  </a:lnTo>
                  <a:lnTo>
                    <a:pt x="130722" y="200876"/>
                  </a:lnTo>
                  <a:lnTo>
                    <a:pt x="130722" y="202959"/>
                  </a:lnTo>
                  <a:lnTo>
                    <a:pt x="130722" y="200228"/>
                  </a:lnTo>
                  <a:lnTo>
                    <a:pt x="130722" y="202260"/>
                  </a:lnTo>
                  <a:lnTo>
                    <a:pt x="130823" y="202260"/>
                  </a:lnTo>
                  <a:lnTo>
                    <a:pt x="130823" y="202959"/>
                  </a:lnTo>
                  <a:lnTo>
                    <a:pt x="130823" y="202260"/>
                  </a:lnTo>
                  <a:lnTo>
                    <a:pt x="130874" y="202260"/>
                  </a:lnTo>
                  <a:lnTo>
                    <a:pt x="130874" y="202959"/>
                  </a:lnTo>
                  <a:lnTo>
                    <a:pt x="130874" y="202260"/>
                  </a:lnTo>
                  <a:lnTo>
                    <a:pt x="130874" y="202959"/>
                  </a:lnTo>
                  <a:lnTo>
                    <a:pt x="130874" y="202260"/>
                  </a:lnTo>
                  <a:lnTo>
                    <a:pt x="130874" y="202959"/>
                  </a:lnTo>
                  <a:lnTo>
                    <a:pt x="130874" y="202260"/>
                  </a:lnTo>
                  <a:lnTo>
                    <a:pt x="130874" y="202959"/>
                  </a:lnTo>
                  <a:lnTo>
                    <a:pt x="130925" y="202959"/>
                  </a:lnTo>
                  <a:lnTo>
                    <a:pt x="130925" y="202260"/>
                  </a:lnTo>
                  <a:lnTo>
                    <a:pt x="130925" y="202959"/>
                  </a:lnTo>
                  <a:lnTo>
                    <a:pt x="130925" y="202260"/>
                  </a:lnTo>
                  <a:lnTo>
                    <a:pt x="130925" y="202959"/>
                  </a:lnTo>
                  <a:lnTo>
                    <a:pt x="131026" y="202260"/>
                  </a:lnTo>
                  <a:lnTo>
                    <a:pt x="131026" y="202959"/>
                  </a:lnTo>
                  <a:lnTo>
                    <a:pt x="131026" y="202260"/>
                  </a:lnTo>
                  <a:lnTo>
                    <a:pt x="131026" y="202959"/>
                  </a:lnTo>
                  <a:lnTo>
                    <a:pt x="131026" y="202260"/>
                  </a:lnTo>
                  <a:lnTo>
                    <a:pt x="131026" y="202959"/>
                  </a:lnTo>
                  <a:lnTo>
                    <a:pt x="131077" y="202959"/>
                  </a:lnTo>
                  <a:lnTo>
                    <a:pt x="131077" y="200876"/>
                  </a:lnTo>
                  <a:lnTo>
                    <a:pt x="131077" y="202260"/>
                  </a:lnTo>
                  <a:lnTo>
                    <a:pt x="131077" y="200228"/>
                  </a:lnTo>
                  <a:lnTo>
                    <a:pt x="131128" y="200228"/>
                  </a:lnTo>
                  <a:lnTo>
                    <a:pt x="131128" y="197447"/>
                  </a:lnTo>
                  <a:lnTo>
                    <a:pt x="131128" y="198831"/>
                  </a:lnTo>
                  <a:lnTo>
                    <a:pt x="131179" y="198831"/>
                  </a:lnTo>
                  <a:lnTo>
                    <a:pt x="131179" y="200228"/>
                  </a:lnTo>
                  <a:lnTo>
                    <a:pt x="131179" y="198831"/>
                  </a:lnTo>
                  <a:lnTo>
                    <a:pt x="131268" y="199530"/>
                  </a:lnTo>
                  <a:lnTo>
                    <a:pt x="131268" y="200876"/>
                  </a:lnTo>
                  <a:lnTo>
                    <a:pt x="131268" y="200228"/>
                  </a:lnTo>
                  <a:lnTo>
                    <a:pt x="131268" y="200876"/>
                  </a:lnTo>
                  <a:lnTo>
                    <a:pt x="131318" y="200876"/>
                  </a:lnTo>
                  <a:lnTo>
                    <a:pt x="131318" y="202260"/>
                  </a:lnTo>
                  <a:lnTo>
                    <a:pt x="131369" y="202260"/>
                  </a:lnTo>
                  <a:lnTo>
                    <a:pt x="131369" y="200228"/>
                  </a:lnTo>
                  <a:lnTo>
                    <a:pt x="131369" y="200876"/>
                  </a:lnTo>
                  <a:lnTo>
                    <a:pt x="131369" y="200228"/>
                  </a:lnTo>
                  <a:lnTo>
                    <a:pt x="131369" y="202260"/>
                  </a:lnTo>
                  <a:lnTo>
                    <a:pt x="131420" y="202959"/>
                  </a:lnTo>
                  <a:lnTo>
                    <a:pt x="131420" y="202260"/>
                  </a:lnTo>
                  <a:lnTo>
                    <a:pt x="131420" y="203594"/>
                  </a:lnTo>
                  <a:lnTo>
                    <a:pt x="131420" y="202959"/>
                  </a:lnTo>
                  <a:lnTo>
                    <a:pt x="131420" y="203594"/>
                  </a:lnTo>
                  <a:lnTo>
                    <a:pt x="131420" y="202959"/>
                  </a:lnTo>
                  <a:lnTo>
                    <a:pt x="131522" y="202959"/>
                  </a:lnTo>
                  <a:lnTo>
                    <a:pt x="131522" y="202260"/>
                  </a:lnTo>
                  <a:lnTo>
                    <a:pt x="131522" y="202959"/>
                  </a:lnTo>
                  <a:lnTo>
                    <a:pt x="131522" y="202260"/>
                  </a:lnTo>
                  <a:lnTo>
                    <a:pt x="131522" y="202959"/>
                  </a:lnTo>
                  <a:lnTo>
                    <a:pt x="131573" y="202959"/>
                  </a:lnTo>
                  <a:lnTo>
                    <a:pt x="131573" y="200876"/>
                  </a:lnTo>
                  <a:lnTo>
                    <a:pt x="131573" y="202260"/>
                  </a:lnTo>
                  <a:lnTo>
                    <a:pt x="131573" y="200228"/>
                  </a:lnTo>
                  <a:lnTo>
                    <a:pt x="131573" y="200876"/>
                  </a:lnTo>
                  <a:lnTo>
                    <a:pt x="131573" y="200228"/>
                  </a:lnTo>
                  <a:lnTo>
                    <a:pt x="131573" y="200876"/>
                  </a:lnTo>
                  <a:lnTo>
                    <a:pt x="131573" y="200228"/>
                  </a:lnTo>
                  <a:lnTo>
                    <a:pt x="131623" y="200228"/>
                  </a:lnTo>
                  <a:lnTo>
                    <a:pt x="131623" y="199530"/>
                  </a:lnTo>
                  <a:lnTo>
                    <a:pt x="131623" y="200228"/>
                  </a:lnTo>
                  <a:lnTo>
                    <a:pt x="131623" y="198831"/>
                  </a:lnTo>
                  <a:lnTo>
                    <a:pt x="131623" y="199530"/>
                  </a:lnTo>
                  <a:lnTo>
                    <a:pt x="131623" y="198831"/>
                  </a:lnTo>
                  <a:lnTo>
                    <a:pt x="131725" y="199530"/>
                  </a:lnTo>
                  <a:lnTo>
                    <a:pt x="131725" y="198831"/>
                  </a:lnTo>
                  <a:lnTo>
                    <a:pt x="131725" y="199530"/>
                  </a:lnTo>
                  <a:lnTo>
                    <a:pt x="131725" y="198831"/>
                  </a:lnTo>
                  <a:lnTo>
                    <a:pt x="131725" y="200228"/>
                  </a:lnTo>
                  <a:lnTo>
                    <a:pt x="131763" y="200228"/>
                  </a:lnTo>
                  <a:lnTo>
                    <a:pt x="131763" y="199530"/>
                  </a:lnTo>
                  <a:lnTo>
                    <a:pt x="131763" y="200876"/>
                  </a:lnTo>
                  <a:lnTo>
                    <a:pt x="131814" y="200228"/>
                  </a:lnTo>
                  <a:lnTo>
                    <a:pt x="131814" y="200876"/>
                  </a:lnTo>
                  <a:lnTo>
                    <a:pt x="131814" y="200228"/>
                  </a:lnTo>
                  <a:lnTo>
                    <a:pt x="131865" y="200228"/>
                  </a:lnTo>
                  <a:lnTo>
                    <a:pt x="131865" y="200876"/>
                  </a:lnTo>
                  <a:lnTo>
                    <a:pt x="131865" y="200228"/>
                  </a:lnTo>
                  <a:lnTo>
                    <a:pt x="131865" y="200876"/>
                  </a:lnTo>
                  <a:lnTo>
                    <a:pt x="131865" y="200228"/>
                  </a:lnTo>
                  <a:lnTo>
                    <a:pt x="131865" y="200876"/>
                  </a:lnTo>
                  <a:lnTo>
                    <a:pt x="131966" y="200876"/>
                  </a:lnTo>
                  <a:lnTo>
                    <a:pt x="131966" y="202260"/>
                  </a:lnTo>
                  <a:lnTo>
                    <a:pt x="131966" y="200876"/>
                  </a:lnTo>
                  <a:lnTo>
                    <a:pt x="132017" y="200876"/>
                  </a:lnTo>
                  <a:lnTo>
                    <a:pt x="132017" y="202260"/>
                  </a:lnTo>
                  <a:lnTo>
                    <a:pt x="132017" y="200876"/>
                  </a:lnTo>
                  <a:lnTo>
                    <a:pt x="132017" y="202260"/>
                  </a:lnTo>
                  <a:lnTo>
                    <a:pt x="132017" y="200876"/>
                  </a:lnTo>
                  <a:lnTo>
                    <a:pt x="132068" y="200876"/>
                  </a:lnTo>
                  <a:lnTo>
                    <a:pt x="132068" y="199530"/>
                  </a:lnTo>
                  <a:lnTo>
                    <a:pt x="132169" y="199530"/>
                  </a:lnTo>
                  <a:lnTo>
                    <a:pt x="132169" y="198831"/>
                  </a:lnTo>
                  <a:lnTo>
                    <a:pt x="132169" y="199530"/>
                  </a:lnTo>
                  <a:lnTo>
                    <a:pt x="132220" y="199530"/>
                  </a:lnTo>
                  <a:lnTo>
                    <a:pt x="132220" y="200228"/>
                  </a:lnTo>
                  <a:lnTo>
                    <a:pt x="132220" y="198831"/>
                  </a:lnTo>
                  <a:lnTo>
                    <a:pt x="132220" y="199530"/>
                  </a:lnTo>
                  <a:lnTo>
                    <a:pt x="132220" y="198831"/>
                  </a:lnTo>
                  <a:lnTo>
                    <a:pt x="132220" y="200876"/>
                  </a:lnTo>
                  <a:lnTo>
                    <a:pt x="132271" y="200228"/>
                  </a:lnTo>
                  <a:lnTo>
                    <a:pt x="132271" y="202260"/>
                  </a:lnTo>
                  <a:lnTo>
                    <a:pt x="132271" y="200876"/>
                  </a:lnTo>
                  <a:lnTo>
                    <a:pt x="132309" y="200876"/>
                  </a:lnTo>
                  <a:lnTo>
                    <a:pt x="132309" y="200228"/>
                  </a:lnTo>
                  <a:lnTo>
                    <a:pt x="132309" y="202260"/>
                  </a:lnTo>
                  <a:lnTo>
                    <a:pt x="132309" y="200876"/>
                  </a:lnTo>
                  <a:lnTo>
                    <a:pt x="132411" y="200876"/>
                  </a:lnTo>
                  <a:lnTo>
                    <a:pt x="132411" y="202260"/>
                  </a:lnTo>
                  <a:lnTo>
                    <a:pt x="132411" y="200876"/>
                  </a:lnTo>
                  <a:lnTo>
                    <a:pt x="132411" y="202260"/>
                  </a:lnTo>
                  <a:lnTo>
                    <a:pt x="132411" y="200876"/>
                  </a:lnTo>
                  <a:lnTo>
                    <a:pt x="132461" y="200876"/>
                  </a:lnTo>
                  <a:lnTo>
                    <a:pt x="132461" y="202260"/>
                  </a:lnTo>
                  <a:lnTo>
                    <a:pt x="132461" y="200876"/>
                  </a:lnTo>
                  <a:lnTo>
                    <a:pt x="132461" y="202260"/>
                  </a:lnTo>
                  <a:lnTo>
                    <a:pt x="132461" y="200876"/>
                  </a:lnTo>
                  <a:lnTo>
                    <a:pt x="132512" y="200876"/>
                  </a:lnTo>
                  <a:lnTo>
                    <a:pt x="132512" y="202260"/>
                  </a:lnTo>
                  <a:lnTo>
                    <a:pt x="132512" y="200876"/>
                  </a:lnTo>
                  <a:lnTo>
                    <a:pt x="132614" y="200876"/>
                  </a:lnTo>
                  <a:lnTo>
                    <a:pt x="132614" y="199530"/>
                  </a:lnTo>
                  <a:lnTo>
                    <a:pt x="132614" y="200228"/>
                  </a:lnTo>
                  <a:lnTo>
                    <a:pt x="132614" y="199530"/>
                  </a:lnTo>
                  <a:lnTo>
                    <a:pt x="132614" y="200228"/>
                  </a:lnTo>
                  <a:lnTo>
                    <a:pt x="132614" y="199530"/>
                  </a:lnTo>
                  <a:lnTo>
                    <a:pt x="132665" y="199530"/>
                  </a:lnTo>
                  <a:lnTo>
                    <a:pt x="132665" y="198831"/>
                  </a:lnTo>
                  <a:lnTo>
                    <a:pt x="132665" y="200876"/>
                  </a:lnTo>
                  <a:lnTo>
                    <a:pt x="132665" y="200228"/>
                  </a:lnTo>
                  <a:lnTo>
                    <a:pt x="132716" y="200228"/>
                  </a:lnTo>
                  <a:lnTo>
                    <a:pt x="132716" y="199530"/>
                  </a:lnTo>
                  <a:lnTo>
                    <a:pt x="132716" y="202959"/>
                  </a:lnTo>
                  <a:lnTo>
                    <a:pt x="132716" y="200876"/>
                  </a:lnTo>
                  <a:lnTo>
                    <a:pt x="132766" y="200876"/>
                  </a:lnTo>
                  <a:lnTo>
                    <a:pt x="132766" y="200228"/>
                  </a:lnTo>
                  <a:lnTo>
                    <a:pt x="132766" y="202260"/>
                  </a:lnTo>
                  <a:lnTo>
                    <a:pt x="132766" y="200876"/>
                  </a:lnTo>
                  <a:lnTo>
                    <a:pt x="132766" y="202260"/>
                  </a:lnTo>
                  <a:lnTo>
                    <a:pt x="132766" y="200876"/>
                  </a:lnTo>
                  <a:lnTo>
                    <a:pt x="132855" y="200876"/>
                  </a:lnTo>
                  <a:lnTo>
                    <a:pt x="132855" y="202260"/>
                  </a:lnTo>
                  <a:lnTo>
                    <a:pt x="132855" y="200876"/>
                  </a:lnTo>
                  <a:lnTo>
                    <a:pt x="132855" y="202260"/>
                  </a:lnTo>
                  <a:lnTo>
                    <a:pt x="132855" y="200876"/>
                  </a:lnTo>
                  <a:lnTo>
                    <a:pt x="132906" y="200876"/>
                  </a:lnTo>
                  <a:lnTo>
                    <a:pt x="132906" y="202260"/>
                  </a:lnTo>
                  <a:lnTo>
                    <a:pt x="132906" y="200876"/>
                  </a:lnTo>
                  <a:lnTo>
                    <a:pt x="132906" y="202260"/>
                  </a:lnTo>
                  <a:lnTo>
                    <a:pt x="132957" y="202260"/>
                  </a:lnTo>
                  <a:lnTo>
                    <a:pt x="132957" y="200876"/>
                  </a:lnTo>
                  <a:lnTo>
                    <a:pt x="132957" y="202260"/>
                  </a:lnTo>
                  <a:lnTo>
                    <a:pt x="132957" y="200876"/>
                  </a:lnTo>
                  <a:lnTo>
                    <a:pt x="133008" y="200876"/>
                  </a:lnTo>
                  <a:lnTo>
                    <a:pt x="133008" y="200228"/>
                  </a:lnTo>
                  <a:lnTo>
                    <a:pt x="133008" y="200876"/>
                  </a:lnTo>
                  <a:lnTo>
                    <a:pt x="133008" y="200228"/>
                  </a:lnTo>
                  <a:lnTo>
                    <a:pt x="133109" y="200228"/>
                  </a:lnTo>
                  <a:lnTo>
                    <a:pt x="133109" y="199530"/>
                  </a:lnTo>
                  <a:lnTo>
                    <a:pt x="133109" y="200228"/>
                  </a:lnTo>
                  <a:lnTo>
                    <a:pt x="133109" y="197447"/>
                  </a:lnTo>
                  <a:lnTo>
                    <a:pt x="133109" y="198831"/>
                  </a:lnTo>
                  <a:lnTo>
                    <a:pt x="133160" y="198831"/>
                  </a:lnTo>
                  <a:lnTo>
                    <a:pt x="133160" y="199530"/>
                  </a:lnTo>
                  <a:lnTo>
                    <a:pt x="133160" y="198831"/>
                  </a:lnTo>
                  <a:lnTo>
                    <a:pt x="133160" y="199530"/>
                  </a:lnTo>
                  <a:lnTo>
                    <a:pt x="133160" y="198831"/>
                  </a:lnTo>
                  <a:lnTo>
                    <a:pt x="133160" y="199530"/>
                  </a:lnTo>
                  <a:lnTo>
                    <a:pt x="133211" y="199530"/>
                  </a:lnTo>
                  <a:lnTo>
                    <a:pt x="133211" y="200876"/>
                  </a:lnTo>
                  <a:lnTo>
                    <a:pt x="133211" y="200228"/>
                  </a:lnTo>
                  <a:lnTo>
                    <a:pt x="133211" y="200876"/>
                  </a:lnTo>
                  <a:lnTo>
                    <a:pt x="133211" y="200228"/>
                  </a:lnTo>
                  <a:lnTo>
                    <a:pt x="133211" y="200876"/>
                  </a:lnTo>
                  <a:lnTo>
                    <a:pt x="133312" y="200876"/>
                  </a:lnTo>
                  <a:lnTo>
                    <a:pt x="133312" y="202260"/>
                  </a:lnTo>
                  <a:lnTo>
                    <a:pt x="133312" y="200876"/>
                  </a:lnTo>
                  <a:lnTo>
                    <a:pt x="133312" y="202260"/>
                  </a:lnTo>
                  <a:lnTo>
                    <a:pt x="133312" y="200876"/>
                  </a:lnTo>
                  <a:lnTo>
                    <a:pt x="133350" y="200876"/>
                  </a:lnTo>
                  <a:lnTo>
                    <a:pt x="133350" y="202260"/>
                  </a:lnTo>
                  <a:lnTo>
                    <a:pt x="133350" y="200876"/>
                  </a:lnTo>
                  <a:lnTo>
                    <a:pt x="133350" y="202260"/>
                  </a:lnTo>
                  <a:lnTo>
                    <a:pt x="133350" y="200876"/>
                  </a:lnTo>
                  <a:lnTo>
                    <a:pt x="133350" y="202260"/>
                  </a:lnTo>
                  <a:lnTo>
                    <a:pt x="133401" y="202959"/>
                  </a:lnTo>
                  <a:lnTo>
                    <a:pt x="133401" y="202260"/>
                  </a:lnTo>
                  <a:lnTo>
                    <a:pt x="133401" y="202959"/>
                  </a:lnTo>
                  <a:lnTo>
                    <a:pt x="133452" y="202959"/>
                  </a:lnTo>
                  <a:lnTo>
                    <a:pt x="133452" y="200876"/>
                  </a:lnTo>
                  <a:lnTo>
                    <a:pt x="133554" y="200876"/>
                  </a:lnTo>
                  <a:lnTo>
                    <a:pt x="133554" y="200228"/>
                  </a:lnTo>
                  <a:lnTo>
                    <a:pt x="133605" y="199530"/>
                  </a:lnTo>
                  <a:lnTo>
                    <a:pt x="133605" y="198831"/>
                  </a:lnTo>
                  <a:lnTo>
                    <a:pt x="133605" y="199530"/>
                  </a:lnTo>
                  <a:lnTo>
                    <a:pt x="133605" y="197447"/>
                  </a:lnTo>
                  <a:lnTo>
                    <a:pt x="133605" y="199530"/>
                  </a:lnTo>
                  <a:lnTo>
                    <a:pt x="133655" y="200228"/>
                  </a:lnTo>
                  <a:lnTo>
                    <a:pt x="133655" y="198831"/>
                  </a:lnTo>
                  <a:lnTo>
                    <a:pt x="133655" y="200876"/>
                  </a:lnTo>
                  <a:lnTo>
                    <a:pt x="133757" y="200876"/>
                  </a:lnTo>
                  <a:lnTo>
                    <a:pt x="133757" y="202260"/>
                  </a:lnTo>
                  <a:lnTo>
                    <a:pt x="133757" y="200228"/>
                  </a:lnTo>
                  <a:lnTo>
                    <a:pt x="133757" y="200876"/>
                  </a:lnTo>
                  <a:lnTo>
                    <a:pt x="133808" y="200876"/>
                  </a:lnTo>
                  <a:lnTo>
                    <a:pt x="133808" y="200228"/>
                  </a:lnTo>
                  <a:lnTo>
                    <a:pt x="133808" y="202260"/>
                  </a:lnTo>
                  <a:lnTo>
                    <a:pt x="133808" y="200876"/>
                  </a:lnTo>
                  <a:lnTo>
                    <a:pt x="133859" y="202260"/>
                  </a:lnTo>
                  <a:lnTo>
                    <a:pt x="133859" y="200876"/>
                  </a:lnTo>
                  <a:lnTo>
                    <a:pt x="133859" y="202260"/>
                  </a:lnTo>
                  <a:lnTo>
                    <a:pt x="133859" y="200876"/>
                  </a:lnTo>
                  <a:lnTo>
                    <a:pt x="133859" y="202260"/>
                  </a:lnTo>
                  <a:lnTo>
                    <a:pt x="133897" y="202260"/>
                  </a:lnTo>
                  <a:lnTo>
                    <a:pt x="133897" y="202959"/>
                  </a:lnTo>
                  <a:lnTo>
                    <a:pt x="133897" y="200876"/>
                  </a:lnTo>
                  <a:lnTo>
                    <a:pt x="133897" y="202260"/>
                  </a:lnTo>
                  <a:lnTo>
                    <a:pt x="133998" y="202260"/>
                  </a:lnTo>
                  <a:lnTo>
                    <a:pt x="133998" y="200228"/>
                  </a:lnTo>
                  <a:lnTo>
                    <a:pt x="134049" y="200228"/>
                  </a:lnTo>
                  <a:lnTo>
                    <a:pt x="134049" y="198831"/>
                  </a:lnTo>
                  <a:lnTo>
                    <a:pt x="134049" y="199530"/>
                  </a:lnTo>
                  <a:lnTo>
                    <a:pt x="134100" y="199530"/>
                  </a:lnTo>
                  <a:lnTo>
                    <a:pt x="134100" y="196799"/>
                  </a:lnTo>
                  <a:lnTo>
                    <a:pt x="134100" y="198831"/>
                  </a:lnTo>
                  <a:lnTo>
                    <a:pt x="134201" y="199530"/>
                  </a:lnTo>
                  <a:lnTo>
                    <a:pt x="134201" y="197447"/>
                  </a:lnTo>
                  <a:lnTo>
                    <a:pt x="134201" y="200876"/>
                  </a:lnTo>
                  <a:lnTo>
                    <a:pt x="134252" y="200876"/>
                  </a:lnTo>
                  <a:lnTo>
                    <a:pt x="134252" y="198831"/>
                  </a:lnTo>
                  <a:lnTo>
                    <a:pt x="134252" y="200876"/>
                  </a:lnTo>
                  <a:lnTo>
                    <a:pt x="134252" y="200228"/>
                  </a:lnTo>
                  <a:lnTo>
                    <a:pt x="134303" y="200228"/>
                  </a:lnTo>
                  <a:lnTo>
                    <a:pt x="134303" y="199530"/>
                  </a:lnTo>
                  <a:lnTo>
                    <a:pt x="134303" y="200876"/>
                  </a:lnTo>
                  <a:lnTo>
                    <a:pt x="134303" y="200228"/>
                  </a:lnTo>
                  <a:lnTo>
                    <a:pt x="134354" y="200876"/>
                  </a:lnTo>
                  <a:lnTo>
                    <a:pt x="134354" y="200228"/>
                  </a:lnTo>
                  <a:lnTo>
                    <a:pt x="134354" y="200876"/>
                  </a:lnTo>
                  <a:lnTo>
                    <a:pt x="134443" y="200876"/>
                  </a:lnTo>
                  <a:lnTo>
                    <a:pt x="134443" y="202260"/>
                  </a:lnTo>
                  <a:lnTo>
                    <a:pt x="134443" y="200876"/>
                  </a:lnTo>
                  <a:lnTo>
                    <a:pt x="134443" y="202260"/>
                  </a:lnTo>
                  <a:lnTo>
                    <a:pt x="134493" y="202260"/>
                  </a:lnTo>
                  <a:lnTo>
                    <a:pt x="134493" y="200876"/>
                  </a:lnTo>
                  <a:lnTo>
                    <a:pt x="134493" y="202260"/>
                  </a:lnTo>
                  <a:lnTo>
                    <a:pt x="134493" y="200228"/>
                  </a:lnTo>
                  <a:lnTo>
                    <a:pt x="134544" y="200228"/>
                  </a:lnTo>
                  <a:lnTo>
                    <a:pt x="134544" y="199530"/>
                  </a:lnTo>
                  <a:lnTo>
                    <a:pt x="134544" y="200228"/>
                  </a:lnTo>
                  <a:lnTo>
                    <a:pt x="134544" y="199530"/>
                  </a:lnTo>
                  <a:lnTo>
                    <a:pt x="134595" y="200228"/>
                  </a:lnTo>
                  <a:lnTo>
                    <a:pt x="134595" y="197447"/>
                  </a:lnTo>
                  <a:lnTo>
                    <a:pt x="134595" y="200228"/>
                  </a:lnTo>
                  <a:lnTo>
                    <a:pt x="134595" y="199530"/>
                  </a:lnTo>
                  <a:lnTo>
                    <a:pt x="134697" y="199530"/>
                  </a:lnTo>
                  <a:lnTo>
                    <a:pt x="134697" y="196799"/>
                  </a:lnTo>
                  <a:lnTo>
                    <a:pt x="134697" y="200228"/>
                  </a:lnTo>
                  <a:lnTo>
                    <a:pt x="134697" y="199530"/>
                  </a:lnTo>
                  <a:lnTo>
                    <a:pt x="134748" y="199530"/>
                  </a:lnTo>
                  <a:lnTo>
                    <a:pt x="134748" y="197447"/>
                  </a:lnTo>
                  <a:lnTo>
                    <a:pt x="134748" y="200228"/>
                  </a:lnTo>
                  <a:lnTo>
                    <a:pt x="134748" y="199530"/>
                  </a:lnTo>
                  <a:lnTo>
                    <a:pt x="134748" y="200228"/>
                  </a:lnTo>
                  <a:lnTo>
                    <a:pt x="134748" y="199530"/>
                  </a:lnTo>
                  <a:lnTo>
                    <a:pt x="134798" y="199530"/>
                  </a:lnTo>
                  <a:lnTo>
                    <a:pt x="134798" y="198831"/>
                  </a:lnTo>
                  <a:lnTo>
                    <a:pt x="134798" y="200228"/>
                  </a:lnTo>
                  <a:lnTo>
                    <a:pt x="134798" y="199530"/>
                  </a:lnTo>
                  <a:lnTo>
                    <a:pt x="134900" y="199530"/>
                  </a:lnTo>
                  <a:lnTo>
                    <a:pt x="134900" y="200228"/>
                  </a:lnTo>
                  <a:lnTo>
                    <a:pt x="134938" y="200228"/>
                  </a:lnTo>
                  <a:lnTo>
                    <a:pt x="134938" y="200876"/>
                  </a:lnTo>
                  <a:lnTo>
                    <a:pt x="134938" y="200228"/>
                  </a:lnTo>
                  <a:lnTo>
                    <a:pt x="134938" y="200876"/>
                  </a:lnTo>
                  <a:lnTo>
                    <a:pt x="134938" y="200228"/>
                  </a:lnTo>
                  <a:lnTo>
                    <a:pt x="134989" y="200228"/>
                  </a:lnTo>
                  <a:lnTo>
                    <a:pt x="134989" y="200876"/>
                  </a:lnTo>
                  <a:lnTo>
                    <a:pt x="134989" y="200228"/>
                  </a:lnTo>
                  <a:lnTo>
                    <a:pt x="134989" y="200876"/>
                  </a:lnTo>
                  <a:lnTo>
                    <a:pt x="134989" y="200228"/>
                  </a:lnTo>
                  <a:lnTo>
                    <a:pt x="135040" y="200228"/>
                  </a:lnTo>
                  <a:lnTo>
                    <a:pt x="135040" y="198831"/>
                  </a:lnTo>
                  <a:lnTo>
                    <a:pt x="135040" y="199530"/>
                  </a:lnTo>
                  <a:lnTo>
                    <a:pt x="135141" y="199530"/>
                  </a:lnTo>
                  <a:lnTo>
                    <a:pt x="135141" y="200228"/>
                  </a:lnTo>
                  <a:lnTo>
                    <a:pt x="135141" y="198831"/>
                  </a:lnTo>
                  <a:lnTo>
                    <a:pt x="135141" y="199530"/>
                  </a:lnTo>
                  <a:lnTo>
                    <a:pt x="135192" y="199530"/>
                  </a:lnTo>
                  <a:lnTo>
                    <a:pt x="135192" y="202260"/>
                  </a:lnTo>
                  <a:lnTo>
                    <a:pt x="135192" y="200876"/>
                  </a:lnTo>
                  <a:lnTo>
                    <a:pt x="135192" y="202260"/>
                  </a:lnTo>
                  <a:lnTo>
                    <a:pt x="135192" y="200228"/>
                  </a:lnTo>
                  <a:lnTo>
                    <a:pt x="135192" y="200876"/>
                  </a:lnTo>
                  <a:lnTo>
                    <a:pt x="135243" y="202260"/>
                  </a:lnTo>
                  <a:lnTo>
                    <a:pt x="135243" y="200876"/>
                  </a:lnTo>
                  <a:lnTo>
                    <a:pt x="135243" y="202260"/>
                  </a:lnTo>
                  <a:lnTo>
                    <a:pt x="135243" y="200228"/>
                  </a:lnTo>
                  <a:lnTo>
                    <a:pt x="135344" y="200876"/>
                  </a:lnTo>
                  <a:lnTo>
                    <a:pt x="135344" y="202260"/>
                  </a:lnTo>
                  <a:lnTo>
                    <a:pt x="135344" y="200876"/>
                  </a:lnTo>
                  <a:lnTo>
                    <a:pt x="135344" y="202260"/>
                  </a:lnTo>
                  <a:lnTo>
                    <a:pt x="135344" y="200876"/>
                  </a:lnTo>
                  <a:lnTo>
                    <a:pt x="135395" y="202260"/>
                  </a:lnTo>
                  <a:lnTo>
                    <a:pt x="135395" y="200876"/>
                  </a:lnTo>
                  <a:lnTo>
                    <a:pt x="135395" y="202260"/>
                  </a:lnTo>
                  <a:lnTo>
                    <a:pt x="135395" y="200876"/>
                  </a:lnTo>
                  <a:lnTo>
                    <a:pt x="135446" y="200876"/>
                  </a:lnTo>
                  <a:lnTo>
                    <a:pt x="135446" y="202260"/>
                  </a:lnTo>
                  <a:lnTo>
                    <a:pt x="135446" y="200228"/>
                  </a:lnTo>
                  <a:lnTo>
                    <a:pt x="135446" y="202260"/>
                  </a:lnTo>
                  <a:lnTo>
                    <a:pt x="135446" y="200876"/>
                  </a:lnTo>
                  <a:lnTo>
                    <a:pt x="135446" y="202260"/>
                  </a:lnTo>
                  <a:lnTo>
                    <a:pt x="135446" y="200876"/>
                  </a:lnTo>
                  <a:lnTo>
                    <a:pt x="135484" y="200876"/>
                  </a:lnTo>
                  <a:lnTo>
                    <a:pt x="135484" y="199530"/>
                  </a:lnTo>
                  <a:lnTo>
                    <a:pt x="135586" y="199530"/>
                  </a:lnTo>
                  <a:lnTo>
                    <a:pt x="135586" y="200876"/>
                  </a:lnTo>
                  <a:lnTo>
                    <a:pt x="135636" y="200228"/>
                  </a:lnTo>
                  <a:lnTo>
                    <a:pt x="135636" y="200876"/>
                  </a:lnTo>
                  <a:lnTo>
                    <a:pt x="135636" y="200228"/>
                  </a:lnTo>
                  <a:lnTo>
                    <a:pt x="135636" y="200876"/>
                  </a:lnTo>
                  <a:lnTo>
                    <a:pt x="135636" y="199530"/>
                  </a:lnTo>
                  <a:lnTo>
                    <a:pt x="135636" y="202959"/>
                  </a:lnTo>
                  <a:lnTo>
                    <a:pt x="135636" y="202260"/>
                  </a:lnTo>
                  <a:lnTo>
                    <a:pt x="135687" y="202260"/>
                  </a:lnTo>
                  <a:lnTo>
                    <a:pt x="135687" y="200876"/>
                  </a:lnTo>
                  <a:lnTo>
                    <a:pt x="135687" y="202959"/>
                  </a:lnTo>
                  <a:lnTo>
                    <a:pt x="135687" y="202260"/>
                  </a:lnTo>
                  <a:lnTo>
                    <a:pt x="135789" y="202260"/>
                  </a:lnTo>
                  <a:lnTo>
                    <a:pt x="135789" y="202959"/>
                  </a:lnTo>
                  <a:lnTo>
                    <a:pt x="135789" y="202260"/>
                  </a:lnTo>
                  <a:lnTo>
                    <a:pt x="135840" y="202260"/>
                  </a:lnTo>
                  <a:lnTo>
                    <a:pt x="135840" y="202959"/>
                  </a:lnTo>
                  <a:lnTo>
                    <a:pt x="135840" y="202260"/>
                  </a:lnTo>
                  <a:lnTo>
                    <a:pt x="135840" y="202959"/>
                  </a:lnTo>
                  <a:lnTo>
                    <a:pt x="135840" y="202260"/>
                  </a:lnTo>
                  <a:lnTo>
                    <a:pt x="135891" y="202260"/>
                  </a:lnTo>
                  <a:lnTo>
                    <a:pt x="135891" y="202959"/>
                  </a:lnTo>
                  <a:lnTo>
                    <a:pt x="135891" y="202260"/>
                  </a:lnTo>
                  <a:lnTo>
                    <a:pt x="135941" y="202260"/>
                  </a:lnTo>
                  <a:lnTo>
                    <a:pt x="135941" y="200876"/>
                  </a:lnTo>
                  <a:lnTo>
                    <a:pt x="135941" y="202260"/>
                  </a:lnTo>
                  <a:lnTo>
                    <a:pt x="135941" y="200876"/>
                  </a:lnTo>
                  <a:lnTo>
                    <a:pt x="135941" y="202260"/>
                  </a:lnTo>
                  <a:lnTo>
                    <a:pt x="135941" y="200876"/>
                  </a:lnTo>
                  <a:lnTo>
                    <a:pt x="136030" y="200228"/>
                  </a:lnTo>
                  <a:lnTo>
                    <a:pt x="136030" y="199530"/>
                  </a:lnTo>
                  <a:lnTo>
                    <a:pt x="136030" y="200228"/>
                  </a:lnTo>
                  <a:lnTo>
                    <a:pt x="136030" y="199530"/>
                  </a:lnTo>
                  <a:lnTo>
                    <a:pt x="136081" y="198831"/>
                  </a:lnTo>
                  <a:lnTo>
                    <a:pt x="136081" y="197447"/>
                  </a:lnTo>
                  <a:lnTo>
                    <a:pt x="136081" y="198831"/>
                  </a:lnTo>
                  <a:lnTo>
                    <a:pt x="136081" y="196799"/>
                  </a:lnTo>
                  <a:lnTo>
                    <a:pt x="136081" y="198831"/>
                  </a:lnTo>
                  <a:lnTo>
                    <a:pt x="136132" y="198831"/>
                  </a:lnTo>
                  <a:lnTo>
                    <a:pt x="136132" y="199530"/>
                  </a:lnTo>
                  <a:lnTo>
                    <a:pt x="136132" y="197447"/>
                  </a:lnTo>
                  <a:lnTo>
                    <a:pt x="136132" y="200228"/>
                  </a:lnTo>
                  <a:lnTo>
                    <a:pt x="136183" y="200228"/>
                  </a:lnTo>
                  <a:lnTo>
                    <a:pt x="136183" y="199530"/>
                  </a:lnTo>
                  <a:lnTo>
                    <a:pt x="136183" y="200876"/>
                  </a:lnTo>
                  <a:lnTo>
                    <a:pt x="136284" y="200876"/>
                  </a:lnTo>
                  <a:lnTo>
                    <a:pt x="136284" y="200228"/>
                  </a:lnTo>
                  <a:lnTo>
                    <a:pt x="136284" y="202260"/>
                  </a:lnTo>
                  <a:lnTo>
                    <a:pt x="136284" y="200876"/>
                  </a:lnTo>
                  <a:lnTo>
                    <a:pt x="136335" y="200876"/>
                  </a:lnTo>
                  <a:lnTo>
                    <a:pt x="136335" y="202260"/>
                  </a:lnTo>
                  <a:lnTo>
                    <a:pt x="136335" y="200876"/>
                  </a:lnTo>
                  <a:lnTo>
                    <a:pt x="136335" y="202959"/>
                  </a:lnTo>
                  <a:lnTo>
                    <a:pt x="136335" y="202260"/>
                  </a:lnTo>
                  <a:lnTo>
                    <a:pt x="136386" y="202260"/>
                  </a:lnTo>
                  <a:lnTo>
                    <a:pt x="136386" y="200876"/>
                  </a:lnTo>
                  <a:lnTo>
                    <a:pt x="136487" y="200876"/>
                  </a:lnTo>
                  <a:lnTo>
                    <a:pt x="136487" y="202260"/>
                  </a:lnTo>
                  <a:lnTo>
                    <a:pt x="136487" y="200876"/>
                  </a:lnTo>
                  <a:lnTo>
                    <a:pt x="136487" y="202260"/>
                  </a:lnTo>
                  <a:lnTo>
                    <a:pt x="136487" y="200876"/>
                  </a:lnTo>
                  <a:lnTo>
                    <a:pt x="136525" y="200876"/>
                  </a:lnTo>
                  <a:lnTo>
                    <a:pt x="136525" y="198831"/>
                  </a:lnTo>
                  <a:lnTo>
                    <a:pt x="136525" y="199530"/>
                  </a:lnTo>
                  <a:lnTo>
                    <a:pt x="136525" y="198831"/>
                  </a:lnTo>
                  <a:lnTo>
                    <a:pt x="136576" y="198831"/>
                  </a:lnTo>
                  <a:lnTo>
                    <a:pt x="136576" y="200228"/>
                  </a:lnTo>
                  <a:lnTo>
                    <a:pt x="136576" y="198831"/>
                  </a:lnTo>
                  <a:lnTo>
                    <a:pt x="136627" y="198831"/>
                  </a:lnTo>
                  <a:lnTo>
                    <a:pt x="136627" y="200876"/>
                  </a:lnTo>
                  <a:lnTo>
                    <a:pt x="136627" y="199530"/>
                  </a:lnTo>
                  <a:lnTo>
                    <a:pt x="136627" y="200228"/>
                  </a:lnTo>
                  <a:lnTo>
                    <a:pt x="136729" y="200228"/>
                  </a:lnTo>
                  <a:lnTo>
                    <a:pt x="136729" y="200876"/>
                  </a:lnTo>
                  <a:lnTo>
                    <a:pt x="136729" y="200228"/>
                  </a:lnTo>
                  <a:lnTo>
                    <a:pt x="136729" y="200876"/>
                  </a:lnTo>
                  <a:lnTo>
                    <a:pt x="136729" y="200228"/>
                  </a:lnTo>
                  <a:lnTo>
                    <a:pt x="136729" y="200876"/>
                  </a:lnTo>
                  <a:lnTo>
                    <a:pt x="136780" y="200876"/>
                  </a:lnTo>
                  <a:lnTo>
                    <a:pt x="136780" y="202260"/>
                  </a:lnTo>
                  <a:lnTo>
                    <a:pt x="136780" y="200876"/>
                  </a:lnTo>
                  <a:lnTo>
                    <a:pt x="136780" y="202260"/>
                  </a:lnTo>
                  <a:lnTo>
                    <a:pt x="136780" y="200876"/>
                  </a:lnTo>
                  <a:lnTo>
                    <a:pt x="136830" y="200876"/>
                  </a:lnTo>
                  <a:lnTo>
                    <a:pt x="136830" y="202260"/>
                  </a:lnTo>
                  <a:lnTo>
                    <a:pt x="136830" y="200876"/>
                  </a:lnTo>
                  <a:lnTo>
                    <a:pt x="136830" y="202260"/>
                  </a:lnTo>
                  <a:lnTo>
                    <a:pt x="136830" y="200876"/>
                  </a:lnTo>
                  <a:lnTo>
                    <a:pt x="136830" y="202260"/>
                  </a:lnTo>
                  <a:lnTo>
                    <a:pt x="136830" y="200876"/>
                  </a:lnTo>
                  <a:lnTo>
                    <a:pt x="136830" y="202260"/>
                  </a:lnTo>
                  <a:lnTo>
                    <a:pt x="136830" y="200876"/>
                  </a:lnTo>
                  <a:lnTo>
                    <a:pt x="136830" y="202260"/>
                  </a:lnTo>
                  <a:lnTo>
                    <a:pt x="136830" y="200876"/>
                  </a:lnTo>
                  <a:lnTo>
                    <a:pt x="136932" y="200876"/>
                  </a:lnTo>
                  <a:lnTo>
                    <a:pt x="136932" y="202260"/>
                  </a:lnTo>
                  <a:lnTo>
                    <a:pt x="136932" y="200876"/>
                  </a:lnTo>
                  <a:lnTo>
                    <a:pt x="136932" y="202260"/>
                  </a:lnTo>
                  <a:lnTo>
                    <a:pt x="136932" y="200876"/>
                  </a:lnTo>
                  <a:lnTo>
                    <a:pt x="136983" y="200876"/>
                  </a:lnTo>
                  <a:lnTo>
                    <a:pt x="136983" y="200228"/>
                  </a:lnTo>
                  <a:lnTo>
                    <a:pt x="137034" y="200228"/>
                  </a:lnTo>
                  <a:lnTo>
                    <a:pt x="137034" y="197447"/>
                  </a:lnTo>
                  <a:lnTo>
                    <a:pt x="137072" y="197447"/>
                  </a:lnTo>
                  <a:lnTo>
                    <a:pt x="137072" y="196799"/>
                  </a:lnTo>
                  <a:lnTo>
                    <a:pt x="137072" y="199530"/>
                  </a:lnTo>
                  <a:lnTo>
                    <a:pt x="137072" y="197447"/>
                  </a:lnTo>
                  <a:lnTo>
                    <a:pt x="137072" y="198831"/>
                  </a:lnTo>
                  <a:lnTo>
                    <a:pt x="137072" y="197447"/>
                  </a:lnTo>
                  <a:lnTo>
                    <a:pt x="137173" y="197447"/>
                  </a:lnTo>
                  <a:lnTo>
                    <a:pt x="137173" y="196799"/>
                  </a:lnTo>
                  <a:lnTo>
                    <a:pt x="137173" y="200228"/>
                  </a:lnTo>
                  <a:lnTo>
                    <a:pt x="137173" y="199530"/>
                  </a:lnTo>
                  <a:lnTo>
                    <a:pt x="137224" y="199530"/>
                  </a:lnTo>
                  <a:lnTo>
                    <a:pt x="137224" y="200228"/>
                  </a:lnTo>
                  <a:lnTo>
                    <a:pt x="137275" y="200228"/>
                  </a:lnTo>
                  <a:lnTo>
                    <a:pt x="137275" y="200876"/>
                  </a:lnTo>
                  <a:lnTo>
                    <a:pt x="137376" y="200876"/>
                  </a:lnTo>
                  <a:lnTo>
                    <a:pt x="137376" y="202260"/>
                  </a:lnTo>
                  <a:lnTo>
                    <a:pt x="137376" y="200876"/>
                  </a:lnTo>
                  <a:lnTo>
                    <a:pt x="137376" y="202260"/>
                  </a:lnTo>
                  <a:lnTo>
                    <a:pt x="137376" y="200876"/>
                  </a:lnTo>
                  <a:lnTo>
                    <a:pt x="137427" y="202260"/>
                  </a:lnTo>
                  <a:lnTo>
                    <a:pt x="137427" y="200876"/>
                  </a:lnTo>
                  <a:lnTo>
                    <a:pt x="137427" y="202260"/>
                  </a:lnTo>
                  <a:lnTo>
                    <a:pt x="137427" y="200876"/>
                  </a:lnTo>
                  <a:lnTo>
                    <a:pt x="137478" y="200876"/>
                  </a:lnTo>
                  <a:lnTo>
                    <a:pt x="137478" y="202260"/>
                  </a:lnTo>
                  <a:lnTo>
                    <a:pt x="137478" y="200876"/>
                  </a:lnTo>
                  <a:lnTo>
                    <a:pt x="137478" y="202260"/>
                  </a:lnTo>
                  <a:lnTo>
                    <a:pt x="137478" y="200228"/>
                  </a:lnTo>
                  <a:lnTo>
                    <a:pt x="137478" y="200876"/>
                  </a:lnTo>
                  <a:lnTo>
                    <a:pt x="137478" y="200228"/>
                  </a:lnTo>
                  <a:lnTo>
                    <a:pt x="137529" y="200228"/>
                  </a:lnTo>
                  <a:lnTo>
                    <a:pt x="137529" y="199530"/>
                  </a:lnTo>
                  <a:lnTo>
                    <a:pt x="137529" y="200228"/>
                  </a:lnTo>
                  <a:lnTo>
                    <a:pt x="137529" y="199530"/>
                  </a:lnTo>
                  <a:lnTo>
                    <a:pt x="137529" y="200228"/>
                  </a:lnTo>
                  <a:lnTo>
                    <a:pt x="137529" y="198831"/>
                  </a:lnTo>
                  <a:lnTo>
                    <a:pt x="137618" y="198831"/>
                  </a:lnTo>
                  <a:lnTo>
                    <a:pt x="137618" y="199530"/>
                  </a:lnTo>
                  <a:lnTo>
                    <a:pt x="137618" y="197447"/>
                  </a:lnTo>
                  <a:lnTo>
                    <a:pt x="137618" y="198831"/>
                  </a:lnTo>
                  <a:lnTo>
                    <a:pt x="137668" y="199530"/>
                  </a:lnTo>
                  <a:lnTo>
                    <a:pt x="137668" y="200228"/>
                  </a:lnTo>
                  <a:lnTo>
                    <a:pt x="137668" y="198831"/>
                  </a:lnTo>
                  <a:lnTo>
                    <a:pt x="137668" y="200228"/>
                  </a:lnTo>
                  <a:lnTo>
                    <a:pt x="137719" y="200228"/>
                  </a:lnTo>
                  <a:lnTo>
                    <a:pt x="137719" y="199530"/>
                  </a:lnTo>
                  <a:lnTo>
                    <a:pt x="137719" y="200228"/>
                  </a:lnTo>
                  <a:lnTo>
                    <a:pt x="137719" y="199530"/>
                  </a:lnTo>
                  <a:lnTo>
                    <a:pt x="137719" y="200228"/>
                  </a:lnTo>
                  <a:lnTo>
                    <a:pt x="137719" y="199530"/>
                  </a:lnTo>
                  <a:lnTo>
                    <a:pt x="137770" y="199530"/>
                  </a:lnTo>
                  <a:lnTo>
                    <a:pt x="137770" y="200228"/>
                  </a:lnTo>
                  <a:lnTo>
                    <a:pt x="137770" y="199530"/>
                  </a:lnTo>
                  <a:lnTo>
                    <a:pt x="137770" y="200228"/>
                  </a:lnTo>
                  <a:lnTo>
                    <a:pt x="137770" y="199530"/>
                  </a:lnTo>
                  <a:lnTo>
                    <a:pt x="137770" y="200228"/>
                  </a:lnTo>
                  <a:lnTo>
                    <a:pt x="137872" y="200228"/>
                  </a:lnTo>
                  <a:lnTo>
                    <a:pt x="137872" y="200876"/>
                  </a:lnTo>
                  <a:lnTo>
                    <a:pt x="137872" y="200228"/>
                  </a:lnTo>
                  <a:lnTo>
                    <a:pt x="137872" y="200876"/>
                  </a:lnTo>
                  <a:lnTo>
                    <a:pt x="137923" y="200876"/>
                  </a:lnTo>
                  <a:lnTo>
                    <a:pt x="137923" y="200228"/>
                  </a:lnTo>
                  <a:lnTo>
                    <a:pt x="137923" y="200876"/>
                  </a:lnTo>
                  <a:lnTo>
                    <a:pt x="137923" y="200228"/>
                  </a:lnTo>
                  <a:lnTo>
                    <a:pt x="137923" y="200876"/>
                  </a:lnTo>
                  <a:lnTo>
                    <a:pt x="137923" y="200228"/>
                  </a:lnTo>
                  <a:lnTo>
                    <a:pt x="137973" y="200228"/>
                  </a:lnTo>
                  <a:lnTo>
                    <a:pt x="137973" y="200876"/>
                  </a:lnTo>
                  <a:lnTo>
                    <a:pt x="137973" y="200228"/>
                  </a:lnTo>
                  <a:lnTo>
                    <a:pt x="137973" y="200876"/>
                  </a:lnTo>
                  <a:lnTo>
                    <a:pt x="137973" y="199530"/>
                  </a:lnTo>
                  <a:lnTo>
                    <a:pt x="137973" y="200228"/>
                  </a:lnTo>
                  <a:lnTo>
                    <a:pt x="137973" y="199530"/>
                  </a:lnTo>
                  <a:lnTo>
                    <a:pt x="138075" y="199530"/>
                  </a:lnTo>
                  <a:lnTo>
                    <a:pt x="138075" y="198831"/>
                  </a:lnTo>
                  <a:lnTo>
                    <a:pt x="138075" y="199530"/>
                  </a:lnTo>
                  <a:lnTo>
                    <a:pt x="138075" y="197447"/>
                  </a:lnTo>
                  <a:lnTo>
                    <a:pt x="138075" y="200228"/>
                  </a:lnTo>
                  <a:lnTo>
                    <a:pt x="138113" y="200228"/>
                  </a:lnTo>
                  <a:lnTo>
                    <a:pt x="138113" y="197447"/>
                  </a:lnTo>
                  <a:lnTo>
                    <a:pt x="138113" y="202260"/>
                  </a:lnTo>
                  <a:lnTo>
                    <a:pt x="138164" y="200876"/>
                  </a:lnTo>
                  <a:lnTo>
                    <a:pt x="138164" y="200228"/>
                  </a:lnTo>
                  <a:lnTo>
                    <a:pt x="138164" y="202260"/>
                  </a:lnTo>
                  <a:lnTo>
                    <a:pt x="138164" y="200876"/>
                  </a:lnTo>
                  <a:lnTo>
                    <a:pt x="138215" y="200876"/>
                  </a:lnTo>
                  <a:lnTo>
                    <a:pt x="138215" y="202260"/>
                  </a:lnTo>
                  <a:lnTo>
                    <a:pt x="138215" y="200876"/>
                  </a:lnTo>
                  <a:lnTo>
                    <a:pt x="138316" y="200876"/>
                  </a:lnTo>
                  <a:lnTo>
                    <a:pt x="138367" y="202260"/>
                  </a:lnTo>
                  <a:lnTo>
                    <a:pt x="138367" y="200876"/>
                  </a:lnTo>
                  <a:lnTo>
                    <a:pt x="138367" y="202260"/>
                  </a:lnTo>
                  <a:lnTo>
                    <a:pt x="138367" y="200876"/>
                  </a:lnTo>
                  <a:lnTo>
                    <a:pt x="138367" y="202260"/>
                  </a:lnTo>
                  <a:lnTo>
                    <a:pt x="138367" y="200876"/>
                  </a:lnTo>
                  <a:lnTo>
                    <a:pt x="138367" y="202260"/>
                  </a:lnTo>
                  <a:lnTo>
                    <a:pt x="138367" y="200876"/>
                  </a:lnTo>
                  <a:lnTo>
                    <a:pt x="138418" y="200876"/>
                  </a:lnTo>
                  <a:lnTo>
                    <a:pt x="138418" y="202260"/>
                  </a:lnTo>
                  <a:lnTo>
                    <a:pt x="138418" y="200876"/>
                  </a:lnTo>
                  <a:lnTo>
                    <a:pt x="138418" y="202260"/>
                  </a:lnTo>
                  <a:lnTo>
                    <a:pt x="138418" y="200876"/>
                  </a:lnTo>
                  <a:lnTo>
                    <a:pt x="138418" y="202260"/>
                  </a:lnTo>
                  <a:lnTo>
                    <a:pt x="138418" y="200876"/>
                  </a:lnTo>
                  <a:lnTo>
                    <a:pt x="138519" y="200876"/>
                  </a:lnTo>
                  <a:lnTo>
                    <a:pt x="138519" y="200228"/>
                  </a:lnTo>
                  <a:lnTo>
                    <a:pt x="138519" y="200876"/>
                  </a:lnTo>
                  <a:lnTo>
                    <a:pt x="138519" y="199530"/>
                  </a:lnTo>
                  <a:lnTo>
                    <a:pt x="138570" y="199530"/>
                  </a:lnTo>
                  <a:lnTo>
                    <a:pt x="138570" y="198831"/>
                  </a:lnTo>
                  <a:lnTo>
                    <a:pt x="138570" y="199530"/>
                  </a:lnTo>
                  <a:lnTo>
                    <a:pt x="138570" y="197447"/>
                  </a:lnTo>
                  <a:lnTo>
                    <a:pt x="138570" y="200228"/>
                  </a:lnTo>
                  <a:lnTo>
                    <a:pt x="138570" y="199530"/>
                  </a:lnTo>
                  <a:lnTo>
                    <a:pt x="138621" y="198831"/>
                  </a:lnTo>
                  <a:lnTo>
                    <a:pt x="138621" y="202260"/>
                  </a:lnTo>
                  <a:lnTo>
                    <a:pt x="138621" y="200228"/>
                  </a:lnTo>
                  <a:lnTo>
                    <a:pt x="138659" y="200876"/>
                  </a:lnTo>
                  <a:lnTo>
                    <a:pt x="138659" y="200228"/>
                  </a:lnTo>
                  <a:lnTo>
                    <a:pt x="138659" y="202260"/>
                  </a:lnTo>
                  <a:lnTo>
                    <a:pt x="138659" y="200876"/>
                  </a:lnTo>
                  <a:lnTo>
                    <a:pt x="138659" y="202260"/>
                  </a:lnTo>
                  <a:lnTo>
                    <a:pt x="138761" y="202260"/>
                  </a:lnTo>
                  <a:lnTo>
                    <a:pt x="138761" y="200876"/>
                  </a:lnTo>
                  <a:lnTo>
                    <a:pt x="138761" y="202260"/>
                  </a:lnTo>
                  <a:lnTo>
                    <a:pt x="138761" y="200876"/>
                  </a:lnTo>
                  <a:lnTo>
                    <a:pt x="138761" y="202260"/>
                  </a:lnTo>
                  <a:lnTo>
                    <a:pt x="138811" y="202260"/>
                  </a:lnTo>
                  <a:lnTo>
                    <a:pt x="138811" y="200876"/>
                  </a:lnTo>
                  <a:lnTo>
                    <a:pt x="138811" y="202260"/>
                  </a:lnTo>
                  <a:lnTo>
                    <a:pt x="138811" y="200876"/>
                  </a:lnTo>
                  <a:lnTo>
                    <a:pt x="138811" y="202260"/>
                  </a:lnTo>
                  <a:lnTo>
                    <a:pt x="138811" y="200876"/>
                  </a:lnTo>
                  <a:lnTo>
                    <a:pt x="138862" y="202260"/>
                  </a:lnTo>
                  <a:lnTo>
                    <a:pt x="138862" y="200876"/>
                  </a:lnTo>
                  <a:lnTo>
                    <a:pt x="138862" y="202260"/>
                  </a:lnTo>
                  <a:lnTo>
                    <a:pt x="138862" y="200228"/>
                  </a:lnTo>
                  <a:lnTo>
                    <a:pt x="138862" y="200876"/>
                  </a:lnTo>
                  <a:lnTo>
                    <a:pt x="138964" y="200876"/>
                  </a:lnTo>
                  <a:lnTo>
                    <a:pt x="138964" y="200228"/>
                  </a:lnTo>
                  <a:lnTo>
                    <a:pt x="139015" y="200228"/>
                  </a:lnTo>
                  <a:lnTo>
                    <a:pt x="139015" y="199530"/>
                  </a:lnTo>
                  <a:lnTo>
                    <a:pt x="139015" y="200228"/>
                  </a:lnTo>
                  <a:lnTo>
                    <a:pt x="139015" y="196799"/>
                  </a:lnTo>
                  <a:lnTo>
                    <a:pt x="139066" y="196799"/>
                  </a:lnTo>
                  <a:lnTo>
                    <a:pt x="139066" y="197447"/>
                  </a:lnTo>
                  <a:lnTo>
                    <a:pt x="139066" y="196799"/>
                  </a:lnTo>
                  <a:lnTo>
                    <a:pt x="139066" y="199530"/>
                  </a:lnTo>
                  <a:lnTo>
                    <a:pt x="139066" y="196799"/>
                  </a:lnTo>
                  <a:lnTo>
                    <a:pt x="139116" y="196799"/>
                  </a:lnTo>
                  <a:lnTo>
                    <a:pt x="139116" y="200876"/>
                  </a:lnTo>
                  <a:lnTo>
                    <a:pt x="139116" y="198831"/>
                  </a:lnTo>
                  <a:lnTo>
                    <a:pt x="139116" y="199530"/>
                  </a:lnTo>
                  <a:lnTo>
                    <a:pt x="139205" y="199530"/>
                  </a:lnTo>
                  <a:lnTo>
                    <a:pt x="139205" y="200876"/>
                  </a:lnTo>
                  <a:lnTo>
                    <a:pt x="139205" y="200228"/>
                  </a:lnTo>
                  <a:lnTo>
                    <a:pt x="139205" y="200876"/>
                  </a:lnTo>
                  <a:lnTo>
                    <a:pt x="139205" y="200228"/>
                  </a:lnTo>
                  <a:lnTo>
                    <a:pt x="139256" y="200228"/>
                  </a:lnTo>
                  <a:lnTo>
                    <a:pt x="139256" y="202260"/>
                  </a:lnTo>
                  <a:lnTo>
                    <a:pt x="139256" y="200876"/>
                  </a:lnTo>
                  <a:lnTo>
                    <a:pt x="139307" y="200876"/>
                  </a:lnTo>
                  <a:lnTo>
                    <a:pt x="139307" y="202260"/>
                  </a:lnTo>
                  <a:lnTo>
                    <a:pt x="139307" y="200876"/>
                  </a:lnTo>
                  <a:lnTo>
                    <a:pt x="139307" y="202260"/>
                  </a:lnTo>
                  <a:lnTo>
                    <a:pt x="139307" y="200876"/>
                  </a:lnTo>
                  <a:lnTo>
                    <a:pt x="139307" y="202260"/>
                  </a:lnTo>
                  <a:lnTo>
                    <a:pt x="139307" y="200876"/>
                  </a:lnTo>
                  <a:lnTo>
                    <a:pt x="139307" y="202260"/>
                  </a:lnTo>
                  <a:lnTo>
                    <a:pt x="139358" y="200876"/>
                  </a:lnTo>
                  <a:lnTo>
                    <a:pt x="139358" y="202260"/>
                  </a:lnTo>
                  <a:lnTo>
                    <a:pt x="139358" y="200876"/>
                  </a:lnTo>
                  <a:lnTo>
                    <a:pt x="139358" y="202260"/>
                  </a:lnTo>
                  <a:lnTo>
                    <a:pt x="139358" y="200876"/>
                  </a:lnTo>
                  <a:lnTo>
                    <a:pt x="139358" y="202260"/>
                  </a:lnTo>
                  <a:lnTo>
                    <a:pt x="139358" y="200876"/>
                  </a:lnTo>
                  <a:lnTo>
                    <a:pt x="139358" y="202260"/>
                  </a:lnTo>
                  <a:lnTo>
                    <a:pt x="139459" y="200876"/>
                  </a:lnTo>
                  <a:lnTo>
                    <a:pt x="139459" y="200228"/>
                  </a:lnTo>
                  <a:lnTo>
                    <a:pt x="139459" y="200876"/>
                  </a:lnTo>
                  <a:lnTo>
                    <a:pt x="139459" y="200228"/>
                  </a:lnTo>
                  <a:lnTo>
                    <a:pt x="139510" y="200228"/>
                  </a:lnTo>
                  <a:lnTo>
                    <a:pt x="139510" y="197447"/>
                  </a:lnTo>
                  <a:lnTo>
                    <a:pt x="139561" y="196799"/>
                  </a:lnTo>
                  <a:lnTo>
                    <a:pt x="139561" y="196113"/>
                  </a:lnTo>
                  <a:lnTo>
                    <a:pt x="139561" y="197447"/>
                  </a:lnTo>
                  <a:lnTo>
                    <a:pt x="139561" y="196799"/>
                  </a:lnTo>
                  <a:lnTo>
                    <a:pt x="139662" y="197447"/>
                  </a:lnTo>
                  <a:lnTo>
                    <a:pt x="139662" y="199530"/>
                  </a:lnTo>
                  <a:lnTo>
                    <a:pt x="139662" y="198831"/>
                  </a:lnTo>
                  <a:lnTo>
                    <a:pt x="139700" y="199530"/>
                  </a:lnTo>
                  <a:lnTo>
                    <a:pt x="139700" y="198831"/>
                  </a:lnTo>
                  <a:lnTo>
                    <a:pt x="139700" y="200228"/>
                  </a:lnTo>
                  <a:lnTo>
                    <a:pt x="139700" y="199530"/>
                  </a:lnTo>
                  <a:lnTo>
                    <a:pt x="139700" y="200228"/>
                  </a:lnTo>
                  <a:lnTo>
                    <a:pt x="139700" y="199530"/>
                  </a:lnTo>
                  <a:lnTo>
                    <a:pt x="139751" y="200228"/>
                  </a:lnTo>
                  <a:lnTo>
                    <a:pt x="139751" y="199530"/>
                  </a:lnTo>
                  <a:lnTo>
                    <a:pt x="139751" y="200228"/>
                  </a:lnTo>
                  <a:lnTo>
                    <a:pt x="139751" y="199530"/>
                  </a:lnTo>
                  <a:lnTo>
                    <a:pt x="139751" y="200228"/>
                  </a:lnTo>
                  <a:lnTo>
                    <a:pt x="139802" y="200228"/>
                  </a:lnTo>
                  <a:lnTo>
                    <a:pt x="139802" y="200876"/>
                  </a:lnTo>
                  <a:lnTo>
                    <a:pt x="139802" y="200228"/>
                  </a:lnTo>
                  <a:lnTo>
                    <a:pt x="139802" y="200876"/>
                  </a:lnTo>
                  <a:lnTo>
                    <a:pt x="139955" y="200876"/>
                  </a:lnTo>
                  <a:lnTo>
                    <a:pt x="139955" y="199530"/>
                  </a:lnTo>
                  <a:lnTo>
                    <a:pt x="139955" y="200228"/>
                  </a:lnTo>
                  <a:lnTo>
                    <a:pt x="140005" y="199530"/>
                  </a:lnTo>
                  <a:lnTo>
                    <a:pt x="140005" y="200228"/>
                  </a:lnTo>
                  <a:lnTo>
                    <a:pt x="140005" y="196799"/>
                  </a:lnTo>
                  <a:lnTo>
                    <a:pt x="140107" y="196799"/>
                  </a:lnTo>
                  <a:lnTo>
                    <a:pt x="140107" y="198831"/>
                  </a:lnTo>
                  <a:lnTo>
                    <a:pt x="140107" y="197447"/>
                  </a:lnTo>
                  <a:lnTo>
                    <a:pt x="140107" y="198831"/>
                  </a:lnTo>
                  <a:lnTo>
                    <a:pt x="140107" y="196113"/>
                  </a:lnTo>
                  <a:lnTo>
                    <a:pt x="140158" y="196799"/>
                  </a:lnTo>
                  <a:lnTo>
                    <a:pt x="140158" y="199530"/>
                  </a:lnTo>
                  <a:lnTo>
                    <a:pt x="140158" y="196799"/>
                  </a:lnTo>
                  <a:lnTo>
                    <a:pt x="140209" y="197447"/>
                  </a:lnTo>
                  <a:lnTo>
                    <a:pt x="140209" y="200228"/>
                  </a:lnTo>
                  <a:lnTo>
                    <a:pt x="140209" y="197447"/>
                  </a:lnTo>
                  <a:lnTo>
                    <a:pt x="140209" y="198831"/>
                  </a:lnTo>
                  <a:lnTo>
                    <a:pt x="140247" y="198831"/>
                  </a:lnTo>
                  <a:lnTo>
                    <a:pt x="140247" y="199530"/>
                  </a:lnTo>
                  <a:lnTo>
                    <a:pt x="140247" y="198831"/>
                  </a:lnTo>
                  <a:lnTo>
                    <a:pt x="140247" y="199530"/>
                  </a:lnTo>
                  <a:lnTo>
                    <a:pt x="140247" y="198831"/>
                  </a:lnTo>
                  <a:lnTo>
                    <a:pt x="140247" y="199530"/>
                  </a:lnTo>
                  <a:lnTo>
                    <a:pt x="140247" y="198831"/>
                  </a:lnTo>
                  <a:lnTo>
                    <a:pt x="140247" y="200228"/>
                  </a:lnTo>
                  <a:lnTo>
                    <a:pt x="140247" y="199530"/>
                  </a:lnTo>
                  <a:lnTo>
                    <a:pt x="140348" y="199530"/>
                  </a:lnTo>
                  <a:lnTo>
                    <a:pt x="140348" y="200876"/>
                  </a:lnTo>
                  <a:lnTo>
                    <a:pt x="140348" y="200228"/>
                  </a:lnTo>
                  <a:lnTo>
                    <a:pt x="140348" y="200876"/>
                  </a:lnTo>
                  <a:lnTo>
                    <a:pt x="140348" y="200228"/>
                  </a:lnTo>
                  <a:lnTo>
                    <a:pt x="140348" y="200876"/>
                  </a:lnTo>
                  <a:lnTo>
                    <a:pt x="140399" y="200876"/>
                  </a:lnTo>
                  <a:lnTo>
                    <a:pt x="140399" y="200228"/>
                  </a:lnTo>
                  <a:lnTo>
                    <a:pt x="140399" y="202260"/>
                  </a:lnTo>
                  <a:lnTo>
                    <a:pt x="140399" y="200228"/>
                  </a:lnTo>
                  <a:lnTo>
                    <a:pt x="140399" y="200876"/>
                  </a:lnTo>
                  <a:lnTo>
                    <a:pt x="140450" y="200876"/>
                  </a:lnTo>
                  <a:lnTo>
                    <a:pt x="140450" y="199530"/>
                  </a:lnTo>
                  <a:lnTo>
                    <a:pt x="140551" y="199530"/>
                  </a:lnTo>
                  <a:lnTo>
                    <a:pt x="140551" y="197447"/>
                  </a:lnTo>
                  <a:lnTo>
                    <a:pt x="140551" y="198831"/>
                  </a:lnTo>
                  <a:lnTo>
                    <a:pt x="140551" y="196799"/>
                  </a:lnTo>
                  <a:lnTo>
                    <a:pt x="140551" y="197447"/>
                  </a:lnTo>
                  <a:lnTo>
                    <a:pt x="140602" y="197447"/>
                  </a:lnTo>
                  <a:lnTo>
                    <a:pt x="140602" y="196113"/>
                  </a:lnTo>
                  <a:lnTo>
                    <a:pt x="140602" y="197447"/>
                  </a:lnTo>
                  <a:lnTo>
                    <a:pt x="140653" y="198831"/>
                  </a:lnTo>
                  <a:lnTo>
                    <a:pt x="140653" y="199530"/>
                  </a:lnTo>
                  <a:lnTo>
                    <a:pt x="140653" y="196799"/>
                  </a:lnTo>
                  <a:lnTo>
                    <a:pt x="140653" y="198831"/>
                  </a:lnTo>
                  <a:lnTo>
                    <a:pt x="140793" y="198831"/>
                  </a:lnTo>
                  <a:lnTo>
                    <a:pt x="140793" y="199530"/>
                  </a:lnTo>
                  <a:lnTo>
                    <a:pt x="140793" y="198831"/>
                  </a:lnTo>
                  <a:lnTo>
                    <a:pt x="140843" y="198831"/>
                  </a:lnTo>
                  <a:lnTo>
                    <a:pt x="140843" y="200228"/>
                  </a:lnTo>
                  <a:lnTo>
                    <a:pt x="140843" y="199530"/>
                  </a:lnTo>
                  <a:lnTo>
                    <a:pt x="140843" y="200228"/>
                  </a:lnTo>
                  <a:lnTo>
                    <a:pt x="140894" y="200228"/>
                  </a:lnTo>
                  <a:lnTo>
                    <a:pt x="140894" y="199530"/>
                  </a:lnTo>
                  <a:lnTo>
                    <a:pt x="140894" y="200228"/>
                  </a:lnTo>
                  <a:lnTo>
                    <a:pt x="140894" y="199530"/>
                  </a:lnTo>
                  <a:lnTo>
                    <a:pt x="140894" y="200228"/>
                  </a:lnTo>
                  <a:lnTo>
                    <a:pt x="140945" y="200228"/>
                  </a:lnTo>
                  <a:lnTo>
                    <a:pt x="140945" y="199530"/>
                  </a:lnTo>
                  <a:lnTo>
                    <a:pt x="140945" y="200228"/>
                  </a:lnTo>
                  <a:lnTo>
                    <a:pt x="140945" y="199530"/>
                  </a:lnTo>
                  <a:lnTo>
                    <a:pt x="140945" y="200228"/>
                  </a:lnTo>
                  <a:lnTo>
                    <a:pt x="140945" y="199530"/>
                  </a:lnTo>
                  <a:lnTo>
                    <a:pt x="140945" y="200228"/>
                  </a:lnTo>
                  <a:lnTo>
                    <a:pt x="140945" y="199530"/>
                  </a:lnTo>
                  <a:lnTo>
                    <a:pt x="141047" y="199530"/>
                  </a:lnTo>
                  <a:lnTo>
                    <a:pt x="141047" y="196799"/>
                  </a:lnTo>
                  <a:lnTo>
                    <a:pt x="141098" y="196799"/>
                  </a:lnTo>
                  <a:lnTo>
                    <a:pt x="141098" y="198831"/>
                  </a:lnTo>
                  <a:lnTo>
                    <a:pt x="141098" y="196799"/>
                  </a:lnTo>
                  <a:lnTo>
                    <a:pt x="141098" y="197447"/>
                  </a:lnTo>
                  <a:lnTo>
                    <a:pt x="141148" y="198831"/>
                  </a:lnTo>
                  <a:lnTo>
                    <a:pt x="141148" y="200228"/>
                  </a:lnTo>
                  <a:lnTo>
                    <a:pt x="141148" y="197447"/>
                  </a:lnTo>
                  <a:lnTo>
                    <a:pt x="141148" y="199530"/>
                  </a:lnTo>
                  <a:lnTo>
                    <a:pt x="141250" y="199530"/>
                  </a:lnTo>
                  <a:lnTo>
                    <a:pt x="141250" y="200228"/>
                  </a:lnTo>
                  <a:lnTo>
                    <a:pt x="141250" y="198831"/>
                  </a:lnTo>
                  <a:lnTo>
                    <a:pt x="141250" y="199530"/>
                  </a:lnTo>
                  <a:lnTo>
                    <a:pt x="141288" y="199530"/>
                  </a:lnTo>
                  <a:lnTo>
                    <a:pt x="141288" y="198831"/>
                  </a:lnTo>
                  <a:lnTo>
                    <a:pt x="141288" y="200228"/>
                  </a:lnTo>
                  <a:lnTo>
                    <a:pt x="141339" y="200228"/>
                  </a:lnTo>
                  <a:lnTo>
                    <a:pt x="141339" y="200876"/>
                  </a:lnTo>
                  <a:lnTo>
                    <a:pt x="141339" y="200228"/>
                  </a:lnTo>
                  <a:lnTo>
                    <a:pt x="141339" y="200876"/>
                  </a:lnTo>
                  <a:lnTo>
                    <a:pt x="141390" y="200876"/>
                  </a:lnTo>
                  <a:lnTo>
                    <a:pt x="141390" y="200228"/>
                  </a:lnTo>
                  <a:lnTo>
                    <a:pt x="141390" y="200876"/>
                  </a:lnTo>
                  <a:lnTo>
                    <a:pt x="141390" y="200228"/>
                  </a:lnTo>
                  <a:lnTo>
                    <a:pt x="141390" y="200876"/>
                  </a:lnTo>
                  <a:lnTo>
                    <a:pt x="141491" y="200876"/>
                  </a:lnTo>
                  <a:lnTo>
                    <a:pt x="141491" y="200228"/>
                  </a:lnTo>
                  <a:lnTo>
                    <a:pt x="141491" y="200876"/>
                  </a:lnTo>
                  <a:lnTo>
                    <a:pt x="141491" y="199530"/>
                  </a:lnTo>
                  <a:lnTo>
                    <a:pt x="141491" y="200228"/>
                  </a:lnTo>
                  <a:lnTo>
                    <a:pt x="141491" y="199530"/>
                  </a:lnTo>
                  <a:lnTo>
                    <a:pt x="141491" y="200228"/>
                  </a:lnTo>
                  <a:lnTo>
                    <a:pt x="141542" y="199530"/>
                  </a:lnTo>
                  <a:lnTo>
                    <a:pt x="141542" y="198831"/>
                  </a:lnTo>
                  <a:lnTo>
                    <a:pt x="141542" y="200228"/>
                  </a:lnTo>
                  <a:lnTo>
                    <a:pt x="141593" y="200228"/>
                  </a:lnTo>
                  <a:lnTo>
                    <a:pt x="141593" y="199530"/>
                  </a:lnTo>
                  <a:lnTo>
                    <a:pt x="141593" y="200228"/>
                  </a:lnTo>
                  <a:lnTo>
                    <a:pt x="141593" y="199530"/>
                  </a:lnTo>
                  <a:lnTo>
                    <a:pt x="141593" y="202260"/>
                  </a:lnTo>
                  <a:lnTo>
                    <a:pt x="141593" y="200876"/>
                  </a:lnTo>
                  <a:lnTo>
                    <a:pt x="141694" y="200876"/>
                  </a:lnTo>
                  <a:lnTo>
                    <a:pt x="141694" y="202260"/>
                  </a:lnTo>
                  <a:lnTo>
                    <a:pt x="141694" y="200876"/>
                  </a:lnTo>
                  <a:lnTo>
                    <a:pt x="141694" y="202260"/>
                  </a:lnTo>
                  <a:lnTo>
                    <a:pt x="141694" y="200876"/>
                  </a:lnTo>
                  <a:lnTo>
                    <a:pt x="141745" y="200876"/>
                  </a:lnTo>
                  <a:lnTo>
                    <a:pt x="141745" y="202260"/>
                  </a:lnTo>
                  <a:lnTo>
                    <a:pt x="141745" y="200876"/>
                  </a:lnTo>
                  <a:lnTo>
                    <a:pt x="141745" y="202260"/>
                  </a:lnTo>
                  <a:lnTo>
                    <a:pt x="141745" y="200876"/>
                  </a:lnTo>
                  <a:lnTo>
                    <a:pt x="141745" y="202260"/>
                  </a:lnTo>
                  <a:lnTo>
                    <a:pt x="141745" y="200876"/>
                  </a:lnTo>
                  <a:lnTo>
                    <a:pt x="141745" y="202260"/>
                  </a:lnTo>
                  <a:lnTo>
                    <a:pt x="141796" y="202260"/>
                  </a:lnTo>
                  <a:lnTo>
                    <a:pt x="141796" y="200876"/>
                  </a:lnTo>
                  <a:lnTo>
                    <a:pt x="141796" y="202260"/>
                  </a:lnTo>
                  <a:lnTo>
                    <a:pt x="141796" y="200876"/>
                  </a:lnTo>
                  <a:lnTo>
                    <a:pt x="141796" y="202260"/>
                  </a:lnTo>
                  <a:lnTo>
                    <a:pt x="141834" y="200876"/>
                  </a:lnTo>
                  <a:lnTo>
                    <a:pt x="141834" y="200228"/>
                  </a:lnTo>
                  <a:lnTo>
                    <a:pt x="141834" y="202260"/>
                  </a:lnTo>
                  <a:lnTo>
                    <a:pt x="141834" y="200228"/>
                  </a:lnTo>
                  <a:lnTo>
                    <a:pt x="141936" y="200228"/>
                  </a:lnTo>
                  <a:lnTo>
                    <a:pt x="141936" y="200876"/>
                  </a:lnTo>
                  <a:lnTo>
                    <a:pt x="141936" y="200228"/>
                  </a:lnTo>
                  <a:lnTo>
                    <a:pt x="141986" y="200228"/>
                  </a:lnTo>
                  <a:lnTo>
                    <a:pt x="141986" y="198831"/>
                  </a:lnTo>
                  <a:lnTo>
                    <a:pt x="142037" y="198831"/>
                  </a:lnTo>
                  <a:lnTo>
                    <a:pt x="142037" y="197447"/>
                  </a:lnTo>
                  <a:lnTo>
                    <a:pt x="142037" y="198831"/>
                  </a:lnTo>
                  <a:lnTo>
                    <a:pt x="142037" y="197447"/>
                  </a:lnTo>
                  <a:lnTo>
                    <a:pt x="142037" y="199530"/>
                  </a:lnTo>
                  <a:lnTo>
                    <a:pt x="142139" y="199530"/>
                  </a:lnTo>
                  <a:lnTo>
                    <a:pt x="142139" y="197447"/>
                  </a:lnTo>
                  <a:lnTo>
                    <a:pt x="142139" y="200228"/>
                  </a:lnTo>
                  <a:lnTo>
                    <a:pt x="142190" y="200228"/>
                  </a:lnTo>
                  <a:lnTo>
                    <a:pt x="142190" y="199530"/>
                  </a:lnTo>
                  <a:lnTo>
                    <a:pt x="142190" y="200228"/>
                  </a:lnTo>
                  <a:lnTo>
                    <a:pt x="142241" y="200228"/>
                  </a:lnTo>
                  <a:lnTo>
                    <a:pt x="142241" y="200876"/>
                  </a:lnTo>
                  <a:lnTo>
                    <a:pt x="142241" y="200228"/>
                  </a:lnTo>
                  <a:lnTo>
                    <a:pt x="142241" y="200876"/>
                  </a:lnTo>
                  <a:lnTo>
                    <a:pt x="142291" y="200876"/>
                  </a:lnTo>
                  <a:lnTo>
                    <a:pt x="142291" y="202260"/>
                  </a:lnTo>
                  <a:lnTo>
                    <a:pt x="142380" y="202260"/>
                  </a:lnTo>
                  <a:lnTo>
                    <a:pt x="142380" y="202959"/>
                  </a:lnTo>
                  <a:lnTo>
                    <a:pt x="142380" y="200876"/>
                  </a:lnTo>
                  <a:lnTo>
                    <a:pt x="142380" y="202260"/>
                  </a:lnTo>
                  <a:lnTo>
                    <a:pt x="142431" y="202260"/>
                  </a:lnTo>
                  <a:lnTo>
                    <a:pt x="142431" y="200228"/>
                  </a:lnTo>
                  <a:lnTo>
                    <a:pt x="142431" y="200876"/>
                  </a:lnTo>
                  <a:lnTo>
                    <a:pt x="142482" y="200876"/>
                  </a:lnTo>
                  <a:lnTo>
                    <a:pt x="142482" y="198831"/>
                  </a:lnTo>
                  <a:lnTo>
                    <a:pt x="142533" y="198831"/>
                  </a:lnTo>
                  <a:lnTo>
                    <a:pt x="142533" y="199530"/>
                  </a:lnTo>
                  <a:lnTo>
                    <a:pt x="142533" y="198831"/>
                  </a:lnTo>
                  <a:lnTo>
                    <a:pt x="142533" y="199530"/>
                  </a:lnTo>
                  <a:lnTo>
                    <a:pt x="142533" y="197447"/>
                  </a:lnTo>
                  <a:lnTo>
                    <a:pt x="142533" y="198831"/>
                  </a:lnTo>
                  <a:lnTo>
                    <a:pt x="142634" y="199530"/>
                  </a:lnTo>
                  <a:lnTo>
                    <a:pt x="142634" y="202260"/>
                  </a:lnTo>
                  <a:lnTo>
                    <a:pt x="142634" y="200228"/>
                  </a:lnTo>
                  <a:lnTo>
                    <a:pt x="142685" y="200228"/>
                  </a:lnTo>
                  <a:lnTo>
                    <a:pt x="142685" y="202260"/>
                  </a:lnTo>
                  <a:lnTo>
                    <a:pt x="142685" y="200876"/>
                  </a:lnTo>
                  <a:lnTo>
                    <a:pt x="142685" y="202260"/>
                  </a:lnTo>
                  <a:lnTo>
                    <a:pt x="142685" y="200876"/>
                  </a:lnTo>
                  <a:lnTo>
                    <a:pt x="142685" y="202260"/>
                  </a:lnTo>
                  <a:lnTo>
                    <a:pt x="142736" y="202260"/>
                  </a:lnTo>
                  <a:lnTo>
                    <a:pt x="142736" y="202959"/>
                  </a:lnTo>
                  <a:lnTo>
                    <a:pt x="142736" y="200876"/>
                  </a:lnTo>
                  <a:lnTo>
                    <a:pt x="142837" y="200876"/>
                  </a:lnTo>
                  <a:lnTo>
                    <a:pt x="142837" y="202260"/>
                  </a:lnTo>
                  <a:lnTo>
                    <a:pt x="142837" y="200876"/>
                  </a:lnTo>
                  <a:lnTo>
                    <a:pt x="142837" y="202260"/>
                  </a:lnTo>
                  <a:lnTo>
                    <a:pt x="142875" y="202959"/>
                  </a:lnTo>
                  <a:lnTo>
                    <a:pt x="142875" y="200876"/>
                  </a:lnTo>
                  <a:lnTo>
                    <a:pt x="142875" y="202260"/>
                  </a:lnTo>
                  <a:lnTo>
                    <a:pt x="142875" y="200876"/>
                  </a:lnTo>
                  <a:lnTo>
                    <a:pt x="142926" y="200876"/>
                  </a:lnTo>
                  <a:lnTo>
                    <a:pt x="142926" y="200228"/>
                  </a:lnTo>
                  <a:lnTo>
                    <a:pt x="142926" y="200876"/>
                  </a:lnTo>
                  <a:lnTo>
                    <a:pt x="142926" y="200228"/>
                  </a:lnTo>
                  <a:lnTo>
                    <a:pt x="142977" y="200228"/>
                  </a:lnTo>
                  <a:lnTo>
                    <a:pt x="142977" y="196799"/>
                  </a:lnTo>
                  <a:lnTo>
                    <a:pt x="143079" y="196799"/>
                  </a:lnTo>
                  <a:lnTo>
                    <a:pt x="143079" y="197447"/>
                  </a:lnTo>
                  <a:lnTo>
                    <a:pt x="143079" y="196799"/>
                  </a:lnTo>
                  <a:lnTo>
                    <a:pt x="143130" y="196799"/>
                  </a:lnTo>
                  <a:lnTo>
                    <a:pt x="143130" y="196113"/>
                  </a:lnTo>
                  <a:lnTo>
                    <a:pt x="143130" y="199530"/>
                  </a:lnTo>
                  <a:lnTo>
                    <a:pt x="143130" y="197447"/>
                  </a:lnTo>
                  <a:lnTo>
                    <a:pt x="143180" y="197447"/>
                  </a:lnTo>
                  <a:lnTo>
                    <a:pt x="143180" y="199530"/>
                  </a:lnTo>
                  <a:lnTo>
                    <a:pt x="143180" y="198831"/>
                  </a:lnTo>
                  <a:lnTo>
                    <a:pt x="143282" y="199530"/>
                  </a:lnTo>
                  <a:lnTo>
                    <a:pt x="143282" y="200228"/>
                  </a:lnTo>
                  <a:lnTo>
                    <a:pt x="143333" y="199530"/>
                  </a:lnTo>
                  <a:lnTo>
                    <a:pt x="143333" y="200876"/>
                  </a:lnTo>
                  <a:lnTo>
                    <a:pt x="143384" y="200876"/>
                  </a:lnTo>
                  <a:lnTo>
                    <a:pt x="143384" y="202260"/>
                  </a:lnTo>
                  <a:lnTo>
                    <a:pt x="143384" y="200876"/>
                  </a:lnTo>
                  <a:lnTo>
                    <a:pt x="143384" y="202260"/>
                  </a:lnTo>
                  <a:lnTo>
                    <a:pt x="143384" y="200876"/>
                  </a:lnTo>
                  <a:lnTo>
                    <a:pt x="143384" y="202260"/>
                  </a:lnTo>
                  <a:lnTo>
                    <a:pt x="143384" y="200876"/>
                  </a:lnTo>
                  <a:lnTo>
                    <a:pt x="143422" y="200876"/>
                  </a:lnTo>
                  <a:lnTo>
                    <a:pt x="143422" y="202260"/>
                  </a:lnTo>
                  <a:lnTo>
                    <a:pt x="143422" y="200876"/>
                  </a:lnTo>
                  <a:lnTo>
                    <a:pt x="143523" y="200876"/>
                  </a:lnTo>
                  <a:lnTo>
                    <a:pt x="143523" y="197447"/>
                  </a:lnTo>
                  <a:lnTo>
                    <a:pt x="143574" y="197447"/>
                  </a:lnTo>
                  <a:lnTo>
                    <a:pt x="143574" y="199530"/>
                  </a:lnTo>
                  <a:lnTo>
                    <a:pt x="143574" y="196799"/>
                  </a:lnTo>
                  <a:lnTo>
                    <a:pt x="143574" y="197447"/>
                  </a:lnTo>
                  <a:lnTo>
                    <a:pt x="143625" y="197447"/>
                  </a:lnTo>
                  <a:lnTo>
                    <a:pt x="143625" y="200228"/>
                  </a:lnTo>
                  <a:lnTo>
                    <a:pt x="143625" y="198831"/>
                  </a:lnTo>
                  <a:lnTo>
                    <a:pt x="143726" y="198831"/>
                  </a:lnTo>
                  <a:lnTo>
                    <a:pt x="143726" y="199530"/>
                  </a:lnTo>
                  <a:lnTo>
                    <a:pt x="143726" y="198831"/>
                  </a:lnTo>
                  <a:lnTo>
                    <a:pt x="143726" y="199530"/>
                  </a:lnTo>
                  <a:lnTo>
                    <a:pt x="143777" y="199530"/>
                  </a:lnTo>
                  <a:lnTo>
                    <a:pt x="143777" y="200228"/>
                  </a:lnTo>
                  <a:lnTo>
                    <a:pt x="143777" y="198831"/>
                  </a:lnTo>
                  <a:lnTo>
                    <a:pt x="143777" y="200228"/>
                  </a:lnTo>
                  <a:lnTo>
                    <a:pt x="143828" y="200228"/>
                  </a:lnTo>
                  <a:lnTo>
                    <a:pt x="143828" y="199530"/>
                  </a:lnTo>
                  <a:lnTo>
                    <a:pt x="143828" y="200876"/>
                  </a:lnTo>
                  <a:lnTo>
                    <a:pt x="143879" y="200876"/>
                  </a:lnTo>
                  <a:lnTo>
                    <a:pt x="143879" y="200228"/>
                  </a:lnTo>
                  <a:lnTo>
                    <a:pt x="143879" y="200876"/>
                  </a:lnTo>
                  <a:lnTo>
                    <a:pt x="143879" y="200228"/>
                  </a:lnTo>
                  <a:lnTo>
                    <a:pt x="143879" y="200876"/>
                  </a:lnTo>
                  <a:lnTo>
                    <a:pt x="143968" y="200876"/>
                  </a:lnTo>
                  <a:lnTo>
                    <a:pt x="143968" y="200228"/>
                  </a:lnTo>
                  <a:lnTo>
                    <a:pt x="143968" y="200876"/>
                  </a:lnTo>
                  <a:lnTo>
                    <a:pt x="143968" y="200228"/>
                  </a:lnTo>
                  <a:lnTo>
                    <a:pt x="143968" y="200876"/>
                  </a:lnTo>
                  <a:lnTo>
                    <a:pt x="143968" y="200228"/>
                  </a:lnTo>
                  <a:lnTo>
                    <a:pt x="144018" y="200228"/>
                  </a:lnTo>
                  <a:lnTo>
                    <a:pt x="144018" y="199530"/>
                  </a:lnTo>
                  <a:lnTo>
                    <a:pt x="144018" y="200228"/>
                  </a:lnTo>
                  <a:lnTo>
                    <a:pt x="144018" y="199530"/>
                  </a:lnTo>
                  <a:lnTo>
                    <a:pt x="144018" y="200876"/>
                  </a:lnTo>
                  <a:lnTo>
                    <a:pt x="144069" y="200876"/>
                  </a:lnTo>
                  <a:lnTo>
                    <a:pt x="144069" y="200228"/>
                  </a:lnTo>
                  <a:lnTo>
                    <a:pt x="144069" y="202260"/>
                  </a:lnTo>
                  <a:lnTo>
                    <a:pt x="144120" y="202260"/>
                  </a:lnTo>
                  <a:lnTo>
                    <a:pt x="144120" y="200228"/>
                  </a:lnTo>
                  <a:lnTo>
                    <a:pt x="144120" y="202260"/>
                  </a:lnTo>
                  <a:lnTo>
                    <a:pt x="144120" y="200876"/>
                  </a:lnTo>
                  <a:lnTo>
                    <a:pt x="144222" y="200876"/>
                  </a:lnTo>
                  <a:lnTo>
                    <a:pt x="144222" y="202260"/>
                  </a:lnTo>
                  <a:lnTo>
                    <a:pt x="144222" y="200876"/>
                  </a:lnTo>
                  <a:lnTo>
                    <a:pt x="144273" y="200876"/>
                  </a:lnTo>
                  <a:lnTo>
                    <a:pt x="144273" y="200228"/>
                  </a:lnTo>
                  <a:lnTo>
                    <a:pt x="144273" y="202260"/>
                  </a:lnTo>
                  <a:lnTo>
                    <a:pt x="144273" y="200876"/>
                  </a:lnTo>
                  <a:lnTo>
                    <a:pt x="144273" y="202260"/>
                  </a:lnTo>
                  <a:lnTo>
                    <a:pt x="144273" y="200876"/>
                  </a:lnTo>
                  <a:lnTo>
                    <a:pt x="144273" y="202260"/>
                  </a:lnTo>
                  <a:lnTo>
                    <a:pt x="144323" y="202260"/>
                  </a:lnTo>
                  <a:lnTo>
                    <a:pt x="144323" y="200876"/>
                  </a:lnTo>
                  <a:lnTo>
                    <a:pt x="144323" y="202260"/>
                  </a:lnTo>
                  <a:lnTo>
                    <a:pt x="144323" y="200876"/>
                  </a:lnTo>
                  <a:lnTo>
                    <a:pt x="144425" y="200876"/>
                  </a:lnTo>
                  <a:lnTo>
                    <a:pt x="144425" y="200228"/>
                  </a:lnTo>
                  <a:lnTo>
                    <a:pt x="144425" y="200876"/>
                  </a:lnTo>
                  <a:lnTo>
                    <a:pt x="144425" y="200228"/>
                  </a:lnTo>
                  <a:lnTo>
                    <a:pt x="144463" y="200228"/>
                  </a:lnTo>
                  <a:lnTo>
                    <a:pt x="144463" y="199530"/>
                  </a:lnTo>
                  <a:lnTo>
                    <a:pt x="144514" y="199530"/>
                  </a:lnTo>
                  <a:lnTo>
                    <a:pt x="144514" y="200228"/>
                  </a:lnTo>
                  <a:lnTo>
                    <a:pt x="144565" y="200228"/>
                  </a:lnTo>
                  <a:lnTo>
                    <a:pt x="144565" y="199530"/>
                  </a:lnTo>
                  <a:lnTo>
                    <a:pt x="144565" y="202959"/>
                  </a:lnTo>
                  <a:lnTo>
                    <a:pt x="144565" y="200876"/>
                  </a:lnTo>
                  <a:lnTo>
                    <a:pt x="144666" y="200876"/>
                  </a:lnTo>
                  <a:lnTo>
                    <a:pt x="144666" y="202959"/>
                  </a:lnTo>
                  <a:lnTo>
                    <a:pt x="144666" y="200876"/>
                  </a:lnTo>
                  <a:lnTo>
                    <a:pt x="144666" y="202260"/>
                  </a:lnTo>
                  <a:lnTo>
                    <a:pt x="144717" y="202260"/>
                  </a:lnTo>
                  <a:lnTo>
                    <a:pt x="144717" y="202959"/>
                  </a:lnTo>
                  <a:lnTo>
                    <a:pt x="144717" y="202260"/>
                  </a:lnTo>
                  <a:lnTo>
                    <a:pt x="144768" y="202260"/>
                  </a:lnTo>
                  <a:lnTo>
                    <a:pt x="144768" y="202959"/>
                  </a:lnTo>
                  <a:lnTo>
                    <a:pt x="144768" y="202260"/>
                  </a:lnTo>
                  <a:lnTo>
                    <a:pt x="144869" y="202260"/>
                  </a:lnTo>
                  <a:lnTo>
                    <a:pt x="144869" y="202959"/>
                  </a:lnTo>
                  <a:lnTo>
                    <a:pt x="144869" y="202260"/>
                  </a:lnTo>
                  <a:lnTo>
                    <a:pt x="144920" y="202260"/>
                  </a:lnTo>
                  <a:lnTo>
                    <a:pt x="144920" y="200228"/>
                  </a:lnTo>
                  <a:lnTo>
                    <a:pt x="144920" y="200876"/>
                  </a:lnTo>
                  <a:lnTo>
                    <a:pt x="144920" y="200228"/>
                  </a:lnTo>
                  <a:lnTo>
                    <a:pt x="144920" y="200876"/>
                  </a:lnTo>
                  <a:lnTo>
                    <a:pt x="144920" y="200228"/>
                  </a:lnTo>
                  <a:lnTo>
                    <a:pt x="144971" y="200228"/>
                  </a:lnTo>
                  <a:lnTo>
                    <a:pt x="144971" y="198831"/>
                  </a:lnTo>
                  <a:lnTo>
                    <a:pt x="144971" y="199530"/>
                  </a:lnTo>
                  <a:lnTo>
                    <a:pt x="145009" y="199530"/>
                  </a:lnTo>
                  <a:lnTo>
                    <a:pt x="145009" y="200228"/>
                  </a:lnTo>
                  <a:lnTo>
                    <a:pt x="145009" y="198831"/>
                  </a:lnTo>
                  <a:lnTo>
                    <a:pt x="145009" y="199530"/>
                  </a:lnTo>
                  <a:lnTo>
                    <a:pt x="145009" y="198831"/>
                  </a:lnTo>
                  <a:lnTo>
                    <a:pt x="145009" y="200228"/>
                  </a:lnTo>
                  <a:lnTo>
                    <a:pt x="145111" y="200228"/>
                  </a:lnTo>
                  <a:lnTo>
                    <a:pt x="145111" y="200876"/>
                  </a:lnTo>
                  <a:lnTo>
                    <a:pt x="145111" y="200228"/>
                  </a:lnTo>
                  <a:lnTo>
                    <a:pt x="145111" y="202260"/>
                  </a:lnTo>
                  <a:lnTo>
                    <a:pt x="145161" y="202260"/>
                  </a:lnTo>
                  <a:lnTo>
                    <a:pt x="145161" y="200876"/>
                  </a:lnTo>
                  <a:lnTo>
                    <a:pt x="145161" y="202260"/>
                  </a:lnTo>
                  <a:lnTo>
                    <a:pt x="145161" y="200876"/>
                  </a:lnTo>
                  <a:lnTo>
                    <a:pt x="145161" y="202260"/>
                  </a:lnTo>
                  <a:lnTo>
                    <a:pt x="145161" y="200876"/>
                  </a:lnTo>
                  <a:lnTo>
                    <a:pt x="145161" y="202260"/>
                  </a:lnTo>
                  <a:lnTo>
                    <a:pt x="145212" y="202260"/>
                  </a:lnTo>
                  <a:lnTo>
                    <a:pt x="145212" y="202959"/>
                  </a:lnTo>
                  <a:lnTo>
                    <a:pt x="145314" y="202260"/>
                  </a:lnTo>
                  <a:lnTo>
                    <a:pt x="145314" y="202959"/>
                  </a:lnTo>
                  <a:lnTo>
                    <a:pt x="145314" y="202260"/>
                  </a:lnTo>
                  <a:lnTo>
                    <a:pt x="145314" y="202959"/>
                  </a:lnTo>
                  <a:lnTo>
                    <a:pt x="145365" y="202959"/>
                  </a:lnTo>
                  <a:lnTo>
                    <a:pt x="145365" y="202260"/>
                  </a:lnTo>
                  <a:lnTo>
                    <a:pt x="145416" y="202260"/>
                  </a:lnTo>
                  <a:lnTo>
                    <a:pt x="145416" y="200228"/>
                  </a:lnTo>
                  <a:lnTo>
                    <a:pt x="145466" y="199530"/>
                  </a:lnTo>
                  <a:lnTo>
                    <a:pt x="145466" y="200228"/>
                  </a:lnTo>
                  <a:lnTo>
                    <a:pt x="145466" y="199530"/>
                  </a:lnTo>
                  <a:lnTo>
                    <a:pt x="145466" y="200876"/>
                  </a:lnTo>
                  <a:lnTo>
                    <a:pt x="145466" y="200228"/>
                  </a:lnTo>
                  <a:lnTo>
                    <a:pt x="145555" y="200228"/>
                  </a:lnTo>
                  <a:lnTo>
                    <a:pt x="145555" y="199530"/>
                  </a:lnTo>
                  <a:lnTo>
                    <a:pt x="145555" y="202260"/>
                  </a:lnTo>
                  <a:lnTo>
                    <a:pt x="145555" y="200876"/>
                  </a:lnTo>
                  <a:lnTo>
                    <a:pt x="145606" y="200876"/>
                  </a:lnTo>
                  <a:lnTo>
                    <a:pt x="145606" y="202260"/>
                  </a:lnTo>
                  <a:lnTo>
                    <a:pt x="145606" y="200876"/>
                  </a:lnTo>
                  <a:lnTo>
                    <a:pt x="145657" y="202260"/>
                  </a:lnTo>
                  <a:lnTo>
                    <a:pt x="145657" y="200876"/>
                  </a:lnTo>
                  <a:lnTo>
                    <a:pt x="145657" y="202959"/>
                  </a:lnTo>
                  <a:lnTo>
                    <a:pt x="145657" y="202260"/>
                  </a:lnTo>
                  <a:lnTo>
                    <a:pt x="145708" y="202260"/>
                  </a:lnTo>
                  <a:lnTo>
                    <a:pt x="145708" y="202959"/>
                  </a:lnTo>
                  <a:lnTo>
                    <a:pt x="145708" y="202260"/>
                  </a:lnTo>
                  <a:lnTo>
                    <a:pt x="145708" y="202959"/>
                  </a:lnTo>
                  <a:lnTo>
                    <a:pt x="145708" y="202260"/>
                  </a:lnTo>
                  <a:lnTo>
                    <a:pt x="145708" y="202959"/>
                  </a:lnTo>
                  <a:lnTo>
                    <a:pt x="145809" y="202959"/>
                  </a:lnTo>
                  <a:lnTo>
                    <a:pt x="145809" y="202260"/>
                  </a:lnTo>
                  <a:lnTo>
                    <a:pt x="145860" y="202260"/>
                  </a:lnTo>
                  <a:lnTo>
                    <a:pt x="145860" y="200876"/>
                  </a:lnTo>
                  <a:lnTo>
                    <a:pt x="145911" y="200876"/>
                  </a:lnTo>
                  <a:lnTo>
                    <a:pt x="145911" y="200228"/>
                  </a:lnTo>
                  <a:lnTo>
                    <a:pt x="145911" y="200876"/>
                  </a:lnTo>
                  <a:lnTo>
                    <a:pt x="145911" y="199530"/>
                  </a:lnTo>
                  <a:lnTo>
                    <a:pt x="145911" y="200228"/>
                  </a:lnTo>
                  <a:lnTo>
                    <a:pt x="145911" y="199530"/>
                  </a:lnTo>
                  <a:lnTo>
                    <a:pt x="146012" y="199530"/>
                  </a:lnTo>
                  <a:lnTo>
                    <a:pt x="146012" y="197447"/>
                  </a:lnTo>
                  <a:lnTo>
                    <a:pt x="146012" y="200228"/>
                  </a:lnTo>
                  <a:lnTo>
                    <a:pt x="146012" y="198831"/>
                  </a:lnTo>
                  <a:lnTo>
                    <a:pt x="146050" y="198831"/>
                  </a:lnTo>
                  <a:lnTo>
                    <a:pt x="146050" y="200876"/>
                  </a:lnTo>
                  <a:lnTo>
                    <a:pt x="146050" y="200228"/>
                  </a:lnTo>
                  <a:lnTo>
                    <a:pt x="146050" y="200876"/>
                  </a:lnTo>
                  <a:lnTo>
                    <a:pt x="146050" y="200228"/>
                  </a:lnTo>
                  <a:lnTo>
                    <a:pt x="146101" y="200228"/>
                  </a:lnTo>
                  <a:lnTo>
                    <a:pt x="146101" y="202260"/>
                  </a:lnTo>
                  <a:lnTo>
                    <a:pt x="146101" y="200228"/>
                  </a:lnTo>
                  <a:lnTo>
                    <a:pt x="146152" y="200228"/>
                  </a:lnTo>
                  <a:lnTo>
                    <a:pt x="146152" y="202260"/>
                  </a:lnTo>
                  <a:lnTo>
                    <a:pt x="146152" y="200876"/>
                  </a:lnTo>
                  <a:lnTo>
                    <a:pt x="146254" y="200876"/>
                  </a:lnTo>
                  <a:lnTo>
                    <a:pt x="146254" y="202260"/>
                  </a:lnTo>
                  <a:lnTo>
                    <a:pt x="146254" y="200876"/>
                  </a:lnTo>
                  <a:lnTo>
                    <a:pt x="146254" y="202959"/>
                  </a:lnTo>
                  <a:lnTo>
                    <a:pt x="146254" y="202260"/>
                  </a:lnTo>
                  <a:lnTo>
                    <a:pt x="146305" y="202260"/>
                  </a:lnTo>
                  <a:lnTo>
                    <a:pt x="146305" y="202959"/>
                  </a:lnTo>
                  <a:lnTo>
                    <a:pt x="146305" y="202260"/>
                  </a:lnTo>
                  <a:lnTo>
                    <a:pt x="146305" y="202959"/>
                  </a:lnTo>
                  <a:lnTo>
                    <a:pt x="146305" y="202260"/>
                  </a:lnTo>
                  <a:lnTo>
                    <a:pt x="146355" y="202260"/>
                  </a:lnTo>
                  <a:lnTo>
                    <a:pt x="146355" y="200876"/>
                  </a:lnTo>
                  <a:lnTo>
                    <a:pt x="146355" y="202260"/>
                  </a:lnTo>
                  <a:lnTo>
                    <a:pt x="146355" y="200876"/>
                  </a:lnTo>
                  <a:lnTo>
                    <a:pt x="146457" y="200876"/>
                  </a:lnTo>
                  <a:lnTo>
                    <a:pt x="146457" y="198831"/>
                  </a:lnTo>
                  <a:lnTo>
                    <a:pt x="146508" y="199530"/>
                  </a:lnTo>
                  <a:lnTo>
                    <a:pt x="146508" y="198831"/>
                  </a:lnTo>
                  <a:lnTo>
                    <a:pt x="146508" y="199530"/>
                  </a:lnTo>
                  <a:lnTo>
                    <a:pt x="146559" y="199530"/>
                  </a:lnTo>
                  <a:lnTo>
                    <a:pt x="146559" y="200876"/>
                  </a:lnTo>
                  <a:lnTo>
                    <a:pt x="146559" y="199530"/>
                  </a:lnTo>
                  <a:lnTo>
                    <a:pt x="146559" y="200228"/>
                  </a:lnTo>
                  <a:lnTo>
                    <a:pt x="146597" y="200228"/>
                  </a:lnTo>
                  <a:lnTo>
                    <a:pt x="146597" y="200876"/>
                  </a:lnTo>
                  <a:lnTo>
                    <a:pt x="146597" y="200228"/>
                  </a:lnTo>
                  <a:lnTo>
                    <a:pt x="146698" y="200228"/>
                  </a:lnTo>
                  <a:lnTo>
                    <a:pt x="146698" y="200876"/>
                  </a:lnTo>
                  <a:lnTo>
                    <a:pt x="146698" y="200228"/>
                  </a:lnTo>
                  <a:lnTo>
                    <a:pt x="146698" y="200876"/>
                  </a:lnTo>
                  <a:lnTo>
                    <a:pt x="146749" y="200876"/>
                  </a:lnTo>
                  <a:lnTo>
                    <a:pt x="146749" y="202260"/>
                  </a:lnTo>
                  <a:lnTo>
                    <a:pt x="146749" y="200876"/>
                  </a:lnTo>
                  <a:lnTo>
                    <a:pt x="146749" y="202260"/>
                  </a:lnTo>
                  <a:lnTo>
                    <a:pt x="146800" y="202260"/>
                  </a:lnTo>
                  <a:lnTo>
                    <a:pt x="146800" y="200876"/>
                  </a:lnTo>
                  <a:lnTo>
                    <a:pt x="146800" y="202260"/>
                  </a:lnTo>
                  <a:lnTo>
                    <a:pt x="146800" y="200228"/>
                  </a:lnTo>
                  <a:lnTo>
                    <a:pt x="146800" y="200876"/>
                  </a:lnTo>
                  <a:lnTo>
                    <a:pt x="146901" y="200876"/>
                  </a:lnTo>
                  <a:lnTo>
                    <a:pt x="146901" y="202260"/>
                  </a:lnTo>
                  <a:lnTo>
                    <a:pt x="146901" y="199530"/>
                  </a:lnTo>
                  <a:lnTo>
                    <a:pt x="146901" y="200228"/>
                  </a:lnTo>
                  <a:lnTo>
                    <a:pt x="146952" y="200228"/>
                  </a:lnTo>
                  <a:lnTo>
                    <a:pt x="146952" y="198831"/>
                  </a:lnTo>
                  <a:lnTo>
                    <a:pt x="146952" y="199530"/>
                  </a:lnTo>
                  <a:lnTo>
                    <a:pt x="147003" y="200228"/>
                  </a:lnTo>
                  <a:lnTo>
                    <a:pt x="147003" y="198831"/>
                  </a:lnTo>
                  <a:lnTo>
                    <a:pt x="147003" y="200876"/>
                  </a:lnTo>
                  <a:lnTo>
                    <a:pt x="147054" y="200876"/>
                  </a:lnTo>
                  <a:lnTo>
                    <a:pt x="147054" y="202260"/>
                  </a:lnTo>
                  <a:lnTo>
                    <a:pt x="147054" y="199530"/>
                  </a:lnTo>
                  <a:lnTo>
                    <a:pt x="147054" y="200228"/>
                  </a:lnTo>
                  <a:lnTo>
                    <a:pt x="147054" y="199530"/>
                  </a:lnTo>
                  <a:lnTo>
                    <a:pt x="147054" y="200876"/>
                  </a:lnTo>
                  <a:lnTo>
                    <a:pt x="147143" y="200876"/>
                  </a:lnTo>
                  <a:lnTo>
                    <a:pt x="147143" y="200228"/>
                  </a:lnTo>
                  <a:lnTo>
                    <a:pt x="147143" y="200876"/>
                  </a:lnTo>
                  <a:lnTo>
                    <a:pt x="147143" y="200228"/>
                  </a:lnTo>
                  <a:lnTo>
                    <a:pt x="147143" y="200876"/>
                  </a:lnTo>
                  <a:lnTo>
                    <a:pt x="147193" y="200876"/>
                  </a:lnTo>
                  <a:lnTo>
                    <a:pt x="147193" y="200228"/>
                  </a:lnTo>
                  <a:lnTo>
                    <a:pt x="147193" y="200876"/>
                  </a:lnTo>
                  <a:lnTo>
                    <a:pt x="147193" y="200228"/>
                  </a:lnTo>
                  <a:lnTo>
                    <a:pt x="147193" y="200876"/>
                  </a:lnTo>
                  <a:lnTo>
                    <a:pt x="147193" y="200228"/>
                  </a:lnTo>
                  <a:lnTo>
                    <a:pt x="147193" y="200876"/>
                  </a:lnTo>
                  <a:lnTo>
                    <a:pt x="147244" y="200876"/>
                  </a:lnTo>
                  <a:lnTo>
                    <a:pt x="147244" y="202260"/>
                  </a:lnTo>
                  <a:lnTo>
                    <a:pt x="147244" y="200876"/>
                  </a:lnTo>
                  <a:lnTo>
                    <a:pt x="147244" y="202260"/>
                  </a:lnTo>
                  <a:lnTo>
                    <a:pt x="147244" y="200876"/>
                  </a:lnTo>
                  <a:lnTo>
                    <a:pt x="147244" y="202260"/>
                  </a:lnTo>
                  <a:lnTo>
                    <a:pt x="147295" y="202260"/>
                  </a:lnTo>
                  <a:lnTo>
                    <a:pt x="147295" y="200876"/>
                  </a:lnTo>
                  <a:lnTo>
                    <a:pt x="147295" y="202260"/>
                  </a:lnTo>
                  <a:lnTo>
                    <a:pt x="147295" y="200876"/>
                  </a:lnTo>
                  <a:lnTo>
                    <a:pt x="147397" y="202260"/>
                  </a:lnTo>
                  <a:lnTo>
                    <a:pt x="147397" y="200228"/>
                  </a:lnTo>
                  <a:lnTo>
                    <a:pt x="147397" y="200876"/>
                  </a:lnTo>
                  <a:lnTo>
                    <a:pt x="147397" y="200228"/>
                  </a:lnTo>
                  <a:lnTo>
                    <a:pt x="147397" y="200876"/>
                  </a:lnTo>
                  <a:lnTo>
                    <a:pt x="147397" y="200228"/>
                  </a:lnTo>
                  <a:lnTo>
                    <a:pt x="147448" y="200228"/>
                  </a:lnTo>
                  <a:lnTo>
                    <a:pt x="147448" y="199530"/>
                  </a:lnTo>
                  <a:lnTo>
                    <a:pt x="147448" y="200228"/>
                  </a:lnTo>
                  <a:lnTo>
                    <a:pt x="147448" y="199530"/>
                  </a:lnTo>
                  <a:lnTo>
                    <a:pt x="147448" y="202260"/>
                  </a:lnTo>
                  <a:lnTo>
                    <a:pt x="147448" y="200228"/>
                  </a:lnTo>
                  <a:lnTo>
                    <a:pt x="147498" y="200228"/>
                  </a:lnTo>
                  <a:lnTo>
                    <a:pt x="147498" y="204292"/>
                  </a:lnTo>
                  <a:lnTo>
                    <a:pt x="147498" y="202260"/>
                  </a:lnTo>
                  <a:lnTo>
                    <a:pt x="147600" y="202260"/>
                  </a:lnTo>
                  <a:lnTo>
                    <a:pt x="147600" y="202959"/>
                  </a:lnTo>
                  <a:lnTo>
                    <a:pt x="147600" y="202260"/>
                  </a:lnTo>
                  <a:lnTo>
                    <a:pt x="147600" y="202959"/>
                  </a:lnTo>
                  <a:lnTo>
                    <a:pt x="147638" y="202959"/>
                  </a:lnTo>
                  <a:lnTo>
                    <a:pt x="147638" y="202260"/>
                  </a:lnTo>
                  <a:lnTo>
                    <a:pt x="147638" y="202959"/>
                  </a:lnTo>
                  <a:lnTo>
                    <a:pt x="147638" y="202260"/>
                  </a:lnTo>
                  <a:lnTo>
                    <a:pt x="147638" y="202959"/>
                  </a:lnTo>
                  <a:lnTo>
                    <a:pt x="147638" y="202260"/>
                  </a:lnTo>
                  <a:lnTo>
                    <a:pt x="147689" y="202959"/>
                  </a:lnTo>
                  <a:lnTo>
                    <a:pt x="147689" y="202260"/>
                  </a:lnTo>
                  <a:lnTo>
                    <a:pt x="147689" y="202959"/>
                  </a:lnTo>
                  <a:lnTo>
                    <a:pt x="147689" y="202260"/>
                  </a:lnTo>
                  <a:lnTo>
                    <a:pt x="147689" y="202959"/>
                  </a:lnTo>
                  <a:lnTo>
                    <a:pt x="147689" y="202260"/>
                  </a:lnTo>
                  <a:lnTo>
                    <a:pt x="147689" y="202959"/>
                  </a:lnTo>
                  <a:lnTo>
                    <a:pt x="147740" y="202959"/>
                  </a:lnTo>
                  <a:lnTo>
                    <a:pt x="147740" y="202260"/>
                  </a:lnTo>
                  <a:lnTo>
                    <a:pt x="147740" y="202959"/>
                  </a:lnTo>
                  <a:lnTo>
                    <a:pt x="147740" y="200876"/>
                  </a:lnTo>
                  <a:lnTo>
                    <a:pt x="147841" y="200876"/>
                  </a:lnTo>
                  <a:lnTo>
                    <a:pt x="147841" y="200228"/>
                  </a:lnTo>
                  <a:lnTo>
                    <a:pt x="147892" y="200228"/>
                  </a:lnTo>
                  <a:lnTo>
                    <a:pt x="147892" y="199530"/>
                  </a:lnTo>
                  <a:lnTo>
                    <a:pt x="147892" y="200228"/>
                  </a:lnTo>
                  <a:lnTo>
                    <a:pt x="147892" y="198831"/>
                  </a:lnTo>
                  <a:lnTo>
                    <a:pt x="147943" y="197447"/>
                  </a:lnTo>
                  <a:lnTo>
                    <a:pt x="147943" y="196799"/>
                  </a:lnTo>
                  <a:lnTo>
                    <a:pt x="147943" y="199530"/>
                  </a:lnTo>
                  <a:lnTo>
                    <a:pt x="147943" y="197447"/>
                  </a:lnTo>
                  <a:lnTo>
                    <a:pt x="148044" y="198831"/>
                  </a:lnTo>
                  <a:lnTo>
                    <a:pt x="148044" y="200876"/>
                  </a:lnTo>
                  <a:lnTo>
                    <a:pt x="148044" y="199530"/>
                  </a:lnTo>
                  <a:lnTo>
                    <a:pt x="148095" y="200228"/>
                  </a:lnTo>
                  <a:lnTo>
                    <a:pt x="148095" y="202260"/>
                  </a:lnTo>
                  <a:lnTo>
                    <a:pt x="148095" y="200228"/>
                  </a:lnTo>
                  <a:lnTo>
                    <a:pt x="148095" y="200876"/>
                  </a:lnTo>
                  <a:lnTo>
                    <a:pt x="148146" y="200876"/>
                  </a:lnTo>
                  <a:lnTo>
                    <a:pt x="148146" y="202260"/>
                  </a:lnTo>
                  <a:lnTo>
                    <a:pt x="148146" y="200876"/>
                  </a:lnTo>
                  <a:lnTo>
                    <a:pt x="148146" y="202260"/>
                  </a:lnTo>
                  <a:lnTo>
                    <a:pt x="148146" y="200876"/>
                  </a:lnTo>
                  <a:lnTo>
                    <a:pt x="148146" y="202260"/>
                  </a:lnTo>
                  <a:lnTo>
                    <a:pt x="148286" y="202260"/>
                  </a:lnTo>
                  <a:lnTo>
                    <a:pt x="148286" y="202959"/>
                  </a:lnTo>
                  <a:lnTo>
                    <a:pt x="148286" y="200876"/>
                  </a:lnTo>
                  <a:lnTo>
                    <a:pt x="148286" y="202260"/>
                  </a:lnTo>
                  <a:lnTo>
                    <a:pt x="148336" y="202260"/>
                  </a:lnTo>
                  <a:lnTo>
                    <a:pt x="148336" y="200876"/>
                  </a:lnTo>
                  <a:lnTo>
                    <a:pt x="148336" y="202260"/>
                  </a:lnTo>
                  <a:lnTo>
                    <a:pt x="148336" y="200228"/>
                  </a:lnTo>
                  <a:lnTo>
                    <a:pt x="148387" y="200228"/>
                  </a:lnTo>
                  <a:lnTo>
                    <a:pt x="148387" y="198831"/>
                  </a:lnTo>
                  <a:lnTo>
                    <a:pt x="148489" y="198831"/>
                  </a:lnTo>
                  <a:lnTo>
                    <a:pt x="148489" y="200228"/>
                  </a:lnTo>
                  <a:lnTo>
                    <a:pt x="148489" y="197447"/>
                  </a:lnTo>
                  <a:lnTo>
                    <a:pt x="148489" y="200228"/>
                  </a:lnTo>
                  <a:lnTo>
                    <a:pt x="148540" y="200876"/>
                  </a:lnTo>
                  <a:lnTo>
                    <a:pt x="148540" y="202260"/>
                  </a:lnTo>
                  <a:lnTo>
                    <a:pt x="148540" y="200228"/>
                  </a:lnTo>
                  <a:lnTo>
                    <a:pt x="148540" y="200876"/>
                  </a:lnTo>
                  <a:lnTo>
                    <a:pt x="148540" y="199530"/>
                  </a:lnTo>
                  <a:lnTo>
                    <a:pt x="148540" y="200876"/>
                  </a:lnTo>
                  <a:lnTo>
                    <a:pt x="148540" y="200228"/>
                  </a:lnTo>
                  <a:lnTo>
                    <a:pt x="148591" y="200876"/>
                  </a:lnTo>
                  <a:lnTo>
                    <a:pt x="148591" y="200228"/>
                  </a:lnTo>
                  <a:lnTo>
                    <a:pt x="148591" y="202260"/>
                  </a:lnTo>
                  <a:lnTo>
                    <a:pt x="148641" y="202260"/>
                  </a:lnTo>
                  <a:lnTo>
                    <a:pt x="148641" y="200876"/>
                  </a:lnTo>
                  <a:lnTo>
                    <a:pt x="148641" y="202260"/>
                  </a:lnTo>
                  <a:lnTo>
                    <a:pt x="148641" y="200876"/>
                  </a:lnTo>
                  <a:lnTo>
                    <a:pt x="148641" y="202260"/>
                  </a:lnTo>
                  <a:lnTo>
                    <a:pt x="148641" y="200876"/>
                  </a:lnTo>
                  <a:lnTo>
                    <a:pt x="148641" y="202260"/>
                  </a:lnTo>
                  <a:lnTo>
                    <a:pt x="148730" y="202260"/>
                  </a:lnTo>
                  <a:lnTo>
                    <a:pt x="148730" y="200876"/>
                  </a:lnTo>
                  <a:lnTo>
                    <a:pt x="148730" y="202260"/>
                  </a:lnTo>
                  <a:lnTo>
                    <a:pt x="148781" y="202260"/>
                  </a:lnTo>
                  <a:lnTo>
                    <a:pt x="148781" y="202959"/>
                  </a:lnTo>
                  <a:lnTo>
                    <a:pt x="148781" y="200876"/>
                  </a:lnTo>
                  <a:lnTo>
                    <a:pt x="148781" y="202260"/>
                  </a:lnTo>
                  <a:lnTo>
                    <a:pt x="148781" y="200876"/>
                  </a:lnTo>
                  <a:lnTo>
                    <a:pt x="148781" y="202260"/>
                  </a:lnTo>
                  <a:lnTo>
                    <a:pt x="148832" y="200876"/>
                  </a:lnTo>
                  <a:lnTo>
                    <a:pt x="148832" y="200228"/>
                  </a:lnTo>
                  <a:lnTo>
                    <a:pt x="148883" y="199530"/>
                  </a:lnTo>
                  <a:lnTo>
                    <a:pt x="148883" y="196799"/>
                  </a:lnTo>
                  <a:lnTo>
                    <a:pt x="148984" y="196799"/>
                  </a:lnTo>
                  <a:lnTo>
                    <a:pt x="148984" y="199530"/>
                  </a:lnTo>
                  <a:lnTo>
                    <a:pt x="148984" y="197447"/>
                  </a:lnTo>
                  <a:lnTo>
                    <a:pt x="148984" y="199530"/>
                  </a:lnTo>
                  <a:lnTo>
                    <a:pt x="149035" y="199530"/>
                  </a:lnTo>
                  <a:lnTo>
                    <a:pt x="149035" y="200228"/>
                  </a:lnTo>
                  <a:lnTo>
                    <a:pt x="149086" y="200228"/>
                  </a:lnTo>
                  <a:lnTo>
                    <a:pt x="149086" y="199530"/>
                  </a:lnTo>
                  <a:lnTo>
                    <a:pt x="149086" y="200876"/>
                  </a:lnTo>
                  <a:lnTo>
                    <a:pt x="149187" y="200228"/>
                  </a:lnTo>
                  <a:lnTo>
                    <a:pt x="149187" y="200876"/>
                  </a:lnTo>
                  <a:lnTo>
                    <a:pt x="149187" y="200228"/>
                  </a:lnTo>
                  <a:lnTo>
                    <a:pt x="149187" y="200876"/>
                  </a:lnTo>
                  <a:lnTo>
                    <a:pt x="149187" y="200228"/>
                  </a:lnTo>
                  <a:lnTo>
                    <a:pt x="149187" y="200876"/>
                  </a:lnTo>
                  <a:lnTo>
                    <a:pt x="149225" y="200876"/>
                  </a:lnTo>
                  <a:lnTo>
                    <a:pt x="149225" y="202260"/>
                  </a:lnTo>
                  <a:lnTo>
                    <a:pt x="149225" y="200876"/>
                  </a:lnTo>
                  <a:lnTo>
                    <a:pt x="149225" y="202260"/>
                  </a:lnTo>
                  <a:lnTo>
                    <a:pt x="149225" y="200876"/>
                  </a:lnTo>
                  <a:lnTo>
                    <a:pt x="149225" y="202260"/>
                  </a:lnTo>
                  <a:lnTo>
                    <a:pt x="149276" y="202260"/>
                  </a:lnTo>
                  <a:lnTo>
                    <a:pt x="149276" y="202959"/>
                  </a:lnTo>
                  <a:lnTo>
                    <a:pt x="149276" y="200876"/>
                  </a:lnTo>
                  <a:lnTo>
                    <a:pt x="149276" y="202260"/>
                  </a:lnTo>
                  <a:lnTo>
                    <a:pt x="149276" y="200876"/>
                  </a:lnTo>
                  <a:lnTo>
                    <a:pt x="149327" y="200876"/>
                  </a:lnTo>
                  <a:lnTo>
                    <a:pt x="149327" y="200228"/>
                  </a:lnTo>
                  <a:lnTo>
                    <a:pt x="149327" y="200876"/>
                  </a:lnTo>
                  <a:lnTo>
                    <a:pt x="149327" y="200228"/>
                  </a:lnTo>
                  <a:lnTo>
                    <a:pt x="149429" y="200228"/>
                  </a:lnTo>
                  <a:lnTo>
                    <a:pt x="149429" y="198831"/>
                  </a:lnTo>
                  <a:lnTo>
                    <a:pt x="149429" y="199530"/>
                  </a:lnTo>
                  <a:lnTo>
                    <a:pt x="149480" y="199530"/>
                  </a:lnTo>
                  <a:lnTo>
                    <a:pt x="149480" y="197447"/>
                  </a:lnTo>
                  <a:lnTo>
                    <a:pt x="149480" y="200876"/>
                  </a:lnTo>
                  <a:lnTo>
                    <a:pt x="149480" y="200228"/>
                  </a:lnTo>
                  <a:lnTo>
                    <a:pt x="149530" y="200228"/>
                  </a:lnTo>
                  <a:lnTo>
                    <a:pt x="149530" y="198831"/>
                  </a:lnTo>
                  <a:lnTo>
                    <a:pt x="149530" y="200228"/>
                  </a:lnTo>
                  <a:lnTo>
                    <a:pt x="149530" y="199530"/>
                  </a:lnTo>
                  <a:lnTo>
                    <a:pt x="149632" y="199530"/>
                  </a:lnTo>
                  <a:lnTo>
                    <a:pt x="149632" y="198831"/>
                  </a:lnTo>
                  <a:lnTo>
                    <a:pt x="149632" y="200228"/>
                  </a:lnTo>
                  <a:lnTo>
                    <a:pt x="149683" y="200228"/>
                  </a:lnTo>
                  <a:lnTo>
                    <a:pt x="149683" y="199530"/>
                  </a:lnTo>
                  <a:lnTo>
                    <a:pt x="149683" y="200228"/>
                  </a:lnTo>
                  <a:lnTo>
                    <a:pt x="149734" y="200228"/>
                  </a:lnTo>
                  <a:lnTo>
                    <a:pt x="149734" y="200876"/>
                  </a:lnTo>
                  <a:lnTo>
                    <a:pt x="149734" y="200228"/>
                  </a:lnTo>
                  <a:lnTo>
                    <a:pt x="149734" y="200876"/>
                  </a:lnTo>
                  <a:lnTo>
                    <a:pt x="149734" y="200228"/>
                  </a:lnTo>
                  <a:lnTo>
                    <a:pt x="149772" y="200228"/>
                  </a:lnTo>
                  <a:lnTo>
                    <a:pt x="149772" y="200876"/>
                  </a:lnTo>
                  <a:lnTo>
                    <a:pt x="149772" y="200228"/>
                  </a:lnTo>
                  <a:lnTo>
                    <a:pt x="149772" y="200876"/>
                  </a:lnTo>
                  <a:lnTo>
                    <a:pt x="149772" y="199530"/>
                  </a:lnTo>
                  <a:lnTo>
                    <a:pt x="149873" y="199530"/>
                  </a:lnTo>
                  <a:lnTo>
                    <a:pt x="149873" y="200228"/>
                  </a:lnTo>
                  <a:lnTo>
                    <a:pt x="149873" y="199530"/>
                  </a:lnTo>
                  <a:lnTo>
                    <a:pt x="149873" y="200228"/>
                  </a:lnTo>
                  <a:lnTo>
                    <a:pt x="149873" y="198831"/>
                  </a:lnTo>
                  <a:lnTo>
                    <a:pt x="149924" y="198831"/>
                  </a:lnTo>
                  <a:lnTo>
                    <a:pt x="149924" y="197447"/>
                  </a:lnTo>
                  <a:lnTo>
                    <a:pt x="149924" y="200228"/>
                  </a:lnTo>
                  <a:lnTo>
                    <a:pt x="149924" y="198831"/>
                  </a:lnTo>
                  <a:lnTo>
                    <a:pt x="149975" y="197447"/>
                  </a:lnTo>
                  <a:lnTo>
                    <a:pt x="149975" y="202959"/>
                  </a:lnTo>
                  <a:lnTo>
                    <a:pt x="149975" y="200228"/>
                  </a:lnTo>
                  <a:lnTo>
                    <a:pt x="150076" y="200228"/>
                  </a:lnTo>
                  <a:lnTo>
                    <a:pt x="150076" y="202260"/>
                  </a:lnTo>
                  <a:lnTo>
                    <a:pt x="150076" y="200228"/>
                  </a:lnTo>
                  <a:lnTo>
                    <a:pt x="150127" y="200228"/>
                  </a:lnTo>
                  <a:lnTo>
                    <a:pt x="150127" y="202260"/>
                  </a:lnTo>
                  <a:lnTo>
                    <a:pt x="150127" y="200876"/>
                  </a:lnTo>
                  <a:lnTo>
                    <a:pt x="150178" y="200876"/>
                  </a:lnTo>
                  <a:lnTo>
                    <a:pt x="150178" y="202260"/>
                  </a:lnTo>
                  <a:lnTo>
                    <a:pt x="150178" y="200876"/>
                  </a:lnTo>
                  <a:lnTo>
                    <a:pt x="150178" y="202260"/>
                  </a:lnTo>
                  <a:lnTo>
                    <a:pt x="150178" y="200876"/>
                  </a:lnTo>
                  <a:lnTo>
                    <a:pt x="150229" y="200876"/>
                  </a:lnTo>
                  <a:lnTo>
                    <a:pt x="150229" y="202260"/>
                  </a:lnTo>
                  <a:lnTo>
                    <a:pt x="150318" y="200876"/>
                  </a:lnTo>
                  <a:lnTo>
                    <a:pt x="150318" y="200228"/>
                  </a:lnTo>
                  <a:lnTo>
                    <a:pt x="150318" y="200876"/>
                  </a:lnTo>
                  <a:lnTo>
                    <a:pt x="150318" y="200228"/>
                  </a:lnTo>
                  <a:lnTo>
                    <a:pt x="150318" y="200876"/>
                  </a:lnTo>
                  <a:lnTo>
                    <a:pt x="150318" y="200228"/>
                  </a:lnTo>
                  <a:lnTo>
                    <a:pt x="150368" y="200228"/>
                  </a:lnTo>
                  <a:lnTo>
                    <a:pt x="150368" y="199530"/>
                  </a:lnTo>
                  <a:lnTo>
                    <a:pt x="150368" y="200228"/>
                  </a:lnTo>
                  <a:lnTo>
                    <a:pt x="150368" y="197447"/>
                  </a:lnTo>
                  <a:lnTo>
                    <a:pt x="150419" y="197447"/>
                  </a:lnTo>
                  <a:lnTo>
                    <a:pt x="150419" y="200228"/>
                  </a:lnTo>
                  <a:lnTo>
                    <a:pt x="150419" y="198831"/>
                  </a:lnTo>
                  <a:lnTo>
                    <a:pt x="150470" y="197447"/>
                  </a:lnTo>
                  <a:lnTo>
                    <a:pt x="150470" y="202260"/>
                  </a:lnTo>
                  <a:lnTo>
                    <a:pt x="150470" y="199530"/>
                  </a:lnTo>
                  <a:lnTo>
                    <a:pt x="150572" y="199530"/>
                  </a:lnTo>
                  <a:lnTo>
                    <a:pt x="150572" y="202260"/>
                  </a:lnTo>
                  <a:lnTo>
                    <a:pt x="150572" y="200228"/>
                  </a:lnTo>
                  <a:lnTo>
                    <a:pt x="150623" y="200228"/>
                  </a:lnTo>
                  <a:lnTo>
                    <a:pt x="150623" y="200876"/>
                  </a:lnTo>
                  <a:lnTo>
                    <a:pt x="150623" y="200228"/>
                  </a:lnTo>
                  <a:lnTo>
                    <a:pt x="150623" y="200876"/>
                  </a:lnTo>
                  <a:lnTo>
                    <a:pt x="150623" y="200228"/>
                  </a:lnTo>
                  <a:lnTo>
                    <a:pt x="150623" y="200876"/>
                  </a:lnTo>
                  <a:lnTo>
                    <a:pt x="150623" y="200228"/>
                  </a:lnTo>
                  <a:lnTo>
                    <a:pt x="150673" y="200876"/>
                  </a:lnTo>
                  <a:lnTo>
                    <a:pt x="150673" y="202260"/>
                  </a:lnTo>
                  <a:lnTo>
                    <a:pt x="150673" y="200876"/>
                  </a:lnTo>
                  <a:lnTo>
                    <a:pt x="150775" y="200876"/>
                  </a:lnTo>
                  <a:lnTo>
                    <a:pt x="150775" y="202260"/>
                  </a:lnTo>
                  <a:lnTo>
                    <a:pt x="150775" y="200228"/>
                  </a:lnTo>
                  <a:lnTo>
                    <a:pt x="150813" y="200876"/>
                  </a:lnTo>
                  <a:lnTo>
                    <a:pt x="150813" y="200228"/>
                  </a:lnTo>
                  <a:lnTo>
                    <a:pt x="150813" y="200876"/>
                  </a:lnTo>
                  <a:lnTo>
                    <a:pt x="150813" y="199530"/>
                  </a:lnTo>
                  <a:lnTo>
                    <a:pt x="150813" y="200228"/>
                  </a:lnTo>
                  <a:lnTo>
                    <a:pt x="150813" y="199530"/>
                  </a:lnTo>
                  <a:lnTo>
                    <a:pt x="150864" y="199530"/>
                  </a:lnTo>
                  <a:lnTo>
                    <a:pt x="150864" y="198831"/>
                  </a:lnTo>
                  <a:lnTo>
                    <a:pt x="150864" y="199530"/>
                  </a:lnTo>
                  <a:lnTo>
                    <a:pt x="150864" y="196799"/>
                  </a:lnTo>
                  <a:lnTo>
                    <a:pt x="150864" y="197447"/>
                  </a:lnTo>
                  <a:lnTo>
                    <a:pt x="150915" y="196799"/>
                  </a:lnTo>
                  <a:lnTo>
                    <a:pt x="150915" y="195415"/>
                  </a:lnTo>
                  <a:lnTo>
                    <a:pt x="150915" y="198831"/>
                  </a:lnTo>
                  <a:lnTo>
                    <a:pt x="150915" y="196113"/>
                  </a:lnTo>
                  <a:lnTo>
                    <a:pt x="151016" y="196113"/>
                  </a:lnTo>
                  <a:lnTo>
                    <a:pt x="151016" y="199530"/>
                  </a:lnTo>
                  <a:lnTo>
                    <a:pt x="151016" y="197447"/>
                  </a:lnTo>
                  <a:lnTo>
                    <a:pt x="151067" y="197447"/>
                  </a:lnTo>
                  <a:lnTo>
                    <a:pt x="151067" y="200228"/>
                  </a:lnTo>
                  <a:lnTo>
                    <a:pt x="151067" y="198831"/>
                  </a:lnTo>
                  <a:lnTo>
                    <a:pt x="151067" y="199530"/>
                  </a:lnTo>
                  <a:lnTo>
                    <a:pt x="151118" y="200228"/>
                  </a:lnTo>
                  <a:lnTo>
                    <a:pt x="151118" y="199530"/>
                  </a:lnTo>
                  <a:lnTo>
                    <a:pt x="151118" y="200228"/>
                  </a:lnTo>
                  <a:lnTo>
                    <a:pt x="151219" y="200228"/>
                  </a:lnTo>
                  <a:lnTo>
                    <a:pt x="151219" y="200876"/>
                  </a:lnTo>
                  <a:lnTo>
                    <a:pt x="151219" y="200228"/>
                  </a:lnTo>
                  <a:lnTo>
                    <a:pt x="151219" y="200876"/>
                  </a:lnTo>
                  <a:lnTo>
                    <a:pt x="151219" y="200228"/>
                  </a:lnTo>
                  <a:lnTo>
                    <a:pt x="151219" y="200876"/>
                  </a:lnTo>
                  <a:lnTo>
                    <a:pt x="151219" y="200228"/>
                  </a:lnTo>
                  <a:lnTo>
                    <a:pt x="151219" y="200876"/>
                  </a:lnTo>
                  <a:lnTo>
                    <a:pt x="151219" y="200228"/>
                  </a:lnTo>
                  <a:lnTo>
                    <a:pt x="151219" y="200876"/>
                  </a:lnTo>
                  <a:lnTo>
                    <a:pt x="151270" y="200876"/>
                  </a:lnTo>
                  <a:lnTo>
                    <a:pt x="151270" y="202260"/>
                  </a:lnTo>
                  <a:lnTo>
                    <a:pt x="151270" y="200876"/>
                  </a:lnTo>
                  <a:lnTo>
                    <a:pt x="151321" y="200876"/>
                  </a:lnTo>
                  <a:lnTo>
                    <a:pt x="151321" y="200228"/>
                  </a:lnTo>
                  <a:lnTo>
                    <a:pt x="151359" y="200228"/>
                  </a:lnTo>
                  <a:lnTo>
                    <a:pt x="151359" y="196799"/>
                  </a:lnTo>
                  <a:lnTo>
                    <a:pt x="151461" y="196799"/>
                  </a:lnTo>
                  <a:lnTo>
                    <a:pt x="151461" y="198831"/>
                  </a:lnTo>
                  <a:lnTo>
                    <a:pt x="151461" y="196799"/>
                  </a:lnTo>
                  <a:lnTo>
                    <a:pt x="151511" y="197447"/>
                  </a:lnTo>
                  <a:lnTo>
                    <a:pt x="151511" y="200228"/>
                  </a:lnTo>
                  <a:lnTo>
                    <a:pt x="151511" y="198831"/>
                  </a:lnTo>
                  <a:lnTo>
                    <a:pt x="151562" y="198831"/>
                  </a:lnTo>
                  <a:lnTo>
                    <a:pt x="151562" y="200228"/>
                  </a:lnTo>
                  <a:lnTo>
                    <a:pt x="151562" y="198831"/>
                  </a:lnTo>
                  <a:lnTo>
                    <a:pt x="151562" y="199530"/>
                  </a:lnTo>
                  <a:lnTo>
                    <a:pt x="151664" y="199530"/>
                  </a:lnTo>
                  <a:lnTo>
                    <a:pt x="151664" y="200228"/>
                  </a:lnTo>
                  <a:lnTo>
                    <a:pt x="151664" y="199530"/>
                  </a:lnTo>
                  <a:lnTo>
                    <a:pt x="151664" y="200228"/>
                  </a:lnTo>
                  <a:lnTo>
                    <a:pt x="151664" y="199530"/>
                  </a:lnTo>
                  <a:lnTo>
                    <a:pt x="151715" y="200228"/>
                  </a:lnTo>
                  <a:lnTo>
                    <a:pt x="151715" y="199530"/>
                  </a:lnTo>
                  <a:lnTo>
                    <a:pt x="151715" y="200228"/>
                  </a:lnTo>
                  <a:lnTo>
                    <a:pt x="151766" y="200228"/>
                  </a:lnTo>
                  <a:lnTo>
                    <a:pt x="151766" y="202260"/>
                  </a:lnTo>
                  <a:lnTo>
                    <a:pt x="151766" y="200228"/>
                  </a:lnTo>
                  <a:lnTo>
                    <a:pt x="151816" y="200228"/>
                  </a:lnTo>
                  <a:lnTo>
                    <a:pt x="151816" y="199530"/>
                  </a:lnTo>
                  <a:lnTo>
                    <a:pt x="151816" y="200228"/>
                  </a:lnTo>
                  <a:lnTo>
                    <a:pt x="151816" y="199530"/>
                  </a:lnTo>
                  <a:lnTo>
                    <a:pt x="151905" y="198831"/>
                  </a:lnTo>
                  <a:lnTo>
                    <a:pt x="151905" y="199530"/>
                  </a:lnTo>
                  <a:lnTo>
                    <a:pt x="151905" y="198831"/>
                  </a:lnTo>
                  <a:lnTo>
                    <a:pt x="151905" y="199530"/>
                  </a:lnTo>
                  <a:lnTo>
                    <a:pt x="151905" y="196799"/>
                  </a:lnTo>
                  <a:lnTo>
                    <a:pt x="151905" y="197447"/>
                  </a:lnTo>
                  <a:lnTo>
                    <a:pt x="151956" y="197447"/>
                  </a:lnTo>
                  <a:lnTo>
                    <a:pt x="151956" y="196113"/>
                  </a:lnTo>
                  <a:lnTo>
                    <a:pt x="151956" y="197447"/>
                  </a:lnTo>
                  <a:lnTo>
                    <a:pt x="151956" y="196799"/>
                  </a:lnTo>
                  <a:lnTo>
                    <a:pt x="152007" y="196799"/>
                  </a:lnTo>
                  <a:lnTo>
                    <a:pt x="152007" y="198831"/>
                  </a:lnTo>
                  <a:lnTo>
                    <a:pt x="152058" y="198831"/>
                  </a:lnTo>
                  <a:lnTo>
                    <a:pt x="152058" y="197447"/>
                  </a:lnTo>
                  <a:lnTo>
                    <a:pt x="152058" y="199530"/>
                  </a:lnTo>
                  <a:lnTo>
                    <a:pt x="152058" y="198831"/>
                  </a:lnTo>
                  <a:lnTo>
                    <a:pt x="152058" y="199530"/>
                  </a:lnTo>
                  <a:lnTo>
                    <a:pt x="152058" y="198831"/>
                  </a:lnTo>
                  <a:lnTo>
                    <a:pt x="152058" y="199530"/>
                  </a:lnTo>
                  <a:lnTo>
                    <a:pt x="152058" y="198831"/>
                  </a:lnTo>
                  <a:lnTo>
                    <a:pt x="152159" y="198831"/>
                  </a:lnTo>
                  <a:lnTo>
                    <a:pt x="152159" y="199530"/>
                  </a:lnTo>
                  <a:lnTo>
                    <a:pt x="152159" y="198831"/>
                  </a:lnTo>
                  <a:lnTo>
                    <a:pt x="152210" y="198831"/>
                  </a:lnTo>
                  <a:lnTo>
                    <a:pt x="152210" y="200228"/>
                  </a:lnTo>
                  <a:lnTo>
                    <a:pt x="152210" y="199530"/>
                  </a:lnTo>
                  <a:lnTo>
                    <a:pt x="152210" y="200876"/>
                  </a:lnTo>
                  <a:lnTo>
                    <a:pt x="152210" y="200228"/>
                  </a:lnTo>
                  <a:lnTo>
                    <a:pt x="152261" y="200228"/>
                  </a:lnTo>
                  <a:lnTo>
                    <a:pt x="152261" y="200876"/>
                  </a:lnTo>
                  <a:lnTo>
                    <a:pt x="152261" y="200228"/>
                  </a:lnTo>
                  <a:lnTo>
                    <a:pt x="152261" y="200876"/>
                  </a:lnTo>
                  <a:lnTo>
                    <a:pt x="152362" y="200876"/>
                  </a:lnTo>
                  <a:lnTo>
                    <a:pt x="152362" y="199530"/>
                  </a:lnTo>
                  <a:lnTo>
                    <a:pt x="152362" y="200228"/>
                  </a:lnTo>
                  <a:lnTo>
                    <a:pt x="152362" y="199530"/>
                  </a:lnTo>
                  <a:lnTo>
                    <a:pt x="152400" y="199530"/>
                  </a:lnTo>
                  <a:lnTo>
                    <a:pt x="152400" y="196799"/>
                  </a:lnTo>
                  <a:lnTo>
                    <a:pt x="152451" y="196799"/>
                  </a:lnTo>
                  <a:lnTo>
                    <a:pt x="152451" y="196113"/>
                  </a:lnTo>
                  <a:lnTo>
                    <a:pt x="152451" y="198831"/>
                  </a:lnTo>
                  <a:lnTo>
                    <a:pt x="152451" y="195415"/>
                  </a:lnTo>
                  <a:lnTo>
                    <a:pt x="152502" y="195415"/>
                  </a:lnTo>
                  <a:lnTo>
                    <a:pt x="152502" y="199530"/>
                  </a:lnTo>
                  <a:lnTo>
                    <a:pt x="152502" y="196799"/>
                  </a:lnTo>
                  <a:lnTo>
                    <a:pt x="152604" y="196799"/>
                  </a:lnTo>
                  <a:lnTo>
                    <a:pt x="152604" y="199530"/>
                  </a:lnTo>
                  <a:lnTo>
                    <a:pt x="152604" y="197447"/>
                  </a:lnTo>
                  <a:lnTo>
                    <a:pt x="152655" y="197447"/>
                  </a:lnTo>
                  <a:lnTo>
                    <a:pt x="152655" y="198831"/>
                  </a:lnTo>
                  <a:lnTo>
                    <a:pt x="152655" y="197447"/>
                  </a:lnTo>
                  <a:lnTo>
                    <a:pt x="152655" y="198831"/>
                  </a:lnTo>
                  <a:lnTo>
                    <a:pt x="152655" y="197447"/>
                  </a:lnTo>
                  <a:lnTo>
                    <a:pt x="152705" y="197447"/>
                  </a:lnTo>
                  <a:lnTo>
                    <a:pt x="152705" y="199530"/>
                  </a:lnTo>
                  <a:lnTo>
                    <a:pt x="152705" y="198831"/>
                  </a:lnTo>
                  <a:lnTo>
                    <a:pt x="152705" y="200228"/>
                  </a:lnTo>
                  <a:lnTo>
                    <a:pt x="152807" y="199530"/>
                  </a:lnTo>
                  <a:lnTo>
                    <a:pt x="152807" y="200228"/>
                  </a:lnTo>
                  <a:lnTo>
                    <a:pt x="152807" y="199530"/>
                  </a:lnTo>
                  <a:lnTo>
                    <a:pt x="152807" y="200228"/>
                  </a:lnTo>
                  <a:lnTo>
                    <a:pt x="152858" y="200228"/>
                  </a:lnTo>
                  <a:lnTo>
                    <a:pt x="152858" y="199530"/>
                  </a:lnTo>
                  <a:lnTo>
                    <a:pt x="152858" y="200228"/>
                  </a:lnTo>
                  <a:lnTo>
                    <a:pt x="152858" y="199530"/>
                  </a:lnTo>
                  <a:lnTo>
                    <a:pt x="152909" y="199530"/>
                  </a:lnTo>
                  <a:lnTo>
                    <a:pt x="152909" y="197447"/>
                  </a:lnTo>
                  <a:lnTo>
                    <a:pt x="152947" y="197447"/>
                  </a:lnTo>
                  <a:lnTo>
                    <a:pt x="152947" y="199530"/>
                  </a:lnTo>
                  <a:lnTo>
                    <a:pt x="152947" y="196799"/>
                  </a:lnTo>
                  <a:lnTo>
                    <a:pt x="152947" y="199530"/>
                  </a:lnTo>
                  <a:lnTo>
                    <a:pt x="153048" y="199530"/>
                  </a:lnTo>
                  <a:lnTo>
                    <a:pt x="153048" y="200876"/>
                  </a:lnTo>
                  <a:lnTo>
                    <a:pt x="153048" y="199530"/>
                  </a:lnTo>
                  <a:lnTo>
                    <a:pt x="153048" y="200228"/>
                  </a:lnTo>
                  <a:lnTo>
                    <a:pt x="153099" y="200228"/>
                  </a:lnTo>
                  <a:lnTo>
                    <a:pt x="153099" y="200876"/>
                  </a:lnTo>
                  <a:lnTo>
                    <a:pt x="153099" y="199530"/>
                  </a:lnTo>
                  <a:lnTo>
                    <a:pt x="153099" y="200228"/>
                  </a:lnTo>
                  <a:lnTo>
                    <a:pt x="153099" y="199530"/>
                  </a:lnTo>
                  <a:lnTo>
                    <a:pt x="153099" y="200228"/>
                  </a:lnTo>
                  <a:lnTo>
                    <a:pt x="153099" y="199530"/>
                  </a:lnTo>
                  <a:lnTo>
                    <a:pt x="153150" y="199530"/>
                  </a:lnTo>
                  <a:lnTo>
                    <a:pt x="153150" y="200228"/>
                  </a:lnTo>
                  <a:lnTo>
                    <a:pt x="153150" y="199530"/>
                  </a:lnTo>
                  <a:lnTo>
                    <a:pt x="153150" y="200228"/>
                  </a:lnTo>
                  <a:lnTo>
                    <a:pt x="153150" y="199530"/>
                  </a:lnTo>
                  <a:lnTo>
                    <a:pt x="153150" y="200228"/>
                  </a:lnTo>
                  <a:lnTo>
                    <a:pt x="153150" y="199530"/>
                  </a:lnTo>
                  <a:lnTo>
                    <a:pt x="153150" y="200228"/>
                  </a:lnTo>
                  <a:lnTo>
                    <a:pt x="153251" y="200228"/>
                  </a:lnTo>
                  <a:lnTo>
                    <a:pt x="153251" y="200876"/>
                  </a:lnTo>
                  <a:lnTo>
                    <a:pt x="153251" y="200228"/>
                  </a:lnTo>
                  <a:lnTo>
                    <a:pt x="153251" y="200876"/>
                  </a:lnTo>
                  <a:lnTo>
                    <a:pt x="153251" y="200228"/>
                  </a:lnTo>
                  <a:lnTo>
                    <a:pt x="153302" y="200228"/>
                  </a:lnTo>
                  <a:lnTo>
                    <a:pt x="153302" y="200876"/>
                  </a:lnTo>
                  <a:lnTo>
                    <a:pt x="153353" y="200876"/>
                  </a:lnTo>
                  <a:lnTo>
                    <a:pt x="153353" y="200228"/>
                  </a:lnTo>
                  <a:lnTo>
                    <a:pt x="153353" y="200876"/>
                  </a:lnTo>
                  <a:lnTo>
                    <a:pt x="153353" y="199530"/>
                  </a:lnTo>
                  <a:lnTo>
                    <a:pt x="153353" y="200228"/>
                  </a:lnTo>
                  <a:lnTo>
                    <a:pt x="153353" y="199530"/>
                  </a:lnTo>
                  <a:lnTo>
                    <a:pt x="153353" y="200228"/>
                  </a:lnTo>
                  <a:lnTo>
                    <a:pt x="153404" y="200228"/>
                  </a:lnTo>
                  <a:lnTo>
                    <a:pt x="153404" y="198831"/>
                  </a:lnTo>
                  <a:lnTo>
                    <a:pt x="153404" y="199530"/>
                  </a:lnTo>
                  <a:lnTo>
                    <a:pt x="153404" y="198831"/>
                  </a:lnTo>
                  <a:lnTo>
                    <a:pt x="153404" y="200228"/>
                  </a:lnTo>
                  <a:lnTo>
                    <a:pt x="153493" y="200228"/>
                  </a:lnTo>
                  <a:lnTo>
                    <a:pt x="153493" y="198831"/>
                  </a:lnTo>
                  <a:lnTo>
                    <a:pt x="153493" y="200876"/>
                  </a:lnTo>
                  <a:lnTo>
                    <a:pt x="153543" y="200876"/>
                  </a:lnTo>
                  <a:lnTo>
                    <a:pt x="153543" y="200228"/>
                  </a:lnTo>
                  <a:lnTo>
                    <a:pt x="153543" y="202260"/>
                  </a:lnTo>
                  <a:lnTo>
                    <a:pt x="153594" y="202260"/>
                  </a:lnTo>
                  <a:lnTo>
                    <a:pt x="153594" y="200228"/>
                  </a:lnTo>
                  <a:lnTo>
                    <a:pt x="153594" y="200876"/>
                  </a:lnTo>
                  <a:lnTo>
                    <a:pt x="153594" y="200228"/>
                  </a:lnTo>
                  <a:lnTo>
                    <a:pt x="153594" y="200876"/>
                  </a:lnTo>
                  <a:lnTo>
                    <a:pt x="153645" y="200876"/>
                  </a:lnTo>
                  <a:lnTo>
                    <a:pt x="153645" y="202260"/>
                  </a:lnTo>
                  <a:lnTo>
                    <a:pt x="153645" y="200876"/>
                  </a:lnTo>
                  <a:lnTo>
                    <a:pt x="153747" y="200876"/>
                  </a:lnTo>
                  <a:lnTo>
                    <a:pt x="153747" y="202260"/>
                  </a:lnTo>
                  <a:lnTo>
                    <a:pt x="153747" y="200876"/>
                  </a:lnTo>
                  <a:lnTo>
                    <a:pt x="153798" y="200228"/>
                  </a:lnTo>
                  <a:lnTo>
                    <a:pt x="153798" y="200876"/>
                  </a:lnTo>
                  <a:lnTo>
                    <a:pt x="153798" y="200228"/>
                  </a:lnTo>
                  <a:lnTo>
                    <a:pt x="153798" y="200876"/>
                  </a:lnTo>
                  <a:lnTo>
                    <a:pt x="153798" y="199530"/>
                  </a:lnTo>
                  <a:lnTo>
                    <a:pt x="153848" y="200228"/>
                  </a:lnTo>
                  <a:lnTo>
                    <a:pt x="153848" y="199530"/>
                  </a:lnTo>
                  <a:lnTo>
                    <a:pt x="153848" y="200228"/>
                  </a:lnTo>
                  <a:lnTo>
                    <a:pt x="153848" y="199530"/>
                  </a:lnTo>
                  <a:lnTo>
                    <a:pt x="153848" y="200228"/>
                  </a:lnTo>
                  <a:lnTo>
                    <a:pt x="153848" y="198831"/>
                  </a:lnTo>
                  <a:lnTo>
                    <a:pt x="153950" y="198831"/>
                  </a:lnTo>
                  <a:lnTo>
                    <a:pt x="153950" y="197447"/>
                  </a:lnTo>
                  <a:lnTo>
                    <a:pt x="153950" y="199530"/>
                  </a:lnTo>
                  <a:lnTo>
                    <a:pt x="153950" y="198831"/>
                  </a:lnTo>
                  <a:lnTo>
                    <a:pt x="153988" y="198831"/>
                  </a:lnTo>
                  <a:lnTo>
                    <a:pt x="153988" y="199530"/>
                  </a:lnTo>
                  <a:lnTo>
                    <a:pt x="153988" y="198831"/>
                  </a:lnTo>
                  <a:lnTo>
                    <a:pt x="153988" y="200876"/>
                  </a:lnTo>
                  <a:lnTo>
                    <a:pt x="153988" y="200228"/>
                  </a:lnTo>
                  <a:lnTo>
                    <a:pt x="153988" y="200876"/>
                  </a:lnTo>
                  <a:lnTo>
                    <a:pt x="154039" y="200228"/>
                  </a:lnTo>
                  <a:lnTo>
                    <a:pt x="154039" y="200876"/>
                  </a:lnTo>
                  <a:lnTo>
                    <a:pt x="154039" y="200228"/>
                  </a:lnTo>
                  <a:lnTo>
                    <a:pt x="154039" y="200876"/>
                  </a:lnTo>
                  <a:lnTo>
                    <a:pt x="154039" y="200228"/>
                  </a:lnTo>
                  <a:lnTo>
                    <a:pt x="154090" y="200228"/>
                  </a:lnTo>
                  <a:lnTo>
                    <a:pt x="154090" y="200876"/>
                  </a:lnTo>
                  <a:lnTo>
                    <a:pt x="154191" y="200876"/>
                  </a:lnTo>
                  <a:lnTo>
                    <a:pt x="154191" y="202260"/>
                  </a:lnTo>
                  <a:lnTo>
                    <a:pt x="154191" y="200876"/>
                  </a:lnTo>
                  <a:lnTo>
                    <a:pt x="154191" y="202260"/>
                  </a:lnTo>
                  <a:lnTo>
                    <a:pt x="154191" y="200876"/>
                  </a:lnTo>
                  <a:lnTo>
                    <a:pt x="154191" y="202260"/>
                  </a:lnTo>
                  <a:lnTo>
                    <a:pt x="154242" y="202260"/>
                  </a:lnTo>
                  <a:lnTo>
                    <a:pt x="154242" y="200876"/>
                  </a:lnTo>
                  <a:lnTo>
                    <a:pt x="154242" y="202260"/>
                  </a:lnTo>
                  <a:lnTo>
                    <a:pt x="154293" y="202260"/>
                  </a:lnTo>
                  <a:lnTo>
                    <a:pt x="154293" y="200876"/>
                  </a:lnTo>
                  <a:lnTo>
                    <a:pt x="154293" y="202260"/>
                  </a:lnTo>
                  <a:lnTo>
                    <a:pt x="154293" y="200228"/>
                  </a:lnTo>
                  <a:lnTo>
                    <a:pt x="154293" y="200876"/>
                  </a:lnTo>
                  <a:lnTo>
                    <a:pt x="154293" y="200228"/>
                  </a:lnTo>
                  <a:lnTo>
                    <a:pt x="154394" y="200228"/>
                  </a:lnTo>
                  <a:lnTo>
                    <a:pt x="154394" y="198831"/>
                  </a:lnTo>
                  <a:lnTo>
                    <a:pt x="154445" y="199530"/>
                  </a:lnTo>
                  <a:lnTo>
                    <a:pt x="154445" y="200876"/>
                  </a:lnTo>
                  <a:lnTo>
                    <a:pt x="154445" y="198831"/>
                  </a:lnTo>
                  <a:lnTo>
                    <a:pt x="154445" y="200876"/>
                  </a:lnTo>
                  <a:lnTo>
                    <a:pt x="154496" y="200876"/>
                  </a:lnTo>
                  <a:lnTo>
                    <a:pt x="154496" y="202260"/>
                  </a:lnTo>
                  <a:lnTo>
                    <a:pt x="154496" y="200228"/>
                  </a:lnTo>
                  <a:lnTo>
                    <a:pt x="154496" y="202260"/>
                  </a:lnTo>
                  <a:lnTo>
                    <a:pt x="154534" y="202959"/>
                  </a:lnTo>
                  <a:lnTo>
                    <a:pt x="154534" y="200876"/>
                  </a:lnTo>
                  <a:lnTo>
                    <a:pt x="154534" y="202260"/>
                  </a:lnTo>
                  <a:lnTo>
                    <a:pt x="154636" y="202260"/>
                  </a:lnTo>
                  <a:lnTo>
                    <a:pt x="154636" y="200876"/>
                  </a:lnTo>
                  <a:lnTo>
                    <a:pt x="154636" y="202959"/>
                  </a:lnTo>
                  <a:lnTo>
                    <a:pt x="154686" y="202260"/>
                  </a:lnTo>
                  <a:lnTo>
                    <a:pt x="154686" y="202959"/>
                  </a:lnTo>
                  <a:lnTo>
                    <a:pt x="154686" y="202260"/>
                  </a:lnTo>
                  <a:lnTo>
                    <a:pt x="154737" y="202260"/>
                  </a:lnTo>
                  <a:lnTo>
                    <a:pt x="154737" y="200876"/>
                  </a:lnTo>
                  <a:lnTo>
                    <a:pt x="154737" y="202260"/>
                  </a:lnTo>
                  <a:lnTo>
                    <a:pt x="154737" y="200876"/>
                  </a:lnTo>
                  <a:lnTo>
                    <a:pt x="154737" y="202260"/>
                  </a:lnTo>
                  <a:lnTo>
                    <a:pt x="154839" y="200876"/>
                  </a:lnTo>
                  <a:lnTo>
                    <a:pt x="154839" y="202260"/>
                  </a:lnTo>
                  <a:lnTo>
                    <a:pt x="154839" y="200228"/>
                  </a:lnTo>
                  <a:lnTo>
                    <a:pt x="154839" y="200876"/>
                  </a:lnTo>
                  <a:lnTo>
                    <a:pt x="154839" y="199530"/>
                  </a:lnTo>
                  <a:lnTo>
                    <a:pt x="154890" y="199530"/>
                  </a:lnTo>
                  <a:lnTo>
                    <a:pt x="154890" y="197447"/>
                  </a:lnTo>
                  <a:lnTo>
                    <a:pt x="154890" y="198831"/>
                  </a:lnTo>
                  <a:lnTo>
                    <a:pt x="154941" y="198831"/>
                  </a:lnTo>
                  <a:lnTo>
                    <a:pt x="154941" y="199530"/>
                  </a:lnTo>
                  <a:lnTo>
                    <a:pt x="154941" y="197447"/>
                  </a:lnTo>
                  <a:lnTo>
                    <a:pt x="154941" y="200228"/>
                  </a:lnTo>
                  <a:lnTo>
                    <a:pt x="154991" y="200876"/>
                  </a:lnTo>
                  <a:lnTo>
                    <a:pt x="154991" y="202260"/>
                  </a:lnTo>
                  <a:lnTo>
                    <a:pt x="154991" y="199530"/>
                  </a:lnTo>
                  <a:lnTo>
                    <a:pt x="154991" y="200876"/>
                  </a:lnTo>
                  <a:lnTo>
                    <a:pt x="155080" y="200876"/>
                  </a:lnTo>
                  <a:lnTo>
                    <a:pt x="155080" y="202260"/>
                  </a:lnTo>
                  <a:lnTo>
                    <a:pt x="155080" y="200228"/>
                  </a:lnTo>
                  <a:lnTo>
                    <a:pt x="155080" y="200876"/>
                  </a:lnTo>
                  <a:lnTo>
                    <a:pt x="155080" y="200228"/>
                  </a:lnTo>
                  <a:lnTo>
                    <a:pt x="155080" y="200876"/>
                  </a:lnTo>
                  <a:lnTo>
                    <a:pt x="155080" y="200228"/>
                  </a:lnTo>
                  <a:lnTo>
                    <a:pt x="155080" y="200876"/>
                  </a:lnTo>
                  <a:lnTo>
                    <a:pt x="155080" y="200228"/>
                  </a:lnTo>
                  <a:lnTo>
                    <a:pt x="155080" y="200876"/>
                  </a:lnTo>
                  <a:lnTo>
                    <a:pt x="155131" y="200876"/>
                  </a:lnTo>
                  <a:lnTo>
                    <a:pt x="155131" y="202260"/>
                  </a:lnTo>
                  <a:lnTo>
                    <a:pt x="155131" y="200876"/>
                  </a:lnTo>
                  <a:lnTo>
                    <a:pt x="155131" y="202959"/>
                  </a:lnTo>
                  <a:lnTo>
                    <a:pt x="155131" y="202260"/>
                  </a:lnTo>
                  <a:lnTo>
                    <a:pt x="155131" y="202959"/>
                  </a:lnTo>
                  <a:lnTo>
                    <a:pt x="155182" y="202959"/>
                  </a:lnTo>
                  <a:lnTo>
                    <a:pt x="155182" y="202260"/>
                  </a:lnTo>
                  <a:lnTo>
                    <a:pt x="155182" y="202959"/>
                  </a:lnTo>
                  <a:lnTo>
                    <a:pt x="155182" y="202260"/>
                  </a:lnTo>
                  <a:lnTo>
                    <a:pt x="155182" y="202959"/>
                  </a:lnTo>
                  <a:lnTo>
                    <a:pt x="155233" y="202959"/>
                  </a:lnTo>
                  <a:lnTo>
                    <a:pt x="155233" y="202260"/>
                  </a:lnTo>
                  <a:lnTo>
                    <a:pt x="155233" y="202959"/>
                  </a:lnTo>
                  <a:lnTo>
                    <a:pt x="155233" y="200876"/>
                  </a:lnTo>
                  <a:lnTo>
                    <a:pt x="155334" y="200876"/>
                  </a:lnTo>
                  <a:lnTo>
                    <a:pt x="155334" y="202260"/>
                  </a:lnTo>
                  <a:lnTo>
                    <a:pt x="155334" y="200876"/>
                  </a:lnTo>
                  <a:lnTo>
                    <a:pt x="155334" y="202260"/>
                  </a:lnTo>
                  <a:lnTo>
                    <a:pt x="155334" y="200228"/>
                  </a:lnTo>
                  <a:lnTo>
                    <a:pt x="155385" y="199530"/>
                  </a:lnTo>
                  <a:lnTo>
                    <a:pt x="155385" y="200228"/>
                  </a:lnTo>
                  <a:lnTo>
                    <a:pt x="155385" y="198831"/>
                  </a:lnTo>
                  <a:lnTo>
                    <a:pt x="155385" y="200876"/>
                  </a:lnTo>
                  <a:lnTo>
                    <a:pt x="155385" y="200228"/>
                  </a:lnTo>
                  <a:lnTo>
                    <a:pt x="155436" y="200228"/>
                  </a:lnTo>
                  <a:lnTo>
                    <a:pt x="155436" y="197447"/>
                  </a:lnTo>
                  <a:lnTo>
                    <a:pt x="155436" y="200876"/>
                  </a:lnTo>
                  <a:lnTo>
                    <a:pt x="155436" y="200228"/>
                  </a:lnTo>
                  <a:lnTo>
                    <a:pt x="155537" y="200228"/>
                  </a:lnTo>
                  <a:lnTo>
                    <a:pt x="155537" y="199530"/>
                  </a:lnTo>
                  <a:lnTo>
                    <a:pt x="155537" y="200876"/>
                  </a:lnTo>
                  <a:lnTo>
                    <a:pt x="155537" y="200228"/>
                  </a:lnTo>
                  <a:lnTo>
                    <a:pt x="155575" y="200228"/>
                  </a:lnTo>
                  <a:lnTo>
                    <a:pt x="155575" y="200876"/>
                  </a:lnTo>
                  <a:lnTo>
                    <a:pt x="155575" y="200228"/>
                  </a:lnTo>
                  <a:lnTo>
                    <a:pt x="155626" y="200228"/>
                  </a:lnTo>
                  <a:lnTo>
                    <a:pt x="155626" y="202260"/>
                  </a:lnTo>
                  <a:lnTo>
                    <a:pt x="155626" y="200876"/>
                  </a:lnTo>
                  <a:lnTo>
                    <a:pt x="155677" y="200876"/>
                  </a:lnTo>
                  <a:lnTo>
                    <a:pt x="155677" y="202260"/>
                  </a:lnTo>
                  <a:lnTo>
                    <a:pt x="155677" y="200876"/>
                  </a:lnTo>
                  <a:lnTo>
                    <a:pt x="155677" y="202260"/>
                  </a:lnTo>
                  <a:lnTo>
                    <a:pt x="155677" y="200876"/>
                  </a:lnTo>
                  <a:lnTo>
                    <a:pt x="155677" y="202260"/>
                  </a:lnTo>
                  <a:lnTo>
                    <a:pt x="155677" y="200876"/>
                  </a:lnTo>
                  <a:lnTo>
                    <a:pt x="155677" y="202260"/>
                  </a:lnTo>
                  <a:lnTo>
                    <a:pt x="155779" y="200876"/>
                  </a:lnTo>
                  <a:lnTo>
                    <a:pt x="155779" y="202260"/>
                  </a:lnTo>
                  <a:lnTo>
                    <a:pt x="155779" y="200876"/>
                  </a:lnTo>
                  <a:lnTo>
                    <a:pt x="155830" y="200876"/>
                  </a:lnTo>
                  <a:lnTo>
                    <a:pt x="155830" y="199530"/>
                  </a:lnTo>
                  <a:lnTo>
                    <a:pt x="155880" y="199530"/>
                  </a:lnTo>
                  <a:lnTo>
                    <a:pt x="155880" y="198831"/>
                  </a:lnTo>
                  <a:lnTo>
                    <a:pt x="155880" y="200876"/>
                  </a:lnTo>
                  <a:lnTo>
                    <a:pt x="155880" y="199530"/>
                  </a:lnTo>
                  <a:lnTo>
                    <a:pt x="155982" y="200228"/>
                  </a:lnTo>
                  <a:lnTo>
                    <a:pt x="155982" y="202959"/>
                  </a:lnTo>
                  <a:lnTo>
                    <a:pt x="155982" y="200876"/>
                  </a:lnTo>
                  <a:lnTo>
                    <a:pt x="155982" y="202260"/>
                  </a:lnTo>
                  <a:lnTo>
                    <a:pt x="156033" y="202260"/>
                  </a:lnTo>
                  <a:lnTo>
                    <a:pt x="156033" y="200876"/>
                  </a:lnTo>
                  <a:lnTo>
                    <a:pt x="156033" y="202959"/>
                  </a:lnTo>
                  <a:lnTo>
                    <a:pt x="156033" y="202260"/>
                  </a:lnTo>
                  <a:lnTo>
                    <a:pt x="156033" y="202959"/>
                  </a:lnTo>
                  <a:lnTo>
                    <a:pt x="156084" y="202959"/>
                  </a:lnTo>
                  <a:lnTo>
                    <a:pt x="156084" y="202260"/>
                  </a:lnTo>
                  <a:lnTo>
                    <a:pt x="156084" y="202959"/>
                  </a:lnTo>
                  <a:lnTo>
                    <a:pt x="156084" y="202260"/>
                  </a:lnTo>
                  <a:lnTo>
                    <a:pt x="156122" y="202959"/>
                  </a:lnTo>
                  <a:lnTo>
                    <a:pt x="156122" y="202260"/>
                  </a:lnTo>
                  <a:lnTo>
                    <a:pt x="156122" y="202959"/>
                  </a:lnTo>
                  <a:lnTo>
                    <a:pt x="156122" y="202260"/>
                  </a:lnTo>
                  <a:lnTo>
                    <a:pt x="156122" y="202959"/>
                  </a:lnTo>
                  <a:lnTo>
                    <a:pt x="156122" y="202260"/>
                  </a:lnTo>
                  <a:lnTo>
                    <a:pt x="156122" y="202959"/>
                  </a:lnTo>
                  <a:lnTo>
                    <a:pt x="156223" y="202959"/>
                  </a:lnTo>
                  <a:lnTo>
                    <a:pt x="156223" y="202260"/>
                  </a:lnTo>
                  <a:lnTo>
                    <a:pt x="156223" y="202959"/>
                  </a:lnTo>
                  <a:lnTo>
                    <a:pt x="156223" y="202260"/>
                  </a:lnTo>
                  <a:lnTo>
                    <a:pt x="156223" y="202959"/>
                  </a:lnTo>
                  <a:lnTo>
                    <a:pt x="156223" y="202260"/>
                  </a:lnTo>
                  <a:lnTo>
                    <a:pt x="156223" y="202959"/>
                  </a:lnTo>
                  <a:lnTo>
                    <a:pt x="156223" y="202260"/>
                  </a:lnTo>
                  <a:lnTo>
                    <a:pt x="156274" y="202260"/>
                  </a:lnTo>
                  <a:lnTo>
                    <a:pt x="156274" y="200228"/>
                  </a:lnTo>
                  <a:lnTo>
                    <a:pt x="156274" y="200876"/>
                  </a:lnTo>
                  <a:lnTo>
                    <a:pt x="156274" y="200228"/>
                  </a:lnTo>
                  <a:lnTo>
                    <a:pt x="156274" y="200876"/>
                  </a:lnTo>
                  <a:lnTo>
                    <a:pt x="156325" y="200228"/>
                  </a:lnTo>
                  <a:lnTo>
                    <a:pt x="156325" y="200876"/>
                  </a:lnTo>
                  <a:lnTo>
                    <a:pt x="156325" y="198831"/>
                  </a:lnTo>
                  <a:lnTo>
                    <a:pt x="156325" y="199530"/>
                  </a:lnTo>
                  <a:lnTo>
                    <a:pt x="156426" y="199530"/>
                  </a:lnTo>
                  <a:lnTo>
                    <a:pt x="156426" y="200876"/>
                  </a:lnTo>
                  <a:lnTo>
                    <a:pt x="156426" y="199530"/>
                  </a:lnTo>
                  <a:lnTo>
                    <a:pt x="156426" y="200876"/>
                  </a:lnTo>
                  <a:lnTo>
                    <a:pt x="156477" y="202260"/>
                  </a:lnTo>
                  <a:lnTo>
                    <a:pt x="156477" y="202959"/>
                  </a:lnTo>
                  <a:lnTo>
                    <a:pt x="156477" y="200228"/>
                  </a:lnTo>
                  <a:lnTo>
                    <a:pt x="156477" y="200876"/>
                  </a:lnTo>
                  <a:lnTo>
                    <a:pt x="156528" y="200876"/>
                  </a:lnTo>
                  <a:lnTo>
                    <a:pt x="156528" y="202959"/>
                  </a:lnTo>
                  <a:lnTo>
                    <a:pt x="156528" y="200876"/>
                  </a:lnTo>
                  <a:lnTo>
                    <a:pt x="156528" y="202959"/>
                  </a:lnTo>
                  <a:lnTo>
                    <a:pt x="156579" y="202959"/>
                  </a:lnTo>
                  <a:lnTo>
                    <a:pt x="156579" y="202260"/>
                  </a:lnTo>
                  <a:lnTo>
                    <a:pt x="156668" y="202260"/>
                  </a:lnTo>
                  <a:lnTo>
                    <a:pt x="156668" y="202959"/>
                  </a:lnTo>
                  <a:lnTo>
                    <a:pt x="156668" y="202260"/>
                  </a:lnTo>
                  <a:lnTo>
                    <a:pt x="156668" y="202959"/>
                  </a:lnTo>
                  <a:lnTo>
                    <a:pt x="156668" y="202260"/>
                  </a:lnTo>
                  <a:lnTo>
                    <a:pt x="156668" y="202959"/>
                  </a:lnTo>
                  <a:lnTo>
                    <a:pt x="156668" y="202260"/>
                  </a:lnTo>
                  <a:lnTo>
                    <a:pt x="156718" y="202260"/>
                  </a:lnTo>
                  <a:lnTo>
                    <a:pt x="156718" y="200876"/>
                  </a:lnTo>
                  <a:lnTo>
                    <a:pt x="156718" y="202260"/>
                  </a:lnTo>
                  <a:lnTo>
                    <a:pt x="156718" y="200876"/>
                  </a:lnTo>
                  <a:lnTo>
                    <a:pt x="156769" y="200876"/>
                  </a:lnTo>
                  <a:lnTo>
                    <a:pt x="156769" y="200228"/>
                  </a:lnTo>
                  <a:lnTo>
                    <a:pt x="156769" y="200876"/>
                  </a:lnTo>
                  <a:lnTo>
                    <a:pt x="156769" y="200228"/>
                  </a:lnTo>
                  <a:lnTo>
                    <a:pt x="156820" y="200228"/>
                  </a:lnTo>
                  <a:lnTo>
                    <a:pt x="156820" y="198831"/>
                  </a:lnTo>
                  <a:lnTo>
                    <a:pt x="156820" y="199530"/>
                  </a:lnTo>
                  <a:lnTo>
                    <a:pt x="156820" y="198831"/>
                  </a:lnTo>
                  <a:lnTo>
                    <a:pt x="156820" y="199530"/>
                  </a:lnTo>
                  <a:lnTo>
                    <a:pt x="156820" y="198831"/>
                  </a:lnTo>
                  <a:lnTo>
                    <a:pt x="156820" y="199530"/>
                  </a:lnTo>
                  <a:lnTo>
                    <a:pt x="156922" y="200228"/>
                  </a:lnTo>
                  <a:lnTo>
                    <a:pt x="156922" y="198831"/>
                  </a:lnTo>
                  <a:lnTo>
                    <a:pt x="156922" y="202260"/>
                  </a:lnTo>
                  <a:lnTo>
                    <a:pt x="156922" y="200876"/>
                  </a:lnTo>
                  <a:lnTo>
                    <a:pt x="156922" y="202260"/>
                  </a:lnTo>
                  <a:lnTo>
                    <a:pt x="156973" y="202260"/>
                  </a:lnTo>
                  <a:lnTo>
                    <a:pt x="156973" y="200228"/>
                  </a:lnTo>
                  <a:lnTo>
                    <a:pt x="156973" y="202260"/>
                  </a:lnTo>
                  <a:lnTo>
                    <a:pt x="156973" y="200876"/>
                  </a:lnTo>
                  <a:lnTo>
                    <a:pt x="156973" y="202260"/>
                  </a:lnTo>
                  <a:lnTo>
                    <a:pt x="157023" y="202260"/>
                  </a:lnTo>
                  <a:lnTo>
                    <a:pt x="157023" y="200876"/>
                  </a:lnTo>
                  <a:lnTo>
                    <a:pt x="157023" y="202260"/>
                  </a:lnTo>
                  <a:lnTo>
                    <a:pt x="157023" y="200876"/>
                  </a:lnTo>
                  <a:lnTo>
                    <a:pt x="157023" y="202959"/>
                  </a:lnTo>
                  <a:lnTo>
                    <a:pt x="157023" y="202260"/>
                  </a:lnTo>
                  <a:lnTo>
                    <a:pt x="157125" y="202260"/>
                  </a:lnTo>
                  <a:lnTo>
                    <a:pt x="157125" y="202959"/>
                  </a:lnTo>
                  <a:lnTo>
                    <a:pt x="157125" y="202260"/>
                  </a:lnTo>
                  <a:lnTo>
                    <a:pt x="157125" y="202959"/>
                  </a:lnTo>
                  <a:lnTo>
                    <a:pt x="157125" y="202260"/>
                  </a:lnTo>
                  <a:lnTo>
                    <a:pt x="157125" y="202959"/>
                  </a:lnTo>
                  <a:lnTo>
                    <a:pt x="157125" y="202260"/>
                  </a:lnTo>
                  <a:lnTo>
                    <a:pt x="157125" y="202959"/>
                  </a:lnTo>
                  <a:lnTo>
                    <a:pt x="157125" y="202260"/>
                  </a:lnTo>
                  <a:lnTo>
                    <a:pt x="157125" y="202959"/>
                  </a:lnTo>
                  <a:lnTo>
                    <a:pt x="157163" y="202260"/>
                  </a:lnTo>
                  <a:lnTo>
                    <a:pt x="157163" y="202959"/>
                  </a:lnTo>
                  <a:lnTo>
                    <a:pt x="157163" y="202260"/>
                  </a:lnTo>
                  <a:lnTo>
                    <a:pt x="157163" y="202959"/>
                  </a:lnTo>
                  <a:lnTo>
                    <a:pt x="157214" y="202959"/>
                  </a:lnTo>
                  <a:lnTo>
                    <a:pt x="157214" y="200876"/>
                  </a:lnTo>
                  <a:lnTo>
                    <a:pt x="157265" y="200876"/>
                  </a:lnTo>
                  <a:lnTo>
                    <a:pt x="157265" y="199530"/>
                  </a:lnTo>
                  <a:lnTo>
                    <a:pt x="157265" y="200228"/>
                  </a:lnTo>
                  <a:lnTo>
                    <a:pt x="157265" y="199530"/>
                  </a:lnTo>
                  <a:lnTo>
                    <a:pt x="157265" y="200228"/>
                  </a:lnTo>
                  <a:lnTo>
                    <a:pt x="157366" y="199530"/>
                  </a:lnTo>
                  <a:lnTo>
                    <a:pt x="157366" y="200228"/>
                  </a:lnTo>
                  <a:lnTo>
                    <a:pt x="157366" y="199530"/>
                  </a:lnTo>
                  <a:lnTo>
                    <a:pt x="157366" y="200228"/>
                  </a:lnTo>
                  <a:lnTo>
                    <a:pt x="157366" y="199530"/>
                  </a:lnTo>
                  <a:lnTo>
                    <a:pt x="157417" y="199530"/>
                  </a:lnTo>
                  <a:lnTo>
                    <a:pt x="157417" y="202260"/>
                  </a:lnTo>
                  <a:lnTo>
                    <a:pt x="157417" y="200876"/>
                  </a:lnTo>
                  <a:lnTo>
                    <a:pt x="157468" y="200876"/>
                  </a:lnTo>
                  <a:lnTo>
                    <a:pt x="157468" y="202260"/>
                  </a:lnTo>
                  <a:lnTo>
                    <a:pt x="157468" y="200876"/>
                  </a:lnTo>
                  <a:lnTo>
                    <a:pt x="157569" y="202260"/>
                  </a:lnTo>
                  <a:lnTo>
                    <a:pt x="157569" y="202959"/>
                  </a:lnTo>
                  <a:lnTo>
                    <a:pt x="157569" y="200876"/>
                  </a:lnTo>
                  <a:lnTo>
                    <a:pt x="157569" y="202260"/>
                  </a:lnTo>
                  <a:lnTo>
                    <a:pt x="157620" y="202260"/>
                  </a:lnTo>
                  <a:lnTo>
                    <a:pt x="157620" y="202959"/>
                  </a:lnTo>
                  <a:lnTo>
                    <a:pt x="157620" y="202260"/>
                  </a:lnTo>
                  <a:lnTo>
                    <a:pt x="157671" y="202959"/>
                  </a:lnTo>
                  <a:lnTo>
                    <a:pt x="157671" y="202260"/>
                  </a:lnTo>
                  <a:lnTo>
                    <a:pt x="157671" y="202959"/>
                  </a:lnTo>
                  <a:lnTo>
                    <a:pt x="157671" y="202260"/>
                  </a:lnTo>
                  <a:lnTo>
                    <a:pt x="157709" y="202260"/>
                  </a:lnTo>
                  <a:lnTo>
                    <a:pt x="157709" y="200876"/>
                  </a:lnTo>
                  <a:lnTo>
                    <a:pt x="157709" y="202260"/>
                  </a:lnTo>
                  <a:lnTo>
                    <a:pt x="157709" y="200228"/>
                  </a:lnTo>
                  <a:lnTo>
                    <a:pt x="157811" y="200228"/>
                  </a:lnTo>
                  <a:lnTo>
                    <a:pt x="157811" y="199530"/>
                  </a:lnTo>
                  <a:lnTo>
                    <a:pt x="157861" y="199530"/>
                  </a:lnTo>
                  <a:lnTo>
                    <a:pt x="157861" y="198831"/>
                  </a:lnTo>
                  <a:lnTo>
                    <a:pt x="157861" y="199530"/>
                  </a:lnTo>
                  <a:lnTo>
                    <a:pt x="157861" y="198831"/>
                  </a:lnTo>
                  <a:lnTo>
                    <a:pt x="157861" y="199530"/>
                  </a:lnTo>
                  <a:lnTo>
                    <a:pt x="157861" y="198831"/>
                  </a:lnTo>
                  <a:lnTo>
                    <a:pt x="157861" y="199530"/>
                  </a:lnTo>
                  <a:lnTo>
                    <a:pt x="157861" y="198831"/>
                  </a:lnTo>
                  <a:lnTo>
                    <a:pt x="157912" y="198831"/>
                  </a:lnTo>
                  <a:lnTo>
                    <a:pt x="157912" y="200228"/>
                  </a:lnTo>
                  <a:lnTo>
                    <a:pt x="157912" y="199530"/>
                  </a:lnTo>
                  <a:lnTo>
                    <a:pt x="157912" y="200228"/>
                  </a:lnTo>
                  <a:lnTo>
                    <a:pt x="158014" y="200228"/>
                  </a:lnTo>
                  <a:lnTo>
                    <a:pt x="158014" y="200876"/>
                  </a:lnTo>
                  <a:lnTo>
                    <a:pt x="158014" y="200228"/>
                  </a:lnTo>
                  <a:lnTo>
                    <a:pt x="158014" y="200876"/>
                  </a:lnTo>
                  <a:lnTo>
                    <a:pt x="158065" y="200876"/>
                  </a:lnTo>
                  <a:lnTo>
                    <a:pt x="158065" y="202260"/>
                  </a:lnTo>
                  <a:lnTo>
                    <a:pt x="158065" y="200876"/>
                  </a:lnTo>
                  <a:lnTo>
                    <a:pt x="158065" y="202260"/>
                  </a:lnTo>
                  <a:lnTo>
                    <a:pt x="158065" y="200876"/>
                  </a:lnTo>
                  <a:lnTo>
                    <a:pt x="158065" y="202260"/>
                  </a:lnTo>
                  <a:lnTo>
                    <a:pt x="158116" y="200876"/>
                  </a:lnTo>
                  <a:lnTo>
                    <a:pt x="158116" y="202260"/>
                  </a:lnTo>
                  <a:lnTo>
                    <a:pt x="158116" y="200876"/>
                  </a:lnTo>
                  <a:lnTo>
                    <a:pt x="158116" y="202260"/>
                  </a:lnTo>
                  <a:lnTo>
                    <a:pt x="158166" y="202260"/>
                  </a:lnTo>
                  <a:lnTo>
                    <a:pt x="158166" y="200876"/>
                  </a:lnTo>
                  <a:lnTo>
                    <a:pt x="158166" y="202260"/>
                  </a:lnTo>
                  <a:lnTo>
                    <a:pt x="158166" y="200876"/>
                  </a:lnTo>
                  <a:lnTo>
                    <a:pt x="158255" y="200876"/>
                  </a:lnTo>
                  <a:lnTo>
                    <a:pt x="158255" y="200228"/>
                  </a:lnTo>
                  <a:lnTo>
                    <a:pt x="158255" y="200876"/>
                  </a:lnTo>
                  <a:lnTo>
                    <a:pt x="158255" y="200228"/>
                  </a:lnTo>
                  <a:lnTo>
                    <a:pt x="158306" y="200228"/>
                  </a:lnTo>
                  <a:lnTo>
                    <a:pt x="158306" y="198831"/>
                  </a:lnTo>
                  <a:lnTo>
                    <a:pt x="158306" y="199530"/>
                  </a:lnTo>
                  <a:lnTo>
                    <a:pt x="158306" y="198831"/>
                  </a:lnTo>
                  <a:lnTo>
                    <a:pt x="158357" y="199530"/>
                  </a:lnTo>
                  <a:lnTo>
                    <a:pt x="158357" y="197447"/>
                  </a:lnTo>
                  <a:lnTo>
                    <a:pt x="158357" y="198831"/>
                  </a:lnTo>
                  <a:lnTo>
                    <a:pt x="158357" y="197447"/>
                  </a:lnTo>
                  <a:lnTo>
                    <a:pt x="158357" y="200228"/>
                  </a:lnTo>
                  <a:lnTo>
                    <a:pt x="158408" y="200228"/>
                  </a:lnTo>
                  <a:lnTo>
                    <a:pt x="158408" y="198831"/>
                  </a:lnTo>
                  <a:lnTo>
                    <a:pt x="158408" y="200228"/>
                  </a:lnTo>
                  <a:lnTo>
                    <a:pt x="158509" y="200228"/>
                  </a:lnTo>
                  <a:lnTo>
                    <a:pt x="158509" y="199530"/>
                  </a:lnTo>
                  <a:lnTo>
                    <a:pt x="158509" y="200228"/>
                  </a:lnTo>
                  <a:lnTo>
                    <a:pt x="158509" y="199530"/>
                  </a:lnTo>
                  <a:lnTo>
                    <a:pt x="158509" y="200228"/>
                  </a:lnTo>
                  <a:lnTo>
                    <a:pt x="158509" y="199530"/>
                  </a:lnTo>
                  <a:lnTo>
                    <a:pt x="158509" y="200228"/>
                  </a:lnTo>
                  <a:lnTo>
                    <a:pt x="158509" y="199530"/>
                  </a:lnTo>
                  <a:lnTo>
                    <a:pt x="158509" y="200876"/>
                  </a:lnTo>
                  <a:lnTo>
                    <a:pt x="158560" y="200228"/>
                  </a:lnTo>
                  <a:lnTo>
                    <a:pt x="158560" y="200876"/>
                  </a:lnTo>
                  <a:lnTo>
                    <a:pt x="158560" y="200228"/>
                  </a:lnTo>
                  <a:lnTo>
                    <a:pt x="158560" y="200876"/>
                  </a:lnTo>
                  <a:lnTo>
                    <a:pt x="158560" y="200228"/>
                  </a:lnTo>
                  <a:lnTo>
                    <a:pt x="158611" y="200228"/>
                  </a:lnTo>
                  <a:lnTo>
                    <a:pt x="158611" y="200876"/>
                  </a:lnTo>
                  <a:lnTo>
                    <a:pt x="158611" y="200228"/>
                  </a:lnTo>
                  <a:lnTo>
                    <a:pt x="158611" y="200876"/>
                  </a:lnTo>
                  <a:lnTo>
                    <a:pt x="158611" y="200228"/>
                  </a:lnTo>
                  <a:lnTo>
                    <a:pt x="158712" y="200228"/>
                  </a:lnTo>
                  <a:lnTo>
                    <a:pt x="158712" y="200876"/>
                  </a:lnTo>
                  <a:lnTo>
                    <a:pt x="158712" y="200228"/>
                  </a:lnTo>
                  <a:lnTo>
                    <a:pt x="158712" y="200876"/>
                  </a:lnTo>
                  <a:lnTo>
                    <a:pt x="158712" y="200228"/>
                  </a:lnTo>
                  <a:lnTo>
                    <a:pt x="158750" y="200228"/>
                  </a:lnTo>
                  <a:lnTo>
                    <a:pt x="158750" y="199530"/>
                  </a:lnTo>
                  <a:lnTo>
                    <a:pt x="158750" y="200228"/>
                  </a:lnTo>
                  <a:lnTo>
                    <a:pt x="158750" y="199530"/>
                  </a:lnTo>
                  <a:lnTo>
                    <a:pt x="158801" y="198831"/>
                  </a:lnTo>
                  <a:lnTo>
                    <a:pt x="158801" y="200876"/>
                  </a:lnTo>
                  <a:lnTo>
                    <a:pt x="158801" y="198831"/>
                  </a:lnTo>
                  <a:lnTo>
                    <a:pt x="158852" y="198831"/>
                  </a:lnTo>
                  <a:lnTo>
                    <a:pt x="158852" y="202959"/>
                  </a:lnTo>
                  <a:lnTo>
                    <a:pt x="158852" y="200228"/>
                  </a:lnTo>
                  <a:lnTo>
                    <a:pt x="158852" y="200876"/>
                  </a:lnTo>
                  <a:lnTo>
                    <a:pt x="158954" y="200876"/>
                  </a:lnTo>
                  <a:lnTo>
                    <a:pt x="158954" y="202959"/>
                  </a:lnTo>
                  <a:lnTo>
                    <a:pt x="158954" y="200876"/>
                  </a:lnTo>
                  <a:lnTo>
                    <a:pt x="158954" y="202260"/>
                  </a:lnTo>
                  <a:lnTo>
                    <a:pt x="159005" y="202260"/>
                  </a:lnTo>
                  <a:lnTo>
                    <a:pt x="159005" y="200876"/>
                  </a:lnTo>
                  <a:lnTo>
                    <a:pt x="159005" y="202260"/>
                  </a:lnTo>
                  <a:lnTo>
                    <a:pt x="159055" y="202260"/>
                  </a:lnTo>
                  <a:lnTo>
                    <a:pt x="159055" y="200876"/>
                  </a:lnTo>
                  <a:lnTo>
                    <a:pt x="159055" y="202959"/>
                  </a:lnTo>
                  <a:lnTo>
                    <a:pt x="159055" y="202260"/>
                  </a:lnTo>
                  <a:lnTo>
                    <a:pt x="159055" y="202959"/>
                  </a:lnTo>
                  <a:lnTo>
                    <a:pt x="159055" y="202260"/>
                  </a:lnTo>
                  <a:lnTo>
                    <a:pt x="159055" y="202959"/>
                  </a:lnTo>
                  <a:lnTo>
                    <a:pt x="159055" y="202260"/>
                  </a:lnTo>
                  <a:lnTo>
                    <a:pt x="159157" y="202260"/>
                  </a:lnTo>
                  <a:lnTo>
                    <a:pt x="159157" y="200876"/>
                  </a:lnTo>
                  <a:lnTo>
                    <a:pt x="159157" y="202260"/>
                  </a:lnTo>
                  <a:lnTo>
                    <a:pt x="159157" y="200876"/>
                  </a:lnTo>
                  <a:lnTo>
                    <a:pt x="159157" y="202260"/>
                  </a:lnTo>
                  <a:lnTo>
                    <a:pt x="159157" y="200876"/>
                  </a:lnTo>
                  <a:lnTo>
                    <a:pt x="159208" y="200876"/>
                  </a:lnTo>
                  <a:lnTo>
                    <a:pt x="159208" y="200228"/>
                  </a:lnTo>
                  <a:lnTo>
                    <a:pt x="159259" y="200228"/>
                  </a:lnTo>
                  <a:lnTo>
                    <a:pt x="159259" y="199530"/>
                  </a:lnTo>
                  <a:lnTo>
                    <a:pt x="159259" y="200228"/>
                  </a:lnTo>
                  <a:lnTo>
                    <a:pt x="159259" y="199530"/>
                  </a:lnTo>
                  <a:lnTo>
                    <a:pt x="159259" y="200228"/>
                  </a:lnTo>
                  <a:lnTo>
                    <a:pt x="159259" y="198831"/>
                  </a:lnTo>
                  <a:lnTo>
                    <a:pt x="159259" y="199530"/>
                  </a:lnTo>
                  <a:lnTo>
                    <a:pt x="159297" y="200228"/>
                  </a:lnTo>
                  <a:lnTo>
                    <a:pt x="159297" y="200876"/>
                  </a:lnTo>
                  <a:lnTo>
                    <a:pt x="159297" y="199530"/>
                  </a:lnTo>
                  <a:lnTo>
                    <a:pt x="159297" y="202260"/>
                  </a:lnTo>
                  <a:lnTo>
                    <a:pt x="159398" y="202260"/>
                  </a:lnTo>
                  <a:lnTo>
                    <a:pt x="159398" y="202959"/>
                  </a:lnTo>
                  <a:lnTo>
                    <a:pt x="159398" y="200228"/>
                  </a:lnTo>
                  <a:lnTo>
                    <a:pt x="159398" y="202959"/>
                  </a:lnTo>
                  <a:lnTo>
                    <a:pt x="159449" y="202959"/>
                  </a:lnTo>
                  <a:lnTo>
                    <a:pt x="159449" y="202260"/>
                  </a:lnTo>
                  <a:lnTo>
                    <a:pt x="159449" y="202959"/>
                  </a:lnTo>
                  <a:lnTo>
                    <a:pt x="159500" y="202959"/>
                  </a:lnTo>
                  <a:lnTo>
                    <a:pt x="159500" y="202260"/>
                  </a:lnTo>
                  <a:lnTo>
                    <a:pt x="159500" y="202959"/>
                  </a:lnTo>
                  <a:lnTo>
                    <a:pt x="159601" y="202959"/>
                  </a:lnTo>
                  <a:lnTo>
                    <a:pt x="159601" y="202260"/>
                  </a:lnTo>
                  <a:lnTo>
                    <a:pt x="159601" y="202959"/>
                  </a:lnTo>
                  <a:lnTo>
                    <a:pt x="159601" y="202260"/>
                  </a:lnTo>
                  <a:lnTo>
                    <a:pt x="159601" y="202959"/>
                  </a:lnTo>
                  <a:lnTo>
                    <a:pt x="159601" y="202260"/>
                  </a:lnTo>
                  <a:lnTo>
                    <a:pt x="159652" y="202260"/>
                  </a:lnTo>
                  <a:lnTo>
                    <a:pt x="159652" y="200876"/>
                  </a:lnTo>
                  <a:lnTo>
                    <a:pt x="159652" y="202260"/>
                  </a:lnTo>
                  <a:lnTo>
                    <a:pt x="159652" y="200876"/>
                  </a:lnTo>
                  <a:lnTo>
                    <a:pt x="159703" y="200876"/>
                  </a:lnTo>
                  <a:lnTo>
                    <a:pt x="159703" y="199530"/>
                  </a:lnTo>
                  <a:lnTo>
                    <a:pt x="159703" y="200228"/>
                  </a:lnTo>
                  <a:lnTo>
                    <a:pt x="159703" y="199530"/>
                  </a:lnTo>
                  <a:lnTo>
                    <a:pt x="159703" y="200228"/>
                  </a:lnTo>
                  <a:lnTo>
                    <a:pt x="159703" y="199530"/>
                  </a:lnTo>
                  <a:lnTo>
                    <a:pt x="159754" y="199530"/>
                  </a:lnTo>
                  <a:lnTo>
                    <a:pt x="159754" y="198831"/>
                  </a:lnTo>
                  <a:lnTo>
                    <a:pt x="159754" y="199530"/>
                  </a:lnTo>
                  <a:lnTo>
                    <a:pt x="159843" y="199530"/>
                  </a:lnTo>
                  <a:lnTo>
                    <a:pt x="159843" y="198831"/>
                  </a:lnTo>
                  <a:lnTo>
                    <a:pt x="159843" y="202260"/>
                  </a:lnTo>
                  <a:lnTo>
                    <a:pt x="159843" y="200228"/>
                  </a:lnTo>
                  <a:lnTo>
                    <a:pt x="159893" y="200228"/>
                  </a:lnTo>
                  <a:lnTo>
                    <a:pt x="159893" y="200876"/>
                  </a:lnTo>
                  <a:lnTo>
                    <a:pt x="159944" y="200876"/>
                  </a:lnTo>
                  <a:lnTo>
                    <a:pt x="159944" y="202260"/>
                  </a:lnTo>
                  <a:lnTo>
                    <a:pt x="159995" y="202260"/>
                  </a:lnTo>
                  <a:lnTo>
                    <a:pt x="159995" y="202959"/>
                  </a:lnTo>
                  <a:lnTo>
                    <a:pt x="159995" y="202260"/>
                  </a:lnTo>
                  <a:lnTo>
                    <a:pt x="160097" y="202260"/>
                  </a:lnTo>
                  <a:lnTo>
                    <a:pt x="160097" y="202959"/>
                  </a:lnTo>
                  <a:lnTo>
                    <a:pt x="160097" y="200876"/>
                  </a:lnTo>
                  <a:lnTo>
                    <a:pt x="160148" y="200876"/>
                  </a:lnTo>
                  <a:lnTo>
                    <a:pt x="160148" y="202260"/>
                  </a:lnTo>
                  <a:lnTo>
                    <a:pt x="160148" y="200876"/>
                  </a:lnTo>
                  <a:lnTo>
                    <a:pt x="160148" y="202260"/>
                  </a:lnTo>
                  <a:lnTo>
                    <a:pt x="160148" y="200876"/>
                  </a:lnTo>
                  <a:lnTo>
                    <a:pt x="160198" y="200876"/>
                  </a:lnTo>
                  <a:lnTo>
                    <a:pt x="160198" y="198831"/>
                  </a:lnTo>
                  <a:lnTo>
                    <a:pt x="160300" y="198831"/>
                  </a:lnTo>
                  <a:lnTo>
                    <a:pt x="160300" y="197447"/>
                  </a:lnTo>
                  <a:lnTo>
                    <a:pt x="160300" y="199530"/>
                  </a:lnTo>
                  <a:lnTo>
                    <a:pt x="160300" y="198831"/>
                  </a:lnTo>
                  <a:lnTo>
                    <a:pt x="160300" y="199530"/>
                  </a:lnTo>
                  <a:lnTo>
                    <a:pt x="160300" y="198831"/>
                  </a:lnTo>
                  <a:lnTo>
                    <a:pt x="160338" y="198831"/>
                  </a:lnTo>
                  <a:lnTo>
                    <a:pt x="160338" y="200228"/>
                  </a:lnTo>
                  <a:lnTo>
                    <a:pt x="160338" y="199530"/>
                  </a:lnTo>
                  <a:lnTo>
                    <a:pt x="160338" y="200228"/>
                  </a:lnTo>
                  <a:lnTo>
                    <a:pt x="160338" y="199530"/>
                  </a:lnTo>
                  <a:lnTo>
                    <a:pt x="160389" y="200228"/>
                  </a:lnTo>
                  <a:lnTo>
                    <a:pt x="160389" y="199530"/>
                  </a:lnTo>
                  <a:lnTo>
                    <a:pt x="160389" y="200228"/>
                  </a:lnTo>
                  <a:lnTo>
                    <a:pt x="160440" y="200228"/>
                  </a:lnTo>
                  <a:lnTo>
                    <a:pt x="160440" y="202260"/>
                  </a:lnTo>
                  <a:lnTo>
                    <a:pt x="160440" y="200876"/>
                  </a:lnTo>
                  <a:lnTo>
                    <a:pt x="160541" y="200876"/>
                  </a:lnTo>
                  <a:lnTo>
                    <a:pt x="160541" y="202260"/>
                  </a:lnTo>
                  <a:lnTo>
                    <a:pt x="160541" y="200876"/>
                  </a:lnTo>
                  <a:lnTo>
                    <a:pt x="160541" y="202260"/>
                  </a:lnTo>
                  <a:lnTo>
                    <a:pt x="160541" y="200876"/>
                  </a:lnTo>
                  <a:lnTo>
                    <a:pt x="160541" y="202260"/>
                  </a:lnTo>
                  <a:lnTo>
                    <a:pt x="160592" y="202260"/>
                  </a:lnTo>
                  <a:lnTo>
                    <a:pt x="160592" y="200876"/>
                  </a:lnTo>
                  <a:lnTo>
                    <a:pt x="160592" y="202260"/>
                  </a:lnTo>
                  <a:lnTo>
                    <a:pt x="160592" y="200876"/>
                  </a:lnTo>
                  <a:lnTo>
                    <a:pt x="160643" y="200876"/>
                  </a:lnTo>
                  <a:lnTo>
                    <a:pt x="160643" y="200228"/>
                  </a:lnTo>
                  <a:lnTo>
                    <a:pt x="160643" y="200876"/>
                  </a:lnTo>
                  <a:lnTo>
                    <a:pt x="160643" y="200228"/>
                  </a:lnTo>
                  <a:lnTo>
                    <a:pt x="160744" y="200228"/>
                  </a:lnTo>
                  <a:lnTo>
                    <a:pt x="160744" y="198831"/>
                  </a:lnTo>
                  <a:lnTo>
                    <a:pt x="160744" y="199530"/>
                  </a:lnTo>
                  <a:lnTo>
                    <a:pt x="160744" y="197447"/>
                  </a:lnTo>
                  <a:lnTo>
                    <a:pt x="160795" y="197447"/>
                  </a:lnTo>
                  <a:lnTo>
                    <a:pt x="160795" y="196113"/>
                  </a:lnTo>
                  <a:lnTo>
                    <a:pt x="160795" y="198831"/>
                  </a:lnTo>
                  <a:lnTo>
                    <a:pt x="160795" y="197447"/>
                  </a:lnTo>
                  <a:lnTo>
                    <a:pt x="160795" y="198831"/>
                  </a:lnTo>
                  <a:lnTo>
                    <a:pt x="160795" y="197447"/>
                  </a:lnTo>
                  <a:lnTo>
                    <a:pt x="160846" y="197447"/>
                  </a:lnTo>
                  <a:lnTo>
                    <a:pt x="160846" y="196799"/>
                  </a:lnTo>
                  <a:lnTo>
                    <a:pt x="160846" y="199530"/>
                  </a:lnTo>
                  <a:lnTo>
                    <a:pt x="160846" y="197447"/>
                  </a:lnTo>
                  <a:lnTo>
                    <a:pt x="160884" y="197447"/>
                  </a:lnTo>
                  <a:lnTo>
                    <a:pt x="160884" y="200228"/>
                  </a:lnTo>
                  <a:lnTo>
                    <a:pt x="160884" y="199530"/>
                  </a:lnTo>
                  <a:lnTo>
                    <a:pt x="160884" y="200228"/>
                  </a:lnTo>
                  <a:lnTo>
                    <a:pt x="160884" y="198831"/>
                  </a:lnTo>
                  <a:lnTo>
                    <a:pt x="160986" y="199530"/>
                  </a:lnTo>
                  <a:lnTo>
                    <a:pt x="160986" y="200876"/>
                  </a:lnTo>
                  <a:lnTo>
                    <a:pt x="160986" y="200228"/>
                  </a:lnTo>
                  <a:lnTo>
                    <a:pt x="161036" y="200228"/>
                  </a:lnTo>
                  <a:lnTo>
                    <a:pt x="161036" y="200876"/>
                  </a:lnTo>
                  <a:lnTo>
                    <a:pt x="161036" y="200228"/>
                  </a:lnTo>
                  <a:lnTo>
                    <a:pt x="161036" y="202260"/>
                  </a:lnTo>
                  <a:lnTo>
                    <a:pt x="161087" y="200876"/>
                  </a:lnTo>
                  <a:lnTo>
                    <a:pt x="161087" y="202260"/>
                  </a:lnTo>
                  <a:lnTo>
                    <a:pt x="161087" y="200876"/>
                  </a:lnTo>
                  <a:lnTo>
                    <a:pt x="161189" y="200876"/>
                  </a:lnTo>
                  <a:lnTo>
                    <a:pt x="161189" y="200228"/>
                  </a:lnTo>
                  <a:lnTo>
                    <a:pt x="161189" y="200876"/>
                  </a:lnTo>
                  <a:lnTo>
                    <a:pt x="161189" y="200228"/>
                  </a:lnTo>
                  <a:lnTo>
                    <a:pt x="161189" y="200876"/>
                  </a:lnTo>
                  <a:lnTo>
                    <a:pt x="161189" y="200228"/>
                  </a:lnTo>
                  <a:lnTo>
                    <a:pt x="161240" y="200228"/>
                  </a:lnTo>
                  <a:lnTo>
                    <a:pt x="161240" y="197447"/>
                  </a:lnTo>
                  <a:lnTo>
                    <a:pt x="161291" y="197447"/>
                  </a:lnTo>
                  <a:lnTo>
                    <a:pt x="161291" y="196799"/>
                  </a:lnTo>
                  <a:lnTo>
                    <a:pt x="161291" y="197447"/>
                  </a:lnTo>
                  <a:lnTo>
                    <a:pt x="161291" y="196799"/>
                  </a:lnTo>
                  <a:lnTo>
                    <a:pt x="161341" y="196799"/>
                  </a:lnTo>
                  <a:lnTo>
                    <a:pt x="161341" y="196113"/>
                  </a:lnTo>
                  <a:lnTo>
                    <a:pt x="161341" y="199530"/>
                  </a:lnTo>
                  <a:lnTo>
                    <a:pt x="161341" y="197447"/>
                  </a:lnTo>
                  <a:lnTo>
                    <a:pt x="161430" y="197447"/>
                  </a:lnTo>
                  <a:lnTo>
                    <a:pt x="161430" y="199530"/>
                  </a:lnTo>
                  <a:lnTo>
                    <a:pt x="161430" y="198831"/>
                  </a:lnTo>
                  <a:lnTo>
                    <a:pt x="161481" y="198831"/>
                  </a:lnTo>
                  <a:lnTo>
                    <a:pt x="161481" y="199530"/>
                  </a:lnTo>
                  <a:lnTo>
                    <a:pt x="161481" y="198831"/>
                  </a:lnTo>
                  <a:lnTo>
                    <a:pt x="161532" y="198831"/>
                  </a:lnTo>
                  <a:lnTo>
                    <a:pt x="161532" y="199530"/>
                  </a:lnTo>
                  <a:lnTo>
                    <a:pt x="161532" y="198831"/>
                  </a:lnTo>
                  <a:lnTo>
                    <a:pt x="161532" y="199530"/>
                  </a:lnTo>
                  <a:lnTo>
                    <a:pt x="161583" y="200228"/>
                  </a:lnTo>
                  <a:lnTo>
                    <a:pt x="161583" y="199530"/>
                  </a:lnTo>
                  <a:lnTo>
                    <a:pt x="161583" y="200228"/>
                  </a:lnTo>
                  <a:lnTo>
                    <a:pt x="161583" y="199530"/>
                  </a:lnTo>
                  <a:lnTo>
                    <a:pt x="161583" y="200228"/>
                  </a:lnTo>
                  <a:lnTo>
                    <a:pt x="161583" y="199530"/>
                  </a:lnTo>
                  <a:lnTo>
                    <a:pt x="161583" y="200228"/>
                  </a:lnTo>
                  <a:lnTo>
                    <a:pt x="161583" y="199530"/>
                  </a:lnTo>
                  <a:lnTo>
                    <a:pt x="161583" y="200228"/>
                  </a:lnTo>
                  <a:lnTo>
                    <a:pt x="161583" y="199530"/>
                  </a:lnTo>
                  <a:lnTo>
                    <a:pt x="161684" y="199530"/>
                  </a:lnTo>
                  <a:lnTo>
                    <a:pt x="161684" y="198831"/>
                  </a:lnTo>
                  <a:lnTo>
                    <a:pt x="161684" y="200228"/>
                  </a:lnTo>
                  <a:lnTo>
                    <a:pt x="161684" y="199530"/>
                  </a:lnTo>
                  <a:lnTo>
                    <a:pt x="161735" y="198831"/>
                  </a:lnTo>
                  <a:lnTo>
                    <a:pt x="161735" y="197447"/>
                  </a:lnTo>
                  <a:lnTo>
                    <a:pt x="161786" y="198831"/>
                  </a:lnTo>
                  <a:lnTo>
                    <a:pt x="161786" y="197447"/>
                  </a:lnTo>
                  <a:lnTo>
                    <a:pt x="161786" y="200228"/>
                  </a:lnTo>
                  <a:lnTo>
                    <a:pt x="161887" y="200228"/>
                  </a:lnTo>
                  <a:lnTo>
                    <a:pt x="161887" y="200876"/>
                  </a:lnTo>
                  <a:lnTo>
                    <a:pt x="161887" y="199530"/>
                  </a:lnTo>
                  <a:lnTo>
                    <a:pt x="161887" y="200228"/>
                  </a:lnTo>
                  <a:lnTo>
                    <a:pt x="161925" y="200228"/>
                  </a:lnTo>
                  <a:lnTo>
                    <a:pt x="161925" y="199530"/>
                  </a:lnTo>
                  <a:lnTo>
                    <a:pt x="161925" y="200228"/>
                  </a:lnTo>
                  <a:lnTo>
                    <a:pt x="161976" y="200228"/>
                  </a:lnTo>
                  <a:lnTo>
                    <a:pt x="161976" y="199530"/>
                  </a:lnTo>
                  <a:lnTo>
                    <a:pt x="161976" y="200228"/>
                  </a:lnTo>
                  <a:lnTo>
                    <a:pt x="161976" y="199530"/>
                  </a:lnTo>
                  <a:lnTo>
                    <a:pt x="161976" y="200228"/>
                  </a:lnTo>
                  <a:lnTo>
                    <a:pt x="161976" y="199530"/>
                  </a:lnTo>
                  <a:lnTo>
                    <a:pt x="161976" y="200228"/>
                  </a:lnTo>
                  <a:lnTo>
                    <a:pt x="161976" y="199530"/>
                  </a:lnTo>
                  <a:lnTo>
                    <a:pt x="161976" y="200228"/>
                  </a:lnTo>
                  <a:lnTo>
                    <a:pt x="162027" y="200228"/>
                  </a:lnTo>
                  <a:lnTo>
                    <a:pt x="162027" y="199530"/>
                  </a:lnTo>
                  <a:lnTo>
                    <a:pt x="162027" y="200876"/>
                  </a:lnTo>
                  <a:lnTo>
                    <a:pt x="162129" y="200228"/>
                  </a:lnTo>
                  <a:lnTo>
                    <a:pt x="162129" y="200876"/>
                  </a:lnTo>
                  <a:lnTo>
                    <a:pt x="162129" y="199530"/>
                  </a:lnTo>
                  <a:lnTo>
                    <a:pt x="162129" y="200228"/>
                  </a:lnTo>
                  <a:lnTo>
                    <a:pt x="162180" y="199530"/>
                  </a:lnTo>
                  <a:lnTo>
                    <a:pt x="162180" y="200228"/>
                  </a:lnTo>
                  <a:lnTo>
                    <a:pt x="162180" y="198831"/>
                  </a:lnTo>
                  <a:lnTo>
                    <a:pt x="162180" y="199530"/>
                  </a:lnTo>
                  <a:lnTo>
                    <a:pt x="162180" y="198831"/>
                  </a:lnTo>
                  <a:lnTo>
                    <a:pt x="162230" y="198831"/>
                  </a:lnTo>
                  <a:lnTo>
                    <a:pt x="162230" y="196113"/>
                  </a:lnTo>
                  <a:lnTo>
                    <a:pt x="162332" y="196113"/>
                  </a:lnTo>
                  <a:lnTo>
                    <a:pt x="162332" y="198831"/>
                  </a:lnTo>
                  <a:lnTo>
                    <a:pt x="162332" y="196799"/>
                  </a:lnTo>
                  <a:lnTo>
                    <a:pt x="162332" y="199530"/>
                  </a:lnTo>
                  <a:lnTo>
                    <a:pt x="162383" y="199530"/>
                  </a:lnTo>
                  <a:lnTo>
                    <a:pt x="162383" y="200228"/>
                  </a:lnTo>
                  <a:lnTo>
                    <a:pt x="162383" y="197447"/>
                  </a:lnTo>
                  <a:lnTo>
                    <a:pt x="162383" y="199530"/>
                  </a:lnTo>
                  <a:lnTo>
                    <a:pt x="162434" y="200228"/>
                  </a:lnTo>
                  <a:lnTo>
                    <a:pt x="162434" y="199530"/>
                  </a:lnTo>
                  <a:lnTo>
                    <a:pt x="162434" y="200228"/>
                  </a:lnTo>
                  <a:lnTo>
                    <a:pt x="162472" y="200228"/>
                  </a:lnTo>
                  <a:lnTo>
                    <a:pt x="162472" y="199530"/>
                  </a:lnTo>
                  <a:lnTo>
                    <a:pt x="162472" y="200228"/>
                  </a:lnTo>
                  <a:lnTo>
                    <a:pt x="162472" y="199530"/>
                  </a:lnTo>
                  <a:lnTo>
                    <a:pt x="162472" y="200228"/>
                  </a:lnTo>
                  <a:lnTo>
                    <a:pt x="162472" y="199530"/>
                  </a:lnTo>
                  <a:lnTo>
                    <a:pt x="162472" y="200228"/>
                  </a:lnTo>
                  <a:lnTo>
                    <a:pt x="162573" y="200228"/>
                  </a:lnTo>
                  <a:lnTo>
                    <a:pt x="162573" y="199530"/>
                  </a:lnTo>
                  <a:lnTo>
                    <a:pt x="162573" y="200228"/>
                  </a:lnTo>
                  <a:lnTo>
                    <a:pt x="162624" y="200228"/>
                  </a:lnTo>
                  <a:lnTo>
                    <a:pt x="162624" y="199530"/>
                  </a:lnTo>
                  <a:lnTo>
                    <a:pt x="162624" y="200228"/>
                  </a:lnTo>
                  <a:lnTo>
                    <a:pt x="162624" y="199530"/>
                  </a:lnTo>
                  <a:lnTo>
                    <a:pt x="162624" y="200228"/>
                  </a:lnTo>
                  <a:lnTo>
                    <a:pt x="162624" y="199530"/>
                  </a:lnTo>
                  <a:lnTo>
                    <a:pt x="162675" y="199530"/>
                  </a:lnTo>
                  <a:lnTo>
                    <a:pt x="162675" y="200228"/>
                  </a:lnTo>
                  <a:lnTo>
                    <a:pt x="162675" y="198831"/>
                  </a:lnTo>
                  <a:lnTo>
                    <a:pt x="162776" y="198831"/>
                  </a:lnTo>
                  <a:lnTo>
                    <a:pt x="162776" y="196113"/>
                  </a:lnTo>
                  <a:lnTo>
                    <a:pt x="162776" y="198831"/>
                  </a:lnTo>
                  <a:lnTo>
                    <a:pt x="162827" y="198831"/>
                  </a:lnTo>
                  <a:lnTo>
                    <a:pt x="162827" y="196799"/>
                  </a:lnTo>
                  <a:lnTo>
                    <a:pt x="162827" y="200228"/>
                  </a:lnTo>
                  <a:lnTo>
                    <a:pt x="162827" y="199530"/>
                  </a:lnTo>
                  <a:lnTo>
                    <a:pt x="162878" y="200228"/>
                  </a:lnTo>
                  <a:lnTo>
                    <a:pt x="162878" y="198831"/>
                  </a:lnTo>
                  <a:lnTo>
                    <a:pt x="162878" y="200228"/>
                  </a:lnTo>
                  <a:lnTo>
                    <a:pt x="162929" y="200228"/>
                  </a:lnTo>
                  <a:lnTo>
                    <a:pt x="162929" y="199530"/>
                  </a:lnTo>
                  <a:lnTo>
                    <a:pt x="162929" y="200228"/>
                  </a:lnTo>
                  <a:lnTo>
                    <a:pt x="162929" y="199530"/>
                  </a:lnTo>
                  <a:lnTo>
                    <a:pt x="162929" y="200228"/>
                  </a:lnTo>
                  <a:lnTo>
                    <a:pt x="162929" y="199530"/>
                  </a:lnTo>
                  <a:lnTo>
                    <a:pt x="162929" y="200228"/>
                  </a:lnTo>
                  <a:lnTo>
                    <a:pt x="163018" y="200228"/>
                  </a:lnTo>
                  <a:lnTo>
                    <a:pt x="163018" y="199530"/>
                  </a:lnTo>
                  <a:lnTo>
                    <a:pt x="163018" y="200228"/>
                  </a:lnTo>
                  <a:lnTo>
                    <a:pt x="163018" y="199530"/>
                  </a:lnTo>
                  <a:lnTo>
                    <a:pt x="163018" y="200228"/>
                  </a:lnTo>
                  <a:lnTo>
                    <a:pt x="163068" y="200228"/>
                  </a:lnTo>
                  <a:lnTo>
                    <a:pt x="163068" y="200876"/>
                  </a:lnTo>
                  <a:lnTo>
                    <a:pt x="163068" y="200228"/>
                  </a:lnTo>
                  <a:lnTo>
                    <a:pt x="163068" y="200876"/>
                  </a:lnTo>
                  <a:lnTo>
                    <a:pt x="163119" y="200876"/>
                  </a:lnTo>
                  <a:lnTo>
                    <a:pt x="163119" y="200228"/>
                  </a:lnTo>
                  <a:lnTo>
                    <a:pt x="163119" y="200876"/>
                  </a:lnTo>
                  <a:lnTo>
                    <a:pt x="163119" y="200228"/>
                  </a:lnTo>
                  <a:lnTo>
                    <a:pt x="163119" y="200876"/>
                  </a:lnTo>
                  <a:lnTo>
                    <a:pt x="163119" y="199530"/>
                  </a:lnTo>
                  <a:lnTo>
                    <a:pt x="163170" y="199530"/>
                  </a:lnTo>
                  <a:lnTo>
                    <a:pt x="163170" y="200228"/>
                  </a:lnTo>
                  <a:lnTo>
                    <a:pt x="163170" y="198831"/>
                  </a:lnTo>
                  <a:lnTo>
                    <a:pt x="163170" y="199530"/>
                  </a:lnTo>
                  <a:lnTo>
                    <a:pt x="163272" y="199530"/>
                  </a:lnTo>
                  <a:lnTo>
                    <a:pt x="163272" y="200228"/>
                  </a:lnTo>
                  <a:lnTo>
                    <a:pt x="163272" y="198831"/>
                  </a:lnTo>
                  <a:lnTo>
                    <a:pt x="163272" y="202260"/>
                  </a:lnTo>
                  <a:lnTo>
                    <a:pt x="163323" y="202260"/>
                  </a:lnTo>
                  <a:lnTo>
                    <a:pt x="163323" y="200228"/>
                  </a:lnTo>
                  <a:lnTo>
                    <a:pt x="163323" y="202260"/>
                  </a:lnTo>
                  <a:lnTo>
                    <a:pt x="163373" y="202260"/>
                  </a:lnTo>
                  <a:lnTo>
                    <a:pt x="163373" y="200228"/>
                  </a:lnTo>
                  <a:lnTo>
                    <a:pt x="163373" y="202260"/>
                  </a:lnTo>
                  <a:lnTo>
                    <a:pt x="163475" y="202260"/>
                  </a:lnTo>
                  <a:lnTo>
                    <a:pt x="163475" y="200876"/>
                  </a:lnTo>
                  <a:lnTo>
                    <a:pt x="163475" y="202260"/>
                  </a:lnTo>
                  <a:lnTo>
                    <a:pt x="163475" y="200876"/>
                  </a:lnTo>
                  <a:lnTo>
                    <a:pt x="163475" y="202260"/>
                  </a:lnTo>
                  <a:lnTo>
                    <a:pt x="163475" y="200876"/>
                  </a:lnTo>
                  <a:lnTo>
                    <a:pt x="163475" y="202260"/>
                  </a:lnTo>
                  <a:lnTo>
                    <a:pt x="163475" y="200876"/>
                  </a:lnTo>
                  <a:lnTo>
                    <a:pt x="163513" y="200876"/>
                  </a:lnTo>
                  <a:lnTo>
                    <a:pt x="163513" y="202260"/>
                  </a:lnTo>
                  <a:lnTo>
                    <a:pt x="163513" y="200876"/>
                  </a:lnTo>
                  <a:lnTo>
                    <a:pt x="163564" y="200876"/>
                  </a:lnTo>
                  <a:lnTo>
                    <a:pt x="163564" y="200228"/>
                  </a:lnTo>
                  <a:lnTo>
                    <a:pt x="163615" y="200228"/>
                  </a:lnTo>
                  <a:lnTo>
                    <a:pt x="163615" y="198831"/>
                  </a:lnTo>
                  <a:lnTo>
                    <a:pt x="163716" y="198831"/>
                  </a:lnTo>
                  <a:lnTo>
                    <a:pt x="163716" y="196113"/>
                  </a:lnTo>
                  <a:lnTo>
                    <a:pt x="163716" y="196799"/>
                  </a:lnTo>
                  <a:lnTo>
                    <a:pt x="163767" y="196799"/>
                  </a:lnTo>
                  <a:lnTo>
                    <a:pt x="163767" y="198831"/>
                  </a:lnTo>
                  <a:lnTo>
                    <a:pt x="163767" y="196799"/>
                  </a:lnTo>
                  <a:lnTo>
                    <a:pt x="163767" y="198831"/>
                  </a:lnTo>
                  <a:lnTo>
                    <a:pt x="163818" y="199530"/>
                  </a:lnTo>
                  <a:lnTo>
                    <a:pt x="163818" y="200228"/>
                  </a:lnTo>
                  <a:lnTo>
                    <a:pt x="163919" y="200228"/>
                  </a:lnTo>
                  <a:lnTo>
                    <a:pt x="163919" y="199530"/>
                  </a:lnTo>
                  <a:lnTo>
                    <a:pt x="163919" y="200228"/>
                  </a:lnTo>
                  <a:lnTo>
                    <a:pt x="163970" y="200228"/>
                  </a:lnTo>
                  <a:lnTo>
                    <a:pt x="163970" y="200876"/>
                  </a:lnTo>
                  <a:lnTo>
                    <a:pt x="163970" y="200228"/>
                  </a:lnTo>
                  <a:lnTo>
                    <a:pt x="163970" y="200876"/>
                  </a:lnTo>
                  <a:lnTo>
                    <a:pt x="163970" y="200228"/>
                  </a:lnTo>
                  <a:lnTo>
                    <a:pt x="164021" y="200228"/>
                  </a:lnTo>
                  <a:lnTo>
                    <a:pt x="164021" y="200876"/>
                  </a:lnTo>
                  <a:lnTo>
                    <a:pt x="164059" y="200876"/>
                  </a:lnTo>
                  <a:lnTo>
                    <a:pt x="164059" y="200228"/>
                  </a:lnTo>
                  <a:lnTo>
                    <a:pt x="164161" y="200228"/>
                  </a:lnTo>
                  <a:lnTo>
                    <a:pt x="164161" y="198831"/>
                  </a:lnTo>
                  <a:lnTo>
                    <a:pt x="164211" y="198831"/>
                  </a:lnTo>
                  <a:lnTo>
                    <a:pt x="164211" y="196113"/>
                  </a:lnTo>
                  <a:lnTo>
                    <a:pt x="164211" y="197447"/>
                  </a:lnTo>
                  <a:lnTo>
                    <a:pt x="164262" y="197447"/>
                  </a:lnTo>
                  <a:lnTo>
                    <a:pt x="164262" y="196113"/>
                  </a:lnTo>
                  <a:lnTo>
                    <a:pt x="164262" y="199530"/>
                  </a:lnTo>
                  <a:lnTo>
                    <a:pt x="164364" y="199530"/>
                  </a:lnTo>
                  <a:lnTo>
                    <a:pt x="164364" y="197447"/>
                  </a:lnTo>
                  <a:lnTo>
                    <a:pt x="164364" y="199530"/>
                  </a:lnTo>
                  <a:lnTo>
                    <a:pt x="164364" y="198831"/>
                  </a:lnTo>
                  <a:lnTo>
                    <a:pt x="164415" y="198831"/>
                  </a:lnTo>
                  <a:lnTo>
                    <a:pt x="164415" y="197447"/>
                  </a:lnTo>
                  <a:lnTo>
                    <a:pt x="164415" y="198831"/>
                  </a:lnTo>
                  <a:lnTo>
                    <a:pt x="164415" y="197447"/>
                  </a:lnTo>
                  <a:lnTo>
                    <a:pt x="164415" y="199530"/>
                  </a:lnTo>
                  <a:lnTo>
                    <a:pt x="164466" y="199530"/>
                  </a:lnTo>
                  <a:lnTo>
                    <a:pt x="164466" y="198831"/>
                  </a:lnTo>
                  <a:lnTo>
                    <a:pt x="164466" y="199530"/>
                  </a:lnTo>
                  <a:lnTo>
                    <a:pt x="164516" y="199530"/>
                  </a:lnTo>
                  <a:lnTo>
                    <a:pt x="164516" y="200228"/>
                  </a:lnTo>
                  <a:lnTo>
                    <a:pt x="164516" y="199530"/>
                  </a:lnTo>
                  <a:lnTo>
                    <a:pt x="164516" y="200228"/>
                  </a:lnTo>
                  <a:lnTo>
                    <a:pt x="164605" y="200228"/>
                  </a:lnTo>
                  <a:lnTo>
                    <a:pt x="164605" y="200876"/>
                  </a:lnTo>
                  <a:lnTo>
                    <a:pt x="164605" y="200228"/>
                  </a:lnTo>
                  <a:lnTo>
                    <a:pt x="164656" y="199530"/>
                  </a:lnTo>
                  <a:lnTo>
                    <a:pt x="164656" y="200228"/>
                  </a:lnTo>
                  <a:lnTo>
                    <a:pt x="164656" y="197447"/>
                  </a:lnTo>
                  <a:lnTo>
                    <a:pt x="164707" y="198831"/>
                  </a:lnTo>
                  <a:lnTo>
                    <a:pt x="164707" y="196799"/>
                  </a:lnTo>
                  <a:lnTo>
                    <a:pt x="164707" y="198831"/>
                  </a:lnTo>
                  <a:lnTo>
                    <a:pt x="164707" y="197447"/>
                  </a:lnTo>
                  <a:lnTo>
                    <a:pt x="164758" y="197447"/>
                  </a:lnTo>
                  <a:lnTo>
                    <a:pt x="164758" y="196799"/>
                  </a:lnTo>
                  <a:lnTo>
                    <a:pt x="164758" y="200228"/>
                  </a:lnTo>
                  <a:lnTo>
                    <a:pt x="164758" y="199530"/>
                  </a:lnTo>
                  <a:lnTo>
                    <a:pt x="164859" y="198831"/>
                  </a:lnTo>
                  <a:lnTo>
                    <a:pt x="164859" y="199530"/>
                  </a:lnTo>
                  <a:lnTo>
                    <a:pt x="164859" y="198831"/>
                  </a:lnTo>
                  <a:lnTo>
                    <a:pt x="164859" y="199530"/>
                  </a:lnTo>
                  <a:lnTo>
                    <a:pt x="164910" y="199530"/>
                  </a:lnTo>
                  <a:lnTo>
                    <a:pt x="164910" y="198831"/>
                  </a:lnTo>
                  <a:lnTo>
                    <a:pt x="164910" y="200228"/>
                  </a:lnTo>
                  <a:lnTo>
                    <a:pt x="164910" y="198831"/>
                  </a:lnTo>
                  <a:lnTo>
                    <a:pt x="164910" y="199530"/>
                  </a:lnTo>
                  <a:lnTo>
                    <a:pt x="164961" y="199530"/>
                  </a:lnTo>
                  <a:lnTo>
                    <a:pt x="164961" y="200228"/>
                  </a:lnTo>
                  <a:lnTo>
                    <a:pt x="164961" y="199530"/>
                  </a:lnTo>
                  <a:lnTo>
                    <a:pt x="164961" y="200228"/>
                  </a:lnTo>
                  <a:lnTo>
                    <a:pt x="164961" y="199530"/>
                  </a:lnTo>
                  <a:lnTo>
                    <a:pt x="164961" y="200228"/>
                  </a:lnTo>
                  <a:lnTo>
                    <a:pt x="165062" y="200228"/>
                  </a:lnTo>
                  <a:lnTo>
                    <a:pt x="165062" y="200876"/>
                  </a:lnTo>
                  <a:lnTo>
                    <a:pt x="165062" y="200228"/>
                  </a:lnTo>
                  <a:lnTo>
                    <a:pt x="165062" y="200876"/>
                  </a:lnTo>
                  <a:lnTo>
                    <a:pt x="165062" y="200228"/>
                  </a:lnTo>
                  <a:lnTo>
                    <a:pt x="165100" y="200876"/>
                  </a:lnTo>
                  <a:lnTo>
                    <a:pt x="165100" y="200228"/>
                  </a:lnTo>
                  <a:lnTo>
                    <a:pt x="165100" y="200876"/>
                  </a:lnTo>
                  <a:lnTo>
                    <a:pt x="165100" y="200228"/>
                  </a:lnTo>
                  <a:lnTo>
                    <a:pt x="165151" y="200228"/>
                  </a:lnTo>
                  <a:lnTo>
                    <a:pt x="165151" y="199530"/>
                  </a:lnTo>
                  <a:lnTo>
                    <a:pt x="165151" y="200228"/>
                  </a:lnTo>
                  <a:lnTo>
                    <a:pt x="165151" y="198831"/>
                  </a:lnTo>
                  <a:lnTo>
                    <a:pt x="165202" y="198831"/>
                  </a:lnTo>
                  <a:lnTo>
                    <a:pt x="165202" y="200228"/>
                  </a:lnTo>
                  <a:lnTo>
                    <a:pt x="165202" y="198831"/>
                  </a:lnTo>
                  <a:lnTo>
                    <a:pt x="165202" y="199530"/>
                  </a:lnTo>
                  <a:lnTo>
                    <a:pt x="165202" y="198831"/>
                  </a:lnTo>
                  <a:lnTo>
                    <a:pt x="165304" y="199530"/>
                  </a:lnTo>
                  <a:lnTo>
                    <a:pt x="165304" y="200876"/>
                  </a:lnTo>
                  <a:lnTo>
                    <a:pt x="165304" y="200228"/>
                  </a:lnTo>
                  <a:lnTo>
                    <a:pt x="165355" y="200876"/>
                  </a:lnTo>
                  <a:lnTo>
                    <a:pt x="165355" y="202260"/>
                  </a:lnTo>
                  <a:lnTo>
                    <a:pt x="165355" y="200228"/>
                  </a:lnTo>
                  <a:lnTo>
                    <a:pt x="165355" y="200876"/>
                  </a:lnTo>
                  <a:lnTo>
                    <a:pt x="165405" y="200876"/>
                  </a:lnTo>
                  <a:lnTo>
                    <a:pt x="165405" y="200228"/>
                  </a:lnTo>
                  <a:lnTo>
                    <a:pt x="165405" y="200876"/>
                  </a:lnTo>
                  <a:lnTo>
                    <a:pt x="165405" y="200228"/>
                  </a:lnTo>
                  <a:lnTo>
                    <a:pt x="165405" y="200876"/>
                  </a:lnTo>
                  <a:lnTo>
                    <a:pt x="165507" y="200876"/>
                  </a:lnTo>
                  <a:lnTo>
                    <a:pt x="165507" y="200228"/>
                  </a:lnTo>
                  <a:lnTo>
                    <a:pt x="165507" y="200876"/>
                  </a:lnTo>
                  <a:lnTo>
                    <a:pt x="165507" y="200228"/>
                  </a:lnTo>
                  <a:lnTo>
                    <a:pt x="165558" y="200876"/>
                  </a:lnTo>
                  <a:lnTo>
                    <a:pt x="165558" y="200228"/>
                  </a:lnTo>
                  <a:lnTo>
                    <a:pt x="165558" y="200876"/>
                  </a:lnTo>
                  <a:lnTo>
                    <a:pt x="165558" y="199530"/>
                  </a:lnTo>
                  <a:lnTo>
                    <a:pt x="165558" y="200228"/>
                  </a:lnTo>
                  <a:lnTo>
                    <a:pt x="165609" y="199530"/>
                  </a:lnTo>
                  <a:lnTo>
                    <a:pt x="165609" y="200228"/>
                  </a:lnTo>
                  <a:lnTo>
                    <a:pt x="165609" y="198831"/>
                  </a:lnTo>
                  <a:lnTo>
                    <a:pt x="165609" y="199530"/>
                  </a:lnTo>
                  <a:lnTo>
                    <a:pt x="165609" y="197447"/>
                  </a:lnTo>
                  <a:lnTo>
                    <a:pt x="165609" y="198831"/>
                  </a:lnTo>
                  <a:lnTo>
                    <a:pt x="165609" y="197447"/>
                  </a:lnTo>
                  <a:lnTo>
                    <a:pt x="165647" y="198831"/>
                  </a:lnTo>
                  <a:lnTo>
                    <a:pt x="165647" y="197447"/>
                  </a:lnTo>
                  <a:lnTo>
                    <a:pt x="165647" y="198831"/>
                  </a:lnTo>
                  <a:lnTo>
                    <a:pt x="165647" y="196799"/>
                  </a:lnTo>
                  <a:lnTo>
                    <a:pt x="165748" y="196799"/>
                  </a:lnTo>
                  <a:lnTo>
                    <a:pt x="165748" y="196113"/>
                  </a:lnTo>
                  <a:lnTo>
                    <a:pt x="165748" y="197447"/>
                  </a:lnTo>
                  <a:lnTo>
                    <a:pt x="165748" y="196799"/>
                  </a:lnTo>
                  <a:lnTo>
                    <a:pt x="165748" y="197447"/>
                  </a:lnTo>
                  <a:lnTo>
                    <a:pt x="165748" y="196799"/>
                  </a:lnTo>
                  <a:lnTo>
                    <a:pt x="165748" y="197447"/>
                  </a:lnTo>
                  <a:lnTo>
                    <a:pt x="165748" y="196799"/>
                  </a:lnTo>
                  <a:lnTo>
                    <a:pt x="165799" y="196799"/>
                  </a:lnTo>
                  <a:lnTo>
                    <a:pt x="165799" y="199530"/>
                  </a:lnTo>
                  <a:lnTo>
                    <a:pt x="165799" y="198831"/>
                  </a:lnTo>
                  <a:lnTo>
                    <a:pt x="165850" y="198831"/>
                  </a:lnTo>
                  <a:lnTo>
                    <a:pt x="165850" y="199530"/>
                  </a:lnTo>
                  <a:lnTo>
                    <a:pt x="165850" y="198831"/>
                  </a:lnTo>
                  <a:lnTo>
                    <a:pt x="165951" y="198831"/>
                  </a:lnTo>
                  <a:lnTo>
                    <a:pt x="165951" y="200228"/>
                  </a:lnTo>
                  <a:lnTo>
                    <a:pt x="165951" y="199530"/>
                  </a:lnTo>
                  <a:lnTo>
                    <a:pt x="165951" y="200228"/>
                  </a:lnTo>
                  <a:lnTo>
                    <a:pt x="166053" y="200228"/>
                  </a:lnTo>
                  <a:lnTo>
                    <a:pt x="166053" y="200876"/>
                  </a:lnTo>
                  <a:lnTo>
                    <a:pt x="166053" y="200228"/>
                  </a:lnTo>
                  <a:lnTo>
                    <a:pt x="166053" y="200876"/>
                  </a:lnTo>
                  <a:lnTo>
                    <a:pt x="166053" y="200228"/>
                  </a:lnTo>
                  <a:lnTo>
                    <a:pt x="166053" y="200876"/>
                  </a:lnTo>
                  <a:lnTo>
                    <a:pt x="166053" y="200228"/>
                  </a:lnTo>
                  <a:lnTo>
                    <a:pt x="166053" y="200876"/>
                  </a:lnTo>
                  <a:lnTo>
                    <a:pt x="166053" y="200228"/>
                  </a:lnTo>
                  <a:lnTo>
                    <a:pt x="166104" y="200228"/>
                  </a:lnTo>
                  <a:lnTo>
                    <a:pt x="166104" y="199530"/>
                  </a:lnTo>
                  <a:lnTo>
                    <a:pt x="166104" y="200228"/>
                  </a:lnTo>
                  <a:lnTo>
                    <a:pt x="166104" y="198831"/>
                  </a:lnTo>
                  <a:lnTo>
                    <a:pt x="166104" y="199530"/>
                  </a:lnTo>
                  <a:lnTo>
                    <a:pt x="166104" y="198831"/>
                  </a:lnTo>
                  <a:lnTo>
                    <a:pt x="166193" y="198831"/>
                  </a:lnTo>
                  <a:lnTo>
                    <a:pt x="166193" y="196113"/>
                  </a:lnTo>
                  <a:lnTo>
                    <a:pt x="166243" y="196113"/>
                  </a:lnTo>
                  <a:lnTo>
                    <a:pt x="166243" y="195415"/>
                  </a:lnTo>
                  <a:lnTo>
                    <a:pt x="166243" y="196113"/>
                  </a:lnTo>
                  <a:lnTo>
                    <a:pt x="166294" y="196113"/>
                  </a:lnTo>
                  <a:lnTo>
                    <a:pt x="166294" y="194716"/>
                  </a:lnTo>
                  <a:lnTo>
                    <a:pt x="166294" y="195415"/>
                  </a:lnTo>
                  <a:lnTo>
                    <a:pt x="166294" y="194716"/>
                  </a:lnTo>
                  <a:lnTo>
                    <a:pt x="166294" y="196799"/>
                  </a:lnTo>
                  <a:lnTo>
                    <a:pt x="166345" y="196799"/>
                  </a:lnTo>
                  <a:lnTo>
                    <a:pt x="166345" y="196113"/>
                  </a:lnTo>
                  <a:lnTo>
                    <a:pt x="166345" y="197447"/>
                  </a:lnTo>
                  <a:lnTo>
                    <a:pt x="166447" y="196799"/>
                  </a:lnTo>
                  <a:lnTo>
                    <a:pt x="166447" y="197447"/>
                  </a:lnTo>
                  <a:lnTo>
                    <a:pt x="166447" y="196799"/>
                  </a:lnTo>
                  <a:lnTo>
                    <a:pt x="166447" y="197447"/>
                  </a:lnTo>
                  <a:lnTo>
                    <a:pt x="166447" y="196799"/>
                  </a:lnTo>
                  <a:lnTo>
                    <a:pt x="166447" y="198831"/>
                  </a:lnTo>
                  <a:lnTo>
                    <a:pt x="166447" y="197447"/>
                  </a:lnTo>
                  <a:lnTo>
                    <a:pt x="166447" y="198831"/>
                  </a:lnTo>
                  <a:lnTo>
                    <a:pt x="166447" y="197447"/>
                  </a:lnTo>
                  <a:lnTo>
                    <a:pt x="166498" y="198831"/>
                  </a:lnTo>
                  <a:lnTo>
                    <a:pt x="166498" y="200228"/>
                  </a:lnTo>
                  <a:lnTo>
                    <a:pt x="166498" y="199530"/>
                  </a:lnTo>
                  <a:lnTo>
                    <a:pt x="166548" y="199530"/>
                  </a:lnTo>
                  <a:lnTo>
                    <a:pt x="166548" y="200228"/>
                  </a:lnTo>
                  <a:lnTo>
                    <a:pt x="166548" y="199530"/>
                  </a:lnTo>
                  <a:lnTo>
                    <a:pt x="166548" y="200876"/>
                  </a:lnTo>
                  <a:lnTo>
                    <a:pt x="166548" y="200228"/>
                  </a:lnTo>
                  <a:lnTo>
                    <a:pt x="166650" y="200228"/>
                  </a:lnTo>
                  <a:lnTo>
                    <a:pt x="166650" y="199530"/>
                  </a:lnTo>
                  <a:lnTo>
                    <a:pt x="166688" y="199530"/>
                  </a:lnTo>
                  <a:lnTo>
                    <a:pt x="166688" y="197447"/>
                  </a:lnTo>
                  <a:lnTo>
                    <a:pt x="166688" y="198831"/>
                  </a:lnTo>
                  <a:lnTo>
                    <a:pt x="166688" y="196799"/>
                  </a:lnTo>
                  <a:lnTo>
                    <a:pt x="166739" y="196799"/>
                  </a:lnTo>
                  <a:lnTo>
                    <a:pt x="166739" y="195415"/>
                  </a:lnTo>
                  <a:lnTo>
                    <a:pt x="166739" y="196113"/>
                  </a:lnTo>
                  <a:lnTo>
                    <a:pt x="166739" y="193383"/>
                  </a:lnTo>
                  <a:lnTo>
                    <a:pt x="166790" y="193383"/>
                  </a:lnTo>
                  <a:lnTo>
                    <a:pt x="166790" y="196113"/>
                  </a:lnTo>
                  <a:lnTo>
                    <a:pt x="166790" y="193383"/>
                  </a:lnTo>
                  <a:lnTo>
                    <a:pt x="166790" y="195415"/>
                  </a:lnTo>
                  <a:lnTo>
                    <a:pt x="166891" y="195415"/>
                  </a:lnTo>
                  <a:lnTo>
                    <a:pt x="166891" y="196799"/>
                  </a:lnTo>
                  <a:lnTo>
                    <a:pt x="166891" y="194716"/>
                  </a:lnTo>
                  <a:lnTo>
                    <a:pt x="166891" y="196113"/>
                  </a:lnTo>
                  <a:lnTo>
                    <a:pt x="166942" y="196799"/>
                  </a:lnTo>
                  <a:lnTo>
                    <a:pt x="166942" y="196113"/>
                  </a:lnTo>
                  <a:lnTo>
                    <a:pt x="166942" y="196799"/>
                  </a:lnTo>
                  <a:lnTo>
                    <a:pt x="166942" y="196113"/>
                  </a:lnTo>
                  <a:lnTo>
                    <a:pt x="166942" y="197447"/>
                  </a:lnTo>
                  <a:lnTo>
                    <a:pt x="166993" y="197447"/>
                  </a:lnTo>
                  <a:lnTo>
                    <a:pt x="166993" y="196799"/>
                  </a:lnTo>
                  <a:lnTo>
                    <a:pt x="166993" y="198831"/>
                  </a:lnTo>
                  <a:lnTo>
                    <a:pt x="167094" y="198831"/>
                  </a:lnTo>
                  <a:lnTo>
                    <a:pt x="167094" y="199530"/>
                  </a:lnTo>
                  <a:lnTo>
                    <a:pt x="167145" y="200228"/>
                  </a:lnTo>
                  <a:lnTo>
                    <a:pt x="167145" y="199530"/>
                  </a:lnTo>
                  <a:lnTo>
                    <a:pt x="167145" y="200228"/>
                  </a:lnTo>
                  <a:lnTo>
                    <a:pt x="167145" y="199530"/>
                  </a:lnTo>
                  <a:lnTo>
                    <a:pt x="167145" y="200228"/>
                  </a:lnTo>
                  <a:lnTo>
                    <a:pt x="167196" y="200228"/>
                  </a:lnTo>
                  <a:lnTo>
                    <a:pt x="167196" y="198831"/>
                  </a:lnTo>
                  <a:lnTo>
                    <a:pt x="167234" y="198831"/>
                  </a:lnTo>
                  <a:lnTo>
                    <a:pt x="167234" y="196113"/>
                  </a:lnTo>
                  <a:lnTo>
                    <a:pt x="167234" y="196799"/>
                  </a:lnTo>
                  <a:lnTo>
                    <a:pt x="167336" y="196799"/>
                  </a:lnTo>
                  <a:lnTo>
                    <a:pt x="167336" y="197447"/>
                  </a:lnTo>
                  <a:lnTo>
                    <a:pt x="167336" y="195415"/>
                  </a:lnTo>
                  <a:lnTo>
                    <a:pt x="167336" y="198831"/>
                  </a:lnTo>
                  <a:lnTo>
                    <a:pt x="167386" y="198831"/>
                  </a:lnTo>
                  <a:lnTo>
                    <a:pt x="167386" y="196113"/>
                  </a:lnTo>
                  <a:lnTo>
                    <a:pt x="167386" y="196799"/>
                  </a:lnTo>
                  <a:lnTo>
                    <a:pt x="167437" y="196799"/>
                  </a:lnTo>
                  <a:lnTo>
                    <a:pt x="167437" y="197447"/>
                  </a:lnTo>
                  <a:lnTo>
                    <a:pt x="167437" y="196799"/>
                  </a:lnTo>
                  <a:lnTo>
                    <a:pt x="167437" y="197447"/>
                  </a:lnTo>
                  <a:lnTo>
                    <a:pt x="167437" y="196799"/>
                  </a:lnTo>
                  <a:lnTo>
                    <a:pt x="167437" y="197447"/>
                  </a:lnTo>
                  <a:lnTo>
                    <a:pt x="167437" y="196799"/>
                  </a:lnTo>
                  <a:lnTo>
                    <a:pt x="167437" y="197447"/>
                  </a:lnTo>
                  <a:lnTo>
                    <a:pt x="167539" y="196799"/>
                  </a:lnTo>
                  <a:lnTo>
                    <a:pt x="167539" y="197447"/>
                  </a:lnTo>
                  <a:lnTo>
                    <a:pt x="167539" y="196799"/>
                  </a:lnTo>
                  <a:lnTo>
                    <a:pt x="167539" y="197447"/>
                  </a:lnTo>
                  <a:lnTo>
                    <a:pt x="167539" y="196799"/>
                  </a:lnTo>
                  <a:lnTo>
                    <a:pt x="167539" y="198831"/>
                  </a:lnTo>
                  <a:lnTo>
                    <a:pt x="167539" y="197447"/>
                  </a:lnTo>
                  <a:lnTo>
                    <a:pt x="167539" y="198831"/>
                  </a:lnTo>
                  <a:lnTo>
                    <a:pt x="167590" y="197447"/>
                  </a:lnTo>
                  <a:lnTo>
                    <a:pt x="167590" y="199530"/>
                  </a:lnTo>
                  <a:lnTo>
                    <a:pt x="167590" y="198831"/>
                  </a:lnTo>
                  <a:lnTo>
                    <a:pt x="167590" y="199530"/>
                  </a:lnTo>
                  <a:lnTo>
                    <a:pt x="167641" y="199530"/>
                  </a:lnTo>
                  <a:lnTo>
                    <a:pt x="167641" y="198831"/>
                  </a:lnTo>
                  <a:lnTo>
                    <a:pt x="167641" y="199530"/>
                  </a:lnTo>
                  <a:lnTo>
                    <a:pt x="167691" y="199530"/>
                  </a:lnTo>
                  <a:lnTo>
                    <a:pt x="167691" y="198831"/>
                  </a:lnTo>
                  <a:lnTo>
                    <a:pt x="167780" y="198831"/>
                  </a:lnTo>
                  <a:lnTo>
                    <a:pt x="167780" y="196799"/>
                  </a:lnTo>
                  <a:lnTo>
                    <a:pt x="167780" y="200228"/>
                  </a:lnTo>
                  <a:lnTo>
                    <a:pt x="167780" y="199530"/>
                  </a:lnTo>
                  <a:lnTo>
                    <a:pt x="167831" y="199530"/>
                  </a:lnTo>
                  <a:lnTo>
                    <a:pt x="167831" y="197447"/>
                  </a:lnTo>
                  <a:lnTo>
                    <a:pt x="167831" y="198831"/>
                  </a:lnTo>
                  <a:lnTo>
                    <a:pt x="167831" y="197447"/>
                  </a:lnTo>
                  <a:lnTo>
                    <a:pt x="167831" y="200876"/>
                  </a:lnTo>
                  <a:lnTo>
                    <a:pt x="167831" y="200228"/>
                  </a:lnTo>
                  <a:lnTo>
                    <a:pt x="167831" y="202260"/>
                  </a:lnTo>
                  <a:lnTo>
                    <a:pt x="167831" y="200228"/>
                  </a:lnTo>
                  <a:lnTo>
                    <a:pt x="167882" y="200228"/>
                  </a:lnTo>
                  <a:lnTo>
                    <a:pt x="167882" y="199530"/>
                  </a:lnTo>
                  <a:lnTo>
                    <a:pt x="167882" y="200876"/>
                  </a:lnTo>
                  <a:lnTo>
                    <a:pt x="167882" y="200228"/>
                  </a:lnTo>
                  <a:lnTo>
                    <a:pt x="167933" y="199530"/>
                  </a:lnTo>
                  <a:lnTo>
                    <a:pt x="167933" y="200228"/>
                  </a:lnTo>
                  <a:lnTo>
                    <a:pt x="167933" y="199530"/>
                  </a:lnTo>
                  <a:lnTo>
                    <a:pt x="167933" y="200876"/>
                  </a:lnTo>
                  <a:lnTo>
                    <a:pt x="167933" y="200228"/>
                  </a:lnTo>
                  <a:lnTo>
                    <a:pt x="168034" y="200228"/>
                  </a:lnTo>
                  <a:lnTo>
                    <a:pt x="168034" y="199530"/>
                  </a:lnTo>
                  <a:lnTo>
                    <a:pt x="168034" y="200228"/>
                  </a:lnTo>
                  <a:lnTo>
                    <a:pt x="168034" y="199530"/>
                  </a:lnTo>
                  <a:lnTo>
                    <a:pt x="168034" y="200228"/>
                  </a:lnTo>
                  <a:lnTo>
                    <a:pt x="168034" y="199530"/>
                  </a:lnTo>
                  <a:lnTo>
                    <a:pt x="168034" y="200228"/>
                  </a:lnTo>
                  <a:lnTo>
                    <a:pt x="168085" y="200228"/>
                  </a:lnTo>
                  <a:lnTo>
                    <a:pt x="168085" y="199530"/>
                  </a:lnTo>
                  <a:lnTo>
                    <a:pt x="168085" y="200228"/>
                  </a:lnTo>
                  <a:lnTo>
                    <a:pt x="168136" y="200228"/>
                  </a:lnTo>
                  <a:lnTo>
                    <a:pt x="168136" y="199530"/>
                  </a:lnTo>
                  <a:lnTo>
                    <a:pt x="168136" y="200228"/>
                  </a:lnTo>
                  <a:lnTo>
                    <a:pt x="168136" y="199530"/>
                  </a:lnTo>
                  <a:lnTo>
                    <a:pt x="168136" y="200228"/>
                  </a:lnTo>
                  <a:lnTo>
                    <a:pt x="168136" y="199530"/>
                  </a:lnTo>
                  <a:lnTo>
                    <a:pt x="168237" y="199530"/>
                  </a:lnTo>
                  <a:lnTo>
                    <a:pt x="168237" y="198831"/>
                  </a:lnTo>
                  <a:lnTo>
                    <a:pt x="168237" y="199530"/>
                  </a:lnTo>
                  <a:lnTo>
                    <a:pt x="168237" y="197447"/>
                  </a:lnTo>
                  <a:lnTo>
                    <a:pt x="168275" y="197447"/>
                  </a:lnTo>
                  <a:lnTo>
                    <a:pt x="168275" y="196799"/>
                  </a:lnTo>
                  <a:lnTo>
                    <a:pt x="168275" y="199530"/>
                  </a:lnTo>
                  <a:lnTo>
                    <a:pt x="168275" y="197447"/>
                  </a:lnTo>
                  <a:lnTo>
                    <a:pt x="168326" y="197447"/>
                  </a:lnTo>
                  <a:lnTo>
                    <a:pt x="168326" y="202260"/>
                  </a:lnTo>
                  <a:lnTo>
                    <a:pt x="168326" y="200876"/>
                  </a:lnTo>
                  <a:lnTo>
                    <a:pt x="168326" y="202260"/>
                  </a:lnTo>
                  <a:lnTo>
                    <a:pt x="168326" y="199530"/>
                  </a:lnTo>
                  <a:lnTo>
                    <a:pt x="168326" y="200228"/>
                  </a:lnTo>
                  <a:lnTo>
                    <a:pt x="168377" y="200228"/>
                  </a:lnTo>
                  <a:lnTo>
                    <a:pt x="168377" y="202260"/>
                  </a:lnTo>
                  <a:lnTo>
                    <a:pt x="168377" y="200228"/>
                  </a:lnTo>
                  <a:lnTo>
                    <a:pt x="168479" y="200876"/>
                  </a:lnTo>
                  <a:lnTo>
                    <a:pt x="168479" y="202260"/>
                  </a:lnTo>
                  <a:lnTo>
                    <a:pt x="168479" y="200228"/>
                  </a:lnTo>
                  <a:lnTo>
                    <a:pt x="168530" y="200876"/>
                  </a:lnTo>
                  <a:lnTo>
                    <a:pt x="168530" y="200228"/>
                  </a:lnTo>
                  <a:lnTo>
                    <a:pt x="168530" y="200876"/>
                  </a:lnTo>
                  <a:lnTo>
                    <a:pt x="168530" y="200228"/>
                  </a:lnTo>
                  <a:lnTo>
                    <a:pt x="168530" y="200876"/>
                  </a:lnTo>
                  <a:lnTo>
                    <a:pt x="168530" y="200228"/>
                  </a:lnTo>
                  <a:lnTo>
                    <a:pt x="168580" y="200876"/>
                  </a:lnTo>
                  <a:lnTo>
                    <a:pt x="168580" y="200228"/>
                  </a:lnTo>
                  <a:lnTo>
                    <a:pt x="168580" y="200876"/>
                  </a:lnTo>
                  <a:lnTo>
                    <a:pt x="168580" y="200228"/>
                  </a:lnTo>
                  <a:lnTo>
                    <a:pt x="168682" y="200228"/>
                  </a:lnTo>
                  <a:lnTo>
                    <a:pt x="168682" y="198831"/>
                  </a:lnTo>
                  <a:lnTo>
                    <a:pt x="168682" y="199530"/>
                  </a:lnTo>
                  <a:lnTo>
                    <a:pt x="168682" y="198831"/>
                  </a:lnTo>
                  <a:lnTo>
                    <a:pt x="168682" y="199530"/>
                  </a:lnTo>
                  <a:lnTo>
                    <a:pt x="168682" y="198831"/>
                  </a:lnTo>
                  <a:lnTo>
                    <a:pt x="168733" y="198831"/>
                  </a:lnTo>
                  <a:lnTo>
                    <a:pt x="168733" y="197447"/>
                  </a:lnTo>
                  <a:lnTo>
                    <a:pt x="168733" y="198831"/>
                  </a:lnTo>
                  <a:lnTo>
                    <a:pt x="168784" y="198831"/>
                  </a:lnTo>
                  <a:lnTo>
                    <a:pt x="168784" y="199530"/>
                  </a:lnTo>
                  <a:lnTo>
                    <a:pt x="168784" y="198831"/>
                  </a:lnTo>
                  <a:lnTo>
                    <a:pt x="168784" y="200876"/>
                  </a:lnTo>
                  <a:lnTo>
                    <a:pt x="168822" y="200876"/>
                  </a:lnTo>
                  <a:lnTo>
                    <a:pt x="168822" y="200228"/>
                  </a:lnTo>
                  <a:lnTo>
                    <a:pt x="168822" y="202260"/>
                  </a:lnTo>
                  <a:lnTo>
                    <a:pt x="168923" y="202260"/>
                  </a:lnTo>
                  <a:lnTo>
                    <a:pt x="168923" y="200228"/>
                  </a:lnTo>
                  <a:lnTo>
                    <a:pt x="168923" y="202260"/>
                  </a:lnTo>
                  <a:lnTo>
                    <a:pt x="168923" y="200876"/>
                  </a:lnTo>
                  <a:lnTo>
                    <a:pt x="168923" y="202260"/>
                  </a:lnTo>
                  <a:lnTo>
                    <a:pt x="168923" y="200876"/>
                  </a:lnTo>
                  <a:lnTo>
                    <a:pt x="168923" y="202260"/>
                  </a:lnTo>
                  <a:lnTo>
                    <a:pt x="168974" y="202260"/>
                  </a:lnTo>
                  <a:lnTo>
                    <a:pt x="168974" y="202959"/>
                  </a:lnTo>
                  <a:lnTo>
                    <a:pt x="168974" y="202260"/>
                  </a:lnTo>
                  <a:lnTo>
                    <a:pt x="169126" y="202260"/>
                  </a:lnTo>
                  <a:lnTo>
                    <a:pt x="169126" y="200876"/>
                  </a:lnTo>
                  <a:lnTo>
                    <a:pt x="169177" y="200876"/>
                  </a:lnTo>
                  <a:lnTo>
                    <a:pt x="169177" y="198831"/>
                  </a:lnTo>
                  <a:lnTo>
                    <a:pt x="169228" y="198831"/>
                  </a:lnTo>
                  <a:lnTo>
                    <a:pt x="169228" y="200228"/>
                  </a:lnTo>
                  <a:lnTo>
                    <a:pt x="169228" y="199530"/>
                  </a:lnTo>
                  <a:lnTo>
                    <a:pt x="169228" y="200228"/>
                  </a:lnTo>
                  <a:lnTo>
                    <a:pt x="169228" y="199530"/>
                  </a:lnTo>
                  <a:lnTo>
                    <a:pt x="169279" y="199530"/>
                  </a:lnTo>
                  <a:lnTo>
                    <a:pt x="169279" y="198831"/>
                  </a:lnTo>
                  <a:lnTo>
                    <a:pt x="169279" y="200876"/>
                  </a:lnTo>
                  <a:lnTo>
                    <a:pt x="169279" y="200228"/>
                  </a:lnTo>
                  <a:lnTo>
                    <a:pt x="169279" y="200876"/>
                  </a:lnTo>
                  <a:lnTo>
                    <a:pt x="169279" y="200228"/>
                  </a:lnTo>
                  <a:lnTo>
                    <a:pt x="169368" y="200228"/>
                  </a:lnTo>
                  <a:lnTo>
                    <a:pt x="169368" y="202260"/>
                  </a:lnTo>
                  <a:lnTo>
                    <a:pt x="169368" y="200876"/>
                  </a:lnTo>
                  <a:lnTo>
                    <a:pt x="169368" y="202260"/>
                  </a:lnTo>
                  <a:lnTo>
                    <a:pt x="169368" y="200876"/>
                  </a:lnTo>
                  <a:lnTo>
                    <a:pt x="169418" y="200876"/>
                  </a:lnTo>
                  <a:lnTo>
                    <a:pt x="169418" y="202260"/>
                  </a:lnTo>
                  <a:lnTo>
                    <a:pt x="169418" y="200876"/>
                  </a:lnTo>
                  <a:lnTo>
                    <a:pt x="169418" y="202260"/>
                  </a:lnTo>
                  <a:lnTo>
                    <a:pt x="169418" y="200876"/>
                  </a:lnTo>
                  <a:lnTo>
                    <a:pt x="169418" y="202260"/>
                  </a:lnTo>
                  <a:lnTo>
                    <a:pt x="169418" y="200876"/>
                  </a:lnTo>
                  <a:lnTo>
                    <a:pt x="169469" y="200876"/>
                  </a:lnTo>
                  <a:lnTo>
                    <a:pt x="169469" y="202260"/>
                  </a:lnTo>
                  <a:lnTo>
                    <a:pt x="169469" y="200876"/>
                  </a:lnTo>
                  <a:lnTo>
                    <a:pt x="169469" y="202260"/>
                  </a:lnTo>
                  <a:lnTo>
                    <a:pt x="169520" y="202260"/>
                  </a:lnTo>
                  <a:lnTo>
                    <a:pt x="169520" y="202959"/>
                  </a:lnTo>
                  <a:lnTo>
                    <a:pt x="169520" y="202260"/>
                  </a:lnTo>
                  <a:lnTo>
                    <a:pt x="169520" y="202959"/>
                  </a:lnTo>
                  <a:lnTo>
                    <a:pt x="169520" y="202260"/>
                  </a:lnTo>
                  <a:lnTo>
                    <a:pt x="169520" y="202959"/>
                  </a:lnTo>
                  <a:lnTo>
                    <a:pt x="169520" y="202260"/>
                  </a:lnTo>
                  <a:lnTo>
                    <a:pt x="169622" y="202260"/>
                  </a:lnTo>
                  <a:lnTo>
                    <a:pt x="169622" y="200228"/>
                  </a:lnTo>
                  <a:lnTo>
                    <a:pt x="169673" y="200228"/>
                  </a:lnTo>
                  <a:lnTo>
                    <a:pt x="169673" y="199530"/>
                  </a:lnTo>
                  <a:lnTo>
                    <a:pt x="169673" y="200228"/>
                  </a:lnTo>
                  <a:lnTo>
                    <a:pt x="169673" y="197447"/>
                  </a:lnTo>
                  <a:lnTo>
                    <a:pt x="169723" y="198831"/>
                  </a:lnTo>
                  <a:lnTo>
                    <a:pt x="169723" y="199530"/>
                  </a:lnTo>
                  <a:lnTo>
                    <a:pt x="169723" y="197447"/>
                  </a:lnTo>
                  <a:lnTo>
                    <a:pt x="169723" y="198831"/>
                  </a:lnTo>
                  <a:lnTo>
                    <a:pt x="169723" y="197447"/>
                  </a:lnTo>
                  <a:lnTo>
                    <a:pt x="169723" y="198831"/>
                  </a:lnTo>
                  <a:lnTo>
                    <a:pt x="169825" y="198831"/>
                  </a:lnTo>
                  <a:lnTo>
                    <a:pt x="169825" y="200228"/>
                  </a:lnTo>
                  <a:lnTo>
                    <a:pt x="169825" y="199530"/>
                  </a:lnTo>
                  <a:lnTo>
                    <a:pt x="169825" y="200228"/>
                  </a:lnTo>
                  <a:lnTo>
                    <a:pt x="169863" y="200228"/>
                  </a:lnTo>
                  <a:lnTo>
                    <a:pt x="169863" y="200876"/>
                  </a:lnTo>
                  <a:lnTo>
                    <a:pt x="169863" y="200228"/>
                  </a:lnTo>
                  <a:lnTo>
                    <a:pt x="169863" y="200876"/>
                  </a:lnTo>
                  <a:lnTo>
                    <a:pt x="169863" y="200228"/>
                  </a:lnTo>
                  <a:lnTo>
                    <a:pt x="169863" y="200876"/>
                  </a:lnTo>
                  <a:lnTo>
                    <a:pt x="169863" y="200228"/>
                  </a:lnTo>
                  <a:lnTo>
                    <a:pt x="169914" y="200228"/>
                  </a:lnTo>
                  <a:lnTo>
                    <a:pt x="169914" y="200876"/>
                  </a:lnTo>
                  <a:lnTo>
                    <a:pt x="169914" y="200228"/>
                  </a:lnTo>
                  <a:lnTo>
                    <a:pt x="169914" y="202260"/>
                  </a:lnTo>
                  <a:lnTo>
                    <a:pt x="169914" y="200876"/>
                  </a:lnTo>
                  <a:lnTo>
                    <a:pt x="169914" y="202260"/>
                  </a:lnTo>
                  <a:lnTo>
                    <a:pt x="169965" y="202260"/>
                  </a:lnTo>
                  <a:lnTo>
                    <a:pt x="169965" y="200876"/>
                  </a:lnTo>
                  <a:lnTo>
                    <a:pt x="169965" y="202260"/>
                  </a:lnTo>
                  <a:lnTo>
                    <a:pt x="169965" y="200876"/>
                  </a:lnTo>
                  <a:lnTo>
                    <a:pt x="169965" y="202959"/>
                  </a:lnTo>
                  <a:lnTo>
                    <a:pt x="169965" y="202260"/>
                  </a:lnTo>
                  <a:lnTo>
                    <a:pt x="170066" y="202260"/>
                  </a:lnTo>
                  <a:lnTo>
                    <a:pt x="170066" y="200876"/>
                  </a:lnTo>
                  <a:lnTo>
                    <a:pt x="170066" y="202260"/>
                  </a:lnTo>
                  <a:lnTo>
                    <a:pt x="170066" y="200876"/>
                  </a:lnTo>
                  <a:lnTo>
                    <a:pt x="170117" y="200876"/>
                  </a:lnTo>
                  <a:lnTo>
                    <a:pt x="170117" y="200228"/>
                  </a:lnTo>
                  <a:lnTo>
                    <a:pt x="170168" y="200228"/>
                  </a:lnTo>
                  <a:lnTo>
                    <a:pt x="170168" y="198831"/>
                  </a:lnTo>
                  <a:lnTo>
                    <a:pt x="170168" y="199530"/>
                  </a:lnTo>
                  <a:lnTo>
                    <a:pt x="170168" y="198831"/>
                  </a:lnTo>
                  <a:lnTo>
                    <a:pt x="170168" y="200228"/>
                  </a:lnTo>
                  <a:lnTo>
                    <a:pt x="170269" y="200228"/>
                  </a:lnTo>
                  <a:lnTo>
                    <a:pt x="170269" y="198831"/>
                  </a:lnTo>
                  <a:lnTo>
                    <a:pt x="170269" y="199530"/>
                  </a:lnTo>
                  <a:lnTo>
                    <a:pt x="170269" y="198831"/>
                  </a:lnTo>
                  <a:lnTo>
                    <a:pt x="170269" y="200228"/>
                  </a:lnTo>
                  <a:lnTo>
                    <a:pt x="170320" y="200228"/>
                  </a:lnTo>
                  <a:lnTo>
                    <a:pt x="170320" y="199530"/>
                  </a:lnTo>
                  <a:lnTo>
                    <a:pt x="170320" y="200228"/>
                  </a:lnTo>
                  <a:lnTo>
                    <a:pt x="170320" y="199530"/>
                  </a:lnTo>
                  <a:lnTo>
                    <a:pt x="170320" y="200876"/>
                  </a:lnTo>
                  <a:lnTo>
                    <a:pt x="170320" y="200228"/>
                  </a:lnTo>
                  <a:lnTo>
                    <a:pt x="170320" y="200876"/>
                  </a:lnTo>
                  <a:lnTo>
                    <a:pt x="170320" y="200228"/>
                  </a:lnTo>
                  <a:lnTo>
                    <a:pt x="170409" y="200228"/>
                  </a:lnTo>
                  <a:lnTo>
                    <a:pt x="170409" y="199530"/>
                  </a:lnTo>
                  <a:lnTo>
                    <a:pt x="170409" y="200228"/>
                  </a:lnTo>
                  <a:lnTo>
                    <a:pt x="170409" y="199530"/>
                  </a:lnTo>
                  <a:lnTo>
                    <a:pt x="170409" y="200876"/>
                  </a:lnTo>
                  <a:lnTo>
                    <a:pt x="170409" y="200228"/>
                  </a:lnTo>
                  <a:lnTo>
                    <a:pt x="170409" y="200876"/>
                  </a:lnTo>
                  <a:lnTo>
                    <a:pt x="170409" y="200228"/>
                  </a:lnTo>
                  <a:lnTo>
                    <a:pt x="170409" y="200876"/>
                  </a:lnTo>
                  <a:lnTo>
                    <a:pt x="170409" y="200228"/>
                  </a:lnTo>
                  <a:lnTo>
                    <a:pt x="170409" y="200876"/>
                  </a:lnTo>
                  <a:lnTo>
                    <a:pt x="170511" y="200876"/>
                  </a:lnTo>
                  <a:lnTo>
                    <a:pt x="170511" y="200228"/>
                  </a:lnTo>
                  <a:lnTo>
                    <a:pt x="170511" y="200876"/>
                  </a:lnTo>
                  <a:lnTo>
                    <a:pt x="170511" y="200228"/>
                  </a:lnTo>
                  <a:lnTo>
                    <a:pt x="170511" y="200876"/>
                  </a:lnTo>
                  <a:lnTo>
                    <a:pt x="170511" y="200228"/>
                  </a:lnTo>
                  <a:lnTo>
                    <a:pt x="170511" y="200876"/>
                  </a:lnTo>
                  <a:lnTo>
                    <a:pt x="170511" y="200228"/>
                  </a:lnTo>
                  <a:lnTo>
                    <a:pt x="170511" y="200876"/>
                  </a:lnTo>
                  <a:lnTo>
                    <a:pt x="170561" y="200876"/>
                  </a:lnTo>
                  <a:lnTo>
                    <a:pt x="170561" y="200228"/>
                  </a:lnTo>
                  <a:lnTo>
                    <a:pt x="170561" y="200876"/>
                  </a:lnTo>
                  <a:lnTo>
                    <a:pt x="170612" y="200876"/>
                  </a:lnTo>
                  <a:lnTo>
                    <a:pt x="170612" y="200228"/>
                  </a:lnTo>
                  <a:lnTo>
                    <a:pt x="170612" y="200876"/>
                  </a:lnTo>
                  <a:lnTo>
                    <a:pt x="170612" y="198831"/>
                  </a:lnTo>
                  <a:lnTo>
                    <a:pt x="170612" y="199530"/>
                  </a:lnTo>
                  <a:lnTo>
                    <a:pt x="170612" y="198831"/>
                  </a:lnTo>
                  <a:lnTo>
                    <a:pt x="170714" y="198831"/>
                  </a:lnTo>
                  <a:lnTo>
                    <a:pt x="170714" y="197447"/>
                  </a:lnTo>
                  <a:lnTo>
                    <a:pt x="170714" y="199530"/>
                  </a:lnTo>
                  <a:lnTo>
                    <a:pt x="170714" y="198831"/>
                  </a:lnTo>
                  <a:lnTo>
                    <a:pt x="170765" y="198831"/>
                  </a:lnTo>
                  <a:lnTo>
                    <a:pt x="170765" y="202260"/>
                  </a:lnTo>
                  <a:lnTo>
                    <a:pt x="170765" y="200228"/>
                  </a:lnTo>
                  <a:lnTo>
                    <a:pt x="170765" y="200876"/>
                  </a:lnTo>
                  <a:lnTo>
                    <a:pt x="170765" y="200228"/>
                  </a:lnTo>
                  <a:lnTo>
                    <a:pt x="170816" y="200228"/>
                  </a:lnTo>
                  <a:lnTo>
                    <a:pt x="170816" y="200876"/>
                  </a:lnTo>
                  <a:lnTo>
                    <a:pt x="170816" y="200228"/>
                  </a:lnTo>
                  <a:lnTo>
                    <a:pt x="170816" y="200876"/>
                  </a:lnTo>
                  <a:lnTo>
                    <a:pt x="170866" y="200228"/>
                  </a:lnTo>
                  <a:lnTo>
                    <a:pt x="170866" y="202260"/>
                  </a:lnTo>
                  <a:lnTo>
                    <a:pt x="170866" y="200876"/>
                  </a:lnTo>
                  <a:lnTo>
                    <a:pt x="170955" y="200876"/>
                  </a:lnTo>
                  <a:lnTo>
                    <a:pt x="170955" y="202260"/>
                  </a:lnTo>
                  <a:lnTo>
                    <a:pt x="170955" y="200876"/>
                  </a:lnTo>
                  <a:lnTo>
                    <a:pt x="170955" y="202260"/>
                  </a:lnTo>
                  <a:lnTo>
                    <a:pt x="171006" y="202260"/>
                  </a:lnTo>
                  <a:lnTo>
                    <a:pt x="171006" y="200876"/>
                  </a:lnTo>
                  <a:lnTo>
                    <a:pt x="171006" y="202260"/>
                  </a:lnTo>
                  <a:lnTo>
                    <a:pt x="171006" y="200876"/>
                  </a:lnTo>
                  <a:lnTo>
                    <a:pt x="171006" y="202260"/>
                  </a:lnTo>
                  <a:lnTo>
                    <a:pt x="171057" y="202260"/>
                  </a:lnTo>
                  <a:lnTo>
                    <a:pt x="171057" y="200876"/>
                  </a:lnTo>
                  <a:lnTo>
                    <a:pt x="171057" y="202260"/>
                  </a:lnTo>
                  <a:lnTo>
                    <a:pt x="171057" y="200876"/>
                  </a:lnTo>
                  <a:lnTo>
                    <a:pt x="171057" y="202260"/>
                  </a:lnTo>
                  <a:lnTo>
                    <a:pt x="171057" y="200876"/>
                  </a:lnTo>
                  <a:lnTo>
                    <a:pt x="171057" y="202260"/>
                  </a:lnTo>
                  <a:lnTo>
                    <a:pt x="171057" y="200876"/>
                  </a:lnTo>
                  <a:lnTo>
                    <a:pt x="171108" y="200876"/>
                  </a:lnTo>
                  <a:lnTo>
                    <a:pt x="171108" y="200228"/>
                  </a:lnTo>
                  <a:lnTo>
                    <a:pt x="171108" y="200876"/>
                  </a:lnTo>
                  <a:lnTo>
                    <a:pt x="171108" y="200228"/>
                  </a:lnTo>
                  <a:lnTo>
                    <a:pt x="171108" y="200876"/>
                  </a:lnTo>
                  <a:lnTo>
                    <a:pt x="171108" y="198831"/>
                  </a:lnTo>
                  <a:lnTo>
                    <a:pt x="171209" y="199530"/>
                  </a:lnTo>
                  <a:lnTo>
                    <a:pt x="171209" y="198831"/>
                  </a:lnTo>
                  <a:lnTo>
                    <a:pt x="171209" y="200228"/>
                  </a:lnTo>
                  <a:lnTo>
                    <a:pt x="171209" y="199530"/>
                  </a:lnTo>
                  <a:lnTo>
                    <a:pt x="171260" y="199530"/>
                  </a:lnTo>
                  <a:lnTo>
                    <a:pt x="171260" y="202260"/>
                  </a:lnTo>
                  <a:lnTo>
                    <a:pt x="171260" y="200228"/>
                  </a:lnTo>
                  <a:lnTo>
                    <a:pt x="171311" y="200228"/>
                  </a:lnTo>
                  <a:lnTo>
                    <a:pt x="171311" y="200876"/>
                  </a:lnTo>
                  <a:lnTo>
                    <a:pt x="171311" y="200228"/>
                  </a:lnTo>
                  <a:lnTo>
                    <a:pt x="171412" y="200228"/>
                  </a:lnTo>
                  <a:lnTo>
                    <a:pt x="171412" y="202260"/>
                  </a:lnTo>
                  <a:lnTo>
                    <a:pt x="171412" y="200876"/>
                  </a:lnTo>
                  <a:lnTo>
                    <a:pt x="171412" y="202260"/>
                  </a:lnTo>
                  <a:lnTo>
                    <a:pt x="171412" y="200228"/>
                  </a:lnTo>
                  <a:lnTo>
                    <a:pt x="171450" y="200228"/>
                  </a:lnTo>
                  <a:lnTo>
                    <a:pt x="171450" y="202260"/>
                  </a:lnTo>
                  <a:lnTo>
                    <a:pt x="171501" y="202260"/>
                  </a:lnTo>
                  <a:lnTo>
                    <a:pt x="171501" y="200876"/>
                  </a:lnTo>
                  <a:lnTo>
                    <a:pt x="171552" y="200876"/>
                  </a:lnTo>
                  <a:lnTo>
                    <a:pt x="171552" y="200228"/>
                  </a:lnTo>
                  <a:lnTo>
                    <a:pt x="171654" y="200228"/>
                  </a:lnTo>
                  <a:lnTo>
                    <a:pt x="171654" y="197447"/>
                  </a:lnTo>
                  <a:lnTo>
                    <a:pt x="171705" y="197447"/>
                  </a:lnTo>
                  <a:lnTo>
                    <a:pt x="171705" y="199530"/>
                  </a:lnTo>
                  <a:lnTo>
                    <a:pt x="171705" y="198831"/>
                  </a:lnTo>
                  <a:lnTo>
                    <a:pt x="171705" y="199530"/>
                  </a:lnTo>
                  <a:lnTo>
                    <a:pt x="171705" y="198831"/>
                  </a:lnTo>
                  <a:lnTo>
                    <a:pt x="171705" y="199530"/>
                  </a:lnTo>
                  <a:lnTo>
                    <a:pt x="171755" y="200228"/>
                  </a:lnTo>
                  <a:lnTo>
                    <a:pt x="171755" y="200876"/>
                  </a:lnTo>
                  <a:lnTo>
                    <a:pt x="171755" y="200228"/>
                  </a:lnTo>
                  <a:lnTo>
                    <a:pt x="171755" y="200876"/>
                  </a:lnTo>
                  <a:lnTo>
                    <a:pt x="171857" y="200876"/>
                  </a:lnTo>
                  <a:lnTo>
                    <a:pt x="171857" y="200228"/>
                  </a:lnTo>
                  <a:lnTo>
                    <a:pt x="171857" y="200876"/>
                  </a:lnTo>
                  <a:lnTo>
                    <a:pt x="171908" y="200876"/>
                  </a:lnTo>
                  <a:lnTo>
                    <a:pt x="171908" y="202260"/>
                  </a:lnTo>
                  <a:lnTo>
                    <a:pt x="171908" y="200876"/>
                  </a:lnTo>
                  <a:lnTo>
                    <a:pt x="171908" y="202260"/>
                  </a:lnTo>
                  <a:lnTo>
                    <a:pt x="171959" y="202260"/>
                  </a:lnTo>
                  <a:lnTo>
                    <a:pt x="171959" y="200876"/>
                  </a:lnTo>
                  <a:lnTo>
                    <a:pt x="171959" y="202260"/>
                  </a:lnTo>
                  <a:lnTo>
                    <a:pt x="171959" y="200876"/>
                  </a:lnTo>
                  <a:lnTo>
                    <a:pt x="171959" y="202260"/>
                  </a:lnTo>
                  <a:lnTo>
                    <a:pt x="171997" y="200876"/>
                  </a:lnTo>
                  <a:lnTo>
                    <a:pt x="171997" y="202260"/>
                  </a:lnTo>
                  <a:lnTo>
                    <a:pt x="171997" y="200876"/>
                  </a:lnTo>
                  <a:lnTo>
                    <a:pt x="172098" y="200876"/>
                  </a:lnTo>
                  <a:lnTo>
                    <a:pt x="172098" y="199530"/>
                  </a:lnTo>
                  <a:lnTo>
                    <a:pt x="172149" y="199530"/>
                  </a:lnTo>
                  <a:lnTo>
                    <a:pt x="172149" y="200228"/>
                  </a:lnTo>
                  <a:lnTo>
                    <a:pt x="172149" y="196799"/>
                  </a:lnTo>
                  <a:lnTo>
                    <a:pt x="172149" y="197447"/>
                  </a:lnTo>
                  <a:lnTo>
                    <a:pt x="172200" y="198831"/>
                  </a:lnTo>
                  <a:lnTo>
                    <a:pt x="172200" y="199530"/>
                  </a:lnTo>
                  <a:lnTo>
                    <a:pt x="172200" y="197447"/>
                  </a:lnTo>
                  <a:lnTo>
                    <a:pt x="172200" y="199530"/>
                  </a:lnTo>
                  <a:lnTo>
                    <a:pt x="172301" y="200228"/>
                  </a:lnTo>
                  <a:lnTo>
                    <a:pt x="172301" y="200876"/>
                  </a:lnTo>
                  <a:lnTo>
                    <a:pt x="172301" y="200228"/>
                  </a:lnTo>
                  <a:lnTo>
                    <a:pt x="172301" y="200876"/>
                  </a:lnTo>
                  <a:lnTo>
                    <a:pt x="172301" y="198831"/>
                  </a:lnTo>
                  <a:lnTo>
                    <a:pt x="172301" y="200228"/>
                  </a:lnTo>
                  <a:lnTo>
                    <a:pt x="172352" y="200876"/>
                  </a:lnTo>
                  <a:lnTo>
                    <a:pt x="172352" y="199530"/>
                  </a:lnTo>
                  <a:lnTo>
                    <a:pt x="172352" y="200228"/>
                  </a:lnTo>
                  <a:lnTo>
                    <a:pt x="172403" y="200228"/>
                  </a:lnTo>
                  <a:lnTo>
                    <a:pt x="172403" y="200876"/>
                  </a:lnTo>
                  <a:lnTo>
                    <a:pt x="172403" y="200228"/>
                  </a:lnTo>
                  <a:lnTo>
                    <a:pt x="172403" y="200876"/>
                  </a:lnTo>
                  <a:lnTo>
                    <a:pt x="172454" y="200876"/>
                  </a:lnTo>
                  <a:lnTo>
                    <a:pt x="172454" y="202260"/>
                  </a:lnTo>
                  <a:lnTo>
                    <a:pt x="172454" y="200876"/>
                  </a:lnTo>
                  <a:lnTo>
                    <a:pt x="172454" y="202260"/>
                  </a:lnTo>
                  <a:lnTo>
                    <a:pt x="172454" y="200876"/>
                  </a:lnTo>
                  <a:lnTo>
                    <a:pt x="172454" y="202260"/>
                  </a:lnTo>
                  <a:lnTo>
                    <a:pt x="172454" y="200876"/>
                  </a:lnTo>
                  <a:lnTo>
                    <a:pt x="172454" y="202260"/>
                  </a:lnTo>
                  <a:lnTo>
                    <a:pt x="172454" y="200876"/>
                  </a:lnTo>
                  <a:lnTo>
                    <a:pt x="172543" y="200876"/>
                  </a:lnTo>
                  <a:lnTo>
                    <a:pt x="172543" y="202260"/>
                  </a:lnTo>
                  <a:lnTo>
                    <a:pt x="172543" y="200876"/>
                  </a:lnTo>
                  <a:lnTo>
                    <a:pt x="172593" y="200228"/>
                  </a:lnTo>
                  <a:lnTo>
                    <a:pt x="172593" y="200876"/>
                  </a:lnTo>
                  <a:lnTo>
                    <a:pt x="172593" y="199530"/>
                  </a:lnTo>
                  <a:lnTo>
                    <a:pt x="172593" y="200228"/>
                  </a:lnTo>
                  <a:lnTo>
                    <a:pt x="172593" y="199530"/>
                  </a:lnTo>
                  <a:lnTo>
                    <a:pt x="172644" y="199530"/>
                  </a:lnTo>
                  <a:lnTo>
                    <a:pt x="172644" y="198831"/>
                  </a:lnTo>
                  <a:lnTo>
                    <a:pt x="172644" y="199530"/>
                  </a:lnTo>
                  <a:lnTo>
                    <a:pt x="172644" y="196113"/>
                  </a:lnTo>
                  <a:lnTo>
                    <a:pt x="172644" y="198831"/>
                  </a:lnTo>
                  <a:lnTo>
                    <a:pt x="172695" y="199530"/>
                  </a:lnTo>
                  <a:lnTo>
                    <a:pt x="172695" y="196799"/>
                  </a:lnTo>
                  <a:lnTo>
                    <a:pt x="172695" y="200228"/>
                  </a:lnTo>
                  <a:lnTo>
                    <a:pt x="172797" y="200228"/>
                  </a:lnTo>
                  <a:lnTo>
                    <a:pt x="172797" y="198831"/>
                  </a:lnTo>
                  <a:lnTo>
                    <a:pt x="172797" y="200228"/>
                  </a:lnTo>
                  <a:lnTo>
                    <a:pt x="172898" y="200228"/>
                  </a:lnTo>
                  <a:lnTo>
                    <a:pt x="172898" y="200876"/>
                  </a:lnTo>
                  <a:lnTo>
                    <a:pt x="172898" y="200228"/>
                  </a:lnTo>
                  <a:lnTo>
                    <a:pt x="172898" y="200876"/>
                  </a:lnTo>
                  <a:lnTo>
                    <a:pt x="173000" y="200876"/>
                  </a:lnTo>
                  <a:lnTo>
                    <a:pt x="173000" y="202260"/>
                  </a:lnTo>
                  <a:lnTo>
                    <a:pt x="173000" y="200876"/>
                  </a:lnTo>
                  <a:lnTo>
                    <a:pt x="173000" y="202260"/>
                  </a:lnTo>
                  <a:lnTo>
                    <a:pt x="173000" y="200876"/>
                  </a:lnTo>
                  <a:lnTo>
                    <a:pt x="173000" y="202260"/>
                  </a:lnTo>
                  <a:lnTo>
                    <a:pt x="173000" y="200876"/>
                  </a:lnTo>
                  <a:lnTo>
                    <a:pt x="173000" y="202260"/>
                  </a:lnTo>
                  <a:lnTo>
                    <a:pt x="173000" y="200876"/>
                  </a:lnTo>
                  <a:lnTo>
                    <a:pt x="173038" y="200876"/>
                  </a:lnTo>
                  <a:lnTo>
                    <a:pt x="173038" y="200228"/>
                  </a:lnTo>
                  <a:lnTo>
                    <a:pt x="173089" y="200228"/>
                  </a:lnTo>
                  <a:lnTo>
                    <a:pt x="173089" y="198831"/>
                  </a:lnTo>
                  <a:lnTo>
                    <a:pt x="173140" y="198831"/>
                  </a:lnTo>
                  <a:lnTo>
                    <a:pt x="173140" y="199530"/>
                  </a:lnTo>
                  <a:lnTo>
                    <a:pt x="173140" y="197447"/>
                  </a:lnTo>
                  <a:lnTo>
                    <a:pt x="173140" y="198831"/>
                  </a:lnTo>
                  <a:lnTo>
                    <a:pt x="173241" y="199530"/>
                  </a:lnTo>
                  <a:lnTo>
                    <a:pt x="173241" y="196113"/>
                  </a:lnTo>
                  <a:lnTo>
                    <a:pt x="173241" y="200228"/>
                  </a:lnTo>
                  <a:lnTo>
                    <a:pt x="173292" y="199530"/>
                  </a:lnTo>
                  <a:lnTo>
                    <a:pt x="173292" y="197447"/>
                  </a:lnTo>
                  <a:lnTo>
                    <a:pt x="173292" y="200228"/>
                  </a:lnTo>
                  <a:lnTo>
                    <a:pt x="173343" y="199530"/>
                  </a:lnTo>
                  <a:lnTo>
                    <a:pt x="173343" y="198831"/>
                  </a:lnTo>
                  <a:lnTo>
                    <a:pt x="173343" y="199530"/>
                  </a:lnTo>
                  <a:lnTo>
                    <a:pt x="173343" y="198831"/>
                  </a:lnTo>
                  <a:lnTo>
                    <a:pt x="173444" y="198831"/>
                  </a:lnTo>
                  <a:lnTo>
                    <a:pt x="173444" y="200228"/>
                  </a:lnTo>
                  <a:lnTo>
                    <a:pt x="173495" y="200228"/>
                  </a:lnTo>
                  <a:lnTo>
                    <a:pt x="173495" y="199530"/>
                  </a:lnTo>
                  <a:lnTo>
                    <a:pt x="173495" y="200876"/>
                  </a:lnTo>
                  <a:lnTo>
                    <a:pt x="173495" y="200228"/>
                  </a:lnTo>
                  <a:lnTo>
                    <a:pt x="173546" y="200228"/>
                  </a:lnTo>
                  <a:lnTo>
                    <a:pt x="173546" y="200876"/>
                  </a:lnTo>
                  <a:lnTo>
                    <a:pt x="173546" y="200228"/>
                  </a:lnTo>
                  <a:lnTo>
                    <a:pt x="173546" y="200876"/>
                  </a:lnTo>
                  <a:lnTo>
                    <a:pt x="173546" y="200228"/>
                  </a:lnTo>
                  <a:lnTo>
                    <a:pt x="173584" y="200228"/>
                  </a:lnTo>
                  <a:lnTo>
                    <a:pt x="173584" y="199530"/>
                  </a:lnTo>
                  <a:lnTo>
                    <a:pt x="173686" y="198831"/>
                  </a:lnTo>
                  <a:lnTo>
                    <a:pt x="173686" y="199530"/>
                  </a:lnTo>
                  <a:lnTo>
                    <a:pt x="173686" y="198831"/>
                  </a:lnTo>
                  <a:lnTo>
                    <a:pt x="173686" y="199530"/>
                  </a:lnTo>
                  <a:lnTo>
                    <a:pt x="173686" y="198831"/>
                  </a:lnTo>
                  <a:lnTo>
                    <a:pt x="173686" y="200228"/>
                  </a:lnTo>
                  <a:lnTo>
                    <a:pt x="173686" y="198831"/>
                  </a:lnTo>
                  <a:lnTo>
                    <a:pt x="173736" y="198831"/>
                  </a:lnTo>
                  <a:lnTo>
                    <a:pt x="173736" y="199530"/>
                  </a:lnTo>
                  <a:lnTo>
                    <a:pt x="173736" y="198831"/>
                  </a:lnTo>
                  <a:lnTo>
                    <a:pt x="173736" y="200876"/>
                  </a:lnTo>
                  <a:lnTo>
                    <a:pt x="173736" y="199530"/>
                  </a:lnTo>
                  <a:lnTo>
                    <a:pt x="173787" y="200228"/>
                  </a:lnTo>
                  <a:lnTo>
                    <a:pt x="173787" y="200876"/>
                  </a:lnTo>
                  <a:lnTo>
                    <a:pt x="173787" y="200228"/>
                  </a:lnTo>
                  <a:lnTo>
                    <a:pt x="173787" y="200876"/>
                  </a:lnTo>
                  <a:lnTo>
                    <a:pt x="173889" y="200876"/>
                  </a:lnTo>
                  <a:lnTo>
                    <a:pt x="173889" y="200228"/>
                  </a:lnTo>
                  <a:lnTo>
                    <a:pt x="173889" y="200876"/>
                  </a:lnTo>
                  <a:lnTo>
                    <a:pt x="173940" y="200876"/>
                  </a:lnTo>
                  <a:lnTo>
                    <a:pt x="173940" y="200228"/>
                  </a:lnTo>
                  <a:lnTo>
                    <a:pt x="173940" y="200876"/>
                  </a:lnTo>
                  <a:lnTo>
                    <a:pt x="173940" y="200228"/>
                  </a:lnTo>
                  <a:lnTo>
                    <a:pt x="173940" y="202260"/>
                  </a:lnTo>
                  <a:lnTo>
                    <a:pt x="173940" y="200876"/>
                  </a:lnTo>
                  <a:lnTo>
                    <a:pt x="173991" y="200876"/>
                  </a:lnTo>
                  <a:lnTo>
                    <a:pt x="173991" y="202260"/>
                  </a:lnTo>
                  <a:lnTo>
                    <a:pt x="173991" y="200876"/>
                  </a:lnTo>
                  <a:lnTo>
                    <a:pt x="173991" y="202260"/>
                  </a:lnTo>
                  <a:lnTo>
                    <a:pt x="173991" y="200876"/>
                  </a:lnTo>
                  <a:lnTo>
                    <a:pt x="174041" y="200876"/>
                  </a:lnTo>
                  <a:lnTo>
                    <a:pt x="174041" y="200228"/>
                  </a:lnTo>
                  <a:lnTo>
                    <a:pt x="174041" y="200876"/>
                  </a:lnTo>
                  <a:lnTo>
                    <a:pt x="174041" y="200228"/>
                  </a:lnTo>
                  <a:lnTo>
                    <a:pt x="174041" y="200876"/>
                  </a:lnTo>
                  <a:lnTo>
                    <a:pt x="174041" y="200228"/>
                  </a:lnTo>
                  <a:lnTo>
                    <a:pt x="174130" y="200228"/>
                  </a:lnTo>
                  <a:lnTo>
                    <a:pt x="174130" y="197447"/>
                  </a:lnTo>
                  <a:lnTo>
                    <a:pt x="174130" y="198831"/>
                  </a:lnTo>
                  <a:lnTo>
                    <a:pt x="174181" y="199530"/>
                  </a:lnTo>
                  <a:lnTo>
                    <a:pt x="174181" y="200876"/>
                  </a:lnTo>
                  <a:lnTo>
                    <a:pt x="174181" y="198831"/>
                  </a:lnTo>
                  <a:lnTo>
                    <a:pt x="174181" y="200876"/>
                  </a:lnTo>
                  <a:lnTo>
                    <a:pt x="174232" y="202260"/>
                  </a:lnTo>
                  <a:lnTo>
                    <a:pt x="174232" y="202959"/>
                  </a:lnTo>
                  <a:lnTo>
                    <a:pt x="174232" y="200228"/>
                  </a:lnTo>
                  <a:lnTo>
                    <a:pt x="174232" y="202260"/>
                  </a:lnTo>
                  <a:lnTo>
                    <a:pt x="174283" y="202260"/>
                  </a:lnTo>
                  <a:lnTo>
                    <a:pt x="174283" y="202959"/>
                  </a:lnTo>
                  <a:lnTo>
                    <a:pt x="174283" y="200876"/>
                  </a:lnTo>
                  <a:lnTo>
                    <a:pt x="174283" y="202260"/>
                  </a:lnTo>
                  <a:lnTo>
                    <a:pt x="174384" y="202260"/>
                  </a:lnTo>
                  <a:lnTo>
                    <a:pt x="174384" y="200876"/>
                  </a:lnTo>
                  <a:lnTo>
                    <a:pt x="174384" y="202260"/>
                  </a:lnTo>
                  <a:lnTo>
                    <a:pt x="174435" y="202260"/>
                  </a:lnTo>
                  <a:lnTo>
                    <a:pt x="174435" y="200876"/>
                  </a:lnTo>
                  <a:lnTo>
                    <a:pt x="174435" y="202260"/>
                  </a:lnTo>
                  <a:lnTo>
                    <a:pt x="174435" y="200876"/>
                  </a:lnTo>
                  <a:lnTo>
                    <a:pt x="174435" y="202260"/>
                  </a:lnTo>
                  <a:lnTo>
                    <a:pt x="174435" y="200876"/>
                  </a:lnTo>
                  <a:lnTo>
                    <a:pt x="174435" y="202260"/>
                  </a:lnTo>
                  <a:lnTo>
                    <a:pt x="174435" y="200876"/>
                  </a:lnTo>
                  <a:lnTo>
                    <a:pt x="174486" y="200876"/>
                  </a:lnTo>
                  <a:lnTo>
                    <a:pt x="174486" y="202260"/>
                  </a:lnTo>
                  <a:lnTo>
                    <a:pt x="174486" y="200228"/>
                  </a:lnTo>
                  <a:lnTo>
                    <a:pt x="174587" y="200228"/>
                  </a:lnTo>
                  <a:lnTo>
                    <a:pt x="174587" y="199530"/>
                  </a:lnTo>
                  <a:lnTo>
                    <a:pt x="174625" y="199530"/>
                  </a:lnTo>
                  <a:lnTo>
                    <a:pt x="174625" y="198831"/>
                  </a:lnTo>
                  <a:lnTo>
                    <a:pt x="174625" y="199530"/>
                  </a:lnTo>
                  <a:lnTo>
                    <a:pt x="174625" y="196799"/>
                  </a:lnTo>
                  <a:lnTo>
                    <a:pt x="174625" y="199530"/>
                  </a:lnTo>
                  <a:lnTo>
                    <a:pt x="174676" y="199530"/>
                  </a:lnTo>
                  <a:lnTo>
                    <a:pt x="174676" y="198831"/>
                  </a:lnTo>
                  <a:lnTo>
                    <a:pt x="174676" y="200876"/>
                  </a:lnTo>
                  <a:lnTo>
                    <a:pt x="174727" y="200876"/>
                  </a:lnTo>
                  <a:lnTo>
                    <a:pt x="174727" y="200228"/>
                  </a:lnTo>
                  <a:lnTo>
                    <a:pt x="174727" y="202260"/>
                  </a:lnTo>
                  <a:lnTo>
                    <a:pt x="174727" y="200876"/>
                  </a:lnTo>
                  <a:lnTo>
                    <a:pt x="174829" y="200876"/>
                  </a:lnTo>
                  <a:lnTo>
                    <a:pt x="174829" y="202260"/>
                  </a:lnTo>
                  <a:lnTo>
                    <a:pt x="174880" y="202260"/>
                  </a:lnTo>
                  <a:lnTo>
                    <a:pt x="174880" y="202959"/>
                  </a:lnTo>
                  <a:lnTo>
                    <a:pt x="174880" y="200876"/>
                  </a:lnTo>
                  <a:lnTo>
                    <a:pt x="174880" y="202959"/>
                  </a:lnTo>
                  <a:lnTo>
                    <a:pt x="174930" y="202959"/>
                  </a:lnTo>
                  <a:lnTo>
                    <a:pt x="174930" y="202260"/>
                  </a:lnTo>
                  <a:lnTo>
                    <a:pt x="174930" y="202959"/>
                  </a:lnTo>
                  <a:lnTo>
                    <a:pt x="174930" y="202260"/>
                  </a:lnTo>
                  <a:lnTo>
                    <a:pt x="174930" y="202959"/>
                  </a:lnTo>
                  <a:lnTo>
                    <a:pt x="174930" y="202260"/>
                  </a:lnTo>
                  <a:lnTo>
                    <a:pt x="174930" y="202959"/>
                  </a:lnTo>
                  <a:lnTo>
                    <a:pt x="175032" y="202260"/>
                  </a:lnTo>
                  <a:lnTo>
                    <a:pt x="175032" y="200876"/>
                  </a:lnTo>
                  <a:lnTo>
                    <a:pt x="175083" y="200876"/>
                  </a:lnTo>
                  <a:lnTo>
                    <a:pt x="175083" y="199530"/>
                  </a:lnTo>
                  <a:lnTo>
                    <a:pt x="175134" y="199530"/>
                  </a:lnTo>
                  <a:lnTo>
                    <a:pt x="175134" y="200876"/>
                  </a:lnTo>
                  <a:lnTo>
                    <a:pt x="175134" y="199530"/>
                  </a:lnTo>
                  <a:lnTo>
                    <a:pt x="175134" y="200876"/>
                  </a:lnTo>
                  <a:lnTo>
                    <a:pt x="175172" y="202260"/>
                  </a:lnTo>
                  <a:lnTo>
                    <a:pt x="175172" y="202959"/>
                  </a:lnTo>
                  <a:lnTo>
                    <a:pt x="175172" y="200876"/>
                  </a:lnTo>
                  <a:lnTo>
                    <a:pt x="175172" y="202959"/>
                  </a:lnTo>
                  <a:lnTo>
                    <a:pt x="175273" y="202959"/>
                  </a:lnTo>
                  <a:lnTo>
                    <a:pt x="175273" y="202260"/>
                  </a:lnTo>
                  <a:lnTo>
                    <a:pt x="175273" y="202959"/>
                  </a:lnTo>
                  <a:lnTo>
                    <a:pt x="175324" y="202959"/>
                  </a:lnTo>
                  <a:lnTo>
                    <a:pt x="175324" y="202260"/>
                  </a:lnTo>
                  <a:lnTo>
                    <a:pt x="175324" y="202959"/>
                  </a:lnTo>
                  <a:lnTo>
                    <a:pt x="175324" y="202260"/>
                  </a:lnTo>
                  <a:lnTo>
                    <a:pt x="175324" y="202959"/>
                  </a:lnTo>
                  <a:lnTo>
                    <a:pt x="175375" y="202959"/>
                  </a:lnTo>
                  <a:lnTo>
                    <a:pt x="175375" y="202260"/>
                  </a:lnTo>
                  <a:lnTo>
                    <a:pt x="175375" y="202959"/>
                  </a:lnTo>
                  <a:lnTo>
                    <a:pt x="175375" y="202260"/>
                  </a:lnTo>
                  <a:lnTo>
                    <a:pt x="175375" y="202959"/>
                  </a:lnTo>
                  <a:lnTo>
                    <a:pt x="175375" y="202260"/>
                  </a:lnTo>
                  <a:lnTo>
                    <a:pt x="175375" y="202959"/>
                  </a:lnTo>
                  <a:lnTo>
                    <a:pt x="175375" y="202260"/>
                  </a:lnTo>
                  <a:lnTo>
                    <a:pt x="175375" y="202959"/>
                  </a:lnTo>
                  <a:lnTo>
                    <a:pt x="175375" y="202260"/>
                  </a:lnTo>
                  <a:lnTo>
                    <a:pt x="175476" y="202260"/>
                  </a:lnTo>
                  <a:lnTo>
                    <a:pt x="175476" y="202959"/>
                  </a:lnTo>
                  <a:lnTo>
                    <a:pt x="175476" y="202260"/>
                  </a:lnTo>
                  <a:lnTo>
                    <a:pt x="175476" y="202959"/>
                  </a:lnTo>
                  <a:lnTo>
                    <a:pt x="175476" y="202260"/>
                  </a:lnTo>
                  <a:lnTo>
                    <a:pt x="175476" y="202959"/>
                  </a:lnTo>
                  <a:lnTo>
                    <a:pt x="175476" y="200876"/>
                  </a:lnTo>
                  <a:lnTo>
                    <a:pt x="175527" y="200876"/>
                  </a:lnTo>
                  <a:lnTo>
                    <a:pt x="175527" y="202260"/>
                  </a:lnTo>
                  <a:lnTo>
                    <a:pt x="175527" y="200228"/>
                  </a:lnTo>
                  <a:lnTo>
                    <a:pt x="175527" y="200876"/>
                  </a:lnTo>
                  <a:lnTo>
                    <a:pt x="175527" y="200228"/>
                  </a:lnTo>
                  <a:lnTo>
                    <a:pt x="175578" y="200228"/>
                  </a:lnTo>
                  <a:lnTo>
                    <a:pt x="175578" y="198831"/>
                  </a:lnTo>
                  <a:lnTo>
                    <a:pt x="175578" y="200228"/>
                  </a:lnTo>
                  <a:lnTo>
                    <a:pt x="175629" y="200228"/>
                  </a:lnTo>
                  <a:lnTo>
                    <a:pt x="175629" y="198831"/>
                  </a:lnTo>
                  <a:lnTo>
                    <a:pt x="175629" y="202260"/>
                  </a:lnTo>
                  <a:lnTo>
                    <a:pt x="175718" y="202260"/>
                  </a:lnTo>
                  <a:lnTo>
                    <a:pt x="175718" y="200228"/>
                  </a:lnTo>
                  <a:lnTo>
                    <a:pt x="175718" y="202959"/>
                  </a:lnTo>
                  <a:lnTo>
                    <a:pt x="175718" y="202260"/>
                  </a:lnTo>
                  <a:lnTo>
                    <a:pt x="175768" y="202260"/>
                  </a:lnTo>
                  <a:lnTo>
                    <a:pt x="175768" y="200876"/>
                  </a:lnTo>
                  <a:lnTo>
                    <a:pt x="175768" y="202959"/>
                  </a:lnTo>
                  <a:lnTo>
                    <a:pt x="175768" y="202260"/>
                  </a:lnTo>
                  <a:lnTo>
                    <a:pt x="175819" y="202260"/>
                  </a:lnTo>
                  <a:lnTo>
                    <a:pt x="175819" y="200876"/>
                  </a:lnTo>
                  <a:lnTo>
                    <a:pt x="175819" y="202959"/>
                  </a:lnTo>
                  <a:lnTo>
                    <a:pt x="175870" y="202959"/>
                  </a:lnTo>
                  <a:lnTo>
                    <a:pt x="175870" y="202260"/>
                  </a:lnTo>
                  <a:lnTo>
                    <a:pt x="175870" y="202959"/>
                  </a:lnTo>
                  <a:lnTo>
                    <a:pt x="175870" y="202260"/>
                  </a:lnTo>
                  <a:lnTo>
                    <a:pt x="175870" y="202959"/>
                  </a:lnTo>
                  <a:lnTo>
                    <a:pt x="175870" y="202260"/>
                  </a:lnTo>
                  <a:lnTo>
                    <a:pt x="175972" y="202260"/>
                  </a:lnTo>
                  <a:lnTo>
                    <a:pt x="175972" y="200876"/>
                  </a:lnTo>
                  <a:lnTo>
                    <a:pt x="175972" y="202260"/>
                  </a:lnTo>
                  <a:lnTo>
                    <a:pt x="175972" y="200876"/>
                  </a:lnTo>
                  <a:lnTo>
                    <a:pt x="175972" y="202260"/>
                  </a:lnTo>
                  <a:lnTo>
                    <a:pt x="175972" y="200876"/>
                  </a:lnTo>
                  <a:lnTo>
                    <a:pt x="176023" y="200876"/>
                  </a:lnTo>
                  <a:lnTo>
                    <a:pt x="176023" y="200228"/>
                  </a:lnTo>
                  <a:lnTo>
                    <a:pt x="176023" y="200876"/>
                  </a:lnTo>
                  <a:lnTo>
                    <a:pt x="176023" y="200228"/>
                  </a:lnTo>
                  <a:lnTo>
                    <a:pt x="176023" y="200876"/>
                  </a:lnTo>
                  <a:lnTo>
                    <a:pt x="176023" y="198831"/>
                  </a:lnTo>
                  <a:lnTo>
                    <a:pt x="176073" y="198831"/>
                  </a:lnTo>
                  <a:lnTo>
                    <a:pt x="176073" y="197447"/>
                  </a:lnTo>
                  <a:lnTo>
                    <a:pt x="176073" y="199530"/>
                  </a:lnTo>
                  <a:lnTo>
                    <a:pt x="176073" y="198831"/>
                  </a:lnTo>
                  <a:lnTo>
                    <a:pt x="176175" y="198831"/>
                  </a:lnTo>
                  <a:lnTo>
                    <a:pt x="176175" y="196799"/>
                  </a:lnTo>
                  <a:lnTo>
                    <a:pt x="176175" y="200228"/>
                  </a:lnTo>
                  <a:lnTo>
                    <a:pt x="176175" y="199530"/>
                  </a:lnTo>
                  <a:lnTo>
                    <a:pt x="176175" y="200228"/>
                  </a:lnTo>
                  <a:lnTo>
                    <a:pt x="176175" y="199530"/>
                  </a:lnTo>
                  <a:lnTo>
                    <a:pt x="176213" y="199530"/>
                  </a:lnTo>
                  <a:lnTo>
                    <a:pt x="176213" y="198831"/>
                  </a:lnTo>
                  <a:lnTo>
                    <a:pt x="176213" y="200876"/>
                  </a:lnTo>
                  <a:lnTo>
                    <a:pt x="176213" y="199530"/>
                  </a:lnTo>
                  <a:lnTo>
                    <a:pt x="176264" y="199530"/>
                  </a:lnTo>
                  <a:lnTo>
                    <a:pt x="176264" y="200876"/>
                  </a:lnTo>
                  <a:lnTo>
                    <a:pt x="176264" y="200228"/>
                  </a:lnTo>
                  <a:lnTo>
                    <a:pt x="176315" y="200228"/>
                  </a:lnTo>
                  <a:lnTo>
                    <a:pt x="176315" y="200876"/>
                  </a:lnTo>
                  <a:lnTo>
                    <a:pt x="176315" y="200228"/>
                  </a:lnTo>
                  <a:lnTo>
                    <a:pt x="176315" y="200876"/>
                  </a:lnTo>
                  <a:lnTo>
                    <a:pt x="176416" y="200876"/>
                  </a:lnTo>
                  <a:lnTo>
                    <a:pt x="176416" y="200228"/>
                  </a:lnTo>
                  <a:lnTo>
                    <a:pt x="176416" y="200876"/>
                  </a:lnTo>
                  <a:lnTo>
                    <a:pt x="176416" y="200228"/>
                  </a:lnTo>
                  <a:lnTo>
                    <a:pt x="176416" y="200876"/>
                  </a:lnTo>
                  <a:lnTo>
                    <a:pt x="176467" y="200876"/>
                  </a:lnTo>
                  <a:lnTo>
                    <a:pt x="176467" y="200228"/>
                  </a:lnTo>
                  <a:lnTo>
                    <a:pt x="176467" y="200876"/>
                  </a:lnTo>
                  <a:lnTo>
                    <a:pt x="176518" y="200228"/>
                  </a:lnTo>
                  <a:lnTo>
                    <a:pt x="176518" y="200876"/>
                  </a:lnTo>
                  <a:lnTo>
                    <a:pt x="176518" y="197447"/>
                  </a:lnTo>
                  <a:lnTo>
                    <a:pt x="176518" y="198831"/>
                  </a:lnTo>
                  <a:lnTo>
                    <a:pt x="176619" y="198831"/>
                  </a:lnTo>
                  <a:lnTo>
                    <a:pt x="176619" y="199530"/>
                  </a:lnTo>
                  <a:lnTo>
                    <a:pt x="176619" y="197447"/>
                  </a:lnTo>
                  <a:lnTo>
                    <a:pt x="176619" y="198831"/>
                  </a:lnTo>
                  <a:lnTo>
                    <a:pt x="176670" y="198831"/>
                  </a:lnTo>
                  <a:lnTo>
                    <a:pt x="176670" y="200876"/>
                  </a:lnTo>
                  <a:lnTo>
                    <a:pt x="176670" y="199530"/>
                  </a:lnTo>
                  <a:lnTo>
                    <a:pt x="176670" y="200228"/>
                  </a:lnTo>
                  <a:lnTo>
                    <a:pt x="176670" y="199530"/>
                  </a:lnTo>
                  <a:lnTo>
                    <a:pt x="176721" y="200228"/>
                  </a:lnTo>
                  <a:lnTo>
                    <a:pt x="176721" y="200876"/>
                  </a:lnTo>
                  <a:lnTo>
                    <a:pt x="176721" y="199530"/>
                  </a:lnTo>
                  <a:lnTo>
                    <a:pt x="176721" y="200876"/>
                  </a:lnTo>
                  <a:lnTo>
                    <a:pt x="176721" y="200228"/>
                  </a:lnTo>
                  <a:lnTo>
                    <a:pt x="176721" y="200876"/>
                  </a:lnTo>
                  <a:lnTo>
                    <a:pt x="176721" y="200228"/>
                  </a:lnTo>
                  <a:lnTo>
                    <a:pt x="176759" y="200228"/>
                  </a:lnTo>
                  <a:lnTo>
                    <a:pt x="176759" y="200876"/>
                  </a:lnTo>
                  <a:lnTo>
                    <a:pt x="176759" y="200228"/>
                  </a:lnTo>
                  <a:lnTo>
                    <a:pt x="176861" y="200876"/>
                  </a:lnTo>
                  <a:lnTo>
                    <a:pt x="176861" y="202260"/>
                  </a:lnTo>
                  <a:lnTo>
                    <a:pt x="176861" y="200876"/>
                  </a:lnTo>
                  <a:lnTo>
                    <a:pt x="176911" y="200876"/>
                  </a:lnTo>
                  <a:lnTo>
                    <a:pt x="176911" y="202260"/>
                  </a:lnTo>
                  <a:lnTo>
                    <a:pt x="176911" y="200876"/>
                  </a:lnTo>
                  <a:lnTo>
                    <a:pt x="176911" y="202260"/>
                  </a:lnTo>
                  <a:lnTo>
                    <a:pt x="176911" y="200876"/>
                  </a:lnTo>
                  <a:lnTo>
                    <a:pt x="176962" y="200876"/>
                  </a:lnTo>
                  <a:lnTo>
                    <a:pt x="176962" y="202260"/>
                  </a:lnTo>
                  <a:lnTo>
                    <a:pt x="176962" y="200228"/>
                  </a:lnTo>
                  <a:lnTo>
                    <a:pt x="177064" y="200228"/>
                  </a:lnTo>
                  <a:lnTo>
                    <a:pt x="177064" y="199530"/>
                  </a:lnTo>
                  <a:lnTo>
                    <a:pt x="177064" y="200228"/>
                  </a:lnTo>
                  <a:lnTo>
                    <a:pt x="177064" y="198831"/>
                  </a:lnTo>
                  <a:lnTo>
                    <a:pt x="177115" y="199530"/>
                  </a:lnTo>
                  <a:lnTo>
                    <a:pt x="177115" y="200228"/>
                  </a:lnTo>
                  <a:lnTo>
                    <a:pt x="177115" y="199530"/>
                  </a:lnTo>
                  <a:lnTo>
                    <a:pt x="177115" y="200876"/>
                  </a:lnTo>
                  <a:lnTo>
                    <a:pt x="177166" y="200876"/>
                  </a:lnTo>
                  <a:lnTo>
                    <a:pt x="177166" y="202260"/>
                  </a:lnTo>
                  <a:lnTo>
                    <a:pt x="177166" y="200228"/>
                  </a:lnTo>
                  <a:lnTo>
                    <a:pt x="177166" y="200876"/>
                  </a:lnTo>
                  <a:lnTo>
                    <a:pt x="177216" y="200876"/>
                  </a:lnTo>
                  <a:lnTo>
                    <a:pt x="177216" y="202260"/>
                  </a:lnTo>
                  <a:lnTo>
                    <a:pt x="177216" y="200876"/>
                  </a:lnTo>
                  <a:lnTo>
                    <a:pt x="177356" y="200876"/>
                  </a:lnTo>
                  <a:lnTo>
                    <a:pt x="177356" y="200228"/>
                  </a:lnTo>
                  <a:lnTo>
                    <a:pt x="177356" y="202260"/>
                  </a:lnTo>
                  <a:lnTo>
                    <a:pt x="177356" y="200876"/>
                  </a:lnTo>
                  <a:lnTo>
                    <a:pt x="177407" y="200876"/>
                  </a:lnTo>
                  <a:lnTo>
                    <a:pt x="177407" y="200228"/>
                  </a:lnTo>
                  <a:lnTo>
                    <a:pt x="177407" y="200876"/>
                  </a:lnTo>
                  <a:lnTo>
                    <a:pt x="177407" y="200228"/>
                  </a:lnTo>
                  <a:lnTo>
                    <a:pt x="177407" y="200876"/>
                  </a:lnTo>
                  <a:lnTo>
                    <a:pt x="177407" y="200228"/>
                  </a:lnTo>
                  <a:lnTo>
                    <a:pt x="177458" y="200228"/>
                  </a:lnTo>
                  <a:lnTo>
                    <a:pt x="177458" y="198831"/>
                  </a:lnTo>
                  <a:lnTo>
                    <a:pt x="177559" y="198831"/>
                  </a:lnTo>
                  <a:lnTo>
                    <a:pt x="177559" y="196799"/>
                  </a:lnTo>
                  <a:lnTo>
                    <a:pt x="177559" y="198831"/>
                  </a:lnTo>
                  <a:lnTo>
                    <a:pt x="177610" y="199530"/>
                  </a:lnTo>
                  <a:lnTo>
                    <a:pt x="177610" y="197447"/>
                  </a:lnTo>
                  <a:lnTo>
                    <a:pt x="177610" y="200876"/>
                  </a:lnTo>
                  <a:lnTo>
                    <a:pt x="177661" y="200876"/>
                  </a:lnTo>
                  <a:lnTo>
                    <a:pt x="177661" y="199530"/>
                  </a:lnTo>
                  <a:lnTo>
                    <a:pt x="177661" y="200228"/>
                  </a:lnTo>
                  <a:lnTo>
                    <a:pt x="177762" y="200228"/>
                  </a:lnTo>
                  <a:lnTo>
                    <a:pt x="177762" y="199530"/>
                  </a:lnTo>
                  <a:lnTo>
                    <a:pt x="177762" y="200876"/>
                  </a:lnTo>
                  <a:lnTo>
                    <a:pt x="177762" y="200228"/>
                  </a:lnTo>
                  <a:lnTo>
                    <a:pt x="177800" y="200228"/>
                  </a:lnTo>
                  <a:lnTo>
                    <a:pt x="177800" y="200876"/>
                  </a:lnTo>
                  <a:lnTo>
                    <a:pt x="177800" y="200228"/>
                  </a:lnTo>
                  <a:lnTo>
                    <a:pt x="177800" y="200876"/>
                  </a:lnTo>
                  <a:lnTo>
                    <a:pt x="177800" y="200228"/>
                  </a:lnTo>
                  <a:lnTo>
                    <a:pt x="177800" y="200876"/>
                  </a:lnTo>
                  <a:lnTo>
                    <a:pt x="177851" y="200876"/>
                  </a:lnTo>
                  <a:lnTo>
                    <a:pt x="177851" y="202260"/>
                  </a:lnTo>
                  <a:lnTo>
                    <a:pt x="177851" y="200876"/>
                  </a:lnTo>
                  <a:lnTo>
                    <a:pt x="177851" y="202260"/>
                  </a:lnTo>
                  <a:lnTo>
                    <a:pt x="177851" y="200876"/>
                  </a:lnTo>
                  <a:lnTo>
                    <a:pt x="177851" y="202260"/>
                  </a:lnTo>
                  <a:lnTo>
                    <a:pt x="177851" y="200228"/>
                  </a:lnTo>
                  <a:lnTo>
                    <a:pt x="177851" y="200876"/>
                  </a:lnTo>
                  <a:lnTo>
                    <a:pt x="177902" y="200876"/>
                  </a:lnTo>
                  <a:lnTo>
                    <a:pt x="177902" y="200228"/>
                  </a:lnTo>
                  <a:lnTo>
                    <a:pt x="177902" y="200876"/>
                  </a:lnTo>
                  <a:lnTo>
                    <a:pt x="177902" y="200228"/>
                  </a:lnTo>
                  <a:lnTo>
                    <a:pt x="178004" y="199530"/>
                  </a:lnTo>
                  <a:lnTo>
                    <a:pt x="178004" y="200228"/>
                  </a:lnTo>
                  <a:lnTo>
                    <a:pt x="178004" y="198831"/>
                  </a:lnTo>
                  <a:lnTo>
                    <a:pt x="178055" y="198831"/>
                  </a:lnTo>
                  <a:lnTo>
                    <a:pt x="178055" y="195415"/>
                  </a:lnTo>
                  <a:lnTo>
                    <a:pt x="178055" y="196113"/>
                  </a:lnTo>
                  <a:lnTo>
                    <a:pt x="178105" y="196113"/>
                  </a:lnTo>
                  <a:lnTo>
                    <a:pt x="178105" y="194716"/>
                  </a:lnTo>
                  <a:lnTo>
                    <a:pt x="178105" y="196799"/>
                  </a:lnTo>
                  <a:lnTo>
                    <a:pt x="178105" y="195415"/>
                  </a:lnTo>
                  <a:lnTo>
                    <a:pt x="178207" y="195415"/>
                  </a:lnTo>
                  <a:lnTo>
                    <a:pt x="178207" y="194716"/>
                  </a:lnTo>
                  <a:lnTo>
                    <a:pt x="178207" y="197447"/>
                  </a:lnTo>
                  <a:lnTo>
                    <a:pt x="178207" y="196799"/>
                  </a:lnTo>
                  <a:lnTo>
                    <a:pt x="178258" y="196799"/>
                  </a:lnTo>
                  <a:lnTo>
                    <a:pt x="178258" y="198831"/>
                  </a:lnTo>
                  <a:lnTo>
                    <a:pt x="178258" y="197447"/>
                  </a:lnTo>
                  <a:lnTo>
                    <a:pt x="178258" y="198831"/>
                  </a:lnTo>
                  <a:lnTo>
                    <a:pt x="178309" y="198831"/>
                  </a:lnTo>
                  <a:lnTo>
                    <a:pt x="178309" y="199530"/>
                  </a:lnTo>
                  <a:lnTo>
                    <a:pt x="178347" y="199530"/>
                  </a:lnTo>
                  <a:lnTo>
                    <a:pt x="178347" y="200228"/>
                  </a:lnTo>
                  <a:lnTo>
                    <a:pt x="178347" y="199530"/>
                  </a:lnTo>
                  <a:lnTo>
                    <a:pt x="178347" y="200876"/>
                  </a:lnTo>
                  <a:lnTo>
                    <a:pt x="178347" y="200228"/>
                  </a:lnTo>
                  <a:lnTo>
                    <a:pt x="178448" y="200876"/>
                  </a:lnTo>
                  <a:lnTo>
                    <a:pt x="178448" y="200228"/>
                  </a:lnTo>
                  <a:lnTo>
                    <a:pt x="178448" y="200876"/>
                  </a:lnTo>
                  <a:lnTo>
                    <a:pt x="178448" y="199530"/>
                  </a:lnTo>
                  <a:lnTo>
                    <a:pt x="178448" y="200876"/>
                  </a:lnTo>
                  <a:lnTo>
                    <a:pt x="178448" y="200228"/>
                  </a:lnTo>
                  <a:lnTo>
                    <a:pt x="178448" y="200876"/>
                  </a:lnTo>
                  <a:lnTo>
                    <a:pt x="178448" y="200228"/>
                  </a:lnTo>
                  <a:lnTo>
                    <a:pt x="178499" y="200228"/>
                  </a:lnTo>
                  <a:lnTo>
                    <a:pt x="178499" y="199530"/>
                  </a:lnTo>
                  <a:lnTo>
                    <a:pt x="178550" y="198831"/>
                  </a:lnTo>
                  <a:lnTo>
                    <a:pt x="178550" y="196113"/>
                  </a:lnTo>
                  <a:lnTo>
                    <a:pt x="178651" y="196113"/>
                  </a:lnTo>
                  <a:lnTo>
                    <a:pt x="178651" y="195415"/>
                  </a:lnTo>
                  <a:lnTo>
                    <a:pt x="178651" y="196799"/>
                  </a:lnTo>
                  <a:lnTo>
                    <a:pt x="178651" y="196113"/>
                  </a:lnTo>
                  <a:lnTo>
                    <a:pt x="178702" y="195415"/>
                  </a:lnTo>
                  <a:lnTo>
                    <a:pt x="178702" y="194716"/>
                  </a:lnTo>
                  <a:lnTo>
                    <a:pt x="178702" y="197447"/>
                  </a:lnTo>
                  <a:lnTo>
                    <a:pt x="178702" y="196113"/>
                  </a:lnTo>
                  <a:lnTo>
                    <a:pt x="178753" y="196113"/>
                  </a:lnTo>
                  <a:lnTo>
                    <a:pt x="178753" y="197447"/>
                  </a:lnTo>
                  <a:lnTo>
                    <a:pt x="178753" y="196799"/>
                  </a:lnTo>
                  <a:lnTo>
                    <a:pt x="178804" y="196799"/>
                  </a:lnTo>
                  <a:lnTo>
                    <a:pt x="178804" y="196113"/>
                  </a:lnTo>
                  <a:lnTo>
                    <a:pt x="178804" y="197447"/>
                  </a:lnTo>
                  <a:lnTo>
                    <a:pt x="178893" y="198831"/>
                  </a:lnTo>
                  <a:lnTo>
                    <a:pt x="178893" y="199530"/>
                  </a:lnTo>
                  <a:lnTo>
                    <a:pt x="178893" y="198831"/>
                  </a:lnTo>
                  <a:lnTo>
                    <a:pt x="178893" y="199530"/>
                  </a:lnTo>
                  <a:lnTo>
                    <a:pt x="178943" y="199530"/>
                  </a:lnTo>
                  <a:lnTo>
                    <a:pt x="178943" y="200876"/>
                  </a:lnTo>
                  <a:lnTo>
                    <a:pt x="178943" y="200228"/>
                  </a:lnTo>
                  <a:lnTo>
                    <a:pt x="178994" y="200228"/>
                  </a:lnTo>
                  <a:lnTo>
                    <a:pt x="178994" y="200876"/>
                  </a:lnTo>
                  <a:lnTo>
                    <a:pt x="178994" y="199530"/>
                  </a:lnTo>
                  <a:lnTo>
                    <a:pt x="179045" y="199530"/>
                  </a:lnTo>
                  <a:lnTo>
                    <a:pt x="179045" y="198831"/>
                  </a:lnTo>
                  <a:lnTo>
                    <a:pt x="179045" y="199530"/>
                  </a:lnTo>
                  <a:lnTo>
                    <a:pt x="179045" y="196799"/>
                  </a:lnTo>
                  <a:lnTo>
                    <a:pt x="179147" y="196799"/>
                  </a:lnTo>
                  <a:lnTo>
                    <a:pt x="179147" y="196113"/>
                  </a:lnTo>
                  <a:lnTo>
                    <a:pt x="179147" y="197447"/>
                  </a:lnTo>
                  <a:lnTo>
                    <a:pt x="179147" y="196799"/>
                  </a:lnTo>
                  <a:lnTo>
                    <a:pt x="179147" y="197447"/>
                  </a:lnTo>
                  <a:lnTo>
                    <a:pt x="179147" y="196799"/>
                  </a:lnTo>
                  <a:lnTo>
                    <a:pt x="179147" y="197447"/>
                  </a:lnTo>
                  <a:lnTo>
                    <a:pt x="179147" y="195415"/>
                  </a:lnTo>
                  <a:lnTo>
                    <a:pt x="179198" y="195415"/>
                  </a:lnTo>
                  <a:lnTo>
                    <a:pt x="179198" y="198831"/>
                  </a:lnTo>
                  <a:lnTo>
                    <a:pt x="179198" y="196113"/>
                  </a:lnTo>
                  <a:lnTo>
                    <a:pt x="179198" y="196799"/>
                  </a:lnTo>
                  <a:lnTo>
                    <a:pt x="179198" y="196113"/>
                  </a:lnTo>
                  <a:lnTo>
                    <a:pt x="179248" y="196113"/>
                  </a:lnTo>
                  <a:lnTo>
                    <a:pt x="179248" y="196799"/>
                  </a:lnTo>
                  <a:lnTo>
                    <a:pt x="179248" y="196113"/>
                  </a:lnTo>
                  <a:lnTo>
                    <a:pt x="179248" y="197447"/>
                  </a:lnTo>
                  <a:lnTo>
                    <a:pt x="179248" y="196799"/>
                  </a:lnTo>
                  <a:lnTo>
                    <a:pt x="179350" y="196799"/>
                  </a:lnTo>
                  <a:lnTo>
                    <a:pt x="179350" y="197447"/>
                  </a:lnTo>
                  <a:lnTo>
                    <a:pt x="179350" y="196799"/>
                  </a:lnTo>
                  <a:lnTo>
                    <a:pt x="179350" y="197447"/>
                  </a:lnTo>
                  <a:lnTo>
                    <a:pt x="179388" y="197447"/>
                  </a:lnTo>
                  <a:lnTo>
                    <a:pt x="179388" y="198831"/>
                  </a:lnTo>
                  <a:lnTo>
                    <a:pt x="179439" y="198831"/>
                  </a:lnTo>
                  <a:lnTo>
                    <a:pt x="179439" y="199530"/>
                  </a:lnTo>
                  <a:lnTo>
                    <a:pt x="179439" y="198831"/>
                  </a:lnTo>
                  <a:lnTo>
                    <a:pt x="179439" y="199530"/>
                  </a:lnTo>
                  <a:lnTo>
                    <a:pt x="179439" y="198831"/>
                  </a:lnTo>
                  <a:lnTo>
                    <a:pt x="179439" y="199530"/>
                  </a:lnTo>
                  <a:lnTo>
                    <a:pt x="179490" y="199530"/>
                  </a:lnTo>
                  <a:lnTo>
                    <a:pt x="179490" y="198831"/>
                  </a:lnTo>
                  <a:lnTo>
                    <a:pt x="179490" y="199530"/>
                  </a:lnTo>
                  <a:lnTo>
                    <a:pt x="179591" y="198831"/>
                  </a:lnTo>
                  <a:lnTo>
                    <a:pt x="179591" y="199530"/>
                  </a:lnTo>
                  <a:lnTo>
                    <a:pt x="179591" y="198831"/>
                  </a:lnTo>
                  <a:lnTo>
                    <a:pt x="179591" y="199530"/>
                  </a:lnTo>
                  <a:lnTo>
                    <a:pt x="179591" y="198831"/>
                  </a:lnTo>
                  <a:lnTo>
                    <a:pt x="179591" y="199530"/>
                  </a:lnTo>
                  <a:lnTo>
                    <a:pt x="179642" y="199530"/>
                  </a:lnTo>
                  <a:lnTo>
                    <a:pt x="179642" y="200228"/>
                  </a:lnTo>
                  <a:lnTo>
                    <a:pt x="179642" y="198831"/>
                  </a:lnTo>
                  <a:lnTo>
                    <a:pt x="179642" y="200876"/>
                  </a:lnTo>
                  <a:lnTo>
                    <a:pt x="179693" y="200876"/>
                  </a:lnTo>
                  <a:lnTo>
                    <a:pt x="179693" y="200228"/>
                  </a:lnTo>
                  <a:lnTo>
                    <a:pt x="179693" y="200876"/>
                  </a:lnTo>
                  <a:lnTo>
                    <a:pt x="179693" y="200228"/>
                  </a:lnTo>
                  <a:lnTo>
                    <a:pt x="179794" y="200228"/>
                  </a:lnTo>
                  <a:lnTo>
                    <a:pt x="179794" y="199530"/>
                  </a:lnTo>
                  <a:lnTo>
                    <a:pt x="179794" y="200228"/>
                  </a:lnTo>
                  <a:lnTo>
                    <a:pt x="179794" y="199530"/>
                  </a:lnTo>
                  <a:lnTo>
                    <a:pt x="179794" y="200228"/>
                  </a:lnTo>
                  <a:lnTo>
                    <a:pt x="179845" y="200228"/>
                  </a:lnTo>
                  <a:lnTo>
                    <a:pt x="179845" y="199530"/>
                  </a:lnTo>
                  <a:lnTo>
                    <a:pt x="179845" y="200876"/>
                  </a:lnTo>
                  <a:lnTo>
                    <a:pt x="179845" y="200228"/>
                  </a:lnTo>
                  <a:lnTo>
                    <a:pt x="179896" y="200228"/>
                  </a:lnTo>
                  <a:lnTo>
                    <a:pt x="179896" y="199530"/>
                  </a:lnTo>
                  <a:lnTo>
                    <a:pt x="179896" y="200228"/>
                  </a:lnTo>
                  <a:lnTo>
                    <a:pt x="179896" y="199530"/>
                  </a:lnTo>
                  <a:lnTo>
                    <a:pt x="179934" y="200228"/>
                  </a:lnTo>
                  <a:lnTo>
                    <a:pt x="179934" y="199530"/>
                  </a:lnTo>
                  <a:lnTo>
                    <a:pt x="179934" y="200228"/>
                  </a:lnTo>
                  <a:lnTo>
                    <a:pt x="179934" y="199530"/>
                  </a:lnTo>
                  <a:lnTo>
                    <a:pt x="179934" y="200228"/>
                  </a:lnTo>
                  <a:lnTo>
                    <a:pt x="179934" y="199530"/>
                  </a:lnTo>
                  <a:lnTo>
                    <a:pt x="180036" y="199530"/>
                  </a:lnTo>
                  <a:lnTo>
                    <a:pt x="180036" y="198831"/>
                  </a:lnTo>
                  <a:lnTo>
                    <a:pt x="180036" y="199530"/>
                  </a:lnTo>
                  <a:lnTo>
                    <a:pt x="180036" y="197447"/>
                  </a:lnTo>
                  <a:lnTo>
                    <a:pt x="180036" y="198831"/>
                  </a:lnTo>
                  <a:lnTo>
                    <a:pt x="180036" y="197447"/>
                  </a:lnTo>
                  <a:lnTo>
                    <a:pt x="180086" y="197447"/>
                  </a:lnTo>
                  <a:lnTo>
                    <a:pt x="180086" y="198831"/>
                  </a:lnTo>
                  <a:lnTo>
                    <a:pt x="180086" y="197447"/>
                  </a:lnTo>
                  <a:lnTo>
                    <a:pt x="180086" y="199530"/>
                  </a:lnTo>
                  <a:lnTo>
                    <a:pt x="180137" y="199530"/>
                  </a:lnTo>
                  <a:lnTo>
                    <a:pt x="180137" y="202260"/>
                  </a:lnTo>
                  <a:lnTo>
                    <a:pt x="180137" y="200876"/>
                  </a:lnTo>
                  <a:lnTo>
                    <a:pt x="180239" y="200876"/>
                  </a:lnTo>
                  <a:lnTo>
                    <a:pt x="180239" y="202260"/>
                  </a:lnTo>
                  <a:lnTo>
                    <a:pt x="180239" y="200876"/>
                  </a:lnTo>
                  <a:lnTo>
                    <a:pt x="180239" y="202959"/>
                  </a:lnTo>
                  <a:lnTo>
                    <a:pt x="180239" y="202260"/>
                  </a:lnTo>
                  <a:lnTo>
                    <a:pt x="180341" y="202260"/>
                  </a:lnTo>
                  <a:lnTo>
                    <a:pt x="180341" y="200876"/>
                  </a:lnTo>
                  <a:lnTo>
                    <a:pt x="180341" y="202260"/>
                  </a:lnTo>
                  <a:lnTo>
                    <a:pt x="180341" y="200876"/>
                  </a:lnTo>
                  <a:lnTo>
                    <a:pt x="180341" y="202260"/>
                  </a:lnTo>
                  <a:lnTo>
                    <a:pt x="180391" y="202260"/>
                  </a:lnTo>
                  <a:lnTo>
                    <a:pt x="180391" y="200876"/>
                  </a:lnTo>
                  <a:lnTo>
                    <a:pt x="180391" y="202260"/>
                  </a:lnTo>
                  <a:lnTo>
                    <a:pt x="180391" y="200228"/>
                  </a:lnTo>
                  <a:lnTo>
                    <a:pt x="180391" y="200876"/>
                  </a:lnTo>
                  <a:lnTo>
                    <a:pt x="180391" y="200228"/>
                  </a:lnTo>
                  <a:lnTo>
                    <a:pt x="180480" y="200228"/>
                  </a:lnTo>
                  <a:lnTo>
                    <a:pt x="180480" y="198831"/>
                  </a:lnTo>
                  <a:lnTo>
                    <a:pt x="180531" y="198831"/>
                  </a:lnTo>
                  <a:lnTo>
                    <a:pt x="180531" y="197447"/>
                  </a:lnTo>
                  <a:lnTo>
                    <a:pt x="180531" y="198831"/>
                  </a:lnTo>
                  <a:lnTo>
                    <a:pt x="180531" y="197447"/>
                  </a:lnTo>
                  <a:lnTo>
                    <a:pt x="180531" y="198831"/>
                  </a:lnTo>
                  <a:lnTo>
                    <a:pt x="180531" y="196799"/>
                  </a:lnTo>
                  <a:lnTo>
                    <a:pt x="180531" y="197447"/>
                  </a:lnTo>
                  <a:lnTo>
                    <a:pt x="180531" y="196799"/>
                  </a:lnTo>
                  <a:lnTo>
                    <a:pt x="180582" y="196799"/>
                  </a:lnTo>
                  <a:lnTo>
                    <a:pt x="180582" y="199530"/>
                  </a:lnTo>
                  <a:lnTo>
                    <a:pt x="180582" y="197447"/>
                  </a:lnTo>
                  <a:lnTo>
                    <a:pt x="180582" y="198831"/>
                  </a:lnTo>
                  <a:lnTo>
                    <a:pt x="180582" y="197447"/>
                  </a:lnTo>
                  <a:lnTo>
                    <a:pt x="180582" y="198831"/>
                  </a:lnTo>
                  <a:lnTo>
                    <a:pt x="180633" y="198831"/>
                  </a:lnTo>
                  <a:lnTo>
                    <a:pt x="180633" y="200876"/>
                  </a:lnTo>
                  <a:lnTo>
                    <a:pt x="180633" y="199530"/>
                  </a:lnTo>
                  <a:lnTo>
                    <a:pt x="180633" y="200228"/>
                  </a:lnTo>
                  <a:lnTo>
                    <a:pt x="180633" y="199530"/>
                  </a:lnTo>
                  <a:lnTo>
                    <a:pt x="180734" y="200228"/>
                  </a:lnTo>
                  <a:lnTo>
                    <a:pt x="180734" y="200876"/>
                  </a:lnTo>
                  <a:lnTo>
                    <a:pt x="180734" y="200228"/>
                  </a:lnTo>
                  <a:lnTo>
                    <a:pt x="180734" y="200876"/>
                  </a:lnTo>
                  <a:lnTo>
                    <a:pt x="180734" y="200228"/>
                  </a:lnTo>
                  <a:lnTo>
                    <a:pt x="180734" y="200876"/>
                  </a:lnTo>
                  <a:lnTo>
                    <a:pt x="180785" y="200876"/>
                  </a:lnTo>
                  <a:lnTo>
                    <a:pt x="180785" y="200228"/>
                  </a:lnTo>
                  <a:lnTo>
                    <a:pt x="180785" y="202260"/>
                  </a:lnTo>
                  <a:lnTo>
                    <a:pt x="180785" y="200876"/>
                  </a:lnTo>
                  <a:lnTo>
                    <a:pt x="180785" y="202260"/>
                  </a:lnTo>
                  <a:lnTo>
                    <a:pt x="180785" y="200876"/>
                  </a:lnTo>
                  <a:lnTo>
                    <a:pt x="180785" y="202260"/>
                  </a:lnTo>
                  <a:lnTo>
                    <a:pt x="180836" y="202260"/>
                  </a:lnTo>
                  <a:lnTo>
                    <a:pt x="180836" y="202959"/>
                  </a:lnTo>
                  <a:lnTo>
                    <a:pt x="180836" y="202260"/>
                  </a:lnTo>
                  <a:lnTo>
                    <a:pt x="180836" y="202959"/>
                  </a:lnTo>
                  <a:lnTo>
                    <a:pt x="180836" y="202260"/>
                  </a:lnTo>
                  <a:lnTo>
                    <a:pt x="180836" y="202959"/>
                  </a:lnTo>
                  <a:lnTo>
                    <a:pt x="180836" y="202260"/>
                  </a:lnTo>
                  <a:lnTo>
                    <a:pt x="180836" y="202959"/>
                  </a:lnTo>
                  <a:lnTo>
                    <a:pt x="180937" y="202260"/>
                  </a:lnTo>
                  <a:lnTo>
                    <a:pt x="180937" y="200876"/>
                  </a:lnTo>
                  <a:lnTo>
                    <a:pt x="180937" y="202260"/>
                  </a:lnTo>
                  <a:lnTo>
                    <a:pt x="180975" y="200876"/>
                  </a:lnTo>
                  <a:lnTo>
                    <a:pt x="180975" y="200228"/>
                  </a:lnTo>
                  <a:lnTo>
                    <a:pt x="180975" y="200876"/>
                  </a:lnTo>
                  <a:lnTo>
                    <a:pt x="180975" y="200228"/>
                  </a:lnTo>
                  <a:lnTo>
                    <a:pt x="180975" y="200876"/>
                  </a:lnTo>
                  <a:lnTo>
                    <a:pt x="180975" y="200228"/>
                  </a:lnTo>
                  <a:lnTo>
                    <a:pt x="180975" y="200876"/>
                  </a:lnTo>
                  <a:lnTo>
                    <a:pt x="180975" y="199530"/>
                  </a:lnTo>
                  <a:lnTo>
                    <a:pt x="180975" y="200228"/>
                  </a:lnTo>
                  <a:lnTo>
                    <a:pt x="180975" y="199530"/>
                  </a:lnTo>
                  <a:lnTo>
                    <a:pt x="181026" y="199530"/>
                  </a:lnTo>
                  <a:lnTo>
                    <a:pt x="181026" y="196799"/>
                  </a:lnTo>
                  <a:lnTo>
                    <a:pt x="181026" y="198831"/>
                  </a:lnTo>
                  <a:lnTo>
                    <a:pt x="181077" y="198831"/>
                  </a:lnTo>
                  <a:lnTo>
                    <a:pt x="181077" y="197447"/>
                  </a:lnTo>
                  <a:lnTo>
                    <a:pt x="181077" y="200228"/>
                  </a:lnTo>
                  <a:lnTo>
                    <a:pt x="181179" y="200228"/>
                  </a:lnTo>
                  <a:lnTo>
                    <a:pt x="181179" y="199530"/>
                  </a:lnTo>
                  <a:lnTo>
                    <a:pt x="181179" y="200228"/>
                  </a:lnTo>
                  <a:lnTo>
                    <a:pt x="181230" y="200228"/>
                  </a:lnTo>
                  <a:lnTo>
                    <a:pt x="181230" y="200876"/>
                  </a:lnTo>
                  <a:lnTo>
                    <a:pt x="181230" y="200228"/>
                  </a:lnTo>
                  <a:lnTo>
                    <a:pt x="181230" y="200876"/>
                  </a:lnTo>
                  <a:lnTo>
                    <a:pt x="181382" y="200876"/>
                  </a:lnTo>
                  <a:lnTo>
                    <a:pt x="181382" y="202260"/>
                  </a:lnTo>
                  <a:lnTo>
                    <a:pt x="181382" y="200876"/>
                  </a:lnTo>
                  <a:lnTo>
                    <a:pt x="181382" y="202260"/>
                  </a:lnTo>
                  <a:lnTo>
                    <a:pt x="181433" y="202959"/>
                  </a:lnTo>
                  <a:lnTo>
                    <a:pt x="181433" y="200876"/>
                  </a:lnTo>
                  <a:lnTo>
                    <a:pt x="181484" y="200876"/>
                  </a:lnTo>
                  <a:lnTo>
                    <a:pt x="181484" y="200228"/>
                  </a:lnTo>
                  <a:lnTo>
                    <a:pt x="181484" y="200876"/>
                  </a:lnTo>
                  <a:lnTo>
                    <a:pt x="181484" y="199530"/>
                  </a:lnTo>
                  <a:lnTo>
                    <a:pt x="181522" y="199530"/>
                  </a:lnTo>
                  <a:lnTo>
                    <a:pt x="181522" y="198831"/>
                  </a:lnTo>
                  <a:lnTo>
                    <a:pt x="181522" y="199530"/>
                  </a:lnTo>
                  <a:lnTo>
                    <a:pt x="181522" y="197447"/>
                  </a:lnTo>
                  <a:lnTo>
                    <a:pt x="181623" y="197447"/>
                  </a:lnTo>
                  <a:lnTo>
                    <a:pt x="181623" y="196799"/>
                  </a:lnTo>
                  <a:lnTo>
                    <a:pt x="181623" y="197447"/>
                  </a:lnTo>
                  <a:lnTo>
                    <a:pt x="181623" y="196799"/>
                  </a:lnTo>
                  <a:lnTo>
                    <a:pt x="181623" y="198831"/>
                  </a:lnTo>
                  <a:lnTo>
                    <a:pt x="181674" y="199530"/>
                  </a:lnTo>
                  <a:lnTo>
                    <a:pt x="181674" y="197447"/>
                  </a:lnTo>
                  <a:lnTo>
                    <a:pt x="181674" y="198831"/>
                  </a:lnTo>
                  <a:lnTo>
                    <a:pt x="181674" y="197447"/>
                  </a:lnTo>
                  <a:lnTo>
                    <a:pt x="181674" y="199530"/>
                  </a:lnTo>
                  <a:lnTo>
                    <a:pt x="181725" y="199530"/>
                  </a:lnTo>
                  <a:lnTo>
                    <a:pt x="181725" y="198831"/>
                  </a:lnTo>
                  <a:lnTo>
                    <a:pt x="181725" y="199530"/>
                  </a:lnTo>
                  <a:lnTo>
                    <a:pt x="181725" y="198831"/>
                  </a:lnTo>
                  <a:lnTo>
                    <a:pt x="181725" y="199530"/>
                  </a:lnTo>
                  <a:lnTo>
                    <a:pt x="181826" y="199530"/>
                  </a:lnTo>
                  <a:lnTo>
                    <a:pt x="181826" y="200228"/>
                  </a:lnTo>
                  <a:lnTo>
                    <a:pt x="181877" y="200228"/>
                  </a:lnTo>
                  <a:lnTo>
                    <a:pt x="181877" y="200876"/>
                  </a:lnTo>
                  <a:lnTo>
                    <a:pt x="181877" y="200228"/>
                  </a:lnTo>
                  <a:lnTo>
                    <a:pt x="181877" y="202260"/>
                  </a:lnTo>
                  <a:lnTo>
                    <a:pt x="181877" y="200876"/>
                  </a:lnTo>
                  <a:lnTo>
                    <a:pt x="181877" y="202260"/>
                  </a:lnTo>
                  <a:lnTo>
                    <a:pt x="181928" y="202260"/>
                  </a:lnTo>
                  <a:lnTo>
                    <a:pt x="181928" y="200876"/>
                  </a:lnTo>
                  <a:lnTo>
                    <a:pt x="181928" y="202260"/>
                  </a:lnTo>
                  <a:lnTo>
                    <a:pt x="181928" y="200228"/>
                  </a:lnTo>
                  <a:lnTo>
                    <a:pt x="181928" y="200876"/>
                  </a:lnTo>
                  <a:lnTo>
                    <a:pt x="181928" y="200228"/>
                  </a:lnTo>
                  <a:lnTo>
                    <a:pt x="181979" y="200228"/>
                  </a:lnTo>
                  <a:lnTo>
                    <a:pt x="181979" y="200876"/>
                  </a:lnTo>
                  <a:lnTo>
                    <a:pt x="181979" y="199530"/>
                  </a:lnTo>
                  <a:lnTo>
                    <a:pt x="181979" y="200228"/>
                  </a:lnTo>
                  <a:lnTo>
                    <a:pt x="182068" y="200228"/>
                  </a:lnTo>
                  <a:lnTo>
                    <a:pt x="182068" y="197447"/>
                  </a:lnTo>
                  <a:lnTo>
                    <a:pt x="182068" y="198831"/>
                  </a:lnTo>
                  <a:lnTo>
                    <a:pt x="182068" y="196799"/>
                  </a:lnTo>
                  <a:lnTo>
                    <a:pt x="182068" y="197447"/>
                  </a:lnTo>
                  <a:lnTo>
                    <a:pt x="182118" y="197447"/>
                  </a:lnTo>
                  <a:lnTo>
                    <a:pt x="182118" y="198831"/>
                  </a:lnTo>
                  <a:lnTo>
                    <a:pt x="182118" y="196799"/>
                  </a:lnTo>
                  <a:lnTo>
                    <a:pt x="182118" y="199530"/>
                  </a:lnTo>
                  <a:lnTo>
                    <a:pt x="182118" y="198831"/>
                  </a:lnTo>
                  <a:lnTo>
                    <a:pt x="182118" y="199530"/>
                  </a:lnTo>
                  <a:lnTo>
                    <a:pt x="182118" y="198831"/>
                  </a:lnTo>
                  <a:lnTo>
                    <a:pt x="182169" y="198831"/>
                  </a:lnTo>
                  <a:lnTo>
                    <a:pt x="182169" y="197447"/>
                  </a:lnTo>
                  <a:lnTo>
                    <a:pt x="182169" y="199530"/>
                  </a:lnTo>
                  <a:lnTo>
                    <a:pt x="182169" y="198831"/>
                  </a:lnTo>
                  <a:lnTo>
                    <a:pt x="182220" y="197447"/>
                  </a:lnTo>
                  <a:lnTo>
                    <a:pt x="182220" y="198831"/>
                  </a:lnTo>
                  <a:lnTo>
                    <a:pt x="182220" y="197447"/>
                  </a:lnTo>
                  <a:lnTo>
                    <a:pt x="182220" y="199530"/>
                  </a:lnTo>
                  <a:lnTo>
                    <a:pt x="182322" y="199530"/>
                  </a:lnTo>
                  <a:lnTo>
                    <a:pt x="182322" y="198831"/>
                  </a:lnTo>
                  <a:lnTo>
                    <a:pt x="182322" y="199530"/>
                  </a:lnTo>
                  <a:lnTo>
                    <a:pt x="182322" y="198831"/>
                  </a:lnTo>
                  <a:lnTo>
                    <a:pt x="182322" y="199530"/>
                  </a:lnTo>
                  <a:lnTo>
                    <a:pt x="182322" y="198831"/>
                  </a:lnTo>
                  <a:lnTo>
                    <a:pt x="182322" y="200228"/>
                  </a:lnTo>
                  <a:lnTo>
                    <a:pt x="182373" y="199530"/>
                  </a:lnTo>
                  <a:lnTo>
                    <a:pt x="182373" y="200228"/>
                  </a:lnTo>
                  <a:lnTo>
                    <a:pt x="182373" y="199530"/>
                  </a:lnTo>
                  <a:lnTo>
                    <a:pt x="182373" y="200228"/>
                  </a:lnTo>
                  <a:lnTo>
                    <a:pt x="182423" y="200228"/>
                  </a:lnTo>
                  <a:lnTo>
                    <a:pt x="182423" y="199530"/>
                  </a:lnTo>
                  <a:lnTo>
                    <a:pt x="182423" y="200876"/>
                  </a:lnTo>
                  <a:lnTo>
                    <a:pt x="182423" y="200228"/>
                  </a:lnTo>
                  <a:lnTo>
                    <a:pt x="182525" y="199530"/>
                  </a:lnTo>
                  <a:lnTo>
                    <a:pt x="182525" y="200228"/>
                  </a:lnTo>
                  <a:lnTo>
                    <a:pt x="182525" y="198831"/>
                  </a:lnTo>
                  <a:lnTo>
                    <a:pt x="182525" y="199530"/>
                  </a:lnTo>
                  <a:lnTo>
                    <a:pt x="182563" y="199530"/>
                  </a:lnTo>
                  <a:lnTo>
                    <a:pt x="182563" y="197447"/>
                  </a:lnTo>
                  <a:lnTo>
                    <a:pt x="182563" y="198831"/>
                  </a:lnTo>
                  <a:lnTo>
                    <a:pt x="182614" y="198831"/>
                  </a:lnTo>
                  <a:lnTo>
                    <a:pt x="182614" y="197447"/>
                  </a:lnTo>
                  <a:lnTo>
                    <a:pt x="182614" y="200228"/>
                  </a:lnTo>
                  <a:lnTo>
                    <a:pt x="182665" y="200228"/>
                  </a:lnTo>
                  <a:lnTo>
                    <a:pt x="182665" y="199530"/>
                  </a:lnTo>
                  <a:lnTo>
                    <a:pt x="182665" y="200228"/>
                  </a:lnTo>
                  <a:lnTo>
                    <a:pt x="182665" y="199530"/>
                  </a:lnTo>
                  <a:lnTo>
                    <a:pt x="182665" y="200228"/>
                  </a:lnTo>
                  <a:lnTo>
                    <a:pt x="182766" y="200228"/>
                  </a:lnTo>
                  <a:lnTo>
                    <a:pt x="182766" y="199530"/>
                  </a:lnTo>
                  <a:lnTo>
                    <a:pt x="182766" y="200228"/>
                  </a:lnTo>
                  <a:lnTo>
                    <a:pt x="182766" y="199530"/>
                  </a:lnTo>
                  <a:lnTo>
                    <a:pt x="182766" y="200228"/>
                  </a:lnTo>
                  <a:lnTo>
                    <a:pt x="182868" y="200228"/>
                  </a:lnTo>
                  <a:lnTo>
                    <a:pt x="182868" y="200876"/>
                  </a:lnTo>
                  <a:lnTo>
                    <a:pt x="182868" y="200228"/>
                  </a:lnTo>
                  <a:lnTo>
                    <a:pt x="182868" y="200876"/>
                  </a:lnTo>
                  <a:lnTo>
                    <a:pt x="182868" y="200228"/>
                  </a:lnTo>
                  <a:lnTo>
                    <a:pt x="182868" y="200876"/>
                  </a:lnTo>
                  <a:lnTo>
                    <a:pt x="182969" y="200876"/>
                  </a:lnTo>
                  <a:lnTo>
                    <a:pt x="182969" y="200228"/>
                  </a:lnTo>
                  <a:lnTo>
                    <a:pt x="182969" y="200876"/>
                  </a:lnTo>
                  <a:lnTo>
                    <a:pt x="182969" y="200228"/>
                  </a:lnTo>
                  <a:lnTo>
                    <a:pt x="183020" y="200228"/>
                  </a:lnTo>
                  <a:lnTo>
                    <a:pt x="183020" y="199530"/>
                  </a:lnTo>
                  <a:lnTo>
                    <a:pt x="183020" y="200228"/>
                  </a:lnTo>
                  <a:lnTo>
                    <a:pt x="183020" y="199530"/>
                  </a:lnTo>
                  <a:lnTo>
                    <a:pt x="183071" y="199530"/>
                  </a:lnTo>
                  <a:lnTo>
                    <a:pt x="183071" y="197447"/>
                  </a:lnTo>
                  <a:lnTo>
                    <a:pt x="183071" y="200228"/>
                  </a:lnTo>
                  <a:lnTo>
                    <a:pt x="183071" y="198831"/>
                  </a:lnTo>
                  <a:lnTo>
                    <a:pt x="183109" y="198831"/>
                  </a:lnTo>
                  <a:lnTo>
                    <a:pt x="183109" y="197447"/>
                  </a:lnTo>
                  <a:lnTo>
                    <a:pt x="183109" y="200228"/>
                  </a:lnTo>
                  <a:lnTo>
                    <a:pt x="183211" y="199530"/>
                  </a:lnTo>
                  <a:lnTo>
                    <a:pt x="183211" y="200876"/>
                  </a:lnTo>
                  <a:lnTo>
                    <a:pt x="183211" y="200228"/>
                  </a:lnTo>
                  <a:lnTo>
                    <a:pt x="183261" y="200228"/>
                  </a:lnTo>
                  <a:lnTo>
                    <a:pt x="183261" y="200876"/>
                  </a:lnTo>
                  <a:lnTo>
                    <a:pt x="183261" y="200228"/>
                  </a:lnTo>
                  <a:lnTo>
                    <a:pt x="183261" y="200876"/>
                  </a:lnTo>
                  <a:lnTo>
                    <a:pt x="183261" y="200228"/>
                  </a:lnTo>
                  <a:lnTo>
                    <a:pt x="183261" y="200876"/>
                  </a:lnTo>
                  <a:lnTo>
                    <a:pt x="183261" y="200228"/>
                  </a:lnTo>
                  <a:lnTo>
                    <a:pt x="183312" y="200876"/>
                  </a:lnTo>
                  <a:lnTo>
                    <a:pt x="183312" y="200228"/>
                  </a:lnTo>
                  <a:lnTo>
                    <a:pt x="183312" y="200876"/>
                  </a:lnTo>
                  <a:lnTo>
                    <a:pt x="183414" y="200876"/>
                  </a:lnTo>
                  <a:lnTo>
                    <a:pt x="183414" y="200228"/>
                  </a:lnTo>
                  <a:lnTo>
                    <a:pt x="183414" y="200876"/>
                  </a:lnTo>
                  <a:lnTo>
                    <a:pt x="183465" y="200876"/>
                  </a:lnTo>
                  <a:lnTo>
                    <a:pt x="183465" y="200228"/>
                  </a:lnTo>
                  <a:lnTo>
                    <a:pt x="183465" y="200876"/>
                  </a:lnTo>
                  <a:lnTo>
                    <a:pt x="183465" y="199530"/>
                  </a:lnTo>
                  <a:lnTo>
                    <a:pt x="183465" y="200228"/>
                  </a:lnTo>
                  <a:lnTo>
                    <a:pt x="183516" y="199530"/>
                  </a:lnTo>
                  <a:lnTo>
                    <a:pt x="183516" y="198831"/>
                  </a:lnTo>
                  <a:lnTo>
                    <a:pt x="183516" y="199530"/>
                  </a:lnTo>
                  <a:lnTo>
                    <a:pt x="183516" y="197447"/>
                  </a:lnTo>
                  <a:lnTo>
                    <a:pt x="183516" y="198831"/>
                  </a:lnTo>
                  <a:lnTo>
                    <a:pt x="183566" y="198831"/>
                  </a:lnTo>
                  <a:lnTo>
                    <a:pt x="183566" y="200228"/>
                  </a:lnTo>
                  <a:lnTo>
                    <a:pt x="183566" y="198831"/>
                  </a:lnTo>
                  <a:lnTo>
                    <a:pt x="183566" y="199530"/>
                  </a:lnTo>
                  <a:lnTo>
                    <a:pt x="183655" y="199530"/>
                  </a:lnTo>
                  <a:lnTo>
                    <a:pt x="183655" y="200876"/>
                  </a:lnTo>
                  <a:lnTo>
                    <a:pt x="183655" y="200228"/>
                  </a:lnTo>
                  <a:lnTo>
                    <a:pt x="183655" y="200876"/>
                  </a:lnTo>
                  <a:lnTo>
                    <a:pt x="183706" y="202260"/>
                  </a:lnTo>
                  <a:lnTo>
                    <a:pt x="183706" y="200228"/>
                  </a:lnTo>
                  <a:lnTo>
                    <a:pt x="183706" y="200876"/>
                  </a:lnTo>
                  <a:lnTo>
                    <a:pt x="183706" y="200228"/>
                  </a:lnTo>
                  <a:lnTo>
                    <a:pt x="183706" y="200876"/>
                  </a:lnTo>
                  <a:lnTo>
                    <a:pt x="183757" y="200876"/>
                  </a:lnTo>
                  <a:lnTo>
                    <a:pt x="183757" y="200228"/>
                  </a:lnTo>
                  <a:lnTo>
                    <a:pt x="183757" y="200876"/>
                  </a:lnTo>
                  <a:lnTo>
                    <a:pt x="183808" y="202260"/>
                  </a:lnTo>
                  <a:lnTo>
                    <a:pt x="183808" y="200876"/>
                  </a:lnTo>
                  <a:lnTo>
                    <a:pt x="183808" y="202260"/>
                  </a:lnTo>
                  <a:lnTo>
                    <a:pt x="183808" y="200876"/>
                  </a:lnTo>
                  <a:lnTo>
                    <a:pt x="183808" y="202260"/>
                  </a:lnTo>
                  <a:lnTo>
                    <a:pt x="183808" y="200876"/>
                  </a:lnTo>
                  <a:lnTo>
                    <a:pt x="183909" y="200876"/>
                  </a:lnTo>
                  <a:lnTo>
                    <a:pt x="183909" y="202260"/>
                  </a:lnTo>
                  <a:lnTo>
                    <a:pt x="183909" y="200876"/>
                  </a:lnTo>
                  <a:lnTo>
                    <a:pt x="183909" y="202260"/>
                  </a:lnTo>
                  <a:lnTo>
                    <a:pt x="183909" y="200876"/>
                  </a:lnTo>
                  <a:lnTo>
                    <a:pt x="183909" y="202260"/>
                  </a:lnTo>
                  <a:lnTo>
                    <a:pt x="183909" y="200876"/>
                  </a:lnTo>
                  <a:lnTo>
                    <a:pt x="183960" y="200876"/>
                  </a:lnTo>
                  <a:lnTo>
                    <a:pt x="183960" y="199530"/>
                  </a:lnTo>
                  <a:lnTo>
                    <a:pt x="184011" y="199530"/>
                  </a:lnTo>
                  <a:lnTo>
                    <a:pt x="184011" y="198831"/>
                  </a:lnTo>
                  <a:lnTo>
                    <a:pt x="184011" y="199530"/>
                  </a:lnTo>
                  <a:lnTo>
                    <a:pt x="184011" y="198831"/>
                  </a:lnTo>
                  <a:lnTo>
                    <a:pt x="184011" y="199530"/>
                  </a:lnTo>
                  <a:lnTo>
                    <a:pt x="184112" y="199530"/>
                  </a:lnTo>
                  <a:lnTo>
                    <a:pt x="184112" y="198831"/>
                  </a:lnTo>
                  <a:lnTo>
                    <a:pt x="184112" y="200876"/>
                  </a:lnTo>
                  <a:lnTo>
                    <a:pt x="184150" y="200876"/>
                  </a:lnTo>
                  <a:lnTo>
                    <a:pt x="184150" y="200228"/>
                  </a:lnTo>
                  <a:lnTo>
                    <a:pt x="184150" y="202260"/>
                  </a:lnTo>
                  <a:lnTo>
                    <a:pt x="184201" y="200876"/>
                  </a:lnTo>
                  <a:lnTo>
                    <a:pt x="184201" y="202260"/>
                  </a:lnTo>
                  <a:lnTo>
                    <a:pt x="184201" y="200876"/>
                  </a:lnTo>
                  <a:lnTo>
                    <a:pt x="184201" y="202260"/>
                  </a:lnTo>
                  <a:lnTo>
                    <a:pt x="184201" y="200876"/>
                  </a:lnTo>
                  <a:lnTo>
                    <a:pt x="184252" y="200876"/>
                  </a:lnTo>
                  <a:lnTo>
                    <a:pt x="184252" y="202260"/>
                  </a:lnTo>
                  <a:lnTo>
                    <a:pt x="184354" y="202260"/>
                  </a:lnTo>
                  <a:lnTo>
                    <a:pt x="184354" y="200876"/>
                  </a:lnTo>
                  <a:lnTo>
                    <a:pt x="184354" y="202260"/>
                  </a:lnTo>
                  <a:lnTo>
                    <a:pt x="184405" y="202260"/>
                  </a:lnTo>
                  <a:lnTo>
                    <a:pt x="184405" y="200228"/>
                  </a:lnTo>
                  <a:lnTo>
                    <a:pt x="184455" y="200228"/>
                  </a:lnTo>
                  <a:lnTo>
                    <a:pt x="184455" y="198831"/>
                  </a:lnTo>
                  <a:lnTo>
                    <a:pt x="184557" y="198831"/>
                  </a:lnTo>
                  <a:lnTo>
                    <a:pt x="184557" y="196113"/>
                  </a:lnTo>
                  <a:lnTo>
                    <a:pt x="184557" y="199530"/>
                  </a:lnTo>
                  <a:lnTo>
                    <a:pt x="184608" y="199530"/>
                  </a:lnTo>
                  <a:lnTo>
                    <a:pt x="184608" y="196799"/>
                  </a:lnTo>
                  <a:lnTo>
                    <a:pt x="184608" y="200228"/>
                  </a:lnTo>
                  <a:lnTo>
                    <a:pt x="184659" y="200228"/>
                  </a:lnTo>
                  <a:lnTo>
                    <a:pt x="184659" y="199530"/>
                  </a:lnTo>
                  <a:lnTo>
                    <a:pt x="184659" y="200876"/>
                  </a:lnTo>
                  <a:lnTo>
                    <a:pt x="184659" y="200228"/>
                  </a:lnTo>
                  <a:lnTo>
                    <a:pt x="184697" y="200228"/>
                  </a:lnTo>
                  <a:lnTo>
                    <a:pt x="184697" y="200876"/>
                  </a:lnTo>
                  <a:lnTo>
                    <a:pt x="184798" y="200876"/>
                  </a:lnTo>
                  <a:lnTo>
                    <a:pt x="184798" y="200228"/>
                  </a:lnTo>
                  <a:lnTo>
                    <a:pt x="184798" y="202260"/>
                  </a:lnTo>
                  <a:lnTo>
                    <a:pt x="184798" y="200876"/>
                  </a:lnTo>
                  <a:lnTo>
                    <a:pt x="184798" y="202959"/>
                  </a:lnTo>
                  <a:lnTo>
                    <a:pt x="184798" y="202260"/>
                  </a:lnTo>
                  <a:lnTo>
                    <a:pt x="184849" y="202260"/>
                  </a:lnTo>
                  <a:lnTo>
                    <a:pt x="184849" y="200876"/>
                  </a:lnTo>
                  <a:lnTo>
                    <a:pt x="184849" y="202260"/>
                  </a:lnTo>
                  <a:lnTo>
                    <a:pt x="184900" y="202260"/>
                  </a:lnTo>
                  <a:lnTo>
                    <a:pt x="184900" y="202959"/>
                  </a:lnTo>
                  <a:lnTo>
                    <a:pt x="184900" y="200876"/>
                  </a:lnTo>
                  <a:lnTo>
                    <a:pt x="185001" y="200876"/>
                  </a:lnTo>
                  <a:lnTo>
                    <a:pt x="185001" y="200228"/>
                  </a:lnTo>
                  <a:lnTo>
                    <a:pt x="185001" y="200876"/>
                  </a:lnTo>
                  <a:lnTo>
                    <a:pt x="185001" y="198831"/>
                  </a:lnTo>
                  <a:lnTo>
                    <a:pt x="185052" y="199530"/>
                  </a:lnTo>
                  <a:lnTo>
                    <a:pt x="185052" y="196799"/>
                  </a:lnTo>
                  <a:lnTo>
                    <a:pt x="185052" y="198831"/>
                  </a:lnTo>
                  <a:lnTo>
                    <a:pt x="185052" y="197447"/>
                  </a:lnTo>
                  <a:lnTo>
                    <a:pt x="185103" y="198831"/>
                  </a:lnTo>
                  <a:lnTo>
                    <a:pt x="185103" y="196113"/>
                  </a:lnTo>
                  <a:lnTo>
                    <a:pt x="185103" y="199530"/>
                  </a:lnTo>
                  <a:lnTo>
                    <a:pt x="185154" y="199530"/>
                  </a:lnTo>
                  <a:lnTo>
                    <a:pt x="185154" y="197447"/>
                  </a:lnTo>
                  <a:lnTo>
                    <a:pt x="185154" y="200228"/>
                  </a:lnTo>
                  <a:lnTo>
                    <a:pt x="185154" y="199530"/>
                  </a:lnTo>
                  <a:lnTo>
                    <a:pt x="185243" y="199530"/>
                  </a:lnTo>
                  <a:lnTo>
                    <a:pt x="185243" y="198831"/>
                  </a:lnTo>
                  <a:lnTo>
                    <a:pt x="185243" y="200228"/>
                  </a:lnTo>
                  <a:lnTo>
                    <a:pt x="185243" y="199530"/>
                  </a:lnTo>
                  <a:lnTo>
                    <a:pt x="185293" y="199530"/>
                  </a:lnTo>
                  <a:lnTo>
                    <a:pt x="185293" y="200228"/>
                  </a:lnTo>
                  <a:lnTo>
                    <a:pt x="185293" y="199530"/>
                  </a:lnTo>
                  <a:lnTo>
                    <a:pt x="185293" y="200876"/>
                  </a:lnTo>
                  <a:lnTo>
                    <a:pt x="185293" y="200228"/>
                  </a:lnTo>
                  <a:lnTo>
                    <a:pt x="185344" y="200876"/>
                  </a:lnTo>
                  <a:lnTo>
                    <a:pt x="185344" y="200228"/>
                  </a:lnTo>
                  <a:lnTo>
                    <a:pt x="185344" y="200876"/>
                  </a:lnTo>
                  <a:lnTo>
                    <a:pt x="185395" y="202260"/>
                  </a:lnTo>
                  <a:lnTo>
                    <a:pt x="185395" y="200228"/>
                  </a:lnTo>
                  <a:lnTo>
                    <a:pt x="185497" y="200228"/>
                  </a:lnTo>
                  <a:lnTo>
                    <a:pt x="185497" y="199530"/>
                  </a:lnTo>
                  <a:lnTo>
                    <a:pt x="185548" y="198831"/>
                  </a:lnTo>
                  <a:lnTo>
                    <a:pt x="185548" y="197447"/>
                  </a:lnTo>
                  <a:lnTo>
                    <a:pt x="185548" y="200228"/>
                  </a:lnTo>
                  <a:lnTo>
                    <a:pt x="185548" y="197447"/>
                  </a:lnTo>
                  <a:lnTo>
                    <a:pt x="185598" y="197447"/>
                  </a:lnTo>
                  <a:lnTo>
                    <a:pt x="185598" y="196799"/>
                  </a:lnTo>
                  <a:lnTo>
                    <a:pt x="185598" y="200876"/>
                  </a:lnTo>
                  <a:lnTo>
                    <a:pt x="185598" y="199530"/>
                  </a:lnTo>
                  <a:lnTo>
                    <a:pt x="185700" y="198831"/>
                  </a:lnTo>
                  <a:lnTo>
                    <a:pt x="185700" y="200876"/>
                  </a:lnTo>
                  <a:lnTo>
                    <a:pt x="185700" y="199530"/>
                  </a:lnTo>
                  <a:lnTo>
                    <a:pt x="185738" y="199530"/>
                  </a:lnTo>
                  <a:lnTo>
                    <a:pt x="185738" y="200228"/>
                  </a:lnTo>
                  <a:lnTo>
                    <a:pt x="185738" y="199530"/>
                  </a:lnTo>
                  <a:lnTo>
                    <a:pt x="185738" y="200228"/>
                  </a:lnTo>
                  <a:lnTo>
                    <a:pt x="185789" y="200228"/>
                  </a:lnTo>
                  <a:lnTo>
                    <a:pt x="185789" y="200876"/>
                  </a:lnTo>
                  <a:lnTo>
                    <a:pt x="185789" y="200228"/>
                  </a:lnTo>
                  <a:lnTo>
                    <a:pt x="185789" y="200876"/>
                  </a:lnTo>
                  <a:lnTo>
                    <a:pt x="185840" y="200876"/>
                  </a:lnTo>
                  <a:lnTo>
                    <a:pt x="185840" y="202260"/>
                  </a:lnTo>
                  <a:lnTo>
                    <a:pt x="185840" y="200876"/>
                  </a:lnTo>
                  <a:lnTo>
                    <a:pt x="185941" y="200876"/>
                  </a:lnTo>
                  <a:lnTo>
                    <a:pt x="185941" y="202260"/>
                  </a:lnTo>
                  <a:lnTo>
                    <a:pt x="185941" y="200876"/>
                  </a:lnTo>
                  <a:lnTo>
                    <a:pt x="185941" y="202260"/>
                  </a:lnTo>
                  <a:lnTo>
                    <a:pt x="185941" y="200228"/>
                  </a:lnTo>
                  <a:lnTo>
                    <a:pt x="185941" y="200876"/>
                  </a:lnTo>
                  <a:lnTo>
                    <a:pt x="185992" y="200876"/>
                  </a:lnTo>
                  <a:lnTo>
                    <a:pt x="185992" y="199530"/>
                  </a:lnTo>
                  <a:lnTo>
                    <a:pt x="185992" y="200228"/>
                  </a:lnTo>
                  <a:lnTo>
                    <a:pt x="185992" y="199530"/>
                  </a:lnTo>
                  <a:lnTo>
                    <a:pt x="185992" y="200228"/>
                  </a:lnTo>
                  <a:lnTo>
                    <a:pt x="185992" y="198831"/>
                  </a:lnTo>
                  <a:lnTo>
                    <a:pt x="186043" y="197447"/>
                  </a:lnTo>
                  <a:lnTo>
                    <a:pt x="186043" y="200228"/>
                  </a:lnTo>
                  <a:lnTo>
                    <a:pt x="186043" y="198831"/>
                  </a:lnTo>
                  <a:lnTo>
                    <a:pt x="186043" y="199530"/>
                  </a:lnTo>
                  <a:lnTo>
                    <a:pt x="186043" y="198831"/>
                  </a:lnTo>
                  <a:lnTo>
                    <a:pt x="186043" y="199530"/>
                  </a:lnTo>
                  <a:lnTo>
                    <a:pt x="186144" y="198831"/>
                  </a:lnTo>
                  <a:lnTo>
                    <a:pt x="186144" y="200876"/>
                  </a:lnTo>
                  <a:lnTo>
                    <a:pt x="186144" y="199530"/>
                  </a:lnTo>
                  <a:lnTo>
                    <a:pt x="186195" y="199530"/>
                  </a:lnTo>
                  <a:lnTo>
                    <a:pt x="186195" y="200876"/>
                  </a:lnTo>
                  <a:lnTo>
                    <a:pt x="186195" y="200228"/>
                  </a:lnTo>
                  <a:lnTo>
                    <a:pt x="186195" y="200876"/>
                  </a:lnTo>
                  <a:lnTo>
                    <a:pt x="186195" y="200228"/>
                  </a:lnTo>
                  <a:lnTo>
                    <a:pt x="186246" y="199530"/>
                  </a:lnTo>
                  <a:lnTo>
                    <a:pt x="186246" y="200876"/>
                  </a:lnTo>
                  <a:lnTo>
                    <a:pt x="186246" y="199530"/>
                  </a:lnTo>
                  <a:lnTo>
                    <a:pt x="186246" y="200228"/>
                  </a:lnTo>
                  <a:lnTo>
                    <a:pt x="186284" y="200228"/>
                  </a:lnTo>
                  <a:lnTo>
                    <a:pt x="186284" y="200876"/>
                  </a:lnTo>
                  <a:lnTo>
                    <a:pt x="186284" y="200228"/>
                  </a:lnTo>
                  <a:lnTo>
                    <a:pt x="186386" y="200228"/>
                  </a:lnTo>
                  <a:lnTo>
                    <a:pt x="186386" y="200876"/>
                  </a:lnTo>
                  <a:lnTo>
                    <a:pt x="186386" y="200228"/>
                  </a:lnTo>
                  <a:lnTo>
                    <a:pt x="186386" y="200876"/>
                  </a:lnTo>
                  <a:lnTo>
                    <a:pt x="186436" y="200228"/>
                  </a:lnTo>
                  <a:lnTo>
                    <a:pt x="186436" y="199530"/>
                  </a:lnTo>
                  <a:lnTo>
                    <a:pt x="186436" y="200228"/>
                  </a:lnTo>
                  <a:lnTo>
                    <a:pt x="186436" y="199530"/>
                  </a:lnTo>
                  <a:lnTo>
                    <a:pt x="186487" y="199530"/>
                  </a:lnTo>
                  <a:lnTo>
                    <a:pt x="186487" y="196799"/>
                  </a:lnTo>
                  <a:lnTo>
                    <a:pt x="186589" y="196799"/>
                  </a:lnTo>
                  <a:lnTo>
                    <a:pt x="186589" y="198831"/>
                  </a:lnTo>
                  <a:lnTo>
                    <a:pt x="186589" y="197447"/>
                  </a:lnTo>
                  <a:lnTo>
                    <a:pt x="186640" y="197447"/>
                  </a:lnTo>
                  <a:lnTo>
                    <a:pt x="186640" y="200228"/>
                  </a:lnTo>
                  <a:lnTo>
                    <a:pt x="186640" y="199530"/>
                  </a:lnTo>
                  <a:lnTo>
                    <a:pt x="186640" y="200228"/>
                  </a:lnTo>
                  <a:lnTo>
                    <a:pt x="186640" y="199530"/>
                  </a:lnTo>
                  <a:lnTo>
                    <a:pt x="186691" y="199530"/>
                  </a:lnTo>
                  <a:lnTo>
                    <a:pt x="186691" y="200228"/>
                  </a:lnTo>
                  <a:lnTo>
                    <a:pt x="186741" y="200228"/>
                  </a:lnTo>
                  <a:lnTo>
                    <a:pt x="186741" y="200876"/>
                  </a:lnTo>
                  <a:lnTo>
                    <a:pt x="186741" y="200228"/>
                  </a:lnTo>
                  <a:lnTo>
                    <a:pt x="186741" y="200876"/>
                  </a:lnTo>
                  <a:lnTo>
                    <a:pt x="186741" y="200228"/>
                  </a:lnTo>
                  <a:lnTo>
                    <a:pt x="186741" y="200876"/>
                  </a:lnTo>
                  <a:lnTo>
                    <a:pt x="186741" y="200228"/>
                  </a:lnTo>
                  <a:lnTo>
                    <a:pt x="186741" y="200876"/>
                  </a:lnTo>
                  <a:lnTo>
                    <a:pt x="186830" y="200876"/>
                  </a:lnTo>
                  <a:lnTo>
                    <a:pt x="186830" y="202260"/>
                  </a:lnTo>
                  <a:lnTo>
                    <a:pt x="186830" y="200876"/>
                  </a:lnTo>
                  <a:lnTo>
                    <a:pt x="186830" y="202260"/>
                  </a:lnTo>
                  <a:lnTo>
                    <a:pt x="186830" y="200876"/>
                  </a:lnTo>
                  <a:lnTo>
                    <a:pt x="186830" y="202260"/>
                  </a:lnTo>
                  <a:lnTo>
                    <a:pt x="186881" y="202260"/>
                  </a:lnTo>
                  <a:lnTo>
                    <a:pt x="186881" y="200876"/>
                  </a:lnTo>
                  <a:lnTo>
                    <a:pt x="186881" y="202260"/>
                  </a:lnTo>
                  <a:lnTo>
                    <a:pt x="186881" y="200876"/>
                  </a:lnTo>
                  <a:lnTo>
                    <a:pt x="186881" y="202260"/>
                  </a:lnTo>
                  <a:lnTo>
                    <a:pt x="186881" y="200876"/>
                  </a:lnTo>
                  <a:lnTo>
                    <a:pt x="186881" y="202260"/>
                  </a:lnTo>
                  <a:lnTo>
                    <a:pt x="186881" y="200876"/>
                  </a:lnTo>
                  <a:lnTo>
                    <a:pt x="186932" y="200876"/>
                  </a:lnTo>
                  <a:lnTo>
                    <a:pt x="186932" y="200228"/>
                  </a:lnTo>
                  <a:lnTo>
                    <a:pt x="186932" y="200876"/>
                  </a:lnTo>
                  <a:lnTo>
                    <a:pt x="186932" y="200228"/>
                  </a:lnTo>
                  <a:lnTo>
                    <a:pt x="186932" y="200876"/>
                  </a:lnTo>
                  <a:lnTo>
                    <a:pt x="186932" y="200228"/>
                  </a:lnTo>
                  <a:lnTo>
                    <a:pt x="186932" y="200876"/>
                  </a:lnTo>
                  <a:lnTo>
                    <a:pt x="186932" y="200228"/>
                  </a:lnTo>
                  <a:lnTo>
                    <a:pt x="186932" y="200876"/>
                  </a:lnTo>
                  <a:lnTo>
                    <a:pt x="186932" y="200228"/>
                  </a:lnTo>
                  <a:lnTo>
                    <a:pt x="186983" y="200228"/>
                  </a:lnTo>
                  <a:lnTo>
                    <a:pt x="186983" y="198831"/>
                  </a:lnTo>
                  <a:lnTo>
                    <a:pt x="186983" y="199530"/>
                  </a:lnTo>
                  <a:lnTo>
                    <a:pt x="186983" y="198831"/>
                  </a:lnTo>
                  <a:lnTo>
                    <a:pt x="187084" y="199530"/>
                  </a:lnTo>
                  <a:lnTo>
                    <a:pt x="187084" y="198831"/>
                  </a:lnTo>
                  <a:lnTo>
                    <a:pt x="187084" y="200876"/>
                  </a:lnTo>
                  <a:lnTo>
                    <a:pt x="187135" y="200876"/>
                  </a:lnTo>
                  <a:lnTo>
                    <a:pt x="187135" y="199530"/>
                  </a:lnTo>
                  <a:lnTo>
                    <a:pt x="187135" y="200876"/>
                  </a:lnTo>
                  <a:lnTo>
                    <a:pt x="187186" y="200876"/>
                  </a:lnTo>
                  <a:lnTo>
                    <a:pt x="187186" y="200228"/>
                  </a:lnTo>
                  <a:lnTo>
                    <a:pt x="187186" y="202260"/>
                  </a:lnTo>
                  <a:lnTo>
                    <a:pt x="187287" y="200876"/>
                  </a:lnTo>
                  <a:lnTo>
                    <a:pt x="187287" y="200228"/>
                  </a:lnTo>
                  <a:lnTo>
                    <a:pt x="187287" y="202260"/>
                  </a:lnTo>
                  <a:lnTo>
                    <a:pt x="187287" y="200876"/>
                  </a:lnTo>
                  <a:lnTo>
                    <a:pt x="187287" y="202260"/>
                  </a:lnTo>
                  <a:lnTo>
                    <a:pt x="187287" y="200876"/>
                  </a:lnTo>
                  <a:lnTo>
                    <a:pt x="187287" y="202260"/>
                  </a:lnTo>
                  <a:lnTo>
                    <a:pt x="187325" y="202260"/>
                  </a:lnTo>
                  <a:lnTo>
                    <a:pt x="187325" y="200876"/>
                  </a:lnTo>
                  <a:lnTo>
                    <a:pt x="187325" y="202260"/>
                  </a:lnTo>
                  <a:lnTo>
                    <a:pt x="187325" y="200876"/>
                  </a:lnTo>
                  <a:lnTo>
                    <a:pt x="187325" y="202260"/>
                  </a:lnTo>
                  <a:lnTo>
                    <a:pt x="187325" y="200876"/>
                  </a:lnTo>
                  <a:lnTo>
                    <a:pt x="187325" y="202260"/>
                  </a:lnTo>
                  <a:lnTo>
                    <a:pt x="187325" y="200876"/>
                  </a:lnTo>
                  <a:lnTo>
                    <a:pt x="187376" y="200876"/>
                  </a:lnTo>
                  <a:lnTo>
                    <a:pt x="187376" y="200228"/>
                  </a:lnTo>
                  <a:lnTo>
                    <a:pt x="187427" y="200228"/>
                  </a:lnTo>
                  <a:lnTo>
                    <a:pt x="187427" y="199530"/>
                  </a:lnTo>
                  <a:lnTo>
                    <a:pt x="187529" y="199530"/>
                  </a:lnTo>
                  <a:lnTo>
                    <a:pt x="187529" y="197447"/>
                  </a:lnTo>
                  <a:lnTo>
                    <a:pt x="187529" y="200228"/>
                  </a:lnTo>
                  <a:lnTo>
                    <a:pt x="187580" y="199530"/>
                  </a:lnTo>
                  <a:lnTo>
                    <a:pt x="187580" y="197447"/>
                  </a:lnTo>
                  <a:lnTo>
                    <a:pt x="187580" y="200876"/>
                  </a:lnTo>
                  <a:lnTo>
                    <a:pt x="187630" y="200876"/>
                  </a:lnTo>
                  <a:lnTo>
                    <a:pt x="187630" y="199530"/>
                  </a:lnTo>
                  <a:lnTo>
                    <a:pt x="187630" y="202260"/>
                  </a:lnTo>
                  <a:lnTo>
                    <a:pt x="187630" y="200876"/>
                  </a:lnTo>
                  <a:lnTo>
                    <a:pt x="187732" y="200876"/>
                  </a:lnTo>
                  <a:lnTo>
                    <a:pt x="187732" y="200228"/>
                  </a:lnTo>
                  <a:lnTo>
                    <a:pt x="187732" y="200876"/>
                  </a:lnTo>
                  <a:lnTo>
                    <a:pt x="187732" y="200228"/>
                  </a:lnTo>
                  <a:lnTo>
                    <a:pt x="187732" y="202260"/>
                  </a:lnTo>
                  <a:lnTo>
                    <a:pt x="187732" y="200876"/>
                  </a:lnTo>
                  <a:lnTo>
                    <a:pt x="187783" y="200876"/>
                  </a:lnTo>
                  <a:lnTo>
                    <a:pt x="187783" y="202260"/>
                  </a:lnTo>
                  <a:lnTo>
                    <a:pt x="187834" y="202260"/>
                  </a:lnTo>
                  <a:lnTo>
                    <a:pt x="187834" y="200876"/>
                  </a:lnTo>
                  <a:lnTo>
                    <a:pt x="187834" y="202260"/>
                  </a:lnTo>
                  <a:lnTo>
                    <a:pt x="187834" y="200876"/>
                  </a:lnTo>
                  <a:lnTo>
                    <a:pt x="187834" y="202260"/>
                  </a:lnTo>
                  <a:lnTo>
                    <a:pt x="187834" y="200876"/>
                  </a:lnTo>
                  <a:lnTo>
                    <a:pt x="187872" y="200876"/>
                  </a:lnTo>
                  <a:lnTo>
                    <a:pt x="187872" y="200228"/>
                  </a:lnTo>
                  <a:lnTo>
                    <a:pt x="187872" y="200876"/>
                  </a:lnTo>
                  <a:lnTo>
                    <a:pt x="187872" y="200228"/>
                  </a:lnTo>
                  <a:lnTo>
                    <a:pt x="187872" y="200876"/>
                  </a:lnTo>
                  <a:lnTo>
                    <a:pt x="187872" y="200228"/>
                  </a:lnTo>
                  <a:lnTo>
                    <a:pt x="187973" y="200228"/>
                  </a:lnTo>
                  <a:lnTo>
                    <a:pt x="187973" y="199530"/>
                  </a:lnTo>
                  <a:lnTo>
                    <a:pt x="188024" y="199530"/>
                  </a:lnTo>
                  <a:lnTo>
                    <a:pt x="188024" y="198831"/>
                  </a:lnTo>
                  <a:lnTo>
                    <a:pt x="188024" y="200876"/>
                  </a:lnTo>
                  <a:lnTo>
                    <a:pt x="188024" y="197447"/>
                  </a:lnTo>
                  <a:lnTo>
                    <a:pt x="188075" y="197447"/>
                  </a:lnTo>
                  <a:lnTo>
                    <a:pt x="188075" y="202260"/>
                  </a:lnTo>
                  <a:lnTo>
                    <a:pt x="188075" y="199530"/>
                  </a:lnTo>
                  <a:lnTo>
                    <a:pt x="188075" y="200228"/>
                  </a:lnTo>
                  <a:lnTo>
                    <a:pt x="188176" y="200228"/>
                  </a:lnTo>
                  <a:lnTo>
                    <a:pt x="188176" y="200876"/>
                  </a:lnTo>
                  <a:lnTo>
                    <a:pt x="188176" y="200228"/>
                  </a:lnTo>
                  <a:lnTo>
                    <a:pt x="188176" y="200876"/>
                  </a:lnTo>
                  <a:lnTo>
                    <a:pt x="188176" y="200228"/>
                  </a:lnTo>
                  <a:lnTo>
                    <a:pt x="188227" y="200228"/>
                  </a:lnTo>
                  <a:lnTo>
                    <a:pt x="188227" y="202260"/>
                  </a:lnTo>
                  <a:lnTo>
                    <a:pt x="188227" y="200228"/>
                  </a:lnTo>
                  <a:lnTo>
                    <a:pt x="188227" y="200876"/>
                  </a:lnTo>
                  <a:lnTo>
                    <a:pt x="188227" y="200228"/>
                  </a:lnTo>
                  <a:lnTo>
                    <a:pt x="188227" y="200876"/>
                  </a:lnTo>
                  <a:lnTo>
                    <a:pt x="188278" y="200876"/>
                  </a:lnTo>
                  <a:lnTo>
                    <a:pt x="188278" y="202260"/>
                  </a:lnTo>
                  <a:lnTo>
                    <a:pt x="188278" y="200876"/>
                  </a:lnTo>
                  <a:lnTo>
                    <a:pt x="188278" y="202260"/>
                  </a:lnTo>
                  <a:lnTo>
                    <a:pt x="188329" y="202260"/>
                  </a:lnTo>
                  <a:lnTo>
                    <a:pt x="188329" y="200876"/>
                  </a:lnTo>
                  <a:lnTo>
                    <a:pt x="188329" y="202260"/>
                  </a:lnTo>
                  <a:lnTo>
                    <a:pt x="188329" y="200876"/>
                  </a:lnTo>
                  <a:lnTo>
                    <a:pt x="188418" y="200876"/>
                  </a:lnTo>
                  <a:lnTo>
                    <a:pt x="188418" y="200228"/>
                  </a:lnTo>
                  <a:lnTo>
                    <a:pt x="188418" y="200876"/>
                  </a:lnTo>
                  <a:lnTo>
                    <a:pt x="188418" y="200228"/>
                  </a:lnTo>
                  <a:lnTo>
                    <a:pt x="188418" y="200876"/>
                  </a:lnTo>
                  <a:lnTo>
                    <a:pt x="188418" y="200228"/>
                  </a:lnTo>
                  <a:lnTo>
                    <a:pt x="188418" y="200876"/>
                  </a:lnTo>
                  <a:lnTo>
                    <a:pt x="188418" y="200228"/>
                  </a:lnTo>
                  <a:lnTo>
                    <a:pt x="188468" y="200228"/>
                  </a:lnTo>
                  <a:lnTo>
                    <a:pt x="188468" y="199530"/>
                  </a:lnTo>
                  <a:lnTo>
                    <a:pt x="188468" y="200228"/>
                  </a:lnTo>
                  <a:lnTo>
                    <a:pt x="188519" y="200228"/>
                  </a:lnTo>
                  <a:lnTo>
                    <a:pt x="188519" y="199530"/>
                  </a:lnTo>
                  <a:lnTo>
                    <a:pt x="188519" y="200228"/>
                  </a:lnTo>
                  <a:lnTo>
                    <a:pt x="188519" y="199530"/>
                  </a:lnTo>
                  <a:lnTo>
                    <a:pt x="188519" y="202959"/>
                  </a:lnTo>
                  <a:lnTo>
                    <a:pt x="188570" y="202260"/>
                  </a:lnTo>
                  <a:lnTo>
                    <a:pt x="188570" y="200876"/>
                  </a:lnTo>
                  <a:lnTo>
                    <a:pt x="188570" y="203594"/>
                  </a:lnTo>
                  <a:lnTo>
                    <a:pt x="188570" y="202959"/>
                  </a:lnTo>
                  <a:lnTo>
                    <a:pt x="188672" y="202959"/>
                  </a:lnTo>
                  <a:lnTo>
                    <a:pt x="188672" y="202260"/>
                  </a:lnTo>
                  <a:lnTo>
                    <a:pt x="188672" y="202959"/>
                  </a:lnTo>
                  <a:lnTo>
                    <a:pt x="188672" y="202260"/>
                  </a:lnTo>
                  <a:lnTo>
                    <a:pt x="188672" y="202959"/>
                  </a:lnTo>
                  <a:lnTo>
                    <a:pt x="188723" y="202959"/>
                  </a:lnTo>
                  <a:lnTo>
                    <a:pt x="188723" y="203594"/>
                  </a:lnTo>
                  <a:lnTo>
                    <a:pt x="188723" y="202959"/>
                  </a:lnTo>
                  <a:lnTo>
                    <a:pt x="188773" y="202959"/>
                  </a:lnTo>
                  <a:lnTo>
                    <a:pt x="188773" y="203594"/>
                  </a:lnTo>
                  <a:lnTo>
                    <a:pt x="188773" y="202959"/>
                  </a:lnTo>
                  <a:lnTo>
                    <a:pt x="188773" y="203594"/>
                  </a:lnTo>
                  <a:lnTo>
                    <a:pt x="188773" y="202260"/>
                  </a:lnTo>
                  <a:lnTo>
                    <a:pt x="188773" y="202959"/>
                  </a:lnTo>
                  <a:lnTo>
                    <a:pt x="188875" y="202959"/>
                  </a:lnTo>
                  <a:lnTo>
                    <a:pt x="188875" y="200876"/>
                  </a:lnTo>
                  <a:lnTo>
                    <a:pt x="188913" y="200228"/>
                  </a:lnTo>
                  <a:lnTo>
                    <a:pt x="188913" y="200876"/>
                  </a:lnTo>
                  <a:lnTo>
                    <a:pt x="188913" y="199530"/>
                  </a:lnTo>
                  <a:lnTo>
                    <a:pt x="188964" y="199530"/>
                  </a:lnTo>
                  <a:lnTo>
                    <a:pt x="188964" y="202260"/>
                  </a:lnTo>
                  <a:lnTo>
                    <a:pt x="188964" y="199530"/>
                  </a:lnTo>
                  <a:lnTo>
                    <a:pt x="188964" y="200228"/>
                  </a:lnTo>
                  <a:lnTo>
                    <a:pt x="189015" y="200876"/>
                  </a:lnTo>
                  <a:lnTo>
                    <a:pt x="189015" y="203594"/>
                  </a:lnTo>
                  <a:lnTo>
                    <a:pt x="189015" y="202260"/>
                  </a:lnTo>
                  <a:lnTo>
                    <a:pt x="189015" y="203594"/>
                  </a:lnTo>
                  <a:lnTo>
                    <a:pt x="189116" y="203594"/>
                  </a:lnTo>
                  <a:lnTo>
                    <a:pt x="189116" y="202260"/>
                  </a:lnTo>
                  <a:lnTo>
                    <a:pt x="189116" y="202959"/>
                  </a:lnTo>
                  <a:lnTo>
                    <a:pt x="189167" y="202959"/>
                  </a:lnTo>
                  <a:lnTo>
                    <a:pt x="189167" y="203594"/>
                  </a:lnTo>
                  <a:lnTo>
                    <a:pt x="189167" y="202959"/>
                  </a:lnTo>
                  <a:lnTo>
                    <a:pt x="189167" y="203594"/>
                  </a:lnTo>
                  <a:lnTo>
                    <a:pt x="189167" y="202959"/>
                  </a:lnTo>
                  <a:lnTo>
                    <a:pt x="189167" y="203594"/>
                  </a:lnTo>
                  <a:lnTo>
                    <a:pt x="189218" y="203594"/>
                  </a:lnTo>
                  <a:lnTo>
                    <a:pt x="189218" y="202959"/>
                  </a:lnTo>
                  <a:lnTo>
                    <a:pt x="189218" y="203594"/>
                  </a:lnTo>
                  <a:lnTo>
                    <a:pt x="189218" y="202959"/>
                  </a:lnTo>
                  <a:lnTo>
                    <a:pt x="189218" y="203594"/>
                  </a:lnTo>
                  <a:lnTo>
                    <a:pt x="189319" y="202959"/>
                  </a:lnTo>
                  <a:lnTo>
                    <a:pt x="189319" y="202260"/>
                  </a:lnTo>
                  <a:lnTo>
                    <a:pt x="189319" y="202959"/>
                  </a:lnTo>
                  <a:lnTo>
                    <a:pt x="189319" y="202260"/>
                  </a:lnTo>
                  <a:lnTo>
                    <a:pt x="189319" y="202959"/>
                  </a:lnTo>
                  <a:lnTo>
                    <a:pt x="189370" y="202959"/>
                  </a:lnTo>
                  <a:lnTo>
                    <a:pt x="189370" y="200228"/>
                  </a:lnTo>
                  <a:lnTo>
                    <a:pt x="189421" y="200228"/>
                  </a:lnTo>
                  <a:lnTo>
                    <a:pt x="189421" y="198831"/>
                  </a:lnTo>
                  <a:lnTo>
                    <a:pt x="189421" y="200228"/>
                  </a:lnTo>
                  <a:lnTo>
                    <a:pt x="189459" y="200228"/>
                  </a:lnTo>
                  <a:lnTo>
                    <a:pt x="189459" y="199530"/>
                  </a:lnTo>
                  <a:lnTo>
                    <a:pt x="189459" y="202260"/>
                  </a:lnTo>
                  <a:lnTo>
                    <a:pt x="189561" y="202260"/>
                  </a:lnTo>
                  <a:lnTo>
                    <a:pt x="189561" y="200876"/>
                  </a:lnTo>
                  <a:lnTo>
                    <a:pt x="189561" y="202260"/>
                  </a:lnTo>
                  <a:lnTo>
                    <a:pt x="189561" y="200228"/>
                  </a:lnTo>
                  <a:lnTo>
                    <a:pt x="189561" y="202260"/>
                  </a:lnTo>
                  <a:lnTo>
                    <a:pt x="189611" y="202260"/>
                  </a:lnTo>
                  <a:lnTo>
                    <a:pt x="189611" y="200876"/>
                  </a:lnTo>
                  <a:lnTo>
                    <a:pt x="189611" y="202260"/>
                  </a:lnTo>
                  <a:lnTo>
                    <a:pt x="189611" y="200876"/>
                  </a:lnTo>
                  <a:lnTo>
                    <a:pt x="189611" y="202959"/>
                  </a:lnTo>
                  <a:lnTo>
                    <a:pt x="189611" y="202260"/>
                  </a:lnTo>
                  <a:lnTo>
                    <a:pt x="189662" y="202260"/>
                  </a:lnTo>
                  <a:lnTo>
                    <a:pt x="189662" y="202959"/>
                  </a:lnTo>
                  <a:lnTo>
                    <a:pt x="189662" y="202260"/>
                  </a:lnTo>
                  <a:lnTo>
                    <a:pt x="189662" y="202959"/>
                  </a:lnTo>
                  <a:lnTo>
                    <a:pt x="189764" y="202959"/>
                  </a:lnTo>
                  <a:lnTo>
                    <a:pt x="189764" y="203594"/>
                  </a:lnTo>
                  <a:lnTo>
                    <a:pt x="189764" y="202260"/>
                  </a:lnTo>
                  <a:lnTo>
                    <a:pt x="189764" y="202959"/>
                  </a:lnTo>
                  <a:lnTo>
                    <a:pt x="189815" y="202959"/>
                  </a:lnTo>
                  <a:lnTo>
                    <a:pt x="189815" y="203594"/>
                  </a:lnTo>
                  <a:lnTo>
                    <a:pt x="189815" y="202260"/>
                  </a:lnTo>
                  <a:lnTo>
                    <a:pt x="189866" y="202260"/>
                  </a:lnTo>
                  <a:lnTo>
                    <a:pt x="189866" y="200228"/>
                  </a:lnTo>
                  <a:lnTo>
                    <a:pt x="189866" y="200876"/>
                  </a:lnTo>
                  <a:lnTo>
                    <a:pt x="189866" y="200228"/>
                  </a:lnTo>
                  <a:lnTo>
                    <a:pt x="189916" y="200228"/>
                  </a:lnTo>
                  <a:lnTo>
                    <a:pt x="189916" y="202260"/>
                  </a:lnTo>
                  <a:lnTo>
                    <a:pt x="189916" y="200876"/>
                  </a:lnTo>
                  <a:lnTo>
                    <a:pt x="189916" y="202260"/>
                  </a:lnTo>
                  <a:lnTo>
                    <a:pt x="189916" y="200228"/>
                  </a:lnTo>
                  <a:lnTo>
                    <a:pt x="190005" y="200228"/>
                  </a:lnTo>
                  <a:lnTo>
                    <a:pt x="190005" y="203594"/>
                  </a:lnTo>
                  <a:lnTo>
                    <a:pt x="190005" y="200876"/>
                  </a:lnTo>
                  <a:lnTo>
                    <a:pt x="190056" y="202260"/>
                  </a:lnTo>
                  <a:lnTo>
                    <a:pt x="190056" y="202959"/>
                  </a:lnTo>
                  <a:lnTo>
                    <a:pt x="190056" y="200876"/>
                  </a:lnTo>
                  <a:lnTo>
                    <a:pt x="190056" y="202260"/>
                  </a:lnTo>
                  <a:lnTo>
                    <a:pt x="190107" y="202959"/>
                  </a:lnTo>
                  <a:lnTo>
                    <a:pt x="190107" y="202260"/>
                  </a:lnTo>
                  <a:lnTo>
                    <a:pt x="190107" y="202959"/>
                  </a:lnTo>
                  <a:lnTo>
                    <a:pt x="190107" y="202260"/>
                  </a:lnTo>
                  <a:lnTo>
                    <a:pt x="190107" y="202959"/>
                  </a:lnTo>
                  <a:lnTo>
                    <a:pt x="190158" y="202959"/>
                  </a:lnTo>
                  <a:lnTo>
                    <a:pt x="190158" y="202260"/>
                  </a:lnTo>
                  <a:lnTo>
                    <a:pt x="190158" y="203594"/>
                  </a:lnTo>
                  <a:lnTo>
                    <a:pt x="190259" y="202959"/>
                  </a:lnTo>
                  <a:lnTo>
                    <a:pt x="190259" y="202260"/>
                  </a:lnTo>
                  <a:lnTo>
                    <a:pt x="190310" y="202260"/>
                  </a:lnTo>
                  <a:lnTo>
                    <a:pt x="190310" y="200876"/>
                  </a:lnTo>
                  <a:lnTo>
                    <a:pt x="190310" y="202260"/>
                  </a:lnTo>
                  <a:lnTo>
                    <a:pt x="190310" y="200876"/>
                  </a:lnTo>
                  <a:lnTo>
                    <a:pt x="190310" y="202260"/>
                  </a:lnTo>
                  <a:lnTo>
                    <a:pt x="190310" y="200228"/>
                  </a:lnTo>
                  <a:lnTo>
                    <a:pt x="190361" y="200228"/>
                  </a:lnTo>
                  <a:lnTo>
                    <a:pt x="190361" y="199530"/>
                  </a:lnTo>
                  <a:lnTo>
                    <a:pt x="190361" y="200228"/>
                  </a:lnTo>
                  <a:lnTo>
                    <a:pt x="190361" y="198831"/>
                  </a:lnTo>
                  <a:lnTo>
                    <a:pt x="190462" y="198831"/>
                  </a:lnTo>
                  <a:lnTo>
                    <a:pt x="190462" y="196799"/>
                  </a:lnTo>
                  <a:lnTo>
                    <a:pt x="190462" y="199530"/>
                  </a:lnTo>
                  <a:lnTo>
                    <a:pt x="190462" y="198831"/>
                  </a:lnTo>
                  <a:lnTo>
                    <a:pt x="190462" y="200228"/>
                  </a:lnTo>
                  <a:lnTo>
                    <a:pt x="190462" y="197447"/>
                  </a:lnTo>
                  <a:lnTo>
                    <a:pt x="190500" y="198831"/>
                  </a:lnTo>
                  <a:lnTo>
                    <a:pt x="190500" y="200228"/>
                  </a:lnTo>
                  <a:lnTo>
                    <a:pt x="190500" y="199530"/>
                  </a:lnTo>
                  <a:lnTo>
                    <a:pt x="190551" y="199530"/>
                  </a:lnTo>
                  <a:lnTo>
                    <a:pt x="190551" y="200876"/>
                  </a:lnTo>
                  <a:lnTo>
                    <a:pt x="190551" y="200228"/>
                  </a:lnTo>
                  <a:lnTo>
                    <a:pt x="190551" y="200876"/>
                  </a:lnTo>
                  <a:lnTo>
                    <a:pt x="190551" y="200228"/>
                  </a:lnTo>
                  <a:lnTo>
                    <a:pt x="190602" y="200228"/>
                  </a:lnTo>
                  <a:lnTo>
                    <a:pt x="190602" y="202260"/>
                  </a:lnTo>
                  <a:lnTo>
                    <a:pt x="190602" y="200876"/>
                  </a:lnTo>
                  <a:lnTo>
                    <a:pt x="190602" y="202260"/>
                  </a:lnTo>
                  <a:lnTo>
                    <a:pt x="190602" y="200876"/>
                  </a:lnTo>
                  <a:lnTo>
                    <a:pt x="190704" y="200876"/>
                  </a:lnTo>
                  <a:lnTo>
                    <a:pt x="190704" y="203594"/>
                  </a:lnTo>
                  <a:lnTo>
                    <a:pt x="190704" y="202260"/>
                  </a:lnTo>
                  <a:lnTo>
                    <a:pt x="190805" y="202260"/>
                  </a:lnTo>
                  <a:lnTo>
                    <a:pt x="190805" y="200876"/>
                  </a:lnTo>
                  <a:lnTo>
                    <a:pt x="190805" y="202260"/>
                  </a:lnTo>
                  <a:lnTo>
                    <a:pt x="190805" y="200876"/>
                  </a:lnTo>
                  <a:lnTo>
                    <a:pt x="190805" y="202260"/>
                  </a:lnTo>
                  <a:lnTo>
                    <a:pt x="190805" y="200228"/>
                  </a:lnTo>
                  <a:lnTo>
                    <a:pt x="190907" y="200228"/>
                  </a:lnTo>
                  <a:lnTo>
                    <a:pt x="190907" y="200876"/>
                  </a:lnTo>
                  <a:lnTo>
                    <a:pt x="190907" y="199530"/>
                  </a:lnTo>
                  <a:lnTo>
                    <a:pt x="190907" y="200228"/>
                  </a:lnTo>
                  <a:lnTo>
                    <a:pt x="190907" y="198831"/>
                  </a:lnTo>
                  <a:lnTo>
                    <a:pt x="190907" y="199530"/>
                  </a:lnTo>
                  <a:lnTo>
                    <a:pt x="190907" y="198831"/>
                  </a:lnTo>
                  <a:lnTo>
                    <a:pt x="190958" y="198831"/>
                  </a:lnTo>
                  <a:lnTo>
                    <a:pt x="190958" y="199530"/>
                  </a:lnTo>
                  <a:lnTo>
                    <a:pt x="190958" y="198831"/>
                  </a:lnTo>
                  <a:lnTo>
                    <a:pt x="190958" y="199530"/>
                  </a:lnTo>
                  <a:lnTo>
                    <a:pt x="190958" y="198831"/>
                  </a:lnTo>
                  <a:lnTo>
                    <a:pt x="190958" y="199530"/>
                  </a:lnTo>
                  <a:lnTo>
                    <a:pt x="190958" y="198831"/>
                  </a:lnTo>
                  <a:lnTo>
                    <a:pt x="191009" y="198831"/>
                  </a:lnTo>
                  <a:lnTo>
                    <a:pt x="191009" y="200228"/>
                  </a:lnTo>
                  <a:lnTo>
                    <a:pt x="191009" y="199530"/>
                  </a:lnTo>
                  <a:lnTo>
                    <a:pt x="191009" y="200228"/>
                  </a:lnTo>
                  <a:lnTo>
                    <a:pt x="191009" y="199530"/>
                  </a:lnTo>
                  <a:lnTo>
                    <a:pt x="191009" y="200228"/>
                  </a:lnTo>
                  <a:lnTo>
                    <a:pt x="191009" y="198831"/>
                  </a:lnTo>
                  <a:lnTo>
                    <a:pt x="191009" y="199530"/>
                  </a:lnTo>
                  <a:lnTo>
                    <a:pt x="191047" y="199530"/>
                  </a:lnTo>
                  <a:lnTo>
                    <a:pt x="191047" y="200228"/>
                  </a:lnTo>
                  <a:lnTo>
                    <a:pt x="191047" y="199530"/>
                  </a:lnTo>
                  <a:lnTo>
                    <a:pt x="191148" y="200228"/>
                  </a:lnTo>
                  <a:lnTo>
                    <a:pt x="191148" y="199530"/>
                  </a:lnTo>
                  <a:lnTo>
                    <a:pt x="191148" y="200228"/>
                  </a:lnTo>
                  <a:lnTo>
                    <a:pt x="191148" y="199530"/>
                  </a:lnTo>
                  <a:lnTo>
                    <a:pt x="191148" y="200876"/>
                  </a:lnTo>
                  <a:lnTo>
                    <a:pt x="191148" y="200228"/>
                  </a:lnTo>
                  <a:lnTo>
                    <a:pt x="191148" y="200876"/>
                  </a:lnTo>
                  <a:lnTo>
                    <a:pt x="191199" y="200876"/>
                  </a:lnTo>
                  <a:lnTo>
                    <a:pt x="191199" y="200228"/>
                  </a:lnTo>
                  <a:lnTo>
                    <a:pt x="191199" y="200876"/>
                  </a:lnTo>
                  <a:lnTo>
                    <a:pt x="191250" y="200876"/>
                  </a:lnTo>
                  <a:lnTo>
                    <a:pt x="191250" y="200228"/>
                  </a:lnTo>
                  <a:lnTo>
                    <a:pt x="191250" y="200876"/>
                  </a:lnTo>
                  <a:lnTo>
                    <a:pt x="191351" y="200876"/>
                  </a:lnTo>
                  <a:lnTo>
                    <a:pt x="191351" y="200228"/>
                  </a:lnTo>
                  <a:lnTo>
                    <a:pt x="191351" y="200876"/>
                  </a:lnTo>
                  <a:lnTo>
                    <a:pt x="191351" y="200228"/>
                  </a:lnTo>
                  <a:lnTo>
                    <a:pt x="191351" y="200876"/>
                  </a:lnTo>
                  <a:lnTo>
                    <a:pt x="191351" y="200228"/>
                  </a:lnTo>
                  <a:lnTo>
                    <a:pt x="191351" y="200876"/>
                  </a:lnTo>
                  <a:lnTo>
                    <a:pt x="191351" y="200228"/>
                  </a:lnTo>
                  <a:lnTo>
                    <a:pt x="191402" y="199530"/>
                  </a:lnTo>
                  <a:lnTo>
                    <a:pt x="191402" y="200876"/>
                  </a:lnTo>
                  <a:lnTo>
                    <a:pt x="191402" y="200228"/>
                  </a:lnTo>
                  <a:lnTo>
                    <a:pt x="191453" y="200228"/>
                  </a:lnTo>
                  <a:lnTo>
                    <a:pt x="191453" y="199530"/>
                  </a:lnTo>
                  <a:lnTo>
                    <a:pt x="191453" y="200876"/>
                  </a:lnTo>
                  <a:lnTo>
                    <a:pt x="191504" y="200228"/>
                  </a:lnTo>
                  <a:lnTo>
                    <a:pt x="191504" y="202260"/>
                  </a:lnTo>
                  <a:lnTo>
                    <a:pt x="191504" y="200876"/>
                  </a:lnTo>
                  <a:lnTo>
                    <a:pt x="191504" y="202260"/>
                  </a:lnTo>
                  <a:lnTo>
                    <a:pt x="191593" y="202260"/>
                  </a:lnTo>
                  <a:lnTo>
                    <a:pt x="191593" y="200876"/>
                  </a:lnTo>
                  <a:lnTo>
                    <a:pt x="191593" y="202260"/>
                  </a:lnTo>
                  <a:lnTo>
                    <a:pt x="191593" y="200876"/>
                  </a:lnTo>
                  <a:lnTo>
                    <a:pt x="191643" y="200876"/>
                  </a:lnTo>
                  <a:lnTo>
                    <a:pt x="191643" y="202260"/>
                  </a:lnTo>
                  <a:lnTo>
                    <a:pt x="191643" y="200876"/>
                  </a:lnTo>
                  <a:lnTo>
                    <a:pt x="191643" y="202260"/>
                  </a:lnTo>
                  <a:lnTo>
                    <a:pt x="191643" y="200876"/>
                  </a:lnTo>
                  <a:lnTo>
                    <a:pt x="191643" y="202260"/>
                  </a:lnTo>
                  <a:lnTo>
                    <a:pt x="191694" y="202260"/>
                  </a:lnTo>
                  <a:lnTo>
                    <a:pt x="191694" y="200876"/>
                  </a:lnTo>
                  <a:lnTo>
                    <a:pt x="191694" y="202260"/>
                  </a:lnTo>
                  <a:lnTo>
                    <a:pt x="191694" y="200876"/>
                  </a:lnTo>
                  <a:lnTo>
                    <a:pt x="191694" y="202260"/>
                  </a:lnTo>
                  <a:lnTo>
                    <a:pt x="191694" y="200876"/>
                  </a:lnTo>
                  <a:lnTo>
                    <a:pt x="191745" y="200876"/>
                  </a:lnTo>
                  <a:lnTo>
                    <a:pt x="191745" y="200228"/>
                  </a:lnTo>
                  <a:lnTo>
                    <a:pt x="191745" y="200876"/>
                  </a:lnTo>
                  <a:lnTo>
                    <a:pt x="191745" y="200228"/>
                  </a:lnTo>
                  <a:lnTo>
                    <a:pt x="191745" y="200876"/>
                  </a:lnTo>
                  <a:lnTo>
                    <a:pt x="191745" y="200228"/>
                  </a:lnTo>
                  <a:lnTo>
                    <a:pt x="191847" y="200228"/>
                  </a:lnTo>
                  <a:lnTo>
                    <a:pt x="191847" y="198831"/>
                  </a:lnTo>
                  <a:lnTo>
                    <a:pt x="191898" y="199530"/>
                  </a:lnTo>
                  <a:lnTo>
                    <a:pt x="191898" y="198831"/>
                  </a:lnTo>
                  <a:lnTo>
                    <a:pt x="191898" y="200228"/>
                  </a:lnTo>
                  <a:lnTo>
                    <a:pt x="191898" y="199530"/>
                  </a:lnTo>
                  <a:lnTo>
                    <a:pt x="191898" y="200228"/>
                  </a:lnTo>
                  <a:lnTo>
                    <a:pt x="191948" y="200228"/>
                  </a:lnTo>
                  <a:lnTo>
                    <a:pt x="191948" y="199530"/>
                  </a:lnTo>
                  <a:lnTo>
                    <a:pt x="191948" y="202260"/>
                  </a:lnTo>
                  <a:lnTo>
                    <a:pt x="191948" y="200876"/>
                  </a:lnTo>
                  <a:lnTo>
                    <a:pt x="191948" y="202260"/>
                  </a:lnTo>
                  <a:lnTo>
                    <a:pt x="191948" y="200876"/>
                  </a:lnTo>
                  <a:lnTo>
                    <a:pt x="192050" y="200876"/>
                  </a:lnTo>
                  <a:lnTo>
                    <a:pt x="192050" y="202260"/>
                  </a:lnTo>
                  <a:lnTo>
                    <a:pt x="192050" y="200876"/>
                  </a:lnTo>
                  <a:lnTo>
                    <a:pt x="192050" y="202260"/>
                  </a:lnTo>
                  <a:lnTo>
                    <a:pt x="192050" y="200876"/>
                  </a:lnTo>
                  <a:lnTo>
                    <a:pt x="192088" y="202260"/>
                  </a:lnTo>
                  <a:lnTo>
                    <a:pt x="192190" y="202260"/>
                  </a:lnTo>
                  <a:lnTo>
                    <a:pt x="192190" y="200876"/>
                  </a:lnTo>
                  <a:lnTo>
                    <a:pt x="192190" y="202260"/>
                  </a:lnTo>
                  <a:lnTo>
                    <a:pt x="192190" y="200876"/>
                  </a:lnTo>
                  <a:lnTo>
                    <a:pt x="192291" y="200876"/>
                  </a:lnTo>
                  <a:lnTo>
                    <a:pt x="192291" y="200228"/>
                  </a:lnTo>
                  <a:lnTo>
                    <a:pt x="192342" y="199530"/>
                  </a:lnTo>
                  <a:lnTo>
                    <a:pt x="192342" y="197447"/>
                  </a:lnTo>
                  <a:lnTo>
                    <a:pt x="192393" y="197447"/>
                  </a:lnTo>
                  <a:lnTo>
                    <a:pt x="192393" y="199530"/>
                  </a:lnTo>
                  <a:lnTo>
                    <a:pt x="192393" y="197447"/>
                  </a:lnTo>
                  <a:lnTo>
                    <a:pt x="192393" y="198831"/>
                  </a:lnTo>
                  <a:lnTo>
                    <a:pt x="192393" y="197447"/>
                  </a:lnTo>
                  <a:lnTo>
                    <a:pt x="192393" y="200228"/>
                  </a:lnTo>
                  <a:lnTo>
                    <a:pt x="192494" y="200228"/>
                  </a:lnTo>
                  <a:lnTo>
                    <a:pt x="192494" y="199530"/>
                  </a:lnTo>
                  <a:lnTo>
                    <a:pt x="192494" y="200228"/>
                  </a:lnTo>
                  <a:lnTo>
                    <a:pt x="192494" y="199530"/>
                  </a:lnTo>
                  <a:lnTo>
                    <a:pt x="192494" y="200228"/>
                  </a:lnTo>
                  <a:lnTo>
                    <a:pt x="192545" y="200228"/>
                  </a:lnTo>
                  <a:lnTo>
                    <a:pt x="192545" y="200876"/>
                  </a:lnTo>
                  <a:lnTo>
                    <a:pt x="192545" y="200228"/>
                  </a:lnTo>
                  <a:lnTo>
                    <a:pt x="192545" y="200876"/>
                  </a:lnTo>
                  <a:lnTo>
                    <a:pt x="192545" y="200228"/>
                  </a:lnTo>
                  <a:lnTo>
                    <a:pt x="192545" y="200876"/>
                  </a:lnTo>
                  <a:lnTo>
                    <a:pt x="192545" y="200228"/>
                  </a:lnTo>
                  <a:lnTo>
                    <a:pt x="192545" y="202260"/>
                  </a:lnTo>
                  <a:lnTo>
                    <a:pt x="192596" y="200876"/>
                  </a:lnTo>
                  <a:lnTo>
                    <a:pt x="192596" y="202260"/>
                  </a:lnTo>
                  <a:lnTo>
                    <a:pt x="192596" y="200876"/>
                  </a:lnTo>
                  <a:lnTo>
                    <a:pt x="192596" y="202260"/>
                  </a:lnTo>
                  <a:lnTo>
                    <a:pt x="192634" y="202260"/>
                  </a:lnTo>
                  <a:lnTo>
                    <a:pt x="192634" y="202959"/>
                  </a:lnTo>
                  <a:lnTo>
                    <a:pt x="192634" y="200876"/>
                  </a:lnTo>
                  <a:lnTo>
                    <a:pt x="192634" y="202260"/>
                  </a:lnTo>
                  <a:lnTo>
                    <a:pt x="192736" y="202260"/>
                  </a:lnTo>
                  <a:lnTo>
                    <a:pt x="192736" y="200876"/>
                  </a:lnTo>
                  <a:lnTo>
                    <a:pt x="192736" y="202260"/>
                  </a:lnTo>
                  <a:lnTo>
                    <a:pt x="192736" y="200876"/>
                  </a:lnTo>
                  <a:lnTo>
                    <a:pt x="192736" y="202260"/>
                  </a:lnTo>
                  <a:lnTo>
                    <a:pt x="192736" y="200228"/>
                  </a:lnTo>
                  <a:lnTo>
                    <a:pt x="192786" y="200228"/>
                  </a:lnTo>
                  <a:lnTo>
                    <a:pt x="192786" y="200876"/>
                  </a:lnTo>
                  <a:lnTo>
                    <a:pt x="192786" y="199530"/>
                  </a:lnTo>
                  <a:lnTo>
                    <a:pt x="192786" y="200228"/>
                  </a:lnTo>
                  <a:lnTo>
                    <a:pt x="192786" y="199530"/>
                  </a:lnTo>
                  <a:lnTo>
                    <a:pt x="192786" y="200228"/>
                  </a:lnTo>
                  <a:lnTo>
                    <a:pt x="192786" y="199530"/>
                  </a:lnTo>
                  <a:lnTo>
                    <a:pt x="192837" y="199530"/>
                  </a:lnTo>
                  <a:lnTo>
                    <a:pt x="192837" y="198831"/>
                  </a:lnTo>
                  <a:lnTo>
                    <a:pt x="192837" y="199530"/>
                  </a:lnTo>
                  <a:lnTo>
                    <a:pt x="192837" y="196799"/>
                  </a:lnTo>
                  <a:lnTo>
                    <a:pt x="192837" y="197447"/>
                  </a:lnTo>
                  <a:lnTo>
                    <a:pt x="192837" y="196799"/>
                  </a:lnTo>
                  <a:lnTo>
                    <a:pt x="192939" y="197447"/>
                  </a:lnTo>
                  <a:lnTo>
                    <a:pt x="192939" y="198831"/>
                  </a:lnTo>
                  <a:lnTo>
                    <a:pt x="192939" y="196799"/>
                  </a:lnTo>
                  <a:lnTo>
                    <a:pt x="192939" y="198831"/>
                  </a:lnTo>
                  <a:lnTo>
                    <a:pt x="192990" y="199530"/>
                  </a:lnTo>
                  <a:lnTo>
                    <a:pt x="192990" y="200228"/>
                  </a:lnTo>
                  <a:lnTo>
                    <a:pt x="192990" y="197447"/>
                  </a:lnTo>
                  <a:lnTo>
                    <a:pt x="192990" y="199530"/>
                  </a:lnTo>
                  <a:lnTo>
                    <a:pt x="192990" y="198831"/>
                  </a:lnTo>
                  <a:lnTo>
                    <a:pt x="193041" y="199530"/>
                  </a:lnTo>
                  <a:lnTo>
                    <a:pt x="193041" y="200228"/>
                  </a:lnTo>
                  <a:lnTo>
                    <a:pt x="193041" y="199530"/>
                  </a:lnTo>
                  <a:lnTo>
                    <a:pt x="193041" y="200228"/>
                  </a:lnTo>
                  <a:lnTo>
                    <a:pt x="193041" y="199530"/>
                  </a:lnTo>
                  <a:lnTo>
                    <a:pt x="193041" y="200228"/>
                  </a:lnTo>
                  <a:lnTo>
                    <a:pt x="193091" y="200228"/>
                  </a:lnTo>
                  <a:lnTo>
                    <a:pt x="193091" y="200876"/>
                  </a:lnTo>
                  <a:lnTo>
                    <a:pt x="193091" y="200228"/>
                  </a:lnTo>
                  <a:lnTo>
                    <a:pt x="193091" y="200876"/>
                  </a:lnTo>
                  <a:lnTo>
                    <a:pt x="193091" y="200228"/>
                  </a:lnTo>
                  <a:lnTo>
                    <a:pt x="193180" y="200876"/>
                  </a:lnTo>
                  <a:lnTo>
                    <a:pt x="193180" y="200228"/>
                  </a:lnTo>
                  <a:lnTo>
                    <a:pt x="193180" y="200876"/>
                  </a:lnTo>
                  <a:lnTo>
                    <a:pt x="193180" y="200228"/>
                  </a:lnTo>
                  <a:lnTo>
                    <a:pt x="193180" y="202260"/>
                  </a:lnTo>
                  <a:lnTo>
                    <a:pt x="193180" y="200876"/>
                  </a:lnTo>
                  <a:lnTo>
                    <a:pt x="193231" y="200876"/>
                  </a:lnTo>
                  <a:lnTo>
                    <a:pt x="193231" y="200228"/>
                  </a:lnTo>
                  <a:lnTo>
                    <a:pt x="193231" y="202260"/>
                  </a:lnTo>
                  <a:lnTo>
                    <a:pt x="193231" y="200228"/>
                  </a:lnTo>
                  <a:lnTo>
                    <a:pt x="193231" y="200876"/>
                  </a:lnTo>
                  <a:lnTo>
                    <a:pt x="193282" y="200228"/>
                  </a:lnTo>
                  <a:lnTo>
                    <a:pt x="193282" y="199530"/>
                  </a:lnTo>
                  <a:lnTo>
                    <a:pt x="193282" y="200228"/>
                  </a:lnTo>
                  <a:lnTo>
                    <a:pt x="193282" y="198831"/>
                  </a:lnTo>
                  <a:lnTo>
                    <a:pt x="193333" y="198831"/>
                  </a:lnTo>
                  <a:lnTo>
                    <a:pt x="193333" y="199530"/>
                  </a:lnTo>
                  <a:lnTo>
                    <a:pt x="193333" y="196799"/>
                  </a:lnTo>
                  <a:lnTo>
                    <a:pt x="193434" y="196113"/>
                  </a:lnTo>
                  <a:lnTo>
                    <a:pt x="193434" y="197447"/>
                  </a:lnTo>
                  <a:lnTo>
                    <a:pt x="193434" y="196113"/>
                  </a:lnTo>
                  <a:lnTo>
                    <a:pt x="193434" y="197447"/>
                  </a:lnTo>
                  <a:lnTo>
                    <a:pt x="193485" y="197447"/>
                  </a:lnTo>
                  <a:lnTo>
                    <a:pt x="193485" y="198831"/>
                  </a:lnTo>
                  <a:lnTo>
                    <a:pt x="193485" y="197447"/>
                  </a:lnTo>
                  <a:lnTo>
                    <a:pt x="193485" y="198831"/>
                  </a:lnTo>
                  <a:lnTo>
                    <a:pt x="193485" y="197447"/>
                  </a:lnTo>
                  <a:lnTo>
                    <a:pt x="193485" y="198831"/>
                  </a:lnTo>
                  <a:lnTo>
                    <a:pt x="193536" y="199530"/>
                  </a:lnTo>
                  <a:lnTo>
                    <a:pt x="193536" y="198831"/>
                  </a:lnTo>
                  <a:lnTo>
                    <a:pt x="193536" y="199530"/>
                  </a:lnTo>
                  <a:lnTo>
                    <a:pt x="193637" y="199530"/>
                  </a:lnTo>
                  <a:lnTo>
                    <a:pt x="193637" y="200228"/>
                  </a:lnTo>
                  <a:lnTo>
                    <a:pt x="193637" y="199530"/>
                  </a:lnTo>
                  <a:lnTo>
                    <a:pt x="193637" y="200228"/>
                  </a:lnTo>
                  <a:lnTo>
                    <a:pt x="193637" y="199530"/>
                  </a:lnTo>
                  <a:lnTo>
                    <a:pt x="193637" y="200228"/>
                  </a:lnTo>
                  <a:lnTo>
                    <a:pt x="193675" y="200228"/>
                  </a:lnTo>
                  <a:lnTo>
                    <a:pt x="193675" y="199530"/>
                  </a:lnTo>
                  <a:lnTo>
                    <a:pt x="193675" y="200228"/>
                  </a:lnTo>
                  <a:lnTo>
                    <a:pt x="193726" y="200228"/>
                  </a:lnTo>
                  <a:lnTo>
                    <a:pt x="193726" y="200876"/>
                  </a:lnTo>
                  <a:lnTo>
                    <a:pt x="193726" y="200228"/>
                  </a:lnTo>
                  <a:lnTo>
                    <a:pt x="193777" y="200228"/>
                  </a:lnTo>
                  <a:lnTo>
                    <a:pt x="193777" y="199530"/>
                  </a:lnTo>
                  <a:lnTo>
                    <a:pt x="193879" y="199530"/>
                  </a:lnTo>
                  <a:lnTo>
                    <a:pt x="193879" y="196113"/>
                  </a:lnTo>
                  <a:lnTo>
                    <a:pt x="193930" y="196113"/>
                  </a:lnTo>
                  <a:lnTo>
                    <a:pt x="193930" y="196799"/>
                  </a:lnTo>
                  <a:lnTo>
                    <a:pt x="193930" y="195415"/>
                  </a:lnTo>
                  <a:lnTo>
                    <a:pt x="193930" y="196799"/>
                  </a:lnTo>
                  <a:lnTo>
                    <a:pt x="193980" y="196799"/>
                  </a:lnTo>
                  <a:lnTo>
                    <a:pt x="193980" y="198831"/>
                  </a:lnTo>
                  <a:lnTo>
                    <a:pt x="193980" y="196799"/>
                  </a:lnTo>
                  <a:lnTo>
                    <a:pt x="193980" y="197447"/>
                  </a:lnTo>
                  <a:lnTo>
                    <a:pt x="194082" y="197447"/>
                  </a:lnTo>
                  <a:lnTo>
                    <a:pt x="194082" y="196799"/>
                  </a:lnTo>
                  <a:lnTo>
                    <a:pt x="194082" y="197447"/>
                  </a:lnTo>
                  <a:lnTo>
                    <a:pt x="194133" y="197447"/>
                  </a:lnTo>
                  <a:lnTo>
                    <a:pt x="194133" y="198831"/>
                  </a:lnTo>
                  <a:lnTo>
                    <a:pt x="194133" y="197447"/>
                  </a:lnTo>
                  <a:lnTo>
                    <a:pt x="194133" y="198831"/>
                  </a:lnTo>
                  <a:lnTo>
                    <a:pt x="194184" y="197447"/>
                  </a:lnTo>
                  <a:lnTo>
                    <a:pt x="194184" y="198831"/>
                  </a:lnTo>
                  <a:lnTo>
                    <a:pt x="194184" y="197447"/>
                  </a:lnTo>
                  <a:lnTo>
                    <a:pt x="194184" y="199530"/>
                  </a:lnTo>
                  <a:lnTo>
                    <a:pt x="194222" y="199530"/>
                  </a:lnTo>
                  <a:lnTo>
                    <a:pt x="194222" y="200228"/>
                  </a:lnTo>
                  <a:lnTo>
                    <a:pt x="194222" y="199530"/>
                  </a:lnTo>
                  <a:lnTo>
                    <a:pt x="194222" y="200228"/>
                  </a:lnTo>
                  <a:lnTo>
                    <a:pt x="194222" y="199530"/>
                  </a:lnTo>
                  <a:lnTo>
                    <a:pt x="194222" y="200228"/>
                  </a:lnTo>
                  <a:lnTo>
                    <a:pt x="194222" y="199530"/>
                  </a:lnTo>
                  <a:lnTo>
                    <a:pt x="194222" y="200228"/>
                  </a:lnTo>
                  <a:lnTo>
                    <a:pt x="194323" y="200228"/>
                  </a:lnTo>
                  <a:lnTo>
                    <a:pt x="194323" y="199530"/>
                  </a:lnTo>
                  <a:lnTo>
                    <a:pt x="194323" y="200228"/>
                  </a:lnTo>
                  <a:lnTo>
                    <a:pt x="194323" y="199530"/>
                  </a:lnTo>
                  <a:lnTo>
                    <a:pt x="194374" y="199530"/>
                  </a:lnTo>
                  <a:lnTo>
                    <a:pt x="194374" y="196113"/>
                  </a:lnTo>
                  <a:lnTo>
                    <a:pt x="194374" y="197447"/>
                  </a:lnTo>
                  <a:lnTo>
                    <a:pt x="194425" y="197447"/>
                  </a:lnTo>
                  <a:lnTo>
                    <a:pt x="194425" y="196113"/>
                  </a:lnTo>
                  <a:lnTo>
                    <a:pt x="194425" y="199530"/>
                  </a:lnTo>
                  <a:lnTo>
                    <a:pt x="194526" y="198831"/>
                  </a:lnTo>
                  <a:lnTo>
                    <a:pt x="194526" y="199530"/>
                  </a:lnTo>
                  <a:lnTo>
                    <a:pt x="194526" y="197447"/>
                  </a:lnTo>
                  <a:lnTo>
                    <a:pt x="194526" y="199530"/>
                  </a:lnTo>
                  <a:lnTo>
                    <a:pt x="194526" y="198831"/>
                  </a:lnTo>
                  <a:lnTo>
                    <a:pt x="194577" y="198831"/>
                  </a:lnTo>
                  <a:lnTo>
                    <a:pt x="194577" y="199530"/>
                  </a:lnTo>
                  <a:lnTo>
                    <a:pt x="194577" y="198831"/>
                  </a:lnTo>
                  <a:lnTo>
                    <a:pt x="194577" y="199530"/>
                  </a:lnTo>
                  <a:lnTo>
                    <a:pt x="194577" y="198831"/>
                  </a:lnTo>
                  <a:lnTo>
                    <a:pt x="194577" y="199530"/>
                  </a:lnTo>
                  <a:lnTo>
                    <a:pt x="194577" y="198831"/>
                  </a:lnTo>
                  <a:lnTo>
                    <a:pt x="194577" y="199530"/>
                  </a:lnTo>
                  <a:lnTo>
                    <a:pt x="194628" y="199530"/>
                  </a:lnTo>
                  <a:lnTo>
                    <a:pt x="194628" y="198831"/>
                  </a:lnTo>
                  <a:lnTo>
                    <a:pt x="194628" y="199530"/>
                  </a:lnTo>
                  <a:lnTo>
                    <a:pt x="194628" y="198831"/>
                  </a:lnTo>
                  <a:lnTo>
                    <a:pt x="194679" y="199530"/>
                  </a:lnTo>
                  <a:lnTo>
                    <a:pt x="194679" y="198831"/>
                  </a:lnTo>
                  <a:lnTo>
                    <a:pt x="194679" y="200228"/>
                  </a:lnTo>
                  <a:lnTo>
                    <a:pt x="194768" y="200228"/>
                  </a:lnTo>
                  <a:lnTo>
                    <a:pt x="194768" y="199530"/>
                  </a:lnTo>
                  <a:lnTo>
                    <a:pt x="194768" y="200228"/>
                  </a:lnTo>
                  <a:lnTo>
                    <a:pt x="194818" y="199530"/>
                  </a:lnTo>
                  <a:lnTo>
                    <a:pt x="194818" y="198831"/>
                  </a:lnTo>
                  <a:lnTo>
                    <a:pt x="194869" y="198831"/>
                  </a:lnTo>
                  <a:lnTo>
                    <a:pt x="194869" y="196799"/>
                  </a:lnTo>
                  <a:lnTo>
                    <a:pt x="194869" y="197447"/>
                  </a:lnTo>
                  <a:lnTo>
                    <a:pt x="194869" y="196799"/>
                  </a:lnTo>
                  <a:lnTo>
                    <a:pt x="194869" y="199530"/>
                  </a:lnTo>
                  <a:lnTo>
                    <a:pt x="194869" y="198831"/>
                  </a:lnTo>
                  <a:lnTo>
                    <a:pt x="194920" y="198831"/>
                  </a:lnTo>
                  <a:lnTo>
                    <a:pt x="194920" y="197447"/>
                  </a:lnTo>
                  <a:lnTo>
                    <a:pt x="194920" y="200228"/>
                  </a:lnTo>
                  <a:lnTo>
                    <a:pt x="195022" y="200228"/>
                  </a:lnTo>
                  <a:lnTo>
                    <a:pt x="195022" y="198831"/>
                  </a:lnTo>
                  <a:lnTo>
                    <a:pt x="195022" y="200228"/>
                  </a:lnTo>
                  <a:lnTo>
                    <a:pt x="195022" y="199530"/>
                  </a:lnTo>
                  <a:lnTo>
                    <a:pt x="195022" y="200228"/>
                  </a:lnTo>
                  <a:lnTo>
                    <a:pt x="195022" y="199530"/>
                  </a:lnTo>
                  <a:lnTo>
                    <a:pt x="195022" y="200228"/>
                  </a:lnTo>
                  <a:lnTo>
                    <a:pt x="195073" y="200876"/>
                  </a:lnTo>
                  <a:lnTo>
                    <a:pt x="195073" y="199530"/>
                  </a:lnTo>
                  <a:lnTo>
                    <a:pt x="195073" y="200228"/>
                  </a:lnTo>
                  <a:lnTo>
                    <a:pt x="195073" y="199530"/>
                  </a:lnTo>
                  <a:lnTo>
                    <a:pt x="195123" y="199530"/>
                  </a:lnTo>
                  <a:lnTo>
                    <a:pt x="195123" y="198831"/>
                  </a:lnTo>
                  <a:lnTo>
                    <a:pt x="195123" y="199530"/>
                  </a:lnTo>
                  <a:lnTo>
                    <a:pt x="195123" y="198831"/>
                  </a:lnTo>
                  <a:lnTo>
                    <a:pt x="195123" y="200228"/>
                  </a:lnTo>
                  <a:lnTo>
                    <a:pt x="195225" y="200228"/>
                  </a:lnTo>
                  <a:lnTo>
                    <a:pt x="195225" y="199530"/>
                  </a:lnTo>
                  <a:lnTo>
                    <a:pt x="195225" y="200228"/>
                  </a:lnTo>
                  <a:lnTo>
                    <a:pt x="195225" y="199530"/>
                  </a:lnTo>
                  <a:lnTo>
                    <a:pt x="195225" y="200228"/>
                  </a:lnTo>
                  <a:lnTo>
                    <a:pt x="195263" y="200228"/>
                  </a:lnTo>
                  <a:lnTo>
                    <a:pt x="195263" y="199530"/>
                  </a:lnTo>
                  <a:lnTo>
                    <a:pt x="195263" y="200228"/>
                  </a:lnTo>
                  <a:lnTo>
                    <a:pt x="195263" y="199530"/>
                  </a:lnTo>
                  <a:lnTo>
                    <a:pt x="195263" y="200228"/>
                  </a:lnTo>
                  <a:lnTo>
                    <a:pt x="195263" y="199530"/>
                  </a:lnTo>
                  <a:lnTo>
                    <a:pt x="195314" y="198831"/>
                  </a:lnTo>
                  <a:lnTo>
                    <a:pt x="195314" y="197447"/>
                  </a:lnTo>
                  <a:lnTo>
                    <a:pt x="195365" y="196799"/>
                  </a:lnTo>
                  <a:lnTo>
                    <a:pt x="195365" y="198831"/>
                  </a:lnTo>
                  <a:lnTo>
                    <a:pt x="195365" y="197447"/>
                  </a:lnTo>
                  <a:lnTo>
                    <a:pt x="195466" y="197447"/>
                  </a:lnTo>
                  <a:lnTo>
                    <a:pt x="195466" y="196799"/>
                  </a:lnTo>
                  <a:lnTo>
                    <a:pt x="195466" y="197447"/>
                  </a:lnTo>
                  <a:lnTo>
                    <a:pt x="195466" y="196799"/>
                  </a:lnTo>
                  <a:lnTo>
                    <a:pt x="195466" y="200228"/>
                  </a:lnTo>
                  <a:lnTo>
                    <a:pt x="195466" y="199530"/>
                  </a:lnTo>
                  <a:lnTo>
                    <a:pt x="195517" y="199530"/>
                  </a:lnTo>
                  <a:lnTo>
                    <a:pt x="195517" y="198831"/>
                  </a:lnTo>
                  <a:lnTo>
                    <a:pt x="195517" y="200228"/>
                  </a:lnTo>
                  <a:lnTo>
                    <a:pt x="195517" y="199530"/>
                  </a:lnTo>
                  <a:lnTo>
                    <a:pt x="195568" y="199530"/>
                  </a:lnTo>
                  <a:lnTo>
                    <a:pt x="195568" y="198831"/>
                  </a:lnTo>
                  <a:lnTo>
                    <a:pt x="195568" y="200876"/>
                  </a:lnTo>
                  <a:lnTo>
                    <a:pt x="195568" y="200228"/>
                  </a:lnTo>
                  <a:lnTo>
                    <a:pt x="195568" y="200876"/>
                  </a:lnTo>
                  <a:lnTo>
                    <a:pt x="195568" y="199530"/>
                  </a:lnTo>
                  <a:lnTo>
                    <a:pt x="195669" y="199530"/>
                  </a:lnTo>
                  <a:lnTo>
                    <a:pt x="195669" y="200228"/>
                  </a:lnTo>
                  <a:lnTo>
                    <a:pt x="195669" y="199530"/>
                  </a:lnTo>
                  <a:lnTo>
                    <a:pt x="195720" y="200228"/>
                  </a:lnTo>
                  <a:lnTo>
                    <a:pt x="195720" y="200876"/>
                  </a:lnTo>
                  <a:lnTo>
                    <a:pt x="195720" y="200228"/>
                  </a:lnTo>
                  <a:lnTo>
                    <a:pt x="195720" y="200876"/>
                  </a:lnTo>
                  <a:lnTo>
                    <a:pt x="195720" y="200228"/>
                  </a:lnTo>
                  <a:lnTo>
                    <a:pt x="195720" y="200876"/>
                  </a:lnTo>
                  <a:lnTo>
                    <a:pt x="195720" y="200228"/>
                  </a:lnTo>
                  <a:lnTo>
                    <a:pt x="195771" y="200228"/>
                  </a:lnTo>
                  <a:lnTo>
                    <a:pt x="195771" y="199530"/>
                  </a:lnTo>
                  <a:lnTo>
                    <a:pt x="195771" y="200228"/>
                  </a:lnTo>
                  <a:lnTo>
                    <a:pt x="195771" y="198831"/>
                  </a:lnTo>
                  <a:lnTo>
                    <a:pt x="195809" y="198831"/>
                  </a:lnTo>
                  <a:lnTo>
                    <a:pt x="195809" y="199530"/>
                  </a:lnTo>
                  <a:lnTo>
                    <a:pt x="195809" y="196799"/>
                  </a:lnTo>
                  <a:lnTo>
                    <a:pt x="195911" y="196799"/>
                  </a:lnTo>
                  <a:lnTo>
                    <a:pt x="195911" y="196113"/>
                  </a:lnTo>
                  <a:lnTo>
                    <a:pt x="195911" y="197447"/>
                  </a:lnTo>
                  <a:lnTo>
                    <a:pt x="195911" y="196799"/>
                  </a:lnTo>
                  <a:lnTo>
                    <a:pt x="195961" y="196799"/>
                  </a:lnTo>
                  <a:lnTo>
                    <a:pt x="195961" y="199530"/>
                  </a:lnTo>
                  <a:lnTo>
                    <a:pt x="195961" y="198831"/>
                  </a:lnTo>
                  <a:lnTo>
                    <a:pt x="195961" y="199530"/>
                  </a:lnTo>
                  <a:lnTo>
                    <a:pt x="195961" y="198831"/>
                  </a:lnTo>
                  <a:lnTo>
                    <a:pt x="196012" y="199530"/>
                  </a:lnTo>
                  <a:lnTo>
                    <a:pt x="196012" y="200228"/>
                  </a:lnTo>
                  <a:lnTo>
                    <a:pt x="196012" y="199530"/>
                  </a:lnTo>
                  <a:lnTo>
                    <a:pt x="196114" y="200228"/>
                  </a:lnTo>
                  <a:lnTo>
                    <a:pt x="196114" y="199530"/>
                  </a:lnTo>
                  <a:lnTo>
                    <a:pt x="196114" y="200228"/>
                  </a:lnTo>
                  <a:lnTo>
                    <a:pt x="196114" y="199530"/>
                  </a:lnTo>
                  <a:lnTo>
                    <a:pt x="196165" y="199530"/>
                  </a:lnTo>
                  <a:lnTo>
                    <a:pt x="196165" y="200876"/>
                  </a:lnTo>
                  <a:lnTo>
                    <a:pt x="196216" y="200876"/>
                  </a:lnTo>
                  <a:lnTo>
                    <a:pt x="196216" y="200228"/>
                  </a:lnTo>
                  <a:lnTo>
                    <a:pt x="196216" y="200876"/>
                  </a:lnTo>
                  <a:lnTo>
                    <a:pt x="196216" y="200228"/>
                  </a:lnTo>
                  <a:lnTo>
                    <a:pt x="196266" y="200228"/>
                  </a:lnTo>
                  <a:lnTo>
                    <a:pt x="196266" y="199530"/>
                  </a:lnTo>
                  <a:lnTo>
                    <a:pt x="196266" y="200228"/>
                  </a:lnTo>
                  <a:lnTo>
                    <a:pt x="196266" y="199530"/>
                  </a:lnTo>
                  <a:lnTo>
                    <a:pt x="196355" y="199530"/>
                  </a:lnTo>
                  <a:lnTo>
                    <a:pt x="196355" y="196113"/>
                  </a:lnTo>
                  <a:lnTo>
                    <a:pt x="196406" y="196113"/>
                  </a:lnTo>
                  <a:lnTo>
                    <a:pt x="196406" y="197447"/>
                  </a:lnTo>
                  <a:lnTo>
                    <a:pt x="196406" y="196799"/>
                  </a:lnTo>
                  <a:lnTo>
                    <a:pt x="196457" y="196799"/>
                  </a:lnTo>
                  <a:lnTo>
                    <a:pt x="196457" y="199530"/>
                  </a:lnTo>
                  <a:lnTo>
                    <a:pt x="196457" y="198831"/>
                  </a:lnTo>
                  <a:lnTo>
                    <a:pt x="196457" y="199530"/>
                  </a:lnTo>
                  <a:lnTo>
                    <a:pt x="196457" y="198831"/>
                  </a:lnTo>
                  <a:lnTo>
                    <a:pt x="196508" y="198831"/>
                  </a:lnTo>
                  <a:lnTo>
                    <a:pt x="196508" y="199530"/>
                  </a:lnTo>
                  <a:lnTo>
                    <a:pt x="196508" y="198831"/>
                  </a:lnTo>
                  <a:lnTo>
                    <a:pt x="196508" y="199530"/>
                  </a:lnTo>
                  <a:lnTo>
                    <a:pt x="196508" y="198831"/>
                  </a:lnTo>
                  <a:lnTo>
                    <a:pt x="196508" y="199530"/>
                  </a:lnTo>
                  <a:lnTo>
                    <a:pt x="196609" y="199530"/>
                  </a:lnTo>
                  <a:lnTo>
                    <a:pt x="196609" y="200228"/>
                  </a:lnTo>
                  <a:lnTo>
                    <a:pt x="196609" y="199530"/>
                  </a:lnTo>
                  <a:lnTo>
                    <a:pt x="196609" y="200228"/>
                  </a:lnTo>
                  <a:lnTo>
                    <a:pt x="196609" y="199530"/>
                  </a:lnTo>
                  <a:lnTo>
                    <a:pt x="196660" y="199530"/>
                  </a:lnTo>
                  <a:lnTo>
                    <a:pt x="196660" y="200876"/>
                  </a:lnTo>
                  <a:lnTo>
                    <a:pt x="196812" y="200876"/>
                  </a:lnTo>
                  <a:lnTo>
                    <a:pt x="196812" y="200228"/>
                  </a:lnTo>
                  <a:lnTo>
                    <a:pt x="196812" y="200876"/>
                  </a:lnTo>
                  <a:lnTo>
                    <a:pt x="196812" y="200228"/>
                  </a:lnTo>
                  <a:lnTo>
                    <a:pt x="196812" y="200876"/>
                  </a:lnTo>
                  <a:lnTo>
                    <a:pt x="196812" y="199530"/>
                  </a:lnTo>
                  <a:lnTo>
                    <a:pt x="196812" y="200228"/>
                  </a:lnTo>
                  <a:lnTo>
                    <a:pt x="196812" y="199530"/>
                  </a:lnTo>
                  <a:lnTo>
                    <a:pt x="196850" y="199530"/>
                  </a:lnTo>
                  <a:lnTo>
                    <a:pt x="196850" y="197447"/>
                  </a:lnTo>
                  <a:lnTo>
                    <a:pt x="196850" y="198831"/>
                  </a:lnTo>
                  <a:lnTo>
                    <a:pt x="196850" y="197447"/>
                  </a:lnTo>
                  <a:lnTo>
                    <a:pt x="196901" y="198831"/>
                  </a:lnTo>
                  <a:lnTo>
                    <a:pt x="196901" y="197447"/>
                  </a:lnTo>
                  <a:lnTo>
                    <a:pt x="196901" y="200228"/>
                  </a:lnTo>
                  <a:lnTo>
                    <a:pt x="196952" y="200228"/>
                  </a:lnTo>
                  <a:lnTo>
                    <a:pt x="196952" y="198831"/>
                  </a:lnTo>
                  <a:lnTo>
                    <a:pt x="196952" y="199530"/>
                  </a:lnTo>
                  <a:lnTo>
                    <a:pt x="197054" y="199530"/>
                  </a:lnTo>
                  <a:lnTo>
                    <a:pt x="197054" y="198831"/>
                  </a:lnTo>
                  <a:lnTo>
                    <a:pt x="197054" y="199530"/>
                  </a:lnTo>
                  <a:lnTo>
                    <a:pt x="197105" y="199530"/>
                  </a:lnTo>
                  <a:lnTo>
                    <a:pt x="197105" y="200228"/>
                  </a:lnTo>
                  <a:lnTo>
                    <a:pt x="197105" y="199530"/>
                  </a:lnTo>
                  <a:lnTo>
                    <a:pt x="197105" y="200228"/>
                  </a:lnTo>
                  <a:lnTo>
                    <a:pt x="197155" y="199530"/>
                  </a:lnTo>
                  <a:lnTo>
                    <a:pt x="197155" y="200228"/>
                  </a:lnTo>
                  <a:lnTo>
                    <a:pt x="197155" y="199530"/>
                  </a:lnTo>
                  <a:lnTo>
                    <a:pt x="197155" y="200228"/>
                  </a:lnTo>
                  <a:lnTo>
                    <a:pt x="197155" y="199530"/>
                  </a:lnTo>
                  <a:lnTo>
                    <a:pt x="197155" y="200228"/>
                  </a:lnTo>
                  <a:lnTo>
                    <a:pt x="197155" y="199530"/>
                  </a:lnTo>
                  <a:lnTo>
                    <a:pt x="197257" y="199530"/>
                  </a:lnTo>
                  <a:lnTo>
                    <a:pt x="197257" y="200228"/>
                  </a:lnTo>
                  <a:lnTo>
                    <a:pt x="197257" y="199530"/>
                  </a:lnTo>
                  <a:lnTo>
                    <a:pt x="197257" y="200228"/>
                  </a:lnTo>
                  <a:lnTo>
                    <a:pt x="197257" y="199530"/>
                  </a:lnTo>
                  <a:lnTo>
                    <a:pt x="197257" y="200228"/>
                  </a:lnTo>
                  <a:lnTo>
                    <a:pt x="197257" y="199530"/>
                  </a:lnTo>
                  <a:lnTo>
                    <a:pt x="197308" y="199530"/>
                  </a:lnTo>
                  <a:lnTo>
                    <a:pt x="197359" y="198831"/>
                  </a:lnTo>
                  <a:lnTo>
                    <a:pt x="197359" y="197447"/>
                  </a:lnTo>
                  <a:lnTo>
                    <a:pt x="197359" y="199530"/>
                  </a:lnTo>
                  <a:lnTo>
                    <a:pt x="197397" y="198831"/>
                  </a:lnTo>
                  <a:lnTo>
                    <a:pt x="197397" y="200876"/>
                  </a:lnTo>
                  <a:lnTo>
                    <a:pt x="197498" y="200228"/>
                  </a:lnTo>
                  <a:lnTo>
                    <a:pt x="197498" y="202260"/>
                  </a:lnTo>
                  <a:lnTo>
                    <a:pt x="197498" y="200228"/>
                  </a:lnTo>
                  <a:lnTo>
                    <a:pt x="197549" y="200228"/>
                  </a:lnTo>
                  <a:lnTo>
                    <a:pt x="197549" y="200876"/>
                  </a:lnTo>
                  <a:lnTo>
                    <a:pt x="197549" y="200228"/>
                  </a:lnTo>
                  <a:lnTo>
                    <a:pt x="197549" y="200876"/>
                  </a:lnTo>
                  <a:lnTo>
                    <a:pt x="197549" y="200228"/>
                  </a:lnTo>
                  <a:lnTo>
                    <a:pt x="197600" y="200876"/>
                  </a:lnTo>
                  <a:lnTo>
                    <a:pt x="197701" y="200876"/>
                  </a:lnTo>
                  <a:lnTo>
                    <a:pt x="197752" y="200228"/>
                  </a:lnTo>
                  <a:lnTo>
                    <a:pt x="197752" y="200876"/>
                  </a:lnTo>
                  <a:lnTo>
                    <a:pt x="197752" y="200228"/>
                  </a:lnTo>
                  <a:lnTo>
                    <a:pt x="197803" y="199530"/>
                  </a:lnTo>
                  <a:lnTo>
                    <a:pt x="197803" y="197447"/>
                  </a:lnTo>
                  <a:lnTo>
                    <a:pt x="197854" y="197447"/>
                  </a:lnTo>
                  <a:lnTo>
                    <a:pt x="197854" y="198831"/>
                  </a:lnTo>
                  <a:lnTo>
                    <a:pt x="197854" y="196799"/>
                  </a:lnTo>
                  <a:lnTo>
                    <a:pt x="197854" y="198831"/>
                  </a:lnTo>
                  <a:lnTo>
                    <a:pt x="197943" y="198831"/>
                  </a:lnTo>
                  <a:lnTo>
                    <a:pt x="197943" y="199530"/>
                  </a:lnTo>
                  <a:lnTo>
                    <a:pt x="197943" y="197447"/>
                  </a:lnTo>
                  <a:lnTo>
                    <a:pt x="197943" y="200228"/>
                  </a:lnTo>
                  <a:lnTo>
                    <a:pt x="197943" y="199530"/>
                  </a:lnTo>
                  <a:lnTo>
                    <a:pt x="197943" y="200228"/>
                  </a:lnTo>
                  <a:lnTo>
                    <a:pt x="197993" y="200228"/>
                  </a:lnTo>
                  <a:lnTo>
                    <a:pt x="197993" y="199530"/>
                  </a:lnTo>
                  <a:lnTo>
                    <a:pt x="197993" y="200876"/>
                  </a:lnTo>
                  <a:lnTo>
                    <a:pt x="197993" y="200228"/>
                  </a:lnTo>
                  <a:lnTo>
                    <a:pt x="197993" y="200876"/>
                  </a:lnTo>
                  <a:lnTo>
                    <a:pt x="197993" y="200228"/>
                  </a:lnTo>
                  <a:lnTo>
                    <a:pt x="197993" y="200876"/>
                  </a:lnTo>
                  <a:lnTo>
                    <a:pt x="197993" y="200228"/>
                  </a:lnTo>
                  <a:lnTo>
                    <a:pt x="197993" y="200876"/>
                  </a:lnTo>
                  <a:lnTo>
                    <a:pt x="197993" y="200228"/>
                  </a:lnTo>
                  <a:lnTo>
                    <a:pt x="198044" y="200228"/>
                  </a:lnTo>
                  <a:lnTo>
                    <a:pt x="198044" y="200876"/>
                  </a:lnTo>
                  <a:lnTo>
                    <a:pt x="198044" y="200228"/>
                  </a:lnTo>
                  <a:lnTo>
                    <a:pt x="198044" y="200876"/>
                  </a:lnTo>
                  <a:lnTo>
                    <a:pt x="198095" y="200876"/>
                  </a:lnTo>
                  <a:lnTo>
                    <a:pt x="198095" y="200228"/>
                  </a:lnTo>
                  <a:lnTo>
                    <a:pt x="198095" y="200876"/>
                  </a:lnTo>
                  <a:lnTo>
                    <a:pt x="198197" y="202260"/>
                  </a:lnTo>
                  <a:lnTo>
                    <a:pt x="198197" y="200228"/>
                  </a:lnTo>
                  <a:lnTo>
                    <a:pt x="198197" y="200876"/>
                  </a:lnTo>
                  <a:lnTo>
                    <a:pt x="198197" y="200228"/>
                  </a:lnTo>
                  <a:lnTo>
                    <a:pt x="198248" y="200228"/>
                  </a:lnTo>
                  <a:lnTo>
                    <a:pt x="198248" y="199530"/>
                  </a:lnTo>
                  <a:lnTo>
                    <a:pt x="198298" y="199530"/>
                  </a:lnTo>
                  <a:lnTo>
                    <a:pt x="198298" y="196799"/>
                  </a:lnTo>
                  <a:lnTo>
                    <a:pt x="198298" y="197447"/>
                  </a:lnTo>
                  <a:lnTo>
                    <a:pt x="198400" y="197447"/>
                  </a:lnTo>
                  <a:lnTo>
                    <a:pt x="198400" y="196799"/>
                  </a:lnTo>
                  <a:lnTo>
                    <a:pt x="198400" y="198831"/>
                  </a:lnTo>
                  <a:lnTo>
                    <a:pt x="198400" y="197447"/>
                  </a:lnTo>
                  <a:lnTo>
                    <a:pt x="198438" y="197447"/>
                  </a:lnTo>
                  <a:lnTo>
                    <a:pt x="198438" y="196799"/>
                  </a:lnTo>
                  <a:lnTo>
                    <a:pt x="198438" y="199530"/>
                  </a:lnTo>
                  <a:lnTo>
                    <a:pt x="198438" y="197447"/>
                  </a:lnTo>
                  <a:lnTo>
                    <a:pt x="198489" y="197447"/>
                  </a:lnTo>
                  <a:lnTo>
                    <a:pt x="198489" y="199530"/>
                  </a:lnTo>
                  <a:lnTo>
                    <a:pt x="198489" y="198831"/>
                  </a:lnTo>
                  <a:lnTo>
                    <a:pt x="198489" y="199530"/>
                  </a:lnTo>
                  <a:lnTo>
                    <a:pt x="198489" y="198831"/>
                  </a:lnTo>
                  <a:lnTo>
                    <a:pt x="198540" y="198831"/>
                  </a:lnTo>
                  <a:lnTo>
                    <a:pt x="198540" y="200228"/>
                  </a:lnTo>
                  <a:lnTo>
                    <a:pt x="198641" y="200876"/>
                  </a:lnTo>
                  <a:lnTo>
                    <a:pt x="198641" y="200228"/>
                  </a:lnTo>
                  <a:lnTo>
                    <a:pt x="198641" y="200876"/>
                  </a:lnTo>
                  <a:lnTo>
                    <a:pt x="198641" y="200228"/>
                  </a:lnTo>
                  <a:lnTo>
                    <a:pt x="198641" y="200876"/>
                  </a:lnTo>
                  <a:lnTo>
                    <a:pt x="198692" y="200876"/>
                  </a:lnTo>
                  <a:lnTo>
                    <a:pt x="198692" y="202260"/>
                  </a:lnTo>
                  <a:lnTo>
                    <a:pt x="198692" y="200876"/>
                  </a:lnTo>
                  <a:lnTo>
                    <a:pt x="198692" y="202260"/>
                  </a:lnTo>
                  <a:lnTo>
                    <a:pt x="198692" y="200876"/>
                  </a:lnTo>
                  <a:lnTo>
                    <a:pt x="198692" y="202260"/>
                  </a:lnTo>
                  <a:lnTo>
                    <a:pt x="198692" y="200876"/>
                  </a:lnTo>
                  <a:lnTo>
                    <a:pt x="198743" y="200876"/>
                  </a:lnTo>
                  <a:lnTo>
                    <a:pt x="198743" y="200228"/>
                  </a:lnTo>
                  <a:lnTo>
                    <a:pt x="198743" y="200876"/>
                  </a:lnTo>
                  <a:lnTo>
                    <a:pt x="198743" y="199530"/>
                  </a:lnTo>
                  <a:lnTo>
                    <a:pt x="198844" y="199530"/>
                  </a:lnTo>
                  <a:lnTo>
                    <a:pt x="198844" y="198831"/>
                  </a:lnTo>
                  <a:lnTo>
                    <a:pt x="198844" y="199530"/>
                  </a:lnTo>
                  <a:lnTo>
                    <a:pt x="198844" y="197447"/>
                  </a:lnTo>
                  <a:lnTo>
                    <a:pt x="198895" y="197447"/>
                  </a:lnTo>
                  <a:lnTo>
                    <a:pt x="198895" y="199530"/>
                  </a:lnTo>
                  <a:lnTo>
                    <a:pt x="198895" y="196799"/>
                  </a:lnTo>
                  <a:lnTo>
                    <a:pt x="198946" y="196799"/>
                  </a:lnTo>
                  <a:lnTo>
                    <a:pt x="198946" y="200228"/>
                  </a:lnTo>
                  <a:lnTo>
                    <a:pt x="198946" y="199530"/>
                  </a:lnTo>
                  <a:lnTo>
                    <a:pt x="198946" y="200228"/>
                  </a:lnTo>
                  <a:lnTo>
                    <a:pt x="198946" y="198831"/>
                  </a:lnTo>
                  <a:lnTo>
                    <a:pt x="198984" y="198831"/>
                  </a:lnTo>
                  <a:lnTo>
                    <a:pt x="198984" y="199530"/>
                  </a:lnTo>
                  <a:lnTo>
                    <a:pt x="198984" y="198831"/>
                  </a:lnTo>
                  <a:lnTo>
                    <a:pt x="198984" y="199530"/>
                  </a:lnTo>
                  <a:lnTo>
                    <a:pt x="199086" y="199530"/>
                  </a:lnTo>
                  <a:lnTo>
                    <a:pt x="199086" y="200228"/>
                  </a:lnTo>
                  <a:lnTo>
                    <a:pt x="199086" y="199530"/>
                  </a:lnTo>
                  <a:lnTo>
                    <a:pt x="199086" y="200228"/>
                  </a:lnTo>
                  <a:lnTo>
                    <a:pt x="199136" y="200228"/>
                  </a:lnTo>
                  <a:lnTo>
                    <a:pt x="199136" y="200876"/>
                  </a:lnTo>
                  <a:lnTo>
                    <a:pt x="199136" y="200228"/>
                  </a:lnTo>
                  <a:lnTo>
                    <a:pt x="199136" y="200876"/>
                  </a:lnTo>
                  <a:lnTo>
                    <a:pt x="199187" y="200228"/>
                  </a:lnTo>
                  <a:lnTo>
                    <a:pt x="199187" y="200876"/>
                  </a:lnTo>
                  <a:lnTo>
                    <a:pt x="199187" y="200228"/>
                  </a:lnTo>
                  <a:lnTo>
                    <a:pt x="199187" y="200876"/>
                  </a:lnTo>
                  <a:lnTo>
                    <a:pt x="199187" y="200228"/>
                  </a:lnTo>
                  <a:lnTo>
                    <a:pt x="199187" y="200876"/>
                  </a:lnTo>
                  <a:lnTo>
                    <a:pt x="199289" y="200876"/>
                  </a:lnTo>
                  <a:lnTo>
                    <a:pt x="199289" y="199530"/>
                  </a:lnTo>
                  <a:lnTo>
                    <a:pt x="199289" y="200228"/>
                  </a:lnTo>
                  <a:lnTo>
                    <a:pt x="199289" y="199530"/>
                  </a:lnTo>
                  <a:lnTo>
                    <a:pt x="199340" y="199530"/>
                  </a:lnTo>
                  <a:lnTo>
                    <a:pt x="199340" y="197447"/>
                  </a:lnTo>
                  <a:lnTo>
                    <a:pt x="199391" y="197447"/>
                  </a:lnTo>
                  <a:lnTo>
                    <a:pt x="199391" y="196799"/>
                  </a:lnTo>
                  <a:lnTo>
                    <a:pt x="199391" y="199530"/>
                  </a:lnTo>
                  <a:lnTo>
                    <a:pt x="199391" y="196799"/>
                  </a:lnTo>
                  <a:lnTo>
                    <a:pt x="199441" y="196799"/>
                  </a:lnTo>
                  <a:lnTo>
                    <a:pt x="199441" y="199530"/>
                  </a:lnTo>
                  <a:lnTo>
                    <a:pt x="199441" y="198831"/>
                  </a:lnTo>
                  <a:lnTo>
                    <a:pt x="199530" y="198831"/>
                  </a:lnTo>
                  <a:lnTo>
                    <a:pt x="199530" y="200228"/>
                  </a:lnTo>
                  <a:lnTo>
                    <a:pt x="199530" y="198831"/>
                  </a:lnTo>
                  <a:lnTo>
                    <a:pt x="199530" y="199530"/>
                  </a:lnTo>
                  <a:lnTo>
                    <a:pt x="199530" y="198831"/>
                  </a:lnTo>
                  <a:lnTo>
                    <a:pt x="199530" y="199530"/>
                  </a:lnTo>
                  <a:lnTo>
                    <a:pt x="199581" y="199530"/>
                  </a:lnTo>
                  <a:lnTo>
                    <a:pt x="199581" y="200228"/>
                  </a:lnTo>
                  <a:lnTo>
                    <a:pt x="199581" y="199530"/>
                  </a:lnTo>
                  <a:lnTo>
                    <a:pt x="199581" y="200228"/>
                  </a:lnTo>
                  <a:lnTo>
                    <a:pt x="199632" y="199530"/>
                  </a:lnTo>
                  <a:lnTo>
                    <a:pt x="199632" y="200228"/>
                  </a:lnTo>
                  <a:lnTo>
                    <a:pt x="199683" y="200228"/>
                  </a:lnTo>
                  <a:lnTo>
                    <a:pt x="199683" y="200876"/>
                  </a:lnTo>
                  <a:lnTo>
                    <a:pt x="199683" y="200228"/>
                  </a:lnTo>
                  <a:lnTo>
                    <a:pt x="199784" y="199530"/>
                  </a:lnTo>
                  <a:lnTo>
                    <a:pt x="199784" y="200876"/>
                  </a:lnTo>
                  <a:lnTo>
                    <a:pt x="199784" y="199530"/>
                  </a:lnTo>
                  <a:lnTo>
                    <a:pt x="199784" y="200228"/>
                  </a:lnTo>
                  <a:lnTo>
                    <a:pt x="199784" y="199530"/>
                  </a:lnTo>
                  <a:lnTo>
                    <a:pt x="199835" y="199530"/>
                  </a:lnTo>
                  <a:lnTo>
                    <a:pt x="199835" y="198831"/>
                  </a:lnTo>
                  <a:lnTo>
                    <a:pt x="199835" y="199530"/>
                  </a:lnTo>
                  <a:lnTo>
                    <a:pt x="199835" y="196799"/>
                  </a:lnTo>
                  <a:lnTo>
                    <a:pt x="199886" y="196799"/>
                  </a:lnTo>
                  <a:lnTo>
                    <a:pt x="199886" y="198831"/>
                  </a:lnTo>
                  <a:lnTo>
                    <a:pt x="199886" y="196113"/>
                  </a:lnTo>
                  <a:lnTo>
                    <a:pt x="199886" y="197447"/>
                  </a:lnTo>
                  <a:lnTo>
                    <a:pt x="199987" y="197447"/>
                  </a:lnTo>
                  <a:lnTo>
                    <a:pt x="199987" y="199530"/>
                  </a:lnTo>
                  <a:lnTo>
                    <a:pt x="199987" y="196799"/>
                  </a:lnTo>
                  <a:lnTo>
                    <a:pt x="199987" y="198831"/>
                  </a:lnTo>
                  <a:lnTo>
                    <a:pt x="200025" y="199530"/>
                  </a:lnTo>
                  <a:lnTo>
                    <a:pt x="200025" y="197447"/>
                  </a:lnTo>
                  <a:lnTo>
                    <a:pt x="200025" y="199530"/>
                  </a:lnTo>
                  <a:lnTo>
                    <a:pt x="200025" y="198831"/>
                  </a:lnTo>
                  <a:lnTo>
                    <a:pt x="200076" y="198831"/>
                  </a:lnTo>
                  <a:lnTo>
                    <a:pt x="200076" y="199530"/>
                  </a:lnTo>
                  <a:lnTo>
                    <a:pt x="200076" y="198831"/>
                  </a:lnTo>
                  <a:lnTo>
                    <a:pt x="200076" y="199530"/>
                  </a:lnTo>
                  <a:lnTo>
                    <a:pt x="200229" y="199530"/>
                  </a:lnTo>
                  <a:lnTo>
                    <a:pt x="200229" y="200228"/>
                  </a:lnTo>
                  <a:lnTo>
                    <a:pt x="200229" y="199530"/>
                  </a:lnTo>
                  <a:lnTo>
                    <a:pt x="200229" y="200228"/>
                  </a:lnTo>
                  <a:lnTo>
                    <a:pt x="200280" y="199530"/>
                  </a:lnTo>
                  <a:lnTo>
                    <a:pt x="200280" y="198831"/>
                  </a:lnTo>
                  <a:lnTo>
                    <a:pt x="200280" y="200228"/>
                  </a:lnTo>
                  <a:lnTo>
                    <a:pt x="200280" y="199530"/>
                  </a:lnTo>
                  <a:lnTo>
                    <a:pt x="200330" y="199530"/>
                  </a:lnTo>
                  <a:lnTo>
                    <a:pt x="200330" y="197447"/>
                  </a:lnTo>
                  <a:lnTo>
                    <a:pt x="200330" y="199530"/>
                  </a:lnTo>
                  <a:lnTo>
                    <a:pt x="200432" y="198831"/>
                  </a:lnTo>
                  <a:lnTo>
                    <a:pt x="200432" y="199530"/>
                  </a:lnTo>
                  <a:lnTo>
                    <a:pt x="200432" y="197447"/>
                  </a:lnTo>
                  <a:lnTo>
                    <a:pt x="200432" y="200876"/>
                  </a:lnTo>
                  <a:lnTo>
                    <a:pt x="200432" y="200228"/>
                  </a:lnTo>
                  <a:lnTo>
                    <a:pt x="200483" y="200228"/>
                  </a:lnTo>
                  <a:lnTo>
                    <a:pt x="200483" y="199530"/>
                  </a:lnTo>
                  <a:lnTo>
                    <a:pt x="200483" y="200876"/>
                  </a:lnTo>
                  <a:lnTo>
                    <a:pt x="200483" y="200228"/>
                  </a:lnTo>
                  <a:lnTo>
                    <a:pt x="200534" y="200228"/>
                  </a:lnTo>
                  <a:lnTo>
                    <a:pt x="200534" y="199530"/>
                  </a:lnTo>
                  <a:lnTo>
                    <a:pt x="200534" y="200228"/>
                  </a:lnTo>
                  <a:lnTo>
                    <a:pt x="200572" y="200228"/>
                  </a:lnTo>
                  <a:lnTo>
                    <a:pt x="200572" y="200876"/>
                  </a:lnTo>
                  <a:lnTo>
                    <a:pt x="200572" y="200228"/>
                  </a:lnTo>
                  <a:lnTo>
                    <a:pt x="200572" y="200876"/>
                  </a:lnTo>
                  <a:lnTo>
                    <a:pt x="200572" y="200228"/>
                  </a:lnTo>
                  <a:lnTo>
                    <a:pt x="200572" y="200876"/>
                  </a:lnTo>
                  <a:lnTo>
                    <a:pt x="200673" y="200876"/>
                  </a:lnTo>
                  <a:lnTo>
                    <a:pt x="200673" y="200228"/>
                  </a:lnTo>
                  <a:lnTo>
                    <a:pt x="200673" y="200876"/>
                  </a:lnTo>
                  <a:lnTo>
                    <a:pt x="200673" y="200228"/>
                  </a:lnTo>
                  <a:lnTo>
                    <a:pt x="200673" y="200876"/>
                  </a:lnTo>
                  <a:lnTo>
                    <a:pt x="200724" y="200228"/>
                  </a:lnTo>
                  <a:lnTo>
                    <a:pt x="200724" y="202260"/>
                  </a:lnTo>
                  <a:lnTo>
                    <a:pt x="200724" y="200228"/>
                  </a:lnTo>
                  <a:lnTo>
                    <a:pt x="200724" y="200876"/>
                  </a:lnTo>
                  <a:lnTo>
                    <a:pt x="200724" y="200228"/>
                  </a:lnTo>
                  <a:lnTo>
                    <a:pt x="200724" y="200876"/>
                  </a:lnTo>
                  <a:lnTo>
                    <a:pt x="200724" y="200228"/>
                  </a:lnTo>
                  <a:lnTo>
                    <a:pt x="200775" y="200876"/>
                  </a:lnTo>
                  <a:lnTo>
                    <a:pt x="200775" y="199530"/>
                  </a:lnTo>
                  <a:lnTo>
                    <a:pt x="200775" y="200228"/>
                  </a:lnTo>
                  <a:lnTo>
                    <a:pt x="200775" y="198831"/>
                  </a:lnTo>
                  <a:lnTo>
                    <a:pt x="200876" y="198831"/>
                  </a:lnTo>
                  <a:lnTo>
                    <a:pt x="200876" y="200876"/>
                  </a:lnTo>
                  <a:lnTo>
                    <a:pt x="200876" y="198831"/>
                  </a:lnTo>
                  <a:lnTo>
                    <a:pt x="200876" y="199530"/>
                  </a:lnTo>
                  <a:lnTo>
                    <a:pt x="200927" y="199530"/>
                  </a:lnTo>
                  <a:lnTo>
                    <a:pt x="200927" y="202260"/>
                  </a:lnTo>
                  <a:lnTo>
                    <a:pt x="200927" y="200228"/>
                  </a:lnTo>
                  <a:lnTo>
                    <a:pt x="200927" y="200876"/>
                  </a:lnTo>
                  <a:lnTo>
                    <a:pt x="200978" y="200876"/>
                  </a:lnTo>
                  <a:lnTo>
                    <a:pt x="200978" y="202959"/>
                  </a:lnTo>
                  <a:lnTo>
                    <a:pt x="200978" y="202260"/>
                  </a:lnTo>
                  <a:lnTo>
                    <a:pt x="200978" y="202959"/>
                  </a:lnTo>
                  <a:lnTo>
                    <a:pt x="200978" y="202260"/>
                  </a:lnTo>
                  <a:lnTo>
                    <a:pt x="200978" y="202959"/>
                  </a:lnTo>
                  <a:lnTo>
                    <a:pt x="201029" y="202260"/>
                  </a:lnTo>
                  <a:lnTo>
                    <a:pt x="201029" y="202959"/>
                  </a:lnTo>
                  <a:lnTo>
                    <a:pt x="201029" y="200876"/>
                  </a:lnTo>
                  <a:lnTo>
                    <a:pt x="201029" y="202260"/>
                  </a:lnTo>
                  <a:lnTo>
                    <a:pt x="201118" y="202260"/>
                  </a:lnTo>
                  <a:lnTo>
                    <a:pt x="201118" y="200876"/>
                  </a:lnTo>
                  <a:lnTo>
                    <a:pt x="201118" y="202260"/>
                  </a:lnTo>
                  <a:lnTo>
                    <a:pt x="201118" y="200876"/>
                  </a:lnTo>
                  <a:lnTo>
                    <a:pt x="201118" y="202260"/>
                  </a:lnTo>
                  <a:lnTo>
                    <a:pt x="201118" y="200876"/>
                  </a:lnTo>
                  <a:lnTo>
                    <a:pt x="201118" y="202260"/>
                  </a:lnTo>
                  <a:lnTo>
                    <a:pt x="201118" y="200876"/>
                  </a:lnTo>
                  <a:lnTo>
                    <a:pt x="201168" y="200876"/>
                  </a:lnTo>
                  <a:lnTo>
                    <a:pt x="201168" y="202260"/>
                  </a:lnTo>
                  <a:lnTo>
                    <a:pt x="201168" y="200228"/>
                  </a:lnTo>
                  <a:lnTo>
                    <a:pt x="201168" y="200876"/>
                  </a:lnTo>
                  <a:lnTo>
                    <a:pt x="201168" y="200228"/>
                  </a:lnTo>
                  <a:lnTo>
                    <a:pt x="201168" y="200876"/>
                  </a:lnTo>
                  <a:lnTo>
                    <a:pt x="201219" y="200876"/>
                  </a:lnTo>
                  <a:lnTo>
                    <a:pt x="201219" y="199530"/>
                  </a:lnTo>
                  <a:lnTo>
                    <a:pt x="201219" y="200228"/>
                  </a:lnTo>
                  <a:lnTo>
                    <a:pt x="201219" y="199530"/>
                  </a:lnTo>
                  <a:lnTo>
                    <a:pt x="201270" y="199530"/>
                  </a:lnTo>
                  <a:lnTo>
                    <a:pt x="201270" y="198831"/>
                  </a:lnTo>
                  <a:lnTo>
                    <a:pt x="201270" y="199530"/>
                  </a:lnTo>
                  <a:lnTo>
                    <a:pt x="201270" y="198831"/>
                  </a:lnTo>
                  <a:lnTo>
                    <a:pt x="201270" y="199530"/>
                  </a:lnTo>
                  <a:lnTo>
                    <a:pt x="201270" y="198831"/>
                  </a:lnTo>
                  <a:lnTo>
                    <a:pt x="201270" y="199530"/>
                  </a:lnTo>
                  <a:lnTo>
                    <a:pt x="201372" y="200228"/>
                  </a:lnTo>
                  <a:lnTo>
                    <a:pt x="201372" y="199530"/>
                  </a:lnTo>
                  <a:lnTo>
                    <a:pt x="201372" y="200228"/>
                  </a:lnTo>
                  <a:lnTo>
                    <a:pt x="201372" y="199530"/>
                  </a:lnTo>
                  <a:lnTo>
                    <a:pt x="201372" y="202260"/>
                  </a:lnTo>
                  <a:lnTo>
                    <a:pt x="201372" y="200876"/>
                  </a:lnTo>
                  <a:lnTo>
                    <a:pt x="201423" y="200876"/>
                  </a:lnTo>
                  <a:lnTo>
                    <a:pt x="201423" y="202959"/>
                  </a:lnTo>
                  <a:lnTo>
                    <a:pt x="201423" y="202260"/>
                  </a:lnTo>
                  <a:lnTo>
                    <a:pt x="201473" y="202260"/>
                  </a:lnTo>
                  <a:lnTo>
                    <a:pt x="201473" y="202959"/>
                  </a:lnTo>
                  <a:lnTo>
                    <a:pt x="201473" y="202260"/>
                  </a:lnTo>
                  <a:lnTo>
                    <a:pt x="201473" y="202959"/>
                  </a:lnTo>
                  <a:lnTo>
                    <a:pt x="201473" y="202260"/>
                  </a:lnTo>
                  <a:lnTo>
                    <a:pt x="201473" y="202959"/>
                  </a:lnTo>
                  <a:lnTo>
                    <a:pt x="201575" y="202260"/>
                  </a:lnTo>
                  <a:lnTo>
                    <a:pt x="201575" y="202959"/>
                  </a:lnTo>
                  <a:lnTo>
                    <a:pt x="201575" y="202260"/>
                  </a:lnTo>
                  <a:lnTo>
                    <a:pt x="201575" y="202959"/>
                  </a:lnTo>
                  <a:lnTo>
                    <a:pt x="201575" y="202260"/>
                  </a:lnTo>
                  <a:lnTo>
                    <a:pt x="201613" y="202260"/>
                  </a:lnTo>
                  <a:lnTo>
                    <a:pt x="201613" y="202959"/>
                  </a:lnTo>
                  <a:lnTo>
                    <a:pt x="201613" y="202260"/>
                  </a:lnTo>
                  <a:lnTo>
                    <a:pt x="201613" y="202959"/>
                  </a:lnTo>
                  <a:lnTo>
                    <a:pt x="201613" y="202260"/>
                  </a:lnTo>
                  <a:lnTo>
                    <a:pt x="201613" y="202959"/>
                  </a:lnTo>
                  <a:lnTo>
                    <a:pt x="201613" y="202260"/>
                  </a:lnTo>
                  <a:lnTo>
                    <a:pt x="201664" y="202260"/>
                  </a:lnTo>
                  <a:lnTo>
                    <a:pt x="201664" y="200876"/>
                  </a:lnTo>
                  <a:lnTo>
                    <a:pt x="201664" y="202260"/>
                  </a:lnTo>
                  <a:lnTo>
                    <a:pt x="201715" y="202260"/>
                  </a:lnTo>
                  <a:lnTo>
                    <a:pt x="201715" y="200228"/>
                  </a:lnTo>
                  <a:lnTo>
                    <a:pt x="201715" y="200876"/>
                  </a:lnTo>
                  <a:lnTo>
                    <a:pt x="201715" y="198831"/>
                  </a:lnTo>
                  <a:lnTo>
                    <a:pt x="201816" y="198831"/>
                  </a:lnTo>
                  <a:lnTo>
                    <a:pt x="201816" y="200228"/>
                  </a:lnTo>
                  <a:lnTo>
                    <a:pt x="201816" y="198831"/>
                  </a:lnTo>
                  <a:lnTo>
                    <a:pt x="201867" y="199530"/>
                  </a:lnTo>
                  <a:lnTo>
                    <a:pt x="201867" y="202260"/>
                  </a:lnTo>
                  <a:lnTo>
                    <a:pt x="201867" y="200228"/>
                  </a:lnTo>
                  <a:lnTo>
                    <a:pt x="201867" y="200876"/>
                  </a:lnTo>
                  <a:lnTo>
                    <a:pt x="201918" y="200876"/>
                  </a:lnTo>
                  <a:lnTo>
                    <a:pt x="201918" y="202260"/>
                  </a:lnTo>
                  <a:lnTo>
                    <a:pt x="201918" y="200228"/>
                  </a:lnTo>
                  <a:lnTo>
                    <a:pt x="201918" y="200876"/>
                  </a:lnTo>
                  <a:lnTo>
                    <a:pt x="201918" y="200228"/>
                  </a:lnTo>
                  <a:lnTo>
                    <a:pt x="201918" y="202260"/>
                  </a:lnTo>
                  <a:lnTo>
                    <a:pt x="201918" y="200876"/>
                  </a:lnTo>
                  <a:lnTo>
                    <a:pt x="201918" y="202260"/>
                  </a:lnTo>
                  <a:lnTo>
                    <a:pt x="202019" y="202260"/>
                  </a:lnTo>
                  <a:lnTo>
                    <a:pt x="202019" y="202959"/>
                  </a:lnTo>
                  <a:lnTo>
                    <a:pt x="202019" y="202260"/>
                  </a:lnTo>
                  <a:lnTo>
                    <a:pt x="202019" y="202959"/>
                  </a:lnTo>
                  <a:lnTo>
                    <a:pt x="202019" y="202260"/>
                  </a:lnTo>
                  <a:lnTo>
                    <a:pt x="202019" y="202959"/>
                  </a:lnTo>
                  <a:lnTo>
                    <a:pt x="202070" y="202959"/>
                  </a:lnTo>
                  <a:lnTo>
                    <a:pt x="202070" y="202260"/>
                  </a:lnTo>
                  <a:lnTo>
                    <a:pt x="202070" y="202959"/>
                  </a:lnTo>
                  <a:lnTo>
                    <a:pt x="202070" y="202260"/>
                  </a:lnTo>
                  <a:lnTo>
                    <a:pt x="202070" y="202959"/>
                  </a:lnTo>
                  <a:lnTo>
                    <a:pt x="202070" y="202260"/>
                  </a:lnTo>
                  <a:lnTo>
                    <a:pt x="202121" y="202260"/>
                  </a:lnTo>
                  <a:lnTo>
                    <a:pt x="202121" y="202959"/>
                  </a:lnTo>
                  <a:lnTo>
                    <a:pt x="202121" y="200876"/>
                  </a:lnTo>
                  <a:lnTo>
                    <a:pt x="202121" y="202260"/>
                  </a:lnTo>
                  <a:lnTo>
                    <a:pt x="202121" y="200876"/>
                  </a:lnTo>
                  <a:lnTo>
                    <a:pt x="202121" y="202260"/>
                  </a:lnTo>
                  <a:lnTo>
                    <a:pt x="202159" y="202260"/>
                  </a:lnTo>
                  <a:lnTo>
                    <a:pt x="202159" y="200228"/>
                  </a:lnTo>
                  <a:lnTo>
                    <a:pt x="202159" y="200876"/>
                  </a:lnTo>
                  <a:lnTo>
                    <a:pt x="202159" y="200228"/>
                  </a:lnTo>
                  <a:lnTo>
                    <a:pt x="202261" y="200228"/>
                  </a:lnTo>
                  <a:lnTo>
                    <a:pt x="202261" y="199530"/>
                  </a:lnTo>
                  <a:lnTo>
                    <a:pt x="202261" y="200228"/>
                  </a:lnTo>
                  <a:lnTo>
                    <a:pt x="202261" y="199530"/>
                  </a:lnTo>
                  <a:lnTo>
                    <a:pt x="202261" y="200228"/>
                  </a:lnTo>
                  <a:lnTo>
                    <a:pt x="202261" y="196799"/>
                  </a:lnTo>
                  <a:lnTo>
                    <a:pt x="202261" y="197447"/>
                  </a:lnTo>
                  <a:lnTo>
                    <a:pt x="202311" y="197447"/>
                  </a:lnTo>
                  <a:lnTo>
                    <a:pt x="202311" y="198831"/>
                  </a:lnTo>
                  <a:lnTo>
                    <a:pt x="202311" y="197447"/>
                  </a:lnTo>
                  <a:lnTo>
                    <a:pt x="202311" y="198831"/>
                  </a:lnTo>
                  <a:lnTo>
                    <a:pt x="202311" y="197447"/>
                  </a:lnTo>
                  <a:lnTo>
                    <a:pt x="202362" y="198831"/>
                  </a:lnTo>
                  <a:lnTo>
                    <a:pt x="202362" y="200228"/>
                  </a:lnTo>
                  <a:lnTo>
                    <a:pt x="202362" y="198831"/>
                  </a:lnTo>
                  <a:lnTo>
                    <a:pt x="202362" y="200228"/>
                  </a:lnTo>
                  <a:lnTo>
                    <a:pt x="202464" y="200228"/>
                  </a:lnTo>
                  <a:lnTo>
                    <a:pt x="202464" y="200876"/>
                  </a:lnTo>
                  <a:lnTo>
                    <a:pt x="202464" y="199530"/>
                  </a:lnTo>
                  <a:lnTo>
                    <a:pt x="202464" y="200228"/>
                  </a:lnTo>
                  <a:lnTo>
                    <a:pt x="202515" y="200876"/>
                  </a:lnTo>
                  <a:lnTo>
                    <a:pt x="202515" y="202260"/>
                  </a:lnTo>
                  <a:lnTo>
                    <a:pt x="202515" y="200876"/>
                  </a:lnTo>
                  <a:lnTo>
                    <a:pt x="202515" y="202260"/>
                  </a:lnTo>
                  <a:lnTo>
                    <a:pt x="202566" y="202260"/>
                  </a:lnTo>
                  <a:lnTo>
                    <a:pt x="202566" y="200876"/>
                  </a:lnTo>
                  <a:lnTo>
                    <a:pt x="202566" y="202260"/>
                  </a:lnTo>
                  <a:lnTo>
                    <a:pt x="202566" y="200876"/>
                  </a:lnTo>
                  <a:lnTo>
                    <a:pt x="202566" y="202260"/>
                  </a:lnTo>
                  <a:lnTo>
                    <a:pt x="202616" y="202260"/>
                  </a:lnTo>
                  <a:lnTo>
                    <a:pt x="202616" y="200876"/>
                  </a:lnTo>
                  <a:lnTo>
                    <a:pt x="202616" y="202959"/>
                  </a:lnTo>
                  <a:lnTo>
                    <a:pt x="202616" y="202260"/>
                  </a:lnTo>
                  <a:lnTo>
                    <a:pt x="202705" y="202260"/>
                  </a:lnTo>
                  <a:lnTo>
                    <a:pt x="202705" y="200876"/>
                  </a:lnTo>
                  <a:lnTo>
                    <a:pt x="202705" y="202260"/>
                  </a:lnTo>
                  <a:lnTo>
                    <a:pt x="202705" y="200876"/>
                  </a:lnTo>
                  <a:lnTo>
                    <a:pt x="202705" y="202260"/>
                  </a:lnTo>
                  <a:lnTo>
                    <a:pt x="202705" y="200876"/>
                  </a:lnTo>
                  <a:lnTo>
                    <a:pt x="202756" y="200228"/>
                  </a:lnTo>
                  <a:lnTo>
                    <a:pt x="202756" y="200876"/>
                  </a:lnTo>
                  <a:lnTo>
                    <a:pt x="202756" y="199530"/>
                  </a:lnTo>
                  <a:lnTo>
                    <a:pt x="202756" y="200228"/>
                  </a:lnTo>
                  <a:lnTo>
                    <a:pt x="202756" y="199530"/>
                  </a:lnTo>
                  <a:lnTo>
                    <a:pt x="202756" y="200228"/>
                  </a:lnTo>
                  <a:lnTo>
                    <a:pt x="202756" y="197447"/>
                  </a:lnTo>
                  <a:lnTo>
                    <a:pt x="202807" y="197447"/>
                  </a:lnTo>
                  <a:lnTo>
                    <a:pt x="202807" y="198831"/>
                  </a:lnTo>
                  <a:lnTo>
                    <a:pt x="202807" y="196799"/>
                  </a:lnTo>
                  <a:lnTo>
                    <a:pt x="202807" y="198831"/>
                  </a:lnTo>
                  <a:lnTo>
                    <a:pt x="202858" y="198831"/>
                  </a:lnTo>
                  <a:lnTo>
                    <a:pt x="202858" y="199530"/>
                  </a:lnTo>
                  <a:lnTo>
                    <a:pt x="202858" y="197447"/>
                  </a:lnTo>
                  <a:lnTo>
                    <a:pt x="202858" y="199530"/>
                  </a:lnTo>
                  <a:lnTo>
                    <a:pt x="202959" y="199530"/>
                  </a:lnTo>
                  <a:lnTo>
                    <a:pt x="202959" y="200228"/>
                  </a:lnTo>
                  <a:lnTo>
                    <a:pt x="202959" y="198831"/>
                  </a:lnTo>
                  <a:lnTo>
                    <a:pt x="202959" y="200228"/>
                  </a:lnTo>
                  <a:lnTo>
                    <a:pt x="202959" y="199530"/>
                  </a:lnTo>
                  <a:lnTo>
                    <a:pt x="202959" y="200228"/>
                  </a:lnTo>
                  <a:lnTo>
                    <a:pt x="203010" y="200228"/>
                  </a:lnTo>
                  <a:lnTo>
                    <a:pt x="203010" y="199530"/>
                  </a:lnTo>
                  <a:lnTo>
                    <a:pt x="203010" y="200228"/>
                  </a:lnTo>
                  <a:lnTo>
                    <a:pt x="203010" y="199530"/>
                  </a:lnTo>
                  <a:lnTo>
                    <a:pt x="203010" y="200228"/>
                  </a:lnTo>
                  <a:lnTo>
                    <a:pt x="203010" y="199530"/>
                  </a:lnTo>
                  <a:lnTo>
                    <a:pt x="203010" y="200228"/>
                  </a:lnTo>
                  <a:lnTo>
                    <a:pt x="203010" y="199530"/>
                  </a:lnTo>
                  <a:lnTo>
                    <a:pt x="203010" y="200228"/>
                  </a:lnTo>
                  <a:lnTo>
                    <a:pt x="203061" y="199530"/>
                  </a:lnTo>
                  <a:lnTo>
                    <a:pt x="203061" y="200228"/>
                  </a:lnTo>
                  <a:lnTo>
                    <a:pt x="203061" y="199530"/>
                  </a:lnTo>
                  <a:lnTo>
                    <a:pt x="203061" y="200876"/>
                  </a:lnTo>
                  <a:lnTo>
                    <a:pt x="203061" y="200228"/>
                  </a:lnTo>
                  <a:lnTo>
                    <a:pt x="203061" y="200876"/>
                  </a:lnTo>
                  <a:lnTo>
                    <a:pt x="203061" y="200228"/>
                  </a:lnTo>
                  <a:lnTo>
                    <a:pt x="203162" y="200228"/>
                  </a:lnTo>
                  <a:lnTo>
                    <a:pt x="203162" y="200876"/>
                  </a:lnTo>
                  <a:lnTo>
                    <a:pt x="203162" y="200228"/>
                  </a:lnTo>
                  <a:lnTo>
                    <a:pt x="203162" y="200876"/>
                  </a:lnTo>
                  <a:lnTo>
                    <a:pt x="203162" y="200228"/>
                  </a:lnTo>
                  <a:lnTo>
                    <a:pt x="203162" y="200876"/>
                  </a:lnTo>
                  <a:lnTo>
                    <a:pt x="203162" y="200228"/>
                  </a:lnTo>
                  <a:lnTo>
                    <a:pt x="203162" y="200876"/>
                  </a:lnTo>
                  <a:lnTo>
                    <a:pt x="203162" y="200228"/>
                  </a:lnTo>
                  <a:lnTo>
                    <a:pt x="203162" y="200876"/>
                  </a:lnTo>
                  <a:lnTo>
                    <a:pt x="203162" y="200228"/>
                  </a:lnTo>
                  <a:lnTo>
                    <a:pt x="203162" y="200876"/>
                  </a:lnTo>
                  <a:lnTo>
                    <a:pt x="203162" y="200228"/>
                  </a:lnTo>
                  <a:lnTo>
                    <a:pt x="203200" y="200876"/>
                  </a:lnTo>
                  <a:lnTo>
                    <a:pt x="203200" y="199530"/>
                  </a:lnTo>
                  <a:lnTo>
                    <a:pt x="203200" y="200228"/>
                  </a:lnTo>
                  <a:lnTo>
                    <a:pt x="203200" y="199530"/>
                  </a:lnTo>
                  <a:lnTo>
                    <a:pt x="203251" y="199530"/>
                  </a:lnTo>
                  <a:lnTo>
                    <a:pt x="203251" y="197447"/>
                  </a:lnTo>
                  <a:lnTo>
                    <a:pt x="203251" y="200228"/>
                  </a:lnTo>
                  <a:lnTo>
                    <a:pt x="203251" y="199530"/>
                  </a:lnTo>
                  <a:lnTo>
                    <a:pt x="203251" y="200228"/>
                  </a:lnTo>
                  <a:lnTo>
                    <a:pt x="203302" y="199530"/>
                  </a:lnTo>
                  <a:lnTo>
                    <a:pt x="203302" y="197447"/>
                  </a:lnTo>
                  <a:lnTo>
                    <a:pt x="203302" y="202260"/>
                  </a:lnTo>
                  <a:lnTo>
                    <a:pt x="203404" y="200876"/>
                  </a:lnTo>
                  <a:lnTo>
                    <a:pt x="203404" y="199530"/>
                  </a:lnTo>
                  <a:lnTo>
                    <a:pt x="203404" y="202260"/>
                  </a:lnTo>
                  <a:lnTo>
                    <a:pt x="203404" y="200228"/>
                  </a:lnTo>
                  <a:lnTo>
                    <a:pt x="203455" y="200228"/>
                  </a:lnTo>
                  <a:lnTo>
                    <a:pt x="203455" y="199530"/>
                  </a:lnTo>
                  <a:lnTo>
                    <a:pt x="203455" y="200876"/>
                  </a:lnTo>
                  <a:lnTo>
                    <a:pt x="203455" y="200228"/>
                  </a:lnTo>
                  <a:lnTo>
                    <a:pt x="203455" y="200876"/>
                  </a:lnTo>
                  <a:lnTo>
                    <a:pt x="203455" y="200228"/>
                  </a:lnTo>
                  <a:lnTo>
                    <a:pt x="203455" y="200876"/>
                  </a:lnTo>
                  <a:lnTo>
                    <a:pt x="203455" y="200228"/>
                  </a:lnTo>
                  <a:lnTo>
                    <a:pt x="203505" y="200228"/>
                  </a:lnTo>
                  <a:lnTo>
                    <a:pt x="203505" y="200876"/>
                  </a:lnTo>
                  <a:lnTo>
                    <a:pt x="203505" y="200228"/>
                  </a:lnTo>
                  <a:lnTo>
                    <a:pt x="203505" y="200876"/>
                  </a:lnTo>
                  <a:lnTo>
                    <a:pt x="203505" y="200228"/>
                  </a:lnTo>
                  <a:lnTo>
                    <a:pt x="203505" y="200876"/>
                  </a:lnTo>
                  <a:lnTo>
                    <a:pt x="203505" y="200228"/>
                  </a:lnTo>
                  <a:lnTo>
                    <a:pt x="203607" y="200228"/>
                  </a:lnTo>
                  <a:lnTo>
                    <a:pt x="203607" y="199530"/>
                  </a:lnTo>
                  <a:lnTo>
                    <a:pt x="203607" y="200876"/>
                  </a:lnTo>
                  <a:lnTo>
                    <a:pt x="203607" y="200228"/>
                  </a:lnTo>
                  <a:lnTo>
                    <a:pt x="203607" y="200876"/>
                  </a:lnTo>
                  <a:lnTo>
                    <a:pt x="203607" y="200228"/>
                  </a:lnTo>
                  <a:lnTo>
                    <a:pt x="203658" y="200228"/>
                  </a:lnTo>
                  <a:lnTo>
                    <a:pt x="203658" y="200876"/>
                  </a:lnTo>
                  <a:lnTo>
                    <a:pt x="203658" y="200228"/>
                  </a:lnTo>
                  <a:lnTo>
                    <a:pt x="203708" y="200228"/>
                  </a:lnTo>
                  <a:lnTo>
                    <a:pt x="203708" y="198831"/>
                  </a:lnTo>
                  <a:lnTo>
                    <a:pt x="203708" y="199530"/>
                  </a:lnTo>
                  <a:lnTo>
                    <a:pt x="203747" y="199530"/>
                  </a:lnTo>
                  <a:lnTo>
                    <a:pt x="203747" y="197447"/>
                  </a:lnTo>
                  <a:lnTo>
                    <a:pt x="203747" y="199530"/>
                  </a:lnTo>
                  <a:lnTo>
                    <a:pt x="203747" y="198831"/>
                  </a:lnTo>
                  <a:lnTo>
                    <a:pt x="203848" y="198831"/>
                  </a:lnTo>
                  <a:lnTo>
                    <a:pt x="203848" y="197447"/>
                  </a:lnTo>
                  <a:lnTo>
                    <a:pt x="203848" y="200876"/>
                  </a:lnTo>
                  <a:lnTo>
                    <a:pt x="203848" y="200228"/>
                  </a:lnTo>
                  <a:lnTo>
                    <a:pt x="203899" y="200228"/>
                  </a:lnTo>
                  <a:lnTo>
                    <a:pt x="203899" y="199530"/>
                  </a:lnTo>
                  <a:lnTo>
                    <a:pt x="203899" y="202260"/>
                  </a:lnTo>
                  <a:lnTo>
                    <a:pt x="203899" y="200228"/>
                  </a:lnTo>
                  <a:lnTo>
                    <a:pt x="203950" y="200228"/>
                  </a:lnTo>
                  <a:lnTo>
                    <a:pt x="203950" y="200876"/>
                  </a:lnTo>
                  <a:lnTo>
                    <a:pt x="204051" y="200228"/>
                  </a:lnTo>
                  <a:lnTo>
                    <a:pt x="204051" y="200876"/>
                  </a:lnTo>
                  <a:lnTo>
                    <a:pt x="204051" y="200228"/>
                  </a:lnTo>
                  <a:lnTo>
                    <a:pt x="204051" y="200876"/>
                  </a:lnTo>
                  <a:lnTo>
                    <a:pt x="204051" y="200228"/>
                  </a:lnTo>
                  <a:lnTo>
                    <a:pt x="204102" y="200228"/>
                  </a:lnTo>
                  <a:lnTo>
                    <a:pt x="204102" y="200876"/>
                  </a:lnTo>
                  <a:lnTo>
                    <a:pt x="204102" y="200228"/>
                  </a:lnTo>
                  <a:lnTo>
                    <a:pt x="204153" y="200228"/>
                  </a:lnTo>
                  <a:lnTo>
                    <a:pt x="204153" y="199530"/>
                  </a:lnTo>
                  <a:lnTo>
                    <a:pt x="204204" y="199530"/>
                  </a:lnTo>
                  <a:lnTo>
                    <a:pt x="204204" y="198831"/>
                  </a:lnTo>
                  <a:lnTo>
                    <a:pt x="204204" y="199530"/>
                  </a:lnTo>
                  <a:lnTo>
                    <a:pt x="204204" y="197447"/>
                  </a:lnTo>
                  <a:lnTo>
                    <a:pt x="204293" y="197447"/>
                  </a:lnTo>
                  <a:lnTo>
                    <a:pt x="204293" y="196799"/>
                  </a:lnTo>
                  <a:lnTo>
                    <a:pt x="204293" y="199530"/>
                  </a:lnTo>
                  <a:lnTo>
                    <a:pt x="204293" y="196799"/>
                  </a:lnTo>
                  <a:lnTo>
                    <a:pt x="204343" y="196113"/>
                  </a:lnTo>
                  <a:lnTo>
                    <a:pt x="204343" y="200876"/>
                  </a:lnTo>
                  <a:lnTo>
                    <a:pt x="204343" y="200228"/>
                  </a:lnTo>
                  <a:lnTo>
                    <a:pt x="204343" y="200876"/>
                  </a:lnTo>
                  <a:lnTo>
                    <a:pt x="204343" y="200228"/>
                  </a:lnTo>
                  <a:lnTo>
                    <a:pt x="204343" y="200876"/>
                  </a:lnTo>
                  <a:lnTo>
                    <a:pt x="204343" y="199530"/>
                  </a:lnTo>
                  <a:lnTo>
                    <a:pt x="204394" y="199530"/>
                  </a:lnTo>
                  <a:lnTo>
                    <a:pt x="204394" y="200876"/>
                  </a:lnTo>
                  <a:lnTo>
                    <a:pt x="204394" y="200228"/>
                  </a:lnTo>
                  <a:lnTo>
                    <a:pt x="204394" y="200876"/>
                  </a:lnTo>
                  <a:lnTo>
                    <a:pt x="204445" y="200876"/>
                  </a:lnTo>
                  <a:lnTo>
                    <a:pt x="204445" y="200228"/>
                  </a:lnTo>
                  <a:lnTo>
                    <a:pt x="204445" y="200876"/>
                  </a:lnTo>
                  <a:lnTo>
                    <a:pt x="204547" y="202260"/>
                  </a:lnTo>
                  <a:lnTo>
                    <a:pt x="204547" y="200876"/>
                  </a:lnTo>
                  <a:lnTo>
                    <a:pt x="204547" y="202260"/>
                  </a:lnTo>
                  <a:lnTo>
                    <a:pt x="204547" y="200228"/>
                  </a:lnTo>
                  <a:lnTo>
                    <a:pt x="204547" y="200876"/>
                  </a:lnTo>
                  <a:lnTo>
                    <a:pt x="204648" y="200876"/>
                  </a:lnTo>
                  <a:lnTo>
                    <a:pt x="204648" y="200228"/>
                  </a:lnTo>
                  <a:lnTo>
                    <a:pt x="204648" y="200876"/>
                  </a:lnTo>
                  <a:lnTo>
                    <a:pt x="204648" y="199530"/>
                  </a:lnTo>
                  <a:lnTo>
                    <a:pt x="204750" y="199530"/>
                  </a:lnTo>
                  <a:lnTo>
                    <a:pt x="204750" y="197447"/>
                  </a:lnTo>
                  <a:lnTo>
                    <a:pt x="204750" y="198831"/>
                  </a:lnTo>
                  <a:lnTo>
                    <a:pt x="204750" y="196799"/>
                  </a:lnTo>
                  <a:lnTo>
                    <a:pt x="204788" y="196799"/>
                  </a:lnTo>
                  <a:lnTo>
                    <a:pt x="204788" y="198831"/>
                  </a:lnTo>
                  <a:lnTo>
                    <a:pt x="204788" y="196799"/>
                  </a:lnTo>
                  <a:lnTo>
                    <a:pt x="204788" y="197447"/>
                  </a:lnTo>
                  <a:lnTo>
                    <a:pt x="204839" y="197447"/>
                  </a:lnTo>
                  <a:lnTo>
                    <a:pt x="204839" y="199530"/>
                  </a:lnTo>
                  <a:lnTo>
                    <a:pt x="204839" y="198831"/>
                  </a:lnTo>
                  <a:lnTo>
                    <a:pt x="204839" y="199530"/>
                  </a:lnTo>
                  <a:lnTo>
                    <a:pt x="204839" y="197447"/>
                  </a:lnTo>
                  <a:lnTo>
                    <a:pt x="204839" y="199530"/>
                  </a:lnTo>
                  <a:lnTo>
                    <a:pt x="204890" y="199530"/>
                  </a:lnTo>
                  <a:lnTo>
                    <a:pt x="204890" y="200228"/>
                  </a:lnTo>
                  <a:lnTo>
                    <a:pt x="204890" y="199530"/>
                  </a:lnTo>
                  <a:lnTo>
                    <a:pt x="204890" y="200228"/>
                  </a:lnTo>
                  <a:lnTo>
                    <a:pt x="204890" y="199530"/>
                  </a:lnTo>
                  <a:lnTo>
                    <a:pt x="204991" y="199530"/>
                  </a:lnTo>
                  <a:lnTo>
                    <a:pt x="204991" y="200228"/>
                  </a:lnTo>
                  <a:lnTo>
                    <a:pt x="204991" y="199530"/>
                  </a:lnTo>
                  <a:lnTo>
                    <a:pt x="204991" y="200228"/>
                  </a:lnTo>
                  <a:lnTo>
                    <a:pt x="204991" y="199530"/>
                  </a:lnTo>
                  <a:lnTo>
                    <a:pt x="204991" y="200228"/>
                  </a:lnTo>
                  <a:lnTo>
                    <a:pt x="204991" y="199530"/>
                  </a:lnTo>
                  <a:lnTo>
                    <a:pt x="204991" y="200228"/>
                  </a:lnTo>
                  <a:lnTo>
                    <a:pt x="205042" y="200228"/>
                  </a:lnTo>
                  <a:lnTo>
                    <a:pt x="205042" y="200876"/>
                  </a:lnTo>
                  <a:lnTo>
                    <a:pt x="205042" y="200228"/>
                  </a:lnTo>
                  <a:lnTo>
                    <a:pt x="205042" y="200876"/>
                  </a:lnTo>
                  <a:lnTo>
                    <a:pt x="205093" y="200876"/>
                  </a:lnTo>
                  <a:lnTo>
                    <a:pt x="205093" y="200228"/>
                  </a:lnTo>
                  <a:lnTo>
                    <a:pt x="205093" y="200876"/>
                  </a:lnTo>
                  <a:lnTo>
                    <a:pt x="205093" y="200228"/>
                  </a:lnTo>
                  <a:lnTo>
                    <a:pt x="205093" y="200876"/>
                  </a:lnTo>
                  <a:lnTo>
                    <a:pt x="205194" y="200876"/>
                  </a:lnTo>
                  <a:lnTo>
                    <a:pt x="205194" y="198831"/>
                  </a:lnTo>
                  <a:lnTo>
                    <a:pt x="205245" y="198831"/>
                  </a:lnTo>
                  <a:lnTo>
                    <a:pt x="205245" y="196113"/>
                  </a:lnTo>
                  <a:lnTo>
                    <a:pt x="205245" y="196799"/>
                  </a:lnTo>
                  <a:lnTo>
                    <a:pt x="205245" y="196113"/>
                  </a:lnTo>
                  <a:lnTo>
                    <a:pt x="205245" y="196799"/>
                  </a:lnTo>
                  <a:lnTo>
                    <a:pt x="205296" y="196113"/>
                  </a:lnTo>
                  <a:lnTo>
                    <a:pt x="205296" y="197447"/>
                  </a:lnTo>
                  <a:lnTo>
                    <a:pt x="205296" y="196799"/>
                  </a:lnTo>
                  <a:lnTo>
                    <a:pt x="205334" y="197447"/>
                  </a:lnTo>
                  <a:lnTo>
                    <a:pt x="205334" y="199530"/>
                  </a:lnTo>
                  <a:lnTo>
                    <a:pt x="205334" y="198831"/>
                  </a:lnTo>
                  <a:lnTo>
                    <a:pt x="205334" y="199530"/>
                  </a:lnTo>
                  <a:lnTo>
                    <a:pt x="205436" y="198831"/>
                  </a:lnTo>
                  <a:lnTo>
                    <a:pt x="205436" y="200228"/>
                  </a:lnTo>
                  <a:lnTo>
                    <a:pt x="205436" y="198831"/>
                  </a:lnTo>
                  <a:lnTo>
                    <a:pt x="205436" y="199530"/>
                  </a:lnTo>
                  <a:lnTo>
                    <a:pt x="205436" y="198831"/>
                  </a:lnTo>
                  <a:lnTo>
                    <a:pt x="205436" y="199530"/>
                  </a:lnTo>
                  <a:lnTo>
                    <a:pt x="205436" y="198831"/>
                  </a:lnTo>
                  <a:lnTo>
                    <a:pt x="205436" y="199530"/>
                  </a:lnTo>
                  <a:lnTo>
                    <a:pt x="205436" y="198831"/>
                  </a:lnTo>
                  <a:lnTo>
                    <a:pt x="205487" y="199530"/>
                  </a:lnTo>
                  <a:lnTo>
                    <a:pt x="205487" y="200228"/>
                  </a:lnTo>
                  <a:lnTo>
                    <a:pt x="205487" y="199530"/>
                  </a:lnTo>
                  <a:lnTo>
                    <a:pt x="205537" y="199530"/>
                  </a:lnTo>
                  <a:lnTo>
                    <a:pt x="205537" y="200876"/>
                  </a:lnTo>
                  <a:lnTo>
                    <a:pt x="205537" y="200228"/>
                  </a:lnTo>
                  <a:lnTo>
                    <a:pt x="205537" y="200876"/>
                  </a:lnTo>
                  <a:lnTo>
                    <a:pt x="205639" y="200228"/>
                  </a:lnTo>
                  <a:lnTo>
                    <a:pt x="205639" y="200876"/>
                  </a:lnTo>
                  <a:lnTo>
                    <a:pt x="205639" y="200228"/>
                  </a:lnTo>
                  <a:lnTo>
                    <a:pt x="205639" y="200876"/>
                  </a:lnTo>
                  <a:lnTo>
                    <a:pt x="205690" y="200876"/>
                  </a:lnTo>
                  <a:lnTo>
                    <a:pt x="205690" y="199530"/>
                  </a:lnTo>
                  <a:lnTo>
                    <a:pt x="205690" y="200228"/>
                  </a:lnTo>
                  <a:lnTo>
                    <a:pt x="205690" y="199530"/>
                  </a:lnTo>
                  <a:lnTo>
                    <a:pt x="205690" y="200228"/>
                  </a:lnTo>
                  <a:lnTo>
                    <a:pt x="205690" y="199530"/>
                  </a:lnTo>
                  <a:lnTo>
                    <a:pt x="205741" y="199530"/>
                  </a:lnTo>
                  <a:lnTo>
                    <a:pt x="205741" y="197447"/>
                  </a:lnTo>
                  <a:lnTo>
                    <a:pt x="205791" y="197447"/>
                  </a:lnTo>
                  <a:lnTo>
                    <a:pt x="205791" y="196799"/>
                  </a:lnTo>
                  <a:lnTo>
                    <a:pt x="205791" y="198831"/>
                  </a:lnTo>
                  <a:lnTo>
                    <a:pt x="205791" y="196799"/>
                  </a:lnTo>
                  <a:lnTo>
                    <a:pt x="205791" y="198831"/>
                  </a:lnTo>
                  <a:lnTo>
                    <a:pt x="205880" y="199530"/>
                  </a:lnTo>
                  <a:lnTo>
                    <a:pt x="205880" y="197447"/>
                  </a:lnTo>
                  <a:lnTo>
                    <a:pt x="205880" y="198831"/>
                  </a:lnTo>
                  <a:lnTo>
                    <a:pt x="205931" y="198831"/>
                  </a:lnTo>
                  <a:lnTo>
                    <a:pt x="205931" y="197447"/>
                  </a:lnTo>
                  <a:lnTo>
                    <a:pt x="205931" y="198831"/>
                  </a:lnTo>
                  <a:lnTo>
                    <a:pt x="205931" y="197447"/>
                  </a:lnTo>
                  <a:lnTo>
                    <a:pt x="205931" y="198831"/>
                  </a:lnTo>
                  <a:lnTo>
                    <a:pt x="205982" y="197447"/>
                  </a:lnTo>
                  <a:lnTo>
                    <a:pt x="205982" y="198831"/>
                  </a:lnTo>
                  <a:lnTo>
                    <a:pt x="205982" y="197447"/>
                  </a:lnTo>
                  <a:lnTo>
                    <a:pt x="205982" y="199530"/>
                  </a:lnTo>
                  <a:lnTo>
                    <a:pt x="206033" y="199530"/>
                  </a:lnTo>
                  <a:lnTo>
                    <a:pt x="206033" y="200228"/>
                  </a:lnTo>
                  <a:lnTo>
                    <a:pt x="206033" y="199530"/>
                  </a:lnTo>
                  <a:lnTo>
                    <a:pt x="206033" y="200228"/>
                  </a:lnTo>
                  <a:lnTo>
                    <a:pt x="206033" y="199530"/>
                  </a:lnTo>
                  <a:lnTo>
                    <a:pt x="206033" y="200228"/>
                  </a:lnTo>
                  <a:lnTo>
                    <a:pt x="206134" y="200228"/>
                  </a:lnTo>
                  <a:lnTo>
                    <a:pt x="206134" y="199530"/>
                  </a:lnTo>
                  <a:lnTo>
                    <a:pt x="206134" y="200228"/>
                  </a:lnTo>
                  <a:lnTo>
                    <a:pt x="206134" y="199530"/>
                  </a:lnTo>
                  <a:lnTo>
                    <a:pt x="206185" y="199530"/>
                  </a:lnTo>
                  <a:lnTo>
                    <a:pt x="206185" y="198831"/>
                  </a:lnTo>
                  <a:lnTo>
                    <a:pt x="206185" y="199530"/>
                  </a:lnTo>
                  <a:lnTo>
                    <a:pt x="206185" y="198831"/>
                  </a:lnTo>
                  <a:lnTo>
                    <a:pt x="206185" y="199530"/>
                  </a:lnTo>
                  <a:lnTo>
                    <a:pt x="206185" y="197447"/>
                  </a:lnTo>
                  <a:lnTo>
                    <a:pt x="206185" y="198831"/>
                  </a:lnTo>
                  <a:lnTo>
                    <a:pt x="206236" y="198831"/>
                  </a:lnTo>
                  <a:lnTo>
                    <a:pt x="206236" y="196799"/>
                  </a:lnTo>
                  <a:lnTo>
                    <a:pt x="206236" y="199530"/>
                  </a:lnTo>
                  <a:lnTo>
                    <a:pt x="206236" y="197447"/>
                  </a:lnTo>
                  <a:lnTo>
                    <a:pt x="206337" y="197447"/>
                  </a:lnTo>
                  <a:lnTo>
                    <a:pt x="206337" y="196799"/>
                  </a:lnTo>
                  <a:lnTo>
                    <a:pt x="206337" y="200228"/>
                  </a:lnTo>
                  <a:lnTo>
                    <a:pt x="206337" y="199530"/>
                  </a:lnTo>
                  <a:lnTo>
                    <a:pt x="206376" y="199530"/>
                  </a:lnTo>
                  <a:lnTo>
                    <a:pt x="206376" y="200228"/>
                  </a:lnTo>
                  <a:lnTo>
                    <a:pt x="206376" y="199530"/>
                  </a:lnTo>
                  <a:lnTo>
                    <a:pt x="206376" y="200876"/>
                  </a:lnTo>
                  <a:lnTo>
                    <a:pt x="206376" y="199530"/>
                  </a:lnTo>
                  <a:lnTo>
                    <a:pt x="206426" y="199530"/>
                  </a:lnTo>
                  <a:lnTo>
                    <a:pt x="206426" y="200228"/>
                  </a:lnTo>
                  <a:lnTo>
                    <a:pt x="206426" y="199530"/>
                  </a:lnTo>
                  <a:lnTo>
                    <a:pt x="206426" y="200228"/>
                  </a:lnTo>
                  <a:lnTo>
                    <a:pt x="206477" y="199530"/>
                  </a:lnTo>
                  <a:lnTo>
                    <a:pt x="206477" y="200228"/>
                  </a:lnTo>
                  <a:lnTo>
                    <a:pt x="206477" y="199530"/>
                  </a:lnTo>
                  <a:lnTo>
                    <a:pt x="206477" y="200876"/>
                  </a:lnTo>
                  <a:lnTo>
                    <a:pt x="206477" y="200228"/>
                  </a:lnTo>
                  <a:lnTo>
                    <a:pt x="206477" y="200876"/>
                  </a:lnTo>
                  <a:lnTo>
                    <a:pt x="206477" y="200228"/>
                  </a:lnTo>
                  <a:lnTo>
                    <a:pt x="206477" y="200876"/>
                  </a:lnTo>
                  <a:lnTo>
                    <a:pt x="206579" y="200876"/>
                  </a:lnTo>
                  <a:lnTo>
                    <a:pt x="206579" y="200228"/>
                  </a:lnTo>
                  <a:lnTo>
                    <a:pt x="206579" y="200876"/>
                  </a:lnTo>
                  <a:lnTo>
                    <a:pt x="206579" y="200228"/>
                  </a:lnTo>
                  <a:lnTo>
                    <a:pt x="206579" y="200876"/>
                  </a:lnTo>
                  <a:lnTo>
                    <a:pt x="206579" y="200228"/>
                  </a:lnTo>
                  <a:lnTo>
                    <a:pt x="206630" y="200876"/>
                  </a:lnTo>
                  <a:lnTo>
                    <a:pt x="206630" y="200228"/>
                  </a:lnTo>
                  <a:lnTo>
                    <a:pt x="206680" y="200228"/>
                  </a:lnTo>
                  <a:lnTo>
                    <a:pt x="206680" y="197447"/>
                  </a:lnTo>
                  <a:lnTo>
                    <a:pt x="206782" y="197447"/>
                  </a:lnTo>
                  <a:lnTo>
                    <a:pt x="206782" y="200228"/>
                  </a:lnTo>
                  <a:lnTo>
                    <a:pt x="206782" y="199530"/>
                  </a:lnTo>
                  <a:lnTo>
                    <a:pt x="206782" y="200228"/>
                  </a:lnTo>
                  <a:lnTo>
                    <a:pt x="206782" y="199530"/>
                  </a:lnTo>
                  <a:lnTo>
                    <a:pt x="206833" y="199530"/>
                  </a:lnTo>
                  <a:lnTo>
                    <a:pt x="206833" y="198831"/>
                  </a:lnTo>
                  <a:lnTo>
                    <a:pt x="206833" y="200876"/>
                  </a:lnTo>
                  <a:lnTo>
                    <a:pt x="206833" y="200228"/>
                  </a:lnTo>
                  <a:lnTo>
                    <a:pt x="206883" y="200228"/>
                  </a:lnTo>
                  <a:lnTo>
                    <a:pt x="206883" y="202260"/>
                  </a:lnTo>
                  <a:lnTo>
                    <a:pt x="206883" y="199530"/>
                  </a:lnTo>
                  <a:lnTo>
                    <a:pt x="206922" y="200228"/>
                  </a:lnTo>
                  <a:lnTo>
                    <a:pt x="206922" y="200876"/>
                  </a:lnTo>
                  <a:lnTo>
                    <a:pt x="206922" y="200228"/>
                  </a:lnTo>
                  <a:lnTo>
                    <a:pt x="206922" y="200876"/>
                  </a:lnTo>
                  <a:lnTo>
                    <a:pt x="206922" y="200228"/>
                  </a:lnTo>
                  <a:lnTo>
                    <a:pt x="206922" y="200876"/>
                  </a:lnTo>
                  <a:lnTo>
                    <a:pt x="207074" y="200876"/>
                  </a:lnTo>
                  <a:lnTo>
                    <a:pt x="207074" y="200228"/>
                  </a:lnTo>
                  <a:lnTo>
                    <a:pt x="207074" y="200876"/>
                  </a:lnTo>
                  <a:lnTo>
                    <a:pt x="207074" y="200228"/>
                  </a:lnTo>
                  <a:lnTo>
                    <a:pt x="207074" y="200876"/>
                  </a:lnTo>
                  <a:lnTo>
                    <a:pt x="207125" y="200228"/>
                  </a:lnTo>
                  <a:lnTo>
                    <a:pt x="207125" y="199530"/>
                  </a:lnTo>
                  <a:lnTo>
                    <a:pt x="207125" y="200228"/>
                  </a:lnTo>
                  <a:lnTo>
                    <a:pt x="207125" y="198831"/>
                  </a:lnTo>
                  <a:lnTo>
                    <a:pt x="207226" y="198831"/>
                  </a:lnTo>
                  <a:lnTo>
                    <a:pt x="207226" y="196799"/>
                  </a:lnTo>
                  <a:lnTo>
                    <a:pt x="207226" y="197447"/>
                  </a:lnTo>
                  <a:lnTo>
                    <a:pt x="207277" y="196799"/>
                  </a:lnTo>
                  <a:lnTo>
                    <a:pt x="207277" y="196113"/>
                  </a:lnTo>
                  <a:lnTo>
                    <a:pt x="207277" y="198831"/>
                  </a:lnTo>
                  <a:lnTo>
                    <a:pt x="207277" y="197447"/>
                  </a:lnTo>
                  <a:lnTo>
                    <a:pt x="207328" y="196799"/>
                  </a:lnTo>
                  <a:lnTo>
                    <a:pt x="207328" y="200228"/>
                  </a:lnTo>
                  <a:lnTo>
                    <a:pt x="207328" y="198831"/>
                  </a:lnTo>
                  <a:lnTo>
                    <a:pt x="207379" y="198831"/>
                  </a:lnTo>
                  <a:lnTo>
                    <a:pt x="207379" y="200228"/>
                  </a:lnTo>
                  <a:lnTo>
                    <a:pt x="207379" y="199530"/>
                  </a:lnTo>
                  <a:lnTo>
                    <a:pt x="207379" y="200228"/>
                  </a:lnTo>
                  <a:lnTo>
                    <a:pt x="207379" y="199530"/>
                  </a:lnTo>
                  <a:lnTo>
                    <a:pt x="207468" y="199530"/>
                  </a:lnTo>
                  <a:lnTo>
                    <a:pt x="207468" y="200228"/>
                  </a:lnTo>
                  <a:lnTo>
                    <a:pt x="207518" y="200876"/>
                  </a:lnTo>
                  <a:lnTo>
                    <a:pt x="207518" y="200228"/>
                  </a:lnTo>
                  <a:lnTo>
                    <a:pt x="207518" y="200876"/>
                  </a:lnTo>
                  <a:lnTo>
                    <a:pt x="207518" y="200228"/>
                  </a:lnTo>
                  <a:lnTo>
                    <a:pt x="207518" y="202260"/>
                  </a:lnTo>
                  <a:lnTo>
                    <a:pt x="207518" y="200876"/>
                  </a:lnTo>
                  <a:lnTo>
                    <a:pt x="207569" y="200876"/>
                  </a:lnTo>
                  <a:lnTo>
                    <a:pt x="207569" y="200228"/>
                  </a:lnTo>
                  <a:lnTo>
                    <a:pt x="207569" y="200876"/>
                  </a:lnTo>
                  <a:lnTo>
                    <a:pt x="207620" y="200876"/>
                  </a:lnTo>
                  <a:lnTo>
                    <a:pt x="207620" y="200228"/>
                  </a:lnTo>
                  <a:lnTo>
                    <a:pt x="207620" y="200876"/>
                  </a:lnTo>
                  <a:lnTo>
                    <a:pt x="207620" y="199530"/>
                  </a:lnTo>
                  <a:lnTo>
                    <a:pt x="207620" y="200228"/>
                  </a:lnTo>
                  <a:lnTo>
                    <a:pt x="207620" y="199530"/>
                  </a:lnTo>
                  <a:lnTo>
                    <a:pt x="207620" y="200228"/>
                  </a:lnTo>
                  <a:lnTo>
                    <a:pt x="207620" y="199530"/>
                  </a:lnTo>
                  <a:lnTo>
                    <a:pt x="207722" y="199530"/>
                  </a:lnTo>
                  <a:lnTo>
                    <a:pt x="207722" y="197447"/>
                  </a:lnTo>
                  <a:lnTo>
                    <a:pt x="207722" y="198831"/>
                  </a:lnTo>
                  <a:lnTo>
                    <a:pt x="207722" y="197447"/>
                  </a:lnTo>
                  <a:lnTo>
                    <a:pt x="207772" y="197447"/>
                  </a:lnTo>
                  <a:lnTo>
                    <a:pt x="207772" y="199530"/>
                  </a:lnTo>
                  <a:lnTo>
                    <a:pt x="207772" y="198831"/>
                  </a:lnTo>
                  <a:lnTo>
                    <a:pt x="207772" y="199530"/>
                  </a:lnTo>
                  <a:lnTo>
                    <a:pt x="207772" y="198831"/>
                  </a:lnTo>
                  <a:lnTo>
                    <a:pt x="207823" y="198831"/>
                  </a:lnTo>
                  <a:lnTo>
                    <a:pt x="207823" y="200228"/>
                  </a:lnTo>
                  <a:lnTo>
                    <a:pt x="207823" y="198831"/>
                  </a:lnTo>
                  <a:lnTo>
                    <a:pt x="207823" y="199530"/>
                  </a:lnTo>
                  <a:lnTo>
                    <a:pt x="207925" y="199530"/>
                  </a:lnTo>
                  <a:lnTo>
                    <a:pt x="207925" y="200228"/>
                  </a:lnTo>
                  <a:lnTo>
                    <a:pt x="207925" y="199530"/>
                  </a:lnTo>
                  <a:lnTo>
                    <a:pt x="207925" y="200228"/>
                  </a:lnTo>
                  <a:lnTo>
                    <a:pt x="207963" y="200228"/>
                  </a:lnTo>
                  <a:lnTo>
                    <a:pt x="207963" y="200876"/>
                  </a:lnTo>
                  <a:lnTo>
                    <a:pt x="208014" y="200876"/>
                  </a:lnTo>
                  <a:lnTo>
                    <a:pt x="208014" y="202260"/>
                  </a:lnTo>
                  <a:lnTo>
                    <a:pt x="208014" y="200876"/>
                  </a:lnTo>
                  <a:lnTo>
                    <a:pt x="208065" y="200876"/>
                  </a:lnTo>
                  <a:lnTo>
                    <a:pt x="208065" y="200228"/>
                  </a:lnTo>
                  <a:lnTo>
                    <a:pt x="208166" y="200228"/>
                  </a:lnTo>
                  <a:lnTo>
                    <a:pt x="208166" y="199530"/>
                  </a:lnTo>
                  <a:lnTo>
                    <a:pt x="208166" y="200228"/>
                  </a:lnTo>
                  <a:lnTo>
                    <a:pt x="208166" y="199530"/>
                  </a:lnTo>
                  <a:lnTo>
                    <a:pt x="208217" y="199530"/>
                  </a:lnTo>
                  <a:lnTo>
                    <a:pt x="208217" y="196113"/>
                  </a:lnTo>
                  <a:lnTo>
                    <a:pt x="208217" y="197447"/>
                  </a:lnTo>
                  <a:lnTo>
                    <a:pt x="208268" y="197447"/>
                  </a:lnTo>
                  <a:lnTo>
                    <a:pt x="208268" y="196799"/>
                  </a:lnTo>
                  <a:lnTo>
                    <a:pt x="208268" y="197447"/>
                  </a:lnTo>
                  <a:lnTo>
                    <a:pt x="208268" y="196799"/>
                  </a:lnTo>
                  <a:lnTo>
                    <a:pt x="208268" y="198831"/>
                  </a:lnTo>
                  <a:lnTo>
                    <a:pt x="208369" y="198831"/>
                  </a:lnTo>
                  <a:lnTo>
                    <a:pt x="208369" y="199530"/>
                  </a:lnTo>
                  <a:lnTo>
                    <a:pt x="208369" y="198831"/>
                  </a:lnTo>
                  <a:lnTo>
                    <a:pt x="208420" y="198831"/>
                  </a:lnTo>
                  <a:lnTo>
                    <a:pt x="208420" y="199530"/>
                  </a:lnTo>
                  <a:lnTo>
                    <a:pt x="208420" y="198831"/>
                  </a:lnTo>
                  <a:lnTo>
                    <a:pt x="208420" y="200228"/>
                  </a:lnTo>
                  <a:lnTo>
                    <a:pt x="208420" y="199530"/>
                  </a:lnTo>
                  <a:lnTo>
                    <a:pt x="208420" y="200228"/>
                  </a:lnTo>
                  <a:lnTo>
                    <a:pt x="208420" y="199530"/>
                  </a:lnTo>
                  <a:lnTo>
                    <a:pt x="208420" y="200228"/>
                  </a:lnTo>
                  <a:lnTo>
                    <a:pt x="208471" y="199530"/>
                  </a:lnTo>
                  <a:lnTo>
                    <a:pt x="208471" y="200228"/>
                  </a:lnTo>
                  <a:lnTo>
                    <a:pt x="208471" y="199530"/>
                  </a:lnTo>
                  <a:lnTo>
                    <a:pt x="208471" y="200228"/>
                  </a:lnTo>
                  <a:lnTo>
                    <a:pt x="208509" y="200228"/>
                  </a:lnTo>
                  <a:lnTo>
                    <a:pt x="208509" y="200876"/>
                  </a:lnTo>
                  <a:lnTo>
                    <a:pt x="208509" y="200228"/>
                  </a:lnTo>
                  <a:lnTo>
                    <a:pt x="208509" y="200876"/>
                  </a:lnTo>
                  <a:lnTo>
                    <a:pt x="208509" y="200228"/>
                  </a:lnTo>
                  <a:lnTo>
                    <a:pt x="208509" y="200876"/>
                  </a:lnTo>
                  <a:lnTo>
                    <a:pt x="208611" y="200876"/>
                  </a:lnTo>
                  <a:lnTo>
                    <a:pt x="208611" y="200228"/>
                  </a:lnTo>
                  <a:lnTo>
                    <a:pt x="208611" y="200876"/>
                  </a:lnTo>
                  <a:lnTo>
                    <a:pt x="208611" y="200228"/>
                  </a:lnTo>
                  <a:lnTo>
                    <a:pt x="208611" y="200876"/>
                  </a:lnTo>
                  <a:lnTo>
                    <a:pt x="208611" y="200228"/>
                  </a:lnTo>
                  <a:lnTo>
                    <a:pt x="208662" y="200228"/>
                  </a:lnTo>
                  <a:lnTo>
                    <a:pt x="208662" y="200876"/>
                  </a:lnTo>
                  <a:lnTo>
                    <a:pt x="208662" y="199530"/>
                  </a:lnTo>
                  <a:lnTo>
                    <a:pt x="208662" y="200228"/>
                  </a:lnTo>
                  <a:lnTo>
                    <a:pt x="208662" y="199530"/>
                  </a:lnTo>
                  <a:lnTo>
                    <a:pt x="208712" y="198831"/>
                  </a:lnTo>
                  <a:lnTo>
                    <a:pt x="208712" y="196799"/>
                  </a:lnTo>
                  <a:lnTo>
                    <a:pt x="208814" y="196799"/>
                  </a:lnTo>
                  <a:lnTo>
                    <a:pt x="208814" y="197447"/>
                  </a:lnTo>
                  <a:lnTo>
                    <a:pt x="208814" y="195415"/>
                  </a:lnTo>
                  <a:lnTo>
                    <a:pt x="208865" y="196113"/>
                  </a:lnTo>
                  <a:lnTo>
                    <a:pt x="208865" y="198831"/>
                  </a:lnTo>
                  <a:lnTo>
                    <a:pt x="208865" y="196799"/>
                  </a:lnTo>
                  <a:lnTo>
                    <a:pt x="208916" y="197447"/>
                  </a:lnTo>
                  <a:lnTo>
                    <a:pt x="208916" y="198831"/>
                  </a:lnTo>
                  <a:lnTo>
                    <a:pt x="208916" y="197447"/>
                  </a:lnTo>
                  <a:lnTo>
                    <a:pt x="208916" y="198831"/>
                  </a:lnTo>
                  <a:lnTo>
                    <a:pt x="208916" y="197447"/>
                  </a:lnTo>
                  <a:lnTo>
                    <a:pt x="208916" y="198831"/>
                  </a:lnTo>
                  <a:lnTo>
                    <a:pt x="208966" y="198831"/>
                  </a:lnTo>
                  <a:lnTo>
                    <a:pt x="208966" y="199530"/>
                  </a:lnTo>
                  <a:lnTo>
                    <a:pt x="208966" y="198831"/>
                  </a:lnTo>
                  <a:lnTo>
                    <a:pt x="208966" y="199530"/>
                  </a:lnTo>
                  <a:lnTo>
                    <a:pt x="209055" y="199530"/>
                  </a:lnTo>
                  <a:lnTo>
                    <a:pt x="209055" y="200228"/>
                  </a:lnTo>
                  <a:lnTo>
                    <a:pt x="209055" y="199530"/>
                  </a:lnTo>
                  <a:lnTo>
                    <a:pt x="209055" y="200228"/>
                  </a:lnTo>
                  <a:lnTo>
                    <a:pt x="209106" y="200228"/>
                  </a:lnTo>
                  <a:lnTo>
                    <a:pt x="209106" y="199530"/>
                  </a:lnTo>
                  <a:lnTo>
                    <a:pt x="209106" y="200228"/>
                  </a:lnTo>
                  <a:lnTo>
                    <a:pt x="209106" y="199530"/>
                  </a:lnTo>
                  <a:lnTo>
                    <a:pt x="209106" y="200876"/>
                  </a:lnTo>
                  <a:lnTo>
                    <a:pt x="209157" y="200876"/>
                  </a:lnTo>
                  <a:lnTo>
                    <a:pt x="209157" y="199530"/>
                  </a:lnTo>
                  <a:lnTo>
                    <a:pt x="209208" y="199530"/>
                  </a:lnTo>
                  <a:lnTo>
                    <a:pt x="209208" y="198831"/>
                  </a:lnTo>
                  <a:lnTo>
                    <a:pt x="209208" y="199530"/>
                  </a:lnTo>
                  <a:lnTo>
                    <a:pt x="209208" y="198831"/>
                  </a:lnTo>
                  <a:lnTo>
                    <a:pt x="209208" y="199530"/>
                  </a:lnTo>
                  <a:lnTo>
                    <a:pt x="209208" y="196799"/>
                  </a:lnTo>
                  <a:lnTo>
                    <a:pt x="209208" y="198831"/>
                  </a:lnTo>
                  <a:lnTo>
                    <a:pt x="209309" y="198831"/>
                  </a:lnTo>
                  <a:lnTo>
                    <a:pt x="209309" y="199530"/>
                  </a:lnTo>
                  <a:lnTo>
                    <a:pt x="209309" y="198831"/>
                  </a:lnTo>
                  <a:lnTo>
                    <a:pt x="209309" y="199530"/>
                  </a:lnTo>
                  <a:lnTo>
                    <a:pt x="209309" y="196799"/>
                  </a:lnTo>
                  <a:lnTo>
                    <a:pt x="209309" y="198831"/>
                  </a:lnTo>
                  <a:lnTo>
                    <a:pt x="209360" y="198831"/>
                  </a:lnTo>
                  <a:lnTo>
                    <a:pt x="209360" y="199530"/>
                  </a:lnTo>
                  <a:lnTo>
                    <a:pt x="209360" y="198831"/>
                  </a:lnTo>
                  <a:lnTo>
                    <a:pt x="209360" y="200228"/>
                  </a:lnTo>
                  <a:lnTo>
                    <a:pt x="209360" y="199530"/>
                  </a:lnTo>
                  <a:lnTo>
                    <a:pt x="209411" y="199530"/>
                  </a:lnTo>
                  <a:lnTo>
                    <a:pt x="209411" y="200228"/>
                  </a:lnTo>
                  <a:lnTo>
                    <a:pt x="209411" y="199530"/>
                  </a:lnTo>
                  <a:lnTo>
                    <a:pt x="209411" y="200228"/>
                  </a:lnTo>
                  <a:lnTo>
                    <a:pt x="209512" y="200228"/>
                  </a:lnTo>
                  <a:lnTo>
                    <a:pt x="209512" y="199530"/>
                  </a:lnTo>
                  <a:lnTo>
                    <a:pt x="209512" y="200228"/>
                  </a:lnTo>
                  <a:lnTo>
                    <a:pt x="209512" y="199530"/>
                  </a:lnTo>
                  <a:lnTo>
                    <a:pt x="209512" y="200228"/>
                  </a:lnTo>
                  <a:lnTo>
                    <a:pt x="209601" y="200228"/>
                  </a:lnTo>
                  <a:lnTo>
                    <a:pt x="209601" y="199530"/>
                  </a:lnTo>
                  <a:lnTo>
                    <a:pt x="209601" y="200228"/>
                  </a:lnTo>
                  <a:lnTo>
                    <a:pt x="209601" y="199530"/>
                  </a:lnTo>
                  <a:lnTo>
                    <a:pt x="209601" y="200876"/>
                  </a:lnTo>
                  <a:lnTo>
                    <a:pt x="209601" y="200228"/>
                  </a:lnTo>
                  <a:lnTo>
                    <a:pt x="209652" y="200228"/>
                  </a:lnTo>
                  <a:lnTo>
                    <a:pt x="209652" y="199530"/>
                  </a:lnTo>
                  <a:lnTo>
                    <a:pt x="209652" y="200228"/>
                  </a:lnTo>
                  <a:lnTo>
                    <a:pt x="209652" y="199530"/>
                  </a:lnTo>
                  <a:lnTo>
                    <a:pt x="209754" y="199530"/>
                  </a:lnTo>
                  <a:lnTo>
                    <a:pt x="209754" y="197447"/>
                  </a:lnTo>
                  <a:lnTo>
                    <a:pt x="209754" y="199530"/>
                  </a:lnTo>
                  <a:lnTo>
                    <a:pt x="209805" y="199530"/>
                  </a:lnTo>
                  <a:lnTo>
                    <a:pt x="209805" y="196799"/>
                  </a:lnTo>
                  <a:lnTo>
                    <a:pt x="209805" y="200228"/>
                  </a:lnTo>
                  <a:lnTo>
                    <a:pt x="209855" y="200228"/>
                  </a:lnTo>
                  <a:lnTo>
                    <a:pt x="209855" y="200876"/>
                  </a:lnTo>
                  <a:lnTo>
                    <a:pt x="209855" y="199530"/>
                  </a:lnTo>
                  <a:lnTo>
                    <a:pt x="209855" y="200228"/>
                  </a:lnTo>
                  <a:lnTo>
                    <a:pt x="209855" y="199530"/>
                  </a:lnTo>
                  <a:lnTo>
                    <a:pt x="209855" y="200228"/>
                  </a:lnTo>
                  <a:lnTo>
                    <a:pt x="209957" y="200876"/>
                  </a:lnTo>
                  <a:lnTo>
                    <a:pt x="209957" y="199530"/>
                  </a:lnTo>
                  <a:lnTo>
                    <a:pt x="209957" y="200876"/>
                  </a:lnTo>
                  <a:lnTo>
                    <a:pt x="209957" y="200228"/>
                  </a:lnTo>
                  <a:lnTo>
                    <a:pt x="209957" y="200876"/>
                  </a:lnTo>
                  <a:lnTo>
                    <a:pt x="210008" y="200876"/>
                  </a:lnTo>
                  <a:lnTo>
                    <a:pt x="210008" y="199530"/>
                  </a:lnTo>
                  <a:lnTo>
                    <a:pt x="210008" y="200228"/>
                  </a:lnTo>
                  <a:lnTo>
                    <a:pt x="210008" y="199530"/>
                  </a:lnTo>
                  <a:lnTo>
                    <a:pt x="210008" y="200228"/>
                  </a:lnTo>
                  <a:lnTo>
                    <a:pt x="210097" y="200228"/>
                  </a:lnTo>
                  <a:lnTo>
                    <a:pt x="210097" y="199530"/>
                  </a:lnTo>
                  <a:lnTo>
                    <a:pt x="210097" y="200228"/>
                  </a:lnTo>
                  <a:lnTo>
                    <a:pt x="210097" y="199530"/>
                  </a:lnTo>
                  <a:lnTo>
                    <a:pt x="210097" y="200228"/>
                  </a:lnTo>
                  <a:lnTo>
                    <a:pt x="210097" y="199530"/>
                  </a:lnTo>
                  <a:lnTo>
                    <a:pt x="210097" y="200228"/>
                  </a:lnTo>
                  <a:lnTo>
                    <a:pt x="210097" y="199530"/>
                  </a:lnTo>
                  <a:lnTo>
                    <a:pt x="210198" y="199530"/>
                  </a:lnTo>
                  <a:lnTo>
                    <a:pt x="210198" y="200228"/>
                  </a:lnTo>
                  <a:lnTo>
                    <a:pt x="210198" y="198831"/>
                  </a:lnTo>
                  <a:lnTo>
                    <a:pt x="210198" y="199530"/>
                  </a:lnTo>
                  <a:lnTo>
                    <a:pt x="210198" y="198831"/>
                  </a:lnTo>
                  <a:lnTo>
                    <a:pt x="210198" y="199530"/>
                  </a:lnTo>
                  <a:lnTo>
                    <a:pt x="210198" y="197447"/>
                  </a:lnTo>
                  <a:lnTo>
                    <a:pt x="210198" y="198831"/>
                  </a:lnTo>
                  <a:lnTo>
                    <a:pt x="210249" y="198831"/>
                  </a:lnTo>
                  <a:lnTo>
                    <a:pt x="210249" y="196113"/>
                  </a:lnTo>
                  <a:lnTo>
                    <a:pt x="210249" y="199530"/>
                  </a:lnTo>
                  <a:lnTo>
                    <a:pt x="210249" y="198831"/>
                  </a:lnTo>
                  <a:lnTo>
                    <a:pt x="210300" y="198831"/>
                  </a:lnTo>
                  <a:lnTo>
                    <a:pt x="210300" y="196799"/>
                  </a:lnTo>
                  <a:lnTo>
                    <a:pt x="210300" y="200228"/>
                  </a:lnTo>
                  <a:lnTo>
                    <a:pt x="210300" y="199530"/>
                  </a:lnTo>
                  <a:lnTo>
                    <a:pt x="210401" y="199530"/>
                  </a:lnTo>
                  <a:lnTo>
                    <a:pt x="210401" y="198831"/>
                  </a:lnTo>
                  <a:lnTo>
                    <a:pt x="210401" y="200876"/>
                  </a:lnTo>
                  <a:lnTo>
                    <a:pt x="210401" y="200228"/>
                  </a:lnTo>
                  <a:lnTo>
                    <a:pt x="210452" y="200228"/>
                  </a:lnTo>
                  <a:lnTo>
                    <a:pt x="210452" y="200876"/>
                  </a:lnTo>
                  <a:lnTo>
                    <a:pt x="210452" y="200228"/>
                  </a:lnTo>
                  <a:lnTo>
                    <a:pt x="210503" y="200228"/>
                  </a:lnTo>
                  <a:lnTo>
                    <a:pt x="210503" y="202260"/>
                  </a:lnTo>
                  <a:lnTo>
                    <a:pt x="210503" y="200876"/>
                  </a:lnTo>
                  <a:lnTo>
                    <a:pt x="210554" y="200876"/>
                  </a:lnTo>
                  <a:lnTo>
                    <a:pt x="210554" y="200228"/>
                  </a:lnTo>
                  <a:lnTo>
                    <a:pt x="210554" y="200876"/>
                  </a:lnTo>
                  <a:lnTo>
                    <a:pt x="210554" y="200228"/>
                  </a:lnTo>
                  <a:lnTo>
                    <a:pt x="210554" y="200876"/>
                  </a:lnTo>
                  <a:lnTo>
                    <a:pt x="210554" y="200228"/>
                  </a:lnTo>
                  <a:lnTo>
                    <a:pt x="210643" y="200228"/>
                  </a:lnTo>
                  <a:lnTo>
                    <a:pt x="210643" y="200876"/>
                  </a:lnTo>
                  <a:lnTo>
                    <a:pt x="210643" y="200228"/>
                  </a:lnTo>
                  <a:lnTo>
                    <a:pt x="210693" y="200228"/>
                  </a:lnTo>
                  <a:lnTo>
                    <a:pt x="210693" y="197447"/>
                  </a:lnTo>
                  <a:lnTo>
                    <a:pt x="210744" y="197447"/>
                  </a:lnTo>
                  <a:lnTo>
                    <a:pt x="210744" y="196799"/>
                  </a:lnTo>
                  <a:lnTo>
                    <a:pt x="210744" y="199530"/>
                  </a:lnTo>
                  <a:lnTo>
                    <a:pt x="210744" y="198831"/>
                  </a:lnTo>
                  <a:lnTo>
                    <a:pt x="210795" y="197447"/>
                  </a:lnTo>
                  <a:lnTo>
                    <a:pt x="210795" y="200876"/>
                  </a:lnTo>
                  <a:lnTo>
                    <a:pt x="210795" y="198831"/>
                  </a:lnTo>
                  <a:lnTo>
                    <a:pt x="210897" y="198831"/>
                  </a:lnTo>
                  <a:lnTo>
                    <a:pt x="210897" y="200228"/>
                  </a:lnTo>
                  <a:lnTo>
                    <a:pt x="210897" y="199530"/>
                  </a:lnTo>
                  <a:lnTo>
                    <a:pt x="210897" y="200228"/>
                  </a:lnTo>
                  <a:lnTo>
                    <a:pt x="210947" y="200228"/>
                  </a:lnTo>
                  <a:lnTo>
                    <a:pt x="210947" y="200876"/>
                  </a:lnTo>
                  <a:lnTo>
                    <a:pt x="210947" y="200228"/>
                  </a:lnTo>
                  <a:lnTo>
                    <a:pt x="210947" y="200876"/>
                  </a:lnTo>
                  <a:lnTo>
                    <a:pt x="210947" y="200228"/>
                  </a:lnTo>
                  <a:lnTo>
                    <a:pt x="210998" y="200228"/>
                  </a:lnTo>
                  <a:lnTo>
                    <a:pt x="210998" y="202260"/>
                  </a:lnTo>
                  <a:lnTo>
                    <a:pt x="211100" y="202260"/>
                  </a:lnTo>
                  <a:lnTo>
                    <a:pt x="211100" y="200876"/>
                  </a:lnTo>
                  <a:lnTo>
                    <a:pt x="211100" y="202260"/>
                  </a:lnTo>
                  <a:lnTo>
                    <a:pt x="211100" y="200876"/>
                  </a:lnTo>
                  <a:lnTo>
                    <a:pt x="211100" y="202260"/>
                  </a:lnTo>
                  <a:lnTo>
                    <a:pt x="211100" y="200876"/>
                  </a:lnTo>
                  <a:lnTo>
                    <a:pt x="211138" y="200876"/>
                  </a:lnTo>
                  <a:lnTo>
                    <a:pt x="211138" y="200228"/>
                  </a:lnTo>
                  <a:lnTo>
                    <a:pt x="211138" y="200876"/>
                  </a:lnTo>
                  <a:lnTo>
                    <a:pt x="211138" y="199530"/>
                  </a:lnTo>
                  <a:lnTo>
                    <a:pt x="211138" y="200228"/>
                  </a:lnTo>
                  <a:lnTo>
                    <a:pt x="211138" y="199530"/>
                  </a:lnTo>
                  <a:lnTo>
                    <a:pt x="211189" y="199530"/>
                  </a:lnTo>
                  <a:lnTo>
                    <a:pt x="211189" y="200228"/>
                  </a:lnTo>
                  <a:lnTo>
                    <a:pt x="211189" y="197447"/>
                  </a:lnTo>
                  <a:lnTo>
                    <a:pt x="211240" y="197447"/>
                  </a:lnTo>
                  <a:lnTo>
                    <a:pt x="211240" y="196799"/>
                  </a:lnTo>
                  <a:lnTo>
                    <a:pt x="211240" y="197447"/>
                  </a:lnTo>
                  <a:lnTo>
                    <a:pt x="211341" y="196799"/>
                  </a:lnTo>
                  <a:lnTo>
                    <a:pt x="211341" y="197447"/>
                  </a:lnTo>
                  <a:lnTo>
                    <a:pt x="211341" y="196799"/>
                  </a:lnTo>
                  <a:lnTo>
                    <a:pt x="211341" y="199530"/>
                  </a:lnTo>
                  <a:lnTo>
                    <a:pt x="211341" y="198831"/>
                  </a:lnTo>
                  <a:lnTo>
                    <a:pt x="211341" y="199530"/>
                  </a:lnTo>
                  <a:lnTo>
                    <a:pt x="211341" y="198831"/>
                  </a:lnTo>
                  <a:lnTo>
                    <a:pt x="211341" y="199530"/>
                  </a:lnTo>
                  <a:lnTo>
                    <a:pt x="211392" y="199530"/>
                  </a:lnTo>
                  <a:lnTo>
                    <a:pt x="211392" y="200228"/>
                  </a:lnTo>
                  <a:lnTo>
                    <a:pt x="211392" y="199530"/>
                  </a:lnTo>
                  <a:lnTo>
                    <a:pt x="211443" y="199530"/>
                  </a:lnTo>
                  <a:lnTo>
                    <a:pt x="211443" y="200228"/>
                  </a:lnTo>
                  <a:lnTo>
                    <a:pt x="211443" y="199530"/>
                  </a:lnTo>
                  <a:lnTo>
                    <a:pt x="211443" y="200228"/>
                  </a:lnTo>
                  <a:lnTo>
                    <a:pt x="211443" y="199530"/>
                  </a:lnTo>
                  <a:lnTo>
                    <a:pt x="211443" y="200228"/>
                  </a:lnTo>
                  <a:lnTo>
                    <a:pt x="211544" y="200228"/>
                  </a:lnTo>
                  <a:lnTo>
                    <a:pt x="211544" y="200876"/>
                  </a:lnTo>
                  <a:lnTo>
                    <a:pt x="211544" y="200228"/>
                  </a:lnTo>
                  <a:lnTo>
                    <a:pt x="211544" y="200876"/>
                  </a:lnTo>
                  <a:lnTo>
                    <a:pt x="211595" y="200876"/>
                  </a:lnTo>
                  <a:lnTo>
                    <a:pt x="211595" y="202260"/>
                  </a:lnTo>
                  <a:lnTo>
                    <a:pt x="211595" y="200876"/>
                  </a:lnTo>
                  <a:lnTo>
                    <a:pt x="211595" y="202260"/>
                  </a:lnTo>
                  <a:lnTo>
                    <a:pt x="211595" y="200876"/>
                  </a:lnTo>
                  <a:lnTo>
                    <a:pt x="211646" y="200876"/>
                  </a:lnTo>
                  <a:lnTo>
                    <a:pt x="211646" y="200228"/>
                  </a:lnTo>
                  <a:lnTo>
                    <a:pt x="211646" y="200876"/>
                  </a:lnTo>
                  <a:lnTo>
                    <a:pt x="211684" y="200228"/>
                  </a:lnTo>
                  <a:lnTo>
                    <a:pt x="211684" y="197447"/>
                  </a:lnTo>
                  <a:lnTo>
                    <a:pt x="211684" y="198831"/>
                  </a:lnTo>
                  <a:lnTo>
                    <a:pt x="211786" y="198831"/>
                  </a:lnTo>
                  <a:lnTo>
                    <a:pt x="211786" y="199530"/>
                  </a:lnTo>
                  <a:lnTo>
                    <a:pt x="211786" y="196799"/>
                  </a:lnTo>
                  <a:lnTo>
                    <a:pt x="211786" y="200228"/>
                  </a:lnTo>
                  <a:lnTo>
                    <a:pt x="211837" y="200228"/>
                  </a:lnTo>
                  <a:lnTo>
                    <a:pt x="211837" y="198831"/>
                  </a:lnTo>
                  <a:lnTo>
                    <a:pt x="211837" y="200228"/>
                  </a:lnTo>
                  <a:lnTo>
                    <a:pt x="211887" y="200228"/>
                  </a:lnTo>
                  <a:lnTo>
                    <a:pt x="211887" y="200876"/>
                  </a:lnTo>
                  <a:lnTo>
                    <a:pt x="211887" y="199530"/>
                  </a:lnTo>
                  <a:lnTo>
                    <a:pt x="211887" y="200228"/>
                  </a:lnTo>
                  <a:lnTo>
                    <a:pt x="211989" y="200228"/>
                  </a:lnTo>
                  <a:lnTo>
                    <a:pt x="211989" y="199530"/>
                  </a:lnTo>
                  <a:lnTo>
                    <a:pt x="211989" y="200228"/>
                  </a:lnTo>
                  <a:lnTo>
                    <a:pt x="211989" y="199530"/>
                  </a:lnTo>
                  <a:lnTo>
                    <a:pt x="211989" y="200228"/>
                  </a:lnTo>
                  <a:lnTo>
                    <a:pt x="211989" y="199530"/>
                  </a:lnTo>
                  <a:lnTo>
                    <a:pt x="212040" y="199530"/>
                  </a:lnTo>
                  <a:lnTo>
                    <a:pt x="212040" y="200876"/>
                  </a:lnTo>
                  <a:lnTo>
                    <a:pt x="212040" y="200228"/>
                  </a:lnTo>
                  <a:lnTo>
                    <a:pt x="212091" y="200228"/>
                  </a:lnTo>
                  <a:lnTo>
                    <a:pt x="212091" y="200876"/>
                  </a:lnTo>
                  <a:lnTo>
                    <a:pt x="212091" y="200228"/>
                  </a:lnTo>
                  <a:lnTo>
                    <a:pt x="212091" y="200876"/>
                  </a:lnTo>
                  <a:lnTo>
                    <a:pt x="212091" y="200228"/>
                  </a:lnTo>
                  <a:lnTo>
                    <a:pt x="212141" y="200228"/>
                  </a:lnTo>
                  <a:lnTo>
                    <a:pt x="212141" y="200876"/>
                  </a:lnTo>
                  <a:lnTo>
                    <a:pt x="212141" y="200228"/>
                  </a:lnTo>
                  <a:lnTo>
                    <a:pt x="212141" y="200876"/>
                  </a:lnTo>
                  <a:lnTo>
                    <a:pt x="212141" y="199530"/>
                  </a:lnTo>
                  <a:lnTo>
                    <a:pt x="212141" y="200228"/>
                  </a:lnTo>
                  <a:lnTo>
                    <a:pt x="212230" y="200228"/>
                  </a:lnTo>
                  <a:lnTo>
                    <a:pt x="212230" y="198831"/>
                  </a:lnTo>
                  <a:lnTo>
                    <a:pt x="212230" y="200228"/>
                  </a:lnTo>
                  <a:lnTo>
                    <a:pt x="212230" y="199530"/>
                  </a:lnTo>
                  <a:lnTo>
                    <a:pt x="212281" y="199530"/>
                  </a:lnTo>
                  <a:lnTo>
                    <a:pt x="212281" y="198831"/>
                  </a:lnTo>
                  <a:lnTo>
                    <a:pt x="212281" y="202260"/>
                  </a:lnTo>
                  <a:lnTo>
                    <a:pt x="212281" y="200228"/>
                  </a:lnTo>
                  <a:lnTo>
                    <a:pt x="212332" y="200228"/>
                  </a:lnTo>
                  <a:lnTo>
                    <a:pt x="212332" y="202260"/>
                  </a:lnTo>
                  <a:lnTo>
                    <a:pt x="212332" y="200876"/>
                  </a:lnTo>
                  <a:lnTo>
                    <a:pt x="212383" y="200876"/>
                  </a:lnTo>
                  <a:lnTo>
                    <a:pt x="212383" y="202959"/>
                  </a:lnTo>
                  <a:lnTo>
                    <a:pt x="212383" y="202260"/>
                  </a:lnTo>
                  <a:lnTo>
                    <a:pt x="212383" y="202959"/>
                  </a:lnTo>
                  <a:lnTo>
                    <a:pt x="212383" y="202260"/>
                  </a:lnTo>
                  <a:lnTo>
                    <a:pt x="212484" y="200876"/>
                  </a:lnTo>
                  <a:lnTo>
                    <a:pt x="212484" y="202959"/>
                  </a:lnTo>
                  <a:lnTo>
                    <a:pt x="212484" y="202260"/>
                  </a:lnTo>
                  <a:lnTo>
                    <a:pt x="212535" y="202260"/>
                  </a:lnTo>
                  <a:lnTo>
                    <a:pt x="212535" y="200876"/>
                  </a:lnTo>
                  <a:lnTo>
                    <a:pt x="212535" y="202959"/>
                  </a:lnTo>
                  <a:lnTo>
                    <a:pt x="212535" y="202260"/>
                  </a:lnTo>
                  <a:lnTo>
                    <a:pt x="212535" y="202959"/>
                  </a:lnTo>
                  <a:lnTo>
                    <a:pt x="212586" y="202260"/>
                  </a:lnTo>
                  <a:lnTo>
                    <a:pt x="212586" y="200876"/>
                  </a:lnTo>
                  <a:lnTo>
                    <a:pt x="212586" y="202260"/>
                  </a:lnTo>
                  <a:lnTo>
                    <a:pt x="212586" y="200876"/>
                  </a:lnTo>
                  <a:lnTo>
                    <a:pt x="212586" y="202260"/>
                  </a:lnTo>
                  <a:lnTo>
                    <a:pt x="212586" y="200876"/>
                  </a:lnTo>
                  <a:lnTo>
                    <a:pt x="212687" y="200876"/>
                  </a:lnTo>
                  <a:lnTo>
                    <a:pt x="212687" y="199530"/>
                  </a:lnTo>
                  <a:lnTo>
                    <a:pt x="212726" y="200228"/>
                  </a:lnTo>
                  <a:lnTo>
                    <a:pt x="212726" y="200876"/>
                  </a:lnTo>
                  <a:lnTo>
                    <a:pt x="212726" y="200228"/>
                  </a:lnTo>
                  <a:lnTo>
                    <a:pt x="212726" y="200876"/>
                  </a:lnTo>
                  <a:lnTo>
                    <a:pt x="212726" y="200228"/>
                  </a:lnTo>
                  <a:lnTo>
                    <a:pt x="212726" y="200876"/>
                  </a:lnTo>
                  <a:lnTo>
                    <a:pt x="212726" y="200228"/>
                  </a:lnTo>
                  <a:lnTo>
                    <a:pt x="212726" y="202260"/>
                  </a:lnTo>
                  <a:lnTo>
                    <a:pt x="212776" y="202959"/>
                  </a:lnTo>
                  <a:lnTo>
                    <a:pt x="212776" y="202260"/>
                  </a:lnTo>
                  <a:lnTo>
                    <a:pt x="212776" y="203594"/>
                  </a:lnTo>
                  <a:lnTo>
                    <a:pt x="212827" y="203594"/>
                  </a:lnTo>
                  <a:lnTo>
                    <a:pt x="212827" y="202959"/>
                  </a:lnTo>
                  <a:lnTo>
                    <a:pt x="212827" y="203594"/>
                  </a:lnTo>
                  <a:lnTo>
                    <a:pt x="212827" y="202260"/>
                  </a:lnTo>
                  <a:lnTo>
                    <a:pt x="212827" y="203594"/>
                  </a:lnTo>
                  <a:lnTo>
                    <a:pt x="212929" y="202959"/>
                  </a:lnTo>
                  <a:lnTo>
                    <a:pt x="212929" y="203594"/>
                  </a:lnTo>
                  <a:lnTo>
                    <a:pt x="212929" y="202959"/>
                  </a:lnTo>
                  <a:lnTo>
                    <a:pt x="212929" y="203594"/>
                  </a:lnTo>
                  <a:lnTo>
                    <a:pt x="212929" y="202959"/>
                  </a:lnTo>
                  <a:lnTo>
                    <a:pt x="212980" y="202260"/>
                  </a:lnTo>
                  <a:lnTo>
                    <a:pt x="212980" y="202959"/>
                  </a:lnTo>
                  <a:lnTo>
                    <a:pt x="212980" y="202260"/>
                  </a:lnTo>
                  <a:lnTo>
                    <a:pt x="212980" y="202959"/>
                  </a:lnTo>
                  <a:lnTo>
                    <a:pt x="212980" y="202260"/>
                  </a:lnTo>
                  <a:lnTo>
                    <a:pt x="212980" y="202959"/>
                  </a:lnTo>
                  <a:lnTo>
                    <a:pt x="213030" y="202959"/>
                  </a:lnTo>
                  <a:lnTo>
                    <a:pt x="213030" y="202260"/>
                  </a:lnTo>
                  <a:lnTo>
                    <a:pt x="213030" y="202959"/>
                  </a:lnTo>
                  <a:lnTo>
                    <a:pt x="213030" y="202260"/>
                  </a:lnTo>
                  <a:lnTo>
                    <a:pt x="213030" y="202959"/>
                  </a:lnTo>
                  <a:lnTo>
                    <a:pt x="213030" y="202260"/>
                  </a:lnTo>
                  <a:lnTo>
                    <a:pt x="213132" y="202260"/>
                  </a:lnTo>
                  <a:lnTo>
                    <a:pt x="213132" y="199530"/>
                  </a:lnTo>
                  <a:lnTo>
                    <a:pt x="213183" y="198831"/>
                  </a:lnTo>
                  <a:lnTo>
                    <a:pt x="213183" y="199530"/>
                  </a:lnTo>
                  <a:lnTo>
                    <a:pt x="213183" y="198831"/>
                  </a:lnTo>
                  <a:lnTo>
                    <a:pt x="213183" y="199530"/>
                  </a:lnTo>
                  <a:lnTo>
                    <a:pt x="213233" y="198831"/>
                  </a:lnTo>
                  <a:lnTo>
                    <a:pt x="213233" y="200876"/>
                  </a:lnTo>
                  <a:lnTo>
                    <a:pt x="213272" y="200876"/>
                  </a:lnTo>
                  <a:lnTo>
                    <a:pt x="213272" y="200228"/>
                  </a:lnTo>
                  <a:lnTo>
                    <a:pt x="213272" y="202260"/>
                  </a:lnTo>
                  <a:lnTo>
                    <a:pt x="213373" y="200876"/>
                  </a:lnTo>
                  <a:lnTo>
                    <a:pt x="213373" y="202260"/>
                  </a:lnTo>
                  <a:lnTo>
                    <a:pt x="213373" y="200876"/>
                  </a:lnTo>
                  <a:lnTo>
                    <a:pt x="213373" y="202959"/>
                  </a:lnTo>
                  <a:lnTo>
                    <a:pt x="213373" y="202260"/>
                  </a:lnTo>
                  <a:lnTo>
                    <a:pt x="213424" y="202260"/>
                  </a:lnTo>
                  <a:lnTo>
                    <a:pt x="213424" y="202959"/>
                  </a:lnTo>
                  <a:lnTo>
                    <a:pt x="213424" y="202260"/>
                  </a:lnTo>
                  <a:lnTo>
                    <a:pt x="213424" y="202959"/>
                  </a:lnTo>
                  <a:lnTo>
                    <a:pt x="213424" y="202260"/>
                  </a:lnTo>
                  <a:lnTo>
                    <a:pt x="213424" y="202959"/>
                  </a:lnTo>
                  <a:lnTo>
                    <a:pt x="213424" y="202260"/>
                  </a:lnTo>
                  <a:lnTo>
                    <a:pt x="213424" y="202959"/>
                  </a:lnTo>
                  <a:lnTo>
                    <a:pt x="213475" y="202959"/>
                  </a:lnTo>
                  <a:lnTo>
                    <a:pt x="213475" y="202260"/>
                  </a:lnTo>
                  <a:lnTo>
                    <a:pt x="213475" y="202959"/>
                  </a:lnTo>
                  <a:lnTo>
                    <a:pt x="213475" y="202260"/>
                  </a:lnTo>
                  <a:lnTo>
                    <a:pt x="213475" y="202959"/>
                  </a:lnTo>
                  <a:lnTo>
                    <a:pt x="213576" y="202959"/>
                  </a:lnTo>
                  <a:lnTo>
                    <a:pt x="213576" y="202260"/>
                  </a:lnTo>
                  <a:lnTo>
                    <a:pt x="213576" y="202959"/>
                  </a:lnTo>
                  <a:lnTo>
                    <a:pt x="213576" y="202260"/>
                  </a:lnTo>
                  <a:lnTo>
                    <a:pt x="213627" y="202260"/>
                  </a:lnTo>
                  <a:lnTo>
                    <a:pt x="213627" y="200228"/>
                  </a:lnTo>
                  <a:lnTo>
                    <a:pt x="213627" y="200876"/>
                  </a:lnTo>
                  <a:lnTo>
                    <a:pt x="213627" y="199530"/>
                  </a:lnTo>
                  <a:lnTo>
                    <a:pt x="213678" y="199530"/>
                  </a:lnTo>
                  <a:lnTo>
                    <a:pt x="213678" y="198831"/>
                  </a:lnTo>
                  <a:lnTo>
                    <a:pt x="213678" y="200876"/>
                  </a:lnTo>
                  <a:lnTo>
                    <a:pt x="213678" y="198831"/>
                  </a:lnTo>
                  <a:lnTo>
                    <a:pt x="213729" y="198831"/>
                  </a:lnTo>
                  <a:lnTo>
                    <a:pt x="213729" y="202959"/>
                  </a:lnTo>
                  <a:lnTo>
                    <a:pt x="213729" y="200228"/>
                  </a:lnTo>
                  <a:lnTo>
                    <a:pt x="213729" y="200876"/>
                  </a:lnTo>
                  <a:lnTo>
                    <a:pt x="213729" y="200228"/>
                  </a:lnTo>
                  <a:lnTo>
                    <a:pt x="213729" y="200876"/>
                  </a:lnTo>
                  <a:lnTo>
                    <a:pt x="213818" y="200876"/>
                  </a:lnTo>
                  <a:lnTo>
                    <a:pt x="213818" y="202959"/>
                  </a:lnTo>
                  <a:lnTo>
                    <a:pt x="213818" y="200876"/>
                  </a:lnTo>
                  <a:lnTo>
                    <a:pt x="213868" y="202260"/>
                  </a:lnTo>
                  <a:lnTo>
                    <a:pt x="213868" y="200876"/>
                  </a:lnTo>
                  <a:lnTo>
                    <a:pt x="213868" y="202959"/>
                  </a:lnTo>
                  <a:lnTo>
                    <a:pt x="213919" y="202959"/>
                  </a:lnTo>
                  <a:lnTo>
                    <a:pt x="213919" y="202260"/>
                  </a:lnTo>
                  <a:lnTo>
                    <a:pt x="213919" y="202959"/>
                  </a:lnTo>
                  <a:lnTo>
                    <a:pt x="213919" y="202260"/>
                  </a:lnTo>
                  <a:lnTo>
                    <a:pt x="213919" y="202959"/>
                  </a:lnTo>
                  <a:lnTo>
                    <a:pt x="213970" y="202959"/>
                  </a:lnTo>
                  <a:lnTo>
                    <a:pt x="213970" y="202260"/>
                  </a:lnTo>
                  <a:lnTo>
                    <a:pt x="213970" y="202959"/>
                  </a:lnTo>
                  <a:lnTo>
                    <a:pt x="213970" y="200876"/>
                  </a:lnTo>
                  <a:lnTo>
                    <a:pt x="213970" y="202959"/>
                  </a:lnTo>
                  <a:lnTo>
                    <a:pt x="214072" y="202959"/>
                  </a:lnTo>
                  <a:lnTo>
                    <a:pt x="214072" y="200876"/>
                  </a:lnTo>
                  <a:lnTo>
                    <a:pt x="214072" y="202260"/>
                  </a:lnTo>
                  <a:lnTo>
                    <a:pt x="214072" y="200876"/>
                  </a:lnTo>
                  <a:lnTo>
                    <a:pt x="214122" y="200876"/>
                  </a:lnTo>
                  <a:lnTo>
                    <a:pt x="214122" y="200228"/>
                  </a:lnTo>
                  <a:lnTo>
                    <a:pt x="214122" y="200876"/>
                  </a:lnTo>
                  <a:lnTo>
                    <a:pt x="214122" y="199530"/>
                  </a:lnTo>
                  <a:lnTo>
                    <a:pt x="214122" y="200228"/>
                  </a:lnTo>
                  <a:lnTo>
                    <a:pt x="214122" y="197447"/>
                  </a:lnTo>
                  <a:lnTo>
                    <a:pt x="214173" y="197447"/>
                  </a:lnTo>
                  <a:lnTo>
                    <a:pt x="214173" y="200876"/>
                  </a:lnTo>
                  <a:lnTo>
                    <a:pt x="214173" y="198831"/>
                  </a:lnTo>
                  <a:lnTo>
                    <a:pt x="214173" y="199530"/>
                  </a:lnTo>
                  <a:lnTo>
                    <a:pt x="214275" y="200228"/>
                  </a:lnTo>
                  <a:lnTo>
                    <a:pt x="214275" y="202260"/>
                  </a:lnTo>
                  <a:lnTo>
                    <a:pt x="214275" y="200228"/>
                  </a:lnTo>
                  <a:lnTo>
                    <a:pt x="214275" y="200876"/>
                  </a:lnTo>
                  <a:lnTo>
                    <a:pt x="214313" y="202260"/>
                  </a:lnTo>
                  <a:lnTo>
                    <a:pt x="214313" y="200228"/>
                  </a:lnTo>
                  <a:lnTo>
                    <a:pt x="214313" y="202260"/>
                  </a:lnTo>
                  <a:lnTo>
                    <a:pt x="214364" y="202260"/>
                  </a:lnTo>
                  <a:lnTo>
                    <a:pt x="214364" y="202959"/>
                  </a:lnTo>
                  <a:lnTo>
                    <a:pt x="214364" y="200876"/>
                  </a:lnTo>
                  <a:lnTo>
                    <a:pt x="214364" y="202260"/>
                  </a:lnTo>
                  <a:lnTo>
                    <a:pt x="214364" y="200876"/>
                  </a:lnTo>
                  <a:lnTo>
                    <a:pt x="214364" y="202260"/>
                  </a:lnTo>
                  <a:lnTo>
                    <a:pt x="214364" y="200876"/>
                  </a:lnTo>
                  <a:lnTo>
                    <a:pt x="214364" y="202260"/>
                  </a:lnTo>
                  <a:lnTo>
                    <a:pt x="214415" y="202959"/>
                  </a:lnTo>
                  <a:lnTo>
                    <a:pt x="214415" y="202260"/>
                  </a:lnTo>
                  <a:lnTo>
                    <a:pt x="214415" y="202959"/>
                  </a:lnTo>
                  <a:lnTo>
                    <a:pt x="214415" y="202260"/>
                  </a:lnTo>
                  <a:lnTo>
                    <a:pt x="214415" y="202959"/>
                  </a:lnTo>
                  <a:lnTo>
                    <a:pt x="214415" y="202260"/>
                  </a:lnTo>
                  <a:lnTo>
                    <a:pt x="214516" y="202959"/>
                  </a:lnTo>
                  <a:lnTo>
                    <a:pt x="214516" y="202260"/>
                  </a:lnTo>
                  <a:lnTo>
                    <a:pt x="214516" y="202959"/>
                  </a:lnTo>
                  <a:lnTo>
                    <a:pt x="214516" y="202260"/>
                  </a:lnTo>
                  <a:lnTo>
                    <a:pt x="214516" y="202959"/>
                  </a:lnTo>
                  <a:lnTo>
                    <a:pt x="214516" y="202260"/>
                  </a:lnTo>
                  <a:lnTo>
                    <a:pt x="214567" y="202959"/>
                  </a:lnTo>
                  <a:lnTo>
                    <a:pt x="214567" y="200876"/>
                  </a:lnTo>
                  <a:lnTo>
                    <a:pt x="214567" y="202260"/>
                  </a:lnTo>
                  <a:lnTo>
                    <a:pt x="214567" y="200228"/>
                  </a:lnTo>
                  <a:lnTo>
                    <a:pt x="214618" y="199530"/>
                  </a:lnTo>
                  <a:lnTo>
                    <a:pt x="214618" y="200228"/>
                  </a:lnTo>
                  <a:lnTo>
                    <a:pt x="214618" y="199530"/>
                  </a:lnTo>
                  <a:lnTo>
                    <a:pt x="214618" y="200228"/>
                  </a:lnTo>
                  <a:lnTo>
                    <a:pt x="214618" y="197447"/>
                  </a:lnTo>
                  <a:lnTo>
                    <a:pt x="214618" y="198831"/>
                  </a:lnTo>
                  <a:lnTo>
                    <a:pt x="214719" y="198831"/>
                  </a:lnTo>
                  <a:lnTo>
                    <a:pt x="214719" y="199530"/>
                  </a:lnTo>
                  <a:lnTo>
                    <a:pt x="214719" y="196799"/>
                  </a:lnTo>
                  <a:lnTo>
                    <a:pt x="214719" y="200228"/>
                  </a:lnTo>
                  <a:lnTo>
                    <a:pt x="214770" y="200876"/>
                  </a:lnTo>
                  <a:lnTo>
                    <a:pt x="214770" y="198831"/>
                  </a:lnTo>
                  <a:lnTo>
                    <a:pt x="214770" y="200876"/>
                  </a:lnTo>
                  <a:lnTo>
                    <a:pt x="214821" y="200228"/>
                  </a:lnTo>
                  <a:lnTo>
                    <a:pt x="214821" y="199530"/>
                  </a:lnTo>
                  <a:lnTo>
                    <a:pt x="214821" y="200228"/>
                  </a:lnTo>
                  <a:lnTo>
                    <a:pt x="214821" y="199530"/>
                  </a:lnTo>
                  <a:lnTo>
                    <a:pt x="214821" y="200228"/>
                  </a:lnTo>
                  <a:lnTo>
                    <a:pt x="214859" y="200228"/>
                  </a:lnTo>
                  <a:lnTo>
                    <a:pt x="214859" y="199530"/>
                  </a:lnTo>
                  <a:lnTo>
                    <a:pt x="214859" y="200876"/>
                  </a:lnTo>
                  <a:lnTo>
                    <a:pt x="214961" y="200876"/>
                  </a:lnTo>
                  <a:lnTo>
                    <a:pt x="214961" y="200228"/>
                  </a:lnTo>
                  <a:lnTo>
                    <a:pt x="214961" y="202260"/>
                  </a:lnTo>
                  <a:lnTo>
                    <a:pt x="215012" y="202260"/>
                  </a:lnTo>
                  <a:lnTo>
                    <a:pt x="215012" y="200876"/>
                  </a:lnTo>
                  <a:lnTo>
                    <a:pt x="215012" y="202260"/>
                  </a:lnTo>
                  <a:lnTo>
                    <a:pt x="215012" y="200876"/>
                  </a:lnTo>
                  <a:lnTo>
                    <a:pt x="215062" y="200876"/>
                  </a:lnTo>
                  <a:lnTo>
                    <a:pt x="215062" y="200228"/>
                  </a:lnTo>
                  <a:lnTo>
                    <a:pt x="215062" y="200876"/>
                  </a:lnTo>
                  <a:lnTo>
                    <a:pt x="215062" y="199530"/>
                  </a:lnTo>
                  <a:lnTo>
                    <a:pt x="215062" y="200228"/>
                  </a:lnTo>
                  <a:lnTo>
                    <a:pt x="215164" y="199530"/>
                  </a:lnTo>
                  <a:lnTo>
                    <a:pt x="215164" y="198831"/>
                  </a:lnTo>
                  <a:lnTo>
                    <a:pt x="215164" y="200228"/>
                  </a:lnTo>
                  <a:lnTo>
                    <a:pt x="215215" y="199530"/>
                  </a:lnTo>
                  <a:lnTo>
                    <a:pt x="215215" y="198831"/>
                  </a:lnTo>
                  <a:lnTo>
                    <a:pt x="215215" y="202959"/>
                  </a:lnTo>
                  <a:lnTo>
                    <a:pt x="215215" y="200876"/>
                  </a:lnTo>
                  <a:lnTo>
                    <a:pt x="215266" y="200876"/>
                  </a:lnTo>
                  <a:lnTo>
                    <a:pt x="215266" y="200228"/>
                  </a:lnTo>
                  <a:lnTo>
                    <a:pt x="215266" y="202959"/>
                  </a:lnTo>
                  <a:lnTo>
                    <a:pt x="215266" y="200876"/>
                  </a:lnTo>
                  <a:lnTo>
                    <a:pt x="215316" y="200876"/>
                  </a:lnTo>
                  <a:lnTo>
                    <a:pt x="215316" y="199530"/>
                  </a:lnTo>
                  <a:lnTo>
                    <a:pt x="215316" y="200876"/>
                  </a:lnTo>
                  <a:lnTo>
                    <a:pt x="215316" y="200228"/>
                  </a:lnTo>
                  <a:lnTo>
                    <a:pt x="215316" y="200876"/>
                  </a:lnTo>
                  <a:lnTo>
                    <a:pt x="215405" y="200876"/>
                  </a:lnTo>
                  <a:lnTo>
                    <a:pt x="215405" y="200228"/>
                  </a:lnTo>
                  <a:lnTo>
                    <a:pt x="215405" y="202260"/>
                  </a:lnTo>
                  <a:lnTo>
                    <a:pt x="215405" y="200876"/>
                  </a:lnTo>
                  <a:lnTo>
                    <a:pt x="215405" y="202260"/>
                  </a:lnTo>
                  <a:lnTo>
                    <a:pt x="215456" y="202260"/>
                  </a:lnTo>
                  <a:lnTo>
                    <a:pt x="215456" y="202959"/>
                  </a:lnTo>
                  <a:lnTo>
                    <a:pt x="215507" y="202260"/>
                  </a:lnTo>
                  <a:lnTo>
                    <a:pt x="215507" y="200876"/>
                  </a:lnTo>
                  <a:lnTo>
                    <a:pt x="215507" y="202260"/>
                  </a:lnTo>
                  <a:lnTo>
                    <a:pt x="215558" y="200876"/>
                  </a:lnTo>
                  <a:lnTo>
                    <a:pt x="215558" y="202260"/>
                  </a:lnTo>
                  <a:lnTo>
                    <a:pt x="215558" y="198831"/>
                  </a:lnTo>
                  <a:lnTo>
                    <a:pt x="215659" y="198831"/>
                  </a:lnTo>
                  <a:lnTo>
                    <a:pt x="215659" y="196799"/>
                  </a:lnTo>
                  <a:lnTo>
                    <a:pt x="215659" y="200228"/>
                  </a:lnTo>
                  <a:lnTo>
                    <a:pt x="215659" y="199530"/>
                  </a:lnTo>
                  <a:lnTo>
                    <a:pt x="215710" y="199530"/>
                  </a:lnTo>
                  <a:lnTo>
                    <a:pt x="215710" y="198831"/>
                  </a:lnTo>
                  <a:lnTo>
                    <a:pt x="215710" y="202260"/>
                  </a:lnTo>
                  <a:lnTo>
                    <a:pt x="215710" y="200228"/>
                  </a:lnTo>
                  <a:lnTo>
                    <a:pt x="215761" y="200228"/>
                  </a:lnTo>
                  <a:lnTo>
                    <a:pt x="215761" y="202260"/>
                  </a:lnTo>
                  <a:lnTo>
                    <a:pt x="215761" y="200876"/>
                  </a:lnTo>
                  <a:lnTo>
                    <a:pt x="215862" y="200876"/>
                  </a:lnTo>
                  <a:lnTo>
                    <a:pt x="215862" y="202260"/>
                  </a:lnTo>
                  <a:lnTo>
                    <a:pt x="215862" y="200228"/>
                  </a:lnTo>
                  <a:lnTo>
                    <a:pt x="215901" y="200876"/>
                  </a:lnTo>
                  <a:lnTo>
                    <a:pt x="215901" y="202260"/>
                  </a:lnTo>
                  <a:lnTo>
                    <a:pt x="215901" y="200876"/>
                  </a:lnTo>
                  <a:lnTo>
                    <a:pt x="215951" y="200876"/>
                  </a:lnTo>
                  <a:lnTo>
                    <a:pt x="215951" y="202260"/>
                  </a:lnTo>
                  <a:lnTo>
                    <a:pt x="215951" y="200876"/>
                  </a:lnTo>
                  <a:lnTo>
                    <a:pt x="216002" y="202260"/>
                  </a:lnTo>
                  <a:lnTo>
                    <a:pt x="216002" y="200228"/>
                  </a:lnTo>
                  <a:lnTo>
                    <a:pt x="216002" y="200876"/>
                  </a:lnTo>
                  <a:lnTo>
                    <a:pt x="216002" y="200228"/>
                  </a:lnTo>
                  <a:lnTo>
                    <a:pt x="216002" y="200876"/>
                  </a:lnTo>
                  <a:lnTo>
                    <a:pt x="216002" y="200228"/>
                  </a:lnTo>
                  <a:lnTo>
                    <a:pt x="216104" y="200228"/>
                  </a:lnTo>
                  <a:lnTo>
                    <a:pt x="216104" y="199530"/>
                  </a:lnTo>
                  <a:lnTo>
                    <a:pt x="216104" y="200228"/>
                  </a:lnTo>
                  <a:lnTo>
                    <a:pt x="216104" y="199530"/>
                  </a:lnTo>
                  <a:lnTo>
                    <a:pt x="216104" y="200228"/>
                  </a:lnTo>
                  <a:lnTo>
                    <a:pt x="216104" y="197447"/>
                  </a:lnTo>
                  <a:lnTo>
                    <a:pt x="216155" y="197447"/>
                  </a:lnTo>
                  <a:lnTo>
                    <a:pt x="216155" y="200228"/>
                  </a:lnTo>
                  <a:lnTo>
                    <a:pt x="216155" y="197447"/>
                  </a:lnTo>
                  <a:lnTo>
                    <a:pt x="216205" y="198831"/>
                  </a:lnTo>
                  <a:lnTo>
                    <a:pt x="216205" y="202260"/>
                  </a:lnTo>
                  <a:lnTo>
                    <a:pt x="216205" y="199530"/>
                  </a:lnTo>
                  <a:lnTo>
                    <a:pt x="216205" y="200228"/>
                  </a:lnTo>
                  <a:lnTo>
                    <a:pt x="216205" y="199530"/>
                  </a:lnTo>
                  <a:lnTo>
                    <a:pt x="216205" y="200228"/>
                  </a:lnTo>
                  <a:lnTo>
                    <a:pt x="216307" y="200228"/>
                  </a:lnTo>
                  <a:lnTo>
                    <a:pt x="216307" y="202260"/>
                  </a:lnTo>
                  <a:lnTo>
                    <a:pt x="216307" y="200228"/>
                  </a:lnTo>
                  <a:lnTo>
                    <a:pt x="216307" y="200876"/>
                  </a:lnTo>
                  <a:lnTo>
                    <a:pt x="216307" y="200228"/>
                  </a:lnTo>
                  <a:lnTo>
                    <a:pt x="216307" y="200876"/>
                  </a:lnTo>
                  <a:lnTo>
                    <a:pt x="216358" y="200876"/>
                  </a:lnTo>
                  <a:lnTo>
                    <a:pt x="216358" y="202260"/>
                  </a:lnTo>
                  <a:lnTo>
                    <a:pt x="216358" y="200876"/>
                  </a:lnTo>
                  <a:lnTo>
                    <a:pt x="216358" y="202260"/>
                  </a:lnTo>
                  <a:lnTo>
                    <a:pt x="216358" y="200228"/>
                  </a:lnTo>
                  <a:lnTo>
                    <a:pt x="216358" y="200876"/>
                  </a:lnTo>
                  <a:lnTo>
                    <a:pt x="216408" y="200876"/>
                  </a:lnTo>
                  <a:lnTo>
                    <a:pt x="216408" y="200228"/>
                  </a:lnTo>
                  <a:lnTo>
                    <a:pt x="216408" y="202260"/>
                  </a:lnTo>
                  <a:lnTo>
                    <a:pt x="216408" y="200876"/>
                  </a:lnTo>
                  <a:lnTo>
                    <a:pt x="216408" y="202260"/>
                  </a:lnTo>
                  <a:lnTo>
                    <a:pt x="216447" y="202959"/>
                  </a:lnTo>
                  <a:lnTo>
                    <a:pt x="216447" y="200876"/>
                  </a:lnTo>
                  <a:lnTo>
                    <a:pt x="216447" y="202260"/>
                  </a:lnTo>
                  <a:lnTo>
                    <a:pt x="216447" y="200876"/>
                  </a:lnTo>
                  <a:lnTo>
                    <a:pt x="216548" y="200876"/>
                  </a:lnTo>
                  <a:lnTo>
                    <a:pt x="216548" y="200228"/>
                  </a:lnTo>
                  <a:lnTo>
                    <a:pt x="216548" y="200876"/>
                  </a:lnTo>
                  <a:lnTo>
                    <a:pt x="216548" y="200228"/>
                  </a:lnTo>
                  <a:lnTo>
                    <a:pt x="216548" y="200876"/>
                  </a:lnTo>
                  <a:lnTo>
                    <a:pt x="216548" y="200228"/>
                  </a:lnTo>
                  <a:lnTo>
                    <a:pt x="216599" y="200228"/>
                  </a:lnTo>
                  <a:lnTo>
                    <a:pt x="216599" y="199530"/>
                  </a:lnTo>
                  <a:lnTo>
                    <a:pt x="216599" y="200228"/>
                  </a:lnTo>
                  <a:lnTo>
                    <a:pt x="216599" y="197447"/>
                  </a:lnTo>
                  <a:lnTo>
                    <a:pt x="216650" y="197447"/>
                  </a:lnTo>
                  <a:lnTo>
                    <a:pt x="216650" y="199530"/>
                  </a:lnTo>
                  <a:lnTo>
                    <a:pt x="216650" y="197447"/>
                  </a:lnTo>
                  <a:lnTo>
                    <a:pt x="216650" y="198831"/>
                  </a:lnTo>
                  <a:lnTo>
                    <a:pt x="216751" y="199530"/>
                  </a:lnTo>
                  <a:lnTo>
                    <a:pt x="216751" y="200228"/>
                  </a:lnTo>
                  <a:lnTo>
                    <a:pt x="216751" y="198831"/>
                  </a:lnTo>
                  <a:lnTo>
                    <a:pt x="216751" y="200228"/>
                  </a:lnTo>
                  <a:lnTo>
                    <a:pt x="216802" y="200228"/>
                  </a:lnTo>
                  <a:lnTo>
                    <a:pt x="216802" y="199530"/>
                  </a:lnTo>
                  <a:lnTo>
                    <a:pt x="216802" y="200228"/>
                  </a:lnTo>
                  <a:lnTo>
                    <a:pt x="216853" y="200876"/>
                  </a:lnTo>
                  <a:lnTo>
                    <a:pt x="216853" y="200228"/>
                  </a:lnTo>
                  <a:lnTo>
                    <a:pt x="216853" y="200876"/>
                  </a:lnTo>
                  <a:lnTo>
                    <a:pt x="216904" y="200876"/>
                  </a:lnTo>
                  <a:lnTo>
                    <a:pt x="216904" y="200228"/>
                  </a:lnTo>
                  <a:lnTo>
                    <a:pt x="216904" y="202260"/>
                  </a:lnTo>
                  <a:lnTo>
                    <a:pt x="216904" y="200876"/>
                  </a:lnTo>
                  <a:lnTo>
                    <a:pt x="216904" y="202260"/>
                  </a:lnTo>
                  <a:lnTo>
                    <a:pt x="216904" y="200876"/>
                  </a:lnTo>
                  <a:lnTo>
                    <a:pt x="216904" y="202260"/>
                  </a:lnTo>
                  <a:lnTo>
                    <a:pt x="216993" y="202260"/>
                  </a:lnTo>
                  <a:lnTo>
                    <a:pt x="216993" y="200876"/>
                  </a:lnTo>
                  <a:lnTo>
                    <a:pt x="216993" y="202260"/>
                  </a:lnTo>
                  <a:lnTo>
                    <a:pt x="216993" y="200228"/>
                  </a:lnTo>
                  <a:lnTo>
                    <a:pt x="217043" y="200228"/>
                  </a:lnTo>
                  <a:lnTo>
                    <a:pt x="217043" y="199530"/>
                  </a:lnTo>
                  <a:lnTo>
                    <a:pt x="217094" y="199530"/>
                  </a:lnTo>
                  <a:lnTo>
                    <a:pt x="217094" y="198831"/>
                  </a:lnTo>
                  <a:lnTo>
                    <a:pt x="217094" y="199530"/>
                  </a:lnTo>
                  <a:lnTo>
                    <a:pt x="217094" y="196799"/>
                  </a:lnTo>
                  <a:lnTo>
                    <a:pt x="217145" y="196113"/>
                  </a:lnTo>
                  <a:lnTo>
                    <a:pt x="217145" y="198831"/>
                  </a:lnTo>
                  <a:lnTo>
                    <a:pt x="217145" y="196799"/>
                  </a:lnTo>
                  <a:lnTo>
                    <a:pt x="217145" y="197447"/>
                  </a:lnTo>
                  <a:lnTo>
                    <a:pt x="217247" y="196799"/>
                  </a:lnTo>
                  <a:lnTo>
                    <a:pt x="217247" y="199530"/>
                  </a:lnTo>
                  <a:lnTo>
                    <a:pt x="217247" y="197447"/>
                  </a:lnTo>
                  <a:lnTo>
                    <a:pt x="217247" y="198831"/>
                  </a:lnTo>
                  <a:lnTo>
                    <a:pt x="217297" y="198831"/>
                  </a:lnTo>
                  <a:lnTo>
                    <a:pt x="217297" y="199530"/>
                  </a:lnTo>
                  <a:lnTo>
                    <a:pt x="217297" y="198831"/>
                  </a:lnTo>
                  <a:lnTo>
                    <a:pt x="217297" y="199530"/>
                  </a:lnTo>
                  <a:lnTo>
                    <a:pt x="217348" y="199530"/>
                  </a:lnTo>
                  <a:lnTo>
                    <a:pt x="217348" y="200228"/>
                  </a:lnTo>
                  <a:lnTo>
                    <a:pt x="217348" y="198831"/>
                  </a:lnTo>
                  <a:lnTo>
                    <a:pt x="217348" y="200228"/>
                  </a:lnTo>
                  <a:lnTo>
                    <a:pt x="217450" y="200228"/>
                  </a:lnTo>
                  <a:lnTo>
                    <a:pt x="217450" y="200876"/>
                  </a:lnTo>
                  <a:lnTo>
                    <a:pt x="217488" y="200876"/>
                  </a:lnTo>
                  <a:lnTo>
                    <a:pt x="217488" y="202260"/>
                  </a:lnTo>
                  <a:lnTo>
                    <a:pt x="217488" y="200876"/>
                  </a:lnTo>
                  <a:lnTo>
                    <a:pt x="217488" y="202260"/>
                  </a:lnTo>
                  <a:lnTo>
                    <a:pt x="217488" y="200876"/>
                  </a:lnTo>
                  <a:lnTo>
                    <a:pt x="217488" y="202260"/>
                  </a:lnTo>
                  <a:lnTo>
                    <a:pt x="217488" y="200228"/>
                  </a:lnTo>
                  <a:lnTo>
                    <a:pt x="217539" y="200228"/>
                  </a:lnTo>
                  <a:lnTo>
                    <a:pt x="217539" y="199530"/>
                  </a:lnTo>
                  <a:lnTo>
                    <a:pt x="217590" y="199530"/>
                  </a:lnTo>
                  <a:lnTo>
                    <a:pt x="217590" y="197447"/>
                  </a:lnTo>
                  <a:lnTo>
                    <a:pt x="217691" y="197447"/>
                  </a:lnTo>
                  <a:lnTo>
                    <a:pt x="217691" y="198831"/>
                  </a:lnTo>
                  <a:lnTo>
                    <a:pt x="217691" y="196799"/>
                  </a:lnTo>
                  <a:lnTo>
                    <a:pt x="217691" y="198831"/>
                  </a:lnTo>
                  <a:lnTo>
                    <a:pt x="217742" y="198831"/>
                  </a:lnTo>
                  <a:lnTo>
                    <a:pt x="217742" y="199530"/>
                  </a:lnTo>
                  <a:lnTo>
                    <a:pt x="217742" y="197447"/>
                  </a:lnTo>
                  <a:lnTo>
                    <a:pt x="217742" y="198831"/>
                  </a:lnTo>
                  <a:lnTo>
                    <a:pt x="217793" y="198831"/>
                  </a:lnTo>
                  <a:lnTo>
                    <a:pt x="217793" y="197447"/>
                  </a:lnTo>
                  <a:lnTo>
                    <a:pt x="217793" y="198831"/>
                  </a:lnTo>
                  <a:lnTo>
                    <a:pt x="217894" y="198831"/>
                  </a:lnTo>
                  <a:lnTo>
                    <a:pt x="217894" y="199530"/>
                  </a:lnTo>
                  <a:lnTo>
                    <a:pt x="217894" y="198831"/>
                  </a:lnTo>
                  <a:lnTo>
                    <a:pt x="217894" y="199530"/>
                  </a:lnTo>
                  <a:lnTo>
                    <a:pt x="217945" y="199530"/>
                  </a:lnTo>
                  <a:lnTo>
                    <a:pt x="217945" y="200228"/>
                  </a:lnTo>
                  <a:lnTo>
                    <a:pt x="217945" y="199530"/>
                  </a:lnTo>
                  <a:lnTo>
                    <a:pt x="217945" y="200228"/>
                  </a:lnTo>
                  <a:lnTo>
                    <a:pt x="217945" y="199530"/>
                  </a:lnTo>
                  <a:lnTo>
                    <a:pt x="217945" y="200228"/>
                  </a:lnTo>
                  <a:lnTo>
                    <a:pt x="217996" y="200228"/>
                  </a:lnTo>
                  <a:lnTo>
                    <a:pt x="217996" y="200876"/>
                  </a:lnTo>
                  <a:lnTo>
                    <a:pt x="217996" y="200228"/>
                  </a:lnTo>
                  <a:lnTo>
                    <a:pt x="217996" y="200876"/>
                  </a:lnTo>
                  <a:lnTo>
                    <a:pt x="218034" y="200228"/>
                  </a:lnTo>
                  <a:lnTo>
                    <a:pt x="218034" y="199530"/>
                  </a:lnTo>
                  <a:lnTo>
                    <a:pt x="218034" y="200228"/>
                  </a:lnTo>
                  <a:lnTo>
                    <a:pt x="218034" y="199530"/>
                  </a:lnTo>
                  <a:lnTo>
                    <a:pt x="218136" y="199530"/>
                  </a:lnTo>
                  <a:lnTo>
                    <a:pt x="218136" y="198831"/>
                  </a:lnTo>
                  <a:lnTo>
                    <a:pt x="218136" y="199530"/>
                  </a:lnTo>
                  <a:lnTo>
                    <a:pt x="218136" y="198831"/>
                  </a:lnTo>
                  <a:lnTo>
                    <a:pt x="218136" y="200228"/>
                  </a:lnTo>
                  <a:lnTo>
                    <a:pt x="218136" y="199530"/>
                  </a:lnTo>
                  <a:lnTo>
                    <a:pt x="218187" y="199530"/>
                  </a:lnTo>
                  <a:lnTo>
                    <a:pt x="218187" y="198831"/>
                  </a:lnTo>
                  <a:lnTo>
                    <a:pt x="218187" y="202260"/>
                  </a:lnTo>
                  <a:lnTo>
                    <a:pt x="218187" y="200228"/>
                  </a:lnTo>
                  <a:lnTo>
                    <a:pt x="218237" y="200228"/>
                  </a:lnTo>
                  <a:lnTo>
                    <a:pt x="218237" y="200876"/>
                  </a:lnTo>
                  <a:lnTo>
                    <a:pt x="218237" y="200228"/>
                  </a:lnTo>
                  <a:lnTo>
                    <a:pt x="218237" y="200876"/>
                  </a:lnTo>
                  <a:lnTo>
                    <a:pt x="218237" y="200228"/>
                  </a:lnTo>
                  <a:lnTo>
                    <a:pt x="218339" y="200228"/>
                  </a:lnTo>
                  <a:lnTo>
                    <a:pt x="218339" y="200876"/>
                  </a:lnTo>
                  <a:lnTo>
                    <a:pt x="218339" y="200228"/>
                  </a:lnTo>
                  <a:lnTo>
                    <a:pt x="218390" y="200228"/>
                  </a:lnTo>
                  <a:lnTo>
                    <a:pt x="218390" y="200876"/>
                  </a:lnTo>
                  <a:lnTo>
                    <a:pt x="218390" y="200228"/>
                  </a:lnTo>
                  <a:lnTo>
                    <a:pt x="218390" y="202260"/>
                  </a:lnTo>
                  <a:lnTo>
                    <a:pt x="218441" y="202260"/>
                  </a:lnTo>
                  <a:lnTo>
                    <a:pt x="218441" y="200876"/>
                  </a:lnTo>
                  <a:lnTo>
                    <a:pt x="218491" y="200876"/>
                  </a:lnTo>
                  <a:lnTo>
                    <a:pt x="218491" y="202260"/>
                  </a:lnTo>
                  <a:lnTo>
                    <a:pt x="218491" y="200228"/>
                  </a:lnTo>
                  <a:lnTo>
                    <a:pt x="218491" y="200876"/>
                  </a:lnTo>
                  <a:lnTo>
                    <a:pt x="218491" y="200228"/>
                  </a:lnTo>
                  <a:lnTo>
                    <a:pt x="218491" y="200876"/>
                  </a:lnTo>
                  <a:lnTo>
                    <a:pt x="218491" y="200228"/>
                  </a:lnTo>
                  <a:lnTo>
                    <a:pt x="218580" y="200228"/>
                  </a:lnTo>
                  <a:lnTo>
                    <a:pt x="218580" y="199530"/>
                  </a:lnTo>
                  <a:lnTo>
                    <a:pt x="218580" y="200228"/>
                  </a:lnTo>
                  <a:lnTo>
                    <a:pt x="218580" y="199530"/>
                  </a:lnTo>
                  <a:lnTo>
                    <a:pt x="218580" y="200228"/>
                  </a:lnTo>
                  <a:lnTo>
                    <a:pt x="218580" y="198831"/>
                  </a:lnTo>
                  <a:lnTo>
                    <a:pt x="218631" y="198831"/>
                  </a:lnTo>
                  <a:lnTo>
                    <a:pt x="218631" y="200876"/>
                  </a:lnTo>
                  <a:lnTo>
                    <a:pt x="218631" y="198831"/>
                  </a:lnTo>
                  <a:lnTo>
                    <a:pt x="218682" y="199530"/>
                  </a:lnTo>
                  <a:lnTo>
                    <a:pt x="218682" y="202260"/>
                  </a:lnTo>
                  <a:lnTo>
                    <a:pt x="218682" y="200228"/>
                  </a:lnTo>
                  <a:lnTo>
                    <a:pt x="218682" y="200876"/>
                  </a:lnTo>
                  <a:lnTo>
                    <a:pt x="218682" y="200228"/>
                  </a:lnTo>
                  <a:lnTo>
                    <a:pt x="218733" y="200876"/>
                  </a:lnTo>
                  <a:lnTo>
                    <a:pt x="218733" y="202260"/>
                  </a:lnTo>
                  <a:lnTo>
                    <a:pt x="218733" y="200876"/>
                  </a:lnTo>
                  <a:lnTo>
                    <a:pt x="218733" y="202260"/>
                  </a:lnTo>
                  <a:lnTo>
                    <a:pt x="218733" y="200876"/>
                  </a:lnTo>
                  <a:lnTo>
                    <a:pt x="218834" y="202260"/>
                  </a:lnTo>
                  <a:lnTo>
                    <a:pt x="218834" y="202959"/>
                  </a:lnTo>
                  <a:lnTo>
                    <a:pt x="218834" y="200876"/>
                  </a:lnTo>
                  <a:lnTo>
                    <a:pt x="218834" y="202959"/>
                  </a:lnTo>
                  <a:lnTo>
                    <a:pt x="218885" y="202959"/>
                  </a:lnTo>
                  <a:lnTo>
                    <a:pt x="218885" y="202260"/>
                  </a:lnTo>
                  <a:lnTo>
                    <a:pt x="218885" y="202959"/>
                  </a:lnTo>
                  <a:lnTo>
                    <a:pt x="218885" y="200876"/>
                  </a:lnTo>
                  <a:lnTo>
                    <a:pt x="218885" y="202260"/>
                  </a:lnTo>
                  <a:lnTo>
                    <a:pt x="218936" y="202260"/>
                  </a:lnTo>
                  <a:lnTo>
                    <a:pt x="218936" y="200876"/>
                  </a:lnTo>
                  <a:lnTo>
                    <a:pt x="219037" y="200228"/>
                  </a:lnTo>
                  <a:lnTo>
                    <a:pt x="219037" y="199530"/>
                  </a:lnTo>
                  <a:lnTo>
                    <a:pt x="219037" y="200228"/>
                  </a:lnTo>
                  <a:lnTo>
                    <a:pt x="219037" y="199530"/>
                  </a:lnTo>
                  <a:lnTo>
                    <a:pt x="219037" y="200228"/>
                  </a:lnTo>
                  <a:lnTo>
                    <a:pt x="219037" y="199530"/>
                  </a:lnTo>
                  <a:lnTo>
                    <a:pt x="219076" y="199530"/>
                  </a:lnTo>
                  <a:lnTo>
                    <a:pt x="219076" y="197447"/>
                  </a:lnTo>
                  <a:lnTo>
                    <a:pt x="219126" y="198831"/>
                  </a:lnTo>
                  <a:lnTo>
                    <a:pt x="219126" y="200228"/>
                  </a:lnTo>
                  <a:lnTo>
                    <a:pt x="219126" y="197447"/>
                  </a:lnTo>
                  <a:lnTo>
                    <a:pt x="219126" y="200228"/>
                  </a:lnTo>
                  <a:lnTo>
                    <a:pt x="219177" y="200876"/>
                  </a:lnTo>
                  <a:lnTo>
                    <a:pt x="219177" y="202260"/>
                  </a:lnTo>
                  <a:lnTo>
                    <a:pt x="219177" y="199530"/>
                  </a:lnTo>
                  <a:lnTo>
                    <a:pt x="219177" y="200876"/>
                  </a:lnTo>
                  <a:lnTo>
                    <a:pt x="219279" y="200876"/>
                  </a:lnTo>
                  <a:lnTo>
                    <a:pt x="219279" y="200228"/>
                  </a:lnTo>
                  <a:lnTo>
                    <a:pt x="219279" y="202260"/>
                  </a:lnTo>
                  <a:lnTo>
                    <a:pt x="219279" y="200876"/>
                  </a:lnTo>
                  <a:lnTo>
                    <a:pt x="219279" y="202260"/>
                  </a:lnTo>
                  <a:lnTo>
                    <a:pt x="219330" y="202260"/>
                  </a:lnTo>
                  <a:lnTo>
                    <a:pt x="219330" y="202959"/>
                  </a:lnTo>
                  <a:lnTo>
                    <a:pt x="219330" y="200876"/>
                  </a:lnTo>
                  <a:lnTo>
                    <a:pt x="219330" y="202260"/>
                  </a:lnTo>
                  <a:lnTo>
                    <a:pt x="219330" y="200876"/>
                  </a:lnTo>
                  <a:lnTo>
                    <a:pt x="219330" y="202260"/>
                  </a:lnTo>
                  <a:lnTo>
                    <a:pt x="219330" y="200876"/>
                  </a:lnTo>
                  <a:lnTo>
                    <a:pt x="219330" y="202260"/>
                  </a:lnTo>
                  <a:lnTo>
                    <a:pt x="219380" y="202260"/>
                  </a:lnTo>
                  <a:lnTo>
                    <a:pt x="219380" y="200876"/>
                  </a:lnTo>
                  <a:lnTo>
                    <a:pt x="219380" y="202260"/>
                  </a:lnTo>
                  <a:lnTo>
                    <a:pt x="219482" y="202959"/>
                  </a:lnTo>
                  <a:lnTo>
                    <a:pt x="219482" y="200876"/>
                  </a:lnTo>
                  <a:lnTo>
                    <a:pt x="219533" y="200876"/>
                  </a:lnTo>
                  <a:lnTo>
                    <a:pt x="219533" y="199530"/>
                  </a:lnTo>
                  <a:lnTo>
                    <a:pt x="219533" y="200228"/>
                  </a:lnTo>
                  <a:lnTo>
                    <a:pt x="219533" y="199530"/>
                  </a:lnTo>
                  <a:lnTo>
                    <a:pt x="219533" y="200228"/>
                  </a:lnTo>
                  <a:lnTo>
                    <a:pt x="219533" y="199530"/>
                  </a:lnTo>
                  <a:lnTo>
                    <a:pt x="219583" y="199530"/>
                  </a:lnTo>
                  <a:lnTo>
                    <a:pt x="219583" y="197447"/>
                  </a:lnTo>
                  <a:lnTo>
                    <a:pt x="219583" y="199530"/>
                  </a:lnTo>
                  <a:lnTo>
                    <a:pt x="219622" y="199530"/>
                  </a:lnTo>
                  <a:lnTo>
                    <a:pt x="219622" y="197447"/>
                  </a:lnTo>
                  <a:lnTo>
                    <a:pt x="219622" y="200876"/>
                  </a:lnTo>
                  <a:lnTo>
                    <a:pt x="219622" y="200228"/>
                  </a:lnTo>
                  <a:lnTo>
                    <a:pt x="219723" y="200228"/>
                  </a:lnTo>
                  <a:lnTo>
                    <a:pt x="219723" y="200876"/>
                  </a:lnTo>
                  <a:lnTo>
                    <a:pt x="219723" y="198831"/>
                  </a:lnTo>
                  <a:lnTo>
                    <a:pt x="219723" y="200876"/>
                  </a:lnTo>
                  <a:lnTo>
                    <a:pt x="219723" y="200228"/>
                  </a:lnTo>
                  <a:lnTo>
                    <a:pt x="219723" y="200876"/>
                  </a:lnTo>
                  <a:lnTo>
                    <a:pt x="219723" y="200228"/>
                  </a:lnTo>
                  <a:lnTo>
                    <a:pt x="219774" y="200228"/>
                  </a:lnTo>
                  <a:lnTo>
                    <a:pt x="219774" y="200876"/>
                  </a:lnTo>
                  <a:lnTo>
                    <a:pt x="219774" y="200228"/>
                  </a:lnTo>
                  <a:lnTo>
                    <a:pt x="219774" y="200876"/>
                  </a:lnTo>
                  <a:lnTo>
                    <a:pt x="219825" y="200876"/>
                  </a:lnTo>
                  <a:lnTo>
                    <a:pt x="219825" y="200228"/>
                  </a:lnTo>
                  <a:lnTo>
                    <a:pt x="219825" y="202260"/>
                  </a:lnTo>
                  <a:lnTo>
                    <a:pt x="219825" y="200876"/>
                  </a:lnTo>
                  <a:lnTo>
                    <a:pt x="219825" y="202260"/>
                  </a:lnTo>
                  <a:lnTo>
                    <a:pt x="219926" y="202260"/>
                  </a:lnTo>
                  <a:lnTo>
                    <a:pt x="219926" y="202959"/>
                  </a:lnTo>
                  <a:lnTo>
                    <a:pt x="219926" y="202260"/>
                  </a:lnTo>
                  <a:lnTo>
                    <a:pt x="219926" y="202959"/>
                  </a:lnTo>
                  <a:lnTo>
                    <a:pt x="219926" y="202260"/>
                  </a:lnTo>
                  <a:lnTo>
                    <a:pt x="219977" y="202260"/>
                  </a:lnTo>
                  <a:lnTo>
                    <a:pt x="219977" y="200228"/>
                  </a:lnTo>
                  <a:lnTo>
                    <a:pt x="220028" y="200876"/>
                  </a:lnTo>
                  <a:lnTo>
                    <a:pt x="220028" y="199530"/>
                  </a:lnTo>
                  <a:lnTo>
                    <a:pt x="220079" y="199530"/>
                  </a:lnTo>
                  <a:lnTo>
                    <a:pt x="220079" y="197447"/>
                  </a:lnTo>
                  <a:lnTo>
                    <a:pt x="220079" y="198831"/>
                  </a:lnTo>
                  <a:lnTo>
                    <a:pt x="220079" y="197447"/>
                  </a:lnTo>
                  <a:lnTo>
                    <a:pt x="220079" y="198831"/>
                  </a:lnTo>
                  <a:lnTo>
                    <a:pt x="220168" y="198831"/>
                  </a:lnTo>
                  <a:lnTo>
                    <a:pt x="220168" y="197447"/>
                  </a:lnTo>
                  <a:lnTo>
                    <a:pt x="220168" y="199530"/>
                  </a:lnTo>
                  <a:lnTo>
                    <a:pt x="220218" y="199530"/>
                  </a:lnTo>
                  <a:lnTo>
                    <a:pt x="220218" y="200228"/>
                  </a:lnTo>
                  <a:lnTo>
                    <a:pt x="220218" y="199530"/>
                  </a:lnTo>
                  <a:lnTo>
                    <a:pt x="220218" y="200228"/>
                  </a:lnTo>
                  <a:lnTo>
                    <a:pt x="220218" y="199530"/>
                  </a:lnTo>
                  <a:lnTo>
                    <a:pt x="220269" y="199530"/>
                  </a:lnTo>
                  <a:lnTo>
                    <a:pt x="220269" y="200228"/>
                  </a:lnTo>
                  <a:lnTo>
                    <a:pt x="220269" y="199530"/>
                  </a:lnTo>
                  <a:lnTo>
                    <a:pt x="220269" y="200876"/>
                  </a:lnTo>
                  <a:lnTo>
                    <a:pt x="220320" y="200876"/>
                  </a:lnTo>
                  <a:lnTo>
                    <a:pt x="220320" y="202260"/>
                  </a:lnTo>
                  <a:lnTo>
                    <a:pt x="220320" y="200876"/>
                  </a:lnTo>
                  <a:lnTo>
                    <a:pt x="220422" y="200876"/>
                  </a:lnTo>
                  <a:lnTo>
                    <a:pt x="220422" y="202260"/>
                  </a:lnTo>
                  <a:lnTo>
                    <a:pt x="220422" y="200876"/>
                  </a:lnTo>
                  <a:lnTo>
                    <a:pt x="220422" y="202260"/>
                  </a:lnTo>
                  <a:lnTo>
                    <a:pt x="220422" y="200876"/>
                  </a:lnTo>
                  <a:lnTo>
                    <a:pt x="220422" y="202260"/>
                  </a:lnTo>
                  <a:lnTo>
                    <a:pt x="220422" y="200876"/>
                  </a:lnTo>
                  <a:lnTo>
                    <a:pt x="220422" y="202260"/>
                  </a:lnTo>
                  <a:lnTo>
                    <a:pt x="220422" y="200876"/>
                  </a:lnTo>
                  <a:lnTo>
                    <a:pt x="220422" y="202260"/>
                  </a:lnTo>
                  <a:lnTo>
                    <a:pt x="220472" y="202260"/>
                  </a:lnTo>
                  <a:lnTo>
                    <a:pt x="220472" y="200228"/>
                  </a:lnTo>
                  <a:lnTo>
                    <a:pt x="220472" y="200876"/>
                  </a:lnTo>
                  <a:lnTo>
                    <a:pt x="220523" y="200876"/>
                  </a:lnTo>
                  <a:lnTo>
                    <a:pt x="220523" y="199530"/>
                  </a:lnTo>
                  <a:lnTo>
                    <a:pt x="220625" y="200228"/>
                  </a:lnTo>
                  <a:lnTo>
                    <a:pt x="220625" y="198831"/>
                  </a:lnTo>
                  <a:lnTo>
                    <a:pt x="220625" y="199530"/>
                  </a:lnTo>
                  <a:lnTo>
                    <a:pt x="220625" y="198831"/>
                  </a:lnTo>
                  <a:lnTo>
                    <a:pt x="220663" y="198831"/>
                  </a:lnTo>
                  <a:lnTo>
                    <a:pt x="220663" y="197447"/>
                  </a:lnTo>
                  <a:lnTo>
                    <a:pt x="220663" y="200228"/>
                  </a:lnTo>
                  <a:lnTo>
                    <a:pt x="220663" y="199530"/>
                  </a:lnTo>
                  <a:lnTo>
                    <a:pt x="220714" y="198831"/>
                  </a:lnTo>
                  <a:lnTo>
                    <a:pt x="220714" y="199530"/>
                  </a:lnTo>
                  <a:lnTo>
                    <a:pt x="220714" y="198831"/>
                  </a:lnTo>
                  <a:lnTo>
                    <a:pt x="220714" y="200228"/>
                  </a:lnTo>
                  <a:lnTo>
                    <a:pt x="220714" y="199530"/>
                  </a:lnTo>
                  <a:lnTo>
                    <a:pt x="220714" y="200228"/>
                  </a:lnTo>
                  <a:lnTo>
                    <a:pt x="220714" y="198831"/>
                  </a:lnTo>
                  <a:lnTo>
                    <a:pt x="220765" y="199530"/>
                  </a:lnTo>
                  <a:lnTo>
                    <a:pt x="220765" y="200228"/>
                  </a:lnTo>
                  <a:lnTo>
                    <a:pt x="220765" y="199530"/>
                  </a:lnTo>
                  <a:lnTo>
                    <a:pt x="220765" y="200228"/>
                  </a:lnTo>
                  <a:lnTo>
                    <a:pt x="220866" y="200228"/>
                  </a:lnTo>
                  <a:lnTo>
                    <a:pt x="220866" y="200876"/>
                  </a:lnTo>
                  <a:lnTo>
                    <a:pt x="220866" y="200228"/>
                  </a:lnTo>
                  <a:lnTo>
                    <a:pt x="220866" y="200876"/>
                  </a:lnTo>
                  <a:lnTo>
                    <a:pt x="220866" y="200228"/>
                  </a:lnTo>
                  <a:lnTo>
                    <a:pt x="220917" y="200228"/>
                  </a:lnTo>
                  <a:lnTo>
                    <a:pt x="220917" y="200876"/>
                  </a:lnTo>
                  <a:lnTo>
                    <a:pt x="220917" y="200228"/>
                  </a:lnTo>
                  <a:lnTo>
                    <a:pt x="220968" y="200228"/>
                  </a:lnTo>
                  <a:lnTo>
                    <a:pt x="220968" y="200876"/>
                  </a:lnTo>
                  <a:lnTo>
                    <a:pt x="220968" y="200228"/>
                  </a:lnTo>
                  <a:lnTo>
                    <a:pt x="220968" y="200876"/>
                  </a:lnTo>
                  <a:lnTo>
                    <a:pt x="220968" y="200228"/>
                  </a:lnTo>
                  <a:lnTo>
                    <a:pt x="221069" y="200228"/>
                  </a:lnTo>
                  <a:lnTo>
                    <a:pt x="221069" y="199530"/>
                  </a:lnTo>
                  <a:lnTo>
                    <a:pt x="221069" y="200228"/>
                  </a:lnTo>
                  <a:lnTo>
                    <a:pt x="221069" y="198831"/>
                  </a:lnTo>
                  <a:lnTo>
                    <a:pt x="221120" y="199530"/>
                  </a:lnTo>
                  <a:lnTo>
                    <a:pt x="221120" y="198831"/>
                  </a:lnTo>
                  <a:lnTo>
                    <a:pt x="221120" y="200876"/>
                  </a:lnTo>
                  <a:lnTo>
                    <a:pt x="221120" y="197447"/>
                  </a:lnTo>
                  <a:lnTo>
                    <a:pt x="221120" y="199530"/>
                  </a:lnTo>
                  <a:lnTo>
                    <a:pt x="221171" y="199530"/>
                  </a:lnTo>
                  <a:lnTo>
                    <a:pt x="221171" y="202959"/>
                  </a:lnTo>
                  <a:lnTo>
                    <a:pt x="221171" y="200228"/>
                  </a:lnTo>
                  <a:lnTo>
                    <a:pt x="221171" y="200876"/>
                  </a:lnTo>
                  <a:lnTo>
                    <a:pt x="221209" y="202260"/>
                  </a:lnTo>
                  <a:lnTo>
                    <a:pt x="221209" y="202959"/>
                  </a:lnTo>
                  <a:lnTo>
                    <a:pt x="221209" y="200876"/>
                  </a:lnTo>
                  <a:lnTo>
                    <a:pt x="221209" y="202260"/>
                  </a:lnTo>
                  <a:lnTo>
                    <a:pt x="221209" y="200876"/>
                  </a:lnTo>
                  <a:lnTo>
                    <a:pt x="221209" y="202260"/>
                  </a:lnTo>
                  <a:lnTo>
                    <a:pt x="221311" y="202260"/>
                  </a:lnTo>
                  <a:lnTo>
                    <a:pt x="221311" y="200876"/>
                  </a:lnTo>
                  <a:lnTo>
                    <a:pt x="221311" y="202260"/>
                  </a:lnTo>
                  <a:lnTo>
                    <a:pt x="221362" y="202260"/>
                  </a:lnTo>
                  <a:lnTo>
                    <a:pt x="221362" y="200228"/>
                  </a:lnTo>
                  <a:lnTo>
                    <a:pt x="221362" y="200876"/>
                  </a:lnTo>
                  <a:lnTo>
                    <a:pt x="221412" y="200876"/>
                  </a:lnTo>
                  <a:lnTo>
                    <a:pt x="221412" y="200228"/>
                  </a:lnTo>
                  <a:lnTo>
                    <a:pt x="221412" y="200876"/>
                  </a:lnTo>
                  <a:lnTo>
                    <a:pt x="221514" y="200876"/>
                  </a:lnTo>
                  <a:lnTo>
                    <a:pt x="221514" y="200228"/>
                  </a:lnTo>
                  <a:lnTo>
                    <a:pt x="221514" y="200876"/>
                  </a:lnTo>
                  <a:lnTo>
                    <a:pt x="221514" y="200228"/>
                  </a:lnTo>
                  <a:lnTo>
                    <a:pt x="221514" y="200876"/>
                  </a:lnTo>
                  <a:lnTo>
                    <a:pt x="221514" y="200228"/>
                  </a:lnTo>
                  <a:lnTo>
                    <a:pt x="221514" y="200876"/>
                  </a:lnTo>
                  <a:lnTo>
                    <a:pt x="221514" y="200228"/>
                  </a:lnTo>
                  <a:lnTo>
                    <a:pt x="221565" y="200228"/>
                  </a:lnTo>
                  <a:lnTo>
                    <a:pt x="221565" y="198831"/>
                  </a:lnTo>
                  <a:lnTo>
                    <a:pt x="221565" y="200876"/>
                  </a:lnTo>
                  <a:lnTo>
                    <a:pt x="221616" y="200876"/>
                  </a:lnTo>
                  <a:lnTo>
                    <a:pt x="221616" y="200228"/>
                  </a:lnTo>
                  <a:lnTo>
                    <a:pt x="221616" y="200876"/>
                  </a:lnTo>
                  <a:lnTo>
                    <a:pt x="221616" y="198831"/>
                  </a:lnTo>
                  <a:lnTo>
                    <a:pt x="221616" y="202959"/>
                  </a:lnTo>
                  <a:lnTo>
                    <a:pt x="221616" y="202260"/>
                  </a:lnTo>
                  <a:lnTo>
                    <a:pt x="221616" y="202959"/>
                  </a:lnTo>
                  <a:lnTo>
                    <a:pt x="221616" y="202260"/>
                  </a:lnTo>
                  <a:lnTo>
                    <a:pt x="221666" y="202260"/>
                  </a:lnTo>
                  <a:lnTo>
                    <a:pt x="221666" y="200228"/>
                  </a:lnTo>
                  <a:lnTo>
                    <a:pt x="221666" y="202260"/>
                  </a:lnTo>
                  <a:lnTo>
                    <a:pt x="221755" y="202260"/>
                  </a:lnTo>
                  <a:lnTo>
                    <a:pt x="221755" y="202959"/>
                  </a:lnTo>
                  <a:lnTo>
                    <a:pt x="221755" y="202260"/>
                  </a:lnTo>
                  <a:lnTo>
                    <a:pt x="221806" y="202260"/>
                  </a:lnTo>
                  <a:lnTo>
                    <a:pt x="221806" y="202959"/>
                  </a:lnTo>
                  <a:lnTo>
                    <a:pt x="221806" y="202260"/>
                  </a:lnTo>
                  <a:lnTo>
                    <a:pt x="221806" y="202959"/>
                  </a:lnTo>
                  <a:lnTo>
                    <a:pt x="221806" y="202260"/>
                  </a:lnTo>
                  <a:lnTo>
                    <a:pt x="221806" y="202959"/>
                  </a:lnTo>
                  <a:lnTo>
                    <a:pt x="221806" y="202260"/>
                  </a:lnTo>
                  <a:lnTo>
                    <a:pt x="221857" y="202959"/>
                  </a:lnTo>
                  <a:lnTo>
                    <a:pt x="221857" y="200876"/>
                  </a:lnTo>
                  <a:lnTo>
                    <a:pt x="221857" y="202260"/>
                  </a:lnTo>
                  <a:lnTo>
                    <a:pt x="221857" y="200876"/>
                  </a:lnTo>
                  <a:lnTo>
                    <a:pt x="221908" y="200876"/>
                  </a:lnTo>
                  <a:lnTo>
                    <a:pt x="221908" y="200228"/>
                  </a:lnTo>
                  <a:lnTo>
                    <a:pt x="221908" y="200876"/>
                  </a:lnTo>
                  <a:lnTo>
                    <a:pt x="221908" y="200228"/>
                  </a:lnTo>
                  <a:lnTo>
                    <a:pt x="221908" y="200876"/>
                  </a:lnTo>
                  <a:lnTo>
                    <a:pt x="221908" y="200228"/>
                  </a:lnTo>
                  <a:lnTo>
                    <a:pt x="221908" y="200876"/>
                  </a:lnTo>
                  <a:lnTo>
                    <a:pt x="221908" y="200228"/>
                  </a:lnTo>
                  <a:lnTo>
                    <a:pt x="221908" y="200876"/>
                  </a:lnTo>
                  <a:lnTo>
                    <a:pt x="222009" y="200228"/>
                  </a:lnTo>
                  <a:lnTo>
                    <a:pt x="222009" y="198831"/>
                  </a:lnTo>
                  <a:lnTo>
                    <a:pt x="222060" y="198831"/>
                  </a:lnTo>
                  <a:lnTo>
                    <a:pt x="222060" y="197447"/>
                  </a:lnTo>
                  <a:lnTo>
                    <a:pt x="222060" y="200228"/>
                  </a:lnTo>
                  <a:lnTo>
                    <a:pt x="222060" y="199530"/>
                  </a:lnTo>
                  <a:lnTo>
                    <a:pt x="222060" y="200228"/>
                  </a:lnTo>
                  <a:lnTo>
                    <a:pt x="222060" y="199530"/>
                  </a:lnTo>
                  <a:lnTo>
                    <a:pt x="222111" y="199530"/>
                  </a:lnTo>
                  <a:lnTo>
                    <a:pt x="222111" y="198831"/>
                  </a:lnTo>
                  <a:lnTo>
                    <a:pt x="222111" y="200876"/>
                  </a:lnTo>
                  <a:lnTo>
                    <a:pt x="222111" y="199530"/>
                  </a:lnTo>
                  <a:lnTo>
                    <a:pt x="222111" y="200228"/>
                  </a:lnTo>
                  <a:lnTo>
                    <a:pt x="222212" y="200228"/>
                  </a:lnTo>
                  <a:lnTo>
                    <a:pt x="222212" y="202260"/>
                  </a:lnTo>
                  <a:lnTo>
                    <a:pt x="222212" y="200876"/>
                  </a:lnTo>
                  <a:lnTo>
                    <a:pt x="222212" y="202260"/>
                  </a:lnTo>
                  <a:lnTo>
                    <a:pt x="222212" y="200876"/>
                  </a:lnTo>
                  <a:lnTo>
                    <a:pt x="222212" y="202260"/>
                  </a:lnTo>
                  <a:lnTo>
                    <a:pt x="222212" y="200876"/>
                  </a:lnTo>
                  <a:lnTo>
                    <a:pt x="222212" y="202260"/>
                  </a:lnTo>
                  <a:lnTo>
                    <a:pt x="222251" y="202260"/>
                  </a:lnTo>
                  <a:lnTo>
                    <a:pt x="222251" y="200876"/>
                  </a:lnTo>
                  <a:lnTo>
                    <a:pt x="222251" y="202260"/>
                  </a:lnTo>
                  <a:lnTo>
                    <a:pt x="222301" y="202260"/>
                  </a:lnTo>
                  <a:lnTo>
                    <a:pt x="222301" y="202959"/>
                  </a:lnTo>
                  <a:lnTo>
                    <a:pt x="222301" y="202260"/>
                  </a:lnTo>
                  <a:lnTo>
                    <a:pt x="222301" y="202959"/>
                  </a:lnTo>
                  <a:lnTo>
                    <a:pt x="222301" y="202260"/>
                  </a:lnTo>
                  <a:lnTo>
                    <a:pt x="222301" y="202959"/>
                  </a:lnTo>
                  <a:lnTo>
                    <a:pt x="222301" y="202260"/>
                  </a:lnTo>
                  <a:lnTo>
                    <a:pt x="222352" y="202260"/>
                  </a:lnTo>
                  <a:lnTo>
                    <a:pt x="222352" y="200876"/>
                  </a:lnTo>
                  <a:lnTo>
                    <a:pt x="222352" y="202260"/>
                  </a:lnTo>
                  <a:lnTo>
                    <a:pt x="222352" y="200876"/>
                  </a:lnTo>
                  <a:lnTo>
                    <a:pt x="222352" y="202260"/>
                  </a:lnTo>
                  <a:lnTo>
                    <a:pt x="222352" y="200876"/>
                  </a:lnTo>
                  <a:lnTo>
                    <a:pt x="222352" y="202260"/>
                  </a:lnTo>
                  <a:lnTo>
                    <a:pt x="222352" y="200876"/>
                  </a:lnTo>
                  <a:lnTo>
                    <a:pt x="222454" y="200876"/>
                  </a:lnTo>
                  <a:lnTo>
                    <a:pt x="222454" y="202260"/>
                  </a:lnTo>
                  <a:lnTo>
                    <a:pt x="222454" y="200876"/>
                  </a:lnTo>
                  <a:lnTo>
                    <a:pt x="222454" y="202260"/>
                  </a:lnTo>
                  <a:lnTo>
                    <a:pt x="222454" y="200876"/>
                  </a:lnTo>
                  <a:lnTo>
                    <a:pt x="222505" y="200228"/>
                  </a:lnTo>
                  <a:lnTo>
                    <a:pt x="222505" y="197447"/>
                  </a:lnTo>
                  <a:lnTo>
                    <a:pt x="222555" y="197447"/>
                  </a:lnTo>
                  <a:lnTo>
                    <a:pt x="222555" y="199530"/>
                  </a:lnTo>
                  <a:lnTo>
                    <a:pt x="222555" y="198831"/>
                  </a:lnTo>
                  <a:lnTo>
                    <a:pt x="222555" y="199530"/>
                  </a:lnTo>
                  <a:lnTo>
                    <a:pt x="222555" y="197447"/>
                  </a:lnTo>
                  <a:lnTo>
                    <a:pt x="222555" y="198831"/>
                  </a:lnTo>
                  <a:lnTo>
                    <a:pt x="222555" y="197447"/>
                  </a:lnTo>
                  <a:lnTo>
                    <a:pt x="222555" y="199530"/>
                  </a:lnTo>
                  <a:lnTo>
                    <a:pt x="222657" y="199530"/>
                  </a:lnTo>
                  <a:lnTo>
                    <a:pt x="222657" y="200228"/>
                  </a:lnTo>
                  <a:lnTo>
                    <a:pt x="222657" y="199530"/>
                  </a:lnTo>
                  <a:lnTo>
                    <a:pt x="222657" y="200228"/>
                  </a:lnTo>
                  <a:lnTo>
                    <a:pt x="222657" y="199530"/>
                  </a:lnTo>
                  <a:lnTo>
                    <a:pt x="222708" y="199530"/>
                  </a:lnTo>
                  <a:lnTo>
                    <a:pt x="222708" y="200876"/>
                  </a:lnTo>
                  <a:lnTo>
                    <a:pt x="222708" y="200228"/>
                  </a:lnTo>
                  <a:lnTo>
                    <a:pt x="222708" y="200876"/>
                  </a:lnTo>
                  <a:lnTo>
                    <a:pt x="222758" y="200876"/>
                  </a:lnTo>
                  <a:lnTo>
                    <a:pt x="222758" y="202260"/>
                  </a:lnTo>
                  <a:lnTo>
                    <a:pt x="222797" y="202260"/>
                  </a:lnTo>
                  <a:lnTo>
                    <a:pt x="222797" y="200876"/>
                  </a:lnTo>
                  <a:lnTo>
                    <a:pt x="222797" y="202260"/>
                  </a:lnTo>
                  <a:lnTo>
                    <a:pt x="222797" y="200876"/>
                  </a:lnTo>
                  <a:lnTo>
                    <a:pt x="222797" y="202260"/>
                  </a:lnTo>
                  <a:lnTo>
                    <a:pt x="222898" y="202260"/>
                  </a:lnTo>
                  <a:lnTo>
                    <a:pt x="222898" y="200876"/>
                  </a:lnTo>
                  <a:lnTo>
                    <a:pt x="222898" y="202260"/>
                  </a:lnTo>
                  <a:lnTo>
                    <a:pt x="222898" y="200876"/>
                  </a:lnTo>
                  <a:lnTo>
                    <a:pt x="222898" y="202260"/>
                  </a:lnTo>
                  <a:lnTo>
                    <a:pt x="222949" y="200876"/>
                  </a:lnTo>
                  <a:lnTo>
                    <a:pt x="222949" y="200228"/>
                  </a:lnTo>
                  <a:lnTo>
                    <a:pt x="223000" y="200228"/>
                  </a:lnTo>
                  <a:lnTo>
                    <a:pt x="223000" y="197447"/>
                  </a:lnTo>
                  <a:lnTo>
                    <a:pt x="223101" y="197447"/>
                  </a:lnTo>
                  <a:lnTo>
                    <a:pt x="223101" y="198831"/>
                  </a:lnTo>
                  <a:lnTo>
                    <a:pt x="223101" y="197447"/>
                  </a:lnTo>
                  <a:lnTo>
                    <a:pt x="223101" y="198831"/>
                  </a:lnTo>
                  <a:lnTo>
                    <a:pt x="223152" y="199530"/>
                  </a:lnTo>
                  <a:lnTo>
                    <a:pt x="223152" y="198831"/>
                  </a:lnTo>
                  <a:lnTo>
                    <a:pt x="223152" y="200228"/>
                  </a:lnTo>
                  <a:lnTo>
                    <a:pt x="223152" y="199530"/>
                  </a:lnTo>
                  <a:lnTo>
                    <a:pt x="223203" y="200228"/>
                  </a:lnTo>
                  <a:lnTo>
                    <a:pt x="223203" y="199530"/>
                  </a:lnTo>
                  <a:lnTo>
                    <a:pt x="223203" y="200876"/>
                  </a:lnTo>
                  <a:lnTo>
                    <a:pt x="223254" y="200228"/>
                  </a:lnTo>
                  <a:lnTo>
                    <a:pt x="223254" y="199530"/>
                  </a:lnTo>
                  <a:lnTo>
                    <a:pt x="223254" y="200228"/>
                  </a:lnTo>
                  <a:lnTo>
                    <a:pt x="223254" y="199530"/>
                  </a:lnTo>
                  <a:lnTo>
                    <a:pt x="223254" y="200228"/>
                  </a:lnTo>
                  <a:lnTo>
                    <a:pt x="223343" y="200228"/>
                  </a:lnTo>
                  <a:lnTo>
                    <a:pt x="223343" y="200876"/>
                  </a:lnTo>
                  <a:lnTo>
                    <a:pt x="223343" y="200228"/>
                  </a:lnTo>
                  <a:lnTo>
                    <a:pt x="223343" y="200876"/>
                  </a:lnTo>
                  <a:lnTo>
                    <a:pt x="223343" y="200228"/>
                  </a:lnTo>
                  <a:lnTo>
                    <a:pt x="223343" y="200876"/>
                  </a:lnTo>
                  <a:lnTo>
                    <a:pt x="223393" y="200876"/>
                  </a:lnTo>
                  <a:lnTo>
                    <a:pt x="223393" y="202260"/>
                  </a:lnTo>
                  <a:lnTo>
                    <a:pt x="223393" y="200876"/>
                  </a:lnTo>
                  <a:lnTo>
                    <a:pt x="223444" y="202260"/>
                  </a:lnTo>
                  <a:lnTo>
                    <a:pt x="223444" y="200228"/>
                  </a:lnTo>
                  <a:lnTo>
                    <a:pt x="223444" y="200876"/>
                  </a:lnTo>
                  <a:lnTo>
                    <a:pt x="223444" y="199530"/>
                  </a:lnTo>
                  <a:lnTo>
                    <a:pt x="223495" y="199530"/>
                  </a:lnTo>
                  <a:lnTo>
                    <a:pt x="223495" y="197447"/>
                  </a:lnTo>
                  <a:lnTo>
                    <a:pt x="223495" y="198831"/>
                  </a:lnTo>
                  <a:lnTo>
                    <a:pt x="223597" y="198831"/>
                  </a:lnTo>
                  <a:lnTo>
                    <a:pt x="223597" y="196113"/>
                  </a:lnTo>
                  <a:lnTo>
                    <a:pt x="223597" y="198831"/>
                  </a:lnTo>
                  <a:lnTo>
                    <a:pt x="223647" y="198831"/>
                  </a:lnTo>
                  <a:lnTo>
                    <a:pt x="223647" y="199530"/>
                  </a:lnTo>
                  <a:lnTo>
                    <a:pt x="223647" y="198831"/>
                  </a:lnTo>
                  <a:lnTo>
                    <a:pt x="223647" y="199530"/>
                  </a:lnTo>
                  <a:lnTo>
                    <a:pt x="223647" y="197447"/>
                  </a:lnTo>
                  <a:lnTo>
                    <a:pt x="223647" y="199530"/>
                  </a:lnTo>
                  <a:lnTo>
                    <a:pt x="223698" y="199530"/>
                  </a:lnTo>
                  <a:lnTo>
                    <a:pt x="223698" y="198831"/>
                  </a:lnTo>
                  <a:lnTo>
                    <a:pt x="223698" y="199530"/>
                  </a:lnTo>
                  <a:lnTo>
                    <a:pt x="223698" y="198831"/>
                  </a:lnTo>
                  <a:lnTo>
                    <a:pt x="223698" y="199530"/>
                  </a:lnTo>
                  <a:lnTo>
                    <a:pt x="223698" y="198831"/>
                  </a:lnTo>
                  <a:lnTo>
                    <a:pt x="223698" y="199530"/>
                  </a:lnTo>
                  <a:lnTo>
                    <a:pt x="223800" y="199530"/>
                  </a:lnTo>
                  <a:lnTo>
                    <a:pt x="223800" y="198831"/>
                  </a:lnTo>
                  <a:lnTo>
                    <a:pt x="223800" y="199530"/>
                  </a:lnTo>
                  <a:lnTo>
                    <a:pt x="223800" y="198831"/>
                  </a:lnTo>
                  <a:lnTo>
                    <a:pt x="223800" y="199530"/>
                  </a:lnTo>
                  <a:lnTo>
                    <a:pt x="223838" y="199530"/>
                  </a:lnTo>
                  <a:lnTo>
                    <a:pt x="223838" y="200228"/>
                  </a:lnTo>
                  <a:lnTo>
                    <a:pt x="223838" y="199530"/>
                  </a:lnTo>
                  <a:lnTo>
                    <a:pt x="223838" y="200228"/>
                  </a:lnTo>
                  <a:lnTo>
                    <a:pt x="223838" y="199530"/>
                  </a:lnTo>
                  <a:lnTo>
                    <a:pt x="223838" y="200228"/>
                  </a:lnTo>
                  <a:lnTo>
                    <a:pt x="223838" y="199530"/>
                  </a:lnTo>
                  <a:lnTo>
                    <a:pt x="223838" y="200228"/>
                  </a:lnTo>
                  <a:lnTo>
                    <a:pt x="223889" y="200228"/>
                  </a:lnTo>
                  <a:lnTo>
                    <a:pt x="223889" y="199530"/>
                  </a:lnTo>
                  <a:lnTo>
                    <a:pt x="223889" y="200228"/>
                  </a:lnTo>
                  <a:lnTo>
                    <a:pt x="223940" y="200228"/>
                  </a:lnTo>
                  <a:lnTo>
                    <a:pt x="223940" y="199530"/>
                  </a:lnTo>
                  <a:lnTo>
                    <a:pt x="223940" y="200228"/>
                  </a:lnTo>
                  <a:lnTo>
                    <a:pt x="223940" y="198831"/>
                  </a:lnTo>
                  <a:lnTo>
                    <a:pt x="224041" y="199530"/>
                  </a:lnTo>
                  <a:lnTo>
                    <a:pt x="224041" y="197447"/>
                  </a:lnTo>
                  <a:lnTo>
                    <a:pt x="224041" y="198831"/>
                  </a:lnTo>
                  <a:lnTo>
                    <a:pt x="224041" y="196799"/>
                  </a:lnTo>
                  <a:lnTo>
                    <a:pt x="224041" y="198831"/>
                  </a:lnTo>
                  <a:lnTo>
                    <a:pt x="224092" y="198831"/>
                  </a:lnTo>
                  <a:lnTo>
                    <a:pt x="224092" y="196799"/>
                  </a:lnTo>
                  <a:lnTo>
                    <a:pt x="224092" y="200228"/>
                  </a:lnTo>
                  <a:lnTo>
                    <a:pt x="224143" y="200228"/>
                  </a:lnTo>
                  <a:lnTo>
                    <a:pt x="224143" y="198831"/>
                  </a:lnTo>
                  <a:lnTo>
                    <a:pt x="224143" y="200228"/>
                  </a:lnTo>
                  <a:lnTo>
                    <a:pt x="224244" y="200228"/>
                  </a:lnTo>
                  <a:lnTo>
                    <a:pt x="224244" y="198831"/>
                  </a:lnTo>
                  <a:lnTo>
                    <a:pt x="224244" y="199530"/>
                  </a:lnTo>
                  <a:lnTo>
                    <a:pt x="224244" y="198831"/>
                  </a:lnTo>
                  <a:lnTo>
                    <a:pt x="224244" y="200876"/>
                  </a:lnTo>
                  <a:lnTo>
                    <a:pt x="224244" y="200228"/>
                  </a:lnTo>
                  <a:lnTo>
                    <a:pt x="224295" y="200228"/>
                  </a:lnTo>
                  <a:lnTo>
                    <a:pt x="224295" y="199530"/>
                  </a:lnTo>
                  <a:lnTo>
                    <a:pt x="224295" y="200228"/>
                  </a:lnTo>
                  <a:lnTo>
                    <a:pt x="224346" y="200228"/>
                  </a:lnTo>
                  <a:lnTo>
                    <a:pt x="224346" y="200876"/>
                  </a:lnTo>
                  <a:lnTo>
                    <a:pt x="224346" y="200228"/>
                  </a:lnTo>
                  <a:lnTo>
                    <a:pt x="224384" y="200228"/>
                  </a:lnTo>
                  <a:lnTo>
                    <a:pt x="224384" y="200876"/>
                  </a:lnTo>
                  <a:lnTo>
                    <a:pt x="224384" y="200228"/>
                  </a:lnTo>
                  <a:lnTo>
                    <a:pt x="224384" y="200876"/>
                  </a:lnTo>
                  <a:lnTo>
                    <a:pt x="224384" y="200228"/>
                  </a:lnTo>
                  <a:lnTo>
                    <a:pt x="224384" y="200876"/>
                  </a:lnTo>
                  <a:lnTo>
                    <a:pt x="224384" y="200228"/>
                  </a:lnTo>
                  <a:lnTo>
                    <a:pt x="224486" y="200228"/>
                  </a:lnTo>
                  <a:lnTo>
                    <a:pt x="224486" y="199530"/>
                  </a:lnTo>
                  <a:lnTo>
                    <a:pt x="224486" y="200228"/>
                  </a:lnTo>
                  <a:lnTo>
                    <a:pt x="224486" y="199530"/>
                  </a:lnTo>
                  <a:lnTo>
                    <a:pt x="224486" y="200228"/>
                  </a:lnTo>
                  <a:lnTo>
                    <a:pt x="224486" y="199530"/>
                  </a:lnTo>
                  <a:lnTo>
                    <a:pt x="224537" y="198831"/>
                  </a:lnTo>
                  <a:lnTo>
                    <a:pt x="224537" y="197447"/>
                  </a:lnTo>
                  <a:lnTo>
                    <a:pt x="224537" y="198831"/>
                  </a:lnTo>
                  <a:lnTo>
                    <a:pt x="224537" y="196799"/>
                  </a:lnTo>
                  <a:lnTo>
                    <a:pt x="224537" y="199530"/>
                  </a:lnTo>
                  <a:lnTo>
                    <a:pt x="224587" y="199530"/>
                  </a:lnTo>
                  <a:lnTo>
                    <a:pt x="224587" y="197447"/>
                  </a:lnTo>
                  <a:lnTo>
                    <a:pt x="224587" y="200228"/>
                  </a:lnTo>
                  <a:lnTo>
                    <a:pt x="224689" y="200228"/>
                  </a:lnTo>
                  <a:lnTo>
                    <a:pt x="224689" y="198831"/>
                  </a:lnTo>
                  <a:lnTo>
                    <a:pt x="224689" y="199530"/>
                  </a:lnTo>
                  <a:lnTo>
                    <a:pt x="224689" y="198831"/>
                  </a:lnTo>
                  <a:lnTo>
                    <a:pt x="224689" y="200876"/>
                  </a:lnTo>
                  <a:lnTo>
                    <a:pt x="224689" y="200228"/>
                  </a:lnTo>
                  <a:lnTo>
                    <a:pt x="224689" y="200876"/>
                  </a:lnTo>
                  <a:lnTo>
                    <a:pt x="224689" y="200228"/>
                  </a:lnTo>
                  <a:lnTo>
                    <a:pt x="224740" y="200228"/>
                  </a:lnTo>
                  <a:lnTo>
                    <a:pt x="224740" y="199530"/>
                  </a:lnTo>
                  <a:lnTo>
                    <a:pt x="224740" y="200228"/>
                  </a:lnTo>
                  <a:lnTo>
                    <a:pt x="224740" y="199530"/>
                  </a:lnTo>
                  <a:lnTo>
                    <a:pt x="224740" y="200228"/>
                  </a:lnTo>
                  <a:lnTo>
                    <a:pt x="224740" y="199530"/>
                  </a:lnTo>
                  <a:lnTo>
                    <a:pt x="224740" y="200228"/>
                  </a:lnTo>
                  <a:lnTo>
                    <a:pt x="224740" y="199530"/>
                  </a:lnTo>
                  <a:lnTo>
                    <a:pt x="224791" y="199530"/>
                  </a:lnTo>
                  <a:lnTo>
                    <a:pt x="224791" y="198831"/>
                  </a:lnTo>
                  <a:lnTo>
                    <a:pt x="224791" y="200228"/>
                  </a:lnTo>
                  <a:lnTo>
                    <a:pt x="224841" y="200228"/>
                  </a:lnTo>
                  <a:lnTo>
                    <a:pt x="224841" y="200876"/>
                  </a:lnTo>
                  <a:lnTo>
                    <a:pt x="224841" y="200228"/>
                  </a:lnTo>
                  <a:lnTo>
                    <a:pt x="224841" y="200876"/>
                  </a:lnTo>
                  <a:lnTo>
                    <a:pt x="224841" y="200228"/>
                  </a:lnTo>
                  <a:lnTo>
                    <a:pt x="224841" y="200876"/>
                  </a:lnTo>
                  <a:lnTo>
                    <a:pt x="224841" y="200228"/>
                  </a:lnTo>
                  <a:lnTo>
                    <a:pt x="224841" y="200876"/>
                  </a:lnTo>
                  <a:lnTo>
                    <a:pt x="224930" y="200228"/>
                  </a:lnTo>
                  <a:lnTo>
                    <a:pt x="224930" y="199530"/>
                  </a:lnTo>
                  <a:lnTo>
                    <a:pt x="224930" y="200228"/>
                  </a:lnTo>
                  <a:lnTo>
                    <a:pt x="224981" y="200228"/>
                  </a:lnTo>
                  <a:lnTo>
                    <a:pt x="224981" y="196799"/>
                  </a:lnTo>
                  <a:lnTo>
                    <a:pt x="225032" y="196799"/>
                  </a:lnTo>
                  <a:lnTo>
                    <a:pt x="225032" y="197447"/>
                  </a:lnTo>
                  <a:lnTo>
                    <a:pt x="225083" y="197447"/>
                  </a:lnTo>
                  <a:lnTo>
                    <a:pt x="225083" y="196799"/>
                  </a:lnTo>
                  <a:lnTo>
                    <a:pt x="225083" y="199530"/>
                  </a:lnTo>
                  <a:lnTo>
                    <a:pt x="225184" y="198831"/>
                  </a:lnTo>
                  <a:lnTo>
                    <a:pt x="225184" y="200228"/>
                  </a:lnTo>
                  <a:lnTo>
                    <a:pt x="225184" y="199530"/>
                  </a:lnTo>
                  <a:lnTo>
                    <a:pt x="225235" y="199530"/>
                  </a:lnTo>
                  <a:lnTo>
                    <a:pt x="225235" y="200228"/>
                  </a:lnTo>
                  <a:lnTo>
                    <a:pt x="225235" y="199530"/>
                  </a:lnTo>
                  <a:lnTo>
                    <a:pt x="225235" y="200228"/>
                  </a:lnTo>
                  <a:lnTo>
                    <a:pt x="225235" y="199530"/>
                  </a:lnTo>
                  <a:lnTo>
                    <a:pt x="225286" y="200228"/>
                  </a:lnTo>
                  <a:lnTo>
                    <a:pt x="225286" y="199530"/>
                  </a:lnTo>
                  <a:lnTo>
                    <a:pt x="225286" y="200876"/>
                  </a:lnTo>
                  <a:lnTo>
                    <a:pt x="225286" y="200228"/>
                  </a:lnTo>
                  <a:lnTo>
                    <a:pt x="225286" y="200876"/>
                  </a:lnTo>
                  <a:lnTo>
                    <a:pt x="225286" y="200228"/>
                  </a:lnTo>
                  <a:lnTo>
                    <a:pt x="225286" y="200876"/>
                  </a:lnTo>
                  <a:lnTo>
                    <a:pt x="225387" y="200228"/>
                  </a:lnTo>
                  <a:lnTo>
                    <a:pt x="225387" y="200876"/>
                  </a:lnTo>
                  <a:lnTo>
                    <a:pt x="225387" y="200228"/>
                  </a:lnTo>
                  <a:lnTo>
                    <a:pt x="225387" y="200876"/>
                  </a:lnTo>
                  <a:lnTo>
                    <a:pt x="225387" y="200228"/>
                  </a:lnTo>
                  <a:lnTo>
                    <a:pt x="225426" y="200228"/>
                  </a:lnTo>
                  <a:lnTo>
                    <a:pt x="225426" y="199530"/>
                  </a:lnTo>
                  <a:lnTo>
                    <a:pt x="225426" y="200228"/>
                  </a:lnTo>
                  <a:lnTo>
                    <a:pt x="225426" y="199530"/>
                  </a:lnTo>
                  <a:lnTo>
                    <a:pt x="225426" y="200228"/>
                  </a:lnTo>
                  <a:lnTo>
                    <a:pt x="225426" y="199530"/>
                  </a:lnTo>
                  <a:lnTo>
                    <a:pt x="225476" y="199530"/>
                  </a:lnTo>
                  <a:lnTo>
                    <a:pt x="225476" y="200228"/>
                  </a:lnTo>
                  <a:lnTo>
                    <a:pt x="225476" y="197447"/>
                  </a:lnTo>
                  <a:lnTo>
                    <a:pt x="225527" y="196799"/>
                  </a:lnTo>
                  <a:lnTo>
                    <a:pt x="225527" y="199530"/>
                  </a:lnTo>
                  <a:lnTo>
                    <a:pt x="225527" y="197447"/>
                  </a:lnTo>
                  <a:lnTo>
                    <a:pt x="225629" y="198831"/>
                  </a:lnTo>
                  <a:lnTo>
                    <a:pt x="225629" y="200876"/>
                  </a:lnTo>
                  <a:lnTo>
                    <a:pt x="225629" y="199530"/>
                  </a:lnTo>
                  <a:lnTo>
                    <a:pt x="225629" y="200228"/>
                  </a:lnTo>
                  <a:lnTo>
                    <a:pt x="225629" y="199530"/>
                  </a:lnTo>
                  <a:lnTo>
                    <a:pt x="225680" y="199530"/>
                  </a:lnTo>
                  <a:lnTo>
                    <a:pt x="225680" y="200228"/>
                  </a:lnTo>
                  <a:lnTo>
                    <a:pt x="225680" y="199530"/>
                  </a:lnTo>
                  <a:lnTo>
                    <a:pt x="225680" y="200228"/>
                  </a:lnTo>
                  <a:lnTo>
                    <a:pt x="225730" y="200228"/>
                  </a:lnTo>
                  <a:lnTo>
                    <a:pt x="225730" y="199530"/>
                  </a:lnTo>
                  <a:lnTo>
                    <a:pt x="225730" y="200228"/>
                  </a:lnTo>
                  <a:lnTo>
                    <a:pt x="225730" y="199530"/>
                  </a:lnTo>
                  <a:lnTo>
                    <a:pt x="225730" y="200228"/>
                  </a:lnTo>
                  <a:lnTo>
                    <a:pt x="225832" y="200228"/>
                  </a:lnTo>
                  <a:lnTo>
                    <a:pt x="225832" y="200876"/>
                  </a:lnTo>
                  <a:lnTo>
                    <a:pt x="225883" y="200876"/>
                  </a:lnTo>
                  <a:lnTo>
                    <a:pt x="225883" y="200228"/>
                  </a:lnTo>
                  <a:lnTo>
                    <a:pt x="225883" y="200876"/>
                  </a:lnTo>
                  <a:lnTo>
                    <a:pt x="225883" y="200228"/>
                  </a:lnTo>
                  <a:lnTo>
                    <a:pt x="225883" y="200876"/>
                  </a:lnTo>
                  <a:lnTo>
                    <a:pt x="225933" y="200876"/>
                  </a:lnTo>
                  <a:lnTo>
                    <a:pt x="225933" y="198831"/>
                  </a:lnTo>
                  <a:lnTo>
                    <a:pt x="225972" y="198831"/>
                  </a:lnTo>
                  <a:lnTo>
                    <a:pt x="225972" y="196113"/>
                  </a:lnTo>
                  <a:lnTo>
                    <a:pt x="226073" y="196799"/>
                  </a:lnTo>
                  <a:lnTo>
                    <a:pt x="226073" y="197447"/>
                  </a:lnTo>
                  <a:lnTo>
                    <a:pt x="226073" y="196799"/>
                  </a:lnTo>
                  <a:lnTo>
                    <a:pt x="226073" y="198831"/>
                  </a:lnTo>
                  <a:lnTo>
                    <a:pt x="226073" y="196799"/>
                  </a:lnTo>
                  <a:lnTo>
                    <a:pt x="226073" y="197447"/>
                  </a:lnTo>
                  <a:lnTo>
                    <a:pt x="226073" y="196799"/>
                  </a:lnTo>
                  <a:lnTo>
                    <a:pt x="226124" y="196799"/>
                  </a:lnTo>
                  <a:lnTo>
                    <a:pt x="226124" y="199530"/>
                  </a:lnTo>
                  <a:lnTo>
                    <a:pt x="226124" y="198831"/>
                  </a:lnTo>
                  <a:lnTo>
                    <a:pt x="226175" y="199530"/>
                  </a:lnTo>
                  <a:lnTo>
                    <a:pt x="226175" y="200228"/>
                  </a:lnTo>
                  <a:lnTo>
                    <a:pt x="226175" y="199530"/>
                  </a:lnTo>
                  <a:lnTo>
                    <a:pt x="226175" y="200228"/>
                  </a:lnTo>
                  <a:lnTo>
                    <a:pt x="226175" y="199530"/>
                  </a:lnTo>
                  <a:lnTo>
                    <a:pt x="226276" y="199530"/>
                  </a:lnTo>
                  <a:lnTo>
                    <a:pt x="226276" y="200228"/>
                  </a:lnTo>
                  <a:lnTo>
                    <a:pt x="226276" y="199530"/>
                  </a:lnTo>
                  <a:lnTo>
                    <a:pt x="226276" y="200228"/>
                  </a:lnTo>
                  <a:lnTo>
                    <a:pt x="226327" y="200228"/>
                  </a:lnTo>
                  <a:lnTo>
                    <a:pt x="226327" y="200876"/>
                  </a:lnTo>
                  <a:lnTo>
                    <a:pt x="226327" y="200228"/>
                  </a:lnTo>
                  <a:lnTo>
                    <a:pt x="226327" y="200876"/>
                  </a:lnTo>
                  <a:lnTo>
                    <a:pt x="226327" y="200228"/>
                  </a:lnTo>
                  <a:lnTo>
                    <a:pt x="226327" y="200876"/>
                  </a:lnTo>
                  <a:lnTo>
                    <a:pt x="226378" y="200876"/>
                  </a:lnTo>
                  <a:lnTo>
                    <a:pt x="226378" y="200228"/>
                  </a:lnTo>
                  <a:lnTo>
                    <a:pt x="226378" y="200876"/>
                  </a:lnTo>
                  <a:lnTo>
                    <a:pt x="226378" y="200228"/>
                  </a:lnTo>
                  <a:lnTo>
                    <a:pt x="226378" y="200876"/>
                  </a:lnTo>
                  <a:lnTo>
                    <a:pt x="226429" y="200876"/>
                  </a:lnTo>
                  <a:lnTo>
                    <a:pt x="226429" y="200228"/>
                  </a:lnTo>
                  <a:lnTo>
                    <a:pt x="226429" y="200876"/>
                  </a:lnTo>
                  <a:lnTo>
                    <a:pt x="226429" y="199530"/>
                  </a:lnTo>
                  <a:lnTo>
                    <a:pt x="226429" y="200228"/>
                  </a:lnTo>
                  <a:lnTo>
                    <a:pt x="226429" y="198831"/>
                  </a:lnTo>
                  <a:lnTo>
                    <a:pt x="226518" y="198831"/>
                  </a:lnTo>
                  <a:lnTo>
                    <a:pt x="226518" y="199530"/>
                  </a:lnTo>
                  <a:lnTo>
                    <a:pt x="226518" y="197447"/>
                  </a:lnTo>
                  <a:lnTo>
                    <a:pt x="226518" y="198831"/>
                  </a:lnTo>
                  <a:lnTo>
                    <a:pt x="226518" y="196799"/>
                  </a:lnTo>
                  <a:lnTo>
                    <a:pt x="226568" y="197447"/>
                  </a:lnTo>
                  <a:lnTo>
                    <a:pt x="226568" y="198831"/>
                  </a:lnTo>
                  <a:lnTo>
                    <a:pt x="226568" y="196799"/>
                  </a:lnTo>
                  <a:lnTo>
                    <a:pt x="226568" y="197447"/>
                  </a:lnTo>
                  <a:lnTo>
                    <a:pt x="226568" y="196799"/>
                  </a:lnTo>
                  <a:lnTo>
                    <a:pt x="226568" y="197447"/>
                  </a:lnTo>
                  <a:lnTo>
                    <a:pt x="226619" y="198831"/>
                  </a:lnTo>
                  <a:lnTo>
                    <a:pt x="226619" y="200228"/>
                  </a:lnTo>
                  <a:lnTo>
                    <a:pt x="226619" y="197447"/>
                  </a:lnTo>
                  <a:lnTo>
                    <a:pt x="226619" y="198831"/>
                  </a:lnTo>
                  <a:lnTo>
                    <a:pt x="226619" y="197447"/>
                  </a:lnTo>
                  <a:lnTo>
                    <a:pt x="226619" y="198831"/>
                  </a:lnTo>
                  <a:lnTo>
                    <a:pt x="226670" y="198831"/>
                  </a:lnTo>
                  <a:lnTo>
                    <a:pt x="226670" y="199530"/>
                  </a:lnTo>
                  <a:lnTo>
                    <a:pt x="226670" y="197447"/>
                  </a:lnTo>
                  <a:lnTo>
                    <a:pt x="226670" y="198831"/>
                  </a:lnTo>
                  <a:lnTo>
                    <a:pt x="226772" y="198831"/>
                  </a:lnTo>
                  <a:lnTo>
                    <a:pt x="226772" y="197447"/>
                  </a:lnTo>
                  <a:lnTo>
                    <a:pt x="226772" y="199530"/>
                  </a:lnTo>
                  <a:lnTo>
                    <a:pt x="226822" y="199530"/>
                  </a:lnTo>
                  <a:lnTo>
                    <a:pt x="226822" y="200228"/>
                  </a:lnTo>
                  <a:lnTo>
                    <a:pt x="226822" y="199530"/>
                  </a:lnTo>
                  <a:lnTo>
                    <a:pt x="226822" y="200228"/>
                  </a:lnTo>
                  <a:lnTo>
                    <a:pt x="226873" y="200228"/>
                  </a:lnTo>
                  <a:lnTo>
                    <a:pt x="226873" y="199530"/>
                  </a:lnTo>
                  <a:lnTo>
                    <a:pt x="226873" y="200228"/>
                  </a:lnTo>
                  <a:lnTo>
                    <a:pt x="226873" y="199530"/>
                  </a:lnTo>
                  <a:lnTo>
                    <a:pt x="226975" y="199530"/>
                  </a:lnTo>
                  <a:lnTo>
                    <a:pt x="226975" y="198831"/>
                  </a:lnTo>
                  <a:lnTo>
                    <a:pt x="227013" y="198831"/>
                  </a:lnTo>
                  <a:lnTo>
                    <a:pt x="227013" y="197447"/>
                  </a:lnTo>
                  <a:lnTo>
                    <a:pt x="227013" y="200228"/>
                  </a:lnTo>
                  <a:lnTo>
                    <a:pt x="227013" y="199530"/>
                  </a:lnTo>
                  <a:lnTo>
                    <a:pt x="227064" y="198831"/>
                  </a:lnTo>
                  <a:lnTo>
                    <a:pt x="227064" y="197447"/>
                  </a:lnTo>
                  <a:lnTo>
                    <a:pt x="227064" y="200876"/>
                  </a:lnTo>
                  <a:lnTo>
                    <a:pt x="227064" y="200228"/>
                  </a:lnTo>
                  <a:lnTo>
                    <a:pt x="227115" y="199530"/>
                  </a:lnTo>
                  <a:lnTo>
                    <a:pt x="227115" y="200876"/>
                  </a:lnTo>
                  <a:lnTo>
                    <a:pt x="227115" y="200228"/>
                  </a:lnTo>
                  <a:lnTo>
                    <a:pt x="227216" y="200228"/>
                  </a:lnTo>
                  <a:lnTo>
                    <a:pt x="227216" y="200876"/>
                  </a:lnTo>
                  <a:lnTo>
                    <a:pt x="227216" y="200228"/>
                  </a:lnTo>
                  <a:lnTo>
                    <a:pt x="227267" y="200228"/>
                  </a:lnTo>
                  <a:lnTo>
                    <a:pt x="227267" y="200876"/>
                  </a:lnTo>
                  <a:lnTo>
                    <a:pt x="227267" y="200228"/>
                  </a:lnTo>
                  <a:lnTo>
                    <a:pt x="227267" y="200876"/>
                  </a:lnTo>
                  <a:lnTo>
                    <a:pt x="227267" y="200228"/>
                  </a:lnTo>
                  <a:lnTo>
                    <a:pt x="227318" y="200228"/>
                  </a:lnTo>
                  <a:lnTo>
                    <a:pt x="227318" y="202260"/>
                  </a:lnTo>
                  <a:lnTo>
                    <a:pt x="227318" y="200228"/>
                  </a:lnTo>
                  <a:lnTo>
                    <a:pt x="227318" y="200876"/>
                  </a:lnTo>
                  <a:lnTo>
                    <a:pt x="227318" y="200228"/>
                  </a:lnTo>
                  <a:lnTo>
                    <a:pt x="227318" y="200876"/>
                  </a:lnTo>
                  <a:lnTo>
                    <a:pt x="227318" y="200228"/>
                  </a:lnTo>
                  <a:lnTo>
                    <a:pt x="227419" y="200228"/>
                  </a:lnTo>
                  <a:lnTo>
                    <a:pt x="227419" y="200876"/>
                  </a:lnTo>
                  <a:lnTo>
                    <a:pt x="227419" y="200228"/>
                  </a:lnTo>
                  <a:lnTo>
                    <a:pt x="227419" y="200876"/>
                  </a:lnTo>
                  <a:lnTo>
                    <a:pt x="227419" y="200228"/>
                  </a:lnTo>
                  <a:lnTo>
                    <a:pt x="227470" y="199530"/>
                  </a:lnTo>
                  <a:lnTo>
                    <a:pt x="227470" y="198831"/>
                  </a:lnTo>
                  <a:lnTo>
                    <a:pt x="227470" y="199530"/>
                  </a:lnTo>
                  <a:lnTo>
                    <a:pt x="227470" y="197447"/>
                  </a:lnTo>
                  <a:lnTo>
                    <a:pt x="227521" y="197447"/>
                  </a:lnTo>
                  <a:lnTo>
                    <a:pt x="227521" y="198831"/>
                  </a:lnTo>
                  <a:lnTo>
                    <a:pt x="227521" y="197447"/>
                  </a:lnTo>
                  <a:lnTo>
                    <a:pt x="227521" y="200228"/>
                  </a:lnTo>
                  <a:lnTo>
                    <a:pt x="227521" y="198831"/>
                  </a:lnTo>
                  <a:lnTo>
                    <a:pt x="227559" y="199530"/>
                  </a:lnTo>
                  <a:lnTo>
                    <a:pt x="227559" y="198831"/>
                  </a:lnTo>
                  <a:lnTo>
                    <a:pt x="227559" y="202260"/>
                  </a:lnTo>
                  <a:lnTo>
                    <a:pt x="227559" y="200228"/>
                  </a:lnTo>
                  <a:lnTo>
                    <a:pt x="227661" y="200228"/>
                  </a:lnTo>
                  <a:lnTo>
                    <a:pt x="227661" y="199530"/>
                  </a:lnTo>
                  <a:lnTo>
                    <a:pt x="227661" y="200876"/>
                  </a:lnTo>
                  <a:lnTo>
                    <a:pt x="227661" y="200228"/>
                  </a:lnTo>
                  <a:lnTo>
                    <a:pt x="227661" y="200876"/>
                  </a:lnTo>
                  <a:lnTo>
                    <a:pt x="227661" y="200228"/>
                  </a:lnTo>
                  <a:lnTo>
                    <a:pt x="227712" y="200228"/>
                  </a:lnTo>
                  <a:lnTo>
                    <a:pt x="227712" y="200876"/>
                  </a:lnTo>
                  <a:lnTo>
                    <a:pt x="227712" y="200228"/>
                  </a:lnTo>
                  <a:lnTo>
                    <a:pt x="227712" y="200876"/>
                  </a:lnTo>
                  <a:lnTo>
                    <a:pt x="227864" y="200876"/>
                  </a:lnTo>
                  <a:lnTo>
                    <a:pt x="227864" y="202260"/>
                  </a:lnTo>
                  <a:lnTo>
                    <a:pt x="227864" y="200876"/>
                  </a:lnTo>
                  <a:lnTo>
                    <a:pt x="227864" y="202260"/>
                  </a:lnTo>
                  <a:lnTo>
                    <a:pt x="227864" y="200876"/>
                  </a:lnTo>
                  <a:lnTo>
                    <a:pt x="227864" y="202260"/>
                  </a:lnTo>
                  <a:lnTo>
                    <a:pt x="227864" y="200876"/>
                  </a:lnTo>
                  <a:lnTo>
                    <a:pt x="227915" y="200876"/>
                  </a:lnTo>
                  <a:lnTo>
                    <a:pt x="227915" y="199530"/>
                  </a:lnTo>
                  <a:lnTo>
                    <a:pt x="227915" y="200228"/>
                  </a:lnTo>
                  <a:lnTo>
                    <a:pt x="227915" y="199530"/>
                  </a:lnTo>
                  <a:lnTo>
                    <a:pt x="227966" y="199530"/>
                  </a:lnTo>
                  <a:lnTo>
                    <a:pt x="227966" y="198831"/>
                  </a:lnTo>
                  <a:lnTo>
                    <a:pt x="227966" y="199530"/>
                  </a:lnTo>
                  <a:lnTo>
                    <a:pt x="227966" y="196799"/>
                  </a:lnTo>
                  <a:lnTo>
                    <a:pt x="228016" y="197447"/>
                  </a:lnTo>
                  <a:lnTo>
                    <a:pt x="228016" y="196113"/>
                  </a:lnTo>
                  <a:lnTo>
                    <a:pt x="228016" y="198831"/>
                  </a:lnTo>
                  <a:lnTo>
                    <a:pt x="228016" y="197447"/>
                  </a:lnTo>
                  <a:lnTo>
                    <a:pt x="228105" y="197447"/>
                  </a:lnTo>
                  <a:lnTo>
                    <a:pt x="228105" y="196799"/>
                  </a:lnTo>
                  <a:lnTo>
                    <a:pt x="228105" y="200228"/>
                  </a:lnTo>
                  <a:lnTo>
                    <a:pt x="228105" y="199530"/>
                  </a:lnTo>
                  <a:lnTo>
                    <a:pt x="228105" y="200228"/>
                  </a:lnTo>
                  <a:lnTo>
                    <a:pt x="228105" y="198831"/>
                  </a:lnTo>
                  <a:lnTo>
                    <a:pt x="228156" y="198831"/>
                  </a:lnTo>
                  <a:lnTo>
                    <a:pt x="228156" y="200228"/>
                  </a:lnTo>
                  <a:lnTo>
                    <a:pt x="228156" y="199530"/>
                  </a:lnTo>
                  <a:lnTo>
                    <a:pt x="228207" y="199530"/>
                  </a:lnTo>
                  <a:lnTo>
                    <a:pt x="228207" y="200876"/>
                  </a:lnTo>
                  <a:lnTo>
                    <a:pt x="228207" y="200228"/>
                  </a:lnTo>
                  <a:lnTo>
                    <a:pt x="228207" y="200876"/>
                  </a:lnTo>
                  <a:lnTo>
                    <a:pt x="228207" y="200228"/>
                  </a:lnTo>
                  <a:lnTo>
                    <a:pt x="228258" y="200228"/>
                  </a:lnTo>
                  <a:lnTo>
                    <a:pt x="228258" y="202260"/>
                  </a:lnTo>
                  <a:lnTo>
                    <a:pt x="228359" y="202260"/>
                  </a:lnTo>
                  <a:lnTo>
                    <a:pt x="228359" y="200876"/>
                  </a:lnTo>
                  <a:lnTo>
                    <a:pt x="228410" y="200876"/>
                  </a:lnTo>
                  <a:lnTo>
                    <a:pt x="228410" y="200228"/>
                  </a:lnTo>
                  <a:lnTo>
                    <a:pt x="228410" y="200876"/>
                  </a:lnTo>
                  <a:lnTo>
                    <a:pt x="228410" y="199530"/>
                  </a:lnTo>
                  <a:lnTo>
                    <a:pt x="228410" y="200228"/>
                  </a:lnTo>
                  <a:lnTo>
                    <a:pt x="228410" y="199530"/>
                  </a:lnTo>
                  <a:lnTo>
                    <a:pt x="228410" y="200228"/>
                  </a:lnTo>
                  <a:lnTo>
                    <a:pt x="228410" y="199530"/>
                  </a:lnTo>
                  <a:lnTo>
                    <a:pt x="228461" y="199530"/>
                  </a:lnTo>
                  <a:lnTo>
                    <a:pt x="228461" y="200228"/>
                  </a:lnTo>
                  <a:lnTo>
                    <a:pt x="228461" y="198831"/>
                  </a:lnTo>
                  <a:lnTo>
                    <a:pt x="228461" y="199530"/>
                  </a:lnTo>
                  <a:lnTo>
                    <a:pt x="228461" y="197447"/>
                  </a:lnTo>
                  <a:lnTo>
                    <a:pt x="228562" y="197447"/>
                  </a:lnTo>
                  <a:lnTo>
                    <a:pt x="228562" y="196799"/>
                  </a:lnTo>
                  <a:lnTo>
                    <a:pt x="228562" y="199530"/>
                  </a:lnTo>
                  <a:lnTo>
                    <a:pt x="228562" y="196799"/>
                  </a:lnTo>
                  <a:lnTo>
                    <a:pt x="228601" y="196799"/>
                  </a:lnTo>
                  <a:lnTo>
                    <a:pt x="228601" y="200228"/>
                  </a:lnTo>
                  <a:lnTo>
                    <a:pt x="228601" y="199530"/>
                  </a:lnTo>
                  <a:lnTo>
                    <a:pt x="228601" y="200228"/>
                  </a:lnTo>
                  <a:lnTo>
                    <a:pt x="228601" y="197447"/>
                  </a:lnTo>
                  <a:lnTo>
                    <a:pt x="228601" y="198831"/>
                  </a:lnTo>
                  <a:lnTo>
                    <a:pt x="228601" y="197447"/>
                  </a:lnTo>
                  <a:lnTo>
                    <a:pt x="228651" y="198831"/>
                  </a:lnTo>
                  <a:lnTo>
                    <a:pt x="228651" y="200228"/>
                  </a:lnTo>
                  <a:lnTo>
                    <a:pt x="228651" y="199530"/>
                  </a:lnTo>
                  <a:lnTo>
                    <a:pt x="228702" y="199530"/>
                  </a:lnTo>
                  <a:lnTo>
                    <a:pt x="228702" y="200228"/>
                  </a:lnTo>
                  <a:lnTo>
                    <a:pt x="228804" y="200228"/>
                  </a:lnTo>
                  <a:lnTo>
                    <a:pt x="228804" y="200876"/>
                  </a:lnTo>
                  <a:lnTo>
                    <a:pt x="228804" y="200228"/>
                  </a:lnTo>
                  <a:lnTo>
                    <a:pt x="228804" y="200876"/>
                  </a:lnTo>
                  <a:lnTo>
                    <a:pt x="228855" y="200876"/>
                  </a:lnTo>
                  <a:lnTo>
                    <a:pt x="228855" y="200228"/>
                  </a:lnTo>
                  <a:lnTo>
                    <a:pt x="228905" y="200228"/>
                  </a:lnTo>
                  <a:lnTo>
                    <a:pt x="228905" y="200876"/>
                  </a:lnTo>
                  <a:lnTo>
                    <a:pt x="228905" y="199530"/>
                  </a:lnTo>
                  <a:lnTo>
                    <a:pt x="229007" y="199530"/>
                  </a:lnTo>
                  <a:lnTo>
                    <a:pt x="229007" y="200228"/>
                  </a:lnTo>
                  <a:lnTo>
                    <a:pt x="229007" y="196799"/>
                  </a:lnTo>
                  <a:lnTo>
                    <a:pt x="229058" y="196799"/>
                  </a:lnTo>
                  <a:lnTo>
                    <a:pt x="229058" y="198831"/>
                  </a:lnTo>
                  <a:lnTo>
                    <a:pt x="229058" y="196113"/>
                  </a:lnTo>
                  <a:lnTo>
                    <a:pt x="229058" y="196799"/>
                  </a:lnTo>
                  <a:lnTo>
                    <a:pt x="229108" y="196113"/>
                  </a:lnTo>
                  <a:lnTo>
                    <a:pt x="229108" y="199530"/>
                  </a:lnTo>
                  <a:lnTo>
                    <a:pt x="229108" y="197447"/>
                  </a:lnTo>
                  <a:lnTo>
                    <a:pt x="229147" y="197447"/>
                  </a:lnTo>
                  <a:lnTo>
                    <a:pt x="229147" y="199530"/>
                  </a:lnTo>
                  <a:lnTo>
                    <a:pt x="229147" y="198831"/>
                  </a:lnTo>
                  <a:lnTo>
                    <a:pt x="229147" y="199530"/>
                  </a:lnTo>
                  <a:lnTo>
                    <a:pt x="229147" y="198831"/>
                  </a:lnTo>
                  <a:lnTo>
                    <a:pt x="229248" y="198831"/>
                  </a:lnTo>
                  <a:lnTo>
                    <a:pt x="229248" y="200228"/>
                  </a:lnTo>
                  <a:lnTo>
                    <a:pt x="229248" y="199530"/>
                  </a:lnTo>
                  <a:lnTo>
                    <a:pt x="229248" y="200228"/>
                  </a:lnTo>
                  <a:lnTo>
                    <a:pt x="229248" y="199530"/>
                  </a:lnTo>
                  <a:lnTo>
                    <a:pt x="229248" y="200228"/>
                  </a:lnTo>
                  <a:lnTo>
                    <a:pt x="229350" y="200228"/>
                  </a:lnTo>
                  <a:lnTo>
                    <a:pt x="229350" y="200876"/>
                  </a:lnTo>
                  <a:lnTo>
                    <a:pt x="229350" y="200228"/>
                  </a:lnTo>
                  <a:lnTo>
                    <a:pt x="229350" y="200876"/>
                  </a:lnTo>
                  <a:lnTo>
                    <a:pt x="229350" y="199530"/>
                  </a:lnTo>
                  <a:lnTo>
                    <a:pt x="229350" y="200228"/>
                  </a:lnTo>
                  <a:lnTo>
                    <a:pt x="229451" y="200228"/>
                  </a:lnTo>
                  <a:lnTo>
                    <a:pt x="229451" y="199530"/>
                  </a:lnTo>
                  <a:lnTo>
                    <a:pt x="229451" y="200228"/>
                  </a:lnTo>
                  <a:lnTo>
                    <a:pt x="229451" y="199530"/>
                  </a:lnTo>
                  <a:lnTo>
                    <a:pt x="229451" y="200228"/>
                  </a:lnTo>
                  <a:lnTo>
                    <a:pt x="229451" y="199530"/>
                  </a:lnTo>
                  <a:lnTo>
                    <a:pt x="229502" y="199530"/>
                  </a:lnTo>
                  <a:lnTo>
                    <a:pt x="229502" y="200228"/>
                  </a:lnTo>
                  <a:lnTo>
                    <a:pt x="229502" y="197447"/>
                  </a:lnTo>
                  <a:lnTo>
                    <a:pt x="229553" y="197447"/>
                  </a:lnTo>
                  <a:lnTo>
                    <a:pt x="229553" y="196113"/>
                  </a:lnTo>
                  <a:lnTo>
                    <a:pt x="229553" y="196799"/>
                  </a:lnTo>
                  <a:lnTo>
                    <a:pt x="229604" y="196799"/>
                  </a:lnTo>
                  <a:lnTo>
                    <a:pt x="229604" y="199530"/>
                  </a:lnTo>
                  <a:lnTo>
                    <a:pt x="229604" y="196799"/>
                  </a:lnTo>
                  <a:lnTo>
                    <a:pt x="229604" y="197447"/>
                  </a:lnTo>
                  <a:lnTo>
                    <a:pt x="229693" y="198831"/>
                  </a:lnTo>
                  <a:lnTo>
                    <a:pt x="229693" y="199530"/>
                  </a:lnTo>
                  <a:lnTo>
                    <a:pt x="229693" y="198831"/>
                  </a:lnTo>
                  <a:lnTo>
                    <a:pt x="229693" y="199530"/>
                  </a:lnTo>
                  <a:lnTo>
                    <a:pt x="229693" y="197447"/>
                  </a:lnTo>
                  <a:lnTo>
                    <a:pt x="229693" y="198831"/>
                  </a:lnTo>
                  <a:lnTo>
                    <a:pt x="229743" y="198831"/>
                  </a:lnTo>
                  <a:lnTo>
                    <a:pt x="229743" y="199530"/>
                  </a:lnTo>
                  <a:lnTo>
                    <a:pt x="229743" y="198831"/>
                  </a:lnTo>
                  <a:lnTo>
                    <a:pt x="229743" y="199530"/>
                  </a:lnTo>
                  <a:lnTo>
                    <a:pt x="229743" y="198831"/>
                  </a:lnTo>
                  <a:lnTo>
                    <a:pt x="229794" y="199530"/>
                  </a:lnTo>
                  <a:lnTo>
                    <a:pt x="229794" y="198831"/>
                  </a:lnTo>
                  <a:lnTo>
                    <a:pt x="229794" y="199530"/>
                  </a:lnTo>
                  <a:lnTo>
                    <a:pt x="229845" y="199530"/>
                  </a:lnTo>
                  <a:lnTo>
                    <a:pt x="229845" y="200228"/>
                  </a:lnTo>
                  <a:lnTo>
                    <a:pt x="229845" y="199530"/>
                  </a:lnTo>
                  <a:lnTo>
                    <a:pt x="229845" y="200228"/>
                  </a:lnTo>
                  <a:lnTo>
                    <a:pt x="229845" y="199530"/>
                  </a:lnTo>
                  <a:lnTo>
                    <a:pt x="229845" y="200228"/>
                  </a:lnTo>
                  <a:lnTo>
                    <a:pt x="229845" y="199530"/>
                  </a:lnTo>
                  <a:lnTo>
                    <a:pt x="229845" y="200228"/>
                  </a:lnTo>
                  <a:lnTo>
                    <a:pt x="229845" y="199530"/>
                  </a:lnTo>
                  <a:lnTo>
                    <a:pt x="229845" y="200228"/>
                  </a:lnTo>
                  <a:lnTo>
                    <a:pt x="229845" y="199530"/>
                  </a:lnTo>
                  <a:lnTo>
                    <a:pt x="229947" y="199530"/>
                  </a:lnTo>
                  <a:lnTo>
                    <a:pt x="229947" y="200228"/>
                  </a:lnTo>
                  <a:lnTo>
                    <a:pt x="229947" y="199530"/>
                  </a:lnTo>
                  <a:lnTo>
                    <a:pt x="229947" y="200228"/>
                  </a:lnTo>
                  <a:lnTo>
                    <a:pt x="229947" y="199530"/>
                  </a:lnTo>
                  <a:lnTo>
                    <a:pt x="229947" y="200228"/>
                  </a:lnTo>
                  <a:lnTo>
                    <a:pt x="229997" y="199530"/>
                  </a:lnTo>
                  <a:lnTo>
                    <a:pt x="229997" y="198831"/>
                  </a:lnTo>
                  <a:lnTo>
                    <a:pt x="229997" y="199530"/>
                  </a:lnTo>
                  <a:lnTo>
                    <a:pt x="229997" y="198831"/>
                  </a:lnTo>
                  <a:lnTo>
                    <a:pt x="229997" y="199530"/>
                  </a:lnTo>
                  <a:lnTo>
                    <a:pt x="229997" y="198831"/>
                  </a:lnTo>
                  <a:lnTo>
                    <a:pt x="229997" y="199530"/>
                  </a:lnTo>
                  <a:lnTo>
                    <a:pt x="230048" y="199530"/>
                  </a:lnTo>
                  <a:lnTo>
                    <a:pt x="230048" y="197447"/>
                  </a:lnTo>
                  <a:lnTo>
                    <a:pt x="230048" y="200228"/>
                  </a:lnTo>
                  <a:lnTo>
                    <a:pt x="230150" y="200228"/>
                  </a:lnTo>
                  <a:lnTo>
                    <a:pt x="230150" y="199530"/>
                  </a:lnTo>
                  <a:lnTo>
                    <a:pt x="230150" y="200876"/>
                  </a:lnTo>
                  <a:lnTo>
                    <a:pt x="230150" y="200228"/>
                  </a:lnTo>
                  <a:lnTo>
                    <a:pt x="230150" y="200876"/>
                  </a:lnTo>
                  <a:lnTo>
                    <a:pt x="230150" y="200228"/>
                  </a:lnTo>
                  <a:lnTo>
                    <a:pt x="230188" y="200228"/>
                  </a:lnTo>
                  <a:lnTo>
                    <a:pt x="230188" y="200876"/>
                  </a:lnTo>
                  <a:lnTo>
                    <a:pt x="230239" y="200876"/>
                  </a:lnTo>
                  <a:lnTo>
                    <a:pt x="230239" y="200228"/>
                  </a:lnTo>
                  <a:lnTo>
                    <a:pt x="230239" y="200876"/>
                  </a:lnTo>
                  <a:lnTo>
                    <a:pt x="230239" y="200228"/>
                  </a:lnTo>
                  <a:lnTo>
                    <a:pt x="230239" y="200876"/>
                  </a:lnTo>
                  <a:lnTo>
                    <a:pt x="230290" y="200876"/>
                  </a:lnTo>
                  <a:lnTo>
                    <a:pt x="230290" y="200228"/>
                  </a:lnTo>
                  <a:lnTo>
                    <a:pt x="230290" y="202260"/>
                  </a:lnTo>
                  <a:lnTo>
                    <a:pt x="230290" y="200228"/>
                  </a:lnTo>
                  <a:lnTo>
                    <a:pt x="230391" y="200228"/>
                  </a:lnTo>
                  <a:lnTo>
                    <a:pt x="230391" y="200876"/>
                  </a:lnTo>
                  <a:lnTo>
                    <a:pt x="230391" y="200228"/>
                  </a:lnTo>
                  <a:lnTo>
                    <a:pt x="230391" y="200876"/>
                  </a:lnTo>
                  <a:lnTo>
                    <a:pt x="230391" y="200228"/>
                  </a:lnTo>
                  <a:lnTo>
                    <a:pt x="230391" y="200876"/>
                  </a:lnTo>
                  <a:lnTo>
                    <a:pt x="230391" y="200228"/>
                  </a:lnTo>
                  <a:lnTo>
                    <a:pt x="230442" y="200228"/>
                  </a:lnTo>
                  <a:lnTo>
                    <a:pt x="230442" y="200876"/>
                  </a:lnTo>
                  <a:lnTo>
                    <a:pt x="230442" y="200228"/>
                  </a:lnTo>
                  <a:lnTo>
                    <a:pt x="230442" y="200876"/>
                  </a:lnTo>
                  <a:lnTo>
                    <a:pt x="230442" y="198831"/>
                  </a:lnTo>
                  <a:lnTo>
                    <a:pt x="230493" y="198831"/>
                  </a:lnTo>
                  <a:lnTo>
                    <a:pt x="230493" y="199530"/>
                  </a:lnTo>
                  <a:lnTo>
                    <a:pt x="230493" y="198831"/>
                  </a:lnTo>
                  <a:lnTo>
                    <a:pt x="230493" y="200228"/>
                  </a:lnTo>
                  <a:lnTo>
                    <a:pt x="230493" y="199530"/>
                  </a:lnTo>
                  <a:lnTo>
                    <a:pt x="230594" y="199530"/>
                  </a:lnTo>
                  <a:lnTo>
                    <a:pt x="230594" y="198831"/>
                  </a:lnTo>
                  <a:lnTo>
                    <a:pt x="230594" y="202260"/>
                  </a:lnTo>
                  <a:lnTo>
                    <a:pt x="230594" y="200876"/>
                  </a:lnTo>
                  <a:lnTo>
                    <a:pt x="230645" y="200876"/>
                  </a:lnTo>
                  <a:lnTo>
                    <a:pt x="230645" y="200228"/>
                  </a:lnTo>
                  <a:lnTo>
                    <a:pt x="230645" y="202260"/>
                  </a:lnTo>
                  <a:lnTo>
                    <a:pt x="230645" y="200876"/>
                  </a:lnTo>
                  <a:lnTo>
                    <a:pt x="230696" y="200876"/>
                  </a:lnTo>
                  <a:lnTo>
                    <a:pt x="230696" y="202260"/>
                  </a:lnTo>
                  <a:lnTo>
                    <a:pt x="230696" y="200876"/>
                  </a:lnTo>
                  <a:lnTo>
                    <a:pt x="230696" y="202260"/>
                  </a:lnTo>
                  <a:lnTo>
                    <a:pt x="230696" y="200876"/>
                  </a:lnTo>
                  <a:lnTo>
                    <a:pt x="230696" y="202260"/>
                  </a:lnTo>
                  <a:lnTo>
                    <a:pt x="230696" y="200876"/>
                  </a:lnTo>
                  <a:lnTo>
                    <a:pt x="230734" y="200876"/>
                  </a:lnTo>
                  <a:lnTo>
                    <a:pt x="230734" y="202260"/>
                  </a:lnTo>
                  <a:lnTo>
                    <a:pt x="230734" y="200876"/>
                  </a:lnTo>
                  <a:lnTo>
                    <a:pt x="230836" y="200228"/>
                  </a:lnTo>
                  <a:lnTo>
                    <a:pt x="230836" y="202260"/>
                  </a:lnTo>
                  <a:lnTo>
                    <a:pt x="230887" y="202260"/>
                  </a:lnTo>
                  <a:lnTo>
                    <a:pt x="230887" y="200876"/>
                  </a:lnTo>
                  <a:lnTo>
                    <a:pt x="230887" y="202260"/>
                  </a:lnTo>
                  <a:lnTo>
                    <a:pt x="230887" y="200876"/>
                  </a:lnTo>
                  <a:lnTo>
                    <a:pt x="230887" y="202260"/>
                  </a:lnTo>
                  <a:lnTo>
                    <a:pt x="230887" y="200228"/>
                  </a:lnTo>
                  <a:lnTo>
                    <a:pt x="230887" y="200876"/>
                  </a:lnTo>
                  <a:lnTo>
                    <a:pt x="230887" y="200228"/>
                  </a:lnTo>
                  <a:lnTo>
                    <a:pt x="230887" y="200876"/>
                  </a:lnTo>
                  <a:lnTo>
                    <a:pt x="230887" y="199530"/>
                  </a:lnTo>
                  <a:lnTo>
                    <a:pt x="230937" y="199530"/>
                  </a:lnTo>
                  <a:lnTo>
                    <a:pt x="230937" y="200228"/>
                  </a:lnTo>
                  <a:lnTo>
                    <a:pt x="230937" y="197447"/>
                  </a:lnTo>
                  <a:lnTo>
                    <a:pt x="231039" y="197447"/>
                  </a:lnTo>
                  <a:lnTo>
                    <a:pt x="231039" y="199530"/>
                  </a:lnTo>
                  <a:lnTo>
                    <a:pt x="231039" y="197447"/>
                  </a:lnTo>
                  <a:lnTo>
                    <a:pt x="231090" y="197447"/>
                  </a:lnTo>
                  <a:lnTo>
                    <a:pt x="231090" y="200876"/>
                  </a:lnTo>
                  <a:lnTo>
                    <a:pt x="231090" y="200228"/>
                  </a:lnTo>
                  <a:lnTo>
                    <a:pt x="231141" y="200228"/>
                  </a:lnTo>
                  <a:lnTo>
                    <a:pt x="231141" y="202260"/>
                  </a:lnTo>
                  <a:lnTo>
                    <a:pt x="231141" y="200876"/>
                  </a:lnTo>
                  <a:lnTo>
                    <a:pt x="231191" y="202260"/>
                  </a:lnTo>
                  <a:lnTo>
                    <a:pt x="231191" y="200876"/>
                  </a:lnTo>
                  <a:lnTo>
                    <a:pt x="231191" y="202260"/>
                  </a:lnTo>
                  <a:lnTo>
                    <a:pt x="231191" y="200876"/>
                  </a:lnTo>
                  <a:lnTo>
                    <a:pt x="231191" y="202260"/>
                  </a:lnTo>
                  <a:lnTo>
                    <a:pt x="231280" y="202260"/>
                  </a:lnTo>
                  <a:lnTo>
                    <a:pt x="231280" y="200876"/>
                  </a:lnTo>
                  <a:lnTo>
                    <a:pt x="231280" y="202260"/>
                  </a:lnTo>
                  <a:lnTo>
                    <a:pt x="231280" y="200876"/>
                  </a:lnTo>
                  <a:lnTo>
                    <a:pt x="231280" y="202260"/>
                  </a:lnTo>
                  <a:lnTo>
                    <a:pt x="231280" y="200876"/>
                  </a:lnTo>
                  <a:lnTo>
                    <a:pt x="231280" y="202260"/>
                  </a:lnTo>
                  <a:lnTo>
                    <a:pt x="231331" y="202260"/>
                  </a:lnTo>
                  <a:lnTo>
                    <a:pt x="231331" y="202959"/>
                  </a:lnTo>
                  <a:lnTo>
                    <a:pt x="231331" y="200876"/>
                  </a:lnTo>
                  <a:lnTo>
                    <a:pt x="231382" y="202260"/>
                  </a:lnTo>
                  <a:lnTo>
                    <a:pt x="231382" y="200228"/>
                  </a:lnTo>
                  <a:lnTo>
                    <a:pt x="231433" y="200228"/>
                  </a:lnTo>
                  <a:lnTo>
                    <a:pt x="231433" y="199530"/>
                  </a:lnTo>
                  <a:lnTo>
                    <a:pt x="231433" y="200228"/>
                  </a:lnTo>
                  <a:lnTo>
                    <a:pt x="231433" y="198831"/>
                  </a:lnTo>
                  <a:lnTo>
                    <a:pt x="231433" y="200876"/>
                  </a:lnTo>
                  <a:lnTo>
                    <a:pt x="231534" y="200876"/>
                  </a:lnTo>
                  <a:lnTo>
                    <a:pt x="231534" y="198831"/>
                  </a:lnTo>
                  <a:lnTo>
                    <a:pt x="231534" y="202260"/>
                  </a:lnTo>
                  <a:lnTo>
                    <a:pt x="231585" y="200876"/>
                  </a:lnTo>
                  <a:lnTo>
                    <a:pt x="231585" y="202260"/>
                  </a:lnTo>
                  <a:lnTo>
                    <a:pt x="231585" y="200228"/>
                  </a:lnTo>
                  <a:lnTo>
                    <a:pt x="231585" y="202260"/>
                  </a:lnTo>
                  <a:lnTo>
                    <a:pt x="231585" y="200876"/>
                  </a:lnTo>
                  <a:lnTo>
                    <a:pt x="231585" y="202260"/>
                  </a:lnTo>
                  <a:lnTo>
                    <a:pt x="231636" y="202260"/>
                  </a:lnTo>
                  <a:lnTo>
                    <a:pt x="231636" y="200876"/>
                  </a:lnTo>
                  <a:lnTo>
                    <a:pt x="231636" y="202260"/>
                  </a:lnTo>
                  <a:lnTo>
                    <a:pt x="231737" y="202260"/>
                  </a:lnTo>
                  <a:lnTo>
                    <a:pt x="231737" y="200876"/>
                  </a:lnTo>
                  <a:lnTo>
                    <a:pt x="231737" y="202260"/>
                  </a:lnTo>
                  <a:lnTo>
                    <a:pt x="231737" y="200876"/>
                  </a:lnTo>
                  <a:lnTo>
                    <a:pt x="231737" y="202260"/>
                  </a:lnTo>
                  <a:lnTo>
                    <a:pt x="231737" y="200876"/>
                  </a:lnTo>
                  <a:lnTo>
                    <a:pt x="231776" y="200876"/>
                  </a:lnTo>
                  <a:lnTo>
                    <a:pt x="231776" y="202260"/>
                  </a:lnTo>
                  <a:lnTo>
                    <a:pt x="231776" y="200876"/>
                  </a:lnTo>
                  <a:lnTo>
                    <a:pt x="231776" y="202260"/>
                  </a:lnTo>
                  <a:lnTo>
                    <a:pt x="231776" y="200876"/>
                  </a:lnTo>
                  <a:lnTo>
                    <a:pt x="231776" y="202260"/>
                  </a:lnTo>
                  <a:lnTo>
                    <a:pt x="231826" y="202260"/>
                  </a:lnTo>
                  <a:lnTo>
                    <a:pt x="231826" y="200876"/>
                  </a:lnTo>
                  <a:lnTo>
                    <a:pt x="231826" y="202260"/>
                  </a:lnTo>
                  <a:lnTo>
                    <a:pt x="231826" y="200876"/>
                  </a:lnTo>
                  <a:lnTo>
                    <a:pt x="231826" y="202260"/>
                  </a:lnTo>
                  <a:lnTo>
                    <a:pt x="231826" y="200876"/>
                  </a:lnTo>
                  <a:lnTo>
                    <a:pt x="231877" y="200876"/>
                  </a:lnTo>
                  <a:lnTo>
                    <a:pt x="231877" y="200228"/>
                  </a:lnTo>
                  <a:lnTo>
                    <a:pt x="231877" y="200876"/>
                  </a:lnTo>
                  <a:lnTo>
                    <a:pt x="231877" y="200228"/>
                  </a:lnTo>
                  <a:lnTo>
                    <a:pt x="231877" y="200876"/>
                  </a:lnTo>
                  <a:lnTo>
                    <a:pt x="231877" y="200228"/>
                  </a:lnTo>
                  <a:lnTo>
                    <a:pt x="231877" y="200876"/>
                  </a:lnTo>
                  <a:lnTo>
                    <a:pt x="231877" y="198831"/>
                  </a:lnTo>
                  <a:lnTo>
                    <a:pt x="231979" y="198831"/>
                  </a:lnTo>
                  <a:lnTo>
                    <a:pt x="231979" y="199530"/>
                  </a:lnTo>
                  <a:lnTo>
                    <a:pt x="231979" y="197447"/>
                  </a:lnTo>
                  <a:lnTo>
                    <a:pt x="231979" y="200228"/>
                  </a:lnTo>
                  <a:lnTo>
                    <a:pt x="232030" y="199530"/>
                  </a:lnTo>
                  <a:lnTo>
                    <a:pt x="232030" y="197447"/>
                  </a:lnTo>
                  <a:lnTo>
                    <a:pt x="232030" y="200876"/>
                  </a:lnTo>
                  <a:lnTo>
                    <a:pt x="232080" y="200228"/>
                  </a:lnTo>
                  <a:lnTo>
                    <a:pt x="232080" y="200876"/>
                  </a:lnTo>
                  <a:lnTo>
                    <a:pt x="232080" y="200228"/>
                  </a:lnTo>
                  <a:lnTo>
                    <a:pt x="232080" y="200876"/>
                  </a:lnTo>
                  <a:lnTo>
                    <a:pt x="232182" y="200876"/>
                  </a:lnTo>
                  <a:lnTo>
                    <a:pt x="232182" y="200228"/>
                  </a:lnTo>
                  <a:lnTo>
                    <a:pt x="232182" y="202260"/>
                  </a:lnTo>
                  <a:lnTo>
                    <a:pt x="232182" y="200876"/>
                  </a:lnTo>
                  <a:lnTo>
                    <a:pt x="232182" y="202260"/>
                  </a:lnTo>
                  <a:lnTo>
                    <a:pt x="232233" y="202260"/>
                  </a:lnTo>
                  <a:lnTo>
                    <a:pt x="232233" y="200876"/>
                  </a:lnTo>
                  <a:lnTo>
                    <a:pt x="232233" y="202959"/>
                  </a:lnTo>
                  <a:lnTo>
                    <a:pt x="232233" y="202260"/>
                  </a:lnTo>
                  <a:lnTo>
                    <a:pt x="232233" y="202959"/>
                  </a:lnTo>
                  <a:lnTo>
                    <a:pt x="232233" y="202260"/>
                  </a:lnTo>
                  <a:lnTo>
                    <a:pt x="232283" y="202260"/>
                  </a:lnTo>
                  <a:lnTo>
                    <a:pt x="232283" y="202959"/>
                  </a:lnTo>
                  <a:lnTo>
                    <a:pt x="232283" y="202260"/>
                  </a:lnTo>
                  <a:lnTo>
                    <a:pt x="232283" y="202959"/>
                  </a:lnTo>
                  <a:lnTo>
                    <a:pt x="232283" y="202260"/>
                  </a:lnTo>
                  <a:lnTo>
                    <a:pt x="232283" y="202959"/>
                  </a:lnTo>
                  <a:lnTo>
                    <a:pt x="232283" y="202260"/>
                  </a:lnTo>
                  <a:lnTo>
                    <a:pt x="232283" y="202959"/>
                  </a:lnTo>
                  <a:lnTo>
                    <a:pt x="232322" y="202959"/>
                  </a:lnTo>
                  <a:lnTo>
                    <a:pt x="232322" y="202260"/>
                  </a:lnTo>
                  <a:lnTo>
                    <a:pt x="232322" y="202959"/>
                  </a:lnTo>
                  <a:lnTo>
                    <a:pt x="232322" y="200876"/>
                  </a:lnTo>
                  <a:lnTo>
                    <a:pt x="232423" y="200876"/>
                  </a:lnTo>
                  <a:lnTo>
                    <a:pt x="232423" y="199530"/>
                  </a:lnTo>
                  <a:lnTo>
                    <a:pt x="232423" y="200228"/>
                  </a:lnTo>
                  <a:lnTo>
                    <a:pt x="232423" y="199530"/>
                  </a:lnTo>
                  <a:lnTo>
                    <a:pt x="232474" y="199530"/>
                  </a:lnTo>
                  <a:lnTo>
                    <a:pt x="232474" y="197447"/>
                  </a:lnTo>
                  <a:lnTo>
                    <a:pt x="232474" y="199530"/>
                  </a:lnTo>
                  <a:lnTo>
                    <a:pt x="232474" y="198831"/>
                  </a:lnTo>
                  <a:lnTo>
                    <a:pt x="232525" y="197447"/>
                  </a:lnTo>
                  <a:lnTo>
                    <a:pt x="232525" y="200228"/>
                  </a:lnTo>
                  <a:lnTo>
                    <a:pt x="232525" y="199530"/>
                  </a:lnTo>
                  <a:lnTo>
                    <a:pt x="232626" y="200228"/>
                  </a:lnTo>
                  <a:lnTo>
                    <a:pt x="232626" y="200876"/>
                  </a:lnTo>
                  <a:lnTo>
                    <a:pt x="232626" y="200228"/>
                  </a:lnTo>
                  <a:lnTo>
                    <a:pt x="232728" y="200228"/>
                  </a:lnTo>
                  <a:lnTo>
                    <a:pt x="232728" y="200876"/>
                  </a:lnTo>
                  <a:lnTo>
                    <a:pt x="232779" y="200876"/>
                  </a:lnTo>
                  <a:lnTo>
                    <a:pt x="232779" y="200228"/>
                  </a:lnTo>
                  <a:lnTo>
                    <a:pt x="232779" y="202260"/>
                  </a:lnTo>
                  <a:lnTo>
                    <a:pt x="232868" y="200876"/>
                  </a:lnTo>
                  <a:lnTo>
                    <a:pt x="232868" y="202260"/>
                  </a:lnTo>
                  <a:lnTo>
                    <a:pt x="232868" y="200228"/>
                  </a:lnTo>
                  <a:lnTo>
                    <a:pt x="232868" y="200876"/>
                  </a:lnTo>
                  <a:lnTo>
                    <a:pt x="232868" y="200228"/>
                  </a:lnTo>
                  <a:lnTo>
                    <a:pt x="232918" y="200228"/>
                  </a:lnTo>
                  <a:lnTo>
                    <a:pt x="232918" y="199530"/>
                  </a:lnTo>
                  <a:lnTo>
                    <a:pt x="232918" y="200228"/>
                  </a:lnTo>
                  <a:lnTo>
                    <a:pt x="232918" y="198831"/>
                  </a:lnTo>
                  <a:lnTo>
                    <a:pt x="232918" y="199530"/>
                  </a:lnTo>
                  <a:lnTo>
                    <a:pt x="232918" y="198831"/>
                  </a:lnTo>
                  <a:lnTo>
                    <a:pt x="232918" y="200228"/>
                  </a:lnTo>
                  <a:lnTo>
                    <a:pt x="232918" y="199530"/>
                  </a:lnTo>
                  <a:lnTo>
                    <a:pt x="232969" y="200228"/>
                  </a:lnTo>
                  <a:lnTo>
                    <a:pt x="232969" y="199530"/>
                  </a:lnTo>
                  <a:lnTo>
                    <a:pt x="232969" y="200876"/>
                  </a:lnTo>
                  <a:lnTo>
                    <a:pt x="233020" y="202260"/>
                  </a:lnTo>
                  <a:lnTo>
                    <a:pt x="233020" y="200228"/>
                  </a:lnTo>
                  <a:lnTo>
                    <a:pt x="233020" y="202260"/>
                  </a:lnTo>
                  <a:lnTo>
                    <a:pt x="233122" y="202260"/>
                  </a:lnTo>
                  <a:lnTo>
                    <a:pt x="233122" y="200876"/>
                  </a:lnTo>
                  <a:lnTo>
                    <a:pt x="233122" y="202260"/>
                  </a:lnTo>
                  <a:lnTo>
                    <a:pt x="233122" y="200876"/>
                  </a:lnTo>
                  <a:lnTo>
                    <a:pt x="233122" y="202260"/>
                  </a:lnTo>
                  <a:lnTo>
                    <a:pt x="233122" y="200876"/>
                  </a:lnTo>
                  <a:lnTo>
                    <a:pt x="233122" y="202260"/>
                  </a:lnTo>
                  <a:lnTo>
                    <a:pt x="233172" y="200876"/>
                  </a:lnTo>
                  <a:lnTo>
                    <a:pt x="233172" y="202260"/>
                  </a:lnTo>
                  <a:lnTo>
                    <a:pt x="233172" y="200876"/>
                  </a:lnTo>
                  <a:lnTo>
                    <a:pt x="233172" y="202260"/>
                  </a:lnTo>
                  <a:lnTo>
                    <a:pt x="233172" y="200876"/>
                  </a:lnTo>
                  <a:lnTo>
                    <a:pt x="233172" y="202260"/>
                  </a:lnTo>
                  <a:lnTo>
                    <a:pt x="233172" y="200876"/>
                  </a:lnTo>
                  <a:lnTo>
                    <a:pt x="233172" y="202260"/>
                  </a:lnTo>
                  <a:lnTo>
                    <a:pt x="233325" y="202260"/>
                  </a:lnTo>
                  <a:lnTo>
                    <a:pt x="233325" y="202959"/>
                  </a:lnTo>
                  <a:lnTo>
                    <a:pt x="233325" y="202260"/>
                  </a:lnTo>
                  <a:lnTo>
                    <a:pt x="233363" y="202260"/>
                  </a:lnTo>
                  <a:lnTo>
                    <a:pt x="233363" y="199530"/>
                  </a:lnTo>
                  <a:lnTo>
                    <a:pt x="233363" y="200228"/>
                  </a:lnTo>
                  <a:lnTo>
                    <a:pt x="233414" y="200228"/>
                  </a:lnTo>
                  <a:lnTo>
                    <a:pt x="233414" y="199530"/>
                  </a:lnTo>
                  <a:lnTo>
                    <a:pt x="233414" y="200228"/>
                  </a:lnTo>
                  <a:lnTo>
                    <a:pt x="233414" y="198831"/>
                  </a:lnTo>
                  <a:lnTo>
                    <a:pt x="233414" y="200876"/>
                  </a:lnTo>
                  <a:lnTo>
                    <a:pt x="233465" y="200228"/>
                  </a:lnTo>
                  <a:lnTo>
                    <a:pt x="233465" y="199530"/>
                  </a:lnTo>
                  <a:lnTo>
                    <a:pt x="233465" y="200228"/>
                  </a:lnTo>
                  <a:lnTo>
                    <a:pt x="233465" y="199530"/>
                  </a:lnTo>
                  <a:lnTo>
                    <a:pt x="233465" y="202959"/>
                  </a:lnTo>
                  <a:lnTo>
                    <a:pt x="233465" y="202260"/>
                  </a:lnTo>
                  <a:lnTo>
                    <a:pt x="233566" y="202260"/>
                  </a:lnTo>
                  <a:lnTo>
                    <a:pt x="233566" y="200876"/>
                  </a:lnTo>
                  <a:lnTo>
                    <a:pt x="233566" y="202260"/>
                  </a:lnTo>
                  <a:lnTo>
                    <a:pt x="233566" y="200876"/>
                  </a:lnTo>
                  <a:lnTo>
                    <a:pt x="233566" y="202260"/>
                  </a:lnTo>
                  <a:lnTo>
                    <a:pt x="233566" y="200876"/>
                  </a:lnTo>
                  <a:lnTo>
                    <a:pt x="233566" y="202959"/>
                  </a:lnTo>
                  <a:lnTo>
                    <a:pt x="233566" y="202260"/>
                  </a:lnTo>
                  <a:lnTo>
                    <a:pt x="233617" y="202260"/>
                  </a:lnTo>
                  <a:lnTo>
                    <a:pt x="233617" y="202959"/>
                  </a:lnTo>
                  <a:lnTo>
                    <a:pt x="233617" y="202260"/>
                  </a:lnTo>
                  <a:lnTo>
                    <a:pt x="233617" y="202959"/>
                  </a:lnTo>
                  <a:lnTo>
                    <a:pt x="233617" y="200876"/>
                  </a:lnTo>
                  <a:lnTo>
                    <a:pt x="233668" y="200876"/>
                  </a:lnTo>
                  <a:lnTo>
                    <a:pt x="233668" y="202260"/>
                  </a:lnTo>
                  <a:lnTo>
                    <a:pt x="233668" y="200876"/>
                  </a:lnTo>
                  <a:lnTo>
                    <a:pt x="233668" y="202959"/>
                  </a:lnTo>
                  <a:lnTo>
                    <a:pt x="233668" y="202260"/>
                  </a:lnTo>
                  <a:lnTo>
                    <a:pt x="233668" y="202959"/>
                  </a:lnTo>
                  <a:lnTo>
                    <a:pt x="233668" y="202260"/>
                  </a:lnTo>
                  <a:lnTo>
                    <a:pt x="233769" y="202260"/>
                  </a:lnTo>
                  <a:lnTo>
                    <a:pt x="233769" y="200876"/>
                  </a:lnTo>
                  <a:lnTo>
                    <a:pt x="233769" y="202260"/>
                  </a:lnTo>
                  <a:lnTo>
                    <a:pt x="233820" y="202260"/>
                  </a:lnTo>
                  <a:lnTo>
                    <a:pt x="233820" y="200876"/>
                  </a:lnTo>
                  <a:lnTo>
                    <a:pt x="233820" y="202260"/>
                  </a:lnTo>
                  <a:lnTo>
                    <a:pt x="233820" y="200228"/>
                  </a:lnTo>
                  <a:lnTo>
                    <a:pt x="233820" y="200876"/>
                  </a:lnTo>
                  <a:lnTo>
                    <a:pt x="233871" y="200876"/>
                  </a:lnTo>
                  <a:lnTo>
                    <a:pt x="233871" y="198831"/>
                  </a:lnTo>
                  <a:lnTo>
                    <a:pt x="233909" y="198831"/>
                  </a:lnTo>
                  <a:lnTo>
                    <a:pt x="233909" y="196799"/>
                  </a:lnTo>
                  <a:lnTo>
                    <a:pt x="233909" y="200228"/>
                  </a:lnTo>
                  <a:lnTo>
                    <a:pt x="233909" y="198831"/>
                  </a:lnTo>
                  <a:lnTo>
                    <a:pt x="234011" y="197447"/>
                  </a:lnTo>
                  <a:lnTo>
                    <a:pt x="234011" y="200876"/>
                  </a:lnTo>
                  <a:lnTo>
                    <a:pt x="234011" y="199530"/>
                  </a:lnTo>
                  <a:lnTo>
                    <a:pt x="234062" y="199530"/>
                  </a:lnTo>
                  <a:lnTo>
                    <a:pt x="234062" y="200228"/>
                  </a:lnTo>
                  <a:lnTo>
                    <a:pt x="234062" y="199530"/>
                  </a:lnTo>
                  <a:lnTo>
                    <a:pt x="234062" y="202260"/>
                  </a:lnTo>
                  <a:lnTo>
                    <a:pt x="234062" y="200876"/>
                  </a:lnTo>
                  <a:lnTo>
                    <a:pt x="234112" y="200876"/>
                  </a:lnTo>
                  <a:lnTo>
                    <a:pt x="234112" y="202260"/>
                  </a:lnTo>
                  <a:lnTo>
                    <a:pt x="234112" y="200876"/>
                  </a:lnTo>
                  <a:lnTo>
                    <a:pt x="234112" y="202260"/>
                  </a:lnTo>
                  <a:lnTo>
                    <a:pt x="234112" y="200876"/>
                  </a:lnTo>
                  <a:lnTo>
                    <a:pt x="234112" y="202260"/>
                  </a:lnTo>
                  <a:lnTo>
                    <a:pt x="234214" y="202260"/>
                  </a:lnTo>
                  <a:lnTo>
                    <a:pt x="234214" y="202959"/>
                  </a:lnTo>
                  <a:lnTo>
                    <a:pt x="234214" y="200876"/>
                  </a:lnTo>
                  <a:lnTo>
                    <a:pt x="234214" y="202260"/>
                  </a:lnTo>
                  <a:lnTo>
                    <a:pt x="234265" y="202260"/>
                  </a:lnTo>
                  <a:lnTo>
                    <a:pt x="234265" y="202959"/>
                  </a:lnTo>
                  <a:lnTo>
                    <a:pt x="234265" y="202260"/>
                  </a:lnTo>
                  <a:lnTo>
                    <a:pt x="234265" y="202959"/>
                  </a:lnTo>
                  <a:lnTo>
                    <a:pt x="234265" y="202260"/>
                  </a:lnTo>
                  <a:lnTo>
                    <a:pt x="234265" y="202959"/>
                  </a:lnTo>
                  <a:lnTo>
                    <a:pt x="234265" y="202260"/>
                  </a:lnTo>
                  <a:lnTo>
                    <a:pt x="234316" y="202260"/>
                  </a:lnTo>
                  <a:lnTo>
                    <a:pt x="234316" y="200876"/>
                  </a:lnTo>
                  <a:lnTo>
                    <a:pt x="234316" y="202260"/>
                  </a:lnTo>
                  <a:lnTo>
                    <a:pt x="234316" y="200228"/>
                  </a:lnTo>
                  <a:lnTo>
                    <a:pt x="234366" y="200228"/>
                  </a:lnTo>
                  <a:lnTo>
                    <a:pt x="234366" y="198831"/>
                  </a:lnTo>
                  <a:lnTo>
                    <a:pt x="234366" y="199530"/>
                  </a:lnTo>
                  <a:lnTo>
                    <a:pt x="234366" y="197447"/>
                  </a:lnTo>
                  <a:lnTo>
                    <a:pt x="234455" y="197447"/>
                  </a:lnTo>
                  <a:lnTo>
                    <a:pt x="234455" y="199530"/>
                  </a:lnTo>
                  <a:lnTo>
                    <a:pt x="234455" y="197447"/>
                  </a:lnTo>
                  <a:lnTo>
                    <a:pt x="234506" y="197447"/>
                  </a:lnTo>
                  <a:lnTo>
                    <a:pt x="234506" y="200876"/>
                  </a:lnTo>
                  <a:lnTo>
                    <a:pt x="234506" y="199530"/>
                  </a:lnTo>
                  <a:lnTo>
                    <a:pt x="234506" y="200228"/>
                  </a:lnTo>
                  <a:lnTo>
                    <a:pt x="234506" y="199530"/>
                  </a:lnTo>
                  <a:lnTo>
                    <a:pt x="234557" y="199530"/>
                  </a:lnTo>
                  <a:lnTo>
                    <a:pt x="234557" y="200876"/>
                  </a:lnTo>
                  <a:lnTo>
                    <a:pt x="234557" y="200228"/>
                  </a:lnTo>
                  <a:lnTo>
                    <a:pt x="234557" y="200876"/>
                  </a:lnTo>
                  <a:lnTo>
                    <a:pt x="234557" y="200228"/>
                  </a:lnTo>
                  <a:lnTo>
                    <a:pt x="234557" y="200876"/>
                  </a:lnTo>
                  <a:lnTo>
                    <a:pt x="234557" y="200228"/>
                  </a:lnTo>
                  <a:lnTo>
                    <a:pt x="234557" y="200876"/>
                  </a:lnTo>
                  <a:lnTo>
                    <a:pt x="234608" y="200228"/>
                  </a:lnTo>
                  <a:lnTo>
                    <a:pt x="234608" y="200876"/>
                  </a:lnTo>
                  <a:lnTo>
                    <a:pt x="234608" y="200228"/>
                  </a:lnTo>
                  <a:lnTo>
                    <a:pt x="234608" y="202260"/>
                  </a:lnTo>
                  <a:lnTo>
                    <a:pt x="234709" y="202260"/>
                  </a:lnTo>
                  <a:lnTo>
                    <a:pt x="234709" y="200876"/>
                  </a:lnTo>
                  <a:lnTo>
                    <a:pt x="234709" y="202260"/>
                  </a:lnTo>
                  <a:lnTo>
                    <a:pt x="234709" y="200876"/>
                  </a:lnTo>
                  <a:lnTo>
                    <a:pt x="234709" y="202260"/>
                  </a:lnTo>
                  <a:lnTo>
                    <a:pt x="234709" y="200876"/>
                  </a:lnTo>
                  <a:lnTo>
                    <a:pt x="234709" y="202260"/>
                  </a:lnTo>
                  <a:lnTo>
                    <a:pt x="234760" y="202260"/>
                  </a:lnTo>
                  <a:lnTo>
                    <a:pt x="234760" y="200876"/>
                  </a:lnTo>
                  <a:lnTo>
                    <a:pt x="234760" y="202260"/>
                  </a:lnTo>
                  <a:lnTo>
                    <a:pt x="234811" y="202260"/>
                  </a:lnTo>
                  <a:lnTo>
                    <a:pt x="234811" y="200228"/>
                  </a:lnTo>
                  <a:lnTo>
                    <a:pt x="234811" y="200876"/>
                  </a:lnTo>
                  <a:lnTo>
                    <a:pt x="234811" y="200228"/>
                  </a:lnTo>
                  <a:lnTo>
                    <a:pt x="234811" y="200876"/>
                  </a:lnTo>
                  <a:lnTo>
                    <a:pt x="234811" y="200228"/>
                  </a:lnTo>
                  <a:lnTo>
                    <a:pt x="234811" y="200876"/>
                  </a:lnTo>
                  <a:lnTo>
                    <a:pt x="234811" y="200228"/>
                  </a:lnTo>
                  <a:lnTo>
                    <a:pt x="234912" y="200228"/>
                  </a:lnTo>
                  <a:lnTo>
                    <a:pt x="234912" y="199530"/>
                  </a:lnTo>
                  <a:lnTo>
                    <a:pt x="234912" y="200228"/>
                  </a:lnTo>
                  <a:lnTo>
                    <a:pt x="234912" y="197447"/>
                  </a:lnTo>
                  <a:lnTo>
                    <a:pt x="234951" y="197447"/>
                  </a:lnTo>
                  <a:lnTo>
                    <a:pt x="234951" y="196799"/>
                  </a:lnTo>
                  <a:lnTo>
                    <a:pt x="234951" y="198831"/>
                  </a:lnTo>
                  <a:lnTo>
                    <a:pt x="234951" y="196799"/>
                  </a:lnTo>
                  <a:lnTo>
                    <a:pt x="235001" y="197447"/>
                  </a:lnTo>
                  <a:lnTo>
                    <a:pt x="235001" y="199530"/>
                  </a:lnTo>
                  <a:lnTo>
                    <a:pt x="235001" y="198831"/>
                  </a:lnTo>
                  <a:lnTo>
                    <a:pt x="235052" y="198831"/>
                  </a:lnTo>
                  <a:lnTo>
                    <a:pt x="235052" y="200228"/>
                  </a:lnTo>
                  <a:lnTo>
                    <a:pt x="235052" y="199530"/>
                  </a:lnTo>
                  <a:lnTo>
                    <a:pt x="235154" y="199530"/>
                  </a:lnTo>
                  <a:lnTo>
                    <a:pt x="235154" y="200228"/>
                  </a:lnTo>
                  <a:lnTo>
                    <a:pt x="235154" y="199530"/>
                  </a:lnTo>
                  <a:lnTo>
                    <a:pt x="235154" y="200228"/>
                  </a:lnTo>
                  <a:lnTo>
                    <a:pt x="235205" y="200228"/>
                  </a:lnTo>
                  <a:lnTo>
                    <a:pt x="235205" y="199530"/>
                  </a:lnTo>
                  <a:lnTo>
                    <a:pt x="235205" y="200876"/>
                  </a:lnTo>
                  <a:lnTo>
                    <a:pt x="235205" y="200228"/>
                  </a:lnTo>
                  <a:lnTo>
                    <a:pt x="235205" y="202260"/>
                  </a:lnTo>
                  <a:lnTo>
                    <a:pt x="235205" y="200876"/>
                  </a:lnTo>
                  <a:lnTo>
                    <a:pt x="235205" y="202260"/>
                  </a:lnTo>
                  <a:lnTo>
                    <a:pt x="235255" y="200876"/>
                  </a:lnTo>
                  <a:lnTo>
                    <a:pt x="235255" y="202260"/>
                  </a:lnTo>
                  <a:lnTo>
                    <a:pt x="235255" y="200876"/>
                  </a:lnTo>
                  <a:lnTo>
                    <a:pt x="235255" y="202260"/>
                  </a:lnTo>
                  <a:lnTo>
                    <a:pt x="235255" y="200876"/>
                  </a:lnTo>
                  <a:lnTo>
                    <a:pt x="235357" y="200876"/>
                  </a:lnTo>
                  <a:lnTo>
                    <a:pt x="235357" y="202260"/>
                  </a:lnTo>
                  <a:lnTo>
                    <a:pt x="235357" y="200876"/>
                  </a:lnTo>
                  <a:lnTo>
                    <a:pt x="235357" y="202260"/>
                  </a:lnTo>
                  <a:lnTo>
                    <a:pt x="235357" y="199530"/>
                  </a:lnTo>
                  <a:lnTo>
                    <a:pt x="235357" y="200228"/>
                  </a:lnTo>
                  <a:lnTo>
                    <a:pt x="235408" y="200228"/>
                  </a:lnTo>
                  <a:lnTo>
                    <a:pt x="235408" y="196799"/>
                  </a:lnTo>
                  <a:lnTo>
                    <a:pt x="235408" y="197447"/>
                  </a:lnTo>
                  <a:lnTo>
                    <a:pt x="235458" y="197447"/>
                  </a:lnTo>
                  <a:lnTo>
                    <a:pt x="235458" y="198831"/>
                  </a:lnTo>
                  <a:lnTo>
                    <a:pt x="235458" y="197447"/>
                  </a:lnTo>
                  <a:lnTo>
                    <a:pt x="235458" y="198831"/>
                  </a:lnTo>
                  <a:lnTo>
                    <a:pt x="235458" y="196799"/>
                  </a:lnTo>
                  <a:lnTo>
                    <a:pt x="235497" y="197447"/>
                  </a:lnTo>
                  <a:lnTo>
                    <a:pt x="235497" y="200228"/>
                  </a:lnTo>
                  <a:lnTo>
                    <a:pt x="235497" y="197447"/>
                  </a:lnTo>
                  <a:lnTo>
                    <a:pt x="235497" y="199530"/>
                  </a:lnTo>
                  <a:lnTo>
                    <a:pt x="235598" y="198831"/>
                  </a:lnTo>
                  <a:lnTo>
                    <a:pt x="235598" y="199530"/>
                  </a:lnTo>
                  <a:lnTo>
                    <a:pt x="235598" y="198831"/>
                  </a:lnTo>
                  <a:lnTo>
                    <a:pt x="235598" y="199530"/>
                  </a:lnTo>
                  <a:lnTo>
                    <a:pt x="235598" y="198831"/>
                  </a:lnTo>
                  <a:lnTo>
                    <a:pt x="235598" y="199530"/>
                  </a:lnTo>
                  <a:lnTo>
                    <a:pt x="235649" y="199530"/>
                  </a:lnTo>
                  <a:lnTo>
                    <a:pt x="235649" y="198831"/>
                  </a:lnTo>
                  <a:lnTo>
                    <a:pt x="235649" y="199530"/>
                  </a:lnTo>
                  <a:lnTo>
                    <a:pt x="235649" y="198831"/>
                  </a:lnTo>
                  <a:lnTo>
                    <a:pt x="235649" y="199530"/>
                  </a:lnTo>
                  <a:lnTo>
                    <a:pt x="235700" y="200228"/>
                  </a:lnTo>
                  <a:lnTo>
                    <a:pt x="235700" y="199530"/>
                  </a:lnTo>
                  <a:lnTo>
                    <a:pt x="235700" y="200228"/>
                  </a:lnTo>
                  <a:lnTo>
                    <a:pt x="235700" y="199530"/>
                  </a:lnTo>
                  <a:lnTo>
                    <a:pt x="235700" y="200228"/>
                  </a:lnTo>
                  <a:lnTo>
                    <a:pt x="235801" y="200228"/>
                  </a:lnTo>
                  <a:lnTo>
                    <a:pt x="235801" y="200876"/>
                  </a:lnTo>
                  <a:lnTo>
                    <a:pt x="235801" y="200228"/>
                  </a:lnTo>
                  <a:lnTo>
                    <a:pt x="235801" y="200876"/>
                  </a:lnTo>
                  <a:lnTo>
                    <a:pt x="235801" y="200228"/>
                  </a:lnTo>
                  <a:lnTo>
                    <a:pt x="235852" y="200228"/>
                  </a:lnTo>
                  <a:lnTo>
                    <a:pt x="235852" y="199530"/>
                  </a:lnTo>
                  <a:lnTo>
                    <a:pt x="235903" y="199530"/>
                  </a:lnTo>
                  <a:lnTo>
                    <a:pt x="235903" y="197447"/>
                  </a:lnTo>
                  <a:lnTo>
                    <a:pt x="235903" y="199530"/>
                  </a:lnTo>
                  <a:lnTo>
                    <a:pt x="235954" y="199530"/>
                  </a:lnTo>
                  <a:lnTo>
                    <a:pt x="235954" y="198831"/>
                  </a:lnTo>
                  <a:lnTo>
                    <a:pt x="235954" y="200876"/>
                  </a:lnTo>
                  <a:lnTo>
                    <a:pt x="236043" y="200876"/>
                  </a:lnTo>
                  <a:lnTo>
                    <a:pt x="236043" y="200228"/>
                  </a:lnTo>
                  <a:lnTo>
                    <a:pt x="236043" y="200876"/>
                  </a:lnTo>
                  <a:lnTo>
                    <a:pt x="236093" y="200876"/>
                  </a:lnTo>
                  <a:lnTo>
                    <a:pt x="236093" y="200228"/>
                  </a:lnTo>
                  <a:lnTo>
                    <a:pt x="236093" y="200876"/>
                  </a:lnTo>
                  <a:lnTo>
                    <a:pt x="236093" y="199530"/>
                  </a:lnTo>
                  <a:lnTo>
                    <a:pt x="236093" y="200228"/>
                  </a:lnTo>
                  <a:lnTo>
                    <a:pt x="236093" y="199530"/>
                  </a:lnTo>
                  <a:lnTo>
                    <a:pt x="236093" y="200876"/>
                  </a:lnTo>
                  <a:lnTo>
                    <a:pt x="236093" y="200228"/>
                  </a:lnTo>
                  <a:lnTo>
                    <a:pt x="236144" y="200228"/>
                  </a:lnTo>
                  <a:lnTo>
                    <a:pt x="236144" y="200876"/>
                  </a:lnTo>
                  <a:lnTo>
                    <a:pt x="236195" y="200876"/>
                  </a:lnTo>
                  <a:lnTo>
                    <a:pt x="236195" y="200228"/>
                  </a:lnTo>
                  <a:lnTo>
                    <a:pt x="236195" y="202260"/>
                  </a:lnTo>
                  <a:lnTo>
                    <a:pt x="236195" y="200876"/>
                  </a:lnTo>
                  <a:lnTo>
                    <a:pt x="236297" y="200876"/>
                  </a:lnTo>
                  <a:lnTo>
                    <a:pt x="236297" y="202260"/>
                  </a:lnTo>
                  <a:lnTo>
                    <a:pt x="236297" y="200228"/>
                  </a:lnTo>
                  <a:lnTo>
                    <a:pt x="236347" y="200228"/>
                  </a:lnTo>
                  <a:lnTo>
                    <a:pt x="236347" y="200876"/>
                  </a:lnTo>
                  <a:lnTo>
                    <a:pt x="236347" y="199530"/>
                  </a:lnTo>
                  <a:lnTo>
                    <a:pt x="236398" y="199530"/>
                  </a:lnTo>
                  <a:lnTo>
                    <a:pt x="236398" y="198831"/>
                  </a:lnTo>
                  <a:lnTo>
                    <a:pt x="236398" y="199530"/>
                  </a:lnTo>
                  <a:lnTo>
                    <a:pt x="236398" y="198831"/>
                  </a:lnTo>
                  <a:lnTo>
                    <a:pt x="236398" y="200228"/>
                  </a:lnTo>
                  <a:lnTo>
                    <a:pt x="236500" y="199530"/>
                  </a:lnTo>
                  <a:lnTo>
                    <a:pt x="236500" y="200228"/>
                  </a:lnTo>
                  <a:lnTo>
                    <a:pt x="236500" y="199530"/>
                  </a:lnTo>
                  <a:lnTo>
                    <a:pt x="236500" y="202260"/>
                  </a:lnTo>
                  <a:lnTo>
                    <a:pt x="236500" y="200228"/>
                  </a:lnTo>
                  <a:lnTo>
                    <a:pt x="236538" y="200228"/>
                  </a:lnTo>
                  <a:lnTo>
                    <a:pt x="236538" y="202260"/>
                  </a:lnTo>
                  <a:lnTo>
                    <a:pt x="236538" y="200876"/>
                  </a:lnTo>
                  <a:lnTo>
                    <a:pt x="236538" y="202260"/>
                  </a:lnTo>
                  <a:lnTo>
                    <a:pt x="236538" y="200876"/>
                  </a:lnTo>
                  <a:lnTo>
                    <a:pt x="236589" y="200876"/>
                  </a:lnTo>
                  <a:lnTo>
                    <a:pt x="236589" y="202260"/>
                  </a:lnTo>
                  <a:lnTo>
                    <a:pt x="236589" y="200876"/>
                  </a:lnTo>
                  <a:lnTo>
                    <a:pt x="236589" y="202260"/>
                  </a:lnTo>
                  <a:lnTo>
                    <a:pt x="236589" y="200876"/>
                  </a:lnTo>
                  <a:lnTo>
                    <a:pt x="236589" y="202260"/>
                  </a:lnTo>
                  <a:lnTo>
                    <a:pt x="236640" y="202260"/>
                  </a:lnTo>
                  <a:lnTo>
                    <a:pt x="236640" y="200876"/>
                  </a:lnTo>
                  <a:lnTo>
                    <a:pt x="236640" y="202260"/>
                  </a:lnTo>
                  <a:lnTo>
                    <a:pt x="236640" y="200876"/>
                  </a:lnTo>
                  <a:lnTo>
                    <a:pt x="236741" y="200876"/>
                  </a:lnTo>
                  <a:lnTo>
                    <a:pt x="236741" y="202260"/>
                  </a:lnTo>
                  <a:lnTo>
                    <a:pt x="236741" y="200876"/>
                  </a:lnTo>
                  <a:lnTo>
                    <a:pt x="236741" y="202260"/>
                  </a:lnTo>
                  <a:lnTo>
                    <a:pt x="236741" y="200876"/>
                  </a:lnTo>
                  <a:lnTo>
                    <a:pt x="236792" y="200876"/>
                  </a:lnTo>
                  <a:lnTo>
                    <a:pt x="236792" y="199530"/>
                  </a:lnTo>
                  <a:lnTo>
                    <a:pt x="236792" y="200228"/>
                  </a:lnTo>
                  <a:lnTo>
                    <a:pt x="236843" y="200228"/>
                  </a:lnTo>
                  <a:lnTo>
                    <a:pt x="236843" y="198831"/>
                  </a:lnTo>
                  <a:lnTo>
                    <a:pt x="236843" y="199530"/>
                  </a:lnTo>
                  <a:lnTo>
                    <a:pt x="236843" y="197447"/>
                  </a:lnTo>
                  <a:lnTo>
                    <a:pt x="236843" y="198831"/>
                  </a:lnTo>
                  <a:lnTo>
                    <a:pt x="236944" y="197447"/>
                  </a:lnTo>
                  <a:lnTo>
                    <a:pt x="236944" y="199530"/>
                  </a:lnTo>
                  <a:lnTo>
                    <a:pt x="236944" y="198831"/>
                  </a:lnTo>
                  <a:lnTo>
                    <a:pt x="236995" y="198831"/>
                  </a:lnTo>
                  <a:lnTo>
                    <a:pt x="236995" y="200876"/>
                  </a:lnTo>
                  <a:lnTo>
                    <a:pt x="236995" y="199530"/>
                  </a:lnTo>
                  <a:lnTo>
                    <a:pt x="236995" y="200228"/>
                  </a:lnTo>
                  <a:lnTo>
                    <a:pt x="236995" y="199530"/>
                  </a:lnTo>
                  <a:lnTo>
                    <a:pt x="237046" y="200228"/>
                  </a:lnTo>
                  <a:lnTo>
                    <a:pt x="237046" y="200876"/>
                  </a:lnTo>
                  <a:lnTo>
                    <a:pt x="237046" y="200228"/>
                  </a:lnTo>
                  <a:lnTo>
                    <a:pt x="237046" y="200876"/>
                  </a:lnTo>
                  <a:lnTo>
                    <a:pt x="237046" y="200228"/>
                  </a:lnTo>
                  <a:lnTo>
                    <a:pt x="237046" y="200876"/>
                  </a:lnTo>
                  <a:lnTo>
                    <a:pt x="237084" y="200876"/>
                  </a:lnTo>
                  <a:lnTo>
                    <a:pt x="237084" y="202260"/>
                  </a:lnTo>
                  <a:lnTo>
                    <a:pt x="237084" y="200876"/>
                  </a:lnTo>
                  <a:lnTo>
                    <a:pt x="237084" y="202260"/>
                  </a:lnTo>
                  <a:lnTo>
                    <a:pt x="237084" y="200876"/>
                  </a:lnTo>
                  <a:lnTo>
                    <a:pt x="237084" y="202260"/>
                  </a:lnTo>
                  <a:lnTo>
                    <a:pt x="237084" y="200876"/>
                  </a:lnTo>
                  <a:lnTo>
                    <a:pt x="237084" y="202260"/>
                  </a:lnTo>
                  <a:lnTo>
                    <a:pt x="237084" y="200876"/>
                  </a:lnTo>
                  <a:lnTo>
                    <a:pt x="237186" y="202260"/>
                  </a:lnTo>
                  <a:lnTo>
                    <a:pt x="237186" y="200876"/>
                  </a:lnTo>
                  <a:lnTo>
                    <a:pt x="237186" y="202260"/>
                  </a:lnTo>
                  <a:lnTo>
                    <a:pt x="237237" y="202260"/>
                  </a:lnTo>
                  <a:lnTo>
                    <a:pt x="237237" y="200876"/>
                  </a:lnTo>
                  <a:lnTo>
                    <a:pt x="237237" y="202260"/>
                  </a:lnTo>
                  <a:lnTo>
                    <a:pt x="237287" y="200876"/>
                  </a:lnTo>
                  <a:lnTo>
                    <a:pt x="237287" y="200228"/>
                  </a:lnTo>
                  <a:lnTo>
                    <a:pt x="237389" y="200228"/>
                  </a:lnTo>
                  <a:lnTo>
                    <a:pt x="237389" y="198831"/>
                  </a:lnTo>
                  <a:lnTo>
                    <a:pt x="237389" y="199530"/>
                  </a:lnTo>
                  <a:lnTo>
                    <a:pt x="237389" y="197447"/>
                  </a:lnTo>
                  <a:lnTo>
                    <a:pt x="237389" y="198831"/>
                  </a:lnTo>
                  <a:lnTo>
                    <a:pt x="237440" y="198831"/>
                  </a:lnTo>
                  <a:lnTo>
                    <a:pt x="237440" y="200228"/>
                  </a:lnTo>
                  <a:lnTo>
                    <a:pt x="237440" y="198831"/>
                  </a:lnTo>
                  <a:lnTo>
                    <a:pt x="237440" y="200228"/>
                  </a:lnTo>
                  <a:lnTo>
                    <a:pt x="237491" y="200876"/>
                  </a:lnTo>
                  <a:lnTo>
                    <a:pt x="237491" y="199530"/>
                  </a:lnTo>
                  <a:lnTo>
                    <a:pt x="237491" y="200876"/>
                  </a:lnTo>
                  <a:lnTo>
                    <a:pt x="237541" y="200876"/>
                  </a:lnTo>
                  <a:lnTo>
                    <a:pt x="237541" y="200228"/>
                  </a:lnTo>
                  <a:lnTo>
                    <a:pt x="237541" y="200876"/>
                  </a:lnTo>
                  <a:lnTo>
                    <a:pt x="237630" y="200876"/>
                  </a:lnTo>
                  <a:lnTo>
                    <a:pt x="237630" y="202260"/>
                  </a:lnTo>
                  <a:lnTo>
                    <a:pt x="237630" y="200876"/>
                  </a:lnTo>
                  <a:lnTo>
                    <a:pt x="237630" y="202260"/>
                  </a:lnTo>
                  <a:lnTo>
                    <a:pt x="237630" y="200876"/>
                  </a:lnTo>
                  <a:lnTo>
                    <a:pt x="237630" y="202959"/>
                  </a:lnTo>
                  <a:lnTo>
                    <a:pt x="237630" y="202260"/>
                  </a:lnTo>
                  <a:lnTo>
                    <a:pt x="237681" y="202260"/>
                  </a:lnTo>
                  <a:lnTo>
                    <a:pt x="237681" y="200876"/>
                  </a:lnTo>
                  <a:lnTo>
                    <a:pt x="237681" y="202260"/>
                  </a:lnTo>
                  <a:lnTo>
                    <a:pt x="237681" y="200876"/>
                  </a:lnTo>
                  <a:lnTo>
                    <a:pt x="237681" y="202260"/>
                  </a:lnTo>
                  <a:lnTo>
                    <a:pt x="237732" y="202260"/>
                  </a:lnTo>
                  <a:lnTo>
                    <a:pt x="237732" y="200876"/>
                  </a:lnTo>
                  <a:lnTo>
                    <a:pt x="237732" y="202260"/>
                  </a:lnTo>
                  <a:lnTo>
                    <a:pt x="237732" y="200876"/>
                  </a:lnTo>
                  <a:lnTo>
                    <a:pt x="237783" y="200876"/>
                  </a:lnTo>
                  <a:lnTo>
                    <a:pt x="237783" y="199530"/>
                  </a:lnTo>
                  <a:lnTo>
                    <a:pt x="237884" y="199530"/>
                  </a:lnTo>
                  <a:lnTo>
                    <a:pt x="237884" y="196799"/>
                  </a:lnTo>
                  <a:lnTo>
                    <a:pt x="237935" y="197447"/>
                  </a:lnTo>
                  <a:lnTo>
                    <a:pt x="237935" y="199530"/>
                  </a:lnTo>
                  <a:lnTo>
                    <a:pt x="237935" y="197447"/>
                  </a:lnTo>
                  <a:lnTo>
                    <a:pt x="237935" y="198831"/>
                  </a:lnTo>
                  <a:lnTo>
                    <a:pt x="237986" y="198831"/>
                  </a:lnTo>
                  <a:lnTo>
                    <a:pt x="237986" y="200228"/>
                  </a:lnTo>
                  <a:lnTo>
                    <a:pt x="237986" y="199530"/>
                  </a:lnTo>
                  <a:lnTo>
                    <a:pt x="238087" y="199530"/>
                  </a:lnTo>
                  <a:lnTo>
                    <a:pt x="238087" y="200228"/>
                  </a:lnTo>
                  <a:lnTo>
                    <a:pt x="238087" y="199530"/>
                  </a:lnTo>
                  <a:lnTo>
                    <a:pt x="238087" y="200228"/>
                  </a:lnTo>
                  <a:lnTo>
                    <a:pt x="238126" y="200228"/>
                  </a:lnTo>
                  <a:lnTo>
                    <a:pt x="238126" y="200876"/>
                  </a:lnTo>
                  <a:lnTo>
                    <a:pt x="238126" y="200228"/>
                  </a:lnTo>
                  <a:lnTo>
                    <a:pt x="238126" y="200876"/>
                  </a:lnTo>
                  <a:lnTo>
                    <a:pt x="238126" y="200228"/>
                  </a:lnTo>
                  <a:lnTo>
                    <a:pt x="238126" y="200876"/>
                  </a:lnTo>
                  <a:lnTo>
                    <a:pt x="238176" y="200876"/>
                  </a:lnTo>
                  <a:lnTo>
                    <a:pt x="238176" y="202260"/>
                  </a:lnTo>
                  <a:lnTo>
                    <a:pt x="238176" y="200876"/>
                  </a:lnTo>
                  <a:lnTo>
                    <a:pt x="238176" y="202260"/>
                  </a:lnTo>
                  <a:lnTo>
                    <a:pt x="238227" y="202260"/>
                  </a:lnTo>
                  <a:lnTo>
                    <a:pt x="238227" y="200876"/>
                  </a:lnTo>
                  <a:lnTo>
                    <a:pt x="238227" y="202260"/>
                  </a:lnTo>
                  <a:lnTo>
                    <a:pt x="238227" y="200876"/>
                  </a:lnTo>
                  <a:lnTo>
                    <a:pt x="238227" y="202260"/>
                  </a:lnTo>
                  <a:lnTo>
                    <a:pt x="238227" y="200876"/>
                  </a:lnTo>
                  <a:lnTo>
                    <a:pt x="238329" y="200876"/>
                  </a:lnTo>
                  <a:lnTo>
                    <a:pt x="238329" y="200228"/>
                  </a:lnTo>
                  <a:lnTo>
                    <a:pt x="238329" y="200876"/>
                  </a:lnTo>
                  <a:lnTo>
                    <a:pt x="238329" y="200228"/>
                  </a:lnTo>
                  <a:lnTo>
                    <a:pt x="238380" y="200228"/>
                  </a:lnTo>
                  <a:lnTo>
                    <a:pt x="238380" y="199530"/>
                  </a:lnTo>
                  <a:lnTo>
                    <a:pt x="238380" y="200228"/>
                  </a:lnTo>
                  <a:lnTo>
                    <a:pt x="238380" y="197447"/>
                  </a:lnTo>
                  <a:lnTo>
                    <a:pt x="238380" y="199530"/>
                  </a:lnTo>
                  <a:lnTo>
                    <a:pt x="238380" y="198831"/>
                  </a:lnTo>
                  <a:lnTo>
                    <a:pt x="238380" y="199530"/>
                  </a:lnTo>
                  <a:lnTo>
                    <a:pt x="238430" y="198831"/>
                  </a:lnTo>
                  <a:lnTo>
                    <a:pt x="238430" y="197447"/>
                  </a:lnTo>
                  <a:lnTo>
                    <a:pt x="238430" y="199530"/>
                  </a:lnTo>
                  <a:lnTo>
                    <a:pt x="238532" y="199530"/>
                  </a:lnTo>
                  <a:lnTo>
                    <a:pt x="238532" y="198831"/>
                  </a:lnTo>
                  <a:lnTo>
                    <a:pt x="238532" y="199530"/>
                  </a:lnTo>
                  <a:lnTo>
                    <a:pt x="238583" y="199530"/>
                  </a:lnTo>
                  <a:lnTo>
                    <a:pt x="238583" y="198831"/>
                  </a:lnTo>
                  <a:lnTo>
                    <a:pt x="238583" y="199530"/>
                  </a:lnTo>
                  <a:lnTo>
                    <a:pt x="238583" y="198831"/>
                  </a:lnTo>
                  <a:lnTo>
                    <a:pt x="238583" y="200228"/>
                  </a:lnTo>
                  <a:lnTo>
                    <a:pt x="238633" y="199530"/>
                  </a:lnTo>
                  <a:lnTo>
                    <a:pt x="238633" y="200228"/>
                  </a:lnTo>
                  <a:lnTo>
                    <a:pt x="238633" y="199530"/>
                  </a:lnTo>
                  <a:lnTo>
                    <a:pt x="238633" y="200876"/>
                  </a:lnTo>
                  <a:lnTo>
                    <a:pt x="238633" y="200228"/>
                  </a:lnTo>
                  <a:lnTo>
                    <a:pt x="238672" y="200228"/>
                  </a:lnTo>
                  <a:lnTo>
                    <a:pt x="238672" y="200876"/>
                  </a:lnTo>
                  <a:lnTo>
                    <a:pt x="238672" y="199530"/>
                  </a:lnTo>
                  <a:lnTo>
                    <a:pt x="238672" y="200228"/>
                  </a:lnTo>
                  <a:lnTo>
                    <a:pt x="238773" y="200228"/>
                  </a:lnTo>
                  <a:lnTo>
                    <a:pt x="238773" y="200876"/>
                  </a:lnTo>
                  <a:lnTo>
                    <a:pt x="238773" y="200228"/>
                  </a:lnTo>
                  <a:lnTo>
                    <a:pt x="238773" y="200876"/>
                  </a:lnTo>
                  <a:lnTo>
                    <a:pt x="238773" y="200228"/>
                  </a:lnTo>
                  <a:lnTo>
                    <a:pt x="238824" y="200228"/>
                  </a:lnTo>
                  <a:lnTo>
                    <a:pt x="238824" y="199530"/>
                  </a:lnTo>
                  <a:lnTo>
                    <a:pt x="238824" y="200228"/>
                  </a:lnTo>
                  <a:lnTo>
                    <a:pt x="238824" y="198831"/>
                  </a:lnTo>
                  <a:lnTo>
                    <a:pt x="238875" y="199530"/>
                  </a:lnTo>
                  <a:lnTo>
                    <a:pt x="238875" y="198831"/>
                  </a:lnTo>
                  <a:lnTo>
                    <a:pt x="238875" y="199530"/>
                  </a:lnTo>
                  <a:lnTo>
                    <a:pt x="238875" y="198831"/>
                  </a:lnTo>
                  <a:lnTo>
                    <a:pt x="238875" y="200228"/>
                  </a:lnTo>
                  <a:lnTo>
                    <a:pt x="238875" y="199530"/>
                  </a:lnTo>
                  <a:lnTo>
                    <a:pt x="238976" y="199530"/>
                  </a:lnTo>
                  <a:lnTo>
                    <a:pt x="238976" y="198831"/>
                  </a:lnTo>
                  <a:lnTo>
                    <a:pt x="238976" y="202260"/>
                  </a:lnTo>
                  <a:lnTo>
                    <a:pt x="238976" y="200228"/>
                  </a:lnTo>
                  <a:lnTo>
                    <a:pt x="239027" y="200228"/>
                  </a:lnTo>
                  <a:lnTo>
                    <a:pt x="239027" y="202260"/>
                  </a:lnTo>
                  <a:lnTo>
                    <a:pt x="239027" y="200228"/>
                  </a:lnTo>
                  <a:lnTo>
                    <a:pt x="239078" y="200876"/>
                  </a:lnTo>
                  <a:lnTo>
                    <a:pt x="239078" y="202260"/>
                  </a:lnTo>
                  <a:lnTo>
                    <a:pt x="239078" y="200876"/>
                  </a:lnTo>
                  <a:lnTo>
                    <a:pt x="239129" y="200876"/>
                  </a:lnTo>
                  <a:lnTo>
                    <a:pt x="239129" y="202260"/>
                  </a:lnTo>
                  <a:lnTo>
                    <a:pt x="239129" y="200876"/>
                  </a:lnTo>
                  <a:lnTo>
                    <a:pt x="239129" y="202260"/>
                  </a:lnTo>
                  <a:lnTo>
                    <a:pt x="239129" y="200876"/>
                  </a:lnTo>
                  <a:lnTo>
                    <a:pt x="239129" y="202260"/>
                  </a:lnTo>
                  <a:lnTo>
                    <a:pt x="239129" y="200228"/>
                  </a:lnTo>
                  <a:lnTo>
                    <a:pt x="239129" y="202260"/>
                  </a:lnTo>
                  <a:lnTo>
                    <a:pt x="239218" y="202260"/>
                  </a:lnTo>
                  <a:lnTo>
                    <a:pt x="239218" y="200876"/>
                  </a:lnTo>
                  <a:lnTo>
                    <a:pt x="239218" y="202260"/>
                  </a:lnTo>
                  <a:lnTo>
                    <a:pt x="239218" y="200876"/>
                  </a:lnTo>
                  <a:lnTo>
                    <a:pt x="239218" y="202260"/>
                  </a:lnTo>
                  <a:lnTo>
                    <a:pt x="239218" y="200876"/>
                  </a:lnTo>
                  <a:lnTo>
                    <a:pt x="239268" y="200876"/>
                  </a:lnTo>
                  <a:lnTo>
                    <a:pt x="239268" y="200228"/>
                  </a:lnTo>
                  <a:lnTo>
                    <a:pt x="239268" y="200876"/>
                  </a:lnTo>
                  <a:lnTo>
                    <a:pt x="239268" y="200228"/>
                  </a:lnTo>
                  <a:lnTo>
                    <a:pt x="239268" y="200876"/>
                  </a:lnTo>
                  <a:lnTo>
                    <a:pt x="239319" y="200228"/>
                  </a:lnTo>
                  <a:lnTo>
                    <a:pt x="239319" y="199530"/>
                  </a:lnTo>
                  <a:lnTo>
                    <a:pt x="239319" y="200228"/>
                  </a:lnTo>
                  <a:lnTo>
                    <a:pt x="239319" y="199530"/>
                  </a:lnTo>
                  <a:lnTo>
                    <a:pt x="239319" y="200228"/>
                  </a:lnTo>
                  <a:lnTo>
                    <a:pt x="239319" y="199530"/>
                  </a:lnTo>
                  <a:lnTo>
                    <a:pt x="239319" y="200228"/>
                  </a:lnTo>
                  <a:lnTo>
                    <a:pt x="239319" y="198831"/>
                  </a:lnTo>
                  <a:lnTo>
                    <a:pt x="239370" y="199530"/>
                  </a:lnTo>
                  <a:lnTo>
                    <a:pt x="239370" y="200876"/>
                  </a:lnTo>
                  <a:lnTo>
                    <a:pt x="239370" y="198831"/>
                  </a:lnTo>
                  <a:lnTo>
                    <a:pt x="239472" y="199530"/>
                  </a:lnTo>
                  <a:lnTo>
                    <a:pt x="239472" y="202260"/>
                  </a:lnTo>
                  <a:lnTo>
                    <a:pt x="239472" y="200228"/>
                  </a:lnTo>
                  <a:lnTo>
                    <a:pt x="239522" y="200228"/>
                  </a:lnTo>
                  <a:lnTo>
                    <a:pt x="239522" y="202260"/>
                  </a:lnTo>
                  <a:lnTo>
                    <a:pt x="239522" y="200228"/>
                  </a:lnTo>
                  <a:lnTo>
                    <a:pt x="239522" y="200876"/>
                  </a:lnTo>
                  <a:lnTo>
                    <a:pt x="239522" y="200228"/>
                  </a:lnTo>
                  <a:lnTo>
                    <a:pt x="239522" y="200876"/>
                  </a:lnTo>
                  <a:lnTo>
                    <a:pt x="239573" y="202260"/>
                  </a:lnTo>
                  <a:lnTo>
                    <a:pt x="239573" y="200876"/>
                  </a:lnTo>
                  <a:lnTo>
                    <a:pt x="239573" y="202260"/>
                  </a:lnTo>
                  <a:lnTo>
                    <a:pt x="239675" y="200876"/>
                  </a:lnTo>
                  <a:lnTo>
                    <a:pt x="239675" y="202260"/>
                  </a:lnTo>
                  <a:lnTo>
                    <a:pt x="239675" y="200876"/>
                  </a:lnTo>
                  <a:lnTo>
                    <a:pt x="239675" y="202260"/>
                  </a:lnTo>
                  <a:lnTo>
                    <a:pt x="239713" y="200876"/>
                  </a:lnTo>
                  <a:lnTo>
                    <a:pt x="239713" y="202260"/>
                  </a:lnTo>
                  <a:lnTo>
                    <a:pt x="239713" y="200876"/>
                  </a:lnTo>
                  <a:lnTo>
                    <a:pt x="239764" y="200876"/>
                  </a:lnTo>
                  <a:lnTo>
                    <a:pt x="239764" y="199530"/>
                  </a:lnTo>
                  <a:lnTo>
                    <a:pt x="239764" y="200228"/>
                  </a:lnTo>
                  <a:lnTo>
                    <a:pt x="239764" y="199530"/>
                  </a:lnTo>
                  <a:lnTo>
                    <a:pt x="239815" y="199530"/>
                  </a:lnTo>
                  <a:lnTo>
                    <a:pt x="239815" y="197447"/>
                  </a:lnTo>
                  <a:lnTo>
                    <a:pt x="239815" y="198831"/>
                  </a:lnTo>
                  <a:lnTo>
                    <a:pt x="239815" y="197447"/>
                  </a:lnTo>
                  <a:lnTo>
                    <a:pt x="239815" y="198831"/>
                  </a:lnTo>
                  <a:lnTo>
                    <a:pt x="239916" y="198831"/>
                  </a:lnTo>
                  <a:lnTo>
                    <a:pt x="239916" y="199530"/>
                  </a:lnTo>
                  <a:lnTo>
                    <a:pt x="239916" y="196799"/>
                  </a:lnTo>
                  <a:lnTo>
                    <a:pt x="239916" y="200228"/>
                  </a:lnTo>
                  <a:lnTo>
                    <a:pt x="239967" y="200228"/>
                  </a:lnTo>
                  <a:lnTo>
                    <a:pt x="239967" y="200876"/>
                  </a:lnTo>
                  <a:lnTo>
                    <a:pt x="239967" y="199530"/>
                  </a:lnTo>
                  <a:lnTo>
                    <a:pt x="239967" y="200876"/>
                  </a:lnTo>
                  <a:lnTo>
                    <a:pt x="240018" y="202260"/>
                  </a:lnTo>
                  <a:lnTo>
                    <a:pt x="240018" y="200228"/>
                  </a:lnTo>
                  <a:lnTo>
                    <a:pt x="240018" y="200876"/>
                  </a:lnTo>
                  <a:lnTo>
                    <a:pt x="240018" y="200228"/>
                  </a:lnTo>
                  <a:lnTo>
                    <a:pt x="240018" y="200876"/>
                  </a:lnTo>
                  <a:lnTo>
                    <a:pt x="240119" y="200876"/>
                  </a:lnTo>
                  <a:lnTo>
                    <a:pt x="240119" y="202959"/>
                  </a:lnTo>
                  <a:lnTo>
                    <a:pt x="240119" y="202260"/>
                  </a:lnTo>
                  <a:lnTo>
                    <a:pt x="240170" y="202260"/>
                  </a:lnTo>
                  <a:lnTo>
                    <a:pt x="240170" y="200876"/>
                  </a:lnTo>
                  <a:lnTo>
                    <a:pt x="240170" y="202260"/>
                  </a:lnTo>
                  <a:lnTo>
                    <a:pt x="240170" y="200876"/>
                  </a:lnTo>
                  <a:lnTo>
                    <a:pt x="240170" y="202260"/>
                  </a:lnTo>
                  <a:lnTo>
                    <a:pt x="240170" y="200876"/>
                  </a:lnTo>
                  <a:lnTo>
                    <a:pt x="240221" y="200876"/>
                  </a:lnTo>
                  <a:lnTo>
                    <a:pt x="240221" y="202260"/>
                  </a:lnTo>
                  <a:lnTo>
                    <a:pt x="240221" y="200876"/>
                  </a:lnTo>
                  <a:lnTo>
                    <a:pt x="240221" y="202260"/>
                  </a:lnTo>
                  <a:lnTo>
                    <a:pt x="240221" y="200228"/>
                  </a:lnTo>
                  <a:lnTo>
                    <a:pt x="240221" y="202260"/>
                  </a:lnTo>
                  <a:lnTo>
                    <a:pt x="240221" y="200876"/>
                  </a:lnTo>
                  <a:lnTo>
                    <a:pt x="240259" y="200876"/>
                  </a:lnTo>
                  <a:lnTo>
                    <a:pt x="240259" y="200228"/>
                  </a:lnTo>
                  <a:lnTo>
                    <a:pt x="240259" y="200876"/>
                  </a:lnTo>
                  <a:lnTo>
                    <a:pt x="240259" y="200228"/>
                  </a:lnTo>
                  <a:lnTo>
                    <a:pt x="240259" y="200876"/>
                  </a:lnTo>
                  <a:lnTo>
                    <a:pt x="240259" y="200228"/>
                  </a:lnTo>
                  <a:lnTo>
                    <a:pt x="240259" y="200876"/>
                  </a:lnTo>
                  <a:lnTo>
                    <a:pt x="240259" y="199530"/>
                  </a:lnTo>
                  <a:lnTo>
                    <a:pt x="240361" y="199530"/>
                  </a:lnTo>
                  <a:lnTo>
                    <a:pt x="240361" y="197447"/>
                  </a:lnTo>
                  <a:lnTo>
                    <a:pt x="240361" y="199530"/>
                  </a:lnTo>
                  <a:lnTo>
                    <a:pt x="240412" y="199530"/>
                  </a:lnTo>
                  <a:lnTo>
                    <a:pt x="240412" y="197447"/>
                  </a:lnTo>
                  <a:lnTo>
                    <a:pt x="240412" y="200228"/>
                  </a:lnTo>
                  <a:lnTo>
                    <a:pt x="240462" y="200228"/>
                  </a:lnTo>
                  <a:lnTo>
                    <a:pt x="240462" y="198831"/>
                  </a:lnTo>
                  <a:lnTo>
                    <a:pt x="240462" y="200876"/>
                  </a:lnTo>
                  <a:lnTo>
                    <a:pt x="240462" y="200228"/>
                  </a:lnTo>
                  <a:lnTo>
                    <a:pt x="240564" y="200228"/>
                  </a:lnTo>
                  <a:lnTo>
                    <a:pt x="240564" y="199530"/>
                  </a:lnTo>
                  <a:lnTo>
                    <a:pt x="240564" y="200876"/>
                  </a:lnTo>
                  <a:lnTo>
                    <a:pt x="240564" y="200228"/>
                  </a:lnTo>
                  <a:lnTo>
                    <a:pt x="240615" y="200228"/>
                  </a:lnTo>
                  <a:lnTo>
                    <a:pt x="240615" y="200876"/>
                  </a:lnTo>
                  <a:lnTo>
                    <a:pt x="240666" y="200876"/>
                  </a:lnTo>
                  <a:lnTo>
                    <a:pt x="240666" y="202260"/>
                  </a:lnTo>
                  <a:lnTo>
                    <a:pt x="240666" y="200876"/>
                  </a:lnTo>
                  <a:lnTo>
                    <a:pt x="240716" y="200876"/>
                  </a:lnTo>
                  <a:lnTo>
                    <a:pt x="240716" y="200228"/>
                  </a:lnTo>
                  <a:lnTo>
                    <a:pt x="240716" y="200876"/>
                  </a:lnTo>
                  <a:lnTo>
                    <a:pt x="240716" y="200228"/>
                  </a:lnTo>
                  <a:lnTo>
                    <a:pt x="240716" y="200876"/>
                  </a:lnTo>
                  <a:lnTo>
                    <a:pt x="240716" y="200228"/>
                  </a:lnTo>
                  <a:lnTo>
                    <a:pt x="240716" y="200876"/>
                  </a:lnTo>
                  <a:lnTo>
                    <a:pt x="240716" y="200228"/>
                  </a:lnTo>
                  <a:lnTo>
                    <a:pt x="240805" y="200876"/>
                  </a:lnTo>
                  <a:lnTo>
                    <a:pt x="240805" y="198831"/>
                  </a:lnTo>
                  <a:lnTo>
                    <a:pt x="240856" y="198831"/>
                  </a:lnTo>
                  <a:lnTo>
                    <a:pt x="240856" y="197447"/>
                  </a:lnTo>
                  <a:lnTo>
                    <a:pt x="240856" y="198831"/>
                  </a:lnTo>
                  <a:lnTo>
                    <a:pt x="240856" y="196799"/>
                  </a:lnTo>
                  <a:lnTo>
                    <a:pt x="240856" y="198831"/>
                  </a:lnTo>
                  <a:lnTo>
                    <a:pt x="240907" y="198831"/>
                  </a:lnTo>
                  <a:lnTo>
                    <a:pt x="240907" y="196799"/>
                  </a:lnTo>
                  <a:lnTo>
                    <a:pt x="240907" y="200228"/>
                  </a:lnTo>
                  <a:lnTo>
                    <a:pt x="240907" y="199530"/>
                  </a:lnTo>
                  <a:lnTo>
                    <a:pt x="240958" y="199530"/>
                  </a:lnTo>
                  <a:lnTo>
                    <a:pt x="240958" y="198831"/>
                  </a:lnTo>
                  <a:lnTo>
                    <a:pt x="240958" y="200876"/>
                  </a:lnTo>
                  <a:lnTo>
                    <a:pt x="240958" y="200228"/>
                  </a:lnTo>
                  <a:lnTo>
                    <a:pt x="241059" y="200228"/>
                  </a:lnTo>
                  <a:lnTo>
                    <a:pt x="241059" y="199530"/>
                  </a:lnTo>
                  <a:lnTo>
                    <a:pt x="241059" y="200228"/>
                  </a:lnTo>
                  <a:lnTo>
                    <a:pt x="241110" y="200228"/>
                  </a:lnTo>
                  <a:lnTo>
                    <a:pt x="241110" y="200876"/>
                  </a:lnTo>
                  <a:lnTo>
                    <a:pt x="241110" y="200228"/>
                  </a:lnTo>
                  <a:lnTo>
                    <a:pt x="241110" y="200876"/>
                  </a:lnTo>
                  <a:lnTo>
                    <a:pt x="241110" y="200228"/>
                  </a:lnTo>
                  <a:lnTo>
                    <a:pt x="241161" y="200228"/>
                  </a:lnTo>
                  <a:lnTo>
                    <a:pt x="241161" y="200876"/>
                  </a:lnTo>
                  <a:lnTo>
                    <a:pt x="241161" y="200228"/>
                  </a:lnTo>
                  <a:lnTo>
                    <a:pt x="241161" y="200876"/>
                  </a:lnTo>
                  <a:lnTo>
                    <a:pt x="241161" y="200228"/>
                  </a:lnTo>
                  <a:lnTo>
                    <a:pt x="241262" y="200228"/>
                  </a:lnTo>
                  <a:lnTo>
                    <a:pt x="241262" y="200876"/>
                  </a:lnTo>
                  <a:lnTo>
                    <a:pt x="241262" y="200228"/>
                  </a:lnTo>
                  <a:lnTo>
                    <a:pt x="241301" y="200228"/>
                  </a:lnTo>
                  <a:lnTo>
                    <a:pt x="241301" y="199530"/>
                  </a:lnTo>
                  <a:lnTo>
                    <a:pt x="241301" y="200228"/>
                  </a:lnTo>
                  <a:lnTo>
                    <a:pt x="241301" y="199530"/>
                  </a:lnTo>
                  <a:lnTo>
                    <a:pt x="241301" y="200228"/>
                  </a:lnTo>
                  <a:lnTo>
                    <a:pt x="241301" y="198831"/>
                  </a:lnTo>
                  <a:lnTo>
                    <a:pt x="241351" y="198831"/>
                  </a:lnTo>
                  <a:lnTo>
                    <a:pt x="241351" y="196799"/>
                  </a:lnTo>
                  <a:lnTo>
                    <a:pt x="241351" y="198831"/>
                  </a:lnTo>
                  <a:lnTo>
                    <a:pt x="241351" y="196799"/>
                  </a:lnTo>
                  <a:lnTo>
                    <a:pt x="241402" y="196799"/>
                  </a:lnTo>
                  <a:lnTo>
                    <a:pt x="241402" y="196113"/>
                  </a:lnTo>
                  <a:lnTo>
                    <a:pt x="241402" y="199530"/>
                  </a:lnTo>
                  <a:lnTo>
                    <a:pt x="241402" y="197447"/>
                  </a:lnTo>
                  <a:lnTo>
                    <a:pt x="241504" y="197447"/>
                  </a:lnTo>
                  <a:lnTo>
                    <a:pt x="241504" y="199530"/>
                  </a:lnTo>
                  <a:lnTo>
                    <a:pt x="241504" y="197447"/>
                  </a:lnTo>
                  <a:lnTo>
                    <a:pt x="241555" y="198831"/>
                  </a:lnTo>
                  <a:lnTo>
                    <a:pt x="241555" y="199530"/>
                  </a:lnTo>
                  <a:lnTo>
                    <a:pt x="241555" y="198831"/>
                  </a:lnTo>
                  <a:lnTo>
                    <a:pt x="241555" y="199530"/>
                  </a:lnTo>
                  <a:lnTo>
                    <a:pt x="241605" y="199530"/>
                  </a:lnTo>
                  <a:lnTo>
                    <a:pt x="241605" y="200228"/>
                  </a:lnTo>
                  <a:lnTo>
                    <a:pt x="241605" y="199530"/>
                  </a:lnTo>
                  <a:lnTo>
                    <a:pt x="241707" y="199530"/>
                  </a:lnTo>
                  <a:lnTo>
                    <a:pt x="241707" y="200228"/>
                  </a:lnTo>
                  <a:lnTo>
                    <a:pt x="241707" y="199530"/>
                  </a:lnTo>
                  <a:lnTo>
                    <a:pt x="241707" y="200228"/>
                  </a:lnTo>
                  <a:lnTo>
                    <a:pt x="241758" y="200228"/>
                  </a:lnTo>
                  <a:lnTo>
                    <a:pt x="241758" y="200876"/>
                  </a:lnTo>
                  <a:lnTo>
                    <a:pt x="241758" y="200228"/>
                  </a:lnTo>
                  <a:lnTo>
                    <a:pt x="241808" y="200228"/>
                  </a:lnTo>
                  <a:lnTo>
                    <a:pt x="241808" y="197447"/>
                  </a:lnTo>
                  <a:lnTo>
                    <a:pt x="241808" y="198831"/>
                  </a:lnTo>
                  <a:lnTo>
                    <a:pt x="241847" y="198831"/>
                  </a:lnTo>
                  <a:lnTo>
                    <a:pt x="241847" y="197447"/>
                  </a:lnTo>
                  <a:lnTo>
                    <a:pt x="241847" y="200228"/>
                  </a:lnTo>
                  <a:lnTo>
                    <a:pt x="241847" y="197447"/>
                  </a:lnTo>
                  <a:lnTo>
                    <a:pt x="241948" y="198831"/>
                  </a:lnTo>
                  <a:lnTo>
                    <a:pt x="241948" y="200876"/>
                  </a:lnTo>
                  <a:lnTo>
                    <a:pt x="241948" y="200228"/>
                  </a:lnTo>
                  <a:lnTo>
                    <a:pt x="241999" y="200228"/>
                  </a:lnTo>
                  <a:lnTo>
                    <a:pt x="241999" y="200876"/>
                  </a:lnTo>
                  <a:lnTo>
                    <a:pt x="241999" y="200228"/>
                  </a:lnTo>
                  <a:lnTo>
                    <a:pt x="242050" y="200228"/>
                  </a:lnTo>
                  <a:lnTo>
                    <a:pt x="242050" y="200876"/>
                  </a:lnTo>
                  <a:lnTo>
                    <a:pt x="242050" y="200228"/>
                  </a:lnTo>
                  <a:lnTo>
                    <a:pt x="242050" y="200876"/>
                  </a:lnTo>
                  <a:lnTo>
                    <a:pt x="242050" y="200228"/>
                  </a:lnTo>
                  <a:lnTo>
                    <a:pt x="242151" y="200228"/>
                  </a:lnTo>
                  <a:lnTo>
                    <a:pt x="242151" y="200876"/>
                  </a:lnTo>
                  <a:lnTo>
                    <a:pt x="242151" y="200228"/>
                  </a:lnTo>
                  <a:lnTo>
                    <a:pt x="242151" y="200876"/>
                  </a:lnTo>
                  <a:lnTo>
                    <a:pt x="242202" y="200876"/>
                  </a:lnTo>
                  <a:lnTo>
                    <a:pt x="242202" y="200228"/>
                  </a:lnTo>
                  <a:lnTo>
                    <a:pt x="242202" y="200876"/>
                  </a:lnTo>
                  <a:lnTo>
                    <a:pt x="242202" y="200228"/>
                  </a:lnTo>
                  <a:lnTo>
                    <a:pt x="242253" y="200228"/>
                  </a:lnTo>
                  <a:lnTo>
                    <a:pt x="242253" y="200876"/>
                  </a:lnTo>
                  <a:lnTo>
                    <a:pt x="242253" y="199530"/>
                  </a:lnTo>
                  <a:lnTo>
                    <a:pt x="242253" y="200228"/>
                  </a:lnTo>
                  <a:lnTo>
                    <a:pt x="242253" y="199530"/>
                  </a:lnTo>
                  <a:lnTo>
                    <a:pt x="242253" y="200228"/>
                  </a:lnTo>
                  <a:lnTo>
                    <a:pt x="242304" y="199530"/>
                  </a:lnTo>
                  <a:lnTo>
                    <a:pt x="242304" y="198831"/>
                  </a:lnTo>
                  <a:lnTo>
                    <a:pt x="242304" y="199530"/>
                  </a:lnTo>
                  <a:lnTo>
                    <a:pt x="242304" y="197447"/>
                  </a:lnTo>
                  <a:lnTo>
                    <a:pt x="242393" y="198831"/>
                  </a:lnTo>
                  <a:lnTo>
                    <a:pt x="242393" y="199530"/>
                  </a:lnTo>
                  <a:lnTo>
                    <a:pt x="242393" y="198831"/>
                  </a:lnTo>
                  <a:lnTo>
                    <a:pt x="242393" y="200876"/>
                  </a:lnTo>
                  <a:lnTo>
                    <a:pt x="242443" y="200876"/>
                  </a:lnTo>
                  <a:lnTo>
                    <a:pt x="242443" y="200228"/>
                  </a:lnTo>
                  <a:lnTo>
                    <a:pt x="242443" y="200876"/>
                  </a:lnTo>
                  <a:lnTo>
                    <a:pt x="242494" y="200876"/>
                  </a:lnTo>
                  <a:lnTo>
                    <a:pt x="242494" y="202260"/>
                  </a:lnTo>
                  <a:lnTo>
                    <a:pt x="242494" y="200228"/>
                  </a:lnTo>
                  <a:lnTo>
                    <a:pt x="242494" y="200876"/>
                  </a:lnTo>
                  <a:lnTo>
                    <a:pt x="242545" y="200876"/>
                  </a:lnTo>
                  <a:lnTo>
                    <a:pt x="242545" y="200228"/>
                  </a:lnTo>
                  <a:lnTo>
                    <a:pt x="242545" y="200876"/>
                  </a:lnTo>
                  <a:lnTo>
                    <a:pt x="242647" y="200876"/>
                  </a:lnTo>
                  <a:lnTo>
                    <a:pt x="242647" y="200228"/>
                  </a:lnTo>
                  <a:lnTo>
                    <a:pt x="242647" y="200876"/>
                  </a:lnTo>
                  <a:lnTo>
                    <a:pt x="242647" y="200228"/>
                  </a:lnTo>
                  <a:lnTo>
                    <a:pt x="242647" y="200876"/>
                  </a:lnTo>
                  <a:lnTo>
                    <a:pt x="242697" y="200876"/>
                  </a:lnTo>
                  <a:lnTo>
                    <a:pt x="242697" y="202260"/>
                  </a:lnTo>
                  <a:lnTo>
                    <a:pt x="242697" y="200228"/>
                  </a:lnTo>
                  <a:lnTo>
                    <a:pt x="242748" y="200228"/>
                  </a:lnTo>
                  <a:lnTo>
                    <a:pt x="242748" y="198831"/>
                  </a:lnTo>
                  <a:lnTo>
                    <a:pt x="242850" y="198831"/>
                  </a:lnTo>
                  <a:lnTo>
                    <a:pt x="242850" y="197447"/>
                  </a:lnTo>
                  <a:lnTo>
                    <a:pt x="242850" y="198831"/>
                  </a:lnTo>
                  <a:lnTo>
                    <a:pt x="242850" y="196799"/>
                  </a:lnTo>
                  <a:lnTo>
                    <a:pt x="242850" y="197447"/>
                  </a:lnTo>
                  <a:lnTo>
                    <a:pt x="242888" y="198831"/>
                  </a:lnTo>
                  <a:lnTo>
                    <a:pt x="242888" y="199530"/>
                  </a:lnTo>
                  <a:lnTo>
                    <a:pt x="242888" y="196799"/>
                  </a:lnTo>
                  <a:lnTo>
                    <a:pt x="242888" y="200228"/>
                  </a:lnTo>
                  <a:lnTo>
                    <a:pt x="242939" y="200228"/>
                  </a:lnTo>
                  <a:lnTo>
                    <a:pt x="242939" y="198831"/>
                  </a:lnTo>
                  <a:lnTo>
                    <a:pt x="242939" y="200876"/>
                  </a:lnTo>
                  <a:lnTo>
                    <a:pt x="242939" y="200228"/>
                  </a:lnTo>
                  <a:lnTo>
                    <a:pt x="242939" y="200876"/>
                  </a:lnTo>
                  <a:lnTo>
                    <a:pt x="242990" y="200876"/>
                  </a:lnTo>
                  <a:lnTo>
                    <a:pt x="242990" y="199530"/>
                  </a:lnTo>
                  <a:lnTo>
                    <a:pt x="242990" y="200876"/>
                  </a:lnTo>
                  <a:lnTo>
                    <a:pt x="242990" y="200228"/>
                  </a:lnTo>
                  <a:lnTo>
                    <a:pt x="243091" y="200228"/>
                  </a:lnTo>
                  <a:lnTo>
                    <a:pt x="243091" y="200876"/>
                  </a:lnTo>
                  <a:lnTo>
                    <a:pt x="243091" y="200228"/>
                  </a:lnTo>
                  <a:lnTo>
                    <a:pt x="243091" y="200876"/>
                  </a:lnTo>
                  <a:lnTo>
                    <a:pt x="243142" y="202260"/>
                  </a:lnTo>
                  <a:lnTo>
                    <a:pt x="243142" y="200876"/>
                  </a:lnTo>
                  <a:lnTo>
                    <a:pt x="243142" y="202260"/>
                  </a:lnTo>
                  <a:lnTo>
                    <a:pt x="243142" y="200876"/>
                  </a:lnTo>
                  <a:lnTo>
                    <a:pt x="243142" y="202260"/>
                  </a:lnTo>
                  <a:lnTo>
                    <a:pt x="243142" y="200876"/>
                  </a:lnTo>
                  <a:lnTo>
                    <a:pt x="243142" y="202260"/>
                  </a:lnTo>
                  <a:lnTo>
                    <a:pt x="243142" y="200228"/>
                  </a:lnTo>
                  <a:lnTo>
                    <a:pt x="243193" y="200876"/>
                  </a:lnTo>
                  <a:lnTo>
                    <a:pt x="243193" y="200228"/>
                  </a:lnTo>
                  <a:lnTo>
                    <a:pt x="243193" y="200876"/>
                  </a:lnTo>
                  <a:lnTo>
                    <a:pt x="243193" y="200228"/>
                  </a:lnTo>
                  <a:lnTo>
                    <a:pt x="243193" y="200876"/>
                  </a:lnTo>
                  <a:lnTo>
                    <a:pt x="243193" y="200228"/>
                  </a:lnTo>
                  <a:lnTo>
                    <a:pt x="243193" y="200876"/>
                  </a:lnTo>
                  <a:lnTo>
                    <a:pt x="243294" y="200876"/>
                  </a:lnTo>
                  <a:lnTo>
                    <a:pt x="243294" y="199530"/>
                  </a:lnTo>
                  <a:lnTo>
                    <a:pt x="243345" y="198831"/>
                  </a:lnTo>
                  <a:lnTo>
                    <a:pt x="243345" y="197447"/>
                  </a:lnTo>
                  <a:lnTo>
                    <a:pt x="243345" y="200228"/>
                  </a:lnTo>
                  <a:lnTo>
                    <a:pt x="243345" y="199530"/>
                  </a:lnTo>
                  <a:lnTo>
                    <a:pt x="243396" y="198831"/>
                  </a:lnTo>
                  <a:lnTo>
                    <a:pt x="243396" y="197447"/>
                  </a:lnTo>
                  <a:lnTo>
                    <a:pt x="243396" y="200876"/>
                  </a:lnTo>
                  <a:lnTo>
                    <a:pt x="243396" y="199530"/>
                  </a:lnTo>
                  <a:lnTo>
                    <a:pt x="243434" y="199530"/>
                  </a:lnTo>
                  <a:lnTo>
                    <a:pt x="243434" y="198831"/>
                  </a:lnTo>
                  <a:lnTo>
                    <a:pt x="243434" y="200228"/>
                  </a:lnTo>
                  <a:lnTo>
                    <a:pt x="243587" y="200228"/>
                  </a:lnTo>
                  <a:lnTo>
                    <a:pt x="243587" y="202260"/>
                  </a:lnTo>
                  <a:lnTo>
                    <a:pt x="243637" y="202260"/>
                  </a:lnTo>
                  <a:lnTo>
                    <a:pt x="243637" y="200876"/>
                  </a:lnTo>
                  <a:lnTo>
                    <a:pt x="243637" y="202260"/>
                  </a:lnTo>
                  <a:lnTo>
                    <a:pt x="243637" y="200876"/>
                  </a:lnTo>
                  <a:lnTo>
                    <a:pt x="243637" y="202260"/>
                  </a:lnTo>
                  <a:lnTo>
                    <a:pt x="243637" y="200876"/>
                  </a:lnTo>
                  <a:lnTo>
                    <a:pt x="243637" y="202260"/>
                  </a:lnTo>
                  <a:lnTo>
                    <a:pt x="243739" y="200876"/>
                  </a:lnTo>
                  <a:lnTo>
                    <a:pt x="243739" y="200228"/>
                  </a:lnTo>
                  <a:lnTo>
                    <a:pt x="243790" y="200228"/>
                  </a:lnTo>
                  <a:lnTo>
                    <a:pt x="243790" y="198831"/>
                  </a:lnTo>
                  <a:lnTo>
                    <a:pt x="243790" y="199530"/>
                  </a:lnTo>
                  <a:lnTo>
                    <a:pt x="243790" y="197447"/>
                  </a:lnTo>
                  <a:lnTo>
                    <a:pt x="243841" y="197447"/>
                  </a:lnTo>
                  <a:lnTo>
                    <a:pt x="243841" y="196799"/>
                  </a:lnTo>
                  <a:lnTo>
                    <a:pt x="243841" y="197447"/>
                  </a:lnTo>
                  <a:lnTo>
                    <a:pt x="243841" y="196799"/>
                  </a:lnTo>
                  <a:lnTo>
                    <a:pt x="243841" y="199530"/>
                  </a:lnTo>
                  <a:lnTo>
                    <a:pt x="243841" y="198831"/>
                  </a:lnTo>
                  <a:lnTo>
                    <a:pt x="243891" y="197447"/>
                  </a:lnTo>
                  <a:lnTo>
                    <a:pt x="243891" y="196799"/>
                  </a:lnTo>
                  <a:lnTo>
                    <a:pt x="243891" y="197447"/>
                  </a:lnTo>
                  <a:lnTo>
                    <a:pt x="243891" y="196799"/>
                  </a:lnTo>
                  <a:lnTo>
                    <a:pt x="243891" y="200228"/>
                  </a:lnTo>
                  <a:lnTo>
                    <a:pt x="243891" y="199530"/>
                  </a:lnTo>
                  <a:lnTo>
                    <a:pt x="243980" y="199530"/>
                  </a:lnTo>
                  <a:lnTo>
                    <a:pt x="243980" y="198831"/>
                  </a:lnTo>
                  <a:lnTo>
                    <a:pt x="243980" y="199530"/>
                  </a:lnTo>
                  <a:lnTo>
                    <a:pt x="243980" y="198831"/>
                  </a:lnTo>
                  <a:lnTo>
                    <a:pt x="243980" y="200228"/>
                  </a:lnTo>
                  <a:lnTo>
                    <a:pt x="243980" y="199530"/>
                  </a:lnTo>
                  <a:lnTo>
                    <a:pt x="243980" y="200228"/>
                  </a:lnTo>
                  <a:lnTo>
                    <a:pt x="244031" y="200228"/>
                  </a:lnTo>
                  <a:lnTo>
                    <a:pt x="244031" y="199530"/>
                  </a:lnTo>
                  <a:lnTo>
                    <a:pt x="244031" y="200876"/>
                  </a:lnTo>
                  <a:lnTo>
                    <a:pt x="244031" y="200228"/>
                  </a:lnTo>
                  <a:lnTo>
                    <a:pt x="244082" y="200228"/>
                  </a:lnTo>
                  <a:lnTo>
                    <a:pt x="244082" y="200876"/>
                  </a:lnTo>
                  <a:lnTo>
                    <a:pt x="244082" y="200228"/>
                  </a:lnTo>
                  <a:lnTo>
                    <a:pt x="244082" y="202260"/>
                  </a:lnTo>
                  <a:lnTo>
                    <a:pt x="244082" y="200876"/>
                  </a:lnTo>
                  <a:lnTo>
                    <a:pt x="244133" y="200876"/>
                  </a:lnTo>
                  <a:lnTo>
                    <a:pt x="244133" y="202260"/>
                  </a:lnTo>
                  <a:lnTo>
                    <a:pt x="244133" y="200876"/>
                  </a:lnTo>
                  <a:lnTo>
                    <a:pt x="244133" y="202260"/>
                  </a:lnTo>
                  <a:lnTo>
                    <a:pt x="244133" y="200876"/>
                  </a:lnTo>
                  <a:lnTo>
                    <a:pt x="244234" y="200876"/>
                  </a:lnTo>
                  <a:lnTo>
                    <a:pt x="244234" y="202260"/>
                  </a:lnTo>
                  <a:lnTo>
                    <a:pt x="244234" y="200228"/>
                  </a:lnTo>
                  <a:lnTo>
                    <a:pt x="244234" y="200876"/>
                  </a:lnTo>
                  <a:lnTo>
                    <a:pt x="244285" y="200876"/>
                  </a:lnTo>
                  <a:lnTo>
                    <a:pt x="244285" y="198831"/>
                  </a:lnTo>
                  <a:lnTo>
                    <a:pt x="244336" y="198831"/>
                  </a:lnTo>
                  <a:lnTo>
                    <a:pt x="244336" y="197447"/>
                  </a:lnTo>
                  <a:lnTo>
                    <a:pt x="244336" y="199530"/>
                  </a:lnTo>
                  <a:lnTo>
                    <a:pt x="244336" y="198831"/>
                  </a:lnTo>
                  <a:lnTo>
                    <a:pt x="244336" y="199530"/>
                  </a:lnTo>
                  <a:lnTo>
                    <a:pt x="244336" y="198831"/>
                  </a:lnTo>
                  <a:lnTo>
                    <a:pt x="244336" y="199530"/>
                  </a:lnTo>
                  <a:lnTo>
                    <a:pt x="244336" y="198831"/>
                  </a:lnTo>
                  <a:lnTo>
                    <a:pt x="244336" y="199530"/>
                  </a:lnTo>
                  <a:lnTo>
                    <a:pt x="244437" y="198831"/>
                  </a:lnTo>
                  <a:lnTo>
                    <a:pt x="244437" y="200228"/>
                  </a:lnTo>
                  <a:lnTo>
                    <a:pt x="244437" y="199530"/>
                  </a:lnTo>
                  <a:lnTo>
                    <a:pt x="244476" y="199530"/>
                  </a:lnTo>
                  <a:lnTo>
                    <a:pt x="244476" y="200228"/>
                  </a:lnTo>
                  <a:lnTo>
                    <a:pt x="244476" y="198831"/>
                  </a:lnTo>
                  <a:lnTo>
                    <a:pt x="244476" y="199530"/>
                  </a:lnTo>
                  <a:lnTo>
                    <a:pt x="244476" y="198831"/>
                  </a:lnTo>
                  <a:lnTo>
                    <a:pt x="244526" y="199530"/>
                  </a:lnTo>
                  <a:lnTo>
                    <a:pt x="244526" y="200228"/>
                  </a:lnTo>
                  <a:lnTo>
                    <a:pt x="244526" y="199530"/>
                  </a:lnTo>
                  <a:lnTo>
                    <a:pt x="244577" y="199530"/>
                  </a:lnTo>
                  <a:lnTo>
                    <a:pt x="244577" y="200228"/>
                  </a:lnTo>
                  <a:lnTo>
                    <a:pt x="244577" y="199530"/>
                  </a:lnTo>
                  <a:lnTo>
                    <a:pt x="244577" y="200876"/>
                  </a:lnTo>
                  <a:lnTo>
                    <a:pt x="244577" y="200228"/>
                  </a:lnTo>
                  <a:lnTo>
                    <a:pt x="244679" y="200228"/>
                  </a:lnTo>
                  <a:lnTo>
                    <a:pt x="244679" y="200876"/>
                  </a:lnTo>
                  <a:lnTo>
                    <a:pt x="244679" y="200228"/>
                  </a:lnTo>
                  <a:lnTo>
                    <a:pt x="244679" y="200876"/>
                  </a:lnTo>
                  <a:lnTo>
                    <a:pt x="244679" y="200228"/>
                  </a:lnTo>
                  <a:lnTo>
                    <a:pt x="244679" y="200876"/>
                  </a:lnTo>
                  <a:lnTo>
                    <a:pt x="244679" y="200228"/>
                  </a:lnTo>
                  <a:lnTo>
                    <a:pt x="244730" y="200228"/>
                  </a:lnTo>
                  <a:lnTo>
                    <a:pt x="244730" y="199530"/>
                  </a:lnTo>
                  <a:lnTo>
                    <a:pt x="244730" y="200228"/>
                  </a:lnTo>
                  <a:lnTo>
                    <a:pt x="244730" y="199530"/>
                  </a:lnTo>
                  <a:lnTo>
                    <a:pt x="244780" y="199530"/>
                  </a:lnTo>
                  <a:lnTo>
                    <a:pt x="244780" y="198831"/>
                  </a:lnTo>
                  <a:lnTo>
                    <a:pt x="244780" y="199530"/>
                  </a:lnTo>
                  <a:lnTo>
                    <a:pt x="244882" y="200228"/>
                  </a:lnTo>
                  <a:lnTo>
                    <a:pt x="244882" y="199530"/>
                  </a:lnTo>
                  <a:lnTo>
                    <a:pt x="244882" y="202260"/>
                  </a:lnTo>
                  <a:lnTo>
                    <a:pt x="244933" y="200876"/>
                  </a:lnTo>
                  <a:lnTo>
                    <a:pt x="244933" y="200228"/>
                  </a:lnTo>
                  <a:lnTo>
                    <a:pt x="244933" y="202260"/>
                  </a:lnTo>
                  <a:lnTo>
                    <a:pt x="244983" y="202260"/>
                  </a:lnTo>
                  <a:lnTo>
                    <a:pt x="244983" y="200876"/>
                  </a:lnTo>
                  <a:lnTo>
                    <a:pt x="244983" y="202260"/>
                  </a:lnTo>
                  <a:lnTo>
                    <a:pt x="245022" y="202260"/>
                  </a:lnTo>
                  <a:lnTo>
                    <a:pt x="245022" y="200876"/>
                  </a:lnTo>
                  <a:lnTo>
                    <a:pt x="245022" y="202260"/>
                  </a:lnTo>
                  <a:lnTo>
                    <a:pt x="245123" y="200876"/>
                  </a:lnTo>
                  <a:lnTo>
                    <a:pt x="245123" y="202959"/>
                  </a:lnTo>
                  <a:lnTo>
                    <a:pt x="245123" y="202260"/>
                  </a:lnTo>
                  <a:lnTo>
                    <a:pt x="245174" y="202260"/>
                  </a:lnTo>
                  <a:lnTo>
                    <a:pt x="245174" y="200876"/>
                  </a:lnTo>
                  <a:lnTo>
                    <a:pt x="245174" y="202260"/>
                  </a:lnTo>
                  <a:lnTo>
                    <a:pt x="245174" y="200228"/>
                  </a:lnTo>
                  <a:lnTo>
                    <a:pt x="245174" y="200876"/>
                  </a:lnTo>
                  <a:lnTo>
                    <a:pt x="245174" y="200228"/>
                  </a:lnTo>
                  <a:lnTo>
                    <a:pt x="245225" y="200228"/>
                  </a:lnTo>
                  <a:lnTo>
                    <a:pt x="245225" y="200876"/>
                  </a:lnTo>
                  <a:lnTo>
                    <a:pt x="245225" y="199530"/>
                  </a:lnTo>
                  <a:lnTo>
                    <a:pt x="245326" y="199530"/>
                  </a:lnTo>
                  <a:lnTo>
                    <a:pt x="245326" y="198831"/>
                  </a:lnTo>
                  <a:lnTo>
                    <a:pt x="245326" y="200876"/>
                  </a:lnTo>
                  <a:lnTo>
                    <a:pt x="245326" y="200228"/>
                  </a:lnTo>
                  <a:lnTo>
                    <a:pt x="245377" y="200228"/>
                  </a:lnTo>
                  <a:lnTo>
                    <a:pt x="245377" y="202959"/>
                  </a:lnTo>
                  <a:lnTo>
                    <a:pt x="245377" y="200876"/>
                  </a:lnTo>
                  <a:lnTo>
                    <a:pt x="245377" y="202260"/>
                  </a:lnTo>
                  <a:lnTo>
                    <a:pt x="245377" y="200876"/>
                  </a:lnTo>
                  <a:lnTo>
                    <a:pt x="245377" y="202260"/>
                  </a:lnTo>
                  <a:lnTo>
                    <a:pt x="245428" y="200876"/>
                  </a:lnTo>
                  <a:lnTo>
                    <a:pt x="245428" y="202959"/>
                  </a:lnTo>
                  <a:lnTo>
                    <a:pt x="245428" y="202260"/>
                  </a:lnTo>
                  <a:lnTo>
                    <a:pt x="245479" y="202260"/>
                  </a:lnTo>
                  <a:lnTo>
                    <a:pt x="245479" y="202959"/>
                  </a:lnTo>
                  <a:lnTo>
                    <a:pt x="245479" y="202260"/>
                  </a:lnTo>
                  <a:lnTo>
                    <a:pt x="245568" y="202260"/>
                  </a:lnTo>
                  <a:lnTo>
                    <a:pt x="245568" y="200876"/>
                  </a:lnTo>
                  <a:lnTo>
                    <a:pt x="245568" y="202260"/>
                  </a:lnTo>
                  <a:lnTo>
                    <a:pt x="245618" y="202260"/>
                  </a:lnTo>
                  <a:lnTo>
                    <a:pt x="245618" y="202959"/>
                  </a:lnTo>
                  <a:lnTo>
                    <a:pt x="245618" y="202260"/>
                  </a:lnTo>
                  <a:lnTo>
                    <a:pt x="245618" y="202959"/>
                  </a:lnTo>
                  <a:lnTo>
                    <a:pt x="245618" y="202260"/>
                  </a:lnTo>
                  <a:lnTo>
                    <a:pt x="245618" y="202959"/>
                  </a:lnTo>
                  <a:lnTo>
                    <a:pt x="245618" y="202260"/>
                  </a:lnTo>
                  <a:lnTo>
                    <a:pt x="245669" y="202260"/>
                  </a:lnTo>
                  <a:lnTo>
                    <a:pt x="245669" y="200876"/>
                  </a:lnTo>
                  <a:lnTo>
                    <a:pt x="245669" y="202260"/>
                  </a:lnTo>
                  <a:lnTo>
                    <a:pt x="245669" y="200228"/>
                  </a:lnTo>
                  <a:lnTo>
                    <a:pt x="245720" y="200228"/>
                  </a:lnTo>
                  <a:lnTo>
                    <a:pt x="245720" y="197447"/>
                  </a:lnTo>
                  <a:lnTo>
                    <a:pt x="245720" y="198831"/>
                  </a:lnTo>
                  <a:lnTo>
                    <a:pt x="245720" y="197447"/>
                  </a:lnTo>
                  <a:lnTo>
                    <a:pt x="245720" y="198831"/>
                  </a:lnTo>
                  <a:lnTo>
                    <a:pt x="245720" y="197447"/>
                  </a:lnTo>
                  <a:lnTo>
                    <a:pt x="245822" y="197447"/>
                  </a:lnTo>
                  <a:lnTo>
                    <a:pt x="245822" y="196799"/>
                  </a:lnTo>
                  <a:lnTo>
                    <a:pt x="245822" y="200228"/>
                  </a:lnTo>
                  <a:lnTo>
                    <a:pt x="245822" y="196799"/>
                  </a:lnTo>
                  <a:lnTo>
                    <a:pt x="245822" y="197447"/>
                  </a:lnTo>
                  <a:lnTo>
                    <a:pt x="245872" y="197447"/>
                  </a:lnTo>
                  <a:lnTo>
                    <a:pt x="245872" y="200876"/>
                  </a:lnTo>
                  <a:lnTo>
                    <a:pt x="245872" y="199530"/>
                  </a:lnTo>
                  <a:lnTo>
                    <a:pt x="245872" y="200228"/>
                  </a:lnTo>
                  <a:lnTo>
                    <a:pt x="245923" y="200876"/>
                  </a:lnTo>
                  <a:lnTo>
                    <a:pt x="245923" y="200228"/>
                  </a:lnTo>
                  <a:lnTo>
                    <a:pt x="245923" y="200876"/>
                  </a:lnTo>
                  <a:lnTo>
                    <a:pt x="246025" y="200876"/>
                  </a:lnTo>
                  <a:lnTo>
                    <a:pt x="246025" y="202260"/>
                  </a:lnTo>
                  <a:lnTo>
                    <a:pt x="246025" y="200876"/>
                  </a:lnTo>
                  <a:lnTo>
                    <a:pt x="246025" y="202260"/>
                  </a:lnTo>
                  <a:lnTo>
                    <a:pt x="246025" y="200876"/>
                  </a:lnTo>
                  <a:lnTo>
                    <a:pt x="246025" y="202959"/>
                  </a:lnTo>
                  <a:lnTo>
                    <a:pt x="246025" y="202260"/>
                  </a:lnTo>
                  <a:lnTo>
                    <a:pt x="246063" y="200876"/>
                  </a:lnTo>
                  <a:lnTo>
                    <a:pt x="246063" y="202959"/>
                  </a:lnTo>
                  <a:lnTo>
                    <a:pt x="246063" y="202260"/>
                  </a:lnTo>
                  <a:lnTo>
                    <a:pt x="246114" y="202959"/>
                  </a:lnTo>
                  <a:lnTo>
                    <a:pt x="246114" y="202260"/>
                  </a:lnTo>
                  <a:lnTo>
                    <a:pt x="246114" y="202959"/>
                  </a:lnTo>
                  <a:lnTo>
                    <a:pt x="246114" y="202260"/>
                  </a:lnTo>
                  <a:lnTo>
                    <a:pt x="246114" y="202959"/>
                  </a:lnTo>
                  <a:lnTo>
                    <a:pt x="246114" y="202260"/>
                  </a:lnTo>
                  <a:lnTo>
                    <a:pt x="246165" y="202260"/>
                  </a:lnTo>
                  <a:lnTo>
                    <a:pt x="246165" y="200228"/>
                  </a:lnTo>
                  <a:lnTo>
                    <a:pt x="246266" y="200228"/>
                  </a:lnTo>
                  <a:lnTo>
                    <a:pt x="246266" y="197447"/>
                  </a:lnTo>
                  <a:lnTo>
                    <a:pt x="246266" y="200228"/>
                  </a:lnTo>
                  <a:lnTo>
                    <a:pt x="246317" y="200228"/>
                  </a:lnTo>
                  <a:lnTo>
                    <a:pt x="246317" y="198831"/>
                  </a:lnTo>
                  <a:lnTo>
                    <a:pt x="246317" y="202260"/>
                  </a:lnTo>
                  <a:lnTo>
                    <a:pt x="246368" y="202260"/>
                  </a:lnTo>
                  <a:lnTo>
                    <a:pt x="246368" y="200228"/>
                  </a:lnTo>
                  <a:lnTo>
                    <a:pt x="246368" y="202260"/>
                  </a:lnTo>
                  <a:lnTo>
                    <a:pt x="246469" y="200876"/>
                  </a:lnTo>
                  <a:lnTo>
                    <a:pt x="246469" y="200228"/>
                  </a:lnTo>
                  <a:lnTo>
                    <a:pt x="246469" y="202260"/>
                  </a:lnTo>
                  <a:lnTo>
                    <a:pt x="246469" y="200876"/>
                  </a:lnTo>
                  <a:lnTo>
                    <a:pt x="246469" y="202260"/>
                  </a:lnTo>
                  <a:lnTo>
                    <a:pt x="246469" y="200876"/>
                  </a:lnTo>
                  <a:lnTo>
                    <a:pt x="246520" y="200876"/>
                  </a:lnTo>
                  <a:lnTo>
                    <a:pt x="246520" y="200228"/>
                  </a:lnTo>
                  <a:lnTo>
                    <a:pt x="246520" y="202260"/>
                  </a:lnTo>
                  <a:lnTo>
                    <a:pt x="246520" y="200876"/>
                  </a:lnTo>
                  <a:lnTo>
                    <a:pt x="246520" y="202260"/>
                  </a:lnTo>
                  <a:lnTo>
                    <a:pt x="246571" y="202260"/>
                  </a:lnTo>
                  <a:lnTo>
                    <a:pt x="246571" y="200876"/>
                  </a:lnTo>
                  <a:lnTo>
                    <a:pt x="246571" y="202260"/>
                  </a:lnTo>
                  <a:lnTo>
                    <a:pt x="246609" y="202260"/>
                  </a:lnTo>
                  <a:lnTo>
                    <a:pt x="246609" y="200876"/>
                  </a:lnTo>
                  <a:lnTo>
                    <a:pt x="246711" y="200876"/>
                  </a:lnTo>
                  <a:lnTo>
                    <a:pt x="246711" y="198831"/>
                  </a:lnTo>
                  <a:lnTo>
                    <a:pt x="246762" y="198831"/>
                  </a:lnTo>
                  <a:lnTo>
                    <a:pt x="246762" y="197447"/>
                  </a:lnTo>
                  <a:lnTo>
                    <a:pt x="246762" y="198831"/>
                  </a:lnTo>
                  <a:lnTo>
                    <a:pt x="246812" y="199530"/>
                  </a:lnTo>
                  <a:lnTo>
                    <a:pt x="246812" y="196799"/>
                  </a:lnTo>
                  <a:lnTo>
                    <a:pt x="246812" y="200876"/>
                  </a:lnTo>
                  <a:lnTo>
                    <a:pt x="246914" y="200876"/>
                  </a:lnTo>
                  <a:lnTo>
                    <a:pt x="246914" y="198831"/>
                  </a:lnTo>
                  <a:lnTo>
                    <a:pt x="246914" y="200228"/>
                  </a:lnTo>
                  <a:lnTo>
                    <a:pt x="246965" y="200228"/>
                  </a:lnTo>
                  <a:lnTo>
                    <a:pt x="246965" y="199530"/>
                  </a:lnTo>
                  <a:lnTo>
                    <a:pt x="246965" y="200228"/>
                  </a:lnTo>
                  <a:lnTo>
                    <a:pt x="246965" y="199530"/>
                  </a:lnTo>
                  <a:lnTo>
                    <a:pt x="246965" y="200876"/>
                  </a:lnTo>
                  <a:lnTo>
                    <a:pt x="247016" y="200228"/>
                  </a:lnTo>
                  <a:lnTo>
                    <a:pt x="247016" y="202260"/>
                  </a:lnTo>
                  <a:lnTo>
                    <a:pt x="247016" y="200876"/>
                  </a:lnTo>
                  <a:lnTo>
                    <a:pt x="247066" y="200876"/>
                  </a:lnTo>
                  <a:lnTo>
                    <a:pt x="247066" y="202260"/>
                  </a:lnTo>
                  <a:lnTo>
                    <a:pt x="247066" y="200876"/>
                  </a:lnTo>
                  <a:lnTo>
                    <a:pt x="247066" y="202260"/>
                  </a:lnTo>
                  <a:lnTo>
                    <a:pt x="247066" y="200876"/>
                  </a:lnTo>
                  <a:lnTo>
                    <a:pt x="247155" y="200876"/>
                  </a:lnTo>
                  <a:lnTo>
                    <a:pt x="247155" y="202260"/>
                  </a:lnTo>
                  <a:lnTo>
                    <a:pt x="247155" y="200876"/>
                  </a:lnTo>
                  <a:lnTo>
                    <a:pt x="247155" y="202260"/>
                  </a:lnTo>
                  <a:lnTo>
                    <a:pt x="247155" y="200228"/>
                  </a:lnTo>
                  <a:lnTo>
                    <a:pt x="247206" y="200228"/>
                  </a:lnTo>
                  <a:lnTo>
                    <a:pt x="247206" y="198831"/>
                  </a:lnTo>
                  <a:lnTo>
                    <a:pt x="247206" y="199530"/>
                  </a:lnTo>
                  <a:lnTo>
                    <a:pt x="247206" y="198831"/>
                  </a:lnTo>
                  <a:lnTo>
                    <a:pt x="247257" y="198831"/>
                  </a:lnTo>
                  <a:lnTo>
                    <a:pt x="247257" y="197447"/>
                  </a:lnTo>
                  <a:lnTo>
                    <a:pt x="247257" y="198831"/>
                  </a:lnTo>
                  <a:lnTo>
                    <a:pt x="247257" y="197447"/>
                  </a:lnTo>
                  <a:lnTo>
                    <a:pt x="247308" y="198831"/>
                  </a:lnTo>
                  <a:lnTo>
                    <a:pt x="247308" y="196799"/>
                  </a:lnTo>
                  <a:lnTo>
                    <a:pt x="247308" y="200228"/>
                  </a:lnTo>
                  <a:lnTo>
                    <a:pt x="247308" y="199530"/>
                  </a:lnTo>
                  <a:lnTo>
                    <a:pt x="247409" y="199530"/>
                  </a:lnTo>
                  <a:lnTo>
                    <a:pt x="247409" y="197447"/>
                  </a:lnTo>
                  <a:lnTo>
                    <a:pt x="247409" y="199530"/>
                  </a:lnTo>
                  <a:lnTo>
                    <a:pt x="247409" y="198831"/>
                  </a:lnTo>
                  <a:lnTo>
                    <a:pt x="247409" y="199530"/>
                  </a:lnTo>
                  <a:lnTo>
                    <a:pt x="247460" y="198831"/>
                  </a:lnTo>
                  <a:lnTo>
                    <a:pt x="247460" y="199530"/>
                  </a:lnTo>
                  <a:lnTo>
                    <a:pt x="247460" y="198831"/>
                  </a:lnTo>
                  <a:lnTo>
                    <a:pt x="247460" y="199530"/>
                  </a:lnTo>
                  <a:lnTo>
                    <a:pt x="247460" y="198831"/>
                  </a:lnTo>
                  <a:lnTo>
                    <a:pt x="247511" y="198831"/>
                  </a:lnTo>
                  <a:lnTo>
                    <a:pt x="247511" y="200228"/>
                  </a:lnTo>
                  <a:lnTo>
                    <a:pt x="247612" y="199530"/>
                  </a:lnTo>
                  <a:lnTo>
                    <a:pt x="247612" y="200228"/>
                  </a:lnTo>
                  <a:lnTo>
                    <a:pt x="247612" y="199530"/>
                  </a:lnTo>
                  <a:lnTo>
                    <a:pt x="247612" y="200228"/>
                  </a:lnTo>
                  <a:lnTo>
                    <a:pt x="247651" y="200228"/>
                  </a:lnTo>
                  <a:lnTo>
                    <a:pt x="247651" y="200876"/>
                  </a:lnTo>
                  <a:lnTo>
                    <a:pt x="247651" y="199530"/>
                  </a:lnTo>
                  <a:lnTo>
                    <a:pt x="247651" y="200228"/>
                  </a:lnTo>
                  <a:lnTo>
                    <a:pt x="247701" y="200228"/>
                  </a:lnTo>
                  <a:lnTo>
                    <a:pt x="247701" y="198831"/>
                  </a:lnTo>
                  <a:lnTo>
                    <a:pt x="247752" y="198831"/>
                  </a:lnTo>
                  <a:lnTo>
                    <a:pt x="247752" y="197447"/>
                  </a:lnTo>
                  <a:lnTo>
                    <a:pt x="247752" y="199530"/>
                  </a:lnTo>
                  <a:lnTo>
                    <a:pt x="247752" y="198831"/>
                  </a:lnTo>
                  <a:lnTo>
                    <a:pt x="247854" y="197447"/>
                  </a:lnTo>
                  <a:lnTo>
                    <a:pt x="247854" y="196799"/>
                  </a:lnTo>
                  <a:lnTo>
                    <a:pt x="247854" y="200228"/>
                  </a:lnTo>
                  <a:lnTo>
                    <a:pt x="247854" y="198831"/>
                  </a:lnTo>
                  <a:lnTo>
                    <a:pt x="247905" y="198831"/>
                  </a:lnTo>
                  <a:lnTo>
                    <a:pt x="247905" y="197447"/>
                  </a:lnTo>
                  <a:lnTo>
                    <a:pt x="247905" y="200228"/>
                  </a:lnTo>
                  <a:lnTo>
                    <a:pt x="247905" y="199530"/>
                  </a:lnTo>
                  <a:lnTo>
                    <a:pt x="247905" y="200228"/>
                  </a:lnTo>
                  <a:lnTo>
                    <a:pt x="247905" y="198831"/>
                  </a:lnTo>
                  <a:lnTo>
                    <a:pt x="247955" y="198831"/>
                  </a:lnTo>
                  <a:lnTo>
                    <a:pt x="247955" y="200228"/>
                  </a:lnTo>
                  <a:lnTo>
                    <a:pt x="247955" y="199530"/>
                  </a:lnTo>
                  <a:lnTo>
                    <a:pt x="248057" y="199530"/>
                  </a:lnTo>
                  <a:lnTo>
                    <a:pt x="248057" y="200228"/>
                  </a:lnTo>
                  <a:lnTo>
                    <a:pt x="248057" y="199530"/>
                  </a:lnTo>
                  <a:lnTo>
                    <a:pt x="248057" y="200876"/>
                  </a:lnTo>
                  <a:lnTo>
                    <a:pt x="248057" y="200228"/>
                  </a:lnTo>
                  <a:lnTo>
                    <a:pt x="248108" y="200876"/>
                  </a:lnTo>
                  <a:lnTo>
                    <a:pt x="248108" y="200228"/>
                  </a:lnTo>
                  <a:lnTo>
                    <a:pt x="248108" y="200876"/>
                  </a:lnTo>
                  <a:lnTo>
                    <a:pt x="248108" y="200228"/>
                  </a:lnTo>
                  <a:lnTo>
                    <a:pt x="248108" y="200876"/>
                  </a:lnTo>
                  <a:lnTo>
                    <a:pt x="248108" y="200228"/>
                  </a:lnTo>
                  <a:lnTo>
                    <a:pt x="248108" y="200876"/>
                  </a:lnTo>
                  <a:lnTo>
                    <a:pt x="248158" y="200876"/>
                  </a:lnTo>
                  <a:lnTo>
                    <a:pt x="248158" y="200228"/>
                  </a:lnTo>
                  <a:lnTo>
                    <a:pt x="248197" y="200228"/>
                  </a:lnTo>
                  <a:lnTo>
                    <a:pt x="248197" y="198831"/>
                  </a:lnTo>
                  <a:lnTo>
                    <a:pt x="248298" y="198831"/>
                  </a:lnTo>
                  <a:lnTo>
                    <a:pt x="248298" y="199530"/>
                  </a:lnTo>
                  <a:lnTo>
                    <a:pt x="248298" y="198831"/>
                  </a:lnTo>
                  <a:lnTo>
                    <a:pt x="248349" y="198831"/>
                  </a:lnTo>
                  <a:lnTo>
                    <a:pt x="248349" y="200876"/>
                  </a:lnTo>
                  <a:lnTo>
                    <a:pt x="248349" y="200228"/>
                  </a:lnTo>
                  <a:lnTo>
                    <a:pt x="248400" y="200228"/>
                  </a:lnTo>
                  <a:lnTo>
                    <a:pt x="248400" y="200876"/>
                  </a:lnTo>
                  <a:lnTo>
                    <a:pt x="248400" y="199530"/>
                  </a:lnTo>
                  <a:lnTo>
                    <a:pt x="248400" y="200228"/>
                  </a:lnTo>
                  <a:lnTo>
                    <a:pt x="248501" y="200228"/>
                  </a:lnTo>
                  <a:lnTo>
                    <a:pt x="248501" y="200876"/>
                  </a:lnTo>
                  <a:lnTo>
                    <a:pt x="248501" y="200228"/>
                  </a:lnTo>
                  <a:lnTo>
                    <a:pt x="248501" y="200876"/>
                  </a:lnTo>
                  <a:lnTo>
                    <a:pt x="248501" y="200228"/>
                  </a:lnTo>
                  <a:lnTo>
                    <a:pt x="248501" y="200876"/>
                  </a:lnTo>
                  <a:lnTo>
                    <a:pt x="248552" y="200876"/>
                  </a:lnTo>
                  <a:lnTo>
                    <a:pt x="248552" y="200228"/>
                  </a:lnTo>
                  <a:lnTo>
                    <a:pt x="248552" y="200876"/>
                  </a:lnTo>
                  <a:lnTo>
                    <a:pt x="248552" y="200228"/>
                  </a:lnTo>
                  <a:lnTo>
                    <a:pt x="248603" y="200228"/>
                  </a:lnTo>
                  <a:lnTo>
                    <a:pt x="248603" y="200876"/>
                  </a:lnTo>
                  <a:lnTo>
                    <a:pt x="248603" y="199530"/>
                  </a:lnTo>
                  <a:lnTo>
                    <a:pt x="248603" y="200228"/>
                  </a:lnTo>
                  <a:lnTo>
                    <a:pt x="248654" y="200228"/>
                  </a:lnTo>
                  <a:lnTo>
                    <a:pt x="248654" y="199530"/>
                  </a:lnTo>
                  <a:lnTo>
                    <a:pt x="248654" y="200228"/>
                  </a:lnTo>
                  <a:lnTo>
                    <a:pt x="248654" y="198831"/>
                  </a:lnTo>
                  <a:lnTo>
                    <a:pt x="248743" y="198831"/>
                  </a:lnTo>
                  <a:lnTo>
                    <a:pt x="248743" y="197447"/>
                  </a:lnTo>
                  <a:lnTo>
                    <a:pt x="248743" y="198831"/>
                  </a:lnTo>
                  <a:lnTo>
                    <a:pt x="248743" y="197447"/>
                  </a:lnTo>
                  <a:lnTo>
                    <a:pt x="248793" y="198831"/>
                  </a:lnTo>
                  <a:lnTo>
                    <a:pt x="248793" y="199530"/>
                  </a:lnTo>
                  <a:lnTo>
                    <a:pt x="248793" y="196799"/>
                  </a:lnTo>
                  <a:lnTo>
                    <a:pt x="248793" y="199530"/>
                  </a:lnTo>
                  <a:lnTo>
                    <a:pt x="248844" y="199530"/>
                  </a:lnTo>
                  <a:lnTo>
                    <a:pt x="248844" y="200228"/>
                  </a:lnTo>
                  <a:lnTo>
                    <a:pt x="248844" y="199530"/>
                  </a:lnTo>
                  <a:lnTo>
                    <a:pt x="248844" y="200228"/>
                  </a:lnTo>
                  <a:lnTo>
                    <a:pt x="248895" y="200228"/>
                  </a:lnTo>
                  <a:lnTo>
                    <a:pt x="248895" y="200876"/>
                  </a:lnTo>
                  <a:lnTo>
                    <a:pt x="248895" y="199530"/>
                  </a:lnTo>
                  <a:lnTo>
                    <a:pt x="248895" y="200228"/>
                  </a:lnTo>
                  <a:lnTo>
                    <a:pt x="248895" y="199530"/>
                  </a:lnTo>
                  <a:lnTo>
                    <a:pt x="248895" y="200876"/>
                  </a:lnTo>
                  <a:lnTo>
                    <a:pt x="248895" y="200228"/>
                  </a:lnTo>
                  <a:lnTo>
                    <a:pt x="248997" y="200228"/>
                  </a:lnTo>
                  <a:lnTo>
                    <a:pt x="248997" y="200876"/>
                  </a:lnTo>
                  <a:lnTo>
                    <a:pt x="248997" y="200228"/>
                  </a:lnTo>
                  <a:lnTo>
                    <a:pt x="248997" y="200876"/>
                  </a:lnTo>
                  <a:lnTo>
                    <a:pt x="249047" y="200876"/>
                  </a:lnTo>
                  <a:lnTo>
                    <a:pt x="249047" y="200228"/>
                  </a:lnTo>
                  <a:lnTo>
                    <a:pt x="249047" y="202260"/>
                  </a:lnTo>
                  <a:lnTo>
                    <a:pt x="249047" y="200876"/>
                  </a:lnTo>
                  <a:lnTo>
                    <a:pt x="249098" y="200876"/>
                  </a:lnTo>
                  <a:lnTo>
                    <a:pt x="249098" y="200228"/>
                  </a:lnTo>
                  <a:lnTo>
                    <a:pt x="249098" y="200876"/>
                  </a:lnTo>
                  <a:lnTo>
                    <a:pt x="249098" y="200228"/>
                  </a:lnTo>
                  <a:lnTo>
                    <a:pt x="249098" y="200876"/>
                  </a:lnTo>
                  <a:lnTo>
                    <a:pt x="249098" y="200228"/>
                  </a:lnTo>
                  <a:lnTo>
                    <a:pt x="249098" y="200876"/>
                  </a:lnTo>
                  <a:lnTo>
                    <a:pt x="249200" y="200228"/>
                  </a:lnTo>
                  <a:lnTo>
                    <a:pt x="249200" y="199530"/>
                  </a:lnTo>
                  <a:lnTo>
                    <a:pt x="249200" y="200228"/>
                  </a:lnTo>
                  <a:lnTo>
                    <a:pt x="249200" y="199530"/>
                  </a:lnTo>
                  <a:lnTo>
                    <a:pt x="249238" y="198831"/>
                  </a:lnTo>
                  <a:lnTo>
                    <a:pt x="249238" y="197447"/>
                  </a:lnTo>
                  <a:lnTo>
                    <a:pt x="249238" y="198831"/>
                  </a:lnTo>
                  <a:lnTo>
                    <a:pt x="249238" y="197447"/>
                  </a:lnTo>
                  <a:lnTo>
                    <a:pt x="249238" y="198831"/>
                  </a:lnTo>
                  <a:lnTo>
                    <a:pt x="249289" y="198831"/>
                  </a:lnTo>
                  <a:lnTo>
                    <a:pt x="249289" y="197447"/>
                  </a:lnTo>
                  <a:lnTo>
                    <a:pt x="249289" y="199530"/>
                  </a:lnTo>
                  <a:lnTo>
                    <a:pt x="249340" y="199530"/>
                  </a:lnTo>
                  <a:lnTo>
                    <a:pt x="249340" y="200228"/>
                  </a:lnTo>
                  <a:lnTo>
                    <a:pt x="249340" y="199530"/>
                  </a:lnTo>
                  <a:lnTo>
                    <a:pt x="249340" y="200876"/>
                  </a:lnTo>
                  <a:lnTo>
                    <a:pt x="249441" y="200228"/>
                  </a:lnTo>
                  <a:lnTo>
                    <a:pt x="249441" y="200876"/>
                  </a:lnTo>
                  <a:lnTo>
                    <a:pt x="249441" y="199530"/>
                  </a:lnTo>
                  <a:lnTo>
                    <a:pt x="249441" y="200876"/>
                  </a:lnTo>
                  <a:lnTo>
                    <a:pt x="249492" y="200876"/>
                  </a:lnTo>
                  <a:lnTo>
                    <a:pt x="249492" y="200228"/>
                  </a:lnTo>
                  <a:lnTo>
                    <a:pt x="249492" y="200876"/>
                  </a:lnTo>
                  <a:lnTo>
                    <a:pt x="249492" y="200228"/>
                  </a:lnTo>
                  <a:lnTo>
                    <a:pt x="249492" y="200876"/>
                  </a:lnTo>
                  <a:lnTo>
                    <a:pt x="249644" y="200876"/>
                  </a:lnTo>
                  <a:lnTo>
                    <a:pt x="249644" y="200228"/>
                  </a:lnTo>
                  <a:lnTo>
                    <a:pt x="249644" y="200876"/>
                  </a:lnTo>
                  <a:lnTo>
                    <a:pt x="249644" y="200228"/>
                  </a:lnTo>
                  <a:lnTo>
                    <a:pt x="249644" y="200876"/>
                  </a:lnTo>
                  <a:lnTo>
                    <a:pt x="249695" y="200876"/>
                  </a:lnTo>
                  <a:lnTo>
                    <a:pt x="249695" y="198831"/>
                  </a:lnTo>
                  <a:lnTo>
                    <a:pt x="249746" y="198831"/>
                  </a:lnTo>
                  <a:lnTo>
                    <a:pt x="249746" y="196799"/>
                  </a:lnTo>
                  <a:lnTo>
                    <a:pt x="249746" y="197447"/>
                  </a:lnTo>
                  <a:lnTo>
                    <a:pt x="249746" y="196799"/>
                  </a:lnTo>
                  <a:lnTo>
                    <a:pt x="249746" y="197447"/>
                  </a:lnTo>
                  <a:lnTo>
                    <a:pt x="249746" y="196799"/>
                  </a:lnTo>
                  <a:lnTo>
                    <a:pt x="249746" y="197447"/>
                  </a:lnTo>
                  <a:lnTo>
                    <a:pt x="249784" y="197447"/>
                  </a:lnTo>
                  <a:lnTo>
                    <a:pt x="249784" y="196799"/>
                  </a:lnTo>
                  <a:lnTo>
                    <a:pt x="249784" y="197447"/>
                  </a:lnTo>
                  <a:lnTo>
                    <a:pt x="249784" y="196799"/>
                  </a:lnTo>
                  <a:lnTo>
                    <a:pt x="249784" y="199530"/>
                  </a:lnTo>
                  <a:lnTo>
                    <a:pt x="249886" y="199530"/>
                  </a:lnTo>
                  <a:lnTo>
                    <a:pt x="249886" y="198831"/>
                  </a:lnTo>
                  <a:lnTo>
                    <a:pt x="249886" y="199530"/>
                  </a:lnTo>
                  <a:lnTo>
                    <a:pt x="249937" y="200228"/>
                  </a:lnTo>
                  <a:lnTo>
                    <a:pt x="249937" y="199530"/>
                  </a:lnTo>
                  <a:lnTo>
                    <a:pt x="249937" y="200228"/>
                  </a:lnTo>
                  <a:lnTo>
                    <a:pt x="249937" y="198831"/>
                  </a:lnTo>
                  <a:lnTo>
                    <a:pt x="249937" y="199530"/>
                  </a:lnTo>
                  <a:lnTo>
                    <a:pt x="249937" y="198831"/>
                  </a:lnTo>
                  <a:lnTo>
                    <a:pt x="249937" y="199530"/>
                  </a:lnTo>
                  <a:lnTo>
                    <a:pt x="249987" y="199530"/>
                  </a:lnTo>
                  <a:lnTo>
                    <a:pt x="249987" y="200876"/>
                  </a:lnTo>
                  <a:lnTo>
                    <a:pt x="250089" y="200876"/>
                  </a:lnTo>
                  <a:lnTo>
                    <a:pt x="250089" y="200228"/>
                  </a:lnTo>
                  <a:lnTo>
                    <a:pt x="250089" y="200876"/>
                  </a:lnTo>
                  <a:lnTo>
                    <a:pt x="250140" y="200876"/>
                  </a:lnTo>
                  <a:lnTo>
                    <a:pt x="250140" y="202260"/>
                  </a:lnTo>
                  <a:lnTo>
                    <a:pt x="250140" y="200876"/>
                  </a:lnTo>
                  <a:lnTo>
                    <a:pt x="250191" y="200876"/>
                  </a:lnTo>
                  <a:lnTo>
                    <a:pt x="250191" y="198831"/>
                  </a:lnTo>
                  <a:lnTo>
                    <a:pt x="250241" y="198831"/>
                  </a:lnTo>
                  <a:lnTo>
                    <a:pt x="250241" y="197447"/>
                  </a:lnTo>
                  <a:lnTo>
                    <a:pt x="250241" y="198831"/>
                  </a:lnTo>
                  <a:lnTo>
                    <a:pt x="250330" y="198831"/>
                  </a:lnTo>
                  <a:lnTo>
                    <a:pt x="250330" y="197447"/>
                  </a:lnTo>
                  <a:lnTo>
                    <a:pt x="250330" y="198831"/>
                  </a:lnTo>
                  <a:lnTo>
                    <a:pt x="250330" y="196799"/>
                  </a:lnTo>
                  <a:lnTo>
                    <a:pt x="250330" y="199530"/>
                  </a:lnTo>
                  <a:lnTo>
                    <a:pt x="250330" y="198831"/>
                  </a:lnTo>
                  <a:lnTo>
                    <a:pt x="250330" y="199530"/>
                  </a:lnTo>
                  <a:lnTo>
                    <a:pt x="250381" y="199530"/>
                  </a:lnTo>
                  <a:lnTo>
                    <a:pt x="250381" y="197447"/>
                  </a:lnTo>
                  <a:lnTo>
                    <a:pt x="250381" y="200228"/>
                  </a:lnTo>
                  <a:lnTo>
                    <a:pt x="250381" y="199530"/>
                  </a:lnTo>
                  <a:lnTo>
                    <a:pt x="250432" y="199530"/>
                  </a:lnTo>
                  <a:lnTo>
                    <a:pt x="250432" y="198831"/>
                  </a:lnTo>
                  <a:lnTo>
                    <a:pt x="250432" y="199530"/>
                  </a:lnTo>
                  <a:lnTo>
                    <a:pt x="250483" y="199530"/>
                  </a:lnTo>
                  <a:lnTo>
                    <a:pt x="250483" y="198831"/>
                  </a:lnTo>
                  <a:lnTo>
                    <a:pt x="250483" y="200228"/>
                  </a:lnTo>
                  <a:lnTo>
                    <a:pt x="250483" y="199530"/>
                  </a:lnTo>
                  <a:lnTo>
                    <a:pt x="250584" y="200228"/>
                  </a:lnTo>
                  <a:lnTo>
                    <a:pt x="250584" y="199530"/>
                  </a:lnTo>
                  <a:lnTo>
                    <a:pt x="250584" y="200228"/>
                  </a:lnTo>
                  <a:lnTo>
                    <a:pt x="250635" y="200228"/>
                  </a:lnTo>
                  <a:lnTo>
                    <a:pt x="250635" y="200876"/>
                  </a:lnTo>
                  <a:lnTo>
                    <a:pt x="250635" y="200228"/>
                  </a:lnTo>
                  <a:lnTo>
                    <a:pt x="250635" y="200876"/>
                  </a:lnTo>
                  <a:lnTo>
                    <a:pt x="250635" y="200228"/>
                  </a:lnTo>
                  <a:lnTo>
                    <a:pt x="250635" y="200876"/>
                  </a:lnTo>
                  <a:lnTo>
                    <a:pt x="250635" y="200228"/>
                  </a:lnTo>
                  <a:lnTo>
                    <a:pt x="250686" y="200228"/>
                  </a:lnTo>
                  <a:lnTo>
                    <a:pt x="250686" y="199530"/>
                  </a:lnTo>
                  <a:lnTo>
                    <a:pt x="250686" y="200876"/>
                  </a:lnTo>
                  <a:lnTo>
                    <a:pt x="250686" y="199530"/>
                  </a:lnTo>
                  <a:lnTo>
                    <a:pt x="250686" y="200228"/>
                  </a:lnTo>
                  <a:lnTo>
                    <a:pt x="250686" y="198831"/>
                  </a:lnTo>
                  <a:lnTo>
                    <a:pt x="250686" y="199530"/>
                  </a:lnTo>
                  <a:lnTo>
                    <a:pt x="250787" y="198831"/>
                  </a:lnTo>
                  <a:lnTo>
                    <a:pt x="250787" y="200876"/>
                  </a:lnTo>
                  <a:lnTo>
                    <a:pt x="250787" y="198831"/>
                  </a:lnTo>
                  <a:lnTo>
                    <a:pt x="250787" y="199530"/>
                  </a:lnTo>
                  <a:lnTo>
                    <a:pt x="250826" y="199530"/>
                  </a:lnTo>
                  <a:lnTo>
                    <a:pt x="250826" y="202959"/>
                  </a:lnTo>
                  <a:lnTo>
                    <a:pt x="250826" y="200228"/>
                  </a:lnTo>
                  <a:lnTo>
                    <a:pt x="250876" y="200876"/>
                  </a:lnTo>
                  <a:lnTo>
                    <a:pt x="250876" y="202260"/>
                  </a:lnTo>
                  <a:lnTo>
                    <a:pt x="250876" y="200228"/>
                  </a:lnTo>
                  <a:lnTo>
                    <a:pt x="250876" y="200876"/>
                  </a:lnTo>
                  <a:lnTo>
                    <a:pt x="250927" y="202260"/>
                  </a:lnTo>
                  <a:lnTo>
                    <a:pt x="250927" y="200876"/>
                  </a:lnTo>
                  <a:lnTo>
                    <a:pt x="250927" y="202260"/>
                  </a:lnTo>
                  <a:lnTo>
                    <a:pt x="251029" y="202260"/>
                  </a:lnTo>
                  <a:lnTo>
                    <a:pt x="251029" y="200876"/>
                  </a:lnTo>
                  <a:lnTo>
                    <a:pt x="251029" y="202260"/>
                  </a:lnTo>
                  <a:lnTo>
                    <a:pt x="251029" y="200876"/>
                  </a:lnTo>
                  <a:lnTo>
                    <a:pt x="251029" y="202260"/>
                  </a:lnTo>
                  <a:lnTo>
                    <a:pt x="251080" y="202260"/>
                  </a:lnTo>
                  <a:lnTo>
                    <a:pt x="251080" y="200876"/>
                  </a:lnTo>
                  <a:lnTo>
                    <a:pt x="251080" y="202260"/>
                  </a:lnTo>
                  <a:lnTo>
                    <a:pt x="251080" y="200876"/>
                  </a:lnTo>
                  <a:lnTo>
                    <a:pt x="251130" y="200876"/>
                  </a:lnTo>
                  <a:lnTo>
                    <a:pt x="251130" y="200228"/>
                  </a:lnTo>
                  <a:lnTo>
                    <a:pt x="251130" y="200876"/>
                  </a:lnTo>
                  <a:lnTo>
                    <a:pt x="251130" y="199530"/>
                  </a:lnTo>
                  <a:lnTo>
                    <a:pt x="251232" y="199530"/>
                  </a:lnTo>
                  <a:lnTo>
                    <a:pt x="251232" y="198831"/>
                  </a:lnTo>
                  <a:lnTo>
                    <a:pt x="251232" y="202260"/>
                  </a:lnTo>
                  <a:lnTo>
                    <a:pt x="251232" y="200876"/>
                  </a:lnTo>
                  <a:lnTo>
                    <a:pt x="251283" y="200876"/>
                  </a:lnTo>
                  <a:lnTo>
                    <a:pt x="251283" y="199530"/>
                  </a:lnTo>
                  <a:lnTo>
                    <a:pt x="251283" y="202959"/>
                  </a:lnTo>
                  <a:lnTo>
                    <a:pt x="251333" y="202260"/>
                  </a:lnTo>
                  <a:lnTo>
                    <a:pt x="251333" y="200228"/>
                  </a:lnTo>
                  <a:lnTo>
                    <a:pt x="251333" y="202959"/>
                  </a:lnTo>
                  <a:lnTo>
                    <a:pt x="251372" y="202959"/>
                  </a:lnTo>
                  <a:lnTo>
                    <a:pt x="251372" y="202260"/>
                  </a:lnTo>
                  <a:lnTo>
                    <a:pt x="251372" y="202959"/>
                  </a:lnTo>
                  <a:lnTo>
                    <a:pt x="251372" y="202260"/>
                  </a:lnTo>
                  <a:lnTo>
                    <a:pt x="251372" y="203594"/>
                  </a:lnTo>
                  <a:lnTo>
                    <a:pt x="251372" y="202959"/>
                  </a:lnTo>
                  <a:lnTo>
                    <a:pt x="251473" y="202260"/>
                  </a:lnTo>
                  <a:lnTo>
                    <a:pt x="251473" y="200876"/>
                  </a:lnTo>
                  <a:lnTo>
                    <a:pt x="251473" y="202959"/>
                  </a:lnTo>
                  <a:lnTo>
                    <a:pt x="251473" y="202260"/>
                  </a:lnTo>
                  <a:lnTo>
                    <a:pt x="251524" y="202260"/>
                  </a:lnTo>
                  <a:lnTo>
                    <a:pt x="251524" y="200876"/>
                  </a:lnTo>
                  <a:lnTo>
                    <a:pt x="251575" y="200876"/>
                  </a:lnTo>
                  <a:lnTo>
                    <a:pt x="251575" y="200228"/>
                  </a:lnTo>
                  <a:lnTo>
                    <a:pt x="251575" y="200876"/>
                  </a:lnTo>
                  <a:lnTo>
                    <a:pt x="251575" y="199530"/>
                  </a:lnTo>
                  <a:lnTo>
                    <a:pt x="251676" y="199530"/>
                  </a:lnTo>
                  <a:lnTo>
                    <a:pt x="251676" y="200228"/>
                  </a:lnTo>
                  <a:lnTo>
                    <a:pt x="251676" y="199530"/>
                  </a:lnTo>
                  <a:lnTo>
                    <a:pt x="251676" y="200228"/>
                  </a:lnTo>
                  <a:lnTo>
                    <a:pt x="251676" y="198831"/>
                  </a:lnTo>
                  <a:lnTo>
                    <a:pt x="251727" y="198831"/>
                  </a:lnTo>
                  <a:lnTo>
                    <a:pt x="251727" y="197447"/>
                  </a:lnTo>
                  <a:lnTo>
                    <a:pt x="251727" y="198831"/>
                  </a:lnTo>
                  <a:lnTo>
                    <a:pt x="251727" y="196799"/>
                  </a:lnTo>
                  <a:lnTo>
                    <a:pt x="251727" y="199530"/>
                  </a:lnTo>
                  <a:lnTo>
                    <a:pt x="251778" y="199530"/>
                  </a:lnTo>
                  <a:lnTo>
                    <a:pt x="251778" y="197447"/>
                  </a:lnTo>
                  <a:lnTo>
                    <a:pt x="251778" y="200876"/>
                  </a:lnTo>
                  <a:lnTo>
                    <a:pt x="251778" y="200228"/>
                  </a:lnTo>
                  <a:lnTo>
                    <a:pt x="251778" y="200876"/>
                  </a:lnTo>
                  <a:lnTo>
                    <a:pt x="251778" y="200228"/>
                  </a:lnTo>
                  <a:lnTo>
                    <a:pt x="251829" y="200228"/>
                  </a:lnTo>
                  <a:lnTo>
                    <a:pt x="251829" y="199530"/>
                  </a:lnTo>
                  <a:lnTo>
                    <a:pt x="251829" y="200876"/>
                  </a:lnTo>
                  <a:lnTo>
                    <a:pt x="251918" y="200228"/>
                  </a:lnTo>
                  <a:lnTo>
                    <a:pt x="251918" y="200876"/>
                  </a:lnTo>
                  <a:lnTo>
                    <a:pt x="251918" y="200228"/>
                  </a:lnTo>
                  <a:lnTo>
                    <a:pt x="251918" y="202260"/>
                  </a:lnTo>
                  <a:lnTo>
                    <a:pt x="251918" y="200876"/>
                  </a:lnTo>
                  <a:lnTo>
                    <a:pt x="251968" y="200876"/>
                  </a:lnTo>
                  <a:lnTo>
                    <a:pt x="251968" y="202260"/>
                  </a:lnTo>
                  <a:lnTo>
                    <a:pt x="252019" y="200876"/>
                  </a:lnTo>
                  <a:lnTo>
                    <a:pt x="252019" y="202959"/>
                  </a:lnTo>
                  <a:lnTo>
                    <a:pt x="252019" y="202260"/>
                  </a:lnTo>
                  <a:lnTo>
                    <a:pt x="252019" y="202959"/>
                  </a:lnTo>
                  <a:lnTo>
                    <a:pt x="252019" y="202260"/>
                  </a:lnTo>
                  <a:lnTo>
                    <a:pt x="252070" y="202260"/>
                  </a:lnTo>
                  <a:lnTo>
                    <a:pt x="252070" y="200876"/>
                  </a:lnTo>
                  <a:lnTo>
                    <a:pt x="252070" y="202260"/>
                  </a:lnTo>
                  <a:lnTo>
                    <a:pt x="252070" y="200876"/>
                  </a:lnTo>
                  <a:lnTo>
                    <a:pt x="252172" y="200876"/>
                  </a:lnTo>
                  <a:lnTo>
                    <a:pt x="252172" y="200228"/>
                  </a:lnTo>
                  <a:lnTo>
                    <a:pt x="252172" y="200876"/>
                  </a:lnTo>
                  <a:lnTo>
                    <a:pt x="252172" y="200228"/>
                  </a:lnTo>
                  <a:lnTo>
                    <a:pt x="252172" y="200876"/>
                  </a:lnTo>
                  <a:lnTo>
                    <a:pt x="252172" y="198831"/>
                  </a:lnTo>
                  <a:lnTo>
                    <a:pt x="252222" y="198831"/>
                  </a:lnTo>
                  <a:lnTo>
                    <a:pt x="252222" y="197447"/>
                  </a:lnTo>
                  <a:lnTo>
                    <a:pt x="252222" y="200228"/>
                  </a:lnTo>
                  <a:lnTo>
                    <a:pt x="252222" y="197447"/>
                  </a:lnTo>
                  <a:lnTo>
                    <a:pt x="252273" y="197447"/>
                  </a:lnTo>
                  <a:lnTo>
                    <a:pt x="252273" y="200228"/>
                  </a:lnTo>
                  <a:lnTo>
                    <a:pt x="252273" y="199530"/>
                  </a:lnTo>
                  <a:lnTo>
                    <a:pt x="252375" y="199530"/>
                  </a:lnTo>
                  <a:lnTo>
                    <a:pt x="252375" y="200876"/>
                  </a:lnTo>
                  <a:lnTo>
                    <a:pt x="252375" y="200228"/>
                  </a:lnTo>
                  <a:lnTo>
                    <a:pt x="252413" y="200228"/>
                  </a:lnTo>
                  <a:lnTo>
                    <a:pt x="252413" y="200876"/>
                  </a:lnTo>
                  <a:lnTo>
                    <a:pt x="252413" y="200228"/>
                  </a:lnTo>
                  <a:lnTo>
                    <a:pt x="252413" y="200876"/>
                  </a:lnTo>
                  <a:lnTo>
                    <a:pt x="252413" y="200228"/>
                  </a:lnTo>
                  <a:lnTo>
                    <a:pt x="252413" y="200876"/>
                  </a:lnTo>
                  <a:lnTo>
                    <a:pt x="252413" y="200228"/>
                  </a:lnTo>
                  <a:lnTo>
                    <a:pt x="252413" y="200876"/>
                  </a:lnTo>
                  <a:lnTo>
                    <a:pt x="252464" y="200876"/>
                  </a:lnTo>
                  <a:lnTo>
                    <a:pt x="252464" y="202260"/>
                  </a:lnTo>
                  <a:lnTo>
                    <a:pt x="252515" y="202260"/>
                  </a:lnTo>
                  <a:lnTo>
                    <a:pt x="252515" y="200876"/>
                  </a:lnTo>
                  <a:lnTo>
                    <a:pt x="252515" y="202260"/>
                  </a:lnTo>
                  <a:lnTo>
                    <a:pt x="252515" y="200876"/>
                  </a:lnTo>
                  <a:lnTo>
                    <a:pt x="252616" y="200876"/>
                  </a:lnTo>
                  <a:lnTo>
                    <a:pt x="252616" y="202260"/>
                  </a:lnTo>
                  <a:lnTo>
                    <a:pt x="252616" y="200876"/>
                  </a:lnTo>
                  <a:lnTo>
                    <a:pt x="252616" y="202260"/>
                  </a:lnTo>
                  <a:lnTo>
                    <a:pt x="252616" y="200228"/>
                  </a:lnTo>
                  <a:lnTo>
                    <a:pt x="252616" y="200876"/>
                  </a:lnTo>
                  <a:lnTo>
                    <a:pt x="252616" y="200228"/>
                  </a:lnTo>
                  <a:lnTo>
                    <a:pt x="252667" y="199530"/>
                  </a:lnTo>
                  <a:lnTo>
                    <a:pt x="252667" y="197447"/>
                  </a:lnTo>
                  <a:lnTo>
                    <a:pt x="252718" y="197447"/>
                  </a:lnTo>
                  <a:lnTo>
                    <a:pt x="252718" y="199530"/>
                  </a:lnTo>
                  <a:lnTo>
                    <a:pt x="252718" y="196799"/>
                  </a:lnTo>
                  <a:lnTo>
                    <a:pt x="252819" y="196799"/>
                  </a:lnTo>
                  <a:lnTo>
                    <a:pt x="252819" y="200228"/>
                  </a:lnTo>
                  <a:lnTo>
                    <a:pt x="252819" y="199530"/>
                  </a:lnTo>
                  <a:lnTo>
                    <a:pt x="252819" y="200228"/>
                  </a:lnTo>
                  <a:lnTo>
                    <a:pt x="252819" y="198831"/>
                  </a:lnTo>
                  <a:lnTo>
                    <a:pt x="252870" y="198831"/>
                  </a:lnTo>
                  <a:lnTo>
                    <a:pt x="252870" y="200228"/>
                  </a:lnTo>
                  <a:lnTo>
                    <a:pt x="252870" y="199530"/>
                  </a:lnTo>
                  <a:lnTo>
                    <a:pt x="252870" y="200228"/>
                  </a:lnTo>
                  <a:lnTo>
                    <a:pt x="252870" y="199530"/>
                  </a:lnTo>
                  <a:lnTo>
                    <a:pt x="252870" y="200228"/>
                  </a:lnTo>
                  <a:lnTo>
                    <a:pt x="252921" y="200228"/>
                  </a:lnTo>
                  <a:lnTo>
                    <a:pt x="252921" y="199530"/>
                  </a:lnTo>
                  <a:lnTo>
                    <a:pt x="252921" y="200228"/>
                  </a:lnTo>
                  <a:lnTo>
                    <a:pt x="252959" y="200228"/>
                  </a:lnTo>
                  <a:lnTo>
                    <a:pt x="252959" y="199530"/>
                  </a:lnTo>
                  <a:lnTo>
                    <a:pt x="252959" y="200876"/>
                  </a:lnTo>
                  <a:lnTo>
                    <a:pt x="252959" y="200228"/>
                  </a:lnTo>
                  <a:lnTo>
                    <a:pt x="252959" y="200876"/>
                  </a:lnTo>
                  <a:lnTo>
                    <a:pt x="253112" y="200876"/>
                  </a:lnTo>
                  <a:lnTo>
                    <a:pt x="253112" y="200228"/>
                  </a:lnTo>
                  <a:lnTo>
                    <a:pt x="253112" y="200876"/>
                  </a:lnTo>
                  <a:lnTo>
                    <a:pt x="253112" y="200228"/>
                  </a:lnTo>
                  <a:lnTo>
                    <a:pt x="253162" y="200228"/>
                  </a:lnTo>
                  <a:lnTo>
                    <a:pt x="253162" y="197447"/>
                  </a:lnTo>
                  <a:lnTo>
                    <a:pt x="253264" y="197447"/>
                  </a:lnTo>
                  <a:lnTo>
                    <a:pt x="253264" y="198831"/>
                  </a:lnTo>
                  <a:lnTo>
                    <a:pt x="253264" y="197447"/>
                  </a:lnTo>
                  <a:lnTo>
                    <a:pt x="253264" y="198831"/>
                  </a:lnTo>
                  <a:lnTo>
                    <a:pt x="253315" y="199530"/>
                  </a:lnTo>
                  <a:lnTo>
                    <a:pt x="253315" y="197447"/>
                  </a:lnTo>
                  <a:lnTo>
                    <a:pt x="253315" y="199530"/>
                  </a:lnTo>
                  <a:lnTo>
                    <a:pt x="253366" y="199530"/>
                  </a:lnTo>
                  <a:lnTo>
                    <a:pt x="253366" y="198831"/>
                  </a:lnTo>
                  <a:lnTo>
                    <a:pt x="253366" y="199530"/>
                  </a:lnTo>
                  <a:lnTo>
                    <a:pt x="253366" y="198831"/>
                  </a:lnTo>
                  <a:lnTo>
                    <a:pt x="253366" y="199530"/>
                  </a:lnTo>
                  <a:lnTo>
                    <a:pt x="253416" y="199530"/>
                  </a:lnTo>
                  <a:lnTo>
                    <a:pt x="253416" y="200228"/>
                  </a:lnTo>
                  <a:lnTo>
                    <a:pt x="253416" y="198831"/>
                  </a:lnTo>
                  <a:lnTo>
                    <a:pt x="253416" y="200228"/>
                  </a:lnTo>
                  <a:lnTo>
                    <a:pt x="253416" y="199530"/>
                  </a:lnTo>
                  <a:lnTo>
                    <a:pt x="253505" y="199530"/>
                  </a:lnTo>
                  <a:lnTo>
                    <a:pt x="253505" y="200228"/>
                  </a:lnTo>
                  <a:lnTo>
                    <a:pt x="253505" y="199530"/>
                  </a:lnTo>
                  <a:lnTo>
                    <a:pt x="253505" y="200228"/>
                  </a:lnTo>
                  <a:lnTo>
                    <a:pt x="253505" y="199530"/>
                  </a:lnTo>
                  <a:lnTo>
                    <a:pt x="253505" y="200228"/>
                  </a:lnTo>
                  <a:lnTo>
                    <a:pt x="253607" y="200228"/>
                  </a:lnTo>
                  <a:lnTo>
                    <a:pt x="253607" y="198831"/>
                  </a:lnTo>
                  <a:lnTo>
                    <a:pt x="253658" y="198831"/>
                  </a:lnTo>
                  <a:lnTo>
                    <a:pt x="253658" y="199530"/>
                  </a:lnTo>
                  <a:lnTo>
                    <a:pt x="253658" y="196799"/>
                  </a:lnTo>
                  <a:lnTo>
                    <a:pt x="253658" y="199530"/>
                  </a:lnTo>
                  <a:lnTo>
                    <a:pt x="253759" y="199530"/>
                  </a:lnTo>
                  <a:lnTo>
                    <a:pt x="253759" y="197447"/>
                  </a:lnTo>
                  <a:lnTo>
                    <a:pt x="253759" y="200876"/>
                  </a:lnTo>
                  <a:lnTo>
                    <a:pt x="253810" y="200876"/>
                  </a:lnTo>
                  <a:lnTo>
                    <a:pt x="253810" y="199530"/>
                  </a:lnTo>
                  <a:lnTo>
                    <a:pt x="253810" y="200228"/>
                  </a:lnTo>
                  <a:lnTo>
                    <a:pt x="253861" y="200228"/>
                  </a:lnTo>
                  <a:lnTo>
                    <a:pt x="253861" y="199530"/>
                  </a:lnTo>
                  <a:lnTo>
                    <a:pt x="253861" y="200228"/>
                  </a:lnTo>
                  <a:lnTo>
                    <a:pt x="253861" y="199530"/>
                  </a:lnTo>
                  <a:lnTo>
                    <a:pt x="253861" y="200876"/>
                  </a:lnTo>
                  <a:lnTo>
                    <a:pt x="253861" y="200228"/>
                  </a:lnTo>
                  <a:lnTo>
                    <a:pt x="253962" y="200228"/>
                  </a:lnTo>
                  <a:lnTo>
                    <a:pt x="253962" y="199530"/>
                  </a:lnTo>
                  <a:lnTo>
                    <a:pt x="253962" y="200228"/>
                  </a:lnTo>
                  <a:lnTo>
                    <a:pt x="253962" y="199530"/>
                  </a:lnTo>
                  <a:lnTo>
                    <a:pt x="253962" y="200228"/>
                  </a:lnTo>
                  <a:lnTo>
                    <a:pt x="254001" y="200228"/>
                  </a:lnTo>
                  <a:lnTo>
                    <a:pt x="254001" y="200876"/>
                  </a:lnTo>
                  <a:lnTo>
                    <a:pt x="254001" y="200228"/>
                  </a:lnTo>
                  <a:lnTo>
                    <a:pt x="254001" y="202260"/>
                  </a:lnTo>
                  <a:lnTo>
                    <a:pt x="254051" y="200876"/>
                  </a:lnTo>
                  <a:lnTo>
                    <a:pt x="254051" y="200228"/>
                  </a:lnTo>
                  <a:lnTo>
                    <a:pt x="254051" y="200876"/>
                  </a:lnTo>
                  <a:lnTo>
                    <a:pt x="254051" y="200228"/>
                  </a:lnTo>
                  <a:lnTo>
                    <a:pt x="254051" y="200876"/>
                  </a:lnTo>
                  <a:lnTo>
                    <a:pt x="254051" y="200228"/>
                  </a:lnTo>
                  <a:lnTo>
                    <a:pt x="254051" y="200876"/>
                  </a:lnTo>
                  <a:lnTo>
                    <a:pt x="254102" y="200876"/>
                  </a:lnTo>
                  <a:lnTo>
                    <a:pt x="254102" y="200228"/>
                  </a:lnTo>
                  <a:lnTo>
                    <a:pt x="254102" y="200876"/>
                  </a:lnTo>
                  <a:lnTo>
                    <a:pt x="254102" y="199530"/>
                  </a:lnTo>
                  <a:lnTo>
                    <a:pt x="254204" y="199530"/>
                  </a:lnTo>
                  <a:lnTo>
                    <a:pt x="254204" y="197447"/>
                  </a:lnTo>
                  <a:lnTo>
                    <a:pt x="254204" y="198831"/>
                  </a:lnTo>
                  <a:lnTo>
                    <a:pt x="254204" y="197447"/>
                  </a:lnTo>
                  <a:lnTo>
                    <a:pt x="254204" y="200228"/>
                  </a:lnTo>
                  <a:lnTo>
                    <a:pt x="254204" y="199530"/>
                  </a:lnTo>
                  <a:lnTo>
                    <a:pt x="254255" y="199530"/>
                  </a:lnTo>
                  <a:lnTo>
                    <a:pt x="254255" y="198831"/>
                  </a:lnTo>
                  <a:lnTo>
                    <a:pt x="254255" y="202260"/>
                  </a:lnTo>
                  <a:lnTo>
                    <a:pt x="254255" y="200228"/>
                  </a:lnTo>
                  <a:lnTo>
                    <a:pt x="254305" y="200228"/>
                  </a:lnTo>
                  <a:lnTo>
                    <a:pt x="254305" y="202260"/>
                  </a:lnTo>
                  <a:lnTo>
                    <a:pt x="254305" y="200876"/>
                  </a:lnTo>
                  <a:lnTo>
                    <a:pt x="254407" y="200876"/>
                  </a:lnTo>
                  <a:lnTo>
                    <a:pt x="254407" y="202260"/>
                  </a:lnTo>
                  <a:lnTo>
                    <a:pt x="254407" y="200876"/>
                  </a:lnTo>
                  <a:lnTo>
                    <a:pt x="254458" y="200876"/>
                  </a:lnTo>
                  <a:lnTo>
                    <a:pt x="254458" y="202260"/>
                  </a:lnTo>
                  <a:lnTo>
                    <a:pt x="254458" y="200876"/>
                  </a:lnTo>
                  <a:lnTo>
                    <a:pt x="254458" y="202260"/>
                  </a:lnTo>
                  <a:lnTo>
                    <a:pt x="254458" y="200876"/>
                  </a:lnTo>
                  <a:lnTo>
                    <a:pt x="254508" y="200876"/>
                  </a:lnTo>
                  <a:lnTo>
                    <a:pt x="254508" y="202260"/>
                  </a:lnTo>
                  <a:lnTo>
                    <a:pt x="254508" y="200228"/>
                  </a:lnTo>
                  <a:lnTo>
                    <a:pt x="254508" y="200876"/>
                  </a:lnTo>
                  <a:lnTo>
                    <a:pt x="254547" y="200876"/>
                  </a:lnTo>
                  <a:lnTo>
                    <a:pt x="254547" y="200228"/>
                  </a:lnTo>
                  <a:lnTo>
                    <a:pt x="254648" y="200228"/>
                  </a:lnTo>
                  <a:lnTo>
                    <a:pt x="254648" y="197447"/>
                  </a:lnTo>
                  <a:lnTo>
                    <a:pt x="254648" y="198831"/>
                  </a:lnTo>
                  <a:lnTo>
                    <a:pt x="254699" y="198831"/>
                  </a:lnTo>
                  <a:lnTo>
                    <a:pt x="254699" y="197447"/>
                  </a:lnTo>
                  <a:lnTo>
                    <a:pt x="254699" y="200228"/>
                  </a:lnTo>
                  <a:lnTo>
                    <a:pt x="254699" y="197447"/>
                  </a:lnTo>
                  <a:lnTo>
                    <a:pt x="254750" y="197447"/>
                  </a:lnTo>
                  <a:lnTo>
                    <a:pt x="254750" y="202260"/>
                  </a:lnTo>
                  <a:lnTo>
                    <a:pt x="254750" y="199530"/>
                  </a:lnTo>
                  <a:lnTo>
                    <a:pt x="254750" y="200228"/>
                  </a:lnTo>
                  <a:lnTo>
                    <a:pt x="254750" y="199530"/>
                  </a:lnTo>
                  <a:lnTo>
                    <a:pt x="254851" y="200228"/>
                  </a:lnTo>
                  <a:lnTo>
                    <a:pt x="254851" y="202260"/>
                  </a:lnTo>
                  <a:lnTo>
                    <a:pt x="254851" y="200876"/>
                  </a:lnTo>
                  <a:lnTo>
                    <a:pt x="254851" y="202260"/>
                  </a:lnTo>
                  <a:lnTo>
                    <a:pt x="254851" y="200228"/>
                  </a:lnTo>
                  <a:lnTo>
                    <a:pt x="254902" y="200228"/>
                  </a:lnTo>
                  <a:lnTo>
                    <a:pt x="254902" y="200876"/>
                  </a:lnTo>
                  <a:lnTo>
                    <a:pt x="254902" y="200228"/>
                  </a:lnTo>
                  <a:lnTo>
                    <a:pt x="254902" y="202260"/>
                  </a:lnTo>
                  <a:lnTo>
                    <a:pt x="254902" y="200228"/>
                  </a:lnTo>
                  <a:lnTo>
                    <a:pt x="254902" y="200876"/>
                  </a:lnTo>
                  <a:lnTo>
                    <a:pt x="254953" y="200876"/>
                  </a:lnTo>
                  <a:lnTo>
                    <a:pt x="254953" y="202260"/>
                  </a:lnTo>
                  <a:lnTo>
                    <a:pt x="254953" y="200876"/>
                  </a:lnTo>
                  <a:lnTo>
                    <a:pt x="255004" y="200876"/>
                  </a:lnTo>
                  <a:lnTo>
                    <a:pt x="255004" y="202260"/>
                  </a:lnTo>
                  <a:lnTo>
                    <a:pt x="255004" y="200876"/>
                  </a:lnTo>
                  <a:lnTo>
                    <a:pt x="255093" y="200876"/>
                  </a:lnTo>
                  <a:lnTo>
                    <a:pt x="255093" y="199530"/>
                  </a:lnTo>
                  <a:lnTo>
                    <a:pt x="255143" y="199530"/>
                  </a:lnTo>
                  <a:lnTo>
                    <a:pt x="255143" y="196799"/>
                  </a:lnTo>
                  <a:lnTo>
                    <a:pt x="255194" y="196799"/>
                  </a:lnTo>
                  <a:lnTo>
                    <a:pt x="255194" y="199530"/>
                  </a:lnTo>
                  <a:lnTo>
                    <a:pt x="255194" y="196799"/>
                  </a:lnTo>
                  <a:lnTo>
                    <a:pt x="255194" y="198831"/>
                  </a:lnTo>
                  <a:lnTo>
                    <a:pt x="255245" y="199530"/>
                  </a:lnTo>
                  <a:lnTo>
                    <a:pt x="255245" y="200228"/>
                  </a:lnTo>
                  <a:lnTo>
                    <a:pt x="255245" y="198831"/>
                  </a:lnTo>
                  <a:lnTo>
                    <a:pt x="255245" y="200228"/>
                  </a:lnTo>
                  <a:lnTo>
                    <a:pt x="255347" y="200228"/>
                  </a:lnTo>
                  <a:lnTo>
                    <a:pt x="255347" y="200876"/>
                  </a:lnTo>
                  <a:lnTo>
                    <a:pt x="255347" y="199530"/>
                  </a:lnTo>
                  <a:lnTo>
                    <a:pt x="255347" y="200876"/>
                  </a:lnTo>
                  <a:lnTo>
                    <a:pt x="255397" y="200876"/>
                  </a:lnTo>
                  <a:lnTo>
                    <a:pt x="255397" y="200228"/>
                  </a:lnTo>
                  <a:lnTo>
                    <a:pt x="255397" y="202260"/>
                  </a:lnTo>
                  <a:lnTo>
                    <a:pt x="255397" y="200876"/>
                  </a:lnTo>
                  <a:lnTo>
                    <a:pt x="255448" y="200876"/>
                  </a:lnTo>
                  <a:lnTo>
                    <a:pt x="255448" y="202260"/>
                  </a:lnTo>
                  <a:lnTo>
                    <a:pt x="255448" y="200876"/>
                  </a:lnTo>
                  <a:lnTo>
                    <a:pt x="255550" y="202260"/>
                  </a:lnTo>
                  <a:lnTo>
                    <a:pt x="255550" y="200876"/>
                  </a:lnTo>
                  <a:lnTo>
                    <a:pt x="255588" y="200876"/>
                  </a:lnTo>
                  <a:lnTo>
                    <a:pt x="255588" y="199530"/>
                  </a:lnTo>
                  <a:lnTo>
                    <a:pt x="255588" y="200228"/>
                  </a:lnTo>
                  <a:lnTo>
                    <a:pt x="255639" y="199530"/>
                  </a:lnTo>
                  <a:lnTo>
                    <a:pt x="255639" y="200228"/>
                  </a:lnTo>
                  <a:lnTo>
                    <a:pt x="255639" y="197447"/>
                  </a:lnTo>
                  <a:lnTo>
                    <a:pt x="255639" y="198831"/>
                  </a:lnTo>
                  <a:lnTo>
                    <a:pt x="255639" y="196113"/>
                  </a:lnTo>
                  <a:lnTo>
                    <a:pt x="255690" y="196113"/>
                  </a:lnTo>
                  <a:lnTo>
                    <a:pt x="255690" y="198831"/>
                  </a:lnTo>
                  <a:lnTo>
                    <a:pt x="255690" y="196799"/>
                  </a:lnTo>
                  <a:lnTo>
                    <a:pt x="255690" y="197447"/>
                  </a:lnTo>
                  <a:lnTo>
                    <a:pt x="255791" y="198831"/>
                  </a:lnTo>
                  <a:lnTo>
                    <a:pt x="255791" y="199530"/>
                  </a:lnTo>
                  <a:lnTo>
                    <a:pt x="255791" y="198831"/>
                  </a:lnTo>
                  <a:lnTo>
                    <a:pt x="255791" y="199530"/>
                  </a:lnTo>
                  <a:lnTo>
                    <a:pt x="255842" y="199530"/>
                  </a:lnTo>
                  <a:lnTo>
                    <a:pt x="255842" y="198831"/>
                  </a:lnTo>
                  <a:lnTo>
                    <a:pt x="255842" y="199530"/>
                  </a:lnTo>
                  <a:lnTo>
                    <a:pt x="255842" y="198831"/>
                  </a:lnTo>
                  <a:lnTo>
                    <a:pt x="255842" y="200228"/>
                  </a:lnTo>
                  <a:lnTo>
                    <a:pt x="255893" y="200228"/>
                  </a:lnTo>
                  <a:lnTo>
                    <a:pt x="255893" y="199530"/>
                  </a:lnTo>
                  <a:lnTo>
                    <a:pt x="255893" y="200228"/>
                  </a:lnTo>
                  <a:lnTo>
                    <a:pt x="255994" y="200876"/>
                  </a:lnTo>
                  <a:lnTo>
                    <a:pt x="255994" y="200228"/>
                  </a:lnTo>
                  <a:lnTo>
                    <a:pt x="255994" y="202260"/>
                  </a:lnTo>
                  <a:lnTo>
                    <a:pt x="256045" y="202260"/>
                  </a:lnTo>
                  <a:lnTo>
                    <a:pt x="256045" y="200876"/>
                  </a:lnTo>
                  <a:lnTo>
                    <a:pt x="256096" y="200876"/>
                  </a:lnTo>
                  <a:lnTo>
                    <a:pt x="256096" y="200228"/>
                  </a:lnTo>
                  <a:lnTo>
                    <a:pt x="256096" y="200876"/>
                  </a:lnTo>
                  <a:lnTo>
                    <a:pt x="256096" y="199530"/>
                  </a:lnTo>
                  <a:lnTo>
                    <a:pt x="256134" y="199530"/>
                  </a:lnTo>
                  <a:lnTo>
                    <a:pt x="256134" y="198831"/>
                  </a:lnTo>
                  <a:lnTo>
                    <a:pt x="256134" y="199530"/>
                  </a:lnTo>
                  <a:lnTo>
                    <a:pt x="256134" y="197447"/>
                  </a:lnTo>
                  <a:lnTo>
                    <a:pt x="256134" y="198831"/>
                  </a:lnTo>
                  <a:lnTo>
                    <a:pt x="256236" y="198831"/>
                  </a:lnTo>
                  <a:lnTo>
                    <a:pt x="256236" y="199530"/>
                  </a:lnTo>
                  <a:lnTo>
                    <a:pt x="256236" y="196799"/>
                  </a:lnTo>
                  <a:lnTo>
                    <a:pt x="256236" y="200228"/>
                  </a:lnTo>
                  <a:lnTo>
                    <a:pt x="256287" y="200228"/>
                  </a:lnTo>
                  <a:lnTo>
                    <a:pt x="256287" y="198831"/>
                  </a:lnTo>
                  <a:lnTo>
                    <a:pt x="256287" y="200228"/>
                  </a:lnTo>
                  <a:lnTo>
                    <a:pt x="256287" y="199530"/>
                  </a:lnTo>
                  <a:lnTo>
                    <a:pt x="256337" y="199530"/>
                  </a:lnTo>
                  <a:lnTo>
                    <a:pt x="256337" y="198831"/>
                  </a:lnTo>
                  <a:lnTo>
                    <a:pt x="256337" y="200228"/>
                  </a:lnTo>
                  <a:lnTo>
                    <a:pt x="256337" y="199530"/>
                  </a:lnTo>
                  <a:lnTo>
                    <a:pt x="256439" y="199530"/>
                  </a:lnTo>
                  <a:lnTo>
                    <a:pt x="256439" y="200228"/>
                  </a:lnTo>
                  <a:lnTo>
                    <a:pt x="256439" y="199530"/>
                  </a:lnTo>
                  <a:lnTo>
                    <a:pt x="256439" y="200228"/>
                  </a:lnTo>
                  <a:lnTo>
                    <a:pt x="256439" y="199530"/>
                  </a:lnTo>
                  <a:lnTo>
                    <a:pt x="256490" y="199530"/>
                  </a:lnTo>
                  <a:lnTo>
                    <a:pt x="256490" y="200876"/>
                  </a:lnTo>
                  <a:lnTo>
                    <a:pt x="256490" y="200228"/>
                  </a:lnTo>
                  <a:lnTo>
                    <a:pt x="256490" y="200876"/>
                  </a:lnTo>
                  <a:lnTo>
                    <a:pt x="256541" y="200876"/>
                  </a:lnTo>
                  <a:lnTo>
                    <a:pt x="256541" y="200228"/>
                  </a:lnTo>
                  <a:lnTo>
                    <a:pt x="256541" y="200876"/>
                  </a:lnTo>
                  <a:lnTo>
                    <a:pt x="256541" y="199530"/>
                  </a:lnTo>
                  <a:lnTo>
                    <a:pt x="256591" y="199530"/>
                  </a:lnTo>
                  <a:lnTo>
                    <a:pt x="256591" y="198831"/>
                  </a:lnTo>
                  <a:lnTo>
                    <a:pt x="256591" y="199530"/>
                  </a:lnTo>
                  <a:lnTo>
                    <a:pt x="256591" y="198831"/>
                  </a:lnTo>
                  <a:lnTo>
                    <a:pt x="256680" y="198831"/>
                  </a:lnTo>
                  <a:lnTo>
                    <a:pt x="256680" y="199530"/>
                  </a:lnTo>
                  <a:lnTo>
                    <a:pt x="256731" y="198831"/>
                  </a:lnTo>
                  <a:lnTo>
                    <a:pt x="256731" y="197447"/>
                  </a:lnTo>
                  <a:lnTo>
                    <a:pt x="256731" y="200876"/>
                  </a:lnTo>
                  <a:lnTo>
                    <a:pt x="256731" y="200228"/>
                  </a:lnTo>
                  <a:lnTo>
                    <a:pt x="256782" y="200228"/>
                  </a:lnTo>
                  <a:lnTo>
                    <a:pt x="256782" y="200876"/>
                  </a:lnTo>
                  <a:lnTo>
                    <a:pt x="256782" y="200228"/>
                  </a:lnTo>
                  <a:lnTo>
                    <a:pt x="256833" y="200228"/>
                  </a:lnTo>
                  <a:lnTo>
                    <a:pt x="256833" y="200876"/>
                  </a:lnTo>
                  <a:lnTo>
                    <a:pt x="256833" y="200228"/>
                  </a:lnTo>
                  <a:lnTo>
                    <a:pt x="256833" y="200876"/>
                  </a:lnTo>
                  <a:lnTo>
                    <a:pt x="256934" y="200876"/>
                  </a:lnTo>
                  <a:lnTo>
                    <a:pt x="256934" y="200228"/>
                  </a:lnTo>
                  <a:lnTo>
                    <a:pt x="256934" y="200876"/>
                  </a:lnTo>
                  <a:lnTo>
                    <a:pt x="256934" y="200228"/>
                  </a:lnTo>
                  <a:lnTo>
                    <a:pt x="256985" y="200228"/>
                  </a:lnTo>
                  <a:lnTo>
                    <a:pt x="256985" y="200876"/>
                  </a:lnTo>
                  <a:lnTo>
                    <a:pt x="256985" y="200228"/>
                  </a:lnTo>
                  <a:lnTo>
                    <a:pt x="256985" y="200876"/>
                  </a:lnTo>
                  <a:lnTo>
                    <a:pt x="256985" y="200228"/>
                  </a:lnTo>
                  <a:lnTo>
                    <a:pt x="256985" y="200876"/>
                  </a:lnTo>
                  <a:lnTo>
                    <a:pt x="256985" y="200228"/>
                  </a:lnTo>
                  <a:lnTo>
                    <a:pt x="256985" y="200876"/>
                  </a:lnTo>
                  <a:lnTo>
                    <a:pt x="257036" y="200228"/>
                  </a:lnTo>
                  <a:lnTo>
                    <a:pt x="257036" y="200876"/>
                  </a:lnTo>
                  <a:lnTo>
                    <a:pt x="257036" y="199530"/>
                  </a:lnTo>
                  <a:lnTo>
                    <a:pt x="257036" y="200228"/>
                  </a:lnTo>
                  <a:lnTo>
                    <a:pt x="257137" y="200228"/>
                  </a:lnTo>
                  <a:lnTo>
                    <a:pt x="257137" y="198831"/>
                  </a:lnTo>
                  <a:lnTo>
                    <a:pt x="257137" y="199530"/>
                  </a:lnTo>
                  <a:lnTo>
                    <a:pt x="257137" y="197447"/>
                  </a:lnTo>
                  <a:lnTo>
                    <a:pt x="257176" y="197447"/>
                  </a:lnTo>
                  <a:lnTo>
                    <a:pt x="257176" y="200228"/>
                  </a:lnTo>
                  <a:lnTo>
                    <a:pt x="257176" y="197447"/>
                  </a:lnTo>
                  <a:lnTo>
                    <a:pt x="257226" y="198831"/>
                  </a:lnTo>
                  <a:lnTo>
                    <a:pt x="257226" y="200876"/>
                  </a:lnTo>
                  <a:lnTo>
                    <a:pt x="257226" y="200228"/>
                  </a:lnTo>
                  <a:lnTo>
                    <a:pt x="257226" y="200876"/>
                  </a:lnTo>
                  <a:lnTo>
                    <a:pt x="257277" y="200876"/>
                  </a:lnTo>
                  <a:lnTo>
                    <a:pt x="257277" y="202260"/>
                  </a:lnTo>
                  <a:lnTo>
                    <a:pt x="257277" y="200228"/>
                  </a:lnTo>
                  <a:lnTo>
                    <a:pt x="257379" y="200876"/>
                  </a:lnTo>
                  <a:lnTo>
                    <a:pt x="257379" y="200228"/>
                  </a:lnTo>
                  <a:lnTo>
                    <a:pt x="257379" y="200876"/>
                  </a:lnTo>
                  <a:lnTo>
                    <a:pt x="257430" y="200876"/>
                  </a:lnTo>
                  <a:lnTo>
                    <a:pt x="257430" y="202260"/>
                  </a:lnTo>
                  <a:lnTo>
                    <a:pt x="257430" y="200876"/>
                  </a:lnTo>
                  <a:lnTo>
                    <a:pt x="257430" y="202260"/>
                  </a:lnTo>
                  <a:lnTo>
                    <a:pt x="257430" y="200876"/>
                  </a:lnTo>
                  <a:lnTo>
                    <a:pt x="257430" y="202260"/>
                  </a:lnTo>
                  <a:lnTo>
                    <a:pt x="257430" y="200876"/>
                  </a:lnTo>
                  <a:lnTo>
                    <a:pt x="257480" y="200876"/>
                  </a:lnTo>
                  <a:lnTo>
                    <a:pt x="257480" y="202260"/>
                  </a:lnTo>
                  <a:lnTo>
                    <a:pt x="257480" y="200228"/>
                  </a:lnTo>
                  <a:lnTo>
                    <a:pt x="257480" y="200876"/>
                  </a:lnTo>
                  <a:lnTo>
                    <a:pt x="257480" y="200228"/>
                  </a:lnTo>
                  <a:lnTo>
                    <a:pt x="257582" y="200228"/>
                  </a:lnTo>
                  <a:lnTo>
                    <a:pt x="257582" y="199530"/>
                  </a:lnTo>
                  <a:lnTo>
                    <a:pt x="257582" y="200228"/>
                  </a:lnTo>
                  <a:lnTo>
                    <a:pt x="257582" y="198831"/>
                  </a:lnTo>
                  <a:lnTo>
                    <a:pt x="257633" y="198831"/>
                  </a:lnTo>
                  <a:lnTo>
                    <a:pt x="257633" y="196113"/>
                  </a:lnTo>
                  <a:lnTo>
                    <a:pt x="257633" y="196799"/>
                  </a:lnTo>
                  <a:lnTo>
                    <a:pt x="257633" y="196113"/>
                  </a:lnTo>
                  <a:lnTo>
                    <a:pt x="257683" y="196113"/>
                  </a:lnTo>
                  <a:lnTo>
                    <a:pt x="257683" y="199530"/>
                  </a:lnTo>
                  <a:lnTo>
                    <a:pt x="257683" y="196799"/>
                  </a:lnTo>
                  <a:lnTo>
                    <a:pt x="257683" y="197447"/>
                  </a:lnTo>
                  <a:lnTo>
                    <a:pt x="257722" y="197447"/>
                  </a:lnTo>
                  <a:lnTo>
                    <a:pt x="257722" y="199530"/>
                  </a:lnTo>
                  <a:lnTo>
                    <a:pt x="257722" y="198831"/>
                  </a:lnTo>
                  <a:lnTo>
                    <a:pt x="257722" y="199530"/>
                  </a:lnTo>
                  <a:lnTo>
                    <a:pt x="257823" y="199530"/>
                  </a:lnTo>
                  <a:lnTo>
                    <a:pt x="257823" y="200228"/>
                  </a:lnTo>
                  <a:lnTo>
                    <a:pt x="257823" y="199530"/>
                  </a:lnTo>
                  <a:lnTo>
                    <a:pt x="257823" y="200228"/>
                  </a:lnTo>
                  <a:lnTo>
                    <a:pt x="257823" y="199530"/>
                  </a:lnTo>
                  <a:lnTo>
                    <a:pt x="257823" y="200228"/>
                  </a:lnTo>
                  <a:lnTo>
                    <a:pt x="257874" y="200228"/>
                  </a:lnTo>
                  <a:lnTo>
                    <a:pt x="257874" y="199530"/>
                  </a:lnTo>
                  <a:lnTo>
                    <a:pt x="257874" y="200876"/>
                  </a:lnTo>
                  <a:lnTo>
                    <a:pt x="257925" y="200876"/>
                  </a:lnTo>
                  <a:lnTo>
                    <a:pt x="257925" y="202260"/>
                  </a:lnTo>
                  <a:lnTo>
                    <a:pt x="257925" y="200876"/>
                  </a:lnTo>
                  <a:lnTo>
                    <a:pt x="257925" y="202260"/>
                  </a:lnTo>
                  <a:lnTo>
                    <a:pt x="257925" y="200876"/>
                  </a:lnTo>
                  <a:lnTo>
                    <a:pt x="257925" y="202260"/>
                  </a:lnTo>
                  <a:lnTo>
                    <a:pt x="258026" y="200876"/>
                  </a:lnTo>
                  <a:lnTo>
                    <a:pt x="258026" y="202260"/>
                  </a:lnTo>
                  <a:lnTo>
                    <a:pt x="258026" y="200876"/>
                  </a:lnTo>
                  <a:lnTo>
                    <a:pt x="258026" y="202260"/>
                  </a:lnTo>
                  <a:lnTo>
                    <a:pt x="258026" y="200876"/>
                  </a:lnTo>
                  <a:lnTo>
                    <a:pt x="258077" y="200876"/>
                  </a:lnTo>
                  <a:lnTo>
                    <a:pt x="258077" y="199530"/>
                  </a:lnTo>
                  <a:lnTo>
                    <a:pt x="258128" y="199530"/>
                  </a:lnTo>
                  <a:lnTo>
                    <a:pt x="258128" y="198831"/>
                  </a:lnTo>
                  <a:lnTo>
                    <a:pt x="258128" y="200228"/>
                  </a:lnTo>
                  <a:lnTo>
                    <a:pt x="258179" y="200228"/>
                  </a:lnTo>
                  <a:lnTo>
                    <a:pt x="258179" y="198831"/>
                  </a:lnTo>
                  <a:lnTo>
                    <a:pt x="258179" y="202260"/>
                  </a:lnTo>
                  <a:lnTo>
                    <a:pt x="258179" y="200228"/>
                  </a:lnTo>
                  <a:lnTo>
                    <a:pt x="258268" y="199530"/>
                  </a:lnTo>
                  <a:lnTo>
                    <a:pt x="258268" y="202260"/>
                  </a:lnTo>
                  <a:lnTo>
                    <a:pt x="258268" y="200228"/>
                  </a:lnTo>
                  <a:lnTo>
                    <a:pt x="258318" y="200228"/>
                  </a:lnTo>
                  <a:lnTo>
                    <a:pt x="258318" y="200876"/>
                  </a:lnTo>
                  <a:lnTo>
                    <a:pt x="258318" y="200228"/>
                  </a:lnTo>
                  <a:lnTo>
                    <a:pt x="258318" y="200876"/>
                  </a:lnTo>
                  <a:lnTo>
                    <a:pt x="258318" y="200228"/>
                  </a:lnTo>
                  <a:lnTo>
                    <a:pt x="258318" y="200876"/>
                  </a:lnTo>
                  <a:lnTo>
                    <a:pt x="258318" y="200228"/>
                  </a:lnTo>
                  <a:lnTo>
                    <a:pt x="258318" y="200876"/>
                  </a:lnTo>
                  <a:lnTo>
                    <a:pt x="258318" y="200228"/>
                  </a:lnTo>
                  <a:lnTo>
                    <a:pt x="258318" y="200876"/>
                  </a:lnTo>
                  <a:lnTo>
                    <a:pt x="258369" y="200876"/>
                  </a:lnTo>
                  <a:lnTo>
                    <a:pt x="258369" y="202260"/>
                  </a:lnTo>
                  <a:lnTo>
                    <a:pt x="258369" y="200876"/>
                  </a:lnTo>
                  <a:lnTo>
                    <a:pt x="258369" y="202260"/>
                  </a:lnTo>
                  <a:lnTo>
                    <a:pt x="258369" y="200876"/>
                  </a:lnTo>
                  <a:lnTo>
                    <a:pt x="258369" y="202260"/>
                  </a:lnTo>
                  <a:lnTo>
                    <a:pt x="258420" y="200876"/>
                  </a:lnTo>
                  <a:lnTo>
                    <a:pt x="258420" y="202260"/>
                  </a:lnTo>
                  <a:lnTo>
                    <a:pt x="258420" y="200228"/>
                  </a:lnTo>
                  <a:lnTo>
                    <a:pt x="258420" y="200876"/>
                  </a:lnTo>
                  <a:lnTo>
                    <a:pt x="258522" y="200876"/>
                  </a:lnTo>
                  <a:lnTo>
                    <a:pt x="258522" y="199530"/>
                  </a:lnTo>
                  <a:lnTo>
                    <a:pt x="258522" y="200228"/>
                  </a:lnTo>
                  <a:lnTo>
                    <a:pt x="258572" y="200228"/>
                  </a:lnTo>
                  <a:lnTo>
                    <a:pt x="258572" y="198831"/>
                  </a:lnTo>
                  <a:lnTo>
                    <a:pt x="258572" y="199530"/>
                  </a:lnTo>
                  <a:lnTo>
                    <a:pt x="258572" y="198831"/>
                  </a:lnTo>
                  <a:lnTo>
                    <a:pt x="258572" y="199530"/>
                  </a:lnTo>
                  <a:lnTo>
                    <a:pt x="258572" y="197447"/>
                  </a:lnTo>
                  <a:lnTo>
                    <a:pt x="258623" y="197447"/>
                  </a:lnTo>
                  <a:lnTo>
                    <a:pt x="258623" y="199530"/>
                  </a:lnTo>
                  <a:lnTo>
                    <a:pt x="258623" y="198831"/>
                  </a:lnTo>
                  <a:lnTo>
                    <a:pt x="258725" y="198831"/>
                  </a:lnTo>
                  <a:lnTo>
                    <a:pt x="258725" y="200228"/>
                  </a:lnTo>
                  <a:lnTo>
                    <a:pt x="258725" y="199530"/>
                  </a:lnTo>
                  <a:lnTo>
                    <a:pt x="258725" y="200228"/>
                  </a:lnTo>
                  <a:lnTo>
                    <a:pt x="258763" y="200228"/>
                  </a:lnTo>
                  <a:lnTo>
                    <a:pt x="258763" y="200876"/>
                  </a:lnTo>
                  <a:lnTo>
                    <a:pt x="258763" y="200228"/>
                  </a:lnTo>
                  <a:lnTo>
                    <a:pt x="258763" y="200876"/>
                  </a:lnTo>
                  <a:lnTo>
                    <a:pt x="258763" y="200228"/>
                  </a:lnTo>
                  <a:lnTo>
                    <a:pt x="258814" y="200228"/>
                  </a:lnTo>
                  <a:lnTo>
                    <a:pt x="258814" y="200876"/>
                  </a:lnTo>
                  <a:lnTo>
                    <a:pt x="258814" y="200228"/>
                  </a:lnTo>
                  <a:lnTo>
                    <a:pt x="258814" y="200876"/>
                  </a:lnTo>
                  <a:lnTo>
                    <a:pt x="258814" y="200228"/>
                  </a:lnTo>
                  <a:lnTo>
                    <a:pt x="258814" y="200876"/>
                  </a:lnTo>
                  <a:lnTo>
                    <a:pt x="258865" y="200876"/>
                  </a:lnTo>
                  <a:lnTo>
                    <a:pt x="258865" y="202260"/>
                  </a:lnTo>
                  <a:lnTo>
                    <a:pt x="258865" y="200876"/>
                  </a:lnTo>
                  <a:lnTo>
                    <a:pt x="258865" y="202260"/>
                  </a:lnTo>
                  <a:lnTo>
                    <a:pt x="258966" y="202260"/>
                  </a:lnTo>
                  <a:lnTo>
                    <a:pt x="258966" y="200228"/>
                  </a:lnTo>
                  <a:lnTo>
                    <a:pt x="258966" y="200876"/>
                  </a:lnTo>
                  <a:lnTo>
                    <a:pt x="259017" y="200876"/>
                  </a:lnTo>
                  <a:lnTo>
                    <a:pt x="259017" y="200228"/>
                  </a:lnTo>
                  <a:lnTo>
                    <a:pt x="259017" y="200876"/>
                  </a:lnTo>
                  <a:lnTo>
                    <a:pt x="259017" y="199530"/>
                  </a:lnTo>
                  <a:lnTo>
                    <a:pt x="259017" y="200228"/>
                  </a:lnTo>
                  <a:lnTo>
                    <a:pt x="259017" y="199530"/>
                  </a:lnTo>
                  <a:lnTo>
                    <a:pt x="259068" y="199530"/>
                  </a:lnTo>
                  <a:lnTo>
                    <a:pt x="259068" y="198831"/>
                  </a:lnTo>
                  <a:lnTo>
                    <a:pt x="259068" y="199530"/>
                  </a:lnTo>
                  <a:lnTo>
                    <a:pt x="259068" y="198831"/>
                  </a:lnTo>
                  <a:lnTo>
                    <a:pt x="259068" y="199530"/>
                  </a:lnTo>
                  <a:lnTo>
                    <a:pt x="259068" y="197447"/>
                  </a:lnTo>
                  <a:lnTo>
                    <a:pt x="259068" y="198831"/>
                  </a:lnTo>
                  <a:lnTo>
                    <a:pt x="259169" y="198831"/>
                  </a:lnTo>
                  <a:lnTo>
                    <a:pt x="259169" y="196799"/>
                  </a:lnTo>
                  <a:lnTo>
                    <a:pt x="259169" y="200228"/>
                  </a:lnTo>
                  <a:lnTo>
                    <a:pt x="259220" y="200228"/>
                  </a:lnTo>
                  <a:lnTo>
                    <a:pt x="259220" y="200876"/>
                  </a:lnTo>
                  <a:lnTo>
                    <a:pt x="259220" y="198831"/>
                  </a:lnTo>
                  <a:lnTo>
                    <a:pt x="259220" y="199530"/>
                  </a:lnTo>
                  <a:lnTo>
                    <a:pt x="259271" y="199530"/>
                  </a:lnTo>
                  <a:lnTo>
                    <a:pt x="259271" y="200228"/>
                  </a:lnTo>
                  <a:lnTo>
                    <a:pt x="259271" y="199530"/>
                  </a:lnTo>
                  <a:lnTo>
                    <a:pt x="259309" y="199530"/>
                  </a:lnTo>
                  <a:lnTo>
                    <a:pt x="259309" y="200228"/>
                  </a:lnTo>
                  <a:lnTo>
                    <a:pt x="259309" y="199530"/>
                  </a:lnTo>
                  <a:lnTo>
                    <a:pt x="259309" y="200228"/>
                  </a:lnTo>
                  <a:lnTo>
                    <a:pt x="259309" y="199530"/>
                  </a:lnTo>
                  <a:lnTo>
                    <a:pt x="259309" y="200228"/>
                  </a:lnTo>
                  <a:lnTo>
                    <a:pt x="259411" y="200228"/>
                  </a:lnTo>
                  <a:lnTo>
                    <a:pt x="259411" y="200876"/>
                  </a:lnTo>
                  <a:lnTo>
                    <a:pt x="259411" y="200228"/>
                  </a:lnTo>
                  <a:lnTo>
                    <a:pt x="259411" y="200876"/>
                  </a:lnTo>
                  <a:lnTo>
                    <a:pt x="259462" y="200876"/>
                  </a:lnTo>
                  <a:lnTo>
                    <a:pt x="259462" y="200228"/>
                  </a:lnTo>
                  <a:lnTo>
                    <a:pt x="259462" y="200876"/>
                  </a:lnTo>
                  <a:lnTo>
                    <a:pt x="259462" y="200228"/>
                  </a:lnTo>
                  <a:lnTo>
                    <a:pt x="259462" y="200876"/>
                  </a:lnTo>
                  <a:lnTo>
                    <a:pt x="259462" y="199530"/>
                  </a:lnTo>
                  <a:lnTo>
                    <a:pt x="259462" y="200228"/>
                  </a:lnTo>
                  <a:lnTo>
                    <a:pt x="259512" y="200228"/>
                  </a:lnTo>
                  <a:lnTo>
                    <a:pt x="259512" y="198831"/>
                  </a:lnTo>
                  <a:lnTo>
                    <a:pt x="259614" y="197447"/>
                  </a:lnTo>
                  <a:lnTo>
                    <a:pt x="259614" y="198831"/>
                  </a:lnTo>
                  <a:lnTo>
                    <a:pt x="259614" y="197447"/>
                  </a:lnTo>
                  <a:lnTo>
                    <a:pt x="259614" y="198831"/>
                  </a:lnTo>
                  <a:lnTo>
                    <a:pt x="259614" y="196799"/>
                  </a:lnTo>
                  <a:lnTo>
                    <a:pt x="259614" y="198831"/>
                  </a:lnTo>
                  <a:lnTo>
                    <a:pt x="259665" y="198831"/>
                  </a:lnTo>
                  <a:lnTo>
                    <a:pt x="259665" y="197447"/>
                  </a:lnTo>
                  <a:lnTo>
                    <a:pt x="259665" y="200876"/>
                  </a:lnTo>
                  <a:lnTo>
                    <a:pt x="259665" y="200228"/>
                  </a:lnTo>
                  <a:lnTo>
                    <a:pt x="259716" y="200228"/>
                  </a:lnTo>
                  <a:lnTo>
                    <a:pt x="259716" y="198831"/>
                  </a:lnTo>
                  <a:lnTo>
                    <a:pt x="259716" y="200876"/>
                  </a:lnTo>
                  <a:lnTo>
                    <a:pt x="259716" y="200228"/>
                  </a:lnTo>
                  <a:lnTo>
                    <a:pt x="259766" y="200228"/>
                  </a:lnTo>
                  <a:lnTo>
                    <a:pt x="259766" y="199530"/>
                  </a:lnTo>
                  <a:lnTo>
                    <a:pt x="259766" y="200876"/>
                  </a:lnTo>
                  <a:lnTo>
                    <a:pt x="259766" y="200228"/>
                  </a:lnTo>
                  <a:lnTo>
                    <a:pt x="259855" y="200228"/>
                  </a:lnTo>
                  <a:lnTo>
                    <a:pt x="259855" y="199530"/>
                  </a:lnTo>
                  <a:lnTo>
                    <a:pt x="259855" y="200876"/>
                  </a:lnTo>
                  <a:lnTo>
                    <a:pt x="259906" y="200228"/>
                  </a:lnTo>
                  <a:lnTo>
                    <a:pt x="259906" y="200876"/>
                  </a:lnTo>
                  <a:lnTo>
                    <a:pt x="259906" y="200228"/>
                  </a:lnTo>
                  <a:lnTo>
                    <a:pt x="259906" y="202260"/>
                  </a:lnTo>
                  <a:lnTo>
                    <a:pt x="259957" y="202260"/>
                  </a:lnTo>
                  <a:lnTo>
                    <a:pt x="259957" y="200228"/>
                  </a:lnTo>
                  <a:lnTo>
                    <a:pt x="259957" y="200876"/>
                  </a:lnTo>
                  <a:lnTo>
                    <a:pt x="259957" y="200228"/>
                  </a:lnTo>
                  <a:lnTo>
                    <a:pt x="260008" y="200228"/>
                  </a:lnTo>
                  <a:lnTo>
                    <a:pt x="260008" y="199530"/>
                  </a:lnTo>
                  <a:lnTo>
                    <a:pt x="260008" y="200228"/>
                  </a:lnTo>
                  <a:lnTo>
                    <a:pt x="260008" y="198831"/>
                  </a:lnTo>
                  <a:lnTo>
                    <a:pt x="260109" y="198831"/>
                  </a:lnTo>
                  <a:lnTo>
                    <a:pt x="260109" y="197447"/>
                  </a:lnTo>
                  <a:lnTo>
                    <a:pt x="260109" y="199530"/>
                  </a:lnTo>
                  <a:lnTo>
                    <a:pt x="260160" y="199530"/>
                  </a:lnTo>
                  <a:lnTo>
                    <a:pt x="260160" y="198831"/>
                  </a:lnTo>
                  <a:lnTo>
                    <a:pt x="260160" y="202260"/>
                  </a:lnTo>
                  <a:lnTo>
                    <a:pt x="260160" y="200228"/>
                  </a:lnTo>
                  <a:lnTo>
                    <a:pt x="260211" y="199530"/>
                  </a:lnTo>
                  <a:lnTo>
                    <a:pt x="260211" y="200228"/>
                  </a:lnTo>
                  <a:lnTo>
                    <a:pt x="260211" y="199530"/>
                  </a:lnTo>
                  <a:lnTo>
                    <a:pt x="260211" y="200876"/>
                  </a:lnTo>
                  <a:lnTo>
                    <a:pt x="260211" y="200228"/>
                  </a:lnTo>
                  <a:lnTo>
                    <a:pt x="260211" y="200876"/>
                  </a:lnTo>
                  <a:lnTo>
                    <a:pt x="260211" y="200228"/>
                  </a:lnTo>
                  <a:lnTo>
                    <a:pt x="260312" y="200228"/>
                  </a:lnTo>
                  <a:lnTo>
                    <a:pt x="260312" y="199530"/>
                  </a:lnTo>
                  <a:lnTo>
                    <a:pt x="260312" y="200876"/>
                  </a:lnTo>
                  <a:lnTo>
                    <a:pt x="260312" y="200228"/>
                  </a:lnTo>
                  <a:lnTo>
                    <a:pt x="260351" y="200228"/>
                  </a:lnTo>
                  <a:lnTo>
                    <a:pt x="260351" y="200876"/>
                  </a:lnTo>
                  <a:lnTo>
                    <a:pt x="260401" y="200876"/>
                  </a:lnTo>
                  <a:lnTo>
                    <a:pt x="260401" y="202260"/>
                  </a:lnTo>
                  <a:lnTo>
                    <a:pt x="260401" y="200876"/>
                  </a:lnTo>
                  <a:lnTo>
                    <a:pt x="260452" y="200876"/>
                  </a:lnTo>
                  <a:lnTo>
                    <a:pt x="260452" y="199530"/>
                  </a:lnTo>
                  <a:lnTo>
                    <a:pt x="260554" y="199530"/>
                  </a:lnTo>
                  <a:lnTo>
                    <a:pt x="260554" y="197447"/>
                  </a:lnTo>
                  <a:lnTo>
                    <a:pt x="260605" y="197447"/>
                  </a:lnTo>
                  <a:lnTo>
                    <a:pt x="260605" y="196799"/>
                  </a:lnTo>
                  <a:lnTo>
                    <a:pt x="260605" y="200228"/>
                  </a:lnTo>
                  <a:lnTo>
                    <a:pt x="260605" y="197447"/>
                  </a:lnTo>
                  <a:lnTo>
                    <a:pt x="260655" y="196799"/>
                  </a:lnTo>
                  <a:lnTo>
                    <a:pt x="260655" y="200876"/>
                  </a:lnTo>
                  <a:lnTo>
                    <a:pt x="260655" y="197447"/>
                  </a:lnTo>
                  <a:lnTo>
                    <a:pt x="260655" y="198831"/>
                  </a:lnTo>
                  <a:lnTo>
                    <a:pt x="260757" y="198831"/>
                  </a:lnTo>
                  <a:lnTo>
                    <a:pt x="260757" y="200228"/>
                  </a:lnTo>
                  <a:lnTo>
                    <a:pt x="260757" y="199530"/>
                  </a:lnTo>
                  <a:lnTo>
                    <a:pt x="260808" y="199530"/>
                  </a:lnTo>
                  <a:lnTo>
                    <a:pt x="260808" y="200876"/>
                  </a:lnTo>
                  <a:lnTo>
                    <a:pt x="260808" y="200228"/>
                  </a:lnTo>
                  <a:lnTo>
                    <a:pt x="260858" y="200876"/>
                  </a:lnTo>
                  <a:lnTo>
                    <a:pt x="260858" y="200228"/>
                  </a:lnTo>
                  <a:lnTo>
                    <a:pt x="260858" y="202260"/>
                  </a:lnTo>
                  <a:lnTo>
                    <a:pt x="260858" y="200228"/>
                  </a:lnTo>
                  <a:lnTo>
                    <a:pt x="260858" y="200876"/>
                  </a:lnTo>
                  <a:lnTo>
                    <a:pt x="260858" y="200228"/>
                  </a:lnTo>
                  <a:lnTo>
                    <a:pt x="260858" y="200876"/>
                  </a:lnTo>
                  <a:lnTo>
                    <a:pt x="260897" y="200876"/>
                  </a:lnTo>
                  <a:lnTo>
                    <a:pt x="260897" y="200228"/>
                  </a:lnTo>
                  <a:lnTo>
                    <a:pt x="260897" y="200876"/>
                  </a:lnTo>
                  <a:lnTo>
                    <a:pt x="260897" y="200228"/>
                  </a:lnTo>
                  <a:lnTo>
                    <a:pt x="260897" y="200876"/>
                  </a:lnTo>
                  <a:lnTo>
                    <a:pt x="260897" y="200228"/>
                  </a:lnTo>
                  <a:lnTo>
                    <a:pt x="260998" y="200228"/>
                  </a:lnTo>
                  <a:lnTo>
                    <a:pt x="260998" y="199530"/>
                  </a:lnTo>
                  <a:lnTo>
                    <a:pt x="260998" y="200228"/>
                  </a:lnTo>
                  <a:lnTo>
                    <a:pt x="260998" y="198831"/>
                  </a:lnTo>
                  <a:lnTo>
                    <a:pt x="261049" y="198831"/>
                  </a:lnTo>
                  <a:lnTo>
                    <a:pt x="261049" y="199530"/>
                  </a:lnTo>
                  <a:lnTo>
                    <a:pt x="261049" y="198831"/>
                  </a:lnTo>
                  <a:lnTo>
                    <a:pt x="261049" y="199530"/>
                  </a:lnTo>
                  <a:lnTo>
                    <a:pt x="261049" y="196799"/>
                  </a:lnTo>
                  <a:lnTo>
                    <a:pt x="261100" y="196799"/>
                  </a:lnTo>
                  <a:lnTo>
                    <a:pt x="261100" y="199530"/>
                  </a:lnTo>
                  <a:lnTo>
                    <a:pt x="261100" y="196799"/>
                  </a:lnTo>
                  <a:lnTo>
                    <a:pt x="261201" y="197447"/>
                  </a:lnTo>
                  <a:lnTo>
                    <a:pt x="261201" y="199530"/>
                  </a:lnTo>
                  <a:lnTo>
                    <a:pt x="261201" y="198831"/>
                  </a:lnTo>
                  <a:lnTo>
                    <a:pt x="261252" y="198831"/>
                  </a:lnTo>
                  <a:lnTo>
                    <a:pt x="261252" y="200228"/>
                  </a:lnTo>
                  <a:lnTo>
                    <a:pt x="261252" y="198831"/>
                  </a:lnTo>
                  <a:lnTo>
                    <a:pt x="261252" y="199530"/>
                  </a:lnTo>
                  <a:lnTo>
                    <a:pt x="261303" y="199530"/>
                  </a:lnTo>
                  <a:lnTo>
                    <a:pt x="261303" y="200228"/>
                  </a:lnTo>
                  <a:lnTo>
                    <a:pt x="261303" y="199530"/>
                  </a:lnTo>
                  <a:lnTo>
                    <a:pt x="261303" y="200228"/>
                  </a:lnTo>
                  <a:lnTo>
                    <a:pt x="261354" y="199530"/>
                  </a:lnTo>
                  <a:lnTo>
                    <a:pt x="261354" y="200876"/>
                  </a:lnTo>
                  <a:lnTo>
                    <a:pt x="261354" y="200228"/>
                  </a:lnTo>
                  <a:lnTo>
                    <a:pt x="261443" y="200228"/>
                  </a:lnTo>
                  <a:lnTo>
                    <a:pt x="261443" y="200876"/>
                  </a:lnTo>
                  <a:lnTo>
                    <a:pt x="261443" y="200228"/>
                  </a:lnTo>
                  <a:lnTo>
                    <a:pt x="261493" y="200228"/>
                  </a:lnTo>
                  <a:lnTo>
                    <a:pt x="261493" y="199530"/>
                  </a:lnTo>
                  <a:lnTo>
                    <a:pt x="261493" y="200228"/>
                  </a:lnTo>
                  <a:lnTo>
                    <a:pt x="261493" y="199530"/>
                  </a:lnTo>
                  <a:lnTo>
                    <a:pt x="261544" y="199530"/>
                  </a:lnTo>
                  <a:lnTo>
                    <a:pt x="261544" y="198831"/>
                  </a:lnTo>
                  <a:lnTo>
                    <a:pt x="261544" y="199530"/>
                  </a:lnTo>
                  <a:lnTo>
                    <a:pt x="261544" y="196799"/>
                  </a:lnTo>
                  <a:lnTo>
                    <a:pt x="261595" y="196113"/>
                  </a:lnTo>
                  <a:lnTo>
                    <a:pt x="261595" y="194716"/>
                  </a:lnTo>
                  <a:lnTo>
                    <a:pt x="261595" y="195415"/>
                  </a:lnTo>
                  <a:lnTo>
                    <a:pt x="261595" y="194716"/>
                  </a:lnTo>
                  <a:lnTo>
                    <a:pt x="261595" y="196799"/>
                  </a:lnTo>
                  <a:lnTo>
                    <a:pt x="261697" y="196113"/>
                  </a:lnTo>
                  <a:lnTo>
                    <a:pt x="261697" y="195415"/>
                  </a:lnTo>
                  <a:lnTo>
                    <a:pt x="261697" y="196799"/>
                  </a:lnTo>
                  <a:lnTo>
                    <a:pt x="261697" y="196113"/>
                  </a:lnTo>
                  <a:lnTo>
                    <a:pt x="261697" y="197447"/>
                  </a:lnTo>
                  <a:lnTo>
                    <a:pt x="261747" y="197447"/>
                  </a:lnTo>
                  <a:lnTo>
                    <a:pt x="261747" y="196799"/>
                  </a:lnTo>
                  <a:lnTo>
                    <a:pt x="261747" y="197447"/>
                  </a:lnTo>
                  <a:lnTo>
                    <a:pt x="261747" y="196799"/>
                  </a:lnTo>
                  <a:lnTo>
                    <a:pt x="261747" y="198831"/>
                  </a:lnTo>
                  <a:lnTo>
                    <a:pt x="261747" y="197447"/>
                  </a:lnTo>
                  <a:lnTo>
                    <a:pt x="261798" y="197447"/>
                  </a:lnTo>
                  <a:lnTo>
                    <a:pt x="261798" y="198831"/>
                  </a:lnTo>
                  <a:lnTo>
                    <a:pt x="261798" y="197447"/>
                  </a:lnTo>
                  <a:lnTo>
                    <a:pt x="261798" y="199530"/>
                  </a:lnTo>
                  <a:lnTo>
                    <a:pt x="261798" y="198831"/>
                  </a:lnTo>
                  <a:lnTo>
                    <a:pt x="261900" y="198831"/>
                  </a:lnTo>
                  <a:lnTo>
                    <a:pt x="261900" y="200228"/>
                  </a:lnTo>
                  <a:lnTo>
                    <a:pt x="261900" y="199530"/>
                  </a:lnTo>
                  <a:lnTo>
                    <a:pt x="261900" y="200228"/>
                  </a:lnTo>
                  <a:lnTo>
                    <a:pt x="261900" y="199530"/>
                  </a:lnTo>
                  <a:lnTo>
                    <a:pt x="261938" y="199530"/>
                  </a:lnTo>
                  <a:lnTo>
                    <a:pt x="261938" y="200876"/>
                  </a:lnTo>
                  <a:lnTo>
                    <a:pt x="261938" y="200228"/>
                  </a:lnTo>
                  <a:lnTo>
                    <a:pt x="261938" y="200876"/>
                  </a:lnTo>
                  <a:lnTo>
                    <a:pt x="261989" y="200228"/>
                  </a:lnTo>
                  <a:lnTo>
                    <a:pt x="261989" y="199530"/>
                  </a:lnTo>
                  <a:lnTo>
                    <a:pt x="262040" y="199530"/>
                  </a:lnTo>
                  <a:lnTo>
                    <a:pt x="262040" y="198831"/>
                  </a:lnTo>
                  <a:lnTo>
                    <a:pt x="262040" y="199530"/>
                  </a:lnTo>
                  <a:lnTo>
                    <a:pt x="262040" y="198831"/>
                  </a:lnTo>
                  <a:lnTo>
                    <a:pt x="262040" y="199530"/>
                  </a:lnTo>
                  <a:lnTo>
                    <a:pt x="262040" y="197447"/>
                  </a:lnTo>
                  <a:lnTo>
                    <a:pt x="262141" y="197447"/>
                  </a:lnTo>
                  <a:lnTo>
                    <a:pt x="262141" y="196113"/>
                  </a:lnTo>
                  <a:lnTo>
                    <a:pt x="262141" y="197447"/>
                  </a:lnTo>
                  <a:lnTo>
                    <a:pt x="262141" y="196799"/>
                  </a:lnTo>
                  <a:lnTo>
                    <a:pt x="262192" y="196113"/>
                  </a:lnTo>
                  <a:lnTo>
                    <a:pt x="262192" y="195415"/>
                  </a:lnTo>
                  <a:lnTo>
                    <a:pt x="262192" y="197447"/>
                  </a:lnTo>
                  <a:lnTo>
                    <a:pt x="262192" y="196799"/>
                  </a:lnTo>
                  <a:lnTo>
                    <a:pt x="262243" y="196799"/>
                  </a:lnTo>
                  <a:lnTo>
                    <a:pt x="262243" y="198831"/>
                  </a:lnTo>
                  <a:lnTo>
                    <a:pt x="262243" y="197447"/>
                  </a:lnTo>
                  <a:lnTo>
                    <a:pt x="262243" y="198831"/>
                  </a:lnTo>
                  <a:lnTo>
                    <a:pt x="262243" y="197447"/>
                  </a:lnTo>
                  <a:lnTo>
                    <a:pt x="262344" y="197447"/>
                  </a:lnTo>
                  <a:lnTo>
                    <a:pt x="262344" y="198831"/>
                  </a:lnTo>
                  <a:lnTo>
                    <a:pt x="262344" y="197447"/>
                  </a:lnTo>
                  <a:lnTo>
                    <a:pt x="262344" y="198831"/>
                  </a:lnTo>
                  <a:lnTo>
                    <a:pt x="262344" y="197447"/>
                  </a:lnTo>
                  <a:lnTo>
                    <a:pt x="262344" y="198831"/>
                  </a:lnTo>
                  <a:lnTo>
                    <a:pt x="262344" y="197447"/>
                  </a:lnTo>
                  <a:lnTo>
                    <a:pt x="262344" y="198831"/>
                  </a:lnTo>
                  <a:lnTo>
                    <a:pt x="262395" y="198831"/>
                  </a:lnTo>
                  <a:lnTo>
                    <a:pt x="262395" y="199530"/>
                  </a:lnTo>
                  <a:lnTo>
                    <a:pt x="262395" y="198831"/>
                  </a:lnTo>
                  <a:lnTo>
                    <a:pt x="262395" y="199530"/>
                  </a:lnTo>
                  <a:lnTo>
                    <a:pt x="262446" y="199530"/>
                  </a:lnTo>
                  <a:lnTo>
                    <a:pt x="262446" y="198831"/>
                  </a:lnTo>
                  <a:lnTo>
                    <a:pt x="262446" y="199530"/>
                  </a:lnTo>
                  <a:lnTo>
                    <a:pt x="262446" y="198831"/>
                  </a:lnTo>
                  <a:lnTo>
                    <a:pt x="262446" y="200228"/>
                  </a:lnTo>
                  <a:lnTo>
                    <a:pt x="262484" y="200228"/>
                  </a:lnTo>
                  <a:lnTo>
                    <a:pt x="262484" y="199530"/>
                  </a:lnTo>
                  <a:lnTo>
                    <a:pt x="262484" y="200228"/>
                  </a:lnTo>
                  <a:lnTo>
                    <a:pt x="262484" y="198831"/>
                  </a:lnTo>
                  <a:lnTo>
                    <a:pt x="262484" y="199530"/>
                  </a:lnTo>
                  <a:lnTo>
                    <a:pt x="262586" y="199530"/>
                  </a:lnTo>
                  <a:lnTo>
                    <a:pt x="262586" y="197447"/>
                  </a:lnTo>
                  <a:lnTo>
                    <a:pt x="262637" y="196799"/>
                  </a:lnTo>
                  <a:lnTo>
                    <a:pt x="262637" y="198831"/>
                  </a:lnTo>
                  <a:lnTo>
                    <a:pt x="262637" y="196799"/>
                  </a:lnTo>
                  <a:lnTo>
                    <a:pt x="262637" y="197447"/>
                  </a:lnTo>
                  <a:lnTo>
                    <a:pt x="262687" y="197447"/>
                  </a:lnTo>
                  <a:lnTo>
                    <a:pt x="262687" y="200228"/>
                  </a:lnTo>
                  <a:lnTo>
                    <a:pt x="262687" y="198831"/>
                  </a:lnTo>
                  <a:lnTo>
                    <a:pt x="262687" y="199530"/>
                  </a:lnTo>
                  <a:lnTo>
                    <a:pt x="262789" y="199530"/>
                  </a:lnTo>
                  <a:lnTo>
                    <a:pt x="262840" y="200228"/>
                  </a:lnTo>
                  <a:lnTo>
                    <a:pt x="262840" y="199530"/>
                  </a:lnTo>
                  <a:lnTo>
                    <a:pt x="262840" y="200228"/>
                  </a:lnTo>
                  <a:lnTo>
                    <a:pt x="262840" y="199530"/>
                  </a:lnTo>
                  <a:lnTo>
                    <a:pt x="262840" y="200228"/>
                  </a:lnTo>
                  <a:lnTo>
                    <a:pt x="262840" y="199530"/>
                  </a:lnTo>
                  <a:lnTo>
                    <a:pt x="262840" y="200228"/>
                  </a:lnTo>
                  <a:lnTo>
                    <a:pt x="262840" y="199530"/>
                  </a:lnTo>
                  <a:lnTo>
                    <a:pt x="262891" y="199530"/>
                  </a:lnTo>
                  <a:lnTo>
                    <a:pt x="262891" y="200228"/>
                  </a:lnTo>
                  <a:lnTo>
                    <a:pt x="262891" y="199530"/>
                  </a:lnTo>
                  <a:lnTo>
                    <a:pt x="262891" y="200228"/>
                  </a:lnTo>
                  <a:lnTo>
                    <a:pt x="262891" y="199530"/>
                  </a:lnTo>
                  <a:lnTo>
                    <a:pt x="262891" y="200228"/>
                  </a:lnTo>
                  <a:lnTo>
                    <a:pt x="262941" y="200228"/>
                  </a:lnTo>
                  <a:lnTo>
                    <a:pt x="262941" y="200876"/>
                  </a:lnTo>
                  <a:lnTo>
                    <a:pt x="262941" y="199530"/>
                  </a:lnTo>
                  <a:lnTo>
                    <a:pt x="262941" y="200228"/>
                  </a:lnTo>
                  <a:lnTo>
                    <a:pt x="263030" y="200228"/>
                  </a:lnTo>
                  <a:lnTo>
                    <a:pt x="263030" y="199530"/>
                  </a:lnTo>
                  <a:lnTo>
                    <a:pt x="263030" y="200228"/>
                  </a:lnTo>
                  <a:lnTo>
                    <a:pt x="263030" y="199530"/>
                  </a:lnTo>
                  <a:lnTo>
                    <a:pt x="263081" y="199530"/>
                  </a:lnTo>
                  <a:lnTo>
                    <a:pt x="263081" y="197447"/>
                  </a:lnTo>
                  <a:lnTo>
                    <a:pt x="263132" y="198831"/>
                  </a:lnTo>
                  <a:lnTo>
                    <a:pt x="263132" y="199530"/>
                  </a:lnTo>
                  <a:lnTo>
                    <a:pt x="263132" y="198831"/>
                  </a:lnTo>
                  <a:lnTo>
                    <a:pt x="263132" y="199530"/>
                  </a:lnTo>
                  <a:lnTo>
                    <a:pt x="263132" y="197447"/>
                  </a:lnTo>
                  <a:lnTo>
                    <a:pt x="263132" y="200228"/>
                  </a:lnTo>
                  <a:lnTo>
                    <a:pt x="263183" y="200228"/>
                  </a:lnTo>
                  <a:lnTo>
                    <a:pt x="263183" y="200876"/>
                  </a:lnTo>
                  <a:lnTo>
                    <a:pt x="263183" y="199530"/>
                  </a:lnTo>
                  <a:lnTo>
                    <a:pt x="263183" y="200228"/>
                  </a:lnTo>
                  <a:lnTo>
                    <a:pt x="263183" y="199530"/>
                  </a:lnTo>
                  <a:lnTo>
                    <a:pt x="263183" y="200228"/>
                  </a:lnTo>
                  <a:lnTo>
                    <a:pt x="263284" y="200228"/>
                  </a:lnTo>
                  <a:lnTo>
                    <a:pt x="263284" y="199530"/>
                  </a:lnTo>
                  <a:lnTo>
                    <a:pt x="263284" y="200228"/>
                  </a:lnTo>
                  <a:lnTo>
                    <a:pt x="263284" y="199530"/>
                  </a:lnTo>
                  <a:lnTo>
                    <a:pt x="263284" y="200876"/>
                  </a:lnTo>
                  <a:lnTo>
                    <a:pt x="263284" y="200228"/>
                  </a:lnTo>
                  <a:lnTo>
                    <a:pt x="263335" y="200228"/>
                  </a:lnTo>
                  <a:lnTo>
                    <a:pt x="263335" y="200876"/>
                  </a:lnTo>
                  <a:lnTo>
                    <a:pt x="263335" y="199530"/>
                  </a:lnTo>
                  <a:lnTo>
                    <a:pt x="263335" y="200228"/>
                  </a:lnTo>
                  <a:lnTo>
                    <a:pt x="263386" y="200228"/>
                  </a:lnTo>
                  <a:lnTo>
                    <a:pt x="263386" y="200876"/>
                  </a:lnTo>
                  <a:lnTo>
                    <a:pt x="263386" y="200228"/>
                  </a:lnTo>
                  <a:lnTo>
                    <a:pt x="263487" y="199530"/>
                  </a:lnTo>
                  <a:lnTo>
                    <a:pt x="263487" y="200228"/>
                  </a:lnTo>
                  <a:lnTo>
                    <a:pt x="263487" y="199530"/>
                  </a:lnTo>
                  <a:lnTo>
                    <a:pt x="263487" y="200228"/>
                  </a:lnTo>
                  <a:lnTo>
                    <a:pt x="263526" y="199530"/>
                  </a:lnTo>
                  <a:lnTo>
                    <a:pt x="263526" y="200228"/>
                  </a:lnTo>
                  <a:lnTo>
                    <a:pt x="263526" y="198831"/>
                  </a:lnTo>
                  <a:lnTo>
                    <a:pt x="263526" y="199530"/>
                  </a:lnTo>
                  <a:lnTo>
                    <a:pt x="263526" y="197447"/>
                  </a:lnTo>
                  <a:lnTo>
                    <a:pt x="263576" y="197447"/>
                  </a:lnTo>
                  <a:lnTo>
                    <a:pt x="263576" y="196799"/>
                  </a:lnTo>
                  <a:lnTo>
                    <a:pt x="263576" y="197447"/>
                  </a:lnTo>
                  <a:lnTo>
                    <a:pt x="263576" y="196799"/>
                  </a:lnTo>
                  <a:lnTo>
                    <a:pt x="263576" y="198831"/>
                  </a:lnTo>
                  <a:lnTo>
                    <a:pt x="263627" y="197447"/>
                  </a:lnTo>
                  <a:lnTo>
                    <a:pt x="263627" y="196799"/>
                  </a:lnTo>
                  <a:lnTo>
                    <a:pt x="263627" y="197447"/>
                  </a:lnTo>
                  <a:lnTo>
                    <a:pt x="263627" y="196799"/>
                  </a:lnTo>
                  <a:lnTo>
                    <a:pt x="263627" y="197447"/>
                  </a:lnTo>
                  <a:lnTo>
                    <a:pt x="263627" y="196799"/>
                  </a:lnTo>
                  <a:lnTo>
                    <a:pt x="263627" y="200876"/>
                  </a:lnTo>
                  <a:lnTo>
                    <a:pt x="263627" y="200228"/>
                  </a:lnTo>
                  <a:lnTo>
                    <a:pt x="263729" y="200228"/>
                  </a:lnTo>
                  <a:lnTo>
                    <a:pt x="263729" y="198831"/>
                  </a:lnTo>
                  <a:lnTo>
                    <a:pt x="263729" y="200876"/>
                  </a:lnTo>
                  <a:lnTo>
                    <a:pt x="263729" y="200228"/>
                  </a:lnTo>
                  <a:lnTo>
                    <a:pt x="263780" y="200228"/>
                  </a:lnTo>
                  <a:lnTo>
                    <a:pt x="263780" y="199530"/>
                  </a:lnTo>
                  <a:lnTo>
                    <a:pt x="263780" y="200876"/>
                  </a:lnTo>
                  <a:lnTo>
                    <a:pt x="263780" y="200228"/>
                  </a:lnTo>
                  <a:lnTo>
                    <a:pt x="263780" y="200876"/>
                  </a:lnTo>
                  <a:lnTo>
                    <a:pt x="263830" y="200876"/>
                  </a:lnTo>
                  <a:lnTo>
                    <a:pt x="263830" y="200228"/>
                  </a:lnTo>
                  <a:lnTo>
                    <a:pt x="263830" y="200876"/>
                  </a:lnTo>
                  <a:lnTo>
                    <a:pt x="263830" y="200228"/>
                  </a:lnTo>
                  <a:lnTo>
                    <a:pt x="263830" y="200876"/>
                  </a:lnTo>
                  <a:lnTo>
                    <a:pt x="263932" y="200876"/>
                  </a:lnTo>
                  <a:lnTo>
                    <a:pt x="263932" y="200228"/>
                  </a:lnTo>
                  <a:lnTo>
                    <a:pt x="263932" y="200876"/>
                  </a:lnTo>
                  <a:lnTo>
                    <a:pt x="263983" y="200876"/>
                  </a:lnTo>
                  <a:lnTo>
                    <a:pt x="263983" y="200228"/>
                  </a:lnTo>
                  <a:lnTo>
                    <a:pt x="263983" y="200876"/>
                  </a:lnTo>
                  <a:lnTo>
                    <a:pt x="263983" y="200228"/>
                  </a:lnTo>
                  <a:lnTo>
                    <a:pt x="264033" y="200228"/>
                  </a:lnTo>
                  <a:lnTo>
                    <a:pt x="264033" y="198831"/>
                  </a:lnTo>
                  <a:lnTo>
                    <a:pt x="264072" y="197447"/>
                  </a:lnTo>
                  <a:lnTo>
                    <a:pt x="264072" y="198831"/>
                  </a:lnTo>
                  <a:lnTo>
                    <a:pt x="264173" y="198831"/>
                  </a:lnTo>
                  <a:lnTo>
                    <a:pt x="264173" y="200876"/>
                  </a:lnTo>
                  <a:lnTo>
                    <a:pt x="264173" y="200228"/>
                  </a:lnTo>
                  <a:lnTo>
                    <a:pt x="264224" y="199530"/>
                  </a:lnTo>
                  <a:lnTo>
                    <a:pt x="264224" y="200228"/>
                  </a:lnTo>
                  <a:lnTo>
                    <a:pt x="264224" y="199530"/>
                  </a:lnTo>
                  <a:lnTo>
                    <a:pt x="264224" y="200228"/>
                  </a:lnTo>
                  <a:lnTo>
                    <a:pt x="264224" y="199530"/>
                  </a:lnTo>
                  <a:lnTo>
                    <a:pt x="264224" y="200876"/>
                  </a:lnTo>
                  <a:lnTo>
                    <a:pt x="264224" y="200228"/>
                  </a:lnTo>
                  <a:lnTo>
                    <a:pt x="264275" y="200228"/>
                  </a:lnTo>
                  <a:lnTo>
                    <a:pt x="264275" y="200876"/>
                  </a:lnTo>
                  <a:lnTo>
                    <a:pt x="264275" y="200228"/>
                  </a:lnTo>
                  <a:lnTo>
                    <a:pt x="264275" y="200876"/>
                  </a:lnTo>
                  <a:lnTo>
                    <a:pt x="264275" y="200228"/>
                  </a:lnTo>
                  <a:lnTo>
                    <a:pt x="264275" y="200876"/>
                  </a:lnTo>
                  <a:lnTo>
                    <a:pt x="264376" y="200876"/>
                  </a:lnTo>
                  <a:lnTo>
                    <a:pt x="264376" y="200228"/>
                  </a:lnTo>
                  <a:lnTo>
                    <a:pt x="264376" y="200876"/>
                  </a:lnTo>
                  <a:lnTo>
                    <a:pt x="264376" y="200228"/>
                  </a:lnTo>
                  <a:lnTo>
                    <a:pt x="264376" y="200876"/>
                  </a:lnTo>
                  <a:lnTo>
                    <a:pt x="264376" y="200228"/>
                  </a:lnTo>
                  <a:lnTo>
                    <a:pt x="264376" y="200876"/>
                  </a:lnTo>
                  <a:lnTo>
                    <a:pt x="264427" y="200876"/>
                  </a:lnTo>
                  <a:lnTo>
                    <a:pt x="264427" y="202260"/>
                  </a:lnTo>
                  <a:lnTo>
                    <a:pt x="264427" y="200876"/>
                  </a:lnTo>
                  <a:lnTo>
                    <a:pt x="264427" y="202260"/>
                  </a:lnTo>
                  <a:lnTo>
                    <a:pt x="264478" y="202260"/>
                  </a:lnTo>
                  <a:lnTo>
                    <a:pt x="264478" y="199530"/>
                  </a:lnTo>
                  <a:lnTo>
                    <a:pt x="264529" y="200228"/>
                  </a:lnTo>
                  <a:lnTo>
                    <a:pt x="264529" y="197447"/>
                  </a:lnTo>
                  <a:lnTo>
                    <a:pt x="264618" y="196799"/>
                  </a:lnTo>
                  <a:lnTo>
                    <a:pt x="264618" y="197447"/>
                  </a:lnTo>
                  <a:lnTo>
                    <a:pt x="264618" y="196799"/>
                  </a:lnTo>
                  <a:lnTo>
                    <a:pt x="264668" y="196799"/>
                  </a:lnTo>
                  <a:lnTo>
                    <a:pt x="264668" y="200228"/>
                  </a:lnTo>
                  <a:lnTo>
                    <a:pt x="264668" y="198831"/>
                  </a:lnTo>
                  <a:lnTo>
                    <a:pt x="264668" y="199530"/>
                  </a:lnTo>
                  <a:lnTo>
                    <a:pt x="264719" y="199530"/>
                  </a:lnTo>
                  <a:lnTo>
                    <a:pt x="264719" y="198831"/>
                  </a:lnTo>
                  <a:lnTo>
                    <a:pt x="264719" y="200228"/>
                  </a:lnTo>
                  <a:lnTo>
                    <a:pt x="264719" y="198831"/>
                  </a:lnTo>
                  <a:lnTo>
                    <a:pt x="264770" y="199530"/>
                  </a:lnTo>
                  <a:lnTo>
                    <a:pt x="264770" y="200228"/>
                  </a:lnTo>
                  <a:lnTo>
                    <a:pt x="264770" y="199530"/>
                  </a:lnTo>
                  <a:lnTo>
                    <a:pt x="264770" y="200228"/>
                  </a:lnTo>
                  <a:lnTo>
                    <a:pt x="264770" y="199530"/>
                  </a:lnTo>
                  <a:lnTo>
                    <a:pt x="264770" y="200228"/>
                  </a:lnTo>
                  <a:lnTo>
                    <a:pt x="264872" y="200228"/>
                  </a:lnTo>
                  <a:lnTo>
                    <a:pt x="264872" y="200876"/>
                  </a:lnTo>
                  <a:lnTo>
                    <a:pt x="264872" y="200228"/>
                  </a:lnTo>
                  <a:lnTo>
                    <a:pt x="264872" y="200876"/>
                  </a:lnTo>
                  <a:lnTo>
                    <a:pt x="264922" y="200876"/>
                  </a:lnTo>
                  <a:lnTo>
                    <a:pt x="264922" y="202260"/>
                  </a:lnTo>
                  <a:lnTo>
                    <a:pt x="264922" y="200228"/>
                  </a:lnTo>
                  <a:lnTo>
                    <a:pt x="264922" y="202260"/>
                  </a:lnTo>
                  <a:lnTo>
                    <a:pt x="264922" y="200876"/>
                  </a:lnTo>
                  <a:lnTo>
                    <a:pt x="264973" y="200876"/>
                  </a:lnTo>
                  <a:lnTo>
                    <a:pt x="264973" y="199530"/>
                  </a:lnTo>
                  <a:lnTo>
                    <a:pt x="264973" y="200228"/>
                  </a:lnTo>
                  <a:lnTo>
                    <a:pt x="264973" y="199530"/>
                  </a:lnTo>
                  <a:lnTo>
                    <a:pt x="265075" y="199530"/>
                  </a:lnTo>
                  <a:lnTo>
                    <a:pt x="265075" y="197447"/>
                  </a:lnTo>
                  <a:lnTo>
                    <a:pt x="265075" y="198831"/>
                  </a:lnTo>
                  <a:lnTo>
                    <a:pt x="265075" y="197447"/>
                  </a:lnTo>
                  <a:lnTo>
                    <a:pt x="265075" y="198831"/>
                  </a:lnTo>
                  <a:lnTo>
                    <a:pt x="265075" y="197447"/>
                  </a:lnTo>
                  <a:lnTo>
                    <a:pt x="265113" y="197447"/>
                  </a:lnTo>
                  <a:lnTo>
                    <a:pt x="265113" y="196799"/>
                  </a:lnTo>
                  <a:lnTo>
                    <a:pt x="265113" y="197447"/>
                  </a:lnTo>
                  <a:lnTo>
                    <a:pt x="265113" y="196799"/>
                  </a:lnTo>
                  <a:lnTo>
                    <a:pt x="265113" y="197447"/>
                  </a:lnTo>
                  <a:lnTo>
                    <a:pt x="265113" y="196799"/>
                  </a:lnTo>
                  <a:lnTo>
                    <a:pt x="265164" y="196799"/>
                  </a:lnTo>
                  <a:lnTo>
                    <a:pt x="265164" y="196113"/>
                  </a:lnTo>
                  <a:lnTo>
                    <a:pt x="265164" y="198831"/>
                  </a:lnTo>
                  <a:lnTo>
                    <a:pt x="265164" y="197447"/>
                  </a:lnTo>
                  <a:lnTo>
                    <a:pt x="265215" y="197447"/>
                  </a:lnTo>
                  <a:lnTo>
                    <a:pt x="265215" y="198831"/>
                  </a:lnTo>
                  <a:lnTo>
                    <a:pt x="265215" y="197447"/>
                  </a:lnTo>
                  <a:lnTo>
                    <a:pt x="265215" y="198831"/>
                  </a:lnTo>
                  <a:lnTo>
                    <a:pt x="265215" y="197447"/>
                  </a:lnTo>
                  <a:lnTo>
                    <a:pt x="265316" y="197447"/>
                  </a:lnTo>
                  <a:lnTo>
                    <a:pt x="265316" y="198831"/>
                  </a:lnTo>
                  <a:lnTo>
                    <a:pt x="265367" y="198831"/>
                  </a:lnTo>
                  <a:lnTo>
                    <a:pt x="265367" y="199530"/>
                  </a:lnTo>
                  <a:lnTo>
                    <a:pt x="265367" y="198831"/>
                  </a:lnTo>
                  <a:lnTo>
                    <a:pt x="265367" y="200228"/>
                  </a:lnTo>
                  <a:lnTo>
                    <a:pt x="265418" y="200228"/>
                  </a:lnTo>
                  <a:lnTo>
                    <a:pt x="265418" y="200876"/>
                  </a:lnTo>
                  <a:lnTo>
                    <a:pt x="265519" y="200228"/>
                  </a:lnTo>
                  <a:lnTo>
                    <a:pt x="265519" y="199530"/>
                  </a:lnTo>
                  <a:lnTo>
                    <a:pt x="265519" y="200228"/>
                  </a:lnTo>
                  <a:lnTo>
                    <a:pt x="265570" y="200228"/>
                  </a:lnTo>
                  <a:lnTo>
                    <a:pt x="265570" y="197447"/>
                  </a:lnTo>
                  <a:lnTo>
                    <a:pt x="265570" y="199530"/>
                  </a:lnTo>
                  <a:lnTo>
                    <a:pt x="265621" y="199530"/>
                  </a:lnTo>
                  <a:lnTo>
                    <a:pt x="265621" y="198831"/>
                  </a:lnTo>
                  <a:lnTo>
                    <a:pt x="265621" y="200876"/>
                  </a:lnTo>
                  <a:lnTo>
                    <a:pt x="265659" y="200876"/>
                  </a:lnTo>
                  <a:lnTo>
                    <a:pt x="265659" y="200228"/>
                  </a:lnTo>
                  <a:lnTo>
                    <a:pt x="265659" y="200876"/>
                  </a:lnTo>
                  <a:lnTo>
                    <a:pt x="265761" y="200876"/>
                  </a:lnTo>
                  <a:lnTo>
                    <a:pt x="265761" y="200228"/>
                  </a:lnTo>
                  <a:lnTo>
                    <a:pt x="265761" y="200876"/>
                  </a:lnTo>
                  <a:lnTo>
                    <a:pt x="265812" y="200228"/>
                  </a:lnTo>
                  <a:lnTo>
                    <a:pt x="265812" y="200876"/>
                  </a:lnTo>
                  <a:lnTo>
                    <a:pt x="265812" y="200228"/>
                  </a:lnTo>
                  <a:lnTo>
                    <a:pt x="265812" y="200876"/>
                  </a:lnTo>
                  <a:lnTo>
                    <a:pt x="265862" y="200876"/>
                  </a:lnTo>
                  <a:lnTo>
                    <a:pt x="265862" y="200228"/>
                  </a:lnTo>
                  <a:lnTo>
                    <a:pt x="265862" y="200876"/>
                  </a:lnTo>
                  <a:lnTo>
                    <a:pt x="265964" y="200876"/>
                  </a:lnTo>
                  <a:lnTo>
                    <a:pt x="265964" y="202260"/>
                  </a:lnTo>
                  <a:lnTo>
                    <a:pt x="265964" y="200876"/>
                  </a:lnTo>
                  <a:lnTo>
                    <a:pt x="266015" y="200876"/>
                  </a:lnTo>
                  <a:lnTo>
                    <a:pt x="266015" y="200228"/>
                  </a:lnTo>
                  <a:lnTo>
                    <a:pt x="266015" y="200876"/>
                  </a:lnTo>
                  <a:lnTo>
                    <a:pt x="266015" y="198831"/>
                  </a:lnTo>
                  <a:lnTo>
                    <a:pt x="266066" y="199530"/>
                  </a:lnTo>
                  <a:lnTo>
                    <a:pt x="266066" y="198831"/>
                  </a:lnTo>
                  <a:lnTo>
                    <a:pt x="266066" y="200876"/>
                  </a:lnTo>
                  <a:lnTo>
                    <a:pt x="266066" y="200228"/>
                  </a:lnTo>
                  <a:lnTo>
                    <a:pt x="266116" y="200228"/>
                  </a:lnTo>
                  <a:lnTo>
                    <a:pt x="266116" y="199530"/>
                  </a:lnTo>
                  <a:lnTo>
                    <a:pt x="266116" y="203594"/>
                  </a:lnTo>
                  <a:lnTo>
                    <a:pt x="266116" y="202260"/>
                  </a:lnTo>
                  <a:lnTo>
                    <a:pt x="266205" y="202260"/>
                  </a:lnTo>
                  <a:lnTo>
                    <a:pt x="266205" y="202959"/>
                  </a:lnTo>
                  <a:lnTo>
                    <a:pt x="266205" y="202260"/>
                  </a:lnTo>
                  <a:lnTo>
                    <a:pt x="266256" y="202260"/>
                  </a:lnTo>
                  <a:lnTo>
                    <a:pt x="266256" y="202959"/>
                  </a:lnTo>
                  <a:lnTo>
                    <a:pt x="266256" y="200228"/>
                  </a:lnTo>
                  <a:lnTo>
                    <a:pt x="266256" y="200876"/>
                  </a:lnTo>
                  <a:lnTo>
                    <a:pt x="266307" y="202260"/>
                  </a:lnTo>
                  <a:lnTo>
                    <a:pt x="266307" y="202959"/>
                  </a:lnTo>
                  <a:lnTo>
                    <a:pt x="266307" y="202260"/>
                  </a:lnTo>
                  <a:lnTo>
                    <a:pt x="266358" y="202260"/>
                  </a:lnTo>
                  <a:lnTo>
                    <a:pt x="266358" y="200876"/>
                  </a:lnTo>
                  <a:lnTo>
                    <a:pt x="266358" y="202260"/>
                  </a:lnTo>
                  <a:lnTo>
                    <a:pt x="266358" y="200876"/>
                  </a:lnTo>
                  <a:lnTo>
                    <a:pt x="266358" y="202260"/>
                  </a:lnTo>
                  <a:lnTo>
                    <a:pt x="266358" y="200876"/>
                  </a:lnTo>
                  <a:lnTo>
                    <a:pt x="266459" y="200876"/>
                  </a:lnTo>
                  <a:lnTo>
                    <a:pt x="266459" y="200228"/>
                  </a:lnTo>
                  <a:lnTo>
                    <a:pt x="266459" y="200876"/>
                  </a:lnTo>
                  <a:lnTo>
                    <a:pt x="266459" y="199530"/>
                  </a:lnTo>
                  <a:lnTo>
                    <a:pt x="266510" y="199530"/>
                  </a:lnTo>
                  <a:lnTo>
                    <a:pt x="266510" y="200228"/>
                  </a:lnTo>
                  <a:lnTo>
                    <a:pt x="266510" y="196799"/>
                  </a:lnTo>
                  <a:lnTo>
                    <a:pt x="266561" y="196799"/>
                  </a:lnTo>
                  <a:lnTo>
                    <a:pt x="266561" y="197447"/>
                  </a:lnTo>
                  <a:lnTo>
                    <a:pt x="266561" y="196799"/>
                  </a:lnTo>
                  <a:lnTo>
                    <a:pt x="266561" y="198831"/>
                  </a:lnTo>
                  <a:lnTo>
                    <a:pt x="266662" y="198831"/>
                  </a:lnTo>
                  <a:lnTo>
                    <a:pt x="266662" y="200228"/>
                  </a:lnTo>
                  <a:lnTo>
                    <a:pt x="266662" y="199530"/>
                  </a:lnTo>
                  <a:lnTo>
                    <a:pt x="266701" y="199530"/>
                  </a:lnTo>
                  <a:lnTo>
                    <a:pt x="266701" y="200228"/>
                  </a:lnTo>
                  <a:lnTo>
                    <a:pt x="266751" y="200228"/>
                  </a:lnTo>
                  <a:lnTo>
                    <a:pt x="266751" y="200876"/>
                  </a:lnTo>
                  <a:lnTo>
                    <a:pt x="266751" y="200228"/>
                  </a:lnTo>
                  <a:lnTo>
                    <a:pt x="266751" y="200876"/>
                  </a:lnTo>
                  <a:lnTo>
                    <a:pt x="266751" y="200228"/>
                  </a:lnTo>
                  <a:lnTo>
                    <a:pt x="266751" y="202260"/>
                  </a:lnTo>
                  <a:lnTo>
                    <a:pt x="266904" y="202260"/>
                  </a:lnTo>
                  <a:lnTo>
                    <a:pt x="266904" y="202959"/>
                  </a:lnTo>
                  <a:lnTo>
                    <a:pt x="266904" y="200876"/>
                  </a:lnTo>
                  <a:lnTo>
                    <a:pt x="266904" y="202260"/>
                  </a:lnTo>
                  <a:lnTo>
                    <a:pt x="266904" y="200876"/>
                  </a:lnTo>
                  <a:lnTo>
                    <a:pt x="266955" y="202260"/>
                  </a:lnTo>
                  <a:lnTo>
                    <a:pt x="266955" y="200228"/>
                  </a:lnTo>
                  <a:lnTo>
                    <a:pt x="266955" y="200876"/>
                  </a:lnTo>
                  <a:lnTo>
                    <a:pt x="266955" y="199530"/>
                  </a:lnTo>
                  <a:lnTo>
                    <a:pt x="267005" y="200228"/>
                  </a:lnTo>
                  <a:lnTo>
                    <a:pt x="267005" y="197447"/>
                  </a:lnTo>
                  <a:lnTo>
                    <a:pt x="267005" y="198831"/>
                  </a:lnTo>
                  <a:lnTo>
                    <a:pt x="267107" y="199530"/>
                  </a:lnTo>
                  <a:lnTo>
                    <a:pt x="267107" y="198831"/>
                  </a:lnTo>
                  <a:lnTo>
                    <a:pt x="267107" y="200228"/>
                  </a:lnTo>
                  <a:lnTo>
                    <a:pt x="267158" y="200876"/>
                  </a:lnTo>
                  <a:lnTo>
                    <a:pt x="267158" y="199530"/>
                  </a:lnTo>
                  <a:lnTo>
                    <a:pt x="267158" y="200876"/>
                  </a:lnTo>
                  <a:lnTo>
                    <a:pt x="267208" y="200876"/>
                  </a:lnTo>
                  <a:lnTo>
                    <a:pt x="267208" y="202260"/>
                  </a:lnTo>
                  <a:lnTo>
                    <a:pt x="267208" y="200228"/>
                  </a:lnTo>
                  <a:lnTo>
                    <a:pt x="267208" y="200876"/>
                  </a:lnTo>
                  <a:lnTo>
                    <a:pt x="267247" y="200876"/>
                  </a:lnTo>
                  <a:lnTo>
                    <a:pt x="267247" y="200228"/>
                  </a:lnTo>
                  <a:lnTo>
                    <a:pt x="267247" y="202260"/>
                  </a:lnTo>
                  <a:lnTo>
                    <a:pt x="267348" y="202260"/>
                  </a:lnTo>
                  <a:lnTo>
                    <a:pt x="267348" y="200876"/>
                  </a:lnTo>
                  <a:lnTo>
                    <a:pt x="267348" y="202260"/>
                  </a:lnTo>
                  <a:lnTo>
                    <a:pt x="267399" y="202260"/>
                  </a:lnTo>
                  <a:lnTo>
                    <a:pt x="267399" y="200876"/>
                  </a:lnTo>
                  <a:lnTo>
                    <a:pt x="267450" y="200876"/>
                  </a:lnTo>
                  <a:lnTo>
                    <a:pt x="267450" y="199530"/>
                  </a:lnTo>
                  <a:lnTo>
                    <a:pt x="267551" y="199530"/>
                  </a:lnTo>
                  <a:lnTo>
                    <a:pt x="267551" y="196799"/>
                  </a:lnTo>
                  <a:lnTo>
                    <a:pt x="267551" y="199530"/>
                  </a:lnTo>
                  <a:lnTo>
                    <a:pt x="267602" y="199530"/>
                  </a:lnTo>
                  <a:lnTo>
                    <a:pt x="267602" y="197447"/>
                  </a:lnTo>
                  <a:lnTo>
                    <a:pt x="267602" y="200876"/>
                  </a:lnTo>
                  <a:lnTo>
                    <a:pt x="267602" y="200228"/>
                  </a:lnTo>
                  <a:lnTo>
                    <a:pt x="267653" y="200228"/>
                  </a:lnTo>
                  <a:lnTo>
                    <a:pt x="267653" y="200876"/>
                  </a:lnTo>
                  <a:lnTo>
                    <a:pt x="267653" y="200228"/>
                  </a:lnTo>
                  <a:lnTo>
                    <a:pt x="267704" y="200228"/>
                  </a:lnTo>
                  <a:lnTo>
                    <a:pt x="267704" y="200876"/>
                  </a:lnTo>
                  <a:lnTo>
                    <a:pt x="267704" y="200228"/>
                  </a:lnTo>
                  <a:lnTo>
                    <a:pt x="267704" y="200876"/>
                  </a:lnTo>
                  <a:lnTo>
                    <a:pt x="267793" y="200876"/>
                  </a:lnTo>
                  <a:lnTo>
                    <a:pt x="267793" y="200228"/>
                  </a:lnTo>
                  <a:lnTo>
                    <a:pt x="267793" y="202260"/>
                  </a:lnTo>
                  <a:lnTo>
                    <a:pt x="267793" y="200876"/>
                  </a:lnTo>
                  <a:lnTo>
                    <a:pt x="267793" y="202260"/>
                  </a:lnTo>
                  <a:lnTo>
                    <a:pt x="267793" y="200876"/>
                  </a:lnTo>
                  <a:lnTo>
                    <a:pt x="267793" y="202260"/>
                  </a:lnTo>
                  <a:lnTo>
                    <a:pt x="267843" y="200876"/>
                  </a:lnTo>
                  <a:lnTo>
                    <a:pt x="267843" y="202959"/>
                  </a:lnTo>
                  <a:lnTo>
                    <a:pt x="267843" y="202260"/>
                  </a:lnTo>
                  <a:lnTo>
                    <a:pt x="267894" y="202260"/>
                  </a:lnTo>
                  <a:lnTo>
                    <a:pt x="267894" y="200876"/>
                  </a:lnTo>
                  <a:lnTo>
                    <a:pt x="267894" y="202260"/>
                  </a:lnTo>
                  <a:lnTo>
                    <a:pt x="267894" y="200876"/>
                  </a:lnTo>
                  <a:lnTo>
                    <a:pt x="267945" y="200876"/>
                  </a:lnTo>
                  <a:lnTo>
                    <a:pt x="267945" y="200228"/>
                  </a:lnTo>
                  <a:lnTo>
                    <a:pt x="267945" y="200876"/>
                  </a:lnTo>
                  <a:lnTo>
                    <a:pt x="267945" y="200228"/>
                  </a:lnTo>
                  <a:lnTo>
                    <a:pt x="267945" y="200876"/>
                  </a:lnTo>
                  <a:lnTo>
                    <a:pt x="267945" y="198831"/>
                  </a:lnTo>
                  <a:lnTo>
                    <a:pt x="268047" y="198831"/>
                  </a:lnTo>
                  <a:lnTo>
                    <a:pt x="268047" y="200228"/>
                  </a:lnTo>
                  <a:lnTo>
                    <a:pt x="268047" y="198831"/>
                  </a:lnTo>
                  <a:lnTo>
                    <a:pt x="268097" y="198831"/>
                  </a:lnTo>
                  <a:lnTo>
                    <a:pt x="268097" y="202260"/>
                  </a:lnTo>
                  <a:lnTo>
                    <a:pt x="268097" y="199530"/>
                  </a:lnTo>
                  <a:lnTo>
                    <a:pt x="268148" y="200228"/>
                  </a:lnTo>
                  <a:lnTo>
                    <a:pt x="268148" y="200876"/>
                  </a:lnTo>
                  <a:lnTo>
                    <a:pt x="268148" y="200228"/>
                  </a:lnTo>
                  <a:lnTo>
                    <a:pt x="268148" y="200876"/>
                  </a:lnTo>
                  <a:lnTo>
                    <a:pt x="268148" y="200228"/>
                  </a:lnTo>
                  <a:lnTo>
                    <a:pt x="268250" y="200228"/>
                  </a:lnTo>
                  <a:lnTo>
                    <a:pt x="268250" y="200876"/>
                  </a:lnTo>
                  <a:lnTo>
                    <a:pt x="268250" y="200228"/>
                  </a:lnTo>
                  <a:lnTo>
                    <a:pt x="268250" y="200876"/>
                  </a:lnTo>
                  <a:lnTo>
                    <a:pt x="268250" y="200228"/>
                  </a:lnTo>
                  <a:lnTo>
                    <a:pt x="268288" y="200876"/>
                  </a:lnTo>
                  <a:lnTo>
                    <a:pt x="268288" y="200228"/>
                  </a:lnTo>
                  <a:lnTo>
                    <a:pt x="268288" y="200876"/>
                  </a:lnTo>
                  <a:lnTo>
                    <a:pt x="268339" y="200876"/>
                  </a:lnTo>
                  <a:lnTo>
                    <a:pt x="268339" y="200228"/>
                  </a:lnTo>
                  <a:lnTo>
                    <a:pt x="268339" y="200876"/>
                  </a:lnTo>
                  <a:lnTo>
                    <a:pt x="268339" y="200228"/>
                  </a:lnTo>
                  <a:lnTo>
                    <a:pt x="268339" y="200876"/>
                  </a:lnTo>
                  <a:lnTo>
                    <a:pt x="268390" y="200228"/>
                  </a:lnTo>
                  <a:lnTo>
                    <a:pt x="268390" y="200876"/>
                  </a:lnTo>
                  <a:lnTo>
                    <a:pt x="268390" y="200228"/>
                  </a:lnTo>
                  <a:lnTo>
                    <a:pt x="268390" y="200876"/>
                  </a:lnTo>
                  <a:lnTo>
                    <a:pt x="268390" y="200228"/>
                  </a:lnTo>
                  <a:lnTo>
                    <a:pt x="268390" y="200876"/>
                  </a:lnTo>
                  <a:lnTo>
                    <a:pt x="268390" y="199530"/>
                  </a:lnTo>
                  <a:lnTo>
                    <a:pt x="268390" y="200228"/>
                  </a:lnTo>
                  <a:lnTo>
                    <a:pt x="268491" y="200228"/>
                  </a:lnTo>
                  <a:lnTo>
                    <a:pt x="268491" y="199530"/>
                  </a:lnTo>
                  <a:lnTo>
                    <a:pt x="268491" y="200228"/>
                  </a:lnTo>
                  <a:lnTo>
                    <a:pt x="268491" y="198831"/>
                  </a:lnTo>
                  <a:lnTo>
                    <a:pt x="268542" y="198831"/>
                  </a:lnTo>
                  <a:lnTo>
                    <a:pt x="268542" y="200228"/>
                  </a:lnTo>
                  <a:lnTo>
                    <a:pt x="268542" y="198831"/>
                  </a:lnTo>
                  <a:lnTo>
                    <a:pt x="268542" y="200228"/>
                  </a:lnTo>
                  <a:lnTo>
                    <a:pt x="268593" y="200876"/>
                  </a:lnTo>
                  <a:lnTo>
                    <a:pt x="268593" y="202959"/>
                  </a:lnTo>
                  <a:lnTo>
                    <a:pt x="268593" y="199530"/>
                  </a:lnTo>
                  <a:lnTo>
                    <a:pt x="268593" y="200876"/>
                  </a:lnTo>
                  <a:lnTo>
                    <a:pt x="268593" y="200228"/>
                  </a:lnTo>
                  <a:lnTo>
                    <a:pt x="268593" y="200876"/>
                  </a:lnTo>
                  <a:lnTo>
                    <a:pt x="268694" y="200876"/>
                  </a:lnTo>
                  <a:lnTo>
                    <a:pt x="268694" y="202260"/>
                  </a:lnTo>
                  <a:lnTo>
                    <a:pt x="268694" y="200228"/>
                  </a:lnTo>
                  <a:lnTo>
                    <a:pt x="268694" y="200876"/>
                  </a:lnTo>
                  <a:lnTo>
                    <a:pt x="268745" y="200876"/>
                  </a:lnTo>
                  <a:lnTo>
                    <a:pt x="268745" y="202260"/>
                  </a:lnTo>
                  <a:lnTo>
                    <a:pt x="268745" y="200876"/>
                  </a:lnTo>
                  <a:lnTo>
                    <a:pt x="268745" y="202260"/>
                  </a:lnTo>
                  <a:lnTo>
                    <a:pt x="268745" y="200876"/>
                  </a:lnTo>
                  <a:lnTo>
                    <a:pt x="268745" y="202260"/>
                  </a:lnTo>
                  <a:lnTo>
                    <a:pt x="268796" y="202260"/>
                  </a:lnTo>
                  <a:lnTo>
                    <a:pt x="268796" y="200876"/>
                  </a:lnTo>
                  <a:lnTo>
                    <a:pt x="268796" y="202260"/>
                  </a:lnTo>
                  <a:lnTo>
                    <a:pt x="268834" y="202260"/>
                  </a:lnTo>
                  <a:lnTo>
                    <a:pt x="268834" y="200876"/>
                  </a:lnTo>
                  <a:lnTo>
                    <a:pt x="268834" y="202260"/>
                  </a:lnTo>
                  <a:lnTo>
                    <a:pt x="268834" y="200876"/>
                  </a:lnTo>
                  <a:lnTo>
                    <a:pt x="268936" y="200876"/>
                  </a:lnTo>
                  <a:lnTo>
                    <a:pt x="268936" y="199530"/>
                  </a:lnTo>
                  <a:lnTo>
                    <a:pt x="268936" y="200228"/>
                  </a:lnTo>
                  <a:lnTo>
                    <a:pt x="268936" y="199530"/>
                  </a:lnTo>
                  <a:lnTo>
                    <a:pt x="268987" y="199530"/>
                  </a:lnTo>
                  <a:lnTo>
                    <a:pt x="268987" y="197447"/>
                  </a:lnTo>
                  <a:lnTo>
                    <a:pt x="268987" y="200228"/>
                  </a:lnTo>
                  <a:lnTo>
                    <a:pt x="269037" y="200876"/>
                  </a:lnTo>
                  <a:lnTo>
                    <a:pt x="269037" y="198831"/>
                  </a:lnTo>
                  <a:lnTo>
                    <a:pt x="269037" y="202260"/>
                  </a:lnTo>
                  <a:lnTo>
                    <a:pt x="269139" y="202260"/>
                  </a:lnTo>
                  <a:lnTo>
                    <a:pt x="269139" y="199530"/>
                  </a:lnTo>
                  <a:lnTo>
                    <a:pt x="269139" y="202260"/>
                  </a:lnTo>
                  <a:lnTo>
                    <a:pt x="269190" y="202260"/>
                  </a:lnTo>
                  <a:lnTo>
                    <a:pt x="269190" y="200228"/>
                  </a:lnTo>
                  <a:lnTo>
                    <a:pt x="269190" y="202260"/>
                  </a:lnTo>
                  <a:lnTo>
                    <a:pt x="269190" y="200876"/>
                  </a:lnTo>
                  <a:lnTo>
                    <a:pt x="269241" y="200876"/>
                  </a:lnTo>
                  <a:lnTo>
                    <a:pt x="269241" y="202959"/>
                  </a:lnTo>
                  <a:lnTo>
                    <a:pt x="269241" y="202260"/>
                  </a:lnTo>
                  <a:lnTo>
                    <a:pt x="269291" y="202260"/>
                  </a:lnTo>
                  <a:lnTo>
                    <a:pt x="269291" y="200876"/>
                  </a:lnTo>
                  <a:lnTo>
                    <a:pt x="269291" y="202260"/>
                  </a:lnTo>
                  <a:lnTo>
                    <a:pt x="269291" y="200876"/>
                  </a:lnTo>
                  <a:lnTo>
                    <a:pt x="269380" y="200876"/>
                  </a:lnTo>
                  <a:lnTo>
                    <a:pt x="269380" y="200228"/>
                  </a:lnTo>
                  <a:lnTo>
                    <a:pt x="269380" y="200876"/>
                  </a:lnTo>
                  <a:lnTo>
                    <a:pt x="269380" y="200228"/>
                  </a:lnTo>
                  <a:lnTo>
                    <a:pt x="269431" y="200228"/>
                  </a:lnTo>
                  <a:lnTo>
                    <a:pt x="269431" y="199530"/>
                  </a:lnTo>
                  <a:lnTo>
                    <a:pt x="269431" y="200228"/>
                  </a:lnTo>
                  <a:lnTo>
                    <a:pt x="269431" y="198831"/>
                  </a:lnTo>
                  <a:lnTo>
                    <a:pt x="269431" y="199530"/>
                  </a:lnTo>
                  <a:lnTo>
                    <a:pt x="269431" y="198831"/>
                  </a:lnTo>
                  <a:lnTo>
                    <a:pt x="269482" y="198831"/>
                  </a:lnTo>
                  <a:lnTo>
                    <a:pt x="269482" y="196799"/>
                  </a:lnTo>
                  <a:lnTo>
                    <a:pt x="269482" y="200228"/>
                  </a:lnTo>
                  <a:lnTo>
                    <a:pt x="269482" y="199530"/>
                  </a:lnTo>
                  <a:lnTo>
                    <a:pt x="269533" y="199530"/>
                  </a:lnTo>
                  <a:lnTo>
                    <a:pt x="269533" y="197447"/>
                  </a:lnTo>
                  <a:lnTo>
                    <a:pt x="269533" y="200876"/>
                  </a:lnTo>
                  <a:lnTo>
                    <a:pt x="269533" y="200228"/>
                  </a:lnTo>
                  <a:lnTo>
                    <a:pt x="269634" y="200228"/>
                  </a:lnTo>
                  <a:lnTo>
                    <a:pt x="269634" y="199530"/>
                  </a:lnTo>
                  <a:lnTo>
                    <a:pt x="269634" y="200876"/>
                  </a:lnTo>
                  <a:lnTo>
                    <a:pt x="269634" y="200228"/>
                  </a:lnTo>
                  <a:lnTo>
                    <a:pt x="269685" y="200228"/>
                  </a:lnTo>
                  <a:lnTo>
                    <a:pt x="269685" y="199530"/>
                  </a:lnTo>
                  <a:lnTo>
                    <a:pt x="269685" y="200876"/>
                  </a:lnTo>
                  <a:lnTo>
                    <a:pt x="269736" y="200876"/>
                  </a:lnTo>
                  <a:lnTo>
                    <a:pt x="269736" y="202260"/>
                  </a:lnTo>
                  <a:lnTo>
                    <a:pt x="269736" y="200876"/>
                  </a:lnTo>
                  <a:lnTo>
                    <a:pt x="269736" y="202260"/>
                  </a:lnTo>
                  <a:lnTo>
                    <a:pt x="269837" y="202260"/>
                  </a:lnTo>
                  <a:lnTo>
                    <a:pt x="269837" y="200876"/>
                  </a:lnTo>
                  <a:lnTo>
                    <a:pt x="269837" y="202260"/>
                  </a:lnTo>
                  <a:lnTo>
                    <a:pt x="269837" y="200876"/>
                  </a:lnTo>
                  <a:lnTo>
                    <a:pt x="269837" y="202260"/>
                  </a:lnTo>
                  <a:lnTo>
                    <a:pt x="269876" y="202260"/>
                  </a:lnTo>
                  <a:lnTo>
                    <a:pt x="269876" y="200876"/>
                  </a:lnTo>
                  <a:lnTo>
                    <a:pt x="269876" y="202260"/>
                  </a:lnTo>
                  <a:lnTo>
                    <a:pt x="269876" y="200228"/>
                  </a:lnTo>
                  <a:lnTo>
                    <a:pt x="269876" y="200876"/>
                  </a:lnTo>
                  <a:lnTo>
                    <a:pt x="269876" y="200228"/>
                  </a:lnTo>
                  <a:lnTo>
                    <a:pt x="269876" y="200876"/>
                  </a:lnTo>
                  <a:lnTo>
                    <a:pt x="269926" y="200228"/>
                  </a:lnTo>
                  <a:lnTo>
                    <a:pt x="269926" y="200876"/>
                  </a:lnTo>
                  <a:lnTo>
                    <a:pt x="269926" y="198831"/>
                  </a:lnTo>
                  <a:lnTo>
                    <a:pt x="269926" y="199530"/>
                  </a:lnTo>
                  <a:lnTo>
                    <a:pt x="269926" y="198831"/>
                  </a:lnTo>
                  <a:lnTo>
                    <a:pt x="269926" y="199530"/>
                  </a:lnTo>
                  <a:lnTo>
                    <a:pt x="269977" y="198831"/>
                  </a:lnTo>
                  <a:lnTo>
                    <a:pt x="269977" y="197447"/>
                  </a:lnTo>
                  <a:lnTo>
                    <a:pt x="269977" y="199530"/>
                  </a:lnTo>
                  <a:lnTo>
                    <a:pt x="269977" y="198831"/>
                  </a:lnTo>
                  <a:lnTo>
                    <a:pt x="269977" y="200228"/>
                  </a:lnTo>
                  <a:lnTo>
                    <a:pt x="269977" y="197447"/>
                  </a:lnTo>
                  <a:lnTo>
                    <a:pt x="270079" y="197447"/>
                  </a:lnTo>
                  <a:lnTo>
                    <a:pt x="270079" y="202260"/>
                  </a:lnTo>
                  <a:lnTo>
                    <a:pt x="270079" y="200228"/>
                  </a:lnTo>
                  <a:lnTo>
                    <a:pt x="270079" y="200876"/>
                  </a:lnTo>
                  <a:lnTo>
                    <a:pt x="270079" y="199530"/>
                  </a:lnTo>
                  <a:lnTo>
                    <a:pt x="270130" y="200228"/>
                  </a:lnTo>
                  <a:lnTo>
                    <a:pt x="270130" y="200876"/>
                  </a:lnTo>
                  <a:lnTo>
                    <a:pt x="270130" y="200228"/>
                  </a:lnTo>
                  <a:lnTo>
                    <a:pt x="270130" y="200876"/>
                  </a:lnTo>
                  <a:lnTo>
                    <a:pt x="270130" y="199530"/>
                  </a:lnTo>
                  <a:lnTo>
                    <a:pt x="270130" y="200228"/>
                  </a:lnTo>
                  <a:lnTo>
                    <a:pt x="270130" y="199530"/>
                  </a:lnTo>
                  <a:lnTo>
                    <a:pt x="270180" y="200228"/>
                  </a:lnTo>
                  <a:lnTo>
                    <a:pt x="270180" y="200876"/>
                  </a:lnTo>
                  <a:lnTo>
                    <a:pt x="270180" y="200228"/>
                  </a:lnTo>
                  <a:lnTo>
                    <a:pt x="270180" y="200876"/>
                  </a:lnTo>
                  <a:lnTo>
                    <a:pt x="270282" y="200876"/>
                  </a:lnTo>
                  <a:lnTo>
                    <a:pt x="270282" y="202260"/>
                  </a:lnTo>
                  <a:lnTo>
                    <a:pt x="270282" y="200876"/>
                  </a:lnTo>
                  <a:lnTo>
                    <a:pt x="270282" y="202260"/>
                  </a:lnTo>
                  <a:lnTo>
                    <a:pt x="270282" y="200876"/>
                  </a:lnTo>
                  <a:lnTo>
                    <a:pt x="270282" y="202260"/>
                  </a:lnTo>
                  <a:lnTo>
                    <a:pt x="270282" y="200876"/>
                  </a:lnTo>
                  <a:lnTo>
                    <a:pt x="270333" y="200876"/>
                  </a:lnTo>
                  <a:lnTo>
                    <a:pt x="270333" y="202260"/>
                  </a:lnTo>
                  <a:lnTo>
                    <a:pt x="270333" y="200228"/>
                  </a:lnTo>
                  <a:lnTo>
                    <a:pt x="270333" y="200876"/>
                  </a:lnTo>
                  <a:lnTo>
                    <a:pt x="270383" y="200876"/>
                  </a:lnTo>
                  <a:lnTo>
                    <a:pt x="270383" y="199530"/>
                  </a:lnTo>
                  <a:lnTo>
                    <a:pt x="270422" y="199530"/>
                  </a:lnTo>
                  <a:lnTo>
                    <a:pt x="270422" y="197447"/>
                  </a:lnTo>
                  <a:lnTo>
                    <a:pt x="270422" y="198831"/>
                  </a:lnTo>
                  <a:lnTo>
                    <a:pt x="270422" y="197447"/>
                  </a:lnTo>
                  <a:lnTo>
                    <a:pt x="270523" y="197447"/>
                  </a:lnTo>
                  <a:lnTo>
                    <a:pt x="270523" y="196113"/>
                  </a:lnTo>
                  <a:lnTo>
                    <a:pt x="270523" y="196799"/>
                  </a:lnTo>
                  <a:lnTo>
                    <a:pt x="270523" y="196113"/>
                  </a:lnTo>
                  <a:lnTo>
                    <a:pt x="270523" y="196799"/>
                  </a:lnTo>
                  <a:lnTo>
                    <a:pt x="270523" y="196113"/>
                  </a:lnTo>
                  <a:lnTo>
                    <a:pt x="270523" y="196799"/>
                  </a:lnTo>
                  <a:lnTo>
                    <a:pt x="270523" y="196113"/>
                  </a:lnTo>
                  <a:lnTo>
                    <a:pt x="270574" y="196113"/>
                  </a:lnTo>
                  <a:lnTo>
                    <a:pt x="270574" y="198831"/>
                  </a:lnTo>
                  <a:lnTo>
                    <a:pt x="270574" y="197447"/>
                  </a:lnTo>
                  <a:lnTo>
                    <a:pt x="270625" y="197447"/>
                  </a:lnTo>
                  <a:lnTo>
                    <a:pt x="270625" y="196799"/>
                  </a:lnTo>
                  <a:lnTo>
                    <a:pt x="270625" y="199530"/>
                  </a:lnTo>
                  <a:lnTo>
                    <a:pt x="270625" y="198831"/>
                  </a:lnTo>
                  <a:lnTo>
                    <a:pt x="270625" y="199530"/>
                  </a:lnTo>
                  <a:lnTo>
                    <a:pt x="270726" y="198831"/>
                  </a:lnTo>
                  <a:lnTo>
                    <a:pt x="270726" y="199530"/>
                  </a:lnTo>
                  <a:lnTo>
                    <a:pt x="270726" y="198831"/>
                  </a:lnTo>
                  <a:lnTo>
                    <a:pt x="270726" y="199530"/>
                  </a:lnTo>
                  <a:lnTo>
                    <a:pt x="270777" y="199530"/>
                  </a:lnTo>
                  <a:lnTo>
                    <a:pt x="270777" y="200228"/>
                  </a:lnTo>
                  <a:lnTo>
                    <a:pt x="270777" y="199530"/>
                  </a:lnTo>
                  <a:lnTo>
                    <a:pt x="270777" y="200228"/>
                  </a:lnTo>
                  <a:lnTo>
                    <a:pt x="270777" y="199530"/>
                  </a:lnTo>
                  <a:lnTo>
                    <a:pt x="270777" y="200228"/>
                  </a:lnTo>
                  <a:lnTo>
                    <a:pt x="270828" y="200228"/>
                  </a:lnTo>
                  <a:lnTo>
                    <a:pt x="270828" y="200876"/>
                  </a:lnTo>
                  <a:lnTo>
                    <a:pt x="270828" y="200228"/>
                  </a:lnTo>
                  <a:lnTo>
                    <a:pt x="270828" y="200876"/>
                  </a:lnTo>
                  <a:lnTo>
                    <a:pt x="270879" y="200876"/>
                  </a:lnTo>
                  <a:lnTo>
                    <a:pt x="270879" y="200228"/>
                  </a:lnTo>
                  <a:lnTo>
                    <a:pt x="270879" y="200876"/>
                  </a:lnTo>
                  <a:lnTo>
                    <a:pt x="270879" y="200228"/>
                  </a:lnTo>
                  <a:lnTo>
                    <a:pt x="270968" y="200228"/>
                  </a:lnTo>
                  <a:lnTo>
                    <a:pt x="270968" y="197447"/>
                  </a:lnTo>
                  <a:lnTo>
                    <a:pt x="271018" y="197447"/>
                  </a:lnTo>
                  <a:lnTo>
                    <a:pt x="271018" y="196113"/>
                  </a:lnTo>
                  <a:lnTo>
                    <a:pt x="271018" y="198831"/>
                  </a:lnTo>
                  <a:lnTo>
                    <a:pt x="271018" y="196113"/>
                  </a:lnTo>
                  <a:lnTo>
                    <a:pt x="271069" y="196113"/>
                  </a:lnTo>
                  <a:lnTo>
                    <a:pt x="271069" y="195415"/>
                  </a:lnTo>
                  <a:lnTo>
                    <a:pt x="271069" y="199530"/>
                  </a:lnTo>
                  <a:lnTo>
                    <a:pt x="271069" y="197447"/>
                  </a:lnTo>
                  <a:lnTo>
                    <a:pt x="271120" y="197447"/>
                  </a:lnTo>
                  <a:lnTo>
                    <a:pt x="271120" y="196799"/>
                  </a:lnTo>
                  <a:lnTo>
                    <a:pt x="271120" y="198831"/>
                  </a:lnTo>
                  <a:lnTo>
                    <a:pt x="271120" y="197447"/>
                  </a:lnTo>
                  <a:lnTo>
                    <a:pt x="271222" y="197447"/>
                  </a:lnTo>
                  <a:lnTo>
                    <a:pt x="271222" y="199530"/>
                  </a:lnTo>
                  <a:lnTo>
                    <a:pt x="271222" y="198831"/>
                  </a:lnTo>
                  <a:lnTo>
                    <a:pt x="271272" y="198831"/>
                  </a:lnTo>
                  <a:lnTo>
                    <a:pt x="271272" y="199530"/>
                  </a:lnTo>
                  <a:lnTo>
                    <a:pt x="271272" y="198831"/>
                  </a:lnTo>
                  <a:lnTo>
                    <a:pt x="271272" y="199530"/>
                  </a:lnTo>
                  <a:lnTo>
                    <a:pt x="271272" y="198831"/>
                  </a:lnTo>
                  <a:lnTo>
                    <a:pt x="271272" y="199530"/>
                  </a:lnTo>
                  <a:lnTo>
                    <a:pt x="271323" y="199530"/>
                  </a:lnTo>
                  <a:lnTo>
                    <a:pt x="271323" y="200228"/>
                  </a:lnTo>
                  <a:lnTo>
                    <a:pt x="271323" y="199530"/>
                  </a:lnTo>
                  <a:lnTo>
                    <a:pt x="271425" y="200228"/>
                  </a:lnTo>
                  <a:lnTo>
                    <a:pt x="271425" y="199530"/>
                  </a:lnTo>
                  <a:lnTo>
                    <a:pt x="271425" y="200228"/>
                  </a:lnTo>
                  <a:lnTo>
                    <a:pt x="271425" y="199530"/>
                  </a:lnTo>
                  <a:lnTo>
                    <a:pt x="271425" y="200228"/>
                  </a:lnTo>
                  <a:lnTo>
                    <a:pt x="271425" y="199530"/>
                  </a:lnTo>
                  <a:lnTo>
                    <a:pt x="271463" y="199530"/>
                  </a:lnTo>
                  <a:lnTo>
                    <a:pt x="271463" y="200228"/>
                  </a:lnTo>
                  <a:lnTo>
                    <a:pt x="271463" y="198831"/>
                  </a:lnTo>
                  <a:lnTo>
                    <a:pt x="271463" y="199530"/>
                  </a:lnTo>
                  <a:lnTo>
                    <a:pt x="271463" y="197447"/>
                  </a:lnTo>
                  <a:lnTo>
                    <a:pt x="271514" y="197447"/>
                  </a:lnTo>
                  <a:lnTo>
                    <a:pt x="271514" y="196799"/>
                  </a:lnTo>
                  <a:lnTo>
                    <a:pt x="271514" y="197447"/>
                  </a:lnTo>
                  <a:lnTo>
                    <a:pt x="271514" y="196799"/>
                  </a:lnTo>
                  <a:lnTo>
                    <a:pt x="271514" y="197447"/>
                  </a:lnTo>
                  <a:lnTo>
                    <a:pt x="271565" y="197447"/>
                  </a:lnTo>
                  <a:lnTo>
                    <a:pt x="271565" y="196799"/>
                  </a:lnTo>
                  <a:lnTo>
                    <a:pt x="271565" y="197447"/>
                  </a:lnTo>
                  <a:lnTo>
                    <a:pt x="271565" y="196799"/>
                  </a:lnTo>
                  <a:lnTo>
                    <a:pt x="271565" y="199530"/>
                  </a:lnTo>
                  <a:lnTo>
                    <a:pt x="271565" y="197447"/>
                  </a:lnTo>
                  <a:lnTo>
                    <a:pt x="271666" y="197447"/>
                  </a:lnTo>
                  <a:lnTo>
                    <a:pt x="271666" y="199530"/>
                  </a:lnTo>
                  <a:lnTo>
                    <a:pt x="271666" y="198831"/>
                  </a:lnTo>
                  <a:lnTo>
                    <a:pt x="271666" y="199530"/>
                  </a:lnTo>
                  <a:lnTo>
                    <a:pt x="271666" y="198831"/>
                  </a:lnTo>
                  <a:lnTo>
                    <a:pt x="271717" y="198831"/>
                  </a:lnTo>
                  <a:lnTo>
                    <a:pt x="271717" y="199530"/>
                  </a:lnTo>
                  <a:lnTo>
                    <a:pt x="271717" y="198831"/>
                  </a:lnTo>
                  <a:lnTo>
                    <a:pt x="271717" y="199530"/>
                  </a:lnTo>
                  <a:lnTo>
                    <a:pt x="271717" y="198831"/>
                  </a:lnTo>
                  <a:lnTo>
                    <a:pt x="271717" y="199530"/>
                  </a:lnTo>
                  <a:lnTo>
                    <a:pt x="271768" y="199530"/>
                  </a:lnTo>
                  <a:lnTo>
                    <a:pt x="271768" y="200228"/>
                  </a:lnTo>
                  <a:lnTo>
                    <a:pt x="271768" y="199530"/>
                  </a:lnTo>
                  <a:lnTo>
                    <a:pt x="271869" y="200228"/>
                  </a:lnTo>
                  <a:lnTo>
                    <a:pt x="271869" y="200876"/>
                  </a:lnTo>
                  <a:lnTo>
                    <a:pt x="271869" y="200228"/>
                  </a:lnTo>
                  <a:lnTo>
                    <a:pt x="271869" y="200876"/>
                  </a:lnTo>
                  <a:lnTo>
                    <a:pt x="271869" y="200228"/>
                  </a:lnTo>
                  <a:lnTo>
                    <a:pt x="271869" y="200876"/>
                  </a:lnTo>
                  <a:lnTo>
                    <a:pt x="271920" y="200876"/>
                  </a:lnTo>
                  <a:lnTo>
                    <a:pt x="271920" y="200228"/>
                  </a:lnTo>
                  <a:lnTo>
                    <a:pt x="271920" y="200876"/>
                  </a:lnTo>
                  <a:lnTo>
                    <a:pt x="271920" y="200228"/>
                  </a:lnTo>
                  <a:lnTo>
                    <a:pt x="271971" y="200228"/>
                  </a:lnTo>
                  <a:lnTo>
                    <a:pt x="271971" y="197447"/>
                  </a:lnTo>
                  <a:lnTo>
                    <a:pt x="271971" y="199530"/>
                  </a:lnTo>
                  <a:lnTo>
                    <a:pt x="272009" y="199530"/>
                  </a:lnTo>
                  <a:lnTo>
                    <a:pt x="272009" y="200228"/>
                  </a:lnTo>
                  <a:lnTo>
                    <a:pt x="272009" y="198831"/>
                  </a:lnTo>
                  <a:lnTo>
                    <a:pt x="272009" y="200228"/>
                  </a:lnTo>
                  <a:lnTo>
                    <a:pt x="272111" y="200228"/>
                  </a:lnTo>
                  <a:lnTo>
                    <a:pt x="272111" y="200876"/>
                  </a:lnTo>
                  <a:lnTo>
                    <a:pt x="272111" y="200228"/>
                  </a:lnTo>
                  <a:lnTo>
                    <a:pt x="272111" y="202260"/>
                  </a:lnTo>
                  <a:lnTo>
                    <a:pt x="272162" y="200876"/>
                  </a:lnTo>
                  <a:lnTo>
                    <a:pt x="272162" y="200228"/>
                  </a:lnTo>
                  <a:lnTo>
                    <a:pt x="272162" y="200876"/>
                  </a:lnTo>
                  <a:lnTo>
                    <a:pt x="272212" y="200876"/>
                  </a:lnTo>
                  <a:lnTo>
                    <a:pt x="272212" y="200228"/>
                  </a:lnTo>
                  <a:lnTo>
                    <a:pt x="272212" y="200876"/>
                  </a:lnTo>
                  <a:lnTo>
                    <a:pt x="272212" y="200228"/>
                  </a:lnTo>
                  <a:lnTo>
                    <a:pt x="272212" y="200876"/>
                  </a:lnTo>
                  <a:lnTo>
                    <a:pt x="272212" y="200228"/>
                  </a:lnTo>
                  <a:lnTo>
                    <a:pt x="272212" y="200876"/>
                  </a:lnTo>
                  <a:lnTo>
                    <a:pt x="272314" y="200876"/>
                  </a:lnTo>
                  <a:lnTo>
                    <a:pt x="272314" y="200228"/>
                  </a:lnTo>
                  <a:lnTo>
                    <a:pt x="272365" y="200228"/>
                  </a:lnTo>
                  <a:lnTo>
                    <a:pt x="272365" y="199530"/>
                  </a:lnTo>
                  <a:lnTo>
                    <a:pt x="272365" y="200876"/>
                  </a:lnTo>
                  <a:lnTo>
                    <a:pt x="272365" y="200228"/>
                  </a:lnTo>
                  <a:lnTo>
                    <a:pt x="272416" y="200228"/>
                  </a:lnTo>
                  <a:lnTo>
                    <a:pt x="272416" y="198831"/>
                  </a:lnTo>
                  <a:lnTo>
                    <a:pt x="272466" y="198831"/>
                  </a:lnTo>
                  <a:lnTo>
                    <a:pt x="272466" y="197447"/>
                  </a:lnTo>
                  <a:lnTo>
                    <a:pt x="272466" y="200228"/>
                  </a:lnTo>
                  <a:lnTo>
                    <a:pt x="272555" y="199530"/>
                  </a:lnTo>
                  <a:lnTo>
                    <a:pt x="272555" y="197447"/>
                  </a:lnTo>
                  <a:lnTo>
                    <a:pt x="272555" y="200876"/>
                  </a:lnTo>
                  <a:lnTo>
                    <a:pt x="272555" y="200228"/>
                  </a:lnTo>
                  <a:lnTo>
                    <a:pt x="272606" y="200228"/>
                  </a:lnTo>
                  <a:lnTo>
                    <a:pt x="272606" y="202260"/>
                  </a:lnTo>
                  <a:lnTo>
                    <a:pt x="272606" y="200876"/>
                  </a:lnTo>
                  <a:lnTo>
                    <a:pt x="272657" y="200876"/>
                  </a:lnTo>
                  <a:lnTo>
                    <a:pt x="272657" y="200228"/>
                  </a:lnTo>
                  <a:lnTo>
                    <a:pt x="272657" y="202260"/>
                  </a:lnTo>
                  <a:lnTo>
                    <a:pt x="272657" y="200876"/>
                  </a:lnTo>
                  <a:lnTo>
                    <a:pt x="272708" y="200876"/>
                  </a:lnTo>
                  <a:lnTo>
                    <a:pt x="272708" y="202260"/>
                  </a:lnTo>
                  <a:lnTo>
                    <a:pt x="272708" y="200876"/>
                  </a:lnTo>
                  <a:lnTo>
                    <a:pt x="272809" y="200876"/>
                  </a:lnTo>
                  <a:lnTo>
                    <a:pt x="272809" y="202260"/>
                  </a:lnTo>
                  <a:lnTo>
                    <a:pt x="272809" y="200228"/>
                  </a:lnTo>
                  <a:lnTo>
                    <a:pt x="272809" y="200876"/>
                  </a:lnTo>
                  <a:lnTo>
                    <a:pt x="272860" y="200876"/>
                  </a:lnTo>
                  <a:lnTo>
                    <a:pt x="272860" y="200228"/>
                  </a:lnTo>
                  <a:lnTo>
                    <a:pt x="272911" y="200228"/>
                  </a:lnTo>
                  <a:lnTo>
                    <a:pt x="272911" y="197447"/>
                  </a:lnTo>
                  <a:lnTo>
                    <a:pt x="273012" y="197447"/>
                  </a:lnTo>
                  <a:lnTo>
                    <a:pt x="273012" y="200228"/>
                  </a:lnTo>
                  <a:lnTo>
                    <a:pt x="273012" y="197447"/>
                  </a:lnTo>
                  <a:lnTo>
                    <a:pt x="273051" y="197447"/>
                  </a:lnTo>
                  <a:lnTo>
                    <a:pt x="273051" y="202260"/>
                  </a:lnTo>
                  <a:lnTo>
                    <a:pt x="273051" y="199530"/>
                  </a:lnTo>
                  <a:lnTo>
                    <a:pt x="273051" y="200228"/>
                  </a:lnTo>
                  <a:lnTo>
                    <a:pt x="273101" y="200228"/>
                  </a:lnTo>
                  <a:lnTo>
                    <a:pt x="273101" y="202260"/>
                  </a:lnTo>
                  <a:lnTo>
                    <a:pt x="273101" y="200876"/>
                  </a:lnTo>
                  <a:lnTo>
                    <a:pt x="273101" y="202260"/>
                  </a:lnTo>
                  <a:lnTo>
                    <a:pt x="273101" y="200876"/>
                  </a:lnTo>
                  <a:lnTo>
                    <a:pt x="273101" y="202260"/>
                  </a:lnTo>
                  <a:lnTo>
                    <a:pt x="273101" y="200876"/>
                  </a:lnTo>
                  <a:lnTo>
                    <a:pt x="273152" y="200876"/>
                  </a:lnTo>
                  <a:lnTo>
                    <a:pt x="273152" y="202260"/>
                  </a:lnTo>
                  <a:lnTo>
                    <a:pt x="273152" y="200876"/>
                  </a:lnTo>
                  <a:lnTo>
                    <a:pt x="273152" y="202260"/>
                  </a:lnTo>
                  <a:lnTo>
                    <a:pt x="273254" y="202260"/>
                  </a:lnTo>
                  <a:lnTo>
                    <a:pt x="273254" y="202959"/>
                  </a:lnTo>
                  <a:lnTo>
                    <a:pt x="273254" y="200876"/>
                  </a:lnTo>
                  <a:lnTo>
                    <a:pt x="273305" y="200876"/>
                  </a:lnTo>
                  <a:lnTo>
                    <a:pt x="273305" y="202959"/>
                  </a:lnTo>
                  <a:lnTo>
                    <a:pt x="273305" y="200876"/>
                  </a:lnTo>
                  <a:lnTo>
                    <a:pt x="273305" y="202260"/>
                  </a:lnTo>
                  <a:lnTo>
                    <a:pt x="273305" y="200876"/>
                  </a:lnTo>
                  <a:lnTo>
                    <a:pt x="273305" y="202260"/>
                  </a:lnTo>
                  <a:lnTo>
                    <a:pt x="273305" y="200876"/>
                  </a:lnTo>
                  <a:lnTo>
                    <a:pt x="273305" y="202260"/>
                  </a:lnTo>
                  <a:lnTo>
                    <a:pt x="273305" y="200876"/>
                  </a:lnTo>
                  <a:lnTo>
                    <a:pt x="273305" y="202260"/>
                  </a:lnTo>
                  <a:lnTo>
                    <a:pt x="273355" y="202260"/>
                  </a:lnTo>
                  <a:lnTo>
                    <a:pt x="273355" y="200876"/>
                  </a:lnTo>
                  <a:lnTo>
                    <a:pt x="273355" y="202260"/>
                  </a:lnTo>
                  <a:lnTo>
                    <a:pt x="273355" y="199530"/>
                  </a:lnTo>
                  <a:lnTo>
                    <a:pt x="273355" y="200228"/>
                  </a:lnTo>
                  <a:lnTo>
                    <a:pt x="273457" y="200228"/>
                  </a:lnTo>
                  <a:lnTo>
                    <a:pt x="273457" y="197447"/>
                  </a:lnTo>
                  <a:lnTo>
                    <a:pt x="273508" y="197447"/>
                  </a:lnTo>
                  <a:lnTo>
                    <a:pt x="273508" y="196799"/>
                  </a:lnTo>
                  <a:lnTo>
                    <a:pt x="273508" y="198831"/>
                  </a:lnTo>
                  <a:lnTo>
                    <a:pt x="273508" y="197447"/>
                  </a:lnTo>
                  <a:lnTo>
                    <a:pt x="273558" y="197447"/>
                  </a:lnTo>
                  <a:lnTo>
                    <a:pt x="273558" y="196799"/>
                  </a:lnTo>
                  <a:lnTo>
                    <a:pt x="273558" y="198831"/>
                  </a:lnTo>
                  <a:lnTo>
                    <a:pt x="273558" y="197447"/>
                  </a:lnTo>
                  <a:lnTo>
                    <a:pt x="273558" y="199530"/>
                  </a:lnTo>
                  <a:lnTo>
                    <a:pt x="273597" y="199530"/>
                  </a:lnTo>
                  <a:lnTo>
                    <a:pt x="273597" y="200228"/>
                  </a:lnTo>
                  <a:lnTo>
                    <a:pt x="273597" y="199530"/>
                  </a:lnTo>
                  <a:lnTo>
                    <a:pt x="273597" y="200228"/>
                  </a:lnTo>
                  <a:lnTo>
                    <a:pt x="273597" y="199530"/>
                  </a:lnTo>
                  <a:lnTo>
                    <a:pt x="273597" y="200228"/>
                  </a:lnTo>
                  <a:lnTo>
                    <a:pt x="273597" y="199530"/>
                  </a:lnTo>
                  <a:lnTo>
                    <a:pt x="273698" y="199530"/>
                  </a:lnTo>
                  <a:lnTo>
                    <a:pt x="273698" y="200228"/>
                  </a:lnTo>
                  <a:lnTo>
                    <a:pt x="273698" y="199530"/>
                  </a:lnTo>
                  <a:lnTo>
                    <a:pt x="273698" y="200876"/>
                  </a:lnTo>
                  <a:lnTo>
                    <a:pt x="273749" y="200876"/>
                  </a:lnTo>
                  <a:lnTo>
                    <a:pt x="273749" y="202260"/>
                  </a:lnTo>
                  <a:lnTo>
                    <a:pt x="273800" y="202260"/>
                  </a:lnTo>
                  <a:lnTo>
                    <a:pt x="273901" y="202959"/>
                  </a:lnTo>
                  <a:lnTo>
                    <a:pt x="273901" y="200876"/>
                  </a:lnTo>
                  <a:lnTo>
                    <a:pt x="273901" y="202260"/>
                  </a:lnTo>
                  <a:lnTo>
                    <a:pt x="273901" y="200228"/>
                  </a:lnTo>
                  <a:lnTo>
                    <a:pt x="273952" y="200228"/>
                  </a:lnTo>
                  <a:lnTo>
                    <a:pt x="273952" y="197447"/>
                  </a:lnTo>
                  <a:lnTo>
                    <a:pt x="274003" y="197447"/>
                  </a:lnTo>
                  <a:lnTo>
                    <a:pt x="274003" y="199530"/>
                  </a:lnTo>
                  <a:lnTo>
                    <a:pt x="274003" y="196799"/>
                  </a:lnTo>
                  <a:lnTo>
                    <a:pt x="274054" y="197447"/>
                  </a:lnTo>
                  <a:lnTo>
                    <a:pt x="274054" y="200228"/>
                  </a:lnTo>
                  <a:lnTo>
                    <a:pt x="274054" y="198831"/>
                  </a:lnTo>
                  <a:lnTo>
                    <a:pt x="274054" y="199530"/>
                  </a:lnTo>
                  <a:lnTo>
                    <a:pt x="274054" y="198831"/>
                  </a:lnTo>
                  <a:lnTo>
                    <a:pt x="274054" y="199530"/>
                  </a:lnTo>
                  <a:lnTo>
                    <a:pt x="274143" y="199530"/>
                  </a:lnTo>
                  <a:lnTo>
                    <a:pt x="274143" y="200228"/>
                  </a:lnTo>
                  <a:lnTo>
                    <a:pt x="274143" y="198831"/>
                  </a:lnTo>
                  <a:lnTo>
                    <a:pt x="274143" y="199530"/>
                  </a:lnTo>
                  <a:lnTo>
                    <a:pt x="274193" y="199530"/>
                  </a:lnTo>
                  <a:lnTo>
                    <a:pt x="274193" y="200228"/>
                  </a:lnTo>
                  <a:lnTo>
                    <a:pt x="274244" y="200228"/>
                  </a:lnTo>
                  <a:lnTo>
                    <a:pt x="274244" y="200876"/>
                  </a:lnTo>
                  <a:lnTo>
                    <a:pt x="274244" y="200228"/>
                  </a:lnTo>
                  <a:lnTo>
                    <a:pt x="274244" y="200876"/>
                  </a:lnTo>
                  <a:lnTo>
                    <a:pt x="274295" y="200228"/>
                  </a:lnTo>
                  <a:lnTo>
                    <a:pt x="274295" y="200876"/>
                  </a:lnTo>
                  <a:lnTo>
                    <a:pt x="274295" y="200228"/>
                  </a:lnTo>
                  <a:lnTo>
                    <a:pt x="274295" y="200876"/>
                  </a:lnTo>
                  <a:lnTo>
                    <a:pt x="274295" y="200228"/>
                  </a:lnTo>
                  <a:lnTo>
                    <a:pt x="274295" y="200876"/>
                  </a:lnTo>
                  <a:lnTo>
                    <a:pt x="274397" y="200876"/>
                  </a:lnTo>
                  <a:lnTo>
                    <a:pt x="274397" y="199530"/>
                  </a:lnTo>
                  <a:lnTo>
                    <a:pt x="274397" y="200228"/>
                  </a:lnTo>
                  <a:lnTo>
                    <a:pt x="274397" y="199530"/>
                  </a:lnTo>
                  <a:lnTo>
                    <a:pt x="274447" y="199530"/>
                  </a:lnTo>
                  <a:lnTo>
                    <a:pt x="274447" y="198831"/>
                  </a:lnTo>
                  <a:lnTo>
                    <a:pt x="274447" y="200876"/>
                  </a:lnTo>
                  <a:lnTo>
                    <a:pt x="274447" y="200228"/>
                  </a:lnTo>
                  <a:lnTo>
                    <a:pt x="274498" y="199530"/>
                  </a:lnTo>
                  <a:lnTo>
                    <a:pt x="274498" y="202959"/>
                  </a:lnTo>
                  <a:lnTo>
                    <a:pt x="274498" y="200876"/>
                  </a:lnTo>
                  <a:lnTo>
                    <a:pt x="274600" y="200876"/>
                  </a:lnTo>
                  <a:lnTo>
                    <a:pt x="274600" y="200228"/>
                  </a:lnTo>
                  <a:lnTo>
                    <a:pt x="274600" y="202260"/>
                  </a:lnTo>
                  <a:lnTo>
                    <a:pt x="274600" y="200876"/>
                  </a:lnTo>
                  <a:lnTo>
                    <a:pt x="274638" y="200876"/>
                  </a:lnTo>
                  <a:lnTo>
                    <a:pt x="274638" y="200228"/>
                  </a:lnTo>
                  <a:lnTo>
                    <a:pt x="274638" y="202260"/>
                  </a:lnTo>
                  <a:lnTo>
                    <a:pt x="274638" y="200876"/>
                  </a:lnTo>
                  <a:lnTo>
                    <a:pt x="274638" y="202260"/>
                  </a:lnTo>
                  <a:lnTo>
                    <a:pt x="274638" y="200876"/>
                  </a:lnTo>
                  <a:lnTo>
                    <a:pt x="274740" y="200876"/>
                  </a:lnTo>
                  <a:lnTo>
                    <a:pt x="274740" y="202260"/>
                  </a:lnTo>
                  <a:lnTo>
                    <a:pt x="274740" y="200876"/>
                  </a:lnTo>
                  <a:lnTo>
                    <a:pt x="274740" y="202260"/>
                  </a:lnTo>
                  <a:lnTo>
                    <a:pt x="274740" y="200876"/>
                  </a:lnTo>
                  <a:lnTo>
                    <a:pt x="274841" y="200876"/>
                  </a:lnTo>
                  <a:lnTo>
                    <a:pt x="274841" y="200228"/>
                  </a:lnTo>
                  <a:lnTo>
                    <a:pt x="274841" y="200876"/>
                  </a:lnTo>
                  <a:lnTo>
                    <a:pt x="274841" y="199530"/>
                  </a:lnTo>
                  <a:lnTo>
                    <a:pt x="274892" y="200228"/>
                  </a:lnTo>
                  <a:lnTo>
                    <a:pt x="274892" y="197447"/>
                  </a:lnTo>
                  <a:lnTo>
                    <a:pt x="274943" y="197447"/>
                  </a:lnTo>
                  <a:lnTo>
                    <a:pt x="274943" y="200876"/>
                  </a:lnTo>
                  <a:lnTo>
                    <a:pt x="274943" y="198831"/>
                  </a:lnTo>
                  <a:lnTo>
                    <a:pt x="274943" y="200228"/>
                  </a:lnTo>
                  <a:lnTo>
                    <a:pt x="275044" y="200876"/>
                  </a:lnTo>
                  <a:lnTo>
                    <a:pt x="275044" y="203594"/>
                  </a:lnTo>
                  <a:lnTo>
                    <a:pt x="275044" y="200228"/>
                  </a:lnTo>
                  <a:lnTo>
                    <a:pt x="275044" y="202260"/>
                  </a:lnTo>
                  <a:lnTo>
                    <a:pt x="275095" y="202260"/>
                  </a:lnTo>
                  <a:lnTo>
                    <a:pt x="275095" y="202959"/>
                  </a:lnTo>
                  <a:lnTo>
                    <a:pt x="275095" y="202260"/>
                  </a:lnTo>
                  <a:lnTo>
                    <a:pt x="275095" y="202959"/>
                  </a:lnTo>
                  <a:lnTo>
                    <a:pt x="275095" y="202260"/>
                  </a:lnTo>
                  <a:lnTo>
                    <a:pt x="275146" y="202260"/>
                  </a:lnTo>
                  <a:lnTo>
                    <a:pt x="275146" y="202959"/>
                  </a:lnTo>
                  <a:lnTo>
                    <a:pt x="275146" y="202260"/>
                  </a:lnTo>
                  <a:lnTo>
                    <a:pt x="275184" y="202260"/>
                  </a:lnTo>
                  <a:lnTo>
                    <a:pt x="275184" y="202959"/>
                  </a:lnTo>
                  <a:lnTo>
                    <a:pt x="275184" y="200876"/>
                  </a:lnTo>
                  <a:lnTo>
                    <a:pt x="275184" y="202260"/>
                  </a:lnTo>
                  <a:lnTo>
                    <a:pt x="275286" y="202260"/>
                  </a:lnTo>
                  <a:lnTo>
                    <a:pt x="275286" y="200876"/>
                  </a:lnTo>
                  <a:lnTo>
                    <a:pt x="275286" y="202260"/>
                  </a:lnTo>
                  <a:lnTo>
                    <a:pt x="275286" y="200228"/>
                  </a:lnTo>
                  <a:lnTo>
                    <a:pt x="275286" y="200876"/>
                  </a:lnTo>
                  <a:lnTo>
                    <a:pt x="275337" y="200876"/>
                  </a:lnTo>
                  <a:lnTo>
                    <a:pt x="275337" y="199530"/>
                  </a:lnTo>
                  <a:lnTo>
                    <a:pt x="275337" y="200228"/>
                  </a:lnTo>
                  <a:lnTo>
                    <a:pt x="275337" y="199530"/>
                  </a:lnTo>
                  <a:lnTo>
                    <a:pt x="275387" y="198831"/>
                  </a:lnTo>
                  <a:lnTo>
                    <a:pt x="275387" y="196799"/>
                  </a:lnTo>
                  <a:lnTo>
                    <a:pt x="275387" y="197447"/>
                  </a:lnTo>
                  <a:lnTo>
                    <a:pt x="275489" y="197447"/>
                  </a:lnTo>
                  <a:lnTo>
                    <a:pt x="275489" y="199530"/>
                  </a:lnTo>
                  <a:lnTo>
                    <a:pt x="275489" y="197447"/>
                  </a:lnTo>
                  <a:lnTo>
                    <a:pt x="275489" y="198831"/>
                  </a:lnTo>
                  <a:lnTo>
                    <a:pt x="275489" y="197447"/>
                  </a:lnTo>
                  <a:lnTo>
                    <a:pt x="275489" y="200876"/>
                  </a:lnTo>
                  <a:lnTo>
                    <a:pt x="275540" y="200876"/>
                  </a:lnTo>
                  <a:lnTo>
                    <a:pt x="275540" y="200228"/>
                  </a:lnTo>
                  <a:lnTo>
                    <a:pt x="275540" y="200876"/>
                  </a:lnTo>
                  <a:lnTo>
                    <a:pt x="275540" y="199530"/>
                  </a:lnTo>
                  <a:lnTo>
                    <a:pt x="275540" y="200876"/>
                  </a:lnTo>
                  <a:lnTo>
                    <a:pt x="275591" y="200876"/>
                  </a:lnTo>
                  <a:lnTo>
                    <a:pt x="275591" y="200228"/>
                  </a:lnTo>
                  <a:lnTo>
                    <a:pt x="275591" y="200876"/>
                  </a:lnTo>
                  <a:lnTo>
                    <a:pt x="275641" y="200876"/>
                  </a:lnTo>
                  <a:lnTo>
                    <a:pt x="275641" y="202260"/>
                  </a:lnTo>
                  <a:lnTo>
                    <a:pt x="275641" y="200876"/>
                  </a:lnTo>
                  <a:lnTo>
                    <a:pt x="275641" y="202959"/>
                  </a:lnTo>
                  <a:lnTo>
                    <a:pt x="275730" y="202959"/>
                  </a:lnTo>
                  <a:lnTo>
                    <a:pt x="275730" y="202260"/>
                  </a:lnTo>
                  <a:lnTo>
                    <a:pt x="275730" y="202959"/>
                  </a:lnTo>
                  <a:lnTo>
                    <a:pt x="275730" y="202260"/>
                  </a:lnTo>
                  <a:lnTo>
                    <a:pt x="275730" y="202959"/>
                  </a:lnTo>
                  <a:lnTo>
                    <a:pt x="275730" y="202260"/>
                  </a:lnTo>
                  <a:lnTo>
                    <a:pt x="275730" y="202959"/>
                  </a:lnTo>
                  <a:lnTo>
                    <a:pt x="275730" y="202260"/>
                  </a:lnTo>
                  <a:lnTo>
                    <a:pt x="275781" y="202260"/>
                  </a:lnTo>
                  <a:lnTo>
                    <a:pt x="275781" y="202959"/>
                  </a:lnTo>
                  <a:lnTo>
                    <a:pt x="275781" y="200876"/>
                  </a:lnTo>
                  <a:lnTo>
                    <a:pt x="275832" y="200876"/>
                  </a:lnTo>
                  <a:lnTo>
                    <a:pt x="275832" y="202260"/>
                  </a:lnTo>
                  <a:lnTo>
                    <a:pt x="275832" y="200228"/>
                  </a:lnTo>
                  <a:lnTo>
                    <a:pt x="275832" y="200876"/>
                  </a:lnTo>
                  <a:lnTo>
                    <a:pt x="275832" y="198831"/>
                  </a:lnTo>
                  <a:lnTo>
                    <a:pt x="275883" y="198831"/>
                  </a:lnTo>
                  <a:lnTo>
                    <a:pt x="275883" y="196799"/>
                  </a:lnTo>
                  <a:lnTo>
                    <a:pt x="275883" y="200228"/>
                  </a:lnTo>
                  <a:lnTo>
                    <a:pt x="275883" y="199530"/>
                  </a:lnTo>
                  <a:lnTo>
                    <a:pt x="275984" y="198831"/>
                  </a:lnTo>
                  <a:lnTo>
                    <a:pt x="275984" y="197447"/>
                  </a:lnTo>
                  <a:lnTo>
                    <a:pt x="275984" y="200876"/>
                  </a:lnTo>
                  <a:lnTo>
                    <a:pt x="276035" y="200228"/>
                  </a:lnTo>
                  <a:lnTo>
                    <a:pt x="276035" y="199530"/>
                  </a:lnTo>
                  <a:lnTo>
                    <a:pt x="276035" y="200876"/>
                  </a:lnTo>
                  <a:lnTo>
                    <a:pt x="276035" y="200228"/>
                  </a:lnTo>
                  <a:lnTo>
                    <a:pt x="276086" y="200228"/>
                  </a:lnTo>
                  <a:lnTo>
                    <a:pt x="276086" y="199530"/>
                  </a:lnTo>
                  <a:lnTo>
                    <a:pt x="276086" y="200876"/>
                  </a:lnTo>
                  <a:lnTo>
                    <a:pt x="276086" y="200228"/>
                  </a:lnTo>
                  <a:lnTo>
                    <a:pt x="276187" y="200228"/>
                  </a:lnTo>
                  <a:lnTo>
                    <a:pt x="276187" y="202260"/>
                  </a:lnTo>
                  <a:lnTo>
                    <a:pt x="276187" y="200876"/>
                  </a:lnTo>
                  <a:lnTo>
                    <a:pt x="276226" y="200876"/>
                  </a:lnTo>
                  <a:lnTo>
                    <a:pt x="276226" y="202959"/>
                  </a:lnTo>
                  <a:lnTo>
                    <a:pt x="276226" y="202260"/>
                  </a:lnTo>
                  <a:lnTo>
                    <a:pt x="276276" y="202260"/>
                  </a:lnTo>
                  <a:lnTo>
                    <a:pt x="276276" y="200876"/>
                  </a:lnTo>
                  <a:lnTo>
                    <a:pt x="276276" y="202260"/>
                  </a:lnTo>
                  <a:lnTo>
                    <a:pt x="276276" y="200228"/>
                  </a:lnTo>
                  <a:lnTo>
                    <a:pt x="276276" y="200876"/>
                  </a:lnTo>
                  <a:lnTo>
                    <a:pt x="276327" y="200228"/>
                  </a:lnTo>
                  <a:lnTo>
                    <a:pt x="276327" y="198831"/>
                  </a:lnTo>
                  <a:lnTo>
                    <a:pt x="276327" y="199530"/>
                  </a:lnTo>
                  <a:lnTo>
                    <a:pt x="276327" y="198831"/>
                  </a:lnTo>
                  <a:lnTo>
                    <a:pt x="276429" y="198831"/>
                  </a:lnTo>
                  <a:lnTo>
                    <a:pt x="276429" y="196799"/>
                  </a:lnTo>
                  <a:lnTo>
                    <a:pt x="276429" y="198831"/>
                  </a:lnTo>
                  <a:lnTo>
                    <a:pt x="276429" y="197447"/>
                  </a:lnTo>
                  <a:lnTo>
                    <a:pt x="276480" y="197447"/>
                  </a:lnTo>
                  <a:lnTo>
                    <a:pt x="276480" y="196113"/>
                  </a:lnTo>
                  <a:lnTo>
                    <a:pt x="276480" y="200228"/>
                  </a:lnTo>
                  <a:lnTo>
                    <a:pt x="276480" y="199530"/>
                  </a:lnTo>
                  <a:lnTo>
                    <a:pt x="276530" y="198831"/>
                  </a:lnTo>
                  <a:lnTo>
                    <a:pt x="276530" y="199530"/>
                  </a:lnTo>
                  <a:lnTo>
                    <a:pt x="276530" y="197447"/>
                  </a:lnTo>
                  <a:lnTo>
                    <a:pt x="276530" y="199530"/>
                  </a:lnTo>
                  <a:lnTo>
                    <a:pt x="276632" y="199530"/>
                  </a:lnTo>
                  <a:lnTo>
                    <a:pt x="276632" y="198831"/>
                  </a:lnTo>
                  <a:lnTo>
                    <a:pt x="276632" y="199530"/>
                  </a:lnTo>
                  <a:lnTo>
                    <a:pt x="276683" y="199530"/>
                  </a:lnTo>
                  <a:lnTo>
                    <a:pt x="276683" y="200876"/>
                  </a:lnTo>
                  <a:lnTo>
                    <a:pt x="276683" y="200228"/>
                  </a:lnTo>
                  <a:lnTo>
                    <a:pt x="276683" y="200876"/>
                  </a:lnTo>
                  <a:lnTo>
                    <a:pt x="276683" y="200228"/>
                  </a:lnTo>
                  <a:lnTo>
                    <a:pt x="276733" y="200228"/>
                  </a:lnTo>
                  <a:lnTo>
                    <a:pt x="276733" y="202260"/>
                  </a:lnTo>
                  <a:lnTo>
                    <a:pt x="276733" y="200876"/>
                  </a:lnTo>
                  <a:lnTo>
                    <a:pt x="276772" y="200876"/>
                  </a:lnTo>
                  <a:lnTo>
                    <a:pt x="276772" y="200228"/>
                  </a:lnTo>
                  <a:lnTo>
                    <a:pt x="276873" y="200228"/>
                  </a:lnTo>
                  <a:lnTo>
                    <a:pt x="276873" y="199530"/>
                  </a:lnTo>
                  <a:lnTo>
                    <a:pt x="276873" y="200228"/>
                  </a:lnTo>
                  <a:lnTo>
                    <a:pt x="276873" y="199530"/>
                  </a:lnTo>
                  <a:lnTo>
                    <a:pt x="276924" y="198831"/>
                  </a:lnTo>
                  <a:lnTo>
                    <a:pt x="276924" y="197447"/>
                  </a:lnTo>
                  <a:lnTo>
                    <a:pt x="276924" y="199530"/>
                  </a:lnTo>
                  <a:lnTo>
                    <a:pt x="276924" y="196799"/>
                  </a:lnTo>
                  <a:lnTo>
                    <a:pt x="276924" y="197447"/>
                  </a:lnTo>
                  <a:lnTo>
                    <a:pt x="276975" y="197447"/>
                  </a:lnTo>
                  <a:lnTo>
                    <a:pt x="276975" y="199530"/>
                  </a:lnTo>
                  <a:lnTo>
                    <a:pt x="276975" y="197447"/>
                  </a:lnTo>
                  <a:lnTo>
                    <a:pt x="276975" y="198831"/>
                  </a:lnTo>
                  <a:lnTo>
                    <a:pt x="277076" y="197447"/>
                  </a:lnTo>
                  <a:lnTo>
                    <a:pt x="277076" y="199530"/>
                  </a:lnTo>
                  <a:lnTo>
                    <a:pt x="277076" y="198831"/>
                  </a:lnTo>
                  <a:lnTo>
                    <a:pt x="277076" y="199530"/>
                  </a:lnTo>
                  <a:lnTo>
                    <a:pt x="277076" y="197447"/>
                  </a:lnTo>
                  <a:lnTo>
                    <a:pt x="277127" y="198831"/>
                  </a:lnTo>
                  <a:lnTo>
                    <a:pt x="277127" y="199530"/>
                  </a:lnTo>
                  <a:lnTo>
                    <a:pt x="277127" y="198831"/>
                  </a:lnTo>
                  <a:lnTo>
                    <a:pt x="277127" y="199530"/>
                  </a:lnTo>
                  <a:lnTo>
                    <a:pt x="277127" y="198831"/>
                  </a:lnTo>
                  <a:lnTo>
                    <a:pt x="277127" y="199530"/>
                  </a:lnTo>
                  <a:lnTo>
                    <a:pt x="277127" y="198831"/>
                  </a:lnTo>
                  <a:lnTo>
                    <a:pt x="277178" y="199530"/>
                  </a:lnTo>
                  <a:lnTo>
                    <a:pt x="277178" y="198831"/>
                  </a:lnTo>
                  <a:lnTo>
                    <a:pt x="277178" y="200228"/>
                  </a:lnTo>
                  <a:lnTo>
                    <a:pt x="277178" y="199530"/>
                  </a:lnTo>
                  <a:lnTo>
                    <a:pt x="277229" y="199530"/>
                  </a:lnTo>
                  <a:lnTo>
                    <a:pt x="277229" y="200228"/>
                  </a:lnTo>
                  <a:lnTo>
                    <a:pt x="277318" y="200228"/>
                  </a:lnTo>
                  <a:lnTo>
                    <a:pt x="277318" y="199530"/>
                  </a:lnTo>
                  <a:lnTo>
                    <a:pt x="277318" y="200228"/>
                  </a:lnTo>
                  <a:lnTo>
                    <a:pt x="277318" y="198831"/>
                  </a:lnTo>
                  <a:lnTo>
                    <a:pt x="277368" y="198831"/>
                  </a:lnTo>
                  <a:lnTo>
                    <a:pt x="277368" y="199530"/>
                  </a:lnTo>
                  <a:lnTo>
                    <a:pt x="277368" y="197447"/>
                  </a:lnTo>
                  <a:lnTo>
                    <a:pt x="277419" y="197447"/>
                  </a:lnTo>
                  <a:lnTo>
                    <a:pt x="277419" y="196799"/>
                  </a:lnTo>
                  <a:lnTo>
                    <a:pt x="277419" y="197447"/>
                  </a:lnTo>
                  <a:lnTo>
                    <a:pt x="277419" y="196799"/>
                  </a:lnTo>
                  <a:lnTo>
                    <a:pt x="277419" y="197447"/>
                  </a:lnTo>
                  <a:lnTo>
                    <a:pt x="277470" y="196799"/>
                  </a:lnTo>
                  <a:lnTo>
                    <a:pt x="277470" y="199530"/>
                  </a:lnTo>
                  <a:lnTo>
                    <a:pt x="277470" y="198831"/>
                  </a:lnTo>
                  <a:lnTo>
                    <a:pt x="277572" y="197447"/>
                  </a:lnTo>
                  <a:lnTo>
                    <a:pt x="277572" y="199530"/>
                  </a:lnTo>
                  <a:lnTo>
                    <a:pt x="277572" y="198831"/>
                  </a:lnTo>
                  <a:lnTo>
                    <a:pt x="277572" y="199530"/>
                  </a:lnTo>
                  <a:lnTo>
                    <a:pt x="277572" y="198831"/>
                  </a:lnTo>
                  <a:lnTo>
                    <a:pt x="277622" y="198831"/>
                  </a:lnTo>
                  <a:lnTo>
                    <a:pt x="277622" y="200228"/>
                  </a:lnTo>
                  <a:lnTo>
                    <a:pt x="277622" y="199530"/>
                  </a:lnTo>
                  <a:lnTo>
                    <a:pt x="277673" y="199530"/>
                  </a:lnTo>
                  <a:lnTo>
                    <a:pt x="277673" y="200228"/>
                  </a:lnTo>
                  <a:lnTo>
                    <a:pt x="277673" y="199530"/>
                  </a:lnTo>
                  <a:lnTo>
                    <a:pt x="277673" y="200228"/>
                  </a:lnTo>
                  <a:lnTo>
                    <a:pt x="277775" y="200228"/>
                  </a:lnTo>
                  <a:lnTo>
                    <a:pt x="277775" y="200876"/>
                  </a:lnTo>
                  <a:lnTo>
                    <a:pt x="277775" y="200228"/>
                  </a:lnTo>
                  <a:lnTo>
                    <a:pt x="277813" y="200228"/>
                  </a:lnTo>
                  <a:lnTo>
                    <a:pt x="277813" y="200876"/>
                  </a:lnTo>
                  <a:lnTo>
                    <a:pt x="277813" y="200228"/>
                  </a:lnTo>
                  <a:lnTo>
                    <a:pt x="277813" y="200876"/>
                  </a:lnTo>
                  <a:lnTo>
                    <a:pt x="277813" y="199530"/>
                  </a:lnTo>
                  <a:lnTo>
                    <a:pt x="277813" y="200228"/>
                  </a:lnTo>
                  <a:lnTo>
                    <a:pt x="277864" y="200228"/>
                  </a:lnTo>
                  <a:lnTo>
                    <a:pt x="277864" y="198831"/>
                  </a:lnTo>
                  <a:lnTo>
                    <a:pt x="277864" y="199530"/>
                  </a:lnTo>
                  <a:lnTo>
                    <a:pt x="277864" y="198831"/>
                  </a:lnTo>
                  <a:lnTo>
                    <a:pt x="277864" y="199530"/>
                  </a:lnTo>
                  <a:lnTo>
                    <a:pt x="277864" y="198831"/>
                  </a:lnTo>
                  <a:lnTo>
                    <a:pt x="277864" y="199530"/>
                  </a:lnTo>
                  <a:lnTo>
                    <a:pt x="277915" y="198831"/>
                  </a:lnTo>
                  <a:lnTo>
                    <a:pt x="277915" y="197447"/>
                  </a:lnTo>
                  <a:lnTo>
                    <a:pt x="277915" y="199530"/>
                  </a:lnTo>
                  <a:lnTo>
                    <a:pt x="277915" y="197447"/>
                  </a:lnTo>
                  <a:lnTo>
                    <a:pt x="277915" y="198831"/>
                  </a:lnTo>
                  <a:lnTo>
                    <a:pt x="278016" y="198831"/>
                  </a:lnTo>
                  <a:lnTo>
                    <a:pt x="278016" y="200876"/>
                  </a:lnTo>
                  <a:lnTo>
                    <a:pt x="278016" y="199530"/>
                  </a:lnTo>
                  <a:lnTo>
                    <a:pt x="278016" y="200228"/>
                  </a:lnTo>
                  <a:lnTo>
                    <a:pt x="278067" y="200228"/>
                  </a:lnTo>
                  <a:lnTo>
                    <a:pt x="278067" y="199530"/>
                  </a:lnTo>
                  <a:lnTo>
                    <a:pt x="278067" y="200228"/>
                  </a:lnTo>
                  <a:lnTo>
                    <a:pt x="278118" y="200228"/>
                  </a:lnTo>
                  <a:lnTo>
                    <a:pt x="278118" y="199530"/>
                  </a:lnTo>
                  <a:lnTo>
                    <a:pt x="278118" y="200876"/>
                  </a:lnTo>
                  <a:lnTo>
                    <a:pt x="278219" y="200876"/>
                  </a:lnTo>
                  <a:lnTo>
                    <a:pt x="278219" y="200228"/>
                  </a:lnTo>
                  <a:lnTo>
                    <a:pt x="278219" y="200876"/>
                  </a:lnTo>
                  <a:lnTo>
                    <a:pt x="278219" y="200228"/>
                  </a:lnTo>
                  <a:lnTo>
                    <a:pt x="278270" y="200876"/>
                  </a:lnTo>
                  <a:lnTo>
                    <a:pt x="278270" y="199530"/>
                  </a:lnTo>
                  <a:lnTo>
                    <a:pt x="278321" y="200228"/>
                  </a:lnTo>
                  <a:lnTo>
                    <a:pt x="278321" y="199530"/>
                  </a:lnTo>
                  <a:lnTo>
                    <a:pt x="278321" y="200228"/>
                  </a:lnTo>
                  <a:lnTo>
                    <a:pt x="278321" y="198831"/>
                  </a:lnTo>
                  <a:lnTo>
                    <a:pt x="278359" y="198831"/>
                  </a:lnTo>
                  <a:lnTo>
                    <a:pt x="278359" y="197447"/>
                  </a:lnTo>
                  <a:lnTo>
                    <a:pt x="278359" y="198831"/>
                  </a:lnTo>
                  <a:lnTo>
                    <a:pt x="278359" y="196799"/>
                  </a:lnTo>
                  <a:lnTo>
                    <a:pt x="278461" y="196799"/>
                  </a:lnTo>
                  <a:lnTo>
                    <a:pt x="278461" y="196113"/>
                  </a:lnTo>
                  <a:lnTo>
                    <a:pt x="278461" y="198831"/>
                  </a:lnTo>
                  <a:lnTo>
                    <a:pt x="278461" y="196113"/>
                  </a:lnTo>
                  <a:lnTo>
                    <a:pt x="278461" y="196799"/>
                  </a:lnTo>
                  <a:lnTo>
                    <a:pt x="278512" y="197447"/>
                  </a:lnTo>
                  <a:lnTo>
                    <a:pt x="278512" y="200228"/>
                  </a:lnTo>
                  <a:lnTo>
                    <a:pt x="278512" y="198831"/>
                  </a:lnTo>
                  <a:lnTo>
                    <a:pt x="278562" y="198831"/>
                  </a:lnTo>
                  <a:lnTo>
                    <a:pt x="278562" y="200228"/>
                  </a:lnTo>
                  <a:lnTo>
                    <a:pt x="278562" y="198831"/>
                  </a:lnTo>
                  <a:lnTo>
                    <a:pt x="278562" y="199530"/>
                  </a:lnTo>
                  <a:lnTo>
                    <a:pt x="278664" y="199530"/>
                  </a:lnTo>
                  <a:lnTo>
                    <a:pt x="278664" y="200228"/>
                  </a:lnTo>
                  <a:lnTo>
                    <a:pt x="278664" y="199530"/>
                  </a:lnTo>
                  <a:lnTo>
                    <a:pt x="278664" y="200228"/>
                  </a:lnTo>
                  <a:lnTo>
                    <a:pt x="278664" y="199530"/>
                  </a:lnTo>
                  <a:lnTo>
                    <a:pt x="278664" y="200228"/>
                  </a:lnTo>
                  <a:lnTo>
                    <a:pt x="278664" y="199530"/>
                  </a:lnTo>
                  <a:lnTo>
                    <a:pt x="278664" y="200228"/>
                  </a:lnTo>
                  <a:lnTo>
                    <a:pt x="278715" y="200228"/>
                  </a:lnTo>
                  <a:lnTo>
                    <a:pt x="278715" y="199530"/>
                  </a:lnTo>
                  <a:lnTo>
                    <a:pt x="278715" y="200876"/>
                  </a:lnTo>
                  <a:lnTo>
                    <a:pt x="278715" y="200228"/>
                  </a:lnTo>
                  <a:lnTo>
                    <a:pt x="278715" y="200876"/>
                  </a:lnTo>
                  <a:lnTo>
                    <a:pt x="278715" y="200228"/>
                  </a:lnTo>
                  <a:lnTo>
                    <a:pt x="278766" y="200228"/>
                  </a:lnTo>
                  <a:lnTo>
                    <a:pt x="278766" y="200876"/>
                  </a:lnTo>
                  <a:lnTo>
                    <a:pt x="278766" y="200228"/>
                  </a:lnTo>
                  <a:lnTo>
                    <a:pt x="278766" y="200876"/>
                  </a:lnTo>
                  <a:lnTo>
                    <a:pt x="278766" y="200228"/>
                  </a:lnTo>
                  <a:lnTo>
                    <a:pt x="278766" y="200876"/>
                  </a:lnTo>
                  <a:lnTo>
                    <a:pt x="278766" y="200228"/>
                  </a:lnTo>
                  <a:lnTo>
                    <a:pt x="278766" y="200876"/>
                  </a:lnTo>
                  <a:lnTo>
                    <a:pt x="278766" y="200228"/>
                  </a:lnTo>
                  <a:lnTo>
                    <a:pt x="278816" y="200228"/>
                  </a:lnTo>
                  <a:lnTo>
                    <a:pt x="278816" y="200876"/>
                  </a:lnTo>
                  <a:lnTo>
                    <a:pt x="278816" y="199530"/>
                  </a:lnTo>
                  <a:lnTo>
                    <a:pt x="278905" y="199530"/>
                  </a:lnTo>
                  <a:lnTo>
                    <a:pt x="278905" y="197447"/>
                  </a:lnTo>
                  <a:lnTo>
                    <a:pt x="278905" y="198831"/>
                  </a:lnTo>
                  <a:lnTo>
                    <a:pt x="278905" y="196799"/>
                  </a:lnTo>
                  <a:lnTo>
                    <a:pt x="278956" y="196113"/>
                  </a:lnTo>
                  <a:lnTo>
                    <a:pt x="278956" y="198831"/>
                  </a:lnTo>
                  <a:lnTo>
                    <a:pt x="278956" y="196799"/>
                  </a:lnTo>
                  <a:lnTo>
                    <a:pt x="278956" y="198831"/>
                  </a:lnTo>
                  <a:lnTo>
                    <a:pt x="279007" y="199530"/>
                  </a:lnTo>
                  <a:lnTo>
                    <a:pt x="279007" y="200228"/>
                  </a:lnTo>
                  <a:lnTo>
                    <a:pt x="279007" y="198831"/>
                  </a:lnTo>
                  <a:lnTo>
                    <a:pt x="279007" y="199530"/>
                  </a:lnTo>
                  <a:lnTo>
                    <a:pt x="279058" y="199530"/>
                  </a:lnTo>
                  <a:lnTo>
                    <a:pt x="279058" y="198831"/>
                  </a:lnTo>
                  <a:lnTo>
                    <a:pt x="279058" y="200228"/>
                  </a:lnTo>
                  <a:lnTo>
                    <a:pt x="279159" y="200228"/>
                  </a:lnTo>
                  <a:lnTo>
                    <a:pt x="279159" y="199530"/>
                  </a:lnTo>
                  <a:lnTo>
                    <a:pt x="279159" y="200876"/>
                  </a:lnTo>
                  <a:lnTo>
                    <a:pt x="279159" y="200228"/>
                  </a:lnTo>
                  <a:lnTo>
                    <a:pt x="279159" y="200876"/>
                  </a:lnTo>
                  <a:lnTo>
                    <a:pt x="279159" y="200228"/>
                  </a:lnTo>
                  <a:lnTo>
                    <a:pt x="279210" y="200228"/>
                  </a:lnTo>
                  <a:lnTo>
                    <a:pt x="279210" y="199530"/>
                  </a:lnTo>
                  <a:lnTo>
                    <a:pt x="279210" y="200876"/>
                  </a:lnTo>
                  <a:lnTo>
                    <a:pt x="279210" y="200228"/>
                  </a:lnTo>
                  <a:lnTo>
                    <a:pt x="279261" y="200876"/>
                  </a:lnTo>
                  <a:lnTo>
                    <a:pt x="279261" y="200228"/>
                  </a:lnTo>
                  <a:lnTo>
                    <a:pt x="279261" y="200876"/>
                  </a:lnTo>
                  <a:lnTo>
                    <a:pt x="279261" y="200228"/>
                  </a:lnTo>
                  <a:lnTo>
                    <a:pt x="279362" y="200876"/>
                  </a:lnTo>
                  <a:lnTo>
                    <a:pt x="279362" y="200228"/>
                  </a:lnTo>
                  <a:lnTo>
                    <a:pt x="279362" y="200876"/>
                  </a:lnTo>
                  <a:lnTo>
                    <a:pt x="279362" y="198831"/>
                  </a:lnTo>
                  <a:lnTo>
                    <a:pt x="279362" y="199530"/>
                  </a:lnTo>
                  <a:lnTo>
                    <a:pt x="279401" y="199530"/>
                  </a:lnTo>
                  <a:lnTo>
                    <a:pt x="279401" y="196113"/>
                  </a:lnTo>
                  <a:lnTo>
                    <a:pt x="279451" y="196799"/>
                  </a:lnTo>
                  <a:lnTo>
                    <a:pt x="279451" y="197447"/>
                  </a:lnTo>
                  <a:lnTo>
                    <a:pt x="279451" y="196113"/>
                  </a:lnTo>
                  <a:lnTo>
                    <a:pt x="279451" y="196799"/>
                  </a:lnTo>
                  <a:lnTo>
                    <a:pt x="279502" y="198831"/>
                  </a:lnTo>
                  <a:lnTo>
                    <a:pt x="279502" y="199530"/>
                  </a:lnTo>
                  <a:lnTo>
                    <a:pt x="279502" y="198831"/>
                  </a:lnTo>
                  <a:lnTo>
                    <a:pt x="279502" y="199530"/>
                  </a:lnTo>
                  <a:lnTo>
                    <a:pt x="279502" y="197447"/>
                  </a:lnTo>
                  <a:lnTo>
                    <a:pt x="279502" y="198831"/>
                  </a:lnTo>
                  <a:lnTo>
                    <a:pt x="279604" y="198831"/>
                  </a:lnTo>
                  <a:lnTo>
                    <a:pt x="279604" y="199530"/>
                  </a:lnTo>
                  <a:lnTo>
                    <a:pt x="279604" y="198831"/>
                  </a:lnTo>
                  <a:lnTo>
                    <a:pt x="279604" y="199530"/>
                  </a:lnTo>
                  <a:lnTo>
                    <a:pt x="279604" y="198831"/>
                  </a:lnTo>
                  <a:lnTo>
                    <a:pt x="279604" y="199530"/>
                  </a:lnTo>
                  <a:lnTo>
                    <a:pt x="279655" y="199530"/>
                  </a:lnTo>
                  <a:lnTo>
                    <a:pt x="279655" y="200228"/>
                  </a:lnTo>
                  <a:lnTo>
                    <a:pt x="279655" y="199530"/>
                  </a:lnTo>
                  <a:lnTo>
                    <a:pt x="279705" y="200228"/>
                  </a:lnTo>
                  <a:lnTo>
                    <a:pt x="279705" y="199530"/>
                  </a:lnTo>
                  <a:lnTo>
                    <a:pt x="279705" y="200876"/>
                  </a:lnTo>
                  <a:lnTo>
                    <a:pt x="279705" y="200228"/>
                  </a:lnTo>
                  <a:lnTo>
                    <a:pt x="279705" y="200876"/>
                  </a:lnTo>
                  <a:lnTo>
                    <a:pt x="279807" y="200228"/>
                  </a:lnTo>
                  <a:lnTo>
                    <a:pt x="279807" y="200876"/>
                  </a:lnTo>
                  <a:lnTo>
                    <a:pt x="279807" y="200228"/>
                  </a:lnTo>
                  <a:lnTo>
                    <a:pt x="279807" y="200876"/>
                  </a:lnTo>
                  <a:lnTo>
                    <a:pt x="279807" y="200228"/>
                  </a:lnTo>
                  <a:lnTo>
                    <a:pt x="279807" y="200876"/>
                  </a:lnTo>
                  <a:lnTo>
                    <a:pt x="279858" y="200876"/>
                  </a:lnTo>
                  <a:lnTo>
                    <a:pt x="279858" y="200228"/>
                  </a:lnTo>
                  <a:lnTo>
                    <a:pt x="279858" y="200876"/>
                  </a:lnTo>
                  <a:lnTo>
                    <a:pt x="279858" y="199530"/>
                  </a:lnTo>
                  <a:lnTo>
                    <a:pt x="279908" y="199530"/>
                  </a:lnTo>
                  <a:lnTo>
                    <a:pt x="279908" y="197447"/>
                  </a:lnTo>
                  <a:lnTo>
                    <a:pt x="279908" y="199530"/>
                  </a:lnTo>
                  <a:lnTo>
                    <a:pt x="279947" y="199530"/>
                  </a:lnTo>
                  <a:lnTo>
                    <a:pt x="279947" y="196799"/>
                  </a:lnTo>
                  <a:lnTo>
                    <a:pt x="279947" y="200228"/>
                  </a:lnTo>
                  <a:lnTo>
                    <a:pt x="280048" y="199530"/>
                  </a:lnTo>
                  <a:lnTo>
                    <a:pt x="280048" y="200228"/>
                  </a:lnTo>
                  <a:lnTo>
                    <a:pt x="280048" y="198831"/>
                  </a:lnTo>
                  <a:lnTo>
                    <a:pt x="280048" y="200228"/>
                  </a:lnTo>
                  <a:lnTo>
                    <a:pt x="280048" y="199530"/>
                  </a:lnTo>
                  <a:lnTo>
                    <a:pt x="280048" y="200228"/>
                  </a:lnTo>
                  <a:lnTo>
                    <a:pt x="280099" y="200228"/>
                  </a:lnTo>
                  <a:lnTo>
                    <a:pt x="280099" y="198831"/>
                  </a:lnTo>
                  <a:lnTo>
                    <a:pt x="280099" y="199530"/>
                  </a:lnTo>
                  <a:lnTo>
                    <a:pt x="280099" y="198831"/>
                  </a:lnTo>
                  <a:lnTo>
                    <a:pt x="280099" y="199530"/>
                  </a:lnTo>
                  <a:lnTo>
                    <a:pt x="280099" y="198831"/>
                  </a:lnTo>
                  <a:lnTo>
                    <a:pt x="280099" y="199530"/>
                  </a:lnTo>
                  <a:lnTo>
                    <a:pt x="280150" y="199530"/>
                  </a:lnTo>
                  <a:lnTo>
                    <a:pt x="280150" y="200228"/>
                  </a:lnTo>
                  <a:lnTo>
                    <a:pt x="280150" y="199530"/>
                  </a:lnTo>
                  <a:lnTo>
                    <a:pt x="280150" y="200228"/>
                  </a:lnTo>
                  <a:lnTo>
                    <a:pt x="280251" y="200228"/>
                  </a:lnTo>
                  <a:lnTo>
                    <a:pt x="280251" y="199530"/>
                  </a:lnTo>
                  <a:lnTo>
                    <a:pt x="280251" y="200228"/>
                  </a:lnTo>
                  <a:lnTo>
                    <a:pt x="280251" y="199530"/>
                  </a:lnTo>
                  <a:lnTo>
                    <a:pt x="280251" y="200876"/>
                  </a:lnTo>
                  <a:lnTo>
                    <a:pt x="280302" y="200228"/>
                  </a:lnTo>
                  <a:lnTo>
                    <a:pt x="280302" y="200876"/>
                  </a:lnTo>
                  <a:lnTo>
                    <a:pt x="280302" y="200228"/>
                  </a:lnTo>
                  <a:lnTo>
                    <a:pt x="280353" y="200228"/>
                  </a:lnTo>
                  <a:lnTo>
                    <a:pt x="280353" y="198831"/>
                  </a:lnTo>
                  <a:lnTo>
                    <a:pt x="280353" y="199530"/>
                  </a:lnTo>
                  <a:lnTo>
                    <a:pt x="280353" y="198831"/>
                  </a:lnTo>
                  <a:lnTo>
                    <a:pt x="280353" y="200228"/>
                  </a:lnTo>
                  <a:lnTo>
                    <a:pt x="280353" y="199530"/>
                  </a:lnTo>
                  <a:lnTo>
                    <a:pt x="280353" y="200228"/>
                  </a:lnTo>
                  <a:lnTo>
                    <a:pt x="280404" y="200228"/>
                  </a:lnTo>
                  <a:lnTo>
                    <a:pt x="280404" y="199530"/>
                  </a:lnTo>
                  <a:lnTo>
                    <a:pt x="280404" y="200228"/>
                  </a:lnTo>
                  <a:lnTo>
                    <a:pt x="280404" y="199530"/>
                  </a:lnTo>
                  <a:lnTo>
                    <a:pt x="280404" y="202959"/>
                  </a:lnTo>
                  <a:lnTo>
                    <a:pt x="280493" y="202959"/>
                  </a:lnTo>
                  <a:lnTo>
                    <a:pt x="280493" y="200876"/>
                  </a:lnTo>
                  <a:lnTo>
                    <a:pt x="280493" y="202959"/>
                  </a:lnTo>
                  <a:lnTo>
                    <a:pt x="280543" y="202959"/>
                  </a:lnTo>
                  <a:lnTo>
                    <a:pt x="280543" y="203594"/>
                  </a:lnTo>
                  <a:lnTo>
                    <a:pt x="280543" y="202260"/>
                  </a:lnTo>
                  <a:lnTo>
                    <a:pt x="280543" y="202959"/>
                  </a:lnTo>
                  <a:lnTo>
                    <a:pt x="280594" y="202260"/>
                  </a:lnTo>
                  <a:lnTo>
                    <a:pt x="280594" y="202959"/>
                  </a:lnTo>
                  <a:lnTo>
                    <a:pt x="280645" y="202959"/>
                  </a:lnTo>
                  <a:lnTo>
                    <a:pt x="280645" y="200876"/>
                  </a:lnTo>
                  <a:lnTo>
                    <a:pt x="280645" y="202260"/>
                  </a:lnTo>
                  <a:lnTo>
                    <a:pt x="280645" y="200876"/>
                  </a:lnTo>
                  <a:lnTo>
                    <a:pt x="280645" y="202260"/>
                  </a:lnTo>
                  <a:lnTo>
                    <a:pt x="280645" y="200876"/>
                  </a:lnTo>
                  <a:lnTo>
                    <a:pt x="280797" y="200876"/>
                  </a:lnTo>
                  <a:lnTo>
                    <a:pt x="280797" y="199530"/>
                  </a:lnTo>
                  <a:lnTo>
                    <a:pt x="280848" y="199530"/>
                  </a:lnTo>
                  <a:lnTo>
                    <a:pt x="280848" y="198831"/>
                  </a:lnTo>
                  <a:lnTo>
                    <a:pt x="280848" y="199530"/>
                  </a:lnTo>
                  <a:lnTo>
                    <a:pt x="280848" y="198831"/>
                  </a:lnTo>
                  <a:lnTo>
                    <a:pt x="280848" y="200876"/>
                  </a:lnTo>
                  <a:lnTo>
                    <a:pt x="280848" y="200228"/>
                  </a:lnTo>
                  <a:lnTo>
                    <a:pt x="280950" y="200228"/>
                  </a:lnTo>
                  <a:lnTo>
                    <a:pt x="280950" y="199530"/>
                  </a:lnTo>
                  <a:lnTo>
                    <a:pt x="280950" y="203594"/>
                  </a:lnTo>
                  <a:lnTo>
                    <a:pt x="280950" y="200876"/>
                  </a:lnTo>
                  <a:lnTo>
                    <a:pt x="280988" y="200876"/>
                  </a:lnTo>
                  <a:lnTo>
                    <a:pt x="280988" y="203594"/>
                  </a:lnTo>
                  <a:lnTo>
                    <a:pt x="280988" y="202959"/>
                  </a:lnTo>
                  <a:lnTo>
                    <a:pt x="281039" y="202959"/>
                  </a:lnTo>
                  <a:lnTo>
                    <a:pt x="281039" y="203594"/>
                  </a:lnTo>
                  <a:lnTo>
                    <a:pt x="281039" y="202959"/>
                  </a:lnTo>
                  <a:lnTo>
                    <a:pt x="281039" y="203594"/>
                  </a:lnTo>
                  <a:lnTo>
                    <a:pt x="281039" y="202959"/>
                  </a:lnTo>
                  <a:lnTo>
                    <a:pt x="281090" y="202959"/>
                  </a:lnTo>
                  <a:lnTo>
                    <a:pt x="281090" y="203594"/>
                  </a:lnTo>
                  <a:lnTo>
                    <a:pt x="281090" y="202959"/>
                  </a:lnTo>
                  <a:lnTo>
                    <a:pt x="281090" y="203594"/>
                  </a:lnTo>
                  <a:lnTo>
                    <a:pt x="281090" y="202959"/>
                  </a:lnTo>
                  <a:lnTo>
                    <a:pt x="281191" y="202959"/>
                  </a:lnTo>
                  <a:lnTo>
                    <a:pt x="281191" y="202260"/>
                  </a:lnTo>
                  <a:lnTo>
                    <a:pt x="281191" y="202959"/>
                  </a:lnTo>
                  <a:lnTo>
                    <a:pt x="281191" y="202260"/>
                  </a:lnTo>
                  <a:lnTo>
                    <a:pt x="281191" y="202959"/>
                  </a:lnTo>
                  <a:lnTo>
                    <a:pt x="281191" y="202260"/>
                  </a:lnTo>
                  <a:lnTo>
                    <a:pt x="281242" y="202260"/>
                  </a:lnTo>
                  <a:lnTo>
                    <a:pt x="281242" y="200228"/>
                  </a:lnTo>
                  <a:lnTo>
                    <a:pt x="281293" y="200228"/>
                  </a:lnTo>
                  <a:lnTo>
                    <a:pt x="281293" y="199530"/>
                  </a:lnTo>
                  <a:lnTo>
                    <a:pt x="281293" y="200228"/>
                  </a:lnTo>
                  <a:lnTo>
                    <a:pt x="281293" y="197447"/>
                  </a:lnTo>
                  <a:lnTo>
                    <a:pt x="281293" y="199530"/>
                  </a:lnTo>
                  <a:lnTo>
                    <a:pt x="281394" y="199530"/>
                  </a:lnTo>
                  <a:lnTo>
                    <a:pt x="281394" y="200228"/>
                  </a:lnTo>
                  <a:lnTo>
                    <a:pt x="281394" y="199530"/>
                  </a:lnTo>
                  <a:lnTo>
                    <a:pt x="281394" y="202260"/>
                  </a:lnTo>
                  <a:lnTo>
                    <a:pt x="281445" y="202260"/>
                  </a:lnTo>
                  <a:lnTo>
                    <a:pt x="281445" y="200876"/>
                  </a:lnTo>
                  <a:lnTo>
                    <a:pt x="281445" y="202260"/>
                  </a:lnTo>
                  <a:lnTo>
                    <a:pt x="281445" y="200876"/>
                  </a:lnTo>
                  <a:lnTo>
                    <a:pt x="281445" y="202260"/>
                  </a:lnTo>
                  <a:lnTo>
                    <a:pt x="281445" y="200876"/>
                  </a:lnTo>
                  <a:lnTo>
                    <a:pt x="281445" y="202959"/>
                  </a:lnTo>
                  <a:lnTo>
                    <a:pt x="281496" y="202959"/>
                  </a:lnTo>
                  <a:lnTo>
                    <a:pt x="281496" y="202260"/>
                  </a:lnTo>
                  <a:lnTo>
                    <a:pt x="281496" y="202959"/>
                  </a:lnTo>
                  <a:lnTo>
                    <a:pt x="281534" y="202959"/>
                  </a:lnTo>
                  <a:lnTo>
                    <a:pt x="281534" y="203594"/>
                  </a:lnTo>
                  <a:lnTo>
                    <a:pt x="281534" y="202959"/>
                  </a:lnTo>
                  <a:lnTo>
                    <a:pt x="281534" y="203594"/>
                  </a:lnTo>
                  <a:lnTo>
                    <a:pt x="281534" y="202959"/>
                  </a:lnTo>
                  <a:lnTo>
                    <a:pt x="281636" y="202959"/>
                  </a:lnTo>
                  <a:lnTo>
                    <a:pt x="281636" y="203594"/>
                  </a:lnTo>
                  <a:lnTo>
                    <a:pt x="281636" y="202959"/>
                  </a:lnTo>
                  <a:lnTo>
                    <a:pt x="281636" y="203594"/>
                  </a:lnTo>
                  <a:lnTo>
                    <a:pt x="281636" y="202959"/>
                  </a:lnTo>
                  <a:lnTo>
                    <a:pt x="281636" y="203594"/>
                  </a:lnTo>
                  <a:lnTo>
                    <a:pt x="281636" y="202959"/>
                  </a:lnTo>
                  <a:lnTo>
                    <a:pt x="281687" y="202959"/>
                  </a:lnTo>
                  <a:lnTo>
                    <a:pt x="281687" y="202260"/>
                  </a:lnTo>
                  <a:lnTo>
                    <a:pt x="281687" y="202959"/>
                  </a:lnTo>
                  <a:lnTo>
                    <a:pt x="281687" y="202260"/>
                  </a:lnTo>
                  <a:lnTo>
                    <a:pt x="281737" y="202260"/>
                  </a:lnTo>
                  <a:lnTo>
                    <a:pt x="281737" y="200228"/>
                  </a:lnTo>
                  <a:lnTo>
                    <a:pt x="281737" y="200876"/>
                  </a:lnTo>
                  <a:lnTo>
                    <a:pt x="281737" y="200228"/>
                  </a:lnTo>
                  <a:lnTo>
                    <a:pt x="281839" y="200228"/>
                  </a:lnTo>
                  <a:lnTo>
                    <a:pt x="281839" y="198831"/>
                  </a:lnTo>
                  <a:lnTo>
                    <a:pt x="281839" y="200228"/>
                  </a:lnTo>
                  <a:lnTo>
                    <a:pt x="281839" y="199530"/>
                  </a:lnTo>
                  <a:lnTo>
                    <a:pt x="281890" y="198831"/>
                  </a:lnTo>
                  <a:lnTo>
                    <a:pt x="281890" y="200876"/>
                  </a:lnTo>
                  <a:lnTo>
                    <a:pt x="281890" y="200228"/>
                  </a:lnTo>
                  <a:lnTo>
                    <a:pt x="281890" y="200876"/>
                  </a:lnTo>
                  <a:lnTo>
                    <a:pt x="281941" y="200876"/>
                  </a:lnTo>
                  <a:lnTo>
                    <a:pt x="281941" y="200228"/>
                  </a:lnTo>
                  <a:lnTo>
                    <a:pt x="281941" y="202260"/>
                  </a:lnTo>
                  <a:lnTo>
                    <a:pt x="281941" y="200876"/>
                  </a:lnTo>
                  <a:lnTo>
                    <a:pt x="281991" y="200876"/>
                  </a:lnTo>
                  <a:lnTo>
                    <a:pt x="281991" y="202260"/>
                  </a:lnTo>
                  <a:lnTo>
                    <a:pt x="281991" y="200876"/>
                  </a:lnTo>
                  <a:lnTo>
                    <a:pt x="281991" y="202260"/>
                  </a:lnTo>
                  <a:lnTo>
                    <a:pt x="282080" y="200876"/>
                  </a:lnTo>
                  <a:lnTo>
                    <a:pt x="282080" y="202959"/>
                  </a:lnTo>
                  <a:lnTo>
                    <a:pt x="282080" y="200876"/>
                  </a:lnTo>
                  <a:lnTo>
                    <a:pt x="282080" y="202260"/>
                  </a:lnTo>
                  <a:lnTo>
                    <a:pt x="282080" y="200876"/>
                  </a:lnTo>
                  <a:lnTo>
                    <a:pt x="282080" y="202959"/>
                  </a:lnTo>
                  <a:lnTo>
                    <a:pt x="282131" y="202959"/>
                  </a:lnTo>
                  <a:lnTo>
                    <a:pt x="282131" y="202260"/>
                  </a:lnTo>
                  <a:lnTo>
                    <a:pt x="282131" y="202959"/>
                  </a:lnTo>
                  <a:lnTo>
                    <a:pt x="282131" y="202260"/>
                  </a:lnTo>
                  <a:lnTo>
                    <a:pt x="282182" y="202260"/>
                  </a:lnTo>
                  <a:lnTo>
                    <a:pt x="282182" y="200876"/>
                  </a:lnTo>
                  <a:lnTo>
                    <a:pt x="282182" y="202260"/>
                  </a:lnTo>
                  <a:lnTo>
                    <a:pt x="282182" y="200876"/>
                  </a:lnTo>
                  <a:lnTo>
                    <a:pt x="282182" y="202260"/>
                  </a:lnTo>
                  <a:lnTo>
                    <a:pt x="282182" y="200876"/>
                  </a:lnTo>
                  <a:lnTo>
                    <a:pt x="282233" y="200876"/>
                  </a:lnTo>
                  <a:lnTo>
                    <a:pt x="282233" y="198831"/>
                  </a:lnTo>
                  <a:lnTo>
                    <a:pt x="282334" y="199530"/>
                  </a:lnTo>
                  <a:lnTo>
                    <a:pt x="282334" y="196799"/>
                  </a:lnTo>
                  <a:lnTo>
                    <a:pt x="282334" y="198831"/>
                  </a:lnTo>
                  <a:lnTo>
                    <a:pt x="282334" y="197447"/>
                  </a:lnTo>
                  <a:lnTo>
                    <a:pt x="282334" y="198831"/>
                  </a:lnTo>
                  <a:lnTo>
                    <a:pt x="282334" y="197447"/>
                  </a:lnTo>
                  <a:lnTo>
                    <a:pt x="282334" y="198831"/>
                  </a:lnTo>
                  <a:lnTo>
                    <a:pt x="282385" y="198831"/>
                  </a:lnTo>
                  <a:lnTo>
                    <a:pt x="282385" y="196799"/>
                  </a:lnTo>
                  <a:lnTo>
                    <a:pt x="282385" y="200228"/>
                  </a:lnTo>
                  <a:lnTo>
                    <a:pt x="282385" y="198831"/>
                  </a:lnTo>
                  <a:lnTo>
                    <a:pt x="282385" y="199530"/>
                  </a:lnTo>
                  <a:lnTo>
                    <a:pt x="282436" y="199530"/>
                  </a:lnTo>
                  <a:lnTo>
                    <a:pt x="282436" y="198831"/>
                  </a:lnTo>
                  <a:lnTo>
                    <a:pt x="282436" y="200228"/>
                  </a:lnTo>
                  <a:lnTo>
                    <a:pt x="282436" y="199530"/>
                  </a:lnTo>
                  <a:lnTo>
                    <a:pt x="282436" y="200228"/>
                  </a:lnTo>
                  <a:lnTo>
                    <a:pt x="282537" y="199530"/>
                  </a:lnTo>
                  <a:lnTo>
                    <a:pt x="282537" y="200876"/>
                  </a:lnTo>
                  <a:lnTo>
                    <a:pt x="282537" y="200228"/>
                  </a:lnTo>
                  <a:lnTo>
                    <a:pt x="282576" y="200228"/>
                  </a:lnTo>
                  <a:lnTo>
                    <a:pt x="282576" y="200876"/>
                  </a:lnTo>
                  <a:lnTo>
                    <a:pt x="282576" y="200228"/>
                  </a:lnTo>
                  <a:lnTo>
                    <a:pt x="282576" y="200876"/>
                  </a:lnTo>
                  <a:lnTo>
                    <a:pt x="282576" y="200228"/>
                  </a:lnTo>
                  <a:lnTo>
                    <a:pt x="282576" y="200876"/>
                  </a:lnTo>
                  <a:lnTo>
                    <a:pt x="282576" y="200228"/>
                  </a:lnTo>
                  <a:lnTo>
                    <a:pt x="282576" y="200876"/>
                  </a:lnTo>
                  <a:lnTo>
                    <a:pt x="282626" y="200228"/>
                  </a:lnTo>
                  <a:lnTo>
                    <a:pt x="282626" y="200876"/>
                  </a:lnTo>
                  <a:lnTo>
                    <a:pt x="282677" y="200876"/>
                  </a:lnTo>
                  <a:lnTo>
                    <a:pt x="282677" y="199530"/>
                  </a:lnTo>
                  <a:lnTo>
                    <a:pt x="282677" y="200228"/>
                  </a:lnTo>
                  <a:lnTo>
                    <a:pt x="282779" y="200228"/>
                  </a:lnTo>
                  <a:lnTo>
                    <a:pt x="282779" y="198831"/>
                  </a:lnTo>
                  <a:lnTo>
                    <a:pt x="282830" y="198831"/>
                  </a:lnTo>
                  <a:lnTo>
                    <a:pt x="282830" y="196799"/>
                  </a:lnTo>
                  <a:lnTo>
                    <a:pt x="282830" y="197447"/>
                  </a:lnTo>
                  <a:lnTo>
                    <a:pt x="282880" y="196799"/>
                  </a:lnTo>
                  <a:lnTo>
                    <a:pt x="282880" y="196113"/>
                  </a:lnTo>
                  <a:lnTo>
                    <a:pt x="282880" y="199530"/>
                  </a:lnTo>
                  <a:lnTo>
                    <a:pt x="282880" y="198831"/>
                  </a:lnTo>
                  <a:lnTo>
                    <a:pt x="282982" y="197447"/>
                  </a:lnTo>
                  <a:lnTo>
                    <a:pt x="282982" y="196799"/>
                  </a:lnTo>
                  <a:lnTo>
                    <a:pt x="282982" y="198831"/>
                  </a:lnTo>
                  <a:lnTo>
                    <a:pt x="283033" y="197447"/>
                  </a:lnTo>
                  <a:lnTo>
                    <a:pt x="283033" y="198831"/>
                  </a:lnTo>
                  <a:lnTo>
                    <a:pt x="283033" y="197447"/>
                  </a:lnTo>
                  <a:lnTo>
                    <a:pt x="283033" y="198831"/>
                  </a:lnTo>
                  <a:lnTo>
                    <a:pt x="283033" y="197447"/>
                  </a:lnTo>
                  <a:lnTo>
                    <a:pt x="283033" y="198831"/>
                  </a:lnTo>
                  <a:lnTo>
                    <a:pt x="283083" y="198831"/>
                  </a:lnTo>
                  <a:lnTo>
                    <a:pt x="283083" y="197447"/>
                  </a:lnTo>
                  <a:lnTo>
                    <a:pt x="283083" y="199530"/>
                  </a:lnTo>
                  <a:lnTo>
                    <a:pt x="283083" y="198831"/>
                  </a:lnTo>
                  <a:lnTo>
                    <a:pt x="283122" y="199530"/>
                  </a:lnTo>
                  <a:lnTo>
                    <a:pt x="283122" y="200228"/>
                  </a:lnTo>
                  <a:lnTo>
                    <a:pt x="283122" y="199530"/>
                  </a:lnTo>
                  <a:lnTo>
                    <a:pt x="283223" y="199530"/>
                  </a:lnTo>
                  <a:lnTo>
                    <a:pt x="283223" y="200228"/>
                  </a:lnTo>
                  <a:lnTo>
                    <a:pt x="283223" y="199530"/>
                  </a:lnTo>
                  <a:lnTo>
                    <a:pt x="283223" y="200228"/>
                  </a:lnTo>
                  <a:lnTo>
                    <a:pt x="283223" y="199530"/>
                  </a:lnTo>
                  <a:lnTo>
                    <a:pt x="283274" y="199530"/>
                  </a:lnTo>
                  <a:lnTo>
                    <a:pt x="283274" y="198831"/>
                  </a:lnTo>
                  <a:lnTo>
                    <a:pt x="283274" y="199530"/>
                  </a:lnTo>
                  <a:lnTo>
                    <a:pt x="283274" y="197447"/>
                  </a:lnTo>
                  <a:lnTo>
                    <a:pt x="283274" y="198831"/>
                  </a:lnTo>
                  <a:lnTo>
                    <a:pt x="283325" y="198831"/>
                  </a:lnTo>
                  <a:lnTo>
                    <a:pt x="283325" y="195415"/>
                  </a:lnTo>
                  <a:lnTo>
                    <a:pt x="283325" y="197447"/>
                  </a:lnTo>
                  <a:lnTo>
                    <a:pt x="283325" y="196799"/>
                  </a:lnTo>
                  <a:lnTo>
                    <a:pt x="283426" y="196799"/>
                  </a:lnTo>
                  <a:lnTo>
                    <a:pt x="283426" y="195415"/>
                  </a:lnTo>
                  <a:lnTo>
                    <a:pt x="283426" y="198831"/>
                  </a:lnTo>
                  <a:lnTo>
                    <a:pt x="283477" y="197447"/>
                  </a:lnTo>
                  <a:lnTo>
                    <a:pt x="283477" y="196799"/>
                  </a:lnTo>
                  <a:lnTo>
                    <a:pt x="283477" y="198831"/>
                  </a:lnTo>
                  <a:lnTo>
                    <a:pt x="283477" y="197447"/>
                  </a:lnTo>
                  <a:lnTo>
                    <a:pt x="283477" y="198831"/>
                  </a:lnTo>
                  <a:lnTo>
                    <a:pt x="283477" y="197447"/>
                  </a:lnTo>
                  <a:lnTo>
                    <a:pt x="283477" y="198831"/>
                  </a:lnTo>
                  <a:lnTo>
                    <a:pt x="283477" y="197447"/>
                  </a:lnTo>
                  <a:lnTo>
                    <a:pt x="283528" y="197447"/>
                  </a:lnTo>
                  <a:lnTo>
                    <a:pt x="283528" y="198831"/>
                  </a:lnTo>
                  <a:lnTo>
                    <a:pt x="283579" y="198831"/>
                  </a:lnTo>
                  <a:lnTo>
                    <a:pt x="283579" y="199530"/>
                  </a:lnTo>
                  <a:lnTo>
                    <a:pt x="283579" y="198831"/>
                  </a:lnTo>
                  <a:lnTo>
                    <a:pt x="283579" y="199530"/>
                  </a:lnTo>
                  <a:lnTo>
                    <a:pt x="283579" y="198831"/>
                  </a:lnTo>
                  <a:lnTo>
                    <a:pt x="283579" y="199530"/>
                  </a:lnTo>
                  <a:lnTo>
                    <a:pt x="283579" y="198831"/>
                  </a:lnTo>
                  <a:lnTo>
                    <a:pt x="283579" y="200228"/>
                  </a:lnTo>
                  <a:lnTo>
                    <a:pt x="283668" y="199530"/>
                  </a:lnTo>
                  <a:lnTo>
                    <a:pt x="283668" y="200228"/>
                  </a:lnTo>
                  <a:lnTo>
                    <a:pt x="283718" y="200228"/>
                  </a:lnTo>
                  <a:lnTo>
                    <a:pt x="283718" y="199530"/>
                  </a:lnTo>
                  <a:lnTo>
                    <a:pt x="283769" y="199530"/>
                  </a:lnTo>
                  <a:lnTo>
                    <a:pt x="283769" y="200228"/>
                  </a:lnTo>
                  <a:lnTo>
                    <a:pt x="283769" y="199530"/>
                  </a:lnTo>
                  <a:lnTo>
                    <a:pt x="283769" y="200228"/>
                  </a:lnTo>
                  <a:lnTo>
                    <a:pt x="283769" y="198831"/>
                  </a:lnTo>
                  <a:lnTo>
                    <a:pt x="283820" y="198831"/>
                  </a:lnTo>
                  <a:lnTo>
                    <a:pt x="283820" y="197447"/>
                  </a:lnTo>
                  <a:lnTo>
                    <a:pt x="283820" y="198831"/>
                  </a:lnTo>
                  <a:lnTo>
                    <a:pt x="283820" y="196113"/>
                  </a:lnTo>
                  <a:lnTo>
                    <a:pt x="283820" y="196799"/>
                  </a:lnTo>
                  <a:lnTo>
                    <a:pt x="283922" y="196799"/>
                  </a:lnTo>
                  <a:lnTo>
                    <a:pt x="283922" y="198831"/>
                  </a:lnTo>
                  <a:lnTo>
                    <a:pt x="283922" y="196799"/>
                  </a:lnTo>
                  <a:lnTo>
                    <a:pt x="283922" y="198831"/>
                  </a:lnTo>
                  <a:lnTo>
                    <a:pt x="283972" y="198831"/>
                  </a:lnTo>
                  <a:lnTo>
                    <a:pt x="283972" y="196799"/>
                  </a:lnTo>
                  <a:lnTo>
                    <a:pt x="283972" y="198831"/>
                  </a:lnTo>
                  <a:lnTo>
                    <a:pt x="284023" y="198831"/>
                  </a:lnTo>
                  <a:lnTo>
                    <a:pt x="284023" y="197447"/>
                  </a:lnTo>
                  <a:lnTo>
                    <a:pt x="284023" y="198831"/>
                  </a:lnTo>
                  <a:lnTo>
                    <a:pt x="284023" y="197447"/>
                  </a:lnTo>
                  <a:lnTo>
                    <a:pt x="284023" y="198831"/>
                  </a:lnTo>
                  <a:lnTo>
                    <a:pt x="284023" y="197447"/>
                  </a:lnTo>
                  <a:lnTo>
                    <a:pt x="284023" y="198831"/>
                  </a:lnTo>
                  <a:lnTo>
                    <a:pt x="284023" y="197447"/>
                  </a:lnTo>
                  <a:lnTo>
                    <a:pt x="284023" y="199530"/>
                  </a:lnTo>
                  <a:lnTo>
                    <a:pt x="284023" y="198831"/>
                  </a:lnTo>
                  <a:lnTo>
                    <a:pt x="284125" y="198831"/>
                  </a:lnTo>
                  <a:lnTo>
                    <a:pt x="284125" y="197447"/>
                  </a:lnTo>
                  <a:lnTo>
                    <a:pt x="284125" y="199530"/>
                  </a:lnTo>
                  <a:lnTo>
                    <a:pt x="284125" y="198831"/>
                  </a:lnTo>
                  <a:lnTo>
                    <a:pt x="284163" y="198831"/>
                  </a:lnTo>
                  <a:lnTo>
                    <a:pt x="284163" y="199530"/>
                  </a:lnTo>
                  <a:lnTo>
                    <a:pt x="284214" y="199530"/>
                  </a:lnTo>
                  <a:lnTo>
                    <a:pt x="284214" y="200228"/>
                  </a:lnTo>
                  <a:lnTo>
                    <a:pt x="284214" y="199530"/>
                  </a:lnTo>
                  <a:lnTo>
                    <a:pt x="284214" y="200228"/>
                  </a:lnTo>
                  <a:lnTo>
                    <a:pt x="284214" y="199530"/>
                  </a:lnTo>
                  <a:lnTo>
                    <a:pt x="284265" y="199530"/>
                  </a:lnTo>
                  <a:lnTo>
                    <a:pt x="284265" y="198831"/>
                  </a:lnTo>
                  <a:lnTo>
                    <a:pt x="284265" y="199530"/>
                  </a:lnTo>
                  <a:lnTo>
                    <a:pt x="284265" y="198831"/>
                  </a:lnTo>
                  <a:lnTo>
                    <a:pt x="284366" y="198831"/>
                  </a:lnTo>
                  <a:lnTo>
                    <a:pt x="284366" y="196113"/>
                  </a:lnTo>
                  <a:lnTo>
                    <a:pt x="284366" y="196799"/>
                  </a:lnTo>
                  <a:lnTo>
                    <a:pt x="284417" y="197447"/>
                  </a:lnTo>
                  <a:lnTo>
                    <a:pt x="284417" y="196113"/>
                  </a:lnTo>
                  <a:lnTo>
                    <a:pt x="284417" y="198831"/>
                  </a:lnTo>
                  <a:lnTo>
                    <a:pt x="284468" y="199530"/>
                  </a:lnTo>
                  <a:lnTo>
                    <a:pt x="284468" y="196799"/>
                  </a:lnTo>
                  <a:lnTo>
                    <a:pt x="284468" y="198831"/>
                  </a:lnTo>
                  <a:lnTo>
                    <a:pt x="284569" y="198831"/>
                  </a:lnTo>
                  <a:lnTo>
                    <a:pt x="284569" y="197447"/>
                  </a:lnTo>
                  <a:lnTo>
                    <a:pt x="284569" y="199530"/>
                  </a:lnTo>
                  <a:lnTo>
                    <a:pt x="284569" y="198831"/>
                  </a:lnTo>
                  <a:lnTo>
                    <a:pt x="284569" y="199530"/>
                  </a:lnTo>
                  <a:lnTo>
                    <a:pt x="284620" y="198831"/>
                  </a:lnTo>
                  <a:lnTo>
                    <a:pt x="284620" y="199530"/>
                  </a:lnTo>
                  <a:lnTo>
                    <a:pt x="284671" y="199530"/>
                  </a:lnTo>
                  <a:lnTo>
                    <a:pt x="284671" y="200228"/>
                  </a:lnTo>
                  <a:lnTo>
                    <a:pt x="284671" y="198831"/>
                  </a:lnTo>
                  <a:lnTo>
                    <a:pt x="284671" y="200228"/>
                  </a:lnTo>
                  <a:lnTo>
                    <a:pt x="284709" y="200228"/>
                  </a:lnTo>
                  <a:lnTo>
                    <a:pt x="284709" y="199530"/>
                  </a:lnTo>
                  <a:lnTo>
                    <a:pt x="284709" y="200228"/>
                  </a:lnTo>
                  <a:lnTo>
                    <a:pt x="284709" y="199530"/>
                  </a:lnTo>
                  <a:lnTo>
                    <a:pt x="284709" y="200228"/>
                  </a:lnTo>
                  <a:lnTo>
                    <a:pt x="284709" y="199530"/>
                  </a:lnTo>
                  <a:lnTo>
                    <a:pt x="284811" y="199530"/>
                  </a:lnTo>
                  <a:lnTo>
                    <a:pt x="284811" y="197447"/>
                  </a:lnTo>
                  <a:lnTo>
                    <a:pt x="284862" y="197447"/>
                  </a:lnTo>
                  <a:lnTo>
                    <a:pt x="284862" y="198831"/>
                  </a:lnTo>
                  <a:lnTo>
                    <a:pt x="284862" y="196799"/>
                  </a:lnTo>
                  <a:lnTo>
                    <a:pt x="284862" y="199530"/>
                  </a:lnTo>
                  <a:lnTo>
                    <a:pt x="284862" y="198831"/>
                  </a:lnTo>
                  <a:lnTo>
                    <a:pt x="284912" y="198831"/>
                  </a:lnTo>
                  <a:lnTo>
                    <a:pt x="284912" y="197447"/>
                  </a:lnTo>
                  <a:lnTo>
                    <a:pt x="284912" y="200228"/>
                  </a:lnTo>
                  <a:lnTo>
                    <a:pt x="284912" y="199530"/>
                  </a:lnTo>
                  <a:lnTo>
                    <a:pt x="284912" y="200228"/>
                  </a:lnTo>
                  <a:lnTo>
                    <a:pt x="284912" y="199530"/>
                  </a:lnTo>
                  <a:lnTo>
                    <a:pt x="285014" y="199530"/>
                  </a:lnTo>
                  <a:lnTo>
                    <a:pt x="285014" y="198831"/>
                  </a:lnTo>
                  <a:lnTo>
                    <a:pt x="285014" y="199530"/>
                  </a:lnTo>
                  <a:lnTo>
                    <a:pt x="285014" y="198831"/>
                  </a:lnTo>
                  <a:lnTo>
                    <a:pt x="285014" y="200228"/>
                  </a:lnTo>
                  <a:lnTo>
                    <a:pt x="285014" y="199530"/>
                  </a:lnTo>
                  <a:lnTo>
                    <a:pt x="285014" y="200228"/>
                  </a:lnTo>
                  <a:lnTo>
                    <a:pt x="285014" y="199530"/>
                  </a:lnTo>
                  <a:lnTo>
                    <a:pt x="285065" y="199530"/>
                  </a:lnTo>
                  <a:lnTo>
                    <a:pt x="285065" y="200228"/>
                  </a:lnTo>
                  <a:lnTo>
                    <a:pt x="285065" y="199530"/>
                  </a:lnTo>
                  <a:lnTo>
                    <a:pt x="285065" y="200228"/>
                  </a:lnTo>
                  <a:lnTo>
                    <a:pt x="285116" y="200228"/>
                  </a:lnTo>
                  <a:lnTo>
                    <a:pt x="285116" y="199530"/>
                  </a:lnTo>
                  <a:lnTo>
                    <a:pt x="285116" y="200228"/>
                  </a:lnTo>
                  <a:lnTo>
                    <a:pt x="285116" y="199530"/>
                  </a:lnTo>
                  <a:lnTo>
                    <a:pt x="285116" y="200228"/>
                  </a:lnTo>
                  <a:lnTo>
                    <a:pt x="285116" y="199530"/>
                  </a:lnTo>
                  <a:lnTo>
                    <a:pt x="285116" y="200228"/>
                  </a:lnTo>
                  <a:lnTo>
                    <a:pt x="285116" y="199530"/>
                  </a:lnTo>
                  <a:lnTo>
                    <a:pt x="285116" y="200228"/>
                  </a:lnTo>
                  <a:lnTo>
                    <a:pt x="285166" y="200228"/>
                  </a:lnTo>
                  <a:lnTo>
                    <a:pt x="285166" y="199530"/>
                  </a:lnTo>
                  <a:lnTo>
                    <a:pt x="285166" y="200228"/>
                  </a:lnTo>
                  <a:lnTo>
                    <a:pt x="285255" y="200228"/>
                  </a:lnTo>
                  <a:lnTo>
                    <a:pt x="285255" y="199530"/>
                  </a:lnTo>
                  <a:lnTo>
                    <a:pt x="285255" y="200228"/>
                  </a:lnTo>
                  <a:lnTo>
                    <a:pt x="285255" y="198831"/>
                  </a:lnTo>
                  <a:lnTo>
                    <a:pt x="285255" y="199530"/>
                  </a:lnTo>
                  <a:lnTo>
                    <a:pt x="285255" y="198831"/>
                  </a:lnTo>
                  <a:lnTo>
                    <a:pt x="285255" y="199530"/>
                  </a:lnTo>
                  <a:lnTo>
                    <a:pt x="285255" y="198831"/>
                  </a:lnTo>
                  <a:lnTo>
                    <a:pt x="285306" y="199530"/>
                  </a:lnTo>
                  <a:lnTo>
                    <a:pt x="285306" y="196799"/>
                  </a:lnTo>
                  <a:lnTo>
                    <a:pt x="285357" y="196799"/>
                  </a:lnTo>
                  <a:lnTo>
                    <a:pt x="285357" y="196113"/>
                  </a:lnTo>
                  <a:lnTo>
                    <a:pt x="285357" y="198831"/>
                  </a:lnTo>
                  <a:lnTo>
                    <a:pt x="285357" y="196799"/>
                  </a:lnTo>
                  <a:lnTo>
                    <a:pt x="285357" y="197447"/>
                  </a:lnTo>
                  <a:lnTo>
                    <a:pt x="285408" y="197447"/>
                  </a:lnTo>
                  <a:lnTo>
                    <a:pt x="285408" y="200876"/>
                  </a:lnTo>
                  <a:lnTo>
                    <a:pt x="285408" y="200228"/>
                  </a:lnTo>
                  <a:lnTo>
                    <a:pt x="285408" y="200876"/>
                  </a:lnTo>
                  <a:lnTo>
                    <a:pt x="285408" y="199530"/>
                  </a:lnTo>
                  <a:lnTo>
                    <a:pt x="285408" y="200876"/>
                  </a:lnTo>
                  <a:lnTo>
                    <a:pt x="285408" y="200228"/>
                  </a:lnTo>
                  <a:lnTo>
                    <a:pt x="285509" y="200876"/>
                  </a:lnTo>
                  <a:lnTo>
                    <a:pt x="285509" y="199530"/>
                  </a:lnTo>
                  <a:lnTo>
                    <a:pt x="285509" y="200876"/>
                  </a:lnTo>
                  <a:lnTo>
                    <a:pt x="285560" y="202260"/>
                  </a:lnTo>
                  <a:lnTo>
                    <a:pt x="285560" y="200876"/>
                  </a:lnTo>
                  <a:lnTo>
                    <a:pt x="285560" y="202260"/>
                  </a:lnTo>
                  <a:lnTo>
                    <a:pt x="285560" y="200876"/>
                  </a:lnTo>
                  <a:lnTo>
                    <a:pt x="285611" y="202260"/>
                  </a:lnTo>
                  <a:lnTo>
                    <a:pt x="285611" y="200228"/>
                  </a:lnTo>
                  <a:lnTo>
                    <a:pt x="285611" y="202260"/>
                  </a:lnTo>
                  <a:lnTo>
                    <a:pt x="285611" y="200876"/>
                  </a:lnTo>
                  <a:lnTo>
                    <a:pt x="285611" y="202260"/>
                  </a:lnTo>
                  <a:lnTo>
                    <a:pt x="285611" y="200876"/>
                  </a:lnTo>
                  <a:lnTo>
                    <a:pt x="285611" y="202260"/>
                  </a:lnTo>
                  <a:lnTo>
                    <a:pt x="285712" y="200876"/>
                  </a:lnTo>
                  <a:lnTo>
                    <a:pt x="285712" y="200228"/>
                  </a:lnTo>
                  <a:lnTo>
                    <a:pt x="285712" y="200876"/>
                  </a:lnTo>
                  <a:lnTo>
                    <a:pt x="285712" y="200228"/>
                  </a:lnTo>
                  <a:lnTo>
                    <a:pt x="285751" y="200228"/>
                  </a:lnTo>
                  <a:lnTo>
                    <a:pt x="285751" y="199530"/>
                  </a:lnTo>
                  <a:lnTo>
                    <a:pt x="285801" y="198831"/>
                  </a:lnTo>
                  <a:lnTo>
                    <a:pt x="285801" y="199530"/>
                  </a:lnTo>
                  <a:lnTo>
                    <a:pt x="285801" y="197447"/>
                  </a:lnTo>
                  <a:lnTo>
                    <a:pt x="285801" y="199530"/>
                  </a:lnTo>
                  <a:lnTo>
                    <a:pt x="285852" y="199530"/>
                  </a:lnTo>
                  <a:lnTo>
                    <a:pt x="285852" y="197447"/>
                  </a:lnTo>
                  <a:lnTo>
                    <a:pt x="285852" y="200228"/>
                  </a:lnTo>
                  <a:lnTo>
                    <a:pt x="285954" y="200228"/>
                  </a:lnTo>
                  <a:lnTo>
                    <a:pt x="285954" y="198831"/>
                  </a:lnTo>
                  <a:lnTo>
                    <a:pt x="285954" y="200876"/>
                  </a:lnTo>
                  <a:lnTo>
                    <a:pt x="285954" y="200228"/>
                  </a:lnTo>
                  <a:lnTo>
                    <a:pt x="286005" y="200228"/>
                  </a:lnTo>
                  <a:lnTo>
                    <a:pt x="286005" y="202260"/>
                  </a:lnTo>
                  <a:lnTo>
                    <a:pt x="286005" y="200228"/>
                  </a:lnTo>
                  <a:lnTo>
                    <a:pt x="286055" y="200228"/>
                  </a:lnTo>
                  <a:lnTo>
                    <a:pt x="286055" y="200876"/>
                  </a:lnTo>
                  <a:lnTo>
                    <a:pt x="286055" y="200228"/>
                  </a:lnTo>
                  <a:lnTo>
                    <a:pt x="286055" y="202260"/>
                  </a:lnTo>
                  <a:lnTo>
                    <a:pt x="286055" y="200876"/>
                  </a:lnTo>
                  <a:lnTo>
                    <a:pt x="286157" y="200876"/>
                  </a:lnTo>
                  <a:lnTo>
                    <a:pt x="286157" y="200228"/>
                  </a:lnTo>
                  <a:lnTo>
                    <a:pt x="286157" y="200876"/>
                  </a:lnTo>
                  <a:lnTo>
                    <a:pt x="286157" y="200228"/>
                  </a:lnTo>
                  <a:lnTo>
                    <a:pt x="286208" y="200228"/>
                  </a:lnTo>
                  <a:lnTo>
                    <a:pt x="286208" y="200876"/>
                  </a:lnTo>
                  <a:lnTo>
                    <a:pt x="286208" y="200228"/>
                  </a:lnTo>
                  <a:lnTo>
                    <a:pt x="286208" y="200876"/>
                  </a:lnTo>
                  <a:lnTo>
                    <a:pt x="286208" y="200228"/>
                  </a:lnTo>
                  <a:lnTo>
                    <a:pt x="286258" y="200228"/>
                  </a:lnTo>
                  <a:lnTo>
                    <a:pt x="286258" y="198831"/>
                  </a:lnTo>
                  <a:lnTo>
                    <a:pt x="286297" y="198831"/>
                  </a:lnTo>
                  <a:lnTo>
                    <a:pt x="286297" y="200228"/>
                  </a:lnTo>
                  <a:lnTo>
                    <a:pt x="286297" y="198831"/>
                  </a:lnTo>
                  <a:lnTo>
                    <a:pt x="286297" y="199530"/>
                  </a:lnTo>
                  <a:lnTo>
                    <a:pt x="286297" y="198831"/>
                  </a:lnTo>
                  <a:lnTo>
                    <a:pt x="286398" y="198831"/>
                  </a:lnTo>
                  <a:lnTo>
                    <a:pt x="286398" y="202260"/>
                  </a:lnTo>
                  <a:lnTo>
                    <a:pt x="286398" y="200228"/>
                  </a:lnTo>
                  <a:lnTo>
                    <a:pt x="286449" y="200228"/>
                  </a:lnTo>
                  <a:lnTo>
                    <a:pt x="286449" y="202260"/>
                  </a:lnTo>
                  <a:lnTo>
                    <a:pt x="286449" y="200876"/>
                  </a:lnTo>
                  <a:lnTo>
                    <a:pt x="286449" y="202260"/>
                  </a:lnTo>
                  <a:lnTo>
                    <a:pt x="286500" y="202260"/>
                  </a:lnTo>
                  <a:lnTo>
                    <a:pt x="286500" y="200876"/>
                  </a:lnTo>
                  <a:lnTo>
                    <a:pt x="286500" y="202959"/>
                  </a:lnTo>
                  <a:lnTo>
                    <a:pt x="286500" y="202260"/>
                  </a:lnTo>
                  <a:lnTo>
                    <a:pt x="286601" y="202260"/>
                  </a:lnTo>
                  <a:lnTo>
                    <a:pt x="286601" y="202959"/>
                  </a:lnTo>
                  <a:lnTo>
                    <a:pt x="286601" y="202260"/>
                  </a:lnTo>
                  <a:lnTo>
                    <a:pt x="286601" y="202959"/>
                  </a:lnTo>
                  <a:lnTo>
                    <a:pt x="286601" y="202260"/>
                  </a:lnTo>
                  <a:lnTo>
                    <a:pt x="286601" y="202959"/>
                  </a:lnTo>
                  <a:lnTo>
                    <a:pt x="286601" y="202260"/>
                  </a:lnTo>
                  <a:lnTo>
                    <a:pt x="286652" y="202260"/>
                  </a:lnTo>
                  <a:lnTo>
                    <a:pt x="286652" y="202959"/>
                  </a:lnTo>
                  <a:lnTo>
                    <a:pt x="286652" y="200876"/>
                  </a:lnTo>
                  <a:lnTo>
                    <a:pt x="286652" y="202260"/>
                  </a:lnTo>
                  <a:lnTo>
                    <a:pt x="286703" y="202260"/>
                  </a:lnTo>
                  <a:lnTo>
                    <a:pt x="286703" y="200228"/>
                  </a:lnTo>
                  <a:lnTo>
                    <a:pt x="286703" y="200876"/>
                  </a:lnTo>
                  <a:lnTo>
                    <a:pt x="286703" y="200228"/>
                  </a:lnTo>
                  <a:lnTo>
                    <a:pt x="286754" y="199530"/>
                  </a:lnTo>
                  <a:lnTo>
                    <a:pt x="286754" y="200228"/>
                  </a:lnTo>
                  <a:lnTo>
                    <a:pt x="286754" y="199530"/>
                  </a:lnTo>
                  <a:lnTo>
                    <a:pt x="286754" y="200876"/>
                  </a:lnTo>
                  <a:lnTo>
                    <a:pt x="286843" y="200876"/>
                  </a:lnTo>
                  <a:lnTo>
                    <a:pt x="286843" y="199530"/>
                  </a:lnTo>
                  <a:lnTo>
                    <a:pt x="286843" y="202959"/>
                  </a:lnTo>
                  <a:lnTo>
                    <a:pt x="286893" y="202959"/>
                  </a:lnTo>
                  <a:lnTo>
                    <a:pt x="286893" y="200876"/>
                  </a:lnTo>
                  <a:lnTo>
                    <a:pt x="286893" y="202959"/>
                  </a:lnTo>
                  <a:lnTo>
                    <a:pt x="286893" y="202260"/>
                  </a:lnTo>
                  <a:lnTo>
                    <a:pt x="286944" y="202260"/>
                  </a:lnTo>
                  <a:lnTo>
                    <a:pt x="286944" y="200876"/>
                  </a:lnTo>
                  <a:lnTo>
                    <a:pt x="286944" y="202260"/>
                  </a:lnTo>
                  <a:lnTo>
                    <a:pt x="286944" y="200876"/>
                  </a:lnTo>
                  <a:lnTo>
                    <a:pt x="286944" y="202959"/>
                  </a:lnTo>
                  <a:lnTo>
                    <a:pt x="286944" y="202260"/>
                  </a:lnTo>
                  <a:lnTo>
                    <a:pt x="286944" y="202959"/>
                  </a:lnTo>
                  <a:lnTo>
                    <a:pt x="286944" y="202260"/>
                  </a:lnTo>
                  <a:lnTo>
                    <a:pt x="286995" y="202260"/>
                  </a:lnTo>
                  <a:lnTo>
                    <a:pt x="286995" y="202959"/>
                  </a:lnTo>
                  <a:lnTo>
                    <a:pt x="286995" y="202260"/>
                  </a:lnTo>
                  <a:lnTo>
                    <a:pt x="286995" y="202959"/>
                  </a:lnTo>
                  <a:lnTo>
                    <a:pt x="287097" y="202260"/>
                  </a:lnTo>
                  <a:lnTo>
                    <a:pt x="287097" y="200876"/>
                  </a:lnTo>
                  <a:lnTo>
                    <a:pt x="287097" y="202260"/>
                  </a:lnTo>
                  <a:lnTo>
                    <a:pt x="287097" y="200876"/>
                  </a:lnTo>
                  <a:lnTo>
                    <a:pt x="287147" y="200876"/>
                  </a:lnTo>
                  <a:lnTo>
                    <a:pt x="287147" y="200228"/>
                  </a:lnTo>
                  <a:lnTo>
                    <a:pt x="287198" y="200228"/>
                  </a:lnTo>
                  <a:lnTo>
                    <a:pt x="287198" y="198831"/>
                  </a:lnTo>
                  <a:lnTo>
                    <a:pt x="287198" y="199530"/>
                  </a:lnTo>
                  <a:lnTo>
                    <a:pt x="287198" y="198831"/>
                  </a:lnTo>
                  <a:lnTo>
                    <a:pt x="287198" y="199530"/>
                  </a:lnTo>
                  <a:lnTo>
                    <a:pt x="287198" y="198831"/>
                  </a:lnTo>
                  <a:lnTo>
                    <a:pt x="287300" y="198831"/>
                  </a:lnTo>
                  <a:lnTo>
                    <a:pt x="287300" y="197447"/>
                  </a:lnTo>
                  <a:lnTo>
                    <a:pt x="287300" y="200228"/>
                  </a:lnTo>
                  <a:lnTo>
                    <a:pt x="287300" y="199530"/>
                  </a:lnTo>
                  <a:lnTo>
                    <a:pt x="287338" y="198831"/>
                  </a:lnTo>
                  <a:lnTo>
                    <a:pt x="287338" y="202260"/>
                  </a:lnTo>
                  <a:lnTo>
                    <a:pt x="287338" y="200228"/>
                  </a:lnTo>
                  <a:lnTo>
                    <a:pt x="287389" y="200228"/>
                  </a:lnTo>
                  <a:lnTo>
                    <a:pt x="287389" y="199530"/>
                  </a:lnTo>
                  <a:lnTo>
                    <a:pt x="287389" y="200876"/>
                  </a:lnTo>
                  <a:lnTo>
                    <a:pt x="287389" y="200228"/>
                  </a:lnTo>
                  <a:lnTo>
                    <a:pt x="287389" y="200876"/>
                  </a:lnTo>
                  <a:lnTo>
                    <a:pt x="287389" y="200228"/>
                  </a:lnTo>
                  <a:lnTo>
                    <a:pt x="287389" y="200876"/>
                  </a:lnTo>
                  <a:lnTo>
                    <a:pt x="287389" y="200228"/>
                  </a:lnTo>
                  <a:lnTo>
                    <a:pt x="287440" y="200876"/>
                  </a:lnTo>
                  <a:lnTo>
                    <a:pt x="287440" y="202260"/>
                  </a:lnTo>
                  <a:lnTo>
                    <a:pt x="287440" y="200228"/>
                  </a:lnTo>
                  <a:lnTo>
                    <a:pt x="287440" y="200876"/>
                  </a:lnTo>
                  <a:lnTo>
                    <a:pt x="287541" y="200876"/>
                  </a:lnTo>
                  <a:lnTo>
                    <a:pt x="287541" y="202959"/>
                  </a:lnTo>
                  <a:lnTo>
                    <a:pt x="287541" y="200876"/>
                  </a:lnTo>
                  <a:lnTo>
                    <a:pt x="287541" y="202260"/>
                  </a:lnTo>
                  <a:lnTo>
                    <a:pt x="287592" y="202959"/>
                  </a:lnTo>
                  <a:lnTo>
                    <a:pt x="287592" y="202260"/>
                  </a:lnTo>
                  <a:lnTo>
                    <a:pt x="287643" y="202260"/>
                  </a:lnTo>
                  <a:lnTo>
                    <a:pt x="287643" y="200876"/>
                  </a:lnTo>
                  <a:lnTo>
                    <a:pt x="287744" y="200228"/>
                  </a:lnTo>
                  <a:lnTo>
                    <a:pt x="287744" y="200876"/>
                  </a:lnTo>
                  <a:lnTo>
                    <a:pt x="287744" y="198831"/>
                  </a:lnTo>
                  <a:lnTo>
                    <a:pt x="287795" y="198831"/>
                  </a:lnTo>
                  <a:lnTo>
                    <a:pt x="287795" y="197447"/>
                  </a:lnTo>
                  <a:lnTo>
                    <a:pt x="287795" y="199530"/>
                  </a:lnTo>
                  <a:lnTo>
                    <a:pt x="287795" y="197447"/>
                  </a:lnTo>
                  <a:lnTo>
                    <a:pt x="287846" y="197447"/>
                  </a:lnTo>
                  <a:lnTo>
                    <a:pt x="287846" y="200228"/>
                  </a:lnTo>
                  <a:lnTo>
                    <a:pt x="287846" y="198831"/>
                  </a:lnTo>
                  <a:lnTo>
                    <a:pt x="287884" y="197447"/>
                  </a:lnTo>
                  <a:lnTo>
                    <a:pt x="287884" y="200228"/>
                  </a:lnTo>
                  <a:lnTo>
                    <a:pt x="287884" y="199530"/>
                  </a:lnTo>
                  <a:lnTo>
                    <a:pt x="287986" y="199530"/>
                  </a:lnTo>
                  <a:lnTo>
                    <a:pt x="287986" y="200228"/>
                  </a:lnTo>
                  <a:lnTo>
                    <a:pt x="287986" y="199530"/>
                  </a:lnTo>
                  <a:lnTo>
                    <a:pt x="287986" y="200876"/>
                  </a:lnTo>
                  <a:lnTo>
                    <a:pt x="287986" y="200228"/>
                  </a:lnTo>
                  <a:lnTo>
                    <a:pt x="288037" y="200228"/>
                  </a:lnTo>
                  <a:lnTo>
                    <a:pt x="288037" y="202260"/>
                  </a:lnTo>
                  <a:lnTo>
                    <a:pt x="288037" y="200876"/>
                  </a:lnTo>
                  <a:lnTo>
                    <a:pt x="288037" y="202260"/>
                  </a:lnTo>
                  <a:lnTo>
                    <a:pt x="288037" y="200876"/>
                  </a:lnTo>
                  <a:lnTo>
                    <a:pt x="288087" y="202260"/>
                  </a:lnTo>
                  <a:lnTo>
                    <a:pt x="288087" y="200876"/>
                  </a:lnTo>
                  <a:lnTo>
                    <a:pt x="288087" y="202260"/>
                  </a:lnTo>
                  <a:lnTo>
                    <a:pt x="288087" y="200876"/>
                  </a:lnTo>
                  <a:lnTo>
                    <a:pt x="288087" y="202260"/>
                  </a:lnTo>
                  <a:lnTo>
                    <a:pt x="288087" y="200876"/>
                  </a:lnTo>
                  <a:lnTo>
                    <a:pt x="288189" y="200876"/>
                  </a:lnTo>
                  <a:lnTo>
                    <a:pt x="288189" y="200228"/>
                  </a:lnTo>
                  <a:lnTo>
                    <a:pt x="288240" y="200228"/>
                  </a:lnTo>
                  <a:lnTo>
                    <a:pt x="288240" y="197447"/>
                  </a:lnTo>
                  <a:lnTo>
                    <a:pt x="288291" y="197447"/>
                  </a:lnTo>
                  <a:lnTo>
                    <a:pt x="288291" y="196113"/>
                  </a:lnTo>
                  <a:lnTo>
                    <a:pt x="288291" y="198831"/>
                  </a:lnTo>
                  <a:lnTo>
                    <a:pt x="288291" y="197447"/>
                  </a:lnTo>
                  <a:lnTo>
                    <a:pt x="288341" y="196799"/>
                  </a:lnTo>
                  <a:lnTo>
                    <a:pt x="288341" y="195415"/>
                  </a:lnTo>
                  <a:lnTo>
                    <a:pt x="288341" y="198831"/>
                  </a:lnTo>
                  <a:lnTo>
                    <a:pt x="288341" y="197447"/>
                  </a:lnTo>
                  <a:lnTo>
                    <a:pt x="288430" y="197447"/>
                  </a:lnTo>
                  <a:lnTo>
                    <a:pt x="288430" y="196799"/>
                  </a:lnTo>
                  <a:lnTo>
                    <a:pt x="288430" y="199530"/>
                  </a:lnTo>
                  <a:lnTo>
                    <a:pt x="288430" y="198831"/>
                  </a:lnTo>
                  <a:lnTo>
                    <a:pt x="288481" y="198831"/>
                  </a:lnTo>
                  <a:lnTo>
                    <a:pt x="288481" y="199530"/>
                  </a:lnTo>
                  <a:lnTo>
                    <a:pt x="288481" y="198831"/>
                  </a:lnTo>
                  <a:lnTo>
                    <a:pt x="288481" y="199530"/>
                  </a:lnTo>
                  <a:lnTo>
                    <a:pt x="288481" y="198831"/>
                  </a:lnTo>
                  <a:lnTo>
                    <a:pt x="288532" y="199530"/>
                  </a:lnTo>
                  <a:lnTo>
                    <a:pt x="288532" y="200228"/>
                  </a:lnTo>
                  <a:lnTo>
                    <a:pt x="288532" y="199530"/>
                  </a:lnTo>
                  <a:lnTo>
                    <a:pt x="288532" y="200876"/>
                  </a:lnTo>
                  <a:lnTo>
                    <a:pt x="288532" y="200228"/>
                  </a:lnTo>
                  <a:lnTo>
                    <a:pt x="288583" y="200228"/>
                  </a:lnTo>
                  <a:lnTo>
                    <a:pt x="288583" y="200876"/>
                  </a:lnTo>
                  <a:lnTo>
                    <a:pt x="288583" y="200228"/>
                  </a:lnTo>
                  <a:lnTo>
                    <a:pt x="288583" y="200876"/>
                  </a:lnTo>
                  <a:lnTo>
                    <a:pt x="288583" y="200228"/>
                  </a:lnTo>
                  <a:lnTo>
                    <a:pt x="288684" y="200876"/>
                  </a:lnTo>
                  <a:lnTo>
                    <a:pt x="288684" y="200228"/>
                  </a:lnTo>
                  <a:lnTo>
                    <a:pt x="288684" y="200876"/>
                  </a:lnTo>
                  <a:lnTo>
                    <a:pt x="288684" y="200228"/>
                  </a:lnTo>
                  <a:lnTo>
                    <a:pt x="288735" y="200228"/>
                  </a:lnTo>
                  <a:lnTo>
                    <a:pt x="288735" y="199530"/>
                  </a:lnTo>
                  <a:lnTo>
                    <a:pt x="288735" y="200228"/>
                  </a:lnTo>
                  <a:lnTo>
                    <a:pt x="288735" y="197447"/>
                  </a:lnTo>
                  <a:lnTo>
                    <a:pt x="288786" y="197447"/>
                  </a:lnTo>
                  <a:lnTo>
                    <a:pt x="288786" y="198831"/>
                  </a:lnTo>
                  <a:lnTo>
                    <a:pt x="288786" y="196799"/>
                  </a:lnTo>
                  <a:lnTo>
                    <a:pt x="288786" y="197447"/>
                  </a:lnTo>
                  <a:lnTo>
                    <a:pt x="288887" y="197447"/>
                  </a:lnTo>
                  <a:lnTo>
                    <a:pt x="288887" y="196113"/>
                  </a:lnTo>
                  <a:lnTo>
                    <a:pt x="288887" y="198831"/>
                  </a:lnTo>
                  <a:lnTo>
                    <a:pt x="288887" y="197447"/>
                  </a:lnTo>
                  <a:lnTo>
                    <a:pt x="288926" y="196799"/>
                  </a:lnTo>
                  <a:lnTo>
                    <a:pt x="288926" y="197447"/>
                  </a:lnTo>
                  <a:lnTo>
                    <a:pt x="288926" y="196799"/>
                  </a:lnTo>
                  <a:lnTo>
                    <a:pt x="288926" y="198831"/>
                  </a:lnTo>
                  <a:lnTo>
                    <a:pt x="288926" y="197447"/>
                  </a:lnTo>
                  <a:lnTo>
                    <a:pt x="288926" y="198831"/>
                  </a:lnTo>
                  <a:lnTo>
                    <a:pt x="288926" y="197447"/>
                  </a:lnTo>
                  <a:lnTo>
                    <a:pt x="288926" y="198831"/>
                  </a:lnTo>
                  <a:lnTo>
                    <a:pt x="288926" y="197447"/>
                  </a:lnTo>
                  <a:lnTo>
                    <a:pt x="288976" y="197447"/>
                  </a:lnTo>
                  <a:lnTo>
                    <a:pt x="288976" y="196799"/>
                  </a:lnTo>
                  <a:lnTo>
                    <a:pt x="288976" y="198831"/>
                  </a:lnTo>
                  <a:lnTo>
                    <a:pt x="288976" y="197447"/>
                  </a:lnTo>
                  <a:lnTo>
                    <a:pt x="288976" y="198831"/>
                  </a:lnTo>
                  <a:lnTo>
                    <a:pt x="289027" y="198831"/>
                  </a:lnTo>
                  <a:lnTo>
                    <a:pt x="289027" y="199530"/>
                  </a:lnTo>
                  <a:lnTo>
                    <a:pt x="289129" y="199530"/>
                  </a:lnTo>
                  <a:lnTo>
                    <a:pt x="289129" y="200228"/>
                  </a:lnTo>
                  <a:lnTo>
                    <a:pt x="289129" y="199530"/>
                  </a:lnTo>
                  <a:lnTo>
                    <a:pt x="289129" y="200228"/>
                  </a:lnTo>
                  <a:lnTo>
                    <a:pt x="289129" y="199530"/>
                  </a:lnTo>
                  <a:lnTo>
                    <a:pt x="289180" y="199530"/>
                  </a:lnTo>
                  <a:lnTo>
                    <a:pt x="289180" y="200228"/>
                  </a:lnTo>
                  <a:lnTo>
                    <a:pt x="289180" y="199530"/>
                  </a:lnTo>
                  <a:lnTo>
                    <a:pt x="289180" y="200228"/>
                  </a:lnTo>
                  <a:lnTo>
                    <a:pt x="289180" y="199530"/>
                  </a:lnTo>
                  <a:lnTo>
                    <a:pt x="289180" y="200228"/>
                  </a:lnTo>
                  <a:lnTo>
                    <a:pt x="289230" y="200228"/>
                  </a:lnTo>
                  <a:lnTo>
                    <a:pt x="289230" y="197447"/>
                  </a:lnTo>
                  <a:lnTo>
                    <a:pt x="289332" y="198831"/>
                  </a:lnTo>
                  <a:lnTo>
                    <a:pt x="289332" y="199530"/>
                  </a:lnTo>
                  <a:lnTo>
                    <a:pt x="289332" y="198831"/>
                  </a:lnTo>
                  <a:lnTo>
                    <a:pt x="289332" y="199530"/>
                  </a:lnTo>
                  <a:lnTo>
                    <a:pt x="289332" y="197447"/>
                  </a:lnTo>
                  <a:lnTo>
                    <a:pt x="289332" y="200228"/>
                  </a:lnTo>
                  <a:lnTo>
                    <a:pt x="289383" y="200228"/>
                  </a:lnTo>
                  <a:lnTo>
                    <a:pt x="289383" y="200876"/>
                  </a:lnTo>
                  <a:lnTo>
                    <a:pt x="289383" y="199530"/>
                  </a:lnTo>
                  <a:lnTo>
                    <a:pt x="289383" y="200228"/>
                  </a:lnTo>
                  <a:lnTo>
                    <a:pt x="289433" y="200876"/>
                  </a:lnTo>
                  <a:lnTo>
                    <a:pt x="289433" y="199530"/>
                  </a:lnTo>
                  <a:lnTo>
                    <a:pt x="289433" y="200228"/>
                  </a:lnTo>
                  <a:lnTo>
                    <a:pt x="289433" y="199530"/>
                  </a:lnTo>
                  <a:lnTo>
                    <a:pt x="289433" y="200228"/>
                  </a:lnTo>
                  <a:lnTo>
                    <a:pt x="289472" y="200228"/>
                  </a:lnTo>
                  <a:lnTo>
                    <a:pt x="289472" y="199530"/>
                  </a:lnTo>
                  <a:lnTo>
                    <a:pt x="289472" y="200228"/>
                  </a:lnTo>
                  <a:lnTo>
                    <a:pt x="289472" y="199530"/>
                  </a:lnTo>
                  <a:lnTo>
                    <a:pt x="289472" y="200228"/>
                  </a:lnTo>
                  <a:lnTo>
                    <a:pt x="289472" y="199530"/>
                  </a:lnTo>
                  <a:lnTo>
                    <a:pt x="289472" y="200228"/>
                  </a:lnTo>
                  <a:lnTo>
                    <a:pt x="289472" y="199530"/>
                  </a:lnTo>
                  <a:lnTo>
                    <a:pt x="289573" y="199530"/>
                  </a:lnTo>
                  <a:lnTo>
                    <a:pt x="289573" y="200876"/>
                  </a:lnTo>
                  <a:lnTo>
                    <a:pt x="289573" y="200228"/>
                  </a:lnTo>
                  <a:lnTo>
                    <a:pt x="289624" y="200228"/>
                  </a:lnTo>
                  <a:lnTo>
                    <a:pt x="289624" y="200876"/>
                  </a:lnTo>
                  <a:lnTo>
                    <a:pt x="289624" y="200228"/>
                  </a:lnTo>
                  <a:lnTo>
                    <a:pt x="289624" y="200876"/>
                  </a:lnTo>
                  <a:lnTo>
                    <a:pt x="289624" y="200228"/>
                  </a:lnTo>
                  <a:lnTo>
                    <a:pt x="289675" y="200228"/>
                  </a:lnTo>
                  <a:lnTo>
                    <a:pt x="289675" y="199530"/>
                  </a:lnTo>
                  <a:lnTo>
                    <a:pt x="289776" y="199530"/>
                  </a:lnTo>
                  <a:lnTo>
                    <a:pt x="289776" y="197447"/>
                  </a:lnTo>
                  <a:lnTo>
                    <a:pt x="289776" y="199530"/>
                  </a:lnTo>
                  <a:lnTo>
                    <a:pt x="289827" y="199530"/>
                  </a:lnTo>
                  <a:lnTo>
                    <a:pt x="289827" y="200228"/>
                  </a:lnTo>
                  <a:lnTo>
                    <a:pt x="289827" y="198831"/>
                  </a:lnTo>
                  <a:lnTo>
                    <a:pt x="289827" y="202260"/>
                  </a:lnTo>
                  <a:lnTo>
                    <a:pt x="289827" y="200876"/>
                  </a:lnTo>
                  <a:lnTo>
                    <a:pt x="289878" y="200876"/>
                  </a:lnTo>
                  <a:lnTo>
                    <a:pt x="289878" y="200228"/>
                  </a:lnTo>
                  <a:lnTo>
                    <a:pt x="289878" y="202260"/>
                  </a:lnTo>
                  <a:lnTo>
                    <a:pt x="289878" y="200876"/>
                  </a:lnTo>
                  <a:lnTo>
                    <a:pt x="289929" y="200876"/>
                  </a:lnTo>
                  <a:lnTo>
                    <a:pt x="289929" y="200228"/>
                  </a:lnTo>
                  <a:lnTo>
                    <a:pt x="289929" y="200876"/>
                  </a:lnTo>
                  <a:lnTo>
                    <a:pt x="289929" y="200228"/>
                  </a:lnTo>
                  <a:lnTo>
                    <a:pt x="289929" y="202260"/>
                  </a:lnTo>
                  <a:lnTo>
                    <a:pt x="289929" y="200876"/>
                  </a:lnTo>
                  <a:lnTo>
                    <a:pt x="290018" y="200876"/>
                  </a:lnTo>
                  <a:lnTo>
                    <a:pt x="290018" y="202260"/>
                  </a:lnTo>
                  <a:lnTo>
                    <a:pt x="290018" y="200876"/>
                  </a:lnTo>
                  <a:lnTo>
                    <a:pt x="290018" y="202260"/>
                  </a:lnTo>
                  <a:lnTo>
                    <a:pt x="290018" y="200876"/>
                  </a:lnTo>
                  <a:lnTo>
                    <a:pt x="290068" y="200876"/>
                  </a:lnTo>
                  <a:lnTo>
                    <a:pt x="290068" y="200228"/>
                  </a:lnTo>
                  <a:lnTo>
                    <a:pt x="290068" y="202260"/>
                  </a:lnTo>
                  <a:lnTo>
                    <a:pt x="290068" y="200876"/>
                  </a:lnTo>
                  <a:lnTo>
                    <a:pt x="290119" y="200876"/>
                  </a:lnTo>
                  <a:lnTo>
                    <a:pt x="290119" y="200228"/>
                  </a:lnTo>
                  <a:lnTo>
                    <a:pt x="290119" y="200876"/>
                  </a:lnTo>
                  <a:lnTo>
                    <a:pt x="290119" y="200228"/>
                  </a:lnTo>
                  <a:lnTo>
                    <a:pt x="290119" y="200876"/>
                  </a:lnTo>
                  <a:lnTo>
                    <a:pt x="290119" y="199530"/>
                  </a:lnTo>
                  <a:lnTo>
                    <a:pt x="290170" y="200228"/>
                  </a:lnTo>
                  <a:lnTo>
                    <a:pt x="290170" y="197447"/>
                  </a:lnTo>
                  <a:lnTo>
                    <a:pt x="290272" y="197447"/>
                  </a:lnTo>
                  <a:lnTo>
                    <a:pt x="290272" y="196799"/>
                  </a:lnTo>
                  <a:lnTo>
                    <a:pt x="290272" y="198831"/>
                  </a:lnTo>
                  <a:lnTo>
                    <a:pt x="290272" y="197447"/>
                  </a:lnTo>
                  <a:lnTo>
                    <a:pt x="290322" y="197447"/>
                  </a:lnTo>
                  <a:lnTo>
                    <a:pt x="290322" y="200228"/>
                  </a:lnTo>
                  <a:lnTo>
                    <a:pt x="290322" y="199530"/>
                  </a:lnTo>
                  <a:lnTo>
                    <a:pt x="290322" y="200228"/>
                  </a:lnTo>
                  <a:lnTo>
                    <a:pt x="290373" y="199530"/>
                  </a:lnTo>
                  <a:lnTo>
                    <a:pt x="290373" y="198831"/>
                  </a:lnTo>
                  <a:lnTo>
                    <a:pt x="290373" y="200228"/>
                  </a:lnTo>
                  <a:lnTo>
                    <a:pt x="290475" y="199530"/>
                  </a:lnTo>
                  <a:lnTo>
                    <a:pt x="290475" y="200228"/>
                  </a:lnTo>
                  <a:lnTo>
                    <a:pt x="290475" y="199530"/>
                  </a:lnTo>
                  <a:lnTo>
                    <a:pt x="290475" y="200876"/>
                  </a:lnTo>
                  <a:lnTo>
                    <a:pt x="290475" y="200228"/>
                  </a:lnTo>
                  <a:lnTo>
                    <a:pt x="290513" y="200228"/>
                  </a:lnTo>
                  <a:lnTo>
                    <a:pt x="290513" y="200876"/>
                  </a:lnTo>
                  <a:lnTo>
                    <a:pt x="290513" y="200228"/>
                  </a:lnTo>
                  <a:lnTo>
                    <a:pt x="290513" y="200876"/>
                  </a:lnTo>
                  <a:lnTo>
                    <a:pt x="290513" y="200228"/>
                  </a:lnTo>
                  <a:lnTo>
                    <a:pt x="290564" y="200876"/>
                  </a:lnTo>
                  <a:lnTo>
                    <a:pt x="290564" y="202260"/>
                  </a:lnTo>
                  <a:lnTo>
                    <a:pt x="290564" y="200876"/>
                  </a:lnTo>
                  <a:lnTo>
                    <a:pt x="290564" y="202260"/>
                  </a:lnTo>
                  <a:lnTo>
                    <a:pt x="290564" y="200876"/>
                  </a:lnTo>
                  <a:lnTo>
                    <a:pt x="290564" y="202260"/>
                  </a:lnTo>
                  <a:lnTo>
                    <a:pt x="290615" y="200876"/>
                  </a:lnTo>
                  <a:lnTo>
                    <a:pt x="290615" y="200228"/>
                  </a:lnTo>
                  <a:lnTo>
                    <a:pt x="290615" y="200876"/>
                  </a:lnTo>
                  <a:lnTo>
                    <a:pt x="290615" y="200228"/>
                  </a:lnTo>
                  <a:lnTo>
                    <a:pt x="290716" y="200228"/>
                  </a:lnTo>
                  <a:lnTo>
                    <a:pt x="290716" y="198831"/>
                  </a:lnTo>
                  <a:lnTo>
                    <a:pt x="290716" y="199530"/>
                  </a:lnTo>
                  <a:lnTo>
                    <a:pt x="290716" y="197447"/>
                  </a:lnTo>
                  <a:lnTo>
                    <a:pt x="290767" y="197447"/>
                  </a:lnTo>
                  <a:lnTo>
                    <a:pt x="290767" y="200228"/>
                  </a:lnTo>
                  <a:lnTo>
                    <a:pt x="290767" y="197447"/>
                  </a:lnTo>
                  <a:lnTo>
                    <a:pt x="290818" y="197447"/>
                  </a:lnTo>
                  <a:lnTo>
                    <a:pt x="290818" y="202260"/>
                  </a:lnTo>
                  <a:lnTo>
                    <a:pt x="290818" y="200876"/>
                  </a:lnTo>
                  <a:lnTo>
                    <a:pt x="290818" y="202260"/>
                  </a:lnTo>
                  <a:lnTo>
                    <a:pt x="290818" y="199530"/>
                  </a:lnTo>
                  <a:lnTo>
                    <a:pt x="290919" y="200228"/>
                  </a:lnTo>
                  <a:lnTo>
                    <a:pt x="290919" y="200876"/>
                  </a:lnTo>
                  <a:lnTo>
                    <a:pt x="290919" y="200228"/>
                  </a:lnTo>
                  <a:lnTo>
                    <a:pt x="290919" y="200876"/>
                  </a:lnTo>
                  <a:lnTo>
                    <a:pt x="290919" y="199530"/>
                  </a:lnTo>
                  <a:lnTo>
                    <a:pt x="290919" y="200228"/>
                  </a:lnTo>
                  <a:lnTo>
                    <a:pt x="290970" y="200228"/>
                  </a:lnTo>
                  <a:lnTo>
                    <a:pt x="290970" y="200876"/>
                  </a:lnTo>
                  <a:lnTo>
                    <a:pt x="290970" y="200228"/>
                  </a:lnTo>
                  <a:lnTo>
                    <a:pt x="290970" y="200876"/>
                  </a:lnTo>
                  <a:lnTo>
                    <a:pt x="290970" y="200228"/>
                  </a:lnTo>
                  <a:lnTo>
                    <a:pt x="290970" y="200876"/>
                  </a:lnTo>
                  <a:lnTo>
                    <a:pt x="290970" y="200228"/>
                  </a:lnTo>
                  <a:lnTo>
                    <a:pt x="290970" y="200876"/>
                  </a:lnTo>
                  <a:lnTo>
                    <a:pt x="291021" y="200876"/>
                  </a:lnTo>
                  <a:lnTo>
                    <a:pt x="291021" y="202260"/>
                  </a:lnTo>
                  <a:lnTo>
                    <a:pt x="291059" y="202260"/>
                  </a:lnTo>
                  <a:lnTo>
                    <a:pt x="291059" y="200876"/>
                  </a:lnTo>
                  <a:lnTo>
                    <a:pt x="291059" y="202260"/>
                  </a:lnTo>
                  <a:lnTo>
                    <a:pt x="291059" y="200876"/>
                  </a:lnTo>
                  <a:lnTo>
                    <a:pt x="291059" y="202260"/>
                  </a:lnTo>
                  <a:lnTo>
                    <a:pt x="291059" y="200876"/>
                  </a:lnTo>
                  <a:lnTo>
                    <a:pt x="291161" y="200876"/>
                  </a:lnTo>
                  <a:lnTo>
                    <a:pt x="291161" y="200228"/>
                  </a:lnTo>
                  <a:lnTo>
                    <a:pt x="291161" y="200876"/>
                  </a:lnTo>
                  <a:lnTo>
                    <a:pt x="291161" y="199530"/>
                  </a:lnTo>
                  <a:lnTo>
                    <a:pt x="291212" y="199530"/>
                  </a:lnTo>
                  <a:lnTo>
                    <a:pt x="291212" y="196799"/>
                  </a:lnTo>
                  <a:lnTo>
                    <a:pt x="291212" y="197447"/>
                  </a:lnTo>
                  <a:lnTo>
                    <a:pt x="291212" y="196799"/>
                  </a:lnTo>
                  <a:lnTo>
                    <a:pt x="291212" y="197447"/>
                  </a:lnTo>
                  <a:lnTo>
                    <a:pt x="291212" y="196799"/>
                  </a:lnTo>
                  <a:lnTo>
                    <a:pt x="291262" y="196113"/>
                  </a:lnTo>
                  <a:lnTo>
                    <a:pt x="291262" y="198831"/>
                  </a:lnTo>
                  <a:lnTo>
                    <a:pt x="291262" y="196799"/>
                  </a:lnTo>
                  <a:lnTo>
                    <a:pt x="291262" y="198831"/>
                  </a:lnTo>
                  <a:lnTo>
                    <a:pt x="291364" y="198831"/>
                  </a:lnTo>
                  <a:lnTo>
                    <a:pt x="291364" y="200228"/>
                  </a:lnTo>
                  <a:lnTo>
                    <a:pt x="291364" y="198831"/>
                  </a:lnTo>
                  <a:lnTo>
                    <a:pt x="291364" y="199530"/>
                  </a:lnTo>
                  <a:lnTo>
                    <a:pt x="291415" y="199530"/>
                  </a:lnTo>
                  <a:lnTo>
                    <a:pt x="291415" y="200228"/>
                  </a:lnTo>
                  <a:lnTo>
                    <a:pt x="291415" y="198831"/>
                  </a:lnTo>
                  <a:lnTo>
                    <a:pt x="291415" y="200228"/>
                  </a:lnTo>
                  <a:lnTo>
                    <a:pt x="291415" y="199530"/>
                  </a:lnTo>
                  <a:lnTo>
                    <a:pt x="291415" y="200228"/>
                  </a:lnTo>
                  <a:lnTo>
                    <a:pt x="291466" y="199530"/>
                  </a:lnTo>
                  <a:lnTo>
                    <a:pt x="291466" y="200228"/>
                  </a:lnTo>
                  <a:lnTo>
                    <a:pt x="291516" y="200228"/>
                  </a:lnTo>
                  <a:lnTo>
                    <a:pt x="291516" y="200876"/>
                  </a:lnTo>
                  <a:lnTo>
                    <a:pt x="291516" y="200228"/>
                  </a:lnTo>
                  <a:lnTo>
                    <a:pt x="291516" y="200876"/>
                  </a:lnTo>
                  <a:lnTo>
                    <a:pt x="291605" y="200876"/>
                  </a:lnTo>
                  <a:lnTo>
                    <a:pt x="291605" y="202260"/>
                  </a:lnTo>
                  <a:lnTo>
                    <a:pt x="291605" y="200876"/>
                  </a:lnTo>
                  <a:lnTo>
                    <a:pt x="291605" y="202260"/>
                  </a:lnTo>
                  <a:lnTo>
                    <a:pt x="291605" y="200876"/>
                  </a:lnTo>
                  <a:lnTo>
                    <a:pt x="291656" y="200876"/>
                  </a:lnTo>
                  <a:lnTo>
                    <a:pt x="291656" y="199530"/>
                  </a:lnTo>
                  <a:lnTo>
                    <a:pt x="291656" y="200228"/>
                  </a:lnTo>
                  <a:lnTo>
                    <a:pt x="291656" y="199530"/>
                  </a:lnTo>
                  <a:lnTo>
                    <a:pt x="291707" y="199530"/>
                  </a:lnTo>
                  <a:lnTo>
                    <a:pt x="291707" y="196799"/>
                  </a:lnTo>
                  <a:lnTo>
                    <a:pt x="291707" y="197447"/>
                  </a:lnTo>
                  <a:lnTo>
                    <a:pt x="291758" y="197447"/>
                  </a:lnTo>
                  <a:lnTo>
                    <a:pt x="291758" y="196799"/>
                  </a:lnTo>
                  <a:lnTo>
                    <a:pt x="291758" y="197447"/>
                  </a:lnTo>
                  <a:lnTo>
                    <a:pt x="291758" y="196799"/>
                  </a:lnTo>
                  <a:lnTo>
                    <a:pt x="291758" y="197447"/>
                  </a:lnTo>
                  <a:lnTo>
                    <a:pt x="291758" y="196113"/>
                  </a:lnTo>
                  <a:lnTo>
                    <a:pt x="291859" y="196113"/>
                  </a:lnTo>
                  <a:lnTo>
                    <a:pt x="291859" y="199530"/>
                  </a:lnTo>
                  <a:lnTo>
                    <a:pt x="291859" y="196799"/>
                  </a:lnTo>
                  <a:lnTo>
                    <a:pt x="291910" y="197447"/>
                  </a:lnTo>
                  <a:lnTo>
                    <a:pt x="291910" y="198831"/>
                  </a:lnTo>
                  <a:lnTo>
                    <a:pt x="291910" y="197447"/>
                  </a:lnTo>
                  <a:lnTo>
                    <a:pt x="291910" y="198831"/>
                  </a:lnTo>
                  <a:lnTo>
                    <a:pt x="291910" y="197447"/>
                  </a:lnTo>
                  <a:lnTo>
                    <a:pt x="291961" y="197447"/>
                  </a:lnTo>
                  <a:lnTo>
                    <a:pt x="291961" y="199530"/>
                  </a:lnTo>
                  <a:lnTo>
                    <a:pt x="292062" y="199530"/>
                  </a:lnTo>
                  <a:lnTo>
                    <a:pt x="292062" y="200228"/>
                  </a:lnTo>
                  <a:lnTo>
                    <a:pt x="292062" y="199530"/>
                  </a:lnTo>
                  <a:lnTo>
                    <a:pt x="292062" y="200228"/>
                  </a:lnTo>
                  <a:lnTo>
                    <a:pt x="292101" y="200228"/>
                  </a:lnTo>
                  <a:lnTo>
                    <a:pt x="292101" y="200876"/>
                  </a:lnTo>
                  <a:lnTo>
                    <a:pt x="292101" y="200228"/>
                  </a:lnTo>
                  <a:lnTo>
                    <a:pt x="292101" y="200876"/>
                  </a:lnTo>
                  <a:lnTo>
                    <a:pt x="292101" y="200228"/>
                  </a:lnTo>
                  <a:lnTo>
                    <a:pt x="292101" y="200876"/>
                  </a:lnTo>
                  <a:lnTo>
                    <a:pt x="292101" y="199530"/>
                  </a:lnTo>
                  <a:lnTo>
                    <a:pt x="292151" y="200228"/>
                  </a:lnTo>
                  <a:lnTo>
                    <a:pt x="292151" y="199530"/>
                  </a:lnTo>
                  <a:lnTo>
                    <a:pt x="292151" y="200228"/>
                  </a:lnTo>
                  <a:lnTo>
                    <a:pt x="292151" y="198831"/>
                  </a:lnTo>
                  <a:lnTo>
                    <a:pt x="292151" y="199530"/>
                  </a:lnTo>
                  <a:lnTo>
                    <a:pt x="292202" y="199530"/>
                  </a:lnTo>
                  <a:lnTo>
                    <a:pt x="292202" y="196799"/>
                  </a:lnTo>
                  <a:lnTo>
                    <a:pt x="292304" y="197447"/>
                  </a:lnTo>
                  <a:lnTo>
                    <a:pt x="292304" y="196799"/>
                  </a:lnTo>
                  <a:lnTo>
                    <a:pt x="292304" y="199530"/>
                  </a:lnTo>
                  <a:lnTo>
                    <a:pt x="292304" y="196799"/>
                  </a:lnTo>
                  <a:lnTo>
                    <a:pt x="292304" y="197447"/>
                  </a:lnTo>
                  <a:lnTo>
                    <a:pt x="292304" y="196799"/>
                  </a:lnTo>
                  <a:lnTo>
                    <a:pt x="292355" y="197447"/>
                  </a:lnTo>
                  <a:lnTo>
                    <a:pt x="292355" y="200228"/>
                  </a:lnTo>
                  <a:lnTo>
                    <a:pt x="292355" y="197447"/>
                  </a:lnTo>
                  <a:lnTo>
                    <a:pt x="292405" y="198831"/>
                  </a:lnTo>
                  <a:lnTo>
                    <a:pt x="292405" y="199530"/>
                  </a:lnTo>
                  <a:lnTo>
                    <a:pt x="292405" y="197447"/>
                  </a:lnTo>
                  <a:lnTo>
                    <a:pt x="292405" y="198831"/>
                  </a:lnTo>
                  <a:lnTo>
                    <a:pt x="292507" y="199530"/>
                  </a:lnTo>
                  <a:lnTo>
                    <a:pt x="292507" y="200228"/>
                  </a:lnTo>
                  <a:lnTo>
                    <a:pt x="292507" y="199530"/>
                  </a:lnTo>
                  <a:lnTo>
                    <a:pt x="292507" y="200228"/>
                  </a:lnTo>
                  <a:lnTo>
                    <a:pt x="292507" y="199530"/>
                  </a:lnTo>
                  <a:lnTo>
                    <a:pt x="292558" y="199530"/>
                  </a:lnTo>
                  <a:lnTo>
                    <a:pt x="292558" y="200228"/>
                  </a:lnTo>
                  <a:lnTo>
                    <a:pt x="292558" y="199530"/>
                  </a:lnTo>
                  <a:lnTo>
                    <a:pt x="292558" y="200228"/>
                  </a:lnTo>
                  <a:lnTo>
                    <a:pt x="292608" y="200228"/>
                  </a:lnTo>
                  <a:lnTo>
                    <a:pt x="292608" y="200876"/>
                  </a:lnTo>
                  <a:lnTo>
                    <a:pt x="292608" y="200228"/>
                  </a:lnTo>
                  <a:lnTo>
                    <a:pt x="292608" y="202260"/>
                  </a:lnTo>
                  <a:lnTo>
                    <a:pt x="292608" y="200228"/>
                  </a:lnTo>
                  <a:lnTo>
                    <a:pt x="292608" y="200876"/>
                  </a:lnTo>
                  <a:lnTo>
                    <a:pt x="292647" y="200876"/>
                  </a:lnTo>
                  <a:lnTo>
                    <a:pt x="292647" y="200228"/>
                  </a:lnTo>
                  <a:lnTo>
                    <a:pt x="292647" y="200876"/>
                  </a:lnTo>
                  <a:lnTo>
                    <a:pt x="292647" y="199530"/>
                  </a:lnTo>
                  <a:lnTo>
                    <a:pt x="292748" y="200228"/>
                  </a:lnTo>
                  <a:lnTo>
                    <a:pt x="292748" y="197447"/>
                  </a:lnTo>
                  <a:lnTo>
                    <a:pt x="292799" y="197447"/>
                  </a:lnTo>
                  <a:lnTo>
                    <a:pt x="292799" y="196799"/>
                  </a:lnTo>
                  <a:lnTo>
                    <a:pt x="292799" y="198831"/>
                  </a:lnTo>
                  <a:lnTo>
                    <a:pt x="292799" y="196799"/>
                  </a:lnTo>
                  <a:lnTo>
                    <a:pt x="292850" y="196799"/>
                  </a:lnTo>
                  <a:lnTo>
                    <a:pt x="292850" y="199530"/>
                  </a:lnTo>
                  <a:lnTo>
                    <a:pt x="292850" y="198831"/>
                  </a:lnTo>
                  <a:lnTo>
                    <a:pt x="292850" y="199530"/>
                  </a:lnTo>
                  <a:lnTo>
                    <a:pt x="292850" y="197447"/>
                  </a:lnTo>
                  <a:lnTo>
                    <a:pt x="292850" y="198831"/>
                  </a:lnTo>
                  <a:lnTo>
                    <a:pt x="292850" y="197447"/>
                  </a:lnTo>
                  <a:lnTo>
                    <a:pt x="292951" y="197447"/>
                  </a:lnTo>
                  <a:lnTo>
                    <a:pt x="292951" y="199530"/>
                  </a:lnTo>
                  <a:lnTo>
                    <a:pt x="292951" y="198831"/>
                  </a:lnTo>
                  <a:lnTo>
                    <a:pt x="293002" y="198831"/>
                  </a:lnTo>
                  <a:lnTo>
                    <a:pt x="293002" y="199530"/>
                  </a:lnTo>
                  <a:lnTo>
                    <a:pt x="293002" y="198831"/>
                  </a:lnTo>
                  <a:lnTo>
                    <a:pt x="293002" y="199530"/>
                  </a:lnTo>
                  <a:lnTo>
                    <a:pt x="293053" y="199530"/>
                  </a:lnTo>
                  <a:lnTo>
                    <a:pt x="293053" y="200228"/>
                  </a:lnTo>
                  <a:lnTo>
                    <a:pt x="293053" y="199530"/>
                  </a:lnTo>
                  <a:lnTo>
                    <a:pt x="293053" y="200228"/>
                  </a:lnTo>
                  <a:lnTo>
                    <a:pt x="293053" y="199530"/>
                  </a:lnTo>
                  <a:lnTo>
                    <a:pt x="293053" y="200228"/>
                  </a:lnTo>
                  <a:lnTo>
                    <a:pt x="293104" y="200228"/>
                  </a:lnTo>
                  <a:lnTo>
                    <a:pt x="293104" y="199530"/>
                  </a:lnTo>
                  <a:lnTo>
                    <a:pt x="293104" y="200228"/>
                  </a:lnTo>
                  <a:lnTo>
                    <a:pt x="293104" y="199530"/>
                  </a:lnTo>
                  <a:lnTo>
                    <a:pt x="293193" y="199530"/>
                  </a:lnTo>
                  <a:lnTo>
                    <a:pt x="293193" y="200228"/>
                  </a:lnTo>
                  <a:lnTo>
                    <a:pt x="293193" y="199530"/>
                  </a:lnTo>
                  <a:lnTo>
                    <a:pt x="293193" y="200228"/>
                  </a:lnTo>
                  <a:lnTo>
                    <a:pt x="293193" y="199530"/>
                  </a:lnTo>
                  <a:lnTo>
                    <a:pt x="293243" y="199530"/>
                  </a:lnTo>
                  <a:lnTo>
                    <a:pt x="293243" y="196799"/>
                  </a:lnTo>
                  <a:lnTo>
                    <a:pt x="293243" y="197447"/>
                  </a:lnTo>
                  <a:lnTo>
                    <a:pt x="293243" y="196799"/>
                  </a:lnTo>
                  <a:lnTo>
                    <a:pt x="293243" y="197447"/>
                  </a:lnTo>
                  <a:lnTo>
                    <a:pt x="293294" y="197447"/>
                  </a:lnTo>
                  <a:lnTo>
                    <a:pt x="293294" y="196113"/>
                  </a:lnTo>
                  <a:lnTo>
                    <a:pt x="293294" y="196799"/>
                  </a:lnTo>
                  <a:lnTo>
                    <a:pt x="293294" y="196113"/>
                  </a:lnTo>
                  <a:lnTo>
                    <a:pt x="293294" y="197447"/>
                  </a:lnTo>
                  <a:lnTo>
                    <a:pt x="293294" y="196799"/>
                  </a:lnTo>
                  <a:lnTo>
                    <a:pt x="293294" y="197447"/>
                  </a:lnTo>
                  <a:lnTo>
                    <a:pt x="293345" y="196799"/>
                  </a:lnTo>
                  <a:lnTo>
                    <a:pt x="293345" y="199530"/>
                  </a:lnTo>
                  <a:lnTo>
                    <a:pt x="293345" y="197447"/>
                  </a:lnTo>
                  <a:lnTo>
                    <a:pt x="293447" y="197447"/>
                  </a:lnTo>
                  <a:lnTo>
                    <a:pt x="293447" y="196799"/>
                  </a:lnTo>
                  <a:lnTo>
                    <a:pt x="293447" y="199530"/>
                  </a:lnTo>
                  <a:lnTo>
                    <a:pt x="293447" y="198831"/>
                  </a:lnTo>
                  <a:lnTo>
                    <a:pt x="293447" y="199530"/>
                  </a:lnTo>
                  <a:lnTo>
                    <a:pt x="293447" y="198831"/>
                  </a:lnTo>
                  <a:lnTo>
                    <a:pt x="293447" y="199530"/>
                  </a:lnTo>
                  <a:lnTo>
                    <a:pt x="293497" y="198831"/>
                  </a:lnTo>
                  <a:lnTo>
                    <a:pt x="293497" y="199530"/>
                  </a:lnTo>
                  <a:lnTo>
                    <a:pt x="293548" y="199530"/>
                  </a:lnTo>
                  <a:lnTo>
                    <a:pt x="293548" y="200228"/>
                  </a:lnTo>
                  <a:lnTo>
                    <a:pt x="293548" y="199530"/>
                  </a:lnTo>
                  <a:lnTo>
                    <a:pt x="293548" y="200228"/>
                  </a:lnTo>
                  <a:lnTo>
                    <a:pt x="293650" y="200228"/>
                  </a:lnTo>
                  <a:lnTo>
                    <a:pt x="293650" y="200876"/>
                  </a:lnTo>
                  <a:lnTo>
                    <a:pt x="293650" y="200228"/>
                  </a:lnTo>
                  <a:lnTo>
                    <a:pt x="293688" y="200228"/>
                  </a:lnTo>
                  <a:lnTo>
                    <a:pt x="293688" y="200876"/>
                  </a:lnTo>
                  <a:lnTo>
                    <a:pt x="293688" y="199530"/>
                  </a:lnTo>
                  <a:lnTo>
                    <a:pt x="293688" y="200228"/>
                  </a:lnTo>
                  <a:lnTo>
                    <a:pt x="293688" y="199530"/>
                  </a:lnTo>
                  <a:lnTo>
                    <a:pt x="293688" y="200228"/>
                  </a:lnTo>
                  <a:lnTo>
                    <a:pt x="293739" y="200228"/>
                  </a:lnTo>
                  <a:lnTo>
                    <a:pt x="293739" y="196799"/>
                  </a:lnTo>
                  <a:lnTo>
                    <a:pt x="293790" y="196799"/>
                  </a:lnTo>
                  <a:lnTo>
                    <a:pt x="293790" y="196113"/>
                  </a:lnTo>
                  <a:lnTo>
                    <a:pt x="293790" y="197447"/>
                  </a:lnTo>
                  <a:lnTo>
                    <a:pt x="293790" y="196799"/>
                  </a:lnTo>
                  <a:lnTo>
                    <a:pt x="293891" y="196799"/>
                  </a:lnTo>
                  <a:lnTo>
                    <a:pt x="293891" y="196113"/>
                  </a:lnTo>
                  <a:lnTo>
                    <a:pt x="293891" y="199530"/>
                  </a:lnTo>
                  <a:lnTo>
                    <a:pt x="293891" y="197447"/>
                  </a:lnTo>
                  <a:lnTo>
                    <a:pt x="293891" y="198831"/>
                  </a:lnTo>
                  <a:lnTo>
                    <a:pt x="293891" y="197447"/>
                  </a:lnTo>
                  <a:lnTo>
                    <a:pt x="293942" y="197447"/>
                  </a:lnTo>
                  <a:lnTo>
                    <a:pt x="293942" y="196799"/>
                  </a:lnTo>
                  <a:lnTo>
                    <a:pt x="293942" y="199530"/>
                  </a:lnTo>
                  <a:lnTo>
                    <a:pt x="293942" y="198831"/>
                  </a:lnTo>
                  <a:lnTo>
                    <a:pt x="293942" y="199530"/>
                  </a:lnTo>
                  <a:lnTo>
                    <a:pt x="293942" y="198831"/>
                  </a:lnTo>
                  <a:lnTo>
                    <a:pt x="293942" y="199530"/>
                  </a:lnTo>
                  <a:lnTo>
                    <a:pt x="293942" y="198831"/>
                  </a:lnTo>
                  <a:lnTo>
                    <a:pt x="293993" y="198831"/>
                  </a:lnTo>
                  <a:lnTo>
                    <a:pt x="293993" y="199530"/>
                  </a:lnTo>
                  <a:lnTo>
                    <a:pt x="293993" y="198831"/>
                  </a:lnTo>
                  <a:lnTo>
                    <a:pt x="293993" y="199530"/>
                  </a:lnTo>
                  <a:lnTo>
                    <a:pt x="294094" y="199530"/>
                  </a:lnTo>
                  <a:lnTo>
                    <a:pt x="294094" y="200228"/>
                  </a:lnTo>
                  <a:lnTo>
                    <a:pt x="294094" y="199530"/>
                  </a:lnTo>
                  <a:lnTo>
                    <a:pt x="294094" y="200228"/>
                  </a:lnTo>
                  <a:lnTo>
                    <a:pt x="294145" y="200228"/>
                  </a:lnTo>
                  <a:lnTo>
                    <a:pt x="294145" y="200876"/>
                  </a:lnTo>
                  <a:lnTo>
                    <a:pt x="294145" y="200228"/>
                  </a:lnTo>
                  <a:lnTo>
                    <a:pt x="294145" y="200876"/>
                  </a:lnTo>
                  <a:lnTo>
                    <a:pt x="294145" y="200228"/>
                  </a:lnTo>
                  <a:lnTo>
                    <a:pt x="294196" y="200228"/>
                  </a:lnTo>
                  <a:lnTo>
                    <a:pt x="294196" y="199530"/>
                  </a:lnTo>
                  <a:lnTo>
                    <a:pt x="294196" y="200228"/>
                  </a:lnTo>
                  <a:lnTo>
                    <a:pt x="294196" y="199530"/>
                  </a:lnTo>
                  <a:lnTo>
                    <a:pt x="294196" y="200228"/>
                  </a:lnTo>
                  <a:lnTo>
                    <a:pt x="294234" y="200228"/>
                  </a:lnTo>
                  <a:lnTo>
                    <a:pt x="294234" y="198831"/>
                  </a:lnTo>
                  <a:lnTo>
                    <a:pt x="294234" y="199530"/>
                  </a:lnTo>
                  <a:lnTo>
                    <a:pt x="294234" y="197447"/>
                  </a:lnTo>
                  <a:lnTo>
                    <a:pt x="294336" y="197447"/>
                  </a:lnTo>
                  <a:lnTo>
                    <a:pt x="294336" y="195415"/>
                  </a:lnTo>
                  <a:lnTo>
                    <a:pt x="294336" y="197447"/>
                  </a:lnTo>
                  <a:lnTo>
                    <a:pt x="294336" y="196799"/>
                  </a:lnTo>
                  <a:lnTo>
                    <a:pt x="294387" y="196799"/>
                  </a:lnTo>
                  <a:lnTo>
                    <a:pt x="294387" y="196113"/>
                  </a:lnTo>
                  <a:lnTo>
                    <a:pt x="294387" y="199530"/>
                  </a:lnTo>
                  <a:lnTo>
                    <a:pt x="294387" y="198831"/>
                  </a:lnTo>
                  <a:lnTo>
                    <a:pt x="294437" y="197447"/>
                  </a:lnTo>
                  <a:lnTo>
                    <a:pt x="294437" y="199530"/>
                  </a:lnTo>
                  <a:lnTo>
                    <a:pt x="294437" y="198831"/>
                  </a:lnTo>
                  <a:lnTo>
                    <a:pt x="294539" y="198831"/>
                  </a:lnTo>
                  <a:lnTo>
                    <a:pt x="294539" y="197447"/>
                  </a:lnTo>
                  <a:lnTo>
                    <a:pt x="294539" y="199530"/>
                  </a:lnTo>
                  <a:lnTo>
                    <a:pt x="294539" y="198831"/>
                  </a:lnTo>
                  <a:lnTo>
                    <a:pt x="294590" y="198831"/>
                  </a:lnTo>
                  <a:lnTo>
                    <a:pt x="294590" y="200228"/>
                  </a:lnTo>
                  <a:lnTo>
                    <a:pt x="294590" y="199530"/>
                  </a:lnTo>
                  <a:lnTo>
                    <a:pt x="294590" y="200228"/>
                  </a:lnTo>
                  <a:lnTo>
                    <a:pt x="294590" y="199530"/>
                  </a:lnTo>
                  <a:lnTo>
                    <a:pt x="294641" y="200228"/>
                  </a:lnTo>
                  <a:lnTo>
                    <a:pt x="294641" y="200876"/>
                  </a:lnTo>
                  <a:lnTo>
                    <a:pt x="294641" y="200228"/>
                  </a:lnTo>
                  <a:lnTo>
                    <a:pt x="294641" y="200876"/>
                  </a:lnTo>
                  <a:lnTo>
                    <a:pt x="294691" y="200876"/>
                  </a:lnTo>
                  <a:lnTo>
                    <a:pt x="294691" y="200228"/>
                  </a:lnTo>
                  <a:lnTo>
                    <a:pt x="294691" y="200876"/>
                  </a:lnTo>
                  <a:lnTo>
                    <a:pt x="294691" y="200228"/>
                  </a:lnTo>
                  <a:lnTo>
                    <a:pt x="294780" y="199530"/>
                  </a:lnTo>
                  <a:lnTo>
                    <a:pt x="294780" y="198831"/>
                  </a:lnTo>
                  <a:lnTo>
                    <a:pt x="294780" y="199530"/>
                  </a:lnTo>
                  <a:lnTo>
                    <a:pt x="294780" y="196799"/>
                  </a:lnTo>
                  <a:lnTo>
                    <a:pt x="294831" y="196799"/>
                  </a:lnTo>
                  <a:lnTo>
                    <a:pt x="294831" y="198831"/>
                  </a:lnTo>
                  <a:lnTo>
                    <a:pt x="294831" y="196799"/>
                  </a:lnTo>
                  <a:lnTo>
                    <a:pt x="294882" y="196799"/>
                  </a:lnTo>
                  <a:lnTo>
                    <a:pt x="294882" y="200228"/>
                  </a:lnTo>
                  <a:lnTo>
                    <a:pt x="294882" y="197447"/>
                  </a:lnTo>
                  <a:lnTo>
                    <a:pt x="294882" y="198831"/>
                  </a:lnTo>
                  <a:lnTo>
                    <a:pt x="294933" y="198831"/>
                  </a:lnTo>
                  <a:lnTo>
                    <a:pt x="294933" y="199530"/>
                  </a:lnTo>
                  <a:lnTo>
                    <a:pt x="294933" y="198831"/>
                  </a:lnTo>
                  <a:lnTo>
                    <a:pt x="294933" y="199530"/>
                  </a:lnTo>
                  <a:lnTo>
                    <a:pt x="294933" y="198831"/>
                  </a:lnTo>
                  <a:lnTo>
                    <a:pt x="294933" y="199530"/>
                  </a:lnTo>
                  <a:lnTo>
                    <a:pt x="295034" y="199530"/>
                  </a:lnTo>
                  <a:lnTo>
                    <a:pt x="295034" y="200228"/>
                  </a:lnTo>
                  <a:lnTo>
                    <a:pt x="295034" y="198831"/>
                  </a:lnTo>
                  <a:lnTo>
                    <a:pt x="295085" y="198831"/>
                  </a:lnTo>
                  <a:lnTo>
                    <a:pt x="295085" y="200228"/>
                  </a:lnTo>
                  <a:lnTo>
                    <a:pt x="295085" y="199530"/>
                  </a:lnTo>
                  <a:lnTo>
                    <a:pt x="295085" y="200228"/>
                  </a:lnTo>
                  <a:lnTo>
                    <a:pt x="295085" y="199530"/>
                  </a:lnTo>
                  <a:lnTo>
                    <a:pt x="295136" y="199530"/>
                  </a:lnTo>
                  <a:lnTo>
                    <a:pt x="295136" y="200876"/>
                  </a:lnTo>
                  <a:lnTo>
                    <a:pt x="295136" y="200228"/>
                  </a:lnTo>
                  <a:lnTo>
                    <a:pt x="295136" y="200876"/>
                  </a:lnTo>
                  <a:lnTo>
                    <a:pt x="295136" y="200228"/>
                  </a:lnTo>
                  <a:lnTo>
                    <a:pt x="295237" y="200228"/>
                  </a:lnTo>
                  <a:lnTo>
                    <a:pt x="295237" y="199530"/>
                  </a:lnTo>
                  <a:lnTo>
                    <a:pt x="295237" y="200228"/>
                  </a:lnTo>
                  <a:lnTo>
                    <a:pt x="295237" y="199530"/>
                  </a:lnTo>
                  <a:lnTo>
                    <a:pt x="295237" y="200876"/>
                  </a:lnTo>
                  <a:lnTo>
                    <a:pt x="295237" y="199530"/>
                  </a:lnTo>
                  <a:lnTo>
                    <a:pt x="295237" y="200228"/>
                  </a:lnTo>
                  <a:lnTo>
                    <a:pt x="295237" y="199530"/>
                  </a:lnTo>
                  <a:lnTo>
                    <a:pt x="295237" y="200228"/>
                  </a:lnTo>
                  <a:lnTo>
                    <a:pt x="295237" y="199530"/>
                  </a:lnTo>
                  <a:lnTo>
                    <a:pt x="295276" y="199530"/>
                  </a:lnTo>
                  <a:lnTo>
                    <a:pt x="295276" y="200228"/>
                  </a:lnTo>
                  <a:lnTo>
                    <a:pt x="295276" y="199530"/>
                  </a:lnTo>
                  <a:lnTo>
                    <a:pt x="295276" y="200228"/>
                  </a:lnTo>
                  <a:lnTo>
                    <a:pt x="295326" y="199530"/>
                  </a:lnTo>
                  <a:lnTo>
                    <a:pt x="295326" y="200228"/>
                  </a:lnTo>
                  <a:lnTo>
                    <a:pt x="295326" y="199530"/>
                  </a:lnTo>
                  <a:lnTo>
                    <a:pt x="295326" y="200228"/>
                  </a:lnTo>
                  <a:lnTo>
                    <a:pt x="295326" y="199530"/>
                  </a:lnTo>
                  <a:lnTo>
                    <a:pt x="295326" y="202959"/>
                  </a:lnTo>
                  <a:lnTo>
                    <a:pt x="295326" y="202260"/>
                  </a:lnTo>
                  <a:lnTo>
                    <a:pt x="295326" y="202959"/>
                  </a:lnTo>
                  <a:lnTo>
                    <a:pt x="295326" y="202260"/>
                  </a:lnTo>
                  <a:lnTo>
                    <a:pt x="295377" y="202260"/>
                  </a:lnTo>
                  <a:lnTo>
                    <a:pt x="295377" y="200876"/>
                  </a:lnTo>
                  <a:lnTo>
                    <a:pt x="295377" y="203594"/>
                  </a:lnTo>
                  <a:lnTo>
                    <a:pt x="295377" y="202260"/>
                  </a:lnTo>
                  <a:lnTo>
                    <a:pt x="295479" y="202260"/>
                  </a:lnTo>
                  <a:lnTo>
                    <a:pt x="295479" y="202959"/>
                  </a:lnTo>
                  <a:lnTo>
                    <a:pt x="295479" y="202260"/>
                  </a:lnTo>
                  <a:lnTo>
                    <a:pt x="295530" y="202260"/>
                  </a:lnTo>
                  <a:lnTo>
                    <a:pt x="295530" y="200876"/>
                  </a:lnTo>
                  <a:lnTo>
                    <a:pt x="295530" y="202260"/>
                  </a:lnTo>
                  <a:lnTo>
                    <a:pt x="295530" y="200876"/>
                  </a:lnTo>
                  <a:lnTo>
                    <a:pt x="295530" y="202260"/>
                  </a:lnTo>
                  <a:lnTo>
                    <a:pt x="295580" y="202260"/>
                  </a:lnTo>
                  <a:lnTo>
                    <a:pt x="295580" y="202959"/>
                  </a:lnTo>
                  <a:lnTo>
                    <a:pt x="295682" y="202260"/>
                  </a:lnTo>
                  <a:lnTo>
                    <a:pt x="295682" y="202959"/>
                  </a:lnTo>
                  <a:lnTo>
                    <a:pt x="295682" y="200876"/>
                  </a:lnTo>
                  <a:lnTo>
                    <a:pt x="295682" y="202260"/>
                  </a:lnTo>
                  <a:lnTo>
                    <a:pt x="295682" y="200228"/>
                  </a:lnTo>
                  <a:lnTo>
                    <a:pt x="295733" y="200876"/>
                  </a:lnTo>
                  <a:lnTo>
                    <a:pt x="295733" y="199530"/>
                  </a:lnTo>
                  <a:lnTo>
                    <a:pt x="295733" y="202260"/>
                  </a:lnTo>
                  <a:lnTo>
                    <a:pt x="295783" y="202260"/>
                  </a:lnTo>
                  <a:lnTo>
                    <a:pt x="295783" y="200228"/>
                  </a:lnTo>
                  <a:lnTo>
                    <a:pt x="295783" y="200876"/>
                  </a:lnTo>
                  <a:lnTo>
                    <a:pt x="295783" y="200228"/>
                  </a:lnTo>
                  <a:lnTo>
                    <a:pt x="295783" y="203594"/>
                  </a:lnTo>
                  <a:lnTo>
                    <a:pt x="295822" y="203594"/>
                  </a:lnTo>
                  <a:lnTo>
                    <a:pt x="295822" y="202959"/>
                  </a:lnTo>
                  <a:lnTo>
                    <a:pt x="295822" y="203594"/>
                  </a:lnTo>
                  <a:lnTo>
                    <a:pt x="295822" y="202959"/>
                  </a:lnTo>
                  <a:lnTo>
                    <a:pt x="295822" y="204292"/>
                  </a:lnTo>
                  <a:lnTo>
                    <a:pt x="295923" y="204292"/>
                  </a:lnTo>
                  <a:lnTo>
                    <a:pt x="295923" y="203594"/>
                  </a:lnTo>
                  <a:lnTo>
                    <a:pt x="295923" y="204292"/>
                  </a:lnTo>
                  <a:lnTo>
                    <a:pt x="295923" y="203594"/>
                  </a:lnTo>
                  <a:lnTo>
                    <a:pt x="295923" y="204292"/>
                  </a:lnTo>
                  <a:lnTo>
                    <a:pt x="295923" y="203594"/>
                  </a:lnTo>
                  <a:lnTo>
                    <a:pt x="295923" y="204292"/>
                  </a:lnTo>
                  <a:lnTo>
                    <a:pt x="295974" y="204292"/>
                  </a:lnTo>
                  <a:lnTo>
                    <a:pt x="295974" y="203594"/>
                  </a:lnTo>
                  <a:lnTo>
                    <a:pt x="295974" y="204292"/>
                  </a:lnTo>
                  <a:lnTo>
                    <a:pt x="295974" y="203594"/>
                  </a:lnTo>
                  <a:lnTo>
                    <a:pt x="296025" y="203594"/>
                  </a:lnTo>
                  <a:lnTo>
                    <a:pt x="296025" y="202959"/>
                  </a:lnTo>
                  <a:lnTo>
                    <a:pt x="296025" y="203594"/>
                  </a:lnTo>
                  <a:lnTo>
                    <a:pt x="296126" y="202959"/>
                  </a:lnTo>
                  <a:lnTo>
                    <a:pt x="296126" y="202260"/>
                  </a:lnTo>
                  <a:lnTo>
                    <a:pt x="296177" y="202260"/>
                  </a:lnTo>
                  <a:lnTo>
                    <a:pt x="296177" y="200876"/>
                  </a:lnTo>
                  <a:lnTo>
                    <a:pt x="296177" y="202260"/>
                  </a:lnTo>
                  <a:lnTo>
                    <a:pt x="296177" y="200228"/>
                  </a:lnTo>
                  <a:lnTo>
                    <a:pt x="296228" y="200228"/>
                  </a:lnTo>
                  <a:lnTo>
                    <a:pt x="296228" y="202260"/>
                  </a:lnTo>
                  <a:lnTo>
                    <a:pt x="296228" y="200228"/>
                  </a:lnTo>
                  <a:lnTo>
                    <a:pt x="296228" y="202260"/>
                  </a:lnTo>
                  <a:lnTo>
                    <a:pt x="296279" y="202260"/>
                  </a:lnTo>
                  <a:lnTo>
                    <a:pt x="296279" y="203594"/>
                  </a:lnTo>
                  <a:lnTo>
                    <a:pt x="296418" y="203594"/>
                  </a:lnTo>
                  <a:lnTo>
                    <a:pt x="296418" y="204292"/>
                  </a:lnTo>
                  <a:lnTo>
                    <a:pt x="296418" y="203594"/>
                  </a:lnTo>
                  <a:lnTo>
                    <a:pt x="296418" y="204292"/>
                  </a:lnTo>
                  <a:lnTo>
                    <a:pt x="296418" y="203594"/>
                  </a:lnTo>
                  <a:lnTo>
                    <a:pt x="296418" y="204292"/>
                  </a:lnTo>
                  <a:lnTo>
                    <a:pt x="296418" y="203594"/>
                  </a:lnTo>
                  <a:lnTo>
                    <a:pt x="296469" y="203594"/>
                  </a:lnTo>
                  <a:lnTo>
                    <a:pt x="296469" y="204292"/>
                  </a:lnTo>
                  <a:lnTo>
                    <a:pt x="296469" y="203594"/>
                  </a:lnTo>
                  <a:lnTo>
                    <a:pt x="296469" y="204292"/>
                  </a:lnTo>
                  <a:lnTo>
                    <a:pt x="296469" y="203594"/>
                  </a:lnTo>
                  <a:lnTo>
                    <a:pt x="296469" y="204292"/>
                  </a:lnTo>
                  <a:lnTo>
                    <a:pt x="296520" y="204292"/>
                  </a:lnTo>
                  <a:lnTo>
                    <a:pt x="296520" y="202959"/>
                  </a:lnTo>
                  <a:lnTo>
                    <a:pt x="296520" y="203594"/>
                  </a:lnTo>
                  <a:lnTo>
                    <a:pt x="296622" y="203594"/>
                  </a:lnTo>
                  <a:lnTo>
                    <a:pt x="296622" y="202260"/>
                  </a:lnTo>
                  <a:lnTo>
                    <a:pt x="296622" y="202959"/>
                  </a:lnTo>
                  <a:lnTo>
                    <a:pt x="296622" y="202260"/>
                  </a:lnTo>
                  <a:lnTo>
                    <a:pt x="296672" y="202260"/>
                  </a:lnTo>
                  <a:lnTo>
                    <a:pt x="296672" y="200228"/>
                  </a:lnTo>
                  <a:lnTo>
                    <a:pt x="296672" y="202260"/>
                  </a:lnTo>
                  <a:lnTo>
                    <a:pt x="296672" y="200876"/>
                  </a:lnTo>
                  <a:lnTo>
                    <a:pt x="296723" y="200876"/>
                  </a:lnTo>
                  <a:lnTo>
                    <a:pt x="296723" y="200228"/>
                  </a:lnTo>
                  <a:lnTo>
                    <a:pt x="296723" y="203594"/>
                  </a:lnTo>
                  <a:lnTo>
                    <a:pt x="296723" y="202260"/>
                  </a:lnTo>
                  <a:lnTo>
                    <a:pt x="296825" y="202959"/>
                  </a:lnTo>
                  <a:lnTo>
                    <a:pt x="296825" y="202260"/>
                  </a:lnTo>
                  <a:lnTo>
                    <a:pt x="296825" y="202959"/>
                  </a:lnTo>
                  <a:lnTo>
                    <a:pt x="296825" y="202260"/>
                  </a:lnTo>
                  <a:lnTo>
                    <a:pt x="296825" y="203594"/>
                  </a:lnTo>
                  <a:lnTo>
                    <a:pt x="296825" y="202959"/>
                  </a:lnTo>
                  <a:lnTo>
                    <a:pt x="296863" y="202260"/>
                  </a:lnTo>
                  <a:lnTo>
                    <a:pt x="296863" y="204292"/>
                  </a:lnTo>
                  <a:lnTo>
                    <a:pt x="296863" y="203594"/>
                  </a:lnTo>
                  <a:lnTo>
                    <a:pt x="296914" y="202959"/>
                  </a:lnTo>
                  <a:lnTo>
                    <a:pt x="296914" y="203594"/>
                  </a:lnTo>
                  <a:lnTo>
                    <a:pt x="296965" y="203594"/>
                  </a:lnTo>
                  <a:lnTo>
                    <a:pt x="296965" y="202959"/>
                  </a:lnTo>
                  <a:lnTo>
                    <a:pt x="296965" y="203594"/>
                  </a:lnTo>
                  <a:lnTo>
                    <a:pt x="297066" y="203594"/>
                  </a:lnTo>
                  <a:lnTo>
                    <a:pt x="297066" y="202959"/>
                  </a:lnTo>
                  <a:lnTo>
                    <a:pt x="297066" y="203594"/>
                  </a:lnTo>
                  <a:lnTo>
                    <a:pt x="297066" y="202959"/>
                  </a:lnTo>
                  <a:lnTo>
                    <a:pt x="297066" y="203594"/>
                  </a:lnTo>
                  <a:lnTo>
                    <a:pt x="297066" y="202959"/>
                  </a:lnTo>
                  <a:lnTo>
                    <a:pt x="297117" y="202959"/>
                  </a:lnTo>
                  <a:lnTo>
                    <a:pt x="297117" y="200876"/>
                  </a:lnTo>
                  <a:lnTo>
                    <a:pt x="297117" y="202260"/>
                  </a:lnTo>
                  <a:lnTo>
                    <a:pt x="297117" y="200876"/>
                  </a:lnTo>
                  <a:lnTo>
                    <a:pt x="297117" y="202260"/>
                  </a:lnTo>
                  <a:lnTo>
                    <a:pt x="297117" y="200876"/>
                  </a:lnTo>
                  <a:lnTo>
                    <a:pt x="297168" y="200228"/>
                  </a:lnTo>
                  <a:lnTo>
                    <a:pt x="297168" y="198831"/>
                  </a:lnTo>
                  <a:lnTo>
                    <a:pt x="297168" y="200228"/>
                  </a:lnTo>
                  <a:lnTo>
                    <a:pt x="297168" y="199530"/>
                  </a:lnTo>
                  <a:lnTo>
                    <a:pt x="297269" y="199530"/>
                  </a:lnTo>
                  <a:lnTo>
                    <a:pt x="297269" y="200228"/>
                  </a:lnTo>
                  <a:lnTo>
                    <a:pt x="297269" y="199530"/>
                  </a:lnTo>
                  <a:lnTo>
                    <a:pt x="297269" y="202260"/>
                  </a:lnTo>
                  <a:lnTo>
                    <a:pt x="297269" y="200876"/>
                  </a:lnTo>
                  <a:lnTo>
                    <a:pt x="297269" y="202260"/>
                  </a:lnTo>
                  <a:lnTo>
                    <a:pt x="297269" y="200876"/>
                  </a:lnTo>
                  <a:lnTo>
                    <a:pt x="297320" y="200876"/>
                  </a:lnTo>
                  <a:lnTo>
                    <a:pt x="297320" y="202959"/>
                  </a:lnTo>
                  <a:lnTo>
                    <a:pt x="297320" y="200876"/>
                  </a:lnTo>
                  <a:lnTo>
                    <a:pt x="297371" y="200876"/>
                  </a:lnTo>
                  <a:lnTo>
                    <a:pt x="297371" y="202959"/>
                  </a:lnTo>
                  <a:lnTo>
                    <a:pt x="297371" y="202260"/>
                  </a:lnTo>
                  <a:lnTo>
                    <a:pt x="297371" y="202959"/>
                  </a:lnTo>
                  <a:lnTo>
                    <a:pt x="297409" y="202959"/>
                  </a:lnTo>
                  <a:lnTo>
                    <a:pt x="297409" y="202260"/>
                  </a:lnTo>
                  <a:lnTo>
                    <a:pt x="297409" y="203594"/>
                  </a:lnTo>
                  <a:lnTo>
                    <a:pt x="297409" y="202959"/>
                  </a:lnTo>
                  <a:lnTo>
                    <a:pt x="297511" y="202959"/>
                  </a:lnTo>
                  <a:lnTo>
                    <a:pt x="297511" y="203594"/>
                  </a:lnTo>
                  <a:lnTo>
                    <a:pt x="297511" y="202959"/>
                  </a:lnTo>
                  <a:lnTo>
                    <a:pt x="297511" y="203594"/>
                  </a:lnTo>
                  <a:lnTo>
                    <a:pt x="297511" y="202959"/>
                  </a:lnTo>
                  <a:lnTo>
                    <a:pt x="297511" y="203594"/>
                  </a:lnTo>
                  <a:lnTo>
                    <a:pt x="297511" y="202959"/>
                  </a:lnTo>
                  <a:lnTo>
                    <a:pt x="297511" y="203594"/>
                  </a:lnTo>
                  <a:lnTo>
                    <a:pt x="297562" y="202959"/>
                  </a:lnTo>
                  <a:lnTo>
                    <a:pt x="297562" y="203594"/>
                  </a:lnTo>
                  <a:lnTo>
                    <a:pt x="297562" y="202959"/>
                  </a:lnTo>
                  <a:lnTo>
                    <a:pt x="297562" y="203594"/>
                  </a:lnTo>
                  <a:lnTo>
                    <a:pt x="297562" y="202260"/>
                  </a:lnTo>
                  <a:lnTo>
                    <a:pt x="297612" y="202260"/>
                  </a:lnTo>
                  <a:lnTo>
                    <a:pt x="297612" y="200228"/>
                  </a:lnTo>
                  <a:lnTo>
                    <a:pt x="297714" y="200228"/>
                  </a:lnTo>
                  <a:lnTo>
                    <a:pt x="297714" y="200876"/>
                  </a:lnTo>
                  <a:lnTo>
                    <a:pt x="297714" y="199530"/>
                  </a:lnTo>
                  <a:lnTo>
                    <a:pt x="297765" y="200228"/>
                  </a:lnTo>
                  <a:lnTo>
                    <a:pt x="297765" y="202260"/>
                  </a:lnTo>
                  <a:lnTo>
                    <a:pt x="297765" y="200228"/>
                  </a:lnTo>
                  <a:lnTo>
                    <a:pt x="297765" y="202260"/>
                  </a:lnTo>
                  <a:lnTo>
                    <a:pt x="297816" y="202260"/>
                  </a:lnTo>
                  <a:lnTo>
                    <a:pt x="297816" y="200876"/>
                  </a:lnTo>
                  <a:lnTo>
                    <a:pt x="297866" y="200876"/>
                  </a:lnTo>
                  <a:lnTo>
                    <a:pt x="297866" y="202260"/>
                  </a:lnTo>
                  <a:lnTo>
                    <a:pt x="297866" y="200876"/>
                  </a:lnTo>
                  <a:lnTo>
                    <a:pt x="297955" y="202260"/>
                  </a:lnTo>
                  <a:lnTo>
                    <a:pt x="297955" y="200876"/>
                  </a:lnTo>
                  <a:lnTo>
                    <a:pt x="297955" y="202260"/>
                  </a:lnTo>
                  <a:lnTo>
                    <a:pt x="297955" y="200876"/>
                  </a:lnTo>
                  <a:lnTo>
                    <a:pt x="297955" y="202260"/>
                  </a:lnTo>
                  <a:lnTo>
                    <a:pt x="298006" y="202959"/>
                  </a:lnTo>
                  <a:lnTo>
                    <a:pt x="298006" y="202260"/>
                  </a:lnTo>
                  <a:lnTo>
                    <a:pt x="298006" y="202959"/>
                  </a:lnTo>
                  <a:lnTo>
                    <a:pt x="298006" y="202260"/>
                  </a:lnTo>
                  <a:lnTo>
                    <a:pt x="298006" y="202959"/>
                  </a:lnTo>
                  <a:lnTo>
                    <a:pt x="298006" y="202260"/>
                  </a:lnTo>
                  <a:lnTo>
                    <a:pt x="298006" y="202959"/>
                  </a:lnTo>
                  <a:lnTo>
                    <a:pt x="298057" y="202260"/>
                  </a:lnTo>
                  <a:lnTo>
                    <a:pt x="298057" y="200876"/>
                  </a:lnTo>
                  <a:lnTo>
                    <a:pt x="298057" y="202260"/>
                  </a:lnTo>
                  <a:lnTo>
                    <a:pt x="298057" y="200228"/>
                  </a:lnTo>
                  <a:lnTo>
                    <a:pt x="298057" y="200876"/>
                  </a:lnTo>
                  <a:lnTo>
                    <a:pt x="298108" y="200228"/>
                  </a:lnTo>
                  <a:lnTo>
                    <a:pt x="298108" y="200876"/>
                  </a:lnTo>
                  <a:lnTo>
                    <a:pt x="298108" y="199530"/>
                  </a:lnTo>
                  <a:lnTo>
                    <a:pt x="298108" y="200876"/>
                  </a:lnTo>
                  <a:lnTo>
                    <a:pt x="298209" y="200876"/>
                  </a:lnTo>
                  <a:lnTo>
                    <a:pt x="298209" y="199530"/>
                  </a:lnTo>
                  <a:lnTo>
                    <a:pt x="298209" y="202959"/>
                  </a:lnTo>
                  <a:lnTo>
                    <a:pt x="298260" y="202260"/>
                  </a:lnTo>
                  <a:lnTo>
                    <a:pt x="298260" y="200876"/>
                  </a:lnTo>
                  <a:lnTo>
                    <a:pt x="298260" y="202959"/>
                  </a:lnTo>
                  <a:lnTo>
                    <a:pt x="298311" y="202959"/>
                  </a:lnTo>
                  <a:lnTo>
                    <a:pt x="298311" y="202260"/>
                  </a:lnTo>
                  <a:lnTo>
                    <a:pt x="298311" y="202959"/>
                  </a:lnTo>
                  <a:lnTo>
                    <a:pt x="298412" y="202959"/>
                  </a:lnTo>
                  <a:lnTo>
                    <a:pt x="298412" y="202260"/>
                  </a:lnTo>
                  <a:lnTo>
                    <a:pt x="298412" y="202959"/>
                  </a:lnTo>
                  <a:lnTo>
                    <a:pt x="298412" y="202260"/>
                  </a:lnTo>
                  <a:lnTo>
                    <a:pt x="298412" y="202959"/>
                  </a:lnTo>
                  <a:lnTo>
                    <a:pt x="298412" y="202260"/>
                  </a:lnTo>
                  <a:lnTo>
                    <a:pt x="298451" y="202260"/>
                  </a:lnTo>
                  <a:lnTo>
                    <a:pt x="298451" y="202959"/>
                  </a:lnTo>
                  <a:lnTo>
                    <a:pt x="298451" y="202260"/>
                  </a:lnTo>
                  <a:lnTo>
                    <a:pt x="298451" y="202959"/>
                  </a:lnTo>
                  <a:lnTo>
                    <a:pt x="298451" y="202260"/>
                  </a:lnTo>
                  <a:lnTo>
                    <a:pt x="298451" y="202959"/>
                  </a:lnTo>
                  <a:lnTo>
                    <a:pt x="298451" y="202260"/>
                  </a:lnTo>
                  <a:lnTo>
                    <a:pt x="298501" y="202260"/>
                  </a:lnTo>
                  <a:lnTo>
                    <a:pt x="298501" y="202959"/>
                  </a:lnTo>
                  <a:lnTo>
                    <a:pt x="298501" y="200876"/>
                  </a:lnTo>
                  <a:lnTo>
                    <a:pt x="298552" y="200876"/>
                  </a:lnTo>
                  <a:lnTo>
                    <a:pt x="298552" y="202260"/>
                  </a:lnTo>
                  <a:lnTo>
                    <a:pt x="298552" y="200228"/>
                  </a:lnTo>
                  <a:lnTo>
                    <a:pt x="298552" y="200876"/>
                  </a:lnTo>
                  <a:lnTo>
                    <a:pt x="298552" y="200228"/>
                  </a:lnTo>
                  <a:lnTo>
                    <a:pt x="298654" y="199530"/>
                  </a:lnTo>
                  <a:lnTo>
                    <a:pt x="298654" y="198831"/>
                  </a:lnTo>
                  <a:lnTo>
                    <a:pt x="298654" y="200876"/>
                  </a:lnTo>
                  <a:lnTo>
                    <a:pt x="298654" y="200228"/>
                  </a:lnTo>
                  <a:lnTo>
                    <a:pt x="298705" y="199530"/>
                  </a:lnTo>
                  <a:lnTo>
                    <a:pt x="298705" y="202260"/>
                  </a:lnTo>
                  <a:lnTo>
                    <a:pt x="298705" y="200876"/>
                  </a:lnTo>
                  <a:lnTo>
                    <a:pt x="298755" y="200876"/>
                  </a:lnTo>
                  <a:lnTo>
                    <a:pt x="298755" y="200228"/>
                  </a:lnTo>
                  <a:lnTo>
                    <a:pt x="298755" y="200876"/>
                  </a:lnTo>
                  <a:lnTo>
                    <a:pt x="298755" y="200228"/>
                  </a:lnTo>
                  <a:lnTo>
                    <a:pt x="298755" y="202260"/>
                  </a:lnTo>
                  <a:lnTo>
                    <a:pt x="298755" y="200876"/>
                  </a:lnTo>
                  <a:lnTo>
                    <a:pt x="298857" y="200876"/>
                  </a:lnTo>
                  <a:lnTo>
                    <a:pt x="298857" y="202260"/>
                  </a:lnTo>
                  <a:lnTo>
                    <a:pt x="298857" y="200876"/>
                  </a:lnTo>
                  <a:lnTo>
                    <a:pt x="298857" y="202959"/>
                  </a:lnTo>
                  <a:lnTo>
                    <a:pt x="298857" y="200876"/>
                  </a:lnTo>
                  <a:lnTo>
                    <a:pt x="298908" y="200876"/>
                  </a:lnTo>
                  <a:lnTo>
                    <a:pt x="298908" y="202260"/>
                  </a:lnTo>
                  <a:lnTo>
                    <a:pt x="298908" y="200876"/>
                  </a:lnTo>
                  <a:lnTo>
                    <a:pt x="298908" y="202260"/>
                  </a:lnTo>
                  <a:lnTo>
                    <a:pt x="298908" y="200876"/>
                  </a:lnTo>
                  <a:lnTo>
                    <a:pt x="298908" y="202260"/>
                  </a:lnTo>
                  <a:lnTo>
                    <a:pt x="298908" y="200876"/>
                  </a:lnTo>
                  <a:lnTo>
                    <a:pt x="298958" y="200876"/>
                  </a:lnTo>
                  <a:lnTo>
                    <a:pt x="298958" y="202260"/>
                  </a:lnTo>
                  <a:lnTo>
                    <a:pt x="298997" y="202260"/>
                  </a:lnTo>
                  <a:lnTo>
                    <a:pt x="298997" y="200876"/>
                  </a:lnTo>
                  <a:lnTo>
                    <a:pt x="298997" y="202260"/>
                  </a:lnTo>
                  <a:lnTo>
                    <a:pt x="298997" y="200876"/>
                  </a:lnTo>
                  <a:lnTo>
                    <a:pt x="298997" y="202260"/>
                  </a:lnTo>
                  <a:lnTo>
                    <a:pt x="298997" y="200228"/>
                  </a:lnTo>
                  <a:lnTo>
                    <a:pt x="298997" y="200876"/>
                  </a:lnTo>
                  <a:lnTo>
                    <a:pt x="299098" y="200228"/>
                  </a:lnTo>
                  <a:lnTo>
                    <a:pt x="299098" y="198831"/>
                  </a:lnTo>
                  <a:lnTo>
                    <a:pt x="299149" y="198831"/>
                  </a:lnTo>
                  <a:lnTo>
                    <a:pt x="299149" y="197447"/>
                  </a:lnTo>
                  <a:lnTo>
                    <a:pt x="299149" y="199530"/>
                  </a:lnTo>
                  <a:lnTo>
                    <a:pt x="299149" y="197447"/>
                  </a:lnTo>
                  <a:lnTo>
                    <a:pt x="299200" y="197447"/>
                  </a:lnTo>
                  <a:lnTo>
                    <a:pt x="299200" y="198831"/>
                  </a:lnTo>
                  <a:lnTo>
                    <a:pt x="299200" y="197447"/>
                  </a:lnTo>
                  <a:lnTo>
                    <a:pt x="299200" y="200228"/>
                  </a:lnTo>
                  <a:lnTo>
                    <a:pt x="299200" y="199530"/>
                  </a:lnTo>
                  <a:lnTo>
                    <a:pt x="299301" y="199530"/>
                  </a:lnTo>
                  <a:lnTo>
                    <a:pt x="299301" y="200228"/>
                  </a:lnTo>
                  <a:lnTo>
                    <a:pt x="299301" y="199530"/>
                  </a:lnTo>
                  <a:lnTo>
                    <a:pt x="299352" y="199530"/>
                  </a:lnTo>
                  <a:lnTo>
                    <a:pt x="299352" y="200876"/>
                  </a:lnTo>
                  <a:lnTo>
                    <a:pt x="299352" y="200228"/>
                  </a:lnTo>
                  <a:lnTo>
                    <a:pt x="299352" y="200876"/>
                  </a:lnTo>
                  <a:lnTo>
                    <a:pt x="299352" y="200228"/>
                  </a:lnTo>
                  <a:lnTo>
                    <a:pt x="299403" y="200228"/>
                  </a:lnTo>
                  <a:lnTo>
                    <a:pt x="299403" y="200876"/>
                  </a:lnTo>
                  <a:lnTo>
                    <a:pt x="299403" y="200228"/>
                  </a:lnTo>
                  <a:lnTo>
                    <a:pt x="299403" y="202260"/>
                  </a:lnTo>
                  <a:lnTo>
                    <a:pt x="299403" y="200876"/>
                  </a:lnTo>
                  <a:lnTo>
                    <a:pt x="299403" y="202260"/>
                  </a:lnTo>
                  <a:lnTo>
                    <a:pt x="299454" y="202260"/>
                  </a:lnTo>
                  <a:lnTo>
                    <a:pt x="299454" y="200876"/>
                  </a:lnTo>
                  <a:lnTo>
                    <a:pt x="299454" y="202260"/>
                  </a:lnTo>
                  <a:lnTo>
                    <a:pt x="299543" y="202260"/>
                  </a:lnTo>
                  <a:lnTo>
                    <a:pt x="299543" y="200228"/>
                  </a:lnTo>
                  <a:lnTo>
                    <a:pt x="299593" y="200228"/>
                  </a:lnTo>
                  <a:lnTo>
                    <a:pt x="299593" y="198831"/>
                  </a:lnTo>
                  <a:lnTo>
                    <a:pt x="299644" y="198831"/>
                  </a:lnTo>
                  <a:lnTo>
                    <a:pt x="299644" y="197447"/>
                  </a:lnTo>
                  <a:lnTo>
                    <a:pt x="299644" y="198831"/>
                  </a:lnTo>
                  <a:lnTo>
                    <a:pt x="299695" y="198831"/>
                  </a:lnTo>
                  <a:lnTo>
                    <a:pt x="299695" y="197447"/>
                  </a:lnTo>
                  <a:lnTo>
                    <a:pt x="299695" y="200228"/>
                  </a:lnTo>
                  <a:lnTo>
                    <a:pt x="299695" y="199530"/>
                  </a:lnTo>
                  <a:lnTo>
                    <a:pt x="299797" y="199530"/>
                  </a:lnTo>
                  <a:lnTo>
                    <a:pt x="299797" y="198831"/>
                  </a:lnTo>
                  <a:lnTo>
                    <a:pt x="299797" y="200228"/>
                  </a:lnTo>
                  <a:lnTo>
                    <a:pt x="299797" y="199530"/>
                  </a:lnTo>
                  <a:lnTo>
                    <a:pt x="299847" y="199530"/>
                  </a:lnTo>
                  <a:lnTo>
                    <a:pt x="299847" y="198831"/>
                  </a:lnTo>
                  <a:lnTo>
                    <a:pt x="299847" y="200228"/>
                  </a:lnTo>
                  <a:lnTo>
                    <a:pt x="299847" y="199530"/>
                  </a:lnTo>
                  <a:lnTo>
                    <a:pt x="299847" y="200228"/>
                  </a:lnTo>
                  <a:lnTo>
                    <a:pt x="299898" y="200228"/>
                  </a:lnTo>
                  <a:lnTo>
                    <a:pt x="299898" y="200876"/>
                  </a:lnTo>
                  <a:lnTo>
                    <a:pt x="299898" y="200228"/>
                  </a:lnTo>
                  <a:lnTo>
                    <a:pt x="299898" y="200876"/>
                  </a:lnTo>
                  <a:lnTo>
                    <a:pt x="300000" y="200876"/>
                  </a:lnTo>
                  <a:lnTo>
                    <a:pt x="300000" y="202260"/>
                  </a:lnTo>
                  <a:lnTo>
                    <a:pt x="300000" y="200876"/>
                  </a:lnTo>
                  <a:lnTo>
                    <a:pt x="300000" y="202260"/>
                  </a:lnTo>
                  <a:lnTo>
                    <a:pt x="300000" y="200876"/>
                  </a:lnTo>
                  <a:lnTo>
                    <a:pt x="300038" y="200876"/>
                  </a:lnTo>
                  <a:lnTo>
                    <a:pt x="300038" y="202260"/>
                  </a:lnTo>
                  <a:lnTo>
                    <a:pt x="300038" y="200228"/>
                  </a:lnTo>
                  <a:lnTo>
                    <a:pt x="300038" y="200876"/>
                  </a:lnTo>
                  <a:lnTo>
                    <a:pt x="300038" y="200228"/>
                  </a:lnTo>
                  <a:lnTo>
                    <a:pt x="300089" y="200228"/>
                  </a:lnTo>
                  <a:lnTo>
                    <a:pt x="300089" y="199530"/>
                  </a:lnTo>
                  <a:lnTo>
                    <a:pt x="300089" y="200228"/>
                  </a:lnTo>
                  <a:lnTo>
                    <a:pt x="300089" y="199530"/>
                  </a:lnTo>
                  <a:lnTo>
                    <a:pt x="300089" y="200228"/>
                  </a:lnTo>
                  <a:lnTo>
                    <a:pt x="300089" y="198831"/>
                  </a:lnTo>
                  <a:lnTo>
                    <a:pt x="300089" y="199530"/>
                  </a:lnTo>
                  <a:lnTo>
                    <a:pt x="300089" y="198831"/>
                  </a:lnTo>
                  <a:lnTo>
                    <a:pt x="300140" y="197447"/>
                  </a:lnTo>
                  <a:lnTo>
                    <a:pt x="300140" y="198831"/>
                  </a:lnTo>
                  <a:lnTo>
                    <a:pt x="300140" y="197447"/>
                  </a:lnTo>
                  <a:lnTo>
                    <a:pt x="300140" y="198831"/>
                  </a:lnTo>
                  <a:lnTo>
                    <a:pt x="300140" y="197447"/>
                  </a:lnTo>
                  <a:lnTo>
                    <a:pt x="300241" y="197447"/>
                  </a:lnTo>
                  <a:lnTo>
                    <a:pt x="300241" y="199530"/>
                  </a:lnTo>
                  <a:lnTo>
                    <a:pt x="300241" y="198831"/>
                  </a:lnTo>
                  <a:lnTo>
                    <a:pt x="300292" y="198831"/>
                  </a:lnTo>
                  <a:lnTo>
                    <a:pt x="300292" y="199530"/>
                  </a:lnTo>
                  <a:lnTo>
                    <a:pt x="300292" y="198831"/>
                  </a:lnTo>
                  <a:lnTo>
                    <a:pt x="300343" y="198831"/>
                  </a:lnTo>
                  <a:lnTo>
                    <a:pt x="300343" y="200228"/>
                  </a:lnTo>
                  <a:lnTo>
                    <a:pt x="300343" y="199530"/>
                  </a:lnTo>
                  <a:lnTo>
                    <a:pt x="300343" y="200228"/>
                  </a:lnTo>
                  <a:lnTo>
                    <a:pt x="300343" y="199530"/>
                  </a:lnTo>
                  <a:lnTo>
                    <a:pt x="300444" y="199530"/>
                  </a:lnTo>
                  <a:lnTo>
                    <a:pt x="300444" y="200228"/>
                  </a:lnTo>
                  <a:lnTo>
                    <a:pt x="300444" y="199530"/>
                  </a:lnTo>
                  <a:lnTo>
                    <a:pt x="300444" y="200228"/>
                  </a:lnTo>
                  <a:lnTo>
                    <a:pt x="300495" y="200228"/>
                  </a:lnTo>
                  <a:lnTo>
                    <a:pt x="300495" y="200876"/>
                  </a:lnTo>
                  <a:lnTo>
                    <a:pt x="300495" y="200228"/>
                  </a:lnTo>
                  <a:lnTo>
                    <a:pt x="300495" y="200876"/>
                  </a:lnTo>
                  <a:lnTo>
                    <a:pt x="300495" y="200228"/>
                  </a:lnTo>
                  <a:lnTo>
                    <a:pt x="300495" y="200876"/>
                  </a:lnTo>
                  <a:lnTo>
                    <a:pt x="300495" y="200228"/>
                  </a:lnTo>
                  <a:lnTo>
                    <a:pt x="300495" y="200876"/>
                  </a:lnTo>
                  <a:lnTo>
                    <a:pt x="300546" y="200228"/>
                  </a:lnTo>
                  <a:lnTo>
                    <a:pt x="300546" y="200876"/>
                  </a:lnTo>
                  <a:lnTo>
                    <a:pt x="300546" y="200228"/>
                  </a:lnTo>
                  <a:lnTo>
                    <a:pt x="300546" y="200876"/>
                  </a:lnTo>
                  <a:lnTo>
                    <a:pt x="300546" y="199530"/>
                  </a:lnTo>
                  <a:lnTo>
                    <a:pt x="300546" y="200228"/>
                  </a:lnTo>
                  <a:lnTo>
                    <a:pt x="300546" y="199530"/>
                  </a:lnTo>
                  <a:lnTo>
                    <a:pt x="300546" y="200228"/>
                  </a:lnTo>
                  <a:lnTo>
                    <a:pt x="300546" y="199530"/>
                  </a:lnTo>
                  <a:lnTo>
                    <a:pt x="300584" y="199530"/>
                  </a:lnTo>
                  <a:lnTo>
                    <a:pt x="300584" y="198831"/>
                  </a:lnTo>
                  <a:lnTo>
                    <a:pt x="300686" y="197447"/>
                  </a:lnTo>
                  <a:lnTo>
                    <a:pt x="300686" y="199530"/>
                  </a:lnTo>
                  <a:lnTo>
                    <a:pt x="300686" y="196799"/>
                  </a:lnTo>
                  <a:lnTo>
                    <a:pt x="300686" y="197447"/>
                  </a:lnTo>
                  <a:lnTo>
                    <a:pt x="300737" y="197447"/>
                  </a:lnTo>
                  <a:lnTo>
                    <a:pt x="300737" y="200228"/>
                  </a:lnTo>
                  <a:lnTo>
                    <a:pt x="300737" y="198831"/>
                  </a:lnTo>
                  <a:lnTo>
                    <a:pt x="300787" y="198831"/>
                  </a:lnTo>
                  <a:lnTo>
                    <a:pt x="300787" y="200228"/>
                  </a:lnTo>
                  <a:lnTo>
                    <a:pt x="300787" y="197447"/>
                  </a:lnTo>
                  <a:lnTo>
                    <a:pt x="300787" y="198831"/>
                  </a:lnTo>
                  <a:lnTo>
                    <a:pt x="300889" y="198831"/>
                  </a:lnTo>
                  <a:lnTo>
                    <a:pt x="300889" y="199530"/>
                  </a:lnTo>
                  <a:lnTo>
                    <a:pt x="300889" y="198831"/>
                  </a:lnTo>
                  <a:lnTo>
                    <a:pt x="300889" y="199530"/>
                  </a:lnTo>
                  <a:lnTo>
                    <a:pt x="300889" y="198831"/>
                  </a:lnTo>
                  <a:lnTo>
                    <a:pt x="300889" y="199530"/>
                  </a:lnTo>
                  <a:lnTo>
                    <a:pt x="300940" y="199530"/>
                  </a:lnTo>
                  <a:lnTo>
                    <a:pt x="300940" y="200228"/>
                  </a:lnTo>
                  <a:lnTo>
                    <a:pt x="300940" y="199530"/>
                  </a:lnTo>
                  <a:lnTo>
                    <a:pt x="300940" y="200228"/>
                  </a:lnTo>
                  <a:lnTo>
                    <a:pt x="300991" y="200228"/>
                  </a:lnTo>
                  <a:lnTo>
                    <a:pt x="300991" y="199530"/>
                  </a:lnTo>
                  <a:lnTo>
                    <a:pt x="300991" y="200228"/>
                  </a:lnTo>
                  <a:lnTo>
                    <a:pt x="300991" y="199530"/>
                  </a:lnTo>
                  <a:lnTo>
                    <a:pt x="300991" y="200228"/>
                  </a:lnTo>
                  <a:lnTo>
                    <a:pt x="300991" y="199530"/>
                  </a:lnTo>
                  <a:lnTo>
                    <a:pt x="301041" y="199530"/>
                  </a:lnTo>
                  <a:lnTo>
                    <a:pt x="301041" y="198831"/>
                  </a:lnTo>
                  <a:lnTo>
                    <a:pt x="301130" y="198831"/>
                  </a:lnTo>
                  <a:lnTo>
                    <a:pt x="301130" y="199530"/>
                  </a:lnTo>
                  <a:lnTo>
                    <a:pt x="301130" y="197447"/>
                  </a:lnTo>
                  <a:lnTo>
                    <a:pt x="301130" y="198831"/>
                  </a:lnTo>
                  <a:lnTo>
                    <a:pt x="301130" y="197447"/>
                  </a:lnTo>
                  <a:lnTo>
                    <a:pt x="301130" y="199530"/>
                  </a:lnTo>
                  <a:lnTo>
                    <a:pt x="301130" y="198831"/>
                  </a:lnTo>
                  <a:lnTo>
                    <a:pt x="301130" y="199530"/>
                  </a:lnTo>
                  <a:lnTo>
                    <a:pt x="301181" y="199530"/>
                  </a:lnTo>
                  <a:lnTo>
                    <a:pt x="301181" y="200228"/>
                  </a:lnTo>
                  <a:lnTo>
                    <a:pt x="301181" y="197447"/>
                  </a:lnTo>
                  <a:lnTo>
                    <a:pt x="301181" y="202260"/>
                  </a:lnTo>
                  <a:lnTo>
                    <a:pt x="301181" y="200876"/>
                  </a:lnTo>
                  <a:lnTo>
                    <a:pt x="301232" y="200876"/>
                  </a:lnTo>
                  <a:lnTo>
                    <a:pt x="301232" y="199530"/>
                  </a:lnTo>
                  <a:lnTo>
                    <a:pt x="301232" y="202260"/>
                  </a:lnTo>
                  <a:lnTo>
                    <a:pt x="301283" y="200876"/>
                  </a:lnTo>
                  <a:lnTo>
                    <a:pt x="301283" y="199530"/>
                  </a:lnTo>
                  <a:lnTo>
                    <a:pt x="301283" y="200876"/>
                  </a:lnTo>
                  <a:lnTo>
                    <a:pt x="301283" y="200228"/>
                  </a:lnTo>
                  <a:lnTo>
                    <a:pt x="301384" y="200876"/>
                  </a:lnTo>
                  <a:lnTo>
                    <a:pt x="301384" y="200228"/>
                  </a:lnTo>
                  <a:lnTo>
                    <a:pt x="301384" y="202260"/>
                  </a:lnTo>
                  <a:lnTo>
                    <a:pt x="301384" y="200876"/>
                  </a:lnTo>
                  <a:lnTo>
                    <a:pt x="301435" y="200876"/>
                  </a:lnTo>
                  <a:lnTo>
                    <a:pt x="301435" y="202260"/>
                  </a:lnTo>
                  <a:lnTo>
                    <a:pt x="301435" y="200876"/>
                  </a:lnTo>
                  <a:lnTo>
                    <a:pt x="301486" y="200876"/>
                  </a:lnTo>
                  <a:lnTo>
                    <a:pt x="301486" y="200228"/>
                  </a:lnTo>
                  <a:lnTo>
                    <a:pt x="301587" y="200228"/>
                  </a:lnTo>
                  <a:lnTo>
                    <a:pt x="301587" y="198831"/>
                  </a:lnTo>
                  <a:lnTo>
                    <a:pt x="301587" y="199530"/>
                  </a:lnTo>
                  <a:lnTo>
                    <a:pt x="301626" y="198831"/>
                  </a:lnTo>
                  <a:lnTo>
                    <a:pt x="301626" y="197447"/>
                  </a:lnTo>
                  <a:lnTo>
                    <a:pt x="301626" y="200228"/>
                  </a:lnTo>
                  <a:lnTo>
                    <a:pt x="301626" y="199530"/>
                  </a:lnTo>
                  <a:lnTo>
                    <a:pt x="301626" y="200228"/>
                  </a:lnTo>
                  <a:lnTo>
                    <a:pt x="301676" y="199530"/>
                  </a:lnTo>
                  <a:lnTo>
                    <a:pt x="301676" y="198831"/>
                  </a:lnTo>
                  <a:lnTo>
                    <a:pt x="301676" y="202959"/>
                  </a:lnTo>
                  <a:lnTo>
                    <a:pt x="301676" y="200228"/>
                  </a:lnTo>
                  <a:lnTo>
                    <a:pt x="301727" y="200228"/>
                  </a:lnTo>
                  <a:lnTo>
                    <a:pt x="301727" y="202959"/>
                  </a:lnTo>
                  <a:lnTo>
                    <a:pt x="301727" y="202260"/>
                  </a:lnTo>
                  <a:lnTo>
                    <a:pt x="301829" y="202260"/>
                  </a:lnTo>
                  <a:lnTo>
                    <a:pt x="301829" y="200876"/>
                  </a:lnTo>
                  <a:lnTo>
                    <a:pt x="301829" y="202260"/>
                  </a:lnTo>
                  <a:lnTo>
                    <a:pt x="301829" y="200876"/>
                  </a:lnTo>
                  <a:lnTo>
                    <a:pt x="301880" y="202260"/>
                  </a:lnTo>
                  <a:lnTo>
                    <a:pt x="301880" y="202959"/>
                  </a:lnTo>
                  <a:lnTo>
                    <a:pt x="301880" y="202260"/>
                  </a:lnTo>
                  <a:lnTo>
                    <a:pt x="301930" y="202260"/>
                  </a:lnTo>
                  <a:lnTo>
                    <a:pt x="301930" y="200876"/>
                  </a:lnTo>
                  <a:lnTo>
                    <a:pt x="301930" y="202260"/>
                  </a:lnTo>
                  <a:lnTo>
                    <a:pt x="301930" y="200876"/>
                  </a:lnTo>
                  <a:lnTo>
                    <a:pt x="301930" y="202260"/>
                  </a:lnTo>
                  <a:lnTo>
                    <a:pt x="301930" y="200228"/>
                  </a:lnTo>
                  <a:lnTo>
                    <a:pt x="302032" y="200228"/>
                  </a:lnTo>
                  <a:lnTo>
                    <a:pt x="302032" y="200876"/>
                  </a:lnTo>
                  <a:lnTo>
                    <a:pt x="302032" y="200228"/>
                  </a:lnTo>
                  <a:lnTo>
                    <a:pt x="302032" y="200876"/>
                  </a:lnTo>
                  <a:lnTo>
                    <a:pt x="302032" y="200228"/>
                  </a:lnTo>
                  <a:lnTo>
                    <a:pt x="302032" y="200876"/>
                  </a:lnTo>
                  <a:lnTo>
                    <a:pt x="302032" y="199530"/>
                  </a:lnTo>
                  <a:lnTo>
                    <a:pt x="302032" y="200228"/>
                  </a:lnTo>
                  <a:lnTo>
                    <a:pt x="302083" y="199530"/>
                  </a:lnTo>
                  <a:lnTo>
                    <a:pt x="302083" y="198831"/>
                  </a:lnTo>
                  <a:lnTo>
                    <a:pt x="302083" y="199530"/>
                  </a:lnTo>
                  <a:lnTo>
                    <a:pt x="302083" y="197447"/>
                  </a:lnTo>
                  <a:lnTo>
                    <a:pt x="302083" y="200228"/>
                  </a:lnTo>
                  <a:lnTo>
                    <a:pt x="302133" y="200228"/>
                  </a:lnTo>
                  <a:lnTo>
                    <a:pt x="302133" y="199530"/>
                  </a:lnTo>
                  <a:lnTo>
                    <a:pt x="302133" y="202260"/>
                  </a:lnTo>
                  <a:lnTo>
                    <a:pt x="302172" y="202260"/>
                  </a:lnTo>
                  <a:lnTo>
                    <a:pt x="302172" y="200876"/>
                  </a:lnTo>
                  <a:lnTo>
                    <a:pt x="302172" y="202260"/>
                  </a:lnTo>
                  <a:lnTo>
                    <a:pt x="302172" y="200876"/>
                  </a:lnTo>
                  <a:lnTo>
                    <a:pt x="302172" y="202260"/>
                  </a:lnTo>
                  <a:lnTo>
                    <a:pt x="302172" y="200876"/>
                  </a:lnTo>
                  <a:lnTo>
                    <a:pt x="302273" y="200876"/>
                  </a:lnTo>
                  <a:lnTo>
                    <a:pt x="302273" y="202260"/>
                  </a:lnTo>
                  <a:lnTo>
                    <a:pt x="302324" y="202260"/>
                  </a:lnTo>
                  <a:lnTo>
                    <a:pt x="302324" y="200876"/>
                  </a:lnTo>
                  <a:lnTo>
                    <a:pt x="302324" y="202959"/>
                  </a:lnTo>
                  <a:lnTo>
                    <a:pt x="302324" y="202260"/>
                  </a:lnTo>
                  <a:lnTo>
                    <a:pt x="302375" y="202260"/>
                  </a:lnTo>
                  <a:lnTo>
                    <a:pt x="302375" y="203594"/>
                  </a:lnTo>
                  <a:lnTo>
                    <a:pt x="302375" y="200876"/>
                  </a:lnTo>
                  <a:lnTo>
                    <a:pt x="302375" y="202260"/>
                  </a:lnTo>
                  <a:lnTo>
                    <a:pt x="302476" y="202260"/>
                  </a:lnTo>
                  <a:lnTo>
                    <a:pt x="302476" y="202959"/>
                  </a:lnTo>
                  <a:lnTo>
                    <a:pt x="302476" y="200228"/>
                  </a:lnTo>
                  <a:lnTo>
                    <a:pt x="302527" y="200228"/>
                  </a:lnTo>
                  <a:lnTo>
                    <a:pt x="302527" y="200876"/>
                  </a:lnTo>
                  <a:lnTo>
                    <a:pt x="302527" y="198831"/>
                  </a:lnTo>
                  <a:lnTo>
                    <a:pt x="302578" y="198831"/>
                  </a:lnTo>
                  <a:lnTo>
                    <a:pt x="302578" y="197447"/>
                  </a:lnTo>
                  <a:lnTo>
                    <a:pt x="302578" y="198831"/>
                  </a:lnTo>
                  <a:lnTo>
                    <a:pt x="302578" y="197447"/>
                  </a:lnTo>
                  <a:lnTo>
                    <a:pt x="302578" y="199530"/>
                  </a:lnTo>
                  <a:lnTo>
                    <a:pt x="302629" y="199530"/>
                  </a:lnTo>
                  <a:lnTo>
                    <a:pt x="302629" y="198831"/>
                  </a:lnTo>
                  <a:lnTo>
                    <a:pt x="302629" y="199530"/>
                  </a:lnTo>
                  <a:lnTo>
                    <a:pt x="302629" y="198831"/>
                  </a:lnTo>
                  <a:lnTo>
                    <a:pt x="302629" y="200228"/>
                  </a:lnTo>
                  <a:lnTo>
                    <a:pt x="302629" y="199530"/>
                  </a:lnTo>
                  <a:lnTo>
                    <a:pt x="302629" y="200876"/>
                  </a:lnTo>
                  <a:lnTo>
                    <a:pt x="302629" y="200228"/>
                  </a:lnTo>
                  <a:lnTo>
                    <a:pt x="302718" y="200228"/>
                  </a:lnTo>
                  <a:lnTo>
                    <a:pt x="302718" y="199530"/>
                  </a:lnTo>
                  <a:lnTo>
                    <a:pt x="302768" y="200228"/>
                  </a:lnTo>
                  <a:lnTo>
                    <a:pt x="302768" y="200876"/>
                  </a:lnTo>
                  <a:lnTo>
                    <a:pt x="302819" y="200876"/>
                  </a:lnTo>
                  <a:lnTo>
                    <a:pt x="302819" y="202260"/>
                  </a:lnTo>
                  <a:lnTo>
                    <a:pt x="302870" y="202959"/>
                  </a:lnTo>
                  <a:lnTo>
                    <a:pt x="302870" y="200876"/>
                  </a:lnTo>
                  <a:lnTo>
                    <a:pt x="302870" y="202260"/>
                  </a:lnTo>
                  <a:lnTo>
                    <a:pt x="302870" y="200876"/>
                  </a:lnTo>
                  <a:lnTo>
                    <a:pt x="302870" y="202260"/>
                  </a:lnTo>
                  <a:lnTo>
                    <a:pt x="302870" y="200876"/>
                  </a:lnTo>
                  <a:lnTo>
                    <a:pt x="302870" y="202260"/>
                  </a:lnTo>
                  <a:lnTo>
                    <a:pt x="302870" y="200876"/>
                  </a:lnTo>
                  <a:lnTo>
                    <a:pt x="302870" y="202260"/>
                  </a:lnTo>
                  <a:lnTo>
                    <a:pt x="302870" y="200876"/>
                  </a:lnTo>
                  <a:lnTo>
                    <a:pt x="302972" y="202260"/>
                  </a:lnTo>
                  <a:lnTo>
                    <a:pt x="302972" y="200876"/>
                  </a:lnTo>
                  <a:lnTo>
                    <a:pt x="302972" y="202260"/>
                  </a:lnTo>
                  <a:lnTo>
                    <a:pt x="302972" y="200876"/>
                  </a:lnTo>
                  <a:lnTo>
                    <a:pt x="302972" y="202260"/>
                  </a:lnTo>
                  <a:lnTo>
                    <a:pt x="302972" y="200228"/>
                  </a:lnTo>
                  <a:lnTo>
                    <a:pt x="302972" y="200876"/>
                  </a:lnTo>
                  <a:lnTo>
                    <a:pt x="302972" y="200228"/>
                  </a:lnTo>
                  <a:lnTo>
                    <a:pt x="302972" y="200876"/>
                  </a:lnTo>
                  <a:lnTo>
                    <a:pt x="302972" y="200228"/>
                  </a:lnTo>
                  <a:lnTo>
                    <a:pt x="302972" y="200876"/>
                  </a:lnTo>
                  <a:lnTo>
                    <a:pt x="303022" y="200228"/>
                  </a:lnTo>
                  <a:lnTo>
                    <a:pt x="303022" y="199530"/>
                  </a:lnTo>
                  <a:lnTo>
                    <a:pt x="303022" y="200228"/>
                  </a:lnTo>
                  <a:lnTo>
                    <a:pt x="303022" y="198831"/>
                  </a:lnTo>
                  <a:lnTo>
                    <a:pt x="303073" y="198831"/>
                  </a:lnTo>
                  <a:lnTo>
                    <a:pt x="303073" y="196113"/>
                  </a:lnTo>
                  <a:lnTo>
                    <a:pt x="303073" y="196799"/>
                  </a:lnTo>
                  <a:lnTo>
                    <a:pt x="303175" y="196799"/>
                  </a:lnTo>
                  <a:lnTo>
                    <a:pt x="303175" y="198831"/>
                  </a:lnTo>
                  <a:lnTo>
                    <a:pt x="303175" y="196113"/>
                  </a:lnTo>
                  <a:lnTo>
                    <a:pt x="303175" y="199530"/>
                  </a:lnTo>
                  <a:lnTo>
                    <a:pt x="303213" y="199530"/>
                  </a:lnTo>
                  <a:lnTo>
                    <a:pt x="303213" y="196799"/>
                  </a:lnTo>
                  <a:lnTo>
                    <a:pt x="303213" y="199530"/>
                  </a:lnTo>
                  <a:lnTo>
                    <a:pt x="303264" y="198831"/>
                  </a:lnTo>
                  <a:lnTo>
                    <a:pt x="303264" y="197447"/>
                  </a:lnTo>
                  <a:lnTo>
                    <a:pt x="303264" y="200228"/>
                  </a:lnTo>
                  <a:lnTo>
                    <a:pt x="303264" y="199530"/>
                  </a:lnTo>
                  <a:lnTo>
                    <a:pt x="303315" y="200228"/>
                  </a:lnTo>
                  <a:lnTo>
                    <a:pt x="303315" y="200876"/>
                  </a:lnTo>
                  <a:lnTo>
                    <a:pt x="303416" y="200876"/>
                  </a:lnTo>
                  <a:lnTo>
                    <a:pt x="303416" y="202260"/>
                  </a:lnTo>
                  <a:lnTo>
                    <a:pt x="303416" y="200228"/>
                  </a:lnTo>
                  <a:lnTo>
                    <a:pt x="303416" y="202260"/>
                  </a:lnTo>
                  <a:lnTo>
                    <a:pt x="303416" y="200876"/>
                  </a:lnTo>
                  <a:lnTo>
                    <a:pt x="303467" y="200876"/>
                  </a:lnTo>
                  <a:lnTo>
                    <a:pt x="303467" y="202260"/>
                  </a:lnTo>
                  <a:lnTo>
                    <a:pt x="303467" y="200876"/>
                  </a:lnTo>
                  <a:lnTo>
                    <a:pt x="303518" y="200876"/>
                  </a:lnTo>
                  <a:lnTo>
                    <a:pt x="303518" y="200228"/>
                  </a:lnTo>
                  <a:lnTo>
                    <a:pt x="303518" y="200876"/>
                  </a:lnTo>
                  <a:lnTo>
                    <a:pt x="303518" y="198831"/>
                  </a:lnTo>
                  <a:lnTo>
                    <a:pt x="303619" y="198831"/>
                  </a:lnTo>
                  <a:lnTo>
                    <a:pt x="303619" y="196799"/>
                  </a:lnTo>
                  <a:lnTo>
                    <a:pt x="303619" y="197447"/>
                  </a:lnTo>
                  <a:lnTo>
                    <a:pt x="303619" y="196113"/>
                  </a:lnTo>
                  <a:lnTo>
                    <a:pt x="303670" y="196113"/>
                  </a:lnTo>
                  <a:lnTo>
                    <a:pt x="303670" y="196799"/>
                  </a:lnTo>
                  <a:lnTo>
                    <a:pt x="303670" y="194716"/>
                  </a:lnTo>
                  <a:lnTo>
                    <a:pt x="303670" y="196113"/>
                  </a:lnTo>
                  <a:lnTo>
                    <a:pt x="303721" y="196113"/>
                  </a:lnTo>
                  <a:lnTo>
                    <a:pt x="303721" y="197447"/>
                  </a:lnTo>
                  <a:lnTo>
                    <a:pt x="303721" y="196799"/>
                  </a:lnTo>
                  <a:lnTo>
                    <a:pt x="303721" y="197447"/>
                  </a:lnTo>
                  <a:lnTo>
                    <a:pt x="303721" y="196113"/>
                  </a:lnTo>
                  <a:lnTo>
                    <a:pt x="303721" y="196799"/>
                  </a:lnTo>
                  <a:lnTo>
                    <a:pt x="303759" y="196799"/>
                  </a:lnTo>
                  <a:lnTo>
                    <a:pt x="303759" y="197447"/>
                  </a:lnTo>
                  <a:lnTo>
                    <a:pt x="303759" y="196799"/>
                  </a:lnTo>
                  <a:lnTo>
                    <a:pt x="303759" y="197447"/>
                  </a:lnTo>
                  <a:lnTo>
                    <a:pt x="303861" y="198831"/>
                  </a:lnTo>
                  <a:lnTo>
                    <a:pt x="303861" y="197447"/>
                  </a:lnTo>
                  <a:lnTo>
                    <a:pt x="303861" y="198831"/>
                  </a:lnTo>
                  <a:lnTo>
                    <a:pt x="303861" y="197447"/>
                  </a:lnTo>
                  <a:lnTo>
                    <a:pt x="303861" y="198831"/>
                  </a:lnTo>
                  <a:lnTo>
                    <a:pt x="303861" y="197447"/>
                  </a:lnTo>
                  <a:lnTo>
                    <a:pt x="303861" y="198831"/>
                  </a:lnTo>
                  <a:lnTo>
                    <a:pt x="303912" y="198831"/>
                  </a:lnTo>
                  <a:lnTo>
                    <a:pt x="303912" y="199530"/>
                  </a:lnTo>
                  <a:lnTo>
                    <a:pt x="303962" y="199530"/>
                  </a:lnTo>
                  <a:lnTo>
                    <a:pt x="303962" y="200228"/>
                  </a:lnTo>
                  <a:lnTo>
                    <a:pt x="303962" y="199530"/>
                  </a:lnTo>
                  <a:lnTo>
                    <a:pt x="303962" y="200228"/>
                  </a:lnTo>
                  <a:lnTo>
                    <a:pt x="303962" y="199530"/>
                  </a:lnTo>
                  <a:lnTo>
                    <a:pt x="303962" y="200228"/>
                  </a:lnTo>
                  <a:lnTo>
                    <a:pt x="303962" y="199530"/>
                  </a:lnTo>
                  <a:lnTo>
                    <a:pt x="303962" y="200228"/>
                  </a:lnTo>
                  <a:lnTo>
                    <a:pt x="304064" y="200228"/>
                  </a:lnTo>
                  <a:lnTo>
                    <a:pt x="304064" y="199530"/>
                  </a:lnTo>
                  <a:lnTo>
                    <a:pt x="304064" y="200228"/>
                  </a:lnTo>
                  <a:lnTo>
                    <a:pt x="304064" y="199530"/>
                  </a:lnTo>
                  <a:lnTo>
                    <a:pt x="304064" y="200228"/>
                  </a:lnTo>
                  <a:lnTo>
                    <a:pt x="304064" y="199530"/>
                  </a:lnTo>
                  <a:lnTo>
                    <a:pt x="304064" y="200228"/>
                  </a:lnTo>
                  <a:lnTo>
                    <a:pt x="304064" y="199530"/>
                  </a:lnTo>
                  <a:lnTo>
                    <a:pt x="304115" y="199530"/>
                  </a:lnTo>
                  <a:lnTo>
                    <a:pt x="304115" y="197447"/>
                  </a:lnTo>
                  <a:lnTo>
                    <a:pt x="304115" y="198831"/>
                  </a:lnTo>
                  <a:lnTo>
                    <a:pt x="304166" y="198831"/>
                  </a:lnTo>
                  <a:lnTo>
                    <a:pt x="304166" y="199530"/>
                  </a:lnTo>
                  <a:lnTo>
                    <a:pt x="304166" y="196799"/>
                  </a:lnTo>
                  <a:lnTo>
                    <a:pt x="304166" y="199530"/>
                  </a:lnTo>
                  <a:lnTo>
                    <a:pt x="304216" y="199530"/>
                  </a:lnTo>
                  <a:lnTo>
                    <a:pt x="304216" y="198831"/>
                  </a:lnTo>
                  <a:lnTo>
                    <a:pt x="304216" y="199530"/>
                  </a:lnTo>
                  <a:lnTo>
                    <a:pt x="304305" y="199530"/>
                  </a:lnTo>
                  <a:lnTo>
                    <a:pt x="304305" y="198831"/>
                  </a:lnTo>
                  <a:lnTo>
                    <a:pt x="304305" y="199530"/>
                  </a:lnTo>
                  <a:lnTo>
                    <a:pt x="304305" y="198831"/>
                  </a:lnTo>
                  <a:lnTo>
                    <a:pt x="304305" y="199530"/>
                  </a:lnTo>
                  <a:lnTo>
                    <a:pt x="304305" y="198831"/>
                  </a:lnTo>
                  <a:lnTo>
                    <a:pt x="304305" y="199530"/>
                  </a:lnTo>
                  <a:lnTo>
                    <a:pt x="304305" y="198831"/>
                  </a:lnTo>
                  <a:lnTo>
                    <a:pt x="304356" y="198831"/>
                  </a:lnTo>
                  <a:lnTo>
                    <a:pt x="304356" y="199530"/>
                  </a:lnTo>
                  <a:lnTo>
                    <a:pt x="304356" y="198831"/>
                  </a:lnTo>
                  <a:lnTo>
                    <a:pt x="304356" y="199530"/>
                  </a:lnTo>
                  <a:lnTo>
                    <a:pt x="304356" y="198831"/>
                  </a:lnTo>
                  <a:lnTo>
                    <a:pt x="304356" y="200228"/>
                  </a:lnTo>
                  <a:lnTo>
                    <a:pt x="304356" y="199530"/>
                  </a:lnTo>
                  <a:lnTo>
                    <a:pt x="304458" y="199530"/>
                  </a:lnTo>
                  <a:lnTo>
                    <a:pt x="304458" y="200228"/>
                  </a:lnTo>
                  <a:lnTo>
                    <a:pt x="304458" y="199530"/>
                  </a:lnTo>
                  <a:lnTo>
                    <a:pt x="304458" y="200228"/>
                  </a:lnTo>
                  <a:lnTo>
                    <a:pt x="304458" y="199530"/>
                  </a:lnTo>
                  <a:lnTo>
                    <a:pt x="304559" y="200228"/>
                  </a:lnTo>
                  <a:lnTo>
                    <a:pt x="304559" y="198831"/>
                  </a:lnTo>
                  <a:lnTo>
                    <a:pt x="304559" y="199530"/>
                  </a:lnTo>
                  <a:lnTo>
                    <a:pt x="304559" y="198831"/>
                  </a:lnTo>
                  <a:lnTo>
                    <a:pt x="304610" y="198831"/>
                  </a:lnTo>
                  <a:lnTo>
                    <a:pt x="304610" y="199530"/>
                  </a:lnTo>
                  <a:lnTo>
                    <a:pt x="304610" y="196799"/>
                  </a:lnTo>
                  <a:lnTo>
                    <a:pt x="304610" y="197447"/>
                  </a:lnTo>
                  <a:lnTo>
                    <a:pt x="304610" y="196799"/>
                  </a:lnTo>
                  <a:lnTo>
                    <a:pt x="304610" y="199530"/>
                  </a:lnTo>
                  <a:lnTo>
                    <a:pt x="304661" y="199530"/>
                  </a:lnTo>
                  <a:lnTo>
                    <a:pt x="304661" y="196799"/>
                  </a:lnTo>
                  <a:lnTo>
                    <a:pt x="304661" y="200228"/>
                  </a:lnTo>
                  <a:lnTo>
                    <a:pt x="304762" y="200228"/>
                  </a:lnTo>
                  <a:lnTo>
                    <a:pt x="304762" y="199530"/>
                  </a:lnTo>
                  <a:lnTo>
                    <a:pt x="304762" y="200228"/>
                  </a:lnTo>
                  <a:lnTo>
                    <a:pt x="304801" y="200228"/>
                  </a:lnTo>
                  <a:lnTo>
                    <a:pt x="304801" y="199530"/>
                  </a:lnTo>
                  <a:lnTo>
                    <a:pt x="304801" y="200228"/>
                  </a:lnTo>
                  <a:lnTo>
                    <a:pt x="304801" y="199530"/>
                  </a:lnTo>
                  <a:lnTo>
                    <a:pt x="304851" y="199530"/>
                  </a:lnTo>
                  <a:lnTo>
                    <a:pt x="304851" y="200228"/>
                  </a:lnTo>
                  <a:lnTo>
                    <a:pt x="304851" y="199530"/>
                  </a:lnTo>
                  <a:lnTo>
                    <a:pt x="304902" y="199530"/>
                  </a:lnTo>
                  <a:lnTo>
                    <a:pt x="304902" y="200228"/>
                  </a:lnTo>
                  <a:lnTo>
                    <a:pt x="304902" y="199530"/>
                  </a:lnTo>
                  <a:lnTo>
                    <a:pt x="304902" y="200228"/>
                  </a:lnTo>
                  <a:lnTo>
                    <a:pt x="304902" y="199530"/>
                  </a:lnTo>
                  <a:lnTo>
                    <a:pt x="305004" y="199530"/>
                  </a:lnTo>
                  <a:lnTo>
                    <a:pt x="305004" y="200228"/>
                  </a:lnTo>
                  <a:lnTo>
                    <a:pt x="305004" y="199530"/>
                  </a:lnTo>
                  <a:lnTo>
                    <a:pt x="305004" y="200228"/>
                  </a:lnTo>
                  <a:lnTo>
                    <a:pt x="305004" y="199530"/>
                  </a:lnTo>
                  <a:lnTo>
                    <a:pt x="305004" y="200228"/>
                  </a:lnTo>
                  <a:lnTo>
                    <a:pt x="305004" y="199530"/>
                  </a:lnTo>
                  <a:lnTo>
                    <a:pt x="305055" y="199530"/>
                  </a:lnTo>
                  <a:lnTo>
                    <a:pt x="305055" y="196799"/>
                  </a:lnTo>
                  <a:lnTo>
                    <a:pt x="305105" y="197447"/>
                  </a:lnTo>
                  <a:lnTo>
                    <a:pt x="305105" y="196113"/>
                  </a:lnTo>
                  <a:lnTo>
                    <a:pt x="305105" y="198831"/>
                  </a:lnTo>
                  <a:lnTo>
                    <a:pt x="305207" y="198831"/>
                  </a:lnTo>
                  <a:lnTo>
                    <a:pt x="305207" y="196799"/>
                  </a:lnTo>
                  <a:lnTo>
                    <a:pt x="305207" y="200228"/>
                  </a:lnTo>
                  <a:lnTo>
                    <a:pt x="305258" y="199530"/>
                  </a:lnTo>
                  <a:lnTo>
                    <a:pt x="305258" y="198831"/>
                  </a:lnTo>
                  <a:lnTo>
                    <a:pt x="305258" y="200876"/>
                  </a:lnTo>
                  <a:lnTo>
                    <a:pt x="305258" y="200228"/>
                  </a:lnTo>
                  <a:lnTo>
                    <a:pt x="305347" y="200228"/>
                  </a:lnTo>
                  <a:lnTo>
                    <a:pt x="305347" y="200876"/>
                  </a:lnTo>
                  <a:lnTo>
                    <a:pt x="305448" y="200876"/>
                  </a:lnTo>
                  <a:lnTo>
                    <a:pt x="305448" y="200228"/>
                  </a:lnTo>
                  <a:lnTo>
                    <a:pt x="305448" y="200876"/>
                  </a:lnTo>
                  <a:lnTo>
                    <a:pt x="305448" y="200228"/>
                  </a:lnTo>
                  <a:lnTo>
                    <a:pt x="305448" y="200876"/>
                  </a:lnTo>
                  <a:lnTo>
                    <a:pt x="305499" y="200228"/>
                  </a:lnTo>
                  <a:lnTo>
                    <a:pt x="305499" y="200876"/>
                  </a:lnTo>
                  <a:lnTo>
                    <a:pt x="305499" y="200228"/>
                  </a:lnTo>
                  <a:lnTo>
                    <a:pt x="305499" y="200876"/>
                  </a:lnTo>
                  <a:lnTo>
                    <a:pt x="305499" y="199530"/>
                  </a:lnTo>
                  <a:lnTo>
                    <a:pt x="305499" y="200228"/>
                  </a:lnTo>
                  <a:lnTo>
                    <a:pt x="305499" y="199530"/>
                  </a:lnTo>
                  <a:lnTo>
                    <a:pt x="305550" y="200228"/>
                  </a:lnTo>
                  <a:lnTo>
                    <a:pt x="305550" y="198831"/>
                  </a:lnTo>
                  <a:lnTo>
                    <a:pt x="305550" y="199530"/>
                  </a:lnTo>
                  <a:lnTo>
                    <a:pt x="305550" y="197447"/>
                  </a:lnTo>
                  <a:lnTo>
                    <a:pt x="305550" y="198831"/>
                  </a:lnTo>
                  <a:lnTo>
                    <a:pt x="305550" y="197447"/>
                  </a:lnTo>
                  <a:lnTo>
                    <a:pt x="305651" y="197447"/>
                  </a:lnTo>
                  <a:lnTo>
                    <a:pt x="305651" y="196799"/>
                  </a:lnTo>
                  <a:lnTo>
                    <a:pt x="305651" y="199530"/>
                  </a:lnTo>
                  <a:lnTo>
                    <a:pt x="305651" y="197447"/>
                  </a:lnTo>
                  <a:lnTo>
                    <a:pt x="305702" y="197447"/>
                  </a:lnTo>
                  <a:lnTo>
                    <a:pt x="305702" y="200876"/>
                  </a:lnTo>
                  <a:lnTo>
                    <a:pt x="305702" y="200228"/>
                  </a:lnTo>
                  <a:lnTo>
                    <a:pt x="305702" y="200876"/>
                  </a:lnTo>
                  <a:lnTo>
                    <a:pt x="305702" y="199530"/>
                  </a:lnTo>
                  <a:lnTo>
                    <a:pt x="305753" y="199530"/>
                  </a:lnTo>
                  <a:lnTo>
                    <a:pt x="305753" y="200876"/>
                  </a:lnTo>
                  <a:lnTo>
                    <a:pt x="305753" y="200228"/>
                  </a:lnTo>
                  <a:lnTo>
                    <a:pt x="305753" y="200876"/>
                  </a:lnTo>
                  <a:lnTo>
                    <a:pt x="305804" y="200876"/>
                  </a:lnTo>
                  <a:lnTo>
                    <a:pt x="305804" y="200228"/>
                  </a:lnTo>
                  <a:lnTo>
                    <a:pt x="305804" y="200876"/>
                  </a:lnTo>
                  <a:lnTo>
                    <a:pt x="305804" y="200228"/>
                  </a:lnTo>
                  <a:lnTo>
                    <a:pt x="305893" y="200876"/>
                  </a:lnTo>
                  <a:lnTo>
                    <a:pt x="305893" y="200228"/>
                  </a:lnTo>
                  <a:lnTo>
                    <a:pt x="305893" y="200876"/>
                  </a:lnTo>
                  <a:lnTo>
                    <a:pt x="305893" y="200228"/>
                  </a:lnTo>
                  <a:lnTo>
                    <a:pt x="305893" y="202260"/>
                  </a:lnTo>
                  <a:lnTo>
                    <a:pt x="305893" y="200876"/>
                  </a:lnTo>
                  <a:lnTo>
                    <a:pt x="305943" y="200228"/>
                  </a:lnTo>
                  <a:lnTo>
                    <a:pt x="305943" y="202260"/>
                  </a:lnTo>
                  <a:lnTo>
                    <a:pt x="305943" y="200876"/>
                  </a:lnTo>
                  <a:lnTo>
                    <a:pt x="305994" y="200876"/>
                  </a:lnTo>
                  <a:lnTo>
                    <a:pt x="305994" y="199530"/>
                  </a:lnTo>
                  <a:lnTo>
                    <a:pt x="306045" y="199530"/>
                  </a:lnTo>
                  <a:lnTo>
                    <a:pt x="306045" y="197447"/>
                  </a:lnTo>
                  <a:lnTo>
                    <a:pt x="306045" y="198831"/>
                  </a:lnTo>
                  <a:lnTo>
                    <a:pt x="306147" y="198831"/>
                  </a:lnTo>
                  <a:lnTo>
                    <a:pt x="306147" y="199530"/>
                  </a:lnTo>
                  <a:lnTo>
                    <a:pt x="306147" y="198831"/>
                  </a:lnTo>
                  <a:lnTo>
                    <a:pt x="306147" y="200876"/>
                  </a:lnTo>
                  <a:lnTo>
                    <a:pt x="306197" y="200876"/>
                  </a:lnTo>
                  <a:lnTo>
                    <a:pt x="306197" y="199530"/>
                  </a:lnTo>
                  <a:lnTo>
                    <a:pt x="306197" y="200876"/>
                  </a:lnTo>
                  <a:lnTo>
                    <a:pt x="306248" y="200876"/>
                  </a:lnTo>
                  <a:lnTo>
                    <a:pt x="306248" y="200228"/>
                  </a:lnTo>
                  <a:lnTo>
                    <a:pt x="306350" y="200228"/>
                  </a:lnTo>
                  <a:lnTo>
                    <a:pt x="306350" y="200876"/>
                  </a:lnTo>
                  <a:lnTo>
                    <a:pt x="306350" y="200228"/>
                  </a:lnTo>
                  <a:lnTo>
                    <a:pt x="306350" y="200876"/>
                  </a:lnTo>
                  <a:lnTo>
                    <a:pt x="306388" y="200876"/>
                  </a:lnTo>
                  <a:lnTo>
                    <a:pt x="306388" y="200228"/>
                  </a:lnTo>
                  <a:lnTo>
                    <a:pt x="306388" y="202260"/>
                  </a:lnTo>
                  <a:lnTo>
                    <a:pt x="306388" y="200876"/>
                  </a:lnTo>
                  <a:lnTo>
                    <a:pt x="306388" y="202260"/>
                  </a:lnTo>
                  <a:lnTo>
                    <a:pt x="306439" y="200876"/>
                  </a:lnTo>
                  <a:lnTo>
                    <a:pt x="306439" y="202260"/>
                  </a:lnTo>
                  <a:lnTo>
                    <a:pt x="306439" y="200876"/>
                  </a:lnTo>
                  <a:lnTo>
                    <a:pt x="306490" y="200876"/>
                  </a:lnTo>
                  <a:lnTo>
                    <a:pt x="306490" y="200228"/>
                  </a:lnTo>
                  <a:lnTo>
                    <a:pt x="306490" y="200876"/>
                  </a:lnTo>
                  <a:lnTo>
                    <a:pt x="306490" y="199530"/>
                  </a:lnTo>
                  <a:lnTo>
                    <a:pt x="306490" y="200228"/>
                  </a:lnTo>
                  <a:lnTo>
                    <a:pt x="306490" y="199530"/>
                  </a:lnTo>
                  <a:lnTo>
                    <a:pt x="306591" y="198831"/>
                  </a:lnTo>
                  <a:lnTo>
                    <a:pt x="306591" y="197447"/>
                  </a:lnTo>
                  <a:lnTo>
                    <a:pt x="306591" y="198831"/>
                  </a:lnTo>
                  <a:lnTo>
                    <a:pt x="306591" y="197447"/>
                  </a:lnTo>
                  <a:lnTo>
                    <a:pt x="306642" y="197447"/>
                  </a:lnTo>
                  <a:lnTo>
                    <a:pt x="306642" y="200228"/>
                  </a:lnTo>
                  <a:lnTo>
                    <a:pt x="306642" y="199530"/>
                  </a:lnTo>
                  <a:lnTo>
                    <a:pt x="306693" y="199530"/>
                  </a:lnTo>
                  <a:lnTo>
                    <a:pt x="306693" y="198831"/>
                  </a:lnTo>
                  <a:lnTo>
                    <a:pt x="306693" y="200228"/>
                  </a:lnTo>
                  <a:lnTo>
                    <a:pt x="306693" y="199530"/>
                  </a:lnTo>
                  <a:lnTo>
                    <a:pt x="306693" y="200228"/>
                  </a:lnTo>
                  <a:lnTo>
                    <a:pt x="306794" y="199530"/>
                  </a:lnTo>
                  <a:lnTo>
                    <a:pt x="306794" y="200228"/>
                  </a:lnTo>
                  <a:lnTo>
                    <a:pt x="306794" y="199530"/>
                  </a:lnTo>
                  <a:lnTo>
                    <a:pt x="306845" y="200228"/>
                  </a:lnTo>
                  <a:lnTo>
                    <a:pt x="306845" y="199530"/>
                  </a:lnTo>
                  <a:lnTo>
                    <a:pt x="306845" y="200228"/>
                  </a:lnTo>
                  <a:lnTo>
                    <a:pt x="306845" y="199530"/>
                  </a:lnTo>
                  <a:lnTo>
                    <a:pt x="306845" y="200228"/>
                  </a:lnTo>
                  <a:lnTo>
                    <a:pt x="306896" y="200228"/>
                  </a:lnTo>
                  <a:lnTo>
                    <a:pt x="306896" y="200876"/>
                  </a:lnTo>
                  <a:lnTo>
                    <a:pt x="306896" y="200228"/>
                  </a:lnTo>
                  <a:lnTo>
                    <a:pt x="306896" y="200876"/>
                  </a:lnTo>
                  <a:lnTo>
                    <a:pt x="306934" y="200876"/>
                  </a:lnTo>
                  <a:lnTo>
                    <a:pt x="306934" y="200228"/>
                  </a:lnTo>
                  <a:lnTo>
                    <a:pt x="306934" y="200876"/>
                  </a:lnTo>
                  <a:lnTo>
                    <a:pt x="306934" y="200228"/>
                  </a:lnTo>
                  <a:lnTo>
                    <a:pt x="306934" y="200876"/>
                  </a:lnTo>
                  <a:lnTo>
                    <a:pt x="306934" y="200228"/>
                  </a:lnTo>
                  <a:lnTo>
                    <a:pt x="307036" y="200228"/>
                  </a:lnTo>
                  <a:lnTo>
                    <a:pt x="307036" y="199530"/>
                  </a:lnTo>
                  <a:lnTo>
                    <a:pt x="307036" y="200228"/>
                  </a:lnTo>
                  <a:lnTo>
                    <a:pt x="307036" y="198831"/>
                  </a:lnTo>
                  <a:lnTo>
                    <a:pt x="307036" y="199530"/>
                  </a:lnTo>
                  <a:lnTo>
                    <a:pt x="307036" y="198831"/>
                  </a:lnTo>
                  <a:lnTo>
                    <a:pt x="307087" y="198831"/>
                  </a:lnTo>
                  <a:lnTo>
                    <a:pt x="307087" y="200228"/>
                  </a:lnTo>
                  <a:lnTo>
                    <a:pt x="307087" y="198831"/>
                  </a:lnTo>
                  <a:lnTo>
                    <a:pt x="307137" y="198831"/>
                  </a:lnTo>
                  <a:lnTo>
                    <a:pt x="307137" y="202260"/>
                  </a:lnTo>
                  <a:lnTo>
                    <a:pt x="307137" y="200228"/>
                  </a:lnTo>
                  <a:lnTo>
                    <a:pt x="307137" y="200876"/>
                  </a:lnTo>
                  <a:lnTo>
                    <a:pt x="307239" y="200876"/>
                  </a:lnTo>
                  <a:lnTo>
                    <a:pt x="307239" y="202260"/>
                  </a:lnTo>
                  <a:lnTo>
                    <a:pt x="307239" y="200876"/>
                  </a:lnTo>
                  <a:lnTo>
                    <a:pt x="307239" y="202260"/>
                  </a:lnTo>
                  <a:lnTo>
                    <a:pt x="307239" y="200876"/>
                  </a:lnTo>
                  <a:lnTo>
                    <a:pt x="307290" y="200876"/>
                  </a:lnTo>
                  <a:lnTo>
                    <a:pt x="307290" y="200228"/>
                  </a:lnTo>
                  <a:lnTo>
                    <a:pt x="307290" y="200876"/>
                  </a:lnTo>
                  <a:lnTo>
                    <a:pt x="307341" y="200876"/>
                  </a:lnTo>
                  <a:lnTo>
                    <a:pt x="307341" y="202260"/>
                  </a:lnTo>
                  <a:lnTo>
                    <a:pt x="307341" y="200876"/>
                  </a:lnTo>
                  <a:lnTo>
                    <a:pt x="307341" y="202260"/>
                  </a:lnTo>
                  <a:lnTo>
                    <a:pt x="307391" y="202260"/>
                  </a:lnTo>
                  <a:lnTo>
                    <a:pt x="307480" y="200876"/>
                  </a:lnTo>
                  <a:lnTo>
                    <a:pt x="307480" y="202260"/>
                  </a:lnTo>
                  <a:lnTo>
                    <a:pt x="307480" y="200228"/>
                  </a:lnTo>
                  <a:lnTo>
                    <a:pt x="307480" y="200876"/>
                  </a:lnTo>
                  <a:lnTo>
                    <a:pt x="307480" y="200228"/>
                  </a:lnTo>
                  <a:lnTo>
                    <a:pt x="307531" y="200228"/>
                  </a:lnTo>
                  <a:lnTo>
                    <a:pt x="307531" y="199530"/>
                  </a:lnTo>
                  <a:lnTo>
                    <a:pt x="307531" y="200228"/>
                  </a:lnTo>
                  <a:lnTo>
                    <a:pt x="307531" y="198831"/>
                  </a:lnTo>
                  <a:lnTo>
                    <a:pt x="307582" y="199530"/>
                  </a:lnTo>
                  <a:lnTo>
                    <a:pt x="307582" y="200228"/>
                  </a:lnTo>
                  <a:lnTo>
                    <a:pt x="307582" y="198831"/>
                  </a:lnTo>
                  <a:lnTo>
                    <a:pt x="307582" y="202260"/>
                  </a:lnTo>
                  <a:lnTo>
                    <a:pt x="307633" y="202260"/>
                  </a:lnTo>
                  <a:lnTo>
                    <a:pt x="307633" y="202959"/>
                  </a:lnTo>
                  <a:lnTo>
                    <a:pt x="307633" y="200228"/>
                  </a:lnTo>
                  <a:lnTo>
                    <a:pt x="307633" y="202260"/>
                  </a:lnTo>
                  <a:lnTo>
                    <a:pt x="307734" y="202260"/>
                  </a:lnTo>
                  <a:lnTo>
                    <a:pt x="307734" y="200876"/>
                  </a:lnTo>
                  <a:lnTo>
                    <a:pt x="307734" y="202260"/>
                  </a:lnTo>
                  <a:lnTo>
                    <a:pt x="307785" y="202260"/>
                  </a:lnTo>
                  <a:lnTo>
                    <a:pt x="307785" y="200876"/>
                  </a:lnTo>
                  <a:lnTo>
                    <a:pt x="307785" y="202260"/>
                  </a:lnTo>
                  <a:lnTo>
                    <a:pt x="307836" y="202260"/>
                  </a:lnTo>
                  <a:lnTo>
                    <a:pt x="307836" y="200876"/>
                  </a:lnTo>
                  <a:lnTo>
                    <a:pt x="307836" y="202260"/>
                  </a:lnTo>
                  <a:lnTo>
                    <a:pt x="307836" y="200876"/>
                  </a:lnTo>
                  <a:lnTo>
                    <a:pt x="307937" y="200876"/>
                  </a:lnTo>
                  <a:lnTo>
                    <a:pt x="307937" y="202260"/>
                  </a:lnTo>
                  <a:lnTo>
                    <a:pt x="307937" y="200876"/>
                  </a:lnTo>
                  <a:lnTo>
                    <a:pt x="307937" y="202260"/>
                  </a:lnTo>
                  <a:lnTo>
                    <a:pt x="307937" y="200228"/>
                  </a:lnTo>
                  <a:lnTo>
                    <a:pt x="307976" y="200228"/>
                  </a:lnTo>
                  <a:lnTo>
                    <a:pt x="307976" y="198831"/>
                  </a:lnTo>
                  <a:lnTo>
                    <a:pt x="308026" y="198831"/>
                  </a:lnTo>
                  <a:lnTo>
                    <a:pt x="308026" y="197447"/>
                  </a:lnTo>
                  <a:lnTo>
                    <a:pt x="308026" y="198831"/>
                  </a:lnTo>
                  <a:lnTo>
                    <a:pt x="308026" y="196799"/>
                  </a:lnTo>
                  <a:lnTo>
                    <a:pt x="308026" y="200228"/>
                  </a:lnTo>
                  <a:lnTo>
                    <a:pt x="308026" y="199530"/>
                  </a:lnTo>
                  <a:lnTo>
                    <a:pt x="308077" y="199530"/>
                  </a:lnTo>
                  <a:lnTo>
                    <a:pt x="308077" y="197447"/>
                  </a:lnTo>
                  <a:lnTo>
                    <a:pt x="308077" y="200876"/>
                  </a:lnTo>
                  <a:lnTo>
                    <a:pt x="308179" y="200228"/>
                  </a:lnTo>
                  <a:lnTo>
                    <a:pt x="308179" y="199530"/>
                  </a:lnTo>
                  <a:lnTo>
                    <a:pt x="308179" y="200876"/>
                  </a:lnTo>
                  <a:lnTo>
                    <a:pt x="308179" y="200228"/>
                  </a:lnTo>
                  <a:lnTo>
                    <a:pt x="308230" y="200228"/>
                  </a:lnTo>
                  <a:lnTo>
                    <a:pt x="308230" y="200876"/>
                  </a:lnTo>
                  <a:lnTo>
                    <a:pt x="308230" y="200228"/>
                  </a:lnTo>
                  <a:lnTo>
                    <a:pt x="308230" y="200876"/>
                  </a:lnTo>
                  <a:lnTo>
                    <a:pt x="308280" y="200876"/>
                  </a:lnTo>
                  <a:lnTo>
                    <a:pt x="308280" y="200228"/>
                  </a:lnTo>
                  <a:lnTo>
                    <a:pt x="308280" y="200876"/>
                  </a:lnTo>
                  <a:lnTo>
                    <a:pt x="308382" y="200876"/>
                  </a:lnTo>
                  <a:lnTo>
                    <a:pt x="308382" y="200228"/>
                  </a:lnTo>
                  <a:lnTo>
                    <a:pt x="308382" y="200876"/>
                  </a:lnTo>
                  <a:lnTo>
                    <a:pt x="308382" y="200228"/>
                  </a:lnTo>
                  <a:lnTo>
                    <a:pt x="308382" y="202260"/>
                  </a:lnTo>
                  <a:lnTo>
                    <a:pt x="308382" y="200876"/>
                  </a:lnTo>
                  <a:lnTo>
                    <a:pt x="308382" y="202260"/>
                  </a:lnTo>
                  <a:lnTo>
                    <a:pt x="308433" y="202260"/>
                  </a:lnTo>
                  <a:lnTo>
                    <a:pt x="308433" y="200876"/>
                  </a:lnTo>
                  <a:lnTo>
                    <a:pt x="308433" y="202260"/>
                  </a:lnTo>
                  <a:lnTo>
                    <a:pt x="308433" y="200228"/>
                  </a:lnTo>
                  <a:lnTo>
                    <a:pt x="308433" y="200876"/>
                  </a:lnTo>
                  <a:lnTo>
                    <a:pt x="308483" y="200876"/>
                  </a:lnTo>
                  <a:lnTo>
                    <a:pt x="308483" y="199530"/>
                  </a:lnTo>
                  <a:lnTo>
                    <a:pt x="308483" y="200228"/>
                  </a:lnTo>
                  <a:lnTo>
                    <a:pt x="308483" y="198831"/>
                  </a:lnTo>
                  <a:lnTo>
                    <a:pt x="308522" y="198831"/>
                  </a:lnTo>
                  <a:lnTo>
                    <a:pt x="308522" y="197447"/>
                  </a:lnTo>
                  <a:lnTo>
                    <a:pt x="308522" y="198831"/>
                  </a:lnTo>
                  <a:lnTo>
                    <a:pt x="308522" y="197447"/>
                  </a:lnTo>
                  <a:lnTo>
                    <a:pt x="308522" y="200228"/>
                  </a:lnTo>
                  <a:lnTo>
                    <a:pt x="308522" y="198831"/>
                  </a:lnTo>
                  <a:lnTo>
                    <a:pt x="308623" y="198831"/>
                  </a:lnTo>
                  <a:lnTo>
                    <a:pt x="308623" y="197447"/>
                  </a:lnTo>
                  <a:lnTo>
                    <a:pt x="308623" y="200876"/>
                  </a:lnTo>
                  <a:lnTo>
                    <a:pt x="308623" y="199530"/>
                  </a:lnTo>
                  <a:lnTo>
                    <a:pt x="308674" y="200228"/>
                  </a:lnTo>
                  <a:lnTo>
                    <a:pt x="308674" y="199530"/>
                  </a:lnTo>
                  <a:lnTo>
                    <a:pt x="308674" y="200876"/>
                  </a:lnTo>
                  <a:lnTo>
                    <a:pt x="308674" y="200228"/>
                  </a:lnTo>
                  <a:lnTo>
                    <a:pt x="308725" y="200228"/>
                  </a:lnTo>
                  <a:lnTo>
                    <a:pt x="308725" y="199530"/>
                  </a:lnTo>
                  <a:lnTo>
                    <a:pt x="308725" y="200876"/>
                  </a:lnTo>
                  <a:lnTo>
                    <a:pt x="308725" y="200228"/>
                  </a:lnTo>
                  <a:lnTo>
                    <a:pt x="308725" y="200876"/>
                  </a:lnTo>
                  <a:lnTo>
                    <a:pt x="308826" y="200876"/>
                  </a:lnTo>
                  <a:lnTo>
                    <a:pt x="308826" y="202260"/>
                  </a:lnTo>
                  <a:lnTo>
                    <a:pt x="308826" y="200228"/>
                  </a:lnTo>
                  <a:lnTo>
                    <a:pt x="308826" y="202260"/>
                  </a:lnTo>
                  <a:lnTo>
                    <a:pt x="308826" y="200876"/>
                  </a:lnTo>
                  <a:lnTo>
                    <a:pt x="308877" y="200876"/>
                  </a:lnTo>
                  <a:lnTo>
                    <a:pt x="308877" y="202260"/>
                  </a:lnTo>
                  <a:lnTo>
                    <a:pt x="308877" y="200876"/>
                  </a:lnTo>
                  <a:lnTo>
                    <a:pt x="308877" y="202260"/>
                  </a:lnTo>
                  <a:lnTo>
                    <a:pt x="308928" y="202260"/>
                  </a:lnTo>
                  <a:lnTo>
                    <a:pt x="308928" y="199530"/>
                  </a:lnTo>
                  <a:lnTo>
                    <a:pt x="308928" y="200228"/>
                  </a:lnTo>
                  <a:lnTo>
                    <a:pt x="308979" y="199530"/>
                  </a:lnTo>
                  <a:lnTo>
                    <a:pt x="308979" y="197447"/>
                  </a:lnTo>
                  <a:lnTo>
                    <a:pt x="309068" y="196799"/>
                  </a:lnTo>
                  <a:lnTo>
                    <a:pt x="309068" y="198831"/>
                  </a:lnTo>
                  <a:lnTo>
                    <a:pt x="309068" y="197447"/>
                  </a:lnTo>
                  <a:lnTo>
                    <a:pt x="309118" y="196799"/>
                  </a:lnTo>
                  <a:lnTo>
                    <a:pt x="309118" y="200228"/>
                  </a:lnTo>
                  <a:lnTo>
                    <a:pt x="309118" y="199530"/>
                  </a:lnTo>
                  <a:lnTo>
                    <a:pt x="309169" y="198831"/>
                  </a:lnTo>
                  <a:lnTo>
                    <a:pt x="309169" y="200228"/>
                  </a:lnTo>
                  <a:lnTo>
                    <a:pt x="309169" y="198831"/>
                  </a:lnTo>
                  <a:lnTo>
                    <a:pt x="309220" y="198831"/>
                  </a:lnTo>
                  <a:lnTo>
                    <a:pt x="309220" y="200228"/>
                  </a:lnTo>
                  <a:lnTo>
                    <a:pt x="309220" y="199530"/>
                  </a:lnTo>
                  <a:lnTo>
                    <a:pt x="309220" y="200228"/>
                  </a:lnTo>
                  <a:lnTo>
                    <a:pt x="309220" y="199530"/>
                  </a:lnTo>
                  <a:lnTo>
                    <a:pt x="309220" y="200228"/>
                  </a:lnTo>
                  <a:lnTo>
                    <a:pt x="309322" y="200228"/>
                  </a:lnTo>
                  <a:lnTo>
                    <a:pt x="309322" y="200876"/>
                  </a:lnTo>
                  <a:lnTo>
                    <a:pt x="309322" y="200228"/>
                  </a:lnTo>
                  <a:lnTo>
                    <a:pt x="309322" y="200876"/>
                  </a:lnTo>
                  <a:lnTo>
                    <a:pt x="309372" y="200876"/>
                  </a:lnTo>
                  <a:lnTo>
                    <a:pt x="309372" y="202260"/>
                  </a:lnTo>
                  <a:lnTo>
                    <a:pt x="309372" y="200876"/>
                  </a:lnTo>
                  <a:lnTo>
                    <a:pt x="309372" y="202260"/>
                  </a:lnTo>
                  <a:lnTo>
                    <a:pt x="309372" y="200876"/>
                  </a:lnTo>
                  <a:lnTo>
                    <a:pt x="309423" y="200876"/>
                  </a:lnTo>
                  <a:lnTo>
                    <a:pt x="309423" y="200228"/>
                  </a:lnTo>
                  <a:lnTo>
                    <a:pt x="309525" y="199530"/>
                  </a:lnTo>
                  <a:lnTo>
                    <a:pt x="309525" y="200228"/>
                  </a:lnTo>
                  <a:lnTo>
                    <a:pt x="309525" y="198831"/>
                  </a:lnTo>
                  <a:lnTo>
                    <a:pt x="309525" y="199530"/>
                  </a:lnTo>
                  <a:lnTo>
                    <a:pt x="309525" y="197447"/>
                  </a:lnTo>
                  <a:lnTo>
                    <a:pt x="309525" y="198831"/>
                  </a:lnTo>
                  <a:lnTo>
                    <a:pt x="309525" y="197447"/>
                  </a:lnTo>
                  <a:lnTo>
                    <a:pt x="309563" y="198831"/>
                  </a:lnTo>
                  <a:lnTo>
                    <a:pt x="309563" y="199530"/>
                  </a:lnTo>
                  <a:lnTo>
                    <a:pt x="309563" y="197447"/>
                  </a:lnTo>
                  <a:lnTo>
                    <a:pt x="309614" y="198831"/>
                  </a:lnTo>
                  <a:lnTo>
                    <a:pt x="309614" y="200228"/>
                  </a:lnTo>
                  <a:lnTo>
                    <a:pt x="309614" y="198831"/>
                  </a:lnTo>
                  <a:lnTo>
                    <a:pt x="309614" y="199530"/>
                  </a:lnTo>
                  <a:lnTo>
                    <a:pt x="309665" y="199530"/>
                  </a:lnTo>
                  <a:lnTo>
                    <a:pt x="309665" y="200228"/>
                  </a:lnTo>
                  <a:lnTo>
                    <a:pt x="309665" y="199530"/>
                  </a:lnTo>
                  <a:lnTo>
                    <a:pt x="309766" y="199530"/>
                  </a:lnTo>
                  <a:lnTo>
                    <a:pt x="309766" y="200228"/>
                  </a:lnTo>
                  <a:lnTo>
                    <a:pt x="309766" y="199530"/>
                  </a:lnTo>
                  <a:lnTo>
                    <a:pt x="309766" y="200228"/>
                  </a:lnTo>
                  <a:lnTo>
                    <a:pt x="309817" y="200228"/>
                  </a:lnTo>
                  <a:lnTo>
                    <a:pt x="309817" y="200876"/>
                  </a:lnTo>
                  <a:lnTo>
                    <a:pt x="309868" y="200876"/>
                  </a:lnTo>
                  <a:lnTo>
                    <a:pt x="309868" y="200228"/>
                  </a:lnTo>
                  <a:lnTo>
                    <a:pt x="309868" y="200876"/>
                  </a:lnTo>
                  <a:lnTo>
                    <a:pt x="309868" y="200228"/>
                  </a:lnTo>
                  <a:lnTo>
                    <a:pt x="309969" y="200228"/>
                  </a:lnTo>
                  <a:lnTo>
                    <a:pt x="309969" y="199530"/>
                  </a:lnTo>
                  <a:lnTo>
                    <a:pt x="309969" y="200228"/>
                  </a:lnTo>
                  <a:lnTo>
                    <a:pt x="309969" y="199530"/>
                  </a:lnTo>
                  <a:lnTo>
                    <a:pt x="310020" y="199530"/>
                  </a:lnTo>
                  <a:lnTo>
                    <a:pt x="310020" y="197447"/>
                  </a:lnTo>
                  <a:lnTo>
                    <a:pt x="310020" y="198831"/>
                  </a:lnTo>
                  <a:lnTo>
                    <a:pt x="310020" y="197447"/>
                  </a:lnTo>
                  <a:lnTo>
                    <a:pt x="310020" y="200228"/>
                  </a:lnTo>
                  <a:lnTo>
                    <a:pt x="310071" y="200228"/>
                  </a:lnTo>
                  <a:lnTo>
                    <a:pt x="310071" y="197447"/>
                  </a:lnTo>
                  <a:lnTo>
                    <a:pt x="310071" y="202260"/>
                  </a:lnTo>
                  <a:lnTo>
                    <a:pt x="310109" y="202260"/>
                  </a:lnTo>
                  <a:lnTo>
                    <a:pt x="310109" y="199530"/>
                  </a:lnTo>
                  <a:lnTo>
                    <a:pt x="310109" y="202260"/>
                  </a:lnTo>
                  <a:lnTo>
                    <a:pt x="310109" y="200876"/>
                  </a:lnTo>
                  <a:lnTo>
                    <a:pt x="310211" y="200876"/>
                  </a:lnTo>
                  <a:lnTo>
                    <a:pt x="310211" y="200228"/>
                  </a:lnTo>
                  <a:lnTo>
                    <a:pt x="310211" y="200876"/>
                  </a:lnTo>
                  <a:lnTo>
                    <a:pt x="310211" y="200228"/>
                  </a:lnTo>
                  <a:lnTo>
                    <a:pt x="310262" y="200228"/>
                  </a:lnTo>
                  <a:lnTo>
                    <a:pt x="310262" y="200876"/>
                  </a:lnTo>
                  <a:lnTo>
                    <a:pt x="310312" y="200876"/>
                  </a:lnTo>
                  <a:lnTo>
                    <a:pt x="310312" y="202260"/>
                  </a:lnTo>
                  <a:lnTo>
                    <a:pt x="310312" y="200876"/>
                  </a:lnTo>
                  <a:lnTo>
                    <a:pt x="310312" y="202260"/>
                  </a:lnTo>
                  <a:lnTo>
                    <a:pt x="310312" y="200876"/>
                  </a:lnTo>
                  <a:lnTo>
                    <a:pt x="310414" y="200228"/>
                  </a:lnTo>
                  <a:lnTo>
                    <a:pt x="310414" y="200876"/>
                  </a:lnTo>
                  <a:lnTo>
                    <a:pt x="310414" y="200228"/>
                  </a:lnTo>
                  <a:lnTo>
                    <a:pt x="310414" y="200876"/>
                  </a:lnTo>
                  <a:lnTo>
                    <a:pt x="310414" y="200228"/>
                  </a:lnTo>
                  <a:lnTo>
                    <a:pt x="310414" y="200876"/>
                  </a:lnTo>
                  <a:lnTo>
                    <a:pt x="310465" y="200876"/>
                  </a:lnTo>
                  <a:lnTo>
                    <a:pt x="310465" y="199530"/>
                  </a:lnTo>
                  <a:lnTo>
                    <a:pt x="310516" y="199530"/>
                  </a:lnTo>
                  <a:lnTo>
                    <a:pt x="310516" y="198831"/>
                  </a:lnTo>
                  <a:lnTo>
                    <a:pt x="310516" y="199530"/>
                  </a:lnTo>
                  <a:lnTo>
                    <a:pt x="310516" y="198831"/>
                  </a:lnTo>
                  <a:lnTo>
                    <a:pt x="310516" y="200228"/>
                  </a:lnTo>
                  <a:lnTo>
                    <a:pt x="310516" y="199530"/>
                  </a:lnTo>
                  <a:lnTo>
                    <a:pt x="310566" y="199530"/>
                  </a:lnTo>
                  <a:lnTo>
                    <a:pt x="310566" y="198831"/>
                  </a:lnTo>
                  <a:lnTo>
                    <a:pt x="310566" y="200876"/>
                  </a:lnTo>
                  <a:lnTo>
                    <a:pt x="310566" y="200228"/>
                  </a:lnTo>
                  <a:lnTo>
                    <a:pt x="310655" y="200228"/>
                  </a:lnTo>
                  <a:lnTo>
                    <a:pt x="310655" y="199530"/>
                  </a:lnTo>
                  <a:lnTo>
                    <a:pt x="310655" y="200876"/>
                  </a:lnTo>
                  <a:lnTo>
                    <a:pt x="310655" y="200228"/>
                  </a:lnTo>
                  <a:lnTo>
                    <a:pt x="310655" y="200876"/>
                  </a:lnTo>
                  <a:lnTo>
                    <a:pt x="310706" y="200876"/>
                  </a:lnTo>
                  <a:lnTo>
                    <a:pt x="310706" y="200228"/>
                  </a:lnTo>
                  <a:lnTo>
                    <a:pt x="310706" y="200876"/>
                  </a:lnTo>
                  <a:lnTo>
                    <a:pt x="310706" y="200228"/>
                  </a:lnTo>
                  <a:lnTo>
                    <a:pt x="310706" y="200876"/>
                  </a:lnTo>
                  <a:lnTo>
                    <a:pt x="310757" y="200876"/>
                  </a:lnTo>
                  <a:lnTo>
                    <a:pt x="310757" y="202260"/>
                  </a:lnTo>
                  <a:lnTo>
                    <a:pt x="310757" y="200876"/>
                  </a:lnTo>
                  <a:lnTo>
                    <a:pt x="310757" y="202260"/>
                  </a:lnTo>
                  <a:lnTo>
                    <a:pt x="310808" y="202260"/>
                  </a:lnTo>
                  <a:lnTo>
                    <a:pt x="310808" y="200876"/>
                  </a:lnTo>
                  <a:lnTo>
                    <a:pt x="310909" y="200876"/>
                  </a:lnTo>
                  <a:lnTo>
                    <a:pt x="310909" y="200228"/>
                  </a:lnTo>
                  <a:lnTo>
                    <a:pt x="310909" y="200876"/>
                  </a:lnTo>
                  <a:lnTo>
                    <a:pt x="310909" y="200228"/>
                  </a:lnTo>
                  <a:lnTo>
                    <a:pt x="310909" y="200876"/>
                  </a:lnTo>
                  <a:lnTo>
                    <a:pt x="310909" y="199530"/>
                  </a:lnTo>
                  <a:lnTo>
                    <a:pt x="310960" y="199530"/>
                  </a:lnTo>
                  <a:lnTo>
                    <a:pt x="310960" y="200228"/>
                  </a:lnTo>
                  <a:lnTo>
                    <a:pt x="310960" y="196799"/>
                  </a:lnTo>
                  <a:lnTo>
                    <a:pt x="311011" y="196799"/>
                  </a:lnTo>
                  <a:lnTo>
                    <a:pt x="311011" y="199530"/>
                  </a:lnTo>
                  <a:lnTo>
                    <a:pt x="311011" y="197447"/>
                  </a:lnTo>
                  <a:lnTo>
                    <a:pt x="311112" y="198831"/>
                  </a:lnTo>
                  <a:lnTo>
                    <a:pt x="311112" y="200876"/>
                  </a:lnTo>
                  <a:lnTo>
                    <a:pt x="311112" y="198831"/>
                  </a:lnTo>
                  <a:lnTo>
                    <a:pt x="311112" y="199530"/>
                  </a:lnTo>
                  <a:lnTo>
                    <a:pt x="311151" y="199530"/>
                  </a:lnTo>
                  <a:lnTo>
                    <a:pt x="311151" y="200228"/>
                  </a:lnTo>
                  <a:lnTo>
                    <a:pt x="311201" y="200876"/>
                  </a:lnTo>
                  <a:lnTo>
                    <a:pt x="311201" y="200228"/>
                  </a:lnTo>
                  <a:lnTo>
                    <a:pt x="311201" y="200876"/>
                  </a:lnTo>
                  <a:lnTo>
                    <a:pt x="311201" y="200228"/>
                  </a:lnTo>
                  <a:lnTo>
                    <a:pt x="311201" y="200876"/>
                  </a:lnTo>
                  <a:lnTo>
                    <a:pt x="311201" y="200228"/>
                  </a:lnTo>
                  <a:lnTo>
                    <a:pt x="311252" y="200228"/>
                  </a:lnTo>
                  <a:lnTo>
                    <a:pt x="311252" y="202260"/>
                  </a:lnTo>
                  <a:lnTo>
                    <a:pt x="311252" y="200876"/>
                  </a:lnTo>
                  <a:lnTo>
                    <a:pt x="311252" y="202260"/>
                  </a:lnTo>
                  <a:lnTo>
                    <a:pt x="311252" y="200876"/>
                  </a:lnTo>
                  <a:lnTo>
                    <a:pt x="311354" y="200876"/>
                  </a:lnTo>
                  <a:lnTo>
                    <a:pt x="311354" y="202260"/>
                  </a:lnTo>
                  <a:lnTo>
                    <a:pt x="311354" y="200876"/>
                  </a:lnTo>
                  <a:lnTo>
                    <a:pt x="311405" y="200876"/>
                  </a:lnTo>
                  <a:lnTo>
                    <a:pt x="311405" y="200228"/>
                  </a:lnTo>
                  <a:lnTo>
                    <a:pt x="311405" y="200876"/>
                  </a:lnTo>
                  <a:lnTo>
                    <a:pt x="311405" y="200228"/>
                  </a:lnTo>
                  <a:lnTo>
                    <a:pt x="311455" y="200228"/>
                  </a:lnTo>
                  <a:lnTo>
                    <a:pt x="311455" y="197447"/>
                  </a:lnTo>
                  <a:lnTo>
                    <a:pt x="311557" y="197447"/>
                  </a:lnTo>
                  <a:lnTo>
                    <a:pt x="311557" y="199530"/>
                  </a:lnTo>
                  <a:lnTo>
                    <a:pt x="311557" y="197447"/>
                  </a:lnTo>
                  <a:lnTo>
                    <a:pt x="311557" y="198831"/>
                  </a:lnTo>
                  <a:lnTo>
                    <a:pt x="311608" y="198831"/>
                  </a:lnTo>
                  <a:lnTo>
                    <a:pt x="311608" y="200228"/>
                  </a:lnTo>
                  <a:lnTo>
                    <a:pt x="311608" y="198831"/>
                  </a:lnTo>
                  <a:lnTo>
                    <a:pt x="311608" y="199530"/>
                  </a:lnTo>
                  <a:lnTo>
                    <a:pt x="311658" y="199530"/>
                  </a:lnTo>
                  <a:lnTo>
                    <a:pt x="311658" y="200228"/>
                  </a:lnTo>
                  <a:lnTo>
                    <a:pt x="311658" y="199530"/>
                  </a:lnTo>
                  <a:lnTo>
                    <a:pt x="311658" y="200228"/>
                  </a:lnTo>
                  <a:lnTo>
                    <a:pt x="311697" y="200228"/>
                  </a:lnTo>
                  <a:lnTo>
                    <a:pt x="311697" y="200876"/>
                  </a:lnTo>
                  <a:lnTo>
                    <a:pt x="311697" y="200228"/>
                  </a:lnTo>
                  <a:lnTo>
                    <a:pt x="311798" y="200876"/>
                  </a:lnTo>
                  <a:lnTo>
                    <a:pt x="311798" y="200228"/>
                  </a:lnTo>
                  <a:lnTo>
                    <a:pt x="311798" y="200876"/>
                  </a:lnTo>
                  <a:lnTo>
                    <a:pt x="311849" y="200876"/>
                  </a:lnTo>
                  <a:lnTo>
                    <a:pt x="311849" y="200228"/>
                  </a:lnTo>
                  <a:lnTo>
                    <a:pt x="311849" y="200876"/>
                  </a:lnTo>
                  <a:lnTo>
                    <a:pt x="311849" y="200228"/>
                  </a:lnTo>
                  <a:lnTo>
                    <a:pt x="311849" y="200876"/>
                  </a:lnTo>
                  <a:lnTo>
                    <a:pt x="311900" y="200228"/>
                  </a:lnTo>
                  <a:lnTo>
                    <a:pt x="311900" y="199530"/>
                  </a:lnTo>
                  <a:lnTo>
                    <a:pt x="312001" y="199530"/>
                  </a:lnTo>
                  <a:lnTo>
                    <a:pt x="312001" y="196799"/>
                  </a:lnTo>
                  <a:lnTo>
                    <a:pt x="312001" y="197447"/>
                  </a:lnTo>
                  <a:lnTo>
                    <a:pt x="312052" y="197447"/>
                  </a:lnTo>
                  <a:lnTo>
                    <a:pt x="312052" y="198831"/>
                  </a:lnTo>
                  <a:lnTo>
                    <a:pt x="312052" y="196799"/>
                  </a:lnTo>
                  <a:lnTo>
                    <a:pt x="312052" y="197447"/>
                  </a:lnTo>
                  <a:lnTo>
                    <a:pt x="312103" y="198831"/>
                  </a:lnTo>
                  <a:lnTo>
                    <a:pt x="312103" y="197447"/>
                  </a:lnTo>
                  <a:lnTo>
                    <a:pt x="312103" y="198831"/>
                  </a:lnTo>
                  <a:lnTo>
                    <a:pt x="312154" y="199530"/>
                  </a:lnTo>
                  <a:lnTo>
                    <a:pt x="312154" y="198831"/>
                  </a:lnTo>
                  <a:lnTo>
                    <a:pt x="312154" y="199530"/>
                  </a:lnTo>
                  <a:lnTo>
                    <a:pt x="312154" y="198831"/>
                  </a:lnTo>
                  <a:lnTo>
                    <a:pt x="312154" y="199530"/>
                  </a:lnTo>
                  <a:lnTo>
                    <a:pt x="312243" y="199530"/>
                  </a:lnTo>
                  <a:lnTo>
                    <a:pt x="312243" y="200228"/>
                  </a:lnTo>
                  <a:lnTo>
                    <a:pt x="312243" y="199530"/>
                  </a:lnTo>
                  <a:lnTo>
                    <a:pt x="312243" y="200228"/>
                  </a:lnTo>
                  <a:lnTo>
                    <a:pt x="312243" y="199530"/>
                  </a:lnTo>
                  <a:lnTo>
                    <a:pt x="312243" y="200228"/>
                  </a:lnTo>
                  <a:lnTo>
                    <a:pt x="312293" y="200228"/>
                  </a:lnTo>
                  <a:lnTo>
                    <a:pt x="312293" y="200876"/>
                  </a:lnTo>
                  <a:lnTo>
                    <a:pt x="312293" y="200228"/>
                  </a:lnTo>
                  <a:lnTo>
                    <a:pt x="312395" y="200228"/>
                  </a:lnTo>
                  <a:lnTo>
                    <a:pt x="312395" y="199530"/>
                  </a:lnTo>
                  <a:lnTo>
                    <a:pt x="312395" y="200228"/>
                  </a:lnTo>
                  <a:lnTo>
                    <a:pt x="312395" y="199530"/>
                  </a:lnTo>
                  <a:lnTo>
                    <a:pt x="312497" y="199530"/>
                  </a:lnTo>
                  <a:lnTo>
                    <a:pt x="312497" y="196799"/>
                  </a:lnTo>
                  <a:lnTo>
                    <a:pt x="312547" y="196799"/>
                  </a:lnTo>
                  <a:lnTo>
                    <a:pt x="312547" y="197447"/>
                  </a:lnTo>
                  <a:lnTo>
                    <a:pt x="312547" y="196799"/>
                  </a:lnTo>
                  <a:lnTo>
                    <a:pt x="312547" y="197447"/>
                  </a:lnTo>
                  <a:lnTo>
                    <a:pt x="312547" y="195415"/>
                  </a:lnTo>
                  <a:lnTo>
                    <a:pt x="312547" y="196799"/>
                  </a:lnTo>
                  <a:lnTo>
                    <a:pt x="312598" y="197447"/>
                  </a:lnTo>
                  <a:lnTo>
                    <a:pt x="312598" y="198831"/>
                  </a:lnTo>
                  <a:lnTo>
                    <a:pt x="312598" y="196799"/>
                  </a:lnTo>
                  <a:lnTo>
                    <a:pt x="312598" y="197447"/>
                  </a:lnTo>
                  <a:lnTo>
                    <a:pt x="312700" y="197447"/>
                  </a:lnTo>
                  <a:lnTo>
                    <a:pt x="312700" y="198831"/>
                  </a:lnTo>
                  <a:lnTo>
                    <a:pt x="312700" y="197447"/>
                  </a:lnTo>
                  <a:lnTo>
                    <a:pt x="312700" y="198831"/>
                  </a:lnTo>
                  <a:lnTo>
                    <a:pt x="312738" y="198831"/>
                  </a:lnTo>
                  <a:lnTo>
                    <a:pt x="312738" y="197447"/>
                  </a:lnTo>
                  <a:lnTo>
                    <a:pt x="312738" y="198831"/>
                  </a:lnTo>
                  <a:lnTo>
                    <a:pt x="312738" y="197447"/>
                  </a:lnTo>
                  <a:lnTo>
                    <a:pt x="312738" y="199530"/>
                  </a:lnTo>
                  <a:lnTo>
                    <a:pt x="312738" y="198831"/>
                  </a:lnTo>
                  <a:lnTo>
                    <a:pt x="312789" y="199530"/>
                  </a:lnTo>
                  <a:lnTo>
                    <a:pt x="312789" y="200228"/>
                  </a:lnTo>
                  <a:lnTo>
                    <a:pt x="312789" y="199530"/>
                  </a:lnTo>
                  <a:lnTo>
                    <a:pt x="312840" y="199530"/>
                  </a:lnTo>
                  <a:lnTo>
                    <a:pt x="312840" y="200228"/>
                  </a:lnTo>
                  <a:lnTo>
                    <a:pt x="312941" y="200228"/>
                  </a:lnTo>
                  <a:lnTo>
                    <a:pt x="312941" y="198831"/>
                  </a:lnTo>
                  <a:lnTo>
                    <a:pt x="312941" y="199530"/>
                  </a:lnTo>
                  <a:lnTo>
                    <a:pt x="312941" y="198831"/>
                  </a:lnTo>
                  <a:lnTo>
                    <a:pt x="312992" y="198831"/>
                  </a:lnTo>
                  <a:lnTo>
                    <a:pt x="312992" y="197447"/>
                  </a:lnTo>
                  <a:lnTo>
                    <a:pt x="312992" y="198831"/>
                  </a:lnTo>
                  <a:lnTo>
                    <a:pt x="312992" y="196799"/>
                  </a:lnTo>
                  <a:lnTo>
                    <a:pt x="312992" y="197447"/>
                  </a:lnTo>
                  <a:lnTo>
                    <a:pt x="313043" y="197447"/>
                  </a:lnTo>
                  <a:lnTo>
                    <a:pt x="313043" y="196799"/>
                  </a:lnTo>
                  <a:lnTo>
                    <a:pt x="313043" y="200228"/>
                  </a:lnTo>
                  <a:lnTo>
                    <a:pt x="313043" y="199530"/>
                  </a:lnTo>
                  <a:lnTo>
                    <a:pt x="313144" y="199530"/>
                  </a:lnTo>
                  <a:lnTo>
                    <a:pt x="313144" y="197447"/>
                  </a:lnTo>
                  <a:lnTo>
                    <a:pt x="313144" y="200228"/>
                  </a:lnTo>
                  <a:lnTo>
                    <a:pt x="313195" y="200228"/>
                  </a:lnTo>
                  <a:lnTo>
                    <a:pt x="313195" y="199530"/>
                  </a:lnTo>
                  <a:lnTo>
                    <a:pt x="313195" y="200228"/>
                  </a:lnTo>
                  <a:lnTo>
                    <a:pt x="313195" y="199530"/>
                  </a:lnTo>
                  <a:lnTo>
                    <a:pt x="313195" y="200228"/>
                  </a:lnTo>
                  <a:lnTo>
                    <a:pt x="313195" y="199530"/>
                  </a:lnTo>
                  <a:lnTo>
                    <a:pt x="313246" y="199530"/>
                  </a:lnTo>
                  <a:lnTo>
                    <a:pt x="313246" y="200228"/>
                  </a:lnTo>
                  <a:lnTo>
                    <a:pt x="313246" y="199530"/>
                  </a:lnTo>
                  <a:lnTo>
                    <a:pt x="313246" y="200228"/>
                  </a:lnTo>
                  <a:lnTo>
                    <a:pt x="313284" y="200228"/>
                  </a:lnTo>
                  <a:lnTo>
                    <a:pt x="313284" y="199530"/>
                  </a:lnTo>
                  <a:lnTo>
                    <a:pt x="313284" y="200228"/>
                  </a:lnTo>
                  <a:lnTo>
                    <a:pt x="313284" y="199530"/>
                  </a:lnTo>
                  <a:lnTo>
                    <a:pt x="313284" y="200228"/>
                  </a:lnTo>
                  <a:lnTo>
                    <a:pt x="313386" y="200228"/>
                  </a:lnTo>
                  <a:lnTo>
                    <a:pt x="313386" y="199530"/>
                  </a:lnTo>
                  <a:lnTo>
                    <a:pt x="313386" y="200228"/>
                  </a:lnTo>
                  <a:lnTo>
                    <a:pt x="313437" y="200228"/>
                  </a:lnTo>
                  <a:lnTo>
                    <a:pt x="313437" y="198831"/>
                  </a:lnTo>
                  <a:lnTo>
                    <a:pt x="313437" y="199530"/>
                  </a:lnTo>
                  <a:lnTo>
                    <a:pt x="313487" y="198831"/>
                  </a:lnTo>
                  <a:lnTo>
                    <a:pt x="313487" y="197447"/>
                  </a:lnTo>
                  <a:lnTo>
                    <a:pt x="313487" y="199530"/>
                  </a:lnTo>
                  <a:lnTo>
                    <a:pt x="313589" y="199530"/>
                  </a:lnTo>
                  <a:lnTo>
                    <a:pt x="313589" y="198831"/>
                  </a:lnTo>
                  <a:lnTo>
                    <a:pt x="313589" y="200228"/>
                  </a:lnTo>
                  <a:lnTo>
                    <a:pt x="313640" y="200228"/>
                  </a:lnTo>
                  <a:lnTo>
                    <a:pt x="313640" y="199530"/>
                  </a:lnTo>
                  <a:lnTo>
                    <a:pt x="313640" y="200876"/>
                  </a:lnTo>
                  <a:lnTo>
                    <a:pt x="313691" y="200876"/>
                  </a:lnTo>
                  <a:lnTo>
                    <a:pt x="313691" y="200228"/>
                  </a:lnTo>
                  <a:lnTo>
                    <a:pt x="313691" y="200876"/>
                  </a:lnTo>
                  <a:lnTo>
                    <a:pt x="313691" y="200228"/>
                  </a:lnTo>
                  <a:lnTo>
                    <a:pt x="313691" y="200876"/>
                  </a:lnTo>
                  <a:lnTo>
                    <a:pt x="313741" y="200876"/>
                  </a:lnTo>
                  <a:lnTo>
                    <a:pt x="313741" y="200228"/>
                  </a:lnTo>
                  <a:lnTo>
                    <a:pt x="313741" y="200876"/>
                  </a:lnTo>
                  <a:lnTo>
                    <a:pt x="313741" y="200228"/>
                  </a:lnTo>
                  <a:lnTo>
                    <a:pt x="313741" y="200876"/>
                  </a:lnTo>
                  <a:lnTo>
                    <a:pt x="313830" y="200876"/>
                  </a:lnTo>
                  <a:lnTo>
                    <a:pt x="313830" y="200228"/>
                  </a:lnTo>
                  <a:lnTo>
                    <a:pt x="313881" y="200228"/>
                  </a:lnTo>
                  <a:lnTo>
                    <a:pt x="313881" y="199530"/>
                  </a:lnTo>
                  <a:lnTo>
                    <a:pt x="313881" y="200228"/>
                  </a:lnTo>
                  <a:lnTo>
                    <a:pt x="313881" y="199530"/>
                  </a:lnTo>
                  <a:lnTo>
                    <a:pt x="313881" y="200228"/>
                  </a:lnTo>
                  <a:lnTo>
                    <a:pt x="313932" y="199530"/>
                  </a:lnTo>
                  <a:lnTo>
                    <a:pt x="313932" y="197447"/>
                  </a:lnTo>
                  <a:lnTo>
                    <a:pt x="313983" y="197447"/>
                  </a:lnTo>
                  <a:lnTo>
                    <a:pt x="313983" y="196113"/>
                  </a:lnTo>
                  <a:lnTo>
                    <a:pt x="313983" y="198831"/>
                  </a:lnTo>
                  <a:lnTo>
                    <a:pt x="314084" y="197447"/>
                  </a:lnTo>
                  <a:lnTo>
                    <a:pt x="314084" y="196799"/>
                  </a:lnTo>
                  <a:lnTo>
                    <a:pt x="314084" y="199530"/>
                  </a:lnTo>
                  <a:lnTo>
                    <a:pt x="314084" y="198831"/>
                  </a:lnTo>
                  <a:lnTo>
                    <a:pt x="314135" y="198831"/>
                  </a:lnTo>
                  <a:lnTo>
                    <a:pt x="314135" y="200228"/>
                  </a:lnTo>
                  <a:lnTo>
                    <a:pt x="314135" y="199530"/>
                  </a:lnTo>
                  <a:lnTo>
                    <a:pt x="314135" y="200228"/>
                  </a:lnTo>
                  <a:lnTo>
                    <a:pt x="314135" y="199530"/>
                  </a:lnTo>
                  <a:lnTo>
                    <a:pt x="314186" y="199530"/>
                  </a:lnTo>
                  <a:lnTo>
                    <a:pt x="314186" y="200876"/>
                  </a:lnTo>
                  <a:lnTo>
                    <a:pt x="314186" y="200228"/>
                  </a:lnTo>
                  <a:lnTo>
                    <a:pt x="314287" y="200228"/>
                  </a:lnTo>
                  <a:lnTo>
                    <a:pt x="314287" y="200876"/>
                  </a:lnTo>
                  <a:lnTo>
                    <a:pt x="314287" y="200228"/>
                  </a:lnTo>
                  <a:lnTo>
                    <a:pt x="314326" y="200228"/>
                  </a:lnTo>
                  <a:lnTo>
                    <a:pt x="314326" y="200876"/>
                  </a:lnTo>
                  <a:lnTo>
                    <a:pt x="314326" y="200228"/>
                  </a:lnTo>
                  <a:lnTo>
                    <a:pt x="314326" y="200876"/>
                  </a:lnTo>
                  <a:lnTo>
                    <a:pt x="314326" y="200228"/>
                  </a:lnTo>
                  <a:lnTo>
                    <a:pt x="314326" y="200876"/>
                  </a:lnTo>
                  <a:lnTo>
                    <a:pt x="314376" y="200876"/>
                  </a:lnTo>
                  <a:lnTo>
                    <a:pt x="314376" y="199530"/>
                  </a:lnTo>
                  <a:lnTo>
                    <a:pt x="314427" y="199530"/>
                  </a:lnTo>
                  <a:lnTo>
                    <a:pt x="314427" y="200228"/>
                  </a:lnTo>
                  <a:lnTo>
                    <a:pt x="314427" y="199530"/>
                  </a:lnTo>
                  <a:lnTo>
                    <a:pt x="314427" y="200228"/>
                  </a:lnTo>
                  <a:lnTo>
                    <a:pt x="314427" y="197447"/>
                  </a:lnTo>
                  <a:lnTo>
                    <a:pt x="314427" y="198831"/>
                  </a:lnTo>
                  <a:lnTo>
                    <a:pt x="314427" y="196799"/>
                  </a:lnTo>
                  <a:lnTo>
                    <a:pt x="314427" y="197447"/>
                  </a:lnTo>
                  <a:lnTo>
                    <a:pt x="314529" y="197447"/>
                  </a:lnTo>
                  <a:lnTo>
                    <a:pt x="314529" y="196799"/>
                  </a:lnTo>
                  <a:lnTo>
                    <a:pt x="314529" y="198831"/>
                  </a:lnTo>
                  <a:lnTo>
                    <a:pt x="314529" y="197447"/>
                  </a:lnTo>
                  <a:lnTo>
                    <a:pt x="314580" y="197447"/>
                  </a:lnTo>
                  <a:lnTo>
                    <a:pt x="314580" y="199530"/>
                  </a:lnTo>
                  <a:lnTo>
                    <a:pt x="314580" y="198831"/>
                  </a:lnTo>
                  <a:lnTo>
                    <a:pt x="314630" y="199530"/>
                  </a:lnTo>
                  <a:lnTo>
                    <a:pt x="314630" y="200228"/>
                  </a:lnTo>
                  <a:lnTo>
                    <a:pt x="314630" y="199530"/>
                  </a:lnTo>
                  <a:lnTo>
                    <a:pt x="314630" y="200228"/>
                  </a:lnTo>
                  <a:lnTo>
                    <a:pt x="314630" y="199530"/>
                  </a:lnTo>
                  <a:lnTo>
                    <a:pt x="314630" y="200228"/>
                  </a:lnTo>
                  <a:lnTo>
                    <a:pt x="314630" y="199530"/>
                  </a:lnTo>
                  <a:lnTo>
                    <a:pt x="314732" y="199530"/>
                  </a:lnTo>
                  <a:lnTo>
                    <a:pt x="314732" y="200228"/>
                  </a:lnTo>
                  <a:lnTo>
                    <a:pt x="314732" y="199530"/>
                  </a:lnTo>
                  <a:lnTo>
                    <a:pt x="314732" y="200876"/>
                  </a:lnTo>
                  <a:lnTo>
                    <a:pt x="314732" y="199530"/>
                  </a:lnTo>
                  <a:lnTo>
                    <a:pt x="314783" y="200228"/>
                  </a:lnTo>
                  <a:lnTo>
                    <a:pt x="314783" y="200876"/>
                  </a:lnTo>
                  <a:lnTo>
                    <a:pt x="314783" y="200228"/>
                  </a:lnTo>
                  <a:lnTo>
                    <a:pt x="314783" y="200876"/>
                  </a:lnTo>
                  <a:lnTo>
                    <a:pt x="314833" y="200876"/>
                  </a:lnTo>
                  <a:lnTo>
                    <a:pt x="314833" y="200228"/>
                  </a:lnTo>
                  <a:lnTo>
                    <a:pt x="314833" y="200876"/>
                  </a:lnTo>
                  <a:lnTo>
                    <a:pt x="314833" y="200228"/>
                  </a:lnTo>
                  <a:lnTo>
                    <a:pt x="314833" y="200876"/>
                  </a:lnTo>
                  <a:lnTo>
                    <a:pt x="314833" y="200228"/>
                  </a:lnTo>
                  <a:lnTo>
                    <a:pt x="314833" y="200876"/>
                  </a:lnTo>
                  <a:lnTo>
                    <a:pt x="314872" y="200228"/>
                  </a:lnTo>
                  <a:lnTo>
                    <a:pt x="314872" y="199530"/>
                  </a:lnTo>
                  <a:lnTo>
                    <a:pt x="314973" y="199530"/>
                  </a:lnTo>
                  <a:lnTo>
                    <a:pt x="314973" y="198831"/>
                  </a:lnTo>
                  <a:lnTo>
                    <a:pt x="314973" y="199530"/>
                  </a:lnTo>
                  <a:lnTo>
                    <a:pt x="314973" y="196799"/>
                  </a:lnTo>
                  <a:lnTo>
                    <a:pt x="314973" y="197447"/>
                  </a:lnTo>
                  <a:lnTo>
                    <a:pt x="315024" y="196799"/>
                  </a:lnTo>
                  <a:lnTo>
                    <a:pt x="315024" y="196113"/>
                  </a:lnTo>
                  <a:lnTo>
                    <a:pt x="315024" y="197447"/>
                  </a:lnTo>
                  <a:lnTo>
                    <a:pt x="315024" y="196113"/>
                  </a:lnTo>
                  <a:lnTo>
                    <a:pt x="315075" y="196113"/>
                  </a:lnTo>
                  <a:lnTo>
                    <a:pt x="315075" y="199530"/>
                  </a:lnTo>
                  <a:lnTo>
                    <a:pt x="315075" y="197447"/>
                  </a:lnTo>
                  <a:lnTo>
                    <a:pt x="315176" y="197447"/>
                  </a:lnTo>
                  <a:lnTo>
                    <a:pt x="315176" y="200228"/>
                  </a:lnTo>
                  <a:lnTo>
                    <a:pt x="315176" y="199530"/>
                  </a:lnTo>
                  <a:lnTo>
                    <a:pt x="315227" y="199530"/>
                  </a:lnTo>
                  <a:lnTo>
                    <a:pt x="315227" y="200228"/>
                  </a:lnTo>
                  <a:lnTo>
                    <a:pt x="315227" y="199530"/>
                  </a:lnTo>
                  <a:lnTo>
                    <a:pt x="315227" y="200228"/>
                  </a:lnTo>
                  <a:lnTo>
                    <a:pt x="315227" y="199530"/>
                  </a:lnTo>
                  <a:lnTo>
                    <a:pt x="315227" y="200228"/>
                  </a:lnTo>
                  <a:lnTo>
                    <a:pt x="315278" y="200228"/>
                  </a:lnTo>
                  <a:lnTo>
                    <a:pt x="315278" y="200876"/>
                  </a:lnTo>
                  <a:lnTo>
                    <a:pt x="315278" y="200228"/>
                  </a:lnTo>
                  <a:lnTo>
                    <a:pt x="315278" y="200876"/>
                  </a:lnTo>
                  <a:lnTo>
                    <a:pt x="315418" y="200876"/>
                  </a:lnTo>
                  <a:lnTo>
                    <a:pt x="315418" y="200228"/>
                  </a:lnTo>
                  <a:lnTo>
                    <a:pt x="315468" y="199530"/>
                  </a:lnTo>
                  <a:lnTo>
                    <a:pt x="315468" y="200228"/>
                  </a:lnTo>
                  <a:lnTo>
                    <a:pt x="315468" y="198831"/>
                  </a:lnTo>
                  <a:lnTo>
                    <a:pt x="315468" y="199530"/>
                  </a:lnTo>
                  <a:lnTo>
                    <a:pt x="315468" y="197447"/>
                  </a:lnTo>
                  <a:lnTo>
                    <a:pt x="315519" y="197447"/>
                  </a:lnTo>
                  <a:lnTo>
                    <a:pt x="315519" y="196113"/>
                  </a:lnTo>
                  <a:lnTo>
                    <a:pt x="315519" y="197447"/>
                  </a:lnTo>
                  <a:lnTo>
                    <a:pt x="315519" y="195415"/>
                  </a:lnTo>
                  <a:lnTo>
                    <a:pt x="315570" y="196113"/>
                  </a:lnTo>
                  <a:lnTo>
                    <a:pt x="315570" y="199530"/>
                  </a:lnTo>
                  <a:lnTo>
                    <a:pt x="315570" y="196799"/>
                  </a:lnTo>
                  <a:lnTo>
                    <a:pt x="315672" y="197447"/>
                  </a:lnTo>
                  <a:lnTo>
                    <a:pt x="315672" y="199530"/>
                  </a:lnTo>
                  <a:lnTo>
                    <a:pt x="315672" y="197447"/>
                  </a:lnTo>
                  <a:lnTo>
                    <a:pt x="315722" y="197447"/>
                  </a:lnTo>
                  <a:lnTo>
                    <a:pt x="315722" y="199530"/>
                  </a:lnTo>
                  <a:lnTo>
                    <a:pt x="315722" y="197447"/>
                  </a:lnTo>
                  <a:lnTo>
                    <a:pt x="315722" y="199530"/>
                  </a:lnTo>
                  <a:lnTo>
                    <a:pt x="315773" y="199530"/>
                  </a:lnTo>
                  <a:lnTo>
                    <a:pt x="315773" y="198831"/>
                  </a:lnTo>
                  <a:lnTo>
                    <a:pt x="315773" y="200228"/>
                  </a:lnTo>
                  <a:lnTo>
                    <a:pt x="315773" y="199530"/>
                  </a:lnTo>
                  <a:lnTo>
                    <a:pt x="315773" y="200228"/>
                  </a:lnTo>
                  <a:lnTo>
                    <a:pt x="315875" y="200228"/>
                  </a:lnTo>
                  <a:lnTo>
                    <a:pt x="315875" y="200876"/>
                  </a:lnTo>
                  <a:lnTo>
                    <a:pt x="315875" y="200228"/>
                  </a:lnTo>
                  <a:lnTo>
                    <a:pt x="315913" y="200228"/>
                  </a:lnTo>
                  <a:lnTo>
                    <a:pt x="315913" y="199530"/>
                  </a:lnTo>
                  <a:lnTo>
                    <a:pt x="315913" y="200228"/>
                  </a:lnTo>
                  <a:lnTo>
                    <a:pt x="315913" y="199530"/>
                  </a:lnTo>
                  <a:lnTo>
                    <a:pt x="315913" y="200228"/>
                  </a:lnTo>
                  <a:lnTo>
                    <a:pt x="315913" y="199530"/>
                  </a:lnTo>
                  <a:lnTo>
                    <a:pt x="315964" y="199530"/>
                  </a:lnTo>
                  <a:lnTo>
                    <a:pt x="315964" y="198831"/>
                  </a:lnTo>
                  <a:lnTo>
                    <a:pt x="315964" y="199530"/>
                  </a:lnTo>
                  <a:lnTo>
                    <a:pt x="315964" y="198831"/>
                  </a:lnTo>
                  <a:lnTo>
                    <a:pt x="315964" y="199530"/>
                  </a:lnTo>
                  <a:lnTo>
                    <a:pt x="316015" y="200228"/>
                  </a:lnTo>
                  <a:lnTo>
                    <a:pt x="316015" y="198831"/>
                  </a:lnTo>
                  <a:lnTo>
                    <a:pt x="316015" y="200876"/>
                  </a:lnTo>
                  <a:lnTo>
                    <a:pt x="316116" y="200876"/>
                  </a:lnTo>
                  <a:lnTo>
                    <a:pt x="316116" y="202260"/>
                  </a:lnTo>
                  <a:lnTo>
                    <a:pt x="316116" y="200228"/>
                  </a:lnTo>
                  <a:lnTo>
                    <a:pt x="316116" y="200876"/>
                  </a:lnTo>
                  <a:lnTo>
                    <a:pt x="316116" y="200228"/>
                  </a:lnTo>
                  <a:lnTo>
                    <a:pt x="316116" y="202260"/>
                  </a:lnTo>
                  <a:lnTo>
                    <a:pt x="316167" y="200876"/>
                  </a:lnTo>
                  <a:lnTo>
                    <a:pt x="316167" y="200228"/>
                  </a:lnTo>
                  <a:lnTo>
                    <a:pt x="316218" y="200228"/>
                  </a:lnTo>
                  <a:lnTo>
                    <a:pt x="316218" y="200876"/>
                  </a:lnTo>
                  <a:lnTo>
                    <a:pt x="316218" y="200228"/>
                  </a:lnTo>
                  <a:lnTo>
                    <a:pt x="316218" y="200876"/>
                  </a:lnTo>
                  <a:lnTo>
                    <a:pt x="316218" y="200228"/>
                  </a:lnTo>
                  <a:lnTo>
                    <a:pt x="316218" y="200876"/>
                  </a:lnTo>
                  <a:lnTo>
                    <a:pt x="316218" y="200228"/>
                  </a:lnTo>
                  <a:lnTo>
                    <a:pt x="316218" y="200876"/>
                  </a:lnTo>
                  <a:lnTo>
                    <a:pt x="316218" y="200228"/>
                  </a:lnTo>
                  <a:lnTo>
                    <a:pt x="316319" y="200228"/>
                  </a:lnTo>
                  <a:lnTo>
                    <a:pt x="316319" y="200876"/>
                  </a:lnTo>
                  <a:lnTo>
                    <a:pt x="316370" y="200876"/>
                  </a:lnTo>
                  <a:lnTo>
                    <a:pt x="316370" y="200228"/>
                  </a:lnTo>
                  <a:lnTo>
                    <a:pt x="316370" y="200876"/>
                  </a:lnTo>
                  <a:lnTo>
                    <a:pt x="316370" y="200228"/>
                  </a:lnTo>
                  <a:lnTo>
                    <a:pt x="316370" y="200876"/>
                  </a:lnTo>
                  <a:lnTo>
                    <a:pt x="316370" y="200228"/>
                  </a:lnTo>
                  <a:lnTo>
                    <a:pt x="316421" y="200228"/>
                  </a:lnTo>
                  <a:lnTo>
                    <a:pt x="316421" y="198831"/>
                  </a:lnTo>
                  <a:lnTo>
                    <a:pt x="316421" y="199530"/>
                  </a:lnTo>
                  <a:lnTo>
                    <a:pt x="316459" y="199530"/>
                  </a:lnTo>
                  <a:lnTo>
                    <a:pt x="316459" y="197447"/>
                  </a:lnTo>
                  <a:lnTo>
                    <a:pt x="316459" y="199530"/>
                  </a:lnTo>
                  <a:lnTo>
                    <a:pt x="316561" y="199530"/>
                  </a:lnTo>
                  <a:lnTo>
                    <a:pt x="316561" y="202260"/>
                  </a:lnTo>
                  <a:lnTo>
                    <a:pt x="316561" y="200876"/>
                  </a:lnTo>
                  <a:lnTo>
                    <a:pt x="316612" y="200876"/>
                  </a:lnTo>
                  <a:lnTo>
                    <a:pt x="316612" y="200228"/>
                  </a:lnTo>
                  <a:lnTo>
                    <a:pt x="316612" y="200876"/>
                  </a:lnTo>
                  <a:lnTo>
                    <a:pt x="316662" y="200876"/>
                  </a:lnTo>
                  <a:lnTo>
                    <a:pt x="316662" y="202260"/>
                  </a:lnTo>
                  <a:lnTo>
                    <a:pt x="316662" y="200876"/>
                  </a:lnTo>
                  <a:lnTo>
                    <a:pt x="316662" y="202260"/>
                  </a:lnTo>
                  <a:lnTo>
                    <a:pt x="316662" y="200876"/>
                  </a:lnTo>
                  <a:lnTo>
                    <a:pt x="316662" y="202260"/>
                  </a:lnTo>
                  <a:lnTo>
                    <a:pt x="316662" y="200876"/>
                  </a:lnTo>
                  <a:lnTo>
                    <a:pt x="316662" y="202260"/>
                  </a:lnTo>
                  <a:lnTo>
                    <a:pt x="316662" y="200876"/>
                  </a:lnTo>
                  <a:lnTo>
                    <a:pt x="316815" y="200876"/>
                  </a:lnTo>
                  <a:lnTo>
                    <a:pt x="316815" y="202260"/>
                  </a:lnTo>
                  <a:lnTo>
                    <a:pt x="316815" y="200228"/>
                  </a:lnTo>
                  <a:lnTo>
                    <a:pt x="316866" y="200228"/>
                  </a:lnTo>
                  <a:lnTo>
                    <a:pt x="316866" y="200876"/>
                  </a:lnTo>
                  <a:lnTo>
                    <a:pt x="316866" y="199530"/>
                  </a:lnTo>
                  <a:lnTo>
                    <a:pt x="316916" y="199530"/>
                  </a:lnTo>
                  <a:lnTo>
                    <a:pt x="316916" y="197447"/>
                  </a:lnTo>
                  <a:lnTo>
                    <a:pt x="317005" y="197447"/>
                  </a:lnTo>
                  <a:lnTo>
                    <a:pt x="317005" y="200228"/>
                  </a:lnTo>
                  <a:lnTo>
                    <a:pt x="317005" y="197447"/>
                  </a:lnTo>
                  <a:lnTo>
                    <a:pt x="317005" y="198831"/>
                  </a:lnTo>
                  <a:lnTo>
                    <a:pt x="317005" y="197447"/>
                  </a:lnTo>
                  <a:lnTo>
                    <a:pt x="317005" y="199530"/>
                  </a:lnTo>
                  <a:lnTo>
                    <a:pt x="317056" y="199530"/>
                  </a:lnTo>
                  <a:lnTo>
                    <a:pt x="317056" y="200876"/>
                  </a:lnTo>
                  <a:lnTo>
                    <a:pt x="317056" y="199530"/>
                  </a:lnTo>
                  <a:lnTo>
                    <a:pt x="317056" y="200876"/>
                  </a:lnTo>
                  <a:lnTo>
                    <a:pt x="317107" y="202260"/>
                  </a:lnTo>
                  <a:lnTo>
                    <a:pt x="317107" y="200228"/>
                  </a:lnTo>
                  <a:lnTo>
                    <a:pt x="317107" y="202260"/>
                  </a:lnTo>
                  <a:lnTo>
                    <a:pt x="317158" y="202260"/>
                  </a:lnTo>
                  <a:lnTo>
                    <a:pt x="317158" y="200876"/>
                  </a:lnTo>
                  <a:lnTo>
                    <a:pt x="317158" y="202260"/>
                  </a:lnTo>
                  <a:lnTo>
                    <a:pt x="317158" y="200876"/>
                  </a:lnTo>
                  <a:lnTo>
                    <a:pt x="317158" y="202260"/>
                  </a:lnTo>
                  <a:lnTo>
                    <a:pt x="317259" y="202959"/>
                  </a:lnTo>
                  <a:lnTo>
                    <a:pt x="317259" y="202260"/>
                  </a:lnTo>
                  <a:lnTo>
                    <a:pt x="317310" y="202260"/>
                  </a:lnTo>
                  <a:lnTo>
                    <a:pt x="317310" y="202959"/>
                  </a:lnTo>
                  <a:lnTo>
                    <a:pt x="317310" y="202260"/>
                  </a:lnTo>
                  <a:lnTo>
                    <a:pt x="317361" y="200876"/>
                  </a:lnTo>
                  <a:lnTo>
                    <a:pt x="317361" y="200228"/>
                  </a:lnTo>
                  <a:lnTo>
                    <a:pt x="317361" y="200876"/>
                  </a:lnTo>
                  <a:lnTo>
                    <a:pt x="317361" y="199530"/>
                  </a:lnTo>
                  <a:lnTo>
                    <a:pt x="317462" y="199530"/>
                  </a:lnTo>
                  <a:lnTo>
                    <a:pt x="317462" y="198831"/>
                  </a:lnTo>
                  <a:lnTo>
                    <a:pt x="317462" y="200228"/>
                  </a:lnTo>
                  <a:lnTo>
                    <a:pt x="317501" y="199530"/>
                  </a:lnTo>
                  <a:lnTo>
                    <a:pt x="317501" y="198831"/>
                  </a:lnTo>
                  <a:lnTo>
                    <a:pt x="317501" y="200876"/>
                  </a:lnTo>
                  <a:lnTo>
                    <a:pt x="317551" y="200876"/>
                  </a:lnTo>
                  <a:lnTo>
                    <a:pt x="317551" y="200228"/>
                  </a:lnTo>
                  <a:lnTo>
                    <a:pt x="317551" y="200876"/>
                  </a:lnTo>
                  <a:lnTo>
                    <a:pt x="317602" y="200876"/>
                  </a:lnTo>
                  <a:lnTo>
                    <a:pt x="317602" y="200228"/>
                  </a:lnTo>
                  <a:lnTo>
                    <a:pt x="317602" y="200876"/>
                  </a:lnTo>
                  <a:lnTo>
                    <a:pt x="317704" y="200876"/>
                  </a:lnTo>
                  <a:lnTo>
                    <a:pt x="317704" y="202260"/>
                  </a:lnTo>
                  <a:lnTo>
                    <a:pt x="317704" y="200876"/>
                  </a:lnTo>
                  <a:lnTo>
                    <a:pt x="317704" y="202260"/>
                  </a:lnTo>
                  <a:lnTo>
                    <a:pt x="317704" y="200876"/>
                  </a:lnTo>
                  <a:lnTo>
                    <a:pt x="317755" y="202260"/>
                  </a:lnTo>
                  <a:lnTo>
                    <a:pt x="317755" y="200876"/>
                  </a:lnTo>
                  <a:lnTo>
                    <a:pt x="317755" y="202260"/>
                  </a:lnTo>
                  <a:lnTo>
                    <a:pt x="317755" y="200876"/>
                  </a:lnTo>
                  <a:lnTo>
                    <a:pt x="317755" y="202260"/>
                  </a:lnTo>
                  <a:lnTo>
                    <a:pt x="317805" y="202260"/>
                  </a:lnTo>
                  <a:lnTo>
                    <a:pt x="317805" y="200876"/>
                  </a:lnTo>
                  <a:lnTo>
                    <a:pt x="317805" y="202260"/>
                  </a:lnTo>
                  <a:lnTo>
                    <a:pt x="317805" y="200876"/>
                  </a:lnTo>
                  <a:lnTo>
                    <a:pt x="317907" y="200876"/>
                  </a:lnTo>
                  <a:lnTo>
                    <a:pt x="317907" y="198831"/>
                  </a:lnTo>
                  <a:lnTo>
                    <a:pt x="317958" y="198831"/>
                  </a:lnTo>
                  <a:lnTo>
                    <a:pt x="317958" y="197447"/>
                  </a:lnTo>
                  <a:lnTo>
                    <a:pt x="317958" y="200228"/>
                  </a:lnTo>
                  <a:lnTo>
                    <a:pt x="317958" y="199530"/>
                  </a:lnTo>
                  <a:lnTo>
                    <a:pt x="318008" y="199530"/>
                  </a:lnTo>
                  <a:lnTo>
                    <a:pt x="318008" y="196799"/>
                  </a:lnTo>
                  <a:lnTo>
                    <a:pt x="318008" y="200876"/>
                  </a:lnTo>
                  <a:lnTo>
                    <a:pt x="318008" y="200228"/>
                  </a:lnTo>
                  <a:lnTo>
                    <a:pt x="318047" y="200228"/>
                  </a:lnTo>
                  <a:lnTo>
                    <a:pt x="318047" y="198831"/>
                  </a:lnTo>
                  <a:lnTo>
                    <a:pt x="318047" y="200876"/>
                  </a:lnTo>
                  <a:lnTo>
                    <a:pt x="318047" y="200228"/>
                  </a:lnTo>
                  <a:lnTo>
                    <a:pt x="318047" y="200876"/>
                  </a:lnTo>
                  <a:lnTo>
                    <a:pt x="318047" y="200228"/>
                  </a:lnTo>
                  <a:lnTo>
                    <a:pt x="318148" y="200228"/>
                  </a:lnTo>
                  <a:lnTo>
                    <a:pt x="318148" y="200876"/>
                  </a:lnTo>
                  <a:lnTo>
                    <a:pt x="318148" y="200228"/>
                  </a:lnTo>
                  <a:lnTo>
                    <a:pt x="318148" y="200876"/>
                  </a:lnTo>
                  <a:lnTo>
                    <a:pt x="318148" y="200228"/>
                  </a:lnTo>
                  <a:lnTo>
                    <a:pt x="318148" y="200876"/>
                  </a:lnTo>
                  <a:lnTo>
                    <a:pt x="318199" y="200876"/>
                  </a:lnTo>
                  <a:lnTo>
                    <a:pt x="318199" y="202260"/>
                  </a:lnTo>
                  <a:lnTo>
                    <a:pt x="318199" y="200876"/>
                  </a:lnTo>
                  <a:lnTo>
                    <a:pt x="318199" y="202260"/>
                  </a:lnTo>
                  <a:lnTo>
                    <a:pt x="318199" y="200876"/>
                  </a:lnTo>
                  <a:lnTo>
                    <a:pt x="318199" y="202260"/>
                  </a:lnTo>
                  <a:lnTo>
                    <a:pt x="318199" y="200876"/>
                  </a:lnTo>
                  <a:lnTo>
                    <a:pt x="318199" y="202260"/>
                  </a:lnTo>
                  <a:lnTo>
                    <a:pt x="318199" y="200876"/>
                  </a:lnTo>
                  <a:lnTo>
                    <a:pt x="318250" y="200876"/>
                  </a:lnTo>
                  <a:lnTo>
                    <a:pt x="318250" y="202260"/>
                  </a:lnTo>
                  <a:lnTo>
                    <a:pt x="318250" y="200876"/>
                  </a:lnTo>
                  <a:lnTo>
                    <a:pt x="318250" y="202260"/>
                  </a:lnTo>
                  <a:lnTo>
                    <a:pt x="318250" y="200876"/>
                  </a:lnTo>
                  <a:lnTo>
                    <a:pt x="318351" y="200876"/>
                  </a:lnTo>
                  <a:lnTo>
                    <a:pt x="318351" y="202260"/>
                  </a:lnTo>
                  <a:lnTo>
                    <a:pt x="318351" y="200876"/>
                  </a:lnTo>
                  <a:lnTo>
                    <a:pt x="318351" y="202260"/>
                  </a:lnTo>
                  <a:lnTo>
                    <a:pt x="318351" y="200876"/>
                  </a:lnTo>
                  <a:lnTo>
                    <a:pt x="318351" y="202260"/>
                  </a:lnTo>
                  <a:lnTo>
                    <a:pt x="318351" y="200228"/>
                  </a:lnTo>
                  <a:lnTo>
                    <a:pt x="318402" y="200228"/>
                  </a:lnTo>
                  <a:lnTo>
                    <a:pt x="318402" y="200876"/>
                  </a:lnTo>
                  <a:lnTo>
                    <a:pt x="318402" y="197447"/>
                  </a:lnTo>
                  <a:lnTo>
                    <a:pt x="318453" y="198831"/>
                  </a:lnTo>
                  <a:lnTo>
                    <a:pt x="318453" y="197447"/>
                  </a:lnTo>
                  <a:lnTo>
                    <a:pt x="318453" y="199530"/>
                  </a:lnTo>
                  <a:lnTo>
                    <a:pt x="318453" y="197447"/>
                  </a:lnTo>
                  <a:lnTo>
                    <a:pt x="318453" y="198831"/>
                  </a:lnTo>
                  <a:lnTo>
                    <a:pt x="318453" y="197447"/>
                  </a:lnTo>
                  <a:lnTo>
                    <a:pt x="318504" y="197447"/>
                  </a:lnTo>
                  <a:lnTo>
                    <a:pt x="318504" y="196799"/>
                  </a:lnTo>
                  <a:lnTo>
                    <a:pt x="318504" y="200876"/>
                  </a:lnTo>
                  <a:lnTo>
                    <a:pt x="318504" y="198831"/>
                  </a:lnTo>
                  <a:lnTo>
                    <a:pt x="318593" y="198831"/>
                  </a:lnTo>
                  <a:lnTo>
                    <a:pt x="318593" y="200228"/>
                  </a:lnTo>
                  <a:lnTo>
                    <a:pt x="318593" y="199530"/>
                  </a:lnTo>
                  <a:lnTo>
                    <a:pt x="318643" y="199530"/>
                  </a:lnTo>
                  <a:lnTo>
                    <a:pt x="318643" y="200228"/>
                  </a:lnTo>
                  <a:lnTo>
                    <a:pt x="318643" y="199530"/>
                  </a:lnTo>
                  <a:lnTo>
                    <a:pt x="318643" y="200228"/>
                  </a:lnTo>
                  <a:lnTo>
                    <a:pt x="318643" y="198831"/>
                  </a:lnTo>
                  <a:lnTo>
                    <a:pt x="318643" y="199530"/>
                  </a:lnTo>
                  <a:lnTo>
                    <a:pt x="318694" y="200228"/>
                  </a:lnTo>
                  <a:lnTo>
                    <a:pt x="318694" y="200876"/>
                  </a:lnTo>
                  <a:lnTo>
                    <a:pt x="318694" y="200228"/>
                  </a:lnTo>
                  <a:lnTo>
                    <a:pt x="318694" y="200876"/>
                  </a:lnTo>
                  <a:lnTo>
                    <a:pt x="318694" y="200228"/>
                  </a:lnTo>
                  <a:lnTo>
                    <a:pt x="318745" y="200228"/>
                  </a:lnTo>
                  <a:lnTo>
                    <a:pt x="318745" y="200876"/>
                  </a:lnTo>
                  <a:lnTo>
                    <a:pt x="318745" y="200228"/>
                  </a:lnTo>
                  <a:lnTo>
                    <a:pt x="318745" y="200876"/>
                  </a:lnTo>
                  <a:lnTo>
                    <a:pt x="318745" y="200228"/>
                  </a:lnTo>
                  <a:lnTo>
                    <a:pt x="318745" y="200876"/>
                  </a:lnTo>
                  <a:lnTo>
                    <a:pt x="318745" y="200228"/>
                  </a:lnTo>
                  <a:lnTo>
                    <a:pt x="318745" y="200876"/>
                  </a:lnTo>
                  <a:lnTo>
                    <a:pt x="318847" y="200876"/>
                  </a:lnTo>
                  <a:lnTo>
                    <a:pt x="318847" y="200228"/>
                  </a:lnTo>
                  <a:lnTo>
                    <a:pt x="318897" y="200228"/>
                  </a:lnTo>
                  <a:lnTo>
                    <a:pt x="318897" y="198831"/>
                  </a:lnTo>
                  <a:lnTo>
                    <a:pt x="318897" y="199530"/>
                  </a:lnTo>
                  <a:lnTo>
                    <a:pt x="318897" y="198831"/>
                  </a:lnTo>
                  <a:lnTo>
                    <a:pt x="318948" y="198831"/>
                  </a:lnTo>
                  <a:lnTo>
                    <a:pt x="318948" y="200228"/>
                  </a:lnTo>
                  <a:lnTo>
                    <a:pt x="318948" y="198831"/>
                  </a:lnTo>
                  <a:lnTo>
                    <a:pt x="318948" y="200876"/>
                  </a:lnTo>
                  <a:lnTo>
                    <a:pt x="319050" y="202260"/>
                  </a:lnTo>
                  <a:lnTo>
                    <a:pt x="319050" y="199530"/>
                  </a:lnTo>
                  <a:lnTo>
                    <a:pt x="319050" y="200228"/>
                  </a:lnTo>
                  <a:lnTo>
                    <a:pt x="319050" y="199530"/>
                  </a:lnTo>
                  <a:lnTo>
                    <a:pt x="319050" y="200876"/>
                  </a:lnTo>
                  <a:lnTo>
                    <a:pt x="319088" y="202260"/>
                  </a:lnTo>
                  <a:lnTo>
                    <a:pt x="319088" y="200228"/>
                  </a:lnTo>
                  <a:lnTo>
                    <a:pt x="319088" y="200876"/>
                  </a:lnTo>
                  <a:lnTo>
                    <a:pt x="319139" y="200876"/>
                  </a:lnTo>
                  <a:lnTo>
                    <a:pt x="319139" y="200228"/>
                  </a:lnTo>
                  <a:lnTo>
                    <a:pt x="319139" y="200876"/>
                  </a:lnTo>
                  <a:lnTo>
                    <a:pt x="319190" y="202260"/>
                  </a:lnTo>
                  <a:lnTo>
                    <a:pt x="319190" y="200876"/>
                  </a:lnTo>
                  <a:lnTo>
                    <a:pt x="319190" y="202260"/>
                  </a:lnTo>
                  <a:lnTo>
                    <a:pt x="319190" y="200876"/>
                  </a:lnTo>
                  <a:lnTo>
                    <a:pt x="319291" y="202260"/>
                  </a:lnTo>
                  <a:lnTo>
                    <a:pt x="319291" y="200876"/>
                  </a:lnTo>
                  <a:lnTo>
                    <a:pt x="319291" y="202260"/>
                  </a:lnTo>
                  <a:lnTo>
                    <a:pt x="319291" y="200876"/>
                  </a:lnTo>
                  <a:lnTo>
                    <a:pt x="319291" y="202260"/>
                  </a:lnTo>
                  <a:lnTo>
                    <a:pt x="319291" y="200876"/>
                  </a:lnTo>
                  <a:lnTo>
                    <a:pt x="319291" y="202260"/>
                  </a:lnTo>
                  <a:lnTo>
                    <a:pt x="319291" y="200876"/>
                  </a:lnTo>
                  <a:lnTo>
                    <a:pt x="319342" y="200876"/>
                  </a:lnTo>
                  <a:lnTo>
                    <a:pt x="319342" y="199530"/>
                  </a:lnTo>
                  <a:lnTo>
                    <a:pt x="319342" y="200228"/>
                  </a:lnTo>
                  <a:lnTo>
                    <a:pt x="319342" y="199530"/>
                  </a:lnTo>
                  <a:lnTo>
                    <a:pt x="319393" y="199530"/>
                  </a:lnTo>
                  <a:lnTo>
                    <a:pt x="319393" y="197447"/>
                  </a:lnTo>
                  <a:lnTo>
                    <a:pt x="319393" y="200876"/>
                  </a:lnTo>
                  <a:lnTo>
                    <a:pt x="319494" y="200876"/>
                  </a:lnTo>
                  <a:lnTo>
                    <a:pt x="319494" y="198831"/>
                  </a:lnTo>
                  <a:lnTo>
                    <a:pt x="319494" y="202260"/>
                  </a:lnTo>
                  <a:lnTo>
                    <a:pt x="319545" y="202260"/>
                  </a:lnTo>
                  <a:lnTo>
                    <a:pt x="319545" y="200228"/>
                  </a:lnTo>
                  <a:lnTo>
                    <a:pt x="319545" y="202959"/>
                  </a:lnTo>
                  <a:lnTo>
                    <a:pt x="319545" y="200876"/>
                  </a:lnTo>
                  <a:lnTo>
                    <a:pt x="319596" y="200876"/>
                  </a:lnTo>
                  <a:lnTo>
                    <a:pt x="319596" y="202260"/>
                  </a:lnTo>
                  <a:lnTo>
                    <a:pt x="319596" y="200876"/>
                  </a:lnTo>
                  <a:lnTo>
                    <a:pt x="319634" y="200876"/>
                  </a:lnTo>
                  <a:lnTo>
                    <a:pt x="319634" y="200228"/>
                  </a:lnTo>
                  <a:lnTo>
                    <a:pt x="319634" y="202260"/>
                  </a:lnTo>
                  <a:lnTo>
                    <a:pt x="319634" y="200876"/>
                  </a:lnTo>
                  <a:lnTo>
                    <a:pt x="319634" y="202260"/>
                  </a:lnTo>
                  <a:lnTo>
                    <a:pt x="319634" y="200876"/>
                  </a:lnTo>
                  <a:lnTo>
                    <a:pt x="319634" y="202260"/>
                  </a:lnTo>
                  <a:lnTo>
                    <a:pt x="319634" y="200876"/>
                  </a:lnTo>
                  <a:lnTo>
                    <a:pt x="319634" y="202260"/>
                  </a:lnTo>
                  <a:lnTo>
                    <a:pt x="319736" y="202260"/>
                  </a:lnTo>
                  <a:lnTo>
                    <a:pt x="319736" y="202959"/>
                  </a:lnTo>
                  <a:lnTo>
                    <a:pt x="319736" y="200876"/>
                  </a:lnTo>
                  <a:lnTo>
                    <a:pt x="319787" y="200876"/>
                  </a:lnTo>
                  <a:lnTo>
                    <a:pt x="319787" y="200228"/>
                  </a:lnTo>
                  <a:lnTo>
                    <a:pt x="319787" y="200876"/>
                  </a:lnTo>
                  <a:lnTo>
                    <a:pt x="319837" y="200228"/>
                  </a:lnTo>
                  <a:lnTo>
                    <a:pt x="319837" y="199530"/>
                  </a:lnTo>
                  <a:lnTo>
                    <a:pt x="319837" y="200228"/>
                  </a:lnTo>
                  <a:lnTo>
                    <a:pt x="319837" y="198831"/>
                  </a:lnTo>
                  <a:lnTo>
                    <a:pt x="319939" y="198831"/>
                  </a:lnTo>
                  <a:lnTo>
                    <a:pt x="319939" y="197447"/>
                  </a:lnTo>
                  <a:lnTo>
                    <a:pt x="319939" y="200228"/>
                  </a:lnTo>
                  <a:lnTo>
                    <a:pt x="319939" y="197447"/>
                  </a:lnTo>
                  <a:lnTo>
                    <a:pt x="319990" y="198831"/>
                  </a:lnTo>
                  <a:lnTo>
                    <a:pt x="319990" y="197447"/>
                  </a:lnTo>
                  <a:lnTo>
                    <a:pt x="319990" y="202260"/>
                  </a:lnTo>
                  <a:lnTo>
                    <a:pt x="319990" y="199530"/>
                  </a:lnTo>
                  <a:lnTo>
                    <a:pt x="320041" y="199530"/>
                  </a:lnTo>
                  <a:lnTo>
                    <a:pt x="320041" y="200876"/>
                  </a:lnTo>
                  <a:lnTo>
                    <a:pt x="320041" y="200228"/>
                  </a:lnTo>
                  <a:lnTo>
                    <a:pt x="320041" y="200876"/>
                  </a:lnTo>
                  <a:lnTo>
                    <a:pt x="320041" y="200228"/>
                  </a:lnTo>
                  <a:lnTo>
                    <a:pt x="320091" y="200228"/>
                  </a:lnTo>
                  <a:lnTo>
                    <a:pt x="320091" y="200876"/>
                  </a:lnTo>
                  <a:lnTo>
                    <a:pt x="320091" y="200228"/>
                  </a:lnTo>
                  <a:lnTo>
                    <a:pt x="320091" y="202260"/>
                  </a:lnTo>
                  <a:lnTo>
                    <a:pt x="320091" y="200876"/>
                  </a:lnTo>
                  <a:lnTo>
                    <a:pt x="320091" y="202260"/>
                  </a:lnTo>
                  <a:lnTo>
                    <a:pt x="320091" y="200876"/>
                  </a:lnTo>
                  <a:lnTo>
                    <a:pt x="320180" y="200876"/>
                  </a:lnTo>
                  <a:lnTo>
                    <a:pt x="320180" y="202260"/>
                  </a:lnTo>
                  <a:lnTo>
                    <a:pt x="320180" y="200876"/>
                  </a:lnTo>
                  <a:lnTo>
                    <a:pt x="320180" y="202260"/>
                  </a:lnTo>
                  <a:lnTo>
                    <a:pt x="320180" y="200876"/>
                  </a:lnTo>
                  <a:lnTo>
                    <a:pt x="320180" y="202260"/>
                  </a:lnTo>
                  <a:lnTo>
                    <a:pt x="320180" y="200876"/>
                  </a:lnTo>
                  <a:lnTo>
                    <a:pt x="320180" y="202260"/>
                  </a:lnTo>
                  <a:lnTo>
                    <a:pt x="320180" y="200876"/>
                  </a:lnTo>
                  <a:lnTo>
                    <a:pt x="320180" y="202260"/>
                  </a:lnTo>
                  <a:lnTo>
                    <a:pt x="320231" y="202260"/>
                  </a:lnTo>
                  <a:lnTo>
                    <a:pt x="320231" y="200876"/>
                  </a:lnTo>
                  <a:lnTo>
                    <a:pt x="320231" y="202260"/>
                  </a:lnTo>
                  <a:lnTo>
                    <a:pt x="320231" y="200876"/>
                  </a:lnTo>
                  <a:lnTo>
                    <a:pt x="320231" y="202260"/>
                  </a:lnTo>
                  <a:lnTo>
                    <a:pt x="320231" y="200876"/>
                  </a:lnTo>
                  <a:lnTo>
                    <a:pt x="320282" y="200876"/>
                  </a:lnTo>
                  <a:lnTo>
                    <a:pt x="320282" y="202260"/>
                  </a:lnTo>
                  <a:lnTo>
                    <a:pt x="320282" y="200228"/>
                  </a:lnTo>
                  <a:lnTo>
                    <a:pt x="320333" y="199530"/>
                  </a:lnTo>
                  <a:lnTo>
                    <a:pt x="320333" y="200228"/>
                  </a:lnTo>
                  <a:lnTo>
                    <a:pt x="320333" y="197447"/>
                  </a:lnTo>
                  <a:lnTo>
                    <a:pt x="320434" y="197447"/>
                  </a:lnTo>
                  <a:lnTo>
                    <a:pt x="320434" y="200228"/>
                  </a:lnTo>
                  <a:lnTo>
                    <a:pt x="320434" y="198831"/>
                  </a:lnTo>
                  <a:lnTo>
                    <a:pt x="320434" y="199530"/>
                  </a:lnTo>
                  <a:lnTo>
                    <a:pt x="320485" y="200228"/>
                  </a:lnTo>
                  <a:lnTo>
                    <a:pt x="320485" y="202260"/>
                  </a:lnTo>
                  <a:lnTo>
                    <a:pt x="320485" y="198831"/>
                  </a:lnTo>
                  <a:lnTo>
                    <a:pt x="320485" y="200228"/>
                  </a:lnTo>
                  <a:lnTo>
                    <a:pt x="320536" y="200228"/>
                  </a:lnTo>
                  <a:lnTo>
                    <a:pt x="320536" y="200876"/>
                  </a:lnTo>
                  <a:lnTo>
                    <a:pt x="320536" y="200228"/>
                  </a:lnTo>
                  <a:lnTo>
                    <a:pt x="320536" y="200876"/>
                  </a:lnTo>
                  <a:lnTo>
                    <a:pt x="320637" y="200876"/>
                  </a:lnTo>
                  <a:lnTo>
                    <a:pt x="320637" y="202260"/>
                  </a:lnTo>
                  <a:lnTo>
                    <a:pt x="320637" y="200876"/>
                  </a:lnTo>
                  <a:lnTo>
                    <a:pt x="320637" y="202260"/>
                  </a:lnTo>
                  <a:lnTo>
                    <a:pt x="320637" y="200876"/>
                  </a:lnTo>
                  <a:lnTo>
                    <a:pt x="320676" y="200876"/>
                  </a:lnTo>
                  <a:lnTo>
                    <a:pt x="320676" y="202260"/>
                  </a:lnTo>
                  <a:lnTo>
                    <a:pt x="320726" y="202260"/>
                  </a:lnTo>
                  <a:lnTo>
                    <a:pt x="320726" y="200876"/>
                  </a:lnTo>
                  <a:lnTo>
                    <a:pt x="320726" y="202260"/>
                  </a:lnTo>
                  <a:lnTo>
                    <a:pt x="320726" y="200228"/>
                  </a:lnTo>
                  <a:lnTo>
                    <a:pt x="320726" y="200876"/>
                  </a:lnTo>
                  <a:lnTo>
                    <a:pt x="320726" y="200228"/>
                  </a:lnTo>
                  <a:lnTo>
                    <a:pt x="320726" y="200876"/>
                  </a:lnTo>
                  <a:lnTo>
                    <a:pt x="320777" y="200876"/>
                  </a:lnTo>
                  <a:lnTo>
                    <a:pt x="320777" y="200228"/>
                  </a:lnTo>
                  <a:lnTo>
                    <a:pt x="320777" y="200876"/>
                  </a:lnTo>
                  <a:lnTo>
                    <a:pt x="320777" y="199530"/>
                  </a:lnTo>
                  <a:lnTo>
                    <a:pt x="320879" y="198831"/>
                  </a:lnTo>
                  <a:lnTo>
                    <a:pt x="320879" y="196799"/>
                  </a:lnTo>
                  <a:lnTo>
                    <a:pt x="320930" y="196799"/>
                  </a:lnTo>
                  <a:lnTo>
                    <a:pt x="320930" y="198831"/>
                  </a:lnTo>
                  <a:lnTo>
                    <a:pt x="320930" y="196799"/>
                  </a:lnTo>
                  <a:lnTo>
                    <a:pt x="320930" y="198831"/>
                  </a:lnTo>
                  <a:lnTo>
                    <a:pt x="320980" y="199530"/>
                  </a:lnTo>
                  <a:lnTo>
                    <a:pt x="320980" y="197447"/>
                  </a:lnTo>
                  <a:lnTo>
                    <a:pt x="320980" y="199530"/>
                  </a:lnTo>
                  <a:lnTo>
                    <a:pt x="320980" y="198831"/>
                  </a:lnTo>
                  <a:lnTo>
                    <a:pt x="320980" y="199530"/>
                  </a:lnTo>
                  <a:lnTo>
                    <a:pt x="321082" y="199530"/>
                  </a:lnTo>
                  <a:lnTo>
                    <a:pt x="321082" y="200228"/>
                  </a:lnTo>
                  <a:lnTo>
                    <a:pt x="321082" y="199530"/>
                  </a:lnTo>
                  <a:lnTo>
                    <a:pt x="321082" y="200228"/>
                  </a:lnTo>
                  <a:lnTo>
                    <a:pt x="321082" y="198831"/>
                  </a:lnTo>
                  <a:lnTo>
                    <a:pt x="321082" y="199530"/>
                  </a:lnTo>
                  <a:lnTo>
                    <a:pt x="321082" y="198831"/>
                  </a:lnTo>
                  <a:lnTo>
                    <a:pt x="321082" y="200228"/>
                  </a:lnTo>
                  <a:lnTo>
                    <a:pt x="321133" y="199530"/>
                  </a:lnTo>
                  <a:lnTo>
                    <a:pt x="321133" y="200876"/>
                  </a:lnTo>
                  <a:lnTo>
                    <a:pt x="321133" y="199530"/>
                  </a:lnTo>
                  <a:lnTo>
                    <a:pt x="321133" y="200876"/>
                  </a:lnTo>
                  <a:lnTo>
                    <a:pt x="321183" y="200876"/>
                  </a:lnTo>
                  <a:lnTo>
                    <a:pt x="321183" y="202260"/>
                  </a:lnTo>
                  <a:lnTo>
                    <a:pt x="321183" y="200876"/>
                  </a:lnTo>
                  <a:lnTo>
                    <a:pt x="321222" y="200876"/>
                  </a:lnTo>
                  <a:lnTo>
                    <a:pt x="321222" y="202260"/>
                  </a:lnTo>
                  <a:lnTo>
                    <a:pt x="321222" y="200876"/>
                  </a:lnTo>
                  <a:lnTo>
                    <a:pt x="321222" y="202260"/>
                  </a:lnTo>
                  <a:lnTo>
                    <a:pt x="321222" y="200876"/>
                  </a:lnTo>
                  <a:lnTo>
                    <a:pt x="321323" y="200876"/>
                  </a:lnTo>
                  <a:lnTo>
                    <a:pt x="321323" y="199530"/>
                  </a:lnTo>
                  <a:lnTo>
                    <a:pt x="321374" y="199530"/>
                  </a:lnTo>
                  <a:lnTo>
                    <a:pt x="321374" y="198831"/>
                  </a:lnTo>
                  <a:lnTo>
                    <a:pt x="321374" y="199530"/>
                  </a:lnTo>
                  <a:lnTo>
                    <a:pt x="321374" y="197447"/>
                  </a:lnTo>
                  <a:lnTo>
                    <a:pt x="321374" y="200228"/>
                  </a:lnTo>
                  <a:lnTo>
                    <a:pt x="321425" y="199530"/>
                  </a:lnTo>
                  <a:lnTo>
                    <a:pt x="321425" y="197447"/>
                  </a:lnTo>
                  <a:lnTo>
                    <a:pt x="321425" y="200876"/>
                  </a:lnTo>
                  <a:lnTo>
                    <a:pt x="321425" y="200228"/>
                  </a:lnTo>
                  <a:lnTo>
                    <a:pt x="321526" y="200228"/>
                  </a:lnTo>
                  <a:lnTo>
                    <a:pt x="321526" y="198831"/>
                  </a:lnTo>
                  <a:lnTo>
                    <a:pt x="321526" y="200228"/>
                  </a:lnTo>
                  <a:lnTo>
                    <a:pt x="321526" y="199530"/>
                  </a:lnTo>
                  <a:lnTo>
                    <a:pt x="321526" y="200228"/>
                  </a:lnTo>
                  <a:lnTo>
                    <a:pt x="321577" y="200228"/>
                  </a:lnTo>
                  <a:lnTo>
                    <a:pt x="321577" y="199530"/>
                  </a:lnTo>
                  <a:lnTo>
                    <a:pt x="321577" y="200228"/>
                  </a:lnTo>
                  <a:lnTo>
                    <a:pt x="321577" y="199530"/>
                  </a:lnTo>
                  <a:lnTo>
                    <a:pt x="321628" y="200228"/>
                  </a:lnTo>
                  <a:lnTo>
                    <a:pt x="321628" y="200876"/>
                  </a:lnTo>
                  <a:lnTo>
                    <a:pt x="321628" y="200228"/>
                  </a:lnTo>
                  <a:lnTo>
                    <a:pt x="321679" y="200228"/>
                  </a:lnTo>
                  <a:lnTo>
                    <a:pt x="321679" y="200876"/>
                  </a:lnTo>
                  <a:lnTo>
                    <a:pt x="321679" y="200228"/>
                  </a:lnTo>
                  <a:lnTo>
                    <a:pt x="321768" y="200228"/>
                  </a:lnTo>
                  <a:lnTo>
                    <a:pt x="321768" y="200876"/>
                  </a:lnTo>
                  <a:lnTo>
                    <a:pt x="321768" y="199530"/>
                  </a:lnTo>
                  <a:lnTo>
                    <a:pt x="321818" y="199530"/>
                  </a:lnTo>
                  <a:lnTo>
                    <a:pt x="321818" y="200228"/>
                  </a:lnTo>
                  <a:lnTo>
                    <a:pt x="321818" y="198831"/>
                  </a:lnTo>
                  <a:lnTo>
                    <a:pt x="321818" y="199530"/>
                  </a:lnTo>
                  <a:lnTo>
                    <a:pt x="321818" y="198831"/>
                  </a:lnTo>
                  <a:lnTo>
                    <a:pt x="321869" y="198831"/>
                  </a:lnTo>
                  <a:lnTo>
                    <a:pt x="321869" y="200228"/>
                  </a:lnTo>
                  <a:lnTo>
                    <a:pt x="321869" y="198831"/>
                  </a:lnTo>
                  <a:lnTo>
                    <a:pt x="321869" y="199530"/>
                  </a:lnTo>
                  <a:lnTo>
                    <a:pt x="321920" y="199530"/>
                  </a:lnTo>
                  <a:lnTo>
                    <a:pt x="321920" y="202260"/>
                  </a:lnTo>
                  <a:lnTo>
                    <a:pt x="321920" y="200228"/>
                  </a:lnTo>
                  <a:lnTo>
                    <a:pt x="322022" y="200228"/>
                  </a:lnTo>
                  <a:lnTo>
                    <a:pt x="322022" y="202260"/>
                  </a:lnTo>
                  <a:lnTo>
                    <a:pt x="322022" y="200876"/>
                  </a:lnTo>
                  <a:lnTo>
                    <a:pt x="322022" y="202260"/>
                  </a:lnTo>
                  <a:lnTo>
                    <a:pt x="322022" y="200876"/>
                  </a:lnTo>
                  <a:lnTo>
                    <a:pt x="322072" y="200876"/>
                  </a:lnTo>
                  <a:lnTo>
                    <a:pt x="322072" y="202260"/>
                  </a:lnTo>
                  <a:lnTo>
                    <a:pt x="322123" y="202260"/>
                  </a:lnTo>
                  <a:lnTo>
                    <a:pt x="322123" y="200876"/>
                  </a:lnTo>
                  <a:lnTo>
                    <a:pt x="322123" y="202260"/>
                  </a:lnTo>
                  <a:lnTo>
                    <a:pt x="322123" y="200876"/>
                  </a:lnTo>
                  <a:lnTo>
                    <a:pt x="322123" y="202959"/>
                  </a:lnTo>
                  <a:lnTo>
                    <a:pt x="322123" y="202260"/>
                  </a:lnTo>
                  <a:lnTo>
                    <a:pt x="322225" y="202260"/>
                  </a:lnTo>
                  <a:lnTo>
                    <a:pt x="322225" y="200876"/>
                  </a:lnTo>
                  <a:lnTo>
                    <a:pt x="322225" y="202260"/>
                  </a:lnTo>
                  <a:lnTo>
                    <a:pt x="322225" y="200876"/>
                  </a:lnTo>
                  <a:lnTo>
                    <a:pt x="322263" y="200876"/>
                  </a:lnTo>
                  <a:lnTo>
                    <a:pt x="322263" y="199530"/>
                  </a:lnTo>
                  <a:lnTo>
                    <a:pt x="322314" y="199530"/>
                  </a:lnTo>
                  <a:lnTo>
                    <a:pt x="322314" y="198831"/>
                  </a:lnTo>
                  <a:lnTo>
                    <a:pt x="322314" y="199530"/>
                  </a:lnTo>
                  <a:lnTo>
                    <a:pt x="322314" y="197447"/>
                  </a:lnTo>
                  <a:lnTo>
                    <a:pt x="322365" y="198831"/>
                  </a:lnTo>
                  <a:lnTo>
                    <a:pt x="322365" y="200228"/>
                  </a:lnTo>
                  <a:lnTo>
                    <a:pt x="322365" y="197447"/>
                  </a:lnTo>
                  <a:lnTo>
                    <a:pt x="322365" y="200228"/>
                  </a:lnTo>
                  <a:lnTo>
                    <a:pt x="322466" y="200876"/>
                  </a:lnTo>
                  <a:lnTo>
                    <a:pt x="322466" y="202260"/>
                  </a:lnTo>
                  <a:lnTo>
                    <a:pt x="322466" y="199530"/>
                  </a:lnTo>
                  <a:lnTo>
                    <a:pt x="322466" y="200876"/>
                  </a:lnTo>
                  <a:lnTo>
                    <a:pt x="322517" y="202260"/>
                  </a:lnTo>
                  <a:lnTo>
                    <a:pt x="322517" y="200228"/>
                  </a:lnTo>
                  <a:lnTo>
                    <a:pt x="322517" y="200876"/>
                  </a:lnTo>
                  <a:lnTo>
                    <a:pt x="322517" y="200228"/>
                  </a:lnTo>
                  <a:lnTo>
                    <a:pt x="322517" y="202260"/>
                  </a:lnTo>
                  <a:lnTo>
                    <a:pt x="322517" y="200876"/>
                  </a:lnTo>
                  <a:lnTo>
                    <a:pt x="322517" y="202260"/>
                  </a:lnTo>
                  <a:lnTo>
                    <a:pt x="322568" y="202260"/>
                  </a:lnTo>
                  <a:lnTo>
                    <a:pt x="322568" y="200876"/>
                  </a:lnTo>
                  <a:lnTo>
                    <a:pt x="322568" y="202260"/>
                  </a:lnTo>
                  <a:lnTo>
                    <a:pt x="322568" y="200876"/>
                  </a:lnTo>
                  <a:lnTo>
                    <a:pt x="322568" y="202260"/>
                  </a:lnTo>
                  <a:lnTo>
                    <a:pt x="322568" y="200876"/>
                  </a:lnTo>
                  <a:lnTo>
                    <a:pt x="322568" y="202260"/>
                  </a:lnTo>
                  <a:lnTo>
                    <a:pt x="322669" y="202260"/>
                  </a:lnTo>
                  <a:lnTo>
                    <a:pt x="322669" y="200876"/>
                  </a:lnTo>
                  <a:lnTo>
                    <a:pt x="322720" y="200876"/>
                  </a:lnTo>
                  <a:lnTo>
                    <a:pt x="322720" y="200228"/>
                  </a:lnTo>
                  <a:lnTo>
                    <a:pt x="322720" y="200876"/>
                  </a:lnTo>
                  <a:lnTo>
                    <a:pt x="322720" y="200228"/>
                  </a:lnTo>
                  <a:lnTo>
                    <a:pt x="322720" y="200876"/>
                  </a:lnTo>
                  <a:lnTo>
                    <a:pt x="322720" y="200228"/>
                  </a:lnTo>
                  <a:lnTo>
                    <a:pt x="322771" y="200228"/>
                  </a:lnTo>
                  <a:lnTo>
                    <a:pt x="322771" y="200876"/>
                  </a:lnTo>
                  <a:lnTo>
                    <a:pt x="322771" y="198831"/>
                  </a:lnTo>
                  <a:lnTo>
                    <a:pt x="322809" y="197447"/>
                  </a:lnTo>
                  <a:lnTo>
                    <a:pt x="322809" y="198831"/>
                  </a:lnTo>
                  <a:lnTo>
                    <a:pt x="322809" y="196799"/>
                  </a:lnTo>
                  <a:lnTo>
                    <a:pt x="322809" y="197447"/>
                  </a:lnTo>
                  <a:lnTo>
                    <a:pt x="322809" y="196799"/>
                  </a:lnTo>
                  <a:lnTo>
                    <a:pt x="322809" y="198831"/>
                  </a:lnTo>
                  <a:lnTo>
                    <a:pt x="322911" y="198831"/>
                  </a:lnTo>
                  <a:lnTo>
                    <a:pt x="322911" y="199530"/>
                  </a:lnTo>
                  <a:lnTo>
                    <a:pt x="322911" y="196799"/>
                  </a:lnTo>
                  <a:lnTo>
                    <a:pt x="322911" y="199530"/>
                  </a:lnTo>
                  <a:lnTo>
                    <a:pt x="322962" y="199530"/>
                  </a:lnTo>
                  <a:lnTo>
                    <a:pt x="322962" y="200228"/>
                  </a:lnTo>
                  <a:lnTo>
                    <a:pt x="322962" y="198831"/>
                  </a:lnTo>
                  <a:lnTo>
                    <a:pt x="322962" y="200228"/>
                  </a:lnTo>
                  <a:lnTo>
                    <a:pt x="323012" y="200228"/>
                  </a:lnTo>
                  <a:lnTo>
                    <a:pt x="323012" y="199530"/>
                  </a:lnTo>
                  <a:lnTo>
                    <a:pt x="323012" y="200228"/>
                  </a:lnTo>
                  <a:lnTo>
                    <a:pt x="323012" y="199530"/>
                  </a:lnTo>
                  <a:lnTo>
                    <a:pt x="323012" y="200228"/>
                  </a:lnTo>
                  <a:lnTo>
                    <a:pt x="323114" y="200228"/>
                  </a:lnTo>
                  <a:lnTo>
                    <a:pt x="323114" y="200876"/>
                  </a:lnTo>
                  <a:lnTo>
                    <a:pt x="323165" y="200876"/>
                  </a:lnTo>
                  <a:lnTo>
                    <a:pt x="323165" y="202260"/>
                  </a:lnTo>
                  <a:lnTo>
                    <a:pt x="323165" y="200876"/>
                  </a:lnTo>
                  <a:lnTo>
                    <a:pt x="323165" y="202260"/>
                  </a:lnTo>
                  <a:lnTo>
                    <a:pt x="323165" y="200876"/>
                  </a:lnTo>
                  <a:lnTo>
                    <a:pt x="323216" y="200876"/>
                  </a:lnTo>
                  <a:lnTo>
                    <a:pt x="323216" y="200228"/>
                  </a:lnTo>
                  <a:lnTo>
                    <a:pt x="323266" y="200228"/>
                  </a:lnTo>
                  <a:lnTo>
                    <a:pt x="323266" y="199530"/>
                  </a:lnTo>
                  <a:lnTo>
                    <a:pt x="323266" y="200228"/>
                  </a:lnTo>
                  <a:lnTo>
                    <a:pt x="323266" y="198831"/>
                  </a:lnTo>
                  <a:lnTo>
                    <a:pt x="323355" y="198831"/>
                  </a:lnTo>
                  <a:lnTo>
                    <a:pt x="323355" y="197447"/>
                  </a:lnTo>
                  <a:lnTo>
                    <a:pt x="323355" y="198831"/>
                  </a:lnTo>
                  <a:lnTo>
                    <a:pt x="323355" y="197447"/>
                  </a:lnTo>
                  <a:lnTo>
                    <a:pt x="323355" y="199530"/>
                  </a:lnTo>
                  <a:lnTo>
                    <a:pt x="323355" y="198831"/>
                  </a:lnTo>
                  <a:lnTo>
                    <a:pt x="323406" y="198831"/>
                  </a:lnTo>
                  <a:lnTo>
                    <a:pt x="323406" y="197447"/>
                  </a:lnTo>
                  <a:lnTo>
                    <a:pt x="323406" y="200228"/>
                  </a:lnTo>
                  <a:lnTo>
                    <a:pt x="323406" y="198831"/>
                  </a:lnTo>
                  <a:lnTo>
                    <a:pt x="323457" y="198831"/>
                  </a:lnTo>
                  <a:lnTo>
                    <a:pt x="323457" y="199530"/>
                  </a:lnTo>
                  <a:lnTo>
                    <a:pt x="323457" y="198831"/>
                  </a:lnTo>
                  <a:lnTo>
                    <a:pt x="323457" y="200228"/>
                  </a:lnTo>
                  <a:lnTo>
                    <a:pt x="323457" y="199530"/>
                  </a:lnTo>
                  <a:lnTo>
                    <a:pt x="323508" y="199530"/>
                  </a:lnTo>
                  <a:lnTo>
                    <a:pt x="323508" y="200876"/>
                  </a:lnTo>
                  <a:lnTo>
                    <a:pt x="323508" y="200228"/>
                  </a:lnTo>
                  <a:lnTo>
                    <a:pt x="323609" y="200228"/>
                  </a:lnTo>
                  <a:lnTo>
                    <a:pt x="323609" y="200876"/>
                  </a:lnTo>
                  <a:lnTo>
                    <a:pt x="323609" y="200228"/>
                  </a:lnTo>
                  <a:lnTo>
                    <a:pt x="323660" y="200228"/>
                  </a:lnTo>
                  <a:lnTo>
                    <a:pt x="323660" y="200876"/>
                  </a:lnTo>
                  <a:lnTo>
                    <a:pt x="323660" y="200228"/>
                  </a:lnTo>
                  <a:lnTo>
                    <a:pt x="323660" y="200876"/>
                  </a:lnTo>
                  <a:lnTo>
                    <a:pt x="323711" y="200228"/>
                  </a:lnTo>
                  <a:lnTo>
                    <a:pt x="323711" y="200876"/>
                  </a:lnTo>
                  <a:lnTo>
                    <a:pt x="323711" y="199530"/>
                  </a:lnTo>
                  <a:lnTo>
                    <a:pt x="323711" y="200228"/>
                  </a:lnTo>
                  <a:lnTo>
                    <a:pt x="323812" y="199530"/>
                  </a:lnTo>
                  <a:lnTo>
                    <a:pt x="323812" y="198831"/>
                  </a:lnTo>
                  <a:lnTo>
                    <a:pt x="323851" y="197447"/>
                  </a:lnTo>
                  <a:lnTo>
                    <a:pt x="323851" y="196799"/>
                  </a:lnTo>
                  <a:lnTo>
                    <a:pt x="323851" y="199530"/>
                  </a:lnTo>
                  <a:lnTo>
                    <a:pt x="323851" y="197447"/>
                  </a:lnTo>
                  <a:lnTo>
                    <a:pt x="323901" y="196799"/>
                  </a:lnTo>
                  <a:lnTo>
                    <a:pt x="323901" y="196113"/>
                  </a:lnTo>
                  <a:lnTo>
                    <a:pt x="323901" y="199530"/>
                  </a:lnTo>
                  <a:lnTo>
                    <a:pt x="323901" y="197447"/>
                  </a:lnTo>
                  <a:lnTo>
                    <a:pt x="323952" y="197447"/>
                  </a:lnTo>
                  <a:lnTo>
                    <a:pt x="323952" y="199530"/>
                  </a:lnTo>
                  <a:lnTo>
                    <a:pt x="323952" y="198831"/>
                  </a:lnTo>
                  <a:lnTo>
                    <a:pt x="324054" y="198831"/>
                  </a:lnTo>
                  <a:lnTo>
                    <a:pt x="324054" y="199530"/>
                  </a:lnTo>
                  <a:lnTo>
                    <a:pt x="324054" y="198831"/>
                  </a:lnTo>
                  <a:lnTo>
                    <a:pt x="324054" y="200228"/>
                  </a:lnTo>
                  <a:lnTo>
                    <a:pt x="324054" y="198831"/>
                  </a:lnTo>
                  <a:lnTo>
                    <a:pt x="324105" y="199530"/>
                  </a:lnTo>
                  <a:lnTo>
                    <a:pt x="324105" y="200228"/>
                  </a:lnTo>
                  <a:lnTo>
                    <a:pt x="324105" y="199530"/>
                  </a:lnTo>
                  <a:lnTo>
                    <a:pt x="324105" y="200228"/>
                  </a:lnTo>
                  <a:lnTo>
                    <a:pt x="324155" y="200228"/>
                  </a:lnTo>
                  <a:lnTo>
                    <a:pt x="324155" y="199530"/>
                  </a:lnTo>
                  <a:lnTo>
                    <a:pt x="324155" y="200228"/>
                  </a:lnTo>
                  <a:lnTo>
                    <a:pt x="324257" y="200228"/>
                  </a:lnTo>
                  <a:lnTo>
                    <a:pt x="324257" y="199530"/>
                  </a:lnTo>
                  <a:lnTo>
                    <a:pt x="324257" y="200228"/>
                  </a:lnTo>
                  <a:lnTo>
                    <a:pt x="324257" y="199530"/>
                  </a:lnTo>
                  <a:lnTo>
                    <a:pt x="324257" y="200228"/>
                  </a:lnTo>
                  <a:lnTo>
                    <a:pt x="324257" y="199530"/>
                  </a:lnTo>
                  <a:lnTo>
                    <a:pt x="324308" y="198831"/>
                  </a:lnTo>
                  <a:lnTo>
                    <a:pt x="324308" y="199530"/>
                  </a:lnTo>
                  <a:lnTo>
                    <a:pt x="324308" y="198831"/>
                  </a:lnTo>
                  <a:lnTo>
                    <a:pt x="324308" y="199530"/>
                  </a:lnTo>
                  <a:lnTo>
                    <a:pt x="324308" y="196799"/>
                  </a:lnTo>
                  <a:lnTo>
                    <a:pt x="324308" y="197447"/>
                  </a:lnTo>
                  <a:lnTo>
                    <a:pt x="324308" y="196799"/>
                  </a:lnTo>
                  <a:lnTo>
                    <a:pt x="324358" y="197447"/>
                  </a:lnTo>
                  <a:lnTo>
                    <a:pt x="324358" y="196113"/>
                  </a:lnTo>
                  <a:lnTo>
                    <a:pt x="324358" y="196799"/>
                  </a:lnTo>
                  <a:lnTo>
                    <a:pt x="324358" y="195415"/>
                  </a:lnTo>
                  <a:lnTo>
                    <a:pt x="324358" y="196113"/>
                  </a:lnTo>
                  <a:lnTo>
                    <a:pt x="324397" y="196113"/>
                  </a:lnTo>
                  <a:lnTo>
                    <a:pt x="324397" y="194716"/>
                  </a:lnTo>
                  <a:lnTo>
                    <a:pt x="324397" y="197447"/>
                  </a:lnTo>
                  <a:lnTo>
                    <a:pt x="324397" y="196799"/>
                  </a:lnTo>
                  <a:lnTo>
                    <a:pt x="324498" y="196799"/>
                  </a:lnTo>
                  <a:lnTo>
                    <a:pt x="324498" y="196113"/>
                  </a:lnTo>
                  <a:lnTo>
                    <a:pt x="324498" y="196799"/>
                  </a:lnTo>
                  <a:lnTo>
                    <a:pt x="324498" y="196113"/>
                  </a:lnTo>
                  <a:lnTo>
                    <a:pt x="324498" y="197447"/>
                  </a:lnTo>
                  <a:lnTo>
                    <a:pt x="324498" y="196799"/>
                  </a:lnTo>
                  <a:lnTo>
                    <a:pt x="324498" y="197447"/>
                  </a:lnTo>
                  <a:lnTo>
                    <a:pt x="324498" y="196799"/>
                  </a:lnTo>
                  <a:lnTo>
                    <a:pt x="324549" y="196799"/>
                  </a:lnTo>
                  <a:lnTo>
                    <a:pt x="324549" y="197447"/>
                  </a:lnTo>
                  <a:lnTo>
                    <a:pt x="324549" y="196799"/>
                  </a:lnTo>
                  <a:lnTo>
                    <a:pt x="324549" y="197447"/>
                  </a:lnTo>
                  <a:lnTo>
                    <a:pt x="324549" y="196799"/>
                  </a:lnTo>
                  <a:lnTo>
                    <a:pt x="324549" y="197447"/>
                  </a:lnTo>
                  <a:lnTo>
                    <a:pt x="324600" y="197447"/>
                  </a:lnTo>
                  <a:lnTo>
                    <a:pt x="324600" y="198831"/>
                  </a:lnTo>
                  <a:lnTo>
                    <a:pt x="324600" y="197447"/>
                  </a:lnTo>
                  <a:lnTo>
                    <a:pt x="324600" y="198831"/>
                  </a:lnTo>
                  <a:lnTo>
                    <a:pt x="324600" y="197447"/>
                  </a:lnTo>
                  <a:lnTo>
                    <a:pt x="324701" y="198831"/>
                  </a:lnTo>
                  <a:lnTo>
                    <a:pt x="324701" y="199530"/>
                  </a:lnTo>
                  <a:lnTo>
                    <a:pt x="324752" y="199530"/>
                  </a:lnTo>
                  <a:lnTo>
                    <a:pt x="324752" y="198831"/>
                  </a:lnTo>
                  <a:lnTo>
                    <a:pt x="324752" y="199530"/>
                  </a:lnTo>
                  <a:lnTo>
                    <a:pt x="324803" y="199530"/>
                  </a:lnTo>
                  <a:lnTo>
                    <a:pt x="324803" y="197447"/>
                  </a:lnTo>
                  <a:lnTo>
                    <a:pt x="324854" y="197447"/>
                  </a:lnTo>
                  <a:lnTo>
                    <a:pt x="324854" y="196799"/>
                  </a:lnTo>
                  <a:lnTo>
                    <a:pt x="324854" y="198831"/>
                  </a:lnTo>
                  <a:lnTo>
                    <a:pt x="324854" y="196799"/>
                  </a:lnTo>
                  <a:lnTo>
                    <a:pt x="324943" y="197447"/>
                  </a:lnTo>
                  <a:lnTo>
                    <a:pt x="324943" y="200228"/>
                  </a:lnTo>
                  <a:lnTo>
                    <a:pt x="324943" y="197447"/>
                  </a:lnTo>
                  <a:lnTo>
                    <a:pt x="324943" y="198831"/>
                  </a:lnTo>
                  <a:lnTo>
                    <a:pt x="324993" y="198831"/>
                  </a:lnTo>
                  <a:lnTo>
                    <a:pt x="324993" y="200228"/>
                  </a:lnTo>
                  <a:lnTo>
                    <a:pt x="324993" y="198831"/>
                  </a:lnTo>
                  <a:lnTo>
                    <a:pt x="325044" y="198831"/>
                  </a:lnTo>
                  <a:lnTo>
                    <a:pt x="325044" y="199530"/>
                  </a:lnTo>
                  <a:lnTo>
                    <a:pt x="325044" y="198831"/>
                  </a:lnTo>
                  <a:lnTo>
                    <a:pt x="325044" y="199530"/>
                  </a:lnTo>
                  <a:lnTo>
                    <a:pt x="325044" y="198831"/>
                  </a:lnTo>
                  <a:lnTo>
                    <a:pt x="325044" y="199530"/>
                  </a:lnTo>
                  <a:lnTo>
                    <a:pt x="325095" y="199530"/>
                  </a:lnTo>
                  <a:lnTo>
                    <a:pt x="325095" y="198831"/>
                  </a:lnTo>
                  <a:lnTo>
                    <a:pt x="325095" y="199530"/>
                  </a:lnTo>
                  <a:lnTo>
                    <a:pt x="325197" y="199530"/>
                  </a:lnTo>
                  <a:lnTo>
                    <a:pt x="325197" y="200228"/>
                  </a:lnTo>
                  <a:lnTo>
                    <a:pt x="325197" y="199530"/>
                  </a:lnTo>
                  <a:lnTo>
                    <a:pt x="325197" y="200228"/>
                  </a:lnTo>
                  <a:lnTo>
                    <a:pt x="325247" y="200228"/>
                  </a:lnTo>
                  <a:lnTo>
                    <a:pt x="325247" y="199530"/>
                  </a:lnTo>
                  <a:lnTo>
                    <a:pt x="325298" y="199530"/>
                  </a:lnTo>
                  <a:lnTo>
                    <a:pt x="325298" y="197447"/>
                  </a:lnTo>
                  <a:lnTo>
                    <a:pt x="325298" y="199530"/>
                  </a:lnTo>
                  <a:lnTo>
                    <a:pt x="325400" y="200228"/>
                  </a:lnTo>
                  <a:lnTo>
                    <a:pt x="325400" y="197447"/>
                  </a:lnTo>
                  <a:lnTo>
                    <a:pt x="325400" y="202260"/>
                  </a:lnTo>
                  <a:lnTo>
                    <a:pt x="325400" y="200876"/>
                  </a:lnTo>
                  <a:lnTo>
                    <a:pt x="325438" y="200876"/>
                  </a:lnTo>
                  <a:lnTo>
                    <a:pt x="325438" y="199530"/>
                  </a:lnTo>
                  <a:lnTo>
                    <a:pt x="325438" y="202260"/>
                  </a:lnTo>
                  <a:lnTo>
                    <a:pt x="325489" y="200876"/>
                  </a:lnTo>
                  <a:lnTo>
                    <a:pt x="325489" y="202260"/>
                  </a:lnTo>
                  <a:lnTo>
                    <a:pt x="325489" y="200876"/>
                  </a:lnTo>
                  <a:lnTo>
                    <a:pt x="325489" y="202260"/>
                  </a:lnTo>
                  <a:lnTo>
                    <a:pt x="325489" y="200876"/>
                  </a:lnTo>
                  <a:lnTo>
                    <a:pt x="325540" y="200876"/>
                  </a:lnTo>
                  <a:lnTo>
                    <a:pt x="325540" y="200228"/>
                  </a:lnTo>
                  <a:lnTo>
                    <a:pt x="325540" y="200876"/>
                  </a:lnTo>
                  <a:lnTo>
                    <a:pt x="325641" y="200876"/>
                  </a:lnTo>
                  <a:lnTo>
                    <a:pt x="325641" y="200228"/>
                  </a:lnTo>
                  <a:lnTo>
                    <a:pt x="325641" y="200876"/>
                  </a:lnTo>
                  <a:lnTo>
                    <a:pt x="325641" y="200228"/>
                  </a:lnTo>
                  <a:lnTo>
                    <a:pt x="325641" y="200876"/>
                  </a:lnTo>
                  <a:lnTo>
                    <a:pt x="325641" y="200228"/>
                  </a:lnTo>
                  <a:lnTo>
                    <a:pt x="325692" y="200228"/>
                  </a:lnTo>
                  <a:lnTo>
                    <a:pt x="325692" y="199530"/>
                  </a:lnTo>
                  <a:lnTo>
                    <a:pt x="325692" y="200228"/>
                  </a:lnTo>
                  <a:lnTo>
                    <a:pt x="325692" y="199530"/>
                  </a:lnTo>
                  <a:lnTo>
                    <a:pt x="325692" y="200228"/>
                  </a:lnTo>
                  <a:lnTo>
                    <a:pt x="325692" y="199530"/>
                  </a:lnTo>
                  <a:lnTo>
                    <a:pt x="325692" y="200228"/>
                  </a:lnTo>
                  <a:lnTo>
                    <a:pt x="325692" y="199530"/>
                  </a:lnTo>
                  <a:lnTo>
                    <a:pt x="325743" y="199530"/>
                  </a:lnTo>
                  <a:lnTo>
                    <a:pt x="325743" y="197447"/>
                  </a:lnTo>
                  <a:lnTo>
                    <a:pt x="325844" y="197447"/>
                  </a:lnTo>
                  <a:lnTo>
                    <a:pt x="325844" y="196799"/>
                  </a:lnTo>
                  <a:lnTo>
                    <a:pt x="325844" y="197447"/>
                  </a:lnTo>
                  <a:lnTo>
                    <a:pt x="325844" y="196799"/>
                  </a:lnTo>
                  <a:lnTo>
                    <a:pt x="325844" y="197447"/>
                  </a:lnTo>
                  <a:lnTo>
                    <a:pt x="325844" y="196799"/>
                  </a:lnTo>
                  <a:lnTo>
                    <a:pt x="325844" y="198831"/>
                  </a:lnTo>
                  <a:lnTo>
                    <a:pt x="325895" y="198831"/>
                  </a:lnTo>
                  <a:lnTo>
                    <a:pt x="325895" y="196799"/>
                  </a:lnTo>
                  <a:lnTo>
                    <a:pt x="325895" y="200228"/>
                  </a:lnTo>
                  <a:lnTo>
                    <a:pt x="325946" y="199530"/>
                  </a:lnTo>
                  <a:lnTo>
                    <a:pt x="325946" y="200876"/>
                  </a:lnTo>
                  <a:lnTo>
                    <a:pt x="325984" y="200876"/>
                  </a:lnTo>
                  <a:lnTo>
                    <a:pt x="325984" y="200228"/>
                  </a:lnTo>
                  <a:lnTo>
                    <a:pt x="325984" y="200876"/>
                  </a:lnTo>
                  <a:lnTo>
                    <a:pt x="325984" y="200228"/>
                  </a:lnTo>
                  <a:lnTo>
                    <a:pt x="325984" y="200876"/>
                  </a:lnTo>
                  <a:lnTo>
                    <a:pt x="325984" y="200228"/>
                  </a:lnTo>
                  <a:lnTo>
                    <a:pt x="325984" y="200876"/>
                  </a:lnTo>
                  <a:lnTo>
                    <a:pt x="326086" y="200876"/>
                  </a:lnTo>
                  <a:lnTo>
                    <a:pt x="326086" y="200228"/>
                  </a:lnTo>
                  <a:lnTo>
                    <a:pt x="326086" y="200876"/>
                  </a:lnTo>
                  <a:lnTo>
                    <a:pt x="326086" y="200228"/>
                  </a:lnTo>
                  <a:lnTo>
                    <a:pt x="326086" y="200876"/>
                  </a:lnTo>
                  <a:lnTo>
                    <a:pt x="326086" y="200228"/>
                  </a:lnTo>
                  <a:lnTo>
                    <a:pt x="326086" y="200876"/>
                  </a:lnTo>
                  <a:lnTo>
                    <a:pt x="326137" y="200876"/>
                  </a:lnTo>
                  <a:lnTo>
                    <a:pt x="326137" y="200228"/>
                  </a:lnTo>
                  <a:lnTo>
                    <a:pt x="326137" y="200876"/>
                  </a:lnTo>
                  <a:lnTo>
                    <a:pt x="326137" y="200228"/>
                  </a:lnTo>
                  <a:lnTo>
                    <a:pt x="326137" y="200876"/>
                  </a:lnTo>
                  <a:lnTo>
                    <a:pt x="326137" y="200228"/>
                  </a:lnTo>
                  <a:lnTo>
                    <a:pt x="326187" y="200228"/>
                  </a:lnTo>
                  <a:lnTo>
                    <a:pt x="326187" y="200876"/>
                  </a:lnTo>
                  <a:lnTo>
                    <a:pt x="326187" y="199530"/>
                  </a:lnTo>
                  <a:lnTo>
                    <a:pt x="326187" y="200228"/>
                  </a:lnTo>
                  <a:lnTo>
                    <a:pt x="326289" y="199530"/>
                  </a:lnTo>
                  <a:lnTo>
                    <a:pt x="326289" y="200228"/>
                  </a:lnTo>
                  <a:lnTo>
                    <a:pt x="326289" y="196799"/>
                  </a:lnTo>
                  <a:lnTo>
                    <a:pt x="326340" y="196799"/>
                  </a:lnTo>
                  <a:lnTo>
                    <a:pt x="326340" y="196113"/>
                  </a:lnTo>
                  <a:lnTo>
                    <a:pt x="326340" y="197447"/>
                  </a:lnTo>
                  <a:lnTo>
                    <a:pt x="326340" y="196799"/>
                  </a:lnTo>
                  <a:lnTo>
                    <a:pt x="326391" y="196799"/>
                  </a:lnTo>
                  <a:lnTo>
                    <a:pt x="326391" y="199530"/>
                  </a:lnTo>
                  <a:lnTo>
                    <a:pt x="326391" y="198831"/>
                  </a:lnTo>
                  <a:lnTo>
                    <a:pt x="326441" y="198831"/>
                  </a:lnTo>
                  <a:lnTo>
                    <a:pt x="326441" y="200228"/>
                  </a:lnTo>
                  <a:lnTo>
                    <a:pt x="326441" y="199530"/>
                  </a:lnTo>
                  <a:lnTo>
                    <a:pt x="326441" y="200228"/>
                  </a:lnTo>
                  <a:lnTo>
                    <a:pt x="326530" y="200228"/>
                  </a:lnTo>
                  <a:lnTo>
                    <a:pt x="326530" y="199530"/>
                  </a:lnTo>
                  <a:lnTo>
                    <a:pt x="326530" y="200876"/>
                  </a:lnTo>
                  <a:lnTo>
                    <a:pt x="326530" y="200228"/>
                  </a:lnTo>
                  <a:lnTo>
                    <a:pt x="326581" y="200228"/>
                  </a:lnTo>
                  <a:lnTo>
                    <a:pt x="326581" y="200876"/>
                  </a:lnTo>
                  <a:lnTo>
                    <a:pt x="326581" y="200228"/>
                  </a:lnTo>
                  <a:lnTo>
                    <a:pt x="326581" y="202260"/>
                  </a:lnTo>
                  <a:lnTo>
                    <a:pt x="326581" y="200876"/>
                  </a:lnTo>
                  <a:lnTo>
                    <a:pt x="326632" y="200876"/>
                  </a:lnTo>
                  <a:lnTo>
                    <a:pt x="326632" y="200228"/>
                  </a:lnTo>
                  <a:lnTo>
                    <a:pt x="326632" y="200876"/>
                  </a:lnTo>
                  <a:lnTo>
                    <a:pt x="326632" y="200228"/>
                  </a:lnTo>
                  <a:lnTo>
                    <a:pt x="326632" y="200876"/>
                  </a:lnTo>
                  <a:lnTo>
                    <a:pt x="326683" y="200876"/>
                  </a:lnTo>
                  <a:lnTo>
                    <a:pt x="326683" y="199530"/>
                  </a:lnTo>
                  <a:lnTo>
                    <a:pt x="326683" y="200228"/>
                  </a:lnTo>
                  <a:lnTo>
                    <a:pt x="326683" y="199530"/>
                  </a:lnTo>
                  <a:lnTo>
                    <a:pt x="326683" y="200228"/>
                  </a:lnTo>
                  <a:lnTo>
                    <a:pt x="326784" y="200228"/>
                  </a:lnTo>
                  <a:lnTo>
                    <a:pt x="326784" y="197447"/>
                  </a:lnTo>
                  <a:lnTo>
                    <a:pt x="326784" y="198831"/>
                  </a:lnTo>
                  <a:lnTo>
                    <a:pt x="326784" y="196799"/>
                  </a:lnTo>
                  <a:lnTo>
                    <a:pt x="326835" y="196799"/>
                  </a:lnTo>
                  <a:lnTo>
                    <a:pt x="326835" y="196113"/>
                  </a:lnTo>
                  <a:lnTo>
                    <a:pt x="326835" y="197447"/>
                  </a:lnTo>
                  <a:lnTo>
                    <a:pt x="326835" y="196799"/>
                  </a:lnTo>
                  <a:lnTo>
                    <a:pt x="326886" y="196113"/>
                  </a:lnTo>
                  <a:lnTo>
                    <a:pt x="326886" y="199530"/>
                  </a:lnTo>
                  <a:lnTo>
                    <a:pt x="326886" y="197447"/>
                  </a:lnTo>
                  <a:lnTo>
                    <a:pt x="326987" y="197447"/>
                  </a:lnTo>
                  <a:lnTo>
                    <a:pt x="326987" y="199530"/>
                  </a:lnTo>
                  <a:lnTo>
                    <a:pt x="326987" y="198831"/>
                  </a:lnTo>
                  <a:lnTo>
                    <a:pt x="327026" y="198831"/>
                  </a:lnTo>
                  <a:lnTo>
                    <a:pt x="327026" y="200228"/>
                  </a:lnTo>
                  <a:lnTo>
                    <a:pt x="327026" y="198831"/>
                  </a:lnTo>
                  <a:lnTo>
                    <a:pt x="327026" y="199530"/>
                  </a:lnTo>
                  <a:lnTo>
                    <a:pt x="327076" y="199530"/>
                  </a:lnTo>
                  <a:lnTo>
                    <a:pt x="327076" y="200228"/>
                  </a:lnTo>
                  <a:lnTo>
                    <a:pt x="327076" y="199530"/>
                  </a:lnTo>
                  <a:lnTo>
                    <a:pt x="327076" y="200228"/>
                  </a:lnTo>
                  <a:lnTo>
                    <a:pt x="327127" y="200228"/>
                  </a:lnTo>
                  <a:lnTo>
                    <a:pt x="327127" y="200876"/>
                  </a:lnTo>
                  <a:lnTo>
                    <a:pt x="327127" y="200228"/>
                  </a:lnTo>
                  <a:lnTo>
                    <a:pt x="327127" y="200876"/>
                  </a:lnTo>
                  <a:lnTo>
                    <a:pt x="327229" y="200876"/>
                  </a:lnTo>
                  <a:lnTo>
                    <a:pt x="327229" y="200228"/>
                  </a:lnTo>
                  <a:lnTo>
                    <a:pt x="327229" y="200876"/>
                  </a:lnTo>
                  <a:lnTo>
                    <a:pt x="327229" y="199530"/>
                  </a:lnTo>
                  <a:lnTo>
                    <a:pt x="327280" y="199530"/>
                  </a:lnTo>
                  <a:lnTo>
                    <a:pt x="327280" y="200228"/>
                  </a:lnTo>
                  <a:lnTo>
                    <a:pt x="327280" y="198831"/>
                  </a:lnTo>
                  <a:lnTo>
                    <a:pt x="327280" y="199530"/>
                  </a:lnTo>
                  <a:lnTo>
                    <a:pt x="327280" y="196799"/>
                  </a:lnTo>
                  <a:lnTo>
                    <a:pt x="327330" y="196799"/>
                  </a:lnTo>
                  <a:lnTo>
                    <a:pt x="327330" y="196113"/>
                  </a:lnTo>
                  <a:lnTo>
                    <a:pt x="327330" y="197447"/>
                  </a:lnTo>
                  <a:lnTo>
                    <a:pt x="327330" y="196799"/>
                  </a:lnTo>
                  <a:lnTo>
                    <a:pt x="327330" y="197447"/>
                  </a:lnTo>
                  <a:lnTo>
                    <a:pt x="327330" y="196113"/>
                  </a:lnTo>
                  <a:lnTo>
                    <a:pt x="327432" y="196113"/>
                  </a:lnTo>
                  <a:lnTo>
                    <a:pt x="327432" y="198831"/>
                  </a:lnTo>
                  <a:lnTo>
                    <a:pt x="327432" y="196799"/>
                  </a:lnTo>
                  <a:lnTo>
                    <a:pt x="327483" y="197447"/>
                  </a:lnTo>
                  <a:lnTo>
                    <a:pt x="327483" y="199530"/>
                  </a:lnTo>
                  <a:lnTo>
                    <a:pt x="327483" y="197447"/>
                  </a:lnTo>
                  <a:lnTo>
                    <a:pt x="327533" y="197447"/>
                  </a:lnTo>
                  <a:lnTo>
                    <a:pt x="327533" y="198831"/>
                  </a:lnTo>
                  <a:lnTo>
                    <a:pt x="327533" y="197447"/>
                  </a:lnTo>
                  <a:lnTo>
                    <a:pt x="327533" y="198831"/>
                  </a:lnTo>
                  <a:lnTo>
                    <a:pt x="327572" y="198831"/>
                  </a:lnTo>
                  <a:lnTo>
                    <a:pt x="327572" y="200228"/>
                  </a:lnTo>
                  <a:lnTo>
                    <a:pt x="327673" y="200228"/>
                  </a:lnTo>
                  <a:lnTo>
                    <a:pt x="327673" y="199530"/>
                  </a:lnTo>
                  <a:lnTo>
                    <a:pt x="327673" y="200228"/>
                  </a:lnTo>
                  <a:lnTo>
                    <a:pt x="327673" y="199530"/>
                  </a:lnTo>
                  <a:lnTo>
                    <a:pt x="327673" y="200228"/>
                  </a:lnTo>
                  <a:lnTo>
                    <a:pt x="327673" y="199530"/>
                  </a:lnTo>
                  <a:lnTo>
                    <a:pt x="327673" y="200228"/>
                  </a:lnTo>
                  <a:lnTo>
                    <a:pt x="327724" y="199530"/>
                  </a:lnTo>
                  <a:lnTo>
                    <a:pt x="327724" y="200228"/>
                  </a:lnTo>
                  <a:lnTo>
                    <a:pt x="327724" y="198831"/>
                  </a:lnTo>
                  <a:lnTo>
                    <a:pt x="327724" y="199530"/>
                  </a:lnTo>
                  <a:lnTo>
                    <a:pt x="327775" y="199530"/>
                  </a:lnTo>
                  <a:lnTo>
                    <a:pt x="327775" y="197447"/>
                  </a:lnTo>
                  <a:lnTo>
                    <a:pt x="327775" y="198831"/>
                  </a:lnTo>
                  <a:lnTo>
                    <a:pt x="327775" y="196799"/>
                  </a:lnTo>
                  <a:lnTo>
                    <a:pt x="327775" y="197447"/>
                  </a:lnTo>
                  <a:lnTo>
                    <a:pt x="327876" y="197447"/>
                  </a:lnTo>
                  <a:lnTo>
                    <a:pt x="327876" y="198831"/>
                  </a:lnTo>
                  <a:lnTo>
                    <a:pt x="327876" y="196799"/>
                  </a:lnTo>
                  <a:lnTo>
                    <a:pt x="327876" y="197447"/>
                  </a:lnTo>
                  <a:lnTo>
                    <a:pt x="327927" y="198831"/>
                  </a:lnTo>
                  <a:lnTo>
                    <a:pt x="327927" y="200228"/>
                  </a:lnTo>
                  <a:lnTo>
                    <a:pt x="327927" y="197447"/>
                  </a:lnTo>
                  <a:lnTo>
                    <a:pt x="327927" y="199530"/>
                  </a:lnTo>
                  <a:lnTo>
                    <a:pt x="327978" y="199530"/>
                  </a:lnTo>
                  <a:lnTo>
                    <a:pt x="327978" y="200228"/>
                  </a:lnTo>
                  <a:lnTo>
                    <a:pt x="327978" y="198831"/>
                  </a:lnTo>
                  <a:lnTo>
                    <a:pt x="327978" y="199530"/>
                  </a:lnTo>
                  <a:lnTo>
                    <a:pt x="328029" y="199530"/>
                  </a:lnTo>
                  <a:lnTo>
                    <a:pt x="328029" y="200228"/>
                  </a:lnTo>
                  <a:lnTo>
                    <a:pt x="328029" y="198831"/>
                  </a:lnTo>
                  <a:lnTo>
                    <a:pt x="328029" y="200228"/>
                  </a:lnTo>
                  <a:lnTo>
                    <a:pt x="328029" y="199530"/>
                  </a:lnTo>
                  <a:lnTo>
                    <a:pt x="328118" y="199530"/>
                  </a:lnTo>
                  <a:lnTo>
                    <a:pt x="328118" y="200228"/>
                  </a:lnTo>
                  <a:lnTo>
                    <a:pt x="328118" y="199530"/>
                  </a:lnTo>
                  <a:lnTo>
                    <a:pt x="328118" y="200228"/>
                  </a:lnTo>
                  <a:lnTo>
                    <a:pt x="328168" y="200228"/>
                  </a:lnTo>
                  <a:lnTo>
                    <a:pt x="328168" y="199530"/>
                  </a:lnTo>
                  <a:lnTo>
                    <a:pt x="328168" y="200228"/>
                  </a:lnTo>
                  <a:lnTo>
                    <a:pt x="328168" y="199530"/>
                  </a:lnTo>
                  <a:lnTo>
                    <a:pt x="328168" y="200228"/>
                  </a:lnTo>
                  <a:lnTo>
                    <a:pt x="328168" y="199530"/>
                  </a:lnTo>
                  <a:lnTo>
                    <a:pt x="328219" y="200228"/>
                  </a:lnTo>
                  <a:lnTo>
                    <a:pt x="328219" y="198831"/>
                  </a:lnTo>
                  <a:lnTo>
                    <a:pt x="328219" y="199530"/>
                  </a:lnTo>
                  <a:lnTo>
                    <a:pt x="328270" y="198831"/>
                  </a:lnTo>
                  <a:lnTo>
                    <a:pt x="328270" y="197447"/>
                  </a:lnTo>
                  <a:lnTo>
                    <a:pt x="328270" y="198831"/>
                  </a:lnTo>
                  <a:lnTo>
                    <a:pt x="328270" y="196113"/>
                  </a:lnTo>
                  <a:lnTo>
                    <a:pt x="328270" y="196799"/>
                  </a:lnTo>
                  <a:lnTo>
                    <a:pt x="328372" y="196799"/>
                  </a:lnTo>
                  <a:lnTo>
                    <a:pt x="328372" y="198831"/>
                  </a:lnTo>
                  <a:lnTo>
                    <a:pt x="328372" y="196799"/>
                  </a:lnTo>
                  <a:lnTo>
                    <a:pt x="328372" y="199530"/>
                  </a:lnTo>
                  <a:lnTo>
                    <a:pt x="328422" y="200228"/>
                  </a:lnTo>
                  <a:lnTo>
                    <a:pt x="328422" y="198831"/>
                  </a:lnTo>
                  <a:lnTo>
                    <a:pt x="328422" y="199530"/>
                  </a:lnTo>
                  <a:lnTo>
                    <a:pt x="328473" y="200228"/>
                  </a:lnTo>
                  <a:lnTo>
                    <a:pt x="328473" y="199530"/>
                  </a:lnTo>
                  <a:lnTo>
                    <a:pt x="328473" y="200228"/>
                  </a:lnTo>
                  <a:lnTo>
                    <a:pt x="328473" y="198831"/>
                  </a:lnTo>
                  <a:lnTo>
                    <a:pt x="328473" y="200228"/>
                  </a:lnTo>
                  <a:lnTo>
                    <a:pt x="328575" y="200228"/>
                  </a:lnTo>
                  <a:lnTo>
                    <a:pt x="328575" y="199530"/>
                  </a:lnTo>
                  <a:lnTo>
                    <a:pt x="328613" y="199530"/>
                  </a:lnTo>
                  <a:lnTo>
                    <a:pt x="328613" y="200228"/>
                  </a:lnTo>
                  <a:lnTo>
                    <a:pt x="328613" y="199530"/>
                  </a:lnTo>
                  <a:lnTo>
                    <a:pt x="328613" y="200228"/>
                  </a:lnTo>
                  <a:lnTo>
                    <a:pt x="328664" y="200228"/>
                  </a:lnTo>
                  <a:lnTo>
                    <a:pt x="328664" y="199530"/>
                  </a:lnTo>
                  <a:lnTo>
                    <a:pt x="328664" y="200228"/>
                  </a:lnTo>
                  <a:lnTo>
                    <a:pt x="328664" y="199530"/>
                  </a:lnTo>
                  <a:lnTo>
                    <a:pt x="328715" y="199530"/>
                  </a:lnTo>
                  <a:lnTo>
                    <a:pt x="328715" y="198831"/>
                  </a:lnTo>
                  <a:lnTo>
                    <a:pt x="328715" y="199530"/>
                  </a:lnTo>
                  <a:lnTo>
                    <a:pt x="328715" y="197447"/>
                  </a:lnTo>
                  <a:lnTo>
                    <a:pt x="328715" y="198831"/>
                  </a:lnTo>
                  <a:lnTo>
                    <a:pt x="328715" y="197447"/>
                  </a:lnTo>
                  <a:lnTo>
                    <a:pt x="328715" y="198831"/>
                  </a:lnTo>
                  <a:lnTo>
                    <a:pt x="328715" y="197447"/>
                  </a:lnTo>
                  <a:lnTo>
                    <a:pt x="328816" y="197447"/>
                  </a:lnTo>
                  <a:lnTo>
                    <a:pt x="328816" y="196113"/>
                  </a:lnTo>
                  <a:lnTo>
                    <a:pt x="328816" y="197447"/>
                  </a:lnTo>
                  <a:lnTo>
                    <a:pt x="328867" y="197447"/>
                  </a:lnTo>
                  <a:lnTo>
                    <a:pt x="328867" y="198831"/>
                  </a:lnTo>
                  <a:lnTo>
                    <a:pt x="328867" y="196799"/>
                  </a:lnTo>
                  <a:lnTo>
                    <a:pt x="328867" y="200228"/>
                  </a:lnTo>
                  <a:lnTo>
                    <a:pt x="328918" y="199530"/>
                  </a:lnTo>
                  <a:lnTo>
                    <a:pt x="328918" y="198831"/>
                  </a:lnTo>
                  <a:lnTo>
                    <a:pt x="328918" y="200228"/>
                  </a:lnTo>
                  <a:lnTo>
                    <a:pt x="329019" y="200228"/>
                  </a:lnTo>
                  <a:lnTo>
                    <a:pt x="329019" y="198831"/>
                  </a:lnTo>
                  <a:lnTo>
                    <a:pt x="329019" y="200228"/>
                  </a:lnTo>
                  <a:lnTo>
                    <a:pt x="329019" y="199530"/>
                  </a:lnTo>
                  <a:lnTo>
                    <a:pt x="329070" y="200228"/>
                  </a:lnTo>
                  <a:lnTo>
                    <a:pt x="329070" y="199530"/>
                  </a:lnTo>
                  <a:lnTo>
                    <a:pt x="329070" y="200228"/>
                  </a:lnTo>
                  <a:lnTo>
                    <a:pt x="329070" y="199530"/>
                  </a:lnTo>
                  <a:lnTo>
                    <a:pt x="329070" y="200228"/>
                  </a:lnTo>
                  <a:lnTo>
                    <a:pt x="329070" y="199530"/>
                  </a:lnTo>
                  <a:lnTo>
                    <a:pt x="329070" y="200228"/>
                  </a:lnTo>
                  <a:lnTo>
                    <a:pt x="329121" y="200228"/>
                  </a:lnTo>
                  <a:lnTo>
                    <a:pt x="329121" y="200876"/>
                  </a:lnTo>
                  <a:lnTo>
                    <a:pt x="329121" y="200228"/>
                  </a:lnTo>
                  <a:lnTo>
                    <a:pt x="329121" y="200876"/>
                  </a:lnTo>
                  <a:lnTo>
                    <a:pt x="329121" y="200228"/>
                  </a:lnTo>
                  <a:lnTo>
                    <a:pt x="329121" y="200876"/>
                  </a:lnTo>
                  <a:lnTo>
                    <a:pt x="329121" y="200228"/>
                  </a:lnTo>
                  <a:lnTo>
                    <a:pt x="329121" y="200876"/>
                  </a:lnTo>
                  <a:lnTo>
                    <a:pt x="329121" y="200228"/>
                  </a:lnTo>
                  <a:lnTo>
                    <a:pt x="329121" y="200876"/>
                  </a:lnTo>
                  <a:lnTo>
                    <a:pt x="329121" y="200228"/>
                  </a:lnTo>
                  <a:lnTo>
                    <a:pt x="329159" y="200228"/>
                  </a:lnTo>
                  <a:lnTo>
                    <a:pt x="329159" y="199530"/>
                  </a:lnTo>
                  <a:lnTo>
                    <a:pt x="329159" y="200228"/>
                  </a:lnTo>
                  <a:lnTo>
                    <a:pt x="329261" y="200228"/>
                  </a:lnTo>
                  <a:lnTo>
                    <a:pt x="329261" y="197447"/>
                  </a:lnTo>
                  <a:lnTo>
                    <a:pt x="329312" y="197447"/>
                  </a:lnTo>
                  <a:lnTo>
                    <a:pt x="329312" y="196113"/>
                  </a:lnTo>
                  <a:lnTo>
                    <a:pt x="329312" y="198831"/>
                  </a:lnTo>
                  <a:lnTo>
                    <a:pt x="329312" y="197447"/>
                  </a:lnTo>
                  <a:lnTo>
                    <a:pt x="329362" y="197447"/>
                  </a:lnTo>
                  <a:lnTo>
                    <a:pt x="329362" y="196799"/>
                  </a:lnTo>
                  <a:lnTo>
                    <a:pt x="329362" y="200228"/>
                  </a:lnTo>
                  <a:lnTo>
                    <a:pt x="329362" y="199530"/>
                  </a:lnTo>
                  <a:lnTo>
                    <a:pt x="329464" y="199530"/>
                  </a:lnTo>
                  <a:lnTo>
                    <a:pt x="329464" y="198831"/>
                  </a:lnTo>
                  <a:lnTo>
                    <a:pt x="329464" y="200228"/>
                  </a:lnTo>
                  <a:lnTo>
                    <a:pt x="329464" y="199530"/>
                  </a:lnTo>
                  <a:lnTo>
                    <a:pt x="329515" y="198831"/>
                  </a:lnTo>
                  <a:lnTo>
                    <a:pt x="329515" y="200228"/>
                  </a:lnTo>
                  <a:lnTo>
                    <a:pt x="329515" y="199530"/>
                  </a:lnTo>
                  <a:lnTo>
                    <a:pt x="329515" y="200228"/>
                  </a:lnTo>
                  <a:lnTo>
                    <a:pt x="329515" y="199530"/>
                  </a:lnTo>
                  <a:lnTo>
                    <a:pt x="329515" y="200228"/>
                  </a:lnTo>
                  <a:lnTo>
                    <a:pt x="329515" y="199530"/>
                  </a:lnTo>
                  <a:lnTo>
                    <a:pt x="329566" y="200228"/>
                  </a:lnTo>
                  <a:lnTo>
                    <a:pt x="329566" y="199530"/>
                  </a:lnTo>
                  <a:lnTo>
                    <a:pt x="329566" y="200228"/>
                  </a:lnTo>
                  <a:lnTo>
                    <a:pt x="329566" y="199530"/>
                  </a:lnTo>
                  <a:lnTo>
                    <a:pt x="329566" y="200228"/>
                  </a:lnTo>
                  <a:lnTo>
                    <a:pt x="329616" y="200228"/>
                  </a:lnTo>
                  <a:lnTo>
                    <a:pt x="329616" y="200876"/>
                  </a:lnTo>
                  <a:lnTo>
                    <a:pt x="329616" y="200228"/>
                  </a:lnTo>
                  <a:lnTo>
                    <a:pt x="329616" y="200876"/>
                  </a:lnTo>
                  <a:lnTo>
                    <a:pt x="329616" y="200228"/>
                  </a:lnTo>
                  <a:lnTo>
                    <a:pt x="329616" y="200876"/>
                  </a:lnTo>
                  <a:lnTo>
                    <a:pt x="329616" y="200228"/>
                  </a:lnTo>
                  <a:lnTo>
                    <a:pt x="329705" y="200228"/>
                  </a:lnTo>
                  <a:lnTo>
                    <a:pt x="329705" y="200876"/>
                  </a:lnTo>
                  <a:lnTo>
                    <a:pt x="329705" y="198831"/>
                  </a:lnTo>
                  <a:lnTo>
                    <a:pt x="329705" y="199530"/>
                  </a:lnTo>
                  <a:lnTo>
                    <a:pt x="329705" y="198831"/>
                  </a:lnTo>
                  <a:lnTo>
                    <a:pt x="329705" y="199530"/>
                  </a:lnTo>
                  <a:lnTo>
                    <a:pt x="329756" y="199530"/>
                  </a:lnTo>
                  <a:lnTo>
                    <a:pt x="329756" y="197447"/>
                  </a:lnTo>
                  <a:lnTo>
                    <a:pt x="329807" y="197447"/>
                  </a:lnTo>
                  <a:lnTo>
                    <a:pt x="329807" y="196113"/>
                  </a:lnTo>
                  <a:lnTo>
                    <a:pt x="329807" y="198831"/>
                  </a:lnTo>
                  <a:lnTo>
                    <a:pt x="329807" y="196799"/>
                  </a:lnTo>
                  <a:lnTo>
                    <a:pt x="329858" y="196113"/>
                  </a:lnTo>
                  <a:lnTo>
                    <a:pt x="329858" y="199530"/>
                  </a:lnTo>
                  <a:lnTo>
                    <a:pt x="329858" y="197447"/>
                  </a:lnTo>
                  <a:lnTo>
                    <a:pt x="329959" y="197447"/>
                  </a:lnTo>
                  <a:lnTo>
                    <a:pt x="329959" y="199530"/>
                  </a:lnTo>
                  <a:lnTo>
                    <a:pt x="329959" y="198831"/>
                  </a:lnTo>
                  <a:lnTo>
                    <a:pt x="330010" y="198831"/>
                  </a:lnTo>
                  <a:lnTo>
                    <a:pt x="330010" y="199530"/>
                  </a:lnTo>
                  <a:lnTo>
                    <a:pt x="330010" y="198831"/>
                  </a:lnTo>
                  <a:lnTo>
                    <a:pt x="330010" y="199530"/>
                  </a:lnTo>
                  <a:lnTo>
                    <a:pt x="330061" y="199530"/>
                  </a:lnTo>
                  <a:lnTo>
                    <a:pt x="330061" y="200228"/>
                  </a:lnTo>
                  <a:lnTo>
                    <a:pt x="330061" y="199530"/>
                  </a:lnTo>
                  <a:lnTo>
                    <a:pt x="330061" y="200228"/>
                  </a:lnTo>
                  <a:lnTo>
                    <a:pt x="330162" y="200228"/>
                  </a:lnTo>
                  <a:lnTo>
                    <a:pt x="330162" y="200876"/>
                  </a:lnTo>
                  <a:lnTo>
                    <a:pt x="330162" y="200228"/>
                  </a:lnTo>
                  <a:lnTo>
                    <a:pt x="330162" y="200876"/>
                  </a:lnTo>
                  <a:lnTo>
                    <a:pt x="330162" y="200228"/>
                  </a:lnTo>
                  <a:lnTo>
                    <a:pt x="330162" y="200876"/>
                  </a:lnTo>
                  <a:lnTo>
                    <a:pt x="330162" y="200228"/>
                  </a:lnTo>
                  <a:lnTo>
                    <a:pt x="330201" y="200228"/>
                  </a:lnTo>
                  <a:lnTo>
                    <a:pt x="330201" y="199530"/>
                  </a:lnTo>
                  <a:lnTo>
                    <a:pt x="330201" y="200228"/>
                  </a:lnTo>
                  <a:lnTo>
                    <a:pt x="330201" y="199530"/>
                  </a:lnTo>
                  <a:lnTo>
                    <a:pt x="330251" y="199530"/>
                  </a:lnTo>
                  <a:lnTo>
                    <a:pt x="330251" y="197447"/>
                  </a:lnTo>
                  <a:lnTo>
                    <a:pt x="330251" y="198831"/>
                  </a:lnTo>
                  <a:lnTo>
                    <a:pt x="330251" y="197447"/>
                  </a:lnTo>
                  <a:lnTo>
                    <a:pt x="330251" y="198831"/>
                  </a:lnTo>
                  <a:lnTo>
                    <a:pt x="330251" y="196799"/>
                  </a:lnTo>
                  <a:lnTo>
                    <a:pt x="330302" y="196799"/>
                  </a:lnTo>
                  <a:lnTo>
                    <a:pt x="330302" y="198831"/>
                  </a:lnTo>
                  <a:lnTo>
                    <a:pt x="330302" y="196799"/>
                  </a:lnTo>
                  <a:lnTo>
                    <a:pt x="330302" y="198831"/>
                  </a:lnTo>
                  <a:lnTo>
                    <a:pt x="330404" y="199530"/>
                  </a:lnTo>
                  <a:lnTo>
                    <a:pt x="330404" y="200228"/>
                  </a:lnTo>
                  <a:lnTo>
                    <a:pt x="330404" y="197447"/>
                  </a:lnTo>
                  <a:lnTo>
                    <a:pt x="330404" y="199530"/>
                  </a:lnTo>
                  <a:lnTo>
                    <a:pt x="330455" y="199530"/>
                  </a:lnTo>
                  <a:lnTo>
                    <a:pt x="330455" y="200228"/>
                  </a:lnTo>
                  <a:lnTo>
                    <a:pt x="330455" y="198831"/>
                  </a:lnTo>
                  <a:lnTo>
                    <a:pt x="330455" y="199530"/>
                  </a:lnTo>
                  <a:lnTo>
                    <a:pt x="330505" y="199530"/>
                  </a:lnTo>
                  <a:lnTo>
                    <a:pt x="330505" y="198831"/>
                  </a:lnTo>
                  <a:lnTo>
                    <a:pt x="330505" y="199530"/>
                  </a:lnTo>
                  <a:lnTo>
                    <a:pt x="330607" y="199530"/>
                  </a:lnTo>
                  <a:lnTo>
                    <a:pt x="330607" y="200228"/>
                  </a:lnTo>
                  <a:lnTo>
                    <a:pt x="330607" y="199530"/>
                  </a:lnTo>
                  <a:lnTo>
                    <a:pt x="330607" y="200228"/>
                  </a:lnTo>
                  <a:lnTo>
                    <a:pt x="330607" y="199530"/>
                  </a:lnTo>
                  <a:lnTo>
                    <a:pt x="330607" y="200228"/>
                  </a:lnTo>
                  <a:lnTo>
                    <a:pt x="330658" y="200228"/>
                  </a:lnTo>
                  <a:lnTo>
                    <a:pt x="330658" y="198831"/>
                  </a:lnTo>
                  <a:lnTo>
                    <a:pt x="330708" y="199530"/>
                  </a:lnTo>
                  <a:lnTo>
                    <a:pt x="330708" y="198831"/>
                  </a:lnTo>
                  <a:lnTo>
                    <a:pt x="330708" y="199530"/>
                  </a:lnTo>
                  <a:lnTo>
                    <a:pt x="330708" y="197447"/>
                  </a:lnTo>
                  <a:lnTo>
                    <a:pt x="330708" y="198831"/>
                  </a:lnTo>
                  <a:lnTo>
                    <a:pt x="330747" y="198831"/>
                  </a:lnTo>
                  <a:lnTo>
                    <a:pt x="330747" y="196799"/>
                  </a:lnTo>
                  <a:lnTo>
                    <a:pt x="330747" y="199530"/>
                  </a:lnTo>
                  <a:lnTo>
                    <a:pt x="330848" y="199530"/>
                  </a:lnTo>
                  <a:lnTo>
                    <a:pt x="330848" y="196799"/>
                  </a:lnTo>
                  <a:lnTo>
                    <a:pt x="330848" y="200876"/>
                  </a:lnTo>
                  <a:lnTo>
                    <a:pt x="330899" y="200876"/>
                  </a:lnTo>
                  <a:lnTo>
                    <a:pt x="330899" y="198831"/>
                  </a:lnTo>
                  <a:lnTo>
                    <a:pt x="330899" y="200876"/>
                  </a:lnTo>
                  <a:lnTo>
                    <a:pt x="330899" y="200228"/>
                  </a:lnTo>
                  <a:lnTo>
                    <a:pt x="330950" y="200228"/>
                  </a:lnTo>
                  <a:lnTo>
                    <a:pt x="330950" y="199530"/>
                  </a:lnTo>
                  <a:lnTo>
                    <a:pt x="330950" y="200228"/>
                  </a:lnTo>
                  <a:lnTo>
                    <a:pt x="330950" y="199530"/>
                  </a:lnTo>
                  <a:lnTo>
                    <a:pt x="330950" y="200876"/>
                  </a:lnTo>
                  <a:lnTo>
                    <a:pt x="330950" y="200228"/>
                  </a:lnTo>
                  <a:lnTo>
                    <a:pt x="331051" y="200876"/>
                  </a:lnTo>
                  <a:lnTo>
                    <a:pt x="331051" y="200228"/>
                  </a:lnTo>
                  <a:lnTo>
                    <a:pt x="331051" y="200876"/>
                  </a:lnTo>
                  <a:lnTo>
                    <a:pt x="331051" y="200228"/>
                  </a:lnTo>
                  <a:lnTo>
                    <a:pt x="331051" y="200876"/>
                  </a:lnTo>
                  <a:lnTo>
                    <a:pt x="331051" y="200228"/>
                  </a:lnTo>
                  <a:lnTo>
                    <a:pt x="331102" y="200228"/>
                  </a:lnTo>
                  <a:lnTo>
                    <a:pt x="331102" y="200876"/>
                  </a:lnTo>
                  <a:lnTo>
                    <a:pt x="331102" y="200228"/>
                  </a:lnTo>
                  <a:lnTo>
                    <a:pt x="331102" y="200876"/>
                  </a:lnTo>
                  <a:lnTo>
                    <a:pt x="331102" y="200228"/>
                  </a:lnTo>
                  <a:lnTo>
                    <a:pt x="331102" y="200876"/>
                  </a:lnTo>
                  <a:lnTo>
                    <a:pt x="331153" y="200876"/>
                  </a:lnTo>
                  <a:lnTo>
                    <a:pt x="331153" y="200228"/>
                  </a:lnTo>
                  <a:lnTo>
                    <a:pt x="331204" y="200228"/>
                  </a:lnTo>
                  <a:lnTo>
                    <a:pt x="331204" y="199530"/>
                  </a:lnTo>
                  <a:lnTo>
                    <a:pt x="331204" y="200228"/>
                  </a:lnTo>
                  <a:lnTo>
                    <a:pt x="331204" y="198831"/>
                  </a:lnTo>
                  <a:lnTo>
                    <a:pt x="331293" y="198831"/>
                  </a:lnTo>
                  <a:lnTo>
                    <a:pt x="331293" y="197447"/>
                  </a:lnTo>
                  <a:lnTo>
                    <a:pt x="331293" y="198831"/>
                  </a:lnTo>
                  <a:lnTo>
                    <a:pt x="331293" y="197447"/>
                  </a:lnTo>
                  <a:lnTo>
                    <a:pt x="331293" y="200228"/>
                  </a:lnTo>
                  <a:lnTo>
                    <a:pt x="331293" y="199530"/>
                  </a:lnTo>
                  <a:lnTo>
                    <a:pt x="331343" y="198831"/>
                  </a:lnTo>
                  <a:lnTo>
                    <a:pt x="331343" y="197447"/>
                  </a:lnTo>
                  <a:lnTo>
                    <a:pt x="331343" y="200876"/>
                  </a:lnTo>
                  <a:lnTo>
                    <a:pt x="331343" y="200228"/>
                  </a:lnTo>
                  <a:lnTo>
                    <a:pt x="331394" y="200228"/>
                  </a:lnTo>
                  <a:lnTo>
                    <a:pt x="331394" y="199530"/>
                  </a:lnTo>
                  <a:lnTo>
                    <a:pt x="331394" y="200876"/>
                  </a:lnTo>
                  <a:lnTo>
                    <a:pt x="331394" y="200228"/>
                  </a:lnTo>
                  <a:lnTo>
                    <a:pt x="331445" y="200228"/>
                  </a:lnTo>
                  <a:lnTo>
                    <a:pt x="331445" y="200876"/>
                  </a:lnTo>
                  <a:lnTo>
                    <a:pt x="331445" y="200228"/>
                  </a:lnTo>
                  <a:lnTo>
                    <a:pt x="331445" y="200876"/>
                  </a:lnTo>
                  <a:lnTo>
                    <a:pt x="331547" y="200876"/>
                  </a:lnTo>
                  <a:lnTo>
                    <a:pt x="331547" y="202260"/>
                  </a:lnTo>
                  <a:lnTo>
                    <a:pt x="331547" y="200876"/>
                  </a:lnTo>
                  <a:lnTo>
                    <a:pt x="331547" y="202260"/>
                  </a:lnTo>
                  <a:lnTo>
                    <a:pt x="331547" y="200876"/>
                  </a:lnTo>
                  <a:lnTo>
                    <a:pt x="331597" y="200876"/>
                  </a:lnTo>
                  <a:lnTo>
                    <a:pt x="331597" y="200228"/>
                  </a:lnTo>
                  <a:lnTo>
                    <a:pt x="331648" y="200228"/>
                  </a:lnTo>
                  <a:lnTo>
                    <a:pt x="331648" y="199530"/>
                  </a:lnTo>
                  <a:lnTo>
                    <a:pt x="331648" y="200228"/>
                  </a:lnTo>
                  <a:lnTo>
                    <a:pt x="331648" y="199530"/>
                  </a:lnTo>
                  <a:lnTo>
                    <a:pt x="331648" y="200228"/>
                  </a:lnTo>
                  <a:lnTo>
                    <a:pt x="331750" y="199530"/>
                  </a:lnTo>
                  <a:lnTo>
                    <a:pt x="331750" y="197447"/>
                  </a:lnTo>
                  <a:lnTo>
                    <a:pt x="331788" y="197447"/>
                  </a:lnTo>
                  <a:lnTo>
                    <a:pt x="331788" y="196799"/>
                  </a:lnTo>
                  <a:lnTo>
                    <a:pt x="331788" y="199530"/>
                  </a:lnTo>
                  <a:lnTo>
                    <a:pt x="331788" y="197447"/>
                  </a:lnTo>
                  <a:lnTo>
                    <a:pt x="331839" y="196799"/>
                  </a:lnTo>
                  <a:lnTo>
                    <a:pt x="331839" y="200228"/>
                  </a:lnTo>
                  <a:lnTo>
                    <a:pt x="331839" y="198831"/>
                  </a:lnTo>
                  <a:lnTo>
                    <a:pt x="331890" y="198831"/>
                  </a:lnTo>
                  <a:lnTo>
                    <a:pt x="331890" y="200228"/>
                  </a:lnTo>
                  <a:lnTo>
                    <a:pt x="331890" y="199530"/>
                  </a:lnTo>
                  <a:lnTo>
                    <a:pt x="331890" y="200228"/>
                  </a:lnTo>
                  <a:lnTo>
                    <a:pt x="331890" y="199530"/>
                  </a:lnTo>
                  <a:lnTo>
                    <a:pt x="331991" y="199530"/>
                  </a:lnTo>
                  <a:lnTo>
                    <a:pt x="331991" y="200228"/>
                  </a:lnTo>
                  <a:lnTo>
                    <a:pt x="331991" y="199530"/>
                  </a:lnTo>
                  <a:lnTo>
                    <a:pt x="331991" y="200876"/>
                  </a:lnTo>
                  <a:lnTo>
                    <a:pt x="332042" y="200876"/>
                  </a:lnTo>
                  <a:lnTo>
                    <a:pt x="332042" y="200228"/>
                  </a:lnTo>
                  <a:lnTo>
                    <a:pt x="332042" y="200876"/>
                  </a:lnTo>
                  <a:lnTo>
                    <a:pt x="332042" y="200228"/>
                  </a:lnTo>
                  <a:lnTo>
                    <a:pt x="332042" y="200876"/>
                  </a:lnTo>
                  <a:lnTo>
                    <a:pt x="332042" y="200228"/>
                  </a:lnTo>
                  <a:lnTo>
                    <a:pt x="332042" y="200876"/>
                  </a:lnTo>
                  <a:lnTo>
                    <a:pt x="332093" y="200876"/>
                  </a:lnTo>
                  <a:lnTo>
                    <a:pt x="332093" y="200228"/>
                  </a:lnTo>
                  <a:lnTo>
                    <a:pt x="332194" y="200228"/>
                  </a:lnTo>
                  <a:lnTo>
                    <a:pt x="332194" y="200876"/>
                  </a:lnTo>
                  <a:lnTo>
                    <a:pt x="332194" y="199530"/>
                  </a:lnTo>
                  <a:lnTo>
                    <a:pt x="332194" y="200228"/>
                  </a:lnTo>
                  <a:lnTo>
                    <a:pt x="332245" y="200228"/>
                  </a:lnTo>
                  <a:lnTo>
                    <a:pt x="332245" y="198831"/>
                  </a:lnTo>
                  <a:lnTo>
                    <a:pt x="332245" y="199530"/>
                  </a:lnTo>
                  <a:lnTo>
                    <a:pt x="332245" y="197447"/>
                  </a:lnTo>
                  <a:lnTo>
                    <a:pt x="332245" y="198831"/>
                  </a:lnTo>
                  <a:lnTo>
                    <a:pt x="332245" y="197447"/>
                  </a:lnTo>
                  <a:lnTo>
                    <a:pt x="332296" y="197447"/>
                  </a:lnTo>
                  <a:lnTo>
                    <a:pt x="332296" y="199530"/>
                  </a:lnTo>
                  <a:lnTo>
                    <a:pt x="332296" y="196799"/>
                  </a:lnTo>
                  <a:lnTo>
                    <a:pt x="332296" y="198831"/>
                  </a:lnTo>
                  <a:lnTo>
                    <a:pt x="332334" y="198831"/>
                  </a:lnTo>
                  <a:lnTo>
                    <a:pt x="332334" y="200228"/>
                  </a:lnTo>
                  <a:lnTo>
                    <a:pt x="332334" y="199530"/>
                  </a:lnTo>
                  <a:lnTo>
                    <a:pt x="332334" y="200228"/>
                  </a:lnTo>
                  <a:lnTo>
                    <a:pt x="332334" y="198831"/>
                  </a:lnTo>
                  <a:lnTo>
                    <a:pt x="332334" y="199530"/>
                  </a:lnTo>
                  <a:lnTo>
                    <a:pt x="332436" y="199530"/>
                  </a:lnTo>
                  <a:lnTo>
                    <a:pt x="332436" y="200228"/>
                  </a:lnTo>
                  <a:lnTo>
                    <a:pt x="332436" y="199530"/>
                  </a:lnTo>
                  <a:lnTo>
                    <a:pt x="332436" y="200228"/>
                  </a:lnTo>
                  <a:lnTo>
                    <a:pt x="332436" y="199530"/>
                  </a:lnTo>
                  <a:lnTo>
                    <a:pt x="332436" y="200228"/>
                  </a:lnTo>
                  <a:lnTo>
                    <a:pt x="332487" y="200228"/>
                  </a:lnTo>
                  <a:lnTo>
                    <a:pt x="332487" y="200876"/>
                  </a:lnTo>
                  <a:lnTo>
                    <a:pt x="332487" y="200228"/>
                  </a:lnTo>
                  <a:lnTo>
                    <a:pt x="332487" y="200876"/>
                  </a:lnTo>
                  <a:lnTo>
                    <a:pt x="332537" y="200876"/>
                  </a:lnTo>
                  <a:lnTo>
                    <a:pt x="332537" y="200228"/>
                  </a:lnTo>
                  <a:lnTo>
                    <a:pt x="332537" y="200876"/>
                  </a:lnTo>
                  <a:lnTo>
                    <a:pt x="332537" y="200228"/>
                  </a:lnTo>
                  <a:lnTo>
                    <a:pt x="332537" y="200876"/>
                  </a:lnTo>
                  <a:lnTo>
                    <a:pt x="332537" y="200228"/>
                  </a:lnTo>
                  <a:lnTo>
                    <a:pt x="332639" y="200876"/>
                  </a:lnTo>
                  <a:lnTo>
                    <a:pt x="332639" y="200228"/>
                  </a:lnTo>
                  <a:lnTo>
                    <a:pt x="332639" y="200876"/>
                  </a:lnTo>
                  <a:lnTo>
                    <a:pt x="332639" y="200228"/>
                  </a:lnTo>
                  <a:lnTo>
                    <a:pt x="332639" y="200876"/>
                  </a:lnTo>
                  <a:lnTo>
                    <a:pt x="332639" y="200228"/>
                  </a:lnTo>
                  <a:lnTo>
                    <a:pt x="332690" y="200228"/>
                  </a:lnTo>
                  <a:lnTo>
                    <a:pt x="332690" y="199530"/>
                  </a:lnTo>
                  <a:lnTo>
                    <a:pt x="332690" y="200228"/>
                  </a:lnTo>
                  <a:lnTo>
                    <a:pt x="332690" y="199530"/>
                  </a:lnTo>
                  <a:lnTo>
                    <a:pt x="332690" y="200228"/>
                  </a:lnTo>
                  <a:lnTo>
                    <a:pt x="332690" y="199530"/>
                  </a:lnTo>
                  <a:lnTo>
                    <a:pt x="332741" y="199530"/>
                  </a:lnTo>
                  <a:lnTo>
                    <a:pt x="332741" y="196799"/>
                  </a:lnTo>
                  <a:lnTo>
                    <a:pt x="332741" y="197447"/>
                  </a:lnTo>
                  <a:lnTo>
                    <a:pt x="332791" y="196799"/>
                  </a:lnTo>
                  <a:lnTo>
                    <a:pt x="332791" y="197447"/>
                  </a:lnTo>
                  <a:lnTo>
                    <a:pt x="332791" y="196799"/>
                  </a:lnTo>
                  <a:lnTo>
                    <a:pt x="332880" y="196113"/>
                  </a:lnTo>
                  <a:lnTo>
                    <a:pt x="332880" y="196799"/>
                  </a:lnTo>
                  <a:lnTo>
                    <a:pt x="332880" y="196113"/>
                  </a:lnTo>
                  <a:lnTo>
                    <a:pt x="332880" y="198831"/>
                  </a:lnTo>
                  <a:lnTo>
                    <a:pt x="332880" y="197447"/>
                  </a:lnTo>
                  <a:lnTo>
                    <a:pt x="332880" y="198831"/>
                  </a:lnTo>
                  <a:lnTo>
                    <a:pt x="332931" y="198831"/>
                  </a:lnTo>
                  <a:lnTo>
                    <a:pt x="332931" y="199530"/>
                  </a:lnTo>
                  <a:lnTo>
                    <a:pt x="332931" y="198831"/>
                  </a:lnTo>
                  <a:lnTo>
                    <a:pt x="332931" y="199530"/>
                  </a:lnTo>
                  <a:lnTo>
                    <a:pt x="332982" y="199530"/>
                  </a:lnTo>
                  <a:lnTo>
                    <a:pt x="332982" y="200228"/>
                  </a:lnTo>
                  <a:lnTo>
                    <a:pt x="332982" y="199530"/>
                  </a:lnTo>
                  <a:lnTo>
                    <a:pt x="332982" y="200228"/>
                  </a:lnTo>
                  <a:lnTo>
                    <a:pt x="332982" y="199530"/>
                  </a:lnTo>
                  <a:lnTo>
                    <a:pt x="332982" y="200228"/>
                  </a:lnTo>
                  <a:lnTo>
                    <a:pt x="332982" y="199530"/>
                  </a:lnTo>
                  <a:lnTo>
                    <a:pt x="332982" y="200876"/>
                  </a:lnTo>
                  <a:lnTo>
                    <a:pt x="333033" y="200876"/>
                  </a:lnTo>
                  <a:lnTo>
                    <a:pt x="333033" y="200228"/>
                  </a:lnTo>
                  <a:lnTo>
                    <a:pt x="333033" y="200876"/>
                  </a:lnTo>
                  <a:lnTo>
                    <a:pt x="333033" y="200228"/>
                  </a:lnTo>
                  <a:lnTo>
                    <a:pt x="333033" y="200876"/>
                  </a:lnTo>
                  <a:lnTo>
                    <a:pt x="333033" y="200228"/>
                  </a:lnTo>
                  <a:lnTo>
                    <a:pt x="333134" y="200228"/>
                  </a:lnTo>
                  <a:lnTo>
                    <a:pt x="333134" y="200876"/>
                  </a:lnTo>
                  <a:lnTo>
                    <a:pt x="333134" y="200228"/>
                  </a:lnTo>
                  <a:lnTo>
                    <a:pt x="333134" y="200876"/>
                  </a:lnTo>
                  <a:lnTo>
                    <a:pt x="333134" y="200228"/>
                  </a:lnTo>
                  <a:lnTo>
                    <a:pt x="333134" y="200876"/>
                  </a:lnTo>
                  <a:lnTo>
                    <a:pt x="333185" y="200228"/>
                  </a:lnTo>
                  <a:lnTo>
                    <a:pt x="333185" y="199530"/>
                  </a:lnTo>
                  <a:lnTo>
                    <a:pt x="333236" y="199530"/>
                  </a:lnTo>
                  <a:lnTo>
                    <a:pt x="333236" y="197447"/>
                  </a:lnTo>
                  <a:lnTo>
                    <a:pt x="333236" y="198831"/>
                  </a:lnTo>
                  <a:lnTo>
                    <a:pt x="333236" y="196799"/>
                  </a:lnTo>
                  <a:lnTo>
                    <a:pt x="333337" y="196799"/>
                  </a:lnTo>
                  <a:lnTo>
                    <a:pt x="333337" y="196113"/>
                  </a:lnTo>
                  <a:lnTo>
                    <a:pt x="333337" y="198831"/>
                  </a:lnTo>
                  <a:lnTo>
                    <a:pt x="333337" y="195415"/>
                  </a:lnTo>
                  <a:lnTo>
                    <a:pt x="333337" y="196113"/>
                  </a:lnTo>
                  <a:lnTo>
                    <a:pt x="333337" y="195415"/>
                  </a:lnTo>
                  <a:lnTo>
                    <a:pt x="333376" y="196113"/>
                  </a:lnTo>
                  <a:lnTo>
                    <a:pt x="333376" y="198831"/>
                  </a:lnTo>
                  <a:lnTo>
                    <a:pt x="333376" y="196799"/>
                  </a:lnTo>
                  <a:lnTo>
                    <a:pt x="333426" y="196799"/>
                  </a:lnTo>
                  <a:lnTo>
                    <a:pt x="333426" y="198831"/>
                  </a:lnTo>
                  <a:lnTo>
                    <a:pt x="333426" y="197447"/>
                  </a:lnTo>
                  <a:lnTo>
                    <a:pt x="333477" y="197447"/>
                  </a:lnTo>
                  <a:lnTo>
                    <a:pt x="333477" y="198831"/>
                  </a:lnTo>
                  <a:lnTo>
                    <a:pt x="333477" y="197447"/>
                  </a:lnTo>
                  <a:lnTo>
                    <a:pt x="333477" y="199530"/>
                  </a:lnTo>
                  <a:lnTo>
                    <a:pt x="333579" y="199530"/>
                  </a:lnTo>
                  <a:lnTo>
                    <a:pt x="333579" y="198831"/>
                  </a:lnTo>
                  <a:lnTo>
                    <a:pt x="333579" y="199530"/>
                  </a:lnTo>
                  <a:lnTo>
                    <a:pt x="333579" y="198831"/>
                  </a:lnTo>
                  <a:lnTo>
                    <a:pt x="333579" y="199530"/>
                  </a:lnTo>
                  <a:lnTo>
                    <a:pt x="333630" y="199530"/>
                  </a:lnTo>
                  <a:lnTo>
                    <a:pt x="333630" y="200228"/>
                  </a:lnTo>
                  <a:lnTo>
                    <a:pt x="333630" y="199530"/>
                  </a:lnTo>
                  <a:lnTo>
                    <a:pt x="333630" y="200228"/>
                  </a:lnTo>
                  <a:lnTo>
                    <a:pt x="333630" y="199530"/>
                  </a:lnTo>
                  <a:lnTo>
                    <a:pt x="333680" y="199530"/>
                  </a:lnTo>
                  <a:lnTo>
                    <a:pt x="333680" y="200228"/>
                  </a:lnTo>
                  <a:lnTo>
                    <a:pt x="333680" y="198831"/>
                  </a:lnTo>
                  <a:lnTo>
                    <a:pt x="333680" y="199530"/>
                  </a:lnTo>
                  <a:lnTo>
                    <a:pt x="333782" y="199530"/>
                  </a:lnTo>
                  <a:lnTo>
                    <a:pt x="333782" y="197447"/>
                  </a:lnTo>
                  <a:lnTo>
                    <a:pt x="333782" y="199530"/>
                  </a:lnTo>
                  <a:lnTo>
                    <a:pt x="333782" y="198831"/>
                  </a:lnTo>
                  <a:lnTo>
                    <a:pt x="333782" y="199530"/>
                  </a:lnTo>
                  <a:lnTo>
                    <a:pt x="333833" y="199530"/>
                  </a:lnTo>
                  <a:lnTo>
                    <a:pt x="333833" y="198831"/>
                  </a:lnTo>
                  <a:lnTo>
                    <a:pt x="333833" y="200876"/>
                  </a:lnTo>
                  <a:lnTo>
                    <a:pt x="333833" y="200228"/>
                  </a:lnTo>
                  <a:lnTo>
                    <a:pt x="333883" y="200228"/>
                  </a:lnTo>
                  <a:lnTo>
                    <a:pt x="333883" y="200876"/>
                  </a:lnTo>
                  <a:lnTo>
                    <a:pt x="333922" y="200876"/>
                  </a:lnTo>
                  <a:lnTo>
                    <a:pt x="333922" y="200228"/>
                  </a:lnTo>
                  <a:lnTo>
                    <a:pt x="333922" y="200876"/>
                  </a:lnTo>
                  <a:lnTo>
                    <a:pt x="333922" y="200228"/>
                  </a:lnTo>
                  <a:lnTo>
                    <a:pt x="333922" y="200876"/>
                  </a:lnTo>
                  <a:lnTo>
                    <a:pt x="333922" y="200228"/>
                  </a:lnTo>
                  <a:lnTo>
                    <a:pt x="334023" y="200876"/>
                  </a:lnTo>
                  <a:lnTo>
                    <a:pt x="334023" y="200228"/>
                  </a:lnTo>
                  <a:lnTo>
                    <a:pt x="334023" y="200876"/>
                  </a:lnTo>
                  <a:lnTo>
                    <a:pt x="334023" y="200228"/>
                  </a:lnTo>
                  <a:lnTo>
                    <a:pt x="334023" y="200876"/>
                  </a:lnTo>
                  <a:lnTo>
                    <a:pt x="334023" y="200228"/>
                  </a:lnTo>
                  <a:lnTo>
                    <a:pt x="334074" y="200228"/>
                  </a:lnTo>
                  <a:lnTo>
                    <a:pt x="334074" y="200876"/>
                  </a:lnTo>
                  <a:lnTo>
                    <a:pt x="334074" y="200228"/>
                  </a:lnTo>
                  <a:lnTo>
                    <a:pt x="334074" y="200876"/>
                  </a:lnTo>
                  <a:lnTo>
                    <a:pt x="334074" y="200228"/>
                  </a:lnTo>
                  <a:lnTo>
                    <a:pt x="334125" y="200228"/>
                  </a:lnTo>
                  <a:lnTo>
                    <a:pt x="334125" y="200876"/>
                  </a:lnTo>
                  <a:lnTo>
                    <a:pt x="334125" y="200228"/>
                  </a:lnTo>
                  <a:lnTo>
                    <a:pt x="334226" y="200228"/>
                  </a:lnTo>
                  <a:lnTo>
                    <a:pt x="334226" y="198831"/>
                  </a:lnTo>
                  <a:lnTo>
                    <a:pt x="334277" y="198831"/>
                  </a:lnTo>
                  <a:lnTo>
                    <a:pt x="334277" y="200228"/>
                  </a:lnTo>
                  <a:lnTo>
                    <a:pt x="334277" y="199530"/>
                  </a:lnTo>
                  <a:lnTo>
                    <a:pt x="334277" y="200228"/>
                  </a:lnTo>
                  <a:lnTo>
                    <a:pt x="334277" y="199530"/>
                  </a:lnTo>
                  <a:lnTo>
                    <a:pt x="334328" y="199530"/>
                  </a:lnTo>
                  <a:lnTo>
                    <a:pt x="334328" y="202260"/>
                  </a:lnTo>
                  <a:lnTo>
                    <a:pt x="334328" y="200876"/>
                  </a:lnTo>
                  <a:lnTo>
                    <a:pt x="334379" y="200876"/>
                  </a:lnTo>
                  <a:lnTo>
                    <a:pt x="334379" y="202260"/>
                  </a:lnTo>
                  <a:lnTo>
                    <a:pt x="334379" y="200876"/>
                  </a:lnTo>
                  <a:lnTo>
                    <a:pt x="334379" y="202260"/>
                  </a:lnTo>
                  <a:lnTo>
                    <a:pt x="334468" y="202260"/>
                  </a:lnTo>
                  <a:lnTo>
                    <a:pt x="334468" y="200876"/>
                  </a:lnTo>
                  <a:lnTo>
                    <a:pt x="334468" y="202260"/>
                  </a:lnTo>
                  <a:lnTo>
                    <a:pt x="334468" y="200876"/>
                  </a:lnTo>
                  <a:lnTo>
                    <a:pt x="334518" y="200876"/>
                  </a:lnTo>
                  <a:lnTo>
                    <a:pt x="334518" y="202260"/>
                  </a:lnTo>
                  <a:lnTo>
                    <a:pt x="334518" y="200876"/>
                  </a:lnTo>
                  <a:lnTo>
                    <a:pt x="334518" y="202260"/>
                  </a:lnTo>
                  <a:lnTo>
                    <a:pt x="334518" y="200876"/>
                  </a:lnTo>
                  <a:lnTo>
                    <a:pt x="334518" y="202260"/>
                  </a:lnTo>
                  <a:lnTo>
                    <a:pt x="334518" y="200876"/>
                  </a:lnTo>
                  <a:lnTo>
                    <a:pt x="334569" y="200876"/>
                  </a:lnTo>
                  <a:lnTo>
                    <a:pt x="334569" y="200228"/>
                  </a:lnTo>
                  <a:lnTo>
                    <a:pt x="334569" y="200876"/>
                  </a:lnTo>
                  <a:lnTo>
                    <a:pt x="334569" y="200228"/>
                  </a:lnTo>
                  <a:lnTo>
                    <a:pt x="334569" y="200876"/>
                  </a:lnTo>
                  <a:lnTo>
                    <a:pt x="334620" y="200876"/>
                  </a:lnTo>
                  <a:lnTo>
                    <a:pt x="334620" y="199530"/>
                  </a:lnTo>
                  <a:lnTo>
                    <a:pt x="334620" y="200228"/>
                  </a:lnTo>
                  <a:lnTo>
                    <a:pt x="334620" y="198831"/>
                  </a:lnTo>
                  <a:lnTo>
                    <a:pt x="334722" y="198831"/>
                  </a:lnTo>
                  <a:lnTo>
                    <a:pt x="334722" y="196799"/>
                  </a:lnTo>
                  <a:lnTo>
                    <a:pt x="334722" y="197447"/>
                  </a:lnTo>
                  <a:lnTo>
                    <a:pt x="334722" y="196799"/>
                  </a:lnTo>
                  <a:lnTo>
                    <a:pt x="334722" y="198831"/>
                  </a:lnTo>
                  <a:lnTo>
                    <a:pt x="334772" y="198831"/>
                  </a:lnTo>
                  <a:lnTo>
                    <a:pt x="334772" y="197447"/>
                  </a:lnTo>
                  <a:lnTo>
                    <a:pt x="334772" y="199530"/>
                  </a:lnTo>
                  <a:lnTo>
                    <a:pt x="334772" y="197447"/>
                  </a:lnTo>
                  <a:lnTo>
                    <a:pt x="334772" y="200876"/>
                  </a:lnTo>
                  <a:lnTo>
                    <a:pt x="334823" y="200876"/>
                  </a:lnTo>
                  <a:lnTo>
                    <a:pt x="334823" y="199530"/>
                  </a:lnTo>
                  <a:lnTo>
                    <a:pt x="334823" y="200228"/>
                  </a:lnTo>
                  <a:lnTo>
                    <a:pt x="334823" y="199530"/>
                  </a:lnTo>
                  <a:lnTo>
                    <a:pt x="334823" y="200228"/>
                  </a:lnTo>
                  <a:lnTo>
                    <a:pt x="334823" y="199530"/>
                  </a:lnTo>
                  <a:lnTo>
                    <a:pt x="334823" y="200876"/>
                  </a:lnTo>
                  <a:lnTo>
                    <a:pt x="334925" y="200876"/>
                  </a:lnTo>
                  <a:lnTo>
                    <a:pt x="334925" y="202260"/>
                  </a:lnTo>
                  <a:lnTo>
                    <a:pt x="334925" y="200876"/>
                  </a:lnTo>
                  <a:lnTo>
                    <a:pt x="334925" y="202260"/>
                  </a:lnTo>
                  <a:lnTo>
                    <a:pt x="334963" y="202260"/>
                  </a:lnTo>
                  <a:lnTo>
                    <a:pt x="334963" y="200876"/>
                  </a:lnTo>
                  <a:lnTo>
                    <a:pt x="334963" y="202260"/>
                  </a:lnTo>
                  <a:lnTo>
                    <a:pt x="334963" y="200876"/>
                  </a:lnTo>
                  <a:lnTo>
                    <a:pt x="334963" y="202260"/>
                  </a:lnTo>
                  <a:lnTo>
                    <a:pt x="335014" y="202260"/>
                  </a:lnTo>
                  <a:lnTo>
                    <a:pt x="335014" y="200876"/>
                  </a:lnTo>
                  <a:lnTo>
                    <a:pt x="335014" y="202959"/>
                  </a:lnTo>
                  <a:lnTo>
                    <a:pt x="335014" y="200876"/>
                  </a:lnTo>
                  <a:lnTo>
                    <a:pt x="335014" y="202260"/>
                  </a:lnTo>
                  <a:lnTo>
                    <a:pt x="335014" y="200876"/>
                  </a:lnTo>
                  <a:lnTo>
                    <a:pt x="335065" y="200876"/>
                  </a:lnTo>
                  <a:lnTo>
                    <a:pt x="335065" y="202260"/>
                  </a:lnTo>
                  <a:lnTo>
                    <a:pt x="335065" y="200876"/>
                  </a:lnTo>
                  <a:lnTo>
                    <a:pt x="335065" y="202260"/>
                  </a:lnTo>
                  <a:lnTo>
                    <a:pt x="335065" y="200228"/>
                  </a:lnTo>
                  <a:lnTo>
                    <a:pt x="335166" y="200876"/>
                  </a:lnTo>
                  <a:lnTo>
                    <a:pt x="335166" y="200228"/>
                  </a:lnTo>
                  <a:lnTo>
                    <a:pt x="335166" y="200876"/>
                  </a:lnTo>
                  <a:lnTo>
                    <a:pt x="335166" y="199530"/>
                  </a:lnTo>
                  <a:lnTo>
                    <a:pt x="335217" y="199530"/>
                  </a:lnTo>
                  <a:lnTo>
                    <a:pt x="335217" y="197447"/>
                  </a:lnTo>
                  <a:lnTo>
                    <a:pt x="335217" y="198831"/>
                  </a:lnTo>
                  <a:lnTo>
                    <a:pt x="335268" y="198831"/>
                  </a:lnTo>
                  <a:lnTo>
                    <a:pt x="335268" y="197447"/>
                  </a:lnTo>
                  <a:lnTo>
                    <a:pt x="335268" y="200228"/>
                  </a:lnTo>
                  <a:lnTo>
                    <a:pt x="335369" y="199530"/>
                  </a:lnTo>
                  <a:lnTo>
                    <a:pt x="335369" y="198831"/>
                  </a:lnTo>
                  <a:lnTo>
                    <a:pt x="335369" y="199530"/>
                  </a:lnTo>
                  <a:lnTo>
                    <a:pt x="335369" y="198831"/>
                  </a:lnTo>
                  <a:lnTo>
                    <a:pt x="335369" y="200228"/>
                  </a:lnTo>
                  <a:lnTo>
                    <a:pt x="335420" y="200228"/>
                  </a:lnTo>
                  <a:lnTo>
                    <a:pt x="335420" y="199530"/>
                  </a:lnTo>
                  <a:lnTo>
                    <a:pt x="335420" y="200228"/>
                  </a:lnTo>
                  <a:lnTo>
                    <a:pt x="335420" y="199530"/>
                  </a:lnTo>
                  <a:lnTo>
                    <a:pt x="335420" y="200876"/>
                  </a:lnTo>
                  <a:lnTo>
                    <a:pt x="335420" y="200228"/>
                  </a:lnTo>
                  <a:lnTo>
                    <a:pt x="335420" y="200876"/>
                  </a:lnTo>
                  <a:lnTo>
                    <a:pt x="335420" y="200228"/>
                  </a:lnTo>
                  <a:lnTo>
                    <a:pt x="335471" y="200228"/>
                  </a:lnTo>
                  <a:lnTo>
                    <a:pt x="335471" y="200876"/>
                  </a:lnTo>
                  <a:lnTo>
                    <a:pt x="335471" y="200228"/>
                  </a:lnTo>
                  <a:lnTo>
                    <a:pt x="335471" y="200876"/>
                  </a:lnTo>
                  <a:lnTo>
                    <a:pt x="335509" y="200876"/>
                  </a:lnTo>
                  <a:lnTo>
                    <a:pt x="335509" y="202260"/>
                  </a:lnTo>
                  <a:lnTo>
                    <a:pt x="335509" y="200876"/>
                  </a:lnTo>
                  <a:lnTo>
                    <a:pt x="335611" y="200876"/>
                  </a:lnTo>
                  <a:lnTo>
                    <a:pt x="335611" y="202260"/>
                  </a:lnTo>
                  <a:lnTo>
                    <a:pt x="335611" y="200876"/>
                  </a:lnTo>
                  <a:lnTo>
                    <a:pt x="335662" y="200876"/>
                  </a:lnTo>
                  <a:lnTo>
                    <a:pt x="335662" y="200228"/>
                  </a:lnTo>
                  <a:lnTo>
                    <a:pt x="335662" y="200876"/>
                  </a:lnTo>
                  <a:lnTo>
                    <a:pt x="335662" y="199530"/>
                  </a:lnTo>
                  <a:lnTo>
                    <a:pt x="335712" y="198831"/>
                  </a:lnTo>
                  <a:lnTo>
                    <a:pt x="335712" y="196799"/>
                  </a:lnTo>
                  <a:lnTo>
                    <a:pt x="335814" y="196799"/>
                  </a:lnTo>
                  <a:lnTo>
                    <a:pt x="335814" y="197447"/>
                  </a:lnTo>
                  <a:lnTo>
                    <a:pt x="335814" y="196799"/>
                  </a:lnTo>
                  <a:lnTo>
                    <a:pt x="335814" y="199530"/>
                  </a:lnTo>
                  <a:lnTo>
                    <a:pt x="335865" y="199530"/>
                  </a:lnTo>
                  <a:lnTo>
                    <a:pt x="335865" y="198831"/>
                  </a:lnTo>
                  <a:lnTo>
                    <a:pt x="335865" y="199530"/>
                  </a:lnTo>
                  <a:lnTo>
                    <a:pt x="335916" y="199530"/>
                  </a:lnTo>
                  <a:lnTo>
                    <a:pt x="335916" y="198831"/>
                  </a:lnTo>
                  <a:lnTo>
                    <a:pt x="335916" y="199530"/>
                  </a:lnTo>
                  <a:lnTo>
                    <a:pt x="335916" y="198831"/>
                  </a:lnTo>
                  <a:lnTo>
                    <a:pt x="335916" y="200228"/>
                  </a:lnTo>
                  <a:lnTo>
                    <a:pt x="335916" y="198831"/>
                  </a:lnTo>
                  <a:lnTo>
                    <a:pt x="335916" y="200228"/>
                  </a:lnTo>
                  <a:lnTo>
                    <a:pt x="335916" y="199530"/>
                  </a:lnTo>
                  <a:lnTo>
                    <a:pt x="335966" y="199530"/>
                  </a:lnTo>
                  <a:lnTo>
                    <a:pt x="335966" y="200228"/>
                  </a:lnTo>
                  <a:lnTo>
                    <a:pt x="335966" y="199530"/>
                  </a:lnTo>
                  <a:lnTo>
                    <a:pt x="335966" y="200228"/>
                  </a:lnTo>
                  <a:lnTo>
                    <a:pt x="335966" y="199530"/>
                  </a:lnTo>
                  <a:lnTo>
                    <a:pt x="335966" y="200228"/>
                  </a:lnTo>
                  <a:lnTo>
                    <a:pt x="335966" y="199530"/>
                  </a:lnTo>
                  <a:lnTo>
                    <a:pt x="335966" y="200228"/>
                  </a:lnTo>
                  <a:lnTo>
                    <a:pt x="336055" y="200228"/>
                  </a:lnTo>
                  <a:lnTo>
                    <a:pt x="336055" y="199530"/>
                  </a:lnTo>
                  <a:lnTo>
                    <a:pt x="336055" y="200876"/>
                  </a:lnTo>
                  <a:lnTo>
                    <a:pt x="336055" y="200228"/>
                  </a:lnTo>
                  <a:lnTo>
                    <a:pt x="336055" y="202260"/>
                  </a:lnTo>
                  <a:lnTo>
                    <a:pt x="336055" y="200876"/>
                  </a:lnTo>
                  <a:lnTo>
                    <a:pt x="336055" y="202260"/>
                  </a:lnTo>
                  <a:lnTo>
                    <a:pt x="336055" y="200876"/>
                  </a:lnTo>
                  <a:lnTo>
                    <a:pt x="336106" y="200228"/>
                  </a:lnTo>
                  <a:lnTo>
                    <a:pt x="336106" y="202260"/>
                  </a:lnTo>
                  <a:lnTo>
                    <a:pt x="336106" y="200228"/>
                  </a:lnTo>
                  <a:lnTo>
                    <a:pt x="336106" y="200876"/>
                  </a:lnTo>
                  <a:lnTo>
                    <a:pt x="336106" y="200228"/>
                  </a:lnTo>
                  <a:lnTo>
                    <a:pt x="336106" y="200876"/>
                  </a:lnTo>
                  <a:lnTo>
                    <a:pt x="336106" y="200228"/>
                  </a:lnTo>
                  <a:lnTo>
                    <a:pt x="336157" y="200228"/>
                  </a:lnTo>
                  <a:lnTo>
                    <a:pt x="336157" y="199530"/>
                  </a:lnTo>
                  <a:lnTo>
                    <a:pt x="336208" y="198831"/>
                  </a:lnTo>
                  <a:lnTo>
                    <a:pt x="336208" y="197447"/>
                  </a:lnTo>
                  <a:lnTo>
                    <a:pt x="336208" y="198831"/>
                  </a:lnTo>
                  <a:lnTo>
                    <a:pt x="336208" y="196799"/>
                  </a:lnTo>
                  <a:lnTo>
                    <a:pt x="336208" y="198831"/>
                  </a:lnTo>
                  <a:lnTo>
                    <a:pt x="336208" y="197447"/>
                  </a:lnTo>
                  <a:lnTo>
                    <a:pt x="336309" y="197447"/>
                  </a:lnTo>
                  <a:lnTo>
                    <a:pt x="336309" y="196799"/>
                  </a:lnTo>
                  <a:lnTo>
                    <a:pt x="336309" y="198831"/>
                  </a:lnTo>
                  <a:lnTo>
                    <a:pt x="336360" y="198831"/>
                  </a:lnTo>
                  <a:lnTo>
                    <a:pt x="336360" y="197447"/>
                  </a:lnTo>
                  <a:lnTo>
                    <a:pt x="336360" y="199530"/>
                  </a:lnTo>
                  <a:lnTo>
                    <a:pt x="336360" y="198831"/>
                  </a:lnTo>
                  <a:lnTo>
                    <a:pt x="336411" y="198831"/>
                  </a:lnTo>
                  <a:lnTo>
                    <a:pt x="336411" y="197447"/>
                  </a:lnTo>
                  <a:lnTo>
                    <a:pt x="336411" y="198831"/>
                  </a:lnTo>
                  <a:lnTo>
                    <a:pt x="336411" y="197447"/>
                  </a:lnTo>
                  <a:lnTo>
                    <a:pt x="336411" y="198831"/>
                  </a:lnTo>
                  <a:lnTo>
                    <a:pt x="336411" y="197447"/>
                  </a:lnTo>
                  <a:lnTo>
                    <a:pt x="336411" y="198831"/>
                  </a:lnTo>
                  <a:lnTo>
                    <a:pt x="336512" y="198831"/>
                  </a:lnTo>
                  <a:lnTo>
                    <a:pt x="336512" y="197447"/>
                  </a:lnTo>
                  <a:lnTo>
                    <a:pt x="336512" y="198831"/>
                  </a:lnTo>
                  <a:lnTo>
                    <a:pt x="336512" y="197447"/>
                  </a:lnTo>
                  <a:lnTo>
                    <a:pt x="336512" y="199530"/>
                  </a:lnTo>
                  <a:lnTo>
                    <a:pt x="336512" y="198831"/>
                  </a:lnTo>
                  <a:lnTo>
                    <a:pt x="336512" y="199530"/>
                  </a:lnTo>
                  <a:lnTo>
                    <a:pt x="336512" y="198831"/>
                  </a:lnTo>
                  <a:lnTo>
                    <a:pt x="336512" y="199530"/>
                  </a:lnTo>
                  <a:lnTo>
                    <a:pt x="336551" y="199530"/>
                  </a:lnTo>
                  <a:lnTo>
                    <a:pt x="336551" y="200228"/>
                  </a:lnTo>
                  <a:lnTo>
                    <a:pt x="336551" y="199530"/>
                  </a:lnTo>
                  <a:lnTo>
                    <a:pt x="336551" y="200228"/>
                  </a:lnTo>
                  <a:lnTo>
                    <a:pt x="336601" y="200228"/>
                  </a:lnTo>
                  <a:lnTo>
                    <a:pt x="336601" y="199530"/>
                  </a:lnTo>
                  <a:lnTo>
                    <a:pt x="336601" y="200228"/>
                  </a:lnTo>
                  <a:lnTo>
                    <a:pt x="336601" y="199530"/>
                  </a:lnTo>
                  <a:lnTo>
                    <a:pt x="336601" y="200228"/>
                  </a:lnTo>
                  <a:lnTo>
                    <a:pt x="336601" y="199530"/>
                  </a:lnTo>
                  <a:lnTo>
                    <a:pt x="336652" y="199530"/>
                  </a:lnTo>
                  <a:lnTo>
                    <a:pt x="336652" y="200228"/>
                  </a:lnTo>
                  <a:lnTo>
                    <a:pt x="336652" y="197447"/>
                  </a:lnTo>
                  <a:lnTo>
                    <a:pt x="336754" y="197447"/>
                  </a:lnTo>
                  <a:lnTo>
                    <a:pt x="336754" y="198831"/>
                  </a:lnTo>
                  <a:lnTo>
                    <a:pt x="336754" y="197447"/>
                  </a:lnTo>
                  <a:lnTo>
                    <a:pt x="336754" y="198831"/>
                  </a:lnTo>
                  <a:lnTo>
                    <a:pt x="336754" y="196799"/>
                  </a:lnTo>
                  <a:lnTo>
                    <a:pt x="336754" y="198831"/>
                  </a:lnTo>
                  <a:lnTo>
                    <a:pt x="336805" y="198831"/>
                  </a:lnTo>
                  <a:lnTo>
                    <a:pt x="336805" y="196799"/>
                  </a:lnTo>
                  <a:lnTo>
                    <a:pt x="336805" y="200228"/>
                  </a:lnTo>
                  <a:lnTo>
                    <a:pt x="336805" y="199530"/>
                  </a:lnTo>
                  <a:lnTo>
                    <a:pt x="336805" y="200228"/>
                  </a:lnTo>
                  <a:lnTo>
                    <a:pt x="336805" y="199530"/>
                  </a:lnTo>
                  <a:lnTo>
                    <a:pt x="336855" y="199530"/>
                  </a:lnTo>
                  <a:lnTo>
                    <a:pt x="336855" y="198831"/>
                  </a:lnTo>
                  <a:lnTo>
                    <a:pt x="336855" y="200876"/>
                  </a:lnTo>
                  <a:lnTo>
                    <a:pt x="336855" y="199530"/>
                  </a:lnTo>
                  <a:lnTo>
                    <a:pt x="336957" y="199530"/>
                  </a:lnTo>
                  <a:lnTo>
                    <a:pt x="336957" y="200228"/>
                  </a:lnTo>
                  <a:lnTo>
                    <a:pt x="336957" y="199530"/>
                  </a:lnTo>
                  <a:lnTo>
                    <a:pt x="336957" y="200228"/>
                  </a:lnTo>
                  <a:lnTo>
                    <a:pt x="336957" y="199530"/>
                  </a:lnTo>
                  <a:lnTo>
                    <a:pt x="336957" y="200228"/>
                  </a:lnTo>
                  <a:lnTo>
                    <a:pt x="336957" y="199530"/>
                  </a:lnTo>
                  <a:lnTo>
                    <a:pt x="337008" y="199530"/>
                  </a:lnTo>
                  <a:lnTo>
                    <a:pt x="337008" y="200228"/>
                  </a:lnTo>
                  <a:lnTo>
                    <a:pt x="337008" y="199530"/>
                  </a:lnTo>
                  <a:lnTo>
                    <a:pt x="337008" y="200228"/>
                  </a:lnTo>
                  <a:lnTo>
                    <a:pt x="337008" y="199530"/>
                  </a:lnTo>
                  <a:lnTo>
                    <a:pt x="337008" y="200228"/>
                  </a:lnTo>
                  <a:lnTo>
                    <a:pt x="337008" y="199530"/>
                  </a:lnTo>
                  <a:lnTo>
                    <a:pt x="337008" y="200228"/>
                  </a:lnTo>
                  <a:lnTo>
                    <a:pt x="337058" y="200228"/>
                  </a:lnTo>
                  <a:lnTo>
                    <a:pt x="337058" y="200876"/>
                  </a:lnTo>
                  <a:lnTo>
                    <a:pt x="337058" y="200228"/>
                  </a:lnTo>
                  <a:lnTo>
                    <a:pt x="337058" y="200876"/>
                  </a:lnTo>
                  <a:lnTo>
                    <a:pt x="337058" y="200228"/>
                  </a:lnTo>
                  <a:lnTo>
                    <a:pt x="337058" y="200876"/>
                  </a:lnTo>
                  <a:lnTo>
                    <a:pt x="337097" y="200876"/>
                  </a:lnTo>
                  <a:lnTo>
                    <a:pt x="337097" y="200228"/>
                  </a:lnTo>
                  <a:lnTo>
                    <a:pt x="337097" y="200876"/>
                  </a:lnTo>
                  <a:lnTo>
                    <a:pt x="337097" y="199530"/>
                  </a:lnTo>
                  <a:lnTo>
                    <a:pt x="337198" y="199530"/>
                  </a:lnTo>
                  <a:lnTo>
                    <a:pt x="337198" y="200228"/>
                  </a:lnTo>
                  <a:lnTo>
                    <a:pt x="337198" y="198831"/>
                  </a:lnTo>
                  <a:lnTo>
                    <a:pt x="337198" y="199530"/>
                  </a:lnTo>
                  <a:lnTo>
                    <a:pt x="337198" y="198831"/>
                  </a:lnTo>
                  <a:lnTo>
                    <a:pt x="337249" y="198831"/>
                  </a:lnTo>
                  <a:lnTo>
                    <a:pt x="337249" y="197447"/>
                  </a:lnTo>
                  <a:lnTo>
                    <a:pt x="337249" y="199530"/>
                  </a:lnTo>
                  <a:lnTo>
                    <a:pt x="337249" y="198831"/>
                  </a:lnTo>
                  <a:lnTo>
                    <a:pt x="337249" y="199530"/>
                  </a:lnTo>
                  <a:lnTo>
                    <a:pt x="337249" y="198831"/>
                  </a:lnTo>
                  <a:lnTo>
                    <a:pt x="337300" y="198831"/>
                  </a:lnTo>
                  <a:lnTo>
                    <a:pt x="337300" y="200876"/>
                  </a:lnTo>
                  <a:lnTo>
                    <a:pt x="337300" y="199530"/>
                  </a:lnTo>
                  <a:lnTo>
                    <a:pt x="337300" y="200228"/>
                  </a:lnTo>
                  <a:lnTo>
                    <a:pt x="337401" y="199530"/>
                  </a:lnTo>
                  <a:lnTo>
                    <a:pt x="337401" y="200876"/>
                  </a:lnTo>
                  <a:lnTo>
                    <a:pt x="337401" y="200228"/>
                  </a:lnTo>
                  <a:lnTo>
                    <a:pt x="337452" y="200228"/>
                  </a:lnTo>
                  <a:lnTo>
                    <a:pt x="337452" y="200876"/>
                  </a:lnTo>
                  <a:lnTo>
                    <a:pt x="337452" y="200228"/>
                  </a:lnTo>
                  <a:lnTo>
                    <a:pt x="337503" y="200228"/>
                  </a:lnTo>
                  <a:lnTo>
                    <a:pt x="337503" y="200876"/>
                  </a:lnTo>
                  <a:lnTo>
                    <a:pt x="337503" y="200228"/>
                  </a:lnTo>
                  <a:lnTo>
                    <a:pt x="337554" y="200228"/>
                  </a:lnTo>
                  <a:lnTo>
                    <a:pt x="337554" y="200876"/>
                  </a:lnTo>
                  <a:lnTo>
                    <a:pt x="337554" y="200228"/>
                  </a:lnTo>
                  <a:lnTo>
                    <a:pt x="337554" y="200876"/>
                  </a:lnTo>
                  <a:lnTo>
                    <a:pt x="337554" y="200228"/>
                  </a:lnTo>
                  <a:lnTo>
                    <a:pt x="337554" y="200876"/>
                  </a:lnTo>
                  <a:lnTo>
                    <a:pt x="337643" y="200228"/>
                  </a:lnTo>
                  <a:lnTo>
                    <a:pt x="337643" y="198831"/>
                  </a:lnTo>
                  <a:lnTo>
                    <a:pt x="337643" y="199530"/>
                  </a:lnTo>
                  <a:lnTo>
                    <a:pt x="337693" y="199530"/>
                  </a:lnTo>
                  <a:lnTo>
                    <a:pt x="337693" y="196799"/>
                  </a:lnTo>
                  <a:lnTo>
                    <a:pt x="337693" y="197447"/>
                  </a:lnTo>
                  <a:lnTo>
                    <a:pt x="337693" y="196799"/>
                  </a:lnTo>
                  <a:lnTo>
                    <a:pt x="337744" y="197447"/>
                  </a:lnTo>
                  <a:lnTo>
                    <a:pt x="337744" y="199530"/>
                  </a:lnTo>
                  <a:lnTo>
                    <a:pt x="337744" y="197447"/>
                  </a:lnTo>
                  <a:lnTo>
                    <a:pt x="337744" y="198831"/>
                  </a:lnTo>
                  <a:lnTo>
                    <a:pt x="337744" y="197447"/>
                  </a:lnTo>
                  <a:lnTo>
                    <a:pt x="337744" y="198831"/>
                  </a:lnTo>
                  <a:lnTo>
                    <a:pt x="337744" y="197447"/>
                  </a:lnTo>
                  <a:lnTo>
                    <a:pt x="337744" y="200228"/>
                  </a:lnTo>
                  <a:lnTo>
                    <a:pt x="337795" y="200228"/>
                  </a:lnTo>
                  <a:lnTo>
                    <a:pt x="337795" y="200876"/>
                  </a:lnTo>
                  <a:lnTo>
                    <a:pt x="337795" y="199530"/>
                  </a:lnTo>
                  <a:lnTo>
                    <a:pt x="337795" y="200228"/>
                  </a:lnTo>
                  <a:lnTo>
                    <a:pt x="337795" y="199530"/>
                  </a:lnTo>
                  <a:lnTo>
                    <a:pt x="337795" y="200228"/>
                  </a:lnTo>
                  <a:lnTo>
                    <a:pt x="337897" y="200876"/>
                  </a:lnTo>
                  <a:lnTo>
                    <a:pt x="337897" y="199530"/>
                  </a:lnTo>
                  <a:lnTo>
                    <a:pt x="337897" y="200876"/>
                  </a:lnTo>
                  <a:lnTo>
                    <a:pt x="337947" y="200876"/>
                  </a:lnTo>
                  <a:lnTo>
                    <a:pt x="337947" y="200228"/>
                  </a:lnTo>
                  <a:lnTo>
                    <a:pt x="337947" y="200876"/>
                  </a:lnTo>
                  <a:lnTo>
                    <a:pt x="337947" y="200228"/>
                  </a:lnTo>
                  <a:lnTo>
                    <a:pt x="337947" y="200876"/>
                  </a:lnTo>
                  <a:lnTo>
                    <a:pt x="337947" y="200228"/>
                  </a:lnTo>
                  <a:lnTo>
                    <a:pt x="337947" y="200876"/>
                  </a:lnTo>
                  <a:lnTo>
                    <a:pt x="337998" y="200876"/>
                  </a:lnTo>
                  <a:lnTo>
                    <a:pt x="337998" y="202260"/>
                  </a:lnTo>
                  <a:lnTo>
                    <a:pt x="337998" y="200876"/>
                  </a:lnTo>
                  <a:lnTo>
                    <a:pt x="337998" y="202260"/>
                  </a:lnTo>
                  <a:lnTo>
                    <a:pt x="337998" y="200876"/>
                  </a:lnTo>
                  <a:lnTo>
                    <a:pt x="338100" y="200876"/>
                  </a:lnTo>
                  <a:lnTo>
                    <a:pt x="338100" y="202260"/>
                  </a:lnTo>
                  <a:lnTo>
                    <a:pt x="338100" y="200228"/>
                  </a:lnTo>
                  <a:lnTo>
                    <a:pt x="338100" y="200876"/>
                  </a:lnTo>
                  <a:lnTo>
                    <a:pt x="338100" y="200228"/>
                  </a:lnTo>
                  <a:lnTo>
                    <a:pt x="338138" y="200228"/>
                  </a:lnTo>
                  <a:lnTo>
                    <a:pt x="338138" y="200876"/>
                  </a:lnTo>
                  <a:lnTo>
                    <a:pt x="338138" y="198831"/>
                  </a:lnTo>
                  <a:lnTo>
                    <a:pt x="338189" y="198831"/>
                  </a:lnTo>
                  <a:lnTo>
                    <a:pt x="338189" y="196799"/>
                  </a:lnTo>
                  <a:lnTo>
                    <a:pt x="338189" y="200228"/>
                  </a:lnTo>
                  <a:lnTo>
                    <a:pt x="338240" y="199530"/>
                  </a:lnTo>
                  <a:lnTo>
                    <a:pt x="338240" y="200228"/>
                  </a:lnTo>
                  <a:lnTo>
                    <a:pt x="338240" y="197447"/>
                  </a:lnTo>
                  <a:lnTo>
                    <a:pt x="338240" y="202260"/>
                  </a:lnTo>
                  <a:lnTo>
                    <a:pt x="338341" y="200876"/>
                  </a:lnTo>
                  <a:lnTo>
                    <a:pt x="338341" y="199530"/>
                  </a:lnTo>
                  <a:lnTo>
                    <a:pt x="338341" y="200228"/>
                  </a:lnTo>
                  <a:lnTo>
                    <a:pt x="338341" y="199530"/>
                  </a:lnTo>
                  <a:lnTo>
                    <a:pt x="338341" y="200876"/>
                  </a:lnTo>
                  <a:lnTo>
                    <a:pt x="338392" y="200876"/>
                  </a:lnTo>
                  <a:lnTo>
                    <a:pt x="338392" y="199530"/>
                  </a:lnTo>
                  <a:lnTo>
                    <a:pt x="338392" y="200228"/>
                  </a:lnTo>
                  <a:lnTo>
                    <a:pt x="338392" y="199530"/>
                  </a:lnTo>
                  <a:lnTo>
                    <a:pt x="338392" y="200876"/>
                  </a:lnTo>
                  <a:lnTo>
                    <a:pt x="338392" y="200228"/>
                  </a:lnTo>
                  <a:lnTo>
                    <a:pt x="338443" y="200876"/>
                  </a:lnTo>
                  <a:lnTo>
                    <a:pt x="338443" y="200228"/>
                  </a:lnTo>
                  <a:lnTo>
                    <a:pt x="338443" y="200876"/>
                  </a:lnTo>
                  <a:lnTo>
                    <a:pt x="338443" y="200228"/>
                  </a:lnTo>
                  <a:lnTo>
                    <a:pt x="338443" y="200876"/>
                  </a:lnTo>
                  <a:lnTo>
                    <a:pt x="338443" y="200228"/>
                  </a:lnTo>
                  <a:lnTo>
                    <a:pt x="338443" y="200876"/>
                  </a:lnTo>
                  <a:lnTo>
                    <a:pt x="338544" y="200876"/>
                  </a:lnTo>
                  <a:lnTo>
                    <a:pt x="338544" y="202260"/>
                  </a:lnTo>
                  <a:lnTo>
                    <a:pt x="338595" y="202260"/>
                  </a:lnTo>
                  <a:lnTo>
                    <a:pt x="338595" y="200876"/>
                  </a:lnTo>
                  <a:lnTo>
                    <a:pt x="338595" y="202260"/>
                  </a:lnTo>
                  <a:lnTo>
                    <a:pt x="338595" y="200228"/>
                  </a:lnTo>
                  <a:lnTo>
                    <a:pt x="338646" y="200228"/>
                  </a:lnTo>
                  <a:lnTo>
                    <a:pt x="338646" y="198831"/>
                  </a:lnTo>
                  <a:lnTo>
                    <a:pt x="338684" y="198831"/>
                  </a:lnTo>
                  <a:lnTo>
                    <a:pt x="338684" y="196799"/>
                  </a:lnTo>
                  <a:lnTo>
                    <a:pt x="338684" y="197447"/>
                  </a:lnTo>
                  <a:lnTo>
                    <a:pt x="338684" y="196799"/>
                  </a:lnTo>
                  <a:lnTo>
                    <a:pt x="338684" y="199530"/>
                  </a:lnTo>
                  <a:lnTo>
                    <a:pt x="338786" y="199530"/>
                  </a:lnTo>
                  <a:lnTo>
                    <a:pt x="338786" y="196799"/>
                  </a:lnTo>
                  <a:lnTo>
                    <a:pt x="338786" y="200228"/>
                  </a:lnTo>
                  <a:lnTo>
                    <a:pt x="338837" y="200228"/>
                  </a:lnTo>
                  <a:lnTo>
                    <a:pt x="338837" y="198831"/>
                  </a:lnTo>
                  <a:lnTo>
                    <a:pt x="338837" y="199530"/>
                  </a:lnTo>
                  <a:lnTo>
                    <a:pt x="338837" y="198831"/>
                  </a:lnTo>
                  <a:lnTo>
                    <a:pt x="338837" y="200228"/>
                  </a:lnTo>
                  <a:lnTo>
                    <a:pt x="338887" y="200228"/>
                  </a:lnTo>
                  <a:lnTo>
                    <a:pt x="338887" y="199530"/>
                  </a:lnTo>
                  <a:lnTo>
                    <a:pt x="338887" y="200876"/>
                  </a:lnTo>
                  <a:lnTo>
                    <a:pt x="338887" y="200228"/>
                  </a:lnTo>
                  <a:lnTo>
                    <a:pt x="338887" y="200876"/>
                  </a:lnTo>
                  <a:lnTo>
                    <a:pt x="338989" y="200228"/>
                  </a:lnTo>
                  <a:lnTo>
                    <a:pt x="338989" y="202260"/>
                  </a:lnTo>
                  <a:lnTo>
                    <a:pt x="338989" y="200876"/>
                  </a:lnTo>
                  <a:lnTo>
                    <a:pt x="338989" y="202260"/>
                  </a:lnTo>
                  <a:lnTo>
                    <a:pt x="338989" y="200876"/>
                  </a:lnTo>
                  <a:lnTo>
                    <a:pt x="339040" y="200876"/>
                  </a:lnTo>
                  <a:lnTo>
                    <a:pt x="339040" y="202260"/>
                  </a:lnTo>
                  <a:lnTo>
                    <a:pt x="339040" y="200876"/>
                  </a:lnTo>
                  <a:lnTo>
                    <a:pt x="339040" y="202959"/>
                  </a:lnTo>
                  <a:lnTo>
                    <a:pt x="339040" y="202260"/>
                  </a:lnTo>
                  <a:lnTo>
                    <a:pt x="339091" y="202260"/>
                  </a:lnTo>
                  <a:lnTo>
                    <a:pt x="339091" y="200876"/>
                  </a:lnTo>
                  <a:lnTo>
                    <a:pt x="339091" y="202260"/>
                  </a:lnTo>
                  <a:lnTo>
                    <a:pt x="339091" y="200228"/>
                  </a:lnTo>
                  <a:lnTo>
                    <a:pt x="339091" y="200876"/>
                  </a:lnTo>
                  <a:lnTo>
                    <a:pt x="339141" y="200228"/>
                  </a:lnTo>
                  <a:lnTo>
                    <a:pt x="339141" y="200876"/>
                  </a:lnTo>
                  <a:lnTo>
                    <a:pt x="339141" y="198831"/>
                  </a:lnTo>
                  <a:lnTo>
                    <a:pt x="339141" y="199530"/>
                  </a:lnTo>
                  <a:lnTo>
                    <a:pt x="339141" y="198831"/>
                  </a:lnTo>
                  <a:lnTo>
                    <a:pt x="339230" y="198831"/>
                  </a:lnTo>
                  <a:lnTo>
                    <a:pt x="339230" y="197447"/>
                  </a:lnTo>
                  <a:lnTo>
                    <a:pt x="339230" y="199530"/>
                  </a:lnTo>
                  <a:lnTo>
                    <a:pt x="339230" y="198831"/>
                  </a:lnTo>
                  <a:lnTo>
                    <a:pt x="339281" y="198831"/>
                  </a:lnTo>
                  <a:lnTo>
                    <a:pt x="339281" y="197447"/>
                  </a:lnTo>
                  <a:lnTo>
                    <a:pt x="339281" y="200228"/>
                  </a:lnTo>
                  <a:lnTo>
                    <a:pt x="339281" y="199530"/>
                  </a:lnTo>
                  <a:lnTo>
                    <a:pt x="339332" y="198831"/>
                  </a:lnTo>
                  <a:lnTo>
                    <a:pt x="339332" y="200228"/>
                  </a:lnTo>
                  <a:lnTo>
                    <a:pt x="339332" y="198831"/>
                  </a:lnTo>
                  <a:lnTo>
                    <a:pt x="339383" y="199530"/>
                  </a:lnTo>
                  <a:lnTo>
                    <a:pt x="339484" y="199530"/>
                  </a:lnTo>
                  <a:lnTo>
                    <a:pt x="339484" y="200228"/>
                  </a:lnTo>
                  <a:lnTo>
                    <a:pt x="339484" y="199530"/>
                  </a:lnTo>
                  <a:lnTo>
                    <a:pt x="339484" y="200228"/>
                  </a:lnTo>
                  <a:lnTo>
                    <a:pt x="339535" y="200228"/>
                  </a:lnTo>
                  <a:lnTo>
                    <a:pt x="339535" y="200876"/>
                  </a:lnTo>
                  <a:lnTo>
                    <a:pt x="339535" y="200228"/>
                  </a:lnTo>
                  <a:lnTo>
                    <a:pt x="339586" y="200228"/>
                  </a:lnTo>
                  <a:lnTo>
                    <a:pt x="339586" y="200876"/>
                  </a:lnTo>
                  <a:lnTo>
                    <a:pt x="339586" y="199530"/>
                  </a:lnTo>
                  <a:lnTo>
                    <a:pt x="339586" y="200228"/>
                  </a:lnTo>
                  <a:lnTo>
                    <a:pt x="339586" y="199530"/>
                  </a:lnTo>
                  <a:lnTo>
                    <a:pt x="339687" y="199530"/>
                  </a:lnTo>
                  <a:lnTo>
                    <a:pt x="339687" y="200228"/>
                  </a:lnTo>
                  <a:lnTo>
                    <a:pt x="339687" y="199530"/>
                  </a:lnTo>
                  <a:lnTo>
                    <a:pt x="339687" y="200228"/>
                  </a:lnTo>
                  <a:lnTo>
                    <a:pt x="339687" y="198831"/>
                  </a:lnTo>
                  <a:lnTo>
                    <a:pt x="339726" y="198831"/>
                  </a:lnTo>
                  <a:lnTo>
                    <a:pt x="339726" y="200228"/>
                  </a:lnTo>
                  <a:lnTo>
                    <a:pt x="339726" y="199530"/>
                  </a:lnTo>
                  <a:lnTo>
                    <a:pt x="339726" y="200228"/>
                  </a:lnTo>
                  <a:lnTo>
                    <a:pt x="339726" y="198831"/>
                  </a:lnTo>
                  <a:lnTo>
                    <a:pt x="339726" y="199530"/>
                  </a:lnTo>
                  <a:lnTo>
                    <a:pt x="339776" y="200228"/>
                  </a:lnTo>
                  <a:lnTo>
                    <a:pt x="339776" y="202260"/>
                  </a:lnTo>
                  <a:lnTo>
                    <a:pt x="339776" y="200228"/>
                  </a:lnTo>
                  <a:lnTo>
                    <a:pt x="339776" y="200876"/>
                  </a:lnTo>
                  <a:lnTo>
                    <a:pt x="339827" y="200228"/>
                  </a:lnTo>
                  <a:lnTo>
                    <a:pt x="339827" y="202260"/>
                  </a:lnTo>
                  <a:lnTo>
                    <a:pt x="339827" y="200228"/>
                  </a:lnTo>
                  <a:lnTo>
                    <a:pt x="339827" y="200876"/>
                  </a:lnTo>
                  <a:lnTo>
                    <a:pt x="339929" y="200876"/>
                  </a:lnTo>
                  <a:lnTo>
                    <a:pt x="339929" y="200228"/>
                  </a:lnTo>
                  <a:lnTo>
                    <a:pt x="339929" y="202260"/>
                  </a:lnTo>
                  <a:lnTo>
                    <a:pt x="339929" y="200876"/>
                  </a:lnTo>
                  <a:lnTo>
                    <a:pt x="339980" y="202260"/>
                  </a:lnTo>
                  <a:lnTo>
                    <a:pt x="339980" y="200876"/>
                  </a:lnTo>
                  <a:lnTo>
                    <a:pt x="339980" y="202260"/>
                  </a:lnTo>
                  <a:lnTo>
                    <a:pt x="339980" y="200876"/>
                  </a:lnTo>
                  <a:lnTo>
                    <a:pt x="339980" y="202260"/>
                  </a:lnTo>
                  <a:lnTo>
                    <a:pt x="339980" y="200876"/>
                  </a:lnTo>
                  <a:lnTo>
                    <a:pt x="339980" y="202260"/>
                  </a:lnTo>
                  <a:lnTo>
                    <a:pt x="339980" y="200876"/>
                  </a:lnTo>
                  <a:lnTo>
                    <a:pt x="340030" y="200876"/>
                  </a:lnTo>
                  <a:lnTo>
                    <a:pt x="340030" y="200228"/>
                  </a:lnTo>
                  <a:lnTo>
                    <a:pt x="340030" y="202260"/>
                  </a:lnTo>
                  <a:lnTo>
                    <a:pt x="340030" y="200876"/>
                  </a:lnTo>
                  <a:lnTo>
                    <a:pt x="340132" y="200876"/>
                  </a:lnTo>
                  <a:lnTo>
                    <a:pt x="340132" y="200228"/>
                  </a:lnTo>
                  <a:lnTo>
                    <a:pt x="340132" y="200876"/>
                  </a:lnTo>
                  <a:lnTo>
                    <a:pt x="340132" y="199530"/>
                  </a:lnTo>
                  <a:lnTo>
                    <a:pt x="340132" y="200228"/>
                  </a:lnTo>
                  <a:lnTo>
                    <a:pt x="340132" y="199530"/>
                  </a:lnTo>
                  <a:lnTo>
                    <a:pt x="340132" y="200228"/>
                  </a:lnTo>
                  <a:lnTo>
                    <a:pt x="340132" y="199530"/>
                  </a:lnTo>
                  <a:lnTo>
                    <a:pt x="340183" y="199530"/>
                  </a:lnTo>
                  <a:lnTo>
                    <a:pt x="340183" y="198831"/>
                  </a:lnTo>
                  <a:lnTo>
                    <a:pt x="340183" y="199530"/>
                  </a:lnTo>
                  <a:lnTo>
                    <a:pt x="340183" y="198831"/>
                  </a:lnTo>
                  <a:lnTo>
                    <a:pt x="340183" y="200228"/>
                  </a:lnTo>
                  <a:lnTo>
                    <a:pt x="340233" y="200876"/>
                  </a:lnTo>
                  <a:lnTo>
                    <a:pt x="340233" y="198831"/>
                  </a:lnTo>
                  <a:lnTo>
                    <a:pt x="340233" y="202959"/>
                  </a:lnTo>
                  <a:lnTo>
                    <a:pt x="340272" y="202260"/>
                  </a:lnTo>
                  <a:lnTo>
                    <a:pt x="340272" y="200228"/>
                  </a:lnTo>
                  <a:lnTo>
                    <a:pt x="340272" y="202260"/>
                  </a:lnTo>
                  <a:lnTo>
                    <a:pt x="340373" y="202260"/>
                  </a:lnTo>
                  <a:lnTo>
                    <a:pt x="340373" y="200228"/>
                  </a:lnTo>
                  <a:lnTo>
                    <a:pt x="340373" y="202260"/>
                  </a:lnTo>
                  <a:lnTo>
                    <a:pt x="340373" y="200876"/>
                  </a:lnTo>
                  <a:lnTo>
                    <a:pt x="340373" y="202260"/>
                  </a:lnTo>
                  <a:lnTo>
                    <a:pt x="340424" y="200876"/>
                  </a:lnTo>
                  <a:lnTo>
                    <a:pt x="340424" y="202260"/>
                  </a:lnTo>
                  <a:lnTo>
                    <a:pt x="340424" y="200876"/>
                  </a:lnTo>
                  <a:lnTo>
                    <a:pt x="340424" y="202260"/>
                  </a:lnTo>
                  <a:lnTo>
                    <a:pt x="340475" y="202260"/>
                  </a:lnTo>
                  <a:lnTo>
                    <a:pt x="340475" y="200876"/>
                  </a:lnTo>
                  <a:lnTo>
                    <a:pt x="340475" y="202260"/>
                  </a:lnTo>
                  <a:lnTo>
                    <a:pt x="340475" y="200876"/>
                  </a:lnTo>
                  <a:lnTo>
                    <a:pt x="340576" y="200876"/>
                  </a:lnTo>
                  <a:lnTo>
                    <a:pt x="340576" y="200228"/>
                  </a:lnTo>
                  <a:lnTo>
                    <a:pt x="340627" y="200228"/>
                  </a:lnTo>
                  <a:lnTo>
                    <a:pt x="340627" y="198831"/>
                  </a:lnTo>
                  <a:lnTo>
                    <a:pt x="340678" y="198831"/>
                  </a:lnTo>
                  <a:lnTo>
                    <a:pt x="340678" y="197447"/>
                  </a:lnTo>
                  <a:lnTo>
                    <a:pt x="340678" y="200876"/>
                  </a:lnTo>
                  <a:lnTo>
                    <a:pt x="340678" y="199530"/>
                  </a:lnTo>
                  <a:lnTo>
                    <a:pt x="340729" y="199530"/>
                  </a:lnTo>
                  <a:lnTo>
                    <a:pt x="340729" y="197447"/>
                  </a:lnTo>
                  <a:lnTo>
                    <a:pt x="340729" y="200876"/>
                  </a:lnTo>
                  <a:lnTo>
                    <a:pt x="340729" y="200228"/>
                  </a:lnTo>
                  <a:lnTo>
                    <a:pt x="340818" y="200228"/>
                  </a:lnTo>
                  <a:lnTo>
                    <a:pt x="340818" y="199530"/>
                  </a:lnTo>
                  <a:lnTo>
                    <a:pt x="340818" y="202260"/>
                  </a:lnTo>
                  <a:lnTo>
                    <a:pt x="340818" y="200228"/>
                  </a:lnTo>
                  <a:lnTo>
                    <a:pt x="340868" y="200228"/>
                  </a:lnTo>
                  <a:lnTo>
                    <a:pt x="340868" y="202260"/>
                  </a:lnTo>
                  <a:lnTo>
                    <a:pt x="340868" y="200228"/>
                  </a:lnTo>
                  <a:lnTo>
                    <a:pt x="340868" y="200876"/>
                  </a:lnTo>
                  <a:lnTo>
                    <a:pt x="340919" y="200876"/>
                  </a:lnTo>
                  <a:lnTo>
                    <a:pt x="340919" y="202959"/>
                  </a:lnTo>
                  <a:lnTo>
                    <a:pt x="340919" y="202260"/>
                  </a:lnTo>
                  <a:lnTo>
                    <a:pt x="340919" y="202959"/>
                  </a:lnTo>
                  <a:lnTo>
                    <a:pt x="340919" y="202260"/>
                  </a:lnTo>
                  <a:lnTo>
                    <a:pt x="340919" y="202959"/>
                  </a:lnTo>
                  <a:lnTo>
                    <a:pt x="340919" y="202260"/>
                  </a:lnTo>
                  <a:lnTo>
                    <a:pt x="340919" y="202959"/>
                  </a:lnTo>
                  <a:lnTo>
                    <a:pt x="340919" y="202260"/>
                  </a:lnTo>
                  <a:lnTo>
                    <a:pt x="340970" y="202260"/>
                  </a:lnTo>
                  <a:lnTo>
                    <a:pt x="340970" y="200876"/>
                  </a:lnTo>
                  <a:lnTo>
                    <a:pt x="340970" y="202959"/>
                  </a:lnTo>
                  <a:lnTo>
                    <a:pt x="340970" y="200876"/>
                  </a:lnTo>
                  <a:lnTo>
                    <a:pt x="341072" y="202260"/>
                  </a:lnTo>
                  <a:lnTo>
                    <a:pt x="341072" y="200876"/>
                  </a:lnTo>
                  <a:lnTo>
                    <a:pt x="341072" y="202260"/>
                  </a:lnTo>
                  <a:lnTo>
                    <a:pt x="341072" y="200228"/>
                  </a:lnTo>
                  <a:lnTo>
                    <a:pt x="341122" y="200228"/>
                  </a:lnTo>
                  <a:lnTo>
                    <a:pt x="341122" y="198831"/>
                  </a:lnTo>
                  <a:lnTo>
                    <a:pt x="341173" y="197447"/>
                  </a:lnTo>
                  <a:lnTo>
                    <a:pt x="341173" y="200228"/>
                  </a:lnTo>
                  <a:lnTo>
                    <a:pt x="341173" y="198831"/>
                  </a:lnTo>
                  <a:lnTo>
                    <a:pt x="341173" y="199530"/>
                  </a:lnTo>
                  <a:lnTo>
                    <a:pt x="341173" y="198831"/>
                  </a:lnTo>
                  <a:lnTo>
                    <a:pt x="341275" y="199530"/>
                  </a:lnTo>
                  <a:lnTo>
                    <a:pt x="341275" y="200876"/>
                  </a:lnTo>
                  <a:lnTo>
                    <a:pt x="341275" y="199530"/>
                  </a:lnTo>
                  <a:lnTo>
                    <a:pt x="341275" y="200228"/>
                  </a:lnTo>
                  <a:lnTo>
                    <a:pt x="341275" y="199530"/>
                  </a:lnTo>
                  <a:lnTo>
                    <a:pt x="341275" y="200228"/>
                  </a:lnTo>
                  <a:lnTo>
                    <a:pt x="341313" y="200228"/>
                  </a:lnTo>
                  <a:lnTo>
                    <a:pt x="341313" y="200876"/>
                  </a:lnTo>
                  <a:lnTo>
                    <a:pt x="341313" y="200228"/>
                  </a:lnTo>
                  <a:lnTo>
                    <a:pt x="341313" y="200876"/>
                  </a:lnTo>
                  <a:lnTo>
                    <a:pt x="341313" y="200228"/>
                  </a:lnTo>
                  <a:lnTo>
                    <a:pt x="341364" y="200876"/>
                  </a:lnTo>
                  <a:lnTo>
                    <a:pt x="341364" y="200228"/>
                  </a:lnTo>
                  <a:lnTo>
                    <a:pt x="341364" y="200876"/>
                  </a:lnTo>
                  <a:lnTo>
                    <a:pt x="341364" y="200228"/>
                  </a:lnTo>
                  <a:lnTo>
                    <a:pt x="341364" y="202260"/>
                  </a:lnTo>
                  <a:lnTo>
                    <a:pt x="341364" y="200876"/>
                  </a:lnTo>
                  <a:lnTo>
                    <a:pt x="341364" y="202260"/>
                  </a:lnTo>
                  <a:lnTo>
                    <a:pt x="341364" y="200876"/>
                  </a:lnTo>
                  <a:lnTo>
                    <a:pt x="341415" y="200876"/>
                  </a:lnTo>
                  <a:lnTo>
                    <a:pt x="341415" y="202260"/>
                  </a:lnTo>
                  <a:lnTo>
                    <a:pt x="341415" y="200876"/>
                  </a:lnTo>
                  <a:lnTo>
                    <a:pt x="341415" y="202260"/>
                  </a:lnTo>
                  <a:lnTo>
                    <a:pt x="341415" y="200876"/>
                  </a:lnTo>
                  <a:lnTo>
                    <a:pt x="341415" y="202260"/>
                  </a:lnTo>
                  <a:lnTo>
                    <a:pt x="341516" y="202260"/>
                  </a:lnTo>
                  <a:lnTo>
                    <a:pt x="341516" y="200876"/>
                  </a:lnTo>
                  <a:lnTo>
                    <a:pt x="341567" y="200228"/>
                  </a:lnTo>
                  <a:lnTo>
                    <a:pt x="341567" y="200876"/>
                  </a:lnTo>
                  <a:lnTo>
                    <a:pt x="341567" y="200228"/>
                  </a:lnTo>
                  <a:lnTo>
                    <a:pt x="341567" y="200876"/>
                  </a:lnTo>
                  <a:lnTo>
                    <a:pt x="341567" y="200228"/>
                  </a:lnTo>
                  <a:lnTo>
                    <a:pt x="341618" y="200228"/>
                  </a:lnTo>
                  <a:lnTo>
                    <a:pt x="341618" y="199530"/>
                  </a:lnTo>
                  <a:lnTo>
                    <a:pt x="341618" y="200228"/>
                  </a:lnTo>
                  <a:lnTo>
                    <a:pt x="341618" y="197447"/>
                  </a:lnTo>
                  <a:lnTo>
                    <a:pt x="341719" y="197447"/>
                  </a:lnTo>
                  <a:lnTo>
                    <a:pt x="341719" y="198831"/>
                  </a:lnTo>
                  <a:lnTo>
                    <a:pt x="341719" y="197447"/>
                  </a:lnTo>
                  <a:lnTo>
                    <a:pt x="341770" y="197447"/>
                  </a:lnTo>
                  <a:lnTo>
                    <a:pt x="341770" y="200228"/>
                  </a:lnTo>
                  <a:lnTo>
                    <a:pt x="341770" y="197447"/>
                  </a:lnTo>
                  <a:lnTo>
                    <a:pt x="341770" y="198831"/>
                  </a:lnTo>
                  <a:lnTo>
                    <a:pt x="341821" y="199530"/>
                  </a:lnTo>
                  <a:lnTo>
                    <a:pt x="341821" y="200228"/>
                  </a:lnTo>
                  <a:lnTo>
                    <a:pt x="341821" y="199530"/>
                  </a:lnTo>
                  <a:lnTo>
                    <a:pt x="341821" y="200228"/>
                  </a:lnTo>
                  <a:lnTo>
                    <a:pt x="341821" y="199530"/>
                  </a:lnTo>
                  <a:lnTo>
                    <a:pt x="341821" y="200228"/>
                  </a:lnTo>
                  <a:lnTo>
                    <a:pt x="341859" y="200228"/>
                  </a:lnTo>
                  <a:lnTo>
                    <a:pt x="341859" y="200876"/>
                  </a:lnTo>
                  <a:lnTo>
                    <a:pt x="341859" y="200228"/>
                  </a:lnTo>
                  <a:lnTo>
                    <a:pt x="341859" y="200876"/>
                  </a:lnTo>
                  <a:lnTo>
                    <a:pt x="341859" y="200228"/>
                  </a:lnTo>
                  <a:lnTo>
                    <a:pt x="341859" y="200876"/>
                  </a:lnTo>
                  <a:lnTo>
                    <a:pt x="341961" y="200876"/>
                  </a:lnTo>
                  <a:lnTo>
                    <a:pt x="341961" y="200228"/>
                  </a:lnTo>
                  <a:lnTo>
                    <a:pt x="341961" y="200876"/>
                  </a:lnTo>
                  <a:lnTo>
                    <a:pt x="341961" y="200228"/>
                  </a:lnTo>
                  <a:lnTo>
                    <a:pt x="341961" y="200876"/>
                  </a:lnTo>
                  <a:lnTo>
                    <a:pt x="341961" y="200228"/>
                  </a:lnTo>
                  <a:lnTo>
                    <a:pt x="341961" y="202260"/>
                  </a:lnTo>
                  <a:lnTo>
                    <a:pt x="341961" y="200876"/>
                  </a:lnTo>
                  <a:lnTo>
                    <a:pt x="342012" y="200876"/>
                  </a:lnTo>
                  <a:lnTo>
                    <a:pt x="342012" y="202260"/>
                  </a:lnTo>
                  <a:lnTo>
                    <a:pt x="342012" y="200228"/>
                  </a:lnTo>
                  <a:lnTo>
                    <a:pt x="342012" y="200876"/>
                  </a:lnTo>
                  <a:lnTo>
                    <a:pt x="342012" y="200228"/>
                  </a:lnTo>
                  <a:lnTo>
                    <a:pt x="342062" y="200228"/>
                  </a:lnTo>
                  <a:lnTo>
                    <a:pt x="342062" y="200876"/>
                  </a:lnTo>
                  <a:lnTo>
                    <a:pt x="342062" y="200228"/>
                  </a:lnTo>
                  <a:lnTo>
                    <a:pt x="342062" y="200876"/>
                  </a:lnTo>
                  <a:lnTo>
                    <a:pt x="342062" y="199530"/>
                  </a:lnTo>
                  <a:lnTo>
                    <a:pt x="342164" y="199530"/>
                  </a:lnTo>
                  <a:lnTo>
                    <a:pt x="342164" y="197447"/>
                  </a:lnTo>
                  <a:lnTo>
                    <a:pt x="342215" y="196799"/>
                  </a:lnTo>
                  <a:lnTo>
                    <a:pt x="342215" y="197447"/>
                  </a:lnTo>
                  <a:lnTo>
                    <a:pt x="342215" y="196113"/>
                  </a:lnTo>
                  <a:lnTo>
                    <a:pt x="342266" y="196113"/>
                  </a:lnTo>
                  <a:lnTo>
                    <a:pt x="342266" y="198831"/>
                  </a:lnTo>
                  <a:lnTo>
                    <a:pt x="342266" y="196799"/>
                  </a:lnTo>
                  <a:lnTo>
                    <a:pt x="342266" y="197447"/>
                  </a:lnTo>
                  <a:lnTo>
                    <a:pt x="342316" y="198831"/>
                  </a:lnTo>
                  <a:lnTo>
                    <a:pt x="342316" y="199530"/>
                  </a:lnTo>
                  <a:lnTo>
                    <a:pt x="342316" y="198831"/>
                  </a:lnTo>
                  <a:lnTo>
                    <a:pt x="342316" y="199530"/>
                  </a:lnTo>
                  <a:lnTo>
                    <a:pt x="342316" y="197447"/>
                  </a:lnTo>
                  <a:lnTo>
                    <a:pt x="342316" y="198831"/>
                  </a:lnTo>
                  <a:lnTo>
                    <a:pt x="342405" y="198831"/>
                  </a:lnTo>
                  <a:lnTo>
                    <a:pt x="342405" y="199530"/>
                  </a:lnTo>
                  <a:lnTo>
                    <a:pt x="342456" y="199530"/>
                  </a:lnTo>
                  <a:lnTo>
                    <a:pt x="342456" y="200228"/>
                  </a:lnTo>
                  <a:lnTo>
                    <a:pt x="342456" y="199530"/>
                  </a:lnTo>
                  <a:lnTo>
                    <a:pt x="342456" y="200228"/>
                  </a:lnTo>
                  <a:lnTo>
                    <a:pt x="342507" y="200228"/>
                  </a:lnTo>
                  <a:lnTo>
                    <a:pt x="342507" y="199530"/>
                  </a:lnTo>
                  <a:lnTo>
                    <a:pt x="342507" y="200228"/>
                  </a:lnTo>
                  <a:lnTo>
                    <a:pt x="342507" y="199530"/>
                  </a:lnTo>
                  <a:lnTo>
                    <a:pt x="342507" y="200228"/>
                  </a:lnTo>
                  <a:lnTo>
                    <a:pt x="342507" y="199530"/>
                  </a:lnTo>
                  <a:lnTo>
                    <a:pt x="342507" y="200228"/>
                  </a:lnTo>
                  <a:lnTo>
                    <a:pt x="342558" y="200228"/>
                  </a:lnTo>
                  <a:lnTo>
                    <a:pt x="342558" y="199530"/>
                  </a:lnTo>
                  <a:lnTo>
                    <a:pt x="342558" y="200228"/>
                  </a:lnTo>
                  <a:lnTo>
                    <a:pt x="342558" y="199530"/>
                  </a:lnTo>
                  <a:lnTo>
                    <a:pt x="342558" y="200228"/>
                  </a:lnTo>
                  <a:lnTo>
                    <a:pt x="342558" y="199530"/>
                  </a:lnTo>
                  <a:lnTo>
                    <a:pt x="342558" y="200228"/>
                  </a:lnTo>
                  <a:lnTo>
                    <a:pt x="342558" y="199530"/>
                  </a:lnTo>
                  <a:lnTo>
                    <a:pt x="342659" y="199530"/>
                  </a:lnTo>
                  <a:lnTo>
                    <a:pt x="342659" y="198831"/>
                  </a:lnTo>
                  <a:lnTo>
                    <a:pt x="342659" y="199530"/>
                  </a:lnTo>
                  <a:lnTo>
                    <a:pt x="342659" y="198831"/>
                  </a:lnTo>
                  <a:lnTo>
                    <a:pt x="342710" y="198831"/>
                  </a:lnTo>
                  <a:lnTo>
                    <a:pt x="342710" y="199530"/>
                  </a:lnTo>
                  <a:lnTo>
                    <a:pt x="342710" y="197447"/>
                  </a:lnTo>
                  <a:lnTo>
                    <a:pt x="342710" y="200228"/>
                  </a:lnTo>
                  <a:lnTo>
                    <a:pt x="342761" y="200228"/>
                  </a:lnTo>
                  <a:lnTo>
                    <a:pt x="342761" y="198831"/>
                  </a:lnTo>
                  <a:lnTo>
                    <a:pt x="342761" y="199530"/>
                  </a:lnTo>
                  <a:lnTo>
                    <a:pt x="342761" y="198831"/>
                  </a:lnTo>
                  <a:lnTo>
                    <a:pt x="342761" y="200228"/>
                  </a:lnTo>
                  <a:lnTo>
                    <a:pt x="342761" y="199530"/>
                  </a:lnTo>
                  <a:lnTo>
                    <a:pt x="342761" y="200228"/>
                  </a:lnTo>
                  <a:lnTo>
                    <a:pt x="342862" y="200228"/>
                  </a:lnTo>
                  <a:lnTo>
                    <a:pt x="342862" y="199530"/>
                  </a:lnTo>
                  <a:lnTo>
                    <a:pt x="342862" y="200876"/>
                  </a:lnTo>
                  <a:lnTo>
                    <a:pt x="342862" y="200228"/>
                  </a:lnTo>
                  <a:lnTo>
                    <a:pt x="342901" y="200228"/>
                  </a:lnTo>
                  <a:lnTo>
                    <a:pt x="342901" y="200876"/>
                  </a:lnTo>
                  <a:lnTo>
                    <a:pt x="342901" y="200228"/>
                  </a:lnTo>
                  <a:lnTo>
                    <a:pt x="342901" y="200876"/>
                  </a:lnTo>
                  <a:lnTo>
                    <a:pt x="342901" y="200228"/>
                  </a:lnTo>
                  <a:lnTo>
                    <a:pt x="342951" y="200228"/>
                  </a:lnTo>
                  <a:lnTo>
                    <a:pt x="342951" y="200876"/>
                  </a:lnTo>
                  <a:lnTo>
                    <a:pt x="342951" y="200228"/>
                  </a:lnTo>
                  <a:lnTo>
                    <a:pt x="342951" y="200876"/>
                  </a:lnTo>
                  <a:lnTo>
                    <a:pt x="342951" y="200228"/>
                  </a:lnTo>
                  <a:lnTo>
                    <a:pt x="342951" y="200876"/>
                  </a:lnTo>
                  <a:lnTo>
                    <a:pt x="342951" y="200228"/>
                  </a:lnTo>
                  <a:lnTo>
                    <a:pt x="342951" y="200876"/>
                  </a:lnTo>
                  <a:lnTo>
                    <a:pt x="343002" y="200876"/>
                  </a:lnTo>
                  <a:lnTo>
                    <a:pt x="343002" y="200228"/>
                  </a:lnTo>
                  <a:lnTo>
                    <a:pt x="343002" y="200876"/>
                  </a:lnTo>
                  <a:lnTo>
                    <a:pt x="343002" y="200228"/>
                  </a:lnTo>
                  <a:lnTo>
                    <a:pt x="343002" y="200876"/>
                  </a:lnTo>
                  <a:lnTo>
                    <a:pt x="343002" y="200228"/>
                  </a:lnTo>
                  <a:lnTo>
                    <a:pt x="343002" y="200876"/>
                  </a:lnTo>
                  <a:lnTo>
                    <a:pt x="343002" y="200228"/>
                  </a:lnTo>
                  <a:lnTo>
                    <a:pt x="343104" y="200228"/>
                  </a:lnTo>
                  <a:lnTo>
                    <a:pt x="343104" y="200876"/>
                  </a:lnTo>
                  <a:lnTo>
                    <a:pt x="343104" y="200228"/>
                  </a:lnTo>
                  <a:lnTo>
                    <a:pt x="343104" y="200876"/>
                  </a:lnTo>
                  <a:lnTo>
                    <a:pt x="343104" y="200228"/>
                  </a:lnTo>
                  <a:lnTo>
                    <a:pt x="343104" y="200876"/>
                  </a:lnTo>
                  <a:lnTo>
                    <a:pt x="343104" y="199530"/>
                  </a:lnTo>
                  <a:lnTo>
                    <a:pt x="343104" y="200228"/>
                  </a:lnTo>
                  <a:lnTo>
                    <a:pt x="343155" y="199530"/>
                  </a:lnTo>
                  <a:lnTo>
                    <a:pt x="343155" y="196799"/>
                  </a:lnTo>
                  <a:lnTo>
                    <a:pt x="343155" y="200228"/>
                  </a:lnTo>
                  <a:lnTo>
                    <a:pt x="343205" y="199530"/>
                  </a:lnTo>
                  <a:lnTo>
                    <a:pt x="343205" y="197447"/>
                  </a:lnTo>
                  <a:lnTo>
                    <a:pt x="343205" y="200876"/>
                  </a:lnTo>
                  <a:lnTo>
                    <a:pt x="343307" y="200228"/>
                  </a:lnTo>
                  <a:lnTo>
                    <a:pt x="343307" y="202260"/>
                  </a:lnTo>
                  <a:lnTo>
                    <a:pt x="343307" y="200876"/>
                  </a:lnTo>
                  <a:lnTo>
                    <a:pt x="343358" y="200876"/>
                  </a:lnTo>
                  <a:lnTo>
                    <a:pt x="343358" y="202260"/>
                  </a:lnTo>
                  <a:lnTo>
                    <a:pt x="343358" y="200876"/>
                  </a:lnTo>
                  <a:lnTo>
                    <a:pt x="343358" y="202260"/>
                  </a:lnTo>
                  <a:lnTo>
                    <a:pt x="343358" y="200876"/>
                  </a:lnTo>
                  <a:lnTo>
                    <a:pt x="343408" y="200876"/>
                  </a:lnTo>
                  <a:lnTo>
                    <a:pt x="343408" y="200228"/>
                  </a:lnTo>
                  <a:lnTo>
                    <a:pt x="343408" y="200876"/>
                  </a:lnTo>
                  <a:lnTo>
                    <a:pt x="343408" y="200228"/>
                  </a:lnTo>
                  <a:lnTo>
                    <a:pt x="343408" y="200876"/>
                  </a:lnTo>
                  <a:lnTo>
                    <a:pt x="343447" y="200228"/>
                  </a:lnTo>
                  <a:lnTo>
                    <a:pt x="343447" y="200876"/>
                  </a:lnTo>
                  <a:lnTo>
                    <a:pt x="343447" y="200228"/>
                  </a:lnTo>
                  <a:lnTo>
                    <a:pt x="343447" y="200876"/>
                  </a:lnTo>
                  <a:lnTo>
                    <a:pt x="343447" y="200228"/>
                  </a:lnTo>
                  <a:lnTo>
                    <a:pt x="343548" y="200228"/>
                  </a:lnTo>
                  <a:lnTo>
                    <a:pt x="343548" y="200876"/>
                  </a:lnTo>
                  <a:lnTo>
                    <a:pt x="343548" y="200228"/>
                  </a:lnTo>
                  <a:lnTo>
                    <a:pt x="343599" y="200228"/>
                  </a:lnTo>
                  <a:lnTo>
                    <a:pt x="343599" y="198831"/>
                  </a:lnTo>
                  <a:lnTo>
                    <a:pt x="343599" y="199530"/>
                  </a:lnTo>
                  <a:lnTo>
                    <a:pt x="343650" y="198831"/>
                  </a:lnTo>
                  <a:lnTo>
                    <a:pt x="343650" y="197447"/>
                  </a:lnTo>
                  <a:lnTo>
                    <a:pt x="343650" y="200228"/>
                  </a:lnTo>
                  <a:lnTo>
                    <a:pt x="343650" y="198831"/>
                  </a:lnTo>
                  <a:lnTo>
                    <a:pt x="343751" y="198831"/>
                  </a:lnTo>
                  <a:lnTo>
                    <a:pt x="343751" y="197447"/>
                  </a:lnTo>
                  <a:lnTo>
                    <a:pt x="343751" y="200228"/>
                  </a:lnTo>
                  <a:lnTo>
                    <a:pt x="343751" y="199530"/>
                  </a:lnTo>
                  <a:lnTo>
                    <a:pt x="343802" y="199530"/>
                  </a:lnTo>
                  <a:lnTo>
                    <a:pt x="343802" y="200876"/>
                  </a:lnTo>
                  <a:lnTo>
                    <a:pt x="343802" y="200228"/>
                  </a:lnTo>
                  <a:lnTo>
                    <a:pt x="343802" y="200876"/>
                  </a:lnTo>
                  <a:lnTo>
                    <a:pt x="343853" y="200876"/>
                  </a:lnTo>
                  <a:lnTo>
                    <a:pt x="343853" y="200228"/>
                  </a:lnTo>
                  <a:lnTo>
                    <a:pt x="343853" y="200876"/>
                  </a:lnTo>
                  <a:lnTo>
                    <a:pt x="343853" y="200228"/>
                  </a:lnTo>
                  <a:lnTo>
                    <a:pt x="343853" y="200876"/>
                  </a:lnTo>
                  <a:lnTo>
                    <a:pt x="343904" y="200876"/>
                  </a:lnTo>
                  <a:lnTo>
                    <a:pt x="343904" y="202260"/>
                  </a:lnTo>
                  <a:lnTo>
                    <a:pt x="343993" y="202260"/>
                  </a:lnTo>
                  <a:lnTo>
                    <a:pt x="343993" y="200876"/>
                  </a:lnTo>
                  <a:lnTo>
                    <a:pt x="343993" y="202260"/>
                  </a:lnTo>
                  <a:lnTo>
                    <a:pt x="343993" y="200876"/>
                  </a:lnTo>
                  <a:lnTo>
                    <a:pt x="344043" y="200876"/>
                  </a:lnTo>
                  <a:lnTo>
                    <a:pt x="344043" y="200228"/>
                  </a:lnTo>
                  <a:lnTo>
                    <a:pt x="344094" y="200228"/>
                  </a:lnTo>
                  <a:lnTo>
                    <a:pt x="344094" y="197447"/>
                  </a:lnTo>
                  <a:lnTo>
                    <a:pt x="344145" y="196799"/>
                  </a:lnTo>
                  <a:lnTo>
                    <a:pt x="344145" y="198831"/>
                  </a:lnTo>
                  <a:lnTo>
                    <a:pt x="344145" y="197447"/>
                  </a:lnTo>
                  <a:lnTo>
                    <a:pt x="344145" y="198831"/>
                  </a:lnTo>
                  <a:lnTo>
                    <a:pt x="344247" y="198831"/>
                  </a:lnTo>
                  <a:lnTo>
                    <a:pt x="344247" y="200876"/>
                  </a:lnTo>
                  <a:lnTo>
                    <a:pt x="344247" y="199530"/>
                  </a:lnTo>
                  <a:lnTo>
                    <a:pt x="344247" y="200228"/>
                  </a:lnTo>
                  <a:lnTo>
                    <a:pt x="344297" y="200228"/>
                  </a:lnTo>
                  <a:lnTo>
                    <a:pt x="344297" y="200876"/>
                  </a:lnTo>
                  <a:lnTo>
                    <a:pt x="344297" y="200228"/>
                  </a:lnTo>
                  <a:lnTo>
                    <a:pt x="344297" y="200876"/>
                  </a:lnTo>
                  <a:lnTo>
                    <a:pt x="344348" y="200876"/>
                  </a:lnTo>
                  <a:lnTo>
                    <a:pt x="344348" y="200228"/>
                  </a:lnTo>
                  <a:lnTo>
                    <a:pt x="344348" y="200876"/>
                  </a:lnTo>
                  <a:lnTo>
                    <a:pt x="344348" y="200228"/>
                  </a:lnTo>
                  <a:lnTo>
                    <a:pt x="344348" y="200876"/>
                  </a:lnTo>
                  <a:lnTo>
                    <a:pt x="344450" y="200876"/>
                  </a:lnTo>
                  <a:lnTo>
                    <a:pt x="344450" y="200228"/>
                  </a:lnTo>
                  <a:lnTo>
                    <a:pt x="344450" y="202260"/>
                  </a:lnTo>
                  <a:lnTo>
                    <a:pt x="344488" y="202260"/>
                  </a:lnTo>
                  <a:lnTo>
                    <a:pt x="344488" y="200228"/>
                  </a:lnTo>
                  <a:lnTo>
                    <a:pt x="344488" y="200876"/>
                  </a:lnTo>
                  <a:lnTo>
                    <a:pt x="344539" y="200876"/>
                  </a:lnTo>
                  <a:lnTo>
                    <a:pt x="344539" y="200228"/>
                  </a:lnTo>
                  <a:lnTo>
                    <a:pt x="344539" y="200876"/>
                  </a:lnTo>
                  <a:lnTo>
                    <a:pt x="344539" y="200228"/>
                  </a:lnTo>
                  <a:lnTo>
                    <a:pt x="344539" y="200876"/>
                  </a:lnTo>
                  <a:lnTo>
                    <a:pt x="344539" y="199530"/>
                  </a:lnTo>
                  <a:lnTo>
                    <a:pt x="344590" y="199530"/>
                  </a:lnTo>
                  <a:lnTo>
                    <a:pt x="344590" y="198831"/>
                  </a:lnTo>
                  <a:lnTo>
                    <a:pt x="344590" y="199530"/>
                  </a:lnTo>
                  <a:lnTo>
                    <a:pt x="344590" y="196799"/>
                  </a:lnTo>
                  <a:lnTo>
                    <a:pt x="344691" y="196799"/>
                  </a:lnTo>
                  <a:lnTo>
                    <a:pt x="344691" y="196113"/>
                  </a:lnTo>
                  <a:lnTo>
                    <a:pt x="344691" y="197447"/>
                  </a:lnTo>
                  <a:lnTo>
                    <a:pt x="344691" y="196113"/>
                  </a:lnTo>
                  <a:lnTo>
                    <a:pt x="344742" y="196113"/>
                  </a:lnTo>
                  <a:lnTo>
                    <a:pt x="344742" y="200228"/>
                  </a:lnTo>
                  <a:lnTo>
                    <a:pt x="344742" y="197447"/>
                  </a:lnTo>
                  <a:lnTo>
                    <a:pt x="344793" y="198831"/>
                  </a:lnTo>
                  <a:lnTo>
                    <a:pt x="344793" y="200228"/>
                  </a:lnTo>
                  <a:lnTo>
                    <a:pt x="344793" y="199530"/>
                  </a:lnTo>
                  <a:lnTo>
                    <a:pt x="344793" y="200228"/>
                  </a:lnTo>
                  <a:lnTo>
                    <a:pt x="344793" y="199530"/>
                  </a:lnTo>
                  <a:lnTo>
                    <a:pt x="344793" y="200228"/>
                  </a:lnTo>
                  <a:lnTo>
                    <a:pt x="344894" y="199530"/>
                  </a:lnTo>
                  <a:lnTo>
                    <a:pt x="344894" y="200228"/>
                  </a:lnTo>
                  <a:lnTo>
                    <a:pt x="344894" y="199530"/>
                  </a:lnTo>
                  <a:lnTo>
                    <a:pt x="344894" y="200228"/>
                  </a:lnTo>
                  <a:lnTo>
                    <a:pt x="344894" y="199530"/>
                  </a:lnTo>
                  <a:lnTo>
                    <a:pt x="344894" y="200228"/>
                  </a:lnTo>
                  <a:lnTo>
                    <a:pt x="344945" y="200228"/>
                  </a:lnTo>
                  <a:lnTo>
                    <a:pt x="344945" y="200876"/>
                  </a:lnTo>
                  <a:lnTo>
                    <a:pt x="344945" y="200228"/>
                  </a:lnTo>
                  <a:lnTo>
                    <a:pt x="344945" y="200876"/>
                  </a:lnTo>
                  <a:lnTo>
                    <a:pt x="344996" y="200876"/>
                  </a:lnTo>
                  <a:lnTo>
                    <a:pt x="344996" y="202260"/>
                  </a:lnTo>
                  <a:lnTo>
                    <a:pt x="344996" y="200876"/>
                  </a:lnTo>
                  <a:lnTo>
                    <a:pt x="345034" y="202260"/>
                  </a:lnTo>
                  <a:lnTo>
                    <a:pt x="345034" y="200876"/>
                  </a:lnTo>
                  <a:lnTo>
                    <a:pt x="345034" y="202260"/>
                  </a:lnTo>
                  <a:lnTo>
                    <a:pt x="345034" y="200228"/>
                  </a:lnTo>
                  <a:lnTo>
                    <a:pt x="345136" y="199530"/>
                  </a:lnTo>
                  <a:lnTo>
                    <a:pt x="345136" y="200228"/>
                  </a:lnTo>
                  <a:lnTo>
                    <a:pt x="345136" y="199530"/>
                  </a:lnTo>
                  <a:lnTo>
                    <a:pt x="345136" y="200228"/>
                  </a:lnTo>
                  <a:lnTo>
                    <a:pt x="345136" y="197447"/>
                  </a:lnTo>
                  <a:lnTo>
                    <a:pt x="345187" y="197447"/>
                  </a:lnTo>
                  <a:lnTo>
                    <a:pt x="345187" y="199530"/>
                  </a:lnTo>
                  <a:lnTo>
                    <a:pt x="345187" y="196799"/>
                  </a:lnTo>
                  <a:lnTo>
                    <a:pt x="345187" y="200228"/>
                  </a:lnTo>
                  <a:lnTo>
                    <a:pt x="345237" y="200228"/>
                  </a:lnTo>
                  <a:lnTo>
                    <a:pt x="345237" y="198831"/>
                  </a:lnTo>
                  <a:lnTo>
                    <a:pt x="345237" y="199530"/>
                  </a:lnTo>
                  <a:lnTo>
                    <a:pt x="345237" y="198831"/>
                  </a:lnTo>
                  <a:lnTo>
                    <a:pt x="345237" y="200876"/>
                  </a:lnTo>
                  <a:lnTo>
                    <a:pt x="345339" y="200876"/>
                  </a:lnTo>
                  <a:lnTo>
                    <a:pt x="345339" y="199530"/>
                  </a:lnTo>
                  <a:lnTo>
                    <a:pt x="345339" y="200228"/>
                  </a:lnTo>
                  <a:lnTo>
                    <a:pt x="345390" y="200228"/>
                  </a:lnTo>
                  <a:lnTo>
                    <a:pt x="345390" y="199530"/>
                  </a:lnTo>
                  <a:lnTo>
                    <a:pt x="345390" y="200228"/>
                  </a:lnTo>
                  <a:lnTo>
                    <a:pt x="345390" y="199530"/>
                  </a:lnTo>
                  <a:lnTo>
                    <a:pt x="345390" y="200228"/>
                  </a:lnTo>
                  <a:lnTo>
                    <a:pt x="345441" y="200228"/>
                  </a:lnTo>
                  <a:lnTo>
                    <a:pt x="345441" y="199530"/>
                  </a:lnTo>
                  <a:lnTo>
                    <a:pt x="345441" y="200228"/>
                  </a:lnTo>
                  <a:lnTo>
                    <a:pt x="345441" y="199530"/>
                  </a:lnTo>
                  <a:lnTo>
                    <a:pt x="345441" y="200876"/>
                  </a:lnTo>
                  <a:lnTo>
                    <a:pt x="345441" y="200228"/>
                  </a:lnTo>
                  <a:lnTo>
                    <a:pt x="345491" y="200228"/>
                  </a:lnTo>
                  <a:lnTo>
                    <a:pt x="345491" y="200876"/>
                  </a:lnTo>
                  <a:lnTo>
                    <a:pt x="345491" y="200228"/>
                  </a:lnTo>
                  <a:lnTo>
                    <a:pt x="345491" y="200876"/>
                  </a:lnTo>
                  <a:lnTo>
                    <a:pt x="345491" y="200228"/>
                  </a:lnTo>
                  <a:lnTo>
                    <a:pt x="345580" y="200228"/>
                  </a:lnTo>
                  <a:lnTo>
                    <a:pt x="345580" y="199530"/>
                  </a:lnTo>
                  <a:lnTo>
                    <a:pt x="345580" y="200228"/>
                  </a:lnTo>
                  <a:lnTo>
                    <a:pt x="345580" y="199530"/>
                  </a:lnTo>
                  <a:lnTo>
                    <a:pt x="345631" y="198831"/>
                  </a:lnTo>
                  <a:lnTo>
                    <a:pt x="345631" y="200228"/>
                  </a:lnTo>
                  <a:lnTo>
                    <a:pt x="345631" y="199530"/>
                  </a:lnTo>
                  <a:lnTo>
                    <a:pt x="345682" y="200228"/>
                  </a:lnTo>
                  <a:lnTo>
                    <a:pt x="345682" y="202260"/>
                  </a:lnTo>
                  <a:lnTo>
                    <a:pt x="345682" y="200876"/>
                  </a:lnTo>
                  <a:lnTo>
                    <a:pt x="345733" y="200876"/>
                  </a:lnTo>
                  <a:lnTo>
                    <a:pt x="345733" y="202260"/>
                  </a:lnTo>
                  <a:lnTo>
                    <a:pt x="345733" y="200876"/>
                  </a:lnTo>
                  <a:lnTo>
                    <a:pt x="345834" y="200228"/>
                  </a:lnTo>
                  <a:lnTo>
                    <a:pt x="345834" y="202260"/>
                  </a:lnTo>
                  <a:lnTo>
                    <a:pt x="345834" y="200876"/>
                  </a:lnTo>
                  <a:lnTo>
                    <a:pt x="345834" y="202260"/>
                  </a:lnTo>
                  <a:lnTo>
                    <a:pt x="345834" y="200876"/>
                  </a:lnTo>
                  <a:lnTo>
                    <a:pt x="345834" y="202260"/>
                  </a:lnTo>
                  <a:lnTo>
                    <a:pt x="345834" y="200876"/>
                  </a:lnTo>
                  <a:lnTo>
                    <a:pt x="345885" y="200876"/>
                  </a:lnTo>
                  <a:lnTo>
                    <a:pt x="345885" y="202260"/>
                  </a:lnTo>
                  <a:lnTo>
                    <a:pt x="345885" y="200876"/>
                  </a:lnTo>
                  <a:lnTo>
                    <a:pt x="345885" y="202260"/>
                  </a:lnTo>
                  <a:lnTo>
                    <a:pt x="345936" y="202260"/>
                  </a:lnTo>
                  <a:lnTo>
                    <a:pt x="345936" y="200876"/>
                  </a:lnTo>
                  <a:lnTo>
                    <a:pt x="345936" y="202260"/>
                  </a:lnTo>
                  <a:lnTo>
                    <a:pt x="345936" y="200876"/>
                  </a:lnTo>
                  <a:lnTo>
                    <a:pt x="345936" y="202260"/>
                  </a:lnTo>
                  <a:lnTo>
                    <a:pt x="346037" y="202260"/>
                  </a:lnTo>
                  <a:lnTo>
                    <a:pt x="346037" y="200876"/>
                  </a:lnTo>
                  <a:lnTo>
                    <a:pt x="346037" y="202260"/>
                  </a:lnTo>
                  <a:lnTo>
                    <a:pt x="346037" y="200876"/>
                  </a:lnTo>
                  <a:lnTo>
                    <a:pt x="346037" y="202260"/>
                  </a:lnTo>
                  <a:lnTo>
                    <a:pt x="346037" y="200228"/>
                  </a:lnTo>
                  <a:lnTo>
                    <a:pt x="346037" y="200876"/>
                  </a:lnTo>
                  <a:lnTo>
                    <a:pt x="346076" y="200228"/>
                  </a:lnTo>
                  <a:lnTo>
                    <a:pt x="346076" y="198831"/>
                  </a:lnTo>
                  <a:lnTo>
                    <a:pt x="346126" y="198831"/>
                  </a:lnTo>
                  <a:lnTo>
                    <a:pt x="346126" y="200228"/>
                  </a:lnTo>
                  <a:lnTo>
                    <a:pt x="346126" y="198831"/>
                  </a:lnTo>
                  <a:lnTo>
                    <a:pt x="346177" y="198831"/>
                  </a:lnTo>
                  <a:lnTo>
                    <a:pt x="346177" y="200876"/>
                  </a:lnTo>
                  <a:lnTo>
                    <a:pt x="346279" y="200228"/>
                  </a:lnTo>
                  <a:lnTo>
                    <a:pt x="346279" y="202260"/>
                  </a:lnTo>
                  <a:lnTo>
                    <a:pt x="346279" y="200876"/>
                  </a:lnTo>
                  <a:lnTo>
                    <a:pt x="346330" y="200876"/>
                  </a:lnTo>
                  <a:lnTo>
                    <a:pt x="346330" y="202260"/>
                  </a:lnTo>
                  <a:lnTo>
                    <a:pt x="346330" y="200876"/>
                  </a:lnTo>
                  <a:lnTo>
                    <a:pt x="346330" y="202260"/>
                  </a:lnTo>
                  <a:lnTo>
                    <a:pt x="346330" y="200876"/>
                  </a:lnTo>
                  <a:lnTo>
                    <a:pt x="346330" y="202260"/>
                  </a:lnTo>
                  <a:lnTo>
                    <a:pt x="346380" y="202260"/>
                  </a:lnTo>
                  <a:lnTo>
                    <a:pt x="346380" y="200876"/>
                  </a:lnTo>
                  <a:lnTo>
                    <a:pt x="346482" y="200876"/>
                  </a:lnTo>
                  <a:lnTo>
                    <a:pt x="346482" y="202260"/>
                  </a:lnTo>
                  <a:lnTo>
                    <a:pt x="346482" y="200876"/>
                  </a:lnTo>
                  <a:lnTo>
                    <a:pt x="346482" y="202260"/>
                  </a:lnTo>
                  <a:lnTo>
                    <a:pt x="346482" y="200876"/>
                  </a:lnTo>
                  <a:lnTo>
                    <a:pt x="346482" y="202260"/>
                  </a:lnTo>
                  <a:lnTo>
                    <a:pt x="346482" y="200876"/>
                  </a:lnTo>
                  <a:lnTo>
                    <a:pt x="346533" y="200876"/>
                  </a:lnTo>
                  <a:lnTo>
                    <a:pt x="346533" y="200228"/>
                  </a:lnTo>
                  <a:lnTo>
                    <a:pt x="346533" y="200876"/>
                  </a:lnTo>
                  <a:lnTo>
                    <a:pt x="346533" y="200228"/>
                  </a:lnTo>
                  <a:lnTo>
                    <a:pt x="346533" y="200876"/>
                  </a:lnTo>
                  <a:lnTo>
                    <a:pt x="346533" y="199530"/>
                  </a:lnTo>
                  <a:lnTo>
                    <a:pt x="346533" y="200228"/>
                  </a:lnTo>
                  <a:lnTo>
                    <a:pt x="346533" y="199530"/>
                  </a:lnTo>
                  <a:lnTo>
                    <a:pt x="346533" y="200228"/>
                  </a:lnTo>
                  <a:lnTo>
                    <a:pt x="346533" y="199530"/>
                  </a:lnTo>
                  <a:lnTo>
                    <a:pt x="346533" y="200228"/>
                  </a:lnTo>
                  <a:lnTo>
                    <a:pt x="346583" y="199530"/>
                  </a:lnTo>
                  <a:lnTo>
                    <a:pt x="346583" y="196799"/>
                  </a:lnTo>
                  <a:lnTo>
                    <a:pt x="346622" y="197447"/>
                  </a:lnTo>
                  <a:lnTo>
                    <a:pt x="346622" y="199530"/>
                  </a:lnTo>
                  <a:lnTo>
                    <a:pt x="346622" y="198831"/>
                  </a:lnTo>
                  <a:lnTo>
                    <a:pt x="346723" y="199530"/>
                  </a:lnTo>
                  <a:lnTo>
                    <a:pt x="346723" y="200876"/>
                  </a:lnTo>
                  <a:lnTo>
                    <a:pt x="346723" y="200228"/>
                  </a:lnTo>
                  <a:lnTo>
                    <a:pt x="346723" y="200876"/>
                  </a:lnTo>
                  <a:lnTo>
                    <a:pt x="346723" y="199530"/>
                  </a:lnTo>
                  <a:lnTo>
                    <a:pt x="346723" y="200876"/>
                  </a:lnTo>
                  <a:lnTo>
                    <a:pt x="346774" y="200876"/>
                  </a:lnTo>
                  <a:lnTo>
                    <a:pt x="346774" y="202260"/>
                  </a:lnTo>
                  <a:lnTo>
                    <a:pt x="346774" y="200228"/>
                  </a:lnTo>
                  <a:lnTo>
                    <a:pt x="346774" y="200876"/>
                  </a:lnTo>
                  <a:lnTo>
                    <a:pt x="346774" y="200228"/>
                  </a:lnTo>
                  <a:lnTo>
                    <a:pt x="346774" y="200876"/>
                  </a:lnTo>
                  <a:lnTo>
                    <a:pt x="346825" y="200876"/>
                  </a:lnTo>
                  <a:lnTo>
                    <a:pt x="346825" y="200228"/>
                  </a:lnTo>
                  <a:lnTo>
                    <a:pt x="346825" y="200876"/>
                  </a:lnTo>
                  <a:lnTo>
                    <a:pt x="346825" y="200228"/>
                  </a:lnTo>
                  <a:lnTo>
                    <a:pt x="346825" y="202260"/>
                  </a:lnTo>
                  <a:lnTo>
                    <a:pt x="346926" y="202260"/>
                  </a:lnTo>
                  <a:lnTo>
                    <a:pt x="346926" y="200876"/>
                  </a:lnTo>
                  <a:lnTo>
                    <a:pt x="346926" y="202260"/>
                  </a:lnTo>
                  <a:lnTo>
                    <a:pt x="346926" y="200876"/>
                  </a:lnTo>
                  <a:lnTo>
                    <a:pt x="346926" y="202260"/>
                  </a:lnTo>
                  <a:lnTo>
                    <a:pt x="346926" y="200876"/>
                  </a:lnTo>
                  <a:lnTo>
                    <a:pt x="346926" y="202959"/>
                  </a:lnTo>
                  <a:lnTo>
                    <a:pt x="346977" y="202959"/>
                  </a:lnTo>
                  <a:lnTo>
                    <a:pt x="346977" y="202260"/>
                  </a:lnTo>
                  <a:lnTo>
                    <a:pt x="346977" y="202959"/>
                  </a:lnTo>
                  <a:lnTo>
                    <a:pt x="346977" y="202260"/>
                  </a:lnTo>
                  <a:lnTo>
                    <a:pt x="347028" y="202260"/>
                  </a:lnTo>
                  <a:lnTo>
                    <a:pt x="347028" y="200876"/>
                  </a:lnTo>
                  <a:lnTo>
                    <a:pt x="347028" y="202260"/>
                  </a:lnTo>
                  <a:lnTo>
                    <a:pt x="347028" y="199530"/>
                  </a:lnTo>
                  <a:lnTo>
                    <a:pt x="347028" y="200228"/>
                  </a:lnTo>
                  <a:lnTo>
                    <a:pt x="347028" y="199530"/>
                  </a:lnTo>
                  <a:lnTo>
                    <a:pt x="347079" y="200228"/>
                  </a:lnTo>
                  <a:lnTo>
                    <a:pt x="347079" y="197447"/>
                  </a:lnTo>
                  <a:lnTo>
                    <a:pt x="347079" y="198831"/>
                  </a:lnTo>
                  <a:lnTo>
                    <a:pt x="347168" y="199530"/>
                  </a:lnTo>
                  <a:lnTo>
                    <a:pt x="347168" y="198831"/>
                  </a:lnTo>
                  <a:lnTo>
                    <a:pt x="347168" y="199530"/>
                  </a:lnTo>
                  <a:lnTo>
                    <a:pt x="347168" y="198831"/>
                  </a:lnTo>
                  <a:lnTo>
                    <a:pt x="347168" y="200228"/>
                  </a:lnTo>
                  <a:lnTo>
                    <a:pt x="347218" y="200228"/>
                  </a:lnTo>
                  <a:lnTo>
                    <a:pt x="347218" y="200876"/>
                  </a:lnTo>
                  <a:lnTo>
                    <a:pt x="347218" y="199530"/>
                  </a:lnTo>
                  <a:lnTo>
                    <a:pt x="347218" y="200228"/>
                  </a:lnTo>
                  <a:lnTo>
                    <a:pt x="347269" y="200228"/>
                  </a:lnTo>
                  <a:lnTo>
                    <a:pt x="347269" y="200876"/>
                  </a:lnTo>
                  <a:lnTo>
                    <a:pt x="347320" y="200228"/>
                  </a:lnTo>
                  <a:lnTo>
                    <a:pt x="347320" y="200876"/>
                  </a:lnTo>
                  <a:lnTo>
                    <a:pt x="347422" y="200876"/>
                  </a:lnTo>
                  <a:lnTo>
                    <a:pt x="347422" y="202260"/>
                  </a:lnTo>
                  <a:lnTo>
                    <a:pt x="347422" y="200876"/>
                  </a:lnTo>
                  <a:lnTo>
                    <a:pt x="347422" y="202260"/>
                  </a:lnTo>
                  <a:lnTo>
                    <a:pt x="347422" y="200876"/>
                  </a:lnTo>
                  <a:lnTo>
                    <a:pt x="347472" y="200876"/>
                  </a:lnTo>
                  <a:lnTo>
                    <a:pt x="347472" y="202260"/>
                  </a:lnTo>
                  <a:lnTo>
                    <a:pt x="347472" y="200876"/>
                  </a:lnTo>
                  <a:lnTo>
                    <a:pt x="347472" y="202260"/>
                  </a:lnTo>
                  <a:lnTo>
                    <a:pt x="347472" y="200228"/>
                  </a:lnTo>
                  <a:lnTo>
                    <a:pt x="347523" y="200876"/>
                  </a:lnTo>
                  <a:lnTo>
                    <a:pt x="347523" y="199530"/>
                  </a:lnTo>
                  <a:lnTo>
                    <a:pt x="347625" y="199530"/>
                  </a:lnTo>
                  <a:lnTo>
                    <a:pt x="347625" y="197447"/>
                  </a:lnTo>
                  <a:lnTo>
                    <a:pt x="347625" y="198831"/>
                  </a:lnTo>
                  <a:lnTo>
                    <a:pt x="347625" y="197447"/>
                  </a:lnTo>
                  <a:lnTo>
                    <a:pt x="347625" y="200228"/>
                  </a:lnTo>
                  <a:lnTo>
                    <a:pt x="347663" y="199530"/>
                  </a:lnTo>
                  <a:lnTo>
                    <a:pt x="347663" y="197447"/>
                  </a:lnTo>
                  <a:lnTo>
                    <a:pt x="347663" y="198831"/>
                  </a:lnTo>
                  <a:lnTo>
                    <a:pt x="347663" y="197447"/>
                  </a:lnTo>
                  <a:lnTo>
                    <a:pt x="347663" y="200876"/>
                  </a:lnTo>
                  <a:lnTo>
                    <a:pt x="347714" y="200228"/>
                  </a:lnTo>
                  <a:lnTo>
                    <a:pt x="347714" y="198831"/>
                  </a:lnTo>
                  <a:lnTo>
                    <a:pt x="347714" y="200876"/>
                  </a:lnTo>
                  <a:lnTo>
                    <a:pt x="347714" y="200228"/>
                  </a:lnTo>
                  <a:lnTo>
                    <a:pt x="347714" y="200876"/>
                  </a:lnTo>
                  <a:lnTo>
                    <a:pt x="347765" y="200876"/>
                  </a:lnTo>
                  <a:lnTo>
                    <a:pt x="347765" y="199530"/>
                  </a:lnTo>
                  <a:lnTo>
                    <a:pt x="347765" y="200228"/>
                  </a:lnTo>
                  <a:lnTo>
                    <a:pt x="347866" y="200228"/>
                  </a:lnTo>
                  <a:lnTo>
                    <a:pt x="347866" y="200876"/>
                  </a:lnTo>
                  <a:lnTo>
                    <a:pt x="347866" y="200228"/>
                  </a:lnTo>
                  <a:lnTo>
                    <a:pt x="347866" y="200876"/>
                  </a:lnTo>
                  <a:lnTo>
                    <a:pt x="347917" y="200876"/>
                  </a:lnTo>
                  <a:lnTo>
                    <a:pt x="347917" y="202260"/>
                  </a:lnTo>
                  <a:lnTo>
                    <a:pt x="347917" y="200876"/>
                  </a:lnTo>
                  <a:lnTo>
                    <a:pt x="347917" y="202260"/>
                  </a:lnTo>
                  <a:lnTo>
                    <a:pt x="347917" y="200876"/>
                  </a:lnTo>
                  <a:lnTo>
                    <a:pt x="347968" y="200876"/>
                  </a:lnTo>
                  <a:lnTo>
                    <a:pt x="347968" y="202260"/>
                  </a:lnTo>
                  <a:lnTo>
                    <a:pt x="347968" y="200876"/>
                  </a:lnTo>
                  <a:lnTo>
                    <a:pt x="347968" y="202260"/>
                  </a:lnTo>
                  <a:lnTo>
                    <a:pt x="347968" y="200876"/>
                  </a:lnTo>
                  <a:lnTo>
                    <a:pt x="347968" y="202260"/>
                  </a:lnTo>
                  <a:lnTo>
                    <a:pt x="347968" y="200228"/>
                  </a:lnTo>
                  <a:lnTo>
                    <a:pt x="348069" y="200228"/>
                  </a:lnTo>
                  <a:lnTo>
                    <a:pt x="348069" y="199530"/>
                  </a:lnTo>
                  <a:lnTo>
                    <a:pt x="348120" y="198831"/>
                  </a:lnTo>
                  <a:lnTo>
                    <a:pt x="348120" y="199530"/>
                  </a:lnTo>
                  <a:lnTo>
                    <a:pt x="348120" y="196799"/>
                  </a:lnTo>
                  <a:lnTo>
                    <a:pt x="348120" y="198831"/>
                  </a:lnTo>
                  <a:lnTo>
                    <a:pt x="348120" y="197447"/>
                  </a:lnTo>
                  <a:lnTo>
                    <a:pt x="348171" y="197447"/>
                  </a:lnTo>
                  <a:lnTo>
                    <a:pt x="348171" y="196799"/>
                  </a:lnTo>
                  <a:lnTo>
                    <a:pt x="348171" y="199530"/>
                  </a:lnTo>
                  <a:lnTo>
                    <a:pt x="348209" y="199530"/>
                  </a:lnTo>
                  <a:lnTo>
                    <a:pt x="348209" y="198831"/>
                  </a:lnTo>
                  <a:lnTo>
                    <a:pt x="348209" y="199530"/>
                  </a:lnTo>
                  <a:lnTo>
                    <a:pt x="348209" y="198831"/>
                  </a:lnTo>
                  <a:lnTo>
                    <a:pt x="348311" y="198831"/>
                  </a:lnTo>
                  <a:lnTo>
                    <a:pt x="348311" y="200228"/>
                  </a:lnTo>
                  <a:lnTo>
                    <a:pt x="348311" y="199530"/>
                  </a:lnTo>
                  <a:lnTo>
                    <a:pt x="348362" y="199530"/>
                  </a:lnTo>
                  <a:lnTo>
                    <a:pt x="348362" y="200876"/>
                  </a:lnTo>
                  <a:lnTo>
                    <a:pt x="348362" y="200228"/>
                  </a:lnTo>
                  <a:lnTo>
                    <a:pt x="348362" y="200876"/>
                  </a:lnTo>
                  <a:lnTo>
                    <a:pt x="348362" y="199530"/>
                  </a:lnTo>
                  <a:lnTo>
                    <a:pt x="348362" y="200228"/>
                  </a:lnTo>
                  <a:lnTo>
                    <a:pt x="348412" y="200228"/>
                  </a:lnTo>
                  <a:lnTo>
                    <a:pt x="348412" y="200876"/>
                  </a:lnTo>
                  <a:lnTo>
                    <a:pt x="348412" y="200228"/>
                  </a:lnTo>
                  <a:lnTo>
                    <a:pt x="348514" y="200228"/>
                  </a:lnTo>
                  <a:lnTo>
                    <a:pt x="348514" y="200876"/>
                  </a:lnTo>
                  <a:lnTo>
                    <a:pt x="348514" y="200228"/>
                  </a:lnTo>
                  <a:lnTo>
                    <a:pt x="348514" y="200876"/>
                  </a:lnTo>
                  <a:lnTo>
                    <a:pt x="348514" y="200228"/>
                  </a:lnTo>
                  <a:lnTo>
                    <a:pt x="348514" y="200876"/>
                  </a:lnTo>
                  <a:lnTo>
                    <a:pt x="348514" y="199530"/>
                  </a:lnTo>
                  <a:lnTo>
                    <a:pt x="348565" y="199530"/>
                  </a:lnTo>
                  <a:lnTo>
                    <a:pt x="348565" y="198831"/>
                  </a:lnTo>
                  <a:lnTo>
                    <a:pt x="348616" y="198831"/>
                  </a:lnTo>
                  <a:lnTo>
                    <a:pt x="348616" y="197447"/>
                  </a:lnTo>
                  <a:lnTo>
                    <a:pt x="348616" y="200228"/>
                  </a:lnTo>
                  <a:lnTo>
                    <a:pt x="348616" y="197447"/>
                  </a:lnTo>
                  <a:lnTo>
                    <a:pt x="348666" y="197447"/>
                  </a:lnTo>
                  <a:lnTo>
                    <a:pt x="348666" y="200876"/>
                  </a:lnTo>
                  <a:lnTo>
                    <a:pt x="348666" y="199530"/>
                  </a:lnTo>
                  <a:lnTo>
                    <a:pt x="348755" y="199530"/>
                  </a:lnTo>
                  <a:lnTo>
                    <a:pt x="348755" y="200876"/>
                  </a:lnTo>
                  <a:lnTo>
                    <a:pt x="348755" y="199530"/>
                  </a:lnTo>
                  <a:lnTo>
                    <a:pt x="348755" y="200228"/>
                  </a:lnTo>
                  <a:lnTo>
                    <a:pt x="348806" y="200228"/>
                  </a:lnTo>
                  <a:lnTo>
                    <a:pt x="348806" y="200876"/>
                  </a:lnTo>
                  <a:lnTo>
                    <a:pt x="348806" y="200228"/>
                  </a:lnTo>
                  <a:lnTo>
                    <a:pt x="348806" y="200876"/>
                  </a:lnTo>
                  <a:lnTo>
                    <a:pt x="348806" y="200228"/>
                  </a:lnTo>
                  <a:lnTo>
                    <a:pt x="348806" y="200876"/>
                  </a:lnTo>
                  <a:lnTo>
                    <a:pt x="348806" y="200228"/>
                  </a:lnTo>
                  <a:lnTo>
                    <a:pt x="348857" y="200228"/>
                  </a:lnTo>
                  <a:lnTo>
                    <a:pt x="348857" y="200876"/>
                  </a:lnTo>
                  <a:lnTo>
                    <a:pt x="348908" y="200876"/>
                  </a:lnTo>
                  <a:lnTo>
                    <a:pt x="348908" y="202260"/>
                  </a:lnTo>
                  <a:lnTo>
                    <a:pt x="348908" y="200876"/>
                  </a:lnTo>
                  <a:lnTo>
                    <a:pt x="349009" y="200876"/>
                  </a:lnTo>
                  <a:lnTo>
                    <a:pt x="349009" y="202260"/>
                  </a:lnTo>
                  <a:lnTo>
                    <a:pt x="349009" y="200228"/>
                  </a:lnTo>
                  <a:lnTo>
                    <a:pt x="349060" y="200228"/>
                  </a:lnTo>
                  <a:lnTo>
                    <a:pt x="349060" y="199530"/>
                  </a:lnTo>
                  <a:lnTo>
                    <a:pt x="349060" y="200228"/>
                  </a:lnTo>
                  <a:lnTo>
                    <a:pt x="349060" y="198831"/>
                  </a:lnTo>
                  <a:lnTo>
                    <a:pt x="349060" y="199530"/>
                  </a:lnTo>
                  <a:lnTo>
                    <a:pt x="349111" y="200228"/>
                  </a:lnTo>
                  <a:lnTo>
                    <a:pt x="349111" y="199530"/>
                  </a:lnTo>
                  <a:lnTo>
                    <a:pt x="349111" y="202260"/>
                  </a:lnTo>
                  <a:lnTo>
                    <a:pt x="349212" y="202959"/>
                  </a:lnTo>
                  <a:lnTo>
                    <a:pt x="349212" y="200228"/>
                  </a:lnTo>
                  <a:lnTo>
                    <a:pt x="349212" y="202260"/>
                  </a:lnTo>
                  <a:lnTo>
                    <a:pt x="349251" y="202260"/>
                  </a:lnTo>
                  <a:lnTo>
                    <a:pt x="349251" y="200876"/>
                  </a:lnTo>
                  <a:lnTo>
                    <a:pt x="349251" y="202260"/>
                  </a:lnTo>
                  <a:lnTo>
                    <a:pt x="349301" y="202260"/>
                  </a:lnTo>
                  <a:lnTo>
                    <a:pt x="349301" y="200876"/>
                  </a:lnTo>
                  <a:lnTo>
                    <a:pt x="349301" y="202260"/>
                  </a:lnTo>
                  <a:lnTo>
                    <a:pt x="349301" y="200876"/>
                  </a:lnTo>
                  <a:lnTo>
                    <a:pt x="349301" y="202959"/>
                  </a:lnTo>
                  <a:lnTo>
                    <a:pt x="349301" y="202260"/>
                  </a:lnTo>
                  <a:lnTo>
                    <a:pt x="349352" y="202959"/>
                  </a:lnTo>
                  <a:lnTo>
                    <a:pt x="349352" y="200876"/>
                  </a:lnTo>
                  <a:lnTo>
                    <a:pt x="349352" y="202260"/>
                  </a:lnTo>
                  <a:lnTo>
                    <a:pt x="349352" y="200876"/>
                  </a:lnTo>
                  <a:lnTo>
                    <a:pt x="349352" y="202260"/>
                  </a:lnTo>
                  <a:lnTo>
                    <a:pt x="349352" y="200876"/>
                  </a:lnTo>
                  <a:lnTo>
                    <a:pt x="349454" y="200876"/>
                  </a:lnTo>
                  <a:lnTo>
                    <a:pt x="349454" y="202260"/>
                  </a:lnTo>
                  <a:lnTo>
                    <a:pt x="349454" y="200876"/>
                  </a:lnTo>
                  <a:lnTo>
                    <a:pt x="349454" y="202260"/>
                  </a:lnTo>
                  <a:lnTo>
                    <a:pt x="349454" y="200228"/>
                  </a:lnTo>
                  <a:lnTo>
                    <a:pt x="349454" y="200876"/>
                  </a:lnTo>
                  <a:lnTo>
                    <a:pt x="349454" y="200228"/>
                  </a:lnTo>
                  <a:lnTo>
                    <a:pt x="349505" y="200228"/>
                  </a:lnTo>
                  <a:lnTo>
                    <a:pt x="349505" y="199530"/>
                  </a:lnTo>
                  <a:lnTo>
                    <a:pt x="349505" y="200228"/>
                  </a:lnTo>
                  <a:lnTo>
                    <a:pt x="349505" y="198831"/>
                  </a:lnTo>
                  <a:lnTo>
                    <a:pt x="349505" y="199530"/>
                  </a:lnTo>
                  <a:lnTo>
                    <a:pt x="349505" y="198831"/>
                  </a:lnTo>
                  <a:lnTo>
                    <a:pt x="349555" y="198831"/>
                  </a:lnTo>
                  <a:lnTo>
                    <a:pt x="349555" y="197447"/>
                  </a:lnTo>
                  <a:lnTo>
                    <a:pt x="349555" y="200228"/>
                  </a:lnTo>
                  <a:lnTo>
                    <a:pt x="349657" y="200228"/>
                  </a:lnTo>
                  <a:lnTo>
                    <a:pt x="349657" y="198831"/>
                  </a:lnTo>
                  <a:lnTo>
                    <a:pt x="349657" y="202260"/>
                  </a:lnTo>
                  <a:lnTo>
                    <a:pt x="349657" y="200876"/>
                  </a:lnTo>
                  <a:lnTo>
                    <a:pt x="349657" y="202260"/>
                  </a:lnTo>
                  <a:lnTo>
                    <a:pt x="349657" y="200228"/>
                  </a:lnTo>
                  <a:lnTo>
                    <a:pt x="349708" y="200228"/>
                  </a:lnTo>
                  <a:lnTo>
                    <a:pt x="349708" y="202260"/>
                  </a:lnTo>
                  <a:lnTo>
                    <a:pt x="349708" y="200876"/>
                  </a:lnTo>
                  <a:lnTo>
                    <a:pt x="349758" y="200876"/>
                  </a:lnTo>
                  <a:lnTo>
                    <a:pt x="349758" y="200228"/>
                  </a:lnTo>
                  <a:lnTo>
                    <a:pt x="349758" y="202260"/>
                  </a:lnTo>
                  <a:lnTo>
                    <a:pt x="349758" y="200876"/>
                  </a:lnTo>
                  <a:lnTo>
                    <a:pt x="349797" y="200876"/>
                  </a:lnTo>
                  <a:lnTo>
                    <a:pt x="349797" y="202959"/>
                  </a:lnTo>
                  <a:lnTo>
                    <a:pt x="349797" y="202260"/>
                  </a:lnTo>
                  <a:lnTo>
                    <a:pt x="349797" y="202959"/>
                  </a:lnTo>
                  <a:lnTo>
                    <a:pt x="349898" y="202260"/>
                  </a:lnTo>
                  <a:lnTo>
                    <a:pt x="349898" y="200876"/>
                  </a:lnTo>
                  <a:lnTo>
                    <a:pt x="349898" y="202260"/>
                  </a:lnTo>
                  <a:lnTo>
                    <a:pt x="349898" y="200876"/>
                  </a:lnTo>
                  <a:lnTo>
                    <a:pt x="349949" y="200876"/>
                  </a:lnTo>
                  <a:lnTo>
                    <a:pt x="349949" y="202260"/>
                  </a:lnTo>
                  <a:lnTo>
                    <a:pt x="349949" y="200876"/>
                  </a:lnTo>
                  <a:lnTo>
                    <a:pt x="349949" y="202260"/>
                  </a:lnTo>
                  <a:lnTo>
                    <a:pt x="349949" y="200228"/>
                  </a:lnTo>
                  <a:lnTo>
                    <a:pt x="349949" y="200876"/>
                  </a:lnTo>
                  <a:lnTo>
                    <a:pt x="350000" y="200228"/>
                  </a:lnTo>
                  <a:lnTo>
                    <a:pt x="350000" y="199530"/>
                  </a:lnTo>
                  <a:lnTo>
                    <a:pt x="350000" y="200228"/>
                  </a:lnTo>
                  <a:lnTo>
                    <a:pt x="350000" y="198831"/>
                  </a:lnTo>
                  <a:lnTo>
                    <a:pt x="350101" y="198831"/>
                  </a:lnTo>
                  <a:lnTo>
                    <a:pt x="350101" y="200876"/>
                  </a:lnTo>
                  <a:lnTo>
                    <a:pt x="350101" y="198831"/>
                  </a:lnTo>
                  <a:lnTo>
                    <a:pt x="350152" y="198831"/>
                  </a:lnTo>
                  <a:lnTo>
                    <a:pt x="350152" y="202260"/>
                  </a:lnTo>
                  <a:lnTo>
                    <a:pt x="350152" y="199530"/>
                  </a:lnTo>
                  <a:lnTo>
                    <a:pt x="350152" y="200228"/>
                  </a:lnTo>
                  <a:lnTo>
                    <a:pt x="350203" y="200876"/>
                  </a:lnTo>
                  <a:lnTo>
                    <a:pt x="350203" y="202260"/>
                  </a:lnTo>
                  <a:lnTo>
                    <a:pt x="350203" y="200228"/>
                  </a:lnTo>
                  <a:lnTo>
                    <a:pt x="350203" y="200876"/>
                  </a:lnTo>
                  <a:lnTo>
                    <a:pt x="350203" y="200228"/>
                  </a:lnTo>
                  <a:lnTo>
                    <a:pt x="350203" y="200876"/>
                  </a:lnTo>
                  <a:lnTo>
                    <a:pt x="350254" y="200876"/>
                  </a:lnTo>
                  <a:lnTo>
                    <a:pt x="350254" y="202260"/>
                  </a:lnTo>
                  <a:lnTo>
                    <a:pt x="350254" y="200876"/>
                  </a:lnTo>
                  <a:lnTo>
                    <a:pt x="350254" y="202260"/>
                  </a:lnTo>
                  <a:lnTo>
                    <a:pt x="350343" y="202260"/>
                  </a:lnTo>
                  <a:lnTo>
                    <a:pt x="350343" y="202959"/>
                  </a:lnTo>
                  <a:lnTo>
                    <a:pt x="350343" y="202260"/>
                  </a:lnTo>
                  <a:lnTo>
                    <a:pt x="350343" y="202959"/>
                  </a:lnTo>
                  <a:lnTo>
                    <a:pt x="350393" y="202959"/>
                  </a:lnTo>
                  <a:lnTo>
                    <a:pt x="350393" y="200876"/>
                  </a:lnTo>
                  <a:lnTo>
                    <a:pt x="350393" y="202260"/>
                  </a:lnTo>
                  <a:lnTo>
                    <a:pt x="350393" y="200876"/>
                  </a:lnTo>
                  <a:lnTo>
                    <a:pt x="350444" y="200876"/>
                  </a:lnTo>
                  <a:lnTo>
                    <a:pt x="350444" y="202260"/>
                  </a:lnTo>
                  <a:lnTo>
                    <a:pt x="350444" y="200228"/>
                  </a:lnTo>
                  <a:lnTo>
                    <a:pt x="350495" y="200228"/>
                  </a:lnTo>
                  <a:lnTo>
                    <a:pt x="350495" y="196799"/>
                  </a:lnTo>
                  <a:lnTo>
                    <a:pt x="350597" y="196799"/>
                  </a:lnTo>
                  <a:lnTo>
                    <a:pt x="350597" y="199530"/>
                  </a:lnTo>
                  <a:lnTo>
                    <a:pt x="350597" y="197447"/>
                  </a:lnTo>
                  <a:lnTo>
                    <a:pt x="350597" y="199530"/>
                  </a:lnTo>
                  <a:lnTo>
                    <a:pt x="350647" y="199530"/>
                  </a:lnTo>
                  <a:lnTo>
                    <a:pt x="350647" y="200228"/>
                  </a:lnTo>
                  <a:lnTo>
                    <a:pt x="350647" y="198831"/>
                  </a:lnTo>
                  <a:lnTo>
                    <a:pt x="350647" y="200876"/>
                  </a:lnTo>
                  <a:lnTo>
                    <a:pt x="350698" y="200876"/>
                  </a:lnTo>
                  <a:lnTo>
                    <a:pt x="350698" y="199530"/>
                  </a:lnTo>
                  <a:lnTo>
                    <a:pt x="350698" y="200876"/>
                  </a:lnTo>
                  <a:lnTo>
                    <a:pt x="350698" y="200228"/>
                  </a:lnTo>
                  <a:lnTo>
                    <a:pt x="350698" y="200876"/>
                  </a:lnTo>
                  <a:lnTo>
                    <a:pt x="350800" y="200876"/>
                  </a:lnTo>
                  <a:lnTo>
                    <a:pt x="350800" y="202260"/>
                  </a:lnTo>
                  <a:lnTo>
                    <a:pt x="350800" y="200876"/>
                  </a:lnTo>
                  <a:lnTo>
                    <a:pt x="350800" y="202260"/>
                  </a:lnTo>
                  <a:lnTo>
                    <a:pt x="350800" y="200876"/>
                  </a:lnTo>
                  <a:lnTo>
                    <a:pt x="350800" y="202260"/>
                  </a:lnTo>
                  <a:lnTo>
                    <a:pt x="350889" y="202260"/>
                  </a:lnTo>
                  <a:lnTo>
                    <a:pt x="350889" y="200876"/>
                  </a:lnTo>
                  <a:lnTo>
                    <a:pt x="350889" y="202260"/>
                  </a:lnTo>
                  <a:lnTo>
                    <a:pt x="350889" y="200876"/>
                  </a:lnTo>
                  <a:lnTo>
                    <a:pt x="350889" y="202260"/>
                  </a:lnTo>
                  <a:lnTo>
                    <a:pt x="350889" y="200876"/>
                  </a:lnTo>
                  <a:lnTo>
                    <a:pt x="350940" y="202260"/>
                  </a:lnTo>
                  <a:lnTo>
                    <a:pt x="350940" y="200228"/>
                  </a:lnTo>
                  <a:lnTo>
                    <a:pt x="350940" y="200876"/>
                  </a:lnTo>
                  <a:lnTo>
                    <a:pt x="350940" y="200228"/>
                  </a:lnTo>
                  <a:lnTo>
                    <a:pt x="351041" y="200228"/>
                  </a:lnTo>
                  <a:lnTo>
                    <a:pt x="351041" y="199530"/>
                  </a:lnTo>
                  <a:lnTo>
                    <a:pt x="351041" y="200228"/>
                  </a:lnTo>
                  <a:lnTo>
                    <a:pt x="351041" y="198831"/>
                  </a:lnTo>
                  <a:lnTo>
                    <a:pt x="351041" y="199530"/>
                  </a:lnTo>
                  <a:lnTo>
                    <a:pt x="351041" y="198831"/>
                  </a:lnTo>
                  <a:lnTo>
                    <a:pt x="351041" y="199530"/>
                  </a:lnTo>
                  <a:lnTo>
                    <a:pt x="351092" y="199530"/>
                  </a:lnTo>
                  <a:lnTo>
                    <a:pt x="351092" y="197447"/>
                  </a:lnTo>
                  <a:lnTo>
                    <a:pt x="351092" y="200228"/>
                  </a:lnTo>
                  <a:lnTo>
                    <a:pt x="351143" y="200876"/>
                  </a:lnTo>
                  <a:lnTo>
                    <a:pt x="351143" y="197447"/>
                  </a:lnTo>
                  <a:lnTo>
                    <a:pt x="351143" y="198831"/>
                  </a:lnTo>
                  <a:lnTo>
                    <a:pt x="351143" y="197447"/>
                  </a:lnTo>
                  <a:lnTo>
                    <a:pt x="351143" y="200228"/>
                  </a:lnTo>
                  <a:lnTo>
                    <a:pt x="351244" y="200228"/>
                  </a:lnTo>
                  <a:lnTo>
                    <a:pt x="351244" y="199530"/>
                  </a:lnTo>
                  <a:lnTo>
                    <a:pt x="351244" y="200228"/>
                  </a:lnTo>
                  <a:lnTo>
                    <a:pt x="351295" y="200228"/>
                  </a:lnTo>
                  <a:lnTo>
                    <a:pt x="351295" y="199530"/>
                  </a:lnTo>
                  <a:lnTo>
                    <a:pt x="351295" y="200876"/>
                  </a:lnTo>
                  <a:lnTo>
                    <a:pt x="351346" y="200228"/>
                  </a:lnTo>
                  <a:lnTo>
                    <a:pt x="351346" y="200876"/>
                  </a:lnTo>
                  <a:lnTo>
                    <a:pt x="351346" y="200228"/>
                  </a:lnTo>
                  <a:lnTo>
                    <a:pt x="351346" y="202260"/>
                  </a:lnTo>
                  <a:lnTo>
                    <a:pt x="351346" y="200876"/>
                  </a:lnTo>
                  <a:lnTo>
                    <a:pt x="351384" y="200876"/>
                  </a:lnTo>
                  <a:lnTo>
                    <a:pt x="351384" y="200228"/>
                  </a:lnTo>
                  <a:lnTo>
                    <a:pt x="351384" y="200876"/>
                  </a:lnTo>
                  <a:lnTo>
                    <a:pt x="351384" y="200228"/>
                  </a:lnTo>
                  <a:lnTo>
                    <a:pt x="351384" y="200876"/>
                  </a:lnTo>
                  <a:lnTo>
                    <a:pt x="351384" y="200228"/>
                  </a:lnTo>
                  <a:lnTo>
                    <a:pt x="351384" y="200876"/>
                  </a:lnTo>
                  <a:lnTo>
                    <a:pt x="351384" y="200228"/>
                  </a:lnTo>
                  <a:lnTo>
                    <a:pt x="351486" y="200228"/>
                  </a:lnTo>
                  <a:lnTo>
                    <a:pt x="351486" y="199530"/>
                  </a:lnTo>
                  <a:lnTo>
                    <a:pt x="351486" y="200228"/>
                  </a:lnTo>
                  <a:lnTo>
                    <a:pt x="351486" y="199530"/>
                  </a:lnTo>
                  <a:lnTo>
                    <a:pt x="351486" y="200228"/>
                  </a:lnTo>
                  <a:lnTo>
                    <a:pt x="351486" y="199530"/>
                  </a:lnTo>
                  <a:lnTo>
                    <a:pt x="351537" y="199530"/>
                  </a:lnTo>
                  <a:lnTo>
                    <a:pt x="351537" y="197447"/>
                  </a:lnTo>
                  <a:lnTo>
                    <a:pt x="351537" y="200228"/>
                  </a:lnTo>
                  <a:lnTo>
                    <a:pt x="351537" y="199530"/>
                  </a:lnTo>
                  <a:lnTo>
                    <a:pt x="351587" y="199530"/>
                  </a:lnTo>
                  <a:lnTo>
                    <a:pt x="351587" y="197447"/>
                  </a:lnTo>
                  <a:lnTo>
                    <a:pt x="351587" y="202260"/>
                  </a:lnTo>
                  <a:lnTo>
                    <a:pt x="351587" y="199530"/>
                  </a:lnTo>
                  <a:lnTo>
                    <a:pt x="351689" y="199530"/>
                  </a:lnTo>
                  <a:lnTo>
                    <a:pt x="351689" y="202260"/>
                  </a:lnTo>
                  <a:lnTo>
                    <a:pt x="351689" y="200876"/>
                  </a:lnTo>
                  <a:lnTo>
                    <a:pt x="351689" y="202260"/>
                  </a:lnTo>
                  <a:lnTo>
                    <a:pt x="351689" y="200228"/>
                  </a:lnTo>
                  <a:lnTo>
                    <a:pt x="351689" y="200876"/>
                  </a:lnTo>
                  <a:lnTo>
                    <a:pt x="351689" y="200228"/>
                  </a:lnTo>
                  <a:lnTo>
                    <a:pt x="351740" y="200876"/>
                  </a:lnTo>
                  <a:lnTo>
                    <a:pt x="351740" y="200228"/>
                  </a:lnTo>
                  <a:lnTo>
                    <a:pt x="351740" y="200876"/>
                  </a:lnTo>
                  <a:lnTo>
                    <a:pt x="351791" y="200228"/>
                  </a:lnTo>
                  <a:lnTo>
                    <a:pt x="351791" y="202260"/>
                  </a:lnTo>
                  <a:lnTo>
                    <a:pt x="351791" y="200876"/>
                  </a:lnTo>
                  <a:lnTo>
                    <a:pt x="351841" y="200228"/>
                  </a:lnTo>
                  <a:lnTo>
                    <a:pt x="351841" y="202260"/>
                  </a:lnTo>
                  <a:lnTo>
                    <a:pt x="351841" y="200876"/>
                  </a:lnTo>
                  <a:lnTo>
                    <a:pt x="351930" y="200876"/>
                  </a:lnTo>
                  <a:lnTo>
                    <a:pt x="351930" y="200228"/>
                  </a:lnTo>
                  <a:lnTo>
                    <a:pt x="351930" y="200876"/>
                  </a:lnTo>
                  <a:lnTo>
                    <a:pt x="351930" y="200228"/>
                  </a:lnTo>
                  <a:lnTo>
                    <a:pt x="351930" y="200876"/>
                  </a:lnTo>
                  <a:lnTo>
                    <a:pt x="351930" y="200228"/>
                  </a:lnTo>
                  <a:lnTo>
                    <a:pt x="351981" y="200228"/>
                  </a:lnTo>
                  <a:lnTo>
                    <a:pt x="351981" y="199530"/>
                  </a:lnTo>
                  <a:lnTo>
                    <a:pt x="351981" y="200228"/>
                  </a:lnTo>
                  <a:lnTo>
                    <a:pt x="351981" y="198831"/>
                  </a:lnTo>
                  <a:lnTo>
                    <a:pt x="352032" y="198831"/>
                  </a:lnTo>
                  <a:lnTo>
                    <a:pt x="352032" y="199530"/>
                  </a:lnTo>
                  <a:lnTo>
                    <a:pt x="352032" y="198831"/>
                  </a:lnTo>
                  <a:lnTo>
                    <a:pt x="352032" y="199530"/>
                  </a:lnTo>
                  <a:lnTo>
                    <a:pt x="352083" y="199530"/>
                  </a:lnTo>
                  <a:lnTo>
                    <a:pt x="352083" y="198831"/>
                  </a:lnTo>
                  <a:lnTo>
                    <a:pt x="352083" y="200876"/>
                  </a:lnTo>
                  <a:lnTo>
                    <a:pt x="352083" y="200228"/>
                  </a:lnTo>
                  <a:lnTo>
                    <a:pt x="352184" y="199530"/>
                  </a:lnTo>
                  <a:lnTo>
                    <a:pt x="352184" y="200228"/>
                  </a:lnTo>
                  <a:lnTo>
                    <a:pt x="352184" y="199530"/>
                  </a:lnTo>
                  <a:lnTo>
                    <a:pt x="352184" y="200876"/>
                  </a:lnTo>
                  <a:lnTo>
                    <a:pt x="352235" y="200228"/>
                  </a:lnTo>
                  <a:lnTo>
                    <a:pt x="352235" y="200876"/>
                  </a:lnTo>
                  <a:lnTo>
                    <a:pt x="352235" y="200228"/>
                  </a:lnTo>
                  <a:lnTo>
                    <a:pt x="352235" y="200876"/>
                  </a:lnTo>
                  <a:lnTo>
                    <a:pt x="352235" y="200228"/>
                  </a:lnTo>
                  <a:lnTo>
                    <a:pt x="352286" y="200876"/>
                  </a:lnTo>
                  <a:lnTo>
                    <a:pt x="352426" y="200876"/>
                  </a:lnTo>
                  <a:lnTo>
                    <a:pt x="352426" y="199530"/>
                  </a:lnTo>
                  <a:lnTo>
                    <a:pt x="352426" y="200228"/>
                  </a:lnTo>
                  <a:lnTo>
                    <a:pt x="352426" y="199530"/>
                  </a:lnTo>
                  <a:lnTo>
                    <a:pt x="352476" y="199530"/>
                  </a:lnTo>
                  <a:lnTo>
                    <a:pt x="352476" y="196799"/>
                  </a:lnTo>
                  <a:lnTo>
                    <a:pt x="352527" y="196799"/>
                  </a:lnTo>
                  <a:lnTo>
                    <a:pt x="352527" y="198831"/>
                  </a:lnTo>
                  <a:lnTo>
                    <a:pt x="352527" y="196799"/>
                  </a:lnTo>
                  <a:lnTo>
                    <a:pt x="352527" y="197447"/>
                  </a:lnTo>
                  <a:lnTo>
                    <a:pt x="352629" y="197447"/>
                  </a:lnTo>
                  <a:lnTo>
                    <a:pt x="352629" y="200228"/>
                  </a:lnTo>
                  <a:lnTo>
                    <a:pt x="352629" y="199530"/>
                  </a:lnTo>
                  <a:lnTo>
                    <a:pt x="352629" y="200228"/>
                  </a:lnTo>
                  <a:lnTo>
                    <a:pt x="352629" y="198831"/>
                  </a:lnTo>
                  <a:lnTo>
                    <a:pt x="352629" y="199530"/>
                  </a:lnTo>
                  <a:lnTo>
                    <a:pt x="352680" y="199530"/>
                  </a:lnTo>
                  <a:lnTo>
                    <a:pt x="352680" y="200876"/>
                  </a:lnTo>
                  <a:lnTo>
                    <a:pt x="352680" y="199530"/>
                  </a:lnTo>
                  <a:lnTo>
                    <a:pt x="352680" y="200228"/>
                  </a:lnTo>
                  <a:lnTo>
                    <a:pt x="352730" y="200876"/>
                  </a:lnTo>
                  <a:lnTo>
                    <a:pt x="352730" y="200228"/>
                  </a:lnTo>
                  <a:lnTo>
                    <a:pt x="352730" y="200876"/>
                  </a:lnTo>
                  <a:lnTo>
                    <a:pt x="352730" y="200228"/>
                  </a:lnTo>
                  <a:lnTo>
                    <a:pt x="352730" y="200876"/>
                  </a:lnTo>
                  <a:lnTo>
                    <a:pt x="352730" y="200228"/>
                  </a:lnTo>
                  <a:lnTo>
                    <a:pt x="352730" y="200876"/>
                  </a:lnTo>
                  <a:lnTo>
                    <a:pt x="352832" y="200876"/>
                  </a:lnTo>
                  <a:lnTo>
                    <a:pt x="352832" y="200228"/>
                  </a:lnTo>
                  <a:lnTo>
                    <a:pt x="352832" y="200876"/>
                  </a:lnTo>
                  <a:lnTo>
                    <a:pt x="352883" y="200876"/>
                  </a:lnTo>
                  <a:lnTo>
                    <a:pt x="352883" y="200228"/>
                  </a:lnTo>
                  <a:lnTo>
                    <a:pt x="352883" y="200876"/>
                  </a:lnTo>
                  <a:lnTo>
                    <a:pt x="352883" y="200228"/>
                  </a:lnTo>
                  <a:lnTo>
                    <a:pt x="352883" y="200876"/>
                  </a:lnTo>
                  <a:lnTo>
                    <a:pt x="352933" y="200228"/>
                  </a:lnTo>
                  <a:lnTo>
                    <a:pt x="352933" y="199530"/>
                  </a:lnTo>
                  <a:lnTo>
                    <a:pt x="352933" y="200228"/>
                  </a:lnTo>
                  <a:lnTo>
                    <a:pt x="352933" y="199530"/>
                  </a:lnTo>
                  <a:lnTo>
                    <a:pt x="352972" y="199530"/>
                  </a:lnTo>
                  <a:lnTo>
                    <a:pt x="352972" y="197447"/>
                  </a:lnTo>
                  <a:lnTo>
                    <a:pt x="352972" y="198831"/>
                  </a:lnTo>
                  <a:lnTo>
                    <a:pt x="352972" y="197447"/>
                  </a:lnTo>
                  <a:lnTo>
                    <a:pt x="353073" y="196799"/>
                  </a:lnTo>
                  <a:lnTo>
                    <a:pt x="353073" y="198831"/>
                  </a:lnTo>
                  <a:lnTo>
                    <a:pt x="353073" y="196799"/>
                  </a:lnTo>
                  <a:lnTo>
                    <a:pt x="353124" y="196799"/>
                  </a:lnTo>
                  <a:lnTo>
                    <a:pt x="353124" y="199530"/>
                  </a:lnTo>
                  <a:lnTo>
                    <a:pt x="353124" y="198831"/>
                  </a:lnTo>
                  <a:lnTo>
                    <a:pt x="353175" y="198831"/>
                  </a:lnTo>
                  <a:lnTo>
                    <a:pt x="353175" y="200228"/>
                  </a:lnTo>
                  <a:lnTo>
                    <a:pt x="353175" y="199530"/>
                  </a:lnTo>
                  <a:lnTo>
                    <a:pt x="353175" y="200228"/>
                  </a:lnTo>
                  <a:lnTo>
                    <a:pt x="353276" y="200228"/>
                  </a:lnTo>
                  <a:lnTo>
                    <a:pt x="353276" y="199530"/>
                  </a:lnTo>
                  <a:lnTo>
                    <a:pt x="353276" y="200228"/>
                  </a:lnTo>
                  <a:lnTo>
                    <a:pt x="353327" y="200228"/>
                  </a:lnTo>
                  <a:lnTo>
                    <a:pt x="353327" y="200876"/>
                  </a:lnTo>
                  <a:lnTo>
                    <a:pt x="353327" y="200228"/>
                  </a:lnTo>
                  <a:lnTo>
                    <a:pt x="353327" y="200876"/>
                  </a:lnTo>
                  <a:lnTo>
                    <a:pt x="353327" y="200228"/>
                  </a:lnTo>
                  <a:lnTo>
                    <a:pt x="353327" y="200876"/>
                  </a:lnTo>
                  <a:lnTo>
                    <a:pt x="353378" y="200876"/>
                  </a:lnTo>
                  <a:lnTo>
                    <a:pt x="353378" y="202260"/>
                  </a:lnTo>
                  <a:lnTo>
                    <a:pt x="353378" y="200228"/>
                  </a:lnTo>
                  <a:lnTo>
                    <a:pt x="353378" y="200876"/>
                  </a:lnTo>
                  <a:lnTo>
                    <a:pt x="353378" y="200228"/>
                  </a:lnTo>
                  <a:lnTo>
                    <a:pt x="353378" y="200876"/>
                  </a:lnTo>
                  <a:lnTo>
                    <a:pt x="353378" y="200228"/>
                  </a:lnTo>
                  <a:lnTo>
                    <a:pt x="353429" y="200228"/>
                  </a:lnTo>
                  <a:lnTo>
                    <a:pt x="353429" y="200876"/>
                  </a:lnTo>
                  <a:lnTo>
                    <a:pt x="353429" y="199530"/>
                  </a:lnTo>
                  <a:lnTo>
                    <a:pt x="353429" y="200228"/>
                  </a:lnTo>
                  <a:lnTo>
                    <a:pt x="353429" y="199530"/>
                  </a:lnTo>
                  <a:lnTo>
                    <a:pt x="353518" y="199530"/>
                  </a:lnTo>
                  <a:lnTo>
                    <a:pt x="353518" y="197447"/>
                  </a:lnTo>
                  <a:lnTo>
                    <a:pt x="353518" y="198831"/>
                  </a:lnTo>
                  <a:lnTo>
                    <a:pt x="353518" y="196799"/>
                  </a:lnTo>
                  <a:lnTo>
                    <a:pt x="353568" y="196799"/>
                  </a:lnTo>
                  <a:lnTo>
                    <a:pt x="353568" y="195415"/>
                  </a:lnTo>
                  <a:lnTo>
                    <a:pt x="353568" y="196799"/>
                  </a:lnTo>
                  <a:lnTo>
                    <a:pt x="353619" y="196113"/>
                  </a:lnTo>
                  <a:lnTo>
                    <a:pt x="353619" y="195415"/>
                  </a:lnTo>
                  <a:lnTo>
                    <a:pt x="353619" y="198831"/>
                  </a:lnTo>
                  <a:lnTo>
                    <a:pt x="353619" y="197447"/>
                  </a:lnTo>
                  <a:lnTo>
                    <a:pt x="353670" y="197447"/>
                  </a:lnTo>
                  <a:lnTo>
                    <a:pt x="353670" y="199530"/>
                  </a:lnTo>
                  <a:lnTo>
                    <a:pt x="353670" y="198831"/>
                  </a:lnTo>
                  <a:lnTo>
                    <a:pt x="353670" y="199530"/>
                  </a:lnTo>
                  <a:lnTo>
                    <a:pt x="353670" y="198831"/>
                  </a:lnTo>
                  <a:lnTo>
                    <a:pt x="353772" y="198831"/>
                  </a:lnTo>
                  <a:lnTo>
                    <a:pt x="353772" y="199530"/>
                  </a:lnTo>
                  <a:lnTo>
                    <a:pt x="353772" y="198831"/>
                  </a:lnTo>
                  <a:lnTo>
                    <a:pt x="353772" y="199530"/>
                  </a:lnTo>
                  <a:lnTo>
                    <a:pt x="353772" y="198831"/>
                  </a:lnTo>
                  <a:lnTo>
                    <a:pt x="353772" y="199530"/>
                  </a:lnTo>
                  <a:lnTo>
                    <a:pt x="353822" y="199530"/>
                  </a:lnTo>
                  <a:lnTo>
                    <a:pt x="353822" y="200228"/>
                  </a:lnTo>
                  <a:lnTo>
                    <a:pt x="353873" y="200228"/>
                  </a:lnTo>
                  <a:lnTo>
                    <a:pt x="353873" y="200876"/>
                  </a:lnTo>
                  <a:lnTo>
                    <a:pt x="353873" y="200228"/>
                  </a:lnTo>
                  <a:lnTo>
                    <a:pt x="353873" y="200876"/>
                  </a:lnTo>
                  <a:lnTo>
                    <a:pt x="353873" y="200228"/>
                  </a:lnTo>
                  <a:lnTo>
                    <a:pt x="353873" y="200876"/>
                  </a:lnTo>
                  <a:lnTo>
                    <a:pt x="353975" y="200876"/>
                  </a:lnTo>
                  <a:lnTo>
                    <a:pt x="353975" y="199530"/>
                  </a:lnTo>
                  <a:lnTo>
                    <a:pt x="353975" y="200228"/>
                  </a:lnTo>
                  <a:lnTo>
                    <a:pt x="353975" y="199530"/>
                  </a:lnTo>
                  <a:lnTo>
                    <a:pt x="353975" y="200228"/>
                  </a:lnTo>
                  <a:lnTo>
                    <a:pt x="353975" y="199530"/>
                  </a:lnTo>
                  <a:lnTo>
                    <a:pt x="354013" y="199530"/>
                  </a:lnTo>
                  <a:lnTo>
                    <a:pt x="354013" y="197447"/>
                  </a:lnTo>
                  <a:lnTo>
                    <a:pt x="354064" y="196799"/>
                  </a:lnTo>
                  <a:lnTo>
                    <a:pt x="354064" y="198831"/>
                  </a:lnTo>
                  <a:lnTo>
                    <a:pt x="354064" y="196113"/>
                  </a:lnTo>
                  <a:lnTo>
                    <a:pt x="354064" y="196799"/>
                  </a:lnTo>
                  <a:lnTo>
                    <a:pt x="354115" y="196799"/>
                  </a:lnTo>
                  <a:lnTo>
                    <a:pt x="354115" y="199530"/>
                  </a:lnTo>
                  <a:lnTo>
                    <a:pt x="354115" y="198831"/>
                  </a:lnTo>
                  <a:lnTo>
                    <a:pt x="354115" y="199530"/>
                  </a:lnTo>
                  <a:lnTo>
                    <a:pt x="354115" y="197447"/>
                  </a:lnTo>
                  <a:lnTo>
                    <a:pt x="354216" y="197447"/>
                  </a:lnTo>
                  <a:lnTo>
                    <a:pt x="354216" y="198831"/>
                  </a:lnTo>
                  <a:lnTo>
                    <a:pt x="354216" y="197447"/>
                  </a:lnTo>
                  <a:lnTo>
                    <a:pt x="354216" y="198831"/>
                  </a:lnTo>
                  <a:lnTo>
                    <a:pt x="354267" y="198831"/>
                  </a:lnTo>
                  <a:lnTo>
                    <a:pt x="354267" y="199530"/>
                  </a:lnTo>
                  <a:lnTo>
                    <a:pt x="354267" y="197447"/>
                  </a:lnTo>
                  <a:lnTo>
                    <a:pt x="354267" y="199530"/>
                  </a:lnTo>
                  <a:lnTo>
                    <a:pt x="354267" y="198831"/>
                  </a:lnTo>
                  <a:lnTo>
                    <a:pt x="354318" y="198831"/>
                  </a:lnTo>
                  <a:lnTo>
                    <a:pt x="354318" y="199530"/>
                  </a:lnTo>
                  <a:lnTo>
                    <a:pt x="354318" y="198831"/>
                  </a:lnTo>
                  <a:lnTo>
                    <a:pt x="354318" y="200228"/>
                  </a:lnTo>
                  <a:lnTo>
                    <a:pt x="354419" y="199530"/>
                  </a:lnTo>
                  <a:lnTo>
                    <a:pt x="354419" y="200228"/>
                  </a:lnTo>
                  <a:lnTo>
                    <a:pt x="354419" y="199530"/>
                  </a:lnTo>
                  <a:lnTo>
                    <a:pt x="354419" y="200228"/>
                  </a:lnTo>
                  <a:lnTo>
                    <a:pt x="354419" y="199530"/>
                  </a:lnTo>
                  <a:lnTo>
                    <a:pt x="354419" y="200228"/>
                  </a:lnTo>
                  <a:lnTo>
                    <a:pt x="354419" y="199530"/>
                  </a:lnTo>
                  <a:lnTo>
                    <a:pt x="354419" y="200228"/>
                  </a:lnTo>
                  <a:lnTo>
                    <a:pt x="354419" y="199530"/>
                  </a:lnTo>
                  <a:lnTo>
                    <a:pt x="354419" y="200228"/>
                  </a:lnTo>
                  <a:lnTo>
                    <a:pt x="354419" y="199530"/>
                  </a:lnTo>
                  <a:lnTo>
                    <a:pt x="354470" y="199530"/>
                  </a:lnTo>
                  <a:lnTo>
                    <a:pt x="354470" y="198831"/>
                  </a:lnTo>
                  <a:lnTo>
                    <a:pt x="354470" y="199530"/>
                  </a:lnTo>
                  <a:lnTo>
                    <a:pt x="354521" y="199530"/>
                  </a:lnTo>
                  <a:lnTo>
                    <a:pt x="354521" y="196799"/>
                  </a:lnTo>
                  <a:lnTo>
                    <a:pt x="354521" y="198831"/>
                  </a:lnTo>
                  <a:lnTo>
                    <a:pt x="354559" y="198831"/>
                  </a:lnTo>
                  <a:lnTo>
                    <a:pt x="354559" y="199530"/>
                  </a:lnTo>
                  <a:lnTo>
                    <a:pt x="354559" y="196799"/>
                  </a:lnTo>
                  <a:lnTo>
                    <a:pt x="354559" y="200228"/>
                  </a:lnTo>
                  <a:lnTo>
                    <a:pt x="354661" y="200876"/>
                  </a:lnTo>
                  <a:lnTo>
                    <a:pt x="354661" y="198831"/>
                  </a:lnTo>
                  <a:lnTo>
                    <a:pt x="354661" y="200228"/>
                  </a:lnTo>
                  <a:lnTo>
                    <a:pt x="354712" y="200228"/>
                  </a:lnTo>
                  <a:lnTo>
                    <a:pt x="354712" y="199530"/>
                  </a:lnTo>
                  <a:lnTo>
                    <a:pt x="354712" y="200228"/>
                  </a:lnTo>
                  <a:lnTo>
                    <a:pt x="354712" y="199530"/>
                  </a:lnTo>
                  <a:lnTo>
                    <a:pt x="354712" y="200228"/>
                  </a:lnTo>
                  <a:lnTo>
                    <a:pt x="354762" y="200228"/>
                  </a:lnTo>
                  <a:lnTo>
                    <a:pt x="354762" y="199530"/>
                  </a:lnTo>
                  <a:lnTo>
                    <a:pt x="354762" y="200228"/>
                  </a:lnTo>
                  <a:lnTo>
                    <a:pt x="354864" y="200228"/>
                  </a:lnTo>
                  <a:lnTo>
                    <a:pt x="354864" y="199530"/>
                  </a:lnTo>
                  <a:lnTo>
                    <a:pt x="354864" y="200228"/>
                  </a:lnTo>
                  <a:lnTo>
                    <a:pt x="354915" y="200228"/>
                  </a:lnTo>
                  <a:lnTo>
                    <a:pt x="354915" y="200876"/>
                  </a:lnTo>
                  <a:lnTo>
                    <a:pt x="354915" y="199530"/>
                  </a:lnTo>
                  <a:lnTo>
                    <a:pt x="354966" y="199530"/>
                  </a:lnTo>
                  <a:lnTo>
                    <a:pt x="354966" y="200228"/>
                  </a:lnTo>
                  <a:lnTo>
                    <a:pt x="354966" y="199530"/>
                  </a:lnTo>
                  <a:lnTo>
                    <a:pt x="354966" y="200228"/>
                  </a:lnTo>
                  <a:lnTo>
                    <a:pt x="354966" y="199530"/>
                  </a:lnTo>
                  <a:lnTo>
                    <a:pt x="354966" y="200228"/>
                  </a:lnTo>
                  <a:lnTo>
                    <a:pt x="354966" y="199530"/>
                  </a:lnTo>
                  <a:lnTo>
                    <a:pt x="354966" y="200228"/>
                  </a:lnTo>
                  <a:lnTo>
                    <a:pt x="355016" y="200228"/>
                  </a:lnTo>
                  <a:lnTo>
                    <a:pt x="355016" y="197447"/>
                  </a:lnTo>
                  <a:lnTo>
                    <a:pt x="355016" y="200228"/>
                  </a:lnTo>
                  <a:lnTo>
                    <a:pt x="355105" y="199530"/>
                  </a:lnTo>
                  <a:lnTo>
                    <a:pt x="355105" y="198831"/>
                  </a:lnTo>
                  <a:lnTo>
                    <a:pt x="355105" y="200876"/>
                  </a:lnTo>
                  <a:lnTo>
                    <a:pt x="355156" y="200876"/>
                  </a:lnTo>
                  <a:lnTo>
                    <a:pt x="355156" y="200228"/>
                  </a:lnTo>
                  <a:lnTo>
                    <a:pt x="355156" y="200876"/>
                  </a:lnTo>
                  <a:lnTo>
                    <a:pt x="355207" y="200876"/>
                  </a:lnTo>
                  <a:lnTo>
                    <a:pt x="355207" y="200228"/>
                  </a:lnTo>
                  <a:lnTo>
                    <a:pt x="355207" y="200876"/>
                  </a:lnTo>
                  <a:lnTo>
                    <a:pt x="355207" y="200228"/>
                  </a:lnTo>
                  <a:lnTo>
                    <a:pt x="355258" y="200228"/>
                  </a:lnTo>
                  <a:lnTo>
                    <a:pt x="355258" y="200876"/>
                  </a:lnTo>
                  <a:lnTo>
                    <a:pt x="355258" y="200228"/>
                  </a:lnTo>
                  <a:lnTo>
                    <a:pt x="355258" y="200876"/>
                  </a:lnTo>
                  <a:lnTo>
                    <a:pt x="355258" y="200228"/>
                  </a:lnTo>
                  <a:lnTo>
                    <a:pt x="355258" y="200876"/>
                  </a:lnTo>
                  <a:lnTo>
                    <a:pt x="355410" y="200876"/>
                  </a:lnTo>
                  <a:lnTo>
                    <a:pt x="355410" y="200228"/>
                  </a:lnTo>
                  <a:lnTo>
                    <a:pt x="355410" y="200876"/>
                  </a:lnTo>
                  <a:lnTo>
                    <a:pt x="355410" y="199530"/>
                  </a:lnTo>
                  <a:lnTo>
                    <a:pt x="355410" y="200228"/>
                  </a:lnTo>
                  <a:lnTo>
                    <a:pt x="355461" y="200228"/>
                  </a:lnTo>
                  <a:lnTo>
                    <a:pt x="355461" y="198831"/>
                  </a:lnTo>
                  <a:lnTo>
                    <a:pt x="355461" y="199530"/>
                  </a:lnTo>
                  <a:lnTo>
                    <a:pt x="355562" y="198831"/>
                  </a:lnTo>
                  <a:lnTo>
                    <a:pt x="355562" y="196799"/>
                  </a:lnTo>
                  <a:lnTo>
                    <a:pt x="355562" y="199530"/>
                  </a:lnTo>
                  <a:lnTo>
                    <a:pt x="355562" y="198831"/>
                  </a:lnTo>
                  <a:lnTo>
                    <a:pt x="355601" y="198831"/>
                  </a:lnTo>
                  <a:lnTo>
                    <a:pt x="355601" y="197447"/>
                  </a:lnTo>
                  <a:lnTo>
                    <a:pt x="355601" y="200876"/>
                  </a:lnTo>
                  <a:lnTo>
                    <a:pt x="355601" y="200228"/>
                  </a:lnTo>
                  <a:lnTo>
                    <a:pt x="355601" y="200876"/>
                  </a:lnTo>
                  <a:lnTo>
                    <a:pt x="355601" y="200228"/>
                  </a:lnTo>
                  <a:lnTo>
                    <a:pt x="355651" y="199530"/>
                  </a:lnTo>
                  <a:lnTo>
                    <a:pt x="355651" y="200876"/>
                  </a:lnTo>
                  <a:lnTo>
                    <a:pt x="355651" y="200228"/>
                  </a:lnTo>
                  <a:lnTo>
                    <a:pt x="355702" y="199530"/>
                  </a:lnTo>
                  <a:lnTo>
                    <a:pt x="355702" y="202260"/>
                  </a:lnTo>
                  <a:lnTo>
                    <a:pt x="355702" y="200876"/>
                  </a:lnTo>
                  <a:lnTo>
                    <a:pt x="355804" y="200876"/>
                  </a:lnTo>
                  <a:lnTo>
                    <a:pt x="355804" y="202260"/>
                  </a:lnTo>
                  <a:lnTo>
                    <a:pt x="355804" y="200876"/>
                  </a:lnTo>
                  <a:lnTo>
                    <a:pt x="355855" y="200876"/>
                  </a:lnTo>
                  <a:lnTo>
                    <a:pt x="355855" y="202260"/>
                  </a:lnTo>
                  <a:lnTo>
                    <a:pt x="355855" y="200876"/>
                  </a:lnTo>
                  <a:lnTo>
                    <a:pt x="355855" y="202260"/>
                  </a:lnTo>
                  <a:lnTo>
                    <a:pt x="355855" y="200876"/>
                  </a:lnTo>
                  <a:lnTo>
                    <a:pt x="355855" y="202260"/>
                  </a:lnTo>
                  <a:lnTo>
                    <a:pt x="355855" y="200876"/>
                  </a:lnTo>
                  <a:lnTo>
                    <a:pt x="355905" y="200876"/>
                  </a:lnTo>
                  <a:lnTo>
                    <a:pt x="355905" y="200228"/>
                  </a:lnTo>
                  <a:lnTo>
                    <a:pt x="356007" y="200228"/>
                  </a:lnTo>
                  <a:lnTo>
                    <a:pt x="356007" y="198831"/>
                  </a:lnTo>
                  <a:lnTo>
                    <a:pt x="356058" y="198831"/>
                  </a:lnTo>
                  <a:lnTo>
                    <a:pt x="356058" y="200228"/>
                  </a:lnTo>
                  <a:lnTo>
                    <a:pt x="356108" y="200876"/>
                  </a:lnTo>
                  <a:lnTo>
                    <a:pt x="356108" y="202260"/>
                  </a:lnTo>
                  <a:lnTo>
                    <a:pt x="356108" y="200228"/>
                  </a:lnTo>
                  <a:lnTo>
                    <a:pt x="356108" y="202260"/>
                  </a:lnTo>
                  <a:lnTo>
                    <a:pt x="356147" y="202260"/>
                  </a:lnTo>
                  <a:lnTo>
                    <a:pt x="356147" y="200876"/>
                  </a:lnTo>
                  <a:lnTo>
                    <a:pt x="356147" y="202260"/>
                  </a:lnTo>
                  <a:lnTo>
                    <a:pt x="356147" y="200876"/>
                  </a:lnTo>
                  <a:lnTo>
                    <a:pt x="356147" y="202260"/>
                  </a:lnTo>
                  <a:lnTo>
                    <a:pt x="356147" y="200876"/>
                  </a:lnTo>
                  <a:lnTo>
                    <a:pt x="356248" y="200876"/>
                  </a:lnTo>
                  <a:lnTo>
                    <a:pt x="356248" y="202260"/>
                  </a:lnTo>
                  <a:lnTo>
                    <a:pt x="356248" y="200876"/>
                  </a:lnTo>
                  <a:lnTo>
                    <a:pt x="356248" y="202260"/>
                  </a:lnTo>
                  <a:lnTo>
                    <a:pt x="356248" y="200876"/>
                  </a:lnTo>
                  <a:lnTo>
                    <a:pt x="356248" y="202260"/>
                  </a:lnTo>
                  <a:lnTo>
                    <a:pt x="356248" y="200876"/>
                  </a:lnTo>
                  <a:lnTo>
                    <a:pt x="356248" y="202260"/>
                  </a:lnTo>
                  <a:lnTo>
                    <a:pt x="356248" y="200876"/>
                  </a:lnTo>
                  <a:lnTo>
                    <a:pt x="356248" y="202959"/>
                  </a:lnTo>
                  <a:lnTo>
                    <a:pt x="356299" y="202260"/>
                  </a:lnTo>
                  <a:lnTo>
                    <a:pt x="356299" y="200876"/>
                  </a:lnTo>
                  <a:lnTo>
                    <a:pt x="356299" y="202959"/>
                  </a:lnTo>
                  <a:lnTo>
                    <a:pt x="356299" y="202260"/>
                  </a:lnTo>
                  <a:lnTo>
                    <a:pt x="356299" y="202959"/>
                  </a:lnTo>
                  <a:lnTo>
                    <a:pt x="356350" y="202260"/>
                  </a:lnTo>
                  <a:lnTo>
                    <a:pt x="356350" y="200876"/>
                  </a:lnTo>
                  <a:lnTo>
                    <a:pt x="356350" y="202260"/>
                  </a:lnTo>
                  <a:lnTo>
                    <a:pt x="356350" y="200876"/>
                  </a:lnTo>
                  <a:lnTo>
                    <a:pt x="356350" y="202260"/>
                  </a:lnTo>
                  <a:lnTo>
                    <a:pt x="356350" y="200876"/>
                  </a:lnTo>
                  <a:lnTo>
                    <a:pt x="356451" y="202260"/>
                  </a:lnTo>
                  <a:lnTo>
                    <a:pt x="356451" y="200228"/>
                  </a:lnTo>
                  <a:lnTo>
                    <a:pt x="356451" y="200876"/>
                  </a:lnTo>
                  <a:lnTo>
                    <a:pt x="356451" y="199530"/>
                  </a:lnTo>
                  <a:lnTo>
                    <a:pt x="356451" y="200228"/>
                  </a:lnTo>
                  <a:lnTo>
                    <a:pt x="356502" y="199530"/>
                  </a:lnTo>
                  <a:lnTo>
                    <a:pt x="356502" y="196113"/>
                  </a:lnTo>
                  <a:lnTo>
                    <a:pt x="356553" y="196113"/>
                  </a:lnTo>
                  <a:lnTo>
                    <a:pt x="356553" y="198831"/>
                  </a:lnTo>
                  <a:lnTo>
                    <a:pt x="356553" y="196113"/>
                  </a:lnTo>
                  <a:lnTo>
                    <a:pt x="356553" y="196799"/>
                  </a:lnTo>
                  <a:lnTo>
                    <a:pt x="356604" y="196799"/>
                  </a:lnTo>
                  <a:lnTo>
                    <a:pt x="356604" y="200228"/>
                  </a:lnTo>
                  <a:lnTo>
                    <a:pt x="356604" y="197447"/>
                  </a:lnTo>
                  <a:lnTo>
                    <a:pt x="356604" y="198831"/>
                  </a:lnTo>
                  <a:lnTo>
                    <a:pt x="356693" y="199530"/>
                  </a:lnTo>
                  <a:lnTo>
                    <a:pt x="356693" y="200228"/>
                  </a:lnTo>
                  <a:lnTo>
                    <a:pt x="356693" y="199530"/>
                  </a:lnTo>
                  <a:lnTo>
                    <a:pt x="356693" y="200228"/>
                  </a:lnTo>
                  <a:lnTo>
                    <a:pt x="356743" y="200228"/>
                  </a:lnTo>
                  <a:lnTo>
                    <a:pt x="356743" y="200876"/>
                  </a:lnTo>
                  <a:lnTo>
                    <a:pt x="356743" y="200228"/>
                  </a:lnTo>
                  <a:lnTo>
                    <a:pt x="356743" y="200876"/>
                  </a:lnTo>
                  <a:lnTo>
                    <a:pt x="356743" y="200228"/>
                  </a:lnTo>
                  <a:lnTo>
                    <a:pt x="356743" y="200876"/>
                  </a:lnTo>
                  <a:lnTo>
                    <a:pt x="356794" y="200876"/>
                  </a:lnTo>
                  <a:lnTo>
                    <a:pt x="356794" y="202260"/>
                  </a:lnTo>
                  <a:lnTo>
                    <a:pt x="356794" y="200876"/>
                  </a:lnTo>
                  <a:lnTo>
                    <a:pt x="356794" y="202260"/>
                  </a:lnTo>
                  <a:lnTo>
                    <a:pt x="356845" y="202260"/>
                  </a:lnTo>
                  <a:lnTo>
                    <a:pt x="356845" y="200876"/>
                  </a:lnTo>
                  <a:lnTo>
                    <a:pt x="356845" y="202260"/>
                  </a:lnTo>
                  <a:lnTo>
                    <a:pt x="356845" y="200876"/>
                  </a:lnTo>
                  <a:lnTo>
                    <a:pt x="356845" y="202260"/>
                  </a:lnTo>
                  <a:lnTo>
                    <a:pt x="356947" y="202260"/>
                  </a:lnTo>
                  <a:lnTo>
                    <a:pt x="356947" y="199530"/>
                  </a:lnTo>
                  <a:lnTo>
                    <a:pt x="356947" y="200228"/>
                  </a:lnTo>
                  <a:lnTo>
                    <a:pt x="356997" y="200228"/>
                  </a:lnTo>
                  <a:lnTo>
                    <a:pt x="356997" y="197447"/>
                  </a:lnTo>
                  <a:lnTo>
                    <a:pt x="356997" y="198831"/>
                  </a:lnTo>
                  <a:lnTo>
                    <a:pt x="356997" y="197447"/>
                  </a:lnTo>
                  <a:lnTo>
                    <a:pt x="356997" y="198831"/>
                  </a:lnTo>
                  <a:lnTo>
                    <a:pt x="357048" y="198831"/>
                  </a:lnTo>
                  <a:lnTo>
                    <a:pt x="357048" y="199530"/>
                  </a:lnTo>
                  <a:lnTo>
                    <a:pt x="357048" y="196799"/>
                  </a:lnTo>
                  <a:lnTo>
                    <a:pt x="357048" y="199530"/>
                  </a:lnTo>
                  <a:lnTo>
                    <a:pt x="357150" y="200228"/>
                  </a:lnTo>
                  <a:lnTo>
                    <a:pt x="357150" y="198831"/>
                  </a:lnTo>
                  <a:lnTo>
                    <a:pt x="357150" y="200228"/>
                  </a:lnTo>
                  <a:lnTo>
                    <a:pt x="357188" y="199530"/>
                  </a:lnTo>
                  <a:lnTo>
                    <a:pt x="357188" y="200228"/>
                  </a:lnTo>
                  <a:lnTo>
                    <a:pt x="357188" y="199530"/>
                  </a:lnTo>
                  <a:lnTo>
                    <a:pt x="357188" y="200228"/>
                  </a:lnTo>
                  <a:lnTo>
                    <a:pt x="357188" y="198831"/>
                  </a:lnTo>
                  <a:lnTo>
                    <a:pt x="357239" y="198831"/>
                  </a:lnTo>
                  <a:lnTo>
                    <a:pt x="357239" y="200228"/>
                  </a:lnTo>
                  <a:lnTo>
                    <a:pt x="357290" y="200228"/>
                  </a:lnTo>
                  <a:lnTo>
                    <a:pt x="357290" y="200876"/>
                  </a:lnTo>
                  <a:lnTo>
                    <a:pt x="357391" y="200876"/>
                  </a:lnTo>
                  <a:lnTo>
                    <a:pt x="357391" y="200228"/>
                  </a:lnTo>
                  <a:lnTo>
                    <a:pt x="357391" y="202260"/>
                  </a:lnTo>
                  <a:lnTo>
                    <a:pt x="357391" y="200876"/>
                  </a:lnTo>
                  <a:lnTo>
                    <a:pt x="357391" y="202260"/>
                  </a:lnTo>
                  <a:lnTo>
                    <a:pt x="357391" y="200876"/>
                  </a:lnTo>
                  <a:lnTo>
                    <a:pt x="357442" y="200876"/>
                  </a:lnTo>
                  <a:lnTo>
                    <a:pt x="357442" y="200228"/>
                  </a:lnTo>
                  <a:lnTo>
                    <a:pt x="357493" y="200228"/>
                  </a:lnTo>
                  <a:lnTo>
                    <a:pt x="357493" y="198831"/>
                  </a:lnTo>
                  <a:lnTo>
                    <a:pt x="357493" y="200876"/>
                  </a:lnTo>
                  <a:lnTo>
                    <a:pt x="357493" y="200228"/>
                  </a:lnTo>
                  <a:lnTo>
                    <a:pt x="357594" y="200228"/>
                  </a:lnTo>
                  <a:lnTo>
                    <a:pt x="357594" y="199530"/>
                  </a:lnTo>
                  <a:lnTo>
                    <a:pt x="357594" y="202260"/>
                  </a:lnTo>
                  <a:lnTo>
                    <a:pt x="357645" y="200876"/>
                  </a:lnTo>
                  <a:lnTo>
                    <a:pt x="357645" y="202260"/>
                  </a:lnTo>
                  <a:lnTo>
                    <a:pt x="357645" y="200876"/>
                  </a:lnTo>
                  <a:lnTo>
                    <a:pt x="357696" y="200876"/>
                  </a:lnTo>
                  <a:lnTo>
                    <a:pt x="357696" y="202260"/>
                  </a:lnTo>
                  <a:lnTo>
                    <a:pt x="357696" y="200876"/>
                  </a:lnTo>
                  <a:lnTo>
                    <a:pt x="357734" y="200876"/>
                  </a:lnTo>
                  <a:lnTo>
                    <a:pt x="357734" y="202260"/>
                  </a:lnTo>
                  <a:lnTo>
                    <a:pt x="357734" y="200876"/>
                  </a:lnTo>
                  <a:lnTo>
                    <a:pt x="357734" y="202260"/>
                  </a:lnTo>
                  <a:lnTo>
                    <a:pt x="357836" y="202260"/>
                  </a:lnTo>
                  <a:lnTo>
                    <a:pt x="357836" y="200876"/>
                  </a:lnTo>
                  <a:lnTo>
                    <a:pt x="357887" y="202260"/>
                  </a:lnTo>
                  <a:lnTo>
                    <a:pt x="357887" y="200228"/>
                  </a:lnTo>
                  <a:lnTo>
                    <a:pt x="357887" y="200876"/>
                  </a:lnTo>
                  <a:lnTo>
                    <a:pt x="357887" y="200228"/>
                  </a:lnTo>
                  <a:lnTo>
                    <a:pt x="357887" y="200876"/>
                  </a:lnTo>
                  <a:lnTo>
                    <a:pt x="357887" y="200228"/>
                  </a:lnTo>
                  <a:lnTo>
                    <a:pt x="357937" y="200228"/>
                  </a:lnTo>
                  <a:lnTo>
                    <a:pt x="357937" y="198831"/>
                  </a:lnTo>
                  <a:lnTo>
                    <a:pt x="358039" y="199530"/>
                  </a:lnTo>
                  <a:lnTo>
                    <a:pt x="358039" y="200876"/>
                  </a:lnTo>
                  <a:lnTo>
                    <a:pt x="358039" y="200228"/>
                  </a:lnTo>
                  <a:lnTo>
                    <a:pt x="358039" y="202260"/>
                  </a:lnTo>
                  <a:lnTo>
                    <a:pt x="358090" y="202260"/>
                  </a:lnTo>
                  <a:lnTo>
                    <a:pt x="358090" y="202959"/>
                  </a:lnTo>
                  <a:lnTo>
                    <a:pt x="358090" y="202260"/>
                  </a:lnTo>
                  <a:lnTo>
                    <a:pt x="358090" y="202959"/>
                  </a:lnTo>
                  <a:lnTo>
                    <a:pt x="358141" y="202959"/>
                  </a:lnTo>
                  <a:lnTo>
                    <a:pt x="358141" y="203594"/>
                  </a:lnTo>
                  <a:lnTo>
                    <a:pt x="358141" y="202959"/>
                  </a:lnTo>
                  <a:lnTo>
                    <a:pt x="358141" y="203594"/>
                  </a:lnTo>
                  <a:lnTo>
                    <a:pt x="358141" y="202959"/>
                  </a:lnTo>
                  <a:lnTo>
                    <a:pt x="358141" y="203594"/>
                  </a:lnTo>
                  <a:lnTo>
                    <a:pt x="358141" y="202260"/>
                  </a:lnTo>
                  <a:lnTo>
                    <a:pt x="358191" y="202959"/>
                  </a:lnTo>
                  <a:lnTo>
                    <a:pt x="358191" y="202260"/>
                  </a:lnTo>
                  <a:lnTo>
                    <a:pt x="358280" y="202260"/>
                  </a:lnTo>
                  <a:lnTo>
                    <a:pt x="358280" y="202959"/>
                  </a:lnTo>
                  <a:lnTo>
                    <a:pt x="358280" y="202260"/>
                  </a:lnTo>
                  <a:lnTo>
                    <a:pt x="358280" y="202959"/>
                  </a:lnTo>
                  <a:lnTo>
                    <a:pt x="358280" y="202260"/>
                  </a:lnTo>
                  <a:lnTo>
                    <a:pt x="358331" y="202260"/>
                  </a:lnTo>
                  <a:lnTo>
                    <a:pt x="358331" y="200876"/>
                  </a:lnTo>
                  <a:lnTo>
                    <a:pt x="358382" y="200876"/>
                  </a:lnTo>
                  <a:lnTo>
                    <a:pt x="358382" y="198831"/>
                  </a:lnTo>
                  <a:lnTo>
                    <a:pt x="358433" y="199530"/>
                  </a:lnTo>
                  <a:lnTo>
                    <a:pt x="358433" y="197447"/>
                  </a:lnTo>
                  <a:lnTo>
                    <a:pt x="358433" y="200228"/>
                  </a:lnTo>
                  <a:lnTo>
                    <a:pt x="358433" y="199530"/>
                  </a:lnTo>
                  <a:lnTo>
                    <a:pt x="358534" y="199530"/>
                  </a:lnTo>
                  <a:lnTo>
                    <a:pt x="358534" y="202260"/>
                  </a:lnTo>
                  <a:lnTo>
                    <a:pt x="358534" y="200876"/>
                  </a:lnTo>
                  <a:lnTo>
                    <a:pt x="358585" y="200876"/>
                  </a:lnTo>
                  <a:lnTo>
                    <a:pt x="358585" y="202959"/>
                  </a:lnTo>
                  <a:lnTo>
                    <a:pt x="358585" y="202260"/>
                  </a:lnTo>
                  <a:lnTo>
                    <a:pt x="358585" y="202959"/>
                  </a:lnTo>
                  <a:lnTo>
                    <a:pt x="358585" y="202260"/>
                  </a:lnTo>
                  <a:lnTo>
                    <a:pt x="358636" y="202260"/>
                  </a:lnTo>
                  <a:lnTo>
                    <a:pt x="358636" y="202959"/>
                  </a:lnTo>
                  <a:lnTo>
                    <a:pt x="358636" y="202260"/>
                  </a:lnTo>
                  <a:lnTo>
                    <a:pt x="358636" y="202959"/>
                  </a:lnTo>
                  <a:lnTo>
                    <a:pt x="358636" y="202260"/>
                  </a:lnTo>
                  <a:lnTo>
                    <a:pt x="358636" y="202959"/>
                  </a:lnTo>
                  <a:lnTo>
                    <a:pt x="358737" y="202959"/>
                  </a:lnTo>
                  <a:lnTo>
                    <a:pt x="358737" y="203594"/>
                  </a:lnTo>
                  <a:lnTo>
                    <a:pt x="358776" y="202959"/>
                  </a:lnTo>
                  <a:lnTo>
                    <a:pt x="358776" y="203594"/>
                  </a:lnTo>
                  <a:lnTo>
                    <a:pt x="358776" y="202959"/>
                  </a:lnTo>
                  <a:lnTo>
                    <a:pt x="358776" y="203594"/>
                  </a:lnTo>
                  <a:lnTo>
                    <a:pt x="358776" y="202260"/>
                  </a:lnTo>
                  <a:lnTo>
                    <a:pt x="358826" y="202260"/>
                  </a:lnTo>
                  <a:lnTo>
                    <a:pt x="358826" y="202959"/>
                  </a:lnTo>
                  <a:lnTo>
                    <a:pt x="358826" y="200876"/>
                  </a:lnTo>
                  <a:lnTo>
                    <a:pt x="358826" y="202260"/>
                  </a:lnTo>
                  <a:lnTo>
                    <a:pt x="358826" y="200876"/>
                  </a:lnTo>
                  <a:lnTo>
                    <a:pt x="358877" y="200876"/>
                  </a:lnTo>
                  <a:lnTo>
                    <a:pt x="358877" y="198831"/>
                  </a:lnTo>
                  <a:lnTo>
                    <a:pt x="358979" y="198831"/>
                  </a:lnTo>
                  <a:lnTo>
                    <a:pt x="358979" y="199530"/>
                  </a:lnTo>
                  <a:lnTo>
                    <a:pt x="358979" y="198831"/>
                  </a:lnTo>
                  <a:lnTo>
                    <a:pt x="359030" y="199530"/>
                  </a:lnTo>
                  <a:lnTo>
                    <a:pt x="359030" y="202260"/>
                  </a:lnTo>
                  <a:lnTo>
                    <a:pt x="359030" y="200228"/>
                  </a:lnTo>
                  <a:lnTo>
                    <a:pt x="359030" y="200876"/>
                  </a:lnTo>
                  <a:lnTo>
                    <a:pt x="359080" y="200876"/>
                  </a:lnTo>
                  <a:lnTo>
                    <a:pt x="359080" y="202260"/>
                  </a:lnTo>
                  <a:lnTo>
                    <a:pt x="359080" y="200876"/>
                  </a:lnTo>
                  <a:lnTo>
                    <a:pt x="359080" y="202260"/>
                  </a:lnTo>
                  <a:lnTo>
                    <a:pt x="359182" y="202260"/>
                  </a:lnTo>
                  <a:lnTo>
                    <a:pt x="359182" y="202959"/>
                  </a:lnTo>
                  <a:lnTo>
                    <a:pt x="359182" y="202260"/>
                  </a:lnTo>
                  <a:lnTo>
                    <a:pt x="359233" y="202260"/>
                  </a:lnTo>
                  <a:lnTo>
                    <a:pt x="359233" y="202959"/>
                  </a:lnTo>
                  <a:lnTo>
                    <a:pt x="359233" y="202260"/>
                  </a:lnTo>
                  <a:lnTo>
                    <a:pt x="359233" y="202959"/>
                  </a:lnTo>
                  <a:lnTo>
                    <a:pt x="359233" y="202260"/>
                  </a:lnTo>
                  <a:lnTo>
                    <a:pt x="359233" y="202959"/>
                  </a:lnTo>
                  <a:lnTo>
                    <a:pt x="359283" y="202959"/>
                  </a:lnTo>
                  <a:lnTo>
                    <a:pt x="359283" y="202260"/>
                  </a:lnTo>
                  <a:lnTo>
                    <a:pt x="359283" y="202959"/>
                  </a:lnTo>
                  <a:lnTo>
                    <a:pt x="359283" y="202260"/>
                  </a:lnTo>
                  <a:lnTo>
                    <a:pt x="359322" y="202260"/>
                  </a:lnTo>
                  <a:lnTo>
                    <a:pt x="359322" y="200228"/>
                  </a:lnTo>
                  <a:lnTo>
                    <a:pt x="359322" y="200876"/>
                  </a:lnTo>
                  <a:lnTo>
                    <a:pt x="359322" y="200228"/>
                  </a:lnTo>
                  <a:lnTo>
                    <a:pt x="359423" y="200228"/>
                  </a:lnTo>
                  <a:lnTo>
                    <a:pt x="359423" y="199530"/>
                  </a:lnTo>
                  <a:lnTo>
                    <a:pt x="359423" y="200228"/>
                  </a:lnTo>
                  <a:lnTo>
                    <a:pt x="359423" y="197447"/>
                  </a:lnTo>
                  <a:lnTo>
                    <a:pt x="359474" y="197447"/>
                  </a:lnTo>
                  <a:lnTo>
                    <a:pt x="359474" y="200228"/>
                  </a:lnTo>
                  <a:lnTo>
                    <a:pt x="359474" y="196799"/>
                  </a:lnTo>
                  <a:lnTo>
                    <a:pt x="359474" y="198831"/>
                  </a:lnTo>
                  <a:lnTo>
                    <a:pt x="359525" y="199530"/>
                  </a:lnTo>
                  <a:lnTo>
                    <a:pt x="359525" y="200876"/>
                  </a:lnTo>
                  <a:lnTo>
                    <a:pt x="359525" y="199530"/>
                  </a:lnTo>
                  <a:lnTo>
                    <a:pt x="359525" y="200228"/>
                  </a:lnTo>
                  <a:lnTo>
                    <a:pt x="359626" y="200228"/>
                  </a:lnTo>
                  <a:lnTo>
                    <a:pt x="359626" y="200876"/>
                  </a:lnTo>
                  <a:lnTo>
                    <a:pt x="359626" y="199530"/>
                  </a:lnTo>
                  <a:lnTo>
                    <a:pt x="359626" y="200876"/>
                  </a:lnTo>
                  <a:lnTo>
                    <a:pt x="359677" y="200876"/>
                  </a:lnTo>
                  <a:lnTo>
                    <a:pt x="359677" y="200228"/>
                  </a:lnTo>
                  <a:lnTo>
                    <a:pt x="359677" y="202260"/>
                  </a:lnTo>
                  <a:lnTo>
                    <a:pt x="359728" y="200876"/>
                  </a:lnTo>
                  <a:lnTo>
                    <a:pt x="359728" y="202959"/>
                  </a:lnTo>
                  <a:lnTo>
                    <a:pt x="359728" y="202260"/>
                  </a:lnTo>
                  <a:lnTo>
                    <a:pt x="359779" y="202260"/>
                  </a:lnTo>
                  <a:lnTo>
                    <a:pt x="359779" y="200876"/>
                  </a:lnTo>
                  <a:lnTo>
                    <a:pt x="359779" y="202260"/>
                  </a:lnTo>
                  <a:lnTo>
                    <a:pt x="359868" y="202260"/>
                  </a:lnTo>
                  <a:lnTo>
                    <a:pt x="359868" y="200876"/>
                  </a:lnTo>
                  <a:lnTo>
                    <a:pt x="359868" y="202260"/>
                  </a:lnTo>
                  <a:lnTo>
                    <a:pt x="359868" y="200228"/>
                  </a:lnTo>
                  <a:lnTo>
                    <a:pt x="359918" y="200228"/>
                  </a:lnTo>
                  <a:lnTo>
                    <a:pt x="359918" y="197447"/>
                  </a:lnTo>
                  <a:lnTo>
                    <a:pt x="359969" y="197447"/>
                  </a:lnTo>
                  <a:lnTo>
                    <a:pt x="359969" y="198831"/>
                  </a:lnTo>
                  <a:lnTo>
                    <a:pt x="359969" y="196799"/>
                  </a:lnTo>
                  <a:lnTo>
                    <a:pt x="359969" y="199530"/>
                  </a:lnTo>
                  <a:lnTo>
                    <a:pt x="360020" y="200228"/>
                  </a:lnTo>
                  <a:lnTo>
                    <a:pt x="360020" y="200876"/>
                  </a:lnTo>
                  <a:lnTo>
                    <a:pt x="360020" y="197447"/>
                  </a:lnTo>
                  <a:lnTo>
                    <a:pt x="360020" y="199530"/>
                  </a:lnTo>
                  <a:lnTo>
                    <a:pt x="360122" y="199530"/>
                  </a:lnTo>
                  <a:lnTo>
                    <a:pt x="360122" y="200228"/>
                  </a:lnTo>
                  <a:lnTo>
                    <a:pt x="360122" y="198831"/>
                  </a:lnTo>
                  <a:lnTo>
                    <a:pt x="360122" y="200228"/>
                  </a:lnTo>
                  <a:lnTo>
                    <a:pt x="360172" y="200228"/>
                  </a:lnTo>
                  <a:lnTo>
                    <a:pt x="360172" y="198831"/>
                  </a:lnTo>
                  <a:lnTo>
                    <a:pt x="360172" y="200228"/>
                  </a:lnTo>
                  <a:lnTo>
                    <a:pt x="360223" y="200228"/>
                  </a:lnTo>
                  <a:lnTo>
                    <a:pt x="360223" y="199530"/>
                  </a:lnTo>
                  <a:lnTo>
                    <a:pt x="360223" y="200876"/>
                  </a:lnTo>
                  <a:lnTo>
                    <a:pt x="360223" y="200228"/>
                  </a:lnTo>
                  <a:lnTo>
                    <a:pt x="360223" y="200876"/>
                  </a:lnTo>
                  <a:lnTo>
                    <a:pt x="360325" y="200876"/>
                  </a:lnTo>
                  <a:lnTo>
                    <a:pt x="360325" y="200228"/>
                  </a:lnTo>
                  <a:lnTo>
                    <a:pt x="360325" y="200876"/>
                  </a:lnTo>
                  <a:lnTo>
                    <a:pt x="360325" y="200228"/>
                  </a:lnTo>
                  <a:lnTo>
                    <a:pt x="360325" y="200876"/>
                  </a:lnTo>
                  <a:lnTo>
                    <a:pt x="360325" y="200228"/>
                  </a:lnTo>
                  <a:lnTo>
                    <a:pt x="360363" y="200228"/>
                  </a:lnTo>
                  <a:lnTo>
                    <a:pt x="360363" y="200876"/>
                  </a:lnTo>
                  <a:lnTo>
                    <a:pt x="360363" y="200228"/>
                  </a:lnTo>
                  <a:lnTo>
                    <a:pt x="360414" y="199530"/>
                  </a:lnTo>
                  <a:lnTo>
                    <a:pt x="360414" y="197447"/>
                  </a:lnTo>
                  <a:lnTo>
                    <a:pt x="360414" y="199530"/>
                  </a:lnTo>
                  <a:lnTo>
                    <a:pt x="360465" y="199530"/>
                  </a:lnTo>
                  <a:lnTo>
                    <a:pt x="360465" y="197447"/>
                  </a:lnTo>
                  <a:lnTo>
                    <a:pt x="360465" y="202260"/>
                  </a:lnTo>
                  <a:lnTo>
                    <a:pt x="360465" y="200876"/>
                  </a:lnTo>
                  <a:lnTo>
                    <a:pt x="360566" y="200876"/>
                  </a:lnTo>
                  <a:lnTo>
                    <a:pt x="360566" y="198831"/>
                  </a:lnTo>
                  <a:lnTo>
                    <a:pt x="360566" y="200228"/>
                  </a:lnTo>
                  <a:lnTo>
                    <a:pt x="360617" y="200228"/>
                  </a:lnTo>
                  <a:lnTo>
                    <a:pt x="360617" y="199530"/>
                  </a:lnTo>
                  <a:lnTo>
                    <a:pt x="360617" y="200228"/>
                  </a:lnTo>
                  <a:lnTo>
                    <a:pt x="360668" y="200228"/>
                  </a:lnTo>
                  <a:lnTo>
                    <a:pt x="360668" y="200876"/>
                  </a:lnTo>
                  <a:lnTo>
                    <a:pt x="360668" y="200228"/>
                  </a:lnTo>
                  <a:lnTo>
                    <a:pt x="360668" y="200876"/>
                  </a:lnTo>
                  <a:lnTo>
                    <a:pt x="360769" y="200228"/>
                  </a:lnTo>
                  <a:lnTo>
                    <a:pt x="360769" y="200876"/>
                  </a:lnTo>
                  <a:lnTo>
                    <a:pt x="360769" y="200228"/>
                  </a:lnTo>
                  <a:lnTo>
                    <a:pt x="360769" y="202260"/>
                  </a:lnTo>
                  <a:lnTo>
                    <a:pt x="360769" y="200876"/>
                  </a:lnTo>
                  <a:lnTo>
                    <a:pt x="360769" y="202260"/>
                  </a:lnTo>
                  <a:lnTo>
                    <a:pt x="360769" y="200876"/>
                  </a:lnTo>
                  <a:lnTo>
                    <a:pt x="360769" y="202260"/>
                  </a:lnTo>
                  <a:lnTo>
                    <a:pt x="360769" y="200876"/>
                  </a:lnTo>
                  <a:lnTo>
                    <a:pt x="360820" y="200876"/>
                  </a:lnTo>
                  <a:lnTo>
                    <a:pt x="360820" y="202260"/>
                  </a:lnTo>
                  <a:lnTo>
                    <a:pt x="360820" y="200228"/>
                  </a:lnTo>
                  <a:lnTo>
                    <a:pt x="360871" y="200228"/>
                  </a:lnTo>
                  <a:lnTo>
                    <a:pt x="360871" y="199530"/>
                  </a:lnTo>
                  <a:lnTo>
                    <a:pt x="360871" y="200228"/>
                  </a:lnTo>
                  <a:lnTo>
                    <a:pt x="360871" y="199530"/>
                  </a:lnTo>
                  <a:lnTo>
                    <a:pt x="360909" y="199530"/>
                  </a:lnTo>
                  <a:lnTo>
                    <a:pt x="360909" y="197447"/>
                  </a:lnTo>
                  <a:lnTo>
                    <a:pt x="360909" y="200228"/>
                  </a:lnTo>
                  <a:lnTo>
                    <a:pt x="360909" y="199530"/>
                  </a:lnTo>
                  <a:lnTo>
                    <a:pt x="361011" y="199530"/>
                  </a:lnTo>
                  <a:lnTo>
                    <a:pt x="361011" y="198831"/>
                  </a:lnTo>
                  <a:lnTo>
                    <a:pt x="361011" y="202260"/>
                  </a:lnTo>
                  <a:lnTo>
                    <a:pt x="361011" y="200228"/>
                  </a:lnTo>
                  <a:lnTo>
                    <a:pt x="361062" y="200228"/>
                  </a:lnTo>
                  <a:lnTo>
                    <a:pt x="361062" y="199530"/>
                  </a:lnTo>
                  <a:lnTo>
                    <a:pt x="361062" y="200876"/>
                  </a:lnTo>
                  <a:lnTo>
                    <a:pt x="361062" y="200228"/>
                  </a:lnTo>
                  <a:lnTo>
                    <a:pt x="361112" y="200228"/>
                  </a:lnTo>
                  <a:lnTo>
                    <a:pt x="361112" y="200876"/>
                  </a:lnTo>
                  <a:lnTo>
                    <a:pt x="361112" y="200228"/>
                  </a:lnTo>
                  <a:lnTo>
                    <a:pt x="361112" y="200876"/>
                  </a:lnTo>
                  <a:lnTo>
                    <a:pt x="361112" y="200228"/>
                  </a:lnTo>
                  <a:lnTo>
                    <a:pt x="361214" y="200876"/>
                  </a:lnTo>
                  <a:lnTo>
                    <a:pt x="361265" y="200876"/>
                  </a:lnTo>
                  <a:lnTo>
                    <a:pt x="361265" y="202260"/>
                  </a:lnTo>
                  <a:lnTo>
                    <a:pt x="361265" y="200228"/>
                  </a:lnTo>
                  <a:lnTo>
                    <a:pt x="361265" y="200876"/>
                  </a:lnTo>
                  <a:lnTo>
                    <a:pt x="361265" y="200228"/>
                  </a:lnTo>
                  <a:lnTo>
                    <a:pt x="361265" y="200876"/>
                  </a:lnTo>
                  <a:lnTo>
                    <a:pt x="361265" y="200228"/>
                  </a:lnTo>
                  <a:lnTo>
                    <a:pt x="361265" y="200876"/>
                  </a:lnTo>
                  <a:lnTo>
                    <a:pt x="361265" y="200228"/>
                  </a:lnTo>
                  <a:lnTo>
                    <a:pt x="361316" y="200228"/>
                  </a:lnTo>
                  <a:lnTo>
                    <a:pt x="361316" y="200876"/>
                  </a:lnTo>
                  <a:lnTo>
                    <a:pt x="361316" y="199530"/>
                  </a:lnTo>
                  <a:lnTo>
                    <a:pt x="361366" y="199530"/>
                  </a:lnTo>
                  <a:lnTo>
                    <a:pt x="361366" y="198831"/>
                  </a:lnTo>
                  <a:lnTo>
                    <a:pt x="361455" y="198831"/>
                  </a:lnTo>
                  <a:lnTo>
                    <a:pt x="361455" y="196799"/>
                  </a:lnTo>
                  <a:lnTo>
                    <a:pt x="361455" y="197447"/>
                  </a:lnTo>
                  <a:lnTo>
                    <a:pt x="361455" y="196799"/>
                  </a:lnTo>
                  <a:lnTo>
                    <a:pt x="361455" y="197447"/>
                  </a:lnTo>
                  <a:lnTo>
                    <a:pt x="361506" y="198831"/>
                  </a:lnTo>
                  <a:lnTo>
                    <a:pt x="361506" y="196799"/>
                  </a:lnTo>
                  <a:lnTo>
                    <a:pt x="361506" y="197447"/>
                  </a:lnTo>
                  <a:lnTo>
                    <a:pt x="361506" y="196799"/>
                  </a:lnTo>
                  <a:lnTo>
                    <a:pt x="361506" y="199530"/>
                  </a:lnTo>
                  <a:lnTo>
                    <a:pt x="361557" y="198831"/>
                  </a:lnTo>
                  <a:lnTo>
                    <a:pt x="361557" y="199530"/>
                  </a:lnTo>
                  <a:lnTo>
                    <a:pt x="361557" y="197447"/>
                  </a:lnTo>
                  <a:lnTo>
                    <a:pt x="361557" y="199530"/>
                  </a:lnTo>
                  <a:lnTo>
                    <a:pt x="361608" y="199530"/>
                  </a:lnTo>
                  <a:lnTo>
                    <a:pt x="361608" y="198831"/>
                  </a:lnTo>
                  <a:lnTo>
                    <a:pt x="361608" y="199530"/>
                  </a:lnTo>
                  <a:lnTo>
                    <a:pt x="361608" y="198831"/>
                  </a:lnTo>
                  <a:lnTo>
                    <a:pt x="361608" y="200228"/>
                  </a:lnTo>
                  <a:lnTo>
                    <a:pt x="361608" y="199530"/>
                  </a:lnTo>
                  <a:lnTo>
                    <a:pt x="361608" y="200228"/>
                  </a:lnTo>
                  <a:lnTo>
                    <a:pt x="361608" y="199530"/>
                  </a:lnTo>
                  <a:lnTo>
                    <a:pt x="361608" y="200228"/>
                  </a:lnTo>
                  <a:lnTo>
                    <a:pt x="361760" y="200228"/>
                  </a:lnTo>
                  <a:lnTo>
                    <a:pt x="361760" y="200876"/>
                  </a:lnTo>
                  <a:lnTo>
                    <a:pt x="361811" y="200876"/>
                  </a:lnTo>
                  <a:lnTo>
                    <a:pt x="361811" y="200228"/>
                  </a:lnTo>
                  <a:lnTo>
                    <a:pt x="361912" y="200228"/>
                  </a:lnTo>
                  <a:lnTo>
                    <a:pt x="361912" y="198831"/>
                  </a:lnTo>
                  <a:lnTo>
                    <a:pt x="361951" y="198831"/>
                  </a:lnTo>
                  <a:lnTo>
                    <a:pt x="361951" y="199530"/>
                  </a:lnTo>
                  <a:lnTo>
                    <a:pt x="361951" y="198831"/>
                  </a:lnTo>
                  <a:lnTo>
                    <a:pt x="361951" y="199530"/>
                  </a:lnTo>
                  <a:lnTo>
                    <a:pt x="361951" y="198831"/>
                  </a:lnTo>
                  <a:lnTo>
                    <a:pt x="361951" y="199530"/>
                  </a:lnTo>
                  <a:lnTo>
                    <a:pt x="361951" y="197447"/>
                  </a:lnTo>
                  <a:lnTo>
                    <a:pt x="361951" y="198831"/>
                  </a:lnTo>
                  <a:lnTo>
                    <a:pt x="362001" y="198831"/>
                  </a:lnTo>
                  <a:lnTo>
                    <a:pt x="362001" y="200228"/>
                  </a:lnTo>
                  <a:lnTo>
                    <a:pt x="362001" y="199530"/>
                  </a:lnTo>
                  <a:lnTo>
                    <a:pt x="362001" y="200228"/>
                  </a:lnTo>
                  <a:lnTo>
                    <a:pt x="362001" y="199530"/>
                  </a:lnTo>
                  <a:lnTo>
                    <a:pt x="362052" y="200228"/>
                  </a:lnTo>
                  <a:lnTo>
                    <a:pt x="362154" y="200228"/>
                  </a:lnTo>
                  <a:lnTo>
                    <a:pt x="362154" y="200876"/>
                  </a:lnTo>
                  <a:lnTo>
                    <a:pt x="362154" y="200228"/>
                  </a:lnTo>
                  <a:lnTo>
                    <a:pt x="362154" y="200876"/>
                  </a:lnTo>
                  <a:lnTo>
                    <a:pt x="362154" y="200228"/>
                  </a:lnTo>
                  <a:lnTo>
                    <a:pt x="362154" y="200876"/>
                  </a:lnTo>
                  <a:lnTo>
                    <a:pt x="362154" y="200228"/>
                  </a:lnTo>
                  <a:lnTo>
                    <a:pt x="362154" y="200876"/>
                  </a:lnTo>
                  <a:lnTo>
                    <a:pt x="362205" y="200876"/>
                  </a:lnTo>
                  <a:lnTo>
                    <a:pt x="362205" y="200228"/>
                  </a:lnTo>
                  <a:lnTo>
                    <a:pt x="362205" y="200876"/>
                  </a:lnTo>
                  <a:lnTo>
                    <a:pt x="362205" y="200228"/>
                  </a:lnTo>
                  <a:lnTo>
                    <a:pt x="362205" y="200876"/>
                  </a:lnTo>
                  <a:lnTo>
                    <a:pt x="362205" y="200228"/>
                  </a:lnTo>
                  <a:lnTo>
                    <a:pt x="362205" y="200876"/>
                  </a:lnTo>
                  <a:lnTo>
                    <a:pt x="362255" y="200876"/>
                  </a:lnTo>
                  <a:lnTo>
                    <a:pt x="362255" y="200228"/>
                  </a:lnTo>
                  <a:lnTo>
                    <a:pt x="362255" y="200876"/>
                  </a:lnTo>
                  <a:lnTo>
                    <a:pt x="362255" y="200228"/>
                  </a:lnTo>
                  <a:lnTo>
                    <a:pt x="362255" y="200876"/>
                  </a:lnTo>
                  <a:lnTo>
                    <a:pt x="362255" y="200228"/>
                  </a:lnTo>
                  <a:lnTo>
                    <a:pt x="362255" y="200876"/>
                  </a:lnTo>
                  <a:lnTo>
                    <a:pt x="362255" y="200228"/>
                  </a:lnTo>
                  <a:lnTo>
                    <a:pt x="362255" y="200876"/>
                  </a:lnTo>
                  <a:lnTo>
                    <a:pt x="362357" y="200876"/>
                  </a:lnTo>
                  <a:lnTo>
                    <a:pt x="362357" y="199530"/>
                  </a:lnTo>
                  <a:lnTo>
                    <a:pt x="362408" y="199530"/>
                  </a:lnTo>
                  <a:lnTo>
                    <a:pt x="362408" y="198831"/>
                  </a:lnTo>
                  <a:lnTo>
                    <a:pt x="362408" y="199530"/>
                  </a:lnTo>
                  <a:lnTo>
                    <a:pt x="362408" y="198831"/>
                  </a:lnTo>
                  <a:lnTo>
                    <a:pt x="362408" y="199530"/>
                  </a:lnTo>
                  <a:lnTo>
                    <a:pt x="362408" y="198831"/>
                  </a:lnTo>
                  <a:lnTo>
                    <a:pt x="362408" y="199530"/>
                  </a:lnTo>
                  <a:lnTo>
                    <a:pt x="362408" y="198831"/>
                  </a:lnTo>
                  <a:lnTo>
                    <a:pt x="362408" y="199530"/>
                  </a:lnTo>
                  <a:lnTo>
                    <a:pt x="362408" y="197447"/>
                  </a:lnTo>
                  <a:lnTo>
                    <a:pt x="362458" y="197447"/>
                  </a:lnTo>
                  <a:lnTo>
                    <a:pt x="362458" y="196799"/>
                  </a:lnTo>
                  <a:lnTo>
                    <a:pt x="362458" y="198831"/>
                  </a:lnTo>
                  <a:lnTo>
                    <a:pt x="362458" y="197447"/>
                  </a:lnTo>
                  <a:lnTo>
                    <a:pt x="362497" y="196799"/>
                  </a:lnTo>
                  <a:lnTo>
                    <a:pt x="362497" y="200228"/>
                  </a:lnTo>
                  <a:lnTo>
                    <a:pt x="362497" y="199530"/>
                  </a:lnTo>
                  <a:lnTo>
                    <a:pt x="362598" y="199530"/>
                  </a:lnTo>
                  <a:lnTo>
                    <a:pt x="362598" y="198831"/>
                  </a:lnTo>
                  <a:lnTo>
                    <a:pt x="362598" y="200228"/>
                  </a:lnTo>
                  <a:lnTo>
                    <a:pt x="362649" y="199530"/>
                  </a:lnTo>
                  <a:lnTo>
                    <a:pt x="362649" y="200876"/>
                  </a:lnTo>
                  <a:lnTo>
                    <a:pt x="362700" y="200876"/>
                  </a:lnTo>
                  <a:lnTo>
                    <a:pt x="362700" y="200228"/>
                  </a:lnTo>
                  <a:lnTo>
                    <a:pt x="362700" y="202260"/>
                  </a:lnTo>
                  <a:lnTo>
                    <a:pt x="362700" y="200876"/>
                  </a:lnTo>
                  <a:lnTo>
                    <a:pt x="362801" y="200876"/>
                  </a:lnTo>
                  <a:lnTo>
                    <a:pt x="362801" y="202260"/>
                  </a:lnTo>
                  <a:lnTo>
                    <a:pt x="362801" y="200876"/>
                  </a:lnTo>
                  <a:lnTo>
                    <a:pt x="362801" y="202260"/>
                  </a:lnTo>
                  <a:lnTo>
                    <a:pt x="362801" y="200876"/>
                  </a:lnTo>
                  <a:lnTo>
                    <a:pt x="362852" y="200876"/>
                  </a:lnTo>
                  <a:lnTo>
                    <a:pt x="362852" y="202260"/>
                  </a:lnTo>
                  <a:lnTo>
                    <a:pt x="362852" y="200228"/>
                  </a:lnTo>
                  <a:lnTo>
                    <a:pt x="362903" y="200228"/>
                  </a:lnTo>
                  <a:lnTo>
                    <a:pt x="362903" y="198831"/>
                  </a:lnTo>
                  <a:lnTo>
                    <a:pt x="362954" y="198831"/>
                  </a:lnTo>
                  <a:lnTo>
                    <a:pt x="362954" y="197447"/>
                  </a:lnTo>
                  <a:lnTo>
                    <a:pt x="362954" y="199530"/>
                  </a:lnTo>
                  <a:lnTo>
                    <a:pt x="363043" y="200228"/>
                  </a:lnTo>
                  <a:lnTo>
                    <a:pt x="363043" y="198831"/>
                  </a:lnTo>
                  <a:lnTo>
                    <a:pt x="363043" y="200228"/>
                  </a:lnTo>
                  <a:lnTo>
                    <a:pt x="363093" y="200228"/>
                  </a:lnTo>
                  <a:lnTo>
                    <a:pt x="363093" y="199530"/>
                  </a:lnTo>
                  <a:lnTo>
                    <a:pt x="363093" y="200228"/>
                  </a:lnTo>
                  <a:lnTo>
                    <a:pt x="363144" y="200228"/>
                  </a:lnTo>
                  <a:lnTo>
                    <a:pt x="363144" y="200876"/>
                  </a:lnTo>
                  <a:lnTo>
                    <a:pt x="363144" y="200228"/>
                  </a:lnTo>
                  <a:lnTo>
                    <a:pt x="363195" y="200228"/>
                  </a:lnTo>
                  <a:lnTo>
                    <a:pt x="363195" y="200876"/>
                  </a:lnTo>
                  <a:lnTo>
                    <a:pt x="363195" y="200228"/>
                  </a:lnTo>
                  <a:lnTo>
                    <a:pt x="363195" y="200876"/>
                  </a:lnTo>
                  <a:lnTo>
                    <a:pt x="363195" y="200228"/>
                  </a:lnTo>
                  <a:lnTo>
                    <a:pt x="363297" y="200228"/>
                  </a:lnTo>
                  <a:lnTo>
                    <a:pt x="363297" y="200876"/>
                  </a:lnTo>
                  <a:lnTo>
                    <a:pt x="363297" y="200228"/>
                  </a:lnTo>
                  <a:lnTo>
                    <a:pt x="363297" y="200876"/>
                  </a:lnTo>
                  <a:lnTo>
                    <a:pt x="363297" y="200228"/>
                  </a:lnTo>
                  <a:lnTo>
                    <a:pt x="363297" y="200876"/>
                  </a:lnTo>
                  <a:lnTo>
                    <a:pt x="363297" y="200228"/>
                  </a:lnTo>
                  <a:lnTo>
                    <a:pt x="363347" y="200228"/>
                  </a:lnTo>
                  <a:lnTo>
                    <a:pt x="363347" y="199530"/>
                  </a:lnTo>
                  <a:lnTo>
                    <a:pt x="363347" y="200228"/>
                  </a:lnTo>
                  <a:lnTo>
                    <a:pt x="363347" y="198831"/>
                  </a:lnTo>
                  <a:lnTo>
                    <a:pt x="363398" y="198831"/>
                  </a:lnTo>
                  <a:lnTo>
                    <a:pt x="363398" y="199530"/>
                  </a:lnTo>
                  <a:lnTo>
                    <a:pt x="363398" y="198831"/>
                  </a:lnTo>
                  <a:lnTo>
                    <a:pt x="363398" y="200228"/>
                  </a:lnTo>
                  <a:lnTo>
                    <a:pt x="363398" y="199530"/>
                  </a:lnTo>
                  <a:lnTo>
                    <a:pt x="363500" y="199530"/>
                  </a:lnTo>
                  <a:lnTo>
                    <a:pt x="363500" y="198831"/>
                  </a:lnTo>
                  <a:lnTo>
                    <a:pt x="363500" y="202260"/>
                  </a:lnTo>
                  <a:lnTo>
                    <a:pt x="363500" y="200228"/>
                  </a:lnTo>
                  <a:lnTo>
                    <a:pt x="363538" y="200228"/>
                  </a:lnTo>
                  <a:lnTo>
                    <a:pt x="363538" y="199530"/>
                  </a:lnTo>
                  <a:lnTo>
                    <a:pt x="363538" y="202260"/>
                  </a:lnTo>
                  <a:lnTo>
                    <a:pt x="363538" y="200876"/>
                  </a:lnTo>
                  <a:lnTo>
                    <a:pt x="363589" y="200876"/>
                  </a:lnTo>
                  <a:lnTo>
                    <a:pt x="363589" y="200228"/>
                  </a:lnTo>
                  <a:lnTo>
                    <a:pt x="363589" y="200876"/>
                  </a:lnTo>
                  <a:lnTo>
                    <a:pt x="363589" y="200228"/>
                  </a:lnTo>
                  <a:lnTo>
                    <a:pt x="363589" y="202260"/>
                  </a:lnTo>
                  <a:lnTo>
                    <a:pt x="363589" y="200876"/>
                  </a:lnTo>
                  <a:lnTo>
                    <a:pt x="363640" y="200876"/>
                  </a:lnTo>
                  <a:lnTo>
                    <a:pt x="363640" y="202260"/>
                  </a:lnTo>
                  <a:lnTo>
                    <a:pt x="363640" y="200876"/>
                  </a:lnTo>
                  <a:lnTo>
                    <a:pt x="363640" y="202260"/>
                  </a:lnTo>
                  <a:lnTo>
                    <a:pt x="363640" y="200876"/>
                  </a:lnTo>
                  <a:lnTo>
                    <a:pt x="363640" y="202260"/>
                  </a:lnTo>
                  <a:lnTo>
                    <a:pt x="363741" y="202260"/>
                  </a:lnTo>
                  <a:lnTo>
                    <a:pt x="363741" y="200876"/>
                  </a:lnTo>
                  <a:lnTo>
                    <a:pt x="363741" y="202260"/>
                  </a:lnTo>
                  <a:lnTo>
                    <a:pt x="363741" y="200876"/>
                  </a:lnTo>
                  <a:lnTo>
                    <a:pt x="363741" y="202260"/>
                  </a:lnTo>
                  <a:lnTo>
                    <a:pt x="363741" y="200876"/>
                  </a:lnTo>
                  <a:lnTo>
                    <a:pt x="363792" y="200876"/>
                  </a:lnTo>
                  <a:lnTo>
                    <a:pt x="363792" y="202260"/>
                  </a:lnTo>
                  <a:lnTo>
                    <a:pt x="363792" y="200228"/>
                  </a:lnTo>
                  <a:lnTo>
                    <a:pt x="363792" y="200876"/>
                  </a:lnTo>
                  <a:lnTo>
                    <a:pt x="363792" y="200228"/>
                  </a:lnTo>
                  <a:lnTo>
                    <a:pt x="363843" y="200228"/>
                  </a:lnTo>
                  <a:lnTo>
                    <a:pt x="363843" y="200876"/>
                  </a:lnTo>
                  <a:lnTo>
                    <a:pt x="363843" y="198831"/>
                  </a:lnTo>
                  <a:lnTo>
                    <a:pt x="363843" y="199530"/>
                  </a:lnTo>
                  <a:lnTo>
                    <a:pt x="363944" y="199530"/>
                  </a:lnTo>
                  <a:lnTo>
                    <a:pt x="363944" y="200876"/>
                  </a:lnTo>
                  <a:lnTo>
                    <a:pt x="363944" y="199530"/>
                  </a:lnTo>
                  <a:lnTo>
                    <a:pt x="363944" y="200228"/>
                  </a:lnTo>
                  <a:lnTo>
                    <a:pt x="363995" y="200876"/>
                  </a:lnTo>
                  <a:lnTo>
                    <a:pt x="363995" y="202260"/>
                  </a:lnTo>
                  <a:lnTo>
                    <a:pt x="363995" y="200876"/>
                  </a:lnTo>
                  <a:lnTo>
                    <a:pt x="363995" y="202260"/>
                  </a:lnTo>
                  <a:lnTo>
                    <a:pt x="364046" y="202260"/>
                  </a:lnTo>
                  <a:lnTo>
                    <a:pt x="364046" y="200876"/>
                  </a:lnTo>
                  <a:lnTo>
                    <a:pt x="364046" y="202959"/>
                  </a:lnTo>
                  <a:lnTo>
                    <a:pt x="364046" y="202260"/>
                  </a:lnTo>
                  <a:lnTo>
                    <a:pt x="364084" y="202260"/>
                  </a:lnTo>
                  <a:lnTo>
                    <a:pt x="364084" y="202959"/>
                  </a:lnTo>
                  <a:lnTo>
                    <a:pt x="364186" y="202959"/>
                  </a:lnTo>
                  <a:lnTo>
                    <a:pt x="364186" y="200876"/>
                  </a:lnTo>
                  <a:lnTo>
                    <a:pt x="364186" y="202260"/>
                  </a:lnTo>
                  <a:lnTo>
                    <a:pt x="364186" y="200876"/>
                  </a:lnTo>
                  <a:lnTo>
                    <a:pt x="364186" y="202260"/>
                  </a:lnTo>
                  <a:lnTo>
                    <a:pt x="364237" y="200876"/>
                  </a:lnTo>
                  <a:lnTo>
                    <a:pt x="364237" y="200228"/>
                  </a:lnTo>
                  <a:lnTo>
                    <a:pt x="364237" y="200876"/>
                  </a:lnTo>
                  <a:lnTo>
                    <a:pt x="364287" y="200876"/>
                  </a:lnTo>
                  <a:lnTo>
                    <a:pt x="364287" y="199530"/>
                  </a:lnTo>
                  <a:lnTo>
                    <a:pt x="364389" y="198831"/>
                  </a:lnTo>
                  <a:lnTo>
                    <a:pt x="364389" y="199530"/>
                  </a:lnTo>
                  <a:lnTo>
                    <a:pt x="364389" y="197447"/>
                  </a:lnTo>
                  <a:lnTo>
                    <a:pt x="364389" y="198831"/>
                  </a:lnTo>
                  <a:lnTo>
                    <a:pt x="364389" y="196799"/>
                  </a:lnTo>
                  <a:lnTo>
                    <a:pt x="364440" y="197447"/>
                  </a:lnTo>
                  <a:lnTo>
                    <a:pt x="364440" y="198831"/>
                  </a:lnTo>
                  <a:lnTo>
                    <a:pt x="364440" y="197447"/>
                  </a:lnTo>
                  <a:lnTo>
                    <a:pt x="364491" y="197447"/>
                  </a:lnTo>
                  <a:lnTo>
                    <a:pt x="364491" y="200228"/>
                  </a:lnTo>
                  <a:lnTo>
                    <a:pt x="364541" y="200228"/>
                  </a:lnTo>
                  <a:lnTo>
                    <a:pt x="364541" y="200876"/>
                  </a:lnTo>
                  <a:lnTo>
                    <a:pt x="364541" y="200228"/>
                  </a:lnTo>
                  <a:lnTo>
                    <a:pt x="364541" y="200876"/>
                  </a:lnTo>
                  <a:lnTo>
                    <a:pt x="364541" y="199530"/>
                  </a:lnTo>
                  <a:lnTo>
                    <a:pt x="364541" y="200228"/>
                  </a:lnTo>
                  <a:lnTo>
                    <a:pt x="364630" y="200876"/>
                  </a:lnTo>
                  <a:lnTo>
                    <a:pt x="364630" y="202260"/>
                  </a:lnTo>
                  <a:lnTo>
                    <a:pt x="364630" y="200876"/>
                  </a:lnTo>
                  <a:lnTo>
                    <a:pt x="364630" y="202260"/>
                  </a:lnTo>
                  <a:lnTo>
                    <a:pt x="364681" y="202260"/>
                  </a:lnTo>
                  <a:lnTo>
                    <a:pt x="364681" y="200876"/>
                  </a:lnTo>
                  <a:lnTo>
                    <a:pt x="364681" y="202260"/>
                  </a:lnTo>
                  <a:lnTo>
                    <a:pt x="364681" y="200876"/>
                  </a:lnTo>
                  <a:lnTo>
                    <a:pt x="364681" y="202260"/>
                  </a:lnTo>
                  <a:lnTo>
                    <a:pt x="364732" y="202260"/>
                  </a:lnTo>
                  <a:lnTo>
                    <a:pt x="364732" y="200876"/>
                  </a:lnTo>
                  <a:lnTo>
                    <a:pt x="364732" y="202260"/>
                  </a:lnTo>
                  <a:lnTo>
                    <a:pt x="364732" y="200876"/>
                  </a:lnTo>
                  <a:lnTo>
                    <a:pt x="364783" y="200876"/>
                  </a:lnTo>
                  <a:lnTo>
                    <a:pt x="364783" y="199530"/>
                  </a:lnTo>
                  <a:lnTo>
                    <a:pt x="364884" y="199530"/>
                  </a:lnTo>
                  <a:lnTo>
                    <a:pt x="364884" y="198831"/>
                  </a:lnTo>
                  <a:lnTo>
                    <a:pt x="364884" y="199530"/>
                  </a:lnTo>
                  <a:lnTo>
                    <a:pt x="364884" y="197447"/>
                  </a:lnTo>
                  <a:lnTo>
                    <a:pt x="364884" y="198831"/>
                  </a:lnTo>
                  <a:lnTo>
                    <a:pt x="364884" y="197447"/>
                  </a:lnTo>
                  <a:lnTo>
                    <a:pt x="364884" y="198831"/>
                  </a:lnTo>
                  <a:lnTo>
                    <a:pt x="364935" y="198831"/>
                  </a:lnTo>
                  <a:lnTo>
                    <a:pt x="364935" y="199530"/>
                  </a:lnTo>
                  <a:lnTo>
                    <a:pt x="364935" y="196799"/>
                  </a:lnTo>
                  <a:lnTo>
                    <a:pt x="364935" y="199530"/>
                  </a:lnTo>
                  <a:lnTo>
                    <a:pt x="364986" y="199530"/>
                  </a:lnTo>
                  <a:lnTo>
                    <a:pt x="364986" y="200228"/>
                  </a:lnTo>
                  <a:lnTo>
                    <a:pt x="364986" y="198831"/>
                  </a:lnTo>
                  <a:lnTo>
                    <a:pt x="364986" y="200228"/>
                  </a:lnTo>
                  <a:lnTo>
                    <a:pt x="365126" y="200228"/>
                  </a:lnTo>
                  <a:lnTo>
                    <a:pt x="365126" y="200876"/>
                  </a:lnTo>
                  <a:lnTo>
                    <a:pt x="365126" y="200228"/>
                  </a:lnTo>
                  <a:lnTo>
                    <a:pt x="365126" y="202260"/>
                  </a:lnTo>
                  <a:lnTo>
                    <a:pt x="365126" y="200876"/>
                  </a:lnTo>
                  <a:lnTo>
                    <a:pt x="365176" y="200876"/>
                  </a:lnTo>
                  <a:lnTo>
                    <a:pt x="365176" y="200228"/>
                  </a:lnTo>
                  <a:lnTo>
                    <a:pt x="365176" y="202260"/>
                  </a:lnTo>
                  <a:lnTo>
                    <a:pt x="365176" y="200876"/>
                  </a:lnTo>
                  <a:lnTo>
                    <a:pt x="365227" y="202260"/>
                  </a:lnTo>
                  <a:lnTo>
                    <a:pt x="365227" y="200876"/>
                  </a:lnTo>
                  <a:lnTo>
                    <a:pt x="365227" y="202260"/>
                  </a:lnTo>
                  <a:lnTo>
                    <a:pt x="365227" y="200876"/>
                  </a:lnTo>
                  <a:lnTo>
                    <a:pt x="365329" y="200228"/>
                  </a:lnTo>
                  <a:lnTo>
                    <a:pt x="365329" y="199530"/>
                  </a:lnTo>
                  <a:lnTo>
                    <a:pt x="365329" y="200228"/>
                  </a:lnTo>
                  <a:lnTo>
                    <a:pt x="365329" y="199530"/>
                  </a:lnTo>
                  <a:lnTo>
                    <a:pt x="365329" y="200228"/>
                  </a:lnTo>
                  <a:lnTo>
                    <a:pt x="365329" y="199530"/>
                  </a:lnTo>
                  <a:lnTo>
                    <a:pt x="365380" y="199530"/>
                  </a:lnTo>
                  <a:lnTo>
                    <a:pt x="365380" y="196799"/>
                  </a:lnTo>
                  <a:lnTo>
                    <a:pt x="365380" y="197447"/>
                  </a:lnTo>
                  <a:lnTo>
                    <a:pt x="365430" y="197447"/>
                  </a:lnTo>
                  <a:lnTo>
                    <a:pt x="365430" y="196799"/>
                  </a:lnTo>
                  <a:lnTo>
                    <a:pt x="365430" y="199530"/>
                  </a:lnTo>
                  <a:lnTo>
                    <a:pt x="365532" y="199530"/>
                  </a:lnTo>
                  <a:lnTo>
                    <a:pt x="365532" y="198831"/>
                  </a:lnTo>
                  <a:lnTo>
                    <a:pt x="365532" y="200228"/>
                  </a:lnTo>
                  <a:lnTo>
                    <a:pt x="365583" y="199530"/>
                  </a:lnTo>
                  <a:lnTo>
                    <a:pt x="365583" y="198831"/>
                  </a:lnTo>
                  <a:lnTo>
                    <a:pt x="365633" y="199530"/>
                  </a:lnTo>
                  <a:lnTo>
                    <a:pt x="365633" y="200228"/>
                  </a:lnTo>
                  <a:lnTo>
                    <a:pt x="365633" y="199530"/>
                  </a:lnTo>
                  <a:lnTo>
                    <a:pt x="365633" y="200228"/>
                  </a:lnTo>
                  <a:lnTo>
                    <a:pt x="365633" y="199530"/>
                  </a:lnTo>
                  <a:lnTo>
                    <a:pt x="365633" y="200228"/>
                  </a:lnTo>
                  <a:lnTo>
                    <a:pt x="365633" y="199530"/>
                  </a:lnTo>
                  <a:lnTo>
                    <a:pt x="365633" y="200228"/>
                  </a:lnTo>
                  <a:lnTo>
                    <a:pt x="365672" y="200228"/>
                  </a:lnTo>
                  <a:lnTo>
                    <a:pt x="365672" y="200876"/>
                  </a:lnTo>
                  <a:lnTo>
                    <a:pt x="365773" y="200876"/>
                  </a:lnTo>
                  <a:lnTo>
                    <a:pt x="365773" y="202260"/>
                  </a:lnTo>
                  <a:lnTo>
                    <a:pt x="365773" y="200876"/>
                  </a:lnTo>
                  <a:lnTo>
                    <a:pt x="365824" y="200228"/>
                  </a:lnTo>
                  <a:lnTo>
                    <a:pt x="365824" y="200876"/>
                  </a:lnTo>
                  <a:lnTo>
                    <a:pt x="365824" y="199530"/>
                  </a:lnTo>
                  <a:lnTo>
                    <a:pt x="365824" y="200228"/>
                  </a:lnTo>
                  <a:lnTo>
                    <a:pt x="365824" y="198831"/>
                  </a:lnTo>
                  <a:lnTo>
                    <a:pt x="365875" y="197447"/>
                  </a:lnTo>
                  <a:lnTo>
                    <a:pt x="365875" y="198831"/>
                  </a:lnTo>
                  <a:lnTo>
                    <a:pt x="365875" y="196799"/>
                  </a:lnTo>
                  <a:lnTo>
                    <a:pt x="365875" y="198831"/>
                  </a:lnTo>
                  <a:lnTo>
                    <a:pt x="365976" y="198831"/>
                  </a:lnTo>
                  <a:lnTo>
                    <a:pt x="365976" y="196799"/>
                  </a:lnTo>
                  <a:lnTo>
                    <a:pt x="365976" y="200228"/>
                  </a:lnTo>
                  <a:lnTo>
                    <a:pt x="365976" y="199530"/>
                  </a:lnTo>
                  <a:lnTo>
                    <a:pt x="366027" y="199530"/>
                  </a:lnTo>
                  <a:lnTo>
                    <a:pt x="366027" y="198831"/>
                  </a:lnTo>
                  <a:lnTo>
                    <a:pt x="366027" y="200228"/>
                  </a:lnTo>
                  <a:lnTo>
                    <a:pt x="366027" y="199530"/>
                  </a:lnTo>
                  <a:lnTo>
                    <a:pt x="366078" y="199530"/>
                  </a:lnTo>
                  <a:lnTo>
                    <a:pt x="366078" y="198831"/>
                  </a:lnTo>
                  <a:lnTo>
                    <a:pt x="366078" y="199530"/>
                  </a:lnTo>
                  <a:lnTo>
                    <a:pt x="366129" y="199530"/>
                  </a:lnTo>
                  <a:lnTo>
                    <a:pt x="366129" y="198831"/>
                  </a:lnTo>
                  <a:lnTo>
                    <a:pt x="366129" y="200228"/>
                  </a:lnTo>
                  <a:lnTo>
                    <a:pt x="366129" y="199530"/>
                  </a:lnTo>
                  <a:lnTo>
                    <a:pt x="366218" y="199530"/>
                  </a:lnTo>
                  <a:lnTo>
                    <a:pt x="366218" y="200228"/>
                  </a:lnTo>
                  <a:lnTo>
                    <a:pt x="366218" y="199530"/>
                  </a:lnTo>
                  <a:lnTo>
                    <a:pt x="366218" y="200228"/>
                  </a:lnTo>
                  <a:lnTo>
                    <a:pt x="366218" y="199530"/>
                  </a:lnTo>
                  <a:lnTo>
                    <a:pt x="366218" y="200228"/>
                  </a:lnTo>
                  <a:lnTo>
                    <a:pt x="366268" y="200228"/>
                  </a:lnTo>
                  <a:lnTo>
                    <a:pt x="366268" y="199530"/>
                  </a:lnTo>
                  <a:lnTo>
                    <a:pt x="366268" y="200228"/>
                  </a:lnTo>
                  <a:lnTo>
                    <a:pt x="366268" y="199530"/>
                  </a:lnTo>
                  <a:lnTo>
                    <a:pt x="366319" y="199530"/>
                  </a:lnTo>
                  <a:lnTo>
                    <a:pt x="366319" y="197447"/>
                  </a:lnTo>
                  <a:lnTo>
                    <a:pt x="366319" y="198831"/>
                  </a:lnTo>
                  <a:lnTo>
                    <a:pt x="366370" y="198831"/>
                  </a:lnTo>
                  <a:lnTo>
                    <a:pt x="366370" y="197447"/>
                  </a:lnTo>
                  <a:lnTo>
                    <a:pt x="366370" y="199530"/>
                  </a:lnTo>
                  <a:lnTo>
                    <a:pt x="366370" y="198831"/>
                  </a:lnTo>
                  <a:lnTo>
                    <a:pt x="366472" y="198831"/>
                  </a:lnTo>
                  <a:lnTo>
                    <a:pt x="366472" y="197447"/>
                  </a:lnTo>
                  <a:lnTo>
                    <a:pt x="366472" y="200876"/>
                  </a:lnTo>
                  <a:lnTo>
                    <a:pt x="366472" y="199530"/>
                  </a:lnTo>
                  <a:lnTo>
                    <a:pt x="366522" y="199530"/>
                  </a:lnTo>
                  <a:lnTo>
                    <a:pt x="366522" y="200876"/>
                  </a:lnTo>
                  <a:lnTo>
                    <a:pt x="366522" y="200228"/>
                  </a:lnTo>
                  <a:lnTo>
                    <a:pt x="366522" y="200876"/>
                  </a:lnTo>
                  <a:lnTo>
                    <a:pt x="366522" y="200228"/>
                  </a:lnTo>
                  <a:lnTo>
                    <a:pt x="366573" y="200228"/>
                  </a:lnTo>
                  <a:lnTo>
                    <a:pt x="366573" y="200876"/>
                  </a:lnTo>
                  <a:lnTo>
                    <a:pt x="366573" y="200228"/>
                  </a:lnTo>
                  <a:lnTo>
                    <a:pt x="366675" y="200876"/>
                  </a:lnTo>
                  <a:lnTo>
                    <a:pt x="366675" y="200228"/>
                  </a:lnTo>
                  <a:lnTo>
                    <a:pt x="366675" y="200876"/>
                  </a:lnTo>
                  <a:lnTo>
                    <a:pt x="366675" y="200228"/>
                  </a:lnTo>
                  <a:lnTo>
                    <a:pt x="366713" y="200228"/>
                  </a:lnTo>
                  <a:lnTo>
                    <a:pt x="366713" y="200876"/>
                  </a:lnTo>
                  <a:lnTo>
                    <a:pt x="366713" y="200228"/>
                  </a:lnTo>
                  <a:lnTo>
                    <a:pt x="366713" y="200876"/>
                  </a:lnTo>
                  <a:lnTo>
                    <a:pt x="366764" y="200876"/>
                  </a:lnTo>
                  <a:lnTo>
                    <a:pt x="366764" y="200228"/>
                  </a:lnTo>
                  <a:lnTo>
                    <a:pt x="366764" y="200876"/>
                  </a:lnTo>
                  <a:lnTo>
                    <a:pt x="366764" y="200228"/>
                  </a:lnTo>
                  <a:lnTo>
                    <a:pt x="366764" y="200876"/>
                  </a:lnTo>
                  <a:lnTo>
                    <a:pt x="366764" y="200228"/>
                  </a:lnTo>
                  <a:lnTo>
                    <a:pt x="366815" y="200228"/>
                  </a:lnTo>
                  <a:lnTo>
                    <a:pt x="366815" y="198831"/>
                  </a:lnTo>
                  <a:lnTo>
                    <a:pt x="366815" y="199530"/>
                  </a:lnTo>
                  <a:lnTo>
                    <a:pt x="366815" y="197447"/>
                  </a:lnTo>
                  <a:lnTo>
                    <a:pt x="366916" y="197447"/>
                  </a:lnTo>
                  <a:lnTo>
                    <a:pt x="366916" y="200228"/>
                  </a:lnTo>
                  <a:lnTo>
                    <a:pt x="366916" y="198831"/>
                  </a:lnTo>
                  <a:lnTo>
                    <a:pt x="366916" y="200228"/>
                  </a:lnTo>
                  <a:lnTo>
                    <a:pt x="366967" y="200228"/>
                  </a:lnTo>
                  <a:lnTo>
                    <a:pt x="366967" y="200876"/>
                  </a:lnTo>
                  <a:lnTo>
                    <a:pt x="366967" y="200228"/>
                  </a:lnTo>
                  <a:lnTo>
                    <a:pt x="366967" y="202959"/>
                  </a:lnTo>
                  <a:lnTo>
                    <a:pt x="367018" y="202959"/>
                  </a:lnTo>
                  <a:lnTo>
                    <a:pt x="367018" y="202260"/>
                  </a:lnTo>
                  <a:lnTo>
                    <a:pt x="367018" y="202959"/>
                  </a:lnTo>
                  <a:lnTo>
                    <a:pt x="367018" y="200876"/>
                  </a:lnTo>
                  <a:lnTo>
                    <a:pt x="367018" y="202260"/>
                  </a:lnTo>
                  <a:lnTo>
                    <a:pt x="367018" y="200876"/>
                  </a:lnTo>
                  <a:lnTo>
                    <a:pt x="367119" y="202260"/>
                  </a:lnTo>
                  <a:lnTo>
                    <a:pt x="367119" y="200876"/>
                  </a:lnTo>
                  <a:lnTo>
                    <a:pt x="367119" y="202260"/>
                  </a:lnTo>
                  <a:lnTo>
                    <a:pt x="367170" y="202260"/>
                  </a:lnTo>
                  <a:lnTo>
                    <a:pt x="367170" y="200876"/>
                  </a:lnTo>
                  <a:lnTo>
                    <a:pt x="367170" y="202260"/>
                  </a:lnTo>
                  <a:lnTo>
                    <a:pt x="367170" y="200876"/>
                  </a:lnTo>
                  <a:lnTo>
                    <a:pt x="367170" y="202260"/>
                  </a:lnTo>
                  <a:lnTo>
                    <a:pt x="367170" y="200876"/>
                  </a:lnTo>
                  <a:lnTo>
                    <a:pt x="367221" y="202260"/>
                  </a:lnTo>
                  <a:lnTo>
                    <a:pt x="367221" y="200876"/>
                  </a:lnTo>
                  <a:lnTo>
                    <a:pt x="367221" y="202260"/>
                  </a:lnTo>
                  <a:lnTo>
                    <a:pt x="367221" y="200876"/>
                  </a:lnTo>
                  <a:lnTo>
                    <a:pt x="367221" y="202260"/>
                  </a:lnTo>
                  <a:lnTo>
                    <a:pt x="367221" y="200228"/>
                  </a:lnTo>
                  <a:lnTo>
                    <a:pt x="367221" y="200876"/>
                  </a:lnTo>
                  <a:lnTo>
                    <a:pt x="367259" y="200228"/>
                  </a:lnTo>
                  <a:lnTo>
                    <a:pt x="367259" y="198831"/>
                  </a:lnTo>
                  <a:lnTo>
                    <a:pt x="367259" y="199530"/>
                  </a:lnTo>
                  <a:lnTo>
                    <a:pt x="367361" y="199530"/>
                  </a:lnTo>
                  <a:lnTo>
                    <a:pt x="367361" y="196799"/>
                  </a:lnTo>
                  <a:lnTo>
                    <a:pt x="367361" y="197447"/>
                  </a:lnTo>
                  <a:lnTo>
                    <a:pt x="367412" y="197447"/>
                  </a:lnTo>
                  <a:lnTo>
                    <a:pt x="367412" y="198831"/>
                  </a:lnTo>
                  <a:lnTo>
                    <a:pt x="367412" y="197447"/>
                  </a:lnTo>
                  <a:lnTo>
                    <a:pt x="367412" y="199530"/>
                  </a:lnTo>
                  <a:lnTo>
                    <a:pt x="367462" y="200228"/>
                  </a:lnTo>
                  <a:lnTo>
                    <a:pt x="367462" y="199530"/>
                  </a:lnTo>
                  <a:lnTo>
                    <a:pt x="367462" y="200228"/>
                  </a:lnTo>
                  <a:lnTo>
                    <a:pt x="367462" y="199530"/>
                  </a:lnTo>
                  <a:lnTo>
                    <a:pt x="367462" y="200228"/>
                  </a:lnTo>
                  <a:lnTo>
                    <a:pt x="367462" y="199530"/>
                  </a:lnTo>
                  <a:lnTo>
                    <a:pt x="367462" y="200228"/>
                  </a:lnTo>
                  <a:lnTo>
                    <a:pt x="367462" y="199530"/>
                  </a:lnTo>
                  <a:lnTo>
                    <a:pt x="367564" y="200228"/>
                  </a:lnTo>
                  <a:lnTo>
                    <a:pt x="367564" y="199530"/>
                  </a:lnTo>
                  <a:lnTo>
                    <a:pt x="367564" y="200228"/>
                  </a:lnTo>
                  <a:lnTo>
                    <a:pt x="367615" y="200228"/>
                  </a:lnTo>
                  <a:lnTo>
                    <a:pt x="367615" y="200876"/>
                  </a:lnTo>
                  <a:lnTo>
                    <a:pt x="367615" y="200228"/>
                  </a:lnTo>
                  <a:lnTo>
                    <a:pt x="367615" y="200876"/>
                  </a:lnTo>
                  <a:lnTo>
                    <a:pt x="367615" y="200228"/>
                  </a:lnTo>
                  <a:lnTo>
                    <a:pt x="367615" y="200876"/>
                  </a:lnTo>
                  <a:lnTo>
                    <a:pt x="367666" y="200876"/>
                  </a:lnTo>
                  <a:lnTo>
                    <a:pt x="367666" y="202260"/>
                  </a:lnTo>
                  <a:lnTo>
                    <a:pt x="367666" y="200876"/>
                  </a:lnTo>
                  <a:lnTo>
                    <a:pt x="367666" y="202260"/>
                  </a:lnTo>
                  <a:lnTo>
                    <a:pt x="367716" y="202260"/>
                  </a:lnTo>
                  <a:lnTo>
                    <a:pt x="367716" y="200876"/>
                  </a:lnTo>
                  <a:lnTo>
                    <a:pt x="367716" y="202260"/>
                  </a:lnTo>
                  <a:lnTo>
                    <a:pt x="367716" y="200876"/>
                  </a:lnTo>
                  <a:lnTo>
                    <a:pt x="367716" y="202260"/>
                  </a:lnTo>
                  <a:lnTo>
                    <a:pt x="367716" y="200876"/>
                  </a:lnTo>
                  <a:lnTo>
                    <a:pt x="367805" y="200876"/>
                  </a:lnTo>
                  <a:lnTo>
                    <a:pt x="367805" y="198831"/>
                  </a:lnTo>
                  <a:lnTo>
                    <a:pt x="367805" y="199530"/>
                  </a:lnTo>
                  <a:lnTo>
                    <a:pt x="367805" y="198831"/>
                  </a:lnTo>
                  <a:lnTo>
                    <a:pt x="367856" y="198831"/>
                  </a:lnTo>
                  <a:lnTo>
                    <a:pt x="367856" y="197447"/>
                  </a:lnTo>
                  <a:lnTo>
                    <a:pt x="367856" y="198831"/>
                  </a:lnTo>
                  <a:lnTo>
                    <a:pt x="367907" y="198831"/>
                  </a:lnTo>
                  <a:lnTo>
                    <a:pt x="367907" y="200228"/>
                  </a:lnTo>
                  <a:lnTo>
                    <a:pt x="367958" y="200228"/>
                  </a:lnTo>
                  <a:lnTo>
                    <a:pt x="367958" y="199530"/>
                  </a:lnTo>
                  <a:lnTo>
                    <a:pt x="367958" y="200876"/>
                  </a:lnTo>
                  <a:lnTo>
                    <a:pt x="367958" y="200228"/>
                  </a:lnTo>
                  <a:lnTo>
                    <a:pt x="368059" y="200228"/>
                  </a:lnTo>
                  <a:lnTo>
                    <a:pt x="368059" y="199530"/>
                  </a:lnTo>
                  <a:lnTo>
                    <a:pt x="368059" y="200228"/>
                  </a:lnTo>
                  <a:lnTo>
                    <a:pt x="368059" y="199530"/>
                  </a:lnTo>
                  <a:lnTo>
                    <a:pt x="368059" y="200228"/>
                  </a:lnTo>
                  <a:lnTo>
                    <a:pt x="368110" y="200228"/>
                  </a:lnTo>
                  <a:lnTo>
                    <a:pt x="368110" y="200876"/>
                  </a:lnTo>
                  <a:lnTo>
                    <a:pt x="368161" y="200876"/>
                  </a:lnTo>
                  <a:lnTo>
                    <a:pt x="368161" y="202260"/>
                  </a:lnTo>
                  <a:lnTo>
                    <a:pt x="368161" y="200228"/>
                  </a:lnTo>
                  <a:lnTo>
                    <a:pt x="368161" y="200876"/>
                  </a:lnTo>
                  <a:lnTo>
                    <a:pt x="368262" y="200876"/>
                  </a:lnTo>
                  <a:lnTo>
                    <a:pt x="368262" y="202260"/>
                  </a:lnTo>
                  <a:lnTo>
                    <a:pt x="368262" y="200876"/>
                  </a:lnTo>
                  <a:lnTo>
                    <a:pt x="368262" y="202260"/>
                  </a:lnTo>
                  <a:lnTo>
                    <a:pt x="368262" y="200876"/>
                  </a:lnTo>
                  <a:lnTo>
                    <a:pt x="368301" y="200228"/>
                  </a:lnTo>
                  <a:lnTo>
                    <a:pt x="368301" y="199530"/>
                  </a:lnTo>
                  <a:lnTo>
                    <a:pt x="368301" y="200228"/>
                  </a:lnTo>
                  <a:lnTo>
                    <a:pt x="368301" y="199530"/>
                  </a:lnTo>
                  <a:lnTo>
                    <a:pt x="368301" y="200228"/>
                  </a:lnTo>
                  <a:lnTo>
                    <a:pt x="368301" y="197447"/>
                  </a:lnTo>
                  <a:lnTo>
                    <a:pt x="368351" y="197447"/>
                  </a:lnTo>
                  <a:lnTo>
                    <a:pt x="368351" y="196799"/>
                  </a:lnTo>
                  <a:lnTo>
                    <a:pt x="368351" y="197447"/>
                  </a:lnTo>
                  <a:lnTo>
                    <a:pt x="368351" y="196799"/>
                  </a:lnTo>
                  <a:lnTo>
                    <a:pt x="368351" y="197447"/>
                  </a:lnTo>
                  <a:lnTo>
                    <a:pt x="368402" y="197447"/>
                  </a:lnTo>
                  <a:lnTo>
                    <a:pt x="368402" y="198831"/>
                  </a:lnTo>
                  <a:lnTo>
                    <a:pt x="368402" y="196799"/>
                  </a:lnTo>
                  <a:lnTo>
                    <a:pt x="368402" y="200228"/>
                  </a:lnTo>
                  <a:lnTo>
                    <a:pt x="368504" y="200228"/>
                  </a:lnTo>
                  <a:lnTo>
                    <a:pt x="368504" y="197447"/>
                  </a:lnTo>
                  <a:lnTo>
                    <a:pt x="368504" y="199530"/>
                  </a:lnTo>
                  <a:lnTo>
                    <a:pt x="368555" y="199530"/>
                  </a:lnTo>
                  <a:lnTo>
                    <a:pt x="368555" y="198831"/>
                  </a:lnTo>
                  <a:lnTo>
                    <a:pt x="368555" y="199530"/>
                  </a:lnTo>
                  <a:lnTo>
                    <a:pt x="368605" y="199530"/>
                  </a:lnTo>
                  <a:lnTo>
                    <a:pt x="368605" y="200228"/>
                  </a:lnTo>
                  <a:lnTo>
                    <a:pt x="368605" y="199530"/>
                  </a:lnTo>
                  <a:lnTo>
                    <a:pt x="368605" y="200876"/>
                  </a:lnTo>
                  <a:lnTo>
                    <a:pt x="368707" y="200876"/>
                  </a:lnTo>
                  <a:lnTo>
                    <a:pt x="368707" y="202260"/>
                  </a:lnTo>
                  <a:lnTo>
                    <a:pt x="368707" y="200876"/>
                  </a:lnTo>
                  <a:lnTo>
                    <a:pt x="368707" y="202260"/>
                  </a:lnTo>
                  <a:lnTo>
                    <a:pt x="368707" y="200876"/>
                  </a:lnTo>
                  <a:lnTo>
                    <a:pt x="368707" y="202260"/>
                  </a:lnTo>
                  <a:lnTo>
                    <a:pt x="368707" y="200876"/>
                  </a:lnTo>
                  <a:lnTo>
                    <a:pt x="368707" y="202260"/>
                  </a:lnTo>
                  <a:lnTo>
                    <a:pt x="368758" y="200876"/>
                  </a:lnTo>
                  <a:lnTo>
                    <a:pt x="368758" y="202260"/>
                  </a:lnTo>
                  <a:lnTo>
                    <a:pt x="368758" y="200876"/>
                  </a:lnTo>
                  <a:lnTo>
                    <a:pt x="368808" y="200876"/>
                  </a:lnTo>
                  <a:lnTo>
                    <a:pt x="368808" y="200228"/>
                  </a:lnTo>
                  <a:lnTo>
                    <a:pt x="368808" y="200876"/>
                  </a:lnTo>
                  <a:lnTo>
                    <a:pt x="368808" y="198831"/>
                  </a:lnTo>
                  <a:lnTo>
                    <a:pt x="368847" y="199530"/>
                  </a:lnTo>
                  <a:lnTo>
                    <a:pt x="368847" y="197447"/>
                  </a:lnTo>
                  <a:lnTo>
                    <a:pt x="368847" y="199530"/>
                  </a:lnTo>
                  <a:lnTo>
                    <a:pt x="368847" y="198831"/>
                  </a:lnTo>
                  <a:lnTo>
                    <a:pt x="368948" y="198831"/>
                  </a:lnTo>
                  <a:lnTo>
                    <a:pt x="368948" y="197447"/>
                  </a:lnTo>
                  <a:lnTo>
                    <a:pt x="368948" y="200876"/>
                  </a:lnTo>
                  <a:lnTo>
                    <a:pt x="368948" y="200228"/>
                  </a:lnTo>
                  <a:lnTo>
                    <a:pt x="368948" y="200876"/>
                  </a:lnTo>
                  <a:lnTo>
                    <a:pt x="368948" y="199530"/>
                  </a:lnTo>
                  <a:lnTo>
                    <a:pt x="368999" y="199530"/>
                  </a:lnTo>
                  <a:lnTo>
                    <a:pt x="368999" y="198831"/>
                  </a:lnTo>
                  <a:lnTo>
                    <a:pt x="368999" y="200228"/>
                  </a:lnTo>
                  <a:lnTo>
                    <a:pt x="368999" y="198831"/>
                  </a:lnTo>
                  <a:lnTo>
                    <a:pt x="369050" y="199530"/>
                  </a:lnTo>
                  <a:lnTo>
                    <a:pt x="369050" y="200228"/>
                  </a:lnTo>
                  <a:lnTo>
                    <a:pt x="369050" y="199530"/>
                  </a:lnTo>
                  <a:lnTo>
                    <a:pt x="369050" y="200228"/>
                  </a:lnTo>
                  <a:lnTo>
                    <a:pt x="369050" y="199530"/>
                  </a:lnTo>
                  <a:lnTo>
                    <a:pt x="369151" y="199530"/>
                  </a:lnTo>
                  <a:lnTo>
                    <a:pt x="369151" y="200876"/>
                  </a:lnTo>
                  <a:lnTo>
                    <a:pt x="369151" y="200228"/>
                  </a:lnTo>
                  <a:lnTo>
                    <a:pt x="369202" y="200876"/>
                  </a:lnTo>
                  <a:lnTo>
                    <a:pt x="369202" y="200228"/>
                  </a:lnTo>
                  <a:lnTo>
                    <a:pt x="369202" y="200876"/>
                  </a:lnTo>
                  <a:lnTo>
                    <a:pt x="369253" y="200876"/>
                  </a:lnTo>
                  <a:lnTo>
                    <a:pt x="369253" y="199530"/>
                  </a:lnTo>
                  <a:lnTo>
                    <a:pt x="369253" y="200228"/>
                  </a:lnTo>
                  <a:lnTo>
                    <a:pt x="369304" y="200228"/>
                  </a:lnTo>
                  <a:lnTo>
                    <a:pt x="369304" y="198831"/>
                  </a:lnTo>
                  <a:lnTo>
                    <a:pt x="369393" y="198831"/>
                  </a:lnTo>
                  <a:lnTo>
                    <a:pt x="369393" y="197447"/>
                  </a:lnTo>
                  <a:lnTo>
                    <a:pt x="369393" y="200228"/>
                  </a:lnTo>
                  <a:lnTo>
                    <a:pt x="369393" y="198831"/>
                  </a:lnTo>
                  <a:lnTo>
                    <a:pt x="369443" y="198831"/>
                  </a:lnTo>
                  <a:lnTo>
                    <a:pt x="369443" y="197447"/>
                  </a:lnTo>
                  <a:lnTo>
                    <a:pt x="369443" y="200876"/>
                  </a:lnTo>
                  <a:lnTo>
                    <a:pt x="369443" y="199530"/>
                  </a:lnTo>
                  <a:lnTo>
                    <a:pt x="369494" y="199530"/>
                  </a:lnTo>
                  <a:lnTo>
                    <a:pt x="369494" y="200876"/>
                  </a:lnTo>
                  <a:lnTo>
                    <a:pt x="369494" y="199530"/>
                  </a:lnTo>
                  <a:lnTo>
                    <a:pt x="369494" y="200228"/>
                  </a:lnTo>
                  <a:lnTo>
                    <a:pt x="369494" y="199530"/>
                  </a:lnTo>
                  <a:lnTo>
                    <a:pt x="369545" y="200228"/>
                  </a:lnTo>
                  <a:lnTo>
                    <a:pt x="369545" y="200876"/>
                  </a:lnTo>
                  <a:lnTo>
                    <a:pt x="369545" y="200228"/>
                  </a:lnTo>
                  <a:lnTo>
                    <a:pt x="369545" y="200876"/>
                  </a:lnTo>
                  <a:lnTo>
                    <a:pt x="369545" y="200228"/>
                  </a:lnTo>
                  <a:lnTo>
                    <a:pt x="369647" y="200876"/>
                  </a:lnTo>
                  <a:lnTo>
                    <a:pt x="369647" y="202260"/>
                  </a:lnTo>
                  <a:lnTo>
                    <a:pt x="369647" y="200876"/>
                  </a:lnTo>
                  <a:lnTo>
                    <a:pt x="369697" y="200876"/>
                  </a:lnTo>
                  <a:lnTo>
                    <a:pt x="369697" y="202260"/>
                  </a:lnTo>
                  <a:lnTo>
                    <a:pt x="369697" y="200876"/>
                  </a:lnTo>
                  <a:lnTo>
                    <a:pt x="369697" y="202260"/>
                  </a:lnTo>
                  <a:lnTo>
                    <a:pt x="369697" y="200228"/>
                  </a:lnTo>
                  <a:lnTo>
                    <a:pt x="369697" y="200876"/>
                  </a:lnTo>
                  <a:lnTo>
                    <a:pt x="369748" y="200876"/>
                  </a:lnTo>
                  <a:lnTo>
                    <a:pt x="369748" y="200228"/>
                  </a:lnTo>
                  <a:lnTo>
                    <a:pt x="369748" y="200876"/>
                  </a:lnTo>
                  <a:lnTo>
                    <a:pt x="369748" y="200228"/>
                  </a:lnTo>
                  <a:lnTo>
                    <a:pt x="369850" y="200228"/>
                  </a:lnTo>
                  <a:lnTo>
                    <a:pt x="369850" y="198831"/>
                  </a:lnTo>
                  <a:lnTo>
                    <a:pt x="369850" y="199530"/>
                  </a:lnTo>
                  <a:lnTo>
                    <a:pt x="369888" y="200228"/>
                  </a:lnTo>
                  <a:lnTo>
                    <a:pt x="369888" y="200876"/>
                  </a:lnTo>
                  <a:lnTo>
                    <a:pt x="369888" y="199530"/>
                  </a:lnTo>
                  <a:lnTo>
                    <a:pt x="369888" y="202260"/>
                  </a:lnTo>
                  <a:lnTo>
                    <a:pt x="369939" y="202260"/>
                  </a:lnTo>
                  <a:lnTo>
                    <a:pt x="369939" y="202959"/>
                  </a:lnTo>
                  <a:lnTo>
                    <a:pt x="369939" y="200228"/>
                  </a:lnTo>
                  <a:lnTo>
                    <a:pt x="369939" y="200876"/>
                  </a:lnTo>
                  <a:lnTo>
                    <a:pt x="369990" y="202260"/>
                  </a:lnTo>
                  <a:lnTo>
                    <a:pt x="369990" y="200876"/>
                  </a:lnTo>
                  <a:lnTo>
                    <a:pt x="369990" y="202260"/>
                  </a:lnTo>
                  <a:lnTo>
                    <a:pt x="369990" y="200876"/>
                  </a:lnTo>
                  <a:lnTo>
                    <a:pt x="369990" y="202959"/>
                  </a:lnTo>
                  <a:lnTo>
                    <a:pt x="369990" y="202260"/>
                  </a:lnTo>
                  <a:lnTo>
                    <a:pt x="370091" y="202260"/>
                  </a:lnTo>
                  <a:lnTo>
                    <a:pt x="370091" y="200876"/>
                  </a:lnTo>
                  <a:lnTo>
                    <a:pt x="370091" y="202260"/>
                  </a:lnTo>
                  <a:lnTo>
                    <a:pt x="370091" y="200876"/>
                  </a:lnTo>
                  <a:lnTo>
                    <a:pt x="370142" y="200876"/>
                  </a:lnTo>
                  <a:lnTo>
                    <a:pt x="370142" y="202260"/>
                  </a:lnTo>
                  <a:lnTo>
                    <a:pt x="370142" y="200876"/>
                  </a:lnTo>
                  <a:lnTo>
                    <a:pt x="370142" y="202260"/>
                  </a:lnTo>
                  <a:lnTo>
                    <a:pt x="370142" y="200876"/>
                  </a:lnTo>
                  <a:lnTo>
                    <a:pt x="370142" y="202260"/>
                  </a:lnTo>
                  <a:lnTo>
                    <a:pt x="370142" y="200876"/>
                  </a:lnTo>
                  <a:lnTo>
                    <a:pt x="370193" y="200876"/>
                  </a:lnTo>
                  <a:lnTo>
                    <a:pt x="370193" y="199530"/>
                  </a:lnTo>
                  <a:lnTo>
                    <a:pt x="370294" y="199530"/>
                  </a:lnTo>
                  <a:lnTo>
                    <a:pt x="370294" y="200228"/>
                  </a:lnTo>
                  <a:lnTo>
                    <a:pt x="370294" y="198831"/>
                  </a:lnTo>
                  <a:lnTo>
                    <a:pt x="370294" y="199530"/>
                  </a:lnTo>
                  <a:lnTo>
                    <a:pt x="370294" y="197447"/>
                  </a:lnTo>
                  <a:lnTo>
                    <a:pt x="370294" y="198831"/>
                  </a:lnTo>
                  <a:lnTo>
                    <a:pt x="370345" y="198831"/>
                  </a:lnTo>
                  <a:lnTo>
                    <a:pt x="370345" y="196113"/>
                  </a:lnTo>
                  <a:lnTo>
                    <a:pt x="370345" y="199530"/>
                  </a:lnTo>
                  <a:lnTo>
                    <a:pt x="370396" y="199530"/>
                  </a:lnTo>
                  <a:lnTo>
                    <a:pt x="370396" y="197447"/>
                  </a:lnTo>
                  <a:lnTo>
                    <a:pt x="370396" y="200876"/>
                  </a:lnTo>
                  <a:lnTo>
                    <a:pt x="370434" y="200876"/>
                  </a:lnTo>
                  <a:lnTo>
                    <a:pt x="370434" y="199530"/>
                  </a:lnTo>
                  <a:lnTo>
                    <a:pt x="370434" y="200876"/>
                  </a:lnTo>
                  <a:lnTo>
                    <a:pt x="370536" y="200876"/>
                  </a:lnTo>
                  <a:lnTo>
                    <a:pt x="370536" y="200228"/>
                  </a:lnTo>
                  <a:lnTo>
                    <a:pt x="370536" y="200876"/>
                  </a:lnTo>
                  <a:lnTo>
                    <a:pt x="370587" y="200876"/>
                  </a:lnTo>
                  <a:lnTo>
                    <a:pt x="370587" y="202260"/>
                  </a:lnTo>
                  <a:lnTo>
                    <a:pt x="370587" y="200876"/>
                  </a:lnTo>
                  <a:lnTo>
                    <a:pt x="370587" y="202260"/>
                  </a:lnTo>
                  <a:lnTo>
                    <a:pt x="370587" y="200876"/>
                  </a:lnTo>
                  <a:lnTo>
                    <a:pt x="370587" y="202260"/>
                  </a:lnTo>
                  <a:lnTo>
                    <a:pt x="370637" y="202260"/>
                  </a:lnTo>
                  <a:lnTo>
                    <a:pt x="370637" y="202959"/>
                  </a:lnTo>
                  <a:lnTo>
                    <a:pt x="370637" y="202260"/>
                  </a:lnTo>
                  <a:lnTo>
                    <a:pt x="370637" y="202959"/>
                  </a:lnTo>
                  <a:lnTo>
                    <a:pt x="370637" y="202260"/>
                  </a:lnTo>
                  <a:lnTo>
                    <a:pt x="370739" y="202260"/>
                  </a:lnTo>
                  <a:lnTo>
                    <a:pt x="370739" y="200228"/>
                  </a:lnTo>
                  <a:lnTo>
                    <a:pt x="370739" y="200876"/>
                  </a:lnTo>
                  <a:lnTo>
                    <a:pt x="370739" y="200228"/>
                  </a:lnTo>
                  <a:lnTo>
                    <a:pt x="370739" y="200876"/>
                  </a:lnTo>
                  <a:lnTo>
                    <a:pt x="370739" y="200228"/>
                  </a:lnTo>
                  <a:lnTo>
                    <a:pt x="370790" y="200228"/>
                  </a:lnTo>
                  <a:lnTo>
                    <a:pt x="370790" y="199530"/>
                  </a:lnTo>
                  <a:lnTo>
                    <a:pt x="370841" y="199530"/>
                  </a:lnTo>
                  <a:lnTo>
                    <a:pt x="370841" y="200876"/>
                  </a:lnTo>
                  <a:lnTo>
                    <a:pt x="370841" y="199530"/>
                  </a:lnTo>
                  <a:lnTo>
                    <a:pt x="370891" y="200228"/>
                  </a:lnTo>
                  <a:lnTo>
                    <a:pt x="370891" y="202260"/>
                  </a:lnTo>
                  <a:lnTo>
                    <a:pt x="370891" y="200876"/>
                  </a:lnTo>
                  <a:lnTo>
                    <a:pt x="370891" y="202260"/>
                  </a:lnTo>
                  <a:lnTo>
                    <a:pt x="370891" y="200228"/>
                  </a:lnTo>
                  <a:lnTo>
                    <a:pt x="370891" y="200876"/>
                  </a:lnTo>
                  <a:lnTo>
                    <a:pt x="370980" y="200876"/>
                  </a:lnTo>
                  <a:lnTo>
                    <a:pt x="370980" y="202260"/>
                  </a:lnTo>
                  <a:lnTo>
                    <a:pt x="370980" y="200228"/>
                  </a:lnTo>
                  <a:lnTo>
                    <a:pt x="370980" y="200876"/>
                  </a:lnTo>
                  <a:lnTo>
                    <a:pt x="371031" y="200876"/>
                  </a:lnTo>
                  <a:lnTo>
                    <a:pt x="371031" y="202260"/>
                  </a:lnTo>
                  <a:lnTo>
                    <a:pt x="371031" y="200876"/>
                  </a:lnTo>
                  <a:lnTo>
                    <a:pt x="371031" y="202260"/>
                  </a:lnTo>
                  <a:lnTo>
                    <a:pt x="371031" y="200876"/>
                  </a:lnTo>
                  <a:lnTo>
                    <a:pt x="371031" y="202260"/>
                  </a:lnTo>
                  <a:lnTo>
                    <a:pt x="371031" y="200876"/>
                  </a:lnTo>
                  <a:lnTo>
                    <a:pt x="371031" y="202959"/>
                  </a:lnTo>
                  <a:lnTo>
                    <a:pt x="371031" y="202260"/>
                  </a:lnTo>
                  <a:lnTo>
                    <a:pt x="371031" y="202959"/>
                  </a:lnTo>
                  <a:lnTo>
                    <a:pt x="371082" y="202260"/>
                  </a:lnTo>
                  <a:lnTo>
                    <a:pt x="371082" y="202959"/>
                  </a:lnTo>
                  <a:lnTo>
                    <a:pt x="371133" y="202959"/>
                  </a:lnTo>
                  <a:lnTo>
                    <a:pt x="371133" y="200876"/>
                  </a:lnTo>
                  <a:lnTo>
                    <a:pt x="371133" y="202260"/>
                  </a:lnTo>
                  <a:lnTo>
                    <a:pt x="371133" y="200876"/>
                  </a:lnTo>
                  <a:lnTo>
                    <a:pt x="371133" y="202260"/>
                  </a:lnTo>
                  <a:lnTo>
                    <a:pt x="371133" y="200876"/>
                  </a:lnTo>
                  <a:lnTo>
                    <a:pt x="371234" y="200876"/>
                  </a:lnTo>
                  <a:lnTo>
                    <a:pt x="371234" y="200228"/>
                  </a:lnTo>
                  <a:lnTo>
                    <a:pt x="371234" y="200876"/>
                  </a:lnTo>
                  <a:lnTo>
                    <a:pt x="371234" y="200228"/>
                  </a:lnTo>
                  <a:lnTo>
                    <a:pt x="371285" y="200228"/>
                  </a:lnTo>
                  <a:lnTo>
                    <a:pt x="371285" y="199530"/>
                  </a:lnTo>
                  <a:lnTo>
                    <a:pt x="371285" y="200228"/>
                  </a:lnTo>
                  <a:lnTo>
                    <a:pt x="371285" y="198831"/>
                  </a:lnTo>
                  <a:lnTo>
                    <a:pt x="371285" y="199530"/>
                  </a:lnTo>
                  <a:lnTo>
                    <a:pt x="371285" y="197447"/>
                  </a:lnTo>
                  <a:lnTo>
                    <a:pt x="371336" y="197447"/>
                  </a:lnTo>
                  <a:lnTo>
                    <a:pt x="371336" y="196799"/>
                  </a:lnTo>
                  <a:lnTo>
                    <a:pt x="371336" y="200228"/>
                  </a:lnTo>
                  <a:lnTo>
                    <a:pt x="371336" y="197447"/>
                  </a:lnTo>
                  <a:lnTo>
                    <a:pt x="371437" y="197447"/>
                  </a:lnTo>
                  <a:lnTo>
                    <a:pt x="371437" y="200876"/>
                  </a:lnTo>
                  <a:lnTo>
                    <a:pt x="371437" y="198831"/>
                  </a:lnTo>
                  <a:lnTo>
                    <a:pt x="371437" y="199530"/>
                  </a:lnTo>
                  <a:lnTo>
                    <a:pt x="371476" y="199530"/>
                  </a:lnTo>
                  <a:lnTo>
                    <a:pt x="371476" y="200876"/>
                  </a:lnTo>
                  <a:lnTo>
                    <a:pt x="371476" y="199530"/>
                  </a:lnTo>
                  <a:lnTo>
                    <a:pt x="371476" y="200228"/>
                  </a:lnTo>
                  <a:lnTo>
                    <a:pt x="371476" y="199530"/>
                  </a:lnTo>
                  <a:lnTo>
                    <a:pt x="371476" y="200228"/>
                  </a:lnTo>
                  <a:lnTo>
                    <a:pt x="371526" y="200228"/>
                  </a:lnTo>
                  <a:lnTo>
                    <a:pt x="371526" y="200876"/>
                  </a:lnTo>
                  <a:lnTo>
                    <a:pt x="371577" y="200876"/>
                  </a:lnTo>
                  <a:lnTo>
                    <a:pt x="371577" y="202260"/>
                  </a:lnTo>
                  <a:lnTo>
                    <a:pt x="371577" y="200876"/>
                  </a:lnTo>
                  <a:lnTo>
                    <a:pt x="371577" y="202260"/>
                  </a:lnTo>
                  <a:lnTo>
                    <a:pt x="371679" y="202260"/>
                  </a:lnTo>
                  <a:lnTo>
                    <a:pt x="371679" y="200876"/>
                  </a:lnTo>
                  <a:lnTo>
                    <a:pt x="371679" y="202260"/>
                  </a:lnTo>
                  <a:lnTo>
                    <a:pt x="371679" y="200876"/>
                  </a:lnTo>
                  <a:lnTo>
                    <a:pt x="371730" y="200876"/>
                  </a:lnTo>
                  <a:lnTo>
                    <a:pt x="371730" y="200228"/>
                  </a:lnTo>
                  <a:lnTo>
                    <a:pt x="371730" y="200876"/>
                  </a:lnTo>
                  <a:lnTo>
                    <a:pt x="371730" y="199530"/>
                  </a:lnTo>
                  <a:lnTo>
                    <a:pt x="371780" y="199530"/>
                  </a:lnTo>
                  <a:lnTo>
                    <a:pt x="371780" y="200228"/>
                  </a:lnTo>
                  <a:lnTo>
                    <a:pt x="371780" y="199530"/>
                  </a:lnTo>
                  <a:lnTo>
                    <a:pt x="371780" y="200228"/>
                  </a:lnTo>
                  <a:lnTo>
                    <a:pt x="371780" y="198831"/>
                  </a:lnTo>
                  <a:lnTo>
                    <a:pt x="371780" y="199530"/>
                  </a:lnTo>
                  <a:lnTo>
                    <a:pt x="371780" y="198831"/>
                  </a:lnTo>
                  <a:lnTo>
                    <a:pt x="371780" y="199530"/>
                  </a:lnTo>
                  <a:lnTo>
                    <a:pt x="371780" y="198831"/>
                  </a:lnTo>
                  <a:lnTo>
                    <a:pt x="371780" y="199530"/>
                  </a:lnTo>
                  <a:lnTo>
                    <a:pt x="371882" y="199530"/>
                  </a:lnTo>
                  <a:lnTo>
                    <a:pt x="371882" y="200228"/>
                  </a:lnTo>
                  <a:lnTo>
                    <a:pt x="371882" y="196799"/>
                  </a:lnTo>
                  <a:lnTo>
                    <a:pt x="371882" y="200876"/>
                  </a:lnTo>
                  <a:lnTo>
                    <a:pt x="371933" y="200876"/>
                  </a:lnTo>
                  <a:lnTo>
                    <a:pt x="371933" y="197447"/>
                  </a:lnTo>
                  <a:lnTo>
                    <a:pt x="371933" y="200876"/>
                  </a:lnTo>
                  <a:lnTo>
                    <a:pt x="371933" y="200228"/>
                  </a:lnTo>
                  <a:lnTo>
                    <a:pt x="371983" y="200228"/>
                  </a:lnTo>
                  <a:lnTo>
                    <a:pt x="371983" y="198831"/>
                  </a:lnTo>
                  <a:lnTo>
                    <a:pt x="371983" y="200228"/>
                  </a:lnTo>
                  <a:lnTo>
                    <a:pt x="372022" y="200228"/>
                  </a:lnTo>
                  <a:lnTo>
                    <a:pt x="372022" y="199530"/>
                  </a:lnTo>
                  <a:lnTo>
                    <a:pt x="372022" y="200876"/>
                  </a:lnTo>
                  <a:lnTo>
                    <a:pt x="372022" y="200228"/>
                  </a:lnTo>
                  <a:lnTo>
                    <a:pt x="372022" y="200876"/>
                  </a:lnTo>
                  <a:lnTo>
                    <a:pt x="372022" y="200228"/>
                  </a:lnTo>
                  <a:lnTo>
                    <a:pt x="372022" y="200876"/>
                  </a:lnTo>
                  <a:lnTo>
                    <a:pt x="372022" y="200228"/>
                  </a:lnTo>
                  <a:lnTo>
                    <a:pt x="372022" y="200876"/>
                  </a:lnTo>
                  <a:lnTo>
                    <a:pt x="372123" y="200876"/>
                  </a:lnTo>
                  <a:lnTo>
                    <a:pt x="372123" y="200228"/>
                  </a:lnTo>
                  <a:lnTo>
                    <a:pt x="372123" y="200876"/>
                  </a:lnTo>
                  <a:lnTo>
                    <a:pt x="372123" y="200228"/>
                  </a:lnTo>
                  <a:lnTo>
                    <a:pt x="372174" y="200228"/>
                  </a:lnTo>
                  <a:lnTo>
                    <a:pt x="372174" y="200876"/>
                  </a:lnTo>
                  <a:lnTo>
                    <a:pt x="372174" y="200228"/>
                  </a:lnTo>
                  <a:lnTo>
                    <a:pt x="372174" y="200876"/>
                  </a:lnTo>
                  <a:lnTo>
                    <a:pt x="372174" y="200228"/>
                  </a:lnTo>
                  <a:lnTo>
                    <a:pt x="372174" y="200876"/>
                  </a:lnTo>
                  <a:lnTo>
                    <a:pt x="372225" y="200876"/>
                  </a:lnTo>
                  <a:lnTo>
                    <a:pt x="372225" y="199530"/>
                  </a:lnTo>
                  <a:lnTo>
                    <a:pt x="372225" y="200228"/>
                  </a:lnTo>
                  <a:lnTo>
                    <a:pt x="372225" y="199530"/>
                  </a:lnTo>
                  <a:lnTo>
                    <a:pt x="372326" y="199530"/>
                  </a:lnTo>
                  <a:lnTo>
                    <a:pt x="372326" y="198831"/>
                  </a:lnTo>
                  <a:lnTo>
                    <a:pt x="372326" y="199530"/>
                  </a:lnTo>
                  <a:lnTo>
                    <a:pt x="372326" y="198831"/>
                  </a:lnTo>
                  <a:lnTo>
                    <a:pt x="372326" y="199530"/>
                  </a:lnTo>
                  <a:lnTo>
                    <a:pt x="372377" y="199530"/>
                  </a:lnTo>
                  <a:lnTo>
                    <a:pt x="372377" y="197447"/>
                  </a:lnTo>
                  <a:lnTo>
                    <a:pt x="372377" y="200876"/>
                  </a:lnTo>
                  <a:lnTo>
                    <a:pt x="372377" y="200228"/>
                  </a:lnTo>
                  <a:lnTo>
                    <a:pt x="372428" y="200228"/>
                  </a:lnTo>
                  <a:lnTo>
                    <a:pt x="372428" y="198831"/>
                  </a:lnTo>
                  <a:lnTo>
                    <a:pt x="372428" y="200876"/>
                  </a:lnTo>
                  <a:lnTo>
                    <a:pt x="372479" y="200228"/>
                  </a:lnTo>
                  <a:lnTo>
                    <a:pt x="372479" y="199530"/>
                  </a:lnTo>
                  <a:lnTo>
                    <a:pt x="372479" y="200876"/>
                  </a:lnTo>
                  <a:lnTo>
                    <a:pt x="372568" y="200876"/>
                  </a:lnTo>
                  <a:lnTo>
                    <a:pt x="372568" y="202260"/>
                  </a:lnTo>
                  <a:lnTo>
                    <a:pt x="372568" y="200876"/>
                  </a:lnTo>
                  <a:lnTo>
                    <a:pt x="372568" y="202260"/>
                  </a:lnTo>
                  <a:lnTo>
                    <a:pt x="372568" y="200876"/>
                  </a:lnTo>
                  <a:lnTo>
                    <a:pt x="372618" y="200876"/>
                  </a:lnTo>
                  <a:lnTo>
                    <a:pt x="372618" y="202260"/>
                  </a:lnTo>
                  <a:lnTo>
                    <a:pt x="372618" y="200876"/>
                  </a:lnTo>
                  <a:lnTo>
                    <a:pt x="372618" y="202260"/>
                  </a:lnTo>
                  <a:lnTo>
                    <a:pt x="372618" y="200876"/>
                  </a:lnTo>
                  <a:lnTo>
                    <a:pt x="372669" y="200876"/>
                  </a:lnTo>
                  <a:lnTo>
                    <a:pt x="372669" y="200228"/>
                  </a:lnTo>
                  <a:lnTo>
                    <a:pt x="372669" y="200876"/>
                  </a:lnTo>
                  <a:lnTo>
                    <a:pt x="372669" y="200228"/>
                  </a:lnTo>
                  <a:lnTo>
                    <a:pt x="372669" y="202260"/>
                  </a:lnTo>
                  <a:lnTo>
                    <a:pt x="372669" y="200228"/>
                  </a:lnTo>
                  <a:lnTo>
                    <a:pt x="372720" y="200228"/>
                  </a:lnTo>
                  <a:lnTo>
                    <a:pt x="372720" y="200876"/>
                  </a:lnTo>
                  <a:lnTo>
                    <a:pt x="372720" y="199530"/>
                  </a:lnTo>
                  <a:lnTo>
                    <a:pt x="372720" y="200228"/>
                  </a:lnTo>
                  <a:lnTo>
                    <a:pt x="372822" y="200228"/>
                  </a:lnTo>
                  <a:lnTo>
                    <a:pt x="372822" y="198831"/>
                  </a:lnTo>
                  <a:lnTo>
                    <a:pt x="372822" y="199530"/>
                  </a:lnTo>
                  <a:lnTo>
                    <a:pt x="372822" y="198831"/>
                  </a:lnTo>
                  <a:lnTo>
                    <a:pt x="372822" y="200876"/>
                  </a:lnTo>
                  <a:lnTo>
                    <a:pt x="372822" y="200228"/>
                  </a:lnTo>
                  <a:lnTo>
                    <a:pt x="372872" y="200228"/>
                  </a:lnTo>
                  <a:lnTo>
                    <a:pt x="372872" y="198831"/>
                  </a:lnTo>
                  <a:lnTo>
                    <a:pt x="372872" y="202260"/>
                  </a:lnTo>
                  <a:lnTo>
                    <a:pt x="372872" y="199530"/>
                  </a:lnTo>
                  <a:lnTo>
                    <a:pt x="372923" y="199530"/>
                  </a:lnTo>
                  <a:lnTo>
                    <a:pt x="372923" y="202260"/>
                  </a:lnTo>
                  <a:lnTo>
                    <a:pt x="372923" y="200228"/>
                  </a:lnTo>
                  <a:lnTo>
                    <a:pt x="373025" y="200228"/>
                  </a:lnTo>
                  <a:lnTo>
                    <a:pt x="373025" y="200876"/>
                  </a:lnTo>
                  <a:lnTo>
                    <a:pt x="373063" y="200876"/>
                  </a:lnTo>
                  <a:lnTo>
                    <a:pt x="373063" y="202260"/>
                  </a:lnTo>
                  <a:lnTo>
                    <a:pt x="373063" y="200876"/>
                  </a:lnTo>
                  <a:lnTo>
                    <a:pt x="373063" y="202260"/>
                  </a:lnTo>
                  <a:lnTo>
                    <a:pt x="373063" y="200876"/>
                  </a:lnTo>
                  <a:lnTo>
                    <a:pt x="373114" y="200876"/>
                  </a:lnTo>
                  <a:lnTo>
                    <a:pt x="373114" y="200228"/>
                  </a:lnTo>
                  <a:lnTo>
                    <a:pt x="373114" y="200876"/>
                  </a:lnTo>
                  <a:lnTo>
                    <a:pt x="373165" y="200876"/>
                  </a:lnTo>
                  <a:lnTo>
                    <a:pt x="373165" y="200228"/>
                  </a:lnTo>
                  <a:lnTo>
                    <a:pt x="373165" y="200876"/>
                  </a:lnTo>
                  <a:lnTo>
                    <a:pt x="373165" y="199530"/>
                  </a:lnTo>
                  <a:lnTo>
                    <a:pt x="373266" y="200228"/>
                  </a:lnTo>
                  <a:lnTo>
                    <a:pt x="373266" y="197447"/>
                  </a:lnTo>
                  <a:lnTo>
                    <a:pt x="373317" y="197447"/>
                  </a:lnTo>
                  <a:lnTo>
                    <a:pt x="373317" y="196799"/>
                  </a:lnTo>
                  <a:lnTo>
                    <a:pt x="373317" y="198831"/>
                  </a:lnTo>
                  <a:lnTo>
                    <a:pt x="373317" y="197447"/>
                  </a:lnTo>
                  <a:lnTo>
                    <a:pt x="373368" y="196799"/>
                  </a:lnTo>
                  <a:lnTo>
                    <a:pt x="373368" y="199530"/>
                  </a:lnTo>
                  <a:lnTo>
                    <a:pt x="373368" y="198831"/>
                  </a:lnTo>
                  <a:lnTo>
                    <a:pt x="373469" y="198831"/>
                  </a:lnTo>
                  <a:lnTo>
                    <a:pt x="373469" y="200228"/>
                  </a:lnTo>
                  <a:lnTo>
                    <a:pt x="373520" y="200228"/>
                  </a:lnTo>
                  <a:lnTo>
                    <a:pt x="373520" y="200876"/>
                  </a:lnTo>
                  <a:lnTo>
                    <a:pt x="373520" y="200228"/>
                  </a:lnTo>
                  <a:lnTo>
                    <a:pt x="373520" y="200876"/>
                  </a:lnTo>
                  <a:lnTo>
                    <a:pt x="373520" y="200228"/>
                  </a:lnTo>
                  <a:lnTo>
                    <a:pt x="373520" y="200876"/>
                  </a:lnTo>
                  <a:lnTo>
                    <a:pt x="373520" y="200228"/>
                  </a:lnTo>
                  <a:lnTo>
                    <a:pt x="373520" y="200876"/>
                  </a:lnTo>
                  <a:lnTo>
                    <a:pt x="373520" y="200228"/>
                  </a:lnTo>
                  <a:lnTo>
                    <a:pt x="373571" y="200228"/>
                  </a:lnTo>
                  <a:lnTo>
                    <a:pt x="373571" y="200876"/>
                  </a:lnTo>
                  <a:lnTo>
                    <a:pt x="373571" y="200228"/>
                  </a:lnTo>
                  <a:lnTo>
                    <a:pt x="373571" y="200876"/>
                  </a:lnTo>
                  <a:lnTo>
                    <a:pt x="373571" y="200228"/>
                  </a:lnTo>
                  <a:lnTo>
                    <a:pt x="373609" y="200876"/>
                  </a:lnTo>
                  <a:lnTo>
                    <a:pt x="373609" y="200228"/>
                  </a:lnTo>
                  <a:lnTo>
                    <a:pt x="373609" y="200876"/>
                  </a:lnTo>
                  <a:lnTo>
                    <a:pt x="373711" y="200876"/>
                  </a:lnTo>
                  <a:lnTo>
                    <a:pt x="373711" y="200228"/>
                  </a:lnTo>
                  <a:lnTo>
                    <a:pt x="373711" y="200876"/>
                  </a:lnTo>
                  <a:lnTo>
                    <a:pt x="373711" y="200228"/>
                  </a:lnTo>
                  <a:lnTo>
                    <a:pt x="373711" y="200876"/>
                  </a:lnTo>
                  <a:lnTo>
                    <a:pt x="373711" y="200228"/>
                  </a:lnTo>
                  <a:lnTo>
                    <a:pt x="373762" y="200228"/>
                  </a:lnTo>
                  <a:lnTo>
                    <a:pt x="373762" y="198831"/>
                  </a:lnTo>
                  <a:lnTo>
                    <a:pt x="373762" y="199530"/>
                  </a:lnTo>
                  <a:lnTo>
                    <a:pt x="373762" y="197447"/>
                  </a:lnTo>
                  <a:lnTo>
                    <a:pt x="373762" y="198831"/>
                  </a:lnTo>
                  <a:lnTo>
                    <a:pt x="373812" y="198831"/>
                  </a:lnTo>
                  <a:lnTo>
                    <a:pt x="373812" y="199530"/>
                  </a:lnTo>
                  <a:lnTo>
                    <a:pt x="373812" y="198831"/>
                  </a:lnTo>
                  <a:lnTo>
                    <a:pt x="373812" y="199530"/>
                  </a:lnTo>
                  <a:lnTo>
                    <a:pt x="373812" y="197447"/>
                  </a:lnTo>
                  <a:lnTo>
                    <a:pt x="373812" y="198831"/>
                  </a:lnTo>
                  <a:lnTo>
                    <a:pt x="373914" y="199530"/>
                  </a:lnTo>
                  <a:lnTo>
                    <a:pt x="373914" y="200876"/>
                  </a:lnTo>
                  <a:lnTo>
                    <a:pt x="373914" y="198831"/>
                  </a:lnTo>
                  <a:lnTo>
                    <a:pt x="373914" y="200228"/>
                  </a:lnTo>
                  <a:lnTo>
                    <a:pt x="373965" y="200228"/>
                  </a:lnTo>
                  <a:lnTo>
                    <a:pt x="373965" y="200876"/>
                  </a:lnTo>
                  <a:lnTo>
                    <a:pt x="373965" y="200228"/>
                  </a:lnTo>
                  <a:lnTo>
                    <a:pt x="373965" y="200876"/>
                  </a:lnTo>
                  <a:lnTo>
                    <a:pt x="373965" y="200228"/>
                  </a:lnTo>
                  <a:lnTo>
                    <a:pt x="374016" y="200228"/>
                  </a:lnTo>
                  <a:lnTo>
                    <a:pt x="374016" y="202260"/>
                  </a:lnTo>
                  <a:lnTo>
                    <a:pt x="374016" y="200228"/>
                  </a:lnTo>
                  <a:lnTo>
                    <a:pt x="374016" y="200876"/>
                  </a:lnTo>
                  <a:lnTo>
                    <a:pt x="374066" y="200876"/>
                  </a:lnTo>
                  <a:lnTo>
                    <a:pt x="374066" y="202260"/>
                  </a:lnTo>
                  <a:lnTo>
                    <a:pt x="374066" y="200876"/>
                  </a:lnTo>
                  <a:lnTo>
                    <a:pt x="374155" y="200876"/>
                  </a:lnTo>
                  <a:lnTo>
                    <a:pt x="374155" y="200228"/>
                  </a:lnTo>
                  <a:lnTo>
                    <a:pt x="374155" y="202260"/>
                  </a:lnTo>
                  <a:lnTo>
                    <a:pt x="374155" y="200876"/>
                  </a:lnTo>
                  <a:lnTo>
                    <a:pt x="374206" y="200876"/>
                  </a:lnTo>
                  <a:lnTo>
                    <a:pt x="374206" y="199530"/>
                  </a:lnTo>
                  <a:lnTo>
                    <a:pt x="374257" y="199530"/>
                  </a:lnTo>
                  <a:lnTo>
                    <a:pt x="374257" y="196799"/>
                  </a:lnTo>
                  <a:lnTo>
                    <a:pt x="374308" y="196799"/>
                  </a:lnTo>
                  <a:lnTo>
                    <a:pt x="374308" y="196113"/>
                  </a:lnTo>
                  <a:lnTo>
                    <a:pt x="374308" y="196799"/>
                  </a:lnTo>
                  <a:lnTo>
                    <a:pt x="374308" y="196113"/>
                  </a:lnTo>
                  <a:lnTo>
                    <a:pt x="374308" y="198831"/>
                  </a:lnTo>
                  <a:lnTo>
                    <a:pt x="374308" y="196113"/>
                  </a:lnTo>
                  <a:lnTo>
                    <a:pt x="374409" y="196113"/>
                  </a:lnTo>
                  <a:lnTo>
                    <a:pt x="374409" y="199530"/>
                  </a:lnTo>
                  <a:lnTo>
                    <a:pt x="374409" y="198831"/>
                  </a:lnTo>
                  <a:lnTo>
                    <a:pt x="374460" y="198831"/>
                  </a:lnTo>
                  <a:lnTo>
                    <a:pt x="374460" y="200228"/>
                  </a:lnTo>
                  <a:lnTo>
                    <a:pt x="374460" y="199530"/>
                  </a:lnTo>
                  <a:lnTo>
                    <a:pt x="374511" y="199530"/>
                  </a:lnTo>
                  <a:lnTo>
                    <a:pt x="374511" y="200228"/>
                  </a:lnTo>
                  <a:lnTo>
                    <a:pt x="374511" y="199530"/>
                  </a:lnTo>
                  <a:lnTo>
                    <a:pt x="374511" y="200228"/>
                  </a:lnTo>
                  <a:lnTo>
                    <a:pt x="374612" y="200228"/>
                  </a:lnTo>
                  <a:lnTo>
                    <a:pt x="374612" y="200876"/>
                  </a:lnTo>
                  <a:lnTo>
                    <a:pt x="374612" y="200228"/>
                  </a:lnTo>
                  <a:lnTo>
                    <a:pt x="374612" y="200876"/>
                  </a:lnTo>
                  <a:lnTo>
                    <a:pt x="374651" y="200228"/>
                  </a:lnTo>
                  <a:lnTo>
                    <a:pt x="374651" y="200876"/>
                  </a:lnTo>
                  <a:lnTo>
                    <a:pt x="374701" y="200876"/>
                  </a:lnTo>
                  <a:lnTo>
                    <a:pt x="374701" y="202260"/>
                  </a:lnTo>
                  <a:lnTo>
                    <a:pt x="374701" y="200228"/>
                  </a:lnTo>
                  <a:lnTo>
                    <a:pt x="374752" y="200228"/>
                  </a:lnTo>
                  <a:lnTo>
                    <a:pt x="374752" y="198831"/>
                  </a:lnTo>
                  <a:lnTo>
                    <a:pt x="374752" y="199530"/>
                  </a:lnTo>
                  <a:lnTo>
                    <a:pt x="374752" y="196799"/>
                  </a:lnTo>
                  <a:lnTo>
                    <a:pt x="374854" y="196799"/>
                  </a:lnTo>
                  <a:lnTo>
                    <a:pt x="374854" y="199530"/>
                  </a:lnTo>
                  <a:lnTo>
                    <a:pt x="374854" y="196799"/>
                  </a:lnTo>
                  <a:lnTo>
                    <a:pt x="374905" y="197447"/>
                  </a:lnTo>
                  <a:lnTo>
                    <a:pt x="374905" y="200228"/>
                  </a:lnTo>
                  <a:lnTo>
                    <a:pt x="374905" y="198831"/>
                  </a:lnTo>
                  <a:lnTo>
                    <a:pt x="374955" y="198831"/>
                  </a:lnTo>
                  <a:lnTo>
                    <a:pt x="374955" y="200228"/>
                  </a:lnTo>
                  <a:lnTo>
                    <a:pt x="374955" y="198831"/>
                  </a:lnTo>
                  <a:lnTo>
                    <a:pt x="374955" y="199530"/>
                  </a:lnTo>
                  <a:lnTo>
                    <a:pt x="375057" y="199530"/>
                  </a:lnTo>
                  <a:lnTo>
                    <a:pt x="375057" y="198831"/>
                  </a:lnTo>
                  <a:lnTo>
                    <a:pt x="375057" y="199530"/>
                  </a:lnTo>
                  <a:lnTo>
                    <a:pt x="375057" y="198831"/>
                  </a:lnTo>
                  <a:lnTo>
                    <a:pt x="375057" y="199530"/>
                  </a:lnTo>
                  <a:lnTo>
                    <a:pt x="375108" y="199530"/>
                  </a:lnTo>
                  <a:lnTo>
                    <a:pt x="375108" y="200228"/>
                  </a:lnTo>
                  <a:lnTo>
                    <a:pt x="375108" y="199530"/>
                  </a:lnTo>
                  <a:lnTo>
                    <a:pt x="375108" y="200228"/>
                  </a:lnTo>
                  <a:lnTo>
                    <a:pt x="375108" y="199530"/>
                  </a:lnTo>
                  <a:lnTo>
                    <a:pt x="375108" y="200228"/>
                  </a:lnTo>
                  <a:lnTo>
                    <a:pt x="375158" y="200228"/>
                  </a:lnTo>
                  <a:lnTo>
                    <a:pt x="375158" y="200876"/>
                  </a:lnTo>
                  <a:lnTo>
                    <a:pt x="375158" y="200228"/>
                  </a:lnTo>
                  <a:lnTo>
                    <a:pt x="375158" y="200876"/>
                  </a:lnTo>
                  <a:lnTo>
                    <a:pt x="375158" y="200228"/>
                  </a:lnTo>
                  <a:lnTo>
                    <a:pt x="375158" y="200876"/>
                  </a:lnTo>
                  <a:lnTo>
                    <a:pt x="375197" y="200876"/>
                  </a:lnTo>
                  <a:lnTo>
                    <a:pt x="375197" y="199530"/>
                  </a:lnTo>
                  <a:lnTo>
                    <a:pt x="375197" y="200228"/>
                  </a:lnTo>
                  <a:lnTo>
                    <a:pt x="375197" y="199530"/>
                  </a:lnTo>
                  <a:lnTo>
                    <a:pt x="375298" y="199530"/>
                  </a:lnTo>
                  <a:lnTo>
                    <a:pt x="375298" y="197447"/>
                  </a:lnTo>
                  <a:lnTo>
                    <a:pt x="375298" y="198831"/>
                  </a:lnTo>
                  <a:lnTo>
                    <a:pt x="375349" y="199530"/>
                  </a:lnTo>
                  <a:lnTo>
                    <a:pt x="375349" y="197447"/>
                  </a:lnTo>
                  <a:lnTo>
                    <a:pt x="375349" y="200876"/>
                  </a:lnTo>
                  <a:lnTo>
                    <a:pt x="375400" y="200876"/>
                  </a:lnTo>
                  <a:lnTo>
                    <a:pt x="375400" y="200228"/>
                  </a:lnTo>
                  <a:lnTo>
                    <a:pt x="375400" y="200876"/>
                  </a:lnTo>
                  <a:lnTo>
                    <a:pt x="375400" y="200228"/>
                  </a:lnTo>
                  <a:lnTo>
                    <a:pt x="375400" y="200876"/>
                  </a:lnTo>
                  <a:lnTo>
                    <a:pt x="375400" y="199530"/>
                  </a:lnTo>
                  <a:lnTo>
                    <a:pt x="375400" y="200876"/>
                  </a:lnTo>
                  <a:lnTo>
                    <a:pt x="375501" y="200876"/>
                  </a:lnTo>
                  <a:lnTo>
                    <a:pt x="375501" y="200228"/>
                  </a:lnTo>
                  <a:lnTo>
                    <a:pt x="375501" y="200876"/>
                  </a:lnTo>
                  <a:lnTo>
                    <a:pt x="375501" y="199530"/>
                  </a:lnTo>
                  <a:lnTo>
                    <a:pt x="375501" y="200228"/>
                  </a:lnTo>
                  <a:lnTo>
                    <a:pt x="375552" y="200228"/>
                  </a:lnTo>
                  <a:lnTo>
                    <a:pt x="375552" y="200876"/>
                  </a:lnTo>
                  <a:lnTo>
                    <a:pt x="375603" y="200876"/>
                  </a:lnTo>
                  <a:lnTo>
                    <a:pt x="375603" y="200228"/>
                  </a:lnTo>
                  <a:lnTo>
                    <a:pt x="375603" y="202260"/>
                  </a:lnTo>
                  <a:lnTo>
                    <a:pt x="375603" y="200876"/>
                  </a:lnTo>
                  <a:lnTo>
                    <a:pt x="375654" y="200876"/>
                  </a:lnTo>
                  <a:lnTo>
                    <a:pt x="375654" y="200228"/>
                  </a:lnTo>
                  <a:lnTo>
                    <a:pt x="375654" y="200876"/>
                  </a:lnTo>
                  <a:lnTo>
                    <a:pt x="375654" y="200228"/>
                  </a:lnTo>
                  <a:lnTo>
                    <a:pt x="375743" y="200228"/>
                  </a:lnTo>
                  <a:lnTo>
                    <a:pt x="375743" y="198831"/>
                  </a:lnTo>
                  <a:lnTo>
                    <a:pt x="375793" y="198831"/>
                  </a:lnTo>
                  <a:lnTo>
                    <a:pt x="375793" y="200228"/>
                  </a:lnTo>
                  <a:lnTo>
                    <a:pt x="375793" y="199530"/>
                  </a:lnTo>
                  <a:lnTo>
                    <a:pt x="375793" y="200228"/>
                  </a:lnTo>
                  <a:lnTo>
                    <a:pt x="375844" y="200228"/>
                  </a:lnTo>
                  <a:lnTo>
                    <a:pt x="375844" y="199530"/>
                  </a:lnTo>
                  <a:lnTo>
                    <a:pt x="375844" y="202959"/>
                  </a:lnTo>
                  <a:lnTo>
                    <a:pt x="375844" y="200876"/>
                  </a:lnTo>
                  <a:lnTo>
                    <a:pt x="375844" y="202260"/>
                  </a:lnTo>
                  <a:lnTo>
                    <a:pt x="375895" y="202260"/>
                  </a:lnTo>
                  <a:lnTo>
                    <a:pt x="375895" y="202959"/>
                  </a:lnTo>
                  <a:lnTo>
                    <a:pt x="375895" y="202260"/>
                  </a:lnTo>
                  <a:lnTo>
                    <a:pt x="375895" y="202959"/>
                  </a:lnTo>
                  <a:lnTo>
                    <a:pt x="375895" y="202260"/>
                  </a:lnTo>
                  <a:lnTo>
                    <a:pt x="375997" y="202260"/>
                  </a:lnTo>
                  <a:lnTo>
                    <a:pt x="375997" y="200876"/>
                  </a:lnTo>
                  <a:lnTo>
                    <a:pt x="375997" y="202260"/>
                  </a:lnTo>
                  <a:lnTo>
                    <a:pt x="375997" y="200876"/>
                  </a:lnTo>
                  <a:lnTo>
                    <a:pt x="375997" y="202260"/>
                  </a:lnTo>
                  <a:lnTo>
                    <a:pt x="376047" y="202260"/>
                  </a:lnTo>
                  <a:lnTo>
                    <a:pt x="376047" y="200876"/>
                  </a:lnTo>
                  <a:lnTo>
                    <a:pt x="376047" y="202260"/>
                  </a:lnTo>
                  <a:lnTo>
                    <a:pt x="376047" y="200876"/>
                  </a:lnTo>
                  <a:lnTo>
                    <a:pt x="376047" y="202260"/>
                  </a:lnTo>
                  <a:lnTo>
                    <a:pt x="376098" y="202260"/>
                  </a:lnTo>
                  <a:lnTo>
                    <a:pt x="376098" y="200876"/>
                  </a:lnTo>
                  <a:lnTo>
                    <a:pt x="376098" y="202260"/>
                  </a:lnTo>
                  <a:lnTo>
                    <a:pt x="376098" y="200876"/>
                  </a:lnTo>
                  <a:lnTo>
                    <a:pt x="376098" y="202260"/>
                  </a:lnTo>
                  <a:lnTo>
                    <a:pt x="376098" y="200876"/>
                  </a:lnTo>
                  <a:lnTo>
                    <a:pt x="376200" y="202260"/>
                  </a:lnTo>
                  <a:lnTo>
                    <a:pt x="376200" y="199530"/>
                  </a:lnTo>
                  <a:lnTo>
                    <a:pt x="376238" y="199530"/>
                  </a:lnTo>
                  <a:lnTo>
                    <a:pt x="376238" y="198831"/>
                  </a:lnTo>
                  <a:lnTo>
                    <a:pt x="376238" y="199530"/>
                  </a:lnTo>
                  <a:lnTo>
                    <a:pt x="376238" y="197447"/>
                  </a:lnTo>
                  <a:lnTo>
                    <a:pt x="376238" y="198831"/>
                  </a:lnTo>
                  <a:lnTo>
                    <a:pt x="376289" y="199530"/>
                  </a:lnTo>
                  <a:lnTo>
                    <a:pt x="376289" y="200228"/>
                  </a:lnTo>
                  <a:lnTo>
                    <a:pt x="376289" y="199530"/>
                  </a:lnTo>
                  <a:lnTo>
                    <a:pt x="376289" y="200228"/>
                  </a:lnTo>
                  <a:lnTo>
                    <a:pt x="376289" y="197447"/>
                  </a:lnTo>
                  <a:lnTo>
                    <a:pt x="376289" y="200876"/>
                  </a:lnTo>
                  <a:lnTo>
                    <a:pt x="376340" y="202260"/>
                  </a:lnTo>
                  <a:lnTo>
                    <a:pt x="376340" y="200228"/>
                  </a:lnTo>
                  <a:lnTo>
                    <a:pt x="376340" y="202260"/>
                  </a:lnTo>
                  <a:lnTo>
                    <a:pt x="376441" y="202260"/>
                  </a:lnTo>
                  <a:lnTo>
                    <a:pt x="376441" y="200876"/>
                  </a:lnTo>
                  <a:lnTo>
                    <a:pt x="376441" y="202959"/>
                  </a:lnTo>
                  <a:lnTo>
                    <a:pt x="376492" y="202959"/>
                  </a:lnTo>
                  <a:lnTo>
                    <a:pt x="376492" y="200876"/>
                  </a:lnTo>
                  <a:lnTo>
                    <a:pt x="376492" y="202959"/>
                  </a:lnTo>
                  <a:lnTo>
                    <a:pt x="376492" y="202260"/>
                  </a:lnTo>
                  <a:lnTo>
                    <a:pt x="376543" y="202260"/>
                  </a:lnTo>
                  <a:lnTo>
                    <a:pt x="376543" y="202959"/>
                  </a:lnTo>
                  <a:lnTo>
                    <a:pt x="376543" y="202260"/>
                  </a:lnTo>
                  <a:lnTo>
                    <a:pt x="376543" y="202959"/>
                  </a:lnTo>
                  <a:lnTo>
                    <a:pt x="376543" y="202260"/>
                  </a:lnTo>
                  <a:lnTo>
                    <a:pt x="376644" y="202260"/>
                  </a:lnTo>
                  <a:lnTo>
                    <a:pt x="376644" y="202959"/>
                  </a:lnTo>
                  <a:lnTo>
                    <a:pt x="376644" y="200876"/>
                  </a:lnTo>
                  <a:lnTo>
                    <a:pt x="376695" y="200876"/>
                  </a:lnTo>
                  <a:lnTo>
                    <a:pt x="376695" y="202260"/>
                  </a:lnTo>
                  <a:lnTo>
                    <a:pt x="376695" y="199530"/>
                  </a:lnTo>
                  <a:lnTo>
                    <a:pt x="376746" y="199530"/>
                  </a:lnTo>
                  <a:lnTo>
                    <a:pt x="376746" y="196799"/>
                  </a:lnTo>
                  <a:lnTo>
                    <a:pt x="376746" y="200228"/>
                  </a:lnTo>
                  <a:lnTo>
                    <a:pt x="376784" y="200228"/>
                  </a:lnTo>
                  <a:lnTo>
                    <a:pt x="376784" y="197447"/>
                  </a:lnTo>
                  <a:lnTo>
                    <a:pt x="376784" y="202260"/>
                  </a:lnTo>
                  <a:lnTo>
                    <a:pt x="376784" y="200876"/>
                  </a:lnTo>
                  <a:lnTo>
                    <a:pt x="376886" y="200876"/>
                  </a:lnTo>
                  <a:lnTo>
                    <a:pt x="376886" y="200228"/>
                  </a:lnTo>
                  <a:lnTo>
                    <a:pt x="376886" y="202260"/>
                  </a:lnTo>
                  <a:lnTo>
                    <a:pt x="376937" y="200876"/>
                  </a:lnTo>
                  <a:lnTo>
                    <a:pt x="376937" y="200228"/>
                  </a:lnTo>
                  <a:lnTo>
                    <a:pt x="376937" y="200876"/>
                  </a:lnTo>
                  <a:lnTo>
                    <a:pt x="376937" y="200228"/>
                  </a:lnTo>
                  <a:lnTo>
                    <a:pt x="376937" y="200876"/>
                  </a:lnTo>
                  <a:lnTo>
                    <a:pt x="376987" y="200876"/>
                  </a:lnTo>
                  <a:lnTo>
                    <a:pt x="376987" y="202260"/>
                  </a:lnTo>
                  <a:lnTo>
                    <a:pt x="376987" y="200876"/>
                  </a:lnTo>
                  <a:lnTo>
                    <a:pt x="376987" y="202260"/>
                  </a:lnTo>
                  <a:lnTo>
                    <a:pt x="376987" y="200876"/>
                  </a:lnTo>
                  <a:lnTo>
                    <a:pt x="376987" y="202260"/>
                  </a:lnTo>
                  <a:lnTo>
                    <a:pt x="377089" y="202260"/>
                  </a:lnTo>
                  <a:lnTo>
                    <a:pt x="377089" y="202959"/>
                  </a:lnTo>
                  <a:lnTo>
                    <a:pt x="377089" y="202260"/>
                  </a:lnTo>
                  <a:lnTo>
                    <a:pt x="377089" y="202959"/>
                  </a:lnTo>
                  <a:lnTo>
                    <a:pt x="377140" y="202260"/>
                  </a:lnTo>
                  <a:lnTo>
                    <a:pt x="377140" y="202959"/>
                  </a:lnTo>
                  <a:lnTo>
                    <a:pt x="377140" y="200876"/>
                  </a:lnTo>
                  <a:lnTo>
                    <a:pt x="377191" y="200876"/>
                  </a:lnTo>
                  <a:lnTo>
                    <a:pt x="377191" y="199530"/>
                  </a:lnTo>
                  <a:lnTo>
                    <a:pt x="377241" y="198831"/>
                  </a:lnTo>
                  <a:lnTo>
                    <a:pt x="377241" y="196799"/>
                  </a:lnTo>
                  <a:lnTo>
                    <a:pt x="377241" y="198831"/>
                  </a:lnTo>
                  <a:lnTo>
                    <a:pt x="377330" y="198831"/>
                  </a:lnTo>
                  <a:lnTo>
                    <a:pt x="377330" y="196799"/>
                  </a:lnTo>
                  <a:lnTo>
                    <a:pt x="377330" y="200228"/>
                  </a:lnTo>
                  <a:lnTo>
                    <a:pt x="377381" y="199530"/>
                  </a:lnTo>
                  <a:lnTo>
                    <a:pt x="377381" y="198831"/>
                  </a:lnTo>
                  <a:lnTo>
                    <a:pt x="377381" y="200228"/>
                  </a:lnTo>
                  <a:lnTo>
                    <a:pt x="377432" y="199530"/>
                  </a:lnTo>
                  <a:lnTo>
                    <a:pt x="377432" y="200228"/>
                  </a:lnTo>
                  <a:lnTo>
                    <a:pt x="377432" y="199530"/>
                  </a:lnTo>
                  <a:lnTo>
                    <a:pt x="377432" y="200228"/>
                  </a:lnTo>
                  <a:lnTo>
                    <a:pt x="377483" y="200228"/>
                  </a:lnTo>
                  <a:lnTo>
                    <a:pt x="377483" y="202260"/>
                  </a:lnTo>
                  <a:lnTo>
                    <a:pt x="377584" y="202260"/>
                  </a:lnTo>
                  <a:lnTo>
                    <a:pt x="377584" y="200876"/>
                  </a:lnTo>
                  <a:lnTo>
                    <a:pt x="377584" y="202959"/>
                  </a:lnTo>
                  <a:lnTo>
                    <a:pt x="377584" y="202260"/>
                  </a:lnTo>
                  <a:lnTo>
                    <a:pt x="377635" y="202260"/>
                  </a:lnTo>
                  <a:lnTo>
                    <a:pt x="377635" y="200228"/>
                  </a:lnTo>
                  <a:lnTo>
                    <a:pt x="377635" y="200876"/>
                  </a:lnTo>
                  <a:lnTo>
                    <a:pt x="377686" y="200876"/>
                  </a:lnTo>
                  <a:lnTo>
                    <a:pt x="377686" y="199530"/>
                  </a:lnTo>
                  <a:lnTo>
                    <a:pt x="377686" y="200228"/>
                  </a:lnTo>
                  <a:lnTo>
                    <a:pt x="377686" y="199530"/>
                  </a:lnTo>
                  <a:lnTo>
                    <a:pt x="377686" y="200228"/>
                  </a:lnTo>
                  <a:lnTo>
                    <a:pt x="377686" y="198831"/>
                  </a:lnTo>
                  <a:lnTo>
                    <a:pt x="377686" y="199530"/>
                  </a:lnTo>
                  <a:lnTo>
                    <a:pt x="377686" y="198831"/>
                  </a:lnTo>
                  <a:lnTo>
                    <a:pt x="377787" y="198831"/>
                  </a:lnTo>
                  <a:lnTo>
                    <a:pt x="377787" y="197447"/>
                  </a:lnTo>
                  <a:lnTo>
                    <a:pt x="377787" y="199530"/>
                  </a:lnTo>
                  <a:lnTo>
                    <a:pt x="377787" y="198831"/>
                  </a:lnTo>
                  <a:lnTo>
                    <a:pt x="377826" y="198831"/>
                  </a:lnTo>
                  <a:lnTo>
                    <a:pt x="377826" y="197447"/>
                  </a:lnTo>
                  <a:lnTo>
                    <a:pt x="377826" y="200876"/>
                  </a:lnTo>
                  <a:lnTo>
                    <a:pt x="377826" y="199530"/>
                  </a:lnTo>
                  <a:lnTo>
                    <a:pt x="377876" y="199530"/>
                  </a:lnTo>
                  <a:lnTo>
                    <a:pt x="377876" y="198831"/>
                  </a:lnTo>
                  <a:lnTo>
                    <a:pt x="377876" y="200228"/>
                  </a:lnTo>
                  <a:lnTo>
                    <a:pt x="377876" y="198831"/>
                  </a:lnTo>
                  <a:lnTo>
                    <a:pt x="377927" y="198831"/>
                  </a:lnTo>
                  <a:lnTo>
                    <a:pt x="377927" y="199530"/>
                  </a:lnTo>
                  <a:lnTo>
                    <a:pt x="377927" y="198831"/>
                  </a:lnTo>
                  <a:lnTo>
                    <a:pt x="377927" y="199530"/>
                  </a:lnTo>
                  <a:lnTo>
                    <a:pt x="378029" y="199530"/>
                  </a:lnTo>
                  <a:lnTo>
                    <a:pt x="378029" y="200228"/>
                  </a:lnTo>
                  <a:lnTo>
                    <a:pt x="378029" y="199530"/>
                  </a:lnTo>
                  <a:lnTo>
                    <a:pt x="378029" y="200228"/>
                  </a:lnTo>
                  <a:lnTo>
                    <a:pt x="378029" y="198831"/>
                  </a:lnTo>
                  <a:lnTo>
                    <a:pt x="378029" y="200228"/>
                  </a:lnTo>
                  <a:lnTo>
                    <a:pt x="378080" y="200228"/>
                  </a:lnTo>
                  <a:lnTo>
                    <a:pt x="378080" y="200876"/>
                  </a:lnTo>
                  <a:lnTo>
                    <a:pt x="378080" y="200228"/>
                  </a:lnTo>
                  <a:lnTo>
                    <a:pt x="378080" y="200876"/>
                  </a:lnTo>
                  <a:lnTo>
                    <a:pt x="378130" y="200876"/>
                  </a:lnTo>
                  <a:lnTo>
                    <a:pt x="378130" y="199530"/>
                  </a:lnTo>
                  <a:lnTo>
                    <a:pt x="378232" y="200228"/>
                  </a:lnTo>
                  <a:lnTo>
                    <a:pt x="378232" y="198831"/>
                  </a:lnTo>
                  <a:lnTo>
                    <a:pt x="378232" y="199530"/>
                  </a:lnTo>
                  <a:lnTo>
                    <a:pt x="378283" y="199530"/>
                  </a:lnTo>
                  <a:lnTo>
                    <a:pt x="378283" y="198831"/>
                  </a:lnTo>
                  <a:lnTo>
                    <a:pt x="378283" y="200228"/>
                  </a:lnTo>
                  <a:lnTo>
                    <a:pt x="378283" y="198831"/>
                  </a:lnTo>
                  <a:lnTo>
                    <a:pt x="378283" y="199530"/>
                  </a:lnTo>
                  <a:lnTo>
                    <a:pt x="378333" y="200228"/>
                  </a:lnTo>
                  <a:lnTo>
                    <a:pt x="378333" y="202959"/>
                  </a:lnTo>
                  <a:lnTo>
                    <a:pt x="378333" y="200228"/>
                  </a:lnTo>
                  <a:lnTo>
                    <a:pt x="378333" y="200876"/>
                  </a:lnTo>
                  <a:lnTo>
                    <a:pt x="378372" y="202260"/>
                  </a:lnTo>
                  <a:lnTo>
                    <a:pt x="378372" y="200876"/>
                  </a:lnTo>
                  <a:lnTo>
                    <a:pt x="378372" y="202260"/>
                  </a:lnTo>
                  <a:lnTo>
                    <a:pt x="378372" y="200228"/>
                  </a:lnTo>
                  <a:lnTo>
                    <a:pt x="378372" y="200876"/>
                  </a:lnTo>
                  <a:lnTo>
                    <a:pt x="378473" y="200876"/>
                  </a:lnTo>
                  <a:lnTo>
                    <a:pt x="378473" y="200228"/>
                  </a:lnTo>
                  <a:lnTo>
                    <a:pt x="378473" y="200876"/>
                  </a:lnTo>
                  <a:lnTo>
                    <a:pt x="378473" y="200228"/>
                  </a:lnTo>
                  <a:lnTo>
                    <a:pt x="378473" y="200876"/>
                  </a:lnTo>
                  <a:lnTo>
                    <a:pt x="378524" y="202260"/>
                  </a:lnTo>
                  <a:lnTo>
                    <a:pt x="378524" y="200876"/>
                  </a:lnTo>
                  <a:lnTo>
                    <a:pt x="378524" y="202260"/>
                  </a:lnTo>
                  <a:lnTo>
                    <a:pt x="378524" y="200876"/>
                  </a:lnTo>
                  <a:lnTo>
                    <a:pt x="378524" y="202260"/>
                  </a:lnTo>
                  <a:lnTo>
                    <a:pt x="378524" y="200876"/>
                  </a:lnTo>
                  <a:lnTo>
                    <a:pt x="378575" y="202260"/>
                  </a:lnTo>
                  <a:lnTo>
                    <a:pt x="378575" y="200876"/>
                  </a:lnTo>
                  <a:lnTo>
                    <a:pt x="378575" y="202260"/>
                  </a:lnTo>
                  <a:lnTo>
                    <a:pt x="378575" y="200876"/>
                  </a:lnTo>
                  <a:lnTo>
                    <a:pt x="378676" y="200876"/>
                  </a:lnTo>
                  <a:lnTo>
                    <a:pt x="378676" y="200228"/>
                  </a:lnTo>
                  <a:lnTo>
                    <a:pt x="378676" y="200876"/>
                  </a:lnTo>
                  <a:lnTo>
                    <a:pt x="378676" y="199530"/>
                  </a:lnTo>
                  <a:lnTo>
                    <a:pt x="378676" y="200228"/>
                  </a:lnTo>
                  <a:lnTo>
                    <a:pt x="378676" y="199530"/>
                  </a:lnTo>
                  <a:lnTo>
                    <a:pt x="378727" y="199530"/>
                  </a:lnTo>
                  <a:lnTo>
                    <a:pt x="378727" y="198831"/>
                  </a:lnTo>
                  <a:lnTo>
                    <a:pt x="378727" y="199530"/>
                  </a:lnTo>
                  <a:lnTo>
                    <a:pt x="378727" y="197447"/>
                  </a:lnTo>
                  <a:lnTo>
                    <a:pt x="378727" y="200876"/>
                  </a:lnTo>
                  <a:lnTo>
                    <a:pt x="378778" y="200876"/>
                  </a:lnTo>
                  <a:lnTo>
                    <a:pt x="378778" y="200228"/>
                  </a:lnTo>
                  <a:lnTo>
                    <a:pt x="378778" y="200876"/>
                  </a:lnTo>
                  <a:lnTo>
                    <a:pt x="378778" y="198831"/>
                  </a:lnTo>
                  <a:lnTo>
                    <a:pt x="378778" y="202959"/>
                  </a:lnTo>
                  <a:lnTo>
                    <a:pt x="378829" y="202959"/>
                  </a:lnTo>
                  <a:lnTo>
                    <a:pt x="378829" y="202260"/>
                  </a:lnTo>
                  <a:lnTo>
                    <a:pt x="378829" y="202959"/>
                  </a:lnTo>
                  <a:lnTo>
                    <a:pt x="378829" y="202260"/>
                  </a:lnTo>
                  <a:lnTo>
                    <a:pt x="378829" y="202959"/>
                  </a:lnTo>
                  <a:lnTo>
                    <a:pt x="378829" y="202260"/>
                  </a:lnTo>
                  <a:lnTo>
                    <a:pt x="378918" y="202260"/>
                  </a:lnTo>
                  <a:lnTo>
                    <a:pt x="378918" y="200876"/>
                  </a:lnTo>
                  <a:lnTo>
                    <a:pt x="378918" y="202959"/>
                  </a:lnTo>
                  <a:lnTo>
                    <a:pt x="378918" y="202260"/>
                  </a:lnTo>
                  <a:lnTo>
                    <a:pt x="378968" y="202260"/>
                  </a:lnTo>
                  <a:lnTo>
                    <a:pt x="378968" y="200876"/>
                  </a:lnTo>
                  <a:lnTo>
                    <a:pt x="378968" y="202959"/>
                  </a:lnTo>
                  <a:lnTo>
                    <a:pt x="378968" y="200876"/>
                  </a:lnTo>
                  <a:lnTo>
                    <a:pt x="378968" y="202260"/>
                  </a:lnTo>
                  <a:lnTo>
                    <a:pt x="379019" y="202260"/>
                  </a:lnTo>
                  <a:lnTo>
                    <a:pt x="379019" y="202959"/>
                  </a:lnTo>
                  <a:lnTo>
                    <a:pt x="379019" y="202260"/>
                  </a:lnTo>
                  <a:lnTo>
                    <a:pt x="379070" y="202260"/>
                  </a:lnTo>
                  <a:lnTo>
                    <a:pt x="379070" y="200228"/>
                  </a:lnTo>
                  <a:lnTo>
                    <a:pt x="379172" y="200228"/>
                  </a:lnTo>
                  <a:lnTo>
                    <a:pt x="379172" y="198831"/>
                  </a:lnTo>
                  <a:lnTo>
                    <a:pt x="379222" y="198831"/>
                  </a:lnTo>
                  <a:lnTo>
                    <a:pt x="379222" y="200876"/>
                  </a:lnTo>
                  <a:lnTo>
                    <a:pt x="379222" y="199530"/>
                  </a:lnTo>
                  <a:lnTo>
                    <a:pt x="379222" y="200228"/>
                  </a:lnTo>
                  <a:lnTo>
                    <a:pt x="379273" y="200876"/>
                  </a:lnTo>
                  <a:lnTo>
                    <a:pt x="379273" y="202959"/>
                  </a:lnTo>
                  <a:lnTo>
                    <a:pt x="379273" y="200876"/>
                  </a:lnTo>
                  <a:lnTo>
                    <a:pt x="379375" y="200876"/>
                  </a:lnTo>
                  <a:lnTo>
                    <a:pt x="379375" y="202959"/>
                  </a:lnTo>
                  <a:lnTo>
                    <a:pt x="379375" y="200876"/>
                  </a:lnTo>
                  <a:lnTo>
                    <a:pt x="379413" y="200876"/>
                  </a:lnTo>
                  <a:lnTo>
                    <a:pt x="379413" y="202959"/>
                  </a:lnTo>
                  <a:lnTo>
                    <a:pt x="379413" y="202260"/>
                  </a:lnTo>
                  <a:lnTo>
                    <a:pt x="379464" y="202260"/>
                  </a:lnTo>
                  <a:lnTo>
                    <a:pt x="379464" y="202959"/>
                  </a:lnTo>
                  <a:lnTo>
                    <a:pt x="379464" y="202260"/>
                  </a:lnTo>
                  <a:lnTo>
                    <a:pt x="379464" y="202959"/>
                  </a:lnTo>
                  <a:lnTo>
                    <a:pt x="379464" y="202260"/>
                  </a:lnTo>
                  <a:lnTo>
                    <a:pt x="379464" y="202959"/>
                  </a:lnTo>
                  <a:lnTo>
                    <a:pt x="379515" y="202959"/>
                  </a:lnTo>
                  <a:lnTo>
                    <a:pt x="379515" y="202260"/>
                  </a:lnTo>
                  <a:lnTo>
                    <a:pt x="379515" y="202959"/>
                  </a:lnTo>
                  <a:lnTo>
                    <a:pt x="379515" y="202260"/>
                  </a:lnTo>
                  <a:lnTo>
                    <a:pt x="379515" y="202959"/>
                  </a:lnTo>
                  <a:lnTo>
                    <a:pt x="379515" y="202260"/>
                  </a:lnTo>
                  <a:lnTo>
                    <a:pt x="379616" y="202260"/>
                  </a:lnTo>
                  <a:lnTo>
                    <a:pt x="379616" y="199530"/>
                  </a:lnTo>
                  <a:lnTo>
                    <a:pt x="379616" y="200228"/>
                  </a:lnTo>
                  <a:lnTo>
                    <a:pt x="379667" y="199530"/>
                  </a:lnTo>
                  <a:lnTo>
                    <a:pt x="379667" y="198831"/>
                  </a:lnTo>
                  <a:lnTo>
                    <a:pt x="379667" y="200228"/>
                  </a:lnTo>
                  <a:lnTo>
                    <a:pt x="379718" y="200228"/>
                  </a:lnTo>
                  <a:lnTo>
                    <a:pt x="379718" y="198831"/>
                  </a:lnTo>
                  <a:lnTo>
                    <a:pt x="379718" y="202959"/>
                  </a:lnTo>
                  <a:lnTo>
                    <a:pt x="379819" y="202260"/>
                  </a:lnTo>
                  <a:lnTo>
                    <a:pt x="379819" y="200228"/>
                  </a:lnTo>
                  <a:lnTo>
                    <a:pt x="379819" y="202959"/>
                  </a:lnTo>
                  <a:lnTo>
                    <a:pt x="379870" y="202959"/>
                  </a:lnTo>
                  <a:lnTo>
                    <a:pt x="379870" y="200876"/>
                  </a:lnTo>
                  <a:lnTo>
                    <a:pt x="379870" y="202260"/>
                  </a:lnTo>
                  <a:lnTo>
                    <a:pt x="379921" y="202260"/>
                  </a:lnTo>
                  <a:lnTo>
                    <a:pt x="379921" y="202959"/>
                  </a:lnTo>
                  <a:lnTo>
                    <a:pt x="379921" y="202260"/>
                  </a:lnTo>
                  <a:lnTo>
                    <a:pt x="379921" y="202959"/>
                  </a:lnTo>
                  <a:lnTo>
                    <a:pt x="379959" y="202260"/>
                  </a:lnTo>
                  <a:lnTo>
                    <a:pt x="379959" y="202959"/>
                  </a:lnTo>
                  <a:lnTo>
                    <a:pt x="379959" y="202260"/>
                  </a:lnTo>
                  <a:lnTo>
                    <a:pt x="379959" y="202959"/>
                  </a:lnTo>
                  <a:lnTo>
                    <a:pt x="379959" y="202260"/>
                  </a:lnTo>
                  <a:lnTo>
                    <a:pt x="379959" y="202959"/>
                  </a:lnTo>
                  <a:lnTo>
                    <a:pt x="379959" y="202260"/>
                  </a:lnTo>
                  <a:lnTo>
                    <a:pt x="379959" y="202959"/>
                  </a:lnTo>
                  <a:lnTo>
                    <a:pt x="380061" y="202959"/>
                  </a:lnTo>
                  <a:lnTo>
                    <a:pt x="380061" y="200876"/>
                  </a:lnTo>
                  <a:lnTo>
                    <a:pt x="380112" y="200876"/>
                  </a:lnTo>
                  <a:lnTo>
                    <a:pt x="380112" y="199530"/>
                  </a:lnTo>
                  <a:lnTo>
                    <a:pt x="380162" y="199530"/>
                  </a:lnTo>
                  <a:lnTo>
                    <a:pt x="380162" y="197447"/>
                  </a:lnTo>
                  <a:lnTo>
                    <a:pt x="380162" y="198831"/>
                  </a:lnTo>
                  <a:lnTo>
                    <a:pt x="380162" y="197447"/>
                  </a:lnTo>
                  <a:lnTo>
                    <a:pt x="380162" y="198831"/>
                  </a:lnTo>
                  <a:lnTo>
                    <a:pt x="380264" y="199530"/>
                  </a:lnTo>
                  <a:lnTo>
                    <a:pt x="380264" y="200228"/>
                  </a:lnTo>
                  <a:lnTo>
                    <a:pt x="380264" y="197447"/>
                  </a:lnTo>
                  <a:lnTo>
                    <a:pt x="380264" y="200876"/>
                  </a:lnTo>
                  <a:lnTo>
                    <a:pt x="380315" y="200228"/>
                  </a:lnTo>
                  <a:lnTo>
                    <a:pt x="380315" y="198831"/>
                  </a:lnTo>
                  <a:lnTo>
                    <a:pt x="380315" y="200876"/>
                  </a:lnTo>
                  <a:lnTo>
                    <a:pt x="380366" y="200228"/>
                  </a:lnTo>
                  <a:lnTo>
                    <a:pt x="380366" y="199530"/>
                  </a:lnTo>
                  <a:lnTo>
                    <a:pt x="380366" y="200228"/>
                  </a:lnTo>
                  <a:lnTo>
                    <a:pt x="380366" y="199530"/>
                  </a:lnTo>
                  <a:lnTo>
                    <a:pt x="380366" y="200228"/>
                  </a:lnTo>
                  <a:lnTo>
                    <a:pt x="380416" y="200228"/>
                  </a:lnTo>
                  <a:lnTo>
                    <a:pt x="380416" y="200876"/>
                  </a:lnTo>
                  <a:lnTo>
                    <a:pt x="380416" y="200228"/>
                  </a:lnTo>
                  <a:lnTo>
                    <a:pt x="380416" y="202959"/>
                  </a:lnTo>
                  <a:lnTo>
                    <a:pt x="380505" y="202260"/>
                  </a:lnTo>
                  <a:lnTo>
                    <a:pt x="380505" y="202959"/>
                  </a:lnTo>
                  <a:lnTo>
                    <a:pt x="380505" y="202260"/>
                  </a:lnTo>
                  <a:lnTo>
                    <a:pt x="380556" y="202260"/>
                  </a:lnTo>
                  <a:lnTo>
                    <a:pt x="380556" y="202959"/>
                  </a:lnTo>
                  <a:lnTo>
                    <a:pt x="380556" y="200876"/>
                  </a:lnTo>
                  <a:lnTo>
                    <a:pt x="380607" y="200876"/>
                  </a:lnTo>
                  <a:lnTo>
                    <a:pt x="380607" y="200228"/>
                  </a:lnTo>
                  <a:lnTo>
                    <a:pt x="380607" y="200876"/>
                  </a:lnTo>
                  <a:lnTo>
                    <a:pt x="380607" y="199530"/>
                  </a:lnTo>
                  <a:lnTo>
                    <a:pt x="380607" y="200228"/>
                  </a:lnTo>
                  <a:lnTo>
                    <a:pt x="380607" y="199530"/>
                  </a:lnTo>
                  <a:lnTo>
                    <a:pt x="380658" y="199530"/>
                  </a:lnTo>
                  <a:lnTo>
                    <a:pt x="380658" y="198831"/>
                  </a:lnTo>
                  <a:lnTo>
                    <a:pt x="380658" y="200228"/>
                  </a:lnTo>
                  <a:lnTo>
                    <a:pt x="380658" y="198831"/>
                  </a:lnTo>
                  <a:lnTo>
                    <a:pt x="380658" y="199530"/>
                  </a:lnTo>
                  <a:lnTo>
                    <a:pt x="380658" y="198831"/>
                  </a:lnTo>
                  <a:lnTo>
                    <a:pt x="380759" y="198831"/>
                  </a:lnTo>
                  <a:lnTo>
                    <a:pt x="380759" y="197447"/>
                  </a:lnTo>
                  <a:lnTo>
                    <a:pt x="380759" y="198831"/>
                  </a:lnTo>
                  <a:lnTo>
                    <a:pt x="380759" y="197447"/>
                  </a:lnTo>
                  <a:lnTo>
                    <a:pt x="380759" y="200228"/>
                  </a:lnTo>
                  <a:lnTo>
                    <a:pt x="380759" y="199530"/>
                  </a:lnTo>
                  <a:lnTo>
                    <a:pt x="380810" y="198831"/>
                  </a:lnTo>
                  <a:lnTo>
                    <a:pt x="380810" y="197447"/>
                  </a:lnTo>
                  <a:lnTo>
                    <a:pt x="380810" y="199530"/>
                  </a:lnTo>
                  <a:lnTo>
                    <a:pt x="380861" y="199530"/>
                  </a:lnTo>
                  <a:lnTo>
                    <a:pt x="380861" y="200228"/>
                  </a:lnTo>
                  <a:lnTo>
                    <a:pt x="380861" y="199530"/>
                  </a:lnTo>
                  <a:lnTo>
                    <a:pt x="380861" y="200228"/>
                  </a:lnTo>
                  <a:lnTo>
                    <a:pt x="380861" y="199530"/>
                  </a:lnTo>
                  <a:lnTo>
                    <a:pt x="380861" y="200228"/>
                  </a:lnTo>
                  <a:lnTo>
                    <a:pt x="380861" y="199530"/>
                  </a:lnTo>
                  <a:lnTo>
                    <a:pt x="380861" y="200228"/>
                  </a:lnTo>
                  <a:lnTo>
                    <a:pt x="380861" y="199530"/>
                  </a:lnTo>
                  <a:lnTo>
                    <a:pt x="380861" y="200228"/>
                  </a:lnTo>
                  <a:lnTo>
                    <a:pt x="380962" y="200228"/>
                  </a:lnTo>
                  <a:lnTo>
                    <a:pt x="380962" y="200876"/>
                  </a:lnTo>
                  <a:lnTo>
                    <a:pt x="381001" y="200876"/>
                  </a:lnTo>
                  <a:lnTo>
                    <a:pt x="381001" y="200228"/>
                  </a:lnTo>
                  <a:lnTo>
                    <a:pt x="381001" y="200876"/>
                  </a:lnTo>
                  <a:lnTo>
                    <a:pt x="381001" y="200228"/>
                  </a:lnTo>
                  <a:lnTo>
                    <a:pt x="381001" y="200876"/>
                  </a:lnTo>
                  <a:lnTo>
                    <a:pt x="381001" y="200228"/>
                  </a:lnTo>
                  <a:lnTo>
                    <a:pt x="381051" y="200228"/>
                  </a:lnTo>
                  <a:lnTo>
                    <a:pt x="381051" y="200876"/>
                  </a:lnTo>
                  <a:lnTo>
                    <a:pt x="381051" y="200228"/>
                  </a:lnTo>
                  <a:lnTo>
                    <a:pt x="381051" y="200876"/>
                  </a:lnTo>
                  <a:lnTo>
                    <a:pt x="381051" y="199530"/>
                  </a:lnTo>
                  <a:lnTo>
                    <a:pt x="381102" y="199530"/>
                  </a:lnTo>
                  <a:lnTo>
                    <a:pt x="381102" y="200228"/>
                  </a:lnTo>
                  <a:lnTo>
                    <a:pt x="381102" y="198831"/>
                  </a:lnTo>
                  <a:lnTo>
                    <a:pt x="381102" y="199530"/>
                  </a:lnTo>
                  <a:lnTo>
                    <a:pt x="381102" y="198831"/>
                  </a:lnTo>
                  <a:lnTo>
                    <a:pt x="381204" y="198831"/>
                  </a:lnTo>
                  <a:lnTo>
                    <a:pt x="381204" y="200228"/>
                  </a:lnTo>
                  <a:lnTo>
                    <a:pt x="381204" y="198831"/>
                  </a:lnTo>
                  <a:lnTo>
                    <a:pt x="381255" y="198831"/>
                  </a:lnTo>
                  <a:lnTo>
                    <a:pt x="381255" y="200876"/>
                  </a:lnTo>
                  <a:lnTo>
                    <a:pt x="381255" y="199530"/>
                  </a:lnTo>
                  <a:lnTo>
                    <a:pt x="381305" y="199530"/>
                  </a:lnTo>
                  <a:lnTo>
                    <a:pt x="381305" y="200876"/>
                  </a:lnTo>
                  <a:lnTo>
                    <a:pt x="381305" y="199530"/>
                  </a:lnTo>
                  <a:lnTo>
                    <a:pt x="381305" y="200228"/>
                  </a:lnTo>
                  <a:lnTo>
                    <a:pt x="381407" y="200228"/>
                  </a:lnTo>
                  <a:lnTo>
                    <a:pt x="381407" y="200876"/>
                  </a:lnTo>
                  <a:lnTo>
                    <a:pt x="381407" y="200228"/>
                  </a:lnTo>
                  <a:lnTo>
                    <a:pt x="381407" y="200876"/>
                  </a:lnTo>
                  <a:lnTo>
                    <a:pt x="381407" y="200228"/>
                  </a:lnTo>
                  <a:lnTo>
                    <a:pt x="381458" y="200876"/>
                  </a:lnTo>
                  <a:lnTo>
                    <a:pt x="381458" y="200228"/>
                  </a:lnTo>
                  <a:lnTo>
                    <a:pt x="381458" y="202260"/>
                  </a:lnTo>
                  <a:lnTo>
                    <a:pt x="381458" y="200876"/>
                  </a:lnTo>
                  <a:lnTo>
                    <a:pt x="381508" y="200876"/>
                  </a:lnTo>
                  <a:lnTo>
                    <a:pt x="381508" y="200228"/>
                  </a:lnTo>
                  <a:lnTo>
                    <a:pt x="381508" y="200876"/>
                  </a:lnTo>
                  <a:lnTo>
                    <a:pt x="381508" y="200228"/>
                  </a:lnTo>
                  <a:lnTo>
                    <a:pt x="381547" y="200876"/>
                  </a:lnTo>
                  <a:lnTo>
                    <a:pt x="381547" y="200228"/>
                  </a:lnTo>
                  <a:lnTo>
                    <a:pt x="381547" y="200876"/>
                  </a:lnTo>
                  <a:lnTo>
                    <a:pt x="381547" y="200228"/>
                  </a:lnTo>
                  <a:lnTo>
                    <a:pt x="381547" y="200876"/>
                  </a:lnTo>
                  <a:lnTo>
                    <a:pt x="381547" y="200228"/>
                  </a:lnTo>
                  <a:lnTo>
                    <a:pt x="381648" y="200228"/>
                  </a:lnTo>
                  <a:lnTo>
                    <a:pt x="381648" y="198831"/>
                  </a:lnTo>
                  <a:lnTo>
                    <a:pt x="381648" y="199530"/>
                  </a:lnTo>
                  <a:lnTo>
                    <a:pt x="381648" y="197447"/>
                  </a:lnTo>
                  <a:lnTo>
                    <a:pt x="381648" y="198831"/>
                  </a:lnTo>
                  <a:lnTo>
                    <a:pt x="381699" y="197447"/>
                  </a:lnTo>
                  <a:lnTo>
                    <a:pt x="381699" y="200228"/>
                  </a:lnTo>
                  <a:lnTo>
                    <a:pt x="381699" y="198831"/>
                  </a:lnTo>
                  <a:lnTo>
                    <a:pt x="381699" y="199530"/>
                  </a:lnTo>
                  <a:lnTo>
                    <a:pt x="381750" y="200228"/>
                  </a:lnTo>
                  <a:lnTo>
                    <a:pt x="381750" y="202260"/>
                  </a:lnTo>
                  <a:lnTo>
                    <a:pt x="381750" y="199530"/>
                  </a:lnTo>
                  <a:lnTo>
                    <a:pt x="381750" y="200228"/>
                  </a:lnTo>
                  <a:lnTo>
                    <a:pt x="381851" y="200228"/>
                  </a:lnTo>
                  <a:lnTo>
                    <a:pt x="381851" y="200876"/>
                  </a:lnTo>
                  <a:lnTo>
                    <a:pt x="381851" y="200228"/>
                  </a:lnTo>
                  <a:lnTo>
                    <a:pt x="381851" y="200876"/>
                  </a:lnTo>
                  <a:lnTo>
                    <a:pt x="381902" y="202260"/>
                  </a:lnTo>
                  <a:lnTo>
                    <a:pt x="381902" y="200876"/>
                  </a:lnTo>
                  <a:lnTo>
                    <a:pt x="381902" y="202260"/>
                  </a:lnTo>
                  <a:lnTo>
                    <a:pt x="381953" y="200876"/>
                  </a:lnTo>
                  <a:lnTo>
                    <a:pt x="381953" y="202260"/>
                  </a:lnTo>
                  <a:lnTo>
                    <a:pt x="381953" y="200876"/>
                  </a:lnTo>
                  <a:lnTo>
                    <a:pt x="381953" y="202260"/>
                  </a:lnTo>
                  <a:lnTo>
                    <a:pt x="381953" y="200228"/>
                  </a:lnTo>
                  <a:lnTo>
                    <a:pt x="381953" y="200876"/>
                  </a:lnTo>
                  <a:lnTo>
                    <a:pt x="382004" y="200876"/>
                  </a:lnTo>
                  <a:lnTo>
                    <a:pt x="382004" y="199530"/>
                  </a:lnTo>
                  <a:lnTo>
                    <a:pt x="382004" y="200228"/>
                  </a:lnTo>
                  <a:lnTo>
                    <a:pt x="382093" y="200228"/>
                  </a:lnTo>
                  <a:lnTo>
                    <a:pt x="382093" y="199530"/>
                  </a:lnTo>
                  <a:lnTo>
                    <a:pt x="382093" y="200228"/>
                  </a:lnTo>
                  <a:lnTo>
                    <a:pt x="382093" y="198831"/>
                  </a:lnTo>
                  <a:lnTo>
                    <a:pt x="382093" y="199530"/>
                  </a:lnTo>
                  <a:lnTo>
                    <a:pt x="382143" y="199530"/>
                  </a:lnTo>
                  <a:lnTo>
                    <a:pt x="382143" y="196799"/>
                  </a:lnTo>
                  <a:lnTo>
                    <a:pt x="382194" y="196799"/>
                  </a:lnTo>
                  <a:lnTo>
                    <a:pt x="382194" y="196113"/>
                  </a:lnTo>
                  <a:lnTo>
                    <a:pt x="382194" y="198831"/>
                  </a:lnTo>
                  <a:lnTo>
                    <a:pt x="382194" y="196113"/>
                  </a:lnTo>
                  <a:lnTo>
                    <a:pt x="382245" y="196113"/>
                  </a:lnTo>
                  <a:lnTo>
                    <a:pt x="382245" y="198831"/>
                  </a:lnTo>
                  <a:lnTo>
                    <a:pt x="382245" y="196799"/>
                  </a:lnTo>
                  <a:lnTo>
                    <a:pt x="382347" y="197447"/>
                  </a:lnTo>
                  <a:lnTo>
                    <a:pt x="382347" y="199530"/>
                  </a:lnTo>
                  <a:lnTo>
                    <a:pt x="382347" y="198831"/>
                  </a:lnTo>
                  <a:lnTo>
                    <a:pt x="382397" y="199530"/>
                  </a:lnTo>
                  <a:lnTo>
                    <a:pt x="382397" y="198831"/>
                  </a:lnTo>
                  <a:lnTo>
                    <a:pt x="382397" y="200228"/>
                  </a:lnTo>
                  <a:lnTo>
                    <a:pt x="382448" y="200228"/>
                  </a:lnTo>
                  <a:lnTo>
                    <a:pt x="382448" y="200876"/>
                  </a:lnTo>
                  <a:lnTo>
                    <a:pt x="382448" y="200228"/>
                  </a:lnTo>
                  <a:lnTo>
                    <a:pt x="382448" y="200876"/>
                  </a:lnTo>
                  <a:lnTo>
                    <a:pt x="382550" y="200876"/>
                  </a:lnTo>
                  <a:lnTo>
                    <a:pt x="382550" y="200228"/>
                  </a:lnTo>
                  <a:lnTo>
                    <a:pt x="382550" y="200876"/>
                  </a:lnTo>
                  <a:lnTo>
                    <a:pt x="382550" y="200228"/>
                  </a:lnTo>
                  <a:lnTo>
                    <a:pt x="382588" y="200228"/>
                  </a:lnTo>
                  <a:lnTo>
                    <a:pt x="382588" y="200876"/>
                  </a:lnTo>
                  <a:lnTo>
                    <a:pt x="382588" y="199530"/>
                  </a:lnTo>
                  <a:lnTo>
                    <a:pt x="382588" y="200228"/>
                  </a:lnTo>
                  <a:lnTo>
                    <a:pt x="382588" y="199530"/>
                  </a:lnTo>
                  <a:lnTo>
                    <a:pt x="382639" y="199530"/>
                  </a:lnTo>
                  <a:lnTo>
                    <a:pt x="382639" y="196113"/>
                  </a:lnTo>
                  <a:lnTo>
                    <a:pt x="382639" y="196799"/>
                  </a:lnTo>
                  <a:lnTo>
                    <a:pt x="382690" y="196799"/>
                  </a:lnTo>
                  <a:lnTo>
                    <a:pt x="382690" y="198831"/>
                  </a:lnTo>
                  <a:lnTo>
                    <a:pt x="382690" y="196799"/>
                  </a:lnTo>
                  <a:lnTo>
                    <a:pt x="382690" y="197447"/>
                  </a:lnTo>
                  <a:lnTo>
                    <a:pt x="382690" y="196799"/>
                  </a:lnTo>
                  <a:lnTo>
                    <a:pt x="382690" y="197447"/>
                  </a:lnTo>
                  <a:lnTo>
                    <a:pt x="382791" y="197447"/>
                  </a:lnTo>
                  <a:lnTo>
                    <a:pt x="382791" y="198831"/>
                  </a:lnTo>
                  <a:lnTo>
                    <a:pt x="382791" y="197447"/>
                  </a:lnTo>
                  <a:lnTo>
                    <a:pt x="382791" y="198831"/>
                  </a:lnTo>
                  <a:lnTo>
                    <a:pt x="382842" y="198831"/>
                  </a:lnTo>
                  <a:lnTo>
                    <a:pt x="382842" y="199530"/>
                  </a:lnTo>
                  <a:lnTo>
                    <a:pt x="382842" y="198831"/>
                  </a:lnTo>
                  <a:lnTo>
                    <a:pt x="382842" y="200228"/>
                  </a:lnTo>
                  <a:lnTo>
                    <a:pt x="382842" y="199530"/>
                  </a:lnTo>
                  <a:lnTo>
                    <a:pt x="382893" y="199530"/>
                  </a:lnTo>
                  <a:lnTo>
                    <a:pt x="382893" y="200228"/>
                  </a:lnTo>
                  <a:lnTo>
                    <a:pt x="382893" y="199530"/>
                  </a:lnTo>
                  <a:lnTo>
                    <a:pt x="382893" y="200228"/>
                  </a:lnTo>
                  <a:lnTo>
                    <a:pt x="382893" y="199530"/>
                  </a:lnTo>
                  <a:lnTo>
                    <a:pt x="382893" y="200228"/>
                  </a:lnTo>
                  <a:lnTo>
                    <a:pt x="382994" y="200228"/>
                  </a:lnTo>
                  <a:lnTo>
                    <a:pt x="382994" y="200876"/>
                  </a:lnTo>
                  <a:lnTo>
                    <a:pt x="382994" y="199530"/>
                  </a:lnTo>
                  <a:lnTo>
                    <a:pt x="382994" y="200876"/>
                  </a:lnTo>
                  <a:lnTo>
                    <a:pt x="383045" y="200876"/>
                  </a:lnTo>
                  <a:lnTo>
                    <a:pt x="383045" y="200228"/>
                  </a:lnTo>
                  <a:lnTo>
                    <a:pt x="383096" y="200228"/>
                  </a:lnTo>
                  <a:lnTo>
                    <a:pt x="383096" y="199530"/>
                  </a:lnTo>
                  <a:lnTo>
                    <a:pt x="383134" y="199530"/>
                  </a:lnTo>
                  <a:lnTo>
                    <a:pt x="383134" y="198831"/>
                  </a:lnTo>
                  <a:lnTo>
                    <a:pt x="383134" y="199530"/>
                  </a:lnTo>
                  <a:lnTo>
                    <a:pt x="383134" y="196799"/>
                  </a:lnTo>
                  <a:lnTo>
                    <a:pt x="383134" y="197447"/>
                  </a:lnTo>
                  <a:lnTo>
                    <a:pt x="383134" y="196799"/>
                  </a:lnTo>
                  <a:lnTo>
                    <a:pt x="383236" y="196799"/>
                  </a:lnTo>
                  <a:lnTo>
                    <a:pt x="383236" y="196113"/>
                  </a:lnTo>
                  <a:lnTo>
                    <a:pt x="383236" y="197447"/>
                  </a:lnTo>
                  <a:lnTo>
                    <a:pt x="383236" y="196113"/>
                  </a:lnTo>
                  <a:lnTo>
                    <a:pt x="383236" y="197447"/>
                  </a:lnTo>
                  <a:lnTo>
                    <a:pt x="383287" y="197447"/>
                  </a:lnTo>
                  <a:lnTo>
                    <a:pt x="383287" y="198831"/>
                  </a:lnTo>
                  <a:lnTo>
                    <a:pt x="383287" y="197447"/>
                  </a:lnTo>
                  <a:lnTo>
                    <a:pt x="383287" y="198831"/>
                  </a:lnTo>
                  <a:lnTo>
                    <a:pt x="383337" y="198831"/>
                  </a:lnTo>
                  <a:lnTo>
                    <a:pt x="383337" y="199530"/>
                  </a:lnTo>
                  <a:lnTo>
                    <a:pt x="383337" y="198831"/>
                  </a:lnTo>
                  <a:lnTo>
                    <a:pt x="383337" y="199530"/>
                  </a:lnTo>
                  <a:lnTo>
                    <a:pt x="383337" y="198831"/>
                  </a:lnTo>
                  <a:lnTo>
                    <a:pt x="383337" y="199530"/>
                  </a:lnTo>
                  <a:lnTo>
                    <a:pt x="383337" y="198831"/>
                  </a:lnTo>
                  <a:lnTo>
                    <a:pt x="383337" y="199530"/>
                  </a:lnTo>
                  <a:lnTo>
                    <a:pt x="383439" y="199530"/>
                  </a:lnTo>
                  <a:lnTo>
                    <a:pt x="383439" y="198831"/>
                  </a:lnTo>
                  <a:lnTo>
                    <a:pt x="383439" y="199530"/>
                  </a:lnTo>
                  <a:lnTo>
                    <a:pt x="383439" y="198831"/>
                  </a:lnTo>
                  <a:lnTo>
                    <a:pt x="383439" y="199530"/>
                  </a:lnTo>
                  <a:lnTo>
                    <a:pt x="383439" y="198831"/>
                  </a:lnTo>
                  <a:lnTo>
                    <a:pt x="383439" y="199530"/>
                  </a:lnTo>
                  <a:lnTo>
                    <a:pt x="383490" y="199530"/>
                  </a:lnTo>
                  <a:lnTo>
                    <a:pt x="383490" y="200228"/>
                  </a:lnTo>
                  <a:lnTo>
                    <a:pt x="383490" y="199530"/>
                  </a:lnTo>
                  <a:lnTo>
                    <a:pt x="383490" y="200228"/>
                  </a:lnTo>
                  <a:lnTo>
                    <a:pt x="383541" y="200228"/>
                  </a:lnTo>
                  <a:lnTo>
                    <a:pt x="383541" y="200876"/>
                  </a:lnTo>
                  <a:lnTo>
                    <a:pt x="383541" y="200228"/>
                  </a:lnTo>
                  <a:lnTo>
                    <a:pt x="383541" y="200876"/>
                  </a:lnTo>
                  <a:lnTo>
                    <a:pt x="383591" y="200876"/>
                  </a:lnTo>
                  <a:lnTo>
                    <a:pt x="383591" y="199530"/>
                  </a:lnTo>
                  <a:lnTo>
                    <a:pt x="383591" y="200228"/>
                  </a:lnTo>
                  <a:lnTo>
                    <a:pt x="383591" y="199530"/>
                  </a:lnTo>
                  <a:lnTo>
                    <a:pt x="383680" y="199530"/>
                  </a:lnTo>
                  <a:lnTo>
                    <a:pt x="383680" y="196799"/>
                  </a:lnTo>
                  <a:lnTo>
                    <a:pt x="383680" y="197447"/>
                  </a:lnTo>
                  <a:lnTo>
                    <a:pt x="383731" y="197447"/>
                  </a:lnTo>
                  <a:lnTo>
                    <a:pt x="383731" y="196799"/>
                  </a:lnTo>
                  <a:lnTo>
                    <a:pt x="383731" y="197447"/>
                  </a:lnTo>
                  <a:lnTo>
                    <a:pt x="383731" y="196799"/>
                  </a:lnTo>
                  <a:lnTo>
                    <a:pt x="383731" y="199530"/>
                  </a:lnTo>
                  <a:lnTo>
                    <a:pt x="383782" y="199530"/>
                  </a:lnTo>
                  <a:lnTo>
                    <a:pt x="383782" y="198831"/>
                  </a:lnTo>
                  <a:lnTo>
                    <a:pt x="383782" y="199530"/>
                  </a:lnTo>
                  <a:lnTo>
                    <a:pt x="383782" y="198831"/>
                  </a:lnTo>
                  <a:lnTo>
                    <a:pt x="383782" y="199530"/>
                  </a:lnTo>
                  <a:lnTo>
                    <a:pt x="383833" y="199530"/>
                  </a:lnTo>
                  <a:lnTo>
                    <a:pt x="383833" y="198831"/>
                  </a:lnTo>
                  <a:lnTo>
                    <a:pt x="383833" y="199530"/>
                  </a:lnTo>
                  <a:lnTo>
                    <a:pt x="383985" y="199530"/>
                  </a:lnTo>
                  <a:lnTo>
                    <a:pt x="383985" y="198831"/>
                  </a:lnTo>
                  <a:lnTo>
                    <a:pt x="383985" y="200228"/>
                  </a:lnTo>
                  <a:lnTo>
                    <a:pt x="383985" y="199530"/>
                  </a:lnTo>
                  <a:lnTo>
                    <a:pt x="384036" y="199530"/>
                  </a:lnTo>
                  <a:lnTo>
                    <a:pt x="384036" y="200228"/>
                  </a:lnTo>
                  <a:lnTo>
                    <a:pt x="384036" y="198831"/>
                  </a:lnTo>
                  <a:lnTo>
                    <a:pt x="384137" y="198831"/>
                  </a:lnTo>
                  <a:lnTo>
                    <a:pt x="384137" y="199530"/>
                  </a:lnTo>
                  <a:lnTo>
                    <a:pt x="384137" y="197447"/>
                  </a:lnTo>
                  <a:lnTo>
                    <a:pt x="384137" y="198831"/>
                  </a:lnTo>
                  <a:lnTo>
                    <a:pt x="384137" y="197447"/>
                  </a:lnTo>
                  <a:lnTo>
                    <a:pt x="384176" y="197447"/>
                  </a:lnTo>
                  <a:lnTo>
                    <a:pt x="384176" y="198831"/>
                  </a:lnTo>
                  <a:lnTo>
                    <a:pt x="384176" y="197447"/>
                  </a:lnTo>
                  <a:lnTo>
                    <a:pt x="384176" y="198831"/>
                  </a:lnTo>
                  <a:lnTo>
                    <a:pt x="384226" y="198831"/>
                  </a:lnTo>
                  <a:lnTo>
                    <a:pt x="384226" y="197447"/>
                  </a:lnTo>
                  <a:lnTo>
                    <a:pt x="384226" y="200228"/>
                  </a:lnTo>
                  <a:lnTo>
                    <a:pt x="384226" y="199530"/>
                  </a:lnTo>
                  <a:lnTo>
                    <a:pt x="384277" y="199530"/>
                  </a:lnTo>
                  <a:lnTo>
                    <a:pt x="384277" y="200228"/>
                  </a:lnTo>
                  <a:lnTo>
                    <a:pt x="384277" y="199530"/>
                  </a:lnTo>
                  <a:lnTo>
                    <a:pt x="384277" y="200228"/>
                  </a:lnTo>
                  <a:lnTo>
                    <a:pt x="384379" y="200228"/>
                  </a:lnTo>
                  <a:lnTo>
                    <a:pt x="384379" y="200876"/>
                  </a:lnTo>
                  <a:lnTo>
                    <a:pt x="384379" y="200228"/>
                  </a:lnTo>
                  <a:lnTo>
                    <a:pt x="384430" y="200228"/>
                  </a:lnTo>
                  <a:lnTo>
                    <a:pt x="384430" y="200876"/>
                  </a:lnTo>
                  <a:lnTo>
                    <a:pt x="384430" y="200228"/>
                  </a:lnTo>
                  <a:lnTo>
                    <a:pt x="384430" y="200876"/>
                  </a:lnTo>
                  <a:lnTo>
                    <a:pt x="384430" y="200228"/>
                  </a:lnTo>
                  <a:lnTo>
                    <a:pt x="384480" y="200228"/>
                  </a:lnTo>
                  <a:lnTo>
                    <a:pt x="384480" y="200876"/>
                  </a:lnTo>
                  <a:lnTo>
                    <a:pt x="384480" y="200228"/>
                  </a:lnTo>
                  <a:lnTo>
                    <a:pt x="384480" y="202260"/>
                  </a:lnTo>
                  <a:lnTo>
                    <a:pt x="384480" y="200876"/>
                  </a:lnTo>
                  <a:lnTo>
                    <a:pt x="384582" y="200876"/>
                  </a:lnTo>
                  <a:lnTo>
                    <a:pt x="384582" y="199530"/>
                  </a:lnTo>
                  <a:lnTo>
                    <a:pt x="384582" y="200228"/>
                  </a:lnTo>
                  <a:lnTo>
                    <a:pt x="384633" y="200228"/>
                  </a:lnTo>
                  <a:lnTo>
                    <a:pt x="384633" y="199530"/>
                  </a:lnTo>
                  <a:lnTo>
                    <a:pt x="384633" y="200228"/>
                  </a:lnTo>
                  <a:lnTo>
                    <a:pt x="384633" y="198831"/>
                  </a:lnTo>
                  <a:lnTo>
                    <a:pt x="384633" y="199530"/>
                  </a:lnTo>
                  <a:lnTo>
                    <a:pt x="384633" y="198831"/>
                  </a:lnTo>
                  <a:lnTo>
                    <a:pt x="384633" y="199530"/>
                  </a:lnTo>
                  <a:lnTo>
                    <a:pt x="384683" y="199530"/>
                  </a:lnTo>
                  <a:lnTo>
                    <a:pt x="384683" y="200228"/>
                  </a:lnTo>
                  <a:lnTo>
                    <a:pt x="384683" y="198831"/>
                  </a:lnTo>
                  <a:lnTo>
                    <a:pt x="384683" y="199530"/>
                  </a:lnTo>
                  <a:lnTo>
                    <a:pt x="384683" y="198831"/>
                  </a:lnTo>
                  <a:lnTo>
                    <a:pt x="384683" y="200228"/>
                  </a:lnTo>
                  <a:lnTo>
                    <a:pt x="384722" y="200876"/>
                  </a:lnTo>
                  <a:lnTo>
                    <a:pt x="384722" y="202260"/>
                  </a:lnTo>
                  <a:lnTo>
                    <a:pt x="384722" y="200228"/>
                  </a:lnTo>
                  <a:lnTo>
                    <a:pt x="384722" y="202260"/>
                  </a:lnTo>
                  <a:lnTo>
                    <a:pt x="384823" y="202260"/>
                  </a:lnTo>
                  <a:lnTo>
                    <a:pt x="384823" y="200876"/>
                  </a:lnTo>
                  <a:lnTo>
                    <a:pt x="384823" y="202260"/>
                  </a:lnTo>
                  <a:lnTo>
                    <a:pt x="384823" y="200876"/>
                  </a:lnTo>
                  <a:lnTo>
                    <a:pt x="384874" y="202260"/>
                  </a:lnTo>
                  <a:lnTo>
                    <a:pt x="384874" y="202959"/>
                  </a:lnTo>
                  <a:lnTo>
                    <a:pt x="384874" y="200876"/>
                  </a:lnTo>
                  <a:lnTo>
                    <a:pt x="384874" y="202260"/>
                  </a:lnTo>
                  <a:lnTo>
                    <a:pt x="384874" y="200876"/>
                  </a:lnTo>
                  <a:lnTo>
                    <a:pt x="384874" y="202260"/>
                  </a:lnTo>
                  <a:lnTo>
                    <a:pt x="384874" y="200876"/>
                  </a:lnTo>
                  <a:lnTo>
                    <a:pt x="384925" y="200876"/>
                  </a:lnTo>
                  <a:lnTo>
                    <a:pt x="384925" y="202260"/>
                  </a:lnTo>
                  <a:lnTo>
                    <a:pt x="384925" y="200876"/>
                  </a:lnTo>
                  <a:lnTo>
                    <a:pt x="384925" y="202260"/>
                  </a:lnTo>
                  <a:lnTo>
                    <a:pt x="384925" y="200876"/>
                  </a:lnTo>
                  <a:lnTo>
                    <a:pt x="384925" y="202260"/>
                  </a:lnTo>
                  <a:lnTo>
                    <a:pt x="384925" y="200876"/>
                  </a:lnTo>
                  <a:lnTo>
                    <a:pt x="385026" y="200876"/>
                  </a:lnTo>
                  <a:lnTo>
                    <a:pt x="385026" y="202260"/>
                  </a:lnTo>
                  <a:lnTo>
                    <a:pt x="385026" y="200876"/>
                  </a:lnTo>
                  <a:lnTo>
                    <a:pt x="385026" y="202260"/>
                  </a:lnTo>
                  <a:lnTo>
                    <a:pt x="385026" y="200876"/>
                  </a:lnTo>
                  <a:lnTo>
                    <a:pt x="385026" y="202260"/>
                  </a:lnTo>
                  <a:lnTo>
                    <a:pt x="385026" y="200876"/>
                  </a:lnTo>
                  <a:lnTo>
                    <a:pt x="385077" y="200876"/>
                  </a:lnTo>
                  <a:lnTo>
                    <a:pt x="385077" y="199530"/>
                  </a:lnTo>
                  <a:lnTo>
                    <a:pt x="385128" y="198831"/>
                  </a:lnTo>
                  <a:lnTo>
                    <a:pt x="385128" y="196799"/>
                  </a:lnTo>
                  <a:lnTo>
                    <a:pt x="385128" y="198831"/>
                  </a:lnTo>
                  <a:lnTo>
                    <a:pt x="385179" y="198831"/>
                  </a:lnTo>
                  <a:lnTo>
                    <a:pt x="385179" y="197447"/>
                  </a:lnTo>
                  <a:lnTo>
                    <a:pt x="385179" y="198831"/>
                  </a:lnTo>
                  <a:lnTo>
                    <a:pt x="385179" y="197447"/>
                  </a:lnTo>
                  <a:lnTo>
                    <a:pt x="385179" y="200228"/>
                  </a:lnTo>
                  <a:lnTo>
                    <a:pt x="385268" y="200876"/>
                  </a:lnTo>
                  <a:lnTo>
                    <a:pt x="385268" y="200228"/>
                  </a:lnTo>
                  <a:lnTo>
                    <a:pt x="385268" y="200876"/>
                  </a:lnTo>
                  <a:lnTo>
                    <a:pt x="385268" y="200228"/>
                  </a:lnTo>
                  <a:lnTo>
                    <a:pt x="385268" y="202260"/>
                  </a:lnTo>
                  <a:lnTo>
                    <a:pt x="385268" y="200876"/>
                  </a:lnTo>
                  <a:lnTo>
                    <a:pt x="385318" y="200876"/>
                  </a:lnTo>
                  <a:lnTo>
                    <a:pt x="385318" y="200228"/>
                  </a:lnTo>
                  <a:lnTo>
                    <a:pt x="385318" y="200876"/>
                  </a:lnTo>
                  <a:lnTo>
                    <a:pt x="385318" y="200228"/>
                  </a:lnTo>
                  <a:lnTo>
                    <a:pt x="385318" y="200876"/>
                  </a:lnTo>
                  <a:lnTo>
                    <a:pt x="385318" y="200228"/>
                  </a:lnTo>
                  <a:lnTo>
                    <a:pt x="385318" y="200876"/>
                  </a:lnTo>
                  <a:lnTo>
                    <a:pt x="385318" y="200228"/>
                  </a:lnTo>
                  <a:lnTo>
                    <a:pt x="385318" y="200876"/>
                  </a:lnTo>
                  <a:lnTo>
                    <a:pt x="385369" y="200876"/>
                  </a:lnTo>
                  <a:lnTo>
                    <a:pt x="385369" y="202260"/>
                  </a:lnTo>
                  <a:lnTo>
                    <a:pt x="385420" y="200876"/>
                  </a:lnTo>
                  <a:lnTo>
                    <a:pt x="385420" y="202260"/>
                  </a:lnTo>
                  <a:lnTo>
                    <a:pt x="385420" y="200876"/>
                  </a:lnTo>
                  <a:lnTo>
                    <a:pt x="385420" y="202260"/>
                  </a:lnTo>
                  <a:lnTo>
                    <a:pt x="385522" y="202260"/>
                  </a:lnTo>
                  <a:lnTo>
                    <a:pt x="385522" y="200876"/>
                  </a:lnTo>
                  <a:lnTo>
                    <a:pt x="385522" y="202260"/>
                  </a:lnTo>
                  <a:lnTo>
                    <a:pt x="385522" y="200228"/>
                  </a:lnTo>
                  <a:lnTo>
                    <a:pt x="385572" y="200228"/>
                  </a:lnTo>
                  <a:lnTo>
                    <a:pt x="385572" y="199530"/>
                  </a:lnTo>
                  <a:lnTo>
                    <a:pt x="385572" y="200228"/>
                  </a:lnTo>
                  <a:lnTo>
                    <a:pt x="385572" y="198831"/>
                  </a:lnTo>
                  <a:lnTo>
                    <a:pt x="385623" y="198831"/>
                  </a:lnTo>
                  <a:lnTo>
                    <a:pt x="385623" y="197447"/>
                  </a:lnTo>
                  <a:lnTo>
                    <a:pt x="385623" y="198831"/>
                  </a:lnTo>
                  <a:lnTo>
                    <a:pt x="385623" y="197447"/>
                  </a:lnTo>
                  <a:lnTo>
                    <a:pt x="385623" y="200876"/>
                  </a:lnTo>
                  <a:lnTo>
                    <a:pt x="385623" y="197447"/>
                  </a:lnTo>
                  <a:lnTo>
                    <a:pt x="385725" y="197447"/>
                  </a:lnTo>
                  <a:lnTo>
                    <a:pt x="385725" y="200876"/>
                  </a:lnTo>
                  <a:lnTo>
                    <a:pt x="385725" y="199530"/>
                  </a:lnTo>
                  <a:lnTo>
                    <a:pt x="385725" y="200228"/>
                  </a:lnTo>
                  <a:lnTo>
                    <a:pt x="385763" y="200228"/>
                  </a:lnTo>
                  <a:lnTo>
                    <a:pt x="385763" y="202260"/>
                  </a:lnTo>
                  <a:lnTo>
                    <a:pt x="385763" y="200876"/>
                  </a:lnTo>
                  <a:lnTo>
                    <a:pt x="385763" y="202260"/>
                  </a:lnTo>
                  <a:lnTo>
                    <a:pt x="385763" y="200228"/>
                  </a:lnTo>
                  <a:lnTo>
                    <a:pt x="385814" y="200876"/>
                  </a:lnTo>
                  <a:lnTo>
                    <a:pt x="385814" y="202260"/>
                  </a:lnTo>
                  <a:lnTo>
                    <a:pt x="385814" y="200876"/>
                  </a:lnTo>
                  <a:lnTo>
                    <a:pt x="385865" y="200876"/>
                  </a:lnTo>
                  <a:lnTo>
                    <a:pt x="385865" y="202260"/>
                  </a:lnTo>
                  <a:lnTo>
                    <a:pt x="385865" y="200876"/>
                  </a:lnTo>
                  <a:lnTo>
                    <a:pt x="385865" y="202260"/>
                  </a:lnTo>
                  <a:lnTo>
                    <a:pt x="385865" y="200876"/>
                  </a:lnTo>
                  <a:lnTo>
                    <a:pt x="385865" y="202260"/>
                  </a:lnTo>
                  <a:lnTo>
                    <a:pt x="385865" y="200876"/>
                  </a:lnTo>
                  <a:lnTo>
                    <a:pt x="385865" y="202260"/>
                  </a:lnTo>
                  <a:lnTo>
                    <a:pt x="385966" y="202260"/>
                  </a:lnTo>
                  <a:lnTo>
                    <a:pt x="385966" y="200876"/>
                  </a:lnTo>
                  <a:lnTo>
                    <a:pt x="385966" y="202260"/>
                  </a:lnTo>
                  <a:lnTo>
                    <a:pt x="385966" y="200876"/>
                  </a:lnTo>
                  <a:lnTo>
                    <a:pt x="385966" y="202260"/>
                  </a:lnTo>
                  <a:lnTo>
                    <a:pt x="386017" y="202260"/>
                  </a:lnTo>
                  <a:lnTo>
                    <a:pt x="386017" y="200228"/>
                  </a:lnTo>
                  <a:lnTo>
                    <a:pt x="386017" y="200876"/>
                  </a:lnTo>
                  <a:lnTo>
                    <a:pt x="386017" y="200228"/>
                  </a:lnTo>
                  <a:lnTo>
                    <a:pt x="386068" y="200228"/>
                  </a:lnTo>
                  <a:lnTo>
                    <a:pt x="386068" y="199530"/>
                  </a:lnTo>
                  <a:lnTo>
                    <a:pt x="386068" y="200228"/>
                  </a:lnTo>
                  <a:lnTo>
                    <a:pt x="386068" y="197447"/>
                  </a:lnTo>
                  <a:lnTo>
                    <a:pt x="386169" y="197447"/>
                  </a:lnTo>
                  <a:lnTo>
                    <a:pt x="386169" y="196113"/>
                  </a:lnTo>
                  <a:lnTo>
                    <a:pt x="386169" y="198831"/>
                  </a:lnTo>
                  <a:lnTo>
                    <a:pt x="386169" y="196799"/>
                  </a:lnTo>
                  <a:lnTo>
                    <a:pt x="386220" y="196799"/>
                  </a:lnTo>
                  <a:lnTo>
                    <a:pt x="386220" y="199530"/>
                  </a:lnTo>
                  <a:lnTo>
                    <a:pt x="386220" y="198831"/>
                  </a:lnTo>
                  <a:lnTo>
                    <a:pt x="386271" y="198831"/>
                  </a:lnTo>
                  <a:lnTo>
                    <a:pt x="386271" y="200228"/>
                  </a:lnTo>
                  <a:lnTo>
                    <a:pt x="386271" y="198831"/>
                  </a:lnTo>
                  <a:lnTo>
                    <a:pt x="386309" y="198831"/>
                  </a:lnTo>
                  <a:lnTo>
                    <a:pt x="386309" y="200228"/>
                  </a:lnTo>
                  <a:lnTo>
                    <a:pt x="386309" y="199530"/>
                  </a:lnTo>
                  <a:lnTo>
                    <a:pt x="386309" y="200228"/>
                  </a:lnTo>
                  <a:lnTo>
                    <a:pt x="386309" y="199530"/>
                  </a:lnTo>
                  <a:lnTo>
                    <a:pt x="386309" y="200228"/>
                  </a:lnTo>
                  <a:lnTo>
                    <a:pt x="386411" y="200228"/>
                  </a:lnTo>
                  <a:lnTo>
                    <a:pt x="386411" y="200876"/>
                  </a:lnTo>
                  <a:lnTo>
                    <a:pt x="386462" y="200876"/>
                  </a:lnTo>
                  <a:lnTo>
                    <a:pt x="386462" y="202260"/>
                  </a:lnTo>
                  <a:lnTo>
                    <a:pt x="386462" y="200876"/>
                  </a:lnTo>
                  <a:lnTo>
                    <a:pt x="386462" y="202260"/>
                  </a:lnTo>
                  <a:lnTo>
                    <a:pt x="386512" y="200876"/>
                  </a:lnTo>
                  <a:lnTo>
                    <a:pt x="386512" y="202260"/>
                  </a:lnTo>
                  <a:lnTo>
                    <a:pt x="386512" y="200228"/>
                  </a:lnTo>
                  <a:lnTo>
                    <a:pt x="386512" y="200876"/>
                  </a:lnTo>
                  <a:lnTo>
                    <a:pt x="386512" y="200228"/>
                  </a:lnTo>
                  <a:lnTo>
                    <a:pt x="386614" y="200228"/>
                  </a:lnTo>
                  <a:lnTo>
                    <a:pt x="386614" y="199530"/>
                  </a:lnTo>
                  <a:lnTo>
                    <a:pt x="386614" y="200228"/>
                  </a:lnTo>
                  <a:lnTo>
                    <a:pt x="386614" y="197447"/>
                  </a:lnTo>
                  <a:lnTo>
                    <a:pt x="386665" y="197447"/>
                  </a:lnTo>
                  <a:lnTo>
                    <a:pt x="386665" y="199530"/>
                  </a:lnTo>
                  <a:lnTo>
                    <a:pt x="386665" y="196799"/>
                  </a:lnTo>
                  <a:lnTo>
                    <a:pt x="386665" y="198831"/>
                  </a:lnTo>
                  <a:lnTo>
                    <a:pt x="386716" y="199530"/>
                  </a:lnTo>
                  <a:lnTo>
                    <a:pt x="386716" y="200228"/>
                  </a:lnTo>
                  <a:lnTo>
                    <a:pt x="386716" y="198831"/>
                  </a:lnTo>
                  <a:lnTo>
                    <a:pt x="386716" y="200228"/>
                  </a:lnTo>
                  <a:lnTo>
                    <a:pt x="386766" y="200228"/>
                  </a:lnTo>
                  <a:lnTo>
                    <a:pt x="386766" y="198831"/>
                  </a:lnTo>
                  <a:lnTo>
                    <a:pt x="386766" y="199530"/>
                  </a:lnTo>
                  <a:lnTo>
                    <a:pt x="386855" y="199530"/>
                  </a:lnTo>
                  <a:lnTo>
                    <a:pt x="386855" y="198831"/>
                  </a:lnTo>
                  <a:lnTo>
                    <a:pt x="386855" y="199530"/>
                  </a:lnTo>
                  <a:lnTo>
                    <a:pt x="386906" y="199530"/>
                  </a:lnTo>
                  <a:lnTo>
                    <a:pt x="386906" y="200228"/>
                  </a:lnTo>
                  <a:lnTo>
                    <a:pt x="386906" y="199530"/>
                  </a:lnTo>
                  <a:lnTo>
                    <a:pt x="386906" y="200876"/>
                  </a:lnTo>
                  <a:lnTo>
                    <a:pt x="386906" y="200228"/>
                  </a:lnTo>
                  <a:lnTo>
                    <a:pt x="386957" y="200876"/>
                  </a:lnTo>
                  <a:lnTo>
                    <a:pt x="386957" y="200228"/>
                  </a:lnTo>
                  <a:lnTo>
                    <a:pt x="386957" y="200876"/>
                  </a:lnTo>
                  <a:lnTo>
                    <a:pt x="386957" y="200228"/>
                  </a:lnTo>
                  <a:lnTo>
                    <a:pt x="386957" y="200876"/>
                  </a:lnTo>
                  <a:lnTo>
                    <a:pt x="386957" y="200228"/>
                  </a:lnTo>
                  <a:lnTo>
                    <a:pt x="387008" y="200228"/>
                  </a:lnTo>
                  <a:lnTo>
                    <a:pt x="387008" y="199530"/>
                  </a:lnTo>
                  <a:lnTo>
                    <a:pt x="387109" y="199530"/>
                  </a:lnTo>
                  <a:lnTo>
                    <a:pt x="387109" y="197447"/>
                  </a:lnTo>
                  <a:lnTo>
                    <a:pt x="387109" y="198831"/>
                  </a:lnTo>
                  <a:lnTo>
                    <a:pt x="387109" y="197447"/>
                  </a:lnTo>
                  <a:lnTo>
                    <a:pt x="387109" y="199530"/>
                  </a:lnTo>
                  <a:lnTo>
                    <a:pt x="387160" y="199530"/>
                  </a:lnTo>
                  <a:lnTo>
                    <a:pt x="387160" y="196799"/>
                  </a:lnTo>
                  <a:lnTo>
                    <a:pt x="387160" y="200876"/>
                  </a:lnTo>
                  <a:lnTo>
                    <a:pt x="387211" y="200876"/>
                  </a:lnTo>
                  <a:lnTo>
                    <a:pt x="387211" y="199530"/>
                  </a:lnTo>
                  <a:lnTo>
                    <a:pt x="387211" y="200228"/>
                  </a:lnTo>
                  <a:lnTo>
                    <a:pt x="387211" y="199530"/>
                  </a:lnTo>
                  <a:lnTo>
                    <a:pt x="387211" y="200228"/>
                  </a:lnTo>
                  <a:lnTo>
                    <a:pt x="387211" y="199530"/>
                  </a:lnTo>
                  <a:lnTo>
                    <a:pt x="387211" y="202260"/>
                  </a:lnTo>
                  <a:lnTo>
                    <a:pt x="387211" y="200876"/>
                  </a:lnTo>
                  <a:lnTo>
                    <a:pt x="387312" y="200876"/>
                  </a:lnTo>
                  <a:lnTo>
                    <a:pt x="387312" y="199530"/>
                  </a:lnTo>
                  <a:lnTo>
                    <a:pt x="387312" y="200228"/>
                  </a:lnTo>
                  <a:lnTo>
                    <a:pt x="387351" y="200228"/>
                  </a:lnTo>
                  <a:lnTo>
                    <a:pt x="387351" y="199530"/>
                  </a:lnTo>
                  <a:lnTo>
                    <a:pt x="387351" y="200876"/>
                  </a:lnTo>
                  <a:lnTo>
                    <a:pt x="387351" y="200228"/>
                  </a:lnTo>
                  <a:lnTo>
                    <a:pt x="387401" y="200228"/>
                  </a:lnTo>
                  <a:lnTo>
                    <a:pt x="387401" y="200876"/>
                  </a:lnTo>
                  <a:lnTo>
                    <a:pt x="387401" y="200228"/>
                  </a:lnTo>
                  <a:lnTo>
                    <a:pt x="387401" y="200876"/>
                  </a:lnTo>
                  <a:lnTo>
                    <a:pt x="387452" y="200876"/>
                  </a:lnTo>
                  <a:lnTo>
                    <a:pt x="387452" y="200228"/>
                  </a:lnTo>
                  <a:lnTo>
                    <a:pt x="387452" y="200876"/>
                  </a:lnTo>
                  <a:lnTo>
                    <a:pt x="387452" y="200228"/>
                  </a:lnTo>
                  <a:lnTo>
                    <a:pt x="387554" y="200228"/>
                  </a:lnTo>
                  <a:lnTo>
                    <a:pt x="387554" y="198831"/>
                  </a:lnTo>
                  <a:lnTo>
                    <a:pt x="387554" y="199530"/>
                  </a:lnTo>
                  <a:lnTo>
                    <a:pt x="387605" y="198831"/>
                  </a:lnTo>
                  <a:lnTo>
                    <a:pt x="387605" y="197447"/>
                  </a:lnTo>
                  <a:lnTo>
                    <a:pt x="387605" y="198831"/>
                  </a:lnTo>
                  <a:lnTo>
                    <a:pt x="387605" y="196799"/>
                  </a:lnTo>
                  <a:lnTo>
                    <a:pt x="387605" y="197447"/>
                  </a:lnTo>
                  <a:lnTo>
                    <a:pt x="387605" y="196799"/>
                  </a:lnTo>
                  <a:lnTo>
                    <a:pt x="387605" y="197447"/>
                  </a:lnTo>
                  <a:lnTo>
                    <a:pt x="387605" y="196799"/>
                  </a:lnTo>
                  <a:lnTo>
                    <a:pt x="387605" y="197447"/>
                  </a:lnTo>
                  <a:lnTo>
                    <a:pt x="387605" y="196799"/>
                  </a:lnTo>
                  <a:lnTo>
                    <a:pt x="387655" y="196799"/>
                  </a:lnTo>
                  <a:lnTo>
                    <a:pt x="387655" y="196113"/>
                  </a:lnTo>
                  <a:lnTo>
                    <a:pt x="387655" y="198831"/>
                  </a:lnTo>
                  <a:lnTo>
                    <a:pt x="387655" y="197447"/>
                  </a:lnTo>
                  <a:lnTo>
                    <a:pt x="387655" y="198831"/>
                  </a:lnTo>
                  <a:lnTo>
                    <a:pt x="387655" y="196113"/>
                  </a:lnTo>
                  <a:lnTo>
                    <a:pt x="387757" y="196113"/>
                  </a:lnTo>
                  <a:lnTo>
                    <a:pt x="387757" y="199530"/>
                  </a:lnTo>
                  <a:lnTo>
                    <a:pt x="387757" y="197447"/>
                  </a:lnTo>
                  <a:lnTo>
                    <a:pt x="387757" y="198831"/>
                  </a:lnTo>
                  <a:lnTo>
                    <a:pt x="387757" y="197447"/>
                  </a:lnTo>
                  <a:lnTo>
                    <a:pt x="387808" y="197447"/>
                  </a:lnTo>
                  <a:lnTo>
                    <a:pt x="387808" y="199530"/>
                  </a:lnTo>
                  <a:lnTo>
                    <a:pt x="387808" y="197447"/>
                  </a:lnTo>
                  <a:lnTo>
                    <a:pt x="387808" y="198831"/>
                  </a:lnTo>
                  <a:lnTo>
                    <a:pt x="387858" y="198831"/>
                  </a:lnTo>
                  <a:lnTo>
                    <a:pt x="387858" y="199530"/>
                  </a:lnTo>
                  <a:lnTo>
                    <a:pt x="387858" y="198831"/>
                  </a:lnTo>
                  <a:lnTo>
                    <a:pt x="387858" y="199530"/>
                  </a:lnTo>
                  <a:lnTo>
                    <a:pt x="387858" y="198831"/>
                  </a:lnTo>
                  <a:lnTo>
                    <a:pt x="387858" y="199530"/>
                  </a:lnTo>
                  <a:lnTo>
                    <a:pt x="387897" y="199530"/>
                  </a:lnTo>
                  <a:lnTo>
                    <a:pt x="387897" y="200228"/>
                  </a:lnTo>
                  <a:lnTo>
                    <a:pt x="388049" y="200228"/>
                  </a:lnTo>
                  <a:lnTo>
                    <a:pt x="388049" y="199530"/>
                  </a:lnTo>
                  <a:lnTo>
                    <a:pt x="388049" y="200228"/>
                  </a:lnTo>
                  <a:lnTo>
                    <a:pt x="388049" y="198831"/>
                  </a:lnTo>
                  <a:lnTo>
                    <a:pt x="388100" y="197447"/>
                  </a:lnTo>
                  <a:lnTo>
                    <a:pt x="388100" y="198831"/>
                  </a:lnTo>
                  <a:lnTo>
                    <a:pt x="388100" y="196113"/>
                  </a:lnTo>
                  <a:lnTo>
                    <a:pt x="388201" y="196113"/>
                  </a:lnTo>
                  <a:lnTo>
                    <a:pt x="388201" y="198831"/>
                  </a:lnTo>
                  <a:lnTo>
                    <a:pt x="388201" y="196113"/>
                  </a:lnTo>
                  <a:lnTo>
                    <a:pt x="388201" y="196799"/>
                  </a:lnTo>
                  <a:lnTo>
                    <a:pt x="388252" y="196799"/>
                  </a:lnTo>
                  <a:lnTo>
                    <a:pt x="388252" y="199530"/>
                  </a:lnTo>
                  <a:lnTo>
                    <a:pt x="388252" y="198831"/>
                  </a:lnTo>
                  <a:lnTo>
                    <a:pt x="388252" y="199530"/>
                  </a:lnTo>
                  <a:lnTo>
                    <a:pt x="388252" y="197447"/>
                  </a:lnTo>
                  <a:lnTo>
                    <a:pt x="388252" y="198831"/>
                  </a:lnTo>
                  <a:lnTo>
                    <a:pt x="388303" y="198831"/>
                  </a:lnTo>
                  <a:lnTo>
                    <a:pt x="388303" y="199530"/>
                  </a:lnTo>
                  <a:lnTo>
                    <a:pt x="388303" y="197447"/>
                  </a:lnTo>
                  <a:lnTo>
                    <a:pt x="388303" y="198831"/>
                  </a:lnTo>
                  <a:lnTo>
                    <a:pt x="388303" y="197447"/>
                  </a:lnTo>
                  <a:lnTo>
                    <a:pt x="388303" y="198831"/>
                  </a:lnTo>
                  <a:lnTo>
                    <a:pt x="388354" y="199530"/>
                  </a:lnTo>
                  <a:lnTo>
                    <a:pt x="388354" y="198831"/>
                  </a:lnTo>
                  <a:lnTo>
                    <a:pt x="388354" y="200228"/>
                  </a:lnTo>
                  <a:lnTo>
                    <a:pt x="388443" y="200228"/>
                  </a:lnTo>
                  <a:lnTo>
                    <a:pt x="388443" y="199530"/>
                  </a:lnTo>
                  <a:lnTo>
                    <a:pt x="388443" y="200876"/>
                  </a:lnTo>
                  <a:lnTo>
                    <a:pt x="388443" y="200228"/>
                  </a:lnTo>
                  <a:lnTo>
                    <a:pt x="388443" y="200876"/>
                  </a:lnTo>
                  <a:lnTo>
                    <a:pt x="388493" y="200876"/>
                  </a:lnTo>
                  <a:lnTo>
                    <a:pt x="388493" y="200228"/>
                  </a:lnTo>
                  <a:lnTo>
                    <a:pt x="388493" y="200876"/>
                  </a:lnTo>
                  <a:lnTo>
                    <a:pt x="388493" y="200228"/>
                  </a:lnTo>
                  <a:lnTo>
                    <a:pt x="388493" y="200876"/>
                  </a:lnTo>
                  <a:lnTo>
                    <a:pt x="388544" y="200228"/>
                  </a:lnTo>
                  <a:lnTo>
                    <a:pt x="388544" y="198831"/>
                  </a:lnTo>
                  <a:lnTo>
                    <a:pt x="388544" y="199530"/>
                  </a:lnTo>
                  <a:lnTo>
                    <a:pt x="388595" y="199530"/>
                  </a:lnTo>
                  <a:lnTo>
                    <a:pt x="388595" y="198831"/>
                  </a:lnTo>
                  <a:lnTo>
                    <a:pt x="388595" y="199530"/>
                  </a:lnTo>
                  <a:lnTo>
                    <a:pt x="388595" y="198831"/>
                  </a:lnTo>
                  <a:lnTo>
                    <a:pt x="388595" y="199530"/>
                  </a:lnTo>
                  <a:lnTo>
                    <a:pt x="388595" y="197447"/>
                  </a:lnTo>
                  <a:lnTo>
                    <a:pt x="388595" y="198831"/>
                  </a:lnTo>
                  <a:lnTo>
                    <a:pt x="388697" y="199530"/>
                  </a:lnTo>
                  <a:lnTo>
                    <a:pt x="388697" y="197447"/>
                  </a:lnTo>
                  <a:lnTo>
                    <a:pt x="388697" y="200228"/>
                  </a:lnTo>
                  <a:lnTo>
                    <a:pt x="388747" y="200228"/>
                  </a:lnTo>
                  <a:lnTo>
                    <a:pt x="388747" y="199530"/>
                  </a:lnTo>
                  <a:lnTo>
                    <a:pt x="388747" y="200228"/>
                  </a:lnTo>
                  <a:lnTo>
                    <a:pt x="388798" y="199530"/>
                  </a:lnTo>
                  <a:lnTo>
                    <a:pt x="388798" y="200228"/>
                  </a:lnTo>
                  <a:lnTo>
                    <a:pt x="388798" y="199530"/>
                  </a:lnTo>
                  <a:lnTo>
                    <a:pt x="388798" y="200228"/>
                  </a:lnTo>
                  <a:lnTo>
                    <a:pt x="388798" y="199530"/>
                  </a:lnTo>
                  <a:lnTo>
                    <a:pt x="388900" y="199530"/>
                  </a:lnTo>
                  <a:lnTo>
                    <a:pt x="388900" y="200876"/>
                  </a:lnTo>
                  <a:lnTo>
                    <a:pt x="388938" y="200228"/>
                  </a:lnTo>
                  <a:lnTo>
                    <a:pt x="388989" y="200228"/>
                  </a:lnTo>
                  <a:lnTo>
                    <a:pt x="388989" y="200876"/>
                  </a:lnTo>
                  <a:lnTo>
                    <a:pt x="388989" y="199530"/>
                  </a:lnTo>
                  <a:lnTo>
                    <a:pt x="389040" y="199530"/>
                  </a:lnTo>
                  <a:lnTo>
                    <a:pt x="389040" y="198831"/>
                  </a:lnTo>
                  <a:lnTo>
                    <a:pt x="389040" y="199530"/>
                  </a:lnTo>
                  <a:lnTo>
                    <a:pt x="389040" y="198831"/>
                  </a:lnTo>
                  <a:lnTo>
                    <a:pt x="389141" y="198831"/>
                  </a:lnTo>
                  <a:lnTo>
                    <a:pt x="389141" y="197447"/>
                  </a:lnTo>
                  <a:lnTo>
                    <a:pt x="389141" y="198831"/>
                  </a:lnTo>
                  <a:lnTo>
                    <a:pt x="389141" y="196799"/>
                  </a:lnTo>
                  <a:lnTo>
                    <a:pt x="389141" y="197447"/>
                  </a:lnTo>
                  <a:lnTo>
                    <a:pt x="389192" y="198831"/>
                  </a:lnTo>
                  <a:lnTo>
                    <a:pt x="389192" y="197447"/>
                  </a:lnTo>
                  <a:lnTo>
                    <a:pt x="389192" y="200228"/>
                  </a:lnTo>
                  <a:lnTo>
                    <a:pt x="389192" y="199530"/>
                  </a:lnTo>
                  <a:lnTo>
                    <a:pt x="389243" y="199530"/>
                  </a:lnTo>
                  <a:lnTo>
                    <a:pt x="389243" y="198831"/>
                  </a:lnTo>
                  <a:lnTo>
                    <a:pt x="389243" y="200876"/>
                  </a:lnTo>
                  <a:lnTo>
                    <a:pt x="389243" y="200228"/>
                  </a:lnTo>
                  <a:lnTo>
                    <a:pt x="389344" y="200228"/>
                  </a:lnTo>
                  <a:lnTo>
                    <a:pt x="389344" y="199530"/>
                  </a:lnTo>
                  <a:lnTo>
                    <a:pt x="389344" y="200228"/>
                  </a:lnTo>
                  <a:lnTo>
                    <a:pt x="389344" y="199530"/>
                  </a:lnTo>
                  <a:lnTo>
                    <a:pt x="389344" y="200228"/>
                  </a:lnTo>
                  <a:lnTo>
                    <a:pt x="389395" y="199530"/>
                  </a:lnTo>
                  <a:lnTo>
                    <a:pt x="389395" y="200228"/>
                  </a:lnTo>
                  <a:lnTo>
                    <a:pt x="389395" y="199530"/>
                  </a:lnTo>
                  <a:lnTo>
                    <a:pt x="389395" y="200228"/>
                  </a:lnTo>
                  <a:lnTo>
                    <a:pt x="389446" y="200228"/>
                  </a:lnTo>
                  <a:lnTo>
                    <a:pt x="389446" y="200876"/>
                  </a:lnTo>
                  <a:lnTo>
                    <a:pt x="389446" y="200228"/>
                  </a:lnTo>
                  <a:lnTo>
                    <a:pt x="389484" y="200228"/>
                  </a:lnTo>
                  <a:lnTo>
                    <a:pt x="389484" y="199530"/>
                  </a:lnTo>
                  <a:lnTo>
                    <a:pt x="389484" y="200228"/>
                  </a:lnTo>
                  <a:lnTo>
                    <a:pt x="389586" y="199530"/>
                  </a:lnTo>
                  <a:lnTo>
                    <a:pt x="389586" y="200228"/>
                  </a:lnTo>
                  <a:lnTo>
                    <a:pt x="389586" y="197447"/>
                  </a:lnTo>
                  <a:lnTo>
                    <a:pt x="389637" y="198831"/>
                  </a:lnTo>
                  <a:lnTo>
                    <a:pt x="389637" y="197447"/>
                  </a:lnTo>
                  <a:lnTo>
                    <a:pt x="389637" y="198831"/>
                  </a:lnTo>
                  <a:lnTo>
                    <a:pt x="389637" y="196799"/>
                  </a:lnTo>
                  <a:lnTo>
                    <a:pt x="389637" y="197447"/>
                  </a:lnTo>
                  <a:lnTo>
                    <a:pt x="389687" y="197447"/>
                  </a:lnTo>
                  <a:lnTo>
                    <a:pt x="389687" y="196113"/>
                  </a:lnTo>
                  <a:lnTo>
                    <a:pt x="389687" y="199530"/>
                  </a:lnTo>
                  <a:lnTo>
                    <a:pt x="389687" y="198831"/>
                  </a:lnTo>
                  <a:lnTo>
                    <a:pt x="389687" y="199530"/>
                  </a:lnTo>
                  <a:lnTo>
                    <a:pt x="389687" y="198831"/>
                  </a:lnTo>
                  <a:lnTo>
                    <a:pt x="389789" y="198831"/>
                  </a:lnTo>
                  <a:lnTo>
                    <a:pt x="389789" y="197447"/>
                  </a:lnTo>
                  <a:lnTo>
                    <a:pt x="389789" y="199530"/>
                  </a:lnTo>
                  <a:lnTo>
                    <a:pt x="389789" y="198831"/>
                  </a:lnTo>
                  <a:lnTo>
                    <a:pt x="389789" y="199530"/>
                  </a:lnTo>
                  <a:lnTo>
                    <a:pt x="389789" y="198831"/>
                  </a:lnTo>
                  <a:lnTo>
                    <a:pt x="389789" y="199530"/>
                  </a:lnTo>
                  <a:lnTo>
                    <a:pt x="389840" y="198831"/>
                  </a:lnTo>
                  <a:lnTo>
                    <a:pt x="389840" y="199530"/>
                  </a:lnTo>
                  <a:lnTo>
                    <a:pt x="389891" y="198831"/>
                  </a:lnTo>
                  <a:lnTo>
                    <a:pt x="389891" y="199530"/>
                  </a:lnTo>
                  <a:lnTo>
                    <a:pt x="389891" y="198831"/>
                  </a:lnTo>
                  <a:lnTo>
                    <a:pt x="389891" y="200228"/>
                  </a:lnTo>
                  <a:lnTo>
                    <a:pt x="389891" y="199530"/>
                  </a:lnTo>
                  <a:lnTo>
                    <a:pt x="389891" y="200228"/>
                  </a:lnTo>
                  <a:lnTo>
                    <a:pt x="389891" y="199530"/>
                  </a:lnTo>
                  <a:lnTo>
                    <a:pt x="389941" y="199530"/>
                  </a:lnTo>
                  <a:lnTo>
                    <a:pt x="389941" y="200228"/>
                  </a:lnTo>
                  <a:lnTo>
                    <a:pt x="389941" y="199530"/>
                  </a:lnTo>
                  <a:lnTo>
                    <a:pt x="389941" y="200228"/>
                  </a:lnTo>
                  <a:lnTo>
                    <a:pt x="389941" y="199530"/>
                  </a:lnTo>
                  <a:lnTo>
                    <a:pt x="389941" y="200228"/>
                  </a:lnTo>
                  <a:lnTo>
                    <a:pt x="389941" y="199530"/>
                  </a:lnTo>
                  <a:lnTo>
                    <a:pt x="389941" y="200228"/>
                  </a:lnTo>
                  <a:lnTo>
                    <a:pt x="390030" y="200228"/>
                  </a:lnTo>
                  <a:lnTo>
                    <a:pt x="390030" y="199530"/>
                  </a:lnTo>
                  <a:lnTo>
                    <a:pt x="390030" y="200228"/>
                  </a:lnTo>
                  <a:lnTo>
                    <a:pt x="390030" y="199530"/>
                  </a:lnTo>
                  <a:lnTo>
                    <a:pt x="390081" y="200228"/>
                  </a:lnTo>
                  <a:lnTo>
                    <a:pt x="390081" y="198831"/>
                  </a:lnTo>
                  <a:lnTo>
                    <a:pt x="390081" y="199530"/>
                  </a:lnTo>
                  <a:lnTo>
                    <a:pt x="390081" y="198831"/>
                  </a:lnTo>
                  <a:lnTo>
                    <a:pt x="390132" y="198831"/>
                  </a:lnTo>
                  <a:lnTo>
                    <a:pt x="390132" y="200228"/>
                  </a:lnTo>
                  <a:lnTo>
                    <a:pt x="390132" y="197447"/>
                  </a:lnTo>
                  <a:lnTo>
                    <a:pt x="390132" y="200228"/>
                  </a:lnTo>
                  <a:lnTo>
                    <a:pt x="390183" y="200228"/>
                  </a:lnTo>
                  <a:lnTo>
                    <a:pt x="390183" y="200876"/>
                  </a:lnTo>
                  <a:lnTo>
                    <a:pt x="390183" y="199530"/>
                  </a:lnTo>
                  <a:lnTo>
                    <a:pt x="390183" y="200876"/>
                  </a:lnTo>
                  <a:lnTo>
                    <a:pt x="390284" y="200876"/>
                  </a:lnTo>
                  <a:lnTo>
                    <a:pt x="390284" y="202260"/>
                  </a:lnTo>
                  <a:lnTo>
                    <a:pt x="390284" y="200228"/>
                  </a:lnTo>
                  <a:lnTo>
                    <a:pt x="390284" y="202260"/>
                  </a:lnTo>
                  <a:lnTo>
                    <a:pt x="390335" y="202260"/>
                  </a:lnTo>
                  <a:lnTo>
                    <a:pt x="390335" y="200876"/>
                  </a:lnTo>
                  <a:lnTo>
                    <a:pt x="390335" y="202260"/>
                  </a:lnTo>
                  <a:lnTo>
                    <a:pt x="390335" y="200876"/>
                  </a:lnTo>
                  <a:lnTo>
                    <a:pt x="390386" y="200876"/>
                  </a:lnTo>
                  <a:lnTo>
                    <a:pt x="390386" y="202260"/>
                  </a:lnTo>
                  <a:lnTo>
                    <a:pt x="390386" y="200876"/>
                  </a:lnTo>
                  <a:lnTo>
                    <a:pt x="390386" y="202260"/>
                  </a:lnTo>
                  <a:lnTo>
                    <a:pt x="390386" y="200876"/>
                  </a:lnTo>
                  <a:lnTo>
                    <a:pt x="390487" y="200876"/>
                  </a:lnTo>
                  <a:lnTo>
                    <a:pt x="390487" y="200228"/>
                  </a:lnTo>
                  <a:lnTo>
                    <a:pt x="390487" y="200876"/>
                  </a:lnTo>
                  <a:lnTo>
                    <a:pt x="390487" y="200228"/>
                  </a:lnTo>
                  <a:lnTo>
                    <a:pt x="390487" y="202260"/>
                  </a:lnTo>
                  <a:lnTo>
                    <a:pt x="390487" y="200876"/>
                  </a:lnTo>
                  <a:lnTo>
                    <a:pt x="390526" y="200876"/>
                  </a:lnTo>
                  <a:lnTo>
                    <a:pt x="390526" y="200228"/>
                  </a:lnTo>
                  <a:lnTo>
                    <a:pt x="390576" y="199530"/>
                  </a:lnTo>
                  <a:lnTo>
                    <a:pt x="390576" y="198831"/>
                  </a:lnTo>
                  <a:lnTo>
                    <a:pt x="390576" y="200228"/>
                  </a:lnTo>
                  <a:lnTo>
                    <a:pt x="390627" y="200228"/>
                  </a:lnTo>
                  <a:lnTo>
                    <a:pt x="390627" y="199530"/>
                  </a:lnTo>
                  <a:lnTo>
                    <a:pt x="390627" y="202260"/>
                  </a:lnTo>
                  <a:lnTo>
                    <a:pt x="390729" y="200876"/>
                  </a:lnTo>
                  <a:lnTo>
                    <a:pt x="390729" y="202260"/>
                  </a:lnTo>
                  <a:lnTo>
                    <a:pt x="390729" y="200228"/>
                  </a:lnTo>
                  <a:lnTo>
                    <a:pt x="390729" y="202959"/>
                  </a:lnTo>
                  <a:lnTo>
                    <a:pt x="390729" y="202260"/>
                  </a:lnTo>
                  <a:lnTo>
                    <a:pt x="390780" y="202260"/>
                  </a:lnTo>
                  <a:lnTo>
                    <a:pt x="390780" y="200876"/>
                  </a:lnTo>
                  <a:lnTo>
                    <a:pt x="390780" y="202260"/>
                  </a:lnTo>
                  <a:lnTo>
                    <a:pt x="390830" y="202260"/>
                  </a:lnTo>
                  <a:lnTo>
                    <a:pt x="390830" y="200876"/>
                  </a:lnTo>
                  <a:lnTo>
                    <a:pt x="390830" y="202959"/>
                  </a:lnTo>
                  <a:lnTo>
                    <a:pt x="390830" y="202260"/>
                  </a:lnTo>
                  <a:lnTo>
                    <a:pt x="390830" y="202959"/>
                  </a:lnTo>
                  <a:lnTo>
                    <a:pt x="390830" y="202260"/>
                  </a:lnTo>
                  <a:lnTo>
                    <a:pt x="390830" y="202959"/>
                  </a:lnTo>
                  <a:lnTo>
                    <a:pt x="390830" y="202260"/>
                  </a:lnTo>
                  <a:lnTo>
                    <a:pt x="390830" y="202959"/>
                  </a:lnTo>
                  <a:lnTo>
                    <a:pt x="390932" y="202959"/>
                  </a:lnTo>
                  <a:lnTo>
                    <a:pt x="390932" y="202260"/>
                  </a:lnTo>
                  <a:lnTo>
                    <a:pt x="390932" y="202959"/>
                  </a:lnTo>
                  <a:lnTo>
                    <a:pt x="390932" y="200876"/>
                  </a:lnTo>
                  <a:lnTo>
                    <a:pt x="390932" y="202260"/>
                  </a:lnTo>
                  <a:lnTo>
                    <a:pt x="390983" y="200876"/>
                  </a:lnTo>
                  <a:lnTo>
                    <a:pt x="390983" y="202260"/>
                  </a:lnTo>
                  <a:lnTo>
                    <a:pt x="390983" y="200876"/>
                  </a:lnTo>
                  <a:lnTo>
                    <a:pt x="390983" y="202260"/>
                  </a:lnTo>
                  <a:lnTo>
                    <a:pt x="390983" y="200876"/>
                  </a:lnTo>
                  <a:lnTo>
                    <a:pt x="391033" y="200876"/>
                  </a:lnTo>
                  <a:lnTo>
                    <a:pt x="391033" y="199530"/>
                  </a:lnTo>
                  <a:lnTo>
                    <a:pt x="391033" y="200228"/>
                  </a:lnTo>
                  <a:lnTo>
                    <a:pt x="391033" y="199530"/>
                  </a:lnTo>
                  <a:lnTo>
                    <a:pt x="391033" y="200228"/>
                  </a:lnTo>
                  <a:lnTo>
                    <a:pt x="391033" y="199530"/>
                  </a:lnTo>
                  <a:lnTo>
                    <a:pt x="391072" y="199530"/>
                  </a:lnTo>
                  <a:lnTo>
                    <a:pt x="391072" y="202260"/>
                  </a:lnTo>
                  <a:lnTo>
                    <a:pt x="391072" y="199530"/>
                  </a:lnTo>
                  <a:lnTo>
                    <a:pt x="391072" y="200876"/>
                  </a:lnTo>
                  <a:lnTo>
                    <a:pt x="391173" y="202260"/>
                  </a:lnTo>
                  <a:lnTo>
                    <a:pt x="391173" y="203594"/>
                  </a:lnTo>
                  <a:lnTo>
                    <a:pt x="391173" y="200228"/>
                  </a:lnTo>
                  <a:lnTo>
                    <a:pt x="391173" y="202260"/>
                  </a:lnTo>
                  <a:lnTo>
                    <a:pt x="391224" y="202260"/>
                  </a:lnTo>
                  <a:lnTo>
                    <a:pt x="391224" y="202959"/>
                  </a:lnTo>
                  <a:lnTo>
                    <a:pt x="391224" y="202260"/>
                  </a:lnTo>
                  <a:lnTo>
                    <a:pt x="391224" y="203594"/>
                  </a:lnTo>
                  <a:lnTo>
                    <a:pt x="391275" y="202959"/>
                  </a:lnTo>
                  <a:lnTo>
                    <a:pt x="391275" y="203594"/>
                  </a:lnTo>
                  <a:lnTo>
                    <a:pt x="391275" y="202959"/>
                  </a:lnTo>
                  <a:lnTo>
                    <a:pt x="391376" y="202959"/>
                  </a:lnTo>
                  <a:lnTo>
                    <a:pt x="391376" y="202260"/>
                  </a:lnTo>
                  <a:lnTo>
                    <a:pt x="391376" y="202959"/>
                  </a:lnTo>
                  <a:lnTo>
                    <a:pt x="391376" y="202260"/>
                  </a:lnTo>
                  <a:lnTo>
                    <a:pt x="391376" y="202959"/>
                  </a:lnTo>
                  <a:lnTo>
                    <a:pt x="391427" y="202959"/>
                  </a:lnTo>
                  <a:lnTo>
                    <a:pt x="391427" y="200876"/>
                  </a:lnTo>
                  <a:lnTo>
                    <a:pt x="391427" y="202260"/>
                  </a:lnTo>
                  <a:lnTo>
                    <a:pt x="391427" y="200876"/>
                  </a:lnTo>
                  <a:lnTo>
                    <a:pt x="391427" y="202260"/>
                  </a:lnTo>
                  <a:lnTo>
                    <a:pt x="391427" y="200876"/>
                  </a:lnTo>
                  <a:lnTo>
                    <a:pt x="391478" y="200876"/>
                  </a:lnTo>
                  <a:lnTo>
                    <a:pt x="391478" y="200228"/>
                  </a:lnTo>
                  <a:lnTo>
                    <a:pt x="391529" y="200228"/>
                  </a:lnTo>
                  <a:lnTo>
                    <a:pt x="391529" y="199530"/>
                  </a:lnTo>
                  <a:lnTo>
                    <a:pt x="391529" y="200228"/>
                  </a:lnTo>
                  <a:lnTo>
                    <a:pt x="391529" y="198831"/>
                  </a:lnTo>
                  <a:lnTo>
                    <a:pt x="391529" y="200228"/>
                  </a:lnTo>
                  <a:lnTo>
                    <a:pt x="391618" y="200228"/>
                  </a:lnTo>
                  <a:lnTo>
                    <a:pt x="391618" y="198831"/>
                  </a:lnTo>
                  <a:lnTo>
                    <a:pt x="391618" y="202959"/>
                  </a:lnTo>
                  <a:lnTo>
                    <a:pt x="391668" y="202260"/>
                  </a:lnTo>
                  <a:lnTo>
                    <a:pt x="391668" y="199530"/>
                  </a:lnTo>
                  <a:lnTo>
                    <a:pt x="391668" y="202260"/>
                  </a:lnTo>
                  <a:lnTo>
                    <a:pt x="391719" y="200876"/>
                  </a:lnTo>
                  <a:lnTo>
                    <a:pt x="391719" y="202260"/>
                  </a:lnTo>
                  <a:lnTo>
                    <a:pt x="391719" y="200876"/>
                  </a:lnTo>
                  <a:lnTo>
                    <a:pt x="391719" y="202959"/>
                  </a:lnTo>
                  <a:lnTo>
                    <a:pt x="391719" y="202260"/>
                  </a:lnTo>
                  <a:lnTo>
                    <a:pt x="391770" y="202959"/>
                  </a:lnTo>
                  <a:lnTo>
                    <a:pt x="391770" y="202260"/>
                  </a:lnTo>
                  <a:lnTo>
                    <a:pt x="391770" y="202959"/>
                  </a:lnTo>
                  <a:lnTo>
                    <a:pt x="391770" y="202260"/>
                  </a:lnTo>
                  <a:lnTo>
                    <a:pt x="391770" y="202959"/>
                  </a:lnTo>
                  <a:lnTo>
                    <a:pt x="391770" y="202260"/>
                  </a:lnTo>
                  <a:lnTo>
                    <a:pt x="391770" y="202959"/>
                  </a:lnTo>
                  <a:lnTo>
                    <a:pt x="391770" y="202260"/>
                  </a:lnTo>
                  <a:lnTo>
                    <a:pt x="391872" y="202260"/>
                  </a:lnTo>
                  <a:lnTo>
                    <a:pt x="391872" y="202959"/>
                  </a:lnTo>
                  <a:lnTo>
                    <a:pt x="391872" y="202260"/>
                  </a:lnTo>
                  <a:lnTo>
                    <a:pt x="391872" y="202959"/>
                  </a:lnTo>
                  <a:lnTo>
                    <a:pt x="391872" y="202260"/>
                  </a:lnTo>
                  <a:lnTo>
                    <a:pt x="391872" y="202959"/>
                  </a:lnTo>
                  <a:lnTo>
                    <a:pt x="391872" y="202260"/>
                  </a:lnTo>
                  <a:lnTo>
                    <a:pt x="391922" y="202260"/>
                  </a:lnTo>
                  <a:lnTo>
                    <a:pt x="391922" y="200876"/>
                  </a:lnTo>
                  <a:lnTo>
                    <a:pt x="391922" y="202260"/>
                  </a:lnTo>
                  <a:lnTo>
                    <a:pt x="391922" y="200876"/>
                  </a:lnTo>
                  <a:lnTo>
                    <a:pt x="391973" y="200876"/>
                  </a:lnTo>
                  <a:lnTo>
                    <a:pt x="391973" y="200228"/>
                  </a:lnTo>
                  <a:lnTo>
                    <a:pt x="392075" y="200228"/>
                  </a:lnTo>
                  <a:lnTo>
                    <a:pt x="392075" y="197447"/>
                  </a:lnTo>
                  <a:lnTo>
                    <a:pt x="392075" y="200228"/>
                  </a:lnTo>
                  <a:lnTo>
                    <a:pt x="392113" y="200228"/>
                  </a:lnTo>
                  <a:lnTo>
                    <a:pt x="392113" y="197447"/>
                  </a:lnTo>
                  <a:lnTo>
                    <a:pt x="392113" y="202260"/>
                  </a:lnTo>
                  <a:lnTo>
                    <a:pt x="392113" y="200228"/>
                  </a:lnTo>
                  <a:lnTo>
                    <a:pt x="392164" y="200228"/>
                  </a:lnTo>
                  <a:lnTo>
                    <a:pt x="392164" y="198831"/>
                  </a:lnTo>
                  <a:lnTo>
                    <a:pt x="392164" y="202260"/>
                  </a:lnTo>
                  <a:lnTo>
                    <a:pt x="392164" y="200228"/>
                  </a:lnTo>
                  <a:lnTo>
                    <a:pt x="392215" y="200228"/>
                  </a:lnTo>
                  <a:lnTo>
                    <a:pt x="392215" y="199530"/>
                  </a:lnTo>
                  <a:lnTo>
                    <a:pt x="392215" y="202260"/>
                  </a:lnTo>
                  <a:lnTo>
                    <a:pt x="392316" y="202260"/>
                  </a:lnTo>
                  <a:lnTo>
                    <a:pt x="392316" y="202959"/>
                  </a:lnTo>
                  <a:lnTo>
                    <a:pt x="392316" y="202260"/>
                  </a:lnTo>
                  <a:lnTo>
                    <a:pt x="392316" y="202959"/>
                  </a:lnTo>
                  <a:lnTo>
                    <a:pt x="392367" y="202260"/>
                  </a:lnTo>
                  <a:lnTo>
                    <a:pt x="392367" y="202959"/>
                  </a:lnTo>
                  <a:lnTo>
                    <a:pt x="392367" y="202260"/>
                  </a:lnTo>
                  <a:lnTo>
                    <a:pt x="392367" y="202959"/>
                  </a:lnTo>
                  <a:lnTo>
                    <a:pt x="392367" y="202260"/>
                  </a:lnTo>
                  <a:lnTo>
                    <a:pt x="392367" y="202959"/>
                  </a:lnTo>
                  <a:lnTo>
                    <a:pt x="392367" y="202260"/>
                  </a:lnTo>
                  <a:lnTo>
                    <a:pt x="392418" y="202260"/>
                  </a:lnTo>
                  <a:lnTo>
                    <a:pt x="392418" y="202959"/>
                  </a:lnTo>
                  <a:lnTo>
                    <a:pt x="392418" y="200876"/>
                  </a:lnTo>
                  <a:lnTo>
                    <a:pt x="392418" y="202260"/>
                  </a:lnTo>
                  <a:lnTo>
                    <a:pt x="392418" y="200876"/>
                  </a:lnTo>
                  <a:lnTo>
                    <a:pt x="392519" y="200876"/>
                  </a:lnTo>
                  <a:lnTo>
                    <a:pt x="392519" y="198831"/>
                  </a:lnTo>
                  <a:lnTo>
                    <a:pt x="392570" y="198831"/>
                  </a:lnTo>
                  <a:lnTo>
                    <a:pt x="392570" y="197447"/>
                  </a:lnTo>
                  <a:lnTo>
                    <a:pt x="392570" y="200228"/>
                  </a:lnTo>
                  <a:lnTo>
                    <a:pt x="392570" y="197447"/>
                  </a:lnTo>
                  <a:lnTo>
                    <a:pt x="392621" y="197447"/>
                  </a:lnTo>
                  <a:lnTo>
                    <a:pt x="392621" y="196799"/>
                  </a:lnTo>
                  <a:lnTo>
                    <a:pt x="392621" y="200876"/>
                  </a:lnTo>
                  <a:lnTo>
                    <a:pt x="392621" y="198831"/>
                  </a:lnTo>
                  <a:lnTo>
                    <a:pt x="392659" y="198831"/>
                  </a:lnTo>
                  <a:lnTo>
                    <a:pt x="392659" y="200876"/>
                  </a:lnTo>
                  <a:lnTo>
                    <a:pt x="392659" y="199530"/>
                  </a:lnTo>
                  <a:lnTo>
                    <a:pt x="392761" y="199530"/>
                  </a:lnTo>
                  <a:lnTo>
                    <a:pt x="392761" y="200228"/>
                  </a:lnTo>
                  <a:lnTo>
                    <a:pt x="392761" y="199530"/>
                  </a:lnTo>
                  <a:lnTo>
                    <a:pt x="392761" y="200228"/>
                  </a:lnTo>
                  <a:lnTo>
                    <a:pt x="392812" y="200228"/>
                  </a:lnTo>
                  <a:lnTo>
                    <a:pt x="392812" y="200876"/>
                  </a:lnTo>
                  <a:lnTo>
                    <a:pt x="392812" y="200228"/>
                  </a:lnTo>
                  <a:lnTo>
                    <a:pt x="392812" y="200876"/>
                  </a:lnTo>
                  <a:lnTo>
                    <a:pt x="392862" y="200876"/>
                  </a:lnTo>
                  <a:lnTo>
                    <a:pt x="392862" y="200228"/>
                  </a:lnTo>
                  <a:lnTo>
                    <a:pt x="392862" y="202260"/>
                  </a:lnTo>
                  <a:lnTo>
                    <a:pt x="392862" y="200228"/>
                  </a:lnTo>
                  <a:lnTo>
                    <a:pt x="392862" y="200876"/>
                  </a:lnTo>
                  <a:lnTo>
                    <a:pt x="392964" y="200228"/>
                  </a:lnTo>
                  <a:lnTo>
                    <a:pt x="392964" y="200876"/>
                  </a:lnTo>
                  <a:lnTo>
                    <a:pt x="392964" y="200228"/>
                  </a:lnTo>
                  <a:lnTo>
                    <a:pt x="392964" y="200876"/>
                  </a:lnTo>
                  <a:lnTo>
                    <a:pt x="392964" y="200228"/>
                  </a:lnTo>
                  <a:lnTo>
                    <a:pt x="393015" y="200228"/>
                  </a:lnTo>
                  <a:lnTo>
                    <a:pt x="393015" y="198831"/>
                  </a:lnTo>
                  <a:lnTo>
                    <a:pt x="393015" y="199530"/>
                  </a:lnTo>
                  <a:lnTo>
                    <a:pt x="393015" y="197447"/>
                  </a:lnTo>
                  <a:lnTo>
                    <a:pt x="393015" y="198831"/>
                  </a:lnTo>
                  <a:lnTo>
                    <a:pt x="393066" y="198831"/>
                  </a:lnTo>
                  <a:lnTo>
                    <a:pt x="393066" y="200228"/>
                  </a:lnTo>
                  <a:lnTo>
                    <a:pt x="393066" y="198831"/>
                  </a:lnTo>
                  <a:lnTo>
                    <a:pt x="393066" y="200228"/>
                  </a:lnTo>
                  <a:lnTo>
                    <a:pt x="393116" y="200876"/>
                  </a:lnTo>
                  <a:lnTo>
                    <a:pt x="393116" y="202260"/>
                  </a:lnTo>
                  <a:lnTo>
                    <a:pt x="393116" y="199530"/>
                  </a:lnTo>
                  <a:lnTo>
                    <a:pt x="393116" y="200876"/>
                  </a:lnTo>
                  <a:lnTo>
                    <a:pt x="393205" y="202260"/>
                  </a:lnTo>
                  <a:lnTo>
                    <a:pt x="393205" y="200228"/>
                  </a:lnTo>
                  <a:lnTo>
                    <a:pt x="393205" y="202260"/>
                  </a:lnTo>
                  <a:lnTo>
                    <a:pt x="393256" y="200876"/>
                  </a:lnTo>
                  <a:lnTo>
                    <a:pt x="393256" y="202260"/>
                  </a:lnTo>
                  <a:lnTo>
                    <a:pt x="393256" y="200876"/>
                  </a:lnTo>
                  <a:lnTo>
                    <a:pt x="393256" y="202260"/>
                  </a:lnTo>
                  <a:lnTo>
                    <a:pt x="393256" y="200876"/>
                  </a:lnTo>
                  <a:lnTo>
                    <a:pt x="393307" y="200876"/>
                  </a:lnTo>
                  <a:lnTo>
                    <a:pt x="393307" y="202260"/>
                  </a:lnTo>
                  <a:lnTo>
                    <a:pt x="393307" y="200876"/>
                  </a:lnTo>
                  <a:lnTo>
                    <a:pt x="393307" y="202260"/>
                  </a:lnTo>
                  <a:lnTo>
                    <a:pt x="393307" y="200876"/>
                  </a:lnTo>
                  <a:lnTo>
                    <a:pt x="393358" y="200876"/>
                  </a:lnTo>
                  <a:lnTo>
                    <a:pt x="393358" y="200228"/>
                  </a:lnTo>
                  <a:lnTo>
                    <a:pt x="393358" y="202260"/>
                  </a:lnTo>
                  <a:lnTo>
                    <a:pt x="393358" y="200876"/>
                  </a:lnTo>
                  <a:lnTo>
                    <a:pt x="393459" y="200876"/>
                  </a:lnTo>
                  <a:lnTo>
                    <a:pt x="393459" y="199530"/>
                  </a:lnTo>
                  <a:lnTo>
                    <a:pt x="393459" y="200228"/>
                  </a:lnTo>
                  <a:lnTo>
                    <a:pt x="393459" y="199530"/>
                  </a:lnTo>
                  <a:lnTo>
                    <a:pt x="393510" y="199530"/>
                  </a:lnTo>
                  <a:lnTo>
                    <a:pt x="393510" y="198831"/>
                  </a:lnTo>
                  <a:lnTo>
                    <a:pt x="393510" y="199530"/>
                  </a:lnTo>
                  <a:lnTo>
                    <a:pt x="393510" y="197447"/>
                  </a:lnTo>
                  <a:lnTo>
                    <a:pt x="393510" y="198831"/>
                  </a:lnTo>
                  <a:lnTo>
                    <a:pt x="393561" y="197447"/>
                  </a:lnTo>
                  <a:lnTo>
                    <a:pt x="393561" y="199530"/>
                  </a:lnTo>
                  <a:lnTo>
                    <a:pt x="393561" y="197447"/>
                  </a:lnTo>
                  <a:lnTo>
                    <a:pt x="393561" y="200228"/>
                  </a:lnTo>
                  <a:lnTo>
                    <a:pt x="393662" y="200876"/>
                  </a:lnTo>
                  <a:lnTo>
                    <a:pt x="393662" y="199530"/>
                  </a:lnTo>
                  <a:lnTo>
                    <a:pt x="393662" y="200228"/>
                  </a:lnTo>
                  <a:lnTo>
                    <a:pt x="393701" y="200876"/>
                  </a:lnTo>
                  <a:lnTo>
                    <a:pt x="393701" y="202260"/>
                  </a:lnTo>
                  <a:lnTo>
                    <a:pt x="393701" y="200228"/>
                  </a:lnTo>
                  <a:lnTo>
                    <a:pt x="393701" y="200876"/>
                  </a:lnTo>
                  <a:lnTo>
                    <a:pt x="393751" y="200876"/>
                  </a:lnTo>
                  <a:lnTo>
                    <a:pt x="393751" y="200228"/>
                  </a:lnTo>
                  <a:lnTo>
                    <a:pt x="393751" y="200876"/>
                  </a:lnTo>
                  <a:lnTo>
                    <a:pt x="393751" y="200228"/>
                  </a:lnTo>
                  <a:lnTo>
                    <a:pt x="393751" y="200876"/>
                  </a:lnTo>
                  <a:lnTo>
                    <a:pt x="393751" y="200228"/>
                  </a:lnTo>
                  <a:lnTo>
                    <a:pt x="393802" y="200228"/>
                  </a:lnTo>
                  <a:lnTo>
                    <a:pt x="393802" y="200876"/>
                  </a:lnTo>
                  <a:lnTo>
                    <a:pt x="393802" y="200228"/>
                  </a:lnTo>
                  <a:lnTo>
                    <a:pt x="393802" y="200876"/>
                  </a:lnTo>
                  <a:lnTo>
                    <a:pt x="393802" y="200228"/>
                  </a:lnTo>
                  <a:lnTo>
                    <a:pt x="393802" y="200876"/>
                  </a:lnTo>
                  <a:lnTo>
                    <a:pt x="393904" y="200876"/>
                  </a:lnTo>
                  <a:lnTo>
                    <a:pt x="393904" y="200228"/>
                  </a:lnTo>
                  <a:lnTo>
                    <a:pt x="393904" y="200876"/>
                  </a:lnTo>
                  <a:lnTo>
                    <a:pt x="393904" y="200228"/>
                  </a:lnTo>
                  <a:lnTo>
                    <a:pt x="393904" y="200876"/>
                  </a:lnTo>
                  <a:lnTo>
                    <a:pt x="393904" y="200228"/>
                  </a:lnTo>
                  <a:lnTo>
                    <a:pt x="393904" y="200876"/>
                  </a:lnTo>
                  <a:lnTo>
                    <a:pt x="393904" y="200228"/>
                  </a:lnTo>
                  <a:lnTo>
                    <a:pt x="393955" y="200228"/>
                  </a:lnTo>
                  <a:lnTo>
                    <a:pt x="393955" y="199530"/>
                  </a:lnTo>
                  <a:lnTo>
                    <a:pt x="393955" y="200228"/>
                  </a:lnTo>
                  <a:lnTo>
                    <a:pt x="393955" y="199530"/>
                  </a:lnTo>
                  <a:lnTo>
                    <a:pt x="393955" y="200228"/>
                  </a:lnTo>
                  <a:lnTo>
                    <a:pt x="393955" y="199530"/>
                  </a:lnTo>
                  <a:lnTo>
                    <a:pt x="393955" y="200228"/>
                  </a:lnTo>
                  <a:lnTo>
                    <a:pt x="393955" y="198831"/>
                  </a:lnTo>
                  <a:lnTo>
                    <a:pt x="394005" y="198831"/>
                  </a:lnTo>
                  <a:lnTo>
                    <a:pt x="394005" y="196799"/>
                  </a:lnTo>
                  <a:lnTo>
                    <a:pt x="394005" y="198831"/>
                  </a:lnTo>
                  <a:lnTo>
                    <a:pt x="394107" y="199530"/>
                  </a:lnTo>
                  <a:lnTo>
                    <a:pt x="394107" y="196799"/>
                  </a:lnTo>
                  <a:lnTo>
                    <a:pt x="394107" y="200228"/>
                  </a:lnTo>
                  <a:lnTo>
                    <a:pt x="394107" y="199530"/>
                  </a:lnTo>
                  <a:lnTo>
                    <a:pt x="394158" y="199530"/>
                  </a:lnTo>
                  <a:lnTo>
                    <a:pt x="394158" y="197447"/>
                  </a:lnTo>
                  <a:lnTo>
                    <a:pt x="394158" y="200228"/>
                  </a:lnTo>
                  <a:lnTo>
                    <a:pt x="394208" y="200228"/>
                  </a:lnTo>
                  <a:lnTo>
                    <a:pt x="394208" y="199530"/>
                  </a:lnTo>
                  <a:lnTo>
                    <a:pt x="394208" y="200228"/>
                  </a:lnTo>
                  <a:lnTo>
                    <a:pt x="394208" y="199530"/>
                  </a:lnTo>
                  <a:lnTo>
                    <a:pt x="394208" y="200876"/>
                  </a:lnTo>
                  <a:lnTo>
                    <a:pt x="394247" y="200876"/>
                  </a:lnTo>
                  <a:lnTo>
                    <a:pt x="394247" y="200228"/>
                  </a:lnTo>
                  <a:lnTo>
                    <a:pt x="394247" y="200876"/>
                  </a:lnTo>
                  <a:lnTo>
                    <a:pt x="394348" y="200876"/>
                  </a:lnTo>
                  <a:lnTo>
                    <a:pt x="394348" y="202260"/>
                  </a:lnTo>
                  <a:lnTo>
                    <a:pt x="394348" y="200876"/>
                  </a:lnTo>
                  <a:lnTo>
                    <a:pt x="394348" y="202260"/>
                  </a:lnTo>
                  <a:lnTo>
                    <a:pt x="394348" y="200876"/>
                  </a:lnTo>
                  <a:lnTo>
                    <a:pt x="394399" y="200876"/>
                  </a:lnTo>
                  <a:lnTo>
                    <a:pt x="394399" y="202260"/>
                  </a:lnTo>
                  <a:lnTo>
                    <a:pt x="394399" y="200228"/>
                  </a:lnTo>
                  <a:lnTo>
                    <a:pt x="394399" y="200876"/>
                  </a:lnTo>
                  <a:lnTo>
                    <a:pt x="394399" y="200228"/>
                  </a:lnTo>
                  <a:lnTo>
                    <a:pt x="394399" y="200876"/>
                  </a:lnTo>
                  <a:lnTo>
                    <a:pt x="394399" y="200228"/>
                  </a:lnTo>
                  <a:lnTo>
                    <a:pt x="394450" y="200228"/>
                  </a:lnTo>
                  <a:lnTo>
                    <a:pt x="394450" y="198831"/>
                  </a:lnTo>
                  <a:lnTo>
                    <a:pt x="394551" y="198831"/>
                  </a:lnTo>
                  <a:lnTo>
                    <a:pt x="394551" y="197447"/>
                  </a:lnTo>
                  <a:lnTo>
                    <a:pt x="394551" y="198831"/>
                  </a:lnTo>
                  <a:lnTo>
                    <a:pt x="394551" y="196799"/>
                  </a:lnTo>
                  <a:lnTo>
                    <a:pt x="394551" y="197447"/>
                  </a:lnTo>
                  <a:lnTo>
                    <a:pt x="394602" y="197447"/>
                  </a:lnTo>
                  <a:lnTo>
                    <a:pt x="394602" y="198831"/>
                  </a:lnTo>
                  <a:lnTo>
                    <a:pt x="394602" y="196799"/>
                  </a:lnTo>
                  <a:lnTo>
                    <a:pt x="394602" y="199530"/>
                  </a:lnTo>
                  <a:lnTo>
                    <a:pt x="394602" y="198831"/>
                  </a:lnTo>
                  <a:lnTo>
                    <a:pt x="394653" y="198831"/>
                  </a:lnTo>
                  <a:lnTo>
                    <a:pt x="394653" y="199530"/>
                  </a:lnTo>
                  <a:lnTo>
                    <a:pt x="394704" y="199530"/>
                  </a:lnTo>
                  <a:lnTo>
                    <a:pt x="394704" y="198831"/>
                  </a:lnTo>
                  <a:lnTo>
                    <a:pt x="394704" y="200228"/>
                  </a:lnTo>
                  <a:lnTo>
                    <a:pt x="394704" y="199530"/>
                  </a:lnTo>
                  <a:lnTo>
                    <a:pt x="394793" y="199530"/>
                  </a:lnTo>
                  <a:lnTo>
                    <a:pt x="394793" y="200228"/>
                  </a:lnTo>
                  <a:lnTo>
                    <a:pt x="394793" y="199530"/>
                  </a:lnTo>
                  <a:lnTo>
                    <a:pt x="394793" y="200228"/>
                  </a:lnTo>
                  <a:lnTo>
                    <a:pt x="394843" y="200228"/>
                  </a:lnTo>
                  <a:lnTo>
                    <a:pt x="394843" y="200876"/>
                  </a:lnTo>
                  <a:lnTo>
                    <a:pt x="394894" y="200876"/>
                  </a:lnTo>
                  <a:lnTo>
                    <a:pt x="394894" y="200228"/>
                  </a:lnTo>
                  <a:lnTo>
                    <a:pt x="394894" y="200876"/>
                  </a:lnTo>
                  <a:lnTo>
                    <a:pt x="394894" y="200228"/>
                  </a:lnTo>
                  <a:lnTo>
                    <a:pt x="394894" y="200876"/>
                  </a:lnTo>
                  <a:lnTo>
                    <a:pt x="394894" y="200228"/>
                  </a:lnTo>
                  <a:lnTo>
                    <a:pt x="394945" y="200228"/>
                  </a:lnTo>
                  <a:lnTo>
                    <a:pt x="394945" y="198831"/>
                  </a:lnTo>
                  <a:lnTo>
                    <a:pt x="394945" y="199530"/>
                  </a:lnTo>
                  <a:lnTo>
                    <a:pt x="394945" y="198831"/>
                  </a:lnTo>
                  <a:lnTo>
                    <a:pt x="394945" y="199530"/>
                  </a:lnTo>
                  <a:lnTo>
                    <a:pt x="394945" y="197447"/>
                  </a:lnTo>
                  <a:lnTo>
                    <a:pt x="395047" y="197447"/>
                  </a:lnTo>
                  <a:lnTo>
                    <a:pt x="395047" y="195415"/>
                  </a:lnTo>
                  <a:lnTo>
                    <a:pt x="395097" y="195415"/>
                  </a:lnTo>
                  <a:lnTo>
                    <a:pt x="395097" y="197447"/>
                  </a:lnTo>
                  <a:lnTo>
                    <a:pt x="395097" y="195415"/>
                  </a:lnTo>
                  <a:lnTo>
                    <a:pt x="395097" y="197447"/>
                  </a:lnTo>
                  <a:lnTo>
                    <a:pt x="395148" y="197447"/>
                  </a:lnTo>
                  <a:lnTo>
                    <a:pt x="395148" y="198831"/>
                  </a:lnTo>
                  <a:lnTo>
                    <a:pt x="395148" y="197447"/>
                  </a:lnTo>
                  <a:lnTo>
                    <a:pt x="395148" y="198831"/>
                  </a:lnTo>
                  <a:lnTo>
                    <a:pt x="395148" y="196799"/>
                  </a:lnTo>
                  <a:lnTo>
                    <a:pt x="395148" y="197447"/>
                  </a:lnTo>
                  <a:lnTo>
                    <a:pt x="395250" y="197447"/>
                  </a:lnTo>
                  <a:lnTo>
                    <a:pt x="395250" y="198831"/>
                  </a:lnTo>
                  <a:lnTo>
                    <a:pt x="395250" y="197447"/>
                  </a:lnTo>
                  <a:lnTo>
                    <a:pt x="395250" y="198831"/>
                  </a:lnTo>
                  <a:lnTo>
                    <a:pt x="395250" y="197447"/>
                  </a:lnTo>
                  <a:lnTo>
                    <a:pt x="395250" y="198831"/>
                  </a:lnTo>
                  <a:lnTo>
                    <a:pt x="395250" y="197447"/>
                  </a:lnTo>
                  <a:lnTo>
                    <a:pt x="395250" y="198831"/>
                  </a:lnTo>
                  <a:lnTo>
                    <a:pt x="395250" y="197447"/>
                  </a:lnTo>
                  <a:lnTo>
                    <a:pt x="395250" y="198831"/>
                  </a:lnTo>
                  <a:lnTo>
                    <a:pt x="395250" y="197447"/>
                  </a:lnTo>
                  <a:lnTo>
                    <a:pt x="395288" y="198831"/>
                  </a:lnTo>
                  <a:lnTo>
                    <a:pt x="395288" y="199530"/>
                  </a:lnTo>
                  <a:lnTo>
                    <a:pt x="395288" y="198831"/>
                  </a:lnTo>
                  <a:lnTo>
                    <a:pt x="395288" y="199530"/>
                  </a:lnTo>
                  <a:lnTo>
                    <a:pt x="395288" y="198831"/>
                  </a:lnTo>
                  <a:lnTo>
                    <a:pt x="395288" y="199530"/>
                  </a:lnTo>
                  <a:lnTo>
                    <a:pt x="395339" y="199530"/>
                  </a:lnTo>
                  <a:lnTo>
                    <a:pt x="395339" y="200876"/>
                  </a:lnTo>
                  <a:lnTo>
                    <a:pt x="395339" y="200228"/>
                  </a:lnTo>
                  <a:lnTo>
                    <a:pt x="395339" y="200876"/>
                  </a:lnTo>
                  <a:lnTo>
                    <a:pt x="395390" y="200228"/>
                  </a:lnTo>
                  <a:lnTo>
                    <a:pt x="395390" y="200876"/>
                  </a:lnTo>
                  <a:lnTo>
                    <a:pt x="395390" y="200228"/>
                  </a:lnTo>
                  <a:lnTo>
                    <a:pt x="395390" y="200876"/>
                  </a:lnTo>
                  <a:lnTo>
                    <a:pt x="395390" y="200228"/>
                  </a:lnTo>
                  <a:lnTo>
                    <a:pt x="395390" y="200876"/>
                  </a:lnTo>
                  <a:lnTo>
                    <a:pt x="395390" y="200228"/>
                  </a:lnTo>
                  <a:lnTo>
                    <a:pt x="395491" y="200228"/>
                  </a:lnTo>
                  <a:lnTo>
                    <a:pt x="395491" y="198831"/>
                  </a:lnTo>
                  <a:lnTo>
                    <a:pt x="395542" y="198831"/>
                  </a:lnTo>
                  <a:lnTo>
                    <a:pt x="395542" y="196799"/>
                  </a:lnTo>
                  <a:lnTo>
                    <a:pt x="395542" y="197447"/>
                  </a:lnTo>
                  <a:lnTo>
                    <a:pt x="395593" y="197447"/>
                  </a:lnTo>
                  <a:lnTo>
                    <a:pt x="395593" y="198831"/>
                  </a:lnTo>
                  <a:lnTo>
                    <a:pt x="395593" y="196113"/>
                  </a:lnTo>
                  <a:lnTo>
                    <a:pt x="395593" y="199530"/>
                  </a:lnTo>
                  <a:lnTo>
                    <a:pt x="395593" y="198831"/>
                  </a:lnTo>
                  <a:lnTo>
                    <a:pt x="395694" y="199530"/>
                  </a:lnTo>
                  <a:lnTo>
                    <a:pt x="395694" y="197447"/>
                  </a:lnTo>
                  <a:lnTo>
                    <a:pt x="395694" y="198831"/>
                  </a:lnTo>
                  <a:lnTo>
                    <a:pt x="395745" y="198831"/>
                  </a:lnTo>
                  <a:lnTo>
                    <a:pt x="395745" y="196799"/>
                  </a:lnTo>
                  <a:lnTo>
                    <a:pt x="395745" y="198831"/>
                  </a:lnTo>
                  <a:lnTo>
                    <a:pt x="395796" y="199530"/>
                  </a:lnTo>
                  <a:lnTo>
                    <a:pt x="395796" y="198831"/>
                  </a:lnTo>
                  <a:lnTo>
                    <a:pt x="395796" y="199530"/>
                  </a:lnTo>
                  <a:lnTo>
                    <a:pt x="395796" y="198831"/>
                  </a:lnTo>
                  <a:lnTo>
                    <a:pt x="395796" y="199530"/>
                  </a:lnTo>
                  <a:lnTo>
                    <a:pt x="395796" y="198831"/>
                  </a:lnTo>
                  <a:lnTo>
                    <a:pt x="395796" y="199530"/>
                  </a:lnTo>
                  <a:lnTo>
                    <a:pt x="395834" y="199530"/>
                  </a:lnTo>
                  <a:lnTo>
                    <a:pt x="395834" y="197447"/>
                  </a:lnTo>
                  <a:lnTo>
                    <a:pt x="395834" y="200228"/>
                  </a:lnTo>
                  <a:lnTo>
                    <a:pt x="395834" y="199530"/>
                  </a:lnTo>
                  <a:lnTo>
                    <a:pt x="395834" y="200228"/>
                  </a:lnTo>
                  <a:lnTo>
                    <a:pt x="395834" y="199530"/>
                  </a:lnTo>
                  <a:lnTo>
                    <a:pt x="395834" y="200228"/>
                  </a:lnTo>
                  <a:lnTo>
                    <a:pt x="395834" y="199530"/>
                  </a:lnTo>
                  <a:lnTo>
                    <a:pt x="395834" y="200228"/>
                  </a:lnTo>
                  <a:lnTo>
                    <a:pt x="395936" y="200228"/>
                  </a:lnTo>
                  <a:lnTo>
                    <a:pt x="395936" y="199530"/>
                  </a:lnTo>
                  <a:lnTo>
                    <a:pt x="395936" y="200228"/>
                  </a:lnTo>
                  <a:lnTo>
                    <a:pt x="395936" y="199530"/>
                  </a:lnTo>
                  <a:lnTo>
                    <a:pt x="395936" y="200228"/>
                  </a:lnTo>
                  <a:lnTo>
                    <a:pt x="395936" y="199530"/>
                  </a:lnTo>
                  <a:lnTo>
                    <a:pt x="395987" y="199530"/>
                  </a:lnTo>
                  <a:lnTo>
                    <a:pt x="395987" y="198831"/>
                  </a:lnTo>
                  <a:lnTo>
                    <a:pt x="395987" y="199530"/>
                  </a:lnTo>
                  <a:lnTo>
                    <a:pt x="396037" y="199530"/>
                  </a:lnTo>
                  <a:lnTo>
                    <a:pt x="396037" y="197447"/>
                  </a:lnTo>
                  <a:lnTo>
                    <a:pt x="396037" y="198831"/>
                  </a:lnTo>
                  <a:lnTo>
                    <a:pt x="396037" y="196799"/>
                  </a:lnTo>
                  <a:lnTo>
                    <a:pt x="396037" y="199530"/>
                  </a:lnTo>
                  <a:lnTo>
                    <a:pt x="396139" y="199530"/>
                  </a:lnTo>
                  <a:lnTo>
                    <a:pt x="396139" y="197447"/>
                  </a:lnTo>
                  <a:lnTo>
                    <a:pt x="396139" y="200228"/>
                  </a:lnTo>
                  <a:lnTo>
                    <a:pt x="396139" y="199530"/>
                  </a:lnTo>
                  <a:lnTo>
                    <a:pt x="396190" y="199530"/>
                  </a:lnTo>
                  <a:lnTo>
                    <a:pt x="396190" y="198831"/>
                  </a:lnTo>
                  <a:lnTo>
                    <a:pt x="396190" y="200228"/>
                  </a:lnTo>
                  <a:lnTo>
                    <a:pt x="396190" y="199530"/>
                  </a:lnTo>
                  <a:lnTo>
                    <a:pt x="396241" y="199530"/>
                  </a:lnTo>
                  <a:lnTo>
                    <a:pt x="396241" y="200228"/>
                  </a:lnTo>
                  <a:lnTo>
                    <a:pt x="396241" y="199530"/>
                  </a:lnTo>
                  <a:lnTo>
                    <a:pt x="396241" y="200228"/>
                  </a:lnTo>
                  <a:lnTo>
                    <a:pt x="396291" y="200228"/>
                  </a:lnTo>
                  <a:lnTo>
                    <a:pt x="396291" y="199530"/>
                  </a:lnTo>
                  <a:lnTo>
                    <a:pt x="396291" y="200876"/>
                  </a:lnTo>
                  <a:lnTo>
                    <a:pt x="396380" y="200228"/>
                  </a:lnTo>
                  <a:lnTo>
                    <a:pt x="396380" y="200876"/>
                  </a:lnTo>
                  <a:lnTo>
                    <a:pt x="396380" y="200228"/>
                  </a:lnTo>
                  <a:lnTo>
                    <a:pt x="396380" y="200876"/>
                  </a:lnTo>
                  <a:lnTo>
                    <a:pt x="396380" y="200228"/>
                  </a:lnTo>
                  <a:lnTo>
                    <a:pt x="396380" y="200876"/>
                  </a:lnTo>
                  <a:lnTo>
                    <a:pt x="396380" y="200228"/>
                  </a:lnTo>
                  <a:lnTo>
                    <a:pt x="396431" y="200228"/>
                  </a:lnTo>
                  <a:lnTo>
                    <a:pt x="396431" y="200876"/>
                  </a:lnTo>
                  <a:lnTo>
                    <a:pt x="396431" y="200228"/>
                  </a:lnTo>
                  <a:lnTo>
                    <a:pt x="396431" y="200876"/>
                  </a:lnTo>
                  <a:lnTo>
                    <a:pt x="396431" y="200228"/>
                  </a:lnTo>
                  <a:lnTo>
                    <a:pt x="396482" y="199530"/>
                  </a:lnTo>
                  <a:lnTo>
                    <a:pt x="396482" y="200228"/>
                  </a:lnTo>
                  <a:lnTo>
                    <a:pt x="396482" y="197447"/>
                  </a:lnTo>
                  <a:lnTo>
                    <a:pt x="396482" y="198831"/>
                  </a:lnTo>
                  <a:lnTo>
                    <a:pt x="396533" y="198831"/>
                  </a:lnTo>
                  <a:lnTo>
                    <a:pt x="396533" y="200876"/>
                  </a:lnTo>
                  <a:lnTo>
                    <a:pt x="396533" y="199530"/>
                  </a:lnTo>
                  <a:lnTo>
                    <a:pt x="396634" y="198831"/>
                  </a:lnTo>
                  <a:lnTo>
                    <a:pt x="396634" y="202260"/>
                  </a:lnTo>
                  <a:lnTo>
                    <a:pt x="396634" y="200228"/>
                  </a:lnTo>
                  <a:lnTo>
                    <a:pt x="396634" y="200876"/>
                  </a:lnTo>
                  <a:lnTo>
                    <a:pt x="396634" y="200228"/>
                  </a:lnTo>
                  <a:lnTo>
                    <a:pt x="396685" y="200228"/>
                  </a:lnTo>
                  <a:lnTo>
                    <a:pt x="396685" y="200876"/>
                  </a:lnTo>
                  <a:lnTo>
                    <a:pt x="396685" y="200228"/>
                  </a:lnTo>
                  <a:lnTo>
                    <a:pt x="396685" y="200876"/>
                  </a:lnTo>
                  <a:lnTo>
                    <a:pt x="396736" y="200876"/>
                  </a:lnTo>
                  <a:lnTo>
                    <a:pt x="396736" y="200228"/>
                  </a:lnTo>
                  <a:lnTo>
                    <a:pt x="396736" y="200876"/>
                  </a:lnTo>
                  <a:lnTo>
                    <a:pt x="396837" y="200876"/>
                  </a:lnTo>
                  <a:lnTo>
                    <a:pt x="396837" y="202260"/>
                  </a:lnTo>
                  <a:lnTo>
                    <a:pt x="396837" y="200228"/>
                  </a:lnTo>
                  <a:lnTo>
                    <a:pt x="396837" y="200876"/>
                  </a:lnTo>
                  <a:lnTo>
                    <a:pt x="396837" y="200228"/>
                  </a:lnTo>
                  <a:lnTo>
                    <a:pt x="396876" y="200876"/>
                  </a:lnTo>
                  <a:lnTo>
                    <a:pt x="396876" y="200228"/>
                  </a:lnTo>
                  <a:lnTo>
                    <a:pt x="396876" y="200876"/>
                  </a:lnTo>
                  <a:lnTo>
                    <a:pt x="396876" y="200228"/>
                  </a:lnTo>
                  <a:lnTo>
                    <a:pt x="396926" y="200228"/>
                  </a:lnTo>
                  <a:lnTo>
                    <a:pt x="396926" y="199530"/>
                  </a:lnTo>
                  <a:lnTo>
                    <a:pt x="396926" y="200228"/>
                  </a:lnTo>
                  <a:lnTo>
                    <a:pt x="396926" y="199530"/>
                  </a:lnTo>
                  <a:lnTo>
                    <a:pt x="396926" y="200228"/>
                  </a:lnTo>
                  <a:lnTo>
                    <a:pt x="396926" y="198831"/>
                  </a:lnTo>
                  <a:lnTo>
                    <a:pt x="396977" y="199530"/>
                  </a:lnTo>
                  <a:lnTo>
                    <a:pt x="396977" y="196799"/>
                  </a:lnTo>
                  <a:lnTo>
                    <a:pt x="397079" y="196799"/>
                  </a:lnTo>
                  <a:lnTo>
                    <a:pt x="397079" y="199530"/>
                  </a:lnTo>
                  <a:lnTo>
                    <a:pt x="397079" y="197447"/>
                  </a:lnTo>
                  <a:lnTo>
                    <a:pt x="397079" y="198831"/>
                  </a:lnTo>
                  <a:lnTo>
                    <a:pt x="397130" y="199530"/>
                  </a:lnTo>
                  <a:lnTo>
                    <a:pt x="397130" y="200876"/>
                  </a:lnTo>
                  <a:lnTo>
                    <a:pt x="397130" y="199530"/>
                  </a:lnTo>
                  <a:lnTo>
                    <a:pt x="397130" y="200228"/>
                  </a:lnTo>
                  <a:lnTo>
                    <a:pt x="397180" y="200228"/>
                  </a:lnTo>
                  <a:lnTo>
                    <a:pt x="397180" y="200876"/>
                  </a:lnTo>
                  <a:lnTo>
                    <a:pt x="397180" y="200228"/>
                  </a:lnTo>
                  <a:lnTo>
                    <a:pt x="397180" y="200876"/>
                  </a:lnTo>
                  <a:lnTo>
                    <a:pt x="397180" y="200228"/>
                  </a:lnTo>
                  <a:lnTo>
                    <a:pt x="397282" y="200876"/>
                  </a:lnTo>
                  <a:lnTo>
                    <a:pt x="397282" y="200228"/>
                  </a:lnTo>
                  <a:lnTo>
                    <a:pt x="397282" y="202260"/>
                  </a:lnTo>
                  <a:lnTo>
                    <a:pt x="397282" y="200876"/>
                  </a:lnTo>
                  <a:lnTo>
                    <a:pt x="397282" y="202260"/>
                  </a:lnTo>
                  <a:lnTo>
                    <a:pt x="397282" y="200876"/>
                  </a:lnTo>
                  <a:lnTo>
                    <a:pt x="397282" y="202959"/>
                  </a:lnTo>
                  <a:lnTo>
                    <a:pt x="397333" y="202260"/>
                  </a:lnTo>
                  <a:lnTo>
                    <a:pt x="397333" y="200876"/>
                  </a:lnTo>
                  <a:lnTo>
                    <a:pt x="397333" y="202260"/>
                  </a:lnTo>
                  <a:lnTo>
                    <a:pt x="397333" y="200876"/>
                  </a:lnTo>
                  <a:lnTo>
                    <a:pt x="397333" y="202260"/>
                  </a:lnTo>
                  <a:lnTo>
                    <a:pt x="397383" y="202260"/>
                  </a:lnTo>
                  <a:lnTo>
                    <a:pt x="397383" y="200876"/>
                  </a:lnTo>
                  <a:lnTo>
                    <a:pt x="397383" y="202260"/>
                  </a:lnTo>
                  <a:lnTo>
                    <a:pt x="397383" y="200876"/>
                  </a:lnTo>
                  <a:lnTo>
                    <a:pt x="397383" y="202260"/>
                  </a:lnTo>
                  <a:lnTo>
                    <a:pt x="397383" y="200228"/>
                  </a:lnTo>
                  <a:lnTo>
                    <a:pt x="397422" y="200228"/>
                  </a:lnTo>
                  <a:lnTo>
                    <a:pt x="397422" y="200876"/>
                  </a:lnTo>
                  <a:lnTo>
                    <a:pt x="397422" y="200228"/>
                  </a:lnTo>
                  <a:lnTo>
                    <a:pt x="397422" y="200876"/>
                  </a:lnTo>
                  <a:lnTo>
                    <a:pt x="397422" y="199530"/>
                  </a:lnTo>
                  <a:lnTo>
                    <a:pt x="397422" y="200228"/>
                  </a:lnTo>
                  <a:lnTo>
                    <a:pt x="397422" y="199530"/>
                  </a:lnTo>
                  <a:lnTo>
                    <a:pt x="397523" y="198831"/>
                  </a:lnTo>
                  <a:lnTo>
                    <a:pt x="397523" y="199530"/>
                  </a:lnTo>
                  <a:lnTo>
                    <a:pt x="397523" y="197447"/>
                  </a:lnTo>
                  <a:lnTo>
                    <a:pt x="397523" y="199530"/>
                  </a:lnTo>
                  <a:lnTo>
                    <a:pt x="397574" y="200228"/>
                  </a:lnTo>
                  <a:lnTo>
                    <a:pt x="397574" y="198831"/>
                  </a:lnTo>
                  <a:lnTo>
                    <a:pt x="397574" y="200876"/>
                  </a:lnTo>
                  <a:lnTo>
                    <a:pt x="397625" y="200876"/>
                  </a:lnTo>
                  <a:lnTo>
                    <a:pt x="397625" y="199530"/>
                  </a:lnTo>
                  <a:lnTo>
                    <a:pt x="397625" y="200228"/>
                  </a:lnTo>
                  <a:lnTo>
                    <a:pt x="397625" y="199530"/>
                  </a:lnTo>
                  <a:lnTo>
                    <a:pt x="397625" y="200876"/>
                  </a:lnTo>
                  <a:lnTo>
                    <a:pt x="397726" y="200876"/>
                  </a:lnTo>
                  <a:lnTo>
                    <a:pt x="397726" y="200228"/>
                  </a:lnTo>
                  <a:lnTo>
                    <a:pt x="397726" y="200876"/>
                  </a:lnTo>
                  <a:lnTo>
                    <a:pt x="397726" y="200228"/>
                  </a:lnTo>
                  <a:lnTo>
                    <a:pt x="397726" y="200876"/>
                  </a:lnTo>
                  <a:lnTo>
                    <a:pt x="397726" y="200228"/>
                  </a:lnTo>
                  <a:lnTo>
                    <a:pt x="397726" y="200876"/>
                  </a:lnTo>
                  <a:lnTo>
                    <a:pt x="397777" y="200876"/>
                  </a:lnTo>
                  <a:lnTo>
                    <a:pt x="397777" y="200228"/>
                  </a:lnTo>
                  <a:lnTo>
                    <a:pt x="397777" y="202260"/>
                  </a:lnTo>
                  <a:lnTo>
                    <a:pt x="397828" y="202260"/>
                  </a:lnTo>
                  <a:lnTo>
                    <a:pt x="397828" y="200876"/>
                  </a:lnTo>
                  <a:lnTo>
                    <a:pt x="397828" y="202260"/>
                  </a:lnTo>
                  <a:lnTo>
                    <a:pt x="397828" y="200876"/>
                  </a:lnTo>
                  <a:lnTo>
                    <a:pt x="397879" y="202260"/>
                  </a:lnTo>
                  <a:lnTo>
                    <a:pt x="397879" y="200876"/>
                  </a:lnTo>
                  <a:lnTo>
                    <a:pt x="397879" y="202260"/>
                  </a:lnTo>
                  <a:lnTo>
                    <a:pt x="397879" y="200876"/>
                  </a:lnTo>
                  <a:lnTo>
                    <a:pt x="397968" y="200228"/>
                  </a:lnTo>
                  <a:lnTo>
                    <a:pt x="397968" y="199530"/>
                  </a:lnTo>
                  <a:lnTo>
                    <a:pt x="397968" y="200228"/>
                  </a:lnTo>
                  <a:lnTo>
                    <a:pt x="397968" y="198831"/>
                  </a:lnTo>
                  <a:lnTo>
                    <a:pt x="398018" y="198831"/>
                  </a:lnTo>
                  <a:lnTo>
                    <a:pt x="398018" y="197447"/>
                  </a:lnTo>
                  <a:lnTo>
                    <a:pt x="398018" y="198831"/>
                  </a:lnTo>
                  <a:lnTo>
                    <a:pt x="398018" y="196113"/>
                  </a:lnTo>
                  <a:lnTo>
                    <a:pt x="398018" y="197447"/>
                  </a:lnTo>
                  <a:lnTo>
                    <a:pt x="398069" y="198831"/>
                  </a:lnTo>
                  <a:lnTo>
                    <a:pt x="398069" y="199530"/>
                  </a:lnTo>
                  <a:lnTo>
                    <a:pt x="398069" y="196113"/>
                  </a:lnTo>
                  <a:lnTo>
                    <a:pt x="398069" y="196799"/>
                  </a:lnTo>
                  <a:lnTo>
                    <a:pt x="398069" y="196113"/>
                  </a:lnTo>
                  <a:lnTo>
                    <a:pt x="398069" y="200228"/>
                  </a:lnTo>
                  <a:lnTo>
                    <a:pt x="398120" y="199530"/>
                  </a:lnTo>
                  <a:lnTo>
                    <a:pt x="398120" y="200228"/>
                  </a:lnTo>
                  <a:lnTo>
                    <a:pt x="398120" y="197447"/>
                  </a:lnTo>
                  <a:lnTo>
                    <a:pt x="398120" y="199530"/>
                  </a:lnTo>
                  <a:lnTo>
                    <a:pt x="398222" y="199530"/>
                  </a:lnTo>
                  <a:lnTo>
                    <a:pt x="398222" y="198831"/>
                  </a:lnTo>
                  <a:lnTo>
                    <a:pt x="398222" y="200228"/>
                  </a:lnTo>
                  <a:lnTo>
                    <a:pt x="398272" y="200228"/>
                  </a:lnTo>
                  <a:lnTo>
                    <a:pt x="398272" y="199530"/>
                  </a:lnTo>
                  <a:lnTo>
                    <a:pt x="398272" y="200876"/>
                  </a:lnTo>
                  <a:lnTo>
                    <a:pt x="398272" y="200228"/>
                  </a:lnTo>
                  <a:lnTo>
                    <a:pt x="398272" y="202260"/>
                  </a:lnTo>
                  <a:lnTo>
                    <a:pt x="398272" y="200876"/>
                  </a:lnTo>
                  <a:lnTo>
                    <a:pt x="398323" y="202260"/>
                  </a:lnTo>
                  <a:lnTo>
                    <a:pt x="398323" y="200876"/>
                  </a:lnTo>
                  <a:lnTo>
                    <a:pt x="398323" y="202260"/>
                  </a:lnTo>
                  <a:lnTo>
                    <a:pt x="398323" y="200876"/>
                  </a:lnTo>
                  <a:lnTo>
                    <a:pt x="398323" y="202260"/>
                  </a:lnTo>
                  <a:lnTo>
                    <a:pt x="398323" y="200876"/>
                  </a:lnTo>
                  <a:lnTo>
                    <a:pt x="398323" y="202260"/>
                  </a:lnTo>
                  <a:lnTo>
                    <a:pt x="398425" y="202260"/>
                  </a:lnTo>
                  <a:lnTo>
                    <a:pt x="398425" y="200876"/>
                  </a:lnTo>
                  <a:lnTo>
                    <a:pt x="398425" y="202260"/>
                  </a:lnTo>
                  <a:lnTo>
                    <a:pt x="398425" y="200876"/>
                  </a:lnTo>
                  <a:lnTo>
                    <a:pt x="398463" y="200876"/>
                  </a:lnTo>
                  <a:lnTo>
                    <a:pt x="398463" y="199530"/>
                  </a:lnTo>
                  <a:lnTo>
                    <a:pt x="398514" y="199530"/>
                  </a:lnTo>
                  <a:lnTo>
                    <a:pt x="398514" y="197447"/>
                  </a:lnTo>
                  <a:lnTo>
                    <a:pt x="398514" y="199530"/>
                  </a:lnTo>
                  <a:lnTo>
                    <a:pt x="398565" y="199530"/>
                  </a:lnTo>
                  <a:lnTo>
                    <a:pt x="398565" y="196799"/>
                  </a:lnTo>
                  <a:lnTo>
                    <a:pt x="398565" y="200228"/>
                  </a:lnTo>
                  <a:lnTo>
                    <a:pt x="398565" y="199530"/>
                  </a:lnTo>
                  <a:lnTo>
                    <a:pt x="398666" y="199530"/>
                  </a:lnTo>
                  <a:lnTo>
                    <a:pt x="398666" y="198831"/>
                  </a:lnTo>
                  <a:lnTo>
                    <a:pt x="398666" y="200228"/>
                  </a:lnTo>
                  <a:lnTo>
                    <a:pt x="398666" y="199530"/>
                  </a:lnTo>
                  <a:lnTo>
                    <a:pt x="398717" y="198831"/>
                  </a:lnTo>
                  <a:lnTo>
                    <a:pt x="398717" y="199530"/>
                  </a:lnTo>
                  <a:lnTo>
                    <a:pt x="398768" y="199530"/>
                  </a:lnTo>
                  <a:lnTo>
                    <a:pt x="398768" y="200228"/>
                  </a:lnTo>
                  <a:lnTo>
                    <a:pt x="398869" y="200228"/>
                  </a:lnTo>
                  <a:lnTo>
                    <a:pt x="398869" y="200876"/>
                  </a:lnTo>
                  <a:lnTo>
                    <a:pt x="398869" y="200228"/>
                  </a:lnTo>
                  <a:lnTo>
                    <a:pt x="398920" y="200228"/>
                  </a:lnTo>
                  <a:lnTo>
                    <a:pt x="398920" y="200876"/>
                  </a:lnTo>
                  <a:lnTo>
                    <a:pt x="398920" y="200228"/>
                  </a:lnTo>
                  <a:lnTo>
                    <a:pt x="398920" y="200876"/>
                  </a:lnTo>
                  <a:lnTo>
                    <a:pt x="398920" y="200228"/>
                  </a:lnTo>
                  <a:lnTo>
                    <a:pt x="398971" y="200228"/>
                  </a:lnTo>
                  <a:lnTo>
                    <a:pt x="398971" y="199530"/>
                  </a:lnTo>
                  <a:lnTo>
                    <a:pt x="398971" y="200228"/>
                  </a:lnTo>
                  <a:lnTo>
                    <a:pt x="398971" y="199530"/>
                  </a:lnTo>
                  <a:lnTo>
                    <a:pt x="398971" y="200228"/>
                  </a:lnTo>
                  <a:lnTo>
                    <a:pt x="398971" y="199530"/>
                  </a:lnTo>
                  <a:lnTo>
                    <a:pt x="398971" y="200228"/>
                  </a:lnTo>
                  <a:lnTo>
                    <a:pt x="398971" y="199530"/>
                  </a:lnTo>
                  <a:lnTo>
                    <a:pt x="399009" y="199530"/>
                  </a:lnTo>
                  <a:lnTo>
                    <a:pt x="399009" y="200876"/>
                  </a:lnTo>
                  <a:lnTo>
                    <a:pt x="399009" y="200228"/>
                  </a:lnTo>
                  <a:lnTo>
                    <a:pt x="399009" y="200876"/>
                  </a:lnTo>
                  <a:lnTo>
                    <a:pt x="399009" y="200228"/>
                  </a:lnTo>
                  <a:lnTo>
                    <a:pt x="399111" y="200876"/>
                  </a:lnTo>
                  <a:lnTo>
                    <a:pt x="399111" y="200228"/>
                  </a:lnTo>
                  <a:lnTo>
                    <a:pt x="399111" y="202959"/>
                  </a:lnTo>
                  <a:lnTo>
                    <a:pt x="399111" y="200228"/>
                  </a:lnTo>
                  <a:lnTo>
                    <a:pt x="399111" y="200876"/>
                  </a:lnTo>
                  <a:lnTo>
                    <a:pt x="399111" y="200228"/>
                  </a:lnTo>
                  <a:lnTo>
                    <a:pt x="399111" y="200876"/>
                  </a:lnTo>
                  <a:lnTo>
                    <a:pt x="399162" y="200876"/>
                  </a:lnTo>
                  <a:lnTo>
                    <a:pt x="399162" y="202260"/>
                  </a:lnTo>
                  <a:lnTo>
                    <a:pt x="399162" y="200876"/>
                  </a:lnTo>
                  <a:lnTo>
                    <a:pt x="399162" y="202260"/>
                  </a:lnTo>
                  <a:lnTo>
                    <a:pt x="399162" y="200876"/>
                  </a:lnTo>
                  <a:lnTo>
                    <a:pt x="399162" y="202260"/>
                  </a:lnTo>
                  <a:lnTo>
                    <a:pt x="399162" y="200876"/>
                  </a:lnTo>
                  <a:lnTo>
                    <a:pt x="399162" y="202260"/>
                  </a:lnTo>
                  <a:lnTo>
                    <a:pt x="399162" y="200876"/>
                  </a:lnTo>
                  <a:lnTo>
                    <a:pt x="399212" y="200876"/>
                  </a:lnTo>
                  <a:lnTo>
                    <a:pt x="399212" y="202260"/>
                  </a:lnTo>
                  <a:lnTo>
                    <a:pt x="399212" y="200876"/>
                  </a:lnTo>
                  <a:lnTo>
                    <a:pt x="399212" y="202260"/>
                  </a:lnTo>
                  <a:lnTo>
                    <a:pt x="399212" y="200876"/>
                  </a:lnTo>
                  <a:lnTo>
                    <a:pt x="399212" y="202260"/>
                  </a:lnTo>
                  <a:lnTo>
                    <a:pt x="399212" y="200876"/>
                  </a:lnTo>
                  <a:lnTo>
                    <a:pt x="399212" y="202260"/>
                  </a:lnTo>
                  <a:lnTo>
                    <a:pt x="399314" y="202260"/>
                  </a:lnTo>
                  <a:lnTo>
                    <a:pt x="399314" y="200876"/>
                  </a:lnTo>
                  <a:lnTo>
                    <a:pt x="399314" y="202260"/>
                  </a:lnTo>
                  <a:lnTo>
                    <a:pt x="399314" y="200876"/>
                  </a:lnTo>
                  <a:lnTo>
                    <a:pt x="399314" y="202260"/>
                  </a:lnTo>
                  <a:lnTo>
                    <a:pt x="399365" y="202260"/>
                  </a:lnTo>
                  <a:lnTo>
                    <a:pt x="399365" y="200876"/>
                  </a:lnTo>
                  <a:lnTo>
                    <a:pt x="399365" y="202260"/>
                  </a:lnTo>
                  <a:lnTo>
                    <a:pt x="399365" y="200876"/>
                  </a:lnTo>
                  <a:lnTo>
                    <a:pt x="399416" y="200876"/>
                  </a:lnTo>
                  <a:lnTo>
                    <a:pt x="399416" y="200228"/>
                  </a:lnTo>
                  <a:lnTo>
                    <a:pt x="399466" y="200228"/>
                  </a:lnTo>
                  <a:lnTo>
                    <a:pt x="399466" y="199530"/>
                  </a:lnTo>
                  <a:lnTo>
                    <a:pt x="399466" y="200228"/>
                  </a:lnTo>
                  <a:lnTo>
                    <a:pt x="399466" y="197447"/>
                  </a:lnTo>
                  <a:lnTo>
                    <a:pt x="399555" y="197447"/>
                  </a:lnTo>
                  <a:lnTo>
                    <a:pt x="399555" y="200228"/>
                  </a:lnTo>
                  <a:lnTo>
                    <a:pt x="399555" y="199530"/>
                  </a:lnTo>
                  <a:lnTo>
                    <a:pt x="399555" y="200228"/>
                  </a:lnTo>
                  <a:lnTo>
                    <a:pt x="399555" y="198831"/>
                  </a:lnTo>
                  <a:lnTo>
                    <a:pt x="399555" y="200228"/>
                  </a:lnTo>
                  <a:lnTo>
                    <a:pt x="399606" y="200228"/>
                  </a:lnTo>
                  <a:lnTo>
                    <a:pt x="399606" y="202260"/>
                  </a:lnTo>
                  <a:lnTo>
                    <a:pt x="399606" y="200228"/>
                  </a:lnTo>
                  <a:lnTo>
                    <a:pt x="399606" y="200876"/>
                  </a:lnTo>
                  <a:lnTo>
                    <a:pt x="399657" y="202260"/>
                  </a:lnTo>
                  <a:lnTo>
                    <a:pt x="399657" y="200876"/>
                  </a:lnTo>
                  <a:lnTo>
                    <a:pt x="399657" y="202260"/>
                  </a:lnTo>
                  <a:lnTo>
                    <a:pt x="399657" y="200228"/>
                  </a:lnTo>
                  <a:lnTo>
                    <a:pt x="399657" y="202260"/>
                  </a:lnTo>
                  <a:lnTo>
                    <a:pt x="399708" y="202260"/>
                  </a:lnTo>
                  <a:lnTo>
                    <a:pt x="399708" y="200876"/>
                  </a:lnTo>
                  <a:lnTo>
                    <a:pt x="399708" y="202260"/>
                  </a:lnTo>
                  <a:lnTo>
                    <a:pt x="399708" y="200876"/>
                  </a:lnTo>
                  <a:lnTo>
                    <a:pt x="399708" y="202260"/>
                  </a:lnTo>
                  <a:lnTo>
                    <a:pt x="399809" y="202260"/>
                  </a:lnTo>
                  <a:lnTo>
                    <a:pt x="399809" y="200876"/>
                  </a:lnTo>
                  <a:lnTo>
                    <a:pt x="399809" y="202260"/>
                  </a:lnTo>
                  <a:lnTo>
                    <a:pt x="399809" y="200876"/>
                  </a:lnTo>
                  <a:lnTo>
                    <a:pt x="399809" y="202260"/>
                  </a:lnTo>
                  <a:lnTo>
                    <a:pt x="399809" y="200876"/>
                  </a:lnTo>
                  <a:lnTo>
                    <a:pt x="399809" y="202260"/>
                  </a:lnTo>
                  <a:lnTo>
                    <a:pt x="399809" y="200876"/>
                  </a:lnTo>
                  <a:lnTo>
                    <a:pt x="399860" y="202260"/>
                  </a:lnTo>
                  <a:lnTo>
                    <a:pt x="399860" y="200228"/>
                  </a:lnTo>
                  <a:lnTo>
                    <a:pt x="399860" y="200876"/>
                  </a:lnTo>
                  <a:lnTo>
                    <a:pt x="399860" y="200228"/>
                  </a:lnTo>
                  <a:lnTo>
                    <a:pt x="399860" y="200876"/>
                  </a:lnTo>
                  <a:lnTo>
                    <a:pt x="399911" y="200876"/>
                  </a:lnTo>
                  <a:lnTo>
                    <a:pt x="399911" y="199530"/>
                  </a:lnTo>
                  <a:lnTo>
                    <a:pt x="399911" y="200228"/>
                  </a:lnTo>
                  <a:lnTo>
                    <a:pt x="399911" y="199530"/>
                  </a:lnTo>
                  <a:lnTo>
                    <a:pt x="400012" y="199530"/>
                  </a:lnTo>
                  <a:lnTo>
                    <a:pt x="400012" y="196799"/>
                  </a:lnTo>
                  <a:lnTo>
                    <a:pt x="400051" y="196799"/>
                  </a:lnTo>
                  <a:lnTo>
                    <a:pt x="400051" y="199530"/>
                  </a:lnTo>
                  <a:lnTo>
                    <a:pt x="400051" y="197447"/>
                  </a:lnTo>
                  <a:lnTo>
                    <a:pt x="400051" y="199530"/>
                  </a:lnTo>
                  <a:lnTo>
                    <a:pt x="400101" y="199530"/>
                  </a:lnTo>
                  <a:lnTo>
                    <a:pt x="400101" y="200228"/>
                  </a:lnTo>
                  <a:lnTo>
                    <a:pt x="400101" y="199530"/>
                  </a:lnTo>
                  <a:lnTo>
                    <a:pt x="400101" y="200228"/>
                  </a:lnTo>
                  <a:lnTo>
                    <a:pt x="400152" y="200228"/>
                  </a:lnTo>
                  <a:lnTo>
                    <a:pt x="400152" y="200876"/>
                  </a:lnTo>
                  <a:lnTo>
                    <a:pt x="400152" y="200228"/>
                  </a:lnTo>
                  <a:lnTo>
                    <a:pt x="400152" y="202260"/>
                  </a:lnTo>
                  <a:lnTo>
                    <a:pt x="400254" y="202260"/>
                  </a:lnTo>
                  <a:lnTo>
                    <a:pt x="400254" y="200876"/>
                  </a:lnTo>
                  <a:lnTo>
                    <a:pt x="400254" y="202260"/>
                  </a:lnTo>
                  <a:lnTo>
                    <a:pt x="400254" y="200876"/>
                  </a:lnTo>
                  <a:lnTo>
                    <a:pt x="400254" y="202260"/>
                  </a:lnTo>
                  <a:lnTo>
                    <a:pt x="400305" y="202959"/>
                  </a:lnTo>
                  <a:lnTo>
                    <a:pt x="400305" y="202260"/>
                  </a:lnTo>
                  <a:lnTo>
                    <a:pt x="400305" y="202959"/>
                  </a:lnTo>
                  <a:lnTo>
                    <a:pt x="400305" y="202260"/>
                  </a:lnTo>
                  <a:lnTo>
                    <a:pt x="400355" y="202260"/>
                  </a:lnTo>
                  <a:lnTo>
                    <a:pt x="400355" y="202959"/>
                  </a:lnTo>
                  <a:lnTo>
                    <a:pt x="400355" y="202260"/>
                  </a:lnTo>
                  <a:lnTo>
                    <a:pt x="400355" y="202959"/>
                  </a:lnTo>
                  <a:lnTo>
                    <a:pt x="400355" y="200876"/>
                  </a:lnTo>
                  <a:lnTo>
                    <a:pt x="400355" y="202260"/>
                  </a:lnTo>
                  <a:lnTo>
                    <a:pt x="400457" y="200876"/>
                  </a:lnTo>
                  <a:lnTo>
                    <a:pt x="400457" y="202260"/>
                  </a:lnTo>
                  <a:lnTo>
                    <a:pt x="400457" y="200228"/>
                  </a:lnTo>
                  <a:lnTo>
                    <a:pt x="400508" y="200228"/>
                  </a:lnTo>
                  <a:lnTo>
                    <a:pt x="400508" y="198831"/>
                  </a:lnTo>
                  <a:lnTo>
                    <a:pt x="400508" y="199530"/>
                  </a:lnTo>
                  <a:lnTo>
                    <a:pt x="400508" y="198831"/>
                  </a:lnTo>
                  <a:lnTo>
                    <a:pt x="400508" y="199530"/>
                  </a:lnTo>
                  <a:lnTo>
                    <a:pt x="400558" y="199530"/>
                  </a:lnTo>
                  <a:lnTo>
                    <a:pt x="400558" y="198831"/>
                  </a:lnTo>
                  <a:lnTo>
                    <a:pt x="400558" y="200876"/>
                  </a:lnTo>
                  <a:lnTo>
                    <a:pt x="400558" y="200228"/>
                  </a:lnTo>
                  <a:lnTo>
                    <a:pt x="400597" y="200228"/>
                  </a:lnTo>
                  <a:lnTo>
                    <a:pt x="400597" y="199530"/>
                  </a:lnTo>
                  <a:lnTo>
                    <a:pt x="400597" y="202260"/>
                  </a:lnTo>
                  <a:lnTo>
                    <a:pt x="400597" y="200876"/>
                  </a:lnTo>
                  <a:lnTo>
                    <a:pt x="400698" y="200876"/>
                  </a:lnTo>
                  <a:lnTo>
                    <a:pt x="400698" y="200228"/>
                  </a:lnTo>
                  <a:lnTo>
                    <a:pt x="400698" y="202260"/>
                  </a:lnTo>
                  <a:lnTo>
                    <a:pt x="400698" y="200876"/>
                  </a:lnTo>
                  <a:lnTo>
                    <a:pt x="400698" y="202260"/>
                  </a:lnTo>
                  <a:lnTo>
                    <a:pt x="400698" y="200876"/>
                  </a:lnTo>
                  <a:lnTo>
                    <a:pt x="400749" y="200876"/>
                  </a:lnTo>
                  <a:lnTo>
                    <a:pt x="400749" y="202260"/>
                  </a:lnTo>
                  <a:lnTo>
                    <a:pt x="400749" y="200876"/>
                  </a:lnTo>
                  <a:lnTo>
                    <a:pt x="400749" y="202260"/>
                  </a:lnTo>
                  <a:lnTo>
                    <a:pt x="400749" y="200876"/>
                  </a:lnTo>
                  <a:lnTo>
                    <a:pt x="400800" y="200876"/>
                  </a:lnTo>
                  <a:lnTo>
                    <a:pt x="400800" y="202260"/>
                  </a:lnTo>
                  <a:lnTo>
                    <a:pt x="400800" y="200876"/>
                  </a:lnTo>
                  <a:lnTo>
                    <a:pt x="400800" y="202260"/>
                  </a:lnTo>
                  <a:lnTo>
                    <a:pt x="400800" y="200876"/>
                  </a:lnTo>
                  <a:lnTo>
                    <a:pt x="400800" y="202260"/>
                  </a:lnTo>
                  <a:lnTo>
                    <a:pt x="400901" y="200876"/>
                  </a:lnTo>
                  <a:lnTo>
                    <a:pt x="400901" y="202260"/>
                  </a:lnTo>
                  <a:lnTo>
                    <a:pt x="400901" y="200228"/>
                  </a:lnTo>
                  <a:lnTo>
                    <a:pt x="400952" y="200876"/>
                  </a:lnTo>
                  <a:lnTo>
                    <a:pt x="400952" y="198831"/>
                  </a:lnTo>
                  <a:lnTo>
                    <a:pt x="401003" y="198831"/>
                  </a:lnTo>
                  <a:lnTo>
                    <a:pt x="401003" y="200228"/>
                  </a:lnTo>
                  <a:lnTo>
                    <a:pt x="401003" y="198831"/>
                  </a:lnTo>
                  <a:lnTo>
                    <a:pt x="401054" y="198831"/>
                  </a:lnTo>
                  <a:lnTo>
                    <a:pt x="401054" y="202260"/>
                  </a:lnTo>
                  <a:lnTo>
                    <a:pt x="401054" y="199530"/>
                  </a:lnTo>
                  <a:lnTo>
                    <a:pt x="401143" y="199530"/>
                  </a:lnTo>
                  <a:lnTo>
                    <a:pt x="401143" y="202260"/>
                  </a:lnTo>
                  <a:lnTo>
                    <a:pt x="401143" y="200876"/>
                  </a:lnTo>
                  <a:lnTo>
                    <a:pt x="401143" y="202260"/>
                  </a:lnTo>
                  <a:lnTo>
                    <a:pt x="401143" y="200228"/>
                  </a:lnTo>
                  <a:lnTo>
                    <a:pt x="401143" y="200876"/>
                  </a:lnTo>
                  <a:lnTo>
                    <a:pt x="401193" y="200876"/>
                  </a:lnTo>
                  <a:lnTo>
                    <a:pt x="401193" y="202260"/>
                  </a:lnTo>
                  <a:lnTo>
                    <a:pt x="401193" y="200228"/>
                  </a:lnTo>
                  <a:lnTo>
                    <a:pt x="401193" y="200876"/>
                  </a:lnTo>
                  <a:lnTo>
                    <a:pt x="401244" y="202260"/>
                  </a:lnTo>
                  <a:lnTo>
                    <a:pt x="401244" y="200876"/>
                  </a:lnTo>
                  <a:lnTo>
                    <a:pt x="401244" y="202260"/>
                  </a:lnTo>
                  <a:lnTo>
                    <a:pt x="401244" y="200876"/>
                  </a:lnTo>
                  <a:lnTo>
                    <a:pt x="401295" y="202260"/>
                  </a:lnTo>
                  <a:lnTo>
                    <a:pt x="401295" y="200876"/>
                  </a:lnTo>
                  <a:lnTo>
                    <a:pt x="401295" y="202260"/>
                  </a:lnTo>
                  <a:lnTo>
                    <a:pt x="401295" y="200876"/>
                  </a:lnTo>
                  <a:lnTo>
                    <a:pt x="401295" y="202260"/>
                  </a:lnTo>
                  <a:lnTo>
                    <a:pt x="401295" y="200876"/>
                  </a:lnTo>
                  <a:lnTo>
                    <a:pt x="401295" y="202260"/>
                  </a:lnTo>
                  <a:lnTo>
                    <a:pt x="401295" y="200876"/>
                  </a:lnTo>
                  <a:lnTo>
                    <a:pt x="401295" y="202260"/>
                  </a:lnTo>
                  <a:lnTo>
                    <a:pt x="401295" y="200876"/>
                  </a:lnTo>
                  <a:lnTo>
                    <a:pt x="401295" y="202260"/>
                  </a:lnTo>
                  <a:lnTo>
                    <a:pt x="401397" y="200876"/>
                  </a:lnTo>
                  <a:lnTo>
                    <a:pt x="401397" y="202260"/>
                  </a:lnTo>
                  <a:lnTo>
                    <a:pt x="401397" y="200876"/>
                  </a:lnTo>
                  <a:lnTo>
                    <a:pt x="401397" y="202260"/>
                  </a:lnTo>
                  <a:lnTo>
                    <a:pt x="401397" y="200228"/>
                  </a:lnTo>
                  <a:lnTo>
                    <a:pt x="401397" y="200876"/>
                  </a:lnTo>
                  <a:lnTo>
                    <a:pt x="401397" y="200228"/>
                  </a:lnTo>
                  <a:lnTo>
                    <a:pt x="401447" y="200228"/>
                  </a:lnTo>
                  <a:lnTo>
                    <a:pt x="401447" y="198831"/>
                  </a:lnTo>
                  <a:lnTo>
                    <a:pt x="401447" y="199530"/>
                  </a:lnTo>
                  <a:lnTo>
                    <a:pt x="401447" y="198831"/>
                  </a:lnTo>
                  <a:lnTo>
                    <a:pt x="401447" y="199530"/>
                  </a:lnTo>
                  <a:lnTo>
                    <a:pt x="401498" y="199530"/>
                  </a:lnTo>
                  <a:lnTo>
                    <a:pt x="401498" y="200228"/>
                  </a:lnTo>
                  <a:lnTo>
                    <a:pt x="401498" y="198831"/>
                  </a:lnTo>
                  <a:lnTo>
                    <a:pt x="401498" y="202959"/>
                  </a:lnTo>
                  <a:lnTo>
                    <a:pt x="401600" y="203594"/>
                  </a:lnTo>
                  <a:lnTo>
                    <a:pt x="401600" y="200228"/>
                  </a:lnTo>
                  <a:lnTo>
                    <a:pt x="401600" y="202260"/>
                  </a:lnTo>
                  <a:lnTo>
                    <a:pt x="401638" y="202260"/>
                  </a:lnTo>
                  <a:lnTo>
                    <a:pt x="401638" y="200228"/>
                  </a:lnTo>
                  <a:lnTo>
                    <a:pt x="401638" y="202260"/>
                  </a:lnTo>
                  <a:lnTo>
                    <a:pt x="401689" y="200876"/>
                  </a:lnTo>
                  <a:lnTo>
                    <a:pt x="401689" y="202260"/>
                  </a:lnTo>
                  <a:lnTo>
                    <a:pt x="401689" y="200876"/>
                  </a:lnTo>
                  <a:lnTo>
                    <a:pt x="401740" y="200876"/>
                  </a:lnTo>
                  <a:lnTo>
                    <a:pt x="401740" y="200228"/>
                  </a:lnTo>
                  <a:lnTo>
                    <a:pt x="401740" y="202260"/>
                  </a:lnTo>
                  <a:lnTo>
                    <a:pt x="401740" y="200876"/>
                  </a:lnTo>
                  <a:lnTo>
                    <a:pt x="401841" y="200876"/>
                  </a:lnTo>
                  <a:lnTo>
                    <a:pt x="401841" y="200228"/>
                  </a:lnTo>
                  <a:lnTo>
                    <a:pt x="401892" y="200228"/>
                  </a:lnTo>
                  <a:lnTo>
                    <a:pt x="401892" y="200876"/>
                  </a:lnTo>
                  <a:lnTo>
                    <a:pt x="401892" y="199530"/>
                  </a:lnTo>
                  <a:lnTo>
                    <a:pt x="401943" y="199530"/>
                  </a:lnTo>
                  <a:lnTo>
                    <a:pt x="401943" y="198831"/>
                  </a:lnTo>
                  <a:lnTo>
                    <a:pt x="401943" y="200228"/>
                  </a:lnTo>
                  <a:lnTo>
                    <a:pt x="401943" y="199530"/>
                  </a:lnTo>
                  <a:lnTo>
                    <a:pt x="402044" y="199530"/>
                  </a:lnTo>
                  <a:lnTo>
                    <a:pt x="402044" y="202260"/>
                  </a:lnTo>
                  <a:lnTo>
                    <a:pt x="402095" y="200876"/>
                  </a:lnTo>
                  <a:lnTo>
                    <a:pt x="402095" y="202260"/>
                  </a:lnTo>
                  <a:lnTo>
                    <a:pt x="402146" y="200876"/>
                  </a:lnTo>
                  <a:lnTo>
                    <a:pt x="402146" y="202260"/>
                  </a:lnTo>
                  <a:lnTo>
                    <a:pt x="402146" y="200876"/>
                  </a:lnTo>
                  <a:lnTo>
                    <a:pt x="402146" y="202260"/>
                  </a:lnTo>
                  <a:lnTo>
                    <a:pt x="402146" y="200876"/>
                  </a:lnTo>
                  <a:lnTo>
                    <a:pt x="402146" y="202260"/>
                  </a:lnTo>
                  <a:lnTo>
                    <a:pt x="402184" y="202260"/>
                  </a:lnTo>
                  <a:lnTo>
                    <a:pt x="402184" y="202959"/>
                  </a:lnTo>
                  <a:lnTo>
                    <a:pt x="402184" y="202260"/>
                  </a:lnTo>
                  <a:lnTo>
                    <a:pt x="402184" y="202959"/>
                  </a:lnTo>
                  <a:lnTo>
                    <a:pt x="402184" y="202260"/>
                  </a:lnTo>
                  <a:lnTo>
                    <a:pt x="402184" y="202959"/>
                  </a:lnTo>
                  <a:lnTo>
                    <a:pt x="402184" y="202260"/>
                  </a:lnTo>
                  <a:lnTo>
                    <a:pt x="402286" y="202260"/>
                  </a:lnTo>
                  <a:lnTo>
                    <a:pt x="402286" y="202959"/>
                  </a:lnTo>
                  <a:lnTo>
                    <a:pt x="402286" y="202260"/>
                  </a:lnTo>
                  <a:lnTo>
                    <a:pt x="402286" y="202959"/>
                  </a:lnTo>
                  <a:lnTo>
                    <a:pt x="402286" y="202260"/>
                  </a:lnTo>
                  <a:lnTo>
                    <a:pt x="402286" y="202959"/>
                  </a:lnTo>
                  <a:lnTo>
                    <a:pt x="402286" y="202260"/>
                  </a:lnTo>
                  <a:lnTo>
                    <a:pt x="402286" y="202959"/>
                  </a:lnTo>
                  <a:lnTo>
                    <a:pt x="402337" y="202959"/>
                  </a:lnTo>
                  <a:lnTo>
                    <a:pt x="402337" y="202260"/>
                  </a:lnTo>
                  <a:lnTo>
                    <a:pt x="402337" y="202959"/>
                  </a:lnTo>
                  <a:lnTo>
                    <a:pt x="402337" y="200876"/>
                  </a:lnTo>
                  <a:lnTo>
                    <a:pt x="402337" y="202260"/>
                  </a:lnTo>
                  <a:lnTo>
                    <a:pt x="402337" y="200876"/>
                  </a:lnTo>
                  <a:lnTo>
                    <a:pt x="402387" y="200228"/>
                  </a:lnTo>
                  <a:lnTo>
                    <a:pt x="402387" y="200876"/>
                  </a:lnTo>
                  <a:lnTo>
                    <a:pt x="402387" y="199530"/>
                  </a:lnTo>
                  <a:lnTo>
                    <a:pt x="402489" y="199530"/>
                  </a:lnTo>
                  <a:lnTo>
                    <a:pt x="402489" y="200876"/>
                  </a:lnTo>
                  <a:lnTo>
                    <a:pt x="402489" y="199530"/>
                  </a:lnTo>
                  <a:lnTo>
                    <a:pt x="402489" y="202260"/>
                  </a:lnTo>
                  <a:lnTo>
                    <a:pt x="402540" y="202260"/>
                  </a:lnTo>
                  <a:lnTo>
                    <a:pt x="402540" y="202959"/>
                  </a:lnTo>
                  <a:lnTo>
                    <a:pt x="402540" y="200876"/>
                  </a:lnTo>
                  <a:lnTo>
                    <a:pt x="402540" y="202959"/>
                  </a:lnTo>
                  <a:lnTo>
                    <a:pt x="402591" y="202959"/>
                  </a:lnTo>
                  <a:lnTo>
                    <a:pt x="402591" y="202260"/>
                  </a:lnTo>
                  <a:lnTo>
                    <a:pt x="402591" y="202959"/>
                  </a:lnTo>
                  <a:lnTo>
                    <a:pt x="402591" y="202260"/>
                  </a:lnTo>
                  <a:lnTo>
                    <a:pt x="402591" y="202959"/>
                  </a:lnTo>
                  <a:lnTo>
                    <a:pt x="402591" y="202260"/>
                  </a:lnTo>
                  <a:lnTo>
                    <a:pt x="402591" y="202959"/>
                  </a:lnTo>
                  <a:lnTo>
                    <a:pt x="402591" y="202260"/>
                  </a:lnTo>
                  <a:lnTo>
                    <a:pt x="402591" y="202959"/>
                  </a:lnTo>
                  <a:lnTo>
                    <a:pt x="402591" y="202260"/>
                  </a:lnTo>
                  <a:lnTo>
                    <a:pt x="402641" y="202260"/>
                  </a:lnTo>
                  <a:lnTo>
                    <a:pt x="402641" y="202959"/>
                  </a:lnTo>
                  <a:lnTo>
                    <a:pt x="402641" y="202260"/>
                  </a:lnTo>
                  <a:lnTo>
                    <a:pt x="402641" y="202959"/>
                  </a:lnTo>
                  <a:lnTo>
                    <a:pt x="402641" y="202260"/>
                  </a:lnTo>
                  <a:lnTo>
                    <a:pt x="402641" y="202959"/>
                  </a:lnTo>
                  <a:lnTo>
                    <a:pt x="402641" y="202260"/>
                  </a:lnTo>
                  <a:lnTo>
                    <a:pt x="402730" y="202260"/>
                  </a:lnTo>
                  <a:lnTo>
                    <a:pt x="402730" y="202959"/>
                  </a:lnTo>
                  <a:lnTo>
                    <a:pt x="402730" y="202260"/>
                  </a:lnTo>
                  <a:lnTo>
                    <a:pt x="402730" y="202959"/>
                  </a:lnTo>
                  <a:lnTo>
                    <a:pt x="402730" y="202260"/>
                  </a:lnTo>
                  <a:lnTo>
                    <a:pt x="402730" y="202959"/>
                  </a:lnTo>
                  <a:lnTo>
                    <a:pt x="402730" y="202260"/>
                  </a:lnTo>
                  <a:lnTo>
                    <a:pt x="402730" y="202959"/>
                  </a:lnTo>
                  <a:lnTo>
                    <a:pt x="402781" y="202260"/>
                  </a:lnTo>
                  <a:lnTo>
                    <a:pt x="402781" y="202959"/>
                  </a:lnTo>
                  <a:lnTo>
                    <a:pt x="402781" y="202260"/>
                  </a:lnTo>
                  <a:lnTo>
                    <a:pt x="402832" y="202260"/>
                  </a:lnTo>
                  <a:lnTo>
                    <a:pt x="402832" y="200876"/>
                  </a:lnTo>
                  <a:lnTo>
                    <a:pt x="402832" y="202260"/>
                  </a:lnTo>
                  <a:lnTo>
                    <a:pt x="402832" y="200228"/>
                  </a:lnTo>
                  <a:lnTo>
                    <a:pt x="402883" y="200228"/>
                  </a:lnTo>
                  <a:lnTo>
                    <a:pt x="402883" y="198831"/>
                  </a:lnTo>
                  <a:lnTo>
                    <a:pt x="402883" y="200876"/>
                  </a:lnTo>
                  <a:lnTo>
                    <a:pt x="402883" y="200228"/>
                  </a:lnTo>
                  <a:lnTo>
                    <a:pt x="402984" y="200228"/>
                  </a:lnTo>
                  <a:lnTo>
                    <a:pt x="402984" y="199530"/>
                  </a:lnTo>
                  <a:lnTo>
                    <a:pt x="402984" y="203594"/>
                  </a:lnTo>
                  <a:lnTo>
                    <a:pt x="402984" y="200876"/>
                  </a:lnTo>
                  <a:lnTo>
                    <a:pt x="403035" y="200876"/>
                  </a:lnTo>
                  <a:lnTo>
                    <a:pt x="403035" y="203594"/>
                  </a:lnTo>
                  <a:lnTo>
                    <a:pt x="403035" y="202260"/>
                  </a:lnTo>
                  <a:lnTo>
                    <a:pt x="403086" y="202260"/>
                  </a:lnTo>
                  <a:lnTo>
                    <a:pt x="403086" y="202959"/>
                  </a:lnTo>
                  <a:lnTo>
                    <a:pt x="403086" y="202260"/>
                  </a:lnTo>
                  <a:lnTo>
                    <a:pt x="403086" y="202959"/>
                  </a:lnTo>
                  <a:lnTo>
                    <a:pt x="403187" y="202959"/>
                  </a:lnTo>
                  <a:lnTo>
                    <a:pt x="403187" y="202260"/>
                  </a:lnTo>
                  <a:lnTo>
                    <a:pt x="403187" y="202959"/>
                  </a:lnTo>
                  <a:lnTo>
                    <a:pt x="403187" y="202260"/>
                  </a:lnTo>
                  <a:lnTo>
                    <a:pt x="403187" y="202959"/>
                  </a:lnTo>
                  <a:lnTo>
                    <a:pt x="403187" y="202260"/>
                  </a:lnTo>
                  <a:lnTo>
                    <a:pt x="403226" y="202260"/>
                  </a:lnTo>
                  <a:lnTo>
                    <a:pt x="403226" y="202959"/>
                  </a:lnTo>
                  <a:lnTo>
                    <a:pt x="403226" y="202260"/>
                  </a:lnTo>
                  <a:lnTo>
                    <a:pt x="403226" y="202959"/>
                  </a:lnTo>
                  <a:lnTo>
                    <a:pt x="403276" y="202959"/>
                  </a:lnTo>
                  <a:lnTo>
                    <a:pt x="403276" y="200876"/>
                  </a:lnTo>
                  <a:lnTo>
                    <a:pt x="403276" y="202260"/>
                  </a:lnTo>
                  <a:lnTo>
                    <a:pt x="403276" y="200876"/>
                  </a:lnTo>
                  <a:lnTo>
                    <a:pt x="403327" y="200876"/>
                  </a:lnTo>
                  <a:lnTo>
                    <a:pt x="403327" y="202260"/>
                  </a:lnTo>
                  <a:lnTo>
                    <a:pt x="403327" y="199530"/>
                  </a:lnTo>
                  <a:lnTo>
                    <a:pt x="403327" y="200228"/>
                  </a:lnTo>
                  <a:lnTo>
                    <a:pt x="403327" y="199530"/>
                  </a:lnTo>
                  <a:lnTo>
                    <a:pt x="403429" y="199530"/>
                  </a:lnTo>
                  <a:lnTo>
                    <a:pt x="403429" y="198831"/>
                  </a:lnTo>
                  <a:lnTo>
                    <a:pt x="403429" y="200228"/>
                  </a:lnTo>
                  <a:lnTo>
                    <a:pt x="403429" y="199530"/>
                  </a:lnTo>
                  <a:lnTo>
                    <a:pt x="403480" y="199530"/>
                  </a:lnTo>
                  <a:lnTo>
                    <a:pt x="403480" y="202260"/>
                  </a:lnTo>
                  <a:lnTo>
                    <a:pt x="403480" y="200228"/>
                  </a:lnTo>
                  <a:lnTo>
                    <a:pt x="403530" y="200876"/>
                  </a:lnTo>
                  <a:lnTo>
                    <a:pt x="403530" y="202260"/>
                  </a:lnTo>
                  <a:lnTo>
                    <a:pt x="403530" y="200876"/>
                  </a:lnTo>
                  <a:lnTo>
                    <a:pt x="403530" y="202260"/>
                  </a:lnTo>
                  <a:lnTo>
                    <a:pt x="403632" y="202959"/>
                  </a:lnTo>
                  <a:lnTo>
                    <a:pt x="403632" y="202260"/>
                  </a:lnTo>
                  <a:lnTo>
                    <a:pt x="403683" y="202260"/>
                  </a:lnTo>
                  <a:lnTo>
                    <a:pt x="403683" y="202959"/>
                  </a:lnTo>
                  <a:lnTo>
                    <a:pt x="403683" y="202260"/>
                  </a:lnTo>
                  <a:lnTo>
                    <a:pt x="403683" y="202959"/>
                  </a:lnTo>
                  <a:lnTo>
                    <a:pt x="403683" y="202260"/>
                  </a:lnTo>
                  <a:lnTo>
                    <a:pt x="403683" y="202959"/>
                  </a:lnTo>
                  <a:lnTo>
                    <a:pt x="403733" y="202959"/>
                  </a:lnTo>
                  <a:lnTo>
                    <a:pt x="403733" y="202260"/>
                  </a:lnTo>
                  <a:lnTo>
                    <a:pt x="403733" y="202959"/>
                  </a:lnTo>
                  <a:lnTo>
                    <a:pt x="403733" y="200876"/>
                  </a:lnTo>
                  <a:lnTo>
                    <a:pt x="403733" y="202260"/>
                  </a:lnTo>
                  <a:lnTo>
                    <a:pt x="403772" y="202260"/>
                  </a:lnTo>
                  <a:lnTo>
                    <a:pt x="403772" y="200228"/>
                  </a:lnTo>
                  <a:lnTo>
                    <a:pt x="403772" y="200876"/>
                  </a:lnTo>
                  <a:lnTo>
                    <a:pt x="403772" y="200228"/>
                  </a:lnTo>
                  <a:lnTo>
                    <a:pt x="403873" y="200228"/>
                  </a:lnTo>
                  <a:lnTo>
                    <a:pt x="403873" y="199530"/>
                  </a:lnTo>
                  <a:lnTo>
                    <a:pt x="403873" y="200228"/>
                  </a:lnTo>
                  <a:lnTo>
                    <a:pt x="403873" y="199530"/>
                  </a:lnTo>
                  <a:lnTo>
                    <a:pt x="403873" y="200228"/>
                  </a:lnTo>
                  <a:lnTo>
                    <a:pt x="403873" y="197447"/>
                  </a:lnTo>
                  <a:lnTo>
                    <a:pt x="403924" y="197447"/>
                  </a:lnTo>
                  <a:lnTo>
                    <a:pt x="403924" y="196799"/>
                  </a:lnTo>
                  <a:lnTo>
                    <a:pt x="403924" y="197447"/>
                  </a:lnTo>
                  <a:lnTo>
                    <a:pt x="403924" y="196113"/>
                  </a:lnTo>
                  <a:lnTo>
                    <a:pt x="403924" y="197447"/>
                  </a:lnTo>
                  <a:lnTo>
                    <a:pt x="403975" y="196799"/>
                  </a:lnTo>
                  <a:lnTo>
                    <a:pt x="403975" y="197447"/>
                  </a:lnTo>
                  <a:lnTo>
                    <a:pt x="403975" y="196799"/>
                  </a:lnTo>
                  <a:lnTo>
                    <a:pt x="403975" y="199530"/>
                  </a:lnTo>
                  <a:lnTo>
                    <a:pt x="403975" y="198831"/>
                  </a:lnTo>
                  <a:lnTo>
                    <a:pt x="404076" y="198831"/>
                  </a:lnTo>
                  <a:lnTo>
                    <a:pt x="404076" y="197447"/>
                  </a:lnTo>
                  <a:lnTo>
                    <a:pt x="404076" y="199530"/>
                  </a:lnTo>
                  <a:lnTo>
                    <a:pt x="404076" y="198831"/>
                  </a:lnTo>
                  <a:lnTo>
                    <a:pt x="404076" y="199530"/>
                  </a:lnTo>
                  <a:lnTo>
                    <a:pt x="404076" y="198831"/>
                  </a:lnTo>
                  <a:lnTo>
                    <a:pt x="404127" y="198831"/>
                  </a:lnTo>
                  <a:lnTo>
                    <a:pt x="404127" y="200228"/>
                  </a:lnTo>
                  <a:lnTo>
                    <a:pt x="404127" y="199530"/>
                  </a:lnTo>
                  <a:lnTo>
                    <a:pt x="404127" y="200228"/>
                  </a:lnTo>
                  <a:lnTo>
                    <a:pt x="404178" y="200228"/>
                  </a:lnTo>
                  <a:lnTo>
                    <a:pt x="404178" y="199530"/>
                  </a:lnTo>
                  <a:lnTo>
                    <a:pt x="404178" y="202260"/>
                  </a:lnTo>
                  <a:lnTo>
                    <a:pt x="404229" y="202260"/>
                  </a:lnTo>
                  <a:lnTo>
                    <a:pt x="404229" y="200876"/>
                  </a:lnTo>
                  <a:lnTo>
                    <a:pt x="404318" y="200876"/>
                  </a:lnTo>
                  <a:lnTo>
                    <a:pt x="404318" y="202260"/>
                  </a:lnTo>
                  <a:lnTo>
                    <a:pt x="404318" y="200876"/>
                  </a:lnTo>
                  <a:lnTo>
                    <a:pt x="404318" y="202260"/>
                  </a:lnTo>
                  <a:lnTo>
                    <a:pt x="404318" y="200876"/>
                  </a:lnTo>
                  <a:lnTo>
                    <a:pt x="404368" y="200876"/>
                  </a:lnTo>
                  <a:lnTo>
                    <a:pt x="404368" y="198831"/>
                  </a:lnTo>
                  <a:lnTo>
                    <a:pt x="404419" y="198831"/>
                  </a:lnTo>
                  <a:lnTo>
                    <a:pt x="404419" y="196113"/>
                  </a:lnTo>
                  <a:lnTo>
                    <a:pt x="404419" y="196799"/>
                  </a:lnTo>
                  <a:lnTo>
                    <a:pt x="404470" y="196799"/>
                  </a:lnTo>
                  <a:lnTo>
                    <a:pt x="404470" y="195415"/>
                  </a:lnTo>
                  <a:lnTo>
                    <a:pt x="404470" y="196799"/>
                  </a:lnTo>
                  <a:lnTo>
                    <a:pt x="404572" y="196799"/>
                  </a:lnTo>
                  <a:lnTo>
                    <a:pt x="404572" y="196113"/>
                  </a:lnTo>
                  <a:lnTo>
                    <a:pt x="404572" y="197447"/>
                  </a:lnTo>
                  <a:lnTo>
                    <a:pt x="404622" y="196799"/>
                  </a:lnTo>
                  <a:lnTo>
                    <a:pt x="404622" y="197447"/>
                  </a:lnTo>
                  <a:lnTo>
                    <a:pt x="404622" y="196799"/>
                  </a:lnTo>
                  <a:lnTo>
                    <a:pt x="404622" y="197447"/>
                  </a:lnTo>
                  <a:lnTo>
                    <a:pt x="404622" y="196799"/>
                  </a:lnTo>
                  <a:lnTo>
                    <a:pt x="404622" y="198831"/>
                  </a:lnTo>
                  <a:lnTo>
                    <a:pt x="404673" y="198831"/>
                  </a:lnTo>
                  <a:lnTo>
                    <a:pt x="404673" y="197447"/>
                  </a:lnTo>
                  <a:lnTo>
                    <a:pt x="404673" y="200228"/>
                  </a:lnTo>
                  <a:lnTo>
                    <a:pt x="404775" y="200228"/>
                  </a:lnTo>
                  <a:lnTo>
                    <a:pt x="404775" y="199530"/>
                  </a:lnTo>
                  <a:lnTo>
                    <a:pt x="404775" y="200228"/>
                  </a:lnTo>
                  <a:lnTo>
                    <a:pt x="404813" y="200228"/>
                  </a:lnTo>
                  <a:lnTo>
                    <a:pt x="404813" y="200876"/>
                  </a:lnTo>
                  <a:lnTo>
                    <a:pt x="404813" y="200228"/>
                  </a:lnTo>
                  <a:lnTo>
                    <a:pt x="404813" y="200876"/>
                  </a:lnTo>
                  <a:lnTo>
                    <a:pt x="404813" y="199530"/>
                  </a:lnTo>
                  <a:lnTo>
                    <a:pt x="404864" y="200228"/>
                  </a:lnTo>
                  <a:lnTo>
                    <a:pt x="404864" y="198831"/>
                  </a:lnTo>
                  <a:lnTo>
                    <a:pt x="404864" y="199530"/>
                  </a:lnTo>
                  <a:lnTo>
                    <a:pt x="404864" y="198831"/>
                  </a:lnTo>
                  <a:lnTo>
                    <a:pt x="404915" y="197447"/>
                  </a:lnTo>
                  <a:lnTo>
                    <a:pt x="404915" y="198831"/>
                  </a:lnTo>
                  <a:lnTo>
                    <a:pt x="404915" y="197447"/>
                  </a:lnTo>
                  <a:lnTo>
                    <a:pt x="404915" y="199530"/>
                  </a:lnTo>
                  <a:lnTo>
                    <a:pt x="404915" y="198831"/>
                  </a:lnTo>
                  <a:lnTo>
                    <a:pt x="405016" y="198831"/>
                  </a:lnTo>
                  <a:lnTo>
                    <a:pt x="405016" y="197447"/>
                  </a:lnTo>
                  <a:lnTo>
                    <a:pt x="405016" y="200228"/>
                  </a:lnTo>
                  <a:lnTo>
                    <a:pt x="405016" y="198831"/>
                  </a:lnTo>
                  <a:lnTo>
                    <a:pt x="405067" y="198831"/>
                  </a:lnTo>
                  <a:lnTo>
                    <a:pt x="405067" y="199530"/>
                  </a:lnTo>
                  <a:lnTo>
                    <a:pt x="405067" y="198831"/>
                  </a:lnTo>
                  <a:lnTo>
                    <a:pt x="405067" y="199530"/>
                  </a:lnTo>
                  <a:lnTo>
                    <a:pt x="405118" y="199530"/>
                  </a:lnTo>
                  <a:lnTo>
                    <a:pt x="405118" y="198831"/>
                  </a:lnTo>
                  <a:lnTo>
                    <a:pt x="405118" y="199530"/>
                  </a:lnTo>
                  <a:lnTo>
                    <a:pt x="405118" y="198831"/>
                  </a:lnTo>
                  <a:lnTo>
                    <a:pt x="405118" y="199530"/>
                  </a:lnTo>
                  <a:lnTo>
                    <a:pt x="405118" y="198831"/>
                  </a:lnTo>
                  <a:lnTo>
                    <a:pt x="405219" y="199530"/>
                  </a:lnTo>
                  <a:lnTo>
                    <a:pt x="405219" y="198831"/>
                  </a:lnTo>
                  <a:lnTo>
                    <a:pt x="405219" y="199530"/>
                  </a:lnTo>
                  <a:lnTo>
                    <a:pt x="405219" y="198831"/>
                  </a:lnTo>
                  <a:lnTo>
                    <a:pt x="405219" y="200228"/>
                  </a:lnTo>
                  <a:lnTo>
                    <a:pt x="405270" y="200228"/>
                  </a:lnTo>
                  <a:lnTo>
                    <a:pt x="405270" y="199530"/>
                  </a:lnTo>
                  <a:lnTo>
                    <a:pt x="405270" y="200228"/>
                  </a:lnTo>
                  <a:lnTo>
                    <a:pt x="405270" y="199530"/>
                  </a:lnTo>
                  <a:lnTo>
                    <a:pt x="405270" y="200228"/>
                  </a:lnTo>
                  <a:lnTo>
                    <a:pt x="405321" y="200228"/>
                  </a:lnTo>
                  <a:lnTo>
                    <a:pt x="405321" y="199530"/>
                  </a:lnTo>
                  <a:lnTo>
                    <a:pt x="405359" y="199530"/>
                  </a:lnTo>
                  <a:lnTo>
                    <a:pt x="405359" y="200228"/>
                  </a:lnTo>
                  <a:lnTo>
                    <a:pt x="405359" y="198831"/>
                  </a:lnTo>
                  <a:lnTo>
                    <a:pt x="405461" y="199530"/>
                  </a:lnTo>
                  <a:lnTo>
                    <a:pt x="405461" y="197447"/>
                  </a:lnTo>
                  <a:lnTo>
                    <a:pt x="405461" y="199530"/>
                  </a:lnTo>
                  <a:lnTo>
                    <a:pt x="405461" y="198831"/>
                  </a:lnTo>
                  <a:lnTo>
                    <a:pt x="405512" y="198831"/>
                  </a:lnTo>
                  <a:lnTo>
                    <a:pt x="405512" y="200876"/>
                  </a:lnTo>
                  <a:lnTo>
                    <a:pt x="405512" y="199530"/>
                  </a:lnTo>
                  <a:lnTo>
                    <a:pt x="405562" y="199530"/>
                  </a:lnTo>
                  <a:lnTo>
                    <a:pt x="405562" y="200228"/>
                  </a:lnTo>
                  <a:lnTo>
                    <a:pt x="405562" y="199530"/>
                  </a:lnTo>
                  <a:lnTo>
                    <a:pt x="405664" y="199530"/>
                  </a:lnTo>
                  <a:lnTo>
                    <a:pt x="405664" y="200228"/>
                  </a:lnTo>
                  <a:lnTo>
                    <a:pt x="405664" y="199530"/>
                  </a:lnTo>
                  <a:lnTo>
                    <a:pt x="405715" y="199530"/>
                  </a:lnTo>
                  <a:lnTo>
                    <a:pt x="405715" y="200228"/>
                  </a:lnTo>
                  <a:lnTo>
                    <a:pt x="405715" y="199530"/>
                  </a:lnTo>
                  <a:lnTo>
                    <a:pt x="405715" y="200228"/>
                  </a:lnTo>
                  <a:lnTo>
                    <a:pt x="405715" y="199530"/>
                  </a:lnTo>
                  <a:lnTo>
                    <a:pt x="405715" y="200228"/>
                  </a:lnTo>
                  <a:lnTo>
                    <a:pt x="405715" y="199530"/>
                  </a:lnTo>
                  <a:lnTo>
                    <a:pt x="405715" y="200228"/>
                  </a:lnTo>
                  <a:lnTo>
                    <a:pt x="405715" y="199530"/>
                  </a:lnTo>
                  <a:lnTo>
                    <a:pt x="405715" y="200228"/>
                  </a:lnTo>
                  <a:lnTo>
                    <a:pt x="405715" y="199530"/>
                  </a:lnTo>
                  <a:lnTo>
                    <a:pt x="405715" y="200228"/>
                  </a:lnTo>
                  <a:lnTo>
                    <a:pt x="405715" y="199530"/>
                  </a:lnTo>
                  <a:lnTo>
                    <a:pt x="405766" y="199530"/>
                  </a:lnTo>
                  <a:lnTo>
                    <a:pt x="405766" y="200228"/>
                  </a:lnTo>
                  <a:lnTo>
                    <a:pt x="405766" y="199530"/>
                  </a:lnTo>
                  <a:lnTo>
                    <a:pt x="405766" y="200228"/>
                  </a:lnTo>
                  <a:lnTo>
                    <a:pt x="405766" y="199530"/>
                  </a:lnTo>
                  <a:lnTo>
                    <a:pt x="405766" y="200228"/>
                  </a:lnTo>
                  <a:lnTo>
                    <a:pt x="405766" y="199530"/>
                  </a:lnTo>
                  <a:lnTo>
                    <a:pt x="405816" y="199530"/>
                  </a:lnTo>
                  <a:lnTo>
                    <a:pt x="405816" y="198831"/>
                  </a:lnTo>
                  <a:lnTo>
                    <a:pt x="405816" y="199530"/>
                  </a:lnTo>
                  <a:lnTo>
                    <a:pt x="405816" y="197447"/>
                  </a:lnTo>
                  <a:lnTo>
                    <a:pt x="405905" y="197447"/>
                  </a:lnTo>
                  <a:lnTo>
                    <a:pt x="405905" y="198831"/>
                  </a:lnTo>
                  <a:lnTo>
                    <a:pt x="405905" y="196799"/>
                  </a:lnTo>
                  <a:lnTo>
                    <a:pt x="405905" y="197447"/>
                  </a:lnTo>
                  <a:lnTo>
                    <a:pt x="405905" y="196799"/>
                  </a:lnTo>
                  <a:lnTo>
                    <a:pt x="405956" y="196799"/>
                  </a:lnTo>
                  <a:lnTo>
                    <a:pt x="405956" y="196113"/>
                  </a:lnTo>
                  <a:lnTo>
                    <a:pt x="405956" y="196799"/>
                  </a:lnTo>
                  <a:lnTo>
                    <a:pt x="405956" y="196113"/>
                  </a:lnTo>
                  <a:lnTo>
                    <a:pt x="405956" y="199530"/>
                  </a:lnTo>
                  <a:lnTo>
                    <a:pt x="405956" y="196799"/>
                  </a:lnTo>
                  <a:lnTo>
                    <a:pt x="406007" y="196799"/>
                  </a:lnTo>
                  <a:lnTo>
                    <a:pt x="406007" y="199530"/>
                  </a:lnTo>
                  <a:lnTo>
                    <a:pt x="406058" y="199530"/>
                  </a:lnTo>
                  <a:lnTo>
                    <a:pt x="406058" y="200876"/>
                  </a:lnTo>
                  <a:lnTo>
                    <a:pt x="406058" y="199530"/>
                  </a:lnTo>
                  <a:lnTo>
                    <a:pt x="406058" y="200228"/>
                  </a:lnTo>
                  <a:lnTo>
                    <a:pt x="406159" y="200228"/>
                  </a:lnTo>
                  <a:lnTo>
                    <a:pt x="406159" y="199530"/>
                  </a:lnTo>
                  <a:lnTo>
                    <a:pt x="406159" y="200876"/>
                  </a:lnTo>
                  <a:lnTo>
                    <a:pt x="406159" y="200228"/>
                  </a:lnTo>
                  <a:lnTo>
                    <a:pt x="406210" y="200228"/>
                  </a:lnTo>
                  <a:lnTo>
                    <a:pt x="406210" y="200876"/>
                  </a:lnTo>
                  <a:lnTo>
                    <a:pt x="406210" y="200228"/>
                  </a:lnTo>
                  <a:lnTo>
                    <a:pt x="406210" y="200876"/>
                  </a:lnTo>
                  <a:lnTo>
                    <a:pt x="406210" y="200228"/>
                  </a:lnTo>
                  <a:lnTo>
                    <a:pt x="406261" y="200228"/>
                  </a:lnTo>
                  <a:lnTo>
                    <a:pt x="406261" y="200876"/>
                  </a:lnTo>
                  <a:lnTo>
                    <a:pt x="406261" y="200228"/>
                  </a:lnTo>
                  <a:lnTo>
                    <a:pt x="406261" y="200876"/>
                  </a:lnTo>
                  <a:lnTo>
                    <a:pt x="406261" y="200228"/>
                  </a:lnTo>
                  <a:lnTo>
                    <a:pt x="406362" y="200228"/>
                  </a:lnTo>
                  <a:lnTo>
                    <a:pt x="406362" y="200876"/>
                  </a:lnTo>
                  <a:lnTo>
                    <a:pt x="406362" y="199530"/>
                  </a:lnTo>
                  <a:lnTo>
                    <a:pt x="406362" y="200228"/>
                  </a:lnTo>
                  <a:lnTo>
                    <a:pt x="406362" y="199530"/>
                  </a:lnTo>
                  <a:lnTo>
                    <a:pt x="406401" y="198831"/>
                  </a:lnTo>
                  <a:lnTo>
                    <a:pt x="406401" y="196799"/>
                  </a:lnTo>
                  <a:lnTo>
                    <a:pt x="406401" y="197447"/>
                  </a:lnTo>
                  <a:lnTo>
                    <a:pt x="406401" y="196799"/>
                  </a:lnTo>
                  <a:lnTo>
                    <a:pt x="406451" y="196799"/>
                  </a:lnTo>
                  <a:lnTo>
                    <a:pt x="406451" y="199530"/>
                  </a:lnTo>
                  <a:lnTo>
                    <a:pt x="406451" y="196799"/>
                  </a:lnTo>
                  <a:lnTo>
                    <a:pt x="406451" y="198831"/>
                  </a:lnTo>
                  <a:lnTo>
                    <a:pt x="406502" y="199530"/>
                  </a:lnTo>
                  <a:lnTo>
                    <a:pt x="406502" y="200228"/>
                  </a:lnTo>
                  <a:lnTo>
                    <a:pt x="406502" y="197447"/>
                  </a:lnTo>
                  <a:lnTo>
                    <a:pt x="406502" y="199530"/>
                  </a:lnTo>
                  <a:lnTo>
                    <a:pt x="406604" y="199530"/>
                  </a:lnTo>
                  <a:lnTo>
                    <a:pt x="406604" y="200228"/>
                  </a:lnTo>
                  <a:lnTo>
                    <a:pt x="406604" y="199530"/>
                  </a:lnTo>
                  <a:lnTo>
                    <a:pt x="406604" y="200228"/>
                  </a:lnTo>
                  <a:lnTo>
                    <a:pt x="406604" y="199530"/>
                  </a:lnTo>
                  <a:lnTo>
                    <a:pt x="406604" y="200228"/>
                  </a:lnTo>
                  <a:lnTo>
                    <a:pt x="406604" y="199530"/>
                  </a:lnTo>
                  <a:lnTo>
                    <a:pt x="406604" y="200228"/>
                  </a:lnTo>
                  <a:lnTo>
                    <a:pt x="406655" y="200228"/>
                  </a:lnTo>
                  <a:lnTo>
                    <a:pt x="406655" y="199530"/>
                  </a:lnTo>
                  <a:lnTo>
                    <a:pt x="406655" y="200876"/>
                  </a:lnTo>
                  <a:lnTo>
                    <a:pt x="406655" y="200228"/>
                  </a:lnTo>
                  <a:lnTo>
                    <a:pt x="406655" y="200876"/>
                  </a:lnTo>
                  <a:lnTo>
                    <a:pt x="406807" y="200876"/>
                  </a:lnTo>
                  <a:lnTo>
                    <a:pt x="406807" y="200228"/>
                  </a:lnTo>
                  <a:lnTo>
                    <a:pt x="406858" y="200228"/>
                  </a:lnTo>
                  <a:lnTo>
                    <a:pt x="406858" y="199530"/>
                  </a:lnTo>
                  <a:lnTo>
                    <a:pt x="406858" y="200228"/>
                  </a:lnTo>
                  <a:lnTo>
                    <a:pt x="406858" y="199530"/>
                  </a:lnTo>
                  <a:lnTo>
                    <a:pt x="406858" y="200228"/>
                  </a:lnTo>
                  <a:lnTo>
                    <a:pt x="406858" y="198831"/>
                  </a:lnTo>
                  <a:lnTo>
                    <a:pt x="406908" y="198831"/>
                  </a:lnTo>
                  <a:lnTo>
                    <a:pt x="406908" y="196799"/>
                  </a:lnTo>
                  <a:lnTo>
                    <a:pt x="406908" y="197447"/>
                  </a:lnTo>
                  <a:lnTo>
                    <a:pt x="406947" y="198831"/>
                  </a:lnTo>
                  <a:lnTo>
                    <a:pt x="406947" y="199530"/>
                  </a:lnTo>
                  <a:lnTo>
                    <a:pt x="406947" y="197447"/>
                  </a:lnTo>
                  <a:lnTo>
                    <a:pt x="406947" y="200228"/>
                  </a:lnTo>
                  <a:lnTo>
                    <a:pt x="407048" y="200228"/>
                  </a:lnTo>
                  <a:lnTo>
                    <a:pt x="407048" y="198831"/>
                  </a:lnTo>
                  <a:lnTo>
                    <a:pt x="407048" y="200228"/>
                  </a:lnTo>
                  <a:lnTo>
                    <a:pt x="407099" y="200228"/>
                  </a:lnTo>
                  <a:lnTo>
                    <a:pt x="407099" y="199530"/>
                  </a:lnTo>
                  <a:lnTo>
                    <a:pt x="407099" y="200228"/>
                  </a:lnTo>
                  <a:lnTo>
                    <a:pt x="407150" y="200228"/>
                  </a:lnTo>
                  <a:lnTo>
                    <a:pt x="407150" y="200876"/>
                  </a:lnTo>
                  <a:lnTo>
                    <a:pt x="407150" y="200228"/>
                  </a:lnTo>
                  <a:lnTo>
                    <a:pt x="407150" y="200876"/>
                  </a:lnTo>
                  <a:lnTo>
                    <a:pt x="407150" y="200228"/>
                  </a:lnTo>
                  <a:lnTo>
                    <a:pt x="407150" y="200876"/>
                  </a:lnTo>
                  <a:lnTo>
                    <a:pt x="407251" y="200876"/>
                  </a:lnTo>
                  <a:lnTo>
                    <a:pt x="407251" y="200228"/>
                  </a:lnTo>
                  <a:lnTo>
                    <a:pt x="407251" y="200876"/>
                  </a:lnTo>
                  <a:lnTo>
                    <a:pt x="407251" y="200228"/>
                  </a:lnTo>
                  <a:lnTo>
                    <a:pt x="407251" y="200876"/>
                  </a:lnTo>
                  <a:lnTo>
                    <a:pt x="407302" y="200876"/>
                  </a:lnTo>
                  <a:lnTo>
                    <a:pt x="407302" y="200228"/>
                  </a:lnTo>
                  <a:lnTo>
                    <a:pt x="407302" y="200876"/>
                  </a:lnTo>
                  <a:lnTo>
                    <a:pt x="407353" y="200876"/>
                  </a:lnTo>
                  <a:lnTo>
                    <a:pt x="407353" y="199530"/>
                  </a:lnTo>
                  <a:lnTo>
                    <a:pt x="407404" y="199530"/>
                  </a:lnTo>
                  <a:lnTo>
                    <a:pt x="407404" y="197447"/>
                  </a:lnTo>
                  <a:lnTo>
                    <a:pt x="407404" y="199530"/>
                  </a:lnTo>
                  <a:lnTo>
                    <a:pt x="407493" y="198831"/>
                  </a:lnTo>
                  <a:lnTo>
                    <a:pt x="407493" y="196799"/>
                  </a:lnTo>
                  <a:lnTo>
                    <a:pt x="407493" y="200876"/>
                  </a:lnTo>
                  <a:lnTo>
                    <a:pt x="407493" y="200228"/>
                  </a:lnTo>
                  <a:lnTo>
                    <a:pt x="407543" y="199530"/>
                  </a:lnTo>
                  <a:lnTo>
                    <a:pt x="407543" y="198831"/>
                  </a:lnTo>
                  <a:lnTo>
                    <a:pt x="407543" y="200876"/>
                  </a:lnTo>
                  <a:lnTo>
                    <a:pt x="407543" y="199530"/>
                  </a:lnTo>
                  <a:lnTo>
                    <a:pt x="407594" y="199530"/>
                  </a:lnTo>
                  <a:lnTo>
                    <a:pt x="407594" y="200228"/>
                  </a:lnTo>
                  <a:lnTo>
                    <a:pt x="407594" y="199530"/>
                  </a:lnTo>
                  <a:lnTo>
                    <a:pt x="407645" y="199530"/>
                  </a:lnTo>
                  <a:lnTo>
                    <a:pt x="407645" y="200228"/>
                  </a:lnTo>
                  <a:lnTo>
                    <a:pt x="407645" y="199530"/>
                  </a:lnTo>
                  <a:lnTo>
                    <a:pt x="407645" y="200228"/>
                  </a:lnTo>
                  <a:lnTo>
                    <a:pt x="407747" y="200876"/>
                  </a:lnTo>
                  <a:lnTo>
                    <a:pt x="407747" y="200228"/>
                  </a:lnTo>
                  <a:lnTo>
                    <a:pt x="407747" y="200876"/>
                  </a:lnTo>
                  <a:lnTo>
                    <a:pt x="407747" y="200228"/>
                  </a:lnTo>
                  <a:lnTo>
                    <a:pt x="407747" y="200876"/>
                  </a:lnTo>
                  <a:lnTo>
                    <a:pt x="407797" y="200876"/>
                  </a:lnTo>
                  <a:lnTo>
                    <a:pt x="407797" y="199530"/>
                  </a:lnTo>
                  <a:lnTo>
                    <a:pt x="407797" y="200228"/>
                  </a:lnTo>
                  <a:lnTo>
                    <a:pt x="407797" y="199530"/>
                  </a:lnTo>
                  <a:lnTo>
                    <a:pt x="407797" y="200228"/>
                  </a:lnTo>
                  <a:lnTo>
                    <a:pt x="407848" y="200228"/>
                  </a:lnTo>
                  <a:lnTo>
                    <a:pt x="407848" y="199530"/>
                  </a:lnTo>
                  <a:lnTo>
                    <a:pt x="407848" y="200228"/>
                  </a:lnTo>
                  <a:lnTo>
                    <a:pt x="407848" y="198831"/>
                  </a:lnTo>
                  <a:lnTo>
                    <a:pt x="407950" y="198831"/>
                  </a:lnTo>
                  <a:lnTo>
                    <a:pt x="407950" y="197447"/>
                  </a:lnTo>
                  <a:lnTo>
                    <a:pt x="407950" y="199530"/>
                  </a:lnTo>
                  <a:lnTo>
                    <a:pt x="407950" y="198831"/>
                  </a:lnTo>
                  <a:lnTo>
                    <a:pt x="407950" y="199530"/>
                  </a:lnTo>
                  <a:lnTo>
                    <a:pt x="407950" y="197447"/>
                  </a:lnTo>
                  <a:lnTo>
                    <a:pt x="407988" y="198831"/>
                  </a:lnTo>
                  <a:lnTo>
                    <a:pt x="407988" y="200876"/>
                  </a:lnTo>
                  <a:lnTo>
                    <a:pt x="407988" y="199530"/>
                  </a:lnTo>
                  <a:lnTo>
                    <a:pt x="408039" y="199530"/>
                  </a:lnTo>
                  <a:lnTo>
                    <a:pt x="408039" y="200876"/>
                  </a:lnTo>
                  <a:lnTo>
                    <a:pt x="408039" y="200228"/>
                  </a:lnTo>
                  <a:lnTo>
                    <a:pt x="408090" y="200228"/>
                  </a:lnTo>
                  <a:lnTo>
                    <a:pt x="408090" y="202260"/>
                  </a:lnTo>
                  <a:lnTo>
                    <a:pt x="408090" y="200228"/>
                  </a:lnTo>
                  <a:lnTo>
                    <a:pt x="408090" y="200876"/>
                  </a:lnTo>
                  <a:lnTo>
                    <a:pt x="408191" y="200876"/>
                  </a:lnTo>
                  <a:lnTo>
                    <a:pt x="408191" y="200228"/>
                  </a:lnTo>
                  <a:lnTo>
                    <a:pt x="408191" y="200876"/>
                  </a:lnTo>
                  <a:lnTo>
                    <a:pt x="408191" y="200228"/>
                  </a:lnTo>
                  <a:lnTo>
                    <a:pt x="408191" y="202260"/>
                  </a:lnTo>
                  <a:lnTo>
                    <a:pt x="408191" y="200876"/>
                  </a:lnTo>
                  <a:lnTo>
                    <a:pt x="408242" y="200876"/>
                  </a:lnTo>
                  <a:lnTo>
                    <a:pt x="408242" y="202260"/>
                  </a:lnTo>
                  <a:lnTo>
                    <a:pt x="408242" y="200876"/>
                  </a:lnTo>
                  <a:lnTo>
                    <a:pt x="408242" y="202260"/>
                  </a:lnTo>
                  <a:lnTo>
                    <a:pt x="408242" y="200876"/>
                  </a:lnTo>
                  <a:lnTo>
                    <a:pt x="408242" y="202260"/>
                  </a:lnTo>
                  <a:lnTo>
                    <a:pt x="408242" y="200876"/>
                  </a:lnTo>
                  <a:lnTo>
                    <a:pt x="408293" y="200876"/>
                  </a:lnTo>
                  <a:lnTo>
                    <a:pt x="408293" y="200228"/>
                  </a:lnTo>
                  <a:lnTo>
                    <a:pt x="408293" y="200876"/>
                  </a:lnTo>
                  <a:lnTo>
                    <a:pt x="408293" y="200228"/>
                  </a:lnTo>
                  <a:lnTo>
                    <a:pt x="408394" y="199530"/>
                  </a:lnTo>
                  <a:lnTo>
                    <a:pt x="408394" y="200228"/>
                  </a:lnTo>
                  <a:lnTo>
                    <a:pt x="408394" y="199530"/>
                  </a:lnTo>
                  <a:lnTo>
                    <a:pt x="408394" y="200228"/>
                  </a:lnTo>
                  <a:lnTo>
                    <a:pt x="408394" y="199530"/>
                  </a:lnTo>
                  <a:lnTo>
                    <a:pt x="408394" y="200228"/>
                  </a:lnTo>
                  <a:lnTo>
                    <a:pt x="408394" y="198831"/>
                  </a:lnTo>
                  <a:lnTo>
                    <a:pt x="408445" y="198831"/>
                  </a:lnTo>
                  <a:lnTo>
                    <a:pt x="408445" y="200876"/>
                  </a:lnTo>
                  <a:lnTo>
                    <a:pt x="408445" y="198831"/>
                  </a:lnTo>
                  <a:lnTo>
                    <a:pt x="408445" y="200228"/>
                  </a:lnTo>
                  <a:lnTo>
                    <a:pt x="408496" y="200228"/>
                  </a:lnTo>
                  <a:lnTo>
                    <a:pt x="408496" y="200876"/>
                  </a:lnTo>
                  <a:lnTo>
                    <a:pt x="408496" y="200228"/>
                  </a:lnTo>
                  <a:lnTo>
                    <a:pt x="408496" y="200876"/>
                  </a:lnTo>
                  <a:lnTo>
                    <a:pt x="408534" y="200876"/>
                  </a:lnTo>
                  <a:lnTo>
                    <a:pt x="408534" y="200228"/>
                  </a:lnTo>
                  <a:lnTo>
                    <a:pt x="408534" y="200876"/>
                  </a:lnTo>
                  <a:lnTo>
                    <a:pt x="408534" y="200228"/>
                  </a:lnTo>
                  <a:lnTo>
                    <a:pt x="408534" y="200876"/>
                  </a:lnTo>
                  <a:lnTo>
                    <a:pt x="408534" y="200228"/>
                  </a:lnTo>
                  <a:lnTo>
                    <a:pt x="408636" y="200876"/>
                  </a:lnTo>
                  <a:lnTo>
                    <a:pt x="408687" y="200876"/>
                  </a:lnTo>
                  <a:lnTo>
                    <a:pt x="408687" y="202260"/>
                  </a:lnTo>
                  <a:lnTo>
                    <a:pt x="408687" y="200876"/>
                  </a:lnTo>
                  <a:lnTo>
                    <a:pt x="408687" y="202260"/>
                  </a:lnTo>
                  <a:lnTo>
                    <a:pt x="408687" y="200876"/>
                  </a:lnTo>
                  <a:lnTo>
                    <a:pt x="408687" y="202260"/>
                  </a:lnTo>
                  <a:lnTo>
                    <a:pt x="408737" y="202260"/>
                  </a:lnTo>
                  <a:lnTo>
                    <a:pt x="408737" y="200876"/>
                  </a:lnTo>
                  <a:lnTo>
                    <a:pt x="408737" y="202260"/>
                  </a:lnTo>
                  <a:lnTo>
                    <a:pt x="408737" y="200876"/>
                  </a:lnTo>
                  <a:lnTo>
                    <a:pt x="408737" y="202260"/>
                  </a:lnTo>
                  <a:lnTo>
                    <a:pt x="408737" y="200876"/>
                  </a:lnTo>
                  <a:lnTo>
                    <a:pt x="408839" y="200228"/>
                  </a:lnTo>
                  <a:lnTo>
                    <a:pt x="408839" y="199530"/>
                  </a:lnTo>
                  <a:lnTo>
                    <a:pt x="408890" y="199530"/>
                  </a:lnTo>
                  <a:lnTo>
                    <a:pt x="408890" y="197447"/>
                  </a:lnTo>
                  <a:lnTo>
                    <a:pt x="408890" y="198831"/>
                  </a:lnTo>
                  <a:lnTo>
                    <a:pt x="408890" y="197447"/>
                  </a:lnTo>
                  <a:lnTo>
                    <a:pt x="408890" y="199530"/>
                  </a:lnTo>
                  <a:lnTo>
                    <a:pt x="408941" y="199530"/>
                  </a:lnTo>
                  <a:lnTo>
                    <a:pt x="408941" y="198831"/>
                  </a:lnTo>
                  <a:lnTo>
                    <a:pt x="408941" y="202260"/>
                  </a:lnTo>
                  <a:lnTo>
                    <a:pt x="408941" y="200876"/>
                  </a:lnTo>
                  <a:lnTo>
                    <a:pt x="408991" y="200876"/>
                  </a:lnTo>
                  <a:lnTo>
                    <a:pt x="408991" y="200228"/>
                  </a:lnTo>
                  <a:lnTo>
                    <a:pt x="408991" y="200876"/>
                  </a:lnTo>
                  <a:lnTo>
                    <a:pt x="409080" y="200876"/>
                  </a:lnTo>
                  <a:lnTo>
                    <a:pt x="409080" y="200228"/>
                  </a:lnTo>
                  <a:lnTo>
                    <a:pt x="409080" y="202260"/>
                  </a:lnTo>
                  <a:lnTo>
                    <a:pt x="409080" y="200876"/>
                  </a:lnTo>
                  <a:lnTo>
                    <a:pt x="409080" y="202260"/>
                  </a:lnTo>
                  <a:lnTo>
                    <a:pt x="409080" y="200876"/>
                  </a:lnTo>
                  <a:lnTo>
                    <a:pt x="409080" y="202260"/>
                  </a:lnTo>
                  <a:lnTo>
                    <a:pt x="409080" y="200876"/>
                  </a:lnTo>
                  <a:lnTo>
                    <a:pt x="409131" y="200876"/>
                  </a:lnTo>
                  <a:lnTo>
                    <a:pt x="409131" y="202260"/>
                  </a:lnTo>
                  <a:lnTo>
                    <a:pt x="409131" y="200876"/>
                  </a:lnTo>
                  <a:lnTo>
                    <a:pt x="409131" y="202260"/>
                  </a:lnTo>
                  <a:lnTo>
                    <a:pt x="409131" y="200876"/>
                  </a:lnTo>
                  <a:lnTo>
                    <a:pt x="409131" y="202260"/>
                  </a:lnTo>
                  <a:lnTo>
                    <a:pt x="409182" y="202260"/>
                  </a:lnTo>
                  <a:lnTo>
                    <a:pt x="409182" y="200876"/>
                  </a:lnTo>
                  <a:lnTo>
                    <a:pt x="409182" y="202260"/>
                  </a:lnTo>
                  <a:lnTo>
                    <a:pt x="409182" y="200876"/>
                  </a:lnTo>
                  <a:lnTo>
                    <a:pt x="409233" y="200876"/>
                  </a:lnTo>
                  <a:lnTo>
                    <a:pt x="409233" y="202260"/>
                  </a:lnTo>
                  <a:lnTo>
                    <a:pt x="409233" y="200228"/>
                  </a:lnTo>
                  <a:lnTo>
                    <a:pt x="409334" y="200228"/>
                  </a:lnTo>
                  <a:lnTo>
                    <a:pt x="409334" y="198831"/>
                  </a:lnTo>
                  <a:lnTo>
                    <a:pt x="409385" y="198831"/>
                  </a:lnTo>
                  <a:lnTo>
                    <a:pt x="409385" y="200876"/>
                  </a:lnTo>
                  <a:lnTo>
                    <a:pt x="409385" y="199530"/>
                  </a:lnTo>
                  <a:lnTo>
                    <a:pt x="409436" y="199530"/>
                  </a:lnTo>
                  <a:lnTo>
                    <a:pt x="409436" y="200876"/>
                  </a:lnTo>
                  <a:lnTo>
                    <a:pt x="409436" y="200228"/>
                  </a:lnTo>
                  <a:lnTo>
                    <a:pt x="409436" y="200876"/>
                  </a:lnTo>
                  <a:lnTo>
                    <a:pt x="409576" y="200876"/>
                  </a:lnTo>
                  <a:lnTo>
                    <a:pt x="409576" y="202260"/>
                  </a:lnTo>
                  <a:lnTo>
                    <a:pt x="409626" y="202260"/>
                  </a:lnTo>
                  <a:lnTo>
                    <a:pt x="409677" y="200876"/>
                  </a:lnTo>
                  <a:lnTo>
                    <a:pt x="409677" y="202260"/>
                  </a:lnTo>
                  <a:lnTo>
                    <a:pt x="409677" y="200876"/>
                  </a:lnTo>
                  <a:lnTo>
                    <a:pt x="409677" y="202260"/>
                  </a:lnTo>
                  <a:lnTo>
                    <a:pt x="409677" y="200876"/>
                  </a:lnTo>
                  <a:lnTo>
                    <a:pt x="409677" y="202260"/>
                  </a:lnTo>
                  <a:lnTo>
                    <a:pt x="409779" y="202260"/>
                  </a:lnTo>
                  <a:lnTo>
                    <a:pt x="409779" y="200876"/>
                  </a:lnTo>
                  <a:lnTo>
                    <a:pt x="409779" y="202260"/>
                  </a:lnTo>
                  <a:lnTo>
                    <a:pt x="409779" y="200228"/>
                  </a:lnTo>
                  <a:lnTo>
                    <a:pt x="409779" y="200876"/>
                  </a:lnTo>
                  <a:lnTo>
                    <a:pt x="409779" y="200228"/>
                  </a:lnTo>
                  <a:lnTo>
                    <a:pt x="409830" y="200228"/>
                  </a:lnTo>
                  <a:lnTo>
                    <a:pt x="409830" y="199530"/>
                  </a:lnTo>
                  <a:lnTo>
                    <a:pt x="409830" y="200228"/>
                  </a:lnTo>
                  <a:lnTo>
                    <a:pt x="409830" y="197447"/>
                  </a:lnTo>
                  <a:lnTo>
                    <a:pt x="409880" y="197447"/>
                  </a:lnTo>
                  <a:lnTo>
                    <a:pt x="409880" y="196113"/>
                  </a:lnTo>
                  <a:lnTo>
                    <a:pt x="409880" y="198831"/>
                  </a:lnTo>
                  <a:lnTo>
                    <a:pt x="409880" y="197447"/>
                  </a:lnTo>
                  <a:lnTo>
                    <a:pt x="409982" y="196799"/>
                  </a:lnTo>
                  <a:lnTo>
                    <a:pt x="409982" y="196113"/>
                  </a:lnTo>
                  <a:lnTo>
                    <a:pt x="409982" y="200228"/>
                  </a:lnTo>
                  <a:lnTo>
                    <a:pt x="409982" y="198831"/>
                  </a:lnTo>
                  <a:lnTo>
                    <a:pt x="410033" y="198831"/>
                  </a:lnTo>
                  <a:lnTo>
                    <a:pt x="410033" y="197447"/>
                  </a:lnTo>
                  <a:lnTo>
                    <a:pt x="410033" y="198831"/>
                  </a:lnTo>
                  <a:lnTo>
                    <a:pt x="410033" y="197447"/>
                  </a:lnTo>
                  <a:lnTo>
                    <a:pt x="410033" y="200228"/>
                  </a:lnTo>
                  <a:lnTo>
                    <a:pt x="410033" y="199530"/>
                  </a:lnTo>
                  <a:lnTo>
                    <a:pt x="410083" y="200228"/>
                  </a:lnTo>
                  <a:lnTo>
                    <a:pt x="410083" y="199530"/>
                  </a:lnTo>
                  <a:lnTo>
                    <a:pt x="410083" y="200876"/>
                  </a:lnTo>
                  <a:lnTo>
                    <a:pt x="410122" y="200876"/>
                  </a:lnTo>
                  <a:lnTo>
                    <a:pt x="410122" y="200228"/>
                  </a:lnTo>
                  <a:lnTo>
                    <a:pt x="410122" y="200876"/>
                  </a:lnTo>
                  <a:lnTo>
                    <a:pt x="410122" y="200228"/>
                  </a:lnTo>
                  <a:lnTo>
                    <a:pt x="410122" y="202260"/>
                  </a:lnTo>
                  <a:lnTo>
                    <a:pt x="410223" y="202260"/>
                  </a:lnTo>
                  <a:lnTo>
                    <a:pt x="410223" y="200876"/>
                  </a:lnTo>
                  <a:lnTo>
                    <a:pt x="410223" y="202260"/>
                  </a:lnTo>
                  <a:lnTo>
                    <a:pt x="410223" y="200876"/>
                  </a:lnTo>
                  <a:lnTo>
                    <a:pt x="410223" y="202260"/>
                  </a:lnTo>
                  <a:lnTo>
                    <a:pt x="410223" y="200876"/>
                  </a:lnTo>
                  <a:lnTo>
                    <a:pt x="410223" y="202260"/>
                  </a:lnTo>
                  <a:lnTo>
                    <a:pt x="410223" y="200876"/>
                  </a:lnTo>
                  <a:lnTo>
                    <a:pt x="410274" y="200876"/>
                  </a:lnTo>
                  <a:lnTo>
                    <a:pt x="410274" y="202260"/>
                  </a:lnTo>
                  <a:lnTo>
                    <a:pt x="410274" y="200228"/>
                  </a:lnTo>
                  <a:lnTo>
                    <a:pt x="410274" y="200876"/>
                  </a:lnTo>
                  <a:lnTo>
                    <a:pt x="410274" y="200228"/>
                  </a:lnTo>
                  <a:lnTo>
                    <a:pt x="410274" y="200876"/>
                  </a:lnTo>
                  <a:lnTo>
                    <a:pt x="410274" y="200228"/>
                  </a:lnTo>
                  <a:lnTo>
                    <a:pt x="410274" y="200876"/>
                  </a:lnTo>
                  <a:lnTo>
                    <a:pt x="410274" y="200228"/>
                  </a:lnTo>
                  <a:lnTo>
                    <a:pt x="410325" y="200228"/>
                  </a:lnTo>
                  <a:lnTo>
                    <a:pt x="410325" y="198831"/>
                  </a:lnTo>
                  <a:lnTo>
                    <a:pt x="410426" y="198831"/>
                  </a:lnTo>
                  <a:lnTo>
                    <a:pt x="410426" y="196799"/>
                  </a:lnTo>
                  <a:lnTo>
                    <a:pt x="410426" y="199530"/>
                  </a:lnTo>
                  <a:lnTo>
                    <a:pt x="410426" y="196799"/>
                  </a:lnTo>
                  <a:lnTo>
                    <a:pt x="410477" y="196799"/>
                  </a:lnTo>
                  <a:lnTo>
                    <a:pt x="410477" y="199530"/>
                  </a:lnTo>
                  <a:lnTo>
                    <a:pt x="410477" y="197447"/>
                  </a:lnTo>
                  <a:lnTo>
                    <a:pt x="410528" y="197447"/>
                  </a:lnTo>
                  <a:lnTo>
                    <a:pt x="410528" y="199530"/>
                  </a:lnTo>
                  <a:lnTo>
                    <a:pt x="410528" y="197447"/>
                  </a:lnTo>
                  <a:lnTo>
                    <a:pt x="410528" y="198831"/>
                  </a:lnTo>
                  <a:lnTo>
                    <a:pt x="410579" y="197447"/>
                  </a:lnTo>
                  <a:lnTo>
                    <a:pt x="410579" y="199530"/>
                  </a:lnTo>
                  <a:lnTo>
                    <a:pt x="410668" y="199530"/>
                  </a:lnTo>
                  <a:lnTo>
                    <a:pt x="410668" y="200228"/>
                  </a:lnTo>
                  <a:lnTo>
                    <a:pt x="410668" y="199530"/>
                  </a:lnTo>
                  <a:lnTo>
                    <a:pt x="410668" y="200228"/>
                  </a:lnTo>
                  <a:lnTo>
                    <a:pt x="410718" y="200228"/>
                  </a:lnTo>
                  <a:lnTo>
                    <a:pt x="410718" y="200876"/>
                  </a:lnTo>
                  <a:lnTo>
                    <a:pt x="410718" y="200228"/>
                  </a:lnTo>
                  <a:lnTo>
                    <a:pt x="410718" y="200876"/>
                  </a:lnTo>
                  <a:lnTo>
                    <a:pt x="410718" y="200228"/>
                  </a:lnTo>
                  <a:lnTo>
                    <a:pt x="410769" y="200228"/>
                  </a:lnTo>
                  <a:lnTo>
                    <a:pt x="410769" y="200876"/>
                  </a:lnTo>
                  <a:lnTo>
                    <a:pt x="410769" y="200228"/>
                  </a:lnTo>
                  <a:lnTo>
                    <a:pt x="410769" y="200876"/>
                  </a:lnTo>
                  <a:lnTo>
                    <a:pt x="410769" y="200228"/>
                  </a:lnTo>
                  <a:lnTo>
                    <a:pt x="410769" y="200876"/>
                  </a:lnTo>
                  <a:lnTo>
                    <a:pt x="410769" y="199530"/>
                  </a:lnTo>
                  <a:lnTo>
                    <a:pt x="410820" y="200228"/>
                  </a:lnTo>
                  <a:lnTo>
                    <a:pt x="410820" y="198831"/>
                  </a:lnTo>
                  <a:lnTo>
                    <a:pt x="410820" y="199530"/>
                  </a:lnTo>
                  <a:lnTo>
                    <a:pt x="410820" y="198831"/>
                  </a:lnTo>
                  <a:lnTo>
                    <a:pt x="410820" y="199530"/>
                  </a:lnTo>
                  <a:lnTo>
                    <a:pt x="410922" y="199530"/>
                  </a:lnTo>
                  <a:lnTo>
                    <a:pt x="410922" y="200228"/>
                  </a:lnTo>
                  <a:lnTo>
                    <a:pt x="410922" y="198831"/>
                  </a:lnTo>
                  <a:lnTo>
                    <a:pt x="410922" y="200876"/>
                  </a:lnTo>
                  <a:lnTo>
                    <a:pt x="410972" y="200876"/>
                  </a:lnTo>
                  <a:lnTo>
                    <a:pt x="410972" y="200228"/>
                  </a:lnTo>
                  <a:lnTo>
                    <a:pt x="410972" y="202260"/>
                  </a:lnTo>
                  <a:lnTo>
                    <a:pt x="411023" y="202260"/>
                  </a:lnTo>
                  <a:lnTo>
                    <a:pt x="411023" y="200228"/>
                  </a:lnTo>
                  <a:lnTo>
                    <a:pt x="411023" y="200876"/>
                  </a:lnTo>
                  <a:lnTo>
                    <a:pt x="411023" y="200228"/>
                  </a:lnTo>
                  <a:lnTo>
                    <a:pt x="411023" y="200876"/>
                  </a:lnTo>
                  <a:lnTo>
                    <a:pt x="411163" y="200876"/>
                  </a:lnTo>
                  <a:lnTo>
                    <a:pt x="411163" y="200228"/>
                  </a:lnTo>
                  <a:lnTo>
                    <a:pt x="411163" y="202260"/>
                  </a:lnTo>
                  <a:lnTo>
                    <a:pt x="411163" y="200876"/>
                  </a:lnTo>
                  <a:lnTo>
                    <a:pt x="411214" y="200228"/>
                  </a:lnTo>
                  <a:lnTo>
                    <a:pt x="411214" y="200876"/>
                  </a:lnTo>
                  <a:lnTo>
                    <a:pt x="411214" y="200228"/>
                  </a:lnTo>
                  <a:lnTo>
                    <a:pt x="411214" y="200876"/>
                  </a:lnTo>
                  <a:lnTo>
                    <a:pt x="411265" y="200228"/>
                  </a:lnTo>
                  <a:lnTo>
                    <a:pt x="411265" y="199530"/>
                  </a:lnTo>
                  <a:lnTo>
                    <a:pt x="411265" y="200228"/>
                  </a:lnTo>
                  <a:lnTo>
                    <a:pt x="411265" y="199530"/>
                  </a:lnTo>
                  <a:lnTo>
                    <a:pt x="411366" y="199530"/>
                  </a:lnTo>
                  <a:lnTo>
                    <a:pt x="411366" y="200228"/>
                  </a:lnTo>
                  <a:lnTo>
                    <a:pt x="411417" y="200228"/>
                  </a:lnTo>
                  <a:lnTo>
                    <a:pt x="411417" y="199530"/>
                  </a:lnTo>
                  <a:lnTo>
                    <a:pt x="411417" y="202959"/>
                  </a:lnTo>
                  <a:lnTo>
                    <a:pt x="411417" y="202260"/>
                  </a:lnTo>
                  <a:lnTo>
                    <a:pt x="411468" y="202260"/>
                  </a:lnTo>
                  <a:lnTo>
                    <a:pt x="411468" y="200876"/>
                  </a:lnTo>
                  <a:lnTo>
                    <a:pt x="411468" y="202959"/>
                  </a:lnTo>
                  <a:lnTo>
                    <a:pt x="411468" y="202260"/>
                  </a:lnTo>
                  <a:lnTo>
                    <a:pt x="411468" y="202959"/>
                  </a:lnTo>
                  <a:lnTo>
                    <a:pt x="411468" y="200876"/>
                  </a:lnTo>
                  <a:lnTo>
                    <a:pt x="411569" y="200876"/>
                  </a:lnTo>
                  <a:lnTo>
                    <a:pt x="411569" y="202260"/>
                  </a:lnTo>
                  <a:lnTo>
                    <a:pt x="411569" y="200876"/>
                  </a:lnTo>
                  <a:lnTo>
                    <a:pt x="411569" y="202260"/>
                  </a:lnTo>
                  <a:lnTo>
                    <a:pt x="411569" y="200876"/>
                  </a:lnTo>
                  <a:lnTo>
                    <a:pt x="411620" y="200876"/>
                  </a:lnTo>
                  <a:lnTo>
                    <a:pt x="411620" y="202260"/>
                  </a:lnTo>
                  <a:lnTo>
                    <a:pt x="411620" y="200876"/>
                  </a:lnTo>
                  <a:lnTo>
                    <a:pt x="411620" y="202260"/>
                  </a:lnTo>
                  <a:lnTo>
                    <a:pt x="411620" y="200876"/>
                  </a:lnTo>
                  <a:lnTo>
                    <a:pt x="411620" y="202260"/>
                  </a:lnTo>
                  <a:lnTo>
                    <a:pt x="411671" y="202260"/>
                  </a:lnTo>
                  <a:lnTo>
                    <a:pt x="411671" y="200228"/>
                  </a:lnTo>
                  <a:lnTo>
                    <a:pt x="411671" y="200876"/>
                  </a:lnTo>
                  <a:lnTo>
                    <a:pt x="411709" y="200876"/>
                  </a:lnTo>
                  <a:lnTo>
                    <a:pt x="411709" y="200228"/>
                  </a:lnTo>
                  <a:lnTo>
                    <a:pt x="411709" y="200876"/>
                  </a:lnTo>
                  <a:lnTo>
                    <a:pt x="411709" y="199530"/>
                  </a:lnTo>
                  <a:lnTo>
                    <a:pt x="411811" y="199530"/>
                  </a:lnTo>
                  <a:lnTo>
                    <a:pt x="411811" y="198831"/>
                  </a:lnTo>
                  <a:lnTo>
                    <a:pt x="411811" y="199530"/>
                  </a:lnTo>
                  <a:lnTo>
                    <a:pt x="411811" y="197447"/>
                  </a:lnTo>
                  <a:lnTo>
                    <a:pt x="411862" y="198831"/>
                  </a:lnTo>
                  <a:lnTo>
                    <a:pt x="411862" y="196113"/>
                  </a:lnTo>
                  <a:lnTo>
                    <a:pt x="411862" y="198831"/>
                  </a:lnTo>
                  <a:lnTo>
                    <a:pt x="411912" y="198831"/>
                  </a:lnTo>
                  <a:lnTo>
                    <a:pt x="411912" y="196799"/>
                  </a:lnTo>
                  <a:lnTo>
                    <a:pt x="411912" y="200228"/>
                  </a:lnTo>
                  <a:lnTo>
                    <a:pt x="412014" y="199530"/>
                  </a:lnTo>
                  <a:lnTo>
                    <a:pt x="412014" y="198831"/>
                  </a:lnTo>
                  <a:lnTo>
                    <a:pt x="412014" y="200228"/>
                  </a:lnTo>
                  <a:lnTo>
                    <a:pt x="412065" y="200228"/>
                  </a:lnTo>
                  <a:lnTo>
                    <a:pt x="412065" y="200876"/>
                  </a:lnTo>
                  <a:lnTo>
                    <a:pt x="412065" y="200228"/>
                  </a:lnTo>
                  <a:lnTo>
                    <a:pt x="412065" y="200876"/>
                  </a:lnTo>
                  <a:lnTo>
                    <a:pt x="412116" y="202260"/>
                  </a:lnTo>
                  <a:lnTo>
                    <a:pt x="412116" y="202959"/>
                  </a:lnTo>
                  <a:lnTo>
                    <a:pt x="412116" y="202260"/>
                  </a:lnTo>
                  <a:lnTo>
                    <a:pt x="412116" y="202959"/>
                  </a:lnTo>
                  <a:lnTo>
                    <a:pt x="412116" y="202260"/>
                  </a:lnTo>
                  <a:lnTo>
                    <a:pt x="412166" y="202959"/>
                  </a:lnTo>
                  <a:lnTo>
                    <a:pt x="412166" y="202260"/>
                  </a:lnTo>
                  <a:lnTo>
                    <a:pt x="412166" y="202959"/>
                  </a:lnTo>
                  <a:lnTo>
                    <a:pt x="412166" y="200876"/>
                  </a:lnTo>
                  <a:lnTo>
                    <a:pt x="412166" y="202260"/>
                  </a:lnTo>
                  <a:lnTo>
                    <a:pt x="412255" y="202260"/>
                  </a:lnTo>
                  <a:lnTo>
                    <a:pt x="412255" y="200876"/>
                  </a:lnTo>
                  <a:lnTo>
                    <a:pt x="412255" y="202260"/>
                  </a:lnTo>
                  <a:lnTo>
                    <a:pt x="412255" y="200228"/>
                  </a:lnTo>
                  <a:lnTo>
                    <a:pt x="412255" y="200876"/>
                  </a:lnTo>
                  <a:lnTo>
                    <a:pt x="412255" y="200228"/>
                  </a:lnTo>
                  <a:lnTo>
                    <a:pt x="412306" y="200228"/>
                  </a:lnTo>
                  <a:lnTo>
                    <a:pt x="412306" y="199530"/>
                  </a:lnTo>
                  <a:lnTo>
                    <a:pt x="412306" y="200228"/>
                  </a:lnTo>
                  <a:lnTo>
                    <a:pt x="412306" y="199530"/>
                  </a:lnTo>
                  <a:lnTo>
                    <a:pt x="412306" y="200228"/>
                  </a:lnTo>
                  <a:lnTo>
                    <a:pt x="412306" y="199530"/>
                  </a:lnTo>
                  <a:lnTo>
                    <a:pt x="412306" y="200228"/>
                  </a:lnTo>
                  <a:lnTo>
                    <a:pt x="412306" y="198831"/>
                  </a:lnTo>
                  <a:lnTo>
                    <a:pt x="412306" y="199530"/>
                  </a:lnTo>
                  <a:lnTo>
                    <a:pt x="412306" y="198831"/>
                  </a:lnTo>
                  <a:lnTo>
                    <a:pt x="412357" y="198831"/>
                  </a:lnTo>
                  <a:lnTo>
                    <a:pt x="412357" y="196799"/>
                  </a:lnTo>
                  <a:lnTo>
                    <a:pt x="412357" y="198831"/>
                  </a:lnTo>
                  <a:lnTo>
                    <a:pt x="412408" y="197447"/>
                  </a:lnTo>
                  <a:lnTo>
                    <a:pt x="412408" y="196799"/>
                  </a:lnTo>
                  <a:lnTo>
                    <a:pt x="412408" y="200228"/>
                  </a:lnTo>
                  <a:lnTo>
                    <a:pt x="412408" y="199530"/>
                  </a:lnTo>
                  <a:lnTo>
                    <a:pt x="412509" y="199530"/>
                  </a:lnTo>
                  <a:lnTo>
                    <a:pt x="412509" y="198831"/>
                  </a:lnTo>
                  <a:lnTo>
                    <a:pt x="412509" y="200228"/>
                  </a:lnTo>
                  <a:lnTo>
                    <a:pt x="412509" y="199530"/>
                  </a:lnTo>
                  <a:lnTo>
                    <a:pt x="412560" y="199530"/>
                  </a:lnTo>
                  <a:lnTo>
                    <a:pt x="412560" y="200228"/>
                  </a:lnTo>
                  <a:lnTo>
                    <a:pt x="412560" y="199530"/>
                  </a:lnTo>
                  <a:lnTo>
                    <a:pt x="412560" y="200228"/>
                  </a:lnTo>
                  <a:lnTo>
                    <a:pt x="412611" y="200228"/>
                  </a:lnTo>
                  <a:lnTo>
                    <a:pt x="412611" y="200876"/>
                  </a:lnTo>
                  <a:lnTo>
                    <a:pt x="412751" y="200876"/>
                  </a:lnTo>
                  <a:lnTo>
                    <a:pt x="412751" y="202260"/>
                  </a:lnTo>
                  <a:lnTo>
                    <a:pt x="412751" y="200228"/>
                  </a:lnTo>
                  <a:lnTo>
                    <a:pt x="412801" y="200228"/>
                  </a:lnTo>
                  <a:lnTo>
                    <a:pt x="412801" y="198831"/>
                  </a:lnTo>
                  <a:lnTo>
                    <a:pt x="412852" y="198831"/>
                  </a:lnTo>
                  <a:lnTo>
                    <a:pt x="412852" y="197447"/>
                  </a:lnTo>
                  <a:lnTo>
                    <a:pt x="412852" y="198831"/>
                  </a:lnTo>
                  <a:lnTo>
                    <a:pt x="412852" y="197447"/>
                  </a:lnTo>
                  <a:lnTo>
                    <a:pt x="412852" y="199530"/>
                  </a:lnTo>
                  <a:lnTo>
                    <a:pt x="412852" y="197447"/>
                  </a:lnTo>
                  <a:lnTo>
                    <a:pt x="412954" y="197447"/>
                  </a:lnTo>
                  <a:lnTo>
                    <a:pt x="412954" y="200228"/>
                  </a:lnTo>
                  <a:lnTo>
                    <a:pt x="412954" y="199530"/>
                  </a:lnTo>
                  <a:lnTo>
                    <a:pt x="412954" y="200228"/>
                  </a:lnTo>
                  <a:lnTo>
                    <a:pt x="412954" y="199530"/>
                  </a:lnTo>
                  <a:lnTo>
                    <a:pt x="412954" y="200228"/>
                  </a:lnTo>
                  <a:lnTo>
                    <a:pt x="412954" y="198831"/>
                  </a:lnTo>
                  <a:lnTo>
                    <a:pt x="413005" y="198831"/>
                  </a:lnTo>
                  <a:lnTo>
                    <a:pt x="413005" y="200228"/>
                  </a:lnTo>
                  <a:lnTo>
                    <a:pt x="413005" y="198831"/>
                  </a:lnTo>
                  <a:lnTo>
                    <a:pt x="413055" y="198831"/>
                  </a:lnTo>
                  <a:lnTo>
                    <a:pt x="413055" y="200228"/>
                  </a:lnTo>
                  <a:lnTo>
                    <a:pt x="413157" y="200228"/>
                  </a:lnTo>
                  <a:lnTo>
                    <a:pt x="413157" y="200876"/>
                  </a:lnTo>
                  <a:lnTo>
                    <a:pt x="413157" y="200228"/>
                  </a:lnTo>
                  <a:lnTo>
                    <a:pt x="413157" y="200876"/>
                  </a:lnTo>
                  <a:lnTo>
                    <a:pt x="413258" y="200876"/>
                  </a:lnTo>
                  <a:lnTo>
                    <a:pt x="413258" y="200228"/>
                  </a:lnTo>
                  <a:lnTo>
                    <a:pt x="413258" y="200876"/>
                  </a:lnTo>
                  <a:lnTo>
                    <a:pt x="413258" y="200228"/>
                  </a:lnTo>
                  <a:lnTo>
                    <a:pt x="413258" y="200876"/>
                  </a:lnTo>
                  <a:lnTo>
                    <a:pt x="413258" y="200228"/>
                  </a:lnTo>
                  <a:lnTo>
                    <a:pt x="413297" y="200228"/>
                  </a:lnTo>
                  <a:lnTo>
                    <a:pt x="413297" y="198831"/>
                  </a:lnTo>
                  <a:lnTo>
                    <a:pt x="413297" y="199530"/>
                  </a:lnTo>
                  <a:lnTo>
                    <a:pt x="413297" y="197447"/>
                  </a:lnTo>
                  <a:lnTo>
                    <a:pt x="413398" y="197447"/>
                  </a:lnTo>
                  <a:lnTo>
                    <a:pt x="413398" y="200228"/>
                  </a:lnTo>
                  <a:lnTo>
                    <a:pt x="413398" y="196799"/>
                  </a:lnTo>
                  <a:lnTo>
                    <a:pt x="413449" y="196799"/>
                  </a:lnTo>
                  <a:lnTo>
                    <a:pt x="413449" y="200228"/>
                  </a:lnTo>
                  <a:lnTo>
                    <a:pt x="413449" y="198831"/>
                  </a:lnTo>
                  <a:lnTo>
                    <a:pt x="413449" y="199530"/>
                  </a:lnTo>
                  <a:lnTo>
                    <a:pt x="413500" y="199530"/>
                  </a:lnTo>
                  <a:lnTo>
                    <a:pt x="413500" y="200228"/>
                  </a:lnTo>
                  <a:lnTo>
                    <a:pt x="413500" y="199530"/>
                  </a:lnTo>
                  <a:lnTo>
                    <a:pt x="413500" y="200228"/>
                  </a:lnTo>
                  <a:lnTo>
                    <a:pt x="413500" y="198831"/>
                  </a:lnTo>
                  <a:lnTo>
                    <a:pt x="413500" y="199530"/>
                  </a:lnTo>
                  <a:lnTo>
                    <a:pt x="413601" y="200228"/>
                  </a:lnTo>
                  <a:lnTo>
                    <a:pt x="413601" y="199530"/>
                  </a:lnTo>
                  <a:lnTo>
                    <a:pt x="413601" y="200228"/>
                  </a:lnTo>
                  <a:lnTo>
                    <a:pt x="413601" y="199530"/>
                  </a:lnTo>
                  <a:lnTo>
                    <a:pt x="413601" y="200228"/>
                  </a:lnTo>
                  <a:lnTo>
                    <a:pt x="413601" y="199530"/>
                  </a:lnTo>
                  <a:lnTo>
                    <a:pt x="413652" y="199530"/>
                  </a:lnTo>
                  <a:lnTo>
                    <a:pt x="413652" y="200228"/>
                  </a:lnTo>
                  <a:lnTo>
                    <a:pt x="413652" y="199530"/>
                  </a:lnTo>
                  <a:lnTo>
                    <a:pt x="413652" y="200228"/>
                  </a:lnTo>
                  <a:lnTo>
                    <a:pt x="413703" y="200228"/>
                  </a:lnTo>
                  <a:lnTo>
                    <a:pt x="413703" y="200876"/>
                  </a:lnTo>
                  <a:lnTo>
                    <a:pt x="413754" y="200228"/>
                  </a:lnTo>
                  <a:lnTo>
                    <a:pt x="413754" y="199530"/>
                  </a:lnTo>
                  <a:lnTo>
                    <a:pt x="413843" y="199530"/>
                  </a:lnTo>
                  <a:lnTo>
                    <a:pt x="413843" y="197447"/>
                  </a:lnTo>
                  <a:lnTo>
                    <a:pt x="413843" y="200228"/>
                  </a:lnTo>
                  <a:lnTo>
                    <a:pt x="413893" y="200228"/>
                  </a:lnTo>
                  <a:lnTo>
                    <a:pt x="413893" y="197447"/>
                  </a:lnTo>
                  <a:lnTo>
                    <a:pt x="413893" y="200876"/>
                  </a:lnTo>
                  <a:lnTo>
                    <a:pt x="413944" y="202260"/>
                  </a:lnTo>
                  <a:lnTo>
                    <a:pt x="413944" y="199530"/>
                  </a:lnTo>
                  <a:lnTo>
                    <a:pt x="413944" y="200228"/>
                  </a:lnTo>
                  <a:lnTo>
                    <a:pt x="413944" y="199530"/>
                  </a:lnTo>
                  <a:lnTo>
                    <a:pt x="413944" y="202260"/>
                  </a:lnTo>
                  <a:lnTo>
                    <a:pt x="413944" y="200876"/>
                  </a:lnTo>
                  <a:lnTo>
                    <a:pt x="413995" y="200876"/>
                  </a:lnTo>
                  <a:lnTo>
                    <a:pt x="413995" y="200228"/>
                  </a:lnTo>
                  <a:lnTo>
                    <a:pt x="413995" y="200876"/>
                  </a:lnTo>
                  <a:lnTo>
                    <a:pt x="413995" y="200228"/>
                  </a:lnTo>
                  <a:lnTo>
                    <a:pt x="413995" y="202260"/>
                  </a:lnTo>
                  <a:lnTo>
                    <a:pt x="413995" y="200876"/>
                  </a:lnTo>
                  <a:lnTo>
                    <a:pt x="414097" y="200876"/>
                  </a:lnTo>
                  <a:lnTo>
                    <a:pt x="414097" y="200228"/>
                  </a:lnTo>
                  <a:lnTo>
                    <a:pt x="414097" y="202260"/>
                  </a:lnTo>
                  <a:lnTo>
                    <a:pt x="414097" y="200876"/>
                  </a:lnTo>
                  <a:lnTo>
                    <a:pt x="414097" y="202260"/>
                  </a:lnTo>
                  <a:lnTo>
                    <a:pt x="414147" y="202260"/>
                  </a:lnTo>
                  <a:lnTo>
                    <a:pt x="414147" y="200876"/>
                  </a:lnTo>
                  <a:lnTo>
                    <a:pt x="414147" y="202260"/>
                  </a:lnTo>
                  <a:lnTo>
                    <a:pt x="414147" y="200876"/>
                  </a:lnTo>
                  <a:lnTo>
                    <a:pt x="414147" y="202260"/>
                  </a:lnTo>
                  <a:lnTo>
                    <a:pt x="414147" y="200876"/>
                  </a:lnTo>
                  <a:lnTo>
                    <a:pt x="414198" y="200876"/>
                  </a:lnTo>
                  <a:lnTo>
                    <a:pt x="414198" y="200228"/>
                  </a:lnTo>
                  <a:lnTo>
                    <a:pt x="414300" y="200228"/>
                  </a:lnTo>
                  <a:lnTo>
                    <a:pt x="414300" y="199530"/>
                  </a:lnTo>
                  <a:lnTo>
                    <a:pt x="414338" y="199530"/>
                  </a:lnTo>
                  <a:lnTo>
                    <a:pt x="414338" y="197447"/>
                  </a:lnTo>
                  <a:lnTo>
                    <a:pt x="414338" y="200228"/>
                  </a:lnTo>
                  <a:lnTo>
                    <a:pt x="414389" y="200228"/>
                  </a:lnTo>
                  <a:lnTo>
                    <a:pt x="414389" y="199530"/>
                  </a:lnTo>
                  <a:lnTo>
                    <a:pt x="414389" y="202260"/>
                  </a:lnTo>
                  <a:lnTo>
                    <a:pt x="414389" y="200228"/>
                  </a:lnTo>
                  <a:lnTo>
                    <a:pt x="414440" y="200228"/>
                  </a:lnTo>
                  <a:lnTo>
                    <a:pt x="414440" y="202959"/>
                  </a:lnTo>
                  <a:lnTo>
                    <a:pt x="414440" y="200876"/>
                  </a:lnTo>
                  <a:lnTo>
                    <a:pt x="414541" y="200876"/>
                  </a:lnTo>
                  <a:lnTo>
                    <a:pt x="414541" y="202260"/>
                  </a:lnTo>
                  <a:lnTo>
                    <a:pt x="414541" y="200876"/>
                  </a:lnTo>
                  <a:lnTo>
                    <a:pt x="414541" y="202260"/>
                  </a:lnTo>
                  <a:lnTo>
                    <a:pt x="414541" y="200876"/>
                  </a:lnTo>
                  <a:lnTo>
                    <a:pt x="414592" y="202260"/>
                  </a:lnTo>
                  <a:lnTo>
                    <a:pt x="414592" y="202959"/>
                  </a:lnTo>
                  <a:lnTo>
                    <a:pt x="414592" y="202260"/>
                  </a:lnTo>
                  <a:lnTo>
                    <a:pt x="414592" y="202959"/>
                  </a:lnTo>
                  <a:lnTo>
                    <a:pt x="414592" y="202260"/>
                  </a:lnTo>
                  <a:lnTo>
                    <a:pt x="414643" y="200876"/>
                  </a:lnTo>
                  <a:lnTo>
                    <a:pt x="414643" y="202260"/>
                  </a:lnTo>
                  <a:lnTo>
                    <a:pt x="414643" y="200876"/>
                  </a:lnTo>
                  <a:lnTo>
                    <a:pt x="414643" y="202260"/>
                  </a:lnTo>
                  <a:lnTo>
                    <a:pt x="414643" y="200876"/>
                  </a:lnTo>
                  <a:lnTo>
                    <a:pt x="414744" y="200876"/>
                  </a:lnTo>
                  <a:lnTo>
                    <a:pt x="414744" y="200228"/>
                  </a:lnTo>
                  <a:lnTo>
                    <a:pt x="414795" y="200228"/>
                  </a:lnTo>
                  <a:lnTo>
                    <a:pt x="414795" y="199530"/>
                  </a:lnTo>
                  <a:lnTo>
                    <a:pt x="414795" y="200228"/>
                  </a:lnTo>
                  <a:lnTo>
                    <a:pt x="414795" y="199530"/>
                  </a:lnTo>
                  <a:lnTo>
                    <a:pt x="414795" y="200228"/>
                  </a:lnTo>
                  <a:lnTo>
                    <a:pt x="414795" y="199530"/>
                  </a:lnTo>
                  <a:lnTo>
                    <a:pt x="414795" y="200228"/>
                  </a:lnTo>
                  <a:lnTo>
                    <a:pt x="414795" y="197447"/>
                  </a:lnTo>
                  <a:lnTo>
                    <a:pt x="414846" y="197447"/>
                  </a:lnTo>
                  <a:lnTo>
                    <a:pt x="414846" y="200228"/>
                  </a:lnTo>
                  <a:lnTo>
                    <a:pt x="414846" y="198831"/>
                  </a:lnTo>
                  <a:lnTo>
                    <a:pt x="414884" y="198831"/>
                  </a:lnTo>
                  <a:lnTo>
                    <a:pt x="414884" y="200876"/>
                  </a:lnTo>
                  <a:lnTo>
                    <a:pt x="414884" y="199530"/>
                  </a:lnTo>
                  <a:lnTo>
                    <a:pt x="414986" y="199530"/>
                  </a:lnTo>
                  <a:lnTo>
                    <a:pt x="414986" y="202260"/>
                  </a:lnTo>
                  <a:lnTo>
                    <a:pt x="414986" y="200876"/>
                  </a:lnTo>
                  <a:lnTo>
                    <a:pt x="414986" y="202260"/>
                  </a:lnTo>
                  <a:lnTo>
                    <a:pt x="414986" y="200876"/>
                  </a:lnTo>
                  <a:lnTo>
                    <a:pt x="414986" y="202260"/>
                  </a:lnTo>
                  <a:lnTo>
                    <a:pt x="415037" y="202260"/>
                  </a:lnTo>
                  <a:lnTo>
                    <a:pt x="415037" y="200876"/>
                  </a:lnTo>
                  <a:lnTo>
                    <a:pt x="415037" y="202260"/>
                  </a:lnTo>
                  <a:lnTo>
                    <a:pt x="415087" y="202260"/>
                  </a:lnTo>
                  <a:lnTo>
                    <a:pt x="415087" y="202959"/>
                  </a:lnTo>
                  <a:lnTo>
                    <a:pt x="415189" y="202959"/>
                  </a:lnTo>
                  <a:lnTo>
                    <a:pt x="415189" y="202260"/>
                  </a:lnTo>
                  <a:lnTo>
                    <a:pt x="415240" y="202260"/>
                  </a:lnTo>
                  <a:lnTo>
                    <a:pt x="415240" y="200228"/>
                  </a:lnTo>
                  <a:lnTo>
                    <a:pt x="415240" y="200876"/>
                  </a:lnTo>
                  <a:lnTo>
                    <a:pt x="415240" y="200228"/>
                  </a:lnTo>
                  <a:lnTo>
                    <a:pt x="415291" y="199530"/>
                  </a:lnTo>
                  <a:lnTo>
                    <a:pt x="415291" y="200228"/>
                  </a:lnTo>
                  <a:lnTo>
                    <a:pt x="415341" y="200228"/>
                  </a:lnTo>
                  <a:lnTo>
                    <a:pt x="415341" y="199530"/>
                  </a:lnTo>
                  <a:lnTo>
                    <a:pt x="415341" y="202260"/>
                  </a:lnTo>
                  <a:lnTo>
                    <a:pt x="415430" y="202260"/>
                  </a:lnTo>
                  <a:lnTo>
                    <a:pt x="415430" y="200228"/>
                  </a:lnTo>
                  <a:lnTo>
                    <a:pt x="415430" y="202260"/>
                  </a:lnTo>
                  <a:lnTo>
                    <a:pt x="415481" y="202260"/>
                  </a:lnTo>
                  <a:lnTo>
                    <a:pt x="415481" y="200876"/>
                  </a:lnTo>
                  <a:lnTo>
                    <a:pt x="415481" y="202260"/>
                  </a:lnTo>
                  <a:lnTo>
                    <a:pt x="415481" y="200876"/>
                  </a:lnTo>
                  <a:lnTo>
                    <a:pt x="415481" y="202260"/>
                  </a:lnTo>
                  <a:lnTo>
                    <a:pt x="415532" y="202260"/>
                  </a:lnTo>
                  <a:lnTo>
                    <a:pt x="415532" y="202959"/>
                  </a:lnTo>
                  <a:lnTo>
                    <a:pt x="415532" y="202260"/>
                  </a:lnTo>
                  <a:lnTo>
                    <a:pt x="415532" y="202959"/>
                  </a:lnTo>
                  <a:lnTo>
                    <a:pt x="415532" y="202260"/>
                  </a:lnTo>
                  <a:lnTo>
                    <a:pt x="415583" y="202260"/>
                  </a:lnTo>
                  <a:lnTo>
                    <a:pt x="415583" y="202959"/>
                  </a:lnTo>
                  <a:lnTo>
                    <a:pt x="415583" y="202260"/>
                  </a:lnTo>
                  <a:lnTo>
                    <a:pt x="415583" y="202959"/>
                  </a:lnTo>
                  <a:lnTo>
                    <a:pt x="415583" y="202260"/>
                  </a:lnTo>
                  <a:lnTo>
                    <a:pt x="415583" y="202959"/>
                  </a:lnTo>
                  <a:lnTo>
                    <a:pt x="415583" y="202260"/>
                  </a:lnTo>
                  <a:lnTo>
                    <a:pt x="415684" y="200876"/>
                  </a:lnTo>
                  <a:lnTo>
                    <a:pt x="415684" y="202260"/>
                  </a:lnTo>
                  <a:lnTo>
                    <a:pt x="415684" y="200228"/>
                  </a:lnTo>
                  <a:lnTo>
                    <a:pt x="415684" y="200876"/>
                  </a:lnTo>
                  <a:lnTo>
                    <a:pt x="415684" y="200228"/>
                  </a:lnTo>
                  <a:lnTo>
                    <a:pt x="415684" y="200876"/>
                  </a:lnTo>
                  <a:lnTo>
                    <a:pt x="415735" y="200228"/>
                  </a:lnTo>
                  <a:lnTo>
                    <a:pt x="415735" y="200876"/>
                  </a:lnTo>
                  <a:lnTo>
                    <a:pt x="415735" y="198831"/>
                  </a:lnTo>
                  <a:lnTo>
                    <a:pt x="415786" y="198831"/>
                  </a:lnTo>
                  <a:lnTo>
                    <a:pt x="415786" y="197447"/>
                  </a:lnTo>
                  <a:lnTo>
                    <a:pt x="415786" y="198831"/>
                  </a:lnTo>
                  <a:lnTo>
                    <a:pt x="415786" y="197447"/>
                  </a:lnTo>
                  <a:lnTo>
                    <a:pt x="415786" y="200228"/>
                  </a:lnTo>
                  <a:lnTo>
                    <a:pt x="415786" y="198831"/>
                  </a:lnTo>
                  <a:lnTo>
                    <a:pt x="415887" y="199530"/>
                  </a:lnTo>
                  <a:lnTo>
                    <a:pt x="415887" y="198831"/>
                  </a:lnTo>
                  <a:lnTo>
                    <a:pt x="415887" y="200876"/>
                  </a:lnTo>
                  <a:lnTo>
                    <a:pt x="415887" y="200228"/>
                  </a:lnTo>
                  <a:lnTo>
                    <a:pt x="415926" y="200228"/>
                  </a:lnTo>
                  <a:lnTo>
                    <a:pt x="415926" y="200876"/>
                  </a:lnTo>
                  <a:lnTo>
                    <a:pt x="415926" y="200228"/>
                  </a:lnTo>
                  <a:lnTo>
                    <a:pt x="415926" y="200876"/>
                  </a:lnTo>
                  <a:lnTo>
                    <a:pt x="415976" y="200876"/>
                  </a:lnTo>
                  <a:lnTo>
                    <a:pt x="415976" y="200228"/>
                  </a:lnTo>
                  <a:lnTo>
                    <a:pt x="415976" y="202260"/>
                  </a:lnTo>
                  <a:lnTo>
                    <a:pt x="415976" y="200876"/>
                  </a:lnTo>
                  <a:lnTo>
                    <a:pt x="415976" y="202260"/>
                  </a:lnTo>
                  <a:lnTo>
                    <a:pt x="416027" y="200876"/>
                  </a:lnTo>
                  <a:lnTo>
                    <a:pt x="416027" y="202260"/>
                  </a:lnTo>
                  <a:lnTo>
                    <a:pt x="416129" y="202260"/>
                  </a:lnTo>
                  <a:lnTo>
                    <a:pt x="416129" y="202959"/>
                  </a:lnTo>
                  <a:lnTo>
                    <a:pt x="416129" y="202260"/>
                  </a:lnTo>
                  <a:lnTo>
                    <a:pt x="416129" y="202959"/>
                  </a:lnTo>
                  <a:lnTo>
                    <a:pt x="416129" y="202260"/>
                  </a:lnTo>
                  <a:lnTo>
                    <a:pt x="416180" y="202260"/>
                  </a:lnTo>
                  <a:lnTo>
                    <a:pt x="416180" y="200228"/>
                  </a:lnTo>
                  <a:lnTo>
                    <a:pt x="416230" y="200876"/>
                  </a:lnTo>
                  <a:lnTo>
                    <a:pt x="416230" y="199530"/>
                  </a:lnTo>
                  <a:lnTo>
                    <a:pt x="416332" y="198831"/>
                  </a:lnTo>
                  <a:lnTo>
                    <a:pt x="416332" y="199530"/>
                  </a:lnTo>
                  <a:lnTo>
                    <a:pt x="416332" y="198831"/>
                  </a:lnTo>
                  <a:lnTo>
                    <a:pt x="416332" y="199530"/>
                  </a:lnTo>
                  <a:lnTo>
                    <a:pt x="416332" y="196799"/>
                  </a:lnTo>
                  <a:lnTo>
                    <a:pt x="416383" y="196799"/>
                  </a:lnTo>
                  <a:lnTo>
                    <a:pt x="416383" y="200228"/>
                  </a:lnTo>
                  <a:lnTo>
                    <a:pt x="416383" y="199530"/>
                  </a:lnTo>
                  <a:lnTo>
                    <a:pt x="416383" y="200228"/>
                  </a:lnTo>
                  <a:lnTo>
                    <a:pt x="416383" y="198831"/>
                  </a:lnTo>
                  <a:lnTo>
                    <a:pt x="416433" y="198831"/>
                  </a:lnTo>
                  <a:lnTo>
                    <a:pt x="416433" y="200228"/>
                  </a:lnTo>
                  <a:lnTo>
                    <a:pt x="416433" y="199530"/>
                  </a:lnTo>
                  <a:lnTo>
                    <a:pt x="416433" y="200228"/>
                  </a:lnTo>
                  <a:lnTo>
                    <a:pt x="416433" y="199530"/>
                  </a:lnTo>
                  <a:lnTo>
                    <a:pt x="416472" y="200228"/>
                  </a:lnTo>
                  <a:lnTo>
                    <a:pt x="416472" y="199530"/>
                  </a:lnTo>
                  <a:lnTo>
                    <a:pt x="416472" y="200876"/>
                  </a:lnTo>
                  <a:lnTo>
                    <a:pt x="416472" y="200228"/>
                  </a:lnTo>
                  <a:lnTo>
                    <a:pt x="416573" y="200228"/>
                  </a:lnTo>
                  <a:lnTo>
                    <a:pt x="416573" y="202260"/>
                  </a:lnTo>
                  <a:lnTo>
                    <a:pt x="416573" y="200876"/>
                  </a:lnTo>
                  <a:lnTo>
                    <a:pt x="416675" y="200876"/>
                  </a:lnTo>
                  <a:lnTo>
                    <a:pt x="416675" y="202260"/>
                  </a:lnTo>
                  <a:lnTo>
                    <a:pt x="416675" y="200228"/>
                  </a:lnTo>
                  <a:lnTo>
                    <a:pt x="416675" y="200876"/>
                  </a:lnTo>
                  <a:lnTo>
                    <a:pt x="416675" y="200228"/>
                  </a:lnTo>
                  <a:lnTo>
                    <a:pt x="416776" y="200228"/>
                  </a:lnTo>
                  <a:lnTo>
                    <a:pt x="416776" y="198831"/>
                  </a:lnTo>
                  <a:lnTo>
                    <a:pt x="416827" y="198831"/>
                  </a:lnTo>
                  <a:lnTo>
                    <a:pt x="416827" y="200228"/>
                  </a:lnTo>
                  <a:lnTo>
                    <a:pt x="416827" y="198831"/>
                  </a:lnTo>
                  <a:lnTo>
                    <a:pt x="416827" y="200228"/>
                  </a:lnTo>
                  <a:lnTo>
                    <a:pt x="416878" y="200876"/>
                  </a:lnTo>
                  <a:lnTo>
                    <a:pt x="416878" y="202260"/>
                  </a:lnTo>
                  <a:lnTo>
                    <a:pt x="416878" y="199530"/>
                  </a:lnTo>
                  <a:lnTo>
                    <a:pt x="416878" y="200876"/>
                  </a:lnTo>
                  <a:lnTo>
                    <a:pt x="416929" y="200876"/>
                  </a:lnTo>
                  <a:lnTo>
                    <a:pt x="416929" y="202260"/>
                  </a:lnTo>
                  <a:lnTo>
                    <a:pt x="416929" y="199530"/>
                  </a:lnTo>
                  <a:lnTo>
                    <a:pt x="416929" y="200876"/>
                  </a:lnTo>
                  <a:lnTo>
                    <a:pt x="417018" y="200876"/>
                  </a:lnTo>
                  <a:lnTo>
                    <a:pt x="417018" y="202260"/>
                  </a:lnTo>
                  <a:lnTo>
                    <a:pt x="417068" y="200876"/>
                  </a:lnTo>
                  <a:lnTo>
                    <a:pt x="417068" y="202260"/>
                  </a:lnTo>
                  <a:lnTo>
                    <a:pt x="417068" y="200876"/>
                  </a:lnTo>
                  <a:lnTo>
                    <a:pt x="417068" y="202260"/>
                  </a:lnTo>
                  <a:lnTo>
                    <a:pt x="417119" y="202260"/>
                  </a:lnTo>
                  <a:lnTo>
                    <a:pt x="417119" y="202959"/>
                  </a:lnTo>
                  <a:lnTo>
                    <a:pt x="417119" y="200876"/>
                  </a:lnTo>
                  <a:lnTo>
                    <a:pt x="417119" y="202260"/>
                  </a:lnTo>
                  <a:lnTo>
                    <a:pt x="417170" y="202260"/>
                  </a:lnTo>
                  <a:lnTo>
                    <a:pt x="417170" y="200876"/>
                  </a:lnTo>
                  <a:lnTo>
                    <a:pt x="417170" y="202260"/>
                  </a:lnTo>
                  <a:lnTo>
                    <a:pt x="417170" y="200228"/>
                  </a:lnTo>
                  <a:lnTo>
                    <a:pt x="417272" y="200228"/>
                  </a:lnTo>
                  <a:lnTo>
                    <a:pt x="417272" y="199530"/>
                  </a:lnTo>
                  <a:lnTo>
                    <a:pt x="417272" y="200876"/>
                  </a:lnTo>
                  <a:lnTo>
                    <a:pt x="417322" y="200876"/>
                  </a:lnTo>
                  <a:lnTo>
                    <a:pt x="417322" y="198831"/>
                  </a:lnTo>
                  <a:lnTo>
                    <a:pt x="417322" y="202959"/>
                  </a:lnTo>
                  <a:lnTo>
                    <a:pt x="417373" y="202260"/>
                  </a:lnTo>
                  <a:lnTo>
                    <a:pt x="417373" y="200228"/>
                  </a:lnTo>
                  <a:lnTo>
                    <a:pt x="417373" y="202959"/>
                  </a:lnTo>
                  <a:lnTo>
                    <a:pt x="417373" y="202260"/>
                  </a:lnTo>
                  <a:lnTo>
                    <a:pt x="417373" y="202959"/>
                  </a:lnTo>
                  <a:lnTo>
                    <a:pt x="417475" y="202260"/>
                  </a:lnTo>
                  <a:lnTo>
                    <a:pt x="417475" y="200876"/>
                  </a:lnTo>
                  <a:lnTo>
                    <a:pt x="417475" y="202260"/>
                  </a:lnTo>
                  <a:lnTo>
                    <a:pt x="417475" y="200876"/>
                  </a:lnTo>
                  <a:lnTo>
                    <a:pt x="417475" y="202260"/>
                  </a:lnTo>
                  <a:lnTo>
                    <a:pt x="417513" y="202260"/>
                  </a:lnTo>
                  <a:lnTo>
                    <a:pt x="417513" y="200876"/>
                  </a:lnTo>
                  <a:lnTo>
                    <a:pt x="417513" y="202260"/>
                  </a:lnTo>
                  <a:lnTo>
                    <a:pt x="417513" y="200876"/>
                  </a:lnTo>
                  <a:lnTo>
                    <a:pt x="417564" y="200876"/>
                  </a:lnTo>
                  <a:lnTo>
                    <a:pt x="417564" y="202260"/>
                  </a:lnTo>
                  <a:lnTo>
                    <a:pt x="417564" y="200876"/>
                  </a:lnTo>
                  <a:lnTo>
                    <a:pt x="417564" y="202260"/>
                  </a:lnTo>
                  <a:lnTo>
                    <a:pt x="417564" y="200876"/>
                  </a:lnTo>
                  <a:lnTo>
                    <a:pt x="417564" y="202260"/>
                  </a:lnTo>
                  <a:lnTo>
                    <a:pt x="417564" y="200876"/>
                  </a:lnTo>
                  <a:lnTo>
                    <a:pt x="417564" y="202260"/>
                  </a:lnTo>
                  <a:lnTo>
                    <a:pt x="417564" y="200876"/>
                  </a:lnTo>
                  <a:lnTo>
                    <a:pt x="417564" y="202260"/>
                  </a:lnTo>
                  <a:lnTo>
                    <a:pt x="417615" y="202260"/>
                  </a:lnTo>
                  <a:lnTo>
                    <a:pt x="417615" y="200228"/>
                  </a:lnTo>
                  <a:lnTo>
                    <a:pt x="417615" y="200876"/>
                  </a:lnTo>
                  <a:lnTo>
                    <a:pt x="417716" y="200876"/>
                  </a:lnTo>
                  <a:lnTo>
                    <a:pt x="417716" y="198831"/>
                  </a:lnTo>
                  <a:lnTo>
                    <a:pt x="417716" y="199530"/>
                  </a:lnTo>
                  <a:lnTo>
                    <a:pt x="417767" y="198831"/>
                  </a:lnTo>
                  <a:lnTo>
                    <a:pt x="417767" y="197447"/>
                  </a:lnTo>
                  <a:lnTo>
                    <a:pt x="417767" y="200228"/>
                  </a:lnTo>
                  <a:lnTo>
                    <a:pt x="417767" y="199530"/>
                  </a:lnTo>
                  <a:lnTo>
                    <a:pt x="417767" y="200228"/>
                  </a:lnTo>
                  <a:lnTo>
                    <a:pt x="417767" y="199530"/>
                  </a:lnTo>
                  <a:lnTo>
                    <a:pt x="417818" y="199530"/>
                  </a:lnTo>
                  <a:lnTo>
                    <a:pt x="417818" y="198831"/>
                  </a:lnTo>
                  <a:lnTo>
                    <a:pt x="417818" y="202260"/>
                  </a:lnTo>
                  <a:lnTo>
                    <a:pt x="417818" y="200876"/>
                  </a:lnTo>
                  <a:lnTo>
                    <a:pt x="417919" y="200876"/>
                  </a:lnTo>
                  <a:lnTo>
                    <a:pt x="417919" y="202959"/>
                  </a:lnTo>
                  <a:lnTo>
                    <a:pt x="417919" y="200876"/>
                  </a:lnTo>
                  <a:lnTo>
                    <a:pt x="417970" y="200876"/>
                  </a:lnTo>
                  <a:lnTo>
                    <a:pt x="417970" y="202260"/>
                  </a:lnTo>
                  <a:lnTo>
                    <a:pt x="418021" y="202260"/>
                  </a:lnTo>
                  <a:lnTo>
                    <a:pt x="418021" y="202959"/>
                  </a:lnTo>
                  <a:lnTo>
                    <a:pt x="418021" y="202260"/>
                  </a:lnTo>
                  <a:lnTo>
                    <a:pt x="418021" y="202959"/>
                  </a:lnTo>
                  <a:lnTo>
                    <a:pt x="418021" y="202260"/>
                  </a:lnTo>
                  <a:lnTo>
                    <a:pt x="418021" y="202959"/>
                  </a:lnTo>
                  <a:lnTo>
                    <a:pt x="418059" y="202959"/>
                  </a:lnTo>
                  <a:lnTo>
                    <a:pt x="418059" y="202260"/>
                  </a:lnTo>
                  <a:lnTo>
                    <a:pt x="418059" y="202959"/>
                  </a:lnTo>
                  <a:lnTo>
                    <a:pt x="418059" y="200876"/>
                  </a:lnTo>
                  <a:lnTo>
                    <a:pt x="418161" y="200876"/>
                  </a:lnTo>
                  <a:lnTo>
                    <a:pt x="418161" y="202260"/>
                  </a:lnTo>
                  <a:lnTo>
                    <a:pt x="418161" y="200876"/>
                  </a:lnTo>
                  <a:lnTo>
                    <a:pt x="418161" y="202260"/>
                  </a:lnTo>
                  <a:lnTo>
                    <a:pt x="418161" y="200876"/>
                  </a:lnTo>
                  <a:lnTo>
                    <a:pt x="418212" y="200228"/>
                  </a:lnTo>
                  <a:lnTo>
                    <a:pt x="418212" y="197447"/>
                  </a:lnTo>
                  <a:lnTo>
                    <a:pt x="418262" y="197447"/>
                  </a:lnTo>
                  <a:lnTo>
                    <a:pt x="418262" y="196799"/>
                  </a:lnTo>
                  <a:lnTo>
                    <a:pt x="418262" y="199530"/>
                  </a:lnTo>
                  <a:lnTo>
                    <a:pt x="418262" y="197447"/>
                  </a:lnTo>
                  <a:lnTo>
                    <a:pt x="418262" y="198831"/>
                  </a:lnTo>
                  <a:lnTo>
                    <a:pt x="418364" y="198831"/>
                  </a:lnTo>
                  <a:lnTo>
                    <a:pt x="418364" y="200876"/>
                  </a:lnTo>
                  <a:lnTo>
                    <a:pt x="418364" y="200228"/>
                  </a:lnTo>
                  <a:lnTo>
                    <a:pt x="418364" y="200876"/>
                  </a:lnTo>
                  <a:lnTo>
                    <a:pt x="418364" y="199530"/>
                  </a:lnTo>
                  <a:lnTo>
                    <a:pt x="418364" y="200228"/>
                  </a:lnTo>
                  <a:lnTo>
                    <a:pt x="418415" y="200228"/>
                  </a:lnTo>
                  <a:lnTo>
                    <a:pt x="418415" y="202260"/>
                  </a:lnTo>
                  <a:lnTo>
                    <a:pt x="418415" y="200228"/>
                  </a:lnTo>
                  <a:lnTo>
                    <a:pt x="418415" y="200876"/>
                  </a:lnTo>
                  <a:lnTo>
                    <a:pt x="418466" y="200876"/>
                  </a:lnTo>
                  <a:lnTo>
                    <a:pt x="418466" y="202260"/>
                  </a:lnTo>
                  <a:lnTo>
                    <a:pt x="418466" y="200876"/>
                  </a:lnTo>
                  <a:lnTo>
                    <a:pt x="418466" y="202260"/>
                  </a:lnTo>
                  <a:lnTo>
                    <a:pt x="418466" y="200876"/>
                  </a:lnTo>
                  <a:lnTo>
                    <a:pt x="418466" y="202260"/>
                  </a:lnTo>
                  <a:lnTo>
                    <a:pt x="418516" y="202260"/>
                  </a:lnTo>
                  <a:lnTo>
                    <a:pt x="418516" y="200876"/>
                  </a:lnTo>
                  <a:lnTo>
                    <a:pt x="418516" y="202260"/>
                  </a:lnTo>
                  <a:lnTo>
                    <a:pt x="418656" y="202260"/>
                  </a:lnTo>
                  <a:lnTo>
                    <a:pt x="418656" y="200876"/>
                  </a:lnTo>
                  <a:lnTo>
                    <a:pt x="418656" y="202260"/>
                  </a:lnTo>
                  <a:lnTo>
                    <a:pt x="418656" y="200876"/>
                  </a:lnTo>
                  <a:lnTo>
                    <a:pt x="418656" y="202260"/>
                  </a:lnTo>
                  <a:lnTo>
                    <a:pt x="418656" y="199530"/>
                  </a:lnTo>
                  <a:lnTo>
                    <a:pt x="418707" y="199530"/>
                  </a:lnTo>
                  <a:lnTo>
                    <a:pt x="418707" y="200228"/>
                  </a:lnTo>
                  <a:lnTo>
                    <a:pt x="418707" y="197447"/>
                  </a:lnTo>
                  <a:lnTo>
                    <a:pt x="418707" y="198831"/>
                  </a:lnTo>
                  <a:lnTo>
                    <a:pt x="418707" y="196799"/>
                  </a:lnTo>
                  <a:lnTo>
                    <a:pt x="418758" y="197447"/>
                  </a:lnTo>
                  <a:lnTo>
                    <a:pt x="418758" y="198831"/>
                  </a:lnTo>
                  <a:lnTo>
                    <a:pt x="418758" y="196799"/>
                  </a:lnTo>
                  <a:lnTo>
                    <a:pt x="418758" y="198831"/>
                  </a:lnTo>
                  <a:lnTo>
                    <a:pt x="418859" y="198831"/>
                  </a:lnTo>
                  <a:lnTo>
                    <a:pt x="418859" y="200876"/>
                  </a:lnTo>
                  <a:lnTo>
                    <a:pt x="418859" y="198831"/>
                  </a:lnTo>
                  <a:lnTo>
                    <a:pt x="418859" y="199530"/>
                  </a:lnTo>
                  <a:lnTo>
                    <a:pt x="418859" y="198831"/>
                  </a:lnTo>
                  <a:lnTo>
                    <a:pt x="418859" y="200228"/>
                  </a:lnTo>
                  <a:lnTo>
                    <a:pt x="418859" y="199530"/>
                  </a:lnTo>
                  <a:lnTo>
                    <a:pt x="418910" y="199530"/>
                  </a:lnTo>
                  <a:lnTo>
                    <a:pt x="418910" y="200228"/>
                  </a:lnTo>
                  <a:lnTo>
                    <a:pt x="418910" y="199530"/>
                  </a:lnTo>
                  <a:lnTo>
                    <a:pt x="418910" y="200228"/>
                  </a:lnTo>
                  <a:lnTo>
                    <a:pt x="418910" y="199530"/>
                  </a:lnTo>
                  <a:lnTo>
                    <a:pt x="418961" y="200228"/>
                  </a:lnTo>
                  <a:lnTo>
                    <a:pt x="418961" y="200876"/>
                  </a:lnTo>
                  <a:lnTo>
                    <a:pt x="418961" y="199530"/>
                  </a:lnTo>
                  <a:lnTo>
                    <a:pt x="418961" y="200876"/>
                  </a:lnTo>
                  <a:lnTo>
                    <a:pt x="418961" y="200228"/>
                  </a:lnTo>
                  <a:lnTo>
                    <a:pt x="418961" y="200876"/>
                  </a:lnTo>
                  <a:lnTo>
                    <a:pt x="419062" y="200876"/>
                  </a:lnTo>
                  <a:lnTo>
                    <a:pt x="419062" y="202260"/>
                  </a:lnTo>
                  <a:lnTo>
                    <a:pt x="419062" y="200876"/>
                  </a:lnTo>
                  <a:lnTo>
                    <a:pt x="419062" y="202260"/>
                  </a:lnTo>
                  <a:lnTo>
                    <a:pt x="419101" y="202260"/>
                  </a:lnTo>
                  <a:lnTo>
                    <a:pt x="419101" y="200876"/>
                  </a:lnTo>
                  <a:lnTo>
                    <a:pt x="419101" y="202260"/>
                  </a:lnTo>
                  <a:lnTo>
                    <a:pt x="419101" y="200876"/>
                  </a:lnTo>
                  <a:lnTo>
                    <a:pt x="419101" y="202260"/>
                  </a:lnTo>
                  <a:lnTo>
                    <a:pt x="419101" y="200876"/>
                  </a:lnTo>
                  <a:lnTo>
                    <a:pt x="419151" y="200876"/>
                  </a:lnTo>
                  <a:lnTo>
                    <a:pt x="419151" y="202260"/>
                  </a:lnTo>
                  <a:lnTo>
                    <a:pt x="419151" y="200228"/>
                  </a:lnTo>
                  <a:lnTo>
                    <a:pt x="419151" y="200876"/>
                  </a:lnTo>
                  <a:lnTo>
                    <a:pt x="419151" y="200228"/>
                  </a:lnTo>
                  <a:lnTo>
                    <a:pt x="419151" y="200876"/>
                  </a:lnTo>
                  <a:lnTo>
                    <a:pt x="419151" y="200228"/>
                  </a:lnTo>
                  <a:lnTo>
                    <a:pt x="419151" y="200876"/>
                  </a:lnTo>
                  <a:lnTo>
                    <a:pt x="419151" y="199530"/>
                  </a:lnTo>
                  <a:lnTo>
                    <a:pt x="419202" y="199530"/>
                  </a:lnTo>
                  <a:lnTo>
                    <a:pt x="419202" y="198831"/>
                  </a:lnTo>
                  <a:lnTo>
                    <a:pt x="419202" y="199530"/>
                  </a:lnTo>
                  <a:lnTo>
                    <a:pt x="419202" y="197447"/>
                  </a:lnTo>
                  <a:lnTo>
                    <a:pt x="419202" y="198831"/>
                  </a:lnTo>
                  <a:lnTo>
                    <a:pt x="419304" y="199530"/>
                  </a:lnTo>
                  <a:lnTo>
                    <a:pt x="419304" y="196799"/>
                  </a:lnTo>
                  <a:lnTo>
                    <a:pt x="419304" y="200228"/>
                  </a:lnTo>
                  <a:lnTo>
                    <a:pt x="419355" y="200228"/>
                  </a:lnTo>
                  <a:lnTo>
                    <a:pt x="419355" y="197447"/>
                  </a:lnTo>
                  <a:lnTo>
                    <a:pt x="419355" y="200228"/>
                  </a:lnTo>
                  <a:lnTo>
                    <a:pt x="419405" y="199530"/>
                  </a:lnTo>
                  <a:lnTo>
                    <a:pt x="419405" y="200228"/>
                  </a:lnTo>
                  <a:lnTo>
                    <a:pt x="419405" y="198831"/>
                  </a:lnTo>
                  <a:lnTo>
                    <a:pt x="419405" y="199530"/>
                  </a:lnTo>
                  <a:lnTo>
                    <a:pt x="419507" y="199530"/>
                  </a:lnTo>
                  <a:lnTo>
                    <a:pt x="419507" y="200228"/>
                  </a:lnTo>
                  <a:lnTo>
                    <a:pt x="419558" y="199530"/>
                  </a:lnTo>
                  <a:lnTo>
                    <a:pt x="419558" y="200228"/>
                  </a:lnTo>
                  <a:lnTo>
                    <a:pt x="419558" y="199530"/>
                  </a:lnTo>
                  <a:lnTo>
                    <a:pt x="419558" y="200228"/>
                  </a:lnTo>
                  <a:lnTo>
                    <a:pt x="419608" y="200228"/>
                  </a:lnTo>
                  <a:lnTo>
                    <a:pt x="419608" y="200876"/>
                  </a:lnTo>
                  <a:lnTo>
                    <a:pt x="419608" y="200228"/>
                  </a:lnTo>
                  <a:lnTo>
                    <a:pt x="419647" y="200228"/>
                  </a:lnTo>
                  <a:lnTo>
                    <a:pt x="419647" y="199530"/>
                  </a:lnTo>
                  <a:lnTo>
                    <a:pt x="419647" y="200228"/>
                  </a:lnTo>
                  <a:lnTo>
                    <a:pt x="419647" y="199530"/>
                  </a:lnTo>
                  <a:lnTo>
                    <a:pt x="419748" y="199530"/>
                  </a:lnTo>
                  <a:lnTo>
                    <a:pt x="419748" y="197447"/>
                  </a:lnTo>
                  <a:lnTo>
                    <a:pt x="419748" y="200228"/>
                  </a:lnTo>
                  <a:lnTo>
                    <a:pt x="419748" y="199530"/>
                  </a:lnTo>
                  <a:lnTo>
                    <a:pt x="419799" y="198831"/>
                  </a:lnTo>
                  <a:lnTo>
                    <a:pt x="419799" y="197447"/>
                  </a:lnTo>
                  <a:lnTo>
                    <a:pt x="419799" y="198831"/>
                  </a:lnTo>
                  <a:lnTo>
                    <a:pt x="419799" y="197447"/>
                  </a:lnTo>
                  <a:lnTo>
                    <a:pt x="419799" y="202260"/>
                  </a:lnTo>
                  <a:lnTo>
                    <a:pt x="419799" y="200228"/>
                  </a:lnTo>
                  <a:lnTo>
                    <a:pt x="419850" y="200228"/>
                  </a:lnTo>
                  <a:lnTo>
                    <a:pt x="419850" y="199530"/>
                  </a:lnTo>
                  <a:lnTo>
                    <a:pt x="419850" y="200876"/>
                  </a:lnTo>
                  <a:lnTo>
                    <a:pt x="419850" y="200228"/>
                  </a:lnTo>
                  <a:lnTo>
                    <a:pt x="419951" y="200228"/>
                  </a:lnTo>
                  <a:lnTo>
                    <a:pt x="419951" y="200876"/>
                  </a:lnTo>
                  <a:lnTo>
                    <a:pt x="419951" y="199530"/>
                  </a:lnTo>
                  <a:lnTo>
                    <a:pt x="420002" y="200228"/>
                  </a:lnTo>
                  <a:lnTo>
                    <a:pt x="420002" y="200876"/>
                  </a:lnTo>
                  <a:lnTo>
                    <a:pt x="420002" y="200228"/>
                  </a:lnTo>
                  <a:lnTo>
                    <a:pt x="420002" y="200876"/>
                  </a:lnTo>
                  <a:lnTo>
                    <a:pt x="420104" y="200876"/>
                  </a:lnTo>
                  <a:lnTo>
                    <a:pt x="420104" y="200228"/>
                  </a:lnTo>
                  <a:lnTo>
                    <a:pt x="420104" y="200876"/>
                  </a:lnTo>
                  <a:lnTo>
                    <a:pt x="420104" y="200228"/>
                  </a:lnTo>
                  <a:lnTo>
                    <a:pt x="420104" y="200876"/>
                  </a:lnTo>
                  <a:lnTo>
                    <a:pt x="420104" y="200228"/>
                  </a:lnTo>
                  <a:lnTo>
                    <a:pt x="420193" y="200228"/>
                  </a:lnTo>
                  <a:lnTo>
                    <a:pt x="420193" y="197447"/>
                  </a:lnTo>
                  <a:lnTo>
                    <a:pt x="420243" y="197447"/>
                  </a:lnTo>
                  <a:lnTo>
                    <a:pt x="420243" y="198831"/>
                  </a:lnTo>
                  <a:lnTo>
                    <a:pt x="420243" y="197447"/>
                  </a:lnTo>
                  <a:lnTo>
                    <a:pt x="420243" y="200228"/>
                  </a:lnTo>
                  <a:lnTo>
                    <a:pt x="420243" y="198831"/>
                  </a:lnTo>
                  <a:lnTo>
                    <a:pt x="420294" y="198831"/>
                  </a:lnTo>
                  <a:lnTo>
                    <a:pt x="420294" y="197447"/>
                  </a:lnTo>
                  <a:lnTo>
                    <a:pt x="420294" y="200876"/>
                  </a:lnTo>
                  <a:lnTo>
                    <a:pt x="420294" y="199530"/>
                  </a:lnTo>
                  <a:lnTo>
                    <a:pt x="420345" y="199530"/>
                  </a:lnTo>
                  <a:lnTo>
                    <a:pt x="420345" y="200876"/>
                  </a:lnTo>
                  <a:lnTo>
                    <a:pt x="420345" y="200228"/>
                  </a:lnTo>
                  <a:lnTo>
                    <a:pt x="420345" y="200876"/>
                  </a:lnTo>
                  <a:lnTo>
                    <a:pt x="420345" y="200228"/>
                  </a:lnTo>
                  <a:lnTo>
                    <a:pt x="420447" y="200228"/>
                  </a:lnTo>
                  <a:lnTo>
                    <a:pt x="420447" y="200876"/>
                  </a:lnTo>
                  <a:lnTo>
                    <a:pt x="420497" y="200228"/>
                  </a:lnTo>
                  <a:lnTo>
                    <a:pt x="420497" y="202260"/>
                  </a:lnTo>
                  <a:lnTo>
                    <a:pt x="420497" y="200228"/>
                  </a:lnTo>
                  <a:lnTo>
                    <a:pt x="420497" y="200876"/>
                  </a:lnTo>
                  <a:lnTo>
                    <a:pt x="420548" y="200876"/>
                  </a:lnTo>
                  <a:lnTo>
                    <a:pt x="420548" y="200228"/>
                  </a:lnTo>
                  <a:lnTo>
                    <a:pt x="420548" y="200876"/>
                  </a:lnTo>
                  <a:lnTo>
                    <a:pt x="420548" y="200228"/>
                  </a:lnTo>
                  <a:lnTo>
                    <a:pt x="420548" y="200876"/>
                  </a:lnTo>
                  <a:lnTo>
                    <a:pt x="420650" y="200876"/>
                  </a:lnTo>
                  <a:lnTo>
                    <a:pt x="420650" y="200228"/>
                  </a:lnTo>
                  <a:lnTo>
                    <a:pt x="420688" y="200228"/>
                  </a:lnTo>
                  <a:lnTo>
                    <a:pt x="420688" y="196799"/>
                  </a:lnTo>
                  <a:lnTo>
                    <a:pt x="420739" y="196799"/>
                  </a:lnTo>
                  <a:lnTo>
                    <a:pt x="420739" y="196113"/>
                  </a:lnTo>
                  <a:lnTo>
                    <a:pt x="420739" y="199530"/>
                  </a:lnTo>
                  <a:lnTo>
                    <a:pt x="420739" y="196799"/>
                  </a:lnTo>
                  <a:lnTo>
                    <a:pt x="420790" y="197447"/>
                  </a:lnTo>
                  <a:lnTo>
                    <a:pt x="420790" y="200228"/>
                  </a:lnTo>
                  <a:lnTo>
                    <a:pt x="420790" y="198831"/>
                  </a:lnTo>
                  <a:lnTo>
                    <a:pt x="420790" y="200228"/>
                  </a:lnTo>
                  <a:lnTo>
                    <a:pt x="420891" y="200228"/>
                  </a:lnTo>
                  <a:lnTo>
                    <a:pt x="420891" y="199530"/>
                  </a:lnTo>
                  <a:lnTo>
                    <a:pt x="420891" y="200228"/>
                  </a:lnTo>
                  <a:lnTo>
                    <a:pt x="420942" y="200228"/>
                  </a:lnTo>
                  <a:lnTo>
                    <a:pt x="420942" y="200876"/>
                  </a:lnTo>
                  <a:lnTo>
                    <a:pt x="420942" y="200228"/>
                  </a:lnTo>
                  <a:lnTo>
                    <a:pt x="420942" y="200876"/>
                  </a:lnTo>
                  <a:lnTo>
                    <a:pt x="420942" y="200228"/>
                  </a:lnTo>
                  <a:lnTo>
                    <a:pt x="420942" y="200876"/>
                  </a:lnTo>
                  <a:lnTo>
                    <a:pt x="420942" y="200228"/>
                  </a:lnTo>
                  <a:lnTo>
                    <a:pt x="420942" y="200876"/>
                  </a:lnTo>
                  <a:lnTo>
                    <a:pt x="420993" y="200876"/>
                  </a:lnTo>
                  <a:lnTo>
                    <a:pt x="420993" y="200228"/>
                  </a:lnTo>
                  <a:lnTo>
                    <a:pt x="420993" y="202260"/>
                  </a:lnTo>
                  <a:lnTo>
                    <a:pt x="420993" y="200876"/>
                  </a:lnTo>
                  <a:lnTo>
                    <a:pt x="421145" y="200876"/>
                  </a:lnTo>
                  <a:lnTo>
                    <a:pt x="421145" y="200228"/>
                  </a:lnTo>
                  <a:lnTo>
                    <a:pt x="421145" y="200876"/>
                  </a:lnTo>
                  <a:lnTo>
                    <a:pt x="421145" y="200228"/>
                  </a:lnTo>
                  <a:lnTo>
                    <a:pt x="421145" y="200876"/>
                  </a:lnTo>
                  <a:lnTo>
                    <a:pt x="421145" y="199530"/>
                  </a:lnTo>
                  <a:lnTo>
                    <a:pt x="421196" y="199530"/>
                  </a:lnTo>
                  <a:lnTo>
                    <a:pt x="421196" y="200228"/>
                  </a:lnTo>
                  <a:lnTo>
                    <a:pt x="421196" y="196799"/>
                  </a:lnTo>
                  <a:lnTo>
                    <a:pt x="421196" y="199530"/>
                  </a:lnTo>
                  <a:lnTo>
                    <a:pt x="421234" y="199530"/>
                  </a:lnTo>
                  <a:lnTo>
                    <a:pt x="421234" y="197447"/>
                  </a:lnTo>
                  <a:lnTo>
                    <a:pt x="421234" y="200876"/>
                  </a:lnTo>
                  <a:lnTo>
                    <a:pt x="421336" y="200876"/>
                  </a:lnTo>
                  <a:lnTo>
                    <a:pt x="421336" y="199530"/>
                  </a:lnTo>
                  <a:lnTo>
                    <a:pt x="421336" y="200876"/>
                  </a:lnTo>
                  <a:lnTo>
                    <a:pt x="421336" y="200228"/>
                  </a:lnTo>
                  <a:lnTo>
                    <a:pt x="421437" y="200228"/>
                  </a:lnTo>
                  <a:lnTo>
                    <a:pt x="421437" y="200876"/>
                  </a:lnTo>
                  <a:lnTo>
                    <a:pt x="421437" y="200228"/>
                  </a:lnTo>
                  <a:lnTo>
                    <a:pt x="421437" y="200876"/>
                  </a:lnTo>
                  <a:lnTo>
                    <a:pt x="421437" y="200228"/>
                  </a:lnTo>
                  <a:lnTo>
                    <a:pt x="421437" y="200876"/>
                  </a:lnTo>
                  <a:lnTo>
                    <a:pt x="421539" y="200876"/>
                  </a:lnTo>
                  <a:lnTo>
                    <a:pt x="421539" y="202260"/>
                  </a:lnTo>
                  <a:lnTo>
                    <a:pt x="421539" y="200876"/>
                  </a:lnTo>
                  <a:lnTo>
                    <a:pt x="421539" y="202260"/>
                  </a:lnTo>
                  <a:lnTo>
                    <a:pt x="421539" y="200876"/>
                  </a:lnTo>
                  <a:lnTo>
                    <a:pt x="421590" y="200876"/>
                  </a:lnTo>
                  <a:lnTo>
                    <a:pt x="421590" y="200228"/>
                  </a:lnTo>
                  <a:lnTo>
                    <a:pt x="421641" y="200228"/>
                  </a:lnTo>
                  <a:lnTo>
                    <a:pt x="421641" y="199530"/>
                  </a:lnTo>
                  <a:lnTo>
                    <a:pt x="421641" y="200228"/>
                  </a:lnTo>
                  <a:lnTo>
                    <a:pt x="421641" y="198831"/>
                  </a:lnTo>
                  <a:lnTo>
                    <a:pt x="421691" y="198831"/>
                  </a:lnTo>
                  <a:lnTo>
                    <a:pt x="421691" y="196113"/>
                  </a:lnTo>
                  <a:lnTo>
                    <a:pt x="421691" y="196799"/>
                  </a:lnTo>
                  <a:lnTo>
                    <a:pt x="421691" y="196113"/>
                  </a:lnTo>
                  <a:lnTo>
                    <a:pt x="421691" y="196799"/>
                  </a:lnTo>
                  <a:lnTo>
                    <a:pt x="421780" y="196799"/>
                  </a:lnTo>
                  <a:lnTo>
                    <a:pt x="421780" y="198831"/>
                  </a:lnTo>
                  <a:lnTo>
                    <a:pt x="421780" y="196799"/>
                  </a:lnTo>
                  <a:lnTo>
                    <a:pt x="421780" y="197447"/>
                  </a:lnTo>
                  <a:lnTo>
                    <a:pt x="421831" y="198831"/>
                  </a:lnTo>
                  <a:lnTo>
                    <a:pt x="421831" y="199530"/>
                  </a:lnTo>
                  <a:lnTo>
                    <a:pt x="421831" y="198831"/>
                  </a:lnTo>
                  <a:lnTo>
                    <a:pt x="421882" y="198831"/>
                  </a:lnTo>
                  <a:lnTo>
                    <a:pt x="421882" y="200228"/>
                  </a:lnTo>
                  <a:lnTo>
                    <a:pt x="421933" y="200228"/>
                  </a:lnTo>
                  <a:lnTo>
                    <a:pt x="421933" y="199530"/>
                  </a:lnTo>
                  <a:lnTo>
                    <a:pt x="421933" y="200228"/>
                  </a:lnTo>
                  <a:lnTo>
                    <a:pt x="421933" y="199530"/>
                  </a:lnTo>
                  <a:lnTo>
                    <a:pt x="421933" y="200876"/>
                  </a:lnTo>
                  <a:lnTo>
                    <a:pt x="422034" y="200876"/>
                  </a:lnTo>
                  <a:lnTo>
                    <a:pt x="422034" y="200228"/>
                  </a:lnTo>
                  <a:lnTo>
                    <a:pt x="422034" y="202260"/>
                  </a:lnTo>
                  <a:lnTo>
                    <a:pt x="422034" y="200876"/>
                  </a:lnTo>
                  <a:lnTo>
                    <a:pt x="422034" y="202260"/>
                  </a:lnTo>
                  <a:lnTo>
                    <a:pt x="422085" y="200876"/>
                  </a:lnTo>
                  <a:lnTo>
                    <a:pt x="422085" y="200228"/>
                  </a:lnTo>
                  <a:lnTo>
                    <a:pt x="422085" y="200876"/>
                  </a:lnTo>
                  <a:lnTo>
                    <a:pt x="422136" y="200876"/>
                  </a:lnTo>
                  <a:lnTo>
                    <a:pt x="422136" y="199530"/>
                  </a:lnTo>
                  <a:lnTo>
                    <a:pt x="422136" y="200228"/>
                  </a:lnTo>
                  <a:lnTo>
                    <a:pt x="422136" y="199530"/>
                  </a:lnTo>
                  <a:lnTo>
                    <a:pt x="422136" y="200228"/>
                  </a:lnTo>
                  <a:lnTo>
                    <a:pt x="422136" y="199530"/>
                  </a:lnTo>
                  <a:lnTo>
                    <a:pt x="422237" y="199530"/>
                  </a:lnTo>
                  <a:lnTo>
                    <a:pt x="422237" y="197447"/>
                  </a:lnTo>
                  <a:lnTo>
                    <a:pt x="422237" y="198831"/>
                  </a:lnTo>
                  <a:lnTo>
                    <a:pt x="422237" y="196799"/>
                  </a:lnTo>
                  <a:lnTo>
                    <a:pt x="422276" y="196799"/>
                  </a:lnTo>
                  <a:lnTo>
                    <a:pt x="422276" y="198831"/>
                  </a:lnTo>
                  <a:lnTo>
                    <a:pt x="422276" y="196799"/>
                  </a:lnTo>
                  <a:lnTo>
                    <a:pt x="422276" y="198831"/>
                  </a:lnTo>
                  <a:lnTo>
                    <a:pt x="422326" y="198831"/>
                  </a:lnTo>
                  <a:lnTo>
                    <a:pt x="422326" y="199530"/>
                  </a:lnTo>
                  <a:lnTo>
                    <a:pt x="422326" y="197447"/>
                  </a:lnTo>
                  <a:lnTo>
                    <a:pt x="422326" y="198831"/>
                  </a:lnTo>
                  <a:lnTo>
                    <a:pt x="422377" y="198831"/>
                  </a:lnTo>
                  <a:lnTo>
                    <a:pt x="422377" y="199530"/>
                  </a:lnTo>
                  <a:lnTo>
                    <a:pt x="422479" y="199530"/>
                  </a:lnTo>
                  <a:lnTo>
                    <a:pt x="422479" y="198831"/>
                  </a:lnTo>
                  <a:lnTo>
                    <a:pt x="422479" y="199530"/>
                  </a:lnTo>
                  <a:lnTo>
                    <a:pt x="422479" y="198831"/>
                  </a:lnTo>
                  <a:lnTo>
                    <a:pt x="422479" y="199530"/>
                  </a:lnTo>
                  <a:lnTo>
                    <a:pt x="422479" y="198831"/>
                  </a:lnTo>
                  <a:lnTo>
                    <a:pt x="422479" y="200228"/>
                  </a:lnTo>
                  <a:lnTo>
                    <a:pt x="422530" y="200228"/>
                  </a:lnTo>
                  <a:lnTo>
                    <a:pt x="422530" y="199530"/>
                  </a:lnTo>
                  <a:lnTo>
                    <a:pt x="422530" y="200228"/>
                  </a:lnTo>
                  <a:lnTo>
                    <a:pt x="422530" y="199530"/>
                  </a:lnTo>
                  <a:lnTo>
                    <a:pt x="422530" y="200876"/>
                  </a:lnTo>
                  <a:lnTo>
                    <a:pt x="422530" y="200228"/>
                  </a:lnTo>
                  <a:lnTo>
                    <a:pt x="422530" y="200876"/>
                  </a:lnTo>
                  <a:lnTo>
                    <a:pt x="422580" y="200876"/>
                  </a:lnTo>
                  <a:lnTo>
                    <a:pt x="422580" y="199530"/>
                  </a:lnTo>
                  <a:lnTo>
                    <a:pt x="422580" y="200228"/>
                  </a:lnTo>
                  <a:lnTo>
                    <a:pt x="422580" y="199530"/>
                  </a:lnTo>
                  <a:lnTo>
                    <a:pt x="422580" y="200228"/>
                  </a:lnTo>
                  <a:lnTo>
                    <a:pt x="422682" y="200228"/>
                  </a:lnTo>
                  <a:lnTo>
                    <a:pt x="422682" y="199530"/>
                  </a:lnTo>
                  <a:lnTo>
                    <a:pt x="422682" y="200228"/>
                  </a:lnTo>
                  <a:lnTo>
                    <a:pt x="422682" y="199530"/>
                  </a:lnTo>
                  <a:lnTo>
                    <a:pt x="422682" y="200228"/>
                  </a:lnTo>
                  <a:lnTo>
                    <a:pt x="422682" y="199530"/>
                  </a:lnTo>
                  <a:lnTo>
                    <a:pt x="422733" y="198831"/>
                  </a:lnTo>
                  <a:lnTo>
                    <a:pt x="422733" y="200228"/>
                  </a:lnTo>
                  <a:lnTo>
                    <a:pt x="422733" y="198831"/>
                  </a:lnTo>
                  <a:lnTo>
                    <a:pt x="422733" y="199530"/>
                  </a:lnTo>
                  <a:lnTo>
                    <a:pt x="422783" y="199530"/>
                  </a:lnTo>
                  <a:lnTo>
                    <a:pt x="422783" y="200876"/>
                  </a:lnTo>
                  <a:lnTo>
                    <a:pt x="422783" y="200228"/>
                  </a:lnTo>
                  <a:lnTo>
                    <a:pt x="422822" y="200228"/>
                  </a:lnTo>
                  <a:lnTo>
                    <a:pt x="422822" y="202260"/>
                  </a:lnTo>
                  <a:lnTo>
                    <a:pt x="422822" y="200228"/>
                  </a:lnTo>
                  <a:lnTo>
                    <a:pt x="422822" y="200876"/>
                  </a:lnTo>
                  <a:lnTo>
                    <a:pt x="422822" y="200228"/>
                  </a:lnTo>
                  <a:lnTo>
                    <a:pt x="422923" y="200228"/>
                  </a:lnTo>
                  <a:lnTo>
                    <a:pt x="422923" y="200876"/>
                  </a:lnTo>
                  <a:lnTo>
                    <a:pt x="422923" y="200228"/>
                  </a:lnTo>
                  <a:lnTo>
                    <a:pt x="422923" y="200876"/>
                  </a:lnTo>
                  <a:lnTo>
                    <a:pt x="422974" y="200228"/>
                  </a:lnTo>
                  <a:lnTo>
                    <a:pt x="422974" y="200876"/>
                  </a:lnTo>
                  <a:lnTo>
                    <a:pt x="423025" y="200876"/>
                  </a:lnTo>
                  <a:lnTo>
                    <a:pt x="423025" y="200228"/>
                  </a:lnTo>
                  <a:lnTo>
                    <a:pt x="423025" y="200876"/>
                  </a:lnTo>
                  <a:lnTo>
                    <a:pt x="423025" y="200228"/>
                  </a:lnTo>
                  <a:lnTo>
                    <a:pt x="423025" y="200876"/>
                  </a:lnTo>
                  <a:lnTo>
                    <a:pt x="423025" y="200228"/>
                  </a:lnTo>
                  <a:lnTo>
                    <a:pt x="423025" y="200876"/>
                  </a:lnTo>
                  <a:lnTo>
                    <a:pt x="423025" y="200228"/>
                  </a:lnTo>
                  <a:lnTo>
                    <a:pt x="423126" y="200876"/>
                  </a:lnTo>
                  <a:lnTo>
                    <a:pt x="423126" y="200228"/>
                  </a:lnTo>
                  <a:lnTo>
                    <a:pt x="423177" y="200228"/>
                  </a:lnTo>
                  <a:lnTo>
                    <a:pt x="423177" y="198831"/>
                  </a:lnTo>
                  <a:lnTo>
                    <a:pt x="423177" y="199530"/>
                  </a:lnTo>
                  <a:lnTo>
                    <a:pt x="423177" y="198831"/>
                  </a:lnTo>
                  <a:lnTo>
                    <a:pt x="423177" y="199530"/>
                  </a:lnTo>
                  <a:lnTo>
                    <a:pt x="423177" y="198831"/>
                  </a:lnTo>
                  <a:lnTo>
                    <a:pt x="423228" y="197447"/>
                  </a:lnTo>
                  <a:lnTo>
                    <a:pt x="423228" y="198831"/>
                  </a:lnTo>
                  <a:lnTo>
                    <a:pt x="423228" y="197447"/>
                  </a:lnTo>
                  <a:lnTo>
                    <a:pt x="423228" y="200228"/>
                  </a:lnTo>
                  <a:lnTo>
                    <a:pt x="423228" y="198831"/>
                  </a:lnTo>
                  <a:lnTo>
                    <a:pt x="423228" y="199530"/>
                  </a:lnTo>
                  <a:lnTo>
                    <a:pt x="423279" y="199530"/>
                  </a:lnTo>
                  <a:lnTo>
                    <a:pt x="423279" y="202260"/>
                  </a:lnTo>
                  <a:lnTo>
                    <a:pt x="423279" y="200228"/>
                  </a:lnTo>
                  <a:lnTo>
                    <a:pt x="423279" y="200876"/>
                  </a:lnTo>
                  <a:lnTo>
                    <a:pt x="423368" y="200876"/>
                  </a:lnTo>
                  <a:lnTo>
                    <a:pt x="423368" y="202260"/>
                  </a:lnTo>
                  <a:lnTo>
                    <a:pt x="423368" y="200876"/>
                  </a:lnTo>
                  <a:lnTo>
                    <a:pt x="423368" y="202260"/>
                  </a:lnTo>
                  <a:lnTo>
                    <a:pt x="423368" y="200876"/>
                  </a:lnTo>
                  <a:lnTo>
                    <a:pt x="423418" y="200876"/>
                  </a:lnTo>
                  <a:lnTo>
                    <a:pt x="423418" y="202260"/>
                  </a:lnTo>
                  <a:lnTo>
                    <a:pt x="423418" y="200876"/>
                  </a:lnTo>
                  <a:lnTo>
                    <a:pt x="423418" y="202260"/>
                  </a:lnTo>
                  <a:lnTo>
                    <a:pt x="423418" y="200876"/>
                  </a:lnTo>
                  <a:lnTo>
                    <a:pt x="423418" y="202959"/>
                  </a:lnTo>
                  <a:lnTo>
                    <a:pt x="423418" y="202260"/>
                  </a:lnTo>
                  <a:lnTo>
                    <a:pt x="423469" y="202260"/>
                  </a:lnTo>
                  <a:lnTo>
                    <a:pt x="423469" y="200876"/>
                  </a:lnTo>
                  <a:lnTo>
                    <a:pt x="423469" y="202260"/>
                  </a:lnTo>
                  <a:lnTo>
                    <a:pt x="423469" y="200876"/>
                  </a:lnTo>
                  <a:lnTo>
                    <a:pt x="423520" y="200876"/>
                  </a:lnTo>
                  <a:lnTo>
                    <a:pt x="423520" y="200228"/>
                  </a:lnTo>
                  <a:lnTo>
                    <a:pt x="423520" y="200876"/>
                  </a:lnTo>
                  <a:lnTo>
                    <a:pt x="423520" y="200228"/>
                  </a:lnTo>
                  <a:lnTo>
                    <a:pt x="423520" y="200876"/>
                  </a:lnTo>
                  <a:lnTo>
                    <a:pt x="423520" y="200228"/>
                  </a:lnTo>
                  <a:lnTo>
                    <a:pt x="423622" y="200228"/>
                  </a:lnTo>
                  <a:lnTo>
                    <a:pt x="423622" y="199530"/>
                  </a:lnTo>
                  <a:lnTo>
                    <a:pt x="423622" y="200228"/>
                  </a:lnTo>
                  <a:lnTo>
                    <a:pt x="423622" y="198831"/>
                  </a:lnTo>
                  <a:lnTo>
                    <a:pt x="423622" y="199530"/>
                  </a:lnTo>
                  <a:lnTo>
                    <a:pt x="423672" y="199530"/>
                  </a:lnTo>
                  <a:lnTo>
                    <a:pt x="423672" y="197447"/>
                  </a:lnTo>
                  <a:lnTo>
                    <a:pt x="423672" y="198831"/>
                  </a:lnTo>
                  <a:lnTo>
                    <a:pt x="423672" y="197447"/>
                  </a:lnTo>
                  <a:lnTo>
                    <a:pt x="423672" y="198831"/>
                  </a:lnTo>
                  <a:lnTo>
                    <a:pt x="423672" y="197447"/>
                  </a:lnTo>
                  <a:lnTo>
                    <a:pt x="423672" y="198831"/>
                  </a:lnTo>
                  <a:lnTo>
                    <a:pt x="423672" y="196799"/>
                  </a:lnTo>
                  <a:lnTo>
                    <a:pt x="423672" y="197447"/>
                  </a:lnTo>
                  <a:lnTo>
                    <a:pt x="423723" y="196799"/>
                  </a:lnTo>
                  <a:lnTo>
                    <a:pt x="423723" y="198831"/>
                  </a:lnTo>
                  <a:lnTo>
                    <a:pt x="423723" y="196799"/>
                  </a:lnTo>
                  <a:lnTo>
                    <a:pt x="423723" y="198831"/>
                  </a:lnTo>
                  <a:lnTo>
                    <a:pt x="423825" y="199530"/>
                  </a:lnTo>
                  <a:lnTo>
                    <a:pt x="423825" y="200228"/>
                  </a:lnTo>
                  <a:lnTo>
                    <a:pt x="423825" y="199530"/>
                  </a:lnTo>
                  <a:lnTo>
                    <a:pt x="423825" y="200228"/>
                  </a:lnTo>
                  <a:lnTo>
                    <a:pt x="423863" y="200228"/>
                  </a:lnTo>
                  <a:lnTo>
                    <a:pt x="423863" y="199530"/>
                  </a:lnTo>
                  <a:lnTo>
                    <a:pt x="423863" y="200876"/>
                  </a:lnTo>
                  <a:lnTo>
                    <a:pt x="423914" y="200876"/>
                  </a:lnTo>
                  <a:lnTo>
                    <a:pt x="423914" y="202260"/>
                  </a:lnTo>
                  <a:lnTo>
                    <a:pt x="423965" y="202260"/>
                  </a:lnTo>
                  <a:lnTo>
                    <a:pt x="423965" y="200876"/>
                  </a:lnTo>
                  <a:lnTo>
                    <a:pt x="423965" y="202260"/>
                  </a:lnTo>
                  <a:lnTo>
                    <a:pt x="423965" y="200876"/>
                  </a:lnTo>
                  <a:lnTo>
                    <a:pt x="423965" y="202260"/>
                  </a:lnTo>
                  <a:lnTo>
                    <a:pt x="423965" y="200876"/>
                  </a:lnTo>
                  <a:lnTo>
                    <a:pt x="423965" y="202260"/>
                  </a:lnTo>
                  <a:lnTo>
                    <a:pt x="424066" y="202260"/>
                  </a:lnTo>
                  <a:lnTo>
                    <a:pt x="424066" y="200876"/>
                  </a:lnTo>
                  <a:lnTo>
                    <a:pt x="424066" y="202260"/>
                  </a:lnTo>
                  <a:lnTo>
                    <a:pt x="424066" y="200876"/>
                  </a:lnTo>
                  <a:lnTo>
                    <a:pt x="424066" y="202260"/>
                  </a:lnTo>
                  <a:lnTo>
                    <a:pt x="424066" y="200228"/>
                  </a:lnTo>
                  <a:lnTo>
                    <a:pt x="424066" y="200876"/>
                  </a:lnTo>
                  <a:lnTo>
                    <a:pt x="424117" y="200876"/>
                  </a:lnTo>
                  <a:lnTo>
                    <a:pt x="424117" y="200228"/>
                  </a:lnTo>
                  <a:lnTo>
                    <a:pt x="424117" y="200876"/>
                  </a:lnTo>
                  <a:lnTo>
                    <a:pt x="424117" y="199530"/>
                  </a:lnTo>
                  <a:lnTo>
                    <a:pt x="424168" y="199530"/>
                  </a:lnTo>
                  <a:lnTo>
                    <a:pt x="424168" y="198831"/>
                  </a:lnTo>
                  <a:lnTo>
                    <a:pt x="424168" y="199530"/>
                  </a:lnTo>
                  <a:lnTo>
                    <a:pt x="424168" y="198831"/>
                  </a:lnTo>
                  <a:lnTo>
                    <a:pt x="424168" y="199530"/>
                  </a:lnTo>
                  <a:lnTo>
                    <a:pt x="424168" y="196799"/>
                  </a:lnTo>
                  <a:lnTo>
                    <a:pt x="424168" y="197447"/>
                  </a:lnTo>
                  <a:lnTo>
                    <a:pt x="424269" y="198831"/>
                  </a:lnTo>
                  <a:lnTo>
                    <a:pt x="424269" y="199530"/>
                  </a:lnTo>
                  <a:lnTo>
                    <a:pt x="424269" y="197447"/>
                  </a:lnTo>
                  <a:lnTo>
                    <a:pt x="424269" y="200228"/>
                  </a:lnTo>
                  <a:lnTo>
                    <a:pt x="424320" y="200228"/>
                  </a:lnTo>
                  <a:lnTo>
                    <a:pt x="424320" y="198831"/>
                  </a:lnTo>
                  <a:lnTo>
                    <a:pt x="424320" y="200228"/>
                  </a:lnTo>
                  <a:lnTo>
                    <a:pt x="424371" y="200228"/>
                  </a:lnTo>
                  <a:lnTo>
                    <a:pt x="424371" y="199530"/>
                  </a:lnTo>
                  <a:lnTo>
                    <a:pt x="424371" y="200228"/>
                  </a:lnTo>
                  <a:lnTo>
                    <a:pt x="424409" y="200228"/>
                  </a:lnTo>
                  <a:lnTo>
                    <a:pt x="424409" y="200876"/>
                  </a:lnTo>
                  <a:lnTo>
                    <a:pt x="424409" y="200228"/>
                  </a:lnTo>
                  <a:lnTo>
                    <a:pt x="424409" y="200876"/>
                  </a:lnTo>
                  <a:lnTo>
                    <a:pt x="424511" y="200876"/>
                  </a:lnTo>
                  <a:lnTo>
                    <a:pt x="424511" y="200228"/>
                  </a:lnTo>
                  <a:lnTo>
                    <a:pt x="424511" y="202260"/>
                  </a:lnTo>
                  <a:lnTo>
                    <a:pt x="424511" y="200876"/>
                  </a:lnTo>
                  <a:lnTo>
                    <a:pt x="424562" y="200876"/>
                  </a:lnTo>
                  <a:lnTo>
                    <a:pt x="424562" y="200228"/>
                  </a:lnTo>
                  <a:lnTo>
                    <a:pt x="424562" y="200876"/>
                  </a:lnTo>
                  <a:lnTo>
                    <a:pt x="424562" y="200228"/>
                  </a:lnTo>
                  <a:lnTo>
                    <a:pt x="424562" y="200876"/>
                  </a:lnTo>
                  <a:lnTo>
                    <a:pt x="424562" y="200228"/>
                  </a:lnTo>
                  <a:lnTo>
                    <a:pt x="424612" y="200228"/>
                  </a:lnTo>
                  <a:lnTo>
                    <a:pt x="424612" y="199530"/>
                  </a:lnTo>
                  <a:lnTo>
                    <a:pt x="424714" y="199530"/>
                  </a:lnTo>
                  <a:lnTo>
                    <a:pt x="424714" y="197447"/>
                  </a:lnTo>
                  <a:lnTo>
                    <a:pt x="424714" y="198831"/>
                  </a:lnTo>
                  <a:lnTo>
                    <a:pt x="424714" y="197447"/>
                  </a:lnTo>
                  <a:lnTo>
                    <a:pt x="424765" y="197447"/>
                  </a:lnTo>
                  <a:lnTo>
                    <a:pt x="424765" y="198831"/>
                  </a:lnTo>
                  <a:lnTo>
                    <a:pt x="424765" y="197447"/>
                  </a:lnTo>
                  <a:lnTo>
                    <a:pt x="424765" y="200228"/>
                  </a:lnTo>
                  <a:lnTo>
                    <a:pt x="424765" y="199530"/>
                  </a:lnTo>
                  <a:lnTo>
                    <a:pt x="424816" y="199530"/>
                  </a:lnTo>
                  <a:lnTo>
                    <a:pt x="424816" y="200228"/>
                  </a:lnTo>
                  <a:lnTo>
                    <a:pt x="424816" y="199530"/>
                  </a:lnTo>
                  <a:lnTo>
                    <a:pt x="424816" y="200228"/>
                  </a:lnTo>
                  <a:lnTo>
                    <a:pt x="424866" y="199530"/>
                  </a:lnTo>
                  <a:lnTo>
                    <a:pt x="424866" y="200876"/>
                  </a:lnTo>
                  <a:lnTo>
                    <a:pt x="424866" y="200228"/>
                  </a:lnTo>
                  <a:lnTo>
                    <a:pt x="424955" y="200228"/>
                  </a:lnTo>
                  <a:lnTo>
                    <a:pt x="424955" y="200876"/>
                  </a:lnTo>
                  <a:lnTo>
                    <a:pt x="424955" y="200228"/>
                  </a:lnTo>
                  <a:lnTo>
                    <a:pt x="424955" y="200876"/>
                  </a:lnTo>
                  <a:lnTo>
                    <a:pt x="424955" y="200228"/>
                  </a:lnTo>
                  <a:lnTo>
                    <a:pt x="425006" y="200228"/>
                  </a:lnTo>
                  <a:lnTo>
                    <a:pt x="425006" y="200876"/>
                  </a:lnTo>
                  <a:lnTo>
                    <a:pt x="425006" y="200228"/>
                  </a:lnTo>
                  <a:lnTo>
                    <a:pt x="425006" y="200876"/>
                  </a:lnTo>
                  <a:lnTo>
                    <a:pt x="425006" y="200228"/>
                  </a:lnTo>
                  <a:lnTo>
                    <a:pt x="425006" y="200876"/>
                  </a:lnTo>
                  <a:lnTo>
                    <a:pt x="425057" y="200876"/>
                  </a:lnTo>
                  <a:lnTo>
                    <a:pt x="425057" y="200228"/>
                  </a:lnTo>
                  <a:lnTo>
                    <a:pt x="425057" y="200876"/>
                  </a:lnTo>
                  <a:lnTo>
                    <a:pt x="425057" y="200228"/>
                  </a:lnTo>
                  <a:lnTo>
                    <a:pt x="425108" y="199530"/>
                  </a:lnTo>
                  <a:lnTo>
                    <a:pt x="425108" y="200228"/>
                  </a:lnTo>
                  <a:lnTo>
                    <a:pt x="425108" y="199530"/>
                  </a:lnTo>
                  <a:lnTo>
                    <a:pt x="425108" y="200228"/>
                  </a:lnTo>
                  <a:lnTo>
                    <a:pt x="425108" y="198831"/>
                  </a:lnTo>
                  <a:lnTo>
                    <a:pt x="425209" y="198831"/>
                  </a:lnTo>
                  <a:lnTo>
                    <a:pt x="425209" y="199530"/>
                  </a:lnTo>
                  <a:lnTo>
                    <a:pt x="425209" y="198831"/>
                  </a:lnTo>
                  <a:lnTo>
                    <a:pt x="425209" y="199530"/>
                  </a:lnTo>
                  <a:lnTo>
                    <a:pt x="425209" y="197447"/>
                  </a:lnTo>
                  <a:lnTo>
                    <a:pt x="425209" y="198831"/>
                  </a:lnTo>
                  <a:lnTo>
                    <a:pt x="425260" y="198831"/>
                  </a:lnTo>
                  <a:lnTo>
                    <a:pt x="425260" y="200228"/>
                  </a:lnTo>
                  <a:lnTo>
                    <a:pt x="425260" y="198831"/>
                  </a:lnTo>
                  <a:lnTo>
                    <a:pt x="425260" y="199530"/>
                  </a:lnTo>
                  <a:lnTo>
                    <a:pt x="425311" y="199530"/>
                  </a:lnTo>
                  <a:lnTo>
                    <a:pt x="425311" y="200228"/>
                  </a:lnTo>
                  <a:lnTo>
                    <a:pt x="425311" y="199530"/>
                  </a:lnTo>
                  <a:lnTo>
                    <a:pt x="425412" y="200228"/>
                  </a:lnTo>
                  <a:lnTo>
                    <a:pt x="425412" y="199530"/>
                  </a:lnTo>
                  <a:lnTo>
                    <a:pt x="425412" y="200228"/>
                  </a:lnTo>
                  <a:lnTo>
                    <a:pt x="425451" y="200228"/>
                  </a:lnTo>
                  <a:lnTo>
                    <a:pt x="425451" y="199530"/>
                  </a:lnTo>
                  <a:lnTo>
                    <a:pt x="425451" y="200876"/>
                  </a:lnTo>
                  <a:lnTo>
                    <a:pt x="425501" y="200876"/>
                  </a:lnTo>
                  <a:lnTo>
                    <a:pt x="425501" y="200228"/>
                  </a:lnTo>
                  <a:lnTo>
                    <a:pt x="425501" y="200876"/>
                  </a:lnTo>
                  <a:lnTo>
                    <a:pt x="425501" y="200228"/>
                  </a:lnTo>
                  <a:lnTo>
                    <a:pt x="425552" y="200228"/>
                  </a:lnTo>
                  <a:lnTo>
                    <a:pt x="425552" y="200876"/>
                  </a:lnTo>
                  <a:lnTo>
                    <a:pt x="425552" y="199530"/>
                  </a:lnTo>
                  <a:lnTo>
                    <a:pt x="425654" y="199530"/>
                  </a:lnTo>
                  <a:lnTo>
                    <a:pt x="425654" y="198831"/>
                  </a:lnTo>
                  <a:lnTo>
                    <a:pt x="425654" y="200228"/>
                  </a:lnTo>
                  <a:lnTo>
                    <a:pt x="425654" y="199530"/>
                  </a:lnTo>
                  <a:lnTo>
                    <a:pt x="425705" y="199530"/>
                  </a:lnTo>
                  <a:lnTo>
                    <a:pt x="425705" y="200228"/>
                  </a:lnTo>
                  <a:lnTo>
                    <a:pt x="425705" y="198831"/>
                  </a:lnTo>
                  <a:lnTo>
                    <a:pt x="425705" y="202959"/>
                  </a:lnTo>
                  <a:lnTo>
                    <a:pt x="425755" y="202260"/>
                  </a:lnTo>
                  <a:lnTo>
                    <a:pt x="425755" y="200876"/>
                  </a:lnTo>
                  <a:lnTo>
                    <a:pt x="425755" y="202959"/>
                  </a:lnTo>
                  <a:lnTo>
                    <a:pt x="425755" y="202260"/>
                  </a:lnTo>
                  <a:lnTo>
                    <a:pt x="425857" y="202260"/>
                  </a:lnTo>
                  <a:lnTo>
                    <a:pt x="425908" y="202959"/>
                  </a:lnTo>
                  <a:lnTo>
                    <a:pt x="425908" y="202260"/>
                  </a:lnTo>
                  <a:lnTo>
                    <a:pt x="425908" y="202959"/>
                  </a:lnTo>
                  <a:lnTo>
                    <a:pt x="425908" y="202260"/>
                  </a:lnTo>
                  <a:lnTo>
                    <a:pt x="425908" y="202959"/>
                  </a:lnTo>
                  <a:lnTo>
                    <a:pt x="425908" y="202260"/>
                  </a:lnTo>
                  <a:lnTo>
                    <a:pt x="425908" y="202959"/>
                  </a:lnTo>
                  <a:lnTo>
                    <a:pt x="425908" y="202260"/>
                  </a:lnTo>
                  <a:lnTo>
                    <a:pt x="425958" y="202260"/>
                  </a:lnTo>
                  <a:lnTo>
                    <a:pt x="425958" y="202959"/>
                  </a:lnTo>
                  <a:lnTo>
                    <a:pt x="425958" y="200876"/>
                  </a:lnTo>
                  <a:lnTo>
                    <a:pt x="425958" y="202260"/>
                  </a:lnTo>
                  <a:lnTo>
                    <a:pt x="425997" y="202260"/>
                  </a:lnTo>
                  <a:lnTo>
                    <a:pt x="425997" y="200228"/>
                  </a:lnTo>
                  <a:lnTo>
                    <a:pt x="425997" y="200876"/>
                  </a:lnTo>
                  <a:lnTo>
                    <a:pt x="426098" y="200876"/>
                  </a:lnTo>
                  <a:lnTo>
                    <a:pt x="426098" y="198831"/>
                  </a:lnTo>
                  <a:lnTo>
                    <a:pt x="426098" y="199530"/>
                  </a:lnTo>
                  <a:lnTo>
                    <a:pt x="426098" y="198831"/>
                  </a:lnTo>
                  <a:lnTo>
                    <a:pt x="426098" y="199530"/>
                  </a:lnTo>
                  <a:lnTo>
                    <a:pt x="426149" y="199530"/>
                  </a:lnTo>
                  <a:lnTo>
                    <a:pt x="426149" y="200876"/>
                  </a:lnTo>
                  <a:lnTo>
                    <a:pt x="426149" y="200228"/>
                  </a:lnTo>
                  <a:lnTo>
                    <a:pt x="426149" y="200876"/>
                  </a:lnTo>
                  <a:lnTo>
                    <a:pt x="426149" y="199530"/>
                  </a:lnTo>
                  <a:lnTo>
                    <a:pt x="426149" y="203594"/>
                  </a:lnTo>
                  <a:lnTo>
                    <a:pt x="426200" y="203594"/>
                  </a:lnTo>
                  <a:lnTo>
                    <a:pt x="426200" y="202260"/>
                  </a:lnTo>
                  <a:lnTo>
                    <a:pt x="426200" y="203594"/>
                  </a:lnTo>
                  <a:lnTo>
                    <a:pt x="426301" y="203594"/>
                  </a:lnTo>
                  <a:lnTo>
                    <a:pt x="426301" y="202959"/>
                  </a:lnTo>
                  <a:lnTo>
                    <a:pt x="426301" y="203594"/>
                  </a:lnTo>
                  <a:lnTo>
                    <a:pt x="426301" y="202959"/>
                  </a:lnTo>
                  <a:lnTo>
                    <a:pt x="426352" y="202959"/>
                  </a:lnTo>
                  <a:lnTo>
                    <a:pt x="426352" y="203594"/>
                  </a:lnTo>
                  <a:lnTo>
                    <a:pt x="426352" y="202959"/>
                  </a:lnTo>
                  <a:lnTo>
                    <a:pt x="426352" y="203594"/>
                  </a:lnTo>
                  <a:lnTo>
                    <a:pt x="426352" y="202959"/>
                  </a:lnTo>
                  <a:lnTo>
                    <a:pt x="426403" y="202959"/>
                  </a:lnTo>
                  <a:lnTo>
                    <a:pt x="426403" y="202260"/>
                  </a:lnTo>
                  <a:lnTo>
                    <a:pt x="426403" y="202959"/>
                  </a:lnTo>
                  <a:lnTo>
                    <a:pt x="426403" y="202260"/>
                  </a:lnTo>
                  <a:lnTo>
                    <a:pt x="426403" y="203594"/>
                  </a:lnTo>
                  <a:lnTo>
                    <a:pt x="426403" y="202260"/>
                  </a:lnTo>
                  <a:lnTo>
                    <a:pt x="426403" y="202959"/>
                  </a:lnTo>
                  <a:lnTo>
                    <a:pt x="426403" y="202260"/>
                  </a:lnTo>
                  <a:lnTo>
                    <a:pt x="426454" y="202959"/>
                  </a:lnTo>
                  <a:lnTo>
                    <a:pt x="426454" y="200876"/>
                  </a:lnTo>
                  <a:lnTo>
                    <a:pt x="426543" y="200876"/>
                  </a:lnTo>
                  <a:lnTo>
                    <a:pt x="426543" y="200228"/>
                  </a:lnTo>
                  <a:lnTo>
                    <a:pt x="426543" y="200876"/>
                  </a:lnTo>
                  <a:lnTo>
                    <a:pt x="426543" y="199530"/>
                  </a:lnTo>
                  <a:lnTo>
                    <a:pt x="426593" y="199530"/>
                  </a:lnTo>
                  <a:lnTo>
                    <a:pt x="426593" y="198831"/>
                  </a:lnTo>
                  <a:lnTo>
                    <a:pt x="426593" y="199530"/>
                  </a:lnTo>
                  <a:lnTo>
                    <a:pt x="426593" y="197447"/>
                  </a:lnTo>
                  <a:lnTo>
                    <a:pt x="426593" y="199530"/>
                  </a:lnTo>
                  <a:lnTo>
                    <a:pt x="426644" y="199530"/>
                  </a:lnTo>
                  <a:lnTo>
                    <a:pt x="426644" y="197447"/>
                  </a:lnTo>
                  <a:lnTo>
                    <a:pt x="426644" y="202260"/>
                  </a:lnTo>
                  <a:lnTo>
                    <a:pt x="426644" y="200876"/>
                  </a:lnTo>
                  <a:lnTo>
                    <a:pt x="426695" y="200876"/>
                  </a:lnTo>
                  <a:lnTo>
                    <a:pt x="426695" y="199530"/>
                  </a:lnTo>
                  <a:lnTo>
                    <a:pt x="426695" y="202260"/>
                  </a:lnTo>
                  <a:lnTo>
                    <a:pt x="426695" y="200876"/>
                  </a:lnTo>
                  <a:lnTo>
                    <a:pt x="426797" y="200228"/>
                  </a:lnTo>
                  <a:lnTo>
                    <a:pt x="426797" y="200876"/>
                  </a:lnTo>
                  <a:lnTo>
                    <a:pt x="426797" y="200228"/>
                  </a:lnTo>
                  <a:lnTo>
                    <a:pt x="426797" y="202260"/>
                  </a:lnTo>
                  <a:lnTo>
                    <a:pt x="426797" y="200876"/>
                  </a:lnTo>
                  <a:lnTo>
                    <a:pt x="426797" y="202260"/>
                  </a:lnTo>
                  <a:lnTo>
                    <a:pt x="426847" y="202260"/>
                  </a:lnTo>
                  <a:lnTo>
                    <a:pt x="426847" y="202959"/>
                  </a:lnTo>
                  <a:lnTo>
                    <a:pt x="426847" y="202260"/>
                  </a:lnTo>
                  <a:lnTo>
                    <a:pt x="426847" y="202959"/>
                  </a:lnTo>
                  <a:lnTo>
                    <a:pt x="426847" y="202260"/>
                  </a:lnTo>
                  <a:lnTo>
                    <a:pt x="426847" y="202959"/>
                  </a:lnTo>
                  <a:lnTo>
                    <a:pt x="426847" y="202260"/>
                  </a:lnTo>
                  <a:lnTo>
                    <a:pt x="426898" y="202260"/>
                  </a:lnTo>
                  <a:lnTo>
                    <a:pt x="426898" y="202959"/>
                  </a:lnTo>
                  <a:lnTo>
                    <a:pt x="426898" y="202260"/>
                  </a:lnTo>
                  <a:lnTo>
                    <a:pt x="426898" y="202959"/>
                  </a:lnTo>
                  <a:lnTo>
                    <a:pt x="426898" y="202260"/>
                  </a:lnTo>
                  <a:lnTo>
                    <a:pt x="427000" y="202260"/>
                  </a:lnTo>
                  <a:lnTo>
                    <a:pt x="427000" y="200876"/>
                  </a:lnTo>
                  <a:lnTo>
                    <a:pt x="427038" y="200876"/>
                  </a:lnTo>
                  <a:lnTo>
                    <a:pt x="427038" y="199530"/>
                  </a:lnTo>
                  <a:lnTo>
                    <a:pt x="427038" y="200228"/>
                  </a:lnTo>
                  <a:lnTo>
                    <a:pt x="427038" y="198831"/>
                  </a:lnTo>
                  <a:lnTo>
                    <a:pt x="427089" y="198831"/>
                  </a:lnTo>
                  <a:lnTo>
                    <a:pt x="427089" y="197447"/>
                  </a:lnTo>
                  <a:lnTo>
                    <a:pt x="427089" y="199530"/>
                  </a:lnTo>
                  <a:lnTo>
                    <a:pt x="427089" y="198831"/>
                  </a:lnTo>
                  <a:lnTo>
                    <a:pt x="427089" y="199530"/>
                  </a:lnTo>
                  <a:lnTo>
                    <a:pt x="427089" y="198831"/>
                  </a:lnTo>
                  <a:lnTo>
                    <a:pt x="427140" y="197447"/>
                  </a:lnTo>
                  <a:lnTo>
                    <a:pt x="427140" y="200876"/>
                  </a:lnTo>
                  <a:lnTo>
                    <a:pt x="427140" y="199530"/>
                  </a:lnTo>
                  <a:lnTo>
                    <a:pt x="427241" y="199530"/>
                  </a:lnTo>
                  <a:lnTo>
                    <a:pt x="427241" y="200876"/>
                  </a:lnTo>
                  <a:lnTo>
                    <a:pt x="427241" y="200228"/>
                  </a:lnTo>
                  <a:lnTo>
                    <a:pt x="427292" y="200228"/>
                  </a:lnTo>
                  <a:lnTo>
                    <a:pt x="427292" y="200876"/>
                  </a:lnTo>
                  <a:lnTo>
                    <a:pt x="427292" y="200228"/>
                  </a:lnTo>
                  <a:lnTo>
                    <a:pt x="427343" y="200876"/>
                  </a:lnTo>
                  <a:lnTo>
                    <a:pt x="427343" y="202260"/>
                  </a:lnTo>
                  <a:lnTo>
                    <a:pt x="427343" y="200876"/>
                  </a:lnTo>
                  <a:lnTo>
                    <a:pt x="427343" y="202260"/>
                  </a:lnTo>
                  <a:lnTo>
                    <a:pt x="427444" y="202260"/>
                  </a:lnTo>
                  <a:lnTo>
                    <a:pt x="427444" y="200876"/>
                  </a:lnTo>
                  <a:lnTo>
                    <a:pt x="427444" y="202260"/>
                  </a:lnTo>
                  <a:lnTo>
                    <a:pt x="427495" y="202260"/>
                  </a:lnTo>
                  <a:lnTo>
                    <a:pt x="427495" y="200876"/>
                  </a:lnTo>
                  <a:lnTo>
                    <a:pt x="427495" y="202260"/>
                  </a:lnTo>
                  <a:lnTo>
                    <a:pt x="427546" y="200876"/>
                  </a:lnTo>
                  <a:lnTo>
                    <a:pt x="427546" y="198831"/>
                  </a:lnTo>
                  <a:lnTo>
                    <a:pt x="427584" y="198831"/>
                  </a:lnTo>
                  <a:lnTo>
                    <a:pt x="427584" y="196113"/>
                  </a:lnTo>
                  <a:lnTo>
                    <a:pt x="427584" y="198831"/>
                  </a:lnTo>
                  <a:lnTo>
                    <a:pt x="427584" y="196799"/>
                  </a:lnTo>
                  <a:lnTo>
                    <a:pt x="427686" y="196799"/>
                  </a:lnTo>
                  <a:lnTo>
                    <a:pt x="427686" y="199530"/>
                  </a:lnTo>
                  <a:lnTo>
                    <a:pt x="427737" y="199530"/>
                  </a:lnTo>
                  <a:lnTo>
                    <a:pt x="427737" y="198831"/>
                  </a:lnTo>
                  <a:lnTo>
                    <a:pt x="427737" y="199530"/>
                  </a:lnTo>
                  <a:lnTo>
                    <a:pt x="427737" y="198831"/>
                  </a:lnTo>
                  <a:lnTo>
                    <a:pt x="427737" y="199530"/>
                  </a:lnTo>
                  <a:lnTo>
                    <a:pt x="427787" y="199530"/>
                  </a:lnTo>
                  <a:lnTo>
                    <a:pt x="427787" y="198831"/>
                  </a:lnTo>
                  <a:lnTo>
                    <a:pt x="427787" y="200228"/>
                  </a:lnTo>
                  <a:lnTo>
                    <a:pt x="427787" y="199530"/>
                  </a:lnTo>
                  <a:lnTo>
                    <a:pt x="427787" y="200228"/>
                  </a:lnTo>
                  <a:lnTo>
                    <a:pt x="427889" y="200228"/>
                  </a:lnTo>
                  <a:lnTo>
                    <a:pt x="427889" y="200876"/>
                  </a:lnTo>
                  <a:lnTo>
                    <a:pt x="427889" y="200228"/>
                  </a:lnTo>
                  <a:lnTo>
                    <a:pt x="427889" y="200876"/>
                  </a:lnTo>
                  <a:lnTo>
                    <a:pt x="427889" y="199530"/>
                  </a:lnTo>
                  <a:lnTo>
                    <a:pt x="427889" y="200876"/>
                  </a:lnTo>
                  <a:lnTo>
                    <a:pt x="427940" y="200876"/>
                  </a:lnTo>
                  <a:lnTo>
                    <a:pt x="427940" y="200228"/>
                  </a:lnTo>
                  <a:lnTo>
                    <a:pt x="427940" y="200876"/>
                  </a:lnTo>
                  <a:lnTo>
                    <a:pt x="427991" y="200876"/>
                  </a:lnTo>
                  <a:lnTo>
                    <a:pt x="427991" y="200228"/>
                  </a:lnTo>
                  <a:lnTo>
                    <a:pt x="427991" y="200876"/>
                  </a:lnTo>
                  <a:lnTo>
                    <a:pt x="427991" y="199530"/>
                  </a:lnTo>
                  <a:lnTo>
                    <a:pt x="427991" y="200228"/>
                  </a:lnTo>
                  <a:lnTo>
                    <a:pt x="427991" y="199530"/>
                  </a:lnTo>
                  <a:lnTo>
                    <a:pt x="428041" y="200228"/>
                  </a:lnTo>
                  <a:lnTo>
                    <a:pt x="428041" y="198831"/>
                  </a:lnTo>
                  <a:lnTo>
                    <a:pt x="428130" y="198831"/>
                  </a:lnTo>
                  <a:lnTo>
                    <a:pt x="428130" y="196113"/>
                  </a:lnTo>
                  <a:lnTo>
                    <a:pt x="428130" y="196799"/>
                  </a:lnTo>
                  <a:lnTo>
                    <a:pt x="428181" y="196799"/>
                  </a:lnTo>
                  <a:lnTo>
                    <a:pt x="428181" y="195415"/>
                  </a:lnTo>
                  <a:lnTo>
                    <a:pt x="428181" y="198831"/>
                  </a:lnTo>
                  <a:lnTo>
                    <a:pt x="428232" y="197447"/>
                  </a:lnTo>
                  <a:lnTo>
                    <a:pt x="428232" y="196113"/>
                  </a:lnTo>
                  <a:lnTo>
                    <a:pt x="428232" y="198831"/>
                  </a:lnTo>
                  <a:lnTo>
                    <a:pt x="428283" y="198831"/>
                  </a:lnTo>
                  <a:lnTo>
                    <a:pt x="428283" y="196799"/>
                  </a:lnTo>
                  <a:lnTo>
                    <a:pt x="428283" y="198831"/>
                  </a:lnTo>
                  <a:lnTo>
                    <a:pt x="428283" y="197447"/>
                  </a:lnTo>
                  <a:lnTo>
                    <a:pt x="428384" y="197447"/>
                  </a:lnTo>
                  <a:lnTo>
                    <a:pt x="428384" y="198831"/>
                  </a:lnTo>
                  <a:lnTo>
                    <a:pt x="428435" y="198831"/>
                  </a:lnTo>
                  <a:lnTo>
                    <a:pt x="428435" y="200228"/>
                  </a:lnTo>
                  <a:lnTo>
                    <a:pt x="428435" y="199530"/>
                  </a:lnTo>
                  <a:lnTo>
                    <a:pt x="428435" y="200228"/>
                  </a:lnTo>
                  <a:lnTo>
                    <a:pt x="428435" y="199530"/>
                  </a:lnTo>
                  <a:lnTo>
                    <a:pt x="428486" y="200228"/>
                  </a:lnTo>
                  <a:lnTo>
                    <a:pt x="428486" y="199530"/>
                  </a:lnTo>
                  <a:lnTo>
                    <a:pt x="428486" y="200228"/>
                  </a:lnTo>
                  <a:lnTo>
                    <a:pt x="428486" y="199530"/>
                  </a:lnTo>
                  <a:lnTo>
                    <a:pt x="428587" y="200228"/>
                  </a:lnTo>
                  <a:lnTo>
                    <a:pt x="428587" y="197447"/>
                  </a:lnTo>
                  <a:lnTo>
                    <a:pt x="428626" y="198831"/>
                  </a:lnTo>
                  <a:lnTo>
                    <a:pt x="428626" y="196113"/>
                  </a:lnTo>
                  <a:lnTo>
                    <a:pt x="428676" y="196799"/>
                  </a:lnTo>
                  <a:lnTo>
                    <a:pt x="428676" y="195415"/>
                  </a:lnTo>
                  <a:lnTo>
                    <a:pt x="428676" y="197447"/>
                  </a:lnTo>
                  <a:lnTo>
                    <a:pt x="428727" y="197447"/>
                  </a:lnTo>
                  <a:lnTo>
                    <a:pt x="428727" y="196113"/>
                  </a:lnTo>
                  <a:lnTo>
                    <a:pt x="428727" y="197447"/>
                  </a:lnTo>
                  <a:lnTo>
                    <a:pt x="428829" y="197447"/>
                  </a:lnTo>
                  <a:lnTo>
                    <a:pt x="428829" y="196799"/>
                  </a:lnTo>
                  <a:lnTo>
                    <a:pt x="428829" y="197447"/>
                  </a:lnTo>
                  <a:lnTo>
                    <a:pt x="428829" y="196799"/>
                  </a:lnTo>
                  <a:lnTo>
                    <a:pt x="428829" y="197447"/>
                  </a:lnTo>
                  <a:lnTo>
                    <a:pt x="428880" y="197447"/>
                  </a:lnTo>
                  <a:lnTo>
                    <a:pt x="428880" y="198831"/>
                  </a:lnTo>
                  <a:lnTo>
                    <a:pt x="428880" y="197447"/>
                  </a:lnTo>
                  <a:lnTo>
                    <a:pt x="428880" y="198831"/>
                  </a:lnTo>
                  <a:lnTo>
                    <a:pt x="428930" y="198831"/>
                  </a:lnTo>
                  <a:lnTo>
                    <a:pt x="428930" y="199530"/>
                  </a:lnTo>
                  <a:lnTo>
                    <a:pt x="428930" y="198831"/>
                  </a:lnTo>
                  <a:lnTo>
                    <a:pt x="428930" y="200228"/>
                  </a:lnTo>
                  <a:lnTo>
                    <a:pt x="428930" y="199530"/>
                  </a:lnTo>
                  <a:lnTo>
                    <a:pt x="429032" y="199530"/>
                  </a:lnTo>
                  <a:lnTo>
                    <a:pt x="429032" y="200228"/>
                  </a:lnTo>
                  <a:lnTo>
                    <a:pt x="429032" y="199530"/>
                  </a:lnTo>
                  <a:lnTo>
                    <a:pt x="429032" y="200228"/>
                  </a:lnTo>
                  <a:lnTo>
                    <a:pt x="429032" y="199530"/>
                  </a:lnTo>
                  <a:lnTo>
                    <a:pt x="429032" y="200228"/>
                  </a:lnTo>
                  <a:lnTo>
                    <a:pt x="429032" y="199530"/>
                  </a:lnTo>
                  <a:lnTo>
                    <a:pt x="429032" y="200228"/>
                  </a:lnTo>
                  <a:lnTo>
                    <a:pt x="429083" y="200228"/>
                  </a:lnTo>
                  <a:lnTo>
                    <a:pt x="429083" y="197447"/>
                  </a:lnTo>
                  <a:lnTo>
                    <a:pt x="429133" y="198831"/>
                  </a:lnTo>
                  <a:lnTo>
                    <a:pt x="429133" y="196113"/>
                  </a:lnTo>
                  <a:lnTo>
                    <a:pt x="429172" y="195415"/>
                  </a:lnTo>
                  <a:lnTo>
                    <a:pt x="429172" y="197447"/>
                  </a:lnTo>
                  <a:lnTo>
                    <a:pt x="429172" y="195415"/>
                  </a:lnTo>
                  <a:lnTo>
                    <a:pt x="429273" y="195415"/>
                  </a:lnTo>
                  <a:lnTo>
                    <a:pt x="429273" y="198831"/>
                  </a:lnTo>
                  <a:lnTo>
                    <a:pt x="429273" y="196113"/>
                  </a:lnTo>
                  <a:lnTo>
                    <a:pt x="429273" y="196799"/>
                  </a:lnTo>
                  <a:lnTo>
                    <a:pt x="429324" y="196799"/>
                  </a:lnTo>
                  <a:lnTo>
                    <a:pt x="429324" y="197447"/>
                  </a:lnTo>
                  <a:lnTo>
                    <a:pt x="429324" y="196799"/>
                  </a:lnTo>
                  <a:lnTo>
                    <a:pt x="429324" y="197447"/>
                  </a:lnTo>
                  <a:lnTo>
                    <a:pt x="429324" y="196799"/>
                  </a:lnTo>
                  <a:lnTo>
                    <a:pt x="429375" y="196799"/>
                  </a:lnTo>
                  <a:lnTo>
                    <a:pt x="429375" y="197447"/>
                  </a:lnTo>
                  <a:lnTo>
                    <a:pt x="429375" y="196799"/>
                  </a:lnTo>
                  <a:lnTo>
                    <a:pt x="429375" y="197447"/>
                  </a:lnTo>
                  <a:lnTo>
                    <a:pt x="429375" y="196799"/>
                  </a:lnTo>
                  <a:lnTo>
                    <a:pt x="429375" y="197447"/>
                  </a:lnTo>
                  <a:lnTo>
                    <a:pt x="429375" y="196799"/>
                  </a:lnTo>
                  <a:lnTo>
                    <a:pt x="429375" y="197447"/>
                  </a:lnTo>
                  <a:lnTo>
                    <a:pt x="429476" y="198831"/>
                  </a:lnTo>
                  <a:lnTo>
                    <a:pt x="429476" y="199530"/>
                  </a:lnTo>
                  <a:lnTo>
                    <a:pt x="429527" y="199530"/>
                  </a:lnTo>
                  <a:lnTo>
                    <a:pt x="429527" y="198831"/>
                  </a:lnTo>
                  <a:lnTo>
                    <a:pt x="429527" y="199530"/>
                  </a:lnTo>
                  <a:lnTo>
                    <a:pt x="429527" y="198831"/>
                  </a:lnTo>
                  <a:lnTo>
                    <a:pt x="429527" y="199530"/>
                  </a:lnTo>
                  <a:lnTo>
                    <a:pt x="429578" y="199530"/>
                  </a:lnTo>
                  <a:lnTo>
                    <a:pt x="429578" y="197447"/>
                  </a:lnTo>
                  <a:lnTo>
                    <a:pt x="429578" y="198831"/>
                  </a:lnTo>
                  <a:lnTo>
                    <a:pt x="429629" y="197447"/>
                  </a:lnTo>
                  <a:lnTo>
                    <a:pt x="429629" y="196799"/>
                  </a:lnTo>
                  <a:lnTo>
                    <a:pt x="429629" y="197447"/>
                  </a:lnTo>
                  <a:lnTo>
                    <a:pt x="429629" y="196113"/>
                  </a:lnTo>
                  <a:lnTo>
                    <a:pt x="429718" y="196113"/>
                  </a:lnTo>
                  <a:lnTo>
                    <a:pt x="429718" y="197447"/>
                  </a:lnTo>
                  <a:lnTo>
                    <a:pt x="429718" y="196113"/>
                  </a:lnTo>
                  <a:lnTo>
                    <a:pt x="429718" y="196799"/>
                  </a:lnTo>
                  <a:lnTo>
                    <a:pt x="429768" y="197447"/>
                  </a:lnTo>
                  <a:lnTo>
                    <a:pt x="429768" y="199530"/>
                  </a:lnTo>
                  <a:lnTo>
                    <a:pt x="429768" y="196799"/>
                  </a:lnTo>
                  <a:lnTo>
                    <a:pt x="429768" y="198831"/>
                  </a:lnTo>
                  <a:lnTo>
                    <a:pt x="429819" y="198831"/>
                  </a:lnTo>
                  <a:lnTo>
                    <a:pt x="429819" y="199530"/>
                  </a:lnTo>
                  <a:lnTo>
                    <a:pt x="429819" y="197447"/>
                  </a:lnTo>
                  <a:lnTo>
                    <a:pt x="429819" y="198831"/>
                  </a:lnTo>
                  <a:lnTo>
                    <a:pt x="429870" y="198831"/>
                  </a:lnTo>
                  <a:lnTo>
                    <a:pt x="429870" y="199530"/>
                  </a:lnTo>
                  <a:lnTo>
                    <a:pt x="429870" y="197447"/>
                  </a:lnTo>
                  <a:lnTo>
                    <a:pt x="429870" y="198831"/>
                  </a:lnTo>
                  <a:lnTo>
                    <a:pt x="429870" y="197447"/>
                  </a:lnTo>
                  <a:lnTo>
                    <a:pt x="429870" y="199530"/>
                  </a:lnTo>
                  <a:lnTo>
                    <a:pt x="429972" y="199530"/>
                  </a:lnTo>
                  <a:lnTo>
                    <a:pt x="429972" y="198831"/>
                  </a:lnTo>
                  <a:lnTo>
                    <a:pt x="429972" y="200228"/>
                  </a:lnTo>
                  <a:lnTo>
                    <a:pt x="429972" y="199530"/>
                  </a:lnTo>
                  <a:lnTo>
                    <a:pt x="429972" y="200228"/>
                  </a:lnTo>
                  <a:lnTo>
                    <a:pt x="430022" y="199530"/>
                  </a:lnTo>
                  <a:lnTo>
                    <a:pt x="430022" y="200228"/>
                  </a:lnTo>
                  <a:lnTo>
                    <a:pt x="430022" y="199530"/>
                  </a:lnTo>
                  <a:lnTo>
                    <a:pt x="430073" y="199530"/>
                  </a:lnTo>
                  <a:lnTo>
                    <a:pt x="430073" y="198831"/>
                  </a:lnTo>
                  <a:lnTo>
                    <a:pt x="430073" y="199530"/>
                  </a:lnTo>
                  <a:lnTo>
                    <a:pt x="430073" y="198831"/>
                  </a:lnTo>
                  <a:lnTo>
                    <a:pt x="430175" y="198831"/>
                  </a:lnTo>
                  <a:lnTo>
                    <a:pt x="430175" y="197447"/>
                  </a:lnTo>
                  <a:lnTo>
                    <a:pt x="430175" y="198831"/>
                  </a:lnTo>
                  <a:lnTo>
                    <a:pt x="430175" y="196113"/>
                  </a:lnTo>
                  <a:lnTo>
                    <a:pt x="430175" y="196799"/>
                  </a:lnTo>
                  <a:lnTo>
                    <a:pt x="430213" y="197447"/>
                  </a:lnTo>
                  <a:lnTo>
                    <a:pt x="430213" y="199530"/>
                  </a:lnTo>
                  <a:lnTo>
                    <a:pt x="430213" y="196799"/>
                  </a:lnTo>
                  <a:lnTo>
                    <a:pt x="430213" y="199530"/>
                  </a:lnTo>
                  <a:lnTo>
                    <a:pt x="430264" y="200228"/>
                  </a:lnTo>
                  <a:lnTo>
                    <a:pt x="430264" y="199530"/>
                  </a:lnTo>
                  <a:lnTo>
                    <a:pt x="430264" y="200228"/>
                  </a:lnTo>
                  <a:lnTo>
                    <a:pt x="430264" y="198831"/>
                  </a:lnTo>
                  <a:lnTo>
                    <a:pt x="430264" y="200228"/>
                  </a:lnTo>
                  <a:lnTo>
                    <a:pt x="430264" y="199530"/>
                  </a:lnTo>
                  <a:lnTo>
                    <a:pt x="430416" y="199530"/>
                  </a:lnTo>
                  <a:lnTo>
                    <a:pt x="430416" y="200228"/>
                  </a:lnTo>
                  <a:lnTo>
                    <a:pt x="430416" y="199530"/>
                  </a:lnTo>
                  <a:lnTo>
                    <a:pt x="430416" y="200228"/>
                  </a:lnTo>
                  <a:lnTo>
                    <a:pt x="430467" y="200228"/>
                  </a:lnTo>
                  <a:lnTo>
                    <a:pt x="430467" y="199530"/>
                  </a:lnTo>
                  <a:lnTo>
                    <a:pt x="430467" y="200228"/>
                  </a:lnTo>
                  <a:lnTo>
                    <a:pt x="430518" y="199530"/>
                  </a:lnTo>
                  <a:lnTo>
                    <a:pt x="430518" y="200228"/>
                  </a:lnTo>
                  <a:lnTo>
                    <a:pt x="430518" y="199530"/>
                  </a:lnTo>
                  <a:lnTo>
                    <a:pt x="430619" y="198831"/>
                  </a:lnTo>
                  <a:lnTo>
                    <a:pt x="430619" y="199530"/>
                  </a:lnTo>
                  <a:lnTo>
                    <a:pt x="430619" y="198831"/>
                  </a:lnTo>
                  <a:lnTo>
                    <a:pt x="430619" y="199530"/>
                  </a:lnTo>
                  <a:lnTo>
                    <a:pt x="430619" y="198831"/>
                  </a:lnTo>
                  <a:lnTo>
                    <a:pt x="430619" y="199530"/>
                  </a:lnTo>
                  <a:lnTo>
                    <a:pt x="430619" y="197447"/>
                  </a:lnTo>
                  <a:lnTo>
                    <a:pt x="430670" y="197447"/>
                  </a:lnTo>
                  <a:lnTo>
                    <a:pt x="430670" y="196799"/>
                  </a:lnTo>
                  <a:lnTo>
                    <a:pt x="430670" y="197447"/>
                  </a:lnTo>
                  <a:lnTo>
                    <a:pt x="430670" y="196113"/>
                  </a:lnTo>
                  <a:lnTo>
                    <a:pt x="430670" y="197447"/>
                  </a:lnTo>
                  <a:lnTo>
                    <a:pt x="430721" y="198831"/>
                  </a:lnTo>
                  <a:lnTo>
                    <a:pt x="430721" y="199530"/>
                  </a:lnTo>
                  <a:lnTo>
                    <a:pt x="430721" y="196799"/>
                  </a:lnTo>
                  <a:lnTo>
                    <a:pt x="430721" y="199530"/>
                  </a:lnTo>
                  <a:lnTo>
                    <a:pt x="430759" y="199530"/>
                  </a:lnTo>
                  <a:lnTo>
                    <a:pt x="430759" y="198831"/>
                  </a:lnTo>
                  <a:lnTo>
                    <a:pt x="430759" y="200228"/>
                  </a:lnTo>
                  <a:lnTo>
                    <a:pt x="430759" y="199530"/>
                  </a:lnTo>
                  <a:lnTo>
                    <a:pt x="430759" y="200228"/>
                  </a:lnTo>
                  <a:lnTo>
                    <a:pt x="430759" y="199530"/>
                  </a:lnTo>
                  <a:lnTo>
                    <a:pt x="430861" y="199530"/>
                  </a:lnTo>
                  <a:lnTo>
                    <a:pt x="430861" y="200228"/>
                  </a:lnTo>
                  <a:lnTo>
                    <a:pt x="430861" y="199530"/>
                  </a:lnTo>
                  <a:lnTo>
                    <a:pt x="430861" y="200228"/>
                  </a:lnTo>
                  <a:lnTo>
                    <a:pt x="430861" y="199530"/>
                  </a:lnTo>
                  <a:lnTo>
                    <a:pt x="430861" y="200228"/>
                  </a:lnTo>
                  <a:lnTo>
                    <a:pt x="430912" y="199530"/>
                  </a:lnTo>
                  <a:lnTo>
                    <a:pt x="430912" y="200876"/>
                  </a:lnTo>
                  <a:lnTo>
                    <a:pt x="430912" y="200228"/>
                  </a:lnTo>
                  <a:lnTo>
                    <a:pt x="430962" y="200228"/>
                  </a:lnTo>
                  <a:lnTo>
                    <a:pt x="430962" y="200876"/>
                  </a:lnTo>
                  <a:lnTo>
                    <a:pt x="430962" y="200228"/>
                  </a:lnTo>
                  <a:lnTo>
                    <a:pt x="431064" y="200228"/>
                  </a:lnTo>
                  <a:lnTo>
                    <a:pt x="431064" y="200876"/>
                  </a:lnTo>
                  <a:lnTo>
                    <a:pt x="431064" y="199530"/>
                  </a:lnTo>
                  <a:lnTo>
                    <a:pt x="431064" y="200228"/>
                  </a:lnTo>
                  <a:lnTo>
                    <a:pt x="431064" y="199530"/>
                  </a:lnTo>
                  <a:lnTo>
                    <a:pt x="431064" y="200228"/>
                  </a:lnTo>
                  <a:lnTo>
                    <a:pt x="431115" y="199530"/>
                  </a:lnTo>
                  <a:lnTo>
                    <a:pt x="431115" y="200228"/>
                  </a:lnTo>
                  <a:lnTo>
                    <a:pt x="431115" y="197447"/>
                  </a:lnTo>
                  <a:lnTo>
                    <a:pt x="431166" y="197447"/>
                  </a:lnTo>
                  <a:lnTo>
                    <a:pt x="431166" y="196799"/>
                  </a:lnTo>
                  <a:lnTo>
                    <a:pt x="431166" y="199530"/>
                  </a:lnTo>
                  <a:lnTo>
                    <a:pt x="431166" y="197447"/>
                  </a:lnTo>
                  <a:lnTo>
                    <a:pt x="431216" y="196799"/>
                  </a:lnTo>
                  <a:lnTo>
                    <a:pt x="431216" y="200228"/>
                  </a:lnTo>
                  <a:lnTo>
                    <a:pt x="431216" y="198831"/>
                  </a:lnTo>
                  <a:lnTo>
                    <a:pt x="431305" y="198831"/>
                  </a:lnTo>
                  <a:lnTo>
                    <a:pt x="431305" y="197447"/>
                  </a:lnTo>
                  <a:lnTo>
                    <a:pt x="431305" y="200228"/>
                  </a:lnTo>
                  <a:lnTo>
                    <a:pt x="431305" y="198831"/>
                  </a:lnTo>
                  <a:lnTo>
                    <a:pt x="431356" y="198831"/>
                  </a:lnTo>
                  <a:lnTo>
                    <a:pt x="431356" y="200228"/>
                  </a:lnTo>
                  <a:lnTo>
                    <a:pt x="431356" y="199530"/>
                  </a:lnTo>
                  <a:lnTo>
                    <a:pt x="431356" y="200228"/>
                  </a:lnTo>
                  <a:lnTo>
                    <a:pt x="431356" y="199530"/>
                  </a:lnTo>
                  <a:lnTo>
                    <a:pt x="431407" y="199530"/>
                  </a:lnTo>
                  <a:lnTo>
                    <a:pt x="431407" y="200228"/>
                  </a:lnTo>
                  <a:lnTo>
                    <a:pt x="431407" y="199530"/>
                  </a:lnTo>
                  <a:lnTo>
                    <a:pt x="431407" y="200876"/>
                  </a:lnTo>
                  <a:lnTo>
                    <a:pt x="431458" y="200876"/>
                  </a:lnTo>
                  <a:lnTo>
                    <a:pt x="431458" y="200228"/>
                  </a:lnTo>
                  <a:lnTo>
                    <a:pt x="431458" y="200876"/>
                  </a:lnTo>
                  <a:lnTo>
                    <a:pt x="431458" y="200228"/>
                  </a:lnTo>
                  <a:lnTo>
                    <a:pt x="431559" y="200876"/>
                  </a:lnTo>
                  <a:lnTo>
                    <a:pt x="431559" y="200228"/>
                  </a:lnTo>
                  <a:lnTo>
                    <a:pt x="431559" y="200876"/>
                  </a:lnTo>
                  <a:lnTo>
                    <a:pt x="431559" y="199530"/>
                  </a:lnTo>
                  <a:lnTo>
                    <a:pt x="431610" y="199530"/>
                  </a:lnTo>
                  <a:lnTo>
                    <a:pt x="431610" y="197447"/>
                  </a:lnTo>
                  <a:lnTo>
                    <a:pt x="431610" y="198831"/>
                  </a:lnTo>
                  <a:lnTo>
                    <a:pt x="431661" y="198831"/>
                  </a:lnTo>
                  <a:lnTo>
                    <a:pt x="431661" y="200228"/>
                  </a:lnTo>
                  <a:lnTo>
                    <a:pt x="431661" y="198831"/>
                  </a:lnTo>
                  <a:lnTo>
                    <a:pt x="431661" y="200876"/>
                  </a:lnTo>
                  <a:lnTo>
                    <a:pt x="431762" y="202260"/>
                  </a:lnTo>
                  <a:lnTo>
                    <a:pt x="431762" y="200228"/>
                  </a:lnTo>
                  <a:lnTo>
                    <a:pt x="431762" y="202260"/>
                  </a:lnTo>
                  <a:lnTo>
                    <a:pt x="431801" y="200876"/>
                  </a:lnTo>
                  <a:lnTo>
                    <a:pt x="431801" y="202260"/>
                  </a:lnTo>
                  <a:lnTo>
                    <a:pt x="431801" y="200876"/>
                  </a:lnTo>
                  <a:lnTo>
                    <a:pt x="431801" y="202260"/>
                  </a:lnTo>
                  <a:lnTo>
                    <a:pt x="431801" y="200228"/>
                  </a:lnTo>
                  <a:lnTo>
                    <a:pt x="431801" y="202260"/>
                  </a:lnTo>
                  <a:lnTo>
                    <a:pt x="431851" y="202260"/>
                  </a:lnTo>
                  <a:lnTo>
                    <a:pt x="431851" y="200876"/>
                  </a:lnTo>
                  <a:lnTo>
                    <a:pt x="431851" y="202260"/>
                  </a:lnTo>
                  <a:lnTo>
                    <a:pt x="431851" y="200876"/>
                  </a:lnTo>
                  <a:lnTo>
                    <a:pt x="431851" y="202260"/>
                  </a:lnTo>
                  <a:lnTo>
                    <a:pt x="431851" y="200876"/>
                  </a:lnTo>
                  <a:lnTo>
                    <a:pt x="431902" y="200876"/>
                  </a:lnTo>
                  <a:lnTo>
                    <a:pt x="431902" y="202959"/>
                  </a:lnTo>
                  <a:lnTo>
                    <a:pt x="431902" y="202260"/>
                  </a:lnTo>
                  <a:lnTo>
                    <a:pt x="432004" y="202260"/>
                  </a:lnTo>
                  <a:lnTo>
                    <a:pt x="432004" y="202959"/>
                  </a:lnTo>
                  <a:lnTo>
                    <a:pt x="432004" y="200876"/>
                  </a:lnTo>
                  <a:lnTo>
                    <a:pt x="432004" y="202260"/>
                  </a:lnTo>
                  <a:lnTo>
                    <a:pt x="432004" y="200876"/>
                  </a:lnTo>
                  <a:lnTo>
                    <a:pt x="432055" y="200876"/>
                  </a:lnTo>
                  <a:lnTo>
                    <a:pt x="432055" y="200228"/>
                  </a:lnTo>
                  <a:lnTo>
                    <a:pt x="432055" y="200876"/>
                  </a:lnTo>
                  <a:lnTo>
                    <a:pt x="432055" y="200228"/>
                  </a:lnTo>
                  <a:lnTo>
                    <a:pt x="432055" y="200876"/>
                  </a:lnTo>
                  <a:lnTo>
                    <a:pt x="432055" y="200228"/>
                  </a:lnTo>
                  <a:lnTo>
                    <a:pt x="432105" y="200228"/>
                  </a:lnTo>
                  <a:lnTo>
                    <a:pt x="432105" y="198831"/>
                  </a:lnTo>
                  <a:lnTo>
                    <a:pt x="432105" y="200876"/>
                  </a:lnTo>
                  <a:lnTo>
                    <a:pt x="432105" y="200228"/>
                  </a:lnTo>
                  <a:lnTo>
                    <a:pt x="432105" y="200876"/>
                  </a:lnTo>
                  <a:lnTo>
                    <a:pt x="432207" y="200228"/>
                  </a:lnTo>
                  <a:lnTo>
                    <a:pt x="432207" y="199530"/>
                  </a:lnTo>
                  <a:lnTo>
                    <a:pt x="432207" y="202959"/>
                  </a:lnTo>
                  <a:lnTo>
                    <a:pt x="432207" y="202260"/>
                  </a:lnTo>
                  <a:lnTo>
                    <a:pt x="432207" y="202959"/>
                  </a:lnTo>
                  <a:lnTo>
                    <a:pt x="432207" y="202260"/>
                  </a:lnTo>
                  <a:lnTo>
                    <a:pt x="432258" y="202260"/>
                  </a:lnTo>
                  <a:lnTo>
                    <a:pt x="432258" y="200876"/>
                  </a:lnTo>
                  <a:lnTo>
                    <a:pt x="432258" y="202260"/>
                  </a:lnTo>
                  <a:lnTo>
                    <a:pt x="432308" y="202260"/>
                  </a:lnTo>
                  <a:lnTo>
                    <a:pt x="432308" y="202959"/>
                  </a:lnTo>
                  <a:lnTo>
                    <a:pt x="432308" y="202260"/>
                  </a:lnTo>
                  <a:lnTo>
                    <a:pt x="432347" y="202260"/>
                  </a:lnTo>
                  <a:lnTo>
                    <a:pt x="432347" y="202959"/>
                  </a:lnTo>
                  <a:lnTo>
                    <a:pt x="432347" y="202260"/>
                  </a:lnTo>
                  <a:lnTo>
                    <a:pt x="432347" y="202959"/>
                  </a:lnTo>
                  <a:lnTo>
                    <a:pt x="432347" y="202260"/>
                  </a:lnTo>
                  <a:lnTo>
                    <a:pt x="432448" y="202260"/>
                  </a:lnTo>
                  <a:lnTo>
                    <a:pt x="432448" y="202959"/>
                  </a:lnTo>
                  <a:lnTo>
                    <a:pt x="432448" y="202260"/>
                  </a:lnTo>
                  <a:lnTo>
                    <a:pt x="432448" y="202959"/>
                  </a:lnTo>
                  <a:lnTo>
                    <a:pt x="432448" y="202260"/>
                  </a:lnTo>
                  <a:lnTo>
                    <a:pt x="432448" y="202959"/>
                  </a:lnTo>
                  <a:lnTo>
                    <a:pt x="432448" y="202260"/>
                  </a:lnTo>
                  <a:lnTo>
                    <a:pt x="432448" y="202959"/>
                  </a:lnTo>
                  <a:lnTo>
                    <a:pt x="432448" y="202260"/>
                  </a:lnTo>
                  <a:lnTo>
                    <a:pt x="432499" y="202260"/>
                  </a:lnTo>
                  <a:lnTo>
                    <a:pt x="432499" y="200876"/>
                  </a:lnTo>
                  <a:lnTo>
                    <a:pt x="432499" y="202260"/>
                  </a:lnTo>
                  <a:lnTo>
                    <a:pt x="432499" y="200876"/>
                  </a:lnTo>
                  <a:lnTo>
                    <a:pt x="432499" y="202260"/>
                  </a:lnTo>
                  <a:lnTo>
                    <a:pt x="432499" y="200228"/>
                  </a:lnTo>
                  <a:lnTo>
                    <a:pt x="432550" y="200228"/>
                  </a:lnTo>
                  <a:lnTo>
                    <a:pt x="432550" y="199530"/>
                  </a:lnTo>
                  <a:lnTo>
                    <a:pt x="432550" y="200228"/>
                  </a:lnTo>
                  <a:lnTo>
                    <a:pt x="432550" y="199530"/>
                  </a:lnTo>
                  <a:lnTo>
                    <a:pt x="432550" y="200228"/>
                  </a:lnTo>
                  <a:lnTo>
                    <a:pt x="432550" y="199530"/>
                  </a:lnTo>
                  <a:lnTo>
                    <a:pt x="432550" y="200228"/>
                  </a:lnTo>
                  <a:lnTo>
                    <a:pt x="432550" y="198831"/>
                  </a:lnTo>
                  <a:lnTo>
                    <a:pt x="432651" y="198831"/>
                  </a:lnTo>
                  <a:lnTo>
                    <a:pt x="432651" y="200228"/>
                  </a:lnTo>
                  <a:lnTo>
                    <a:pt x="432651" y="199530"/>
                  </a:lnTo>
                  <a:lnTo>
                    <a:pt x="432702" y="199530"/>
                  </a:lnTo>
                  <a:lnTo>
                    <a:pt x="432702" y="202260"/>
                  </a:lnTo>
                  <a:lnTo>
                    <a:pt x="432702" y="200876"/>
                  </a:lnTo>
                  <a:lnTo>
                    <a:pt x="432753" y="200876"/>
                  </a:lnTo>
                  <a:lnTo>
                    <a:pt x="432753" y="202260"/>
                  </a:lnTo>
                  <a:lnTo>
                    <a:pt x="432753" y="200876"/>
                  </a:lnTo>
                  <a:lnTo>
                    <a:pt x="432804" y="202260"/>
                  </a:lnTo>
                  <a:lnTo>
                    <a:pt x="432804" y="200876"/>
                  </a:lnTo>
                  <a:lnTo>
                    <a:pt x="432804" y="202260"/>
                  </a:lnTo>
                  <a:lnTo>
                    <a:pt x="432804" y="200876"/>
                  </a:lnTo>
                  <a:lnTo>
                    <a:pt x="432804" y="202959"/>
                  </a:lnTo>
                  <a:lnTo>
                    <a:pt x="432804" y="202260"/>
                  </a:lnTo>
                  <a:lnTo>
                    <a:pt x="432893" y="202260"/>
                  </a:lnTo>
                  <a:lnTo>
                    <a:pt x="432893" y="202959"/>
                  </a:lnTo>
                  <a:lnTo>
                    <a:pt x="432893" y="202260"/>
                  </a:lnTo>
                  <a:lnTo>
                    <a:pt x="432893" y="202959"/>
                  </a:lnTo>
                  <a:lnTo>
                    <a:pt x="432893" y="202260"/>
                  </a:lnTo>
                  <a:lnTo>
                    <a:pt x="432893" y="202959"/>
                  </a:lnTo>
                  <a:lnTo>
                    <a:pt x="432893" y="202260"/>
                  </a:lnTo>
                  <a:lnTo>
                    <a:pt x="432893" y="202959"/>
                  </a:lnTo>
                  <a:lnTo>
                    <a:pt x="432893" y="202260"/>
                  </a:lnTo>
                  <a:lnTo>
                    <a:pt x="432893" y="202959"/>
                  </a:lnTo>
                  <a:lnTo>
                    <a:pt x="432943" y="202959"/>
                  </a:lnTo>
                  <a:lnTo>
                    <a:pt x="432943" y="202260"/>
                  </a:lnTo>
                  <a:lnTo>
                    <a:pt x="432943" y="202959"/>
                  </a:lnTo>
                  <a:lnTo>
                    <a:pt x="432943" y="202260"/>
                  </a:lnTo>
                  <a:lnTo>
                    <a:pt x="432994" y="202260"/>
                  </a:lnTo>
                  <a:lnTo>
                    <a:pt x="432994" y="200228"/>
                  </a:lnTo>
                  <a:lnTo>
                    <a:pt x="433045" y="200228"/>
                  </a:lnTo>
                  <a:lnTo>
                    <a:pt x="433045" y="197447"/>
                  </a:lnTo>
                  <a:lnTo>
                    <a:pt x="433045" y="198831"/>
                  </a:lnTo>
                  <a:lnTo>
                    <a:pt x="433147" y="198831"/>
                  </a:lnTo>
                  <a:lnTo>
                    <a:pt x="433147" y="200228"/>
                  </a:lnTo>
                  <a:lnTo>
                    <a:pt x="433147" y="198831"/>
                  </a:lnTo>
                  <a:lnTo>
                    <a:pt x="433147" y="200228"/>
                  </a:lnTo>
                  <a:lnTo>
                    <a:pt x="433197" y="200876"/>
                  </a:lnTo>
                  <a:lnTo>
                    <a:pt x="433197" y="199530"/>
                  </a:lnTo>
                  <a:lnTo>
                    <a:pt x="433197" y="200876"/>
                  </a:lnTo>
                  <a:lnTo>
                    <a:pt x="433248" y="200876"/>
                  </a:lnTo>
                  <a:lnTo>
                    <a:pt x="433248" y="200228"/>
                  </a:lnTo>
                  <a:lnTo>
                    <a:pt x="433248" y="200876"/>
                  </a:lnTo>
                  <a:lnTo>
                    <a:pt x="433248" y="200228"/>
                  </a:lnTo>
                  <a:lnTo>
                    <a:pt x="433248" y="200876"/>
                  </a:lnTo>
                  <a:lnTo>
                    <a:pt x="433350" y="200876"/>
                  </a:lnTo>
                  <a:lnTo>
                    <a:pt x="433350" y="202260"/>
                  </a:lnTo>
                  <a:lnTo>
                    <a:pt x="433350" y="200876"/>
                  </a:lnTo>
                  <a:lnTo>
                    <a:pt x="433350" y="202260"/>
                  </a:lnTo>
                  <a:lnTo>
                    <a:pt x="433350" y="200876"/>
                  </a:lnTo>
                  <a:lnTo>
                    <a:pt x="433350" y="202260"/>
                  </a:lnTo>
                  <a:lnTo>
                    <a:pt x="433350" y="200876"/>
                  </a:lnTo>
                  <a:lnTo>
                    <a:pt x="433350" y="202260"/>
                  </a:lnTo>
                  <a:lnTo>
                    <a:pt x="433350" y="200876"/>
                  </a:lnTo>
                  <a:lnTo>
                    <a:pt x="433350" y="202260"/>
                  </a:lnTo>
                  <a:lnTo>
                    <a:pt x="433388" y="202260"/>
                  </a:lnTo>
                  <a:lnTo>
                    <a:pt x="433388" y="202959"/>
                  </a:lnTo>
                  <a:lnTo>
                    <a:pt x="433388" y="202260"/>
                  </a:lnTo>
                  <a:lnTo>
                    <a:pt x="433439" y="202260"/>
                  </a:lnTo>
                  <a:lnTo>
                    <a:pt x="433439" y="200876"/>
                  </a:lnTo>
                  <a:lnTo>
                    <a:pt x="433490" y="200876"/>
                  </a:lnTo>
                  <a:lnTo>
                    <a:pt x="433490" y="200228"/>
                  </a:lnTo>
                  <a:lnTo>
                    <a:pt x="433490" y="200876"/>
                  </a:lnTo>
                  <a:lnTo>
                    <a:pt x="433490" y="199530"/>
                  </a:lnTo>
                  <a:lnTo>
                    <a:pt x="433591" y="199530"/>
                  </a:lnTo>
                  <a:lnTo>
                    <a:pt x="433591" y="200228"/>
                  </a:lnTo>
                  <a:lnTo>
                    <a:pt x="433591" y="197447"/>
                  </a:lnTo>
                  <a:lnTo>
                    <a:pt x="433591" y="199530"/>
                  </a:lnTo>
                  <a:lnTo>
                    <a:pt x="433642" y="200228"/>
                  </a:lnTo>
                  <a:lnTo>
                    <a:pt x="433642" y="197447"/>
                  </a:lnTo>
                  <a:lnTo>
                    <a:pt x="433642" y="200876"/>
                  </a:lnTo>
                  <a:lnTo>
                    <a:pt x="433693" y="200876"/>
                  </a:lnTo>
                  <a:lnTo>
                    <a:pt x="433693" y="198831"/>
                  </a:lnTo>
                  <a:lnTo>
                    <a:pt x="433693" y="200228"/>
                  </a:lnTo>
                  <a:lnTo>
                    <a:pt x="433794" y="200228"/>
                  </a:lnTo>
                  <a:lnTo>
                    <a:pt x="433794" y="200876"/>
                  </a:lnTo>
                  <a:lnTo>
                    <a:pt x="433794" y="200228"/>
                  </a:lnTo>
                  <a:lnTo>
                    <a:pt x="433794" y="200876"/>
                  </a:lnTo>
                  <a:lnTo>
                    <a:pt x="433845" y="200876"/>
                  </a:lnTo>
                  <a:lnTo>
                    <a:pt x="433845" y="202260"/>
                  </a:lnTo>
                  <a:lnTo>
                    <a:pt x="433845" y="200876"/>
                  </a:lnTo>
                  <a:lnTo>
                    <a:pt x="433845" y="202260"/>
                  </a:lnTo>
                  <a:lnTo>
                    <a:pt x="433934" y="202260"/>
                  </a:lnTo>
                  <a:lnTo>
                    <a:pt x="433934" y="200876"/>
                  </a:lnTo>
                  <a:lnTo>
                    <a:pt x="434036" y="200876"/>
                  </a:lnTo>
                  <a:lnTo>
                    <a:pt x="434036" y="199530"/>
                  </a:lnTo>
                  <a:lnTo>
                    <a:pt x="434036" y="200228"/>
                  </a:lnTo>
                  <a:lnTo>
                    <a:pt x="434087" y="200228"/>
                  </a:lnTo>
                  <a:lnTo>
                    <a:pt x="434087" y="197447"/>
                  </a:lnTo>
                  <a:lnTo>
                    <a:pt x="434087" y="200228"/>
                  </a:lnTo>
                  <a:lnTo>
                    <a:pt x="434087" y="199530"/>
                  </a:lnTo>
                  <a:lnTo>
                    <a:pt x="434137" y="199530"/>
                  </a:lnTo>
                  <a:lnTo>
                    <a:pt x="434137" y="197447"/>
                  </a:lnTo>
                  <a:lnTo>
                    <a:pt x="434137" y="200228"/>
                  </a:lnTo>
                  <a:lnTo>
                    <a:pt x="434137" y="199530"/>
                  </a:lnTo>
                  <a:lnTo>
                    <a:pt x="434239" y="199530"/>
                  </a:lnTo>
                  <a:lnTo>
                    <a:pt x="434239" y="200876"/>
                  </a:lnTo>
                  <a:lnTo>
                    <a:pt x="434239" y="199530"/>
                  </a:lnTo>
                  <a:lnTo>
                    <a:pt x="434290" y="199530"/>
                  </a:lnTo>
                  <a:lnTo>
                    <a:pt x="434290" y="200228"/>
                  </a:lnTo>
                  <a:lnTo>
                    <a:pt x="434290" y="199530"/>
                  </a:lnTo>
                  <a:lnTo>
                    <a:pt x="434290" y="200228"/>
                  </a:lnTo>
                  <a:lnTo>
                    <a:pt x="434290" y="199530"/>
                  </a:lnTo>
                  <a:lnTo>
                    <a:pt x="434290" y="200876"/>
                  </a:lnTo>
                  <a:lnTo>
                    <a:pt x="434341" y="200228"/>
                  </a:lnTo>
                  <a:lnTo>
                    <a:pt x="434341" y="200876"/>
                  </a:lnTo>
                  <a:lnTo>
                    <a:pt x="434391" y="200876"/>
                  </a:lnTo>
                  <a:lnTo>
                    <a:pt x="434391" y="202260"/>
                  </a:lnTo>
                  <a:lnTo>
                    <a:pt x="434391" y="200876"/>
                  </a:lnTo>
                  <a:lnTo>
                    <a:pt x="434480" y="200876"/>
                  </a:lnTo>
                  <a:lnTo>
                    <a:pt x="434480" y="200228"/>
                  </a:lnTo>
                  <a:lnTo>
                    <a:pt x="434480" y="200876"/>
                  </a:lnTo>
                  <a:lnTo>
                    <a:pt x="434480" y="199530"/>
                  </a:lnTo>
                  <a:lnTo>
                    <a:pt x="434531" y="200228"/>
                  </a:lnTo>
                  <a:lnTo>
                    <a:pt x="434531" y="198831"/>
                  </a:lnTo>
                  <a:lnTo>
                    <a:pt x="434531" y="199530"/>
                  </a:lnTo>
                  <a:lnTo>
                    <a:pt x="434582" y="200228"/>
                  </a:lnTo>
                  <a:lnTo>
                    <a:pt x="434582" y="200876"/>
                  </a:lnTo>
                  <a:lnTo>
                    <a:pt x="434582" y="199530"/>
                  </a:lnTo>
                  <a:lnTo>
                    <a:pt x="434582" y="200876"/>
                  </a:lnTo>
                  <a:lnTo>
                    <a:pt x="434633" y="202260"/>
                  </a:lnTo>
                  <a:lnTo>
                    <a:pt x="434633" y="200228"/>
                  </a:lnTo>
                  <a:lnTo>
                    <a:pt x="434633" y="202260"/>
                  </a:lnTo>
                  <a:lnTo>
                    <a:pt x="434734" y="202260"/>
                  </a:lnTo>
                  <a:lnTo>
                    <a:pt x="434734" y="200876"/>
                  </a:lnTo>
                  <a:lnTo>
                    <a:pt x="434734" y="202260"/>
                  </a:lnTo>
                  <a:lnTo>
                    <a:pt x="434734" y="200876"/>
                  </a:lnTo>
                  <a:lnTo>
                    <a:pt x="434734" y="202260"/>
                  </a:lnTo>
                  <a:lnTo>
                    <a:pt x="434734" y="200876"/>
                  </a:lnTo>
                  <a:lnTo>
                    <a:pt x="434734" y="202260"/>
                  </a:lnTo>
                  <a:lnTo>
                    <a:pt x="434734" y="200876"/>
                  </a:lnTo>
                  <a:lnTo>
                    <a:pt x="434785" y="200876"/>
                  </a:lnTo>
                  <a:lnTo>
                    <a:pt x="434785" y="202260"/>
                  </a:lnTo>
                  <a:lnTo>
                    <a:pt x="434785" y="200876"/>
                  </a:lnTo>
                  <a:lnTo>
                    <a:pt x="434785" y="202260"/>
                  </a:lnTo>
                  <a:lnTo>
                    <a:pt x="434836" y="202260"/>
                  </a:lnTo>
                  <a:lnTo>
                    <a:pt x="434836" y="200876"/>
                  </a:lnTo>
                  <a:lnTo>
                    <a:pt x="434836" y="202260"/>
                  </a:lnTo>
                  <a:lnTo>
                    <a:pt x="434836" y="200876"/>
                  </a:lnTo>
                  <a:lnTo>
                    <a:pt x="434937" y="200876"/>
                  </a:lnTo>
                  <a:lnTo>
                    <a:pt x="434937" y="202260"/>
                  </a:lnTo>
                  <a:lnTo>
                    <a:pt x="434937" y="200876"/>
                  </a:lnTo>
                  <a:lnTo>
                    <a:pt x="434976" y="200228"/>
                  </a:lnTo>
                  <a:lnTo>
                    <a:pt x="434976" y="200876"/>
                  </a:lnTo>
                  <a:lnTo>
                    <a:pt x="434976" y="200228"/>
                  </a:lnTo>
                  <a:lnTo>
                    <a:pt x="435026" y="200228"/>
                  </a:lnTo>
                  <a:lnTo>
                    <a:pt x="435026" y="198831"/>
                  </a:lnTo>
                  <a:lnTo>
                    <a:pt x="435026" y="200228"/>
                  </a:lnTo>
                  <a:lnTo>
                    <a:pt x="435077" y="200228"/>
                  </a:lnTo>
                  <a:lnTo>
                    <a:pt x="435077" y="198831"/>
                  </a:lnTo>
                  <a:lnTo>
                    <a:pt x="435077" y="202260"/>
                  </a:lnTo>
                  <a:lnTo>
                    <a:pt x="435179" y="202260"/>
                  </a:lnTo>
                  <a:lnTo>
                    <a:pt x="435179" y="200228"/>
                  </a:lnTo>
                  <a:lnTo>
                    <a:pt x="435179" y="200876"/>
                  </a:lnTo>
                  <a:lnTo>
                    <a:pt x="435179" y="200228"/>
                  </a:lnTo>
                  <a:lnTo>
                    <a:pt x="435179" y="202260"/>
                  </a:lnTo>
                  <a:lnTo>
                    <a:pt x="435230" y="202260"/>
                  </a:lnTo>
                  <a:lnTo>
                    <a:pt x="435230" y="200876"/>
                  </a:lnTo>
                  <a:lnTo>
                    <a:pt x="435230" y="202260"/>
                  </a:lnTo>
                  <a:lnTo>
                    <a:pt x="435280" y="202959"/>
                  </a:lnTo>
                  <a:lnTo>
                    <a:pt x="435280" y="200876"/>
                  </a:lnTo>
                  <a:lnTo>
                    <a:pt x="435280" y="202260"/>
                  </a:lnTo>
                  <a:lnTo>
                    <a:pt x="435382" y="202260"/>
                  </a:lnTo>
                  <a:lnTo>
                    <a:pt x="435382" y="200876"/>
                  </a:lnTo>
                  <a:lnTo>
                    <a:pt x="435382" y="202260"/>
                  </a:lnTo>
                  <a:lnTo>
                    <a:pt x="435382" y="200876"/>
                  </a:lnTo>
                  <a:lnTo>
                    <a:pt x="435433" y="200876"/>
                  </a:lnTo>
                  <a:lnTo>
                    <a:pt x="435433" y="200228"/>
                  </a:lnTo>
                  <a:lnTo>
                    <a:pt x="435483" y="200876"/>
                  </a:lnTo>
                  <a:lnTo>
                    <a:pt x="435483" y="199530"/>
                  </a:lnTo>
                  <a:lnTo>
                    <a:pt x="435483" y="200228"/>
                  </a:lnTo>
                  <a:lnTo>
                    <a:pt x="435483" y="198831"/>
                  </a:lnTo>
                  <a:lnTo>
                    <a:pt x="435483" y="199530"/>
                  </a:lnTo>
                  <a:lnTo>
                    <a:pt x="435483" y="198831"/>
                  </a:lnTo>
                  <a:lnTo>
                    <a:pt x="435483" y="199530"/>
                  </a:lnTo>
                  <a:lnTo>
                    <a:pt x="435483" y="198831"/>
                  </a:lnTo>
                  <a:lnTo>
                    <a:pt x="435522" y="198831"/>
                  </a:lnTo>
                  <a:lnTo>
                    <a:pt x="435522" y="197447"/>
                  </a:lnTo>
                  <a:lnTo>
                    <a:pt x="435522" y="200228"/>
                  </a:lnTo>
                  <a:lnTo>
                    <a:pt x="435522" y="199530"/>
                  </a:lnTo>
                  <a:lnTo>
                    <a:pt x="435623" y="198831"/>
                  </a:lnTo>
                  <a:lnTo>
                    <a:pt x="435623" y="197447"/>
                  </a:lnTo>
                  <a:lnTo>
                    <a:pt x="435623" y="202260"/>
                  </a:lnTo>
                  <a:lnTo>
                    <a:pt x="435623" y="199530"/>
                  </a:lnTo>
                  <a:lnTo>
                    <a:pt x="435674" y="199530"/>
                  </a:lnTo>
                  <a:lnTo>
                    <a:pt x="435674" y="200876"/>
                  </a:lnTo>
                  <a:lnTo>
                    <a:pt x="435674" y="200228"/>
                  </a:lnTo>
                  <a:lnTo>
                    <a:pt x="435725" y="200228"/>
                  </a:lnTo>
                  <a:lnTo>
                    <a:pt x="435725" y="200876"/>
                  </a:lnTo>
                  <a:lnTo>
                    <a:pt x="435826" y="200876"/>
                  </a:lnTo>
                  <a:lnTo>
                    <a:pt x="435826" y="202959"/>
                  </a:lnTo>
                  <a:lnTo>
                    <a:pt x="435826" y="202260"/>
                  </a:lnTo>
                  <a:lnTo>
                    <a:pt x="435826" y="202959"/>
                  </a:lnTo>
                  <a:lnTo>
                    <a:pt x="435826" y="202260"/>
                  </a:lnTo>
                  <a:lnTo>
                    <a:pt x="435877" y="202260"/>
                  </a:lnTo>
                  <a:lnTo>
                    <a:pt x="435877" y="202959"/>
                  </a:lnTo>
                  <a:lnTo>
                    <a:pt x="435877" y="202260"/>
                  </a:lnTo>
                  <a:lnTo>
                    <a:pt x="435877" y="202959"/>
                  </a:lnTo>
                  <a:lnTo>
                    <a:pt x="435877" y="202260"/>
                  </a:lnTo>
                  <a:lnTo>
                    <a:pt x="435928" y="200876"/>
                  </a:lnTo>
                  <a:lnTo>
                    <a:pt x="435928" y="202260"/>
                  </a:lnTo>
                  <a:lnTo>
                    <a:pt x="435928" y="200876"/>
                  </a:lnTo>
                  <a:lnTo>
                    <a:pt x="435928" y="202260"/>
                  </a:lnTo>
                  <a:lnTo>
                    <a:pt x="435928" y="200228"/>
                  </a:lnTo>
                  <a:lnTo>
                    <a:pt x="435979" y="200228"/>
                  </a:lnTo>
                  <a:lnTo>
                    <a:pt x="435979" y="198831"/>
                  </a:lnTo>
                  <a:lnTo>
                    <a:pt x="436068" y="198831"/>
                  </a:lnTo>
                  <a:lnTo>
                    <a:pt x="436068" y="197447"/>
                  </a:lnTo>
                  <a:lnTo>
                    <a:pt x="436068" y="200228"/>
                  </a:lnTo>
                  <a:lnTo>
                    <a:pt x="436068" y="197447"/>
                  </a:lnTo>
                  <a:lnTo>
                    <a:pt x="436118" y="197447"/>
                  </a:lnTo>
                  <a:lnTo>
                    <a:pt x="436118" y="200228"/>
                  </a:lnTo>
                  <a:lnTo>
                    <a:pt x="436118" y="198831"/>
                  </a:lnTo>
                  <a:lnTo>
                    <a:pt x="436169" y="198831"/>
                  </a:lnTo>
                  <a:lnTo>
                    <a:pt x="436169" y="200876"/>
                  </a:lnTo>
                  <a:lnTo>
                    <a:pt x="436169" y="199530"/>
                  </a:lnTo>
                  <a:lnTo>
                    <a:pt x="436169" y="200228"/>
                  </a:lnTo>
                  <a:lnTo>
                    <a:pt x="436169" y="199530"/>
                  </a:lnTo>
                  <a:lnTo>
                    <a:pt x="436169" y="200228"/>
                  </a:lnTo>
                  <a:lnTo>
                    <a:pt x="436220" y="200228"/>
                  </a:lnTo>
                  <a:lnTo>
                    <a:pt x="436220" y="200876"/>
                  </a:lnTo>
                  <a:lnTo>
                    <a:pt x="436220" y="200228"/>
                  </a:lnTo>
                  <a:lnTo>
                    <a:pt x="436220" y="200876"/>
                  </a:lnTo>
                  <a:lnTo>
                    <a:pt x="436220" y="200228"/>
                  </a:lnTo>
                  <a:lnTo>
                    <a:pt x="436220" y="200876"/>
                  </a:lnTo>
                  <a:lnTo>
                    <a:pt x="436220" y="200228"/>
                  </a:lnTo>
                  <a:lnTo>
                    <a:pt x="436220" y="200876"/>
                  </a:lnTo>
                  <a:lnTo>
                    <a:pt x="436220" y="200228"/>
                  </a:lnTo>
                  <a:lnTo>
                    <a:pt x="436220" y="200876"/>
                  </a:lnTo>
                  <a:lnTo>
                    <a:pt x="436322" y="200876"/>
                  </a:lnTo>
                  <a:lnTo>
                    <a:pt x="436322" y="202260"/>
                  </a:lnTo>
                  <a:lnTo>
                    <a:pt x="436322" y="200876"/>
                  </a:lnTo>
                  <a:lnTo>
                    <a:pt x="436322" y="202260"/>
                  </a:lnTo>
                  <a:lnTo>
                    <a:pt x="436322" y="200876"/>
                  </a:lnTo>
                  <a:lnTo>
                    <a:pt x="436322" y="202260"/>
                  </a:lnTo>
                  <a:lnTo>
                    <a:pt x="436372" y="200876"/>
                  </a:lnTo>
                  <a:lnTo>
                    <a:pt x="436372" y="202260"/>
                  </a:lnTo>
                  <a:lnTo>
                    <a:pt x="436372" y="200876"/>
                  </a:lnTo>
                  <a:lnTo>
                    <a:pt x="436423" y="200876"/>
                  </a:lnTo>
                  <a:lnTo>
                    <a:pt x="436423" y="200228"/>
                  </a:lnTo>
                  <a:lnTo>
                    <a:pt x="436423" y="200876"/>
                  </a:lnTo>
                  <a:lnTo>
                    <a:pt x="436423" y="200228"/>
                  </a:lnTo>
                  <a:lnTo>
                    <a:pt x="436423" y="200876"/>
                  </a:lnTo>
                  <a:lnTo>
                    <a:pt x="436423" y="200228"/>
                  </a:lnTo>
                  <a:lnTo>
                    <a:pt x="436525" y="200228"/>
                  </a:lnTo>
                  <a:lnTo>
                    <a:pt x="436525" y="198831"/>
                  </a:lnTo>
                  <a:lnTo>
                    <a:pt x="436563" y="197447"/>
                  </a:lnTo>
                  <a:lnTo>
                    <a:pt x="436563" y="196799"/>
                  </a:lnTo>
                  <a:lnTo>
                    <a:pt x="436563" y="197447"/>
                  </a:lnTo>
                  <a:lnTo>
                    <a:pt x="436563" y="196799"/>
                  </a:lnTo>
                  <a:lnTo>
                    <a:pt x="436563" y="197447"/>
                  </a:lnTo>
                  <a:lnTo>
                    <a:pt x="436563" y="196799"/>
                  </a:lnTo>
                  <a:lnTo>
                    <a:pt x="436614" y="196799"/>
                  </a:lnTo>
                  <a:lnTo>
                    <a:pt x="436614" y="198831"/>
                  </a:lnTo>
                  <a:lnTo>
                    <a:pt x="436665" y="198831"/>
                  </a:lnTo>
                  <a:lnTo>
                    <a:pt x="436665" y="197447"/>
                  </a:lnTo>
                  <a:lnTo>
                    <a:pt x="436665" y="199530"/>
                  </a:lnTo>
                  <a:lnTo>
                    <a:pt x="436766" y="199530"/>
                  </a:lnTo>
                  <a:lnTo>
                    <a:pt x="436766" y="198831"/>
                  </a:lnTo>
                  <a:lnTo>
                    <a:pt x="436766" y="200228"/>
                  </a:lnTo>
                  <a:lnTo>
                    <a:pt x="436766" y="199530"/>
                  </a:lnTo>
                  <a:lnTo>
                    <a:pt x="436766" y="200228"/>
                  </a:lnTo>
                  <a:lnTo>
                    <a:pt x="436766" y="199530"/>
                  </a:lnTo>
                  <a:lnTo>
                    <a:pt x="436766" y="200228"/>
                  </a:lnTo>
                  <a:lnTo>
                    <a:pt x="436817" y="200228"/>
                  </a:lnTo>
                  <a:lnTo>
                    <a:pt x="436817" y="199530"/>
                  </a:lnTo>
                  <a:lnTo>
                    <a:pt x="436817" y="200228"/>
                  </a:lnTo>
                  <a:lnTo>
                    <a:pt x="436868" y="200876"/>
                  </a:lnTo>
                  <a:lnTo>
                    <a:pt x="436868" y="200228"/>
                  </a:lnTo>
                  <a:lnTo>
                    <a:pt x="436868" y="200876"/>
                  </a:lnTo>
                  <a:lnTo>
                    <a:pt x="436868" y="200228"/>
                  </a:lnTo>
                  <a:lnTo>
                    <a:pt x="436868" y="200876"/>
                  </a:lnTo>
                  <a:lnTo>
                    <a:pt x="436868" y="200228"/>
                  </a:lnTo>
                  <a:lnTo>
                    <a:pt x="436969" y="200876"/>
                  </a:lnTo>
                  <a:lnTo>
                    <a:pt x="436969" y="200228"/>
                  </a:lnTo>
                  <a:lnTo>
                    <a:pt x="437020" y="200876"/>
                  </a:lnTo>
                  <a:lnTo>
                    <a:pt x="437020" y="199530"/>
                  </a:lnTo>
                  <a:lnTo>
                    <a:pt x="437020" y="200228"/>
                  </a:lnTo>
                  <a:lnTo>
                    <a:pt x="437020" y="199530"/>
                  </a:lnTo>
                  <a:lnTo>
                    <a:pt x="437020" y="200228"/>
                  </a:lnTo>
                  <a:lnTo>
                    <a:pt x="437020" y="198831"/>
                  </a:lnTo>
                  <a:lnTo>
                    <a:pt x="437071" y="197447"/>
                  </a:lnTo>
                  <a:lnTo>
                    <a:pt x="437071" y="196113"/>
                  </a:lnTo>
                  <a:lnTo>
                    <a:pt x="437071" y="196799"/>
                  </a:lnTo>
                  <a:lnTo>
                    <a:pt x="437109" y="196799"/>
                  </a:lnTo>
                  <a:lnTo>
                    <a:pt x="437109" y="196113"/>
                  </a:lnTo>
                  <a:lnTo>
                    <a:pt x="437109" y="197447"/>
                  </a:lnTo>
                  <a:lnTo>
                    <a:pt x="437109" y="196799"/>
                  </a:lnTo>
                  <a:lnTo>
                    <a:pt x="437211" y="196799"/>
                  </a:lnTo>
                  <a:lnTo>
                    <a:pt x="437211" y="198831"/>
                  </a:lnTo>
                  <a:lnTo>
                    <a:pt x="437211" y="197447"/>
                  </a:lnTo>
                  <a:lnTo>
                    <a:pt x="437211" y="198831"/>
                  </a:lnTo>
                  <a:lnTo>
                    <a:pt x="437262" y="197447"/>
                  </a:lnTo>
                  <a:lnTo>
                    <a:pt x="437262" y="198831"/>
                  </a:lnTo>
                  <a:lnTo>
                    <a:pt x="437262" y="197447"/>
                  </a:lnTo>
                  <a:lnTo>
                    <a:pt x="437262" y="198831"/>
                  </a:lnTo>
                  <a:lnTo>
                    <a:pt x="437262" y="197447"/>
                  </a:lnTo>
                  <a:lnTo>
                    <a:pt x="437262" y="198831"/>
                  </a:lnTo>
                  <a:lnTo>
                    <a:pt x="437312" y="198831"/>
                  </a:lnTo>
                  <a:lnTo>
                    <a:pt x="437312" y="197447"/>
                  </a:lnTo>
                  <a:lnTo>
                    <a:pt x="437312" y="199530"/>
                  </a:lnTo>
                  <a:lnTo>
                    <a:pt x="437414" y="199530"/>
                  </a:lnTo>
                  <a:lnTo>
                    <a:pt x="437414" y="198831"/>
                  </a:lnTo>
                  <a:lnTo>
                    <a:pt x="437414" y="200228"/>
                  </a:lnTo>
                  <a:lnTo>
                    <a:pt x="437414" y="199530"/>
                  </a:lnTo>
                  <a:lnTo>
                    <a:pt x="437414" y="200228"/>
                  </a:lnTo>
                  <a:lnTo>
                    <a:pt x="437465" y="200228"/>
                  </a:lnTo>
                  <a:lnTo>
                    <a:pt x="437465" y="200876"/>
                  </a:lnTo>
                  <a:lnTo>
                    <a:pt x="437465" y="200228"/>
                  </a:lnTo>
                  <a:lnTo>
                    <a:pt x="437516" y="200228"/>
                  </a:lnTo>
                  <a:lnTo>
                    <a:pt x="437516" y="199530"/>
                  </a:lnTo>
                  <a:lnTo>
                    <a:pt x="437516" y="200228"/>
                  </a:lnTo>
                  <a:lnTo>
                    <a:pt x="437516" y="198831"/>
                  </a:lnTo>
                  <a:lnTo>
                    <a:pt x="437516" y="199530"/>
                  </a:lnTo>
                  <a:lnTo>
                    <a:pt x="437516" y="198831"/>
                  </a:lnTo>
                  <a:lnTo>
                    <a:pt x="437566" y="198831"/>
                  </a:lnTo>
                  <a:lnTo>
                    <a:pt x="437566" y="199530"/>
                  </a:lnTo>
                  <a:lnTo>
                    <a:pt x="437566" y="197447"/>
                  </a:lnTo>
                  <a:lnTo>
                    <a:pt x="437655" y="198831"/>
                  </a:lnTo>
                  <a:lnTo>
                    <a:pt x="437655" y="200228"/>
                  </a:lnTo>
                  <a:lnTo>
                    <a:pt x="437655" y="198831"/>
                  </a:lnTo>
                  <a:lnTo>
                    <a:pt x="437655" y="199530"/>
                  </a:lnTo>
                  <a:lnTo>
                    <a:pt x="437655" y="198831"/>
                  </a:lnTo>
                  <a:lnTo>
                    <a:pt x="437655" y="199530"/>
                  </a:lnTo>
                  <a:lnTo>
                    <a:pt x="437706" y="200228"/>
                  </a:lnTo>
                  <a:lnTo>
                    <a:pt x="437706" y="199530"/>
                  </a:lnTo>
                  <a:lnTo>
                    <a:pt x="437706" y="200228"/>
                  </a:lnTo>
                  <a:lnTo>
                    <a:pt x="437706" y="199530"/>
                  </a:lnTo>
                  <a:lnTo>
                    <a:pt x="437706" y="200228"/>
                  </a:lnTo>
                  <a:lnTo>
                    <a:pt x="437757" y="199530"/>
                  </a:lnTo>
                  <a:lnTo>
                    <a:pt x="437757" y="200228"/>
                  </a:lnTo>
                  <a:lnTo>
                    <a:pt x="437757" y="199530"/>
                  </a:lnTo>
                  <a:lnTo>
                    <a:pt x="437757" y="200228"/>
                  </a:lnTo>
                  <a:lnTo>
                    <a:pt x="437757" y="199530"/>
                  </a:lnTo>
                  <a:lnTo>
                    <a:pt x="437808" y="200228"/>
                  </a:lnTo>
                  <a:lnTo>
                    <a:pt x="437808" y="199530"/>
                  </a:lnTo>
                  <a:lnTo>
                    <a:pt x="437808" y="200228"/>
                  </a:lnTo>
                  <a:lnTo>
                    <a:pt x="437909" y="200228"/>
                  </a:lnTo>
                  <a:lnTo>
                    <a:pt x="437909" y="200876"/>
                  </a:lnTo>
                  <a:lnTo>
                    <a:pt x="437909" y="200228"/>
                  </a:lnTo>
                  <a:lnTo>
                    <a:pt x="437909" y="200876"/>
                  </a:lnTo>
                  <a:lnTo>
                    <a:pt x="437909" y="200228"/>
                  </a:lnTo>
                  <a:lnTo>
                    <a:pt x="437909" y="200876"/>
                  </a:lnTo>
                  <a:lnTo>
                    <a:pt x="437909" y="200228"/>
                  </a:lnTo>
                  <a:lnTo>
                    <a:pt x="437960" y="200228"/>
                  </a:lnTo>
                  <a:lnTo>
                    <a:pt x="437960" y="200876"/>
                  </a:lnTo>
                  <a:lnTo>
                    <a:pt x="437960" y="199530"/>
                  </a:lnTo>
                  <a:lnTo>
                    <a:pt x="438011" y="199530"/>
                  </a:lnTo>
                  <a:lnTo>
                    <a:pt x="438011" y="200228"/>
                  </a:lnTo>
                  <a:lnTo>
                    <a:pt x="438011" y="197447"/>
                  </a:lnTo>
                  <a:lnTo>
                    <a:pt x="438112" y="197447"/>
                  </a:lnTo>
                  <a:lnTo>
                    <a:pt x="438112" y="200228"/>
                  </a:lnTo>
                  <a:lnTo>
                    <a:pt x="438112" y="198831"/>
                  </a:lnTo>
                  <a:lnTo>
                    <a:pt x="438112" y="200876"/>
                  </a:lnTo>
                  <a:lnTo>
                    <a:pt x="438151" y="200876"/>
                  </a:lnTo>
                  <a:lnTo>
                    <a:pt x="438151" y="199530"/>
                  </a:lnTo>
                  <a:lnTo>
                    <a:pt x="438151" y="202260"/>
                  </a:lnTo>
                  <a:lnTo>
                    <a:pt x="438151" y="200876"/>
                  </a:lnTo>
                  <a:lnTo>
                    <a:pt x="438201" y="200876"/>
                  </a:lnTo>
                  <a:lnTo>
                    <a:pt x="438201" y="202260"/>
                  </a:lnTo>
                  <a:lnTo>
                    <a:pt x="438201" y="200876"/>
                  </a:lnTo>
                  <a:lnTo>
                    <a:pt x="438201" y="202260"/>
                  </a:lnTo>
                  <a:lnTo>
                    <a:pt x="438201" y="200876"/>
                  </a:lnTo>
                  <a:lnTo>
                    <a:pt x="438252" y="200876"/>
                  </a:lnTo>
                  <a:lnTo>
                    <a:pt x="438252" y="200228"/>
                  </a:lnTo>
                  <a:lnTo>
                    <a:pt x="438252" y="200876"/>
                  </a:lnTo>
                  <a:lnTo>
                    <a:pt x="438252" y="200228"/>
                  </a:lnTo>
                  <a:lnTo>
                    <a:pt x="438252" y="200876"/>
                  </a:lnTo>
                  <a:lnTo>
                    <a:pt x="438252" y="200228"/>
                  </a:lnTo>
                  <a:lnTo>
                    <a:pt x="438252" y="200876"/>
                  </a:lnTo>
                  <a:lnTo>
                    <a:pt x="438252" y="200228"/>
                  </a:lnTo>
                  <a:lnTo>
                    <a:pt x="438354" y="200876"/>
                  </a:lnTo>
                  <a:lnTo>
                    <a:pt x="438354" y="200228"/>
                  </a:lnTo>
                  <a:lnTo>
                    <a:pt x="438354" y="200876"/>
                  </a:lnTo>
                  <a:lnTo>
                    <a:pt x="438354" y="200228"/>
                  </a:lnTo>
                  <a:lnTo>
                    <a:pt x="438354" y="200876"/>
                  </a:lnTo>
                  <a:lnTo>
                    <a:pt x="438354" y="200228"/>
                  </a:lnTo>
                  <a:lnTo>
                    <a:pt x="438354" y="200876"/>
                  </a:lnTo>
                  <a:lnTo>
                    <a:pt x="438405" y="200876"/>
                  </a:lnTo>
                  <a:lnTo>
                    <a:pt x="438405" y="200228"/>
                  </a:lnTo>
                  <a:lnTo>
                    <a:pt x="438455" y="200228"/>
                  </a:lnTo>
                  <a:lnTo>
                    <a:pt x="438455" y="198831"/>
                  </a:lnTo>
                  <a:lnTo>
                    <a:pt x="438455" y="199530"/>
                  </a:lnTo>
                  <a:lnTo>
                    <a:pt x="438455" y="197447"/>
                  </a:lnTo>
                  <a:lnTo>
                    <a:pt x="438557" y="198831"/>
                  </a:lnTo>
                  <a:lnTo>
                    <a:pt x="438557" y="196799"/>
                  </a:lnTo>
                  <a:lnTo>
                    <a:pt x="438557" y="199530"/>
                  </a:lnTo>
                  <a:lnTo>
                    <a:pt x="438608" y="199530"/>
                  </a:lnTo>
                  <a:lnTo>
                    <a:pt x="438608" y="197447"/>
                  </a:lnTo>
                  <a:lnTo>
                    <a:pt x="438608" y="200876"/>
                  </a:lnTo>
                  <a:lnTo>
                    <a:pt x="438608" y="200228"/>
                  </a:lnTo>
                  <a:lnTo>
                    <a:pt x="438608" y="200876"/>
                  </a:lnTo>
                  <a:lnTo>
                    <a:pt x="438658" y="200876"/>
                  </a:lnTo>
                  <a:lnTo>
                    <a:pt x="438658" y="199530"/>
                  </a:lnTo>
                  <a:lnTo>
                    <a:pt x="438658" y="200876"/>
                  </a:lnTo>
                  <a:lnTo>
                    <a:pt x="438697" y="200876"/>
                  </a:lnTo>
                  <a:lnTo>
                    <a:pt x="438697" y="200228"/>
                  </a:lnTo>
                  <a:lnTo>
                    <a:pt x="438697" y="200876"/>
                  </a:lnTo>
                  <a:lnTo>
                    <a:pt x="438798" y="200876"/>
                  </a:lnTo>
                  <a:lnTo>
                    <a:pt x="438798" y="202260"/>
                  </a:lnTo>
                  <a:lnTo>
                    <a:pt x="438798" y="200876"/>
                  </a:lnTo>
                  <a:lnTo>
                    <a:pt x="438849" y="200876"/>
                  </a:lnTo>
                  <a:lnTo>
                    <a:pt x="438849" y="202260"/>
                  </a:lnTo>
                  <a:lnTo>
                    <a:pt x="438849" y="200876"/>
                  </a:lnTo>
                  <a:lnTo>
                    <a:pt x="438849" y="202260"/>
                  </a:lnTo>
                  <a:lnTo>
                    <a:pt x="438849" y="200876"/>
                  </a:lnTo>
                  <a:lnTo>
                    <a:pt x="438849" y="202260"/>
                  </a:lnTo>
                  <a:lnTo>
                    <a:pt x="438900" y="202260"/>
                  </a:lnTo>
                  <a:lnTo>
                    <a:pt x="438900" y="200876"/>
                  </a:lnTo>
                  <a:lnTo>
                    <a:pt x="438900" y="202260"/>
                  </a:lnTo>
                  <a:lnTo>
                    <a:pt x="438900" y="200228"/>
                  </a:lnTo>
                  <a:lnTo>
                    <a:pt x="439001" y="200228"/>
                  </a:lnTo>
                  <a:lnTo>
                    <a:pt x="439001" y="199530"/>
                  </a:lnTo>
                  <a:lnTo>
                    <a:pt x="439001" y="200228"/>
                  </a:lnTo>
                  <a:lnTo>
                    <a:pt x="439001" y="197447"/>
                  </a:lnTo>
                  <a:lnTo>
                    <a:pt x="439052" y="198831"/>
                  </a:lnTo>
                  <a:lnTo>
                    <a:pt x="439052" y="197447"/>
                  </a:lnTo>
                  <a:lnTo>
                    <a:pt x="439052" y="198831"/>
                  </a:lnTo>
                  <a:lnTo>
                    <a:pt x="439052" y="197447"/>
                  </a:lnTo>
                  <a:lnTo>
                    <a:pt x="439052" y="199530"/>
                  </a:lnTo>
                  <a:lnTo>
                    <a:pt x="439052" y="198831"/>
                  </a:lnTo>
                  <a:lnTo>
                    <a:pt x="439052" y="199530"/>
                  </a:lnTo>
                  <a:lnTo>
                    <a:pt x="439052" y="198831"/>
                  </a:lnTo>
                  <a:lnTo>
                    <a:pt x="439103" y="198831"/>
                  </a:lnTo>
                  <a:lnTo>
                    <a:pt x="439103" y="200228"/>
                  </a:lnTo>
                  <a:lnTo>
                    <a:pt x="439154" y="200228"/>
                  </a:lnTo>
                  <a:lnTo>
                    <a:pt x="439154" y="200876"/>
                  </a:lnTo>
                  <a:lnTo>
                    <a:pt x="439154" y="200228"/>
                  </a:lnTo>
                  <a:lnTo>
                    <a:pt x="439154" y="200876"/>
                  </a:lnTo>
                  <a:lnTo>
                    <a:pt x="439243" y="200876"/>
                  </a:lnTo>
                  <a:lnTo>
                    <a:pt x="439243" y="202260"/>
                  </a:lnTo>
                  <a:lnTo>
                    <a:pt x="439243" y="200876"/>
                  </a:lnTo>
                  <a:lnTo>
                    <a:pt x="439293" y="202260"/>
                  </a:lnTo>
                  <a:lnTo>
                    <a:pt x="439293" y="200876"/>
                  </a:lnTo>
                  <a:lnTo>
                    <a:pt x="439293" y="202260"/>
                  </a:lnTo>
                  <a:lnTo>
                    <a:pt x="439293" y="200876"/>
                  </a:lnTo>
                  <a:lnTo>
                    <a:pt x="439344" y="202260"/>
                  </a:lnTo>
                  <a:lnTo>
                    <a:pt x="439344" y="200876"/>
                  </a:lnTo>
                  <a:lnTo>
                    <a:pt x="439344" y="202260"/>
                  </a:lnTo>
                  <a:lnTo>
                    <a:pt x="439344" y="200876"/>
                  </a:lnTo>
                  <a:lnTo>
                    <a:pt x="439344" y="202260"/>
                  </a:lnTo>
                  <a:lnTo>
                    <a:pt x="439344" y="200876"/>
                  </a:lnTo>
                  <a:lnTo>
                    <a:pt x="439344" y="202260"/>
                  </a:lnTo>
                  <a:lnTo>
                    <a:pt x="439395" y="202260"/>
                  </a:lnTo>
                  <a:lnTo>
                    <a:pt x="439395" y="200228"/>
                  </a:lnTo>
                  <a:lnTo>
                    <a:pt x="439395" y="200876"/>
                  </a:lnTo>
                  <a:lnTo>
                    <a:pt x="439395" y="200228"/>
                  </a:lnTo>
                  <a:lnTo>
                    <a:pt x="439497" y="200228"/>
                  </a:lnTo>
                  <a:lnTo>
                    <a:pt x="439497" y="198831"/>
                  </a:lnTo>
                  <a:lnTo>
                    <a:pt x="439497" y="199530"/>
                  </a:lnTo>
                  <a:lnTo>
                    <a:pt x="439497" y="196799"/>
                  </a:lnTo>
                  <a:lnTo>
                    <a:pt x="439497" y="197447"/>
                  </a:lnTo>
                  <a:lnTo>
                    <a:pt x="439547" y="197447"/>
                  </a:lnTo>
                  <a:lnTo>
                    <a:pt x="439547" y="199530"/>
                  </a:lnTo>
                  <a:lnTo>
                    <a:pt x="439547" y="197447"/>
                  </a:lnTo>
                  <a:lnTo>
                    <a:pt x="439598" y="198831"/>
                  </a:lnTo>
                  <a:lnTo>
                    <a:pt x="439598" y="200876"/>
                  </a:lnTo>
                  <a:lnTo>
                    <a:pt x="439598" y="200228"/>
                  </a:lnTo>
                  <a:lnTo>
                    <a:pt x="439598" y="200876"/>
                  </a:lnTo>
                  <a:lnTo>
                    <a:pt x="439700" y="200228"/>
                  </a:lnTo>
                  <a:lnTo>
                    <a:pt x="439700" y="200876"/>
                  </a:lnTo>
                  <a:lnTo>
                    <a:pt x="439700" y="200228"/>
                  </a:lnTo>
                  <a:lnTo>
                    <a:pt x="439700" y="200876"/>
                  </a:lnTo>
                  <a:lnTo>
                    <a:pt x="439700" y="200228"/>
                  </a:lnTo>
                  <a:lnTo>
                    <a:pt x="439700" y="200876"/>
                  </a:lnTo>
                  <a:lnTo>
                    <a:pt x="439700" y="200228"/>
                  </a:lnTo>
                  <a:lnTo>
                    <a:pt x="439700" y="200876"/>
                  </a:lnTo>
                  <a:lnTo>
                    <a:pt x="439700" y="200228"/>
                  </a:lnTo>
                  <a:lnTo>
                    <a:pt x="439738" y="200228"/>
                  </a:lnTo>
                  <a:lnTo>
                    <a:pt x="439738" y="200876"/>
                  </a:lnTo>
                  <a:lnTo>
                    <a:pt x="439738" y="200228"/>
                  </a:lnTo>
                  <a:lnTo>
                    <a:pt x="439738" y="202260"/>
                  </a:lnTo>
                  <a:lnTo>
                    <a:pt x="439738" y="200876"/>
                  </a:lnTo>
                  <a:lnTo>
                    <a:pt x="439789" y="200876"/>
                  </a:lnTo>
                  <a:lnTo>
                    <a:pt x="439789" y="202260"/>
                  </a:lnTo>
                  <a:lnTo>
                    <a:pt x="439789" y="200876"/>
                  </a:lnTo>
                  <a:lnTo>
                    <a:pt x="439789" y="202260"/>
                  </a:lnTo>
                  <a:lnTo>
                    <a:pt x="439840" y="202260"/>
                  </a:lnTo>
                  <a:lnTo>
                    <a:pt x="439840" y="200876"/>
                  </a:lnTo>
                  <a:lnTo>
                    <a:pt x="439840" y="202260"/>
                  </a:lnTo>
                  <a:lnTo>
                    <a:pt x="439840" y="200876"/>
                  </a:lnTo>
                  <a:lnTo>
                    <a:pt x="439840" y="202260"/>
                  </a:lnTo>
                  <a:lnTo>
                    <a:pt x="439941" y="200876"/>
                  </a:lnTo>
                  <a:lnTo>
                    <a:pt x="439941" y="202260"/>
                  </a:lnTo>
                  <a:lnTo>
                    <a:pt x="439941" y="200228"/>
                  </a:lnTo>
                  <a:lnTo>
                    <a:pt x="439992" y="200228"/>
                  </a:lnTo>
                  <a:lnTo>
                    <a:pt x="439992" y="197447"/>
                  </a:lnTo>
                  <a:lnTo>
                    <a:pt x="439992" y="198831"/>
                  </a:lnTo>
                  <a:lnTo>
                    <a:pt x="440043" y="198831"/>
                  </a:lnTo>
                  <a:lnTo>
                    <a:pt x="440043" y="197447"/>
                  </a:lnTo>
                  <a:lnTo>
                    <a:pt x="440043" y="200228"/>
                  </a:lnTo>
                  <a:lnTo>
                    <a:pt x="440144" y="200228"/>
                  </a:lnTo>
                  <a:lnTo>
                    <a:pt x="440144" y="199530"/>
                  </a:lnTo>
                  <a:lnTo>
                    <a:pt x="440144" y="200228"/>
                  </a:lnTo>
                  <a:lnTo>
                    <a:pt x="440144" y="198831"/>
                  </a:lnTo>
                  <a:lnTo>
                    <a:pt x="440144" y="200228"/>
                  </a:lnTo>
                  <a:lnTo>
                    <a:pt x="440144" y="199530"/>
                  </a:lnTo>
                  <a:lnTo>
                    <a:pt x="440144" y="200228"/>
                  </a:lnTo>
                  <a:lnTo>
                    <a:pt x="440195" y="200876"/>
                  </a:lnTo>
                  <a:lnTo>
                    <a:pt x="440195" y="199530"/>
                  </a:lnTo>
                  <a:lnTo>
                    <a:pt x="440195" y="200228"/>
                  </a:lnTo>
                  <a:lnTo>
                    <a:pt x="440195" y="199530"/>
                  </a:lnTo>
                  <a:lnTo>
                    <a:pt x="440195" y="200228"/>
                  </a:lnTo>
                  <a:lnTo>
                    <a:pt x="440195" y="199530"/>
                  </a:lnTo>
                  <a:lnTo>
                    <a:pt x="440246" y="200228"/>
                  </a:lnTo>
                  <a:lnTo>
                    <a:pt x="440246" y="199530"/>
                  </a:lnTo>
                  <a:lnTo>
                    <a:pt x="440246" y="200228"/>
                  </a:lnTo>
                  <a:lnTo>
                    <a:pt x="440284" y="200876"/>
                  </a:lnTo>
                  <a:lnTo>
                    <a:pt x="440284" y="200228"/>
                  </a:lnTo>
                  <a:lnTo>
                    <a:pt x="440284" y="200876"/>
                  </a:lnTo>
                  <a:lnTo>
                    <a:pt x="440284" y="200228"/>
                  </a:lnTo>
                  <a:lnTo>
                    <a:pt x="440284" y="200876"/>
                  </a:lnTo>
                  <a:lnTo>
                    <a:pt x="440284" y="200228"/>
                  </a:lnTo>
                  <a:lnTo>
                    <a:pt x="440284" y="200876"/>
                  </a:lnTo>
                  <a:lnTo>
                    <a:pt x="440284" y="200228"/>
                  </a:lnTo>
                  <a:lnTo>
                    <a:pt x="440386" y="200876"/>
                  </a:lnTo>
                  <a:lnTo>
                    <a:pt x="440386" y="200228"/>
                  </a:lnTo>
                  <a:lnTo>
                    <a:pt x="440437" y="200876"/>
                  </a:lnTo>
                  <a:lnTo>
                    <a:pt x="440437" y="199530"/>
                  </a:lnTo>
                  <a:lnTo>
                    <a:pt x="440487" y="199530"/>
                  </a:lnTo>
                  <a:lnTo>
                    <a:pt x="440487" y="197447"/>
                  </a:lnTo>
                  <a:lnTo>
                    <a:pt x="440487" y="200228"/>
                  </a:lnTo>
                  <a:lnTo>
                    <a:pt x="440487" y="199530"/>
                  </a:lnTo>
                  <a:lnTo>
                    <a:pt x="440589" y="199530"/>
                  </a:lnTo>
                  <a:lnTo>
                    <a:pt x="440589" y="198831"/>
                  </a:lnTo>
                  <a:lnTo>
                    <a:pt x="440589" y="202959"/>
                  </a:lnTo>
                  <a:lnTo>
                    <a:pt x="440589" y="202260"/>
                  </a:lnTo>
                  <a:lnTo>
                    <a:pt x="440589" y="202959"/>
                  </a:lnTo>
                  <a:lnTo>
                    <a:pt x="440589" y="200876"/>
                  </a:lnTo>
                  <a:lnTo>
                    <a:pt x="440640" y="200876"/>
                  </a:lnTo>
                  <a:lnTo>
                    <a:pt x="440640" y="200228"/>
                  </a:lnTo>
                  <a:lnTo>
                    <a:pt x="440640" y="202260"/>
                  </a:lnTo>
                  <a:lnTo>
                    <a:pt x="440640" y="200228"/>
                  </a:lnTo>
                  <a:lnTo>
                    <a:pt x="440691" y="200228"/>
                  </a:lnTo>
                  <a:lnTo>
                    <a:pt x="440691" y="200876"/>
                  </a:lnTo>
                  <a:lnTo>
                    <a:pt x="440691" y="200228"/>
                  </a:lnTo>
                  <a:lnTo>
                    <a:pt x="440691" y="200876"/>
                  </a:lnTo>
                  <a:lnTo>
                    <a:pt x="440741" y="200876"/>
                  </a:lnTo>
                  <a:lnTo>
                    <a:pt x="440741" y="202260"/>
                  </a:lnTo>
                  <a:lnTo>
                    <a:pt x="440741" y="200876"/>
                  </a:lnTo>
                  <a:lnTo>
                    <a:pt x="440741" y="202260"/>
                  </a:lnTo>
                  <a:lnTo>
                    <a:pt x="440741" y="200876"/>
                  </a:lnTo>
                  <a:lnTo>
                    <a:pt x="440741" y="202260"/>
                  </a:lnTo>
                  <a:lnTo>
                    <a:pt x="440741" y="200876"/>
                  </a:lnTo>
                  <a:lnTo>
                    <a:pt x="440830" y="202260"/>
                  </a:lnTo>
                  <a:lnTo>
                    <a:pt x="440830" y="200876"/>
                  </a:lnTo>
                  <a:lnTo>
                    <a:pt x="440830" y="202260"/>
                  </a:lnTo>
                  <a:lnTo>
                    <a:pt x="440830" y="200228"/>
                  </a:lnTo>
                  <a:lnTo>
                    <a:pt x="440830" y="202260"/>
                  </a:lnTo>
                  <a:lnTo>
                    <a:pt x="440830" y="200876"/>
                  </a:lnTo>
                  <a:lnTo>
                    <a:pt x="440830" y="202260"/>
                  </a:lnTo>
                  <a:lnTo>
                    <a:pt x="440881" y="202260"/>
                  </a:lnTo>
                  <a:lnTo>
                    <a:pt x="440881" y="200876"/>
                  </a:lnTo>
                  <a:lnTo>
                    <a:pt x="440881" y="202260"/>
                  </a:lnTo>
                  <a:lnTo>
                    <a:pt x="440881" y="200228"/>
                  </a:lnTo>
                  <a:lnTo>
                    <a:pt x="440932" y="200228"/>
                  </a:lnTo>
                  <a:lnTo>
                    <a:pt x="440932" y="198831"/>
                  </a:lnTo>
                  <a:lnTo>
                    <a:pt x="440983" y="198831"/>
                  </a:lnTo>
                  <a:lnTo>
                    <a:pt x="440983" y="200228"/>
                  </a:lnTo>
                  <a:lnTo>
                    <a:pt x="440983" y="199530"/>
                  </a:lnTo>
                  <a:lnTo>
                    <a:pt x="441084" y="199530"/>
                  </a:lnTo>
                  <a:lnTo>
                    <a:pt x="441084" y="200228"/>
                  </a:lnTo>
                  <a:lnTo>
                    <a:pt x="441084" y="199530"/>
                  </a:lnTo>
                  <a:lnTo>
                    <a:pt x="441084" y="202260"/>
                  </a:lnTo>
                  <a:lnTo>
                    <a:pt x="441084" y="200228"/>
                  </a:lnTo>
                  <a:lnTo>
                    <a:pt x="441135" y="200228"/>
                  </a:lnTo>
                  <a:lnTo>
                    <a:pt x="441135" y="202260"/>
                  </a:lnTo>
                  <a:lnTo>
                    <a:pt x="441135" y="200876"/>
                  </a:lnTo>
                  <a:lnTo>
                    <a:pt x="441287" y="200876"/>
                  </a:lnTo>
                  <a:lnTo>
                    <a:pt x="441287" y="202260"/>
                  </a:lnTo>
                  <a:lnTo>
                    <a:pt x="441287" y="200876"/>
                  </a:lnTo>
                  <a:lnTo>
                    <a:pt x="441287" y="202260"/>
                  </a:lnTo>
                  <a:lnTo>
                    <a:pt x="441326" y="202260"/>
                  </a:lnTo>
                  <a:lnTo>
                    <a:pt x="441326" y="200876"/>
                  </a:lnTo>
                  <a:lnTo>
                    <a:pt x="441326" y="202260"/>
                  </a:lnTo>
                  <a:lnTo>
                    <a:pt x="441326" y="200876"/>
                  </a:lnTo>
                  <a:lnTo>
                    <a:pt x="441326" y="202260"/>
                  </a:lnTo>
                  <a:lnTo>
                    <a:pt x="441326" y="200876"/>
                  </a:lnTo>
                  <a:lnTo>
                    <a:pt x="441326" y="202260"/>
                  </a:lnTo>
                  <a:lnTo>
                    <a:pt x="441326" y="200876"/>
                  </a:lnTo>
                  <a:lnTo>
                    <a:pt x="441376" y="200876"/>
                  </a:lnTo>
                  <a:lnTo>
                    <a:pt x="441376" y="200228"/>
                  </a:lnTo>
                  <a:lnTo>
                    <a:pt x="441376" y="200876"/>
                  </a:lnTo>
                  <a:lnTo>
                    <a:pt x="441376" y="199530"/>
                  </a:lnTo>
                  <a:lnTo>
                    <a:pt x="441376" y="200228"/>
                  </a:lnTo>
                  <a:lnTo>
                    <a:pt x="441376" y="199530"/>
                  </a:lnTo>
                  <a:lnTo>
                    <a:pt x="441376" y="200228"/>
                  </a:lnTo>
                  <a:lnTo>
                    <a:pt x="441376" y="199530"/>
                  </a:lnTo>
                  <a:lnTo>
                    <a:pt x="441427" y="199530"/>
                  </a:lnTo>
                  <a:lnTo>
                    <a:pt x="441427" y="197447"/>
                  </a:lnTo>
                  <a:lnTo>
                    <a:pt x="441427" y="198831"/>
                  </a:lnTo>
                  <a:lnTo>
                    <a:pt x="441427" y="196799"/>
                  </a:lnTo>
                  <a:lnTo>
                    <a:pt x="441427" y="197447"/>
                  </a:lnTo>
                  <a:lnTo>
                    <a:pt x="441529" y="197447"/>
                  </a:lnTo>
                  <a:lnTo>
                    <a:pt x="441529" y="200228"/>
                  </a:lnTo>
                  <a:lnTo>
                    <a:pt x="441529" y="197447"/>
                  </a:lnTo>
                  <a:lnTo>
                    <a:pt x="441529" y="200228"/>
                  </a:lnTo>
                  <a:lnTo>
                    <a:pt x="441580" y="200876"/>
                  </a:lnTo>
                  <a:lnTo>
                    <a:pt x="441580" y="199530"/>
                  </a:lnTo>
                  <a:lnTo>
                    <a:pt x="441580" y="200876"/>
                  </a:lnTo>
                  <a:lnTo>
                    <a:pt x="441732" y="200876"/>
                  </a:lnTo>
                  <a:lnTo>
                    <a:pt x="441732" y="200228"/>
                  </a:lnTo>
                  <a:lnTo>
                    <a:pt x="441732" y="202260"/>
                  </a:lnTo>
                  <a:lnTo>
                    <a:pt x="441732" y="200876"/>
                  </a:lnTo>
                  <a:lnTo>
                    <a:pt x="441783" y="200876"/>
                  </a:lnTo>
                  <a:lnTo>
                    <a:pt x="441783" y="202260"/>
                  </a:lnTo>
                  <a:lnTo>
                    <a:pt x="441783" y="200876"/>
                  </a:lnTo>
                  <a:lnTo>
                    <a:pt x="441783" y="202959"/>
                  </a:lnTo>
                  <a:lnTo>
                    <a:pt x="441783" y="202260"/>
                  </a:lnTo>
                  <a:lnTo>
                    <a:pt x="441833" y="202260"/>
                  </a:lnTo>
                  <a:lnTo>
                    <a:pt x="441833" y="200876"/>
                  </a:lnTo>
                  <a:lnTo>
                    <a:pt x="441833" y="202260"/>
                  </a:lnTo>
                  <a:lnTo>
                    <a:pt x="441872" y="202260"/>
                  </a:lnTo>
                  <a:lnTo>
                    <a:pt x="441872" y="200228"/>
                  </a:lnTo>
                  <a:lnTo>
                    <a:pt x="441872" y="200876"/>
                  </a:lnTo>
                  <a:lnTo>
                    <a:pt x="441872" y="200228"/>
                  </a:lnTo>
                  <a:lnTo>
                    <a:pt x="441872" y="200876"/>
                  </a:lnTo>
                  <a:lnTo>
                    <a:pt x="441872" y="198831"/>
                  </a:lnTo>
                  <a:lnTo>
                    <a:pt x="441973" y="198831"/>
                  </a:lnTo>
                  <a:lnTo>
                    <a:pt x="441973" y="199530"/>
                  </a:lnTo>
                  <a:lnTo>
                    <a:pt x="441973" y="197447"/>
                  </a:lnTo>
                  <a:lnTo>
                    <a:pt x="441973" y="198831"/>
                  </a:lnTo>
                  <a:lnTo>
                    <a:pt x="441973" y="197447"/>
                  </a:lnTo>
                  <a:lnTo>
                    <a:pt x="441973" y="198831"/>
                  </a:lnTo>
                  <a:lnTo>
                    <a:pt x="442024" y="198831"/>
                  </a:lnTo>
                  <a:lnTo>
                    <a:pt x="442024" y="199530"/>
                  </a:lnTo>
                  <a:lnTo>
                    <a:pt x="442024" y="198831"/>
                  </a:lnTo>
                  <a:lnTo>
                    <a:pt x="442024" y="199530"/>
                  </a:lnTo>
                  <a:lnTo>
                    <a:pt x="442024" y="198831"/>
                  </a:lnTo>
                  <a:lnTo>
                    <a:pt x="442024" y="200228"/>
                  </a:lnTo>
                  <a:lnTo>
                    <a:pt x="442075" y="200228"/>
                  </a:lnTo>
                  <a:lnTo>
                    <a:pt x="442075" y="199530"/>
                  </a:lnTo>
                  <a:lnTo>
                    <a:pt x="442075" y="200228"/>
                  </a:lnTo>
                  <a:lnTo>
                    <a:pt x="442075" y="199530"/>
                  </a:lnTo>
                  <a:lnTo>
                    <a:pt x="442075" y="200228"/>
                  </a:lnTo>
                  <a:lnTo>
                    <a:pt x="442075" y="199530"/>
                  </a:lnTo>
                  <a:lnTo>
                    <a:pt x="442075" y="200228"/>
                  </a:lnTo>
                  <a:lnTo>
                    <a:pt x="442176" y="200228"/>
                  </a:lnTo>
                  <a:lnTo>
                    <a:pt x="442176" y="199530"/>
                  </a:lnTo>
                  <a:lnTo>
                    <a:pt x="442176" y="200228"/>
                  </a:lnTo>
                  <a:lnTo>
                    <a:pt x="442227" y="200876"/>
                  </a:lnTo>
                  <a:lnTo>
                    <a:pt x="442227" y="200228"/>
                  </a:lnTo>
                  <a:lnTo>
                    <a:pt x="442227" y="200876"/>
                  </a:lnTo>
                  <a:lnTo>
                    <a:pt x="442227" y="200228"/>
                  </a:lnTo>
                  <a:lnTo>
                    <a:pt x="442227" y="200876"/>
                  </a:lnTo>
                  <a:lnTo>
                    <a:pt x="442227" y="200228"/>
                  </a:lnTo>
                  <a:lnTo>
                    <a:pt x="442227" y="200876"/>
                  </a:lnTo>
                  <a:lnTo>
                    <a:pt x="442227" y="200228"/>
                  </a:lnTo>
                  <a:lnTo>
                    <a:pt x="442227" y="200876"/>
                  </a:lnTo>
                  <a:lnTo>
                    <a:pt x="442278" y="200876"/>
                  </a:lnTo>
                  <a:lnTo>
                    <a:pt x="442278" y="202260"/>
                  </a:lnTo>
                  <a:lnTo>
                    <a:pt x="442278" y="200876"/>
                  </a:lnTo>
                  <a:lnTo>
                    <a:pt x="442278" y="202260"/>
                  </a:lnTo>
                  <a:lnTo>
                    <a:pt x="442278" y="200876"/>
                  </a:lnTo>
                  <a:lnTo>
                    <a:pt x="442278" y="202260"/>
                  </a:lnTo>
                  <a:lnTo>
                    <a:pt x="442278" y="200876"/>
                  </a:lnTo>
                  <a:lnTo>
                    <a:pt x="442278" y="202260"/>
                  </a:lnTo>
                  <a:lnTo>
                    <a:pt x="442278" y="200876"/>
                  </a:lnTo>
                  <a:lnTo>
                    <a:pt x="442278" y="202260"/>
                  </a:lnTo>
                  <a:lnTo>
                    <a:pt x="442278" y="200876"/>
                  </a:lnTo>
                  <a:lnTo>
                    <a:pt x="442278" y="202260"/>
                  </a:lnTo>
                  <a:lnTo>
                    <a:pt x="442329" y="202260"/>
                  </a:lnTo>
                  <a:lnTo>
                    <a:pt x="442329" y="200228"/>
                  </a:lnTo>
                  <a:lnTo>
                    <a:pt x="442418" y="200228"/>
                  </a:lnTo>
                  <a:lnTo>
                    <a:pt x="442418" y="199530"/>
                  </a:lnTo>
                  <a:lnTo>
                    <a:pt x="442418" y="200228"/>
                  </a:lnTo>
                  <a:lnTo>
                    <a:pt x="442418" y="198831"/>
                  </a:lnTo>
                  <a:lnTo>
                    <a:pt x="442418" y="199530"/>
                  </a:lnTo>
                  <a:lnTo>
                    <a:pt x="442468" y="198831"/>
                  </a:lnTo>
                  <a:lnTo>
                    <a:pt x="442468" y="196799"/>
                  </a:lnTo>
                  <a:lnTo>
                    <a:pt x="442468" y="197447"/>
                  </a:lnTo>
                  <a:lnTo>
                    <a:pt x="442468" y="196799"/>
                  </a:lnTo>
                  <a:lnTo>
                    <a:pt x="442468" y="198831"/>
                  </a:lnTo>
                  <a:lnTo>
                    <a:pt x="442468" y="197447"/>
                  </a:lnTo>
                  <a:lnTo>
                    <a:pt x="442468" y="198831"/>
                  </a:lnTo>
                  <a:lnTo>
                    <a:pt x="442519" y="198831"/>
                  </a:lnTo>
                  <a:lnTo>
                    <a:pt x="442519" y="196799"/>
                  </a:lnTo>
                  <a:lnTo>
                    <a:pt x="442519" y="199530"/>
                  </a:lnTo>
                  <a:lnTo>
                    <a:pt x="442570" y="199530"/>
                  </a:lnTo>
                  <a:lnTo>
                    <a:pt x="442570" y="200228"/>
                  </a:lnTo>
                  <a:lnTo>
                    <a:pt x="442570" y="198831"/>
                  </a:lnTo>
                  <a:lnTo>
                    <a:pt x="442570" y="200228"/>
                  </a:lnTo>
                  <a:lnTo>
                    <a:pt x="442672" y="200228"/>
                  </a:lnTo>
                  <a:lnTo>
                    <a:pt x="442672" y="198831"/>
                  </a:lnTo>
                  <a:lnTo>
                    <a:pt x="442672" y="200228"/>
                  </a:lnTo>
                  <a:lnTo>
                    <a:pt x="442672" y="199530"/>
                  </a:lnTo>
                  <a:lnTo>
                    <a:pt x="442722" y="199530"/>
                  </a:lnTo>
                  <a:lnTo>
                    <a:pt x="442722" y="200876"/>
                  </a:lnTo>
                  <a:lnTo>
                    <a:pt x="442773" y="200228"/>
                  </a:lnTo>
                  <a:lnTo>
                    <a:pt x="442773" y="200876"/>
                  </a:lnTo>
                  <a:lnTo>
                    <a:pt x="442773" y="200228"/>
                  </a:lnTo>
                  <a:lnTo>
                    <a:pt x="442773" y="202260"/>
                  </a:lnTo>
                  <a:lnTo>
                    <a:pt x="442773" y="200876"/>
                  </a:lnTo>
                  <a:lnTo>
                    <a:pt x="442773" y="202260"/>
                  </a:lnTo>
                  <a:lnTo>
                    <a:pt x="442773" y="200876"/>
                  </a:lnTo>
                  <a:lnTo>
                    <a:pt x="442875" y="200228"/>
                  </a:lnTo>
                  <a:lnTo>
                    <a:pt x="442875" y="200876"/>
                  </a:lnTo>
                  <a:lnTo>
                    <a:pt x="442875" y="200228"/>
                  </a:lnTo>
                  <a:lnTo>
                    <a:pt x="442875" y="200876"/>
                  </a:lnTo>
                  <a:lnTo>
                    <a:pt x="442875" y="200228"/>
                  </a:lnTo>
                  <a:lnTo>
                    <a:pt x="442875" y="200876"/>
                  </a:lnTo>
                  <a:lnTo>
                    <a:pt x="442913" y="200228"/>
                  </a:lnTo>
                  <a:lnTo>
                    <a:pt x="442913" y="198831"/>
                  </a:lnTo>
                  <a:lnTo>
                    <a:pt x="442913" y="199530"/>
                  </a:lnTo>
                  <a:lnTo>
                    <a:pt x="442964" y="198831"/>
                  </a:lnTo>
                  <a:lnTo>
                    <a:pt x="442964" y="196799"/>
                  </a:lnTo>
                  <a:lnTo>
                    <a:pt x="442964" y="197447"/>
                  </a:lnTo>
                  <a:lnTo>
                    <a:pt x="443015" y="197447"/>
                  </a:lnTo>
                  <a:lnTo>
                    <a:pt x="443015" y="198831"/>
                  </a:lnTo>
                  <a:lnTo>
                    <a:pt x="443015" y="196113"/>
                  </a:lnTo>
                  <a:lnTo>
                    <a:pt x="443015" y="198831"/>
                  </a:lnTo>
                  <a:lnTo>
                    <a:pt x="443116" y="198831"/>
                  </a:lnTo>
                  <a:lnTo>
                    <a:pt x="443116" y="196799"/>
                  </a:lnTo>
                  <a:lnTo>
                    <a:pt x="443116" y="198831"/>
                  </a:lnTo>
                  <a:lnTo>
                    <a:pt x="443167" y="198831"/>
                  </a:lnTo>
                  <a:lnTo>
                    <a:pt x="443167" y="197447"/>
                  </a:lnTo>
                  <a:lnTo>
                    <a:pt x="443167" y="198831"/>
                  </a:lnTo>
                  <a:lnTo>
                    <a:pt x="443167" y="197447"/>
                  </a:lnTo>
                  <a:lnTo>
                    <a:pt x="443167" y="199530"/>
                  </a:lnTo>
                  <a:lnTo>
                    <a:pt x="443167" y="198831"/>
                  </a:lnTo>
                  <a:lnTo>
                    <a:pt x="443218" y="199530"/>
                  </a:lnTo>
                  <a:lnTo>
                    <a:pt x="443218" y="198831"/>
                  </a:lnTo>
                  <a:lnTo>
                    <a:pt x="443218" y="199530"/>
                  </a:lnTo>
                  <a:lnTo>
                    <a:pt x="443218" y="198831"/>
                  </a:lnTo>
                  <a:lnTo>
                    <a:pt x="443218" y="199530"/>
                  </a:lnTo>
                  <a:lnTo>
                    <a:pt x="443319" y="199530"/>
                  </a:lnTo>
                  <a:lnTo>
                    <a:pt x="443319" y="200228"/>
                  </a:lnTo>
                  <a:lnTo>
                    <a:pt x="443319" y="199530"/>
                  </a:lnTo>
                  <a:lnTo>
                    <a:pt x="443319" y="200228"/>
                  </a:lnTo>
                  <a:lnTo>
                    <a:pt x="443319" y="199530"/>
                  </a:lnTo>
                  <a:lnTo>
                    <a:pt x="443370" y="200228"/>
                  </a:lnTo>
                  <a:lnTo>
                    <a:pt x="443370" y="199530"/>
                  </a:lnTo>
                  <a:lnTo>
                    <a:pt x="443370" y="200228"/>
                  </a:lnTo>
                  <a:lnTo>
                    <a:pt x="443421" y="200228"/>
                  </a:lnTo>
                  <a:lnTo>
                    <a:pt x="443421" y="199530"/>
                  </a:lnTo>
                  <a:lnTo>
                    <a:pt x="443421" y="200228"/>
                  </a:lnTo>
                  <a:lnTo>
                    <a:pt x="443421" y="198831"/>
                  </a:lnTo>
                  <a:lnTo>
                    <a:pt x="443459" y="198831"/>
                  </a:lnTo>
                  <a:lnTo>
                    <a:pt x="443459" y="197447"/>
                  </a:lnTo>
                  <a:lnTo>
                    <a:pt x="443459" y="199530"/>
                  </a:lnTo>
                  <a:lnTo>
                    <a:pt x="443561" y="199530"/>
                  </a:lnTo>
                  <a:lnTo>
                    <a:pt x="443561" y="197447"/>
                  </a:lnTo>
                  <a:lnTo>
                    <a:pt x="443561" y="200228"/>
                  </a:lnTo>
                  <a:lnTo>
                    <a:pt x="443561" y="199530"/>
                  </a:lnTo>
                  <a:lnTo>
                    <a:pt x="443561" y="200228"/>
                  </a:lnTo>
                  <a:lnTo>
                    <a:pt x="443561" y="199530"/>
                  </a:lnTo>
                  <a:lnTo>
                    <a:pt x="443561" y="200228"/>
                  </a:lnTo>
                  <a:lnTo>
                    <a:pt x="443612" y="199530"/>
                  </a:lnTo>
                  <a:lnTo>
                    <a:pt x="443612" y="198831"/>
                  </a:lnTo>
                  <a:lnTo>
                    <a:pt x="443612" y="200228"/>
                  </a:lnTo>
                  <a:lnTo>
                    <a:pt x="443612" y="199530"/>
                  </a:lnTo>
                  <a:lnTo>
                    <a:pt x="443612" y="200228"/>
                  </a:lnTo>
                  <a:lnTo>
                    <a:pt x="443612" y="199530"/>
                  </a:lnTo>
                  <a:lnTo>
                    <a:pt x="443612" y="200228"/>
                  </a:lnTo>
                  <a:lnTo>
                    <a:pt x="443662" y="199530"/>
                  </a:lnTo>
                  <a:lnTo>
                    <a:pt x="443662" y="200228"/>
                  </a:lnTo>
                  <a:lnTo>
                    <a:pt x="443662" y="199530"/>
                  </a:lnTo>
                  <a:lnTo>
                    <a:pt x="443662" y="200228"/>
                  </a:lnTo>
                  <a:lnTo>
                    <a:pt x="443662" y="199530"/>
                  </a:lnTo>
                  <a:lnTo>
                    <a:pt x="443662" y="200228"/>
                  </a:lnTo>
                  <a:lnTo>
                    <a:pt x="443866" y="200228"/>
                  </a:lnTo>
                  <a:lnTo>
                    <a:pt x="443866" y="199530"/>
                  </a:lnTo>
                  <a:lnTo>
                    <a:pt x="443866" y="200228"/>
                  </a:lnTo>
                  <a:lnTo>
                    <a:pt x="443916" y="199530"/>
                  </a:lnTo>
                  <a:lnTo>
                    <a:pt x="443916" y="200228"/>
                  </a:lnTo>
                  <a:lnTo>
                    <a:pt x="443916" y="199530"/>
                  </a:lnTo>
                  <a:lnTo>
                    <a:pt x="443916" y="200228"/>
                  </a:lnTo>
                  <a:lnTo>
                    <a:pt x="443916" y="199530"/>
                  </a:lnTo>
                  <a:lnTo>
                    <a:pt x="443916" y="200228"/>
                  </a:lnTo>
                  <a:lnTo>
                    <a:pt x="443916" y="199530"/>
                  </a:lnTo>
                  <a:lnTo>
                    <a:pt x="444005" y="198831"/>
                  </a:lnTo>
                  <a:lnTo>
                    <a:pt x="444005" y="197447"/>
                  </a:lnTo>
                  <a:lnTo>
                    <a:pt x="444005" y="200228"/>
                  </a:lnTo>
                  <a:lnTo>
                    <a:pt x="444005" y="198831"/>
                  </a:lnTo>
                  <a:lnTo>
                    <a:pt x="444056" y="198831"/>
                  </a:lnTo>
                  <a:lnTo>
                    <a:pt x="444056" y="200876"/>
                  </a:lnTo>
                  <a:lnTo>
                    <a:pt x="444056" y="199530"/>
                  </a:lnTo>
                  <a:lnTo>
                    <a:pt x="444107" y="200228"/>
                  </a:lnTo>
                  <a:lnTo>
                    <a:pt x="444107" y="200876"/>
                  </a:lnTo>
                  <a:lnTo>
                    <a:pt x="444107" y="200228"/>
                  </a:lnTo>
                  <a:lnTo>
                    <a:pt x="444107" y="200876"/>
                  </a:lnTo>
                  <a:lnTo>
                    <a:pt x="444107" y="200228"/>
                  </a:lnTo>
                  <a:lnTo>
                    <a:pt x="444158" y="200228"/>
                  </a:lnTo>
                  <a:lnTo>
                    <a:pt x="444158" y="200876"/>
                  </a:lnTo>
                  <a:lnTo>
                    <a:pt x="444259" y="200876"/>
                  </a:lnTo>
                  <a:lnTo>
                    <a:pt x="444259" y="200228"/>
                  </a:lnTo>
                  <a:lnTo>
                    <a:pt x="444259" y="200876"/>
                  </a:lnTo>
                  <a:lnTo>
                    <a:pt x="444310" y="200876"/>
                  </a:lnTo>
                  <a:lnTo>
                    <a:pt x="444310" y="202260"/>
                  </a:lnTo>
                  <a:lnTo>
                    <a:pt x="444310" y="200876"/>
                  </a:lnTo>
                  <a:lnTo>
                    <a:pt x="444310" y="202260"/>
                  </a:lnTo>
                  <a:lnTo>
                    <a:pt x="444310" y="200228"/>
                  </a:lnTo>
                  <a:lnTo>
                    <a:pt x="444310" y="200876"/>
                  </a:lnTo>
                  <a:lnTo>
                    <a:pt x="444310" y="200228"/>
                  </a:lnTo>
                  <a:lnTo>
                    <a:pt x="444361" y="200228"/>
                  </a:lnTo>
                  <a:lnTo>
                    <a:pt x="444361" y="199530"/>
                  </a:lnTo>
                  <a:lnTo>
                    <a:pt x="444462" y="199530"/>
                  </a:lnTo>
                  <a:lnTo>
                    <a:pt x="444462" y="196799"/>
                  </a:lnTo>
                  <a:lnTo>
                    <a:pt x="444501" y="196799"/>
                  </a:lnTo>
                  <a:lnTo>
                    <a:pt x="444501" y="196113"/>
                  </a:lnTo>
                  <a:lnTo>
                    <a:pt x="444501" y="199530"/>
                  </a:lnTo>
                  <a:lnTo>
                    <a:pt x="444501" y="196799"/>
                  </a:lnTo>
                  <a:lnTo>
                    <a:pt x="444551" y="196799"/>
                  </a:lnTo>
                  <a:lnTo>
                    <a:pt x="444551" y="200876"/>
                  </a:lnTo>
                  <a:lnTo>
                    <a:pt x="444551" y="198831"/>
                  </a:lnTo>
                  <a:lnTo>
                    <a:pt x="444551" y="199530"/>
                  </a:lnTo>
                  <a:lnTo>
                    <a:pt x="444551" y="198831"/>
                  </a:lnTo>
                  <a:lnTo>
                    <a:pt x="444602" y="199530"/>
                  </a:lnTo>
                  <a:lnTo>
                    <a:pt x="444602" y="200876"/>
                  </a:lnTo>
                  <a:lnTo>
                    <a:pt x="444602" y="200228"/>
                  </a:lnTo>
                  <a:lnTo>
                    <a:pt x="444602" y="200876"/>
                  </a:lnTo>
                  <a:lnTo>
                    <a:pt x="444602" y="200228"/>
                  </a:lnTo>
                  <a:lnTo>
                    <a:pt x="444602" y="200876"/>
                  </a:lnTo>
                  <a:lnTo>
                    <a:pt x="444602" y="200228"/>
                  </a:lnTo>
                  <a:lnTo>
                    <a:pt x="444704" y="200228"/>
                  </a:lnTo>
                  <a:lnTo>
                    <a:pt x="444704" y="200876"/>
                  </a:lnTo>
                  <a:lnTo>
                    <a:pt x="444704" y="200228"/>
                  </a:lnTo>
                  <a:lnTo>
                    <a:pt x="444704" y="200876"/>
                  </a:lnTo>
                  <a:lnTo>
                    <a:pt x="444755" y="200876"/>
                  </a:lnTo>
                  <a:lnTo>
                    <a:pt x="444755" y="200228"/>
                  </a:lnTo>
                  <a:lnTo>
                    <a:pt x="444755" y="200876"/>
                  </a:lnTo>
                  <a:lnTo>
                    <a:pt x="444805" y="200876"/>
                  </a:lnTo>
                  <a:lnTo>
                    <a:pt x="444805" y="202260"/>
                  </a:lnTo>
                  <a:lnTo>
                    <a:pt x="444805" y="200228"/>
                  </a:lnTo>
                  <a:lnTo>
                    <a:pt x="444907" y="200228"/>
                  </a:lnTo>
                  <a:lnTo>
                    <a:pt x="444907" y="199530"/>
                  </a:lnTo>
                  <a:lnTo>
                    <a:pt x="444958" y="199530"/>
                  </a:lnTo>
                  <a:lnTo>
                    <a:pt x="444958" y="197447"/>
                  </a:lnTo>
                  <a:lnTo>
                    <a:pt x="444958" y="199530"/>
                  </a:lnTo>
                  <a:lnTo>
                    <a:pt x="445008" y="200228"/>
                  </a:lnTo>
                  <a:lnTo>
                    <a:pt x="445008" y="197447"/>
                  </a:lnTo>
                  <a:lnTo>
                    <a:pt x="445008" y="200876"/>
                  </a:lnTo>
                  <a:lnTo>
                    <a:pt x="445047" y="200876"/>
                  </a:lnTo>
                  <a:lnTo>
                    <a:pt x="445047" y="200228"/>
                  </a:lnTo>
                  <a:lnTo>
                    <a:pt x="445047" y="200876"/>
                  </a:lnTo>
                  <a:lnTo>
                    <a:pt x="445047" y="198831"/>
                  </a:lnTo>
                  <a:lnTo>
                    <a:pt x="445047" y="200228"/>
                  </a:lnTo>
                  <a:lnTo>
                    <a:pt x="445148" y="200876"/>
                  </a:lnTo>
                  <a:lnTo>
                    <a:pt x="445148" y="200228"/>
                  </a:lnTo>
                  <a:lnTo>
                    <a:pt x="445148" y="200876"/>
                  </a:lnTo>
                  <a:lnTo>
                    <a:pt x="445199" y="202260"/>
                  </a:lnTo>
                  <a:lnTo>
                    <a:pt x="445199" y="200228"/>
                  </a:lnTo>
                  <a:lnTo>
                    <a:pt x="445199" y="202260"/>
                  </a:lnTo>
                  <a:lnTo>
                    <a:pt x="445199" y="200876"/>
                  </a:lnTo>
                  <a:lnTo>
                    <a:pt x="445199" y="202260"/>
                  </a:lnTo>
                  <a:lnTo>
                    <a:pt x="445199" y="200876"/>
                  </a:lnTo>
                  <a:lnTo>
                    <a:pt x="445199" y="202260"/>
                  </a:lnTo>
                  <a:lnTo>
                    <a:pt x="445250" y="202260"/>
                  </a:lnTo>
                  <a:lnTo>
                    <a:pt x="445250" y="200876"/>
                  </a:lnTo>
                  <a:lnTo>
                    <a:pt x="445250" y="202260"/>
                  </a:lnTo>
                  <a:lnTo>
                    <a:pt x="445250" y="200876"/>
                  </a:lnTo>
                  <a:lnTo>
                    <a:pt x="445250" y="202260"/>
                  </a:lnTo>
                  <a:lnTo>
                    <a:pt x="445351" y="200876"/>
                  </a:lnTo>
                  <a:lnTo>
                    <a:pt x="445351" y="200228"/>
                  </a:lnTo>
                  <a:lnTo>
                    <a:pt x="445351" y="200876"/>
                  </a:lnTo>
                  <a:lnTo>
                    <a:pt x="445351" y="200228"/>
                  </a:lnTo>
                  <a:lnTo>
                    <a:pt x="445402" y="200228"/>
                  </a:lnTo>
                  <a:lnTo>
                    <a:pt x="445402" y="200876"/>
                  </a:lnTo>
                  <a:lnTo>
                    <a:pt x="445402" y="199530"/>
                  </a:lnTo>
                  <a:lnTo>
                    <a:pt x="445402" y="200228"/>
                  </a:lnTo>
                  <a:lnTo>
                    <a:pt x="445402" y="199530"/>
                  </a:lnTo>
                  <a:lnTo>
                    <a:pt x="445453" y="199530"/>
                  </a:lnTo>
                  <a:lnTo>
                    <a:pt x="445453" y="196799"/>
                  </a:lnTo>
                  <a:lnTo>
                    <a:pt x="445453" y="197447"/>
                  </a:lnTo>
                  <a:lnTo>
                    <a:pt x="445453" y="196799"/>
                  </a:lnTo>
                  <a:lnTo>
                    <a:pt x="445453" y="198831"/>
                  </a:lnTo>
                  <a:lnTo>
                    <a:pt x="445504" y="199530"/>
                  </a:lnTo>
                  <a:lnTo>
                    <a:pt x="445504" y="196799"/>
                  </a:lnTo>
                  <a:lnTo>
                    <a:pt x="445504" y="197447"/>
                  </a:lnTo>
                  <a:lnTo>
                    <a:pt x="445504" y="196799"/>
                  </a:lnTo>
                  <a:lnTo>
                    <a:pt x="445504" y="200228"/>
                  </a:lnTo>
                  <a:lnTo>
                    <a:pt x="445593" y="200228"/>
                  </a:lnTo>
                  <a:lnTo>
                    <a:pt x="445593" y="199530"/>
                  </a:lnTo>
                  <a:lnTo>
                    <a:pt x="445593" y="200876"/>
                  </a:lnTo>
                  <a:lnTo>
                    <a:pt x="445593" y="200228"/>
                  </a:lnTo>
                  <a:lnTo>
                    <a:pt x="445643" y="200228"/>
                  </a:lnTo>
                  <a:lnTo>
                    <a:pt x="445643" y="200876"/>
                  </a:lnTo>
                  <a:lnTo>
                    <a:pt x="445643" y="200228"/>
                  </a:lnTo>
                  <a:lnTo>
                    <a:pt x="445694" y="200228"/>
                  </a:lnTo>
                  <a:lnTo>
                    <a:pt x="445694" y="200876"/>
                  </a:lnTo>
                  <a:lnTo>
                    <a:pt x="445745" y="200876"/>
                  </a:lnTo>
                  <a:lnTo>
                    <a:pt x="445745" y="202260"/>
                  </a:lnTo>
                  <a:lnTo>
                    <a:pt x="445745" y="200228"/>
                  </a:lnTo>
                  <a:lnTo>
                    <a:pt x="445745" y="200876"/>
                  </a:lnTo>
                  <a:lnTo>
                    <a:pt x="445897" y="200876"/>
                  </a:lnTo>
                  <a:lnTo>
                    <a:pt x="445897" y="199530"/>
                  </a:lnTo>
                  <a:lnTo>
                    <a:pt x="445948" y="199530"/>
                  </a:lnTo>
                  <a:lnTo>
                    <a:pt x="445948" y="197447"/>
                  </a:lnTo>
                  <a:lnTo>
                    <a:pt x="445948" y="199530"/>
                  </a:lnTo>
                  <a:lnTo>
                    <a:pt x="445948" y="198831"/>
                  </a:lnTo>
                  <a:lnTo>
                    <a:pt x="446050" y="198831"/>
                  </a:lnTo>
                  <a:lnTo>
                    <a:pt x="446050" y="197447"/>
                  </a:lnTo>
                  <a:lnTo>
                    <a:pt x="446050" y="200228"/>
                  </a:lnTo>
                  <a:lnTo>
                    <a:pt x="446050" y="199530"/>
                  </a:lnTo>
                  <a:lnTo>
                    <a:pt x="446050" y="200228"/>
                  </a:lnTo>
                  <a:lnTo>
                    <a:pt x="446050" y="199530"/>
                  </a:lnTo>
                  <a:lnTo>
                    <a:pt x="446088" y="199530"/>
                  </a:lnTo>
                  <a:lnTo>
                    <a:pt x="446088" y="198831"/>
                  </a:lnTo>
                  <a:lnTo>
                    <a:pt x="446088" y="200228"/>
                  </a:lnTo>
                  <a:lnTo>
                    <a:pt x="446088" y="199530"/>
                  </a:lnTo>
                  <a:lnTo>
                    <a:pt x="446088" y="200228"/>
                  </a:lnTo>
                  <a:lnTo>
                    <a:pt x="446088" y="199530"/>
                  </a:lnTo>
                  <a:lnTo>
                    <a:pt x="446139" y="200228"/>
                  </a:lnTo>
                  <a:lnTo>
                    <a:pt x="446139" y="199530"/>
                  </a:lnTo>
                  <a:lnTo>
                    <a:pt x="446139" y="200228"/>
                  </a:lnTo>
                  <a:lnTo>
                    <a:pt x="446139" y="199530"/>
                  </a:lnTo>
                  <a:lnTo>
                    <a:pt x="446190" y="199530"/>
                  </a:lnTo>
                  <a:lnTo>
                    <a:pt x="446190" y="200228"/>
                  </a:lnTo>
                  <a:lnTo>
                    <a:pt x="446190" y="199530"/>
                  </a:lnTo>
                  <a:lnTo>
                    <a:pt x="446190" y="200228"/>
                  </a:lnTo>
                  <a:lnTo>
                    <a:pt x="446291" y="200228"/>
                  </a:lnTo>
                  <a:lnTo>
                    <a:pt x="446291" y="200876"/>
                  </a:lnTo>
                  <a:lnTo>
                    <a:pt x="446291" y="200228"/>
                  </a:lnTo>
                  <a:lnTo>
                    <a:pt x="446291" y="200876"/>
                  </a:lnTo>
                  <a:lnTo>
                    <a:pt x="446342" y="200876"/>
                  </a:lnTo>
                  <a:lnTo>
                    <a:pt x="446342" y="200228"/>
                  </a:lnTo>
                  <a:lnTo>
                    <a:pt x="446393" y="200876"/>
                  </a:lnTo>
                  <a:lnTo>
                    <a:pt x="446393" y="199530"/>
                  </a:lnTo>
                  <a:lnTo>
                    <a:pt x="446393" y="200228"/>
                  </a:lnTo>
                  <a:lnTo>
                    <a:pt x="446393" y="198831"/>
                  </a:lnTo>
                  <a:lnTo>
                    <a:pt x="446494" y="198831"/>
                  </a:lnTo>
                  <a:lnTo>
                    <a:pt x="446494" y="200228"/>
                  </a:lnTo>
                  <a:lnTo>
                    <a:pt x="446494" y="198831"/>
                  </a:lnTo>
                  <a:lnTo>
                    <a:pt x="446494" y="199530"/>
                  </a:lnTo>
                  <a:lnTo>
                    <a:pt x="446545" y="200228"/>
                  </a:lnTo>
                  <a:lnTo>
                    <a:pt x="446545" y="202260"/>
                  </a:lnTo>
                  <a:lnTo>
                    <a:pt x="446545" y="200876"/>
                  </a:lnTo>
                  <a:lnTo>
                    <a:pt x="446596" y="202260"/>
                  </a:lnTo>
                  <a:lnTo>
                    <a:pt x="446596" y="200876"/>
                  </a:lnTo>
                  <a:lnTo>
                    <a:pt x="446596" y="202260"/>
                  </a:lnTo>
                  <a:lnTo>
                    <a:pt x="446596" y="200876"/>
                  </a:lnTo>
                  <a:lnTo>
                    <a:pt x="446596" y="202260"/>
                  </a:lnTo>
                  <a:lnTo>
                    <a:pt x="446634" y="202260"/>
                  </a:lnTo>
                  <a:lnTo>
                    <a:pt x="446634" y="200876"/>
                  </a:lnTo>
                  <a:lnTo>
                    <a:pt x="446634" y="202260"/>
                  </a:lnTo>
                  <a:lnTo>
                    <a:pt x="446634" y="200876"/>
                  </a:lnTo>
                  <a:lnTo>
                    <a:pt x="446634" y="202260"/>
                  </a:lnTo>
                  <a:lnTo>
                    <a:pt x="446736" y="200876"/>
                  </a:lnTo>
                  <a:lnTo>
                    <a:pt x="446736" y="202260"/>
                  </a:lnTo>
                  <a:lnTo>
                    <a:pt x="446736" y="200876"/>
                  </a:lnTo>
                  <a:lnTo>
                    <a:pt x="446787" y="200876"/>
                  </a:lnTo>
                  <a:lnTo>
                    <a:pt x="446787" y="202260"/>
                  </a:lnTo>
                  <a:lnTo>
                    <a:pt x="446787" y="200876"/>
                  </a:lnTo>
                  <a:lnTo>
                    <a:pt x="446787" y="202260"/>
                  </a:lnTo>
                  <a:lnTo>
                    <a:pt x="446837" y="200876"/>
                  </a:lnTo>
                  <a:lnTo>
                    <a:pt x="446837" y="200228"/>
                  </a:lnTo>
                  <a:lnTo>
                    <a:pt x="446837" y="200876"/>
                  </a:lnTo>
                  <a:lnTo>
                    <a:pt x="446837" y="200228"/>
                  </a:lnTo>
                  <a:lnTo>
                    <a:pt x="446837" y="200876"/>
                  </a:lnTo>
                  <a:lnTo>
                    <a:pt x="446837" y="200228"/>
                  </a:lnTo>
                  <a:lnTo>
                    <a:pt x="446939" y="200228"/>
                  </a:lnTo>
                  <a:lnTo>
                    <a:pt x="446939" y="198831"/>
                  </a:lnTo>
                  <a:lnTo>
                    <a:pt x="446939" y="200228"/>
                  </a:lnTo>
                  <a:lnTo>
                    <a:pt x="446990" y="200228"/>
                  </a:lnTo>
                  <a:lnTo>
                    <a:pt x="446990" y="198831"/>
                  </a:lnTo>
                  <a:lnTo>
                    <a:pt x="446990" y="202260"/>
                  </a:lnTo>
                  <a:lnTo>
                    <a:pt x="447041" y="202260"/>
                  </a:lnTo>
                  <a:lnTo>
                    <a:pt x="447041" y="200228"/>
                  </a:lnTo>
                  <a:lnTo>
                    <a:pt x="447041" y="202260"/>
                  </a:lnTo>
                  <a:lnTo>
                    <a:pt x="447091" y="202260"/>
                  </a:lnTo>
                  <a:lnTo>
                    <a:pt x="447091" y="200876"/>
                  </a:lnTo>
                  <a:lnTo>
                    <a:pt x="447091" y="202260"/>
                  </a:lnTo>
                  <a:lnTo>
                    <a:pt x="447091" y="200876"/>
                  </a:lnTo>
                  <a:lnTo>
                    <a:pt x="447091" y="202260"/>
                  </a:lnTo>
                  <a:lnTo>
                    <a:pt x="447180" y="202260"/>
                  </a:lnTo>
                  <a:lnTo>
                    <a:pt x="447180" y="200876"/>
                  </a:lnTo>
                  <a:lnTo>
                    <a:pt x="447180" y="202260"/>
                  </a:lnTo>
                  <a:lnTo>
                    <a:pt x="447180" y="200876"/>
                  </a:lnTo>
                  <a:lnTo>
                    <a:pt x="447180" y="202260"/>
                  </a:lnTo>
                  <a:lnTo>
                    <a:pt x="447180" y="200876"/>
                  </a:lnTo>
                  <a:lnTo>
                    <a:pt x="447180" y="202260"/>
                  </a:lnTo>
                  <a:lnTo>
                    <a:pt x="447180" y="200876"/>
                  </a:lnTo>
                  <a:lnTo>
                    <a:pt x="447231" y="202260"/>
                  </a:lnTo>
                  <a:lnTo>
                    <a:pt x="447231" y="200876"/>
                  </a:lnTo>
                  <a:lnTo>
                    <a:pt x="447231" y="202260"/>
                  </a:lnTo>
                  <a:lnTo>
                    <a:pt x="447231" y="200876"/>
                  </a:lnTo>
                  <a:lnTo>
                    <a:pt x="447282" y="200876"/>
                  </a:lnTo>
                  <a:lnTo>
                    <a:pt x="447282" y="200228"/>
                  </a:lnTo>
                  <a:lnTo>
                    <a:pt x="447333" y="200228"/>
                  </a:lnTo>
                  <a:lnTo>
                    <a:pt x="447333" y="198831"/>
                  </a:lnTo>
                  <a:lnTo>
                    <a:pt x="447434" y="198831"/>
                  </a:lnTo>
                  <a:lnTo>
                    <a:pt x="447434" y="197447"/>
                  </a:lnTo>
                  <a:lnTo>
                    <a:pt x="447434" y="199530"/>
                  </a:lnTo>
                  <a:lnTo>
                    <a:pt x="447485" y="199530"/>
                  </a:lnTo>
                  <a:lnTo>
                    <a:pt x="447485" y="197447"/>
                  </a:lnTo>
                  <a:lnTo>
                    <a:pt x="447485" y="200876"/>
                  </a:lnTo>
                  <a:lnTo>
                    <a:pt x="447485" y="200228"/>
                  </a:lnTo>
                  <a:lnTo>
                    <a:pt x="447536" y="200228"/>
                  </a:lnTo>
                  <a:lnTo>
                    <a:pt x="447536" y="199530"/>
                  </a:lnTo>
                  <a:lnTo>
                    <a:pt x="447536" y="202260"/>
                  </a:lnTo>
                  <a:lnTo>
                    <a:pt x="447536" y="200876"/>
                  </a:lnTo>
                  <a:lnTo>
                    <a:pt x="447536" y="202260"/>
                  </a:lnTo>
                  <a:lnTo>
                    <a:pt x="447536" y="200876"/>
                  </a:lnTo>
                  <a:lnTo>
                    <a:pt x="447637" y="200876"/>
                  </a:lnTo>
                  <a:lnTo>
                    <a:pt x="447637" y="202959"/>
                  </a:lnTo>
                  <a:lnTo>
                    <a:pt x="447637" y="202260"/>
                  </a:lnTo>
                  <a:lnTo>
                    <a:pt x="447676" y="202260"/>
                  </a:lnTo>
                  <a:lnTo>
                    <a:pt x="447676" y="202959"/>
                  </a:lnTo>
                  <a:lnTo>
                    <a:pt x="447676" y="202260"/>
                  </a:lnTo>
                  <a:lnTo>
                    <a:pt x="447726" y="202260"/>
                  </a:lnTo>
                  <a:lnTo>
                    <a:pt x="447726" y="202959"/>
                  </a:lnTo>
                  <a:lnTo>
                    <a:pt x="447726" y="202260"/>
                  </a:lnTo>
                  <a:lnTo>
                    <a:pt x="447777" y="202260"/>
                  </a:lnTo>
                  <a:lnTo>
                    <a:pt x="447777" y="200876"/>
                  </a:lnTo>
                  <a:lnTo>
                    <a:pt x="447777" y="202260"/>
                  </a:lnTo>
                  <a:lnTo>
                    <a:pt x="447777" y="200876"/>
                  </a:lnTo>
                  <a:lnTo>
                    <a:pt x="447777" y="202260"/>
                  </a:lnTo>
                  <a:lnTo>
                    <a:pt x="447777" y="200876"/>
                  </a:lnTo>
                  <a:lnTo>
                    <a:pt x="447879" y="200876"/>
                  </a:lnTo>
                  <a:lnTo>
                    <a:pt x="447879" y="198831"/>
                  </a:lnTo>
                  <a:lnTo>
                    <a:pt x="447879" y="199530"/>
                  </a:lnTo>
                  <a:lnTo>
                    <a:pt x="447930" y="199530"/>
                  </a:lnTo>
                  <a:lnTo>
                    <a:pt x="447930" y="197447"/>
                  </a:lnTo>
                  <a:lnTo>
                    <a:pt x="447930" y="199530"/>
                  </a:lnTo>
                  <a:lnTo>
                    <a:pt x="447930" y="197447"/>
                  </a:lnTo>
                  <a:lnTo>
                    <a:pt x="447980" y="197447"/>
                  </a:lnTo>
                  <a:lnTo>
                    <a:pt x="447980" y="200876"/>
                  </a:lnTo>
                  <a:lnTo>
                    <a:pt x="447980" y="200228"/>
                  </a:lnTo>
                  <a:lnTo>
                    <a:pt x="448082" y="200228"/>
                  </a:lnTo>
                  <a:lnTo>
                    <a:pt x="448082" y="199530"/>
                  </a:lnTo>
                  <a:lnTo>
                    <a:pt x="448082" y="200876"/>
                  </a:lnTo>
                  <a:lnTo>
                    <a:pt x="448082" y="200228"/>
                  </a:lnTo>
                  <a:lnTo>
                    <a:pt x="448082" y="200876"/>
                  </a:lnTo>
                  <a:lnTo>
                    <a:pt x="448082" y="200228"/>
                  </a:lnTo>
                  <a:lnTo>
                    <a:pt x="448082" y="200876"/>
                  </a:lnTo>
                  <a:lnTo>
                    <a:pt x="448082" y="200228"/>
                  </a:lnTo>
                  <a:lnTo>
                    <a:pt x="448133" y="200228"/>
                  </a:lnTo>
                  <a:lnTo>
                    <a:pt x="448133" y="200876"/>
                  </a:lnTo>
                  <a:lnTo>
                    <a:pt x="448133" y="200228"/>
                  </a:lnTo>
                  <a:lnTo>
                    <a:pt x="448183" y="200876"/>
                  </a:lnTo>
                  <a:lnTo>
                    <a:pt x="448183" y="202260"/>
                  </a:lnTo>
                  <a:lnTo>
                    <a:pt x="448183" y="200876"/>
                  </a:lnTo>
                  <a:lnTo>
                    <a:pt x="448222" y="200876"/>
                  </a:lnTo>
                  <a:lnTo>
                    <a:pt x="448222" y="202260"/>
                  </a:lnTo>
                  <a:lnTo>
                    <a:pt x="448222" y="200876"/>
                  </a:lnTo>
                  <a:lnTo>
                    <a:pt x="448222" y="202959"/>
                  </a:lnTo>
                  <a:lnTo>
                    <a:pt x="448222" y="202260"/>
                  </a:lnTo>
                  <a:lnTo>
                    <a:pt x="448323" y="202260"/>
                  </a:lnTo>
                  <a:lnTo>
                    <a:pt x="448323" y="202959"/>
                  </a:lnTo>
                  <a:lnTo>
                    <a:pt x="448323" y="200228"/>
                  </a:lnTo>
                  <a:lnTo>
                    <a:pt x="448374" y="200876"/>
                  </a:lnTo>
                  <a:lnTo>
                    <a:pt x="448374" y="198831"/>
                  </a:lnTo>
                  <a:lnTo>
                    <a:pt x="448374" y="199530"/>
                  </a:lnTo>
                  <a:lnTo>
                    <a:pt x="448374" y="198831"/>
                  </a:lnTo>
                  <a:lnTo>
                    <a:pt x="448425" y="198831"/>
                  </a:lnTo>
                  <a:lnTo>
                    <a:pt x="448425" y="196799"/>
                  </a:lnTo>
                  <a:lnTo>
                    <a:pt x="448425" y="197447"/>
                  </a:lnTo>
                  <a:lnTo>
                    <a:pt x="448526" y="197447"/>
                  </a:lnTo>
                  <a:lnTo>
                    <a:pt x="448526" y="200228"/>
                  </a:lnTo>
                  <a:lnTo>
                    <a:pt x="448526" y="198831"/>
                  </a:lnTo>
                  <a:lnTo>
                    <a:pt x="448526" y="199530"/>
                  </a:lnTo>
                  <a:lnTo>
                    <a:pt x="448577" y="198831"/>
                  </a:lnTo>
                  <a:lnTo>
                    <a:pt x="448577" y="200876"/>
                  </a:lnTo>
                  <a:lnTo>
                    <a:pt x="448577" y="199530"/>
                  </a:lnTo>
                  <a:lnTo>
                    <a:pt x="448628" y="199530"/>
                  </a:lnTo>
                  <a:lnTo>
                    <a:pt x="448628" y="200228"/>
                  </a:lnTo>
                  <a:lnTo>
                    <a:pt x="448628" y="199530"/>
                  </a:lnTo>
                  <a:lnTo>
                    <a:pt x="448628" y="200228"/>
                  </a:lnTo>
                  <a:lnTo>
                    <a:pt x="448679" y="200228"/>
                  </a:lnTo>
                  <a:lnTo>
                    <a:pt x="448679" y="200876"/>
                  </a:lnTo>
                  <a:lnTo>
                    <a:pt x="448679" y="200228"/>
                  </a:lnTo>
                  <a:lnTo>
                    <a:pt x="448679" y="200876"/>
                  </a:lnTo>
                  <a:lnTo>
                    <a:pt x="448679" y="200228"/>
                  </a:lnTo>
                  <a:lnTo>
                    <a:pt x="448679" y="200876"/>
                  </a:lnTo>
                  <a:lnTo>
                    <a:pt x="448768" y="202260"/>
                  </a:lnTo>
                  <a:lnTo>
                    <a:pt x="448768" y="200876"/>
                  </a:lnTo>
                  <a:lnTo>
                    <a:pt x="448768" y="202260"/>
                  </a:lnTo>
                  <a:lnTo>
                    <a:pt x="448768" y="200876"/>
                  </a:lnTo>
                  <a:lnTo>
                    <a:pt x="448818" y="200228"/>
                  </a:lnTo>
                  <a:lnTo>
                    <a:pt x="448818" y="200876"/>
                  </a:lnTo>
                  <a:lnTo>
                    <a:pt x="448818" y="199530"/>
                  </a:lnTo>
                  <a:lnTo>
                    <a:pt x="448869" y="199530"/>
                  </a:lnTo>
                  <a:lnTo>
                    <a:pt x="448869" y="197447"/>
                  </a:lnTo>
                  <a:lnTo>
                    <a:pt x="448920" y="197447"/>
                  </a:lnTo>
                  <a:lnTo>
                    <a:pt x="448920" y="196799"/>
                  </a:lnTo>
                  <a:lnTo>
                    <a:pt x="448920" y="198831"/>
                  </a:lnTo>
                  <a:lnTo>
                    <a:pt x="448920" y="196799"/>
                  </a:lnTo>
                  <a:lnTo>
                    <a:pt x="449022" y="196799"/>
                  </a:lnTo>
                  <a:lnTo>
                    <a:pt x="449022" y="199530"/>
                  </a:lnTo>
                  <a:lnTo>
                    <a:pt x="449022" y="198831"/>
                  </a:lnTo>
                  <a:lnTo>
                    <a:pt x="449072" y="198831"/>
                  </a:lnTo>
                  <a:lnTo>
                    <a:pt x="449072" y="200228"/>
                  </a:lnTo>
                  <a:lnTo>
                    <a:pt x="449072" y="198831"/>
                  </a:lnTo>
                  <a:lnTo>
                    <a:pt x="449072" y="199530"/>
                  </a:lnTo>
                  <a:lnTo>
                    <a:pt x="449123" y="198831"/>
                  </a:lnTo>
                  <a:lnTo>
                    <a:pt x="449123" y="199530"/>
                  </a:lnTo>
                  <a:lnTo>
                    <a:pt x="449123" y="198831"/>
                  </a:lnTo>
                  <a:lnTo>
                    <a:pt x="449123" y="199530"/>
                  </a:lnTo>
                  <a:lnTo>
                    <a:pt x="449123" y="198831"/>
                  </a:lnTo>
                  <a:lnTo>
                    <a:pt x="449123" y="199530"/>
                  </a:lnTo>
                  <a:lnTo>
                    <a:pt x="449225" y="199530"/>
                  </a:lnTo>
                  <a:lnTo>
                    <a:pt x="449225" y="200228"/>
                  </a:lnTo>
                  <a:lnTo>
                    <a:pt x="449225" y="199530"/>
                  </a:lnTo>
                  <a:lnTo>
                    <a:pt x="449225" y="200228"/>
                  </a:lnTo>
                  <a:lnTo>
                    <a:pt x="449263" y="200228"/>
                  </a:lnTo>
                  <a:lnTo>
                    <a:pt x="449263" y="200876"/>
                  </a:lnTo>
                  <a:lnTo>
                    <a:pt x="449263" y="200228"/>
                  </a:lnTo>
                  <a:lnTo>
                    <a:pt x="449263" y="200876"/>
                  </a:lnTo>
                  <a:lnTo>
                    <a:pt x="449263" y="200228"/>
                  </a:lnTo>
                  <a:lnTo>
                    <a:pt x="449263" y="200876"/>
                  </a:lnTo>
                  <a:lnTo>
                    <a:pt x="449314" y="200876"/>
                  </a:lnTo>
                  <a:lnTo>
                    <a:pt x="449314" y="199530"/>
                  </a:lnTo>
                  <a:lnTo>
                    <a:pt x="449365" y="199530"/>
                  </a:lnTo>
                  <a:lnTo>
                    <a:pt x="449365" y="198831"/>
                  </a:lnTo>
                  <a:lnTo>
                    <a:pt x="449365" y="199530"/>
                  </a:lnTo>
                  <a:lnTo>
                    <a:pt x="449466" y="199530"/>
                  </a:lnTo>
                  <a:lnTo>
                    <a:pt x="449466" y="197447"/>
                  </a:lnTo>
                  <a:lnTo>
                    <a:pt x="449466" y="198831"/>
                  </a:lnTo>
                  <a:lnTo>
                    <a:pt x="449466" y="197447"/>
                  </a:lnTo>
                  <a:lnTo>
                    <a:pt x="449466" y="200876"/>
                  </a:lnTo>
                  <a:lnTo>
                    <a:pt x="449517" y="200876"/>
                  </a:lnTo>
                  <a:lnTo>
                    <a:pt x="449517" y="200228"/>
                  </a:lnTo>
                  <a:lnTo>
                    <a:pt x="449517" y="200876"/>
                  </a:lnTo>
                  <a:lnTo>
                    <a:pt x="449568" y="200876"/>
                  </a:lnTo>
                  <a:lnTo>
                    <a:pt x="449568" y="200228"/>
                  </a:lnTo>
                  <a:lnTo>
                    <a:pt x="449568" y="200876"/>
                  </a:lnTo>
                  <a:lnTo>
                    <a:pt x="449568" y="200228"/>
                  </a:lnTo>
                  <a:lnTo>
                    <a:pt x="449669" y="200228"/>
                  </a:lnTo>
                  <a:lnTo>
                    <a:pt x="449669" y="200876"/>
                  </a:lnTo>
                  <a:lnTo>
                    <a:pt x="449669" y="200228"/>
                  </a:lnTo>
                  <a:lnTo>
                    <a:pt x="449669" y="200876"/>
                  </a:lnTo>
                  <a:lnTo>
                    <a:pt x="449771" y="200876"/>
                  </a:lnTo>
                  <a:lnTo>
                    <a:pt x="449771" y="202260"/>
                  </a:lnTo>
                  <a:lnTo>
                    <a:pt x="449771" y="200228"/>
                  </a:lnTo>
                  <a:lnTo>
                    <a:pt x="449809" y="200228"/>
                  </a:lnTo>
                  <a:lnTo>
                    <a:pt x="449809" y="200876"/>
                  </a:lnTo>
                  <a:lnTo>
                    <a:pt x="449809" y="200228"/>
                  </a:lnTo>
                  <a:lnTo>
                    <a:pt x="449809" y="200876"/>
                  </a:lnTo>
                  <a:lnTo>
                    <a:pt x="449809" y="198831"/>
                  </a:lnTo>
                  <a:lnTo>
                    <a:pt x="449809" y="199530"/>
                  </a:lnTo>
                  <a:lnTo>
                    <a:pt x="449911" y="198831"/>
                  </a:lnTo>
                  <a:lnTo>
                    <a:pt x="449911" y="200228"/>
                  </a:lnTo>
                  <a:lnTo>
                    <a:pt x="449911" y="199530"/>
                  </a:lnTo>
                  <a:lnTo>
                    <a:pt x="449962" y="199530"/>
                  </a:lnTo>
                  <a:lnTo>
                    <a:pt x="449962" y="202260"/>
                  </a:lnTo>
                  <a:lnTo>
                    <a:pt x="449962" y="200876"/>
                  </a:lnTo>
                  <a:lnTo>
                    <a:pt x="449962" y="202260"/>
                  </a:lnTo>
                  <a:lnTo>
                    <a:pt x="449962" y="200876"/>
                  </a:lnTo>
                  <a:lnTo>
                    <a:pt x="449962" y="202260"/>
                  </a:lnTo>
                  <a:lnTo>
                    <a:pt x="449962" y="200876"/>
                  </a:lnTo>
                  <a:lnTo>
                    <a:pt x="450012" y="200876"/>
                  </a:lnTo>
                  <a:lnTo>
                    <a:pt x="450012" y="202959"/>
                  </a:lnTo>
                  <a:lnTo>
                    <a:pt x="450012" y="202260"/>
                  </a:lnTo>
                  <a:lnTo>
                    <a:pt x="450114" y="202260"/>
                  </a:lnTo>
                  <a:lnTo>
                    <a:pt x="450114" y="200876"/>
                  </a:lnTo>
                  <a:lnTo>
                    <a:pt x="450114" y="202260"/>
                  </a:lnTo>
                  <a:lnTo>
                    <a:pt x="450114" y="200876"/>
                  </a:lnTo>
                  <a:lnTo>
                    <a:pt x="450165" y="200876"/>
                  </a:lnTo>
                  <a:lnTo>
                    <a:pt x="450165" y="202260"/>
                  </a:lnTo>
                  <a:lnTo>
                    <a:pt x="450165" y="200876"/>
                  </a:lnTo>
                  <a:lnTo>
                    <a:pt x="450165" y="202260"/>
                  </a:lnTo>
                  <a:lnTo>
                    <a:pt x="450165" y="200876"/>
                  </a:lnTo>
                  <a:lnTo>
                    <a:pt x="450216" y="200876"/>
                  </a:lnTo>
                  <a:lnTo>
                    <a:pt x="450216" y="202260"/>
                  </a:lnTo>
                  <a:lnTo>
                    <a:pt x="450216" y="200876"/>
                  </a:lnTo>
                  <a:lnTo>
                    <a:pt x="450216" y="202260"/>
                  </a:lnTo>
                  <a:lnTo>
                    <a:pt x="450216" y="200876"/>
                  </a:lnTo>
                  <a:lnTo>
                    <a:pt x="450266" y="202260"/>
                  </a:lnTo>
                  <a:lnTo>
                    <a:pt x="450266" y="200228"/>
                  </a:lnTo>
                  <a:lnTo>
                    <a:pt x="450355" y="200228"/>
                  </a:lnTo>
                  <a:lnTo>
                    <a:pt x="450355" y="199530"/>
                  </a:lnTo>
                  <a:lnTo>
                    <a:pt x="450355" y="200228"/>
                  </a:lnTo>
                  <a:lnTo>
                    <a:pt x="450355" y="199530"/>
                  </a:lnTo>
                  <a:lnTo>
                    <a:pt x="450355" y="200228"/>
                  </a:lnTo>
                  <a:lnTo>
                    <a:pt x="450355" y="197447"/>
                  </a:lnTo>
                  <a:lnTo>
                    <a:pt x="450355" y="198831"/>
                  </a:lnTo>
                  <a:lnTo>
                    <a:pt x="450355" y="197447"/>
                  </a:lnTo>
                  <a:lnTo>
                    <a:pt x="450406" y="197447"/>
                  </a:lnTo>
                  <a:lnTo>
                    <a:pt x="450406" y="199530"/>
                  </a:lnTo>
                  <a:lnTo>
                    <a:pt x="450406" y="197447"/>
                  </a:lnTo>
                  <a:lnTo>
                    <a:pt x="450406" y="198831"/>
                  </a:lnTo>
                  <a:lnTo>
                    <a:pt x="450457" y="198831"/>
                  </a:lnTo>
                  <a:lnTo>
                    <a:pt x="450457" y="200876"/>
                  </a:lnTo>
                  <a:lnTo>
                    <a:pt x="450457" y="199530"/>
                  </a:lnTo>
                  <a:lnTo>
                    <a:pt x="450457" y="200228"/>
                  </a:lnTo>
                  <a:lnTo>
                    <a:pt x="450508" y="200228"/>
                  </a:lnTo>
                  <a:lnTo>
                    <a:pt x="450508" y="200876"/>
                  </a:lnTo>
                  <a:lnTo>
                    <a:pt x="450508" y="200228"/>
                  </a:lnTo>
                  <a:lnTo>
                    <a:pt x="450508" y="200876"/>
                  </a:lnTo>
                  <a:lnTo>
                    <a:pt x="450609" y="200876"/>
                  </a:lnTo>
                  <a:lnTo>
                    <a:pt x="450609" y="200228"/>
                  </a:lnTo>
                  <a:lnTo>
                    <a:pt x="450609" y="202260"/>
                  </a:lnTo>
                  <a:lnTo>
                    <a:pt x="450660" y="202260"/>
                  </a:lnTo>
                  <a:lnTo>
                    <a:pt x="450660" y="202959"/>
                  </a:lnTo>
                  <a:lnTo>
                    <a:pt x="450660" y="202260"/>
                  </a:lnTo>
                  <a:lnTo>
                    <a:pt x="450711" y="202260"/>
                  </a:lnTo>
                  <a:lnTo>
                    <a:pt x="450711" y="202959"/>
                  </a:lnTo>
                  <a:lnTo>
                    <a:pt x="450711" y="200876"/>
                  </a:lnTo>
                  <a:lnTo>
                    <a:pt x="450711" y="202260"/>
                  </a:lnTo>
                  <a:lnTo>
                    <a:pt x="450812" y="202260"/>
                  </a:lnTo>
                  <a:lnTo>
                    <a:pt x="450812" y="200228"/>
                  </a:lnTo>
                  <a:lnTo>
                    <a:pt x="450851" y="200228"/>
                  </a:lnTo>
                  <a:lnTo>
                    <a:pt x="450851" y="197447"/>
                  </a:lnTo>
                  <a:lnTo>
                    <a:pt x="450851" y="198831"/>
                  </a:lnTo>
                  <a:lnTo>
                    <a:pt x="450851" y="197447"/>
                  </a:lnTo>
                  <a:lnTo>
                    <a:pt x="450851" y="200228"/>
                  </a:lnTo>
                  <a:lnTo>
                    <a:pt x="450901" y="200228"/>
                  </a:lnTo>
                  <a:lnTo>
                    <a:pt x="450901" y="197447"/>
                  </a:lnTo>
                  <a:lnTo>
                    <a:pt x="450901" y="202260"/>
                  </a:lnTo>
                  <a:lnTo>
                    <a:pt x="450952" y="202260"/>
                  </a:lnTo>
                  <a:lnTo>
                    <a:pt x="450952" y="199530"/>
                  </a:lnTo>
                  <a:lnTo>
                    <a:pt x="450952" y="202260"/>
                  </a:lnTo>
                  <a:lnTo>
                    <a:pt x="451054" y="202260"/>
                  </a:lnTo>
                  <a:lnTo>
                    <a:pt x="451054" y="200876"/>
                  </a:lnTo>
                  <a:lnTo>
                    <a:pt x="451054" y="202260"/>
                  </a:lnTo>
                  <a:lnTo>
                    <a:pt x="451054" y="200876"/>
                  </a:lnTo>
                  <a:lnTo>
                    <a:pt x="451105" y="202260"/>
                  </a:lnTo>
                  <a:lnTo>
                    <a:pt x="451105" y="200876"/>
                  </a:lnTo>
                  <a:lnTo>
                    <a:pt x="451105" y="202260"/>
                  </a:lnTo>
                  <a:lnTo>
                    <a:pt x="451155" y="202260"/>
                  </a:lnTo>
                  <a:lnTo>
                    <a:pt x="451155" y="202959"/>
                  </a:lnTo>
                  <a:lnTo>
                    <a:pt x="451155" y="202260"/>
                  </a:lnTo>
                  <a:lnTo>
                    <a:pt x="451155" y="202959"/>
                  </a:lnTo>
                  <a:lnTo>
                    <a:pt x="451155" y="202260"/>
                  </a:lnTo>
                  <a:lnTo>
                    <a:pt x="451155" y="202959"/>
                  </a:lnTo>
                  <a:lnTo>
                    <a:pt x="451155" y="202260"/>
                  </a:lnTo>
                  <a:lnTo>
                    <a:pt x="451257" y="202260"/>
                  </a:lnTo>
                  <a:lnTo>
                    <a:pt x="451257" y="200876"/>
                  </a:lnTo>
                  <a:lnTo>
                    <a:pt x="451257" y="202260"/>
                  </a:lnTo>
                  <a:lnTo>
                    <a:pt x="451257" y="200876"/>
                  </a:lnTo>
                  <a:lnTo>
                    <a:pt x="451308" y="200876"/>
                  </a:lnTo>
                  <a:lnTo>
                    <a:pt x="451308" y="200228"/>
                  </a:lnTo>
                  <a:lnTo>
                    <a:pt x="451308" y="200876"/>
                  </a:lnTo>
                  <a:lnTo>
                    <a:pt x="451308" y="200228"/>
                  </a:lnTo>
                  <a:lnTo>
                    <a:pt x="451308" y="200876"/>
                  </a:lnTo>
                  <a:lnTo>
                    <a:pt x="451308" y="199530"/>
                  </a:lnTo>
                  <a:lnTo>
                    <a:pt x="451358" y="199530"/>
                  </a:lnTo>
                  <a:lnTo>
                    <a:pt x="451358" y="196799"/>
                  </a:lnTo>
                  <a:lnTo>
                    <a:pt x="451358" y="198831"/>
                  </a:lnTo>
                  <a:lnTo>
                    <a:pt x="451358" y="197447"/>
                  </a:lnTo>
                  <a:lnTo>
                    <a:pt x="451397" y="198831"/>
                  </a:lnTo>
                  <a:lnTo>
                    <a:pt x="451397" y="197447"/>
                  </a:lnTo>
                  <a:lnTo>
                    <a:pt x="451397" y="200228"/>
                  </a:lnTo>
                  <a:lnTo>
                    <a:pt x="451498" y="199530"/>
                  </a:lnTo>
                  <a:lnTo>
                    <a:pt x="451498" y="200228"/>
                  </a:lnTo>
                  <a:lnTo>
                    <a:pt x="451498" y="199530"/>
                  </a:lnTo>
                  <a:lnTo>
                    <a:pt x="451498" y="200876"/>
                  </a:lnTo>
                  <a:lnTo>
                    <a:pt x="451498" y="200228"/>
                  </a:lnTo>
                  <a:lnTo>
                    <a:pt x="451549" y="200228"/>
                  </a:lnTo>
                  <a:lnTo>
                    <a:pt x="451549" y="199530"/>
                  </a:lnTo>
                  <a:lnTo>
                    <a:pt x="451549" y="200876"/>
                  </a:lnTo>
                  <a:lnTo>
                    <a:pt x="451549" y="200228"/>
                  </a:lnTo>
                  <a:lnTo>
                    <a:pt x="451600" y="200228"/>
                  </a:lnTo>
                  <a:lnTo>
                    <a:pt x="451600" y="202260"/>
                  </a:lnTo>
                  <a:lnTo>
                    <a:pt x="451600" y="200876"/>
                  </a:lnTo>
                  <a:lnTo>
                    <a:pt x="451600" y="202260"/>
                  </a:lnTo>
                  <a:lnTo>
                    <a:pt x="451701" y="202260"/>
                  </a:lnTo>
                  <a:lnTo>
                    <a:pt x="451701" y="202959"/>
                  </a:lnTo>
                  <a:lnTo>
                    <a:pt x="451701" y="202260"/>
                  </a:lnTo>
                  <a:lnTo>
                    <a:pt x="451701" y="202959"/>
                  </a:lnTo>
                  <a:lnTo>
                    <a:pt x="451752" y="202260"/>
                  </a:lnTo>
                  <a:lnTo>
                    <a:pt x="451752" y="200876"/>
                  </a:lnTo>
                  <a:lnTo>
                    <a:pt x="451752" y="202260"/>
                  </a:lnTo>
                  <a:lnTo>
                    <a:pt x="451752" y="200876"/>
                  </a:lnTo>
                  <a:lnTo>
                    <a:pt x="451803" y="200876"/>
                  </a:lnTo>
                  <a:lnTo>
                    <a:pt x="451803" y="199530"/>
                  </a:lnTo>
                  <a:lnTo>
                    <a:pt x="451803" y="200228"/>
                  </a:lnTo>
                  <a:lnTo>
                    <a:pt x="451803" y="199530"/>
                  </a:lnTo>
                  <a:lnTo>
                    <a:pt x="451854" y="199530"/>
                  </a:lnTo>
                  <a:lnTo>
                    <a:pt x="451854" y="196799"/>
                  </a:lnTo>
                  <a:lnTo>
                    <a:pt x="451854" y="198831"/>
                  </a:lnTo>
                  <a:lnTo>
                    <a:pt x="451943" y="198831"/>
                  </a:lnTo>
                  <a:lnTo>
                    <a:pt x="451943" y="197447"/>
                  </a:lnTo>
                  <a:lnTo>
                    <a:pt x="451943" y="200228"/>
                  </a:lnTo>
                  <a:lnTo>
                    <a:pt x="451943" y="199530"/>
                  </a:lnTo>
                  <a:lnTo>
                    <a:pt x="451943" y="200228"/>
                  </a:lnTo>
                  <a:lnTo>
                    <a:pt x="451943" y="199530"/>
                  </a:lnTo>
                  <a:lnTo>
                    <a:pt x="451993" y="199530"/>
                  </a:lnTo>
                  <a:lnTo>
                    <a:pt x="451993" y="198831"/>
                  </a:lnTo>
                  <a:lnTo>
                    <a:pt x="451993" y="200228"/>
                  </a:lnTo>
                  <a:lnTo>
                    <a:pt x="451993" y="199530"/>
                  </a:lnTo>
                  <a:lnTo>
                    <a:pt x="452044" y="199530"/>
                  </a:lnTo>
                  <a:lnTo>
                    <a:pt x="452044" y="198831"/>
                  </a:lnTo>
                  <a:lnTo>
                    <a:pt x="452044" y="200228"/>
                  </a:lnTo>
                  <a:lnTo>
                    <a:pt x="452044" y="199530"/>
                  </a:lnTo>
                  <a:lnTo>
                    <a:pt x="452044" y="200228"/>
                  </a:lnTo>
                  <a:lnTo>
                    <a:pt x="452095" y="199530"/>
                  </a:lnTo>
                  <a:lnTo>
                    <a:pt x="452095" y="200228"/>
                  </a:lnTo>
                  <a:lnTo>
                    <a:pt x="452095" y="199530"/>
                  </a:lnTo>
                  <a:lnTo>
                    <a:pt x="452095" y="200228"/>
                  </a:lnTo>
                  <a:lnTo>
                    <a:pt x="452197" y="200228"/>
                  </a:lnTo>
                  <a:lnTo>
                    <a:pt x="452197" y="200876"/>
                  </a:lnTo>
                  <a:lnTo>
                    <a:pt x="452197" y="200228"/>
                  </a:lnTo>
                  <a:lnTo>
                    <a:pt x="452197" y="200876"/>
                  </a:lnTo>
                  <a:lnTo>
                    <a:pt x="452197" y="200228"/>
                  </a:lnTo>
                  <a:lnTo>
                    <a:pt x="452197" y="200876"/>
                  </a:lnTo>
                  <a:lnTo>
                    <a:pt x="452197" y="200228"/>
                  </a:lnTo>
                  <a:lnTo>
                    <a:pt x="452247" y="200228"/>
                  </a:lnTo>
                  <a:lnTo>
                    <a:pt x="452247" y="200876"/>
                  </a:lnTo>
                  <a:lnTo>
                    <a:pt x="452247" y="200228"/>
                  </a:lnTo>
                  <a:lnTo>
                    <a:pt x="452298" y="200228"/>
                  </a:lnTo>
                  <a:lnTo>
                    <a:pt x="452298" y="199530"/>
                  </a:lnTo>
                  <a:lnTo>
                    <a:pt x="452298" y="200228"/>
                  </a:lnTo>
                  <a:lnTo>
                    <a:pt x="452298" y="199530"/>
                  </a:lnTo>
                  <a:lnTo>
                    <a:pt x="452298" y="200228"/>
                  </a:lnTo>
                  <a:lnTo>
                    <a:pt x="452298" y="198831"/>
                  </a:lnTo>
                  <a:lnTo>
                    <a:pt x="452400" y="198831"/>
                  </a:lnTo>
                  <a:lnTo>
                    <a:pt x="452400" y="200228"/>
                  </a:lnTo>
                  <a:lnTo>
                    <a:pt x="452400" y="198831"/>
                  </a:lnTo>
                  <a:lnTo>
                    <a:pt x="452438" y="199530"/>
                  </a:lnTo>
                  <a:lnTo>
                    <a:pt x="452438" y="202260"/>
                  </a:lnTo>
                  <a:lnTo>
                    <a:pt x="452438" y="199530"/>
                  </a:lnTo>
                  <a:lnTo>
                    <a:pt x="452438" y="200228"/>
                  </a:lnTo>
                  <a:lnTo>
                    <a:pt x="452489" y="200228"/>
                  </a:lnTo>
                  <a:lnTo>
                    <a:pt x="452489" y="200876"/>
                  </a:lnTo>
                  <a:lnTo>
                    <a:pt x="452489" y="199530"/>
                  </a:lnTo>
                  <a:lnTo>
                    <a:pt x="452489" y="200228"/>
                  </a:lnTo>
                  <a:lnTo>
                    <a:pt x="452540" y="200228"/>
                  </a:lnTo>
                  <a:lnTo>
                    <a:pt x="452540" y="200876"/>
                  </a:lnTo>
                  <a:lnTo>
                    <a:pt x="452540" y="200228"/>
                  </a:lnTo>
                  <a:lnTo>
                    <a:pt x="452540" y="200876"/>
                  </a:lnTo>
                  <a:lnTo>
                    <a:pt x="452540" y="200228"/>
                  </a:lnTo>
                  <a:lnTo>
                    <a:pt x="452540" y="200876"/>
                  </a:lnTo>
                  <a:lnTo>
                    <a:pt x="452540" y="200228"/>
                  </a:lnTo>
                  <a:lnTo>
                    <a:pt x="452540" y="200876"/>
                  </a:lnTo>
                  <a:lnTo>
                    <a:pt x="452641" y="200876"/>
                  </a:lnTo>
                  <a:lnTo>
                    <a:pt x="452641" y="200228"/>
                  </a:lnTo>
                  <a:lnTo>
                    <a:pt x="452641" y="202260"/>
                  </a:lnTo>
                  <a:lnTo>
                    <a:pt x="452641" y="200876"/>
                  </a:lnTo>
                  <a:lnTo>
                    <a:pt x="452692" y="200876"/>
                  </a:lnTo>
                  <a:lnTo>
                    <a:pt x="452692" y="202260"/>
                  </a:lnTo>
                  <a:lnTo>
                    <a:pt x="452692" y="200876"/>
                  </a:lnTo>
                  <a:lnTo>
                    <a:pt x="452692" y="202260"/>
                  </a:lnTo>
                  <a:lnTo>
                    <a:pt x="452692" y="200876"/>
                  </a:lnTo>
                  <a:lnTo>
                    <a:pt x="452692" y="202260"/>
                  </a:lnTo>
                  <a:lnTo>
                    <a:pt x="452692" y="200876"/>
                  </a:lnTo>
                  <a:lnTo>
                    <a:pt x="452743" y="200876"/>
                  </a:lnTo>
                  <a:lnTo>
                    <a:pt x="452743" y="200228"/>
                  </a:lnTo>
                  <a:lnTo>
                    <a:pt x="452743" y="200876"/>
                  </a:lnTo>
                  <a:lnTo>
                    <a:pt x="452743" y="199530"/>
                  </a:lnTo>
                  <a:lnTo>
                    <a:pt x="452844" y="199530"/>
                  </a:lnTo>
                  <a:lnTo>
                    <a:pt x="452844" y="197447"/>
                  </a:lnTo>
                  <a:lnTo>
                    <a:pt x="452844" y="198831"/>
                  </a:lnTo>
                  <a:lnTo>
                    <a:pt x="452895" y="198831"/>
                  </a:lnTo>
                  <a:lnTo>
                    <a:pt x="452895" y="197447"/>
                  </a:lnTo>
                  <a:lnTo>
                    <a:pt x="452895" y="200228"/>
                  </a:lnTo>
                  <a:lnTo>
                    <a:pt x="452895" y="199530"/>
                  </a:lnTo>
                  <a:lnTo>
                    <a:pt x="452895" y="200228"/>
                  </a:lnTo>
                  <a:lnTo>
                    <a:pt x="452895" y="198831"/>
                  </a:lnTo>
                  <a:lnTo>
                    <a:pt x="452895" y="199530"/>
                  </a:lnTo>
                  <a:lnTo>
                    <a:pt x="452895" y="198831"/>
                  </a:lnTo>
                  <a:lnTo>
                    <a:pt x="452946" y="199530"/>
                  </a:lnTo>
                  <a:lnTo>
                    <a:pt x="452946" y="200876"/>
                  </a:lnTo>
                  <a:lnTo>
                    <a:pt x="452946" y="200228"/>
                  </a:lnTo>
                  <a:lnTo>
                    <a:pt x="452984" y="200228"/>
                  </a:lnTo>
                  <a:lnTo>
                    <a:pt x="452984" y="200876"/>
                  </a:lnTo>
                  <a:lnTo>
                    <a:pt x="452984" y="200228"/>
                  </a:lnTo>
                  <a:lnTo>
                    <a:pt x="452984" y="200876"/>
                  </a:lnTo>
                  <a:lnTo>
                    <a:pt x="452984" y="200228"/>
                  </a:lnTo>
                  <a:lnTo>
                    <a:pt x="452984" y="200876"/>
                  </a:lnTo>
                  <a:lnTo>
                    <a:pt x="453086" y="200876"/>
                  </a:lnTo>
                  <a:lnTo>
                    <a:pt x="453086" y="200228"/>
                  </a:lnTo>
                  <a:lnTo>
                    <a:pt x="453086" y="200876"/>
                  </a:lnTo>
                  <a:lnTo>
                    <a:pt x="453137" y="200876"/>
                  </a:lnTo>
                  <a:lnTo>
                    <a:pt x="453137" y="202260"/>
                  </a:lnTo>
                  <a:lnTo>
                    <a:pt x="453137" y="200876"/>
                  </a:lnTo>
                  <a:lnTo>
                    <a:pt x="453137" y="202260"/>
                  </a:lnTo>
                  <a:lnTo>
                    <a:pt x="453137" y="200876"/>
                  </a:lnTo>
                  <a:lnTo>
                    <a:pt x="453187" y="200876"/>
                  </a:lnTo>
                  <a:lnTo>
                    <a:pt x="453187" y="200228"/>
                  </a:lnTo>
                  <a:lnTo>
                    <a:pt x="453289" y="200228"/>
                  </a:lnTo>
                  <a:lnTo>
                    <a:pt x="453289" y="199530"/>
                  </a:lnTo>
                  <a:lnTo>
                    <a:pt x="453289" y="200228"/>
                  </a:lnTo>
                  <a:lnTo>
                    <a:pt x="453289" y="199530"/>
                  </a:lnTo>
                  <a:lnTo>
                    <a:pt x="453289" y="200228"/>
                  </a:lnTo>
                  <a:lnTo>
                    <a:pt x="453289" y="199530"/>
                  </a:lnTo>
                  <a:lnTo>
                    <a:pt x="453340" y="199530"/>
                  </a:lnTo>
                  <a:lnTo>
                    <a:pt x="453340" y="197447"/>
                  </a:lnTo>
                  <a:lnTo>
                    <a:pt x="453340" y="198831"/>
                  </a:lnTo>
                  <a:lnTo>
                    <a:pt x="453340" y="196799"/>
                  </a:lnTo>
                  <a:lnTo>
                    <a:pt x="453340" y="197447"/>
                  </a:lnTo>
                  <a:lnTo>
                    <a:pt x="453391" y="197447"/>
                  </a:lnTo>
                  <a:lnTo>
                    <a:pt x="453391" y="198831"/>
                  </a:lnTo>
                  <a:lnTo>
                    <a:pt x="453391" y="196799"/>
                  </a:lnTo>
                  <a:lnTo>
                    <a:pt x="453391" y="199530"/>
                  </a:lnTo>
                  <a:lnTo>
                    <a:pt x="453441" y="200228"/>
                  </a:lnTo>
                  <a:lnTo>
                    <a:pt x="453441" y="198831"/>
                  </a:lnTo>
                  <a:lnTo>
                    <a:pt x="453441" y="200228"/>
                  </a:lnTo>
                  <a:lnTo>
                    <a:pt x="453530" y="200228"/>
                  </a:lnTo>
                  <a:lnTo>
                    <a:pt x="453530" y="199530"/>
                  </a:lnTo>
                  <a:lnTo>
                    <a:pt x="453530" y="200228"/>
                  </a:lnTo>
                  <a:lnTo>
                    <a:pt x="453530" y="199530"/>
                  </a:lnTo>
                  <a:lnTo>
                    <a:pt x="453530" y="200228"/>
                  </a:lnTo>
                  <a:lnTo>
                    <a:pt x="453530" y="199530"/>
                  </a:lnTo>
                  <a:lnTo>
                    <a:pt x="453530" y="200876"/>
                  </a:lnTo>
                  <a:lnTo>
                    <a:pt x="453581" y="202260"/>
                  </a:lnTo>
                  <a:lnTo>
                    <a:pt x="453581" y="200228"/>
                  </a:lnTo>
                  <a:lnTo>
                    <a:pt x="453581" y="200876"/>
                  </a:lnTo>
                  <a:lnTo>
                    <a:pt x="453581" y="200228"/>
                  </a:lnTo>
                  <a:lnTo>
                    <a:pt x="453581" y="202260"/>
                  </a:lnTo>
                  <a:lnTo>
                    <a:pt x="453632" y="202260"/>
                  </a:lnTo>
                  <a:lnTo>
                    <a:pt x="453632" y="200876"/>
                  </a:lnTo>
                  <a:lnTo>
                    <a:pt x="453632" y="202260"/>
                  </a:lnTo>
                  <a:lnTo>
                    <a:pt x="453632" y="200876"/>
                  </a:lnTo>
                  <a:lnTo>
                    <a:pt x="453632" y="202260"/>
                  </a:lnTo>
                  <a:lnTo>
                    <a:pt x="453683" y="202260"/>
                  </a:lnTo>
                  <a:lnTo>
                    <a:pt x="453683" y="200876"/>
                  </a:lnTo>
                  <a:lnTo>
                    <a:pt x="453683" y="202260"/>
                  </a:lnTo>
                  <a:lnTo>
                    <a:pt x="453683" y="200228"/>
                  </a:lnTo>
                  <a:lnTo>
                    <a:pt x="453683" y="200876"/>
                  </a:lnTo>
                  <a:lnTo>
                    <a:pt x="453683" y="200228"/>
                  </a:lnTo>
                  <a:lnTo>
                    <a:pt x="453784" y="200228"/>
                  </a:lnTo>
                  <a:lnTo>
                    <a:pt x="453784" y="200876"/>
                  </a:lnTo>
                  <a:lnTo>
                    <a:pt x="453784" y="199530"/>
                  </a:lnTo>
                  <a:lnTo>
                    <a:pt x="453835" y="199530"/>
                  </a:lnTo>
                  <a:lnTo>
                    <a:pt x="453835" y="196799"/>
                  </a:lnTo>
                  <a:lnTo>
                    <a:pt x="453835" y="197447"/>
                  </a:lnTo>
                  <a:lnTo>
                    <a:pt x="453886" y="197447"/>
                  </a:lnTo>
                  <a:lnTo>
                    <a:pt x="453886" y="199530"/>
                  </a:lnTo>
                  <a:lnTo>
                    <a:pt x="453886" y="197447"/>
                  </a:lnTo>
                  <a:lnTo>
                    <a:pt x="453886" y="199530"/>
                  </a:lnTo>
                  <a:lnTo>
                    <a:pt x="453987" y="200228"/>
                  </a:lnTo>
                  <a:lnTo>
                    <a:pt x="453987" y="197447"/>
                  </a:lnTo>
                  <a:lnTo>
                    <a:pt x="453987" y="200228"/>
                  </a:lnTo>
                  <a:lnTo>
                    <a:pt x="454026" y="200228"/>
                  </a:lnTo>
                  <a:lnTo>
                    <a:pt x="454026" y="199530"/>
                  </a:lnTo>
                  <a:lnTo>
                    <a:pt x="454026" y="200876"/>
                  </a:lnTo>
                  <a:lnTo>
                    <a:pt x="454026" y="200228"/>
                  </a:lnTo>
                  <a:lnTo>
                    <a:pt x="454026" y="200876"/>
                  </a:lnTo>
                  <a:lnTo>
                    <a:pt x="454026" y="200228"/>
                  </a:lnTo>
                  <a:lnTo>
                    <a:pt x="454076" y="200228"/>
                  </a:lnTo>
                  <a:lnTo>
                    <a:pt x="454076" y="200876"/>
                  </a:lnTo>
                  <a:lnTo>
                    <a:pt x="454076" y="200228"/>
                  </a:lnTo>
                  <a:lnTo>
                    <a:pt x="454076" y="200876"/>
                  </a:lnTo>
                  <a:lnTo>
                    <a:pt x="454127" y="200228"/>
                  </a:lnTo>
                  <a:lnTo>
                    <a:pt x="454127" y="200876"/>
                  </a:lnTo>
                  <a:lnTo>
                    <a:pt x="454229" y="200876"/>
                  </a:lnTo>
                  <a:lnTo>
                    <a:pt x="454229" y="200228"/>
                  </a:lnTo>
                  <a:lnTo>
                    <a:pt x="454229" y="200876"/>
                  </a:lnTo>
                  <a:lnTo>
                    <a:pt x="454229" y="200228"/>
                  </a:lnTo>
                  <a:lnTo>
                    <a:pt x="454229" y="200876"/>
                  </a:lnTo>
                  <a:lnTo>
                    <a:pt x="454280" y="200228"/>
                  </a:lnTo>
                  <a:lnTo>
                    <a:pt x="454280" y="199530"/>
                  </a:lnTo>
                  <a:lnTo>
                    <a:pt x="454330" y="198831"/>
                  </a:lnTo>
                  <a:lnTo>
                    <a:pt x="454330" y="199530"/>
                  </a:lnTo>
                  <a:lnTo>
                    <a:pt x="454330" y="196799"/>
                  </a:lnTo>
                  <a:lnTo>
                    <a:pt x="454330" y="198831"/>
                  </a:lnTo>
                  <a:lnTo>
                    <a:pt x="454432" y="198831"/>
                  </a:lnTo>
                  <a:lnTo>
                    <a:pt x="454432" y="196799"/>
                  </a:lnTo>
                  <a:lnTo>
                    <a:pt x="454432" y="200228"/>
                  </a:lnTo>
                  <a:lnTo>
                    <a:pt x="454483" y="199530"/>
                  </a:lnTo>
                  <a:lnTo>
                    <a:pt x="454483" y="198831"/>
                  </a:lnTo>
                  <a:lnTo>
                    <a:pt x="454483" y="199530"/>
                  </a:lnTo>
                  <a:lnTo>
                    <a:pt x="454483" y="197447"/>
                  </a:lnTo>
                  <a:lnTo>
                    <a:pt x="454483" y="200228"/>
                  </a:lnTo>
                  <a:lnTo>
                    <a:pt x="454533" y="200228"/>
                  </a:lnTo>
                  <a:lnTo>
                    <a:pt x="454533" y="198831"/>
                  </a:lnTo>
                  <a:lnTo>
                    <a:pt x="454533" y="200876"/>
                  </a:lnTo>
                  <a:lnTo>
                    <a:pt x="454533" y="200228"/>
                  </a:lnTo>
                  <a:lnTo>
                    <a:pt x="454572" y="200228"/>
                  </a:lnTo>
                  <a:lnTo>
                    <a:pt x="454572" y="199530"/>
                  </a:lnTo>
                  <a:lnTo>
                    <a:pt x="454572" y="200228"/>
                  </a:lnTo>
                  <a:lnTo>
                    <a:pt x="454572" y="199530"/>
                  </a:lnTo>
                  <a:lnTo>
                    <a:pt x="454572" y="200876"/>
                  </a:lnTo>
                  <a:lnTo>
                    <a:pt x="454572" y="200228"/>
                  </a:lnTo>
                  <a:lnTo>
                    <a:pt x="454673" y="200228"/>
                  </a:lnTo>
                  <a:lnTo>
                    <a:pt x="454673" y="200876"/>
                  </a:lnTo>
                  <a:lnTo>
                    <a:pt x="454673" y="200228"/>
                  </a:lnTo>
                  <a:lnTo>
                    <a:pt x="454673" y="200876"/>
                  </a:lnTo>
                  <a:lnTo>
                    <a:pt x="454724" y="200876"/>
                  </a:lnTo>
                  <a:lnTo>
                    <a:pt x="454724" y="200228"/>
                  </a:lnTo>
                  <a:lnTo>
                    <a:pt x="454724" y="200876"/>
                  </a:lnTo>
                  <a:lnTo>
                    <a:pt x="454724" y="200228"/>
                  </a:lnTo>
                  <a:lnTo>
                    <a:pt x="454724" y="200876"/>
                  </a:lnTo>
                  <a:lnTo>
                    <a:pt x="454724" y="200228"/>
                  </a:lnTo>
                  <a:lnTo>
                    <a:pt x="454775" y="200228"/>
                  </a:lnTo>
                  <a:lnTo>
                    <a:pt x="454775" y="199530"/>
                  </a:lnTo>
                  <a:lnTo>
                    <a:pt x="454876" y="198831"/>
                  </a:lnTo>
                  <a:lnTo>
                    <a:pt x="454876" y="196799"/>
                  </a:lnTo>
                  <a:lnTo>
                    <a:pt x="454876" y="198831"/>
                  </a:lnTo>
                  <a:lnTo>
                    <a:pt x="454876" y="197447"/>
                  </a:lnTo>
                  <a:lnTo>
                    <a:pt x="454927" y="197447"/>
                  </a:lnTo>
                  <a:lnTo>
                    <a:pt x="454927" y="196113"/>
                  </a:lnTo>
                  <a:lnTo>
                    <a:pt x="454927" y="200228"/>
                  </a:lnTo>
                  <a:lnTo>
                    <a:pt x="454927" y="198831"/>
                  </a:lnTo>
                  <a:lnTo>
                    <a:pt x="454978" y="198831"/>
                  </a:lnTo>
                  <a:lnTo>
                    <a:pt x="454978" y="197447"/>
                  </a:lnTo>
                  <a:lnTo>
                    <a:pt x="454978" y="198831"/>
                  </a:lnTo>
                  <a:lnTo>
                    <a:pt x="454978" y="197447"/>
                  </a:lnTo>
                  <a:lnTo>
                    <a:pt x="454978" y="200228"/>
                  </a:lnTo>
                  <a:lnTo>
                    <a:pt x="454978" y="198831"/>
                  </a:lnTo>
                  <a:lnTo>
                    <a:pt x="455029" y="199530"/>
                  </a:lnTo>
                  <a:lnTo>
                    <a:pt x="455029" y="198831"/>
                  </a:lnTo>
                  <a:lnTo>
                    <a:pt x="455029" y="199530"/>
                  </a:lnTo>
                  <a:lnTo>
                    <a:pt x="455029" y="198831"/>
                  </a:lnTo>
                  <a:lnTo>
                    <a:pt x="455029" y="200228"/>
                  </a:lnTo>
                  <a:lnTo>
                    <a:pt x="455029" y="199530"/>
                  </a:lnTo>
                  <a:lnTo>
                    <a:pt x="455118" y="199530"/>
                  </a:lnTo>
                  <a:lnTo>
                    <a:pt x="455118" y="200228"/>
                  </a:lnTo>
                  <a:lnTo>
                    <a:pt x="455118" y="199530"/>
                  </a:lnTo>
                  <a:lnTo>
                    <a:pt x="455118" y="200228"/>
                  </a:lnTo>
                  <a:lnTo>
                    <a:pt x="455118" y="199530"/>
                  </a:lnTo>
                  <a:lnTo>
                    <a:pt x="455168" y="200228"/>
                  </a:lnTo>
                  <a:lnTo>
                    <a:pt x="455168" y="199530"/>
                  </a:lnTo>
                  <a:lnTo>
                    <a:pt x="455168" y="200228"/>
                  </a:lnTo>
                  <a:lnTo>
                    <a:pt x="455219" y="200228"/>
                  </a:lnTo>
                  <a:lnTo>
                    <a:pt x="455219" y="200876"/>
                  </a:lnTo>
                  <a:lnTo>
                    <a:pt x="455219" y="200228"/>
                  </a:lnTo>
                  <a:lnTo>
                    <a:pt x="455219" y="200876"/>
                  </a:lnTo>
                  <a:lnTo>
                    <a:pt x="455219" y="199530"/>
                  </a:lnTo>
                  <a:lnTo>
                    <a:pt x="455270" y="199530"/>
                  </a:lnTo>
                  <a:lnTo>
                    <a:pt x="455270" y="200228"/>
                  </a:lnTo>
                  <a:lnTo>
                    <a:pt x="455270" y="198831"/>
                  </a:lnTo>
                  <a:lnTo>
                    <a:pt x="455372" y="198831"/>
                  </a:lnTo>
                  <a:lnTo>
                    <a:pt x="455372" y="197447"/>
                  </a:lnTo>
                  <a:lnTo>
                    <a:pt x="455372" y="200228"/>
                  </a:lnTo>
                  <a:lnTo>
                    <a:pt x="455372" y="197447"/>
                  </a:lnTo>
                  <a:lnTo>
                    <a:pt x="455422" y="197447"/>
                  </a:lnTo>
                  <a:lnTo>
                    <a:pt x="455422" y="200876"/>
                  </a:lnTo>
                  <a:lnTo>
                    <a:pt x="455422" y="199530"/>
                  </a:lnTo>
                  <a:lnTo>
                    <a:pt x="455473" y="199530"/>
                  </a:lnTo>
                  <a:lnTo>
                    <a:pt x="455473" y="202260"/>
                  </a:lnTo>
                  <a:lnTo>
                    <a:pt x="455473" y="199530"/>
                  </a:lnTo>
                  <a:lnTo>
                    <a:pt x="455473" y="200228"/>
                  </a:lnTo>
                  <a:lnTo>
                    <a:pt x="455575" y="200228"/>
                  </a:lnTo>
                  <a:lnTo>
                    <a:pt x="455575" y="200876"/>
                  </a:lnTo>
                  <a:lnTo>
                    <a:pt x="455575" y="200228"/>
                  </a:lnTo>
                  <a:lnTo>
                    <a:pt x="455575" y="200876"/>
                  </a:lnTo>
                  <a:lnTo>
                    <a:pt x="455613" y="200876"/>
                  </a:lnTo>
                  <a:lnTo>
                    <a:pt x="455613" y="202260"/>
                  </a:lnTo>
                  <a:lnTo>
                    <a:pt x="455613" y="200228"/>
                  </a:lnTo>
                  <a:lnTo>
                    <a:pt x="455613" y="200876"/>
                  </a:lnTo>
                  <a:lnTo>
                    <a:pt x="455664" y="200876"/>
                  </a:lnTo>
                  <a:lnTo>
                    <a:pt x="455664" y="202260"/>
                  </a:lnTo>
                  <a:lnTo>
                    <a:pt x="455664" y="200876"/>
                  </a:lnTo>
                  <a:lnTo>
                    <a:pt x="455715" y="200876"/>
                  </a:lnTo>
                  <a:lnTo>
                    <a:pt x="455715" y="202260"/>
                  </a:lnTo>
                  <a:lnTo>
                    <a:pt x="455715" y="199530"/>
                  </a:lnTo>
                  <a:lnTo>
                    <a:pt x="455816" y="199530"/>
                  </a:lnTo>
                  <a:lnTo>
                    <a:pt x="455816" y="200228"/>
                  </a:lnTo>
                  <a:lnTo>
                    <a:pt x="455816" y="198831"/>
                  </a:lnTo>
                  <a:lnTo>
                    <a:pt x="455816" y="200228"/>
                  </a:lnTo>
                  <a:lnTo>
                    <a:pt x="455867" y="200228"/>
                  </a:lnTo>
                  <a:lnTo>
                    <a:pt x="455867" y="199530"/>
                  </a:lnTo>
                  <a:lnTo>
                    <a:pt x="455867" y="200228"/>
                  </a:lnTo>
                  <a:lnTo>
                    <a:pt x="455867" y="199530"/>
                  </a:lnTo>
                  <a:lnTo>
                    <a:pt x="455867" y="200228"/>
                  </a:lnTo>
                  <a:lnTo>
                    <a:pt x="455867" y="198831"/>
                  </a:lnTo>
                  <a:lnTo>
                    <a:pt x="455867" y="199530"/>
                  </a:lnTo>
                  <a:lnTo>
                    <a:pt x="455867" y="198831"/>
                  </a:lnTo>
                  <a:lnTo>
                    <a:pt x="455867" y="202260"/>
                  </a:lnTo>
                  <a:lnTo>
                    <a:pt x="455918" y="202260"/>
                  </a:lnTo>
                  <a:lnTo>
                    <a:pt x="455918" y="200228"/>
                  </a:lnTo>
                  <a:lnTo>
                    <a:pt x="455918" y="202959"/>
                  </a:lnTo>
                  <a:lnTo>
                    <a:pt x="455918" y="202260"/>
                  </a:lnTo>
                  <a:lnTo>
                    <a:pt x="456019" y="202260"/>
                  </a:lnTo>
                  <a:lnTo>
                    <a:pt x="456019" y="200876"/>
                  </a:lnTo>
                  <a:lnTo>
                    <a:pt x="456019" y="202959"/>
                  </a:lnTo>
                  <a:lnTo>
                    <a:pt x="456019" y="202260"/>
                  </a:lnTo>
                  <a:lnTo>
                    <a:pt x="456070" y="202260"/>
                  </a:lnTo>
                  <a:lnTo>
                    <a:pt x="456070" y="202959"/>
                  </a:lnTo>
                  <a:lnTo>
                    <a:pt x="456070" y="202260"/>
                  </a:lnTo>
                  <a:lnTo>
                    <a:pt x="456121" y="202260"/>
                  </a:lnTo>
                  <a:lnTo>
                    <a:pt x="456121" y="200876"/>
                  </a:lnTo>
                  <a:lnTo>
                    <a:pt x="456121" y="202260"/>
                  </a:lnTo>
                  <a:lnTo>
                    <a:pt x="456121" y="200228"/>
                  </a:lnTo>
                  <a:lnTo>
                    <a:pt x="456121" y="202260"/>
                  </a:lnTo>
                  <a:lnTo>
                    <a:pt x="456121" y="200876"/>
                  </a:lnTo>
                  <a:lnTo>
                    <a:pt x="456159" y="200876"/>
                  </a:lnTo>
                  <a:lnTo>
                    <a:pt x="456159" y="202260"/>
                  </a:lnTo>
                  <a:lnTo>
                    <a:pt x="456159" y="200228"/>
                  </a:lnTo>
                  <a:lnTo>
                    <a:pt x="456261" y="200228"/>
                  </a:lnTo>
                  <a:lnTo>
                    <a:pt x="456261" y="199530"/>
                  </a:lnTo>
                  <a:lnTo>
                    <a:pt x="456261" y="200228"/>
                  </a:lnTo>
                  <a:lnTo>
                    <a:pt x="456261" y="198831"/>
                  </a:lnTo>
                  <a:lnTo>
                    <a:pt x="456312" y="198831"/>
                  </a:lnTo>
                  <a:lnTo>
                    <a:pt x="456312" y="199530"/>
                  </a:lnTo>
                  <a:lnTo>
                    <a:pt x="456312" y="198831"/>
                  </a:lnTo>
                  <a:lnTo>
                    <a:pt x="456362" y="198831"/>
                  </a:lnTo>
                  <a:lnTo>
                    <a:pt x="456362" y="197447"/>
                  </a:lnTo>
                  <a:lnTo>
                    <a:pt x="456362" y="200876"/>
                  </a:lnTo>
                  <a:lnTo>
                    <a:pt x="456362" y="200228"/>
                  </a:lnTo>
                  <a:lnTo>
                    <a:pt x="456464" y="200228"/>
                  </a:lnTo>
                  <a:lnTo>
                    <a:pt x="456464" y="199530"/>
                  </a:lnTo>
                  <a:lnTo>
                    <a:pt x="456464" y="202260"/>
                  </a:lnTo>
                  <a:lnTo>
                    <a:pt x="456464" y="200876"/>
                  </a:lnTo>
                  <a:lnTo>
                    <a:pt x="456515" y="200876"/>
                  </a:lnTo>
                  <a:lnTo>
                    <a:pt x="456515" y="202260"/>
                  </a:lnTo>
                  <a:lnTo>
                    <a:pt x="456515" y="200876"/>
                  </a:lnTo>
                  <a:lnTo>
                    <a:pt x="456515" y="202260"/>
                  </a:lnTo>
                  <a:lnTo>
                    <a:pt x="456515" y="200876"/>
                  </a:lnTo>
                  <a:lnTo>
                    <a:pt x="456515" y="202260"/>
                  </a:lnTo>
                  <a:lnTo>
                    <a:pt x="456566" y="202260"/>
                  </a:lnTo>
                  <a:lnTo>
                    <a:pt x="456566" y="200876"/>
                  </a:lnTo>
                  <a:lnTo>
                    <a:pt x="456566" y="202260"/>
                  </a:lnTo>
                  <a:lnTo>
                    <a:pt x="456566" y="200876"/>
                  </a:lnTo>
                  <a:lnTo>
                    <a:pt x="456566" y="202260"/>
                  </a:lnTo>
                  <a:lnTo>
                    <a:pt x="456566" y="200876"/>
                  </a:lnTo>
                  <a:lnTo>
                    <a:pt x="456566" y="202260"/>
                  </a:lnTo>
                  <a:lnTo>
                    <a:pt x="456616" y="202260"/>
                  </a:lnTo>
                  <a:lnTo>
                    <a:pt x="456616" y="200876"/>
                  </a:lnTo>
                  <a:lnTo>
                    <a:pt x="456616" y="202260"/>
                  </a:lnTo>
                  <a:lnTo>
                    <a:pt x="456616" y="200876"/>
                  </a:lnTo>
                  <a:lnTo>
                    <a:pt x="456616" y="202260"/>
                  </a:lnTo>
                  <a:lnTo>
                    <a:pt x="456616" y="200876"/>
                  </a:lnTo>
                  <a:lnTo>
                    <a:pt x="456616" y="202260"/>
                  </a:lnTo>
                  <a:lnTo>
                    <a:pt x="456705" y="202260"/>
                  </a:lnTo>
                  <a:lnTo>
                    <a:pt x="456705" y="200876"/>
                  </a:lnTo>
                  <a:lnTo>
                    <a:pt x="456705" y="202260"/>
                  </a:lnTo>
                  <a:lnTo>
                    <a:pt x="456705" y="200876"/>
                  </a:lnTo>
                  <a:lnTo>
                    <a:pt x="456756" y="200876"/>
                  </a:lnTo>
                  <a:lnTo>
                    <a:pt x="456756" y="198831"/>
                  </a:lnTo>
                  <a:lnTo>
                    <a:pt x="456807" y="198831"/>
                  </a:lnTo>
                  <a:lnTo>
                    <a:pt x="456807" y="199530"/>
                  </a:lnTo>
                  <a:lnTo>
                    <a:pt x="456807" y="198831"/>
                  </a:lnTo>
                  <a:lnTo>
                    <a:pt x="456858" y="198831"/>
                  </a:lnTo>
                  <a:lnTo>
                    <a:pt x="456858" y="200876"/>
                  </a:lnTo>
                  <a:lnTo>
                    <a:pt x="456858" y="199530"/>
                  </a:lnTo>
                  <a:lnTo>
                    <a:pt x="456858" y="200228"/>
                  </a:lnTo>
                  <a:lnTo>
                    <a:pt x="456858" y="199530"/>
                  </a:lnTo>
                  <a:lnTo>
                    <a:pt x="456858" y="200228"/>
                  </a:lnTo>
                  <a:lnTo>
                    <a:pt x="456858" y="199530"/>
                  </a:lnTo>
                  <a:lnTo>
                    <a:pt x="456959" y="199530"/>
                  </a:lnTo>
                  <a:lnTo>
                    <a:pt x="456959" y="200228"/>
                  </a:lnTo>
                  <a:lnTo>
                    <a:pt x="456959" y="199530"/>
                  </a:lnTo>
                  <a:lnTo>
                    <a:pt x="456959" y="202260"/>
                  </a:lnTo>
                  <a:lnTo>
                    <a:pt x="456959" y="200228"/>
                  </a:lnTo>
                  <a:lnTo>
                    <a:pt x="457010" y="200876"/>
                  </a:lnTo>
                  <a:lnTo>
                    <a:pt x="457010" y="202260"/>
                  </a:lnTo>
                  <a:lnTo>
                    <a:pt x="457010" y="200876"/>
                  </a:lnTo>
                  <a:lnTo>
                    <a:pt x="457010" y="202260"/>
                  </a:lnTo>
                  <a:lnTo>
                    <a:pt x="457010" y="200876"/>
                  </a:lnTo>
                  <a:lnTo>
                    <a:pt x="457010" y="202260"/>
                  </a:lnTo>
                  <a:lnTo>
                    <a:pt x="457010" y="200876"/>
                  </a:lnTo>
                  <a:lnTo>
                    <a:pt x="457061" y="200876"/>
                  </a:lnTo>
                  <a:lnTo>
                    <a:pt x="457061" y="202260"/>
                  </a:lnTo>
                  <a:lnTo>
                    <a:pt x="457061" y="200876"/>
                  </a:lnTo>
                  <a:lnTo>
                    <a:pt x="457061" y="202260"/>
                  </a:lnTo>
                  <a:lnTo>
                    <a:pt x="457061" y="200876"/>
                  </a:lnTo>
                  <a:lnTo>
                    <a:pt x="457061" y="202260"/>
                  </a:lnTo>
                  <a:lnTo>
                    <a:pt x="457061" y="200876"/>
                  </a:lnTo>
                  <a:lnTo>
                    <a:pt x="457061" y="202260"/>
                  </a:lnTo>
                  <a:lnTo>
                    <a:pt x="457061" y="200876"/>
                  </a:lnTo>
                  <a:lnTo>
                    <a:pt x="457061" y="202260"/>
                  </a:lnTo>
                  <a:lnTo>
                    <a:pt x="457061" y="200876"/>
                  </a:lnTo>
                  <a:lnTo>
                    <a:pt x="457162" y="202260"/>
                  </a:lnTo>
                  <a:lnTo>
                    <a:pt x="457162" y="200876"/>
                  </a:lnTo>
                  <a:lnTo>
                    <a:pt x="457162" y="202260"/>
                  </a:lnTo>
                  <a:lnTo>
                    <a:pt x="457162" y="200876"/>
                  </a:lnTo>
                  <a:lnTo>
                    <a:pt x="457162" y="202260"/>
                  </a:lnTo>
                  <a:lnTo>
                    <a:pt x="457162" y="200876"/>
                  </a:lnTo>
                  <a:lnTo>
                    <a:pt x="457201" y="200876"/>
                  </a:lnTo>
                  <a:lnTo>
                    <a:pt x="457201" y="202260"/>
                  </a:lnTo>
                  <a:lnTo>
                    <a:pt x="457201" y="200876"/>
                  </a:lnTo>
                  <a:lnTo>
                    <a:pt x="457201" y="202260"/>
                  </a:lnTo>
                  <a:lnTo>
                    <a:pt x="457201" y="200228"/>
                  </a:lnTo>
                  <a:lnTo>
                    <a:pt x="457251" y="200228"/>
                  </a:lnTo>
                  <a:lnTo>
                    <a:pt x="457251" y="197447"/>
                  </a:lnTo>
                  <a:lnTo>
                    <a:pt x="457302" y="197447"/>
                  </a:lnTo>
                  <a:lnTo>
                    <a:pt x="457302" y="198831"/>
                  </a:lnTo>
                  <a:lnTo>
                    <a:pt x="457302" y="196113"/>
                  </a:lnTo>
                  <a:lnTo>
                    <a:pt x="457302" y="198831"/>
                  </a:lnTo>
                  <a:lnTo>
                    <a:pt x="457302" y="197447"/>
                  </a:lnTo>
                  <a:lnTo>
                    <a:pt x="457404" y="197447"/>
                  </a:lnTo>
                  <a:lnTo>
                    <a:pt x="457404" y="196113"/>
                  </a:lnTo>
                  <a:lnTo>
                    <a:pt x="457404" y="200228"/>
                  </a:lnTo>
                  <a:lnTo>
                    <a:pt x="457404" y="198831"/>
                  </a:lnTo>
                  <a:lnTo>
                    <a:pt x="457455" y="198831"/>
                  </a:lnTo>
                  <a:lnTo>
                    <a:pt x="457455" y="197447"/>
                  </a:lnTo>
                  <a:lnTo>
                    <a:pt x="457455" y="200228"/>
                  </a:lnTo>
                  <a:lnTo>
                    <a:pt x="457455" y="199530"/>
                  </a:lnTo>
                  <a:lnTo>
                    <a:pt x="457505" y="200228"/>
                  </a:lnTo>
                  <a:lnTo>
                    <a:pt x="457505" y="199530"/>
                  </a:lnTo>
                  <a:lnTo>
                    <a:pt x="457505" y="200876"/>
                  </a:lnTo>
                  <a:lnTo>
                    <a:pt x="457505" y="200228"/>
                  </a:lnTo>
                  <a:lnTo>
                    <a:pt x="457607" y="200228"/>
                  </a:lnTo>
                  <a:lnTo>
                    <a:pt x="457607" y="200876"/>
                  </a:lnTo>
                  <a:lnTo>
                    <a:pt x="457607" y="200228"/>
                  </a:lnTo>
                  <a:lnTo>
                    <a:pt x="457607" y="200876"/>
                  </a:lnTo>
                  <a:lnTo>
                    <a:pt x="457607" y="200228"/>
                  </a:lnTo>
                  <a:lnTo>
                    <a:pt x="457607" y="200876"/>
                  </a:lnTo>
                  <a:lnTo>
                    <a:pt x="457607" y="200228"/>
                  </a:lnTo>
                  <a:lnTo>
                    <a:pt x="457607" y="200876"/>
                  </a:lnTo>
                  <a:lnTo>
                    <a:pt x="457607" y="200228"/>
                  </a:lnTo>
                  <a:lnTo>
                    <a:pt x="457607" y="200876"/>
                  </a:lnTo>
                  <a:lnTo>
                    <a:pt x="457658" y="200876"/>
                  </a:lnTo>
                  <a:lnTo>
                    <a:pt x="457658" y="202260"/>
                  </a:lnTo>
                  <a:lnTo>
                    <a:pt x="457658" y="200876"/>
                  </a:lnTo>
                  <a:lnTo>
                    <a:pt x="457658" y="202260"/>
                  </a:lnTo>
                  <a:lnTo>
                    <a:pt x="457658" y="200876"/>
                  </a:lnTo>
                  <a:lnTo>
                    <a:pt x="457658" y="202260"/>
                  </a:lnTo>
                  <a:lnTo>
                    <a:pt x="457708" y="202260"/>
                  </a:lnTo>
                  <a:lnTo>
                    <a:pt x="457708" y="200876"/>
                  </a:lnTo>
                  <a:lnTo>
                    <a:pt x="457708" y="202260"/>
                  </a:lnTo>
                  <a:lnTo>
                    <a:pt x="457708" y="200228"/>
                  </a:lnTo>
                  <a:lnTo>
                    <a:pt x="457747" y="200228"/>
                  </a:lnTo>
                  <a:lnTo>
                    <a:pt x="457747" y="198831"/>
                  </a:lnTo>
                  <a:lnTo>
                    <a:pt x="457747" y="199530"/>
                  </a:lnTo>
                  <a:lnTo>
                    <a:pt x="457747" y="198831"/>
                  </a:lnTo>
                  <a:lnTo>
                    <a:pt x="457848" y="198831"/>
                  </a:lnTo>
                  <a:lnTo>
                    <a:pt x="457848" y="196799"/>
                  </a:lnTo>
                  <a:lnTo>
                    <a:pt x="457848" y="198831"/>
                  </a:lnTo>
                  <a:lnTo>
                    <a:pt x="457848" y="196799"/>
                  </a:lnTo>
                  <a:lnTo>
                    <a:pt x="457899" y="196113"/>
                  </a:lnTo>
                  <a:lnTo>
                    <a:pt x="457899" y="200228"/>
                  </a:lnTo>
                  <a:lnTo>
                    <a:pt x="457899" y="198831"/>
                  </a:lnTo>
                  <a:lnTo>
                    <a:pt x="457950" y="198831"/>
                  </a:lnTo>
                  <a:lnTo>
                    <a:pt x="457950" y="197447"/>
                  </a:lnTo>
                  <a:lnTo>
                    <a:pt x="457950" y="199530"/>
                  </a:lnTo>
                  <a:lnTo>
                    <a:pt x="457950" y="198831"/>
                  </a:lnTo>
                  <a:lnTo>
                    <a:pt x="458051" y="198831"/>
                  </a:lnTo>
                  <a:lnTo>
                    <a:pt x="458051" y="199530"/>
                  </a:lnTo>
                  <a:lnTo>
                    <a:pt x="458102" y="199530"/>
                  </a:lnTo>
                  <a:lnTo>
                    <a:pt x="458102" y="200228"/>
                  </a:lnTo>
                  <a:lnTo>
                    <a:pt x="458102" y="199530"/>
                  </a:lnTo>
                  <a:lnTo>
                    <a:pt x="458102" y="200228"/>
                  </a:lnTo>
                  <a:lnTo>
                    <a:pt x="458102" y="199530"/>
                  </a:lnTo>
                  <a:lnTo>
                    <a:pt x="458102" y="200228"/>
                  </a:lnTo>
                  <a:lnTo>
                    <a:pt x="458102" y="199530"/>
                  </a:lnTo>
                  <a:lnTo>
                    <a:pt x="458102" y="200228"/>
                  </a:lnTo>
                  <a:lnTo>
                    <a:pt x="458102" y="199530"/>
                  </a:lnTo>
                  <a:lnTo>
                    <a:pt x="458102" y="200228"/>
                  </a:lnTo>
                  <a:lnTo>
                    <a:pt x="458153" y="200876"/>
                  </a:lnTo>
                  <a:lnTo>
                    <a:pt x="458153" y="200228"/>
                  </a:lnTo>
                  <a:lnTo>
                    <a:pt x="458153" y="200876"/>
                  </a:lnTo>
                  <a:lnTo>
                    <a:pt x="458153" y="200228"/>
                  </a:lnTo>
                  <a:lnTo>
                    <a:pt x="458153" y="200876"/>
                  </a:lnTo>
                  <a:lnTo>
                    <a:pt x="458153" y="200228"/>
                  </a:lnTo>
                  <a:lnTo>
                    <a:pt x="458153" y="200876"/>
                  </a:lnTo>
                  <a:lnTo>
                    <a:pt x="458153" y="200228"/>
                  </a:lnTo>
                  <a:lnTo>
                    <a:pt x="458204" y="200876"/>
                  </a:lnTo>
                  <a:lnTo>
                    <a:pt x="458204" y="200228"/>
                  </a:lnTo>
                  <a:lnTo>
                    <a:pt x="458293" y="200228"/>
                  </a:lnTo>
                  <a:lnTo>
                    <a:pt x="458293" y="198831"/>
                  </a:lnTo>
                  <a:lnTo>
                    <a:pt x="458293" y="199530"/>
                  </a:lnTo>
                  <a:lnTo>
                    <a:pt x="458293" y="198831"/>
                  </a:lnTo>
                  <a:lnTo>
                    <a:pt x="458293" y="199530"/>
                  </a:lnTo>
                  <a:lnTo>
                    <a:pt x="458343" y="199530"/>
                  </a:lnTo>
                  <a:lnTo>
                    <a:pt x="458343" y="200228"/>
                  </a:lnTo>
                  <a:lnTo>
                    <a:pt x="458343" y="197447"/>
                  </a:lnTo>
                  <a:lnTo>
                    <a:pt x="458343" y="199530"/>
                  </a:lnTo>
                  <a:lnTo>
                    <a:pt x="458394" y="200228"/>
                  </a:lnTo>
                  <a:lnTo>
                    <a:pt x="458445" y="200228"/>
                  </a:lnTo>
                  <a:lnTo>
                    <a:pt x="458445" y="200876"/>
                  </a:lnTo>
                  <a:lnTo>
                    <a:pt x="458445" y="199530"/>
                  </a:lnTo>
                  <a:lnTo>
                    <a:pt x="458445" y="200228"/>
                  </a:lnTo>
                  <a:lnTo>
                    <a:pt x="458547" y="200228"/>
                  </a:lnTo>
                  <a:lnTo>
                    <a:pt x="458547" y="200876"/>
                  </a:lnTo>
                  <a:lnTo>
                    <a:pt x="458547" y="200228"/>
                  </a:lnTo>
                  <a:lnTo>
                    <a:pt x="458597" y="200876"/>
                  </a:lnTo>
                  <a:lnTo>
                    <a:pt x="458597" y="200228"/>
                  </a:lnTo>
                  <a:lnTo>
                    <a:pt x="458597" y="200876"/>
                  </a:lnTo>
                  <a:lnTo>
                    <a:pt x="458597" y="200228"/>
                  </a:lnTo>
                  <a:lnTo>
                    <a:pt x="458597" y="200876"/>
                  </a:lnTo>
                  <a:lnTo>
                    <a:pt x="458597" y="200228"/>
                  </a:lnTo>
                  <a:lnTo>
                    <a:pt x="458597" y="200876"/>
                  </a:lnTo>
                  <a:lnTo>
                    <a:pt x="458648" y="200876"/>
                  </a:lnTo>
                  <a:lnTo>
                    <a:pt x="458648" y="200228"/>
                  </a:lnTo>
                  <a:lnTo>
                    <a:pt x="458648" y="200876"/>
                  </a:lnTo>
                  <a:lnTo>
                    <a:pt x="458648" y="200228"/>
                  </a:lnTo>
                  <a:lnTo>
                    <a:pt x="458648" y="202260"/>
                  </a:lnTo>
                  <a:lnTo>
                    <a:pt x="458648" y="200228"/>
                  </a:lnTo>
                  <a:lnTo>
                    <a:pt x="458648" y="200876"/>
                  </a:lnTo>
                  <a:lnTo>
                    <a:pt x="458750" y="200876"/>
                  </a:lnTo>
                  <a:lnTo>
                    <a:pt x="458750" y="200228"/>
                  </a:lnTo>
                  <a:lnTo>
                    <a:pt x="458750" y="200876"/>
                  </a:lnTo>
                  <a:lnTo>
                    <a:pt x="458750" y="199530"/>
                  </a:lnTo>
                  <a:lnTo>
                    <a:pt x="458750" y="200228"/>
                  </a:lnTo>
                  <a:lnTo>
                    <a:pt x="458750" y="199530"/>
                  </a:lnTo>
                  <a:lnTo>
                    <a:pt x="458788" y="199530"/>
                  </a:lnTo>
                  <a:lnTo>
                    <a:pt x="458788" y="197447"/>
                  </a:lnTo>
                  <a:lnTo>
                    <a:pt x="458788" y="199530"/>
                  </a:lnTo>
                  <a:lnTo>
                    <a:pt x="458839" y="200228"/>
                  </a:lnTo>
                  <a:lnTo>
                    <a:pt x="458839" y="199530"/>
                  </a:lnTo>
                  <a:lnTo>
                    <a:pt x="458839" y="200228"/>
                  </a:lnTo>
                  <a:lnTo>
                    <a:pt x="458839" y="199530"/>
                  </a:lnTo>
                  <a:lnTo>
                    <a:pt x="458839" y="202260"/>
                  </a:lnTo>
                  <a:lnTo>
                    <a:pt x="458890" y="202260"/>
                  </a:lnTo>
                  <a:lnTo>
                    <a:pt x="458890" y="200228"/>
                  </a:lnTo>
                  <a:lnTo>
                    <a:pt x="458890" y="202260"/>
                  </a:lnTo>
                  <a:lnTo>
                    <a:pt x="458991" y="202260"/>
                  </a:lnTo>
                  <a:lnTo>
                    <a:pt x="458991" y="200228"/>
                  </a:lnTo>
                  <a:lnTo>
                    <a:pt x="458991" y="200876"/>
                  </a:lnTo>
                  <a:lnTo>
                    <a:pt x="458991" y="200228"/>
                  </a:lnTo>
                  <a:lnTo>
                    <a:pt x="458991" y="200876"/>
                  </a:lnTo>
                  <a:lnTo>
                    <a:pt x="459042" y="200876"/>
                  </a:lnTo>
                  <a:lnTo>
                    <a:pt x="459042" y="200228"/>
                  </a:lnTo>
                  <a:lnTo>
                    <a:pt x="459042" y="200876"/>
                  </a:lnTo>
                  <a:lnTo>
                    <a:pt x="459042" y="200228"/>
                  </a:lnTo>
                  <a:lnTo>
                    <a:pt x="459042" y="200876"/>
                  </a:lnTo>
                  <a:lnTo>
                    <a:pt x="459042" y="200228"/>
                  </a:lnTo>
                  <a:lnTo>
                    <a:pt x="459042" y="200876"/>
                  </a:lnTo>
                  <a:lnTo>
                    <a:pt x="459093" y="200876"/>
                  </a:lnTo>
                  <a:lnTo>
                    <a:pt x="459093" y="202260"/>
                  </a:lnTo>
                  <a:lnTo>
                    <a:pt x="459093" y="200876"/>
                  </a:lnTo>
                  <a:lnTo>
                    <a:pt x="459093" y="202260"/>
                  </a:lnTo>
                  <a:lnTo>
                    <a:pt x="459093" y="200876"/>
                  </a:lnTo>
                  <a:lnTo>
                    <a:pt x="459093" y="202260"/>
                  </a:lnTo>
                  <a:lnTo>
                    <a:pt x="459093" y="200228"/>
                  </a:lnTo>
                  <a:lnTo>
                    <a:pt x="459194" y="200876"/>
                  </a:lnTo>
                  <a:lnTo>
                    <a:pt x="459194" y="202260"/>
                  </a:lnTo>
                  <a:lnTo>
                    <a:pt x="459194" y="200228"/>
                  </a:lnTo>
                  <a:lnTo>
                    <a:pt x="459194" y="200876"/>
                  </a:lnTo>
                  <a:lnTo>
                    <a:pt x="459194" y="199530"/>
                  </a:lnTo>
                  <a:lnTo>
                    <a:pt x="459245" y="199530"/>
                  </a:lnTo>
                  <a:lnTo>
                    <a:pt x="459245" y="200228"/>
                  </a:lnTo>
                  <a:lnTo>
                    <a:pt x="459245" y="199530"/>
                  </a:lnTo>
                  <a:lnTo>
                    <a:pt x="459245" y="200228"/>
                  </a:lnTo>
                  <a:lnTo>
                    <a:pt x="459245" y="198831"/>
                  </a:lnTo>
                  <a:lnTo>
                    <a:pt x="459296" y="197447"/>
                  </a:lnTo>
                  <a:lnTo>
                    <a:pt x="459296" y="198831"/>
                  </a:lnTo>
                  <a:lnTo>
                    <a:pt x="459296" y="196799"/>
                  </a:lnTo>
                  <a:lnTo>
                    <a:pt x="459296" y="199530"/>
                  </a:lnTo>
                  <a:lnTo>
                    <a:pt x="459334" y="198831"/>
                  </a:lnTo>
                  <a:lnTo>
                    <a:pt x="459334" y="197447"/>
                  </a:lnTo>
                  <a:lnTo>
                    <a:pt x="459334" y="200876"/>
                  </a:lnTo>
                  <a:lnTo>
                    <a:pt x="459334" y="200228"/>
                  </a:lnTo>
                  <a:lnTo>
                    <a:pt x="459436" y="200228"/>
                  </a:lnTo>
                  <a:lnTo>
                    <a:pt x="459436" y="199530"/>
                  </a:lnTo>
                  <a:lnTo>
                    <a:pt x="459436" y="202260"/>
                  </a:lnTo>
                  <a:lnTo>
                    <a:pt x="459436" y="200876"/>
                  </a:lnTo>
                  <a:lnTo>
                    <a:pt x="459487" y="200876"/>
                  </a:lnTo>
                  <a:lnTo>
                    <a:pt x="459487" y="200228"/>
                  </a:lnTo>
                  <a:lnTo>
                    <a:pt x="459487" y="202260"/>
                  </a:lnTo>
                  <a:lnTo>
                    <a:pt x="459487" y="200876"/>
                  </a:lnTo>
                  <a:lnTo>
                    <a:pt x="459487" y="202260"/>
                  </a:lnTo>
                  <a:lnTo>
                    <a:pt x="459487" y="200876"/>
                  </a:lnTo>
                  <a:lnTo>
                    <a:pt x="459487" y="202260"/>
                  </a:lnTo>
                  <a:lnTo>
                    <a:pt x="459487" y="200228"/>
                  </a:lnTo>
                  <a:lnTo>
                    <a:pt x="459537" y="200876"/>
                  </a:lnTo>
                  <a:lnTo>
                    <a:pt x="459537" y="202260"/>
                  </a:lnTo>
                  <a:lnTo>
                    <a:pt x="459537" y="200876"/>
                  </a:lnTo>
                  <a:lnTo>
                    <a:pt x="459537" y="202260"/>
                  </a:lnTo>
                  <a:lnTo>
                    <a:pt x="459537" y="200876"/>
                  </a:lnTo>
                  <a:lnTo>
                    <a:pt x="459639" y="200876"/>
                  </a:lnTo>
                  <a:lnTo>
                    <a:pt x="459639" y="202260"/>
                  </a:lnTo>
                  <a:lnTo>
                    <a:pt x="459639" y="200876"/>
                  </a:lnTo>
                  <a:lnTo>
                    <a:pt x="459639" y="202260"/>
                  </a:lnTo>
                  <a:lnTo>
                    <a:pt x="459690" y="200876"/>
                  </a:lnTo>
                  <a:lnTo>
                    <a:pt x="459690" y="202260"/>
                  </a:lnTo>
                  <a:lnTo>
                    <a:pt x="459690" y="200876"/>
                  </a:lnTo>
                  <a:lnTo>
                    <a:pt x="459690" y="202260"/>
                  </a:lnTo>
                  <a:lnTo>
                    <a:pt x="459690" y="200228"/>
                  </a:lnTo>
                  <a:lnTo>
                    <a:pt x="459690" y="200876"/>
                  </a:lnTo>
                  <a:lnTo>
                    <a:pt x="459741" y="200228"/>
                  </a:lnTo>
                  <a:lnTo>
                    <a:pt x="459741" y="200876"/>
                  </a:lnTo>
                  <a:lnTo>
                    <a:pt x="459741" y="199530"/>
                  </a:lnTo>
                  <a:lnTo>
                    <a:pt x="459741" y="200228"/>
                  </a:lnTo>
                  <a:lnTo>
                    <a:pt x="459741" y="198831"/>
                  </a:lnTo>
                  <a:lnTo>
                    <a:pt x="459741" y="199530"/>
                  </a:lnTo>
                  <a:lnTo>
                    <a:pt x="459791" y="199530"/>
                  </a:lnTo>
                  <a:lnTo>
                    <a:pt x="459791" y="197447"/>
                  </a:lnTo>
                  <a:lnTo>
                    <a:pt x="459791" y="198831"/>
                  </a:lnTo>
                  <a:lnTo>
                    <a:pt x="459791" y="197447"/>
                  </a:lnTo>
                  <a:lnTo>
                    <a:pt x="459791" y="200228"/>
                  </a:lnTo>
                  <a:lnTo>
                    <a:pt x="459791" y="198831"/>
                  </a:lnTo>
                  <a:lnTo>
                    <a:pt x="459880" y="199530"/>
                  </a:lnTo>
                  <a:lnTo>
                    <a:pt x="459880" y="198831"/>
                  </a:lnTo>
                  <a:lnTo>
                    <a:pt x="459880" y="200876"/>
                  </a:lnTo>
                  <a:lnTo>
                    <a:pt x="459880" y="199530"/>
                  </a:lnTo>
                  <a:lnTo>
                    <a:pt x="459931" y="199530"/>
                  </a:lnTo>
                  <a:lnTo>
                    <a:pt x="459931" y="200876"/>
                  </a:lnTo>
                  <a:lnTo>
                    <a:pt x="459931" y="200228"/>
                  </a:lnTo>
                  <a:lnTo>
                    <a:pt x="459931" y="200876"/>
                  </a:lnTo>
                  <a:lnTo>
                    <a:pt x="459931" y="200228"/>
                  </a:lnTo>
                  <a:lnTo>
                    <a:pt x="459982" y="200876"/>
                  </a:lnTo>
                  <a:lnTo>
                    <a:pt x="459982" y="200228"/>
                  </a:lnTo>
                  <a:lnTo>
                    <a:pt x="459982" y="200876"/>
                  </a:lnTo>
                  <a:lnTo>
                    <a:pt x="460033" y="200876"/>
                  </a:lnTo>
                  <a:lnTo>
                    <a:pt x="460033" y="202260"/>
                  </a:lnTo>
                  <a:lnTo>
                    <a:pt x="460033" y="200876"/>
                  </a:lnTo>
                  <a:lnTo>
                    <a:pt x="460033" y="202260"/>
                  </a:lnTo>
                  <a:lnTo>
                    <a:pt x="460134" y="202260"/>
                  </a:lnTo>
                  <a:lnTo>
                    <a:pt x="460134" y="200876"/>
                  </a:lnTo>
                  <a:lnTo>
                    <a:pt x="460134" y="202260"/>
                  </a:lnTo>
                  <a:lnTo>
                    <a:pt x="460134" y="200876"/>
                  </a:lnTo>
                  <a:lnTo>
                    <a:pt x="460185" y="202260"/>
                  </a:lnTo>
                  <a:lnTo>
                    <a:pt x="460185" y="200228"/>
                  </a:lnTo>
                  <a:lnTo>
                    <a:pt x="460236" y="200228"/>
                  </a:lnTo>
                  <a:lnTo>
                    <a:pt x="460236" y="199530"/>
                  </a:lnTo>
                  <a:lnTo>
                    <a:pt x="460236" y="200228"/>
                  </a:lnTo>
                  <a:lnTo>
                    <a:pt x="460236" y="198831"/>
                  </a:lnTo>
                  <a:lnTo>
                    <a:pt x="460236" y="199530"/>
                  </a:lnTo>
                  <a:lnTo>
                    <a:pt x="460236" y="197447"/>
                  </a:lnTo>
                  <a:lnTo>
                    <a:pt x="460337" y="197447"/>
                  </a:lnTo>
                  <a:lnTo>
                    <a:pt x="460337" y="199530"/>
                  </a:lnTo>
                  <a:lnTo>
                    <a:pt x="460337" y="197447"/>
                  </a:lnTo>
                  <a:lnTo>
                    <a:pt x="460376" y="197447"/>
                  </a:lnTo>
                  <a:lnTo>
                    <a:pt x="460376" y="200228"/>
                  </a:lnTo>
                  <a:lnTo>
                    <a:pt x="460376" y="199530"/>
                  </a:lnTo>
                  <a:lnTo>
                    <a:pt x="460426" y="199530"/>
                  </a:lnTo>
                  <a:lnTo>
                    <a:pt x="460426" y="200228"/>
                  </a:lnTo>
                  <a:lnTo>
                    <a:pt x="460426" y="199530"/>
                  </a:lnTo>
                  <a:lnTo>
                    <a:pt x="460477" y="199530"/>
                  </a:lnTo>
                  <a:lnTo>
                    <a:pt x="460477" y="200876"/>
                  </a:lnTo>
                  <a:lnTo>
                    <a:pt x="460477" y="200228"/>
                  </a:lnTo>
                  <a:lnTo>
                    <a:pt x="460477" y="200876"/>
                  </a:lnTo>
                  <a:lnTo>
                    <a:pt x="460579" y="200876"/>
                  </a:lnTo>
                  <a:lnTo>
                    <a:pt x="460579" y="202260"/>
                  </a:lnTo>
                  <a:lnTo>
                    <a:pt x="460579" y="200876"/>
                  </a:lnTo>
                  <a:lnTo>
                    <a:pt x="460579" y="202260"/>
                  </a:lnTo>
                  <a:lnTo>
                    <a:pt x="460630" y="202260"/>
                  </a:lnTo>
                  <a:lnTo>
                    <a:pt x="460630" y="200876"/>
                  </a:lnTo>
                  <a:lnTo>
                    <a:pt x="460630" y="202260"/>
                  </a:lnTo>
                  <a:lnTo>
                    <a:pt x="460680" y="200876"/>
                  </a:lnTo>
                  <a:lnTo>
                    <a:pt x="460680" y="199530"/>
                  </a:lnTo>
                  <a:lnTo>
                    <a:pt x="460680" y="200228"/>
                  </a:lnTo>
                  <a:lnTo>
                    <a:pt x="460782" y="200228"/>
                  </a:lnTo>
                  <a:lnTo>
                    <a:pt x="460782" y="197447"/>
                  </a:lnTo>
                  <a:lnTo>
                    <a:pt x="460782" y="198831"/>
                  </a:lnTo>
                  <a:lnTo>
                    <a:pt x="460833" y="198831"/>
                  </a:lnTo>
                  <a:lnTo>
                    <a:pt x="460833" y="199530"/>
                  </a:lnTo>
                  <a:lnTo>
                    <a:pt x="460833" y="197447"/>
                  </a:lnTo>
                  <a:lnTo>
                    <a:pt x="460833" y="198831"/>
                  </a:lnTo>
                  <a:lnTo>
                    <a:pt x="460883" y="199530"/>
                  </a:lnTo>
                  <a:lnTo>
                    <a:pt x="460883" y="200228"/>
                  </a:lnTo>
                  <a:lnTo>
                    <a:pt x="460883" y="198831"/>
                  </a:lnTo>
                  <a:lnTo>
                    <a:pt x="460883" y="199530"/>
                  </a:lnTo>
                  <a:lnTo>
                    <a:pt x="460922" y="199530"/>
                  </a:lnTo>
                  <a:lnTo>
                    <a:pt x="460922" y="200228"/>
                  </a:lnTo>
                  <a:lnTo>
                    <a:pt x="460922" y="198831"/>
                  </a:lnTo>
                  <a:lnTo>
                    <a:pt x="460922" y="199530"/>
                  </a:lnTo>
                  <a:lnTo>
                    <a:pt x="461023" y="199530"/>
                  </a:lnTo>
                  <a:lnTo>
                    <a:pt x="461023" y="200228"/>
                  </a:lnTo>
                  <a:lnTo>
                    <a:pt x="461023" y="199530"/>
                  </a:lnTo>
                  <a:lnTo>
                    <a:pt x="461023" y="200228"/>
                  </a:lnTo>
                  <a:lnTo>
                    <a:pt x="461023" y="199530"/>
                  </a:lnTo>
                  <a:lnTo>
                    <a:pt x="461023" y="200228"/>
                  </a:lnTo>
                  <a:lnTo>
                    <a:pt x="461023" y="199530"/>
                  </a:lnTo>
                  <a:lnTo>
                    <a:pt x="461074" y="200228"/>
                  </a:lnTo>
                  <a:lnTo>
                    <a:pt x="461074" y="200876"/>
                  </a:lnTo>
                  <a:lnTo>
                    <a:pt x="461125" y="200876"/>
                  </a:lnTo>
                  <a:lnTo>
                    <a:pt x="461125" y="200228"/>
                  </a:lnTo>
                  <a:lnTo>
                    <a:pt x="461226" y="200228"/>
                  </a:lnTo>
                  <a:lnTo>
                    <a:pt x="461226" y="198831"/>
                  </a:lnTo>
                  <a:lnTo>
                    <a:pt x="461226" y="199530"/>
                  </a:lnTo>
                  <a:lnTo>
                    <a:pt x="461277" y="199530"/>
                  </a:lnTo>
                  <a:lnTo>
                    <a:pt x="461277" y="198831"/>
                  </a:lnTo>
                  <a:lnTo>
                    <a:pt x="461277" y="200228"/>
                  </a:lnTo>
                  <a:lnTo>
                    <a:pt x="461328" y="200228"/>
                  </a:lnTo>
                  <a:lnTo>
                    <a:pt x="461328" y="198831"/>
                  </a:lnTo>
                  <a:lnTo>
                    <a:pt x="461328" y="200876"/>
                  </a:lnTo>
                  <a:lnTo>
                    <a:pt x="461379" y="200876"/>
                  </a:lnTo>
                  <a:lnTo>
                    <a:pt x="461379" y="200228"/>
                  </a:lnTo>
                  <a:lnTo>
                    <a:pt x="461379" y="200876"/>
                  </a:lnTo>
                  <a:lnTo>
                    <a:pt x="461468" y="200876"/>
                  </a:lnTo>
                  <a:lnTo>
                    <a:pt x="461468" y="200228"/>
                  </a:lnTo>
                  <a:lnTo>
                    <a:pt x="461468" y="200876"/>
                  </a:lnTo>
                  <a:lnTo>
                    <a:pt x="461468" y="200228"/>
                  </a:lnTo>
                  <a:lnTo>
                    <a:pt x="461468" y="200876"/>
                  </a:lnTo>
                  <a:lnTo>
                    <a:pt x="461569" y="200876"/>
                  </a:lnTo>
                  <a:lnTo>
                    <a:pt x="461569" y="202260"/>
                  </a:lnTo>
                  <a:lnTo>
                    <a:pt x="461569" y="200876"/>
                  </a:lnTo>
                  <a:lnTo>
                    <a:pt x="461569" y="202260"/>
                  </a:lnTo>
                  <a:lnTo>
                    <a:pt x="461569" y="200876"/>
                  </a:lnTo>
                  <a:lnTo>
                    <a:pt x="461569" y="202260"/>
                  </a:lnTo>
                  <a:lnTo>
                    <a:pt x="461620" y="202260"/>
                  </a:lnTo>
                  <a:lnTo>
                    <a:pt x="461620" y="200876"/>
                  </a:lnTo>
                  <a:lnTo>
                    <a:pt x="461722" y="200876"/>
                  </a:lnTo>
                  <a:lnTo>
                    <a:pt x="461722" y="200228"/>
                  </a:lnTo>
                  <a:lnTo>
                    <a:pt x="461722" y="200876"/>
                  </a:lnTo>
                  <a:lnTo>
                    <a:pt x="461722" y="200228"/>
                  </a:lnTo>
                  <a:lnTo>
                    <a:pt x="461722" y="200876"/>
                  </a:lnTo>
                  <a:lnTo>
                    <a:pt x="461722" y="198831"/>
                  </a:lnTo>
                  <a:lnTo>
                    <a:pt x="461722" y="199530"/>
                  </a:lnTo>
                  <a:lnTo>
                    <a:pt x="461772" y="199530"/>
                  </a:lnTo>
                  <a:lnTo>
                    <a:pt x="461772" y="196799"/>
                  </a:lnTo>
                  <a:lnTo>
                    <a:pt x="461772" y="197447"/>
                  </a:lnTo>
                  <a:lnTo>
                    <a:pt x="461772" y="196799"/>
                  </a:lnTo>
                  <a:lnTo>
                    <a:pt x="461823" y="196799"/>
                  </a:lnTo>
                  <a:lnTo>
                    <a:pt x="461823" y="195415"/>
                  </a:lnTo>
                  <a:lnTo>
                    <a:pt x="461823" y="196799"/>
                  </a:lnTo>
                  <a:lnTo>
                    <a:pt x="461823" y="196113"/>
                  </a:lnTo>
                  <a:lnTo>
                    <a:pt x="461925" y="195415"/>
                  </a:lnTo>
                  <a:lnTo>
                    <a:pt x="461925" y="197447"/>
                  </a:lnTo>
                  <a:lnTo>
                    <a:pt x="461925" y="196799"/>
                  </a:lnTo>
                  <a:lnTo>
                    <a:pt x="461963" y="196799"/>
                  </a:lnTo>
                  <a:lnTo>
                    <a:pt x="461963" y="199530"/>
                  </a:lnTo>
                  <a:lnTo>
                    <a:pt x="461963" y="198831"/>
                  </a:lnTo>
                  <a:lnTo>
                    <a:pt x="462014" y="198831"/>
                  </a:lnTo>
                  <a:lnTo>
                    <a:pt x="462014" y="199530"/>
                  </a:lnTo>
                  <a:lnTo>
                    <a:pt x="462065" y="199530"/>
                  </a:lnTo>
                  <a:lnTo>
                    <a:pt x="462065" y="200876"/>
                  </a:lnTo>
                  <a:lnTo>
                    <a:pt x="462065" y="200228"/>
                  </a:lnTo>
                  <a:lnTo>
                    <a:pt x="462065" y="200876"/>
                  </a:lnTo>
                  <a:lnTo>
                    <a:pt x="462065" y="200228"/>
                  </a:lnTo>
                  <a:lnTo>
                    <a:pt x="462065" y="200876"/>
                  </a:lnTo>
                  <a:lnTo>
                    <a:pt x="462166" y="200876"/>
                  </a:lnTo>
                  <a:lnTo>
                    <a:pt x="462166" y="200228"/>
                  </a:lnTo>
                  <a:lnTo>
                    <a:pt x="462166" y="200876"/>
                  </a:lnTo>
                  <a:lnTo>
                    <a:pt x="462166" y="200228"/>
                  </a:lnTo>
                  <a:lnTo>
                    <a:pt x="462217" y="200876"/>
                  </a:lnTo>
                  <a:lnTo>
                    <a:pt x="462217" y="199530"/>
                  </a:lnTo>
                  <a:lnTo>
                    <a:pt x="462217" y="200228"/>
                  </a:lnTo>
                  <a:lnTo>
                    <a:pt x="462268" y="200228"/>
                  </a:lnTo>
                  <a:lnTo>
                    <a:pt x="462268" y="197447"/>
                  </a:lnTo>
                  <a:lnTo>
                    <a:pt x="462268" y="198831"/>
                  </a:lnTo>
                  <a:lnTo>
                    <a:pt x="462268" y="196799"/>
                  </a:lnTo>
                  <a:lnTo>
                    <a:pt x="462369" y="196799"/>
                  </a:lnTo>
                  <a:lnTo>
                    <a:pt x="462369" y="193383"/>
                  </a:lnTo>
                  <a:lnTo>
                    <a:pt x="462420" y="193383"/>
                  </a:lnTo>
                  <a:lnTo>
                    <a:pt x="462420" y="192684"/>
                  </a:lnTo>
                  <a:lnTo>
                    <a:pt x="462420" y="194716"/>
                  </a:lnTo>
                  <a:lnTo>
                    <a:pt x="462420" y="192684"/>
                  </a:lnTo>
                  <a:lnTo>
                    <a:pt x="462420" y="193383"/>
                  </a:lnTo>
                  <a:lnTo>
                    <a:pt x="462471" y="193383"/>
                  </a:lnTo>
                  <a:lnTo>
                    <a:pt x="462471" y="196113"/>
                  </a:lnTo>
                  <a:lnTo>
                    <a:pt x="462471" y="194716"/>
                  </a:lnTo>
                  <a:lnTo>
                    <a:pt x="462471" y="195415"/>
                  </a:lnTo>
                  <a:lnTo>
                    <a:pt x="462471" y="194716"/>
                  </a:lnTo>
                  <a:lnTo>
                    <a:pt x="462509" y="195415"/>
                  </a:lnTo>
                  <a:lnTo>
                    <a:pt x="462509" y="196799"/>
                  </a:lnTo>
                  <a:lnTo>
                    <a:pt x="462611" y="196799"/>
                  </a:lnTo>
                  <a:lnTo>
                    <a:pt x="462611" y="197447"/>
                  </a:lnTo>
                  <a:lnTo>
                    <a:pt x="462611" y="196799"/>
                  </a:lnTo>
                  <a:lnTo>
                    <a:pt x="462611" y="198831"/>
                  </a:lnTo>
                  <a:lnTo>
                    <a:pt x="462662" y="198831"/>
                  </a:lnTo>
                  <a:lnTo>
                    <a:pt x="462662" y="199530"/>
                  </a:lnTo>
                  <a:lnTo>
                    <a:pt x="462662" y="198831"/>
                  </a:lnTo>
                  <a:lnTo>
                    <a:pt x="462662" y="200228"/>
                  </a:lnTo>
                  <a:lnTo>
                    <a:pt x="462662" y="199530"/>
                  </a:lnTo>
                  <a:lnTo>
                    <a:pt x="462662" y="200876"/>
                  </a:lnTo>
                  <a:lnTo>
                    <a:pt x="462712" y="200876"/>
                  </a:lnTo>
                  <a:lnTo>
                    <a:pt x="462712" y="200228"/>
                  </a:lnTo>
                  <a:lnTo>
                    <a:pt x="462712" y="200876"/>
                  </a:lnTo>
                  <a:lnTo>
                    <a:pt x="462712" y="200228"/>
                  </a:lnTo>
                  <a:lnTo>
                    <a:pt x="462712" y="200876"/>
                  </a:lnTo>
                  <a:lnTo>
                    <a:pt x="462712" y="200228"/>
                  </a:lnTo>
                  <a:lnTo>
                    <a:pt x="462712" y="200876"/>
                  </a:lnTo>
                  <a:lnTo>
                    <a:pt x="462814" y="200876"/>
                  </a:lnTo>
                  <a:lnTo>
                    <a:pt x="462814" y="200228"/>
                  </a:lnTo>
                  <a:lnTo>
                    <a:pt x="462814" y="200876"/>
                  </a:lnTo>
                  <a:lnTo>
                    <a:pt x="462814" y="198831"/>
                  </a:lnTo>
                  <a:lnTo>
                    <a:pt x="462865" y="199530"/>
                  </a:lnTo>
                  <a:lnTo>
                    <a:pt x="462865" y="198831"/>
                  </a:lnTo>
                  <a:lnTo>
                    <a:pt x="462865" y="199530"/>
                  </a:lnTo>
                  <a:lnTo>
                    <a:pt x="462865" y="198831"/>
                  </a:lnTo>
                  <a:lnTo>
                    <a:pt x="462865" y="199530"/>
                  </a:lnTo>
                  <a:lnTo>
                    <a:pt x="462865" y="196799"/>
                  </a:lnTo>
                  <a:lnTo>
                    <a:pt x="462865" y="197447"/>
                  </a:lnTo>
                  <a:lnTo>
                    <a:pt x="462916" y="197447"/>
                  </a:lnTo>
                  <a:lnTo>
                    <a:pt x="462916" y="198831"/>
                  </a:lnTo>
                  <a:lnTo>
                    <a:pt x="462916" y="197447"/>
                  </a:lnTo>
                  <a:lnTo>
                    <a:pt x="462916" y="198831"/>
                  </a:lnTo>
                  <a:lnTo>
                    <a:pt x="462916" y="196799"/>
                  </a:lnTo>
                  <a:lnTo>
                    <a:pt x="462916" y="197447"/>
                  </a:lnTo>
                  <a:lnTo>
                    <a:pt x="462916" y="196799"/>
                  </a:lnTo>
                  <a:lnTo>
                    <a:pt x="462916" y="198831"/>
                  </a:lnTo>
                  <a:lnTo>
                    <a:pt x="462966" y="198831"/>
                  </a:lnTo>
                  <a:lnTo>
                    <a:pt x="462966" y="197447"/>
                  </a:lnTo>
                  <a:lnTo>
                    <a:pt x="462966" y="198831"/>
                  </a:lnTo>
                  <a:lnTo>
                    <a:pt x="462966" y="197447"/>
                  </a:lnTo>
                  <a:lnTo>
                    <a:pt x="463055" y="197447"/>
                  </a:lnTo>
                  <a:lnTo>
                    <a:pt x="463055" y="198831"/>
                  </a:lnTo>
                  <a:lnTo>
                    <a:pt x="463055" y="196799"/>
                  </a:lnTo>
                  <a:lnTo>
                    <a:pt x="463055" y="198831"/>
                  </a:lnTo>
                  <a:lnTo>
                    <a:pt x="463106" y="197447"/>
                  </a:lnTo>
                  <a:lnTo>
                    <a:pt x="463106" y="198831"/>
                  </a:lnTo>
                  <a:lnTo>
                    <a:pt x="463106" y="197447"/>
                  </a:lnTo>
                  <a:lnTo>
                    <a:pt x="463106" y="199530"/>
                  </a:lnTo>
                  <a:lnTo>
                    <a:pt x="463106" y="198831"/>
                  </a:lnTo>
                  <a:lnTo>
                    <a:pt x="463106" y="199530"/>
                  </a:lnTo>
                  <a:lnTo>
                    <a:pt x="463106" y="198831"/>
                  </a:lnTo>
                  <a:lnTo>
                    <a:pt x="463157" y="198831"/>
                  </a:lnTo>
                  <a:lnTo>
                    <a:pt x="463157" y="199530"/>
                  </a:lnTo>
                  <a:lnTo>
                    <a:pt x="463157" y="198831"/>
                  </a:lnTo>
                  <a:lnTo>
                    <a:pt x="463157" y="200228"/>
                  </a:lnTo>
                  <a:lnTo>
                    <a:pt x="463157" y="199530"/>
                  </a:lnTo>
                  <a:lnTo>
                    <a:pt x="463157" y="200228"/>
                  </a:lnTo>
                  <a:lnTo>
                    <a:pt x="463208" y="200876"/>
                  </a:lnTo>
                  <a:lnTo>
                    <a:pt x="463208" y="200228"/>
                  </a:lnTo>
                  <a:lnTo>
                    <a:pt x="463208" y="202260"/>
                  </a:lnTo>
                  <a:lnTo>
                    <a:pt x="463208" y="200228"/>
                  </a:lnTo>
                  <a:lnTo>
                    <a:pt x="463309" y="200228"/>
                  </a:lnTo>
                  <a:lnTo>
                    <a:pt x="463309" y="200876"/>
                  </a:lnTo>
                  <a:lnTo>
                    <a:pt x="463309" y="199530"/>
                  </a:lnTo>
                  <a:lnTo>
                    <a:pt x="463360" y="199530"/>
                  </a:lnTo>
                  <a:lnTo>
                    <a:pt x="463360" y="200228"/>
                  </a:lnTo>
                  <a:lnTo>
                    <a:pt x="463360" y="199530"/>
                  </a:lnTo>
                  <a:lnTo>
                    <a:pt x="463360" y="200228"/>
                  </a:lnTo>
                  <a:lnTo>
                    <a:pt x="463360" y="196799"/>
                  </a:lnTo>
                  <a:lnTo>
                    <a:pt x="463360" y="197447"/>
                  </a:lnTo>
                  <a:lnTo>
                    <a:pt x="463411" y="197447"/>
                  </a:lnTo>
                  <a:lnTo>
                    <a:pt x="463411" y="199530"/>
                  </a:lnTo>
                  <a:lnTo>
                    <a:pt x="463411" y="196799"/>
                  </a:lnTo>
                  <a:lnTo>
                    <a:pt x="463411" y="199530"/>
                  </a:lnTo>
                  <a:lnTo>
                    <a:pt x="463512" y="199530"/>
                  </a:lnTo>
                  <a:lnTo>
                    <a:pt x="463512" y="200228"/>
                  </a:lnTo>
                  <a:lnTo>
                    <a:pt x="463512" y="198831"/>
                  </a:lnTo>
                  <a:lnTo>
                    <a:pt x="463512" y="200876"/>
                  </a:lnTo>
                  <a:lnTo>
                    <a:pt x="463551" y="200228"/>
                  </a:lnTo>
                  <a:lnTo>
                    <a:pt x="463551" y="198831"/>
                  </a:lnTo>
                  <a:lnTo>
                    <a:pt x="463551" y="200228"/>
                  </a:lnTo>
                  <a:lnTo>
                    <a:pt x="463551" y="199530"/>
                  </a:lnTo>
                  <a:lnTo>
                    <a:pt x="463551" y="200228"/>
                  </a:lnTo>
                  <a:lnTo>
                    <a:pt x="463601" y="200228"/>
                  </a:lnTo>
                  <a:lnTo>
                    <a:pt x="463601" y="199530"/>
                  </a:lnTo>
                  <a:lnTo>
                    <a:pt x="463601" y="200228"/>
                  </a:lnTo>
                  <a:lnTo>
                    <a:pt x="463601" y="199530"/>
                  </a:lnTo>
                  <a:lnTo>
                    <a:pt x="463601" y="200228"/>
                  </a:lnTo>
                  <a:lnTo>
                    <a:pt x="463601" y="199530"/>
                  </a:lnTo>
                  <a:lnTo>
                    <a:pt x="463601" y="200228"/>
                  </a:lnTo>
                  <a:lnTo>
                    <a:pt x="463652" y="200228"/>
                  </a:lnTo>
                  <a:lnTo>
                    <a:pt x="463652" y="199530"/>
                  </a:lnTo>
                  <a:lnTo>
                    <a:pt x="463652" y="200876"/>
                  </a:lnTo>
                  <a:lnTo>
                    <a:pt x="463652" y="200228"/>
                  </a:lnTo>
                  <a:lnTo>
                    <a:pt x="463754" y="200228"/>
                  </a:lnTo>
                  <a:lnTo>
                    <a:pt x="463754" y="200876"/>
                  </a:lnTo>
                  <a:lnTo>
                    <a:pt x="463754" y="200228"/>
                  </a:lnTo>
                  <a:lnTo>
                    <a:pt x="463754" y="200876"/>
                  </a:lnTo>
                  <a:lnTo>
                    <a:pt x="463805" y="200876"/>
                  </a:lnTo>
                  <a:lnTo>
                    <a:pt x="463805" y="199530"/>
                  </a:lnTo>
                  <a:lnTo>
                    <a:pt x="463805" y="200228"/>
                  </a:lnTo>
                  <a:lnTo>
                    <a:pt x="463855" y="200228"/>
                  </a:lnTo>
                  <a:lnTo>
                    <a:pt x="463855" y="198831"/>
                  </a:lnTo>
                  <a:lnTo>
                    <a:pt x="463855" y="200228"/>
                  </a:lnTo>
                  <a:lnTo>
                    <a:pt x="463855" y="199530"/>
                  </a:lnTo>
                  <a:lnTo>
                    <a:pt x="463957" y="199530"/>
                  </a:lnTo>
                  <a:lnTo>
                    <a:pt x="463957" y="198831"/>
                  </a:lnTo>
                  <a:lnTo>
                    <a:pt x="463957" y="202260"/>
                  </a:lnTo>
                  <a:lnTo>
                    <a:pt x="463957" y="200876"/>
                  </a:lnTo>
                  <a:lnTo>
                    <a:pt x="464008" y="200876"/>
                  </a:lnTo>
                  <a:lnTo>
                    <a:pt x="464008" y="200228"/>
                  </a:lnTo>
                  <a:lnTo>
                    <a:pt x="464008" y="200876"/>
                  </a:lnTo>
                  <a:lnTo>
                    <a:pt x="464008" y="200228"/>
                  </a:lnTo>
                  <a:lnTo>
                    <a:pt x="464008" y="202260"/>
                  </a:lnTo>
                  <a:lnTo>
                    <a:pt x="464008" y="200876"/>
                  </a:lnTo>
                  <a:lnTo>
                    <a:pt x="464058" y="200876"/>
                  </a:lnTo>
                  <a:lnTo>
                    <a:pt x="464058" y="200228"/>
                  </a:lnTo>
                  <a:lnTo>
                    <a:pt x="464058" y="200876"/>
                  </a:lnTo>
                  <a:lnTo>
                    <a:pt x="464097" y="200876"/>
                  </a:lnTo>
                  <a:lnTo>
                    <a:pt x="464097" y="202260"/>
                  </a:lnTo>
                  <a:lnTo>
                    <a:pt x="464097" y="200876"/>
                  </a:lnTo>
                  <a:lnTo>
                    <a:pt x="464097" y="202260"/>
                  </a:lnTo>
                  <a:lnTo>
                    <a:pt x="464097" y="200876"/>
                  </a:lnTo>
                  <a:lnTo>
                    <a:pt x="464198" y="200876"/>
                  </a:lnTo>
                  <a:lnTo>
                    <a:pt x="464198" y="202260"/>
                  </a:lnTo>
                  <a:lnTo>
                    <a:pt x="464198" y="200876"/>
                  </a:lnTo>
                  <a:lnTo>
                    <a:pt x="464198" y="202260"/>
                  </a:lnTo>
                  <a:lnTo>
                    <a:pt x="464249" y="202260"/>
                  </a:lnTo>
                  <a:lnTo>
                    <a:pt x="464249" y="200228"/>
                  </a:lnTo>
                  <a:lnTo>
                    <a:pt x="464249" y="200876"/>
                  </a:lnTo>
                  <a:lnTo>
                    <a:pt x="464249" y="200228"/>
                  </a:lnTo>
                  <a:lnTo>
                    <a:pt x="464249" y="200876"/>
                  </a:lnTo>
                  <a:lnTo>
                    <a:pt x="464249" y="200228"/>
                  </a:lnTo>
                  <a:lnTo>
                    <a:pt x="464249" y="200876"/>
                  </a:lnTo>
                  <a:lnTo>
                    <a:pt x="464300" y="200228"/>
                  </a:lnTo>
                  <a:lnTo>
                    <a:pt x="464300" y="199530"/>
                  </a:lnTo>
                  <a:lnTo>
                    <a:pt x="464300" y="202260"/>
                  </a:lnTo>
                  <a:lnTo>
                    <a:pt x="464401" y="202959"/>
                  </a:lnTo>
                  <a:lnTo>
                    <a:pt x="464401" y="200876"/>
                  </a:lnTo>
                  <a:lnTo>
                    <a:pt x="464401" y="202260"/>
                  </a:lnTo>
                  <a:lnTo>
                    <a:pt x="464401" y="200228"/>
                  </a:lnTo>
                  <a:lnTo>
                    <a:pt x="464401" y="204292"/>
                  </a:lnTo>
                  <a:lnTo>
                    <a:pt x="464452" y="203594"/>
                  </a:lnTo>
                  <a:lnTo>
                    <a:pt x="464452" y="202959"/>
                  </a:lnTo>
                  <a:lnTo>
                    <a:pt x="464452" y="204292"/>
                  </a:lnTo>
                  <a:lnTo>
                    <a:pt x="464503" y="204292"/>
                  </a:lnTo>
                  <a:lnTo>
                    <a:pt x="464503" y="203594"/>
                  </a:lnTo>
                  <a:lnTo>
                    <a:pt x="464503" y="204292"/>
                  </a:lnTo>
                  <a:lnTo>
                    <a:pt x="464503" y="203594"/>
                  </a:lnTo>
                  <a:lnTo>
                    <a:pt x="464554" y="204292"/>
                  </a:lnTo>
                  <a:lnTo>
                    <a:pt x="464554" y="203594"/>
                  </a:lnTo>
                  <a:lnTo>
                    <a:pt x="464554" y="204292"/>
                  </a:lnTo>
                  <a:lnTo>
                    <a:pt x="464554" y="203594"/>
                  </a:lnTo>
                  <a:lnTo>
                    <a:pt x="464643" y="203594"/>
                  </a:lnTo>
                  <a:lnTo>
                    <a:pt x="464643" y="204292"/>
                  </a:lnTo>
                  <a:lnTo>
                    <a:pt x="464643" y="202959"/>
                  </a:lnTo>
                  <a:lnTo>
                    <a:pt x="464693" y="202959"/>
                  </a:lnTo>
                  <a:lnTo>
                    <a:pt x="464693" y="203594"/>
                  </a:lnTo>
                  <a:lnTo>
                    <a:pt x="464693" y="202260"/>
                  </a:lnTo>
                  <a:lnTo>
                    <a:pt x="464744" y="202260"/>
                  </a:lnTo>
                  <a:lnTo>
                    <a:pt x="464744" y="204292"/>
                  </a:lnTo>
                  <a:lnTo>
                    <a:pt x="464744" y="203594"/>
                  </a:lnTo>
                  <a:lnTo>
                    <a:pt x="464795" y="203594"/>
                  </a:lnTo>
                  <a:lnTo>
                    <a:pt x="464795" y="207022"/>
                  </a:lnTo>
                  <a:lnTo>
                    <a:pt x="464795" y="206324"/>
                  </a:lnTo>
                  <a:lnTo>
                    <a:pt x="464897" y="206324"/>
                  </a:lnTo>
                  <a:lnTo>
                    <a:pt x="464897" y="207721"/>
                  </a:lnTo>
                  <a:lnTo>
                    <a:pt x="464897" y="206324"/>
                  </a:lnTo>
                  <a:lnTo>
                    <a:pt x="464897" y="207022"/>
                  </a:lnTo>
                  <a:lnTo>
                    <a:pt x="464897" y="206324"/>
                  </a:lnTo>
                  <a:lnTo>
                    <a:pt x="464947" y="206324"/>
                  </a:lnTo>
                  <a:lnTo>
                    <a:pt x="464947" y="207022"/>
                  </a:lnTo>
                  <a:lnTo>
                    <a:pt x="464947" y="206324"/>
                  </a:lnTo>
                  <a:lnTo>
                    <a:pt x="464947" y="207022"/>
                  </a:lnTo>
                  <a:lnTo>
                    <a:pt x="464947" y="206324"/>
                  </a:lnTo>
                  <a:lnTo>
                    <a:pt x="464947" y="207022"/>
                  </a:lnTo>
                  <a:lnTo>
                    <a:pt x="464947" y="206324"/>
                  </a:lnTo>
                  <a:lnTo>
                    <a:pt x="464998" y="206324"/>
                  </a:lnTo>
                  <a:lnTo>
                    <a:pt x="464998" y="207022"/>
                  </a:lnTo>
                  <a:lnTo>
                    <a:pt x="464998" y="206324"/>
                  </a:lnTo>
                  <a:lnTo>
                    <a:pt x="464998" y="207022"/>
                  </a:lnTo>
                  <a:lnTo>
                    <a:pt x="464998" y="204990"/>
                  </a:lnTo>
                  <a:lnTo>
                    <a:pt x="464998" y="206324"/>
                  </a:lnTo>
                  <a:lnTo>
                    <a:pt x="464998" y="204990"/>
                  </a:lnTo>
                  <a:lnTo>
                    <a:pt x="464998" y="206324"/>
                  </a:lnTo>
                  <a:lnTo>
                    <a:pt x="464998" y="204990"/>
                  </a:lnTo>
                  <a:lnTo>
                    <a:pt x="465100" y="206324"/>
                  </a:lnTo>
                  <a:lnTo>
                    <a:pt x="465100" y="204292"/>
                  </a:lnTo>
                  <a:lnTo>
                    <a:pt x="465138" y="204292"/>
                  </a:lnTo>
                  <a:lnTo>
                    <a:pt x="465138" y="203594"/>
                  </a:lnTo>
                  <a:lnTo>
                    <a:pt x="465138" y="204292"/>
                  </a:lnTo>
                  <a:lnTo>
                    <a:pt x="465138" y="203594"/>
                  </a:lnTo>
                  <a:lnTo>
                    <a:pt x="465138" y="206324"/>
                  </a:lnTo>
                  <a:lnTo>
                    <a:pt x="465138" y="204990"/>
                  </a:lnTo>
                  <a:lnTo>
                    <a:pt x="465189" y="204990"/>
                  </a:lnTo>
                  <a:lnTo>
                    <a:pt x="465189" y="204292"/>
                  </a:lnTo>
                  <a:lnTo>
                    <a:pt x="465189" y="207721"/>
                  </a:lnTo>
                  <a:lnTo>
                    <a:pt x="465189" y="207022"/>
                  </a:lnTo>
                  <a:lnTo>
                    <a:pt x="465240" y="206324"/>
                  </a:lnTo>
                  <a:lnTo>
                    <a:pt x="465240" y="207022"/>
                  </a:lnTo>
                  <a:lnTo>
                    <a:pt x="465240" y="206324"/>
                  </a:lnTo>
                  <a:lnTo>
                    <a:pt x="465240" y="207721"/>
                  </a:lnTo>
                  <a:lnTo>
                    <a:pt x="465240" y="207022"/>
                  </a:lnTo>
                  <a:lnTo>
                    <a:pt x="465341" y="207022"/>
                  </a:lnTo>
                  <a:lnTo>
                    <a:pt x="465341" y="207721"/>
                  </a:lnTo>
                  <a:lnTo>
                    <a:pt x="465341" y="207022"/>
                  </a:lnTo>
                  <a:lnTo>
                    <a:pt x="465341" y="207721"/>
                  </a:lnTo>
                  <a:lnTo>
                    <a:pt x="465392" y="207721"/>
                  </a:lnTo>
                  <a:lnTo>
                    <a:pt x="465392" y="207022"/>
                  </a:lnTo>
                  <a:lnTo>
                    <a:pt x="465392" y="207721"/>
                  </a:lnTo>
                  <a:lnTo>
                    <a:pt x="465392" y="207022"/>
                  </a:lnTo>
                  <a:lnTo>
                    <a:pt x="465392" y="207721"/>
                  </a:lnTo>
                  <a:lnTo>
                    <a:pt x="465392" y="207022"/>
                  </a:lnTo>
                  <a:lnTo>
                    <a:pt x="465443" y="207022"/>
                  </a:lnTo>
                  <a:lnTo>
                    <a:pt x="465443" y="207721"/>
                  </a:lnTo>
                  <a:lnTo>
                    <a:pt x="465443" y="207022"/>
                  </a:lnTo>
                  <a:lnTo>
                    <a:pt x="465544" y="207022"/>
                  </a:lnTo>
                  <a:lnTo>
                    <a:pt x="465544" y="206324"/>
                  </a:lnTo>
                  <a:lnTo>
                    <a:pt x="465544" y="207022"/>
                  </a:lnTo>
                  <a:lnTo>
                    <a:pt x="465544" y="204990"/>
                  </a:lnTo>
                  <a:lnTo>
                    <a:pt x="465595" y="204990"/>
                  </a:lnTo>
                  <a:lnTo>
                    <a:pt x="465595" y="204292"/>
                  </a:lnTo>
                  <a:lnTo>
                    <a:pt x="465595" y="204990"/>
                  </a:lnTo>
                  <a:lnTo>
                    <a:pt x="465595" y="203594"/>
                  </a:lnTo>
                  <a:lnTo>
                    <a:pt x="465646" y="202959"/>
                  </a:lnTo>
                  <a:lnTo>
                    <a:pt x="465646" y="202260"/>
                  </a:lnTo>
                  <a:lnTo>
                    <a:pt x="465646" y="203594"/>
                  </a:lnTo>
                  <a:lnTo>
                    <a:pt x="465646" y="202959"/>
                  </a:lnTo>
                  <a:lnTo>
                    <a:pt x="465684" y="202959"/>
                  </a:lnTo>
                  <a:lnTo>
                    <a:pt x="465684" y="204292"/>
                  </a:lnTo>
                  <a:lnTo>
                    <a:pt x="465786" y="204292"/>
                  </a:lnTo>
                  <a:lnTo>
                    <a:pt x="465786" y="203594"/>
                  </a:lnTo>
                  <a:lnTo>
                    <a:pt x="465786" y="204990"/>
                  </a:lnTo>
                  <a:lnTo>
                    <a:pt x="465786" y="204292"/>
                  </a:lnTo>
                  <a:lnTo>
                    <a:pt x="465837" y="204292"/>
                  </a:lnTo>
                  <a:lnTo>
                    <a:pt x="465837" y="204990"/>
                  </a:lnTo>
                  <a:lnTo>
                    <a:pt x="465837" y="204292"/>
                  </a:lnTo>
                  <a:lnTo>
                    <a:pt x="465837" y="206324"/>
                  </a:lnTo>
                  <a:lnTo>
                    <a:pt x="465837" y="204990"/>
                  </a:lnTo>
                  <a:lnTo>
                    <a:pt x="465887" y="204990"/>
                  </a:lnTo>
                  <a:lnTo>
                    <a:pt x="465887" y="206324"/>
                  </a:lnTo>
                  <a:lnTo>
                    <a:pt x="465887" y="204990"/>
                  </a:lnTo>
                  <a:lnTo>
                    <a:pt x="465887" y="206324"/>
                  </a:lnTo>
                  <a:lnTo>
                    <a:pt x="465887" y="204990"/>
                  </a:lnTo>
                  <a:lnTo>
                    <a:pt x="465989" y="204990"/>
                  </a:lnTo>
                  <a:lnTo>
                    <a:pt x="465989" y="206324"/>
                  </a:lnTo>
                  <a:lnTo>
                    <a:pt x="465989" y="204990"/>
                  </a:lnTo>
                  <a:lnTo>
                    <a:pt x="466040" y="204990"/>
                  </a:lnTo>
                  <a:lnTo>
                    <a:pt x="466040" y="204292"/>
                  </a:lnTo>
                  <a:lnTo>
                    <a:pt x="466040" y="204990"/>
                  </a:lnTo>
                  <a:lnTo>
                    <a:pt x="466040" y="204292"/>
                  </a:lnTo>
                  <a:lnTo>
                    <a:pt x="466040" y="204990"/>
                  </a:lnTo>
                  <a:lnTo>
                    <a:pt x="466040" y="203594"/>
                  </a:lnTo>
                  <a:lnTo>
                    <a:pt x="466040" y="204292"/>
                  </a:lnTo>
                  <a:lnTo>
                    <a:pt x="466040" y="203594"/>
                  </a:lnTo>
                  <a:lnTo>
                    <a:pt x="466091" y="203594"/>
                  </a:lnTo>
                  <a:lnTo>
                    <a:pt x="466091" y="202959"/>
                  </a:lnTo>
                  <a:lnTo>
                    <a:pt x="466091" y="203594"/>
                  </a:lnTo>
                  <a:lnTo>
                    <a:pt x="466091" y="200876"/>
                  </a:lnTo>
                  <a:lnTo>
                    <a:pt x="466141" y="200228"/>
                  </a:lnTo>
                  <a:lnTo>
                    <a:pt x="466141" y="200876"/>
                  </a:lnTo>
                  <a:lnTo>
                    <a:pt x="466141" y="200228"/>
                  </a:lnTo>
                  <a:lnTo>
                    <a:pt x="466141" y="202260"/>
                  </a:lnTo>
                  <a:lnTo>
                    <a:pt x="466141" y="200228"/>
                  </a:lnTo>
                  <a:lnTo>
                    <a:pt x="466230" y="200228"/>
                  </a:lnTo>
                  <a:lnTo>
                    <a:pt x="466230" y="200876"/>
                  </a:lnTo>
                  <a:lnTo>
                    <a:pt x="466230" y="200228"/>
                  </a:lnTo>
                  <a:lnTo>
                    <a:pt x="466230" y="202959"/>
                  </a:lnTo>
                  <a:lnTo>
                    <a:pt x="466230" y="200876"/>
                  </a:lnTo>
                  <a:lnTo>
                    <a:pt x="466281" y="200876"/>
                  </a:lnTo>
                  <a:lnTo>
                    <a:pt x="466281" y="202959"/>
                  </a:lnTo>
                  <a:lnTo>
                    <a:pt x="466281" y="200876"/>
                  </a:lnTo>
                  <a:lnTo>
                    <a:pt x="466281" y="202260"/>
                  </a:lnTo>
                  <a:lnTo>
                    <a:pt x="466332" y="202260"/>
                  </a:lnTo>
                  <a:lnTo>
                    <a:pt x="466332" y="203594"/>
                  </a:lnTo>
                  <a:lnTo>
                    <a:pt x="466332" y="202959"/>
                  </a:lnTo>
                  <a:lnTo>
                    <a:pt x="466383" y="202959"/>
                  </a:lnTo>
                  <a:lnTo>
                    <a:pt x="466383" y="203594"/>
                  </a:lnTo>
                  <a:lnTo>
                    <a:pt x="466383" y="202959"/>
                  </a:lnTo>
                  <a:lnTo>
                    <a:pt x="466383" y="203594"/>
                  </a:lnTo>
                  <a:lnTo>
                    <a:pt x="466535" y="203594"/>
                  </a:lnTo>
                  <a:lnTo>
                    <a:pt x="466535" y="204292"/>
                  </a:lnTo>
                  <a:lnTo>
                    <a:pt x="466535" y="202959"/>
                  </a:lnTo>
                  <a:lnTo>
                    <a:pt x="466535" y="203594"/>
                  </a:lnTo>
                  <a:lnTo>
                    <a:pt x="466535" y="202959"/>
                  </a:lnTo>
                  <a:lnTo>
                    <a:pt x="466535" y="203594"/>
                  </a:lnTo>
                  <a:lnTo>
                    <a:pt x="466535" y="202959"/>
                  </a:lnTo>
                  <a:lnTo>
                    <a:pt x="466586" y="202959"/>
                  </a:lnTo>
                  <a:lnTo>
                    <a:pt x="466586" y="200876"/>
                  </a:lnTo>
                  <a:lnTo>
                    <a:pt x="466586" y="202260"/>
                  </a:lnTo>
                  <a:lnTo>
                    <a:pt x="466586" y="200228"/>
                  </a:lnTo>
                  <a:lnTo>
                    <a:pt x="466687" y="200228"/>
                  </a:lnTo>
                  <a:lnTo>
                    <a:pt x="466687" y="197447"/>
                  </a:lnTo>
                  <a:lnTo>
                    <a:pt x="466726" y="198831"/>
                  </a:lnTo>
                  <a:lnTo>
                    <a:pt x="466726" y="197447"/>
                  </a:lnTo>
                  <a:lnTo>
                    <a:pt x="466726" y="198831"/>
                  </a:lnTo>
                  <a:lnTo>
                    <a:pt x="466726" y="197447"/>
                  </a:lnTo>
                  <a:lnTo>
                    <a:pt x="466726" y="200228"/>
                  </a:lnTo>
                  <a:lnTo>
                    <a:pt x="466726" y="199530"/>
                  </a:lnTo>
                  <a:lnTo>
                    <a:pt x="466726" y="200228"/>
                  </a:lnTo>
                  <a:lnTo>
                    <a:pt x="466776" y="199530"/>
                  </a:lnTo>
                  <a:lnTo>
                    <a:pt x="466776" y="200228"/>
                  </a:lnTo>
                  <a:lnTo>
                    <a:pt x="466776" y="199530"/>
                  </a:lnTo>
                  <a:lnTo>
                    <a:pt x="466827" y="199530"/>
                  </a:lnTo>
                  <a:lnTo>
                    <a:pt x="466827" y="200876"/>
                  </a:lnTo>
                  <a:lnTo>
                    <a:pt x="466827" y="200228"/>
                  </a:lnTo>
                  <a:lnTo>
                    <a:pt x="466929" y="200228"/>
                  </a:lnTo>
                  <a:lnTo>
                    <a:pt x="466929" y="200876"/>
                  </a:lnTo>
                  <a:lnTo>
                    <a:pt x="466929" y="200228"/>
                  </a:lnTo>
                  <a:lnTo>
                    <a:pt x="466929" y="200876"/>
                  </a:lnTo>
                  <a:lnTo>
                    <a:pt x="466929" y="200228"/>
                  </a:lnTo>
                  <a:lnTo>
                    <a:pt x="466929" y="200876"/>
                  </a:lnTo>
                  <a:lnTo>
                    <a:pt x="466980" y="200876"/>
                  </a:lnTo>
                  <a:lnTo>
                    <a:pt x="466980" y="202260"/>
                  </a:lnTo>
                  <a:lnTo>
                    <a:pt x="466980" y="200876"/>
                  </a:lnTo>
                  <a:lnTo>
                    <a:pt x="466980" y="202260"/>
                  </a:lnTo>
                  <a:lnTo>
                    <a:pt x="466980" y="200876"/>
                  </a:lnTo>
                  <a:lnTo>
                    <a:pt x="467030" y="200876"/>
                  </a:lnTo>
                  <a:lnTo>
                    <a:pt x="467030" y="202260"/>
                  </a:lnTo>
                  <a:lnTo>
                    <a:pt x="467030" y="200876"/>
                  </a:lnTo>
                  <a:lnTo>
                    <a:pt x="467132" y="200876"/>
                  </a:lnTo>
                  <a:lnTo>
                    <a:pt x="467132" y="200228"/>
                  </a:lnTo>
                  <a:lnTo>
                    <a:pt x="467132" y="200876"/>
                  </a:lnTo>
                  <a:lnTo>
                    <a:pt x="467132" y="199530"/>
                  </a:lnTo>
                  <a:lnTo>
                    <a:pt x="467183" y="200228"/>
                  </a:lnTo>
                  <a:lnTo>
                    <a:pt x="467183" y="197447"/>
                  </a:lnTo>
                  <a:lnTo>
                    <a:pt x="467183" y="199530"/>
                  </a:lnTo>
                  <a:lnTo>
                    <a:pt x="467233" y="199530"/>
                  </a:lnTo>
                  <a:lnTo>
                    <a:pt x="467233" y="196799"/>
                  </a:lnTo>
                  <a:lnTo>
                    <a:pt x="467233" y="200228"/>
                  </a:lnTo>
                  <a:lnTo>
                    <a:pt x="467233" y="199530"/>
                  </a:lnTo>
                  <a:lnTo>
                    <a:pt x="467272" y="199530"/>
                  </a:lnTo>
                  <a:lnTo>
                    <a:pt x="467272" y="197447"/>
                  </a:lnTo>
                  <a:lnTo>
                    <a:pt x="467272" y="199530"/>
                  </a:lnTo>
                  <a:lnTo>
                    <a:pt x="467272" y="198831"/>
                  </a:lnTo>
                  <a:lnTo>
                    <a:pt x="467373" y="198831"/>
                  </a:lnTo>
                  <a:lnTo>
                    <a:pt x="467373" y="200228"/>
                  </a:lnTo>
                  <a:lnTo>
                    <a:pt x="467373" y="199530"/>
                  </a:lnTo>
                  <a:lnTo>
                    <a:pt x="467373" y="200228"/>
                  </a:lnTo>
                  <a:lnTo>
                    <a:pt x="467424" y="199530"/>
                  </a:lnTo>
                  <a:lnTo>
                    <a:pt x="467424" y="200228"/>
                  </a:lnTo>
                  <a:lnTo>
                    <a:pt x="467424" y="199530"/>
                  </a:lnTo>
                  <a:lnTo>
                    <a:pt x="467424" y="200228"/>
                  </a:lnTo>
                  <a:lnTo>
                    <a:pt x="467475" y="200228"/>
                  </a:lnTo>
                  <a:lnTo>
                    <a:pt x="467475" y="202260"/>
                  </a:lnTo>
                  <a:lnTo>
                    <a:pt x="467475" y="200876"/>
                  </a:lnTo>
                  <a:lnTo>
                    <a:pt x="467576" y="200876"/>
                  </a:lnTo>
                  <a:lnTo>
                    <a:pt x="467576" y="202260"/>
                  </a:lnTo>
                  <a:lnTo>
                    <a:pt x="467576" y="200876"/>
                  </a:lnTo>
                  <a:lnTo>
                    <a:pt x="467576" y="202260"/>
                  </a:lnTo>
                  <a:lnTo>
                    <a:pt x="467576" y="200876"/>
                  </a:lnTo>
                  <a:lnTo>
                    <a:pt x="467627" y="200876"/>
                  </a:lnTo>
                  <a:lnTo>
                    <a:pt x="467627" y="200228"/>
                  </a:lnTo>
                  <a:lnTo>
                    <a:pt x="467627" y="200876"/>
                  </a:lnTo>
                  <a:lnTo>
                    <a:pt x="467627" y="200228"/>
                  </a:lnTo>
                  <a:lnTo>
                    <a:pt x="467627" y="200876"/>
                  </a:lnTo>
                  <a:lnTo>
                    <a:pt x="467627" y="199530"/>
                  </a:lnTo>
                  <a:lnTo>
                    <a:pt x="467678" y="199530"/>
                  </a:lnTo>
                  <a:lnTo>
                    <a:pt x="467678" y="200228"/>
                  </a:lnTo>
                  <a:lnTo>
                    <a:pt x="467678" y="197447"/>
                  </a:lnTo>
                  <a:lnTo>
                    <a:pt x="467678" y="198831"/>
                  </a:lnTo>
                  <a:lnTo>
                    <a:pt x="467729" y="198831"/>
                  </a:lnTo>
                  <a:lnTo>
                    <a:pt x="467729" y="199530"/>
                  </a:lnTo>
                  <a:lnTo>
                    <a:pt x="467729" y="197447"/>
                  </a:lnTo>
                  <a:lnTo>
                    <a:pt x="467729" y="200228"/>
                  </a:lnTo>
                  <a:lnTo>
                    <a:pt x="467729" y="199530"/>
                  </a:lnTo>
                  <a:lnTo>
                    <a:pt x="467818" y="199530"/>
                  </a:lnTo>
                  <a:lnTo>
                    <a:pt x="467818" y="198831"/>
                  </a:lnTo>
                  <a:lnTo>
                    <a:pt x="467818" y="200228"/>
                  </a:lnTo>
                  <a:lnTo>
                    <a:pt x="467868" y="200228"/>
                  </a:lnTo>
                  <a:lnTo>
                    <a:pt x="467868" y="199530"/>
                  </a:lnTo>
                  <a:lnTo>
                    <a:pt x="467868" y="200228"/>
                  </a:lnTo>
                  <a:lnTo>
                    <a:pt x="467868" y="199530"/>
                  </a:lnTo>
                  <a:lnTo>
                    <a:pt x="467868" y="200228"/>
                  </a:lnTo>
                  <a:lnTo>
                    <a:pt x="467868" y="199530"/>
                  </a:lnTo>
                  <a:lnTo>
                    <a:pt x="467919" y="199530"/>
                  </a:lnTo>
                  <a:lnTo>
                    <a:pt x="467919" y="200228"/>
                  </a:lnTo>
                  <a:lnTo>
                    <a:pt x="467919" y="199530"/>
                  </a:lnTo>
                  <a:lnTo>
                    <a:pt x="467970" y="199530"/>
                  </a:lnTo>
                  <a:lnTo>
                    <a:pt x="467970" y="200876"/>
                  </a:lnTo>
                  <a:lnTo>
                    <a:pt x="467970" y="200228"/>
                  </a:lnTo>
                  <a:lnTo>
                    <a:pt x="468122" y="200228"/>
                  </a:lnTo>
                  <a:lnTo>
                    <a:pt x="468122" y="198831"/>
                  </a:lnTo>
                  <a:lnTo>
                    <a:pt x="468173" y="199530"/>
                  </a:lnTo>
                  <a:lnTo>
                    <a:pt x="468173" y="196799"/>
                  </a:lnTo>
                  <a:lnTo>
                    <a:pt x="468173" y="198831"/>
                  </a:lnTo>
                  <a:lnTo>
                    <a:pt x="468275" y="198831"/>
                  </a:lnTo>
                  <a:lnTo>
                    <a:pt x="468275" y="197447"/>
                  </a:lnTo>
                  <a:lnTo>
                    <a:pt x="468275" y="200228"/>
                  </a:lnTo>
                  <a:lnTo>
                    <a:pt x="468275" y="199530"/>
                  </a:lnTo>
                  <a:lnTo>
                    <a:pt x="468313" y="199530"/>
                  </a:lnTo>
                  <a:lnTo>
                    <a:pt x="468313" y="198831"/>
                  </a:lnTo>
                  <a:lnTo>
                    <a:pt x="468313" y="200228"/>
                  </a:lnTo>
                  <a:lnTo>
                    <a:pt x="468313" y="199530"/>
                  </a:lnTo>
                  <a:lnTo>
                    <a:pt x="468364" y="199530"/>
                  </a:lnTo>
                  <a:lnTo>
                    <a:pt x="468364" y="200228"/>
                  </a:lnTo>
                  <a:lnTo>
                    <a:pt x="468364" y="199530"/>
                  </a:lnTo>
                  <a:lnTo>
                    <a:pt x="468364" y="200228"/>
                  </a:lnTo>
                  <a:lnTo>
                    <a:pt x="468364" y="199530"/>
                  </a:lnTo>
                  <a:lnTo>
                    <a:pt x="468364" y="200228"/>
                  </a:lnTo>
                  <a:lnTo>
                    <a:pt x="468364" y="199530"/>
                  </a:lnTo>
                  <a:lnTo>
                    <a:pt x="468364" y="200228"/>
                  </a:lnTo>
                  <a:lnTo>
                    <a:pt x="468364" y="199530"/>
                  </a:lnTo>
                  <a:lnTo>
                    <a:pt x="468415" y="199530"/>
                  </a:lnTo>
                  <a:lnTo>
                    <a:pt x="468415" y="200228"/>
                  </a:lnTo>
                  <a:lnTo>
                    <a:pt x="468415" y="199530"/>
                  </a:lnTo>
                  <a:lnTo>
                    <a:pt x="468415" y="200228"/>
                  </a:lnTo>
                  <a:lnTo>
                    <a:pt x="468415" y="199530"/>
                  </a:lnTo>
                  <a:lnTo>
                    <a:pt x="468415" y="200228"/>
                  </a:lnTo>
                  <a:lnTo>
                    <a:pt x="468567" y="200228"/>
                  </a:lnTo>
                  <a:lnTo>
                    <a:pt x="468567" y="199530"/>
                  </a:lnTo>
                  <a:lnTo>
                    <a:pt x="468567" y="200228"/>
                  </a:lnTo>
                  <a:lnTo>
                    <a:pt x="468618" y="200228"/>
                  </a:lnTo>
                  <a:lnTo>
                    <a:pt x="468618" y="199530"/>
                  </a:lnTo>
                  <a:lnTo>
                    <a:pt x="468618" y="200228"/>
                  </a:lnTo>
                  <a:lnTo>
                    <a:pt x="468618" y="197447"/>
                  </a:lnTo>
                  <a:lnTo>
                    <a:pt x="468719" y="197447"/>
                  </a:lnTo>
                  <a:lnTo>
                    <a:pt x="468719" y="198831"/>
                  </a:lnTo>
                  <a:lnTo>
                    <a:pt x="468770" y="197447"/>
                  </a:lnTo>
                  <a:lnTo>
                    <a:pt x="468770" y="198831"/>
                  </a:lnTo>
                  <a:lnTo>
                    <a:pt x="468770" y="197447"/>
                  </a:lnTo>
                  <a:lnTo>
                    <a:pt x="468770" y="200228"/>
                  </a:lnTo>
                  <a:lnTo>
                    <a:pt x="468770" y="199530"/>
                  </a:lnTo>
                  <a:lnTo>
                    <a:pt x="468821" y="199530"/>
                  </a:lnTo>
                  <a:lnTo>
                    <a:pt x="468821" y="200876"/>
                  </a:lnTo>
                  <a:lnTo>
                    <a:pt x="468821" y="200228"/>
                  </a:lnTo>
                  <a:lnTo>
                    <a:pt x="468821" y="200876"/>
                  </a:lnTo>
                  <a:lnTo>
                    <a:pt x="468821" y="200228"/>
                  </a:lnTo>
                  <a:lnTo>
                    <a:pt x="468859" y="200228"/>
                  </a:lnTo>
                  <a:lnTo>
                    <a:pt x="468859" y="200876"/>
                  </a:lnTo>
                  <a:lnTo>
                    <a:pt x="468859" y="200228"/>
                  </a:lnTo>
                  <a:lnTo>
                    <a:pt x="468961" y="200876"/>
                  </a:lnTo>
                  <a:lnTo>
                    <a:pt x="468961" y="199530"/>
                  </a:lnTo>
                  <a:lnTo>
                    <a:pt x="468961" y="200876"/>
                  </a:lnTo>
                  <a:lnTo>
                    <a:pt x="468961" y="200228"/>
                  </a:lnTo>
                  <a:lnTo>
                    <a:pt x="469012" y="200228"/>
                  </a:lnTo>
                  <a:lnTo>
                    <a:pt x="469012" y="200876"/>
                  </a:lnTo>
                  <a:lnTo>
                    <a:pt x="469012" y="200228"/>
                  </a:lnTo>
                  <a:lnTo>
                    <a:pt x="469062" y="200228"/>
                  </a:lnTo>
                  <a:lnTo>
                    <a:pt x="469062" y="200876"/>
                  </a:lnTo>
                  <a:lnTo>
                    <a:pt x="469062" y="199530"/>
                  </a:lnTo>
                  <a:lnTo>
                    <a:pt x="469164" y="199530"/>
                  </a:lnTo>
                  <a:lnTo>
                    <a:pt x="469164" y="200228"/>
                  </a:lnTo>
                  <a:lnTo>
                    <a:pt x="469164" y="197447"/>
                  </a:lnTo>
                  <a:lnTo>
                    <a:pt x="469164" y="198831"/>
                  </a:lnTo>
                  <a:lnTo>
                    <a:pt x="469164" y="196799"/>
                  </a:lnTo>
                  <a:lnTo>
                    <a:pt x="469164" y="197447"/>
                  </a:lnTo>
                  <a:lnTo>
                    <a:pt x="469215" y="197447"/>
                  </a:lnTo>
                  <a:lnTo>
                    <a:pt x="469215" y="196113"/>
                  </a:lnTo>
                  <a:lnTo>
                    <a:pt x="469215" y="198831"/>
                  </a:lnTo>
                  <a:lnTo>
                    <a:pt x="469215" y="197447"/>
                  </a:lnTo>
                  <a:lnTo>
                    <a:pt x="469266" y="197447"/>
                  </a:lnTo>
                  <a:lnTo>
                    <a:pt x="469266" y="196113"/>
                  </a:lnTo>
                  <a:lnTo>
                    <a:pt x="469266" y="200228"/>
                  </a:lnTo>
                  <a:lnTo>
                    <a:pt x="469266" y="198831"/>
                  </a:lnTo>
                  <a:lnTo>
                    <a:pt x="469316" y="198831"/>
                  </a:lnTo>
                  <a:lnTo>
                    <a:pt x="469316" y="200228"/>
                  </a:lnTo>
                  <a:lnTo>
                    <a:pt x="469316" y="199530"/>
                  </a:lnTo>
                  <a:lnTo>
                    <a:pt x="469316" y="200228"/>
                  </a:lnTo>
                  <a:lnTo>
                    <a:pt x="469316" y="199530"/>
                  </a:lnTo>
                  <a:lnTo>
                    <a:pt x="469405" y="200228"/>
                  </a:lnTo>
                  <a:lnTo>
                    <a:pt x="469405" y="199530"/>
                  </a:lnTo>
                  <a:lnTo>
                    <a:pt x="469405" y="200876"/>
                  </a:lnTo>
                  <a:lnTo>
                    <a:pt x="469405" y="200228"/>
                  </a:lnTo>
                  <a:lnTo>
                    <a:pt x="469456" y="200228"/>
                  </a:lnTo>
                  <a:lnTo>
                    <a:pt x="469456" y="199530"/>
                  </a:lnTo>
                  <a:lnTo>
                    <a:pt x="469456" y="200876"/>
                  </a:lnTo>
                  <a:lnTo>
                    <a:pt x="469456" y="200228"/>
                  </a:lnTo>
                  <a:lnTo>
                    <a:pt x="469456" y="200876"/>
                  </a:lnTo>
                  <a:lnTo>
                    <a:pt x="469456" y="200228"/>
                  </a:lnTo>
                  <a:lnTo>
                    <a:pt x="469456" y="200876"/>
                  </a:lnTo>
                  <a:lnTo>
                    <a:pt x="469507" y="200876"/>
                  </a:lnTo>
                  <a:lnTo>
                    <a:pt x="469507" y="202260"/>
                  </a:lnTo>
                  <a:lnTo>
                    <a:pt x="469507" y="200876"/>
                  </a:lnTo>
                  <a:lnTo>
                    <a:pt x="469507" y="202260"/>
                  </a:lnTo>
                  <a:lnTo>
                    <a:pt x="469507" y="200876"/>
                  </a:lnTo>
                  <a:lnTo>
                    <a:pt x="469558" y="200876"/>
                  </a:lnTo>
                  <a:lnTo>
                    <a:pt x="469558" y="200228"/>
                  </a:lnTo>
                  <a:lnTo>
                    <a:pt x="469659" y="200228"/>
                  </a:lnTo>
                  <a:lnTo>
                    <a:pt x="469659" y="200876"/>
                  </a:lnTo>
                  <a:lnTo>
                    <a:pt x="469659" y="197447"/>
                  </a:lnTo>
                  <a:lnTo>
                    <a:pt x="469710" y="197447"/>
                  </a:lnTo>
                  <a:lnTo>
                    <a:pt x="469710" y="198831"/>
                  </a:lnTo>
                  <a:lnTo>
                    <a:pt x="469710" y="197447"/>
                  </a:lnTo>
                  <a:lnTo>
                    <a:pt x="469710" y="198831"/>
                  </a:lnTo>
                  <a:lnTo>
                    <a:pt x="469710" y="196799"/>
                  </a:lnTo>
                  <a:lnTo>
                    <a:pt x="469761" y="196799"/>
                  </a:lnTo>
                  <a:lnTo>
                    <a:pt x="469761" y="199530"/>
                  </a:lnTo>
                  <a:lnTo>
                    <a:pt x="469761" y="198831"/>
                  </a:lnTo>
                  <a:lnTo>
                    <a:pt x="469862" y="198831"/>
                  </a:lnTo>
                  <a:lnTo>
                    <a:pt x="469862" y="199530"/>
                  </a:lnTo>
                  <a:lnTo>
                    <a:pt x="469862" y="198831"/>
                  </a:lnTo>
                  <a:lnTo>
                    <a:pt x="469862" y="199530"/>
                  </a:lnTo>
                  <a:lnTo>
                    <a:pt x="469862" y="198831"/>
                  </a:lnTo>
                  <a:lnTo>
                    <a:pt x="469862" y="199530"/>
                  </a:lnTo>
                  <a:lnTo>
                    <a:pt x="469901" y="199530"/>
                  </a:lnTo>
                  <a:lnTo>
                    <a:pt x="469951" y="200228"/>
                  </a:lnTo>
                  <a:lnTo>
                    <a:pt x="469951" y="200876"/>
                  </a:lnTo>
                  <a:lnTo>
                    <a:pt x="470002" y="200876"/>
                  </a:lnTo>
                  <a:lnTo>
                    <a:pt x="470002" y="200228"/>
                  </a:lnTo>
                  <a:lnTo>
                    <a:pt x="470002" y="200876"/>
                  </a:lnTo>
                  <a:lnTo>
                    <a:pt x="470104" y="200228"/>
                  </a:lnTo>
                  <a:lnTo>
                    <a:pt x="470104" y="200876"/>
                  </a:lnTo>
                  <a:lnTo>
                    <a:pt x="470104" y="200228"/>
                  </a:lnTo>
                  <a:lnTo>
                    <a:pt x="470104" y="200876"/>
                  </a:lnTo>
                  <a:lnTo>
                    <a:pt x="470104" y="199530"/>
                  </a:lnTo>
                  <a:lnTo>
                    <a:pt x="470104" y="200228"/>
                  </a:lnTo>
                  <a:lnTo>
                    <a:pt x="470155" y="200228"/>
                  </a:lnTo>
                  <a:lnTo>
                    <a:pt x="470155" y="198831"/>
                  </a:lnTo>
                  <a:lnTo>
                    <a:pt x="470205" y="198831"/>
                  </a:lnTo>
                  <a:lnTo>
                    <a:pt x="470205" y="200228"/>
                  </a:lnTo>
                  <a:lnTo>
                    <a:pt x="470307" y="200876"/>
                  </a:lnTo>
                  <a:lnTo>
                    <a:pt x="470307" y="199530"/>
                  </a:lnTo>
                  <a:lnTo>
                    <a:pt x="470307" y="200876"/>
                  </a:lnTo>
                  <a:lnTo>
                    <a:pt x="470358" y="200876"/>
                  </a:lnTo>
                  <a:lnTo>
                    <a:pt x="470358" y="199530"/>
                  </a:lnTo>
                  <a:lnTo>
                    <a:pt x="470358" y="200876"/>
                  </a:lnTo>
                  <a:lnTo>
                    <a:pt x="470358" y="200228"/>
                  </a:lnTo>
                  <a:lnTo>
                    <a:pt x="470408" y="200228"/>
                  </a:lnTo>
                  <a:lnTo>
                    <a:pt x="470408" y="200876"/>
                  </a:lnTo>
                  <a:lnTo>
                    <a:pt x="470408" y="200228"/>
                  </a:lnTo>
                  <a:lnTo>
                    <a:pt x="470408" y="200876"/>
                  </a:lnTo>
                  <a:lnTo>
                    <a:pt x="470447" y="200876"/>
                  </a:lnTo>
                  <a:lnTo>
                    <a:pt x="470447" y="200228"/>
                  </a:lnTo>
                  <a:lnTo>
                    <a:pt x="470447" y="200876"/>
                  </a:lnTo>
                  <a:lnTo>
                    <a:pt x="470447" y="200228"/>
                  </a:lnTo>
                  <a:lnTo>
                    <a:pt x="470447" y="202260"/>
                  </a:lnTo>
                  <a:lnTo>
                    <a:pt x="470447" y="200876"/>
                  </a:lnTo>
                  <a:lnTo>
                    <a:pt x="470548" y="200876"/>
                  </a:lnTo>
                  <a:lnTo>
                    <a:pt x="470548" y="202260"/>
                  </a:lnTo>
                  <a:lnTo>
                    <a:pt x="470548" y="200876"/>
                  </a:lnTo>
                  <a:lnTo>
                    <a:pt x="470599" y="200876"/>
                  </a:lnTo>
                  <a:lnTo>
                    <a:pt x="470599" y="199530"/>
                  </a:lnTo>
                  <a:lnTo>
                    <a:pt x="470599" y="200228"/>
                  </a:lnTo>
                  <a:lnTo>
                    <a:pt x="470650" y="200228"/>
                  </a:lnTo>
                  <a:lnTo>
                    <a:pt x="470650" y="198831"/>
                  </a:lnTo>
                  <a:lnTo>
                    <a:pt x="470650" y="200876"/>
                  </a:lnTo>
                  <a:lnTo>
                    <a:pt x="470650" y="200228"/>
                  </a:lnTo>
                  <a:lnTo>
                    <a:pt x="470650" y="200876"/>
                  </a:lnTo>
                  <a:lnTo>
                    <a:pt x="470650" y="200228"/>
                  </a:lnTo>
                  <a:lnTo>
                    <a:pt x="470650" y="200876"/>
                  </a:lnTo>
                  <a:lnTo>
                    <a:pt x="470751" y="200228"/>
                  </a:lnTo>
                  <a:lnTo>
                    <a:pt x="470751" y="198831"/>
                  </a:lnTo>
                  <a:lnTo>
                    <a:pt x="470751" y="202260"/>
                  </a:lnTo>
                  <a:lnTo>
                    <a:pt x="470802" y="202260"/>
                  </a:lnTo>
                  <a:lnTo>
                    <a:pt x="470802" y="200876"/>
                  </a:lnTo>
                  <a:lnTo>
                    <a:pt x="470802" y="202260"/>
                  </a:lnTo>
                  <a:lnTo>
                    <a:pt x="470802" y="200876"/>
                  </a:lnTo>
                  <a:lnTo>
                    <a:pt x="470802" y="202260"/>
                  </a:lnTo>
                  <a:lnTo>
                    <a:pt x="470853" y="202260"/>
                  </a:lnTo>
                  <a:lnTo>
                    <a:pt x="470853" y="200876"/>
                  </a:lnTo>
                  <a:lnTo>
                    <a:pt x="470853" y="202260"/>
                  </a:lnTo>
                  <a:lnTo>
                    <a:pt x="470853" y="200876"/>
                  </a:lnTo>
                  <a:lnTo>
                    <a:pt x="470904" y="202260"/>
                  </a:lnTo>
                  <a:lnTo>
                    <a:pt x="470904" y="200876"/>
                  </a:lnTo>
                  <a:lnTo>
                    <a:pt x="470904" y="202260"/>
                  </a:lnTo>
                  <a:lnTo>
                    <a:pt x="470904" y="200876"/>
                  </a:lnTo>
                  <a:lnTo>
                    <a:pt x="470904" y="202260"/>
                  </a:lnTo>
                  <a:lnTo>
                    <a:pt x="470904" y="200876"/>
                  </a:lnTo>
                  <a:lnTo>
                    <a:pt x="470904" y="202260"/>
                  </a:lnTo>
                  <a:lnTo>
                    <a:pt x="470904" y="200876"/>
                  </a:lnTo>
                  <a:lnTo>
                    <a:pt x="470993" y="200876"/>
                  </a:lnTo>
                  <a:lnTo>
                    <a:pt x="470993" y="202260"/>
                  </a:lnTo>
                  <a:lnTo>
                    <a:pt x="470993" y="200876"/>
                  </a:lnTo>
                  <a:lnTo>
                    <a:pt x="470993" y="202260"/>
                  </a:lnTo>
                  <a:lnTo>
                    <a:pt x="470993" y="200876"/>
                  </a:lnTo>
                  <a:lnTo>
                    <a:pt x="470993" y="202260"/>
                  </a:lnTo>
                  <a:lnTo>
                    <a:pt x="470993" y="200876"/>
                  </a:lnTo>
                  <a:lnTo>
                    <a:pt x="470993" y="202260"/>
                  </a:lnTo>
                  <a:lnTo>
                    <a:pt x="471043" y="202260"/>
                  </a:lnTo>
                  <a:lnTo>
                    <a:pt x="471043" y="200228"/>
                  </a:lnTo>
                  <a:lnTo>
                    <a:pt x="471094" y="200228"/>
                  </a:lnTo>
                  <a:lnTo>
                    <a:pt x="471094" y="199530"/>
                  </a:lnTo>
                  <a:lnTo>
                    <a:pt x="471094" y="200228"/>
                  </a:lnTo>
                  <a:lnTo>
                    <a:pt x="471094" y="199530"/>
                  </a:lnTo>
                  <a:lnTo>
                    <a:pt x="471094" y="200228"/>
                  </a:lnTo>
                  <a:lnTo>
                    <a:pt x="471094" y="197447"/>
                  </a:lnTo>
                  <a:lnTo>
                    <a:pt x="471094" y="198831"/>
                  </a:lnTo>
                  <a:lnTo>
                    <a:pt x="471094" y="197447"/>
                  </a:lnTo>
                  <a:lnTo>
                    <a:pt x="471094" y="198831"/>
                  </a:lnTo>
                  <a:lnTo>
                    <a:pt x="471094" y="197447"/>
                  </a:lnTo>
                  <a:lnTo>
                    <a:pt x="471145" y="197447"/>
                  </a:lnTo>
                  <a:lnTo>
                    <a:pt x="471145" y="196799"/>
                  </a:lnTo>
                  <a:lnTo>
                    <a:pt x="471145" y="200228"/>
                  </a:lnTo>
                  <a:lnTo>
                    <a:pt x="471145" y="197447"/>
                  </a:lnTo>
                  <a:lnTo>
                    <a:pt x="471247" y="197447"/>
                  </a:lnTo>
                  <a:lnTo>
                    <a:pt x="471247" y="202260"/>
                  </a:lnTo>
                  <a:lnTo>
                    <a:pt x="471247" y="200228"/>
                  </a:lnTo>
                  <a:lnTo>
                    <a:pt x="471297" y="200228"/>
                  </a:lnTo>
                  <a:lnTo>
                    <a:pt x="471297" y="202260"/>
                  </a:lnTo>
                  <a:lnTo>
                    <a:pt x="471297" y="200228"/>
                  </a:lnTo>
                  <a:lnTo>
                    <a:pt x="471297" y="200876"/>
                  </a:lnTo>
                  <a:lnTo>
                    <a:pt x="471348" y="200876"/>
                  </a:lnTo>
                  <a:lnTo>
                    <a:pt x="471348" y="202260"/>
                  </a:lnTo>
                  <a:lnTo>
                    <a:pt x="471348" y="200876"/>
                  </a:lnTo>
                  <a:lnTo>
                    <a:pt x="471450" y="200876"/>
                  </a:lnTo>
                  <a:lnTo>
                    <a:pt x="471450" y="202260"/>
                  </a:lnTo>
                  <a:lnTo>
                    <a:pt x="471488" y="202260"/>
                  </a:lnTo>
                  <a:lnTo>
                    <a:pt x="471488" y="202959"/>
                  </a:lnTo>
                  <a:lnTo>
                    <a:pt x="471539" y="202959"/>
                  </a:lnTo>
                  <a:lnTo>
                    <a:pt x="471539" y="200228"/>
                  </a:lnTo>
                  <a:lnTo>
                    <a:pt x="471590" y="200228"/>
                  </a:lnTo>
                  <a:lnTo>
                    <a:pt x="471590" y="198831"/>
                  </a:lnTo>
                  <a:lnTo>
                    <a:pt x="471590" y="199530"/>
                  </a:lnTo>
                  <a:lnTo>
                    <a:pt x="471590" y="198831"/>
                  </a:lnTo>
                  <a:lnTo>
                    <a:pt x="471691" y="197447"/>
                  </a:lnTo>
                  <a:lnTo>
                    <a:pt x="471691" y="200228"/>
                  </a:lnTo>
                  <a:lnTo>
                    <a:pt x="471691" y="199530"/>
                  </a:lnTo>
                  <a:lnTo>
                    <a:pt x="471691" y="200228"/>
                  </a:lnTo>
                  <a:lnTo>
                    <a:pt x="471691" y="197447"/>
                  </a:lnTo>
                  <a:lnTo>
                    <a:pt x="471691" y="198831"/>
                  </a:lnTo>
                  <a:lnTo>
                    <a:pt x="471742" y="198831"/>
                  </a:lnTo>
                  <a:lnTo>
                    <a:pt x="471742" y="200876"/>
                  </a:lnTo>
                  <a:lnTo>
                    <a:pt x="471742" y="199530"/>
                  </a:lnTo>
                  <a:lnTo>
                    <a:pt x="471742" y="200228"/>
                  </a:lnTo>
                  <a:lnTo>
                    <a:pt x="471793" y="200228"/>
                  </a:lnTo>
                  <a:lnTo>
                    <a:pt x="471793" y="200876"/>
                  </a:lnTo>
                  <a:lnTo>
                    <a:pt x="471793" y="200228"/>
                  </a:lnTo>
                  <a:lnTo>
                    <a:pt x="471894" y="200876"/>
                  </a:lnTo>
                  <a:lnTo>
                    <a:pt x="471894" y="202260"/>
                  </a:lnTo>
                  <a:lnTo>
                    <a:pt x="471894" y="200876"/>
                  </a:lnTo>
                  <a:lnTo>
                    <a:pt x="471945" y="200876"/>
                  </a:lnTo>
                  <a:lnTo>
                    <a:pt x="471945" y="202260"/>
                  </a:lnTo>
                  <a:lnTo>
                    <a:pt x="471945" y="200876"/>
                  </a:lnTo>
                  <a:lnTo>
                    <a:pt x="471945" y="202260"/>
                  </a:lnTo>
                  <a:lnTo>
                    <a:pt x="471945" y="200876"/>
                  </a:lnTo>
                  <a:lnTo>
                    <a:pt x="471945" y="202260"/>
                  </a:lnTo>
                  <a:lnTo>
                    <a:pt x="471996" y="202260"/>
                  </a:lnTo>
                  <a:lnTo>
                    <a:pt x="471996" y="200876"/>
                  </a:lnTo>
                  <a:lnTo>
                    <a:pt x="471996" y="202260"/>
                  </a:lnTo>
                  <a:lnTo>
                    <a:pt x="471996" y="200876"/>
                  </a:lnTo>
                  <a:lnTo>
                    <a:pt x="472034" y="200876"/>
                  </a:lnTo>
                  <a:lnTo>
                    <a:pt x="472034" y="200228"/>
                  </a:lnTo>
                  <a:lnTo>
                    <a:pt x="472034" y="200876"/>
                  </a:lnTo>
                  <a:lnTo>
                    <a:pt x="472034" y="200228"/>
                  </a:lnTo>
                  <a:lnTo>
                    <a:pt x="472136" y="199530"/>
                  </a:lnTo>
                  <a:lnTo>
                    <a:pt x="472136" y="200228"/>
                  </a:lnTo>
                  <a:lnTo>
                    <a:pt x="472136" y="197447"/>
                  </a:lnTo>
                  <a:lnTo>
                    <a:pt x="472136" y="198831"/>
                  </a:lnTo>
                  <a:lnTo>
                    <a:pt x="472136" y="197447"/>
                  </a:lnTo>
                  <a:lnTo>
                    <a:pt x="472187" y="197447"/>
                  </a:lnTo>
                  <a:lnTo>
                    <a:pt x="472187" y="196799"/>
                  </a:lnTo>
                  <a:lnTo>
                    <a:pt x="472187" y="197447"/>
                  </a:lnTo>
                  <a:lnTo>
                    <a:pt x="472187" y="196799"/>
                  </a:lnTo>
                  <a:lnTo>
                    <a:pt x="472187" y="197447"/>
                  </a:lnTo>
                  <a:lnTo>
                    <a:pt x="472237" y="197447"/>
                  </a:lnTo>
                  <a:lnTo>
                    <a:pt x="472237" y="196113"/>
                  </a:lnTo>
                  <a:lnTo>
                    <a:pt x="472237" y="199530"/>
                  </a:lnTo>
                  <a:lnTo>
                    <a:pt x="472237" y="198831"/>
                  </a:lnTo>
                  <a:lnTo>
                    <a:pt x="472339" y="198831"/>
                  </a:lnTo>
                  <a:lnTo>
                    <a:pt x="472339" y="197447"/>
                  </a:lnTo>
                  <a:lnTo>
                    <a:pt x="472339" y="199530"/>
                  </a:lnTo>
                  <a:lnTo>
                    <a:pt x="472390" y="199530"/>
                  </a:lnTo>
                  <a:lnTo>
                    <a:pt x="472390" y="198831"/>
                  </a:lnTo>
                  <a:lnTo>
                    <a:pt x="472390" y="200228"/>
                  </a:lnTo>
                  <a:lnTo>
                    <a:pt x="472390" y="199530"/>
                  </a:lnTo>
                  <a:lnTo>
                    <a:pt x="472390" y="200228"/>
                  </a:lnTo>
                  <a:lnTo>
                    <a:pt x="472390" y="199530"/>
                  </a:lnTo>
                  <a:lnTo>
                    <a:pt x="472390" y="200228"/>
                  </a:lnTo>
                  <a:lnTo>
                    <a:pt x="472441" y="200228"/>
                  </a:lnTo>
                  <a:lnTo>
                    <a:pt x="472441" y="200876"/>
                  </a:lnTo>
                  <a:lnTo>
                    <a:pt x="472441" y="200228"/>
                  </a:lnTo>
                  <a:lnTo>
                    <a:pt x="472441" y="200876"/>
                  </a:lnTo>
                  <a:lnTo>
                    <a:pt x="472441" y="200228"/>
                  </a:lnTo>
                  <a:lnTo>
                    <a:pt x="472441" y="200876"/>
                  </a:lnTo>
                  <a:lnTo>
                    <a:pt x="472441" y="200228"/>
                  </a:lnTo>
                  <a:lnTo>
                    <a:pt x="472441" y="200876"/>
                  </a:lnTo>
                  <a:lnTo>
                    <a:pt x="472441" y="200228"/>
                  </a:lnTo>
                  <a:lnTo>
                    <a:pt x="472441" y="200876"/>
                  </a:lnTo>
                  <a:lnTo>
                    <a:pt x="472491" y="200876"/>
                  </a:lnTo>
                  <a:lnTo>
                    <a:pt x="472491" y="202260"/>
                  </a:lnTo>
                  <a:lnTo>
                    <a:pt x="472491" y="200876"/>
                  </a:lnTo>
                  <a:lnTo>
                    <a:pt x="472491" y="202260"/>
                  </a:lnTo>
                  <a:lnTo>
                    <a:pt x="472491" y="200876"/>
                  </a:lnTo>
                  <a:lnTo>
                    <a:pt x="472491" y="202260"/>
                  </a:lnTo>
                  <a:lnTo>
                    <a:pt x="472491" y="200876"/>
                  </a:lnTo>
                  <a:lnTo>
                    <a:pt x="472580" y="200876"/>
                  </a:lnTo>
                  <a:lnTo>
                    <a:pt x="472580" y="200228"/>
                  </a:lnTo>
                  <a:lnTo>
                    <a:pt x="472631" y="200228"/>
                  </a:lnTo>
                  <a:lnTo>
                    <a:pt x="472631" y="198831"/>
                  </a:lnTo>
                  <a:lnTo>
                    <a:pt x="472631" y="199530"/>
                  </a:lnTo>
                  <a:lnTo>
                    <a:pt x="472631" y="198831"/>
                  </a:lnTo>
                  <a:lnTo>
                    <a:pt x="472631" y="199530"/>
                  </a:lnTo>
                  <a:lnTo>
                    <a:pt x="472631" y="198831"/>
                  </a:lnTo>
                  <a:lnTo>
                    <a:pt x="472682" y="198831"/>
                  </a:lnTo>
                  <a:lnTo>
                    <a:pt x="472682" y="199530"/>
                  </a:lnTo>
                  <a:lnTo>
                    <a:pt x="472682" y="197447"/>
                  </a:lnTo>
                  <a:lnTo>
                    <a:pt x="472682" y="199530"/>
                  </a:lnTo>
                  <a:lnTo>
                    <a:pt x="472733" y="199530"/>
                  </a:lnTo>
                  <a:lnTo>
                    <a:pt x="472733" y="200228"/>
                  </a:lnTo>
                  <a:lnTo>
                    <a:pt x="472733" y="198831"/>
                  </a:lnTo>
                  <a:lnTo>
                    <a:pt x="472834" y="199530"/>
                  </a:lnTo>
                  <a:lnTo>
                    <a:pt x="472834" y="198831"/>
                  </a:lnTo>
                  <a:lnTo>
                    <a:pt x="472834" y="199530"/>
                  </a:lnTo>
                  <a:lnTo>
                    <a:pt x="472834" y="198831"/>
                  </a:lnTo>
                  <a:lnTo>
                    <a:pt x="472834" y="199530"/>
                  </a:lnTo>
                  <a:lnTo>
                    <a:pt x="472834" y="198831"/>
                  </a:lnTo>
                  <a:lnTo>
                    <a:pt x="472834" y="199530"/>
                  </a:lnTo>
                  <a:lnTo>
                    <a:pt x="472885" y="199530"/>
                  </a:lnTo>
                  <a:lnTo>
                    <a:pt x="472885" y="198831"/>
                  </a:lnTo>
                  <a:lnTo>
                    <a:pt x="472885" y="199530"/>
                  </a:lnTo>
                  <a:lnTo>
                    <a:pt x="472885" y="198831"/>
                  </a:lnTo>
                  <a:lnTo>
                    <a:pt x="472885" y="200228"/>
                  </a:lnTo>
                  <a:lnTo>
                    <a:pt x="472885" y="199530"/>
                  </a:lnTo>
                  <a:lnTo>
                    <a:pt x="472885" y="200228"/>
                  </a:lnTo>
                  <a:lnTo>
                    <a:pt x="472885" y="199530"/>
                  </a:lnTo>
                  <a:lnTo>
                    <a:pt x="472936" y="199530"/>
                  </a:lnTo>
                  <a:lnTo>
                    <a:pt x="472936" y="200228"/>
                  </a:lnTo>
                  <a:lnTo>
                    <a:pt x="472936" y="199530"/>
                  </a:lnTo>
                  <a:lnTo>
                    <a:pt x="472936" y="200228"/>
                  </a:lnTo>
                  <a:lnTo>
                    <a:pt x="473037" y="200228"/>
                  </a:lnTo>
                  <a:lnTo>
                    <a:pt x="473037" y="200876"/>
                  </a:lnTo>
                  <a:lnTo>
                    <a:pt x="473076" y="200228"/>
                  </a:lnTo>
                  <a:lnTo>
                    <a:pt x="473076" y="200876"/>
                  </a:lnTo>
                  <a:lnTo>
                    <a:pt x="473076" y="199530"/>
                  </a:lnTo>
                  <a:lnTo>
                    <a:pt x="473076" y="200228"/>
                  </a:lnTo>
                  <a:lnTo>
                    <a:pt x="473126" y="200228"/>
                  </a:lnTo>
                  <a:lnTo>
                    <a:pt x="473126" y="198831"/>
                  </a:lnTo>
                  <a:lnTo>
                    <a:pt x="473126" y="200876"/>
                  </a:lnTo>
                  <a:lnTo>
                    <a:pt x="473126" y="200228"/>
                  </a:lnTo>
                  <a:lnTo>
                    <a:pt x="473177" y="200228"/>
                  </a:lnTo>
                  <a:lnTo>
                    <a:pt x="473177" y="199530"/>
                  </a:lnTo>
                  <a:lnTo>
                    <a:pt x="473177" y="202260"/>
                  </a:lnTo>
                  <a:lnTo>
                    <a:pt x="473177" y="200876"/>
                  </a:lnTo>
                  <a:lnTo>
                    <a:pt x="473279" y="200876"/>
                  </a:lnTo>
                  <a:lnTo>
                    <a:pt x="473279" y="200228"/>
                  </a:lnTo>
                  <a:lnTo>
                    <a:pt x="473279" y="202260"/>
                  </a:lnTo>
                  <a:lnTo>
                    <a:pt x="473279" y="200876"/>
                  </a:lnTo>
                  <a:lnTo>
                    <a:pt x="473330" y="200876"/>
                  </a:lnTo>
                  <a:lnTo>
                    <a:pt x="473330" y="200228"/>
                  </a:lnTo>
                  <a:lnTo>
                    <a:pt x="473330" y="200876"/>
                  </a:lnTo>
                  <a:lnTo>
                    <a:pt x="473330" y="200228"/>
                  </a:lnTo>
                  <a:lnTo>
                    <a:pt x="473330" y="202260"/>
                  </a:lnTo>
                  <a:lnTo>
                    <a:pt x="473330" y="200876"/>
                  </a:lnTo>
                  <a:lnTo>
                    <a:pt x="473380" y="200876"/>
                  </a:lnTo>
                  <a:lnTo>
                    <a:pt x="473380" y="202260"/>
                  </a:lnTo>
                  <a:lnTo>
                    <a:pt x="473380" y="200876"/>
                  </a:lnTo>
                  <a:lnTo>
                    <a:pt x="473380" y="202260"/>
                  </a:lnTo>
                  <a:lnTo>
                    <a:pt x="473482" y="202260"/>
                  </a:lnTo>
                  <a:lnTo>
                    <a:pt x="473482" y="200876"/>
                  </a:lnTo>
                  <a:lnTo>
                    <a:pt x="473482" y="202260"/>
                  </a:lnTo>
                  <a:lnTo>
                    <a:pt x="473482" y="200876"/>
                  </a:lnTo>
                  <a:lnTo>
                    <a:pt x="473482" y="202260"/>
                  </a:lnTo>
                  <a:lnTo>
                    <a:pt x="473482" y="200876"/>
                  </a:lnTo>
                  <a:lnTo>
                    <a:pt x="473533" y="200876"/>
                  </a:lnTo>
                  <a:lnTo>
                    <a:pt x="473533" y="199530"/>
                  </a:lnTo>
                  <a:lnTo>
                    <a:pt x="473583" y="200228"/>
                  </a:lnTo>
                  <a:lnTo>
                    <a:pt x="473583" y="199530"/>
                  </a:lnTo>
                  <a:lnTo>
                    <a:pt x="473583" y="200228"/>
                  </a:lnTo>
                  <a:lnTo>
                    <a:pt x="473583" y="199530"/>
                  </a:lnTo>
                  <a:lnTo>
                    <a:pt x="473583" y="200228"/>
                  </a:lnTo>
                  <a:lnTo>
                    <a:pt x="473583" y="199530"/>
                  </a:lnTo>
                  <a:lnTo>
                    <a:pt x="473622" y="199530"/>
                  </a:lnTo>
                  <a:lnTo>
                    <a:pt x="473622" y="200876"/>
                  </a:lnTo>
                  <a:lnTo>
                    <a:pt x="473622" y="200228"/>
                  </a:lnTo>
                  <a:lnTo>
                    <a:pt x="473622" y="200876"/>
                  </a:lnTo>
                  <a:lnTo>
                    <a:pt x="473622" y="199530"/>
                  </a:lnTo>
                  <a:lnTo>
                    <a:pt x="473622" y="200876"/>
                  </a:lnTo>
                  <a:lnTo>
                    <a:pt x="473723" y="200876"/>
                  </a:lnTo>
                  <a:lnTo>
                    <a:pt x="473723" y="202959"/>
                  </a:lnTo>
                  <a:lnTo>
                    <a:pt x="473723" y="200876"/>
                  </a:lnTo>
                  <a:lnTo>
                    <a:pt x="473723" y="202260"/>
                  </a:lnTo>
                  <a:lnTo>
                    <a:pt x="473774" y="202959"/>
                  </a:lnTo>
                  <a:lnTo>
                    <a:pt x="473774" y="202260"/>
                  </a:lnTo>
                  <a:lnTo>
                    <a:pt x="473774" y="202959"/>
                  </a:lnTo>
                  <a:lnTo>
                    <a:pt x="473825" y="202260"/>
                  </a:lnTo>
                  <a:lnTo>
                    <a:pt x="473825" y="202959"/>
                  </a:lnTo>
                  <a:lnTo>
                    <a:pt x="473825" y="202260"/>
                  </a:lnTo>
                  <a:lnTo>
                    <a:pt x="473825" y="202959"/>
                  </a:lnTo>
                  <a:lnTo>
                    <a:pt x="473926" y="202959"/>
                  </a:lnTo>
                  <a:lnTo>
                    <a:pt x="473926" y="202260"/>
                  </a:lnTo>
                  <a:lnTo>
                    <a:pt x="473926" y="202959"/>
                  </a:lnTo>
                  <a:lnTo>
                    <a:pt x="473926" y="202260"/>
                  </a:lnTo>
                  <a:lnTo>
                    <a:pt x="473926" y="202959"/>
                  </a:lnTo>
                  <a:lnTo>
                    <a:pt x="473977" y="202959"/>
                  </a:lnTo>
                  <a:lnTo>
                    <a:pt x="473977" y="200876"/>
                  </a:lnTo>
                  <a:lnTo>
                    <a:pt x="473977" y="202260"/>
                  </a:lnTo>
                  <a:lnTo>
                    <a:pt x="473977" y="200876"/>
                  </a:lnTo>
                  <a:lnTo>
                    <a:pt x="473977" y="202260"/>
                  </a:lnTo>
                  <a:lnTo>
                    <a:pt x="473977" y="200876"/>
                  </a:lnTo>
                  <a:lnTo>
                    <a:pt x="474028" y="200876"/>
                  </a:lnTo>
                  <a:lnTo>
                    <a:pt x="474028" y="200228"/>
                  </a:lnTo>
                  <a:lnTo>
                    <a:pt x="474028" y="200876"/>
                  </a:lnTo>
                  <a:lnTo>
                    <a:pt x="474028" y="199530"/>
                  </a:lnTo>
                  <a:lnTo>
                    <a:pt x="474028" y="200228"/>
                  </a:lnTo>
                  <a:lnTo>
                    <a:pt x="474028" y="199530"/>
                  </a:lnTo>
                  <a:lnTo>
                    <a:pt x="474079" y="199530"/>
                  </a:lnTo>
                  <a:lnTo>
                    <a:pt x="474079" y="198831"/>
                  </a:lnTo>
                  <a:lnTo>
                    <a:pt x="474079" y="199530"/>
                  </a:lnTo>
                  <a:lnTo>
                    <a:pt x="474079" y="197447"/>
                  </a:lnTo>
                  <a:lnTo>
                    <a:pt x="474168" y="197447"/>
                  </a:lnTo>
                  <a:lnTo>
                    <a:pt x="474168" y="198831"/>
                  </a:lnTo>
                  <a:lnTo>
                    <a:pt x="474168" y="197447"/>
                  </a:lnTo>
                  <a:lnTo>
                    <a:pt x="474168" y="198831"/>
                  </a:lnTo>
                  <a:lnTo>
                    <a:pt x="474218" y="198831"/>
                  </a:lnTo>
                  <a:lnTo>
                    <a:pt x="474218" y="200228"/>
                  </a:lnTo>
                  <a:lnTo>
                    <a:pt x="474218" y="199530"/>
                  </a:lnTo>
                  <a:lnTo>
                    <a:pt x="474269" y="199530"/>
                  </a:lnTo>
                  <a:lnTo>
                    <a:pt x="474269" y="200876"/>
                  </a:lnTo>
                  <a:lnTo>
                    <a:pt x="474269" y="200228"/>
                  </a:lnTo>
                  <a:lnTo>
                    <a:pt x="474269" y="200876"/>
                  </a:lnTo>
                  <a:lnTo>
                    <a:pt x="474320" y="200876"/>
                  </a:lnTo>
                  <a:lnTo>
                    <a:pt x="474320" y="202260"/>
                  </a:lnTo>
                  <a:lnTo>
                    <a:pt x="474320" y="200876"/>
                  </a:lnTo>
                  <a:lnTo>
                    <a:pt x="474320" y="202260"/>
                  </a:lnTo>
                  <a:lnTo>
                    <a:pt x="474320" y="200876"/>
                  </a:lnTo>
                  <a:lnTo>
                    <a:pt x="474320" y="202260"/>
                  </a:lnTo>
                  <a:lnTo>
                    <a:pt x="474422" y="202260"/>
                  </a:lnTo>
                  <a:lnTo>
                    <a:pt x="474422" y="202959"/>
                  </a:lnTo>
                  <a:lnTo>
                    <a:pt x="474422" y="202260"/>
                  </a:lnTo>
                  <a:lnTo>
                    <a:pt x="474422" y="202959"/>
                  </a:lnTo>
                  <a:lnTo>
                    <a:pt x="474472" y="202260"/>
                  </a:lnTo>
                  <a:lnTo>
                    <a:pt x="474472" y="202959"/>
                  </a:lnTo>
                  <a:lnTo>
                    <a:pt x="474472" y="200876"/>
                  </a:lnTo>
                  <a:lnTo>
                    <a:pt x="474523" y="200876"/>
                  </a:lnTo>
                  <a:lnTo>
                    <a:pt x="474523" y="202260"/>
                  </a:lnTo>
                  <a:lnTo>
                    <a:pt x="474523" y="200876"/>
                  </a:lnTo>
                  <a:lnTo>
                    <a:pt x="474523" y="202260"/>
                  </a:lnTo>
                  <a:lnTo>
                    <a:pt x="474523" y="200228"/>
                  </a:lnTo>
                  <a:lnTo>
                    <a:pt x="474625" y="200228"/>
                  </a:lnTo>
                  <a:lnTo>
                    <a:pt x="474625" y="197447"/>
                  </a:lnTo>
                  <a:lnTo>
                    <a:pt x="474625" y="198831"/>
                  </a:lnTo>
                  <a:lnTo>
                    <a:pt x="474663" y="198831"/>
                  </a:lnTo>
                  <a:lnTo>
                    <a:pt x="474663" y="199530"/>
                  </a:lnTo>
                  <a:lnTo>
                    <a:pt x="474663" y="197447"/>
                  </a:lnTo>
                  <a:lnTo>
                    <a:pt x="474663" y="198831"/>
                  </a:lnTo>
                  <a:lnTo>
                    <a:pt x="474663" y="197447"/>
                  </a:lnTo>
                  <a:lnTo>
                    <a:pt x="474663" y="199530"/>
                  </a:lnTo>
                  <a:lnTo>
                    <a:pt x="474714" y="199530"/>
                  </a:lnTo>
                  <a:lnTo>
                    <a:pt x="474714" y="200876"/>
                  </a:lnTo>
                  <a:lnTo>
                    <a:pt x="474714" y="199530"/>
                  </a:lnTo>
                  <a:lnTo>
                    <a:pt x="474714" y="200228"/>
                  </a:lnTo>
                  <a:lnTo>
                    <a:pt x="474714" y="199530"/>
                  </a:lnTo>
                  <a:lnTo>
                    <a:pt x="474714" y="200228"/>
                  </a:lnTo>
                  <a:lnTo>
                    <a:pt x="474765" y="200876"/>
                  </a:lnTo>
                  <a:lnTo>
                    <a:pt x="474765" y="200228"/>
                  </a:lnTo>
                  <a:lnTo>
                    <a:pt x="474765" y="200876"/>
                  </a:lnTo>
                  <a:lnTo>
                    <a:pt x="474765" y="200228"/>
                  </a:lnTo>
                  <a:lnTo>
                    <a:pt x="474765" y="200876"/>
                  </a:lnTo>
                  <a:lnTo>
                    <a:pt x="474866" y="200876"/>
                  </a:lnTo>
                  <a:lnTo>
                    <a:pt x="474866" y="202260"/>
                  </a:lnTo>
                  <a:lnTo>
                    <a:pt x="474866" y="200876"/>
                  </a:lnTo>
                  <a:lnTo>
                    <a:pt x="474917" y="202260"/>
                  </a:lnTo>
                  <a:lnTo>
                    <a:pt x="474917" y="200876"/>
                  </a:lnTo>
                  <a:lnTo>
                    <a:pt x="474917" y="202260"/>
                  </a:lnTo>
                  <a:lnTo>
                    <a:pt x="474917" y="200876"/>
                  </a:lnTo>
                  <a:lnTo>
                    <a:pt x="474917" y="202260"/>
                  </a:lnTo>
                  <a:lnTo>
                    <a:pt x="474917" y="200876"/>
                  </a:lnTo>
                  <a:lnTo>
                    <a:pt x="474968" y="200876"/>
                  </a:lnTo>
                  <a:lnTo>
                    <a:pt x="474968" y="202260"/>
                  </a:lnTo>
                  <a:lnTo>
                    <a:pt x="474968" y="200876"/>
                  </a:lnTo>
                  <a:lnTo>
                    <a:pt x="474968" y="202260"/>
                  </a:lnTo>
                  <a:lnTo>
                    <a:pt x="474968" y="200876"/>
                  </a:lnTo>
                  <a:lnTo>
                    <a:pt x="475069" y="200876"/>
                  </a:lnTo>
                  <a:lnTo>
                    <a:pt x="475069" y="200228"/>
                  </a:lnTo>
                  <a:lnTo>
                    <a:pt x="475069" y="200876"/>
                  </a:lnTo>
                  <a:lnTo>
                    <a:pt x="475069" y="199530"/>
                  </a:lnTo>
                  <a:lnTo>
                    <a:pt x="475069" y="200228"/>
                  </a:lnTo>
                  <a:lnTo>
                    <a:pt x="475069" y="199530"/>
                  </a:lnTo>
                  <a:lnTo>
                    <a:pt x="475120" y="199530"/>
                  </a:lnTo>
                  <a:lnTo>
                    <a:pt x="475120" y="196799"/>
                  </a:lnTo>
                  <a:lnTo>
                    <a:pt x="475171" y="196799"/>
                  </a:lnTo>
                  <a:lnTo>
                    <a:pt x="475171" y="198831"/>
                  </a:lnTo>
                  <a:lnTo>
                    <a:pt x="475171" y="197447"/>
                  </a:lnTo>
                  <a:lnTo>
                    <a:pt x="475171" y="198831"/>
                  </a:lnTo>
                  <a:lnTo>
                    <a:pt x="475171" y="196799"/>
                  </a:lnTo>
                  <a:lnTo>
                    <a:pt x="475171" y="197447"/>
                  </a:lnTo>
                  <a:lnTo>
                    <a:pt x="475209" y="197447"/>
                  </a:lnTo>
                  <a:lnTo>
                    <a:pt x="475209" y="200228"/>
                  </a:lnTo>
                  <a:lnTo>
                    <a:pt x="475209" y="198831"/>
                  </a:lnTo>
                  <a:lnTo>
                    <a:pt x="475311" y="199530"/>
                  </a:lnTo>
                  <a:lnTo>
                    <a:pt x="475311" y="200228"/>
                  </a:lnTo>
                  <a:lnTo>
                    <a:pt x="475311" y="199530"/>
                  </a:lnTo>
                  <a:lnTo>
                    <a:pt x="475311" y="200228"/>
                  </a:lnTo>
                  <a:lnTo>
                    <a:pt x="475311" y="199530"/>
                  </a:lnTo>
                  <a:lnTo>
                    <a:pt x="475311" y="200228"/>
                  </a:lnTo>
                  <a:lnTo>
                    <a:pt x="475311" y="199530"/>
                  </a:lnTo>
                  <a:lnTo>
                    <a:pt x="475362" y="199530"/>
                  </a:lnTo>
                  <a:lnTo>
                    <a:pt x="475362" y="200876"/>
                  </a:lnTo>
                  <a:lnTo>
                    <a:pt x="475362" y="200228"/>
                  </a:lnTo>
                  <a:lnTo>
                    <a:pt x="475362" y="200876"/>
                  </a:lnTo>
                  <a:lnTo>
                    <a:pt x="475412" y="200876"/>
                  </a:lnTo>
                  <a:lnTo>
                    <a:pt x="475412" y="202260"/>
                  </a:lnTo>
                  <a:lnTo>
                    <a:pt x="475412" y="200876"/>
                  </a:lnTo>
                  <a:lnTo>
                    <a:pt x="475412" y="202260"/>
                  </a:lnTo>
                  <a:lnTo>
                    <a:pt x="475412" y="200876"/>
                  </a:lnTo>
                  <a:lnTo>
                    <a:pt x="475514" y="200228"/>
                  </a:lnTo>
                  <a:lnTo>
                    <a:pt x="475514" y="202260"/>
                  </a:lnTo>
                  <a:lnTo>
                    <a:pt x="475514" y="200876"/>
                  </a:lnTo>
                  <a:lnTo>
                    <a:pt x="475514" y="202260"/>
                  </a:lnTo>
                  <a:lnTo>
                    <a:pt x="475565" y="200876"/>
                  </a:lnTo>
                  <a:lnTo>
                    <a:pt x="475565" y="200228"/>
                  </a:lnTo>
                  <a:lnTo>
                    <a:pt x="475565" y="200876"/>
                  </a:lnTo>
                  <a:lnTo>
                    <a:pt x="475565" y="200228"/>
                  </a:lnTo>
                  <a:lnTo>
                    <a:pt x="475616" y="200228"/>
                  </a:lnTo>
                  <a:lnTo>
                    <a:pt x="475616" y="198831"/>
                  </a:lnTo>
                  <a:lnTo>
                    <a:pt x="475616" y="199530"/>
                  </a:lnTo>
                  <a:lnTo>
                    <a:pt x="475666" y="199530"/>
                  </a:lnTo>
                  <a:lnTo>
                    <a:pt x="475666" y="200228"/>
                  </a:lnTo>
                  <a:lnTo>
                    <a:pt x="475666" y="199530"/>
                  </a:lnTo>
                  <a:lnTo>
                    <a:pt x="475666" y="200228"/>
                  </a:lnTo>
                  <a:lnTo>
                    <a:pt x="475666" y="198831"/>
                  </a:lnTo>
                  <a:lnTo>
                    <a:pt x="475666" y="200876"/>
                  </a:lnTo>
                  <a:lnTo>
                    <a:pt x="475755" y="200228"/>
                  </a:lnTo>
                  <a:lnTo>
                    <a:pt x="475755" y="199530"/>
                  </a:lnTo>
                  <a:lnTo>
                    <a:pt x="475755" y="200228"/>
                  </a:lnTo>
                  <a:lnTo>
                    <a:pt x="475755" y="199530"/>
                  </a:lnTo>
                  <a:lnTo>
                    <a:pt x="475755" y="200876"/>
                  </a:lnTo>
                  <a:lnTo>
                    <a:pt x="475755" y="200228"/>
                  </a:lnTo>
                  <a:lnTo>
                    <a:pt x="475806" y="200228"/>
                  </a:lnTo>
                  <a:lnTo>
                    <a:pt x="475806" y="199530"/>
                  </a:lnTo>
                  <a:lnTo>
                    <a:pt x="475806" y="200228"/>
                  </a:lnTo>
                  <a:lnTo>
                    <a:pt x="475806" y="199530"/>
                  </a:lnTo>
                  <a:lnTo>
                    <a:pt x="475806" y="200228"/>
                  </a:lnTo>
                  <a:lnTo>
                    <a:pt x="475908" y="200228"/>
                  </a:lnTo>
                  <a:lnTo>
                    <a:pt x="475908" y="200876"/>
                  </a:lnTo>
                  <a:lnTo>
                    <a:pt x="475908" y="200228"/>
                  </a:lnTo>
                  <a:lnTo>
                    <a:pt x="475908" y="200876"/>
                  </a:lnTo>
                  <a:lnTo>
                    <a:pt x="475908" y="200228"/>
                  </a:lnTo>
                  <a:lnTo>
                    <a:pt x="475908" y="200876"/>
                  </a:lnTo>
                  <a:lnTo>
                    <a:pt x="476009" y="200876"/>
                  </a:lnTo>
                  <a:lnTo>
                    <a:pt x="476009" y="200228"/>
                  </a:lnTo>
                  <a:lnTo>
                    <a:pt x="476009" y="200876"/>
                  </a:lnTo>
                  <a:lnTo>
                    <a:pt x="476009" y="200228"/>
                  </a:lnTo>
                  <a:lnTo>
                    <a:pt x="476009" y="200876"/>
                  </a:lnTo>
                  <a:lnTo>
                    <a:pt x="476009" y="200228"/>
                  </a:lnTo>
                  <a:lnTo>
                    <a:pt x="476060" y="200228"/>
                  </a:lnTo>
                  <a:lnTo>
                    <a:pt x="476060" y="200876"/>
                  </a:lnTo>
                  <a:lnTo>
                    <a:pt x="476060" y="199530"/>
                  </a:lnTo>
                  <a:lnTo>
                    <a:pt x="476111" y="199530"/>
                  </a:lnTo>
                  <a:lnTo>
                    <a:pt x="476111" y="197447"/>
                  </a:lnTo>
                  <a:lnTo>
                    <a:pt x="476111" y="200228"/>
                  </a:lnTo>
                  <a:lnTo>
                    <a:pt x="476212" y="199530"/>
                  </a:lnTo>
                  <a:lnTo>
                    <a:pt x="476212" y="198831"/>
                  </a:lnTo>
                  <a:lnTo>
                    <a:pt x="476212" y="200876"/>
                  </a:lnTo>
                  <a:lnTo>
                    <a:pt x="476251" y="200876"/>
                  </a:lnTo>
                  <a:lnTo>
                    <a:pt x="476251" y="200228"/>
                  </a:lnTo>
                  <a:lnTo>
                    <a:pt x="476251" y="200876"/>
                  </a:lnTo>
                  <a:lnTo>
                    <a:pt x="476301" y="200228"/>
                  </a:lnTo>
                  <a:lnTo>
                    <a:pt x="476301" y="202260"/>
                  </a:lnTo>
                  <a:lnTo>
                    <a:pt x="476301" y="200876"/>
                  </a:lnTo>
                  <a:lnTo>
                    <a:pt x="476352" y="200876"/>
                  </a:lnTo>
                  <a:lnTo>
                    <a:pt x="476352" y="202260"/>
                  </a:lnTo>
                  <a:lnTo>
                    <a:pt x="476352" y="200876"/>
                  </a:lnTo>
                  <a:lnTo>
                    <a:pt x="476454" y="200876"/>
                  </a:lnTo>
                  <a:lnTo>
                    <a:pt x="476454" y="202260"/>
                  </a:lnTo>
                  <a:lnTo>
                    <a:pt x="476454" y="200876"/>
                  </a:lnTo>
                  <a:lnTo>
                    <a:pt x="476454" y="202260"/>
                  </a:lnTo>
                  <a:lnTo>
                    <a:pt x="476454" y="200876"/>
                  </a:lnTo>
                  <a:lnTo>
                    <a:pt x="476454" y="202260"/>
                  </a:lnTo>
                  <a:lnTo>
                    <a:pt x="476505" y="202260"/>
                  </a:lnTo>
                  <a:lnTo>
                    <a:pt x="476505" y="200876"/>
                  </a:lnTo>
                  <a:lnTo>
                    <a:pt x="476505" y="202260"/>
                  </a:lnTo>
                  <a:lnTo>
                    <a:pt x="476505" y="200876"/>
                  </a:lnTo>
                  <a:lnTo>
                    <a:pt x="476505" y="202260"/>
                  </a:lnTo>
                  <a:lnTo>
                    <a:pt x="476505" y="200876"/>
                  </a:lnTo>
                  <a:lnTo>
                    <a:pt x="476555" y="200876"/>
                  </a:lnTo>
                  <a:lnTo>
                    <a:pt x="476555" y="199530"/>
                  </a:lnTo>
                  <a:lnTo>
                    <a:pt x="476657" y="199530"/>
                  </a:lnTo>
                  <a:lnTo>
                    <a:pt x="476657" y="197447"/>
                  </a:lnTo>
                  <a:lnTo>
                    <a:pt x="476657" y="200228"/>
                  </a:lnTo>
                  <a:lnTo>
                    <a:pt x="476657" y="199530"/>
                  </a:lnTo>
                  <a:lnTo>
                    <a:pt x="476657" y="200228"/>
                  </a:lnTo>
                  <a:lnTo>
                    <a:pt x="476657" y="199530"/>
                  </a:lnTo>
                  <a:lnTo>
                    <a:pt x="476708" y="199530"/>
                  </a:lnTo>
                  <a:lnTo>
                    <a:pt x="476708" y="200876"/>
                  </a:lnTo>
                  <a:lnTo>
                    <a:pt x="476708" y="200228"/>
                  </a:lnTo>
                  <a:lnTo>
                    <a:pt x="476758" y="200228"/>
                  </a:lnTo>
                  <a:lnTo>
                    <a:pt x="476758" y="202260"/>
                  </a:lnTo>
                  <a:lnTo>
                    <a:pt x="476758" y="200876"/>
                  </a:lnTo>
                  <a:lnTo>
                    <a:pt x="476758" y="202260"/>
                  </a:lnTo>
                  <a:lnTo>
                    <a:pt x="476758" y="200876"/>
                  </a:lnTo>
                  <a:lnTo>
                    <a:pt x="476758" y="202260"/>
                  </a:lnTo>
                  <a:lnTo>
                    <a:pt x="476758" y="200876"/>
                  </a:lnTo>
                  <a:lnTo>
                    <a:pt x="476797" y="200876"/>
                  </a:lnTo>
                  <a:lnTo>
                    <a:pt x="476797" y="202260"/>
                  </a:lnTo>
                  <a:lnTo>
                    <a:pt x="476797" y="200876"/>
                  </a:lnTo>
                  <a:lnTo>
                    <a:pt x="476898" y="202260"/>
                  </a:lnTo>
                  <a:lnTo>
                    <a:pt x="476898" y="200876"/>
                  </a:lnTo>
                  <a:lnTo>
                    <a:pt x="476898" y="202260"/>
                  </a:lnTo>
                  <a:lnTo>
                    <a:pt x="476898" y="200876"/>
                  </a:lnTo>
                  <a:lnTo>
                    <a:pt x="476949" y="200876"/>
                  </a:lnTo>
                  <a:lnTo>
                    <a:pt x="476949" y="202260"/>
                  </a:lnTo>
                  <a:lnTo>
                    <a:pt x="476949" y="200876"/>
                  </a:lnTo>
                  <a:lnTo>
                    <a:pt x="477000" y="200876"/>
                  </a:lnTo>
                  <a:lnTo>
                    <a:pt x="477000" y="202260"/>
                  </a:lnTo>
                  <a:lnTo>
                    <a:pt x="477000" y="200228"/>
                  </a:lnTo>
                  <a:lnTo>
                    <a:pt x="477101" y="200228"/>
                  </a:lnTo>
                  <a:lnTo>
                    <a:pt x="477101" y="196799"/>
                  </a:lnTo>
                  <a:lnTo>
                    <a:pt x="477101" y="197447"/>
                  </a:lnTo>
                  <a:lnTo>
                    <a:pt x="477152" y="197447"/>
                  </a:lnTo>
                  <a:lnTo>
                    <a:pt x="477152" y="198831"/>
                  </a:lnTo>
                  <a:lnTo>
                    <a:pt x="477152" y="197447"/>
                  </a:lnTo>
                  <a:lnTo>
                    <a:pt x="477152" y="198831"/>
                  </a:lnTo>
                  <a:lnTo>
                    <a:pt x="477152" y="197447"/>
                  </a:lnTo>
                  <a:lnTo>
                    <a:pt x="477203" y="197447"/>
                  </a:lnTo>
                  <a:lnTo>
                    <a:pt x="477203" y="200876"/>
                  </a:lnTo>
                  <a:lnTo>
                    <a:pt x="477203" y="199530"/>
                  </a:lnTo>
                  <a:lnTo>
                    <a:pt x="477254" y="199530"/>
                  </a:lnTo>
                  <a:lnTo>
                    <a:pt x="477254" y="200876"/>
                  </a:lnTo>
                  <a:lnTo>
                    <a:pt x="477393" y="200876"/>
                  </a:lnTo>
                  <a:lnTo>
                    <a:pt x="477393" y="202260"/>
                  </a:lnTo>
                  <a:lnTo>
                    <a:pt x="477393" y="200876"/>
                  </a:lnTo>
                  <a:lnTo>
                    <a:pt x="477393" y="202260"/>
                  </a:lnTo>
                  <a:lnTo>
                    <a:pt x="477444" y="202260"/>
                  </a:lnTo>
                  <a:lnTo>
                    <a:pt x="477444" y="202959"/>
                  </a:lnTo>
                  <a:lnTo>
                    <a:pt x="477444" y="202260"/>
                  </a:lnTo>
                  <a:lnTo>
                    <a:pt x="477444" y="202959"/>
                  </a:lnTo>
                  <a:lnTo>
                    <a:pt x="477495" y="202959"/>
                  </a:lnTo>
                  <a:lnTo>
                    <a:pt x="477495" y="200228"/>
                  </a:lnTo>
                  <a:lnTo>
                    <a:pt x="477597" y="200228"/>
                  </a:lnTo>
                  <a:lnTo>
                    <a:pt x="477597" y="198831"/>
                  </a:lnTo>
                  <a:lnTo>
                    <a:pt x="477597" y="200228"/>
                  </a:lnTo>
                  <a:lnTo>
                    <a:pt x="477647" y="200228"/>
                  </a:lnTo>
                  <a:lnTo>
                    <a:pt x="477647" y="199530"/>
                  </a:lnTo>
                  <a:lnTo>
                    <a:pt x="477647" y="200228"/>
                  </a:lnTo>
                  <a:lnTo>
                    <a:pt x="477647" y="199530"/>
                  </a:lnTo>
                  <a:lnTo>
                    <a:pt x="477647" y="202260"/>
                  </a:lnTo>
                  <a:lnTo>
                    <a:pt x="477698" y="202260"/>
                  </a:lnTo>
                  <a:lnTo>
                    <a:pt x="477698" y="200876"/>
                  </a:lnTo>
                  <a:lnTo>
                    <a:pt x="477698" y="202260"/>
                  </a:lnTo>
                  <a:lnTo>
                    <a:pt x="477800" y="200876"/>
                  </a:lnTo>
                  <a:lnTo>
                    <a:pt x="477800" y="200228"/>
                  </a:lnTo>
                  <a:lnTo>
                    <a:pt x="477800" y="202260"/>
                  </a:lnTo>
                  <a:lnTo>
                    <a:pt x="477800" y="200876"/>
                  </a:lnTo>
                  <a:lnTo>
                    <a:pt x="477838" y="202260"/>
                  </a:lnTo>
                  <a:lnTo>
                    <a:pt x="477838" y="200876"/>
                  </a:lnTo>
                  <a:lnTo>
                    <a:pt x="477838" y="202260"/>
                  </a:lnTo>
                  <a:lnTo>
                    <a:pt x="477940" y="202260"/>
                  </a:lnTo>
                  <a:lnTo>
                    <a:pt x="477940" y="200876"/>
                  </a:lnTo>
                  <a:lnTo>
                    <a:pt x="478041" y="200876"/>
                  </a:lnTo>
                  <a:lnTo>
                    <a:pt x="478041" y="202260"/>
                  </a:lnTo>
                  <a:lnTo>
                    <a:pt x="478041" y="199530"/>
                  </a:lnTo>
                  <a:lnTo>
                    <a:pt x="478092" y="198831"/>
                  </a:lnTo>
                  <a:lnTo>
                    <a:pt x="478092" y="197447"/>
                  </a:lnTo>
                  <a:lnTo>
                    <a:pt x="478092" y="200228"/>
                  </a:lnTo>
                  <a:lnTo>
                    <a:pt x="478092" y="199530"/>
                  </a:lnTo>
                  <a:lnTo>
                    <a:pt x="478143" y="199530"/>
                  </a:lnTo>
                  <a:lnTo>
                    <a:pt x="478143" y="198831"/>
                  </a:lnTo>
                  <a:lnTo>
                    <a:pt x="478143" y="202959"/>
                  </a:lnTo>
                  <a:lnTo>
                    <a:pt x="478143" y="200876"/>
                  </a:lnTo>
                  <a:lnTo>
                    <a:pt x="478244" y="200228"/>
                  </a:lnTo>
                  <a:lnTo>
                    <a:pt x="478244" y="202959"/>
                  </a:lnTo>
                  <a:lnTo>
                    <a:pt x="478244" y="200876"/>
                  </a:lnTo>
                  <a:lnTo>
                    <a:pt x="478295" y="200876"/>
                  </a:lnTo>
                  <a:lnTo>
                    <a:pt x="478295" y="202260"/>
                  </a:lnTo>
                  <a:lnTo>
                    <a:pt x="478295" y="200876"/>
                  </a:lnTo>
                  <a:lnTo>
                    <a:pt x="478295" y="202260"/>
                  </a:lnTo>
                  <a:lnTo>
                    <a:pt x="478295" y="200876"/>
                  </a:lnTo>
                  <a:lnTo>
                    <a:pt x="478346" y="202260"/>
                  </a:lnTo>
                  <a:lnTo>
                    <a:pt x="478346" y="200876"/>
                  </a:lnTo>
                  <a:lnTo>
                    <a:pt x="478346" y="202260"/>
                  </a:lnTo>
                  <a:lnTo>
                    <a:pt x="478346" y="200876"/>
                  </a:lnTo>
                  <a:lnTo>
                    <a:pt x="478384" y="200876"/>
                  </a:lnTo>
                  <a:lnTo>
                    <a:pt x="478384" y="202959"/>
                  </a:lnTo>
                  <a:lnTo>
                    <a:pt x="478384" y="202260"/>
                  </a:lnTo>
                  <a:lnTo>
                    <a:pt x="478384" y="202959"/>
                  </a:lnTo>
                  <a:lnTo>
                    <a:pt x="478384" y="202260"/>
                  </a:lnTo>
                  <a:lnTo>
                    <a:pt x="478486" y="202260"/>
                  </a:lnTo>
                  <a:lnTo>
                    <a:pt x="478486" y="202959"/>
                  </a:lnTo>
                  <a:lnTo>
                    <a:pt x="478486" y="200228"/>
                  </a:lnTo>
                  <a:lnTo>
                    <a:pt x="478537" y="200228"/>
                  </a:lnTo>
                  <a:lnTo>
                    <a:pt x="478537" y="198831"/>
                  </a:lnTo>
                  <a:lnTo>
                    <a:pt x="478587" y="198831"/>
                  </a:lnTo>
                  <a:lnTo>
                    <a:pt x="478587" y="197447"/>
                  </a:lnTo>
                  <a:lnTo>
                    <a:pt x="478587" y="200228"/>
                  </a:lnTo>
                  <a:lnTo>
                    <a:pt x="478587" y="196799"/>
                  </a:lnTo>
                  <a:lnTo>
                    <a:pt x="478587" y="197447"/>
                  </a:lnTo>
                  <a:lnTo>
                    <a:pt x="478689" y="197447"/>
                  </a:lnTo>
                  <a:lnTo>
                    <a:pt x="478689" y="202260"/>
                  </a:lnTo>
                  <a:lnTo>
                    <a:pt x="478689" y="199530"/>
                  </a:lnTo>
                  <a:lnTo>
                    <a:pt x="478689" y="200228"/>
                  </a:lnTo>
                  <a:lnTo>
                    <a:pt x="478740" y="200228"/>
                  </a:lnTo>
                  <a:lnTo>
                    <a:pt x="478740" y="200876"/>
                  </a:lnTo>
                  <a:lnTo>
                    <a:pt x="478740" y="200228"/>
                  </a:lnTo>
                  <a:lnTo>
                    <a:pt x="478791" y="200228"/>
                  </a:lnTo>
                  <a:lnTo>
                    <a:pt x="478791" y="200876"/>
                  </a:lnTo>
                  <a:lnTo>
                    <a:pt x="478791" y="200228"/>
                  </a:lnTo>
                  <a:lnTo>
                    <a:pt x="478791" y="200876"/>
                  </a:lnTo>
                  <a:lnTo>
                    <a:pt x="478791" y="200228"/>
                  </a:lnTo>
                  <a:lnTo>
                    <a:pt x="478791" y="200876"/>
                  </a:lnTo>
                  <a:lnTo>
                    <a:pt x="478791" y="200228"/>
                  </a:lnTo>
                  <a:lnTo>
                    <a:pt x="478791" y="200876"/>
                  </a:lnTo>
                  <a:lnTo>
                    <a:pt x="478841" y="200876"/>
                  </a:lnTo>
                  <a:lnTo>
                    <a:pt x="478841" y="202260"/>
                  </a:lnTo>
                  <a:lnTo>
                    <a:pt x="478841" y="200876"/>
                  </a:lnTo>
                  <a:lnTo>
                    <a:pt x="478930" y="202260"/>
                  </a:lnTo>
                  <a:lnTo>
                    <a:pt x="478930" y="200876"/>
                  </a:lnTo>
                  <a:lnTo>
                    <a:pt x="478930" y="202260"/>
                  </a:lnTo>
                  <a:lnTo>
                    <a:pt x="478930" y="200876"/>
                  </a:lnTo>
                  <a:lnTo>
                    <a:pt x="478930" y="202260"/>
                  </a:lnTo>
                  <a:lnTo>
                    <a:pt x="478981" y="202260"/>
                  </a:lnTo>
                  <a:lnTo>
                    <a:pt x="478981" y="200876"/>
                  </a:lnTo>
                  <a:lnTo>
                    <a:pt x="478981" y="202260"/>
                  </a:lnTo>
                  <a:lnTo>
                    <a:pt x="478981" y="200228"/>
                  </a:lnTo>
                  <a:lnTo>
                    <a:pt x="479032" y="199530"/>
                  </a:lnTo>
                  <a:lnTo>
                    <a:pt x="479032" y="198831"/>
                  </a:lnTo>
                  <a:lnTo>
                    <a:pt x="479032" y="199530"/>
                  </a:lnTo>
                  <a:lnTo>
                    <a:pt x="479032" y="198831"/>
                  </a:lnTo>
                  <a:lnTo>
                    <a:pt x="479032" y="200228"/>
                  </a:lnTo>
                  <a:lnTo>
                    <a:pt x="479083" y="200228"/>
                  </a:lnTo>
                  <a:lnTo>
                    <a:pt x="479083" y="200876"/>
                  </a:lnTo>
                  <a:lnTo>
                    <a:pt x="479083" y="198831"/>
                  </a:lnTo>
                  <a:lnTo>
                    <a:pt x="479083" y="202959"/>
                  </a:lnTo>
                  <a:lnTo>
                    <a:pt x="479184" y="202959"/>
                  </a:lnTo>
                  <a:lnTo>
                    <a:pt x="479184" y="200228"/>
                  </a:lnTo>
                  <a:lnTo>
                    <a:pt x="479184" y="202959"/>
                  </a:lnTo>
                  <a:lnTo>
                    <a:pt x="479235" y="202959"/>
                  </a:lnTo>
                  <a:lnTo>
                    <a:pt x="479235" y="200876"/>
                  </a:lnTo>
                  <a:lnTo>
                    <a:pt x="479235" y="202959"/>
                  </a:lnTo>
                  <a:lnTo>
                    <a:pt x="479235" y="202260"/>
                  </a:lnTo>
                  <a:lnTo>
                    <a:pt x="479387" y="202260"/>
                  </a:lnTo>
                  <a:lnTo>
                    <a:pt x="479387" y="202959"/>
                  </a:lnTo>
                  <a:lnTo>
                    <a:pt x="479387" y="202260"/>
                  </a:lnTo>
                  <a:lnTo>
                    <a:pt x="479426" y="202260"/>
                  </a:lnTo>
                  <a:lnTo>
                    <a:pt x="479426" y="202959"/>
                  </a:lnTo>
                  <a:lnTo>
                    <a:pt x="479426" y="202260"/>
                  </a:lnTo>
                  <a:lnTo>
                    <a:pt x="479426" y="202959"/>
                  </a:lnTo>
                  <a:lnTo>
                    <a:pt x="479426" y="200876"/>
                  </a:lnTo>
                  <a:lnTo>
                    <a:pt x="479476" y="200876"/>
                  </a:lnTo>
                  <a:lnTo>
                    <a:pt x="479476" y="202260"/>
                  </a:lnTo>
                  <a:lnTo>
                    <a:pt x="479476" y="199530"/>
                  </a:lnTo>
                  <a:lnTo>
                    <a:pt x="479476" y="200228"/>
                  </a:lnTo>
                  <a:lnTo>
                    <a:pt x="479476" y="199530"/>
                  </a:lnTo>
                  <a:lnTo>
                    <a:pt x="479527" y="200228"/>
                  </a:lnTo>
                  <a:lnTo>
                    <a:pt x="479527" y="202260"/>
                  </a:lnTo>
                  <a:lnTo>
                    <a:pt x="479629" y="202260"/>
                  </a:lnTo>
                  <a:lnTo>
                    <a:pt x="479629" y="203594"/>
                  </a:lnTo>
                  <a:lnTo>
                    <a:pt x="479629" y="202959"/>
                  </a:lnTo>
                  <a:lnTo>
                    <a:pt x="479680" y="202959"/>
                  </a:lnTo>
                  <a:lnTo>
                    <a:pt x="479680" y="203594"/>
                  </a:lnTo>
                  <a:lnTo>
                    <a:pt x="479680" y="202959"/>
                  </a:lnTo>
                  <a:lnTo>
                    <a:pt x="479680" y="203594"/>
                  </a:lnTo>
                  <a:lnTo>
                    <a:pt x="479730" y="203594"/>
                  </a:lnTo>
                  <a:lnTo>
                    <a:pt x="479730" y="202959"/>
                  </a:lnTo>
                  <a:lnTo>
                    <a:pt x="479730" y="203594"/>
                  </a:lnTo>
                  <a:lnTo>
                    <a:pt x="479730" y="202260"/>
                  </a:lnTo>
                  <a:lnTo>
                    <a:pt x="479730" y="202959"/>
                  </a:lnTo>
                  <a:lnTo>
                    <a:pt x="479883" y="202959"/>
                  </a:lnTo>
                  <a:lnTo>
                    <a:pt x="479883" y="202260"/>
                  </a:lnTo>
                  <a:lnTo>
                    <a:pt x="479883" y="202959"/>
                  </a:lnTo>
                  <a:lnTo>
                    <a:pt x="479883" y="202260"/>
                  </a:lnTo>
                  <a:lnTo>
                    <a:pt x="479883" y="202959"/>
                  </a:lnTo>
                  <a:lnTo>
                    <a:pt x="479883" y="202260"/>
                  </a:lnTo>
                  <a:lnTo>
                    <a:pt x="479933" y="202260"/>
                  </a:lnTo>
                  <a:lnTo>
                    <a:pt x="479933" y="200228"/>
                  </a:lnTo>
                  <a:lnTo>
                    <a:pt x="479972" y="200228"/>
                  </a:lnTo>
                  <a:lnTo>
                    <a:pt x="479972" y="197447"/>
                  </a:lnTo>
                  <a:lnTo>
                    <a:pt x="479972" y="198831"/>
                  </a:lnTo>
                  <a:lnTo>
                    <a:pt x="480073" y="198831"/>
                  </a:lnTo>
                  <a:lnTo>
                    <a:pt x="480073" y="200228"/>
                  </a:lnTo>
                  <a:lnTo>
                    <a:pt x="480073" y="199530"/>
                  </a:lnTo>
                  <a:lnTo>
                    <a:pt x="480073" y="200876"/>
                  </a:lnTo>
                  <a:lnTo>
                    <a:pt x="480124" y="200876"/>
                  </a:lnTo>
                  <a:lnTo>
                    <a:pt x="480124" y="202260"/>
                  </a:lnTo>
                  <a:lnTo>
                    <a:pt x="480124" y="200876"/>
                  </a:lnTo>
                  <a:lnTo>
                    <a:pt x="480124" y="202260"/>
                  </a:lnTo>
                  <a:lnTo>
                    <a:pt x="480175" y="202260"/>
                  </a:lnTo>
                  <a:lnTo>
                    <a:pt x="480175" y="202959"/>
                  </a:lnTo>
                  <a:lnTo>
                    <a:pt x="480175" y="202260"/>
                  </a:lnTo>
                  <a:lnTo>
                    <a:pt x="480276" y="202260"/>
                  </a:lnTo>
                  <a:lnTo>
                    <a:pt x="480276" y="202959"/>
                  </a:lnTo>
                  <a:lnTo>
                    <a:pt x="480276" y="202260"/>
                  </a:lnTo>
                  <a:lnTo>
                    <a:pt x="480327" y="202260"/>
                  </a:lnTo>
                  <a:lnTo>
                    <a:pt x="480327" y="202959"/>
                  </a:lnTo>
                  <a:lnTo>
                    <a:pt x="480327" y="202260"/>
                  </a:lnTo>
                  <a:lnTo>
                    <a:pt x="480327" y="202959"/>
                  </a:lnTo>
                  <a:lnTo>
                    <a:pt x="480378" y="203594"/>
                  </a:lnTo>
                  <a:lnTo>
                    <a:pt x="480378" y="202260"/>
                  </a:lnTo>
                  <a:lnTo>
                    <a:pt x="480429" y="202260"/>
                  </a:lnTo>
                  <a:lnTo>
                    <a:pt x="480429" y="200228"/>
                  </a:lnTo>
                  <a:lnTo>
                    <a:pt x="480429" y="200876"/>
                  </a:lnTo>
                  <a:lnTo>
                    <a:pt x="480429" y="199530"/>
                  </a:lnTo>
                  <a:lnTo>
                    <a:pt x="480518" y="199530"/>
                  </a:lnTo>
                  <a:lnTo>
                    <a:pt x="480518" y="198831"/>
                  </a:lnTo>
                  <a:lnTo>
                    <a:pt x="480518" y="200228"/>
                  </a:lnTo>
                  <a:lnTo>
                    <a:pt x="480518" y="199530"/>
                  </a:lnTo>
                  <a:lnTo>
                    <a:pt x="480568" y="199530"/>
                  </a:lnTo>
                  <a:lnTo>
                    <a:pt x="480568" y="202959"/>
                  </a:lnTo>
                  <a:lnTo>
                    <a:pt x="480568" y="200876"/>
                  </a:lnTo>
                  <a:lnTo>
                    <a:pt x="480619" y="200876"/>
                  </a:lnTo>
                  <a:lnTo>
                    <a:pt x="480619" y="202959"/>
                  </a:lnTo>
                  <a:lnTo>
                    <a:pt x="480619" y="200876"/>
                  </a:lnTo>
                  <a:lnTo>
                    <a:pt x="480670" y="200876"/>
                  </a:lnTo>
                  <a:lnTo>
                    <a:pt x="480670" y="202260"/>
                  </a:lnTo>
                  <a:lnTo>
                    <a:pt x="480670" y="200876"/>
                  </a:lnTo>
                  <a:lnTo>
                    <a:pt x="480670" y="202260"/>
                  </a:lnTo>
                  <a:lnTo>
                    <a:pt x="480772" y="202260"/>
                  </a:lnTo>
                  <a:lnTo>
                    <a:pt x="480772" y="200876"/>
                  </a:lnTo>
                  <a:lnTo>
                    <a:pt x="480772" y="202959"/>
                  </a:lnTo>
                  <a:lnTo>
                    <a:pt x="480822" y="202959"/>
                  </a:lnTo>
                  <a:lnTo>
                    <a:pt x="480822" y="202260"/>
                  </a:lnTo>
                  <a:lnTo>
                    <a:pt x="480822" y="202959"/>
                  </a:lnTo>
                  <a:lnTo>
                    <a:pt x="480822" y="202260"/>
                  </a:lnTo>
                  <a:lnTo>
                    <a:pt x="480822" y="202959"/>
                  </a:lnTo>
                  <a:lnTo>
                    <a:pt x="480822" y="202260"/>
                  </a:lnTo>
                  <a:lnTo>
                    <a:pt x="480873" y="202260"/>
                  </a:lnTo>
                  <a:lnTo>
                    <a:pt x="480873" y="202959"/>
                  </a:lnTo>
                  <a:lnTo>
                    <a:pt x="480873" y="202260"/>
                  </a:lnTo>
                  <a:lnTo>
                    <a:pt x="480873" y="202959"/>
                  </a:lnTo>
                  <a:lnTo>
                    <a:pt x="480873" y="202260"/>
                  </a:lnTo>
                  <a:lnTo>
                    <a:pt x="480873" y="202959"/>
                  </a:lnTo>
                  <a:lnTo>
                    <a:pt x="480873" y="200876"/>
                  </a:lnTo>
                  <a:lnTo>
                    <a:pt x="480975" y="200876"/>
                  </a:lnTo>
                  <a:lnTo>
                    <a:pt x="480975" y="198831"/>
                  </a:lnTo>
                  <a:lnTo>
                    <a:pt x="481013" y="198831"/>
                  </a:lnTo>
                  <a:lnTo>
                    <a:pt x="481013" y="196113"/>
                  </a:lnTo>
                  <a:lnTo>
                    <a:pt x="481013" y="198831"/>
                  </a:lnTo>
                  <a:lnTo>
                    <a:pt x="481064" y="198831"/>
                  </a:lnTo>
                  <a:lnTo>
                    <a:pt x="481064" y="197447"/>
                  </a:lnTo>
                  <a:lnTo>
                    <a:pt x="481064" y="198831"/>
                  </a:lnTo>
                  <a:lnTo>
                    <a:pt x="481064" y="197447"/>
                  </a:lnTo>
                  <a:lnTo>
                    <a:pt x="481064" y="198831"/>
                  </a:lnTo>
                  <a:lnTo>
                    <a:pt x="481064" y="197447"/>
                  </a:lnTo>
                  <a:lnTo>
                    <a:pt x="481064" y="200228"/>
                  </a:lnTo>
                  <a:lnTo>
                    <a:pt x="481064" y="199530"/>
                  </a:lnTo>
                  <a:lnTo>
                    <a:pt x="481115" y="199530"/>
                  </a:lnTo>
                  <a:lnTo>
                    <a:pt x="481115" y="200228"/>
                  </a:lnTo>
                  <a:lnTo>
                    <a:pt x="481115" y="198831"/>
                  </a:lnTo>
                  <a:lnTo>
                    <a:pt x="481115" y="200228"/>
                  </a:lnTo>
                  <a:lnTo>
                    <a:pt x="481216" y="200228"/>
                  </a:lnTo>
                  <a:lnTo>
                    <a:pt x="481216" y="199530"/>
                  </a:lnTo>
                  <a:lnTo>
                    <a:pt x="481216" y="200876"/>
                  </a:lnTo>
                  <a:lnTo>
                    <a:pt x="481216" y="200228"/>
                  </a:lnTo>
                  <a:lnTo>
                    <a:pt x="481216" y="200876"/>
                  </a:lnTo>
                  <a:lnTo>
                    <a:pt x="481216" y="200228"/>
                  </a:lnTo>
                  <a:lnTo>
                    <a:pt x="481267" y="200228"/>
                  </a:lnTo>
                  <a:lnTo>
                    <a:pt x="481267" y="200876"/>
                  </a:lnTo>
                  <a:lnTo>
                    <a:pt x="481267" y="200228"/>
                  </a:lnTo>
                  <a:lnTo>
                    <a:pt x="481267" y="202260"/>
                  </a:lnTo>
                  <a:lnTo>
                    <a:pt x="481267" y="200876"/>
                  </a:lnTo>
                  <a:lnTo>
                    <a:pt x="481318" y="202260"/>
                  </a:lnTo>
                  <a:lnTo>
                    <a:pt x="481318" y="200876"/>
                  </a:lnTo>
                  <a:lnTo>
                    <a:pt x="481318" y="202959"/>
                  </a:lnTo>
                  <a:lnTo>
                    <a:pt x="481419" y="202959"/>
                  </a:lnTo>
                  <a:lnTo>
                    <a:pt x="481419" y="200876"/>
                  </a:lnTo>
                  <a:lnTo>
                    <a:pt x="481419" y="202260"/>
                  </a:lnTo>
                  <a:lnTo>
                    <a:pt x="481470" y="200876"/>
                  </a:lnTo>
                  <a:lnTo>
                    <a:pt x="481470" y="199530"/>
                  </a:lnTo>
                  <a:lnTo>
                    <a:pt x="481521" y="199530"/>
                  </a:lnTo>
                  <a:lnTo>
                    <a:pt x="481521" y="197447"/>
                  </a:lnTo>
                  <a:lnTo>
                    <a:pt x="481521" y="198831"/>
                  </a:lnTo>
                  <a:lnTo>
                    <a:pt x="481559" y="198831"/>
                  </a:lnTo>
                  <a:lnTo>
                    <a:pt x="481559" y="197447"/>
                  </a:lnTo>
                  <a:lnTo>
                    <a:pt x="481559" y="199530"/>
                  </a:lnTo>
                  <a:lnTo>
                    <a:pt x="481661" y="199530"/>
                  </a:lnTo>
                  <a:lnTo>
                    <a:pt x="481661" y="198831"/>
                  </a:lnTo>
                  <a:lnTo>
                    <a:pt x="481661" y="199530"/>
                  </a:lnTo>
                  <a:lnTo>
                    <a:pt x="481661" y="198831"/>
                  </a:lnTo>
                  <a:lnTo>
                    <a:pt x="481661" y="199530"/>
                  </a:lnTo>
                  <a:lnTo>
                    <a:pt x="481661" y="198831"/>
                  </a:lnTo>
                  <a:lnTo>
                    <a:pt x="481661" y="199530"/>
                  </a:lnTo>
                  <a:lnTo>
                    <a:pt x="481661" y="198831"/>
                  </a:lnTo>
                  <a:lnTo>
                    <a:pt x="481712" y="198831"/>
                  </a:lnTo>
                  <a:lnTo>
                    <a:pt x="481712" y="199530"/>
                  </a:lnTo>
                  <a:lnTo>
                    <a:pt x="481712" y="198831"/>
                  </a:lnTo>
                  <a:lnTo>
                    <a:pt x="481712" y="199530"/>
                  </a:lnTo>
                  <a:lnTo>
                    <a:pt x="481712" y="198831"/>
                  </a:lnTo>
                  <a:lnTo>
                    <a:pt x="481712" y="199530"/>
                  </a:lnTo>
                  <a:lnTo>
                    <a:pt x="481712" y="198831"/>
                  </a:lnTo>
                  <a:lnTo>
                    <a:pt x="481712" y="199530"/>
                  </a:lnTo>
                  <a:lnTo>
                    <a:pt x="481712" y="198831"/>
                  </a:lnTo>
                  <a:lnTo>
                    <a:pt x="481762" y="198831"/>
                  </a:lnTo>
                  <a:lnTo>
                    <a:pt x="481762" y="200228"/>
                  </a:lnTo>
                  <a:lnTo>
                    <a:pt x="481762" y="199530"/>
                  </a:lnTo>
                  <a:lnTo>
                    <a:pt x="481762" y="200228"/>
                  </a:lnTo>
                  <a:lnTo>
                    <a:pt x="481864" y="200876"/>
                  </a:lnTo>
                  <a:lnTo>
                    <a:pt x="481864" y="200228"/>
                  </a:lnTo>
                  <a:lnTo>
                    <a:pt x="481864" y="200876"/>
                  </a:lnTo>
                  <a:lnTo>
                    <a:pt x="481864" y="200228"/>
                  </a:lnTo>
                  <a:lnTo>
                    <a:pt x="481915" y="200228"/>
                  </a:lnTo>
                  <a:lnTo>
                    <a:pt x="481915" y="200876"/>
                  </a:lnTo>
                  <a:lnTo>
                    <a:pt x="481915" y="200228"/>
                  </a:lnTo>
                  <a:lnTo>
                    <a:pt x="481966" y="200228"/>
                  </a:lnTo>
                  <a:lnTo>
                    <a:pt x="481966" y="200876"/>
                  </a:lnTo>
                  <a:lnTo>
                    <a:pt x="481966" y="199530"/>
                  </a:lnTo>
                  <a:lnTo>
                    <a:pt x="481966" y="200228"/>
                  </a:lnTo>
                  <a:lnTo>
                    <a:pt x="481966" y="198831"/>
                  </a:lnTo>
                  <a:lnTo>
                    <a:pt x="482016" y="199530"/>
                  </a:lnTo>
                  <a:lnTo>
                    <a:pt x="482016" y="197447"/>
                  </a:lnTo>
                  <a:lnTo>
                    <a:pt x="482016" y="199530"/>
                  </a:lnTo>
                  <a:lnTo>
                    <a:pt x="482016" y="198831"/>
                  </a:lnTo>
                  <a:lnTo>
                    <a:pt x="482105" y="198831"/>
                  </a:lnTo>
                  <a:lnTo>
                    <a:pt x="482105" y="200228"/>
                  </a:lnTo>
                  <a:lnTo>
                    <a:pt x="482105" y="199530"/>
                  </a:lnTo>
                  <a:lnTo>
                    <a:pt x="482105" y="200228"/>
                  </a:lnTo>
                  <a:lnTo>
                    <a:pt x="482156" y="200228"/>
                  </a:lnTo>
                  <a:lnTo>
                    <a:pt x="482156" y="198831"/>
                  </a:lnTo>
                  <a:lnTo>
                    <a:pt x="482156" y="199530"/>
                  </a:lnTo>
                  <a:lnTo>
                    <a:pt x="482207" y="200228"/>
                  </a:lnTo>
                  <a:lnTo>
                    <a:pt x="482207" y="199530"/>
                  </a:lnTo>
                  <a:lnTo>
                    <a:pt x="482207" y="200228"/>
                  </a:lnTo>
                  <a:lnTo>
                    <a:pt x="482258" y="200228"/>
                  </a:lnTo>
                  <a:lnTo>
                    <a:pt x="482258" y="200876"/>
                  </a:lnTo>
                  <a:lnTo>
                    <a:pt x="482258" y="200228"/>
                  </a:lnTo>
                  <a:lnTo>
                    <a:pt x="482258" y="200876"/>
                  </a:lnTo>
                  <a:lnTo>
                    <a:pt x="482410" y="200876"/>
                  </a:lnTo>
                  <a:lnTo>
                    <a:pt x="482410" y="200228"/>
                  </a:lnTo>
                  <a:lnTo>
                    <a:pt x="482410" y="200876"/>
                  </a:lnTo>
                  <a:lnTo>
                    <a:pt x="482410" y="200228"/>
                  </a:lnTo>
                  <a:lnTo>
                    <a:pt x="482410" y="200876"/>
                  </a:lnTo>
                  <a:lnTo>
                    <a:pt x="482461" y="200228"/>
                  </a:lnTo>
                  <a:lnTo>
                    <a:pt x="482461" y="198831"/>
                  </a:lnTo>
                  <a:lnTo>
                    <a:pt x="482461" y="199530"/>
                  </a:lnTo>
                  <a:lnTo>
                    <a:pt x="482461" y="198831"/>
                  </a:lnTo>
                  <a:lnTo>
                    <a:pt x="482562" y="198831"/>
                  </a:lnTo>
                  <a:lnTo>
                    <a:pt x="482562" y="197447"/>
                  </a:lnTo>
                  <a:lnTo>
                    <a:pt x="482562" y="200228"/>
                  </a:lnTo>
                  <a:lnTo>
                    <a:pt x="482562" y="199530"/>
                  </a:lnTo>
                  <a:lnTo>
                    <a:pt x="482562" y="200228"/>
                  </a:lnTo>
                  <a:lnTo>
                    <a:pt x="482562" y="199530"/>
                  </a:lnTo>
                  <a:lnTo>
                    <a:pt x="482601" y="199530"/>
                  </a:lnTo>
                  <a:lnTo>
                    <a:pt x="482601" y="198831"/>
                  </a:lnTo>
                  <a:lnTo>
                    <a:pt x="482601" y="202260"/>
                  </a:lnTo>
                  <a:lnTo>
                    <a:pt x="482601" y="199530"/>
                  </a:lnTo>
                  <a:lnTo>
                    <a:pt x="482651" y="199530"/>
                  </a:lnTo>
                  <a:lnTo>
                    <a:pt x="482651" y="200228"/>
                  </a:lnTo>
                  <a:lnTo>
                    <a:pt x="482651" y="199530"/>
                  </a:lnTo>
                  <a:lnTo>
                    <a:pt x="482651" y="200228"/>
                  </a:lnTo>
                  <a:lnTo>
                    <a:pt x="482702" y="200228"/>
                  </a:lnTo>
                  <a:lnTo>
                    <a:pt x="482702" y="200876"/>
                  </a:lnTo>
                  <a:lnTo>
                    <a:pt x="482702" y="200228"/>
                  </a:lnTo>
                  <a:lnTo>
                    <a:pt x="482702" y="200876"/>
                  </a:lnTo>
                  <a:lnTo>
                    <a:pt x="482804" y="200228"/>
                  </a:lnTo>
                  <a:lnTo>
                    <a:pt x="482804" y="200876"/>
                  </a:lnTo>
                  <a:lnTo>
                    <a:pt x="482804" y="200228"/>
                  </a:lnTo>
                  <a:lnTo>
                    <a:pt x="482804" y="200876"/>
                  </a:lnTo>
                  <a:lnTo>
                    <a:pt x="482804" y="200228"/>
                  </a:lnTo>
                  <a:lnTo>
                    <a:pt x="482804" y="200876"/>
                  </a:lnTo>
                  <a:lnTo>
                    <a:pt x="482855" y="200876"/>
                  </a:lnTo>
                  <a:lnTo>
                    <a:pt x="482855" y="200228"/>
                  </a:lnTo>
                  <a:lnTo>
                    <a:pt x="482855" y="200876"/>
                  </a:lnTo>
                  <a:lnTo>
                    <a:pt x="482855" y="200228"/>
                  </a:lnTo>
                  <a:lnTo>
                    <a:pt x="482855" y="200876"/>
                  </a:lnTo>
                  <a:lnTo>
                    <a:pt x="482855" y="200228"/>
                  </a:lnTo>
                  <a:lnTo>
                    <a:pt x="482905" y="200228"/>
                  </a:lnTo>
                  <a:lnTo>
                    <a:pt x="482905" y="199530"/>
                  </a:lnTo>
                  <a:lnTo>
                    <a:pt x="482905" y="200228"/>
                  </a:lnTo>
                  <a:lnTo>
                    <a:pt x="482905" y="199530"/>
                  </a:lnTo>
                  <a:lnTo>
                    <a:pt x="483007" y="199530"/>
                  </a:lnTo>
                  <a:lnTo>
                    <a:pt x="483007" y="196799"/>
                  </a:lnTo>
                  <a:lnTo>
                    <a:pt x="483058" y="197447"/>
                  </a:lnTo>
                  <a:lnTo>
                    <a:pt x="483058" y="199530"/>
                  </a:lnTo>
                  <a:lnTo>
                    <a:pt x="483058" y="198831"/>
                  </a:lnTo>
                  <a:lnTo>
                    <a:pt x="483058" y="199530"/>
                  </a:lnTo>
                  <a:lnTo>
                    <a:pt x="483058" y="197447"/>
                  </a:lnTo>
                  <a:lnTo>
                    <a:pt x="483058" y="200228"/>
                  </a:lnTo>
                  <a:lnTo>
                    <a:pt x="483108" y="200228"/>
                  </a:lnTo>
                  <a:lnTo>
                    <a:pt x="483108" y="200876"/>
                  </a:lnTo>
                  <a:lnTo>
                    <a:pt x="483108" y="199530"/>
                  </a:lnTo>
                  <a:lnTo>
                    <a:pt x="483108" y="200228"/>
                  </a:lnTo>
                  <a:lnTo>
                    <a:pt x="483108" y="199530"/>
                  </a:lnTo>
                  <a:lnTo>
                    <a:pt x="483108" y="200876"/>
                  </a:lnTo>
                  <a:lnTo>
                    <a:pt x="483147" y="200876"/>
                  </a:lnTo>
                  <a:lnTo>
                    <a:pt x="483147" y="200228"/>
                  </a:lnTo>
                  <a:lnTo>
                    <a:pt x="483248" y="200876"/>
                  </a:lnTo>
                  <a:lnTo>
                    <a:pt x="483248" y="200228"/>
                  </a:lnTo>
                  <a:lnTo>
                    <a:pt x="483248" y="200876"/>
                  </a:lnTo>
                  <a:lnTo>
                    <a:pt x="483248" y="200228"/>
                  </a:lnTo>
                  <a:lnTo>
                    <a:pt x="483248" y="202260"/>
                  </a:lnTo>
                  <a:lnTo>
                    <a:pt x="483248" y="200876"/>
                  </a:lnTo>
                  <a:lnTo>
                    <a:pt x="483299" y="202260"/>
                  </a:lnTo>
                  <a:lnTo>
                    <a:pt x="483299" y="200876"/>
                  </a:lnTo>
                  <a:lnTo>
                    <a:pt x="483299" y="202260"/>
                  </a:lnTo>
                  <a:lnTo>
                    <a:pt x="483350" y="200876"/>
                  </a:lnTo>
                  <a:lnTo>
                    <a:pt x="483350" y="200228"/>
                  </a:lnTo>
                  <a:lnTo>
                    <a:pt x="483350" y="200876"/>
                  </a:lnTo>
                  <a:lnTo>
                    <a:pt x="483350" y="200228"/>
                  </a:lnTo>
                  <a:lnTo>
                    <a:pt x="483350" y="200876"/>
                  </a:lnTo>
                  <a:lnTo>
                    <a:pt x="483350" y="200228"/>
                  </a:lnTo>
                  <a:lnTo>
                    <a:pt x="483451" y="200228"/>
                  </a:lnTo>
                  <a:lnTo>
                    <a:pt x="483451" y="199530"/>
                  </a:lnTo>
                  <a:lnTo>
                    <a:pt x="483502" y="199530"/>
                  </a:lnTo>
                  <a:lnTo>
                    <a:pt x="483502" y="198831"/>
                  </a:lnTo>
                  <a:lnTo>
                    <a:pt x="483502" y="199530"/>
                  </a:lnTo>
                  <a:lnTo>
                    <a:pt x="483502" y="198831"/>
                  </a:lnTo>
                  <a:lnTo>
                    <a:pt x="483502" y="199530"/>
                  </a:lnTo>
                  <a:lnTo>
                    <a:pt x="483502" y="198831"/>
                  </a:lnTo>
                  <a:lnTo>
                    <a:pt x="483502" y="199530"/>
                  </a:lnTo>
                  <a:lnTo>
                    <a:pt x="483502" y="198831"/>
                  </a:lnTo>
                  <a:lnTo>
                    <a:pt x="483502" y="200228"/>
                  </a:lnTo>
                  <a:lnTo>
                    <a:pt x="483553" y="199530"/>
                  </a:lnTo>
                  <a:lnTo>
                    <a:pt x="483553" y="200876"/>
                  </a:lnTo>
                  <a:lnTo>
                    <a:pt x="483604" y="200876"/>
                  </a:lnTo>
                  <a:lnTo>
                    <a:pt x="483604" y="199530"/>
                  </a:lnTo>
                  <a:lnTo>
                    <a:pt x="483604" y="200876"/>
                  </a:lnTo>
                  <a:lnTo>
                    <a:pt x="483693" y="200876"/>
                  </a:lnTo>
                  <a:lnTo>
                    <a:pt x="483693" y="202260"/>
                  </a:lnTo>
                  <a:lnTo>
                    <a:pt x="483743" y="202260"/>
                  </a:lnTo>
                  <a:lnTo>
                    <a:pt x="483743" y="200876"/>
                  </a:lnTo>
                  <a:lnTo>
                    <a:pt x="483743" y="202260"/>
                  </a:lnTo>
                  <a:lnTo>
                    <a:pt x="483743" y="200876"/>
                  </a:lnTo>
                  <a:lnTo>
                    <a:pt x="483794" y="200876"/>
                  </a:lnTo>
                  <a:lnTo>
                    <a:pt x="483794" y="202260"/>
                  </a:lnTo>
                  <a:lnTo>
                    <a:pt x="483794" y="200876"/>
                  </a:lnTo>
                  <a:lnTo>
                    <a:pt x="483845" y="200876"/>
                  </a:lnTo>
                  <a:lnTo>
                    <a:pt x="483845" y="200228"/>
                  </a:lnTo>
                  <a:lnTo>
                    <a:pt x="483845" y="200876"/>
                  </a:lnTo>
                  <a:lnTo>
                    <a:pt x="483845" y="200228"/>
                  </a:lnTo>
                  <a:lnTo>
                    <a:pt x="483845" y="200876"/>
                  </a:lnTo>
                  <a:lnTo>
                    <a:pt x="483845" y="200228"/>
                  </a:lnTo>
                  <a:lnTo>
                    <a:pt x="483947" y="200228"/>
                  </a:lnTo>
                  <a:lnTo>
                    <a:pt x="483947" y="199530"/>
                  </a:lnTo>
                  <a:lnTo>
                    <a:pt x="483947" y="200228"/>
                  </a:lnTo>
                  <a:lnTo>
                    <a:pt x="483947" y="198831"/>
                  </a:lnTo>
                  <a:lnTo>
                    <a:pt x="483947" y="199530"/>
                  </a:lnTo>
                  <a:lnTo>
                    <a:pt x="483947" y="198831"/>
                  </a:lnTo>
                  <a:lnTo>
                    <a:pt x="483997" y="198831"/>
                  </a:lnTo>
                  <a:lnTo>
                    <a:pt x="483997" y="196799"/>
                  </a:lnTo>
                  <a:lnTo>
                    <a:pt x="483997" y="198831"/>
                  </a:lnTo>
                  <a:lnTo>
                    <a:pt x="483997" y="197447"/>
                  </a:lnTo>
                  <a:lnTo>
                    <a:pt x="484048" y="197447"/>
                  </a:lnTo>
                  <a:lnTo>
                    <a:pt x="484048" y="196113"/>
                  </a:lnTo>
                  <a:lnTo>
                    <a:pt x="484048" y="199530"/>
                  </a:lnTo>
                  <a:lnTo>
                    <a:pt x="484150" y="199530"/>
                  </a:lnTo>
                  <a:lnTo>
                    <a:pt x="484150" y="198831"/>
                  </a:lnTo>
                  <a:lnTo>
                    <a:pt x="484150" y="200228"/>
                  </a:lnTo>
                  <a:lnTo>
                    <a:pt x="484150" y="199530"/>
                  </a:lnTo>
                  <a:lnTo>
                    <a:pt x="484188" y="199530"/>
                  </a:lnTo>
                  <a:lnTo>
                    <a:pt x="484188" y="200228"/>
                  </a:lnTo>
                  <a:lnTo>
                    <a:pt x="484188" y="199530"/>
                  </a:lnTo>
                  <a:lnTo>
                    <a:pt x="484188" y="200876"/>
                  </a:lnTo>
                  <a:lnTo>
                    <a:pt x="484188" y="200228"/>
                  </a:lnTo>
                  <a:lnTo>
                    <a:pt x="484188" y="200876"/>
                  </a:lnTo>
                  <a:lnTo>
                    <a:pt x="484239" y="200228"/>
                  </a:lnTo>
                  <a:lnTo>
                    <a:pt x="484239" y="200876"/>
                  </a:lnTo>
                  <a:lnTo>
                    <a:pt x="484239" y="200228"/>
                  </a:lnTo>
                  <a:lnTo>
                    <a:pt x="484239" y="200876"/>
                  </a:lnTo>
                  <a:lnTo>
                    <a:pt x="484239" y="200228"/>
                  </a:lnTo>
                  <a:lnTo>
                    <a:pt x="484239" y="200876"/>
                  </a:lnTo>
                  <a:lnTo>
                    <a:pt x="484239" y="200228"/>
                  </a:lnTo>
                  <a:lnTo>
                    <a:pt x="484239" y="200876"/>
                  </a:lnTo>
                  <a:lnTo>
                    <a:pt x="484239" y="200228"/>
                  </a:lnTo>
                  <a:lnTo>
                    <a:pt x="484290" y="200228"/>
                  </a:lnTo>
                  <a:lnTo>
                    <a:pt x="484290" y="202260"/>
                  </a:lnTo>
                  <a:lnTo>
                    <a:pt x="484290" y="200876"/>
                  </a:lnTo>
                  <a:lnTo>
                    <a:pt x="484290" y="202260"/>
                  </a:lnTo>
                  <a:lnTo>
                    <a:pt x="484290" y="200876"/>
                  </a:lnTo>
                  <a:lnTo>
                    <a:pt x="484391" y="200876"/>
                  </a:lnTo>
                  <a:lnTo>
                    <a:pt x="484391" y="202260"/>
                  </a:lnTo>
                  <a:lnTo>
                    <a:pt x="484391" y="200228"/>
                  </a:lnTo>
                  <a:lnTo>
                    <a:pt x="484391" y="200876"/>
                  </a:lnTo>
                  <a:lnTo>
                    <a:pt x="484391" y="200228"/>
                  </a:lnTo>
                  <a:lnTo>
                    <a:pt x="484442" y="200228"/>
                  </a:lnTo>
                  <a:lnTo>
                    <a:pt x="484442" y="200876"/>
                  </a:lnTo>
                  <a:lnTo>
                    <a:pt x="484442" y="199530"/>
                  </a:lnTo>
                  <a:lnTo>
                    <a:pt x="484442" y="200228"/>
                  </a:lnTo>
                  <a:lnTo>
                    <a:pt x="484442" y="199530"/>
                  </a:lnTo>
                  <a:lnTo>
                    <a:pt x="484493" y="199530"/>
                  </a:lnTo>
                  <a:lnTo>
                    <a:pt x="484493" y="197447"/>
                  </a:lnTo>
                  <a:lnTo>
                    <a:pt x="484493" y="198831"/>
                  </a:lnTo>
                  <a:lnTo>
                    <a:pt x="484493" y="197447"/>
                  </a:lnTo>
                  <a:lnTo>
                    <a:pt x="484493" y="198831"/>
                  </a:lnTo>
                  <a:lnTo>
                    <a:pt x="484493" y="197447"/>
                  </a:lnTo>
                  <a:lnTo>
                    <a:pt x="484594" y="196799"/>
                  </a:lnTo>
                  <a:lnTo>
                    <a:pt x="484594" y="199530"/>
                  </a:lnTo>
                  <a:lnTo>
                    <a:pt x="484594" y="198831"/>
                  </a:lnTo>
                  <a:lnTo>
                    <a:pt x="484645" y="197447"/>
                  </a:lnTo>
                  <a:lnTo>
                    <a:pt x="484645" y="199530"/>
                  </a:lnTo>
                  <a:lnTo>
                    <a:pt x="484645" y="198831"/>
                  </a:lnTo>
                  <a:lnTo>
                    <a:pt x="484696" y="198831"/>
                  </a:lnTo>
                  <a:lnTo>
                    <a:pt x="484696" y="199530"/>
                  </a:lnTo>
                  <a:lnTo>
                    <a:pt x="484734" y="199530"/>
                  </a:lnTo>
                  <a:lnTo>
                    <a:pt x="484836" y="200228"/>
                  </a:lnTo>
                  <a:lnTo>
                    <a:pt x="484887" y="199530"/>
                  </a:lnTo>
                  <a:lnTo>
                    <a:pt x="484887" y="200228"/>
                  </a:lnTo>
                  <a:lnTo>
                    <a:pt x="484887" y="199530"/>
                  </a:lnTo>
                  <a:lnTo>
                    <a:pt x="484937" y="200228"/>
                  </a:lnTo>
                  <a:lnTo>
                    <a:pt x="484937" y="198831"/>
                  </a:lnTo>
                  <a:lnTo>
                    <a:pt x="484937" y="199530"/>
                  </a:lnTo>
                  <a:lnTo>
                    <a:pt x="484937" y="198831"/>
                  </a:lnTo>
                  <a:lnTo>
                    <a:pt x="485039" y="198831"/>
                  </a:lnTo>
                  <a:lnTo>
                    <a:pt x="485039" y="199530"/>
                  </a:lnTo>
                  <a:lnTo>
                    <a:pt x="485039" y="197447"/>
                  </a:lnTo>
                  <a:lnTo>
                    <a:pt x="485090" y="197447"/>
                  </a:lnTo>
                  <a:lnTo>
                    <a:pt x="485090" y="200228"/>
                  </a:lnTo>
                  <a:lnTo>
                    <a:pt x="485090" y="198831"/>
                  </a:lnTo>
                  <a:lnTo>
                    <a:pt x="485090" y="199530"/>
                  </a:lnTo>
                  <a:lnTo>
                    <a:pt x="485141" y="199530"/>
                  </a:lnTo>
                  <a:lnTo>
                    <a:pt x="485141" y="200228"/>
                  </a:lnTo>
                  <a:lnTo>
                    <a:pt x="485141" y="199530"/>
                  </a:lnTo>
                  <a:lnTo>
                    <a:pt x="485141" y="200228"/>
                  </a:lnTo>
                  <a:lnTo>
                    <a:pt x="485191" y="200228"/>
                  </a:lnTo>
                  <a:lnTo>
                    <a:pt x="485191" y="200876"/>
                  </a:lnTo>
                  <a:lnTo>
                    <a:pt x="485191" y="200228"/>
                  </a:lnTo>
                  <a:lnTo>
                    <a:pt x="485191" y="200876"/>
                  </a:lnTo>
                  <a:lnTo>
                    <a:pt x="485191" y="200228"/>
                  </a:lnTo>
                  <a:lnTo>
                    <a:pt x="485280" y="200228"/>
                  </a:lnTo>
                  <a:lnTo>
                    <a:pt x="485280" y="200876"/>
                  </a:lnTo>
                  <a:lnTo>
                    <a:pt x="485280" y="200228"/>
                  </a:lnTo>
                  <a:lnTo>
                    <a:pt x="485280" y="200876"/>
                  </a:lnTo>
                  <a:lnTo>
                    <a:pt x="485331" y="200876"/>
                  </a:lnTo>
                  <a:lnTo>
                    <a:pt x="485331" y="200228"/>
                  </a:lnTo>
                  <a:lnTo>
                    <a:pt x="485331" y="200876"/>
                  </a:lnTo>
                  <a:lnTo>
                    <a:pt x="485331" y="200228"/>
                  </a:lnTo>
                  <a:lnTo>
                    <a:pt x="485331" y="200876"/>
                  </a:lnTo>
                  <a:lnTo>
                    <a:pt x="485382" y="200228"/>
                  </a:lnTo>
                  <a:lnTo>
                    <a:pt x="485382" y="200876"/>
                  </a:lnTo>
                  <a:lnTo>
                    <a:pt x="485382" y="200228"/>
                  </a:lnTo>
                  <a:lnTo>
                    <a:pt x="485382" y="200876"/>
                  </a:lnTo>
                  <a:lnTo>
                    <a:pt x="485382" y="200228"/>
                  </a:lnTo>
                  <a:lnTo>
                    <a:pt x="485382" y="200876"/>
                  </a:lnTo>
                  <a:lnTo>
                    <a:pt x="485382" y="200228"/>
                  </a:lnTo>
                  <a:lnTo>
                    <a:pt x="485433" y="200228"/>
                  </a:lnTo>
                  <a:lnTo>
                    <a:pt x="485433" y="199530"/>
                  </a:lnTo>
                  <a:lnTo>
                    <a:pt x="485433" y="200228"/>
                  </a:lnTo>
                  <a:lnTo>
                    <a:pt x="485433" y="199530"/>
                  </a:lnTo>
                  <a:lnTo>
                    <a:pt x="485433" y="200228"/>
                  </a:lnTo>
                  <a:lnTo>
                    <a:pt x="485433" y="198831"/>
                  </a:lnTo>
                  <a:lnTo>
                    <a:pt x="485433" y="200876"/>
                  </a:lnTo>
                  <a:lnTo>
                    <a:pt x="485534" y="200876"/>
                  </a:lnTo>
                  <a:lnTo>
                    <a:pt x="485534" y="199530"/>
                  </a:lnTo>
                  <a:lnTo>
                    <a:pt x="485534" y="202959"/>
                  </a:lnTo>
                  <a:lnTo>
                    <a:pt x="485534" y="202260"/>
                  </a:lnTo>
                  <a:lnTo>
                    <a:pt x="485585" y="202260"/>
                  </a:lnTo>
                  <a:lnTo>
                    <a:pt x="485585" y="200876"/>
                  </a:lnTo>
                  <a:lnTo>
                    <a:pt x="485585" y="202959"/>
                  </a:lnTo>
                  <a:lnTo>
                    <a:pt x="485585" y="202260"/>
                  </a:lnTo>
                  <a:lnTo>
                    <a:pt x="485737" y="202260"/>
                  </a:lnTo>
                  <a:lnTo>
                    <a:pt x="485737" y="202959"/>
                  </a:lnTo>
                  <a:lnTo>
                    <a:pt x="485737" y="202260"/>
                  </a:lnTo>
                  <a:lnTo>
                    <a:pt x="485737" y="202959"/>
                  </a:lnTo>
                  <a:lnTo>
                    <a:pt x="485737" y="202260"/>
                  </a:lnTo>
                  <a:lnTo>
                    <a:pt x="485776" y="202260"/>
                  </a:lnTo>
                  <a:lnTo>
                    <a:pt x="485776" y="200876"/>
                  </a:lnTo>
                  <a:lnTo>
                    <a:pt x="485776" y="202260"/>
                  </a:lnTo>
                  <a:lnTo>
                    <a:pt x="485776" y="200876"/>
                  </a:lnTo>
                  <a:lnTo>
                    <a:pt x="485776" y="202260"/>
                  </a:lnTo>
                  <a:lnTo>
                    <a:pt x="485776" y="200876"/>
                  </a:lnTo>
                  <a:lnTo>
                    <a:pt x="485776" y="202260"/>
                  </a:lnTo>
                  <a:lnTo>
                    <a:pt x="485826" y="200876"/>
                  </a:lnTo>
                  <a:lnTo>
                    <a:pt x="485826" y="200228"/>
                  </a:lnTo>
                  <a:lnTo>
                    <a:pt x="485877" y="200228"/>
                  </a:lnTo>
                  <a:lnTo>
                    <a:pt x="485877" y="199530"/>
                  </a:lnTo>
                  <a:lnTo>
                    <a:pt x="485877" y="200228"/>
                  </a:lnTo>
                  <a:lnTo>
                    <a:pt x="485877" y="198831"/>
                  </a:lnTo>
                  <a:lnTo>
                    <a:pt x="485979" y="198831"/>
                  </a:lnTo>
                  <a:lnTo>
                    <a:pt x="485979" y="197447"/>
                  </a:lnTo>
                  <a:lnTo>
                    <a:pt x="485979" y="198831"/>
                  </a:lnTo>
                  <a:lnTo>
                    <a:pt x="485979" y="196799"/>
                  </a:lnTo>
                  <a:lnTo>
                    <a:pt x="485979" y="197447"/>
                  </a:lnTo>
                  <a:lnTo>
                    <a:pt x="486030" y="197447"/>
                  </a:lnTo>
                  <a:lnTo>
                    <a:pt x="486030" y="198831"/>
                  </a:lnTo>
                  <a:lnTo>
                    <a:pt x="486030" y="196799"/>
                  </a:lnTo>
                  <a:lnTo>
                    <a:pt x="486030" y="200228"/>
                  </a:lnTo>
                  <a:lnTo>
                    <a:pt x="486080" y="200228"/>
                  </a:lnTo>
                  <a:lnTo>
                    <a:pt x="486080" y="199530"/>
                  </a:lnTo>
                  <a:lnTo>
                    <a:pt x="486080" y="200876"/>
                  </a:lnTo>
                  <a:lnTo>
                    <a:pt x="486080" y="200228"/>
                  </a:lnTo>
                  <a:lnTo>
                    <a:pt x="486080" y="200876"/>
                  </a:lnTo>
                  <a:lnTo>
                    <a:pt x="486080" y="200228"/>
                  </a:lnTo>
                  <a:lnTo>
                    <a:pt x="486080" y="200876"/>
                  </a:lnTo>
                  <a:lnTo>
                    <a:pt x="486182" y="200876"/>
                  </a:lnTo>
                  <a:lnTo>
                    <a:pt x="486182" y="202260"/>
                  </a:lnTo>
                  <a:lnTo>
                    <a:pt x="486182" y="200876"/>
                  </a:lnTo>
                  <a:lnTo>
                    <a:pt x="486233" y="200876"/>
                  </a:lnTo>
                  <a:lnTo>
                    <a:pt x="486233" y="202260"/>
                  </a:lnTo>
                  <a:lnTo>
                    <a:pt x="486233" y="200876"/>
                  </a:lnTo>
                  <a:lnTo>
                    <a:pt x="486233" y="202260"/>
                  </a:lnTo>
                  <a:lnTo>
                    <a:pt x="486233" y="200876"/>
                  </a:lnTo>
                  <a:lnTo>
                    <a:pt x="486233" y="202260"/>
                  </a:lnTo>
                  <a:lnTo>
                    <a:pt x="486233" y="200876"/>
                  </a:lnTo>
                  <a:lnTo>
                    <a:pt x="486283" y="200876"/>
                  </a:lnTo>
                  <a:lnTo>
                    <a:pt x="486283" y="202260"/>
                  </a:lnTo>
                  <a:lnTo>
                    <a:pt x="486283" y="200876"/>
                  </a:lnTo>
                  <a:lnTo>
                    <a:pt x="486283" y="202260"/>
                  </a:lnTo>
                  <a:lnTo>
                    <a:pt x="486283" y="200876"/>
                  </a:lnTo>
                  <a:lnTo>
                    <a:pt x="486283" y="202260"/>
                  </a:lnTo>
                  <a:lnTo>
                    <a:pt x="486283" y="200876"/>
                  </a:lnTo>
                  <a:lnTo>
                    <a:pt x="486322" y="200876"/>
                  </a:lnTo>
                  <a:lnTo>
                    <a:pt x="486322" y="202260"/>
                  </a:lnTo>
                  <a:lnTo>
                    <a:pt x="486322" y="200876"/>
                  </a:lnTo>
                  <a:lnTo>
                    <a:pt x="486423" y="200876"/>
                  </a:lnTo>
                  <a:lnTo>
                    <a:pt x="486423" y="199530"/>
                  </a:lnTo>
                  <a:lnTo>
                    <a:pt x="486423" y="200228"/>
                  </a:lnTo>
                  <a:lnTo>
                    <a:pt x="486423" y="199530"/>
                  </a:lnTo>
                  <a:lnTo>
                    <a:pt x="486474" y="198831"/>
                  </a:lnTo>
                  <a:lnTo>
                    <a:pt x="486474" y="197447"/>
                  </a:lnTo>
                  <a:lnTo>
                    <a:pt x="486474" y="199530"/>
                  </a:lnTo>
                  <a:lnTo>
                    <a:pt x="486474" y="198831"/>
                  </a:lnTo>
                  <a:lnTo>
                    <a:pt x="486525" y="198831"/>
                  </a:lnTo>
                  <a:lnTo>
                    <a:pt x="486525" y="200228"/>
                  </a:lnTo>
                  <a:lnTo>
                    <a:pt x="486626" y="200228"/>
                  </a:lnTo>
                  <a:lnTo>
                    <a:pt x="486626" y="199530"/>
                  </a:lnTo>
                  <a:lnTo>
                    <a:pt x="486626" y="200876"/>
                  </a:lnTo>
                  <a:lnTo>
                    <a:pt x="486626" y="200228"/>
                  </a:lnTo>
                  <a:lnTo>
                    <a:pt x="486626" y="200876"/>
                  </a:lnTo>
                  <a:lnTo>
                    <a:pt x="486626" y="200228"/>
                  </a:lnTo>
                  <a:lnTo>
                    <a:pt x="486626" y="200876"/>
                  </a:lnTo>
                  <a:lnTo>
                    <a:pt x="486677" y="200876"/>
                  </a:lnTo>
                  <a:lnTo>
                    <a:pt x="486677" y="202260"/>
                  </a:lnTo>
                  <a:lnTo>
                    <a:pt x="486677" y="200876"/>
                  </a:lnTo>
                  <a:lnTo>
                    <a:pt x="486779" y="200876"/>
                  </a:lnTo>
                  <a:lnTo>
                    <a:pt x="486779" y="202260"/>
                  </a:lnTo>
                  <a:lnTo>
                    <a:pt x="486868" y="202260"/>
                  </a:lnTo>
                  <a:lnTo>
                    <a:pt x="486868" y="200876"/>
                  </a:lnTo>
                  <a:lnTo>
                    <a:pt x="486868" y="202260"/>
                  </a:lnTo>
                  <a:lnTo>
                    <a:pt x="486868" y="200228"/>
                  </a:lnTo>
                  <a:lnTo>
                    <a:pt x="486918" y="200228"/>
                  </a:lnTo>
                  <a:lnTo>
                    <a:pt x="486918" y="198831"/>
                  </a:lnTo>
                  <a:lnTo>
                    <a:pt x="486918" y="199530"/>
                  </a:lnTo>
                  <a:lnTo>
                    <a:pt x="486918" y="198831"/>
                  </a:lnTo>
                  <a:lnTo>
                    <a:pt x="486969" y="198831"/>
                  </a:lnTo>
                  <a:lnTo>
                    <a:pt x="486969" y="196799"/>
                  </a:lnTo>
                  <a:lnTo>
                    <a:pt x="486969" y="198831"/>
                  </a:lnTo>
                  <a:lnTo>
                    <a:pt x="486969" y="197447"/>
                  </a:lnTo>
                  <a:lnTo>
                    <a:pt x="487020" y="197447"/>
                  </a:lnTo>
                  <a:lnTo>
                    <a:pt x="487020" y="196113"/>
                  </a:lnTo>
                  <a:lnTo>
                    <a:pt x="487020" y="200228"/>
                  </a:lnTo>
                  <a:lnTo>
                    <a:pt x="487020" y="199530"/>
                  </a:lnTo>
                  <a:lnTo>
                    <a:pt x="487122" y="198831"/>
                  </a:lnTo>
                  <a:lnTo>
                    <a:pt x="487122" y="200228"/>
                  </a:lnTo>
                  <a:lnTo>
                    <a:pt x="487122" y="199530"/>
                  </a:lnTo>
                  <a:lnTo>
                    <a:pt x="487172" y="199530"/>
                  </a:lnTo>
                  <a:lnTo>
                    <a:pt x="487172" y="200876"/>
                  </a:lnTo>
                  <a:lnTo>
                    <a:pt x="487172" y="200228"/>
                  </a:lnTo>
                  <a:lnTo>
                    <a:pt x="487172" y="200876"/>
                  </a:lnTo>
                  <a:lnTo>
                    <a:pt x="487172" y="200228"/>
                  </a:lnTo>
                  <a:lnTo>
                    <a:pt x="487223" y="200228"/>
                  </a:lnTo>
                  <a:lnTo>
                    <a:pt x="487223" y="200876"/>
                  </a:lnTo>
                  <a:lnTo>
                    <a:pt x="487223" y="200228"/>
                  </a:lnTo>
                  <a:lnTo>
                    <a:pt x="487223" y="200876"/>
                  </a:lnTo>
                  <a:lnTo>
                    <a:pt x="487325" y="200876"/>
                  </a:lnTo>
                  <a:lnTo>
                    <a:pt x="487325" y="202260"/>
                  </a:lnTo>
                  <a:lnTo>
                    <a:pt x="487363" y="202260"/>
                  </a:lnTo>
                  <a:lnTo>
                    <a:pt x="487363" y="200228"/>
                  </a:lnTo>
                  <a:lnTo>
                    <a:pt x="487363" y="200876"/>
                  </a:lnTo>
                  <a:lnTo>
                    <a:pt x="487363" y="200228"/>
                  </a:lnTo>
                  <a:lnTo>
                    <a:pt x="487363" y="200876"/>
                  </a:lnTo>
                  <a:lnTo>
                    <a:pt x="487363" y="200228"/>
                  </a:lnTo>
                  <a:lnTo>
                    <a:pt x="487414" y="200228"/>
                  </a:lnTo>
                  <a:lnTo>
                    <a:pt x="487414" y="198831"/>
                  </a:lnTo>
                  <a:lnTo>
                    <a:pt x="487465" y="198831"/>
                  </a:lnTo>
                  <a:lnTo>
                    <a:pt x="487465" y="197447"/>
                  </a:lnTo>
                  <a:lnTo>
                    <a:pt x="487465" y="199530"/>
                  </a:lnTo>
                  <a:lnTo>
                    <a:pt x="487465" y="196799"/>
                  </a:lnTo>
                  <a:lnTo>
                    <a:pt x="487465" y="197447"/>
                  </a:lnTo>
                  <a:lnTo>
                    <a:pt x="487566" y="197447"/>
                  </a:lnTo>
                  <a:lnTo>
                    <a:pt x="487566" y="200228"/>
                  </a:lnTo>
                  <a:lnTo>
                    <a:pt x="487566" y="198831"/>
                  </a:lnTo>
                  <a:lnTo>
                    <a:pt x="487566" y="199530"/>
                  </a:lnTo>
                  <a:lnTo>
                    <a:pt x="487617" y="200228"/>
                  </a:lnTo>
                  <a:lnTo>
                    <a:pt x="487617" y="199530"/>
                  </a:lnTo>
                  <a:lnTo>
                    <a:pt x="487668" y="199530"/>
                  </a:lnTo>
                  <a:lnTo>
                    <a:pt x="487668" y="200228"/>
                  </a:lnTo>
                  <a:lnTo>
                    <a:pt x="487668" y="199530"/>
                  </a:lnTo>
                  <a:lnTo>
                    <a:pt x="487668" y="200228"/>
                  </a:lnTo>
                  <a:lnTo>
                    <a:pt x="487668" y="199530"/>
                  </a:lnTo>
                  <a:lnTo>
                    <a:pt x="487668" y="200228"/>
                  </a:lnTo>
                  <a:lnTo>
                    <a:pt x="487668" y="199530"/>
                  </a:lnTo>
                  <a:lnTo>
                    <a:pt x="487668" y="200228"/>
                  </a:lnTo>
                  <a:lnTo>
                    <a:pt x="487668" y="199530"/>
                  </a:lnTo>
                  <a:lnTo>
                    <a:pt x="487769" y="199530"/>
                  </a:lnTo>
                  <a:lnTo>
                    <a:pt x="487769" y="200228"/>
                  </a:lnTo>
                  <a:lnTo>
                    <a:pt x="487769" y="199530"/>
                  </a:lnTo>
                  <a:lnTo>
                    <a:pt x="487769" y="200228"/>
                  </a:lnTo>
                  <a:lnTo>
                    <a:pt x="487769" y="199530"/>
                  </a:lnTo>
                  <a:lnTo>
                    <a:pt x="487769" y="200876"/>
                  </a:lnTo>
                  <a:lnTo>
                    <a:pt x="487769" y="200228"/>
                  </a:lnTo>
                  <a:lnTo>
                    <a:pt x="487820" y="200228"/>
                  </a:lnTo>
                  <a:lnTo>
                    <a:pt x="487820" y="200876"/>
                  </a:lnTo>
                  <a:lnTo>
                    <a:pt x="487820" y="200228"/>
                  </a:lnTo>
                  <a:lnTo>
                    <a:pt x="487820" y="200876"/>
                  </a:lnTo>
                  <a:lnTo>
                    <a:pt x="487871" y="200228"/>
                  </a:lnTo>
                  <a:lnTo>
                    <a:pt x="487871" y="200876"/>
                  </a:lnTo>
                  <a:lnTo>
                    <a:pt x="487871" y="199530"/>
                  </a:lnTo>
                  <a:lnTo>
                    <a:pt x="487871" y="200228"/>
                  </a:lnTo>
                  <a:lnTo>
                    <a:pt x="487871" y="199530"/>
                  </a:lnTo>
                  <a:lnTo>
                    <a:pt x="487909" y="199530"/>
                  </a:lnTo>
                  <a:lnTo>
                    <a:pt x="487909" y="198831"/>
                  </a:lnTo>
                  <a:lnTo>
                    <a:pt x="487909" y="199530"/>
                  </a:lnTo>
                  <a:lnTo>
                    <a:pt x="487909" y="198831"/>
                  </a:lnTo>
                  <a:lnTo>
                    <a:pt x="487909" y="199530"/>
                  </a:lnTo>
                  <a:lnTo>
                    <a:pt x="487909" y="197447"/>
                  </a:lnTo>
                  <a:lnTo>
                    <a:pt x="488011" y="197447"/>
                  </a:lnTo>
                  <a:lnTo>
                    <a:pt x="488011" y="200228"/>
                  </a:lnTo>
                  <a:lnTo>
                    <a:pt x="488011" y="197447"/>
                  </a:lnTo>
                  <a:lnTo>
                    <a:pt x="488011" y="200228"/>
                  </a:lnTo>
                  <a:lnTo>
                    <a:pt x="488062" y="200228"/>
                  </a:lnTo>
                  <a:lnTo>
                    <a:pt x="488062" y="200876"/>
                  </a:lnTo>
                  <a:lnTo>
                    <a:pt x="488062" y="200228"/>
                  </a:lnTo>
                  <a:lnTo>
                    <a:pt x="488062" y="200876"/>
                  </a:lnTo>
                  <a:lnTo>
                    <a:pt x="488062" y="199530"/>
                  </a:lnTo>
                  <a:lnTo>
                    <a:pt x="488062" y="200876"/>
                  </a:lnTo>
                  <a:lnTo>
                    <a:pt x="488112" y="200228"/>
                  </a:lnTo>
                  <a:lnTo>
                    <a:pt x="488112" y="200876"/>
                  </a:lnTo>
                  <a:lnTo>
                    <a:pt x="488112" y="199530"/>
                  </a:lnTo>
                  <a:lnTo>
                    <a:pt x="488112" y="200876"/>
                  </a:lnTo>
                  <a:lnTo>
                    <a:pt x="488214" y="200876"/>
                  </a:lnTo>
                  <a:lnTo>
                    <a:pt x="488214" y="200228"/>
                  </a:lnTo>
                  <a:lnTo>
                    <a:pt x="488214" y="200876"/>
                  </a:lnTo>
                  <a:lnTo>
                    <a:pt x="488265" y="200876"/>
                  </a:lnTo>
                  <a:lnTo>
                    <a:pt x="488265" y="200228"/>
                  </a:lnTo>
                  <a:lnTo>
                    <a:pt x="488265" y="200876"/>
                  </a:lnTo>
                  <a:lnTo>
                    <a:pt x="488316" y="202260"/>
                  </a:lnTo>
                  <a:lnTo>
                    <a:pt x="488316" y="200876"/>
                  </a:lnTo>
                  <a:lnTo>
                    <a:pt x="488366" y="200876"/>
                  </a:lnTo>
                  <a:lnTo>
                    <a:pt x="488366" y="199530"/>
                  </a:lnTo>
                  <a:lnTo>
                    <a:pt x="488455" y="199530"/>
                  </a:lnTo>
                  <a:lnTo>
                    <a:pt x="488455" y="200228"/>
                  </a:lnTo>
                  <a:lnTo>
                    <a:pt x="488455" y="197447"/>
                  </a:lnTo>
                  <a:lnTo>
                    <a:pt x="488455" y="200228"/>
                  </a:lnTo>
                  <a:lnTo>
                    <a:pt x="488506" y="200228"/>
                  </a:lnTo>
                  <a:lnTo>
                    <a:pt x="488506" y="200876"/>
                  </a:lnTo>
                  <a:lnTo>
                    <a:pt x="488506" y="198831"/>
                  </a:lnTo>
                  <a:lnTo>
                    <a:pt x="488506" y="202260"/>
                  </a:lnTo>
                  <a:lnTo>
                    <a:pt x="488557" y="202260"/>
                  </a:lnTo>
                  <a:lnTo>
                    <a:pt x="488557" y="200876"/>
                  </a:lnTo>
                  <a:lnTo>
                    <a:pt x="488557" y="202260"/>
                  </a:lnTo>
                  <a:lnTo>
                    <a:pt x="488557" y="200228"/>
                  </a:lnTo>
                  <a:lnTo>
                    <a:pt x="488557" y="202260"/>
                  </a:lnTo>
                  <a:lnTo>
                    <a:pt x="488608" y="200876"/>
                  </a:lnTo>
                  <a:lnTo>
                    <a:pt x="488709" y="200876"/>
                  </a:lnTo>
                  <a:lnTo>
                    <a:pt x="488709" y="202260"/>
                  </a:lnTo>
                  <a:lnTo>
                    <a:pt x="488760" y="202260"/>
                  </a:lnTo>
                  <a:lnTo>
                    <a:pt x="488760" y="200876"/>
                  </a:lnTo>
                  <a:lnTo>
                    <a:pt x="488760" y="202260"/>
                  </a:lnTo>
                  <a:lnTo>
                    <a:pt x="488760" y="200876"/>
                  </a:lnTo>
                  <a:lnTo>
                    <a:pt x="488760" y="202260"/>
                  </a:lnTo>
                  <a:lnTo>
                    <a:pt x="488760" y="200876"/>
                  </a:lnTo>
                  <a:lnTo>
                    <a:pt x="488811" y="200876"/>
                  </a:lnTo>
                  <a:lnTo>
                    <a:pt x="488811" y="200228"/>
                  </a:lnTo>
                  <a:lnTo>
                    <a:pt x="488811" y="202260"/>
                  </a:lnTo>
                  <a:lnTo>
                    <a:pt x="488811" y="200228"/>
                  </a:lnTo>
                  <a:lnTo>
                    <a:pt x="488912" y="200228"/>
                  </a:lnTo>
                  <a:lnTo>
                    <a:pt x="488912" y="199530"/>
                  </a:lnTo>
                  <a:lnTo>
                    <a:pt x="488912" y="200228"/>
                  </a:lnTo>
                  <a:lnTo>
                    <a:pt x="488912" y="197447"/>
                  </a:lnTo>
                  <a:lnTo>
                    <a:pt x="488912" y="198831"/>
                  </a:lnTo>
                  <a:lnTo>
                    <a:pt x="488951" y="198831"/>
                  </a:lnTo>
                  <a:lnTo>
                    <a:pt x="488951" y="196799"/>
                  </a:lnTo>
                  <a:lnTo>
                    <a:pt x="488951" y="199530"/>
                  </a:lnTo>
                  <a:lnTo>
                    <a:pt x="488951" y="198831"/>
                  </a:lnTo>
                  <a:lnTo>
                    <a:pt x="489001" y="198831"/>
                  </a:lnTo>
                  <a:lnTo>
                    <a:pt x="489001" y="197447"/>
                  </a:lnTo>
                  <a:lnTo>
                    <a:pt x="489001" y="200876"/>
                  </a:lnTo>
                  <a:lnTo>
                    <a:pt x="489001" y="200228"/>
                  </a:lnTo>
                  <a:lnTo>
                    <a:pt x="489052" y="200228"/>
                  </a:lnTo>
                  <a:lnTo>
                    <a:pt x="489052" y="200876"/>
                  </a:lnTo>
                  <a:lnTo>
                    <a:pt x="489052" y="200228"/>
                  </a:lnTo>
                  <a:lnTo>
                    <a:pt x="489052" y="200876"/>
                  </a:lnTo>
                  <a:lnTo>
                    <a:pt x="489154" y="200228"/>
                  </a:lnTo>
                  <a:lnTo>
                    <a:pt x="489154" y="200876"/>
                  </a:lnTo>
                  <a:lnTo>
                    <a:pt x="489205" y="200876"/>
                  </a:lnTo>
                  <a:lnTo>
                    <a:pt x="489205" y="202260"/>
                  </a:lnTo>
                  <a:lnTo>
                    <a:pt x="489205" y="200876"/>
                  </a:lnTo>
                  <a:lnTo>
                    <a:pt x="489205" y="202260"/>
                  </a:lnTo>
                  <a:lnTo>
                    <a:pt x="489255" y="202260"/>
                  </a:lnTo>
                  <a:lnTo>
                    <a:pt x="489255" y="202959"/>
                  </a:lnTo>
                  <a:lnTo>
                    <a:pt x="489357" y="202959"/>
                  </a:lnTo>
                  <a:lnTo>
                    <a:pt x="489357" y="200228"/>
                  </a:lnTo>
                  <a:lnTo>
                    <a:pt x="489357" y="200876"/>
                  </a:lnTo>
                  <a:lnTo>
                    <a:pt x="489357" y="200228"/>
                  </a:lnTo>
                  <a:lnTo>
                    <a:pt x="489408" y="200228"/>
                  </a:lnTo>
                  <a:lnTo>
                    <a:pt x="489408" y="198831"/>
                  </a:lnTo>
                  <a:lnTo>
                    <a:pt x="489408" y="199530"/>
                  </a:lnTo>
                  <a:lnTo>
                    <a:pt x="489408" y="198831"/>
                  </a:lnTo>
                  <a:lnTo>
                    <a:pt x="489458" y="198831"/>
                  </a:lnTo>
                  <a:lnTo>
                    <a:pt x="489458" y="197447"/>
                  </a:lnTo>
                  <a:lnTo>
                    <a:pt x="489458" y="200228"/>
                  </a:lnTo>
                  <a:lnTo>
                    <a:pt x="489458" y="198831"/>
                  </a:lnTo>
                  <a:lnTo>
                    <a:pt x="489458" y="199530"/>
                  </a:lnTo>
                  <a:lnTo>
                    <a:pt x="489458" y="198831"/>
                  </a:lnTo>
                  <a:lnTo>
                    <a:pt x="489497" y="198831"/>
                  </a:lnTo>
                  <a:lnTo>
                    <a:pt x="489497" y="200876"/>
                  </a:lnTo>
                  <a:lnTo>
                    <a:pt x="489497" y="200228"/>
                  </a:lnTo>
                  <a:lnTo>
                    <a:pt x="489598" y="200228"/>
                  </a:lnTo>
                  <a:lnTo>
                    <a:pt x="489598" y="202260"/>
                  </a:lnTo>
                  <a:lnTo>
                    <a:pt x="489598" y="200228"/>
                  </a:lnTo>
                  <a:lnTo>
                    <a:pt x="489649" y="200228"/>
                  </a:lnTo>
                  <a:lnTo>
                    <a:pt x="489649" y="200876"/>
                  </a:lnTo>
                  <a:lnTo>
                    <a:pt x="489649" y="200228"/>
                  </a:lnTo>
                  <a:lnTo>
                    <a:pt x="489649" y="200876"/>
                  </a:lnTo>
                  <a:lnTo>
                    <a:pt x="489700" y="202260"/>
                  </a:lnTo>
                  <a:lnTo>
                    <a:pt x="489700" y="200876"/>
                  </a:lnTo>
                  <a:lnTo>
                    <a:pt x="489700" y="202260"/>
                  </a:lnTo>
                  <a:lnTo>
                    <a:pt x="489801" y="202959"/>
                  </a:lnTo>
                  <a:lnTo>
                    <a:pt x="489801" y="200876"/>
                  </a:lnTo>
                  <a:lnTo>
                    <a:pt x="489852" y="200876"/>
                  </a:lnTo>
                  <a:lnTo>
                    <a:pt x="489852" y="199530"/>
                  </a:lnTo>
                  <a:lnTo>
                    <a:pt x="489903" y="199530"/>
                  </a:lnTo>
                  <a:lnTo>
                    <a:pt x="489903" y="198831"/>
                  </a:lnTo>
                  <a:lnTo>
                    <a:pt x="489903" y="199530"/>
                  </a:lnTo>
                  <a:lnTo>
                    <a:pt x="489903" y="198831"/>
                  </a:lnTo>
                  <a:lnTo>
                    <a:pt x="489903" y="199530"/>
                  </a:lnTo>
                  <a:lnTo>
                    <a:pt x="489903" y="197447"/>
                  </a:lnTo>
                  <a:lnTo>
                    <a:pt x="489903" y="198831"/>
                  </a:lnTo>
                  <a:lnTo>
                    <a:pt x="489954" y="198831"/>
                  </a:lnTo>
                  <a:lnTo>
                    <a:pt x="489954" y="199530"/>
                  </a:lnTo>
                  <a:lnTo>
                    <a:pt x="489954" y="198831"/>
                  </a:lnTo>
                  <a:lnTo>
                    <a:pt x="489954" y="199530"/>
                  </a:lnTo>
                  <a:lnTo>
                    <a:pt x="490043" y="200228"/>
                  </a:lnTo>
                  <a:lnTo>
                    <a:pt x="490043" y="200876"/>
                  </a:lnTo>
                  <a:lnTo>
                    <a:pt x="490043" y="199530"/>
                  </a:lnTo>
                  <a:lnTo>
                    <a:pt x="490043" y="200228"/>
                  </a:lnTo>
                  <a:lnTo>
                    <a:pt x="490093" y="200228"/>
                  </a:lnTo>
                  <a:lnTo>
                    <a:pt x="490093" y="200876"/>
                  </a:lnTo>
                  <a:lnTo>
                    <a:pt x="490093" y="200228"/>
                  </a:lnTo>
                  <a:lnTo>
                    <a:pt x="490093" y="200876"/>
                  </a:lnTo>
                  <a:lnTo>
                    <a:pt x="490093" y="199530"/>
                  </a:lnTo>
                  <a:lnTo>
                    <a:pt x="490093" y="200228"/>
                  </a:lnTo>
                  <a:lnTo>
                    <a:pt x="490093" y="199530"/>
                  </a:lnTo>
                  <a:lnTo>
                    <a:pt x="490093" y="200228"/>
                  </a:lnTo>
                  <a:lnTo>
                    <a:pt x="490093" y="199530"/>
                  </a:lnTo>
                  <a:lnTo>
                    <a:pt x="490093" y="200228"/>
                  </a:lnTo>
                  <a:lnTo>
                    <a:pt x="490093" y="199530"/>
                  </a:lnTo>
                  <a:lnTo>
                    <a:pt x="490144" y="200228"/>
                  </a:lnTo>
                  <a:lnTo>
                    <a:pt x="490144" y="200876"/>
                  </a:lnTo>
                  <a:lnTo>
                    <a:pt x="490144" y="200228"/>
                  </a:lnTo>
                  <a:lnTo>
                    <a:pt x="490144" y="202260"/>
                  </a:lnTo>
                  <a:lnTo>
                    <a:pt x="490144" y="200876"/>
                  </a:lnTo>
                  <a:lnTo>
                    <a:pt x="490195" y="200876"/>
                  </a:lnTo>
                  <a:lnTo>
                    <a:pt x="490195" y="202959"/>
                  </a:lnTo>
                  <a:lnTo>
                    <a:pt x="490195" y="202260"/>
                  </a:lnTo>
                  <a:lnTo>
                    <a:pt x="490195" y="202959"/>
                  </a:lnTo>
                  <a:lnTo>
                    <a:pt x="490195" y="202260"/>
                  </a:lnTo>
                  <a:lnTo>
                    <a:pt x="490297" y="202260"/>
                  </a:lnTo>
                  <a:lnTo>
                    <a:pt x="490347" y="200876"/>
                  </a:lnTo>
                  <a:lnTo>
                    <a:pt x="490347" y="199530"/>
                  </a:lnTo>
                  <a:lnTo>
                    <a:pt x="490398" y="199530"/>
                  </a:lnTo>
                  <a:lnTo>
                    <a:pt x="490398" y="198831"/>
                  </a:lnTo>
                  <a:lnTo>
                    <a:pt x="490398" y="199530"/>
                  </a:lnTo>
                  <a:lnTo>
                    <a:pt x="490500" y="199530"/>
                  </a:lnTo>
                  <a:lnTo>
                    <a:pt x="490500" y="198831"/>
                  </a:lnTo>
                  <a:lnTo>
                    <a:pt x="490500" y="200876"/>
                  </a:lnTo>
                  <a:lnTo>
                    <a:pt x="490500" y="200228"/>
                  </a:lnTo>
                  <a:lnTo>
                    <a:pt x="490538" y="200228"/>
                  </a:lnTo>
                  <a:lnTo>
                    <a:pt x="490538" y="199530"/>
                  </a:lnTo>
                  <a:lnTo>
                    <a:pt x="490538" y="200876"/>
                  </a:lnTo>
                  <a:lnTo>
                    <a:pt x="490538" y="200228"/>
                  </a:lnTo>
                  <a:lnTo>
                    <a:pt x="490589" y="200228"/>
                  </a:lnTo>
                  <a:lnTo>
                    <a:pt x="490589" y="199530"/>
                  </a:lnTo>
                  <a:lnTo>
                    <a:pt x="490589" y="200228"/>
                  </a:lnTo>
                  <a:lnTo>
                    <a:pt x="490589" y="199530"/>
                  </a:lnTo>
                  <a:lnTo>
                    <a:pt x="490589" y="200228"/>
                  </a:lnTo>
                  <a:lnTo>
                    <a:pt x="490640" y="200228"/>
                  </a:lnTo>
                  <a:lnTo>
                    <a:pt x="490640" y="199530"/>
                  </a:lnTo>
                  <a:lnTo>
                    <a:pt x="490640" y="200876"/>
                  </a:lnTo>
                  <a:lnTo>
                    <a:pt x="490741" y="200876"/>
                  </a:lnTo>
                  <a:lnTo>
                    <a:pt x="490741" y="202260"/>
                  </a:lnTo>
                  <a:lnTo>
                    <a:pt x="490741" y="200228"/>
                  </a:lnTo>
                  <a:lnTo>
                    <a:pt x="490741" y="200876"/>
                  </a:lnTo>
                  <a:lnTo>
                    <a:pt x="490741" y="200228"/>
                  </a:lnTo>
                  <a:lnTo>
                    <a:pt x="490792" y="200228"/>
                  </a:lnTo>
                  <a:lnTo>
                    <a:pt x="490792" y="200876"/>
                  </a:lnTo>
                  <a:lnTo>
                    <a:pt x="490792" y="200228"/>
                  </a:lnTo>
                  <a:lnTo>
                    <a:pt x="490792" y="200876"/>
                  </a:lnTo>
                  <a:lnTo>
                    <a:pt x="490792" y="200228"/>
                  </a:lnTo>
                  <a:lnTo>
                    <a:pt x="490843" y="200228"/>
                  </a:lnTo>
                  <a:lnTo>
                    <a:pt x="490843" y="199530"/>
                  </a:lnTo>
                  <a:lnTo>
                    <a:pt x="490843" y="200228"/>
                  </a:lnTo>
                  <a:lnTo>
                    <a:pt x="490843" y="199530"/>
                  </a:lnTo>
                  <a:lnTo>
                    <a:pt x="490843" y="200228"/>
                  </a:lnTo>
                  <a:lnTo>
                    <a:pt x="490843" y="198831"/>
                  </a:lnTo>
                  <a:lnTo>
                    <a:pt x="490944" y="197447"/>
                  </a:lnTo>
                  <a:lnTo>
                    <a:pt x="490944" y="200876"/>
                  </a:lnTo>
                  <a:lnTo>
                    <a:pt x="490944" y="198831"/>
                  </a:lnTo>
                  <a:lnTo>
                    <a:pt x="490995" y="198831"/>
                  </a:lnTo>
                  <a:lnTo>
                    <a:pt x="490995" y="202959"/>
                  </a:lnTo>
                  <a:lnTo>
                    <a:pt x="490995" y="200228"/>
                  </a:lnTo>
                  <a:lnTo>
                    <a:pt x="490995" y="200876"/>
                  </a:lnTo>
                  <a:lnTo>
                    <a:pt x="491046" y="200876"/>
                  </a:lnTo>
                  <a:lnTo>
                    <a:pt x="491046" y="202260"/>
                  </a:lnTo>
                  <a:lnTo>
                    <a:pt x="491046" y="200228"/>
                  </a:lnTo>
                  <a:lnTo>
                    <a:pt x="491046" y="200876"/>
                  </a:lnTo>
                  <a:lnTo>
                    <a:pt x="491084" y="200876"/>
                  </a:lnTo>
                  <a:lnTo>
                    <a:pt x="491084" y="202260"/>
                  </a:lnTo>
                  <a:lnTo>
                    <a:pt x="491084" y="200876"/>
                  </a:lnTo>
                  <a:lnTo>
                    <a:pt x="491084" y="202260"/>
                  </a:lnTo>
                  <a:lnTo>
                    <a:pt x="491186" y="200876"/>
                  </a:lnTo>
                  <a:lnTo>
                    <a:pt x="491186" y="202260"/>
                  </a:lnTo>
                  <a:lnTo>
                    <a:pt x="491186" y="200876"/>
                  </a:lnTo>
                  <a:lnTo>
                    <a:pt x="491186" y="202959"/>
                  </a:lnTo>
                  <a:lnTo>
                    <a:pt x="491237" y="202959"/>
                  </a:lnTo>
                  <a:lnTo>
                    <a:pt x="491237" y="200876"/>
                  </a:lnTo>
                  <a:lnTo>
                    <a:pt x="491287" y="200876"/>
                  </a:lnTo>
                  <a:lnTo>
                    <a:pt x="491287" y="200228"/>
                  </a:lnTo>
                  <a:lnTo>
                    <a:pt x="491287" y="200876"/>
                  </a:lnTo>
                  <a:lnTo>
                    <a:pt x="491287" y="200228"/>
                  </a:lnTo>
                  <a:lnTo>
                    <a:pt x="491389" y="200228"/>
                  </a:lnTo>
                  <a:lnTo>
                    <a:pt x="491389" y="198831"/>
                  </a:lnTo>
                  <a:lnTo>
                    <a:pt x="491389" y="200228"/>
                  </a:lnTo>
                  <a:lnTo>
                    <a:pt x="491440" y="200876"/>
                  </a:lnTo>
                  <a:lnTo>
                    <a:pt x="491440" y="200228"/>
                  </a:lnTo>
                  <a:lnTo>
                    <a:pt x="491440" y="203594"/>
                  </a:lnTo>
                  <a:lnTo>
                    <a:pt x="491491" y="203594"/>
                  </a:lnTo>
                  <a:lnTo>
                    <a:pt x="491491" y="200876"/>
                  </a:lnTo>
                  <a:lnTo>
                    <a:pt x="491491" y="202959"/>
                  </a:lnTo>
                  <a:lnTo>
                    <a:pt x="491491" y="202260"/>
                  </a:lnTo>
                  <a:lnTo>
                    <a:pt x="491541" y="202260"/>
                  </a:lnTo>
                  <a:lnTo>
                    <a:pt x="491541" y="202959"/>
                  </a:lnTo>
                  <a:lnTo>
                    <a:pt x="491630" y="202959"/>
                  </a:lnTo>
                  <a:lnTo>
                    <a:pt x="491630" y="202260"/>
                  </a:lnTo>
                  <a:lnTo>
                    <a:pt x="491630" y="202959"/>
                  </a:lnTo>
                  <a:lnTo>
                    <a:pt x="491630" y="202260"/>
                  </a:lnTo>
                  <a:lnTo>
                    <a:pt x="491630" y="202959"/>
                  </a:lnTo>
                  <a:lnTo>
                    <a:pt x="491681" y="202959"/>
                  </a:lnTo>
                  <a:lnTo>
                    <a:pt x="491681" y="202260"/>
                  </a:lnTo>
                  <a:lnTo>
                    <a:pt x="491681" y="202959"/>
                  </a:lnTo>
                  <a:lnTo>
                    <a:pt x="491732" y="202959"/>
                  </a:lnTo>
                  <a:lnTo>
                    <a:pt x="491732" y="200876"/>
                  </a:lnTo>
                  <a:lnTo>
                    <a:pt x="491732" y="202260"/>
                  </a:lnTo>
                  <a:lnTo>
                    <a:pt x="491732" y="200876"/>
                  </a:lnTo>
                  <a:lnTo>
                    <a:pt x="491783" y="200228"/>
                  </a:lnTo>
                  <a:lnTo>
                    <a:pt x="491783" y="199530"/>
                  </a:lnTo>
                  <a:lnTo>
                    <a:pt x="491783" y="200228"/>
                  </a:lnTo>
                  <a:lnTo>
                    <a:pt x="491783" y="198831"/>
                  </a:lnTo>
                  <a:lnTo>
                    <a:pt x="491884" y="198831"/>
                  </a:lnTo>
                  <a:lnTo>
                    <a:pt x="491884" y="199530"/>
                  </a:lnTo>
                  <a:lnTo>
                    <a:pt x="491884" y="197447"/>
                  </a:lnTo>
                  <a:lnTo>
                    <a:pt x="491884" y="200228"/>
                  </a:lnTo>
                  <a:lnTo>
                    <a:pt x="491935" y="200228"/>
                  </a:lnTo>
                  <a:lnTo>
                    <a:pt x="491935" y="198831"/>
                  </a:lnTo>
                  <a:lnTo>
                    <a:pt x="491935" y="200876"/>
                  </a:lnTo>
                  <a:lnTo>
                    <a:pt x="491935" y="200228"/>
                  </a:lnTo>
                  <a:lnTo>
                    <a:pt x="491935" y="202959"/>
                  </a:lnTo>
                  <a:lnTo>
                    <a:pt x="491935" y="202260"/>
                  </a:lnTo>
                  <a:lnTo>
                    <a:pt x="491986" y="202260"/>
                  </a:lnTo>
                  <a:lnTo>
                    <a:pt x="491986" y="200228"/>
                  </a:lnTo>
                  <a:lnTo>
                    <a:pt x="491986" y="202260"/>
                  </a:lnTo>
                  <a:lnTo>
                    <a:pt x="491986" y="200876"/>
                  </a:lnTo>
                  <a:lnTo>
                    <a:pt x="492087" y="200876"/>
                  </a:lnTo>
                  <a:lnTo>
                    <a:pt x="492087" y="200228"/>
                  </a:lnTo>
                  <a:lnTo>
                    <a:pt x="492087" y="202260"/>
                  </a:lnTo>
                  <a:lnTo>
                    <a:pt x="492087" y="200876"/>
                  </a:lnTo>
                  <a:lnTo>
                    <a:pt x="492126" y="200876"/>
                  </a:lnTo>
                  <a:lnTo>
                    <a:pt x="492126" y="202260"/>
                  </a:lnTo>
                  <a:lnTo>
                    <a:pt x="492126" y="200876"/>
                  </a:lnTo>
                  <a:lnTo>
                    <a:pt x="492126" y="202959"/>
                  </a:lnTo>
                  <a:lnTo>
                    <a:pt x="492126" y="202260"/>
                  </a:lnTo>
                  <a:lnTo>
                    <a:pt x="492126" y="202959"/>
                  </a:lnTo>
                  <a:lnTo>
                    <a:pt x="492176" y="202959"/>
                  </a:lnTo>
                  <a:lnTo>
                    <a:pt x="492176" y="202260"/>
                  </a:lnTo>
                  <a:lnTo>
                    <a:pt x="492176" y="202959"/>
                  </a:lnTo>
                  <a:lnTo>
                    <a:pt x="492176" y="202260"/>
                  </a:lnTo>
                  <a:lnTo>
                    <a:pt x="492176" y="202959"/>
                  </a:lnTo>
                  <a:lnTo>
                    <a:pt x="492176" y="202260"/>
                  </a:lnTo>
                  <a:lnTo>
                    <a:pt x="492227" y="202260"/>
                  </a:lnTo>
                  <a:lnTo>
                    <a:pt x="492227" y="200228"/>
                  </a:lnTo>
                  <a:lnTo>
                    <a:pt x="492329" y="200876"/>
                  </a:lnTo>
                  <a:lnTo>
                    <a:pt x="492329" y="199530"/>
                  </a:lnTo>
                  <a:lnTo>
                    <a:pt x="492329" y="200228"/>
                  </a:lnTo>
                  <a:lnTo>
                    <a:pt x="492329" y="198831"/>
                  </a:lnTo>
                  <a:lnTo>
                    <a:pt x="492380" y="198831"/>
                  </a:lnTo>
                  <a:lnTo>
                    <a:pt x="492380" y="200228"/>
                  </a:lnTo>
                  <a:lnTo>
                    <a:pt x="492380" y="198831"/>
                  </a:lnTo>
                  <a:lnTo>
                    <a:pt x="492430" y="198831"/>
                  </a:lnTo>
                  <a:lnTo>
                    <a:pt x="492430" y="200876"/>
                  </a:lnTo>
                  <a:lnTo>
                    <a:pt x="492430" y="200228"/>
                  </a:lnTo>
                  <a:lnTo>
                    <a:pt x="492532" y="200228"/>
                  </a:lnTo>
                  <a:lnTo>
                    <a:pt x="492532" y="200876"/>
                  </a:lnTo>
                  <a:lnTo>
                    <a:pt x="492532" y="200228"/>
                  </a:lnTo>
                  <a:lnTo>
                    <a:pt x="492532" y="200876"/>
                  </a:lnTo>
                  <a:lnTo>
                    <a:pt x="492532" y="200228"/>
                  </a:lnTo>
                  <a:lnTo>
                    <a:pt x="492532" y="200876"/>
                  </a:lnTo>
                  <a:lnTo>
                    <a:pt x="492532" y="200228"/>
                  </a:lnTo>
                  <a:lnTo>
                    <a:pt x="492532" y="200876"/>
                  </a:lnTo>
                  <a:lnTo>
                    <a:pt x="492583" y="200228"/>
                  </a:lnTo>
                  <a:lnTo>
                    <a:pt x="492583" y="202260"/>
                  </a:lnTo>
                  <a:lnTo>
                    <a:pt x="492633" y="202260"/>
                  </a:lnTo>
                  <a:lnTo>
                    <a:pt x="492633" y="200876"/>
                  </a:lnTo>
                  <a:lnTo>
                    <a:pt x="492633" y="202260"/>
                  </a:lnTo>
                  <a:lnTo>
                    <a:pt x="492672" y="202959"/>
                  </a:lnTo>
                  <a:lnTo>
                    <a:pt x="492672" y="202260"/>
                  </a:lnTo>
                  <a:lnTo>
                    <a:pt x="492672" y="202959"/>
                  </a:lnTo>
                  <a:lnTo>
                    <a:pt x="492672" y="200876"/>
                  </a:lnTo>
                  <a:lnTo>
                    <a:pt x="492672" y="202260"/>
                  </a:lnTo>
                  <a:lnTo>
                    <a:pt x="492672" y="200876"/>
                  </a:lnTo>
                  <a:lnTo>
                    <a:pt x="492672" y="202260"/>
                  </a:lnTo>
                  <a:lnTo>
                    <a:pt x="492672" y="200876"/>
                  </a:lnTo>
                  <a:lnTo>
                    <a:pt x="492672" y="202260"/>
                  </a:lnTo>
                  <a:lnTo>
                    <a:pt x="492773" y="200876"/>
                  </a:lnTo>
                  <a:lnTo>
                    <a:pt x="492773" y="199530"/>
                  </a:lnTo>
                  <a:lnTo>
                    <a:pt x="492824" y="199530"/>
                  </a:lnTo>
                  <a:lnTo>
                    <a:pt x="492824" y="198831"/>
                  </a:lnTo>
                  <a:lnTo>
                    <a:pt x="492824" y="199530"/>
                  </a:lnTo>
                  <a:lnTo>
                    <a:pt x="492824" y="198831"/>
                  </a:lnTo>
                  <a:lnTo>
                    <a:pt x="492824" y="199530"/>
                  </a:lnTo>
                  <a:lnTo>
                    <a:pt x="492824" y="197447"/>
                  </a:lnTo>
                  <a:lnTo>
                    <a:pt x="492824" y="198831"/>
                  </a:lnTo>
                  <a:lnTo>
                    <a:pt x="492824" y="197447"/>
                  </a:lnTo>
                  <a:lnTo>
                    <a:pt x="492875" y="197447"/>
                  </a:lnTo>
                  <a:lnTo>
                    <a:pt x="492875" y="196113"/>
                  </a:lnTo>
                  <a:lnTo>
                    <a:pt x="492875" y="197447"/>
                  </a:lnTo>
                  <a:lnTo>
                    <a:pt x="492976" y="196799"/>
                  </a:lnTo>
                  <a:lnTo>
                    <a:pt x="492976" y="196113"/>
                  </a:lnTo>
                  <a:lnTo>
                    <a:pt x="492976" y="199530"/>
                  </a:lnTo>
                  <a:lnTo>
                    <a:pt x="492976" y="198831"/>
                  </a:lnTo>
                  <a:lnTo>
                    <a:pt x="492976" y="199530"/>
                  </a:lnTo>
                  <a:lnTo>
                    <a:pt x="492976" y="198831"/>
                  </a:lnTo>
                  <a:lnTo>
                    <a:pt x="493027" y="198831"/>
                  </a:lnTo>
                  <a:lnTo>
                    <a:pt x="493027" y="199530"/>
                  </a:lnTo>
                  <a:lnTo>
                    <a:pt x="493027" y="198831"/>
                  </a:lnTo>
                  <a:lnTo>
                    <a:pt x="493078" y="199530"/>
                  </a:lnTo>
                  <a:lnTo>
                    <a:pt x="493078" y="198831"/>
                  </a:lnTo>
                  <a:lnTo>
                    <a:pt x="493078" y="200228"/>
                  </a:lnTo>
                  <a:lnTo>
                    <a:pt x="493129" y="200228"/>
                  </a:lnTo>
                  <a:lnTo>
                    <a:pt x="493129" y="202260"/>
                  </a:lnTo>
                  <a:lnTo>
                    <a:pt x="493218" y="202260"/>
                  </a:lnTo>
                  <a:lnTo>
                    <a:pt x="493218" y="200876"/>
                  </a:lnTo>
                  <a:lnTo>
                    <a:pt x="493218" y="202260"/>
                  </a:lnTo>
                  <a:lnTo>
                    <a:pt x="493218" y="200876"/>
                  </a:lnTo>
                  <a:lnTo>
                    <a:pt x="493218" y="202260"/>
                  </a:lnTo>
                  <a:lnTo>
                    <a:pt x="493268" y="202260"/>
                  </a:lnTo>
                  <a:lnTo>
                    <a:pt x="493268" y="200228"/>
                  </a:lnTo>
                  <a:lnTo>
                    <a:pt x="493319" y="200228"/>
                  </a:lnTo>
                  <a:lnTo>
                    <a:pt x="493319" y="199530"/>
                  </a:lnTo>
                  <a:lnTo>
                    <a:pt x="493319" y="200228"/>
                  </a:lnTo>
                  <a:lnTo>
                    <a:pt x="493319" y="198831"/>
                  </a:lnTo>
                  <a:lnTo>
                    <a:pt x="493370" y="197447"/>
                  </a:lnTo>
                  <a:lnTo>
                    <a:pt x="493370" y="196799"/>
                  </a:lnTo>
                  <a:lnTo>
                    <a:pt x="493370" y="198831"/>
                  </a:lnTo>
                  <a:lnTo>
                    <a:pt x="493370" y="196799"/>
                  </a:lnTo>
                  <a:lnTo>
                    <a:pt x="493370" y="197447"/>
                  </a:lnTo>
                  <a:lnTo>
                    <a:pt x="493370" y="196799"/>
                  </a:lnTo>
                  <a:lnTo>
                    <a:pt x="493472" y="196799"/>
                  </a:lnTo>
                  <a:lnTo>
                    <a:pt x="493472" y="196113"/>
                  </a:lnTo>
                  <a:lnTo>
                    <a:pt x="493472" y="198831"/>
                  </a:lnTo>
                  <a:lnTo>
                    <a:pt x="493472" y="197447"/>
                  </a:lnTo>
                  <a:lnTo>
                    <a:pt x="493522" y="197447"/>
                  </a:lnTo>
                  <a:lnTo>
                    <a:pt x="493522" y="196799"/>
                  </a:lnTo>
                  <a:lnTo>
                    <a:pt x="493522" y="198831"/>
                  </a:lnTo>
                  <a:lnTo>
                    <a:pt x="493522" y="197447"/>
                  </a:lnTo>
                  <a:lnTo>
                    <a:pt x="493522" y="198831"/>
                  </a:lnTo>
                  <a:lnTo>
                    <a:pt x="493522" y="197447"/>
                  </a:lnTo>
                  <a:lnTo>
                    <a:pt x="493522" y="198831"/>
                  </a:lnTo>
                  <a:lnTo>
                    <a:pt x="493573" y="198831"/>
                  </a:lnTo>
                  <a:lnTo>
                    <a:pt x="493573" y="197447"/>
                  </a:lnTo>
                  <a:lnTo>
                    <a:pt x="493573" y="199530"/>
                  </a:lnTo>
                  <a:lnTo>
                    <a:pt x="493675" y="199530"/>
                  </a:lnTo>
                  <a:lnTo>
                    <a:pt x="493675" y="200228"/>
                  </a:lnTo>
                  <a:lnTo>
                    <a:pt x="493713" y="200228"/>
                  </a:lnTo>
                  <a:lnTo>
                    <a:pt x="493713" y="199530"/>
                  </a:lnTo>
                  <a:lnTo>
                    <a:pt x="493713" y="200228"/>
                  </a:lnTo>
                  <a:lnTo>
                    <a:pt x="493764" y="199530"/>
                  </a:lnTo>
                  <a:lnTo>
                    <a:pt x="493764" y="200228"/>
                  </a:lnTo>
                  <a:lnTo>
                    <a:pt x="493815" y="199530"/>
                  </a:lnTo>
                  <a:lnTo>
                    <a:pt x="493815" y="200228"/>
                  </a:lnTo>
                  <a:lnTo>
                    <a:pt x="493815" y="197447"/>
                  </a:lnTo>
                  <a:lnTo>
                    <a:pt x="493916" y="198831"/>
                  </a:lnTo>
                  <a:lnTo>
                    <a:pt x="493916" y="199530"/>
                  </a:lnTo>
                  <a:lnTo>
                    <a:pt x="493916" y="197447"/>
                  </a:lnTo>
                  <a:lnTo>
                    <a:pt x="493916" y="198831"/>
                  </a:lnTo>
                  <a:lnTo>
                    <a:pt x="493967" y="198831"/>
                  </a:lnTo>
                  <a:lnTo>
                    <a:pt x="493967" y="200876"/>
                  </a:lnTo>
                  <a:lnTo>
                    <a:pt x="493967" y="199530"/>
                  </a:lnTo>
                  <a:lnTo>
                    <a:pt x="493967" y="200228"/>
                  </a:lnTo>
                  <a:lnTo>
                    <a:pt x="493967" y="199530"/>
                  </a:lnTo>
                  <a:lnTo>
                    <a:pt x="493967" y="200228"/>
                  </a:lnTo>
                  <a:lnTo>
                    <a:pt x="493967" y="198831"/>
                  </a:lnTo>
                  <a:lnTo>
                    <a:pt x="493967" y="200228"/>
                  </a:lnTo>
                  <a:lnTo>
                    <a:pt x="494018" y="200228"/>
                  </a:lnTo>
                  <a:lnTo>
                    <a:pt x="494018" y="199530"/>
                  </a:lnTo>
                  <a:lnTo>
                    <a:pt x="494018" y="200228"/>
                  </a:lnTo>
                  <a:lnTo>
                    <a:pt x="494018" y="199530"/>
                  </a:lnTo>
                  <a:lnTo>
                    <a:pt x="494018" y="200228"/>
                  </a:lnTo>
                  <a:lnTo>
                    <a:pt x="494018" y="199530"/>
                  </a:lnTo>
                  <a:lnTo>
                    <a:pt x="494018" y="200228"/>
                  </a:lnTo>
                  <a:lnTo>
                    <a:pt x="494119" y="200228"/>
                  </a:lnTo>
                  <a:lnTo>
                    <a:pt x="494119" y="199530"/>
                  </a:lnTo>
                  <a:lnTo>
                    <a:pt x="494119" y="200228"/>
                  </a:lnTo>
                  <a:lnTo>
                    <a:pt x="494170" y="200228"/>
                  </a:lnTo>
                  <a:lnTo>
                    <a:pt x="494170" y="199530"/>
                  </a:lnTo>
                  <a:lnTo>
                    <a:pt x="494170" y="200876"/>
                  </a:lnTo>
                  <a:lnTo>
                    <a:pt x="494170" y="200228"/>
                  </a:lnTo>
                  <a:lnTo>
                    <a:pt x="494221" y="200876"/>
                  </a:lnTo>
                  <a:lnTo>
                    <a:pt x="494221" y="200228"/>
                  </a:lnTo>
                  <a:lnTo>
                    <a:pt x="494221" y="200876"/>
                  </a:lnTo>
                  <a:lnTo>
                    <a:pt x="494221" y="200228"/>
                  </a:lnTo>
                  <a:lnTo>
                    <a:pt x="494259" y="200228"/>
                  </a:lnTo>
                  <a:lnTo>
                    <a:pt x="494259" y="199530"/>
                  </a:lnTo>
                  <a:lnTo>
                    <a:pt x="494259" y="200228"/>
                  </a:lnTo>
                  <a:lnTo>
                    <a:pt x="494259" y="199530"/>
                  </a:lnTo>
                  <a:lnTo>
                    <a:pt x="494361" y="200228"/>
                  </a:lnTo>
                  <a:lnTo>
                    <a:pt x="494361" y="197447"/>
                  </a:lnTo>
                  <a:lnTo>
                    <a:pt x="494361" y="198831"/>
                  </a:lnTo>
                  <a:lnTo>
                    <a:pt x="494412" y="198831"/>
                  </a:lnTo>
                  <a:lnTo>
                    <a:pt x="494412" y="199530"/>
                  </a:lnTo>
                  <a:lnTo>
                    <a:pt x="494412" y="197447"/>
                  </a:lnTo>
                  <a:lnTo>
                    <a:pt x="494412" y="199530"/>
                  </a:lnTo>
                  <a:lnTo>
                    <a:pt x="494462" y="199530"/>
                  </a:lnTo>
                  <a:lnTo>
                    <a:pt x="494462" y="200228"/>
                  </a:lnTo>
                  <a:lnTo>
                    <a:pt x="494462" y="199530"/>
                  </a:lnTo>
                  <a:lnTo>
                    <a:pt x="494462" y="200228"/>
                  </a:lnTo>
                  <a:lnTo>
                    <a:pt x="494462" y="199530"/>
                  </a:lnTo>
                  <a:lnTo>
                    <a:pt x="494462" y="200228"/>
                  </a:lnTo>
                  <a:lnTo>
                    <a:pt x="494462" y="199530"/>
                  </a:lnTo>
                  <a:lnTo>
                    <a:pt x="494462" y="200228"/>
                  </a:lnTo>
                  <a:lnTo>
                    <a:pt x="494564" y="200228"/>
                  </a:lnTo>
                  <a:lnTo>
                    <a:pt x="494564" y="200876"/>
                  </a:lnTo>
                  <a:lnTo>
                    <a:pt x="494564" y="199530"/>
                  </a:lnTo>
                  <a:lnTo>
                    <a:pt x="494564" y="200876"/>
                  </a:lnTo>
                  <a:lnTo>
                    <a:pt x="494615" y="200876"/>
                  </a:lnTo>
                  <a:lnTo>
                    <a:pt x="494615" y="200228"/>
                  </a:lnTo>
                  <a:lnTo>
                    <a:pt x="494615" y="200876"/>
                  </a:lnTo>
                  <a:lnTo>
                    <a:pt x="494615" y="200228"/>
                  </a:lnTo>
                  <a:lnTo>
                    <a:pt x="494666" y="200228"/>
                  </a:lnTo>
                  <a:lnTo>
                    <a:pt x="494666" y="199530"/>
                  </a:lnTo>
                  <a:lnTo>
                    <a:pt x="494666" y="200876"/>
                  </a:lnTo>
                  <a:lnTo>
                    <a:pt x="494716" y="200228"/>
                  </a:lnTo>
                  <a:lnTo>
                    <a:pt x="494716" y="199530"/>
                  </a:lnTo>
                  <a:lnTo>
                    <a:pt x="494716" y="200228"/>
                  </a:lnTo>
                  <a:lnTo>
                    <a:pt x="494716" y="199530"/>
                  </a:lnTo>
                  <a:lnTo>
                    <a:pt x="494805" y="199530"/>
                  </a:lnTo>
                  <a:lnTo>
                    <a:pt x="494805" y="200228"/>
                  </a:lnTo>
                  <a:lnTo>
                    <a:pt x="494805" y="198831"/>
                  </a:lnTo>
                  <a:lnTo>
                    <a:pt x="494805" y="199530"/>
                  </a:lnTo>
                  <a:lnTo>
                    <a:pt x="494805" y="198831"/>
                  </a:lnTo>
                  <a:lnTo>
                    <a:pt x="494856" y="198831"/>
                  </a:lnTo>
                  <a:lnTo>
                    <a:pt x="494856" y="196113"/>
                  </a:lnTo>
                  <a:lnTo>
                    <a:pt x="494907" y="196113"/>
                  </a:lnTo>
                  <a:lnTo>
                    <a:pt x="494907" y="197447"/>
                  </a:lnTo>
                  <a:lnTo>
                    <a:pt x="494907" y="196113"/>
                  </a:lnTo>
                  <a:lnTo>
                    <a:pt x="494958" y="196799"/>
                  </a:lnTo>
                  <a:lnTo>
                    <a:pt x="494958" y="198831"/>
                  </a:lnTo>
                  <a:lnTo>
                    <a:pt x="494958" y="196799"/>
                  </a:lnTo>
                  <a:lnTo>
                    <a:pt x="494958" y="198831"/>
                  </a:lnTo>
                  <a:lnTo>
                    <a:pt x="495059" y="198831"/>
                  </a:lnTo>
                  <a:lnTo>
                    <a:pt x="495059" y="199530"/>
                  </a:lnTo>
                  <a:lnTo>
                    <a:pt x="495059" y="198831"/>
                  </a:lnTo>
                  <a:lnTo>
                    <a:pt x="495059" y="200228"/>
                  </a:lnTo>
                  <a:lnTo>
                    <a:pt x="495059" y="199530"/>
                  </a:lnTo>
                  <a:lnTo>
                    <a:pt x="495059" y="200228"/>
                  </a:lnTo>
                  <a:lnTo>
                    <a:pt x="495110" y="200228"/>
                  </a:lnTo>
                  <a:lnTo>
                    <a:pt x="495110" y="199530"/>
                  </a:lnTo>
                  <a:lnTo>
                    <a:pt x="495110" y="200228"/>
                  </a:lnTo>
                  <a:lnTo>
                    <a:pt x="495110" y="199530"/>
                  </a:lnTo>
                  <a:lnTo>
                    <a:pt x="495110" y="200228"/>
                  </a:lnTo>
                  <a:lnTo>
                    <a:pt x="495110" y="199530"/>
                  </a:lnTo>
                  <a:lnTo>
                    <a:pt x="495110" y="200228"/>
                  </a:lnTo>
                  <a:lnTo>
                    <a:pt x="495161" y="200228"/>
                  </a:lnTo>
                  <a:lnTo>
                    <a:pt x="495161" y="200876"/>
                  </a:lnTo>
                  <a:lnTo>
                    <a:pt x="495161" y="200228"/>
                  </a:lnTo>
                  <a:lnTo>
                    <a:pt x="495161" y="200876"/>
                  </a:lnTo>
                  <a:lnTo>
                    <a:pt x="495161" y="200228"/>
                  </a:lnTo>
                  <a:lnTo>
                    <a:pt x="495161" y="200876"/>
                  </a:lnTo>
                  <a:lnTo>
                    <a:pt x="495262" y="200876"/>
                  </a:lnTo>
                  <a:lnTo>
                    <a:pt x="495262" y="200228"/>
                  </a:lnTo>
                  <a:lnTo>
                    <a:pt x="495262" y="200876"/>
                  </a:lnTo>
                  <a:lnTo>
                    <a:pt x="495262" y="200228"/>
                  </a:lnTo>
                  <a:lnTo>
                    <a:pt x="495301" y="200228"/>
                  </a:lnTo>
                  <a:lnTo>
                    <a:pt x="495301" y="200876"/>
                  </a:lnTo>
                  <a:lnTo>
                    <a:pt x="495301" y="199530"/>
                  </a:lnTo>
                  <a:lnTo>
                    <a:pt x="495351" y="199530"/>
                  </a:lnTo>
                  <a:lnTo>
                    <a:pt x="495351" y="196113"/>
                  </a:lnTo>
                  <a:lnTo>
                    <a:pt x="495402" y="195415"/>
                  </a:lnTo>
                  <a:lnTo>
                    <a:pt x="495402" y="197447"/>
                  </a:lnTo>
                  <a:lnTo>
                    <a:pt x="495402" y="196113"/>
                  </a:lnTo>
                  <a:lnTo>
                    <a:pt x="495504" y="196113"/>
                  </a:lnTo>
                  <a:lnTo>
                    <a:pt x="495504" y="199530"/>
                  </a:lnTo>
                  <a:lnTo>
                    <a:pt x="495504" y="197447"/>
                  </a:lnTo>
                  <a:lnTo>
                    <a:pt x="495555" y="198831"/>
                  </a:lnTo>
                  <a:lnTo>
                    <a:pt x="495555" y="199530"/>
                  </a:lnTo>
                  <a:lnTo>
                    <a:pt x="495555" y="198831"/>
                  </a:lnTo>
                  <a:lnTo>
                    <a:pt x="495605" y="199530"/>
                  </a:lnTo>
                  <a:lnTo>
                    <a:pt x="495605" y="200228"/>
                  </a:lnTo>
                  <a:lnTo>
                    <a:pt x="495605" y="198831"/>
                  </a:lnTo>
                  <a:lnTo>
                    <a:pt x="495605" y="200228"/>
                  </a:lnTo>
                  <a:lnTo>
                    <a:pt x="495605" y="199530"/>
                  </a:lnTo>
                  <a:lnTo>
                    <a:pt x="495707" y="199530"/>
                  </a:lnTo>
                  <a:lnTo>
                    <a:pt x="495707" y="200228"/>
                  </a:lnTo>
                  <a:lnTo>
                    <a:pt x="495707" y="199530"/>
                  </a:lnTo>
                  <a:lnTo>
                    <a:pt x="495707" y="200876"/>
                  </a:lnTo>
                  <a:lnTo>
                    <a:pt x="495758" y="200876"/>
                  </a:lnTo>
                  <a:lnTo>
                    <a:pt x="495758" y="200228"/>
                  </a:lnTo>
                  <a:lnTo>
                    <a:pt x="495758" y="200876"/>
                  </a:lnTo>
                  <a:lnTo>
                    <a:pt x="495758" y="200228"/>
                  </a:lnTo>
                  <a:lnTo>
                    <a:pt x="495808" y="200228"/>
                  </a:lnTo>
                  <a:lnTo>
                    <a:pt x="495808" y="199530"/>
                  </a:lnTo>
                  <a:lnTo>
                    <a:pt x="495808" y="200228"/>
                  </a:lnTo>
                  <a:lnTo>
                    <a:pt x="495808" y="199530"/>
                  </a:lnTo>
                  <a:lnTo>
                    <a:pt x="495808" y="200228"/>
                  </a:lnTo>
                  <a:lnTo>
                    <a:pt x="495808" y="199530"/>
                  </a:lnTo>
                  <a:lnTo>
                    <a:pt x="495847" y="199530"/>
                  </a:lnTo>
                  <a:lnTo>
                    <a:pt x="495847" y="196799"/>
                  </a:lnTo>
                  <a:lnTo>
                    <a:pt x="495948" y="196113"/>
                  </a:lnTo>
                  <a:lnTo>
                    <a:pt x="495948" y="197447"/>
                  </a:lnTo>
                  <a:lnTo>
                    <a:pt x="495948" y="195415"/>
                  </a:lnTo>
                  <a:lnTo>
                    <a:pt x="495999" y="195415"/>
                  </a:lnTo>
                  <a:lnTo>
                    <a:pt x="495999" y="198831"/>
                  </a:lnTo>
                  <a:lnTo>
                    <a:pt x="495999" y="196799"/>
                  </a:lnTo>
                  <a:lnTo>
                    <a:pt x="496050" y="196799"/>
                  </a:lnTo>
                  <a:lnTo>
                    <a:pt x="496050" y="198831"/>
                  </a:lnTo>
                  <a:lnTo>
                    <a:pt x="496050" y="196799"/>
                  </a:lnTo>
                  <a:lnTo>
                    <a:pt x="496151" y="196799"/>
                  </a:lnTo>
                  <a:lnTo>
                    <a:pt x="496151" y="198831"/>
                  </a:lnTo>
                  <a:lnTo>
                    <a:pt x="496151" y="197447"/>
                  </a:lnTo>
                  <a:lnTo>
                    <a:pt x="496151" y="198831"/>
                  </a:lnTo>
                  <a:lnTo>
                    <a:pt x="496202" y="198831"/>
                  </a:lnTo>
                  <a:lnTo>
                    <a:pt x="496202" y="199530"/>
                  </a:lnTo>
                  <a:lnTo>
                    <a:pt x="496202" y="198831"/>
                  </a:lnTo>
                  <a:lnTo>
                    <a:pt x="496202" y="200228"/>
                  </a:lnTo>
                  <a:lnTo>
                    <a:pt x="496253" y="200228"/>
                  </a:lnTo>
                  <a:lnTo>
                    <a:pt x="496253" y="200876"/>
                  </a:lnTo>
                  <a:lnTo>
                    <a:pt x="496253" y="200228"/>
                  </a:lnTo>
                  <a:lnTo>
                    <a:pt x="496253" y="200876"/>
                  </a:lnTo>
                  <a:lnTo>
                    <a:pt x="496253" y="200228"/>
                  </a:lnTo>
                  <a:lnTo>
                    <a:pt x="496253" y="200876"/>
                  </a:lnTo>
                  <a:lnTo>
                    <a:pt x="496253" y="200228"/>
                  </a:lnTo>
                  <a:lnTo>
                    <a:pt x="496253" y="200876"/>
                  </a:lnTo>
                  <a:lnTo>
                    <a:pt x="496304" y="200228"/>
                  </a:lnTo>
                  <a:lnTo>
                    <a:pt x="496304" y="200876"/>
                  </a:lnTo>
                  <a:lnTo>
                    <a:pt x="496304" y="199530"/>
                  </a:lnTo>
                  <a:lnTo>
                    <a:pt x="496393" y="199530"/>
                  </a:lnTo>
                  <a:lnTo>
                    <a:pt x="496393" y="197447"/>
                  </a:lnTo>
                  <a:lnTo>
                    <a:pt x="496393" y="198831"/>
                  </a:lnTo>
                  <a:lnTo>
                    <a:pt x="496393" y="196113"/>
                  </a:lnTo>
                  <a:lnTo>
                    <a:pt x="496443" y="196799"/>
                  </a:lnTo>
                  <a:lnTo>
                    <a:pt x="496443" y="196113"/>
                  </a:lnTo>
                  <a:lnTo>
                    <a:pt x="496443" y="197447"/>
                  </a:lnTo>
                  <a:lnTo>
                    <a:pt x="496443" y="196113"/>
                  </a:lnTo>
                  <a:lnTo>
                    <a:pt x="496494" y="196113"/>
                  </a:lnTo>
                  <a:lnTo>
                    <a:pt x="496494" y="195415"/>
                  </a:lnTo>
                  <a:lnTo>
                    <a:pt x="496494" y="198831"/>
                  </a:lnTo>
                  <a:lnTo>
                    <a:pt x="496494" y="196799"/>
                  </a:lnTo>
                  <a:lnTo>
                    <a:pt x="496545" y="196799"/>
                  </a:lnTo>
                  <a:lnTo>
                    <a:pt x="496545" y="198831"/>
                  </a:lnTo>
                  <a:lnTo>
                    <a:pt x="496545" y="196799"/>
                  </a:lnTo>
                  <a:lnTo>
                    <a:pt x="496647" y="196799"/>
                  </a:lnTo>
                  <a:lnTo>
                    <a:pt x="496647" y="198831"/>
                  </a:lnTo>
                  <a:lnTo>
                    <a:pt x="496647" y="197447"/>
                  </a:lnTo>
                  <a:lnTo>
                    <a:pt x="496647" y="198831"/>
                  </a:lnTo>
                  <a:lnTo>
                    <a:pt x="496647" y="197447"/>
                  </a:lnTo>
                  <a:lnTo>
                    <a:pt x="496647" y="198831"/>
                  </a:lnTo>
                  <a:lnTo>
                    <a:pt x="496697" y="198831"/>
                  </a:lnTo>
                  <a:lnTo>
                    <a:pt x="496697" y="199530"/>
                  </a:lnTo>
                  <a:lnTo>
                    <a:pt x="496748" y="199530"/>
                  </a:lnTo>
                  <a:lnTo>
                    <a:pt x="496748" y="200228"/>
                  </a:lnTo>
                  <a:lnTo>
                    <a:pt x="496748" y="199530"/>
                  </a:lnTo>
                  <a:lnTo>
                    <a:pt x="496748" y="200228"/>
                  </a:lnTo>
                  <a:lnTo>
                    <a:pt x="496748" y="199530"/>
                  </a:lnTo>
                  <a:lnTo>
                    <a:pt x="496850" y="199530"/>
                  </a:lnTo>
                  <a:lnTo>
                    <a:pt x="496850" y="200228"/>
                  </a:lnTo>
                  <a:lnTo>
                    <a:pt x="496850" y="199530"/>
                  </a:lnTo>
                  <a:lnTo>
                    <a:pt x="496850" y="200228"/>
                  </a:lnTo>
                  <a:lnTo>
                    <a:pt x="496850" y="199530"/>
                  </a:lnTo>
                  <a:lnTo>
                    <a:pt x="496888" y="199530"/>
                  </a:lnTo>
                  <a:lnTo>
                    <a:pt x="496888" y="200228"/>
                  </a:lnTo>
                  <a:lnTo>
                    <a:pt x="496888" y="198831"/>
                  </a:lnTo>
                  <a:lnTo>
                    <a:pt x="496888" y="200228"/>
                  </a:lnTo>
                  <a:lnTo>
                    <a:pt x="496939" y="200228"/>
                  </a:lnTo>
                  <a:lnTo>
                    <a:pt x="496939" y="198831"/>
                  </a:lnTo>
                  <a:lnTo>
                    <a:pt x="496939" y="202260"/>
                  </a:lnTo>
                  <a:lnTo>
                    <a:pt x="496990" y="202260"/>
                  </a:lnTo>
                  <a:lnTo>
                    <a:pt x="496990" y="200876"/>
                  </a:lnTo>
                  <a:lnTo>
                    <a:pt x="497091" y="200876"/>
                  </a:lnTo>
                  <a:lnTo>
                    <a:pt x="497091" y="200228"/>
                  </a:lnTo>
                  <a:lnTo>
                    <a:pt x="497091" y="200876"/>
                  </a:lnTo>
                  <a:lnTo>
                    <a:pt x="497091" y="200228"/>
                  </a:lnTo>
                  <a:lnTo>
                    <a:pt x="497142" y="200228"/>
                  </a:lnTo>
                  <a:lnTo>
                    <a:pt x="497142" y="200876"/>
                  </a:lnTo>
                  <a:lnTo>
                    <a:pt x="497142" y="200228"/>
                  </a:lnTo>
                  <a:lnTo>
                    <a:pt x="497142" y="200876"/>
                  </a:lnTo>
                  <a:lnTo>
                    <a:pt x="497142" y="200228"/>
                  </a:lnTo>
                  <a:lnTo>
                    <a:pt x="497193" y="200228"/>
                  </a:lnTo>
                  <a:lnTo>
                    <a:pt x="497193" y="200876"/>
                  </a:lnTo>
                  <a:lnTo>
                    <a:pt x="497294" y="200876"/>
                  </a:lnTo>
                  <a:lnTo>
                    <a:pt x="497294" y="200228"/>
                  </a:lnTo>
                  <a:lnTo>
                    <a:pt x="497294" y="200876"/>
                  </a:lnTo>
                  <a:lnTo>
                    <a:pt x="497294" y="200228"/>
                  </a:lnTo>
                  <a:lnTo>
                    <a:pt x="497294" y="200876"/>
                  </a:lnTo>
                  <a:lnTo>
                    <a:pt x="497294" y="200228"/>
                  </a:lnTo>
                  <a:lnTo>
                    <a:pt x="497294" y="200876"/>
                  </a:lnTo>
                  <a:lnTo>
                    <a:pt x="497294" y="200228"/>
                  </a:lnTo>
                  <a:lnTo>
                    <a:pt x="497345" y="199530"/>
                  </a:lnTo>
                  <a:lnTo>
                    <a:pt x="497345" y="200228"/>
                  </a:lnTo>
                  <a:lnTo>
                    <a:pt x="497345" y="199530"/>
                  </a:lnTo>
                  <a:lnTo>
                    <a:pt x="497345" y="200228"/>
                  </a:lnTo>
                  <a:lnTo>
                    <a:pt x="497345" y="199530"/>
                  </a:lnTo>
                  <a:lnTo>
                    <a:pt x="497345" y="200228"/>
                  </a:lnTo>
                  <a:lnTo>
                    <a:pt x="497345" y="198831"/>
                  </a:lnTo>
                  <a:lnTo>
                    <a:pt x="497345" y="199530"/>
                  </a:lnTo>
                  <a:lnTo>
                    <a:pt x="497396" y="200228"/>
                  </a:lnTo>
                  <a:lnTo>
                    <a:pt x="497396" y="202260"/>
                  </a:lnTo>
                  <a:lnTo>
                    <a:pt x="497396" y="200228"/>
                  </a:lnTo>
                  <a:lnTo>
                    <a:pt x="497396" y="202260"/>
                  </a:lnTo>
                  <a:lnTo>
                    <a:pt x="497434" y="202959"/>
                  </a:lnTo>
                  <a:lnTo>
                    <a:pt x="497434" y="203594"/>
                  </a:lnTo>
                  <a:lnTo>
                    <a:pt x="497434" y="202260"/>
                  </a:lnTo>
                  <a:lnTo>
                    <a:pt x="497434" y="204292"/>
                  </a:lnTo>
                  <a:lnTo>
                    <a:pt x="497536" y="204292"/>
                  </a:lnTo>
                  <a:lnTo>
                    <a:pt x="497536" y="202959"/>
                  </a:lnTo>
                  <a:lnTo>
                    <a:pt x="497536" y="203594"/>
                  </a:lnTo>
                  <a:lnTo>
                    <a:pt x="497587" y="203594"/>
                  </a:lnTo>
                  <a:lnTo>
                    <a:pt x="497587" y="202959"/>
                  </a:lnTo>
                  <a:lnTo>
                    <a:pt x="497587" y="203594"/>
                  </a:lnTo>
                  <a:lnTo>
                    <a:pt x="497587" y="202959"/>
                  </a:lnTo>
                  <a:lnTo>
                    <a:pt x="497587" y="203594"/>
                  </a:lnTo>
                  <a:lnTo>
                    <a:pt x="497587" y="202959"/>
                  </a:lnTo>
                  <a:lnTo>
                    <a:pt x="497637" y="202959"/>
                  </a:lnTo>
                  <a:lnTo>
                    <a:pt x="497637" y="203594"/>
                  </a:lnTo>
                  <a:lnTo>
                    <a:pt x="497637" y="202959"/>
                  </a:lnTo>
                  <a:lnTo>
                    <a:pt x="497637" y="203594"/>
                  </a:lnTo>
                  <a:lnTo>
                    <a:pt x="497637" y="202959"/>
                  </a:lnTo>
                  <a:lnTo>
                    <a:pt x="497637" y="203594"/>
                  </a:lnTo>
                  <a:lnTo>
                    <a:pt x="497637" y="202959"/>
                  </a:lnTo>
                  <a:lnTo>
                    <a:pt x="497739" y="202260"/>
                  </a:lnTo>
                  <a:lnTo>
                    <a:pt x="497739" y="202959"/>
                  </a:lnTo>
                  <a:lnTo>
                    <a:pt x="497739" y="202260"/>
                  </a:lnTo>
                  <a:lnTo>
                    <a:pt x="497739" y="202959"/>
                  </a:lnTo>
                  <a:lnTo>
                    <a:pt x="497739" y="200876"/>
                  </a:lnTo>
                  <a:lnTo>
                    <a:pt x="497739" y="202260"/>
                  </a:lnTo>
                  <a:lnTo>
                    <a:pt x="497739" y="200876"/>
                  </a:lnTo>
                  <a:lnTo>
                    <a:pt x="497739" y="202260"/>
                  </a:lnTo>
                  <a:lnTo>
                    <a:pt x="497790" y="202260"/>
                  </a:lnTo>
                  <a:lnTo>
                    <a:pt x="497790" y="200228"/>
                  </a:lnTo>
                  <a:lnTo>
                    <a:pt x="497790" y="200876"/>
                  </a:lnTo>
                  <a:lnTo>
                    <a:pt x="497790" y="199530"/>
                  </a:lnTo>
                  <a:lnTo>
                    <a:pt x="497841" y="199530"/>
                  </a:lnTo>
                  <a:lnTo>
                    <a:pt x="497841" y="198831"/>
                  </a:lnTo>
                  <a:lnTo>
                    <a:pt x="497841" y="200876"/>
                  </a:lnTo>
                  <a:lnTo>
                    <a:pt x="497841" y="199530"/>
                  </a:lnTo>
                  <a:lnTo>
                    <a:pt x="497841" y="200228"/>
                  </a:lnTo>
                  <a:lnTo>
                    <a:pt x="497891" y="200228"/>
                  </a:lnTo>
                  <a:lnTo>
                    <a:pt x="497891" y="202959"/>
                  </a:lnTo>
                  <a:lnTo>
                    <a:pt x="497891" y="202260"/>
                  </a:lnTo>
                  <a:lnTo>
                    <a:pt x="497980" y="202260"/>
                  </a:lnTo>
                  <a:lnTo>
                    <a:pt x="497980" y="204292"/>
                  </a:lnTo>
                  <a:lnTo>
                    <a:pt x="497980" y="202959"/>
                  </a:lnTo>
                  <a:lnTo>
                    <a:pt x="498031" y="203594"/>
                  </a:lnTo>
                  <a:lnTo>
                    <a:pt x="498031" y="202959"/>
                  </a:lnTo>
                  <a:lnTo>
                    <a:pt x="498031" y="203594"/>
                  </a:lnTo>
                  <a:lnTo>
                    <a:pt x="498082" y="203594"/>
                  </a:lnTo>
                  <a:lnTo>
                    <a:pt x="498082" y="202959"/>
                  </a:lnTo>
                  <a:lnTo>
                    <a:pt x="498082" y="203594"/>
                  </a:lnTo>
                  <a:lnTo>
                    <a:pt x="498133" y="203594"/>
                  </a:lnTo>
                  <a:lnTo>
                    <a:pt x="498133" y="202959"/>
                  </a:lnTo>
                  <a:lnTo>
                    <a:pt x="498133" y="203594"/>
                  </a:lnTo>
                  <a:lnTo>
                    <a:pt x="498133" y="202959"/>
                  </a:lnTo>
                  <a:lnTo>
                    <a:pt x="498133" y="203594"/>
                  </a:lnTo>
                  <a:lnTo>
                    <a:pt x="498133" y="202959"/>
                  </a:lnTo>
                  <a:lnTo>
                    <a:pt x="498133" y="203594"/>
                  </a:lnTo>
                  <a:lnTo>
                    <a:pt x="498234" y="203594"/>
                  </a:lnTo>
                  <a:lnTo>
                    <a:pt x="498234" y="200876"/>
                  </a:lnTo>
                  <a:lnTo>
                    <a:pt x="498234" y="202260"/>
                  </a:lnTo>
                  <a:lnTo>
                    <a:pt x="498285" y="202260"/>
                  </a:lnTo>
                  <a:lnTo>
                    <a:pt x="498285" y="199530"/>
                  </a:lnTo>
                  <a:lnTo>
                    <a:pt x="498285" y="200228"/>
                  </a:lnTo>
                  <a:lnTo>
                    <a:pt x="498285" y="198831"/>
                  </a:lnTo>
                  <a:lnTo>
                    <a:pt x="498285" y="200228"/>
                  </a:lnTo>
                  <a:lnTo>
                    <a:pt x="498336" y="200228"/>
                  </a:lnTo>
                  <a:lnTo>
                    <a:pt x="498336" y="202260"/>
                  </a:lnTo>
                  <a:lnTo>
                    <a:pt x="498336" y="199530"/>
                  </a:lnTo>
                  <a:lnTo>
                    <a:pt x="498336" y="200228"/>
                  </a:lnTo>
                  <a:lnTo>
                    <a:pt x="498336" y="199530"/>
                  </a:lnTo>
                  <a:lnTo>
                    <a:pt x="498336" y="202959"/>
                  </a:lnTo>
                  <a:lnTo>
                    <a:pt x="498437" y="202959"/>
                  </a:lnTo>
                  <a:lnTo>
                    <a:pt x="498437" y="200876"/>
                  </a:lnTo>
                  <a:lnTo>
                    <a:pt x="498437" y="203594"/>
                  </a:lnTo>
                  <a:lnTo>
                    <a:pt x="498476" y="202959"/>
                  </a:lnTo>
                  <a:lnTo>
                    <a:pt x="498476" y="202260"/>
                  </a:lnTo>
                  <a:lnTo>
                    <a:pt x="498476" y="203594"/>
                  </a:lnTo>
                  <a:lnTo>
                    <a:pt x="498476" y="202959"/>
                  </a:lnTo>
                  <a:lnTo>
                    <a:pt x="498526" y="202959"/>
                  </a:lnTo>
                  <a:lnTo>
                    <a:pt x="498526" y="202260"/>
                  </a:lnTo>
                  <a:lnTo>
                    <a:pt x="498526" y="202959"/>
                  </a:lnTo>
                  <a:lnTo>
                    <a:pt x="498577" y="202959"/>
                  </a:lnTo>
                  <a:lnTo>
                    <a:pt x="498577" y="203594"/>
                  </a:lnTo>
                  <a:lnTo>
                    <a:pt x="498577" y="202959"/>
                  </a:lnTo>
                  <a:lnTo>
                    <a:pt x="498577" y="203594"/>
                  </a:lnTo>
                  <a:lnTo>
                    <a:pt x="498679" y="203594"/>
                  </a:lnTo>
                  <a:lnTo>
                    <a:pt x="498679" y="202959"/>
                  </a:lnTo>
                  <a:lnTo>
                    <a:pt x="498679" y="203594"/>
                  </a:lnTo>
                  <a:lnTo>
                    <a:pt x="498679" y="202959"/>
                  </a:lnTo>
                  <a:lnTo>
                    <a:pt x="498679" y="203594"/>
                  </a:lnTo>
                  <a:lnTo>
                    <a:pt x="498679" y="202959"/>
                  </a:lnTo>
                  <a:lnTo>
                    <a:pt x="498730" y="202959"/>
                  </a:lnTo>
                  <a:lnTo>
                    <a:pt x="498730" y="202260"/>
                  </a:lnTo>
                  <a:lnTo>
                    <a:pt x="498730" y="202959"/>
                  </a:lnTo>
                  <a:lnTo>
                    <a:pt x="498730" y="200876"/>
                  </a:lnTo>
                  <a:lnTo>
                    <a:pt x="498730" y="202260"/>
                  </a:lnTo>
                  <a:lnTo>
                    <a:pt x="498730" y="200876"/>
                  </a:lnTo>
                  <a:lnTo>
                    <a:pt x="498780" y="200228"/>
                  </a:lnTo>
                  <a:lnTo>
                    <a:pt x="498780" y="199530"/>
                  </a:lnTo>
                  <a:lnTo>
                    <a:pt x="498780" y="200228"/>
                  </a:lnTo>
                  <a:lnTo>
                    <a:pt x="498780" y="198831"/>
                  </a:lnTo>
                  <a:lnTo>
                    <a:pt x="498780" y="200228"/>
                  </a:lnTo>
                  <a:lnTo>
                    <a:pt x="498882" y="200228"/>
                  </a:lnTo>
                  <a:lnTo>
                    <a:pt x="498882" y="199530"/>
                  </a:lnTo>
                  <a:lnTo>
                    <a:pt x="498882" y="200228"/>
                  </a:lnTo>
                  <a:lnTo>
                    <a:pt x="498882" y="199530"/>
                  </a:lnTo>
                  <a:lnTo>
                    <a:pt x="498882" y="202260"/>
                  </a:lnTo>
                  <a:lnTo>
                    <a:pt x="498933" y="200876"/>
                  </a:lnTo>
                  <a:lnTo>
                    <a:pt x="498933" y="200228"/>
                  </a:lnTo>
                  <a:lnTo>
                    <a:pt x="498933" y="202260"/>
                  </a:lnTo>
                  <a:lnTo>
                    <a:pt x="498933" y="200876"/>
                  </a:lnTo>
                  <a:lnTo>
                    <a:pt x="498983" y="200876"/>
                  </a:lnTo>
                  <a:lnTo>
                    <a:pt x="498983" y="200228"/>
                  </a:lnTo>
                  <a:lnTo>
                    <a:pt x="498983" y="202260"/>
                  </a:lnTo>
                  <a:lnTo>
                    <a:pt x="498983" y="200876"/>
                  </a:lnTo>
                  <a:lnTo>
                    <a:pt x="498983" y="202959"/>
                  </a:lnTo>
                  <a:lnTo>
                    <a:pt x="498983" y="202260"/>
                  </a:lnTo>
                  <a:lnTo>
                    <a:pt x="499022" y="202260"/>
                  </a:lnTo>
                  <a:lnTo>
                    <a:pt x="499022" y="200876"/>
                  </a:lnTo>
                  <a:lnTo>
                    <a:pt x="499022" y="202260"/>
                  </a:lnTo>
                  <a:lnTo>
                    <a:pt x="499022" y="200876"/>
                  </a:lnTo>
                  <a:lnTo>
                    <a:pt x="499022" y="202959"/>
                  </a:lnTo>
                  <a:lnTo>
                    <a:pt x="499123" y="202959"/>
                  </a:lnTo>
                  <a:lnTo>
                    <a:pt x="499123" y="203594"/>
                  </a:lnTo>
                  <a:lnTo>
                    <a:pt x="499123" y="202959"/>
                  </a:lnTo>
                  <a:lnTo>
                    <a:pt x="499123" y="203594"/>
                  </a:lnTo>
                  <a:lnTo>
                    <a:pt x="499123" y="202959"/>
                  </a:lnTo>
                  <a:lnTo>
                    <a:pt x="499174" y="202959"/>
                  </a:lnTo>
                  <a:lnTo>
                    <a:pt x="499174" y="202260"/>
                  </a:lnTo>
                  <a:lnTo>
                    <a:pt x="499225" y="202260"/>
                  </a:lnTo>
                  <a:lnTo>
                    <a:pt x="499225" y="200228"/>
                  </a:lnTo>
                  <a:lnTo>
                    <a:pt x="499225" y="200876"/>
                  </a:lnTo>
                  <a:lnTo>
                    <a:pt x="499225" y="199530"/>
                  </a:lnTo>
                  <a:lnTo>
                    <a:pt x="499326" y="200228"/>
                  </a:lnTo>
                  <a:lnTo>
                    <a:pt x="499326" y="200876"/>
                  </a:lnTo>
                  <a:lnTo>
                    <a:pt x="499326" y="199530"/>
                  </a:lnTo>
                  <a:lnTo>
                    <a:pt x="499326" y="200228"/>
                  </a:lnTo>
                  <a:lnTo>
                    <a:pt x="499377" y="200876"/>
                  </a:lnTo>
                  <a:lnTo>
                    <a:pt x="499377" y="202959"/>
                  </a:lnTo>
                  <a:lnTo>
                    <a:pt x="499377" y="200876"/>
                  </a:lnTo>
                  <a:lnTo>
                    <a:pt x="499377" y="202260"/>
                  </a:lnTo>
                  <a:lnTo>
                    <a:pt x="499428" y="202260"/>
                  </a:lnTo>
                  <a:lnTo>
                    <a:pt x="499428" y="202959"/>
                  </a:lnTo>
                  <a:lnTo>
                    <a:pt x="499428" y="200876"/>
                  </a:lnTo>
                  <a:lnTo>
                    <a:pt x="499428" y="202260"/>
                  </a:lnTo>
                  <a:lnTo>
                    <a:pt x="499479" y="202260"/>
                  </a:lnTo>
                  <a:lnTo>
                    <a:pt x="499479" y="200228"/>
                  </a:lnTo>
                  <a:lnTo>
                    <a:pt x="499479" y="202260"/>
                  </a:lnTo>
                  <a:lnTo>
                    <a:pt x="499479" y="200876"/>
                  </a:lnTo>
                  <a:lnTo>
                    <a:pt x="499479" y="202260"/>
                  </a:lnTo>
                  <a:lnTo>
                    <a:pt x="499479" y="200876"/>
                  </a:lnTo>
                  <a:lnTo>
                    <a:pt x="499479" y="202260"/>
                  </a:lnTo>
                  <a:lnTo>
                    <a:pt x="499479" y="200876"/>
                  </a:lnTo>
                  <a:lnTo>
                    <a:pt x="499568" y="200876"/>
                  </a:lnTo>
                  <a:lnTo>
                    <a:pt x="499568" y="202260"/>
                  </a:lnTo>
                  <a:lnTo>
                    <a:pt x="499568" y="200876"/>
                  </a:lnTo>
                  <a:lnTo>
                    <a:pt x="499568" y="202260"/>
                  </a:lnTo>
                  <a:lnTo>
                    <a:pt x="499568" y="200876"/>
                  </a:lnTo>
                  <a:lnTo>
                    <a:pt x="499568" y="202260"/>
                  </a:lnTo>
                  <a:lnTo>
                    <a:pt x="499568" y="200876"/>
                  </a:lnTo>
                  <a:lnTo>
                    <a:pt x="499618" y="200876"/>
                  </a:lnTo>
                  <a:lnTo>
                    <a:pt x="499618" y="202260"/>
                  </a:lnTo>
                  <a:lnTo>
                    <a:pt x="499618" y="200876"/>
                  </a:lnTo>
                  <a:lnTo>
                    <a:pt x="499669" y="202260"/>
                  </a:lnTo>
                  <a:lnTo>
                    <a:pt x="499669" y="199530"/>
                  </a:lnTo>
                  <a:lnTo>
                    <a:pt x="499720" y="199530"/>
                  </a:lnTo>
                  <a:lnTo>
                    <a:pt x="499720" y="200228"/>
                  </a:lnTo>
                  <a:lnTo>
                    <a:pt x="499720" y="198831"/>
                  </a:lnTo>
                  <a:lnTo>
                    <a:pt x="499720" y="199530"/>
                  </a:lnTo>
                  <a:lnTo>
                    <a:pt x="499822" y="200228"/>
                  </a:lnTo>
                  <a:lnTo>
                    <a:pt x="499822" y="199530"/>
                  </a:lnTo>
                  <a:lnTo>
                    <a:pt x="499822" y="200228"/>
                  </a:lnTo>
                  <a:lnTo>
                    <a:pt x="499822" y="198831"/>
                  </a:lnTo>
                  <a:lnTo>
                    <a:pt x="499822" y="202959"/>
                  </a:lnTo>
                  <a:lnTo>
                    <a:pt x="499872" y="202959"/>
                  </a:lnTo>
                  <a:lnTo>
                    <a:pt x="499872" y="200876"/>
                  </a:lnTo>
                  <a:lnTo>
                    <a:pt x="499872" y="203594"/>
                  </a:lnTo>
                  <a:lnTo>
                    <a:pt x="499872" y="202959"/>
                  </a:lnTo>
                  <a:lnTo>
                    <a:pt x="499872" y="203594"/>
                  </a:lnTo>
                  <a:lnTo>
                    <a:pt x="499872" y="202959"/>
                  </a:lnTo>
                  <a:lnTo>
                    <a:pt x="499923" y="202260"/>
                  </a:lnTo>
                  <a:lnTo>
                    <a:pt x="499923" y="202959"/>
                  </a:lnTo>
                  <a:lnTo>
                    <a:pt x="499923" y="202260"/>
                  </a:lnTo>
                  <a:lnTo>
                    <a:pt x="500025" y="202260"/>
                  </a:lnTo>
                  <a:lnTo>
                    <a:pt x="500025" y="202959"/>
                  </a:lnTo>
                  <a:lnTo>
                    <a:pt x="500025" y="202260"/>
                  </a:lnTo>
                  <a:lnTo>
                    <a:pt x="500063" y="202260"/>
                  </a:lnTo>
                  <a:lnTo>
                    <a:pt x="500063" y="202959"/>
                  </a:lnTo>
                  <a:lnTo>
                    <a:pt x="500063" y="202260"/>
                  </a:lnTo>
                  <a:lnTo>
                    <a:pt x="500063" y="202959"/>
                  </a:lnTo>
                  <a:lnTo>
                    <a:pt x="500063" y="202260"/>
                  </a:lnTo>
                  <a:lnTo>
                    <a:pt x="500114" y="202260"/>
                  </a:lnTo>
                  <a:lnTo>
                    <a:pt x="500114" y="200876"/>
                  </a:lnTo>
                  <a:lnTo>
                    <a:pt x="500165" y="200876"/>
                  </a:lnTo>
                  <a:lnTo>
                    <a:pt x="500165" y="199530"/>
                  </a:lnTo>
                  <a:lnTo>
                    <a:pt x="500266" y="199530"/>
                  </a:lnTo>
                  <a:lnTo>
                    <a:pt x="500266" y="198831"/>
                  </a:lnTo>
                  <a:lnTo>
                    <a:pt x="500266" y="199530"/>
                  </a:lnTo>
                  <a:lnTo>
                    <a:pt x="500266" y="197447"/>
                  </a:lnTo>
                  <a:lnTo>
                    <a:pt x="500266" y="199530"/>
                  </a:lnTo>
                  <a:lnTo>
                    <a:pt x="500317" y="199530"/>
                  </a:lnTo>
                  <a:lnTo>
                    <a:pt x="500317" y="197447"/>
                  </a:lnTo>
                  <a:lnTo>
                    <a:pt x="500317" y="200876"/>
                  </a:lnTo>
                  <a:lnTo>
                    <a:pt x="500368" y="200876"/>
                  </a:lnTo>
                  <a:lnTo>
                    <a:pt x="500368" y="200228"/>
                  </a:lnTo>
                  <a:lnTo>
                    <a:pt x="500368" y="200876"/>
                  </a:lnTo>
                  <a:lnTo>
                    <a:pt x="500469" y="200876"/>
                  </a:lnTo>
                  <a:lnTo>
                    <a:pt x="500469" y="200228"/>
                  </a:lnTo>
                  <a:lnTo>
                    <a:pt x="500469" y="200876"/>
                  </a:lnTo>
                  <a:lnTo>
                    <a:pt x="500520" y="200876"/>
                  </a:lnTo>
                  <a:lnTo>
                    <a:pt x="500520" y="202959"/>
                  </a:lnTo>
                  <a:lnTo>
                    <a:pt x="500520" y="200876"/>
                  </a:lnTo>
                  <a:lnTo>
                    <a:pt x="500571" y="200876"/>
                  </a:lnTo>
                  <a:lnTo>
                    <a:pt x="500571" y="202260"/>
                  </a:lnTo>
                  <a:lnTo>
                    <a:pt x="500571" y="200876"/>
                  </a:lnTo>
                  <a:lnTo>
                    <a:pt x="500571" y="202260"/>
                  </a:lnTo>
                  <a:lnTo>
                    <a:pt x="500571" y="200876"/>
                  </a:lnTo>
                  <a:lnTo>
                    <a:pt x="500571" y="202260"/>
                  </a:lnTo>
                  <a:lnTo>
                    <a:pt x="500609" y="200876"/>
                  </a:lnTo>
                  <a:lnTo>
                    <a:pt x="500609" y="202260"/>
                  </a:lnTo>
                  <a:lnTo>
                    <a:pt x="500609" y="200876"/>
                  </a:lnTo>
                  <a:lnTo>
                    <a:pt x="500711" y="200228"/>
                  </a:lnTo>
                  <a:lnTo>
                    <a:pt x="500711" y="198831"/>
                  </a:lnTo>
                  <a:lnTo>
                    <a:pt x="500762" y="198831"/>
                  </a:lnTo>
                  <a:lnTo>
                    <a:pt x="500762" y="196113"/>
                  </a:lnTo>
                  <a:lnTo>
                    <a:pt x="500762" y="197447"/>
                  </a:lnTo>
                  <a:lnTo>
                    <a:pt x="500812" y="197447"/>
                  </a:lnTo>
                  <a:lnTo>
                    <a:pt x="500812" y="196799"/>
                  </a:lnTo>
                  <a:lnTo>
                    <a:pt x="500812" y="199530"/>
                  </a:lnTo>
                  <a:lnTo>
                    <a:pt x="500914" y="199530"/>
                  </a:lnTo>
                  <a:lnTo>
                    <a:pt x="500914" y="198831"/>
                  </a:lnTo>
                  <a:lnTo>
                    <a:pt x="500914" y="199530"/>
                  </a:lnTo>
                  <a:lnTo>
                    <a:pt x="500965" y="199530"/>
                  </a:lnTo>
                  <a:lnTo>
                    <a:pt x="500965" y="200228"/>
                  </a:lnTo>
                  <a:lnTo>
                    <a:pt x="500965" y="199530"/>
                  </a:lnTo>
                  <a:lnTo>
                    <a:pt x="500965" y="200876"/>
                  </a:lnTo>
                  <a:lnTo>
                    <a:pt x="501016" y="200228"/>
                  </a:lnTo>
                  <a:lnTo>
                    <a:pt x="501016" y="200876"/>
                  </a:lnTo>
                  <a:lnTo>
                    <a:pt x="501066" y="200876"/>
                  </a:lnTo>
                  <a:lnTo>
                    <a:pt x="501066" y="200228"/>
                  </a:lnTo>
                  <a:lnTo>
                    <a:pt x="501066" y="202260"/>
                  </a:lnTo>
                  <a:lnTo>
                    <a:pt x="501066" y="200876"/>
                  </a:lnTo>
                  <a:lnTo>
                    <a:pt x="501066" y="202260"/>
                  </a:lnTo>
                  <a:lnTo>
                    <a:pt x="501066" y="200876"/>
                  </a:lnTo>
                  <a:lnTo>
                    <a:pt x="501066" y="202260"/>
                  </a:lnTo>
                  <a:lnTo>
                    <a:pt x="501066" y="200876"/>
                  </a:lnTo>
                  <a:lnTo>
                    <a:pt x="501155" y="200876"/>
                  </a:lnTo>
                  <a:lnTo>
                    <a:pt x="501155" y="202260"/>
                  </a:lnTo>
                  <a:lnTo>
                    <a:pt x="501155" y="200876"/>
                  </a:lnTo>
                  <a:lnTo>
                    <a:pt x="501155" y="202260"/>
                  </a:lnTo>
                  <a:lnTo>
                    <a:pt x="501155" y="200876"/>
                  </a:lnTo>
                  <a:lnTo>
                    <a:pt x="501155" y="202260"/>
                  </a:lnTo>
                  <a:lnTo>
                    <a:pt x="501155" y="200228"/>
                  </a:lnTo>
                  <a:lnTo>
                    <a:pt x="501206" y="200228"/>
                  </a:lnTo>
                  <a:lnTo>
                    <a:pt x="501206" y="199530"/>
                  </a:lnTo>
                  <a:lnTo>
                    <a:pt x="501257" y="199530"/>
                  </a:lnTo>
                  <a:lnTo>
                    <a:pt x="501257" y="198831"/>
                  </a:lnTo>
                  <a:lnTo>
                    <a:pt x="501257" y="200228"/>
                  </a:lnTo>
                  <a:lnTo>
                    <a:pt x="501257" y="199530"/>
                  </a:lnTo>
                  <a:lnTo>
                    <a:pt x="501308" y="199530"/>
                  </a:lnTo>
                  <a:lnTo>
                    <a:pt x="501308" y="200876"/>
                  </a:lnTo>
                  <a:lnTo>
                    <a:pt x="501308" y="200228"/>
                  </a:lnTo>
                  <a:lnTo>
                    <a:pt x="501308" y="200876"/>
                  </a:lnTo>
                  <a:lnTo>
                    <a:pt x="501308" y="200228"/>
                  </a:lnTo>
                  <a:lnTo>
                    <a:pt x="501409" y="200228"/>
                  </a:lnTo>
                  <a:lnTo>
                    <a:pt x="501409" y="199530"/>
                  </a:lnTo>
                  <a:lnTo>
                    <a:pt x="501409" y="200228"/>
                  </a:lnTo>
                  <a:lnTo>
                    <a:pt x="501460" y="199530"/>
                  </a:lnTo>
                  <a:lnTo>
                    <a:pt x="501460" y="200228"/>
                  </a:lnTo>
                  <a:lnTo>
                    <a:pt x="501460" y="199530"/>
                  </a:lnTo>
                  <a:lnTo>
                    <a:pt x="501460" y="200228"/>
                  </a:lnTo>
                  <a:lnTo>
                    <a:pt x="501460" y="199530"/>
                  </a:lnTo>
                  <a:lnTo>
                    <a:pt x="501460" y="200228"/>
                  </a:lnTo>
                  <a:lnTo>
                    <a:pt x="501511" y="200876"/>
                  </a:lnTo>
                  <a:lnTo>
                    <a:pt x="501511" y="200228"/>
                  </a:lnTo>
                  <a:lnTo>
                    <a:pt x="501511" y="200876"/>
                  </a:lnTo>
                  <a:lnTo>
                    <a:pt x="501511" y="200228"/>
                  </a:lnTo>
                  <a:lnTo>
                    <a:pt x="501511" y="200876"/>
                  </a:lnTo>
                  <a:lnTo>
                    <a:pt x="501511" y="200228"/>
                  </a:lnTo>
                  <a:lnTo>
                    <a:pt x="501612" y="200228"/>
                  </a:lnTo>
                  <a:lnTo>
                    <a:pt x="501612" y="200876"/>
                  </a:lnTo>
                  <a:lnTo>
                    <a:pt x="501651" y="200876"/>
                  </a:lnTo>
                  <a:lnTo>
                    <a:pt x="501651" y="200228"/>
                  </a:lnTo>
                  <a:lnTo>
                    <a:pt x="501651" y="200876"/>
                  </a:lnTo>
                  <a:lnTo>
                    <a:pt x="501651" y="199530"/>
                  </a:lnTo>
                  <a:lnTo>
                    <a:pt x="501701" y="200228"/>
                  </a:lnTo>
                  <a:lnTo>
                    <a:pt x="501701" y="199530"/>
                  </a:lnTo>
                  <a:lnTo>
                    <a:pt x="501701" y="200228"/>
                  </a:lnTo>
                  <a:lnTo>
                    <a:pt x="501701" y="197447"/>
                  </a:lnTo>
                  <a:lnTo>
                    <a:pt x="501701" y="198831"/>
                  </a:lnTo>
                  <a:lnTo>
                    <a:pt x="501701" y="197447"/>
                  </a:lnTo>
                  <a:lnTo>
                    <a:pt x="501752" y="197447"/>
                  </a:lnTo>
                  <a:lnTo>
                    <a:pt x="501752" y="196113"/>
                  </a:lnTo>
                  <a:lnTo>
                    <a:pt x="501752" y="199530"/>
                  </a:lnTo>
                  <a:lnTo>
                    <a:pt x="501752" y="197447"/>
                  </a:lnTo>
                  <a:lnTo>
                    <a:pt x="501752" y="198831"/>
                  </a:lnTo>
                  <a:lnTo>
                    <a:pt x="501752" y="197447"/>
                  </a:lnTo>
                  <a:lnTo>
                    <a:pt x="501854" y="197447"/>
                  </a:lnTo>
                  <a:lnTo>
                    <a:pt x="501854" y="200228"/>
                  </a:lnTo>
                  <a:lnTo>
                    <a:pt x="501854" y="198831"/>
                  </a:lnTo>
                  <a:lnTo>
                    <a:pt x="501905" y="198831"/>
                  </a:lnTo>
                  <a:lnTo>
                    <a:pt x="501905" y="199530"/>
                  </a:lnTo>
                  <a:lnTo>
                    <a:pt x="501905" y="198831"/>
                  </a:lnTo>
                  <a:lnTo>
                    <a:pt x="501905" y="200228"/>
                  </a:lnTo>
                  <a:lnTo>
                    <a:pt x="501905" y="199530"/>
                  </a:lnTo>
                  <a:lnTo>
                    <a:pt x="501955" y="199530"/>
                  </a:lnTo>
                  <a:lnTo>
                    <a:pt x="501955" y="200228"/>
                  </a:lnTo>
                  <a:lnTo>
                    <a:pt x="501955" y="199530"/>
                  </a:lnTo>
                  <a:lnTo>
                    <a:pt x="501955" y="200228"/>
                  </a:lnTo>
                  <a:lnTo>
                    <a:pt x="502057" y="200228"/>
                  </a:lnTo>
                  <a:lnTo>
                    <a:pt x="502057" y="200876"/>
                  </a:lnTo>
                  <a:lnTo>
                    <a:pt x="502057" y="200228"/>
                  </a:lnTo>
                  <a:lnTo>
                    <a:pt x="502057" y="200876"/>
                  </a:lnTo>
                  <a:lnTo>
                    <a:pt x="502057" y="200228"/>
                  </a:lnTo>
                  <a:lnTo>
                    <a:pt x="502057" y="200876"/>
                  </a:lnTo>
                  <a:lnTo>
                    <a:pt x="502057" y="200228"/>
                  </a:lnTo>
                  <a:lnTo>
                    <a:pt x="502057" y="200876"/>
                  </a:lnTo>
                  <a:lnTo>
                    <a:pt x="502057" y="200228"/>
                  </a:lnTo>
                  <a:lnTo>
                    <a:pt x="502108" y="200876"/>
                  </a:lnTo>
                  <a:lnTo>
                    <a:pt x="502108" y="200228"/>
                  </a:lnTo>
                  <a:lnTo>
                    <a:pt x="502108" y="200876"/>
                  </a:lnTo>
                  <a:lnTo>
                    <a:pt x="502108" y="200228"/>
                  </a:lnTo>
                  <a:lnTo>
                    <a:pt x="502108" y="200876"/>
                  </a:lnTo>
                  <a:lnTo>
                    <a:pt x="502108" y="200228"/>
                  </a:lnTo>
                  <a:lnTo>
                    <a:pt x="502108" y="200876"/>
                  </a:lnTo>
                  <a:lnTo>
                    <a:pt x="502108" y="200228"/>
                  </a:lnTo>
                  <a:lnTo>
                    <a:pt x="502158" y="200228"/>
                  </a:lnTo>
                  <a:lnTo>
                    <a:pt x="502158" y="199530"/>
                  </a:lnTo>
                  <a:lnTo>
                    <a:pt x="502197" y="199530"/>
                  </a:lnTo>
                  <a:lnTo>
                    <a:pt x="502197" y="197447"/>
                  </a:lnTo>
                  <a:lnTo>
                    <a:pt x="502298" y="197447"/>
                  </a:lnTo>
                  <a:lnTo>
                    <a:pt x="502298" y="196799"/>
                  </a:lnTo>
                  <a:lnTo>
                    <a:pt x="502298" y="197447"/>
                  </a:lnTo>
                  <a:lnTo>
                    <a:pt x="502298" y="196799"/>
                  </a:lnTo>
                  <a:lnTo>
                    <a:pt x="502298" y="198831"/>
                  </a:lnTo>
                  <a:lnTo>
                    <a:pt x="502298" y="196799"/>
                  </a:lnTo>
                  <a:lnTo>
                    <a:pt x="502298" y="197447"/>
                  </a:lnTo>
                  <a:lnTo>
                    <a:pt x="502298" y="196113"/>
                  </a:lnTo>
                  <a:lnTo>
                    <a:pt x="502349" y="195415"/>
                  </a:lnTo>
                  <a:lnTo>
                    <a:pt x="502349" y="199530"/>
                  </a:lnTo>
                  <a:lnTo>
                    <a:pt x="502349" y="196799"/>
                  </a:lnTo>
                  <a:lnTo>
                    <a:pt x="502400" y="196799"/>
                  </a:lnTo>
                  <a:lnTo>
                    <a:pt x="502400" y="199530"/>
                  </a:lnTo>
                  <a:lnTo>
                    <a:pt x="502400" y="197447"/>
                  </a:lnTo>
                  <a:lnTo>
                    <a:pt x="502501" y="197447"/>
                  </a:lnTo>
                  <a:lnTo>
                    <a:pt x="502501" y="199530"/>
                  </a:lnTo>
                  <a:lnTo>
                    <a:pt x="502501" y="198831"/>
                  </a:lnTo>
                  <a:lnTo>
                    <a:pt x="502501" y="199530"/>
                  </a:lnTo>
                  <a:lnTo>
                    <a:pt x="502501" y="198831"/>
                  </a:lnTo>
                  <a:lnTo>
                    <a:pt x="502501" y="199530"/>
                  </a:lnTo>
                  <a:lnTo>
                    <a:pt x="502501" y="198831"/>
                  </a:lnTo>
                  <a:lnTo>
                    <a:pt x="502501" y="199530"/>
                  </a:lnTo>
                  <a:lnTo>
                    <a:pt x="502501" y="198831"/>
                  </a:lnTo>
                  <a:lnTo>
                    <a:pt x="502552" y="199530"/>
                  </a:lnTo>
                  <a:lnTo>
                    <a:pt x="502603" y="199530"/>
                  </a:lnTo>
                  <a:lnTo>
                    <a:pt x="502603" y="200228"/>
                  </a:lnTo>
                  <a:lnTo>
                    <a:pt x="502603" y="199530"/>
                  </a:lnTo>
                  <a:lnTo>
                    <a:pt x="502603" y="200228"/>
                  </a:lnTo>
                  <a:lnTo>
                    <a:pt x="502603" y="199530"/>
                  </a:lnTo>
                  <a:lnTo>
                    <a:pt x="502603" y="200228"/>
                  </a:lnTo>
                  <a:lnTo>
                    <a:pt x="502603" y="199530"/>
                  </a:lnTo>
                  <a:lnTo>
                    <a:pt x="502654" y="199530"/>
                  </a:lnTo>
                  <a:lnTo>
                    <a:pt x="502654" y="200228"/>
                  </a:lnTo>
                  <a:lnTo>
                    <a:pt x="502654" y="198831"/>
                  </a:lnTo>
                  <a:lnTo>
                    <a:pt x="502654" y="199530"/>
                  </a:lnTo>
                  <a:lnTo>
                    <a:pt x="502743" y="199530"/>
                  </a:lnTo>
                  <a:lnTo>
                    <a:pt x="502743" y="197447"/>
                  </a:lnTo>
                  <a:lnTo>
                    <a:pt x="502743" y="198831"/>
                  </a:lnTo>
                  <a:lnTo>
                    <a:pt x="502743" y="196799"/>
                  </a:lnTo>
                  <a:lnTo>
                    <a:pt x="502793" y="196799"/>
                  </a:lnTo>
                  <a:lnTo>
                    <a:pt x="502793" y="198831"/>
                  </a:lnTo>
                  <a:lnTo>
                    <a:pt x="502793" y="196113"/>
                  </a:lnTo>
                  <a:lnTo>
                    <a:pt x="502793" y="196799"/>
                  </a:lnTo>
                  <a:lnTo>
                    <a:pt x="502844" y="196799"/>
                  </a:lnTo>
                  <a:lnTo>
                    <a:pt x="502844" y="199530"/>
                  </a:lnTo>
                  <a:lnTo>
                    <a:pt x="502844" y="197447"/>
                  </a:lnTo>
                  <a:lnTo>
                    <a:pt x="502844" y="198831"/>
                  </a:lnTo>
                  <a:lnTo>
                    <a:pt x="502844" y="197447"/>
                  </a:lnTo>
                  <a:lnTo>
                    <a:pt x="502895" y="198831"/>
                  </a:lnTo>
                  <a:lnTo>
                    <a:pt x="502895" y="199530"/>
                  </a:lnTo>
                  <a:lnTo>
                    <a:pt x="502895" y="198831"/>
                  </a:lnTo>
                  <a:lnTo>
                    <a:pt x="502895" y="199530"/>
                  </a:lnTo>
                  <a:lnTo>
                    <a:pt x="502997" y="199530"/>
                  </a:lnTo>
                  <a:lnTo>
                    <a:pt x="502997" y="198831"/>
                  </a:lnTo>
                  <a:lnTo>
                    <a:pt x="502997" y="200228"/>
                  </a:lnTo>
                  <a:lnTo>
                    <a:pt x="502997" y="199530"/>
                  </a:lnTo>
                  <a:lnTo>
                    <a:pt x="502997" y="200228"/>
                  </a:lnTo>
                  <a:lnTo>
                    <a:pt x="503047" y="200228"/>
                  </a:lnTo>
                  <a:lnTo>
                    <a:pt x="503047" y="199530"/>
                  </a:lnTo>
                  <a:lnTo>
                    <a:pt x="503047" y="200876"/>
                  </a:lnTo>
                  <a:lnTo>
                    <a:pt x="503047" y="200228"/>
                  </a:lnTo>
                  <a:lnTo>
                    <a:pt x="503098" y="200228"/>
                  </a:lnTo>
                  <a:lnTo>
                    <a:pt x="503098" y="199530"/>
                  </a:lnTo>
                  <a:lnTo>
                    <a:pt x="503098" y="200876"/>
                  </a:lnTo>
                  <a:lnTo>
                    <a:pt x="503098" y="200228"/>
                  </a:lnTo>
                  <a:lnTo>
                    <a:pt x="503200" y="200228"/>
                  </a:lnTo>
                  <a:lnTo>
                    <a:pt x="503200" y="199530"/>
                  </a:lnTo>
                  <a:lnTo>
                    <a:pt x="503200" y="200228"/>
                  </a:lnTo>
                  <a:lnTo>
                    <a:pt x="503200" y="199530"/>
                  </a:lnTo>
                  <a:lnTo>
                    <a:pt x="503200" y="200228"/>
                  </a:lnTo>
                  <a:lnTo>
                    <a:pt x="503200" y="199530"/>
                  </a:lnTo>
                  <a:lnTo>
                    <a:pt x="503238" y="199530"/>
                  </a:lnTo>
                  <a:lnTo>
                    <a:pt x="503238" y="198831"/>
                  </a:lnTo>
                  <a:lnTo>
                    <a:pt x="503289" y="197447"/>
                  </a:lnTo>
                  <a:lnTo>
                    <a:pt x="503289" y="199530"/>
                  </a:lnTo>
                  <a:lnTo>
                    <a:pt x="503289" y="198831"/>
                  </a:lnTo>
                  <a:lnTo>
                    <a:pt x="503289" y="199530"/>
                  </a:lnTo>
                  <a:lnTo>
                    <a:pt x="503289" y="197447"/>
                  </a:lnTo>
                  <a:lnTo>
                    <a:pt x="503289" y="198831"/>
                  </a:lnTo>
                  <a:lnTo>
                    <a:pt x="503340" y="199530"/>
                  </a:lnTo>
                  <a:lnTo>
                    <a:pt x="503340" y="200228"/>
                  </a:lnTo>
                  <a:lnTo>
                    <a:pt x="503340" y="199530"/>
                  </a:lnTo>
                  <a:lnTo>
                    <a:pt x="503340" y="200228"/>
                  </a:lnTo>
                  <a:lnTo>
                    <a:pt x="503340" y="198831"/>
                  </a:lnTo>
                  <a:lnTo>
                    <a:pt x="503340" y="199530"/>
                  </a:lnTo>
                  <a:lnTo>
                    <a:pt x="503441" y="200228"/>
                  </a:lnTo>
                  <a:lnTo>
                    <a:pt x="503441" y="199530"/>
                  </a:lnTo>
                  <a:lnTo>
                    <a:pt x="503441" y="200228"/>
                  </a:lnTo>
                  <a:lnTo>
                    <a:pt x="503441" y="199530"/>
                  </a:lnTo>
                  <a:lnTo>
                    <a:pt x="503492" y="199530"/>
                  </a:lnTo>
                  <a:lnTo>
                    <a:pt x="503492" y="200228"/>
                  </a:lnTo>
                  <a:lnTo>
                    <a:pt x="503492" y="199530"/>
                  </a:lnTo>
                  <a:lnTo>
                    <a:pt x="503492" y="200228"/>
                  </a:lnTo>
                  <a:lnTo>
                    <a:pt x="503492" y="199530"/>
                  </a:lnTo>
                  <a:lnTo>
                    <a:pt x="503492" y="200228"/>
                  </a:lnTo>
                  <a:lnTo>
                    <a:pt x="503492" y="199530"/>
                  </a:lnTo>
                  <a:lnTo>
                    <a:pt x="503492" y="200228"/>
                  </a:lnTo>
                  <a:lnTo>
                    <a:pt x="503543" y="200228"/>
                  </a:lnTo>
                  <a:lnTo>
                    <a:pt x="503543" y="199530"/>
                  </a:lnTo>
                  <a:lnTo>
                    <a:pt x="503543" y="200228"/>
                  </a:lnTo>
                  <a:lnTo>
                    <a:pt x="503644" y="200228"/>
                  </a:lnTo>
                  <a:lnTo>
                    <a:pt x="503644" y="200876"/>
                  </a:lnTo>
                  <a:lnTo>
                    <a:pt x="503644" y="200228"/>
                  </a:lnTo>
                  <a:lnTo>
                    <a:pt x="503695" y="200228"/>
                  </a:lnTo>
                  <a:lnTo>
                    <a:pt x="503695" y="199530"/>
                  </a:lnTo>
                  <a:lnTo>
                    <a:pt x="503695" y="200228"/>
                  </a:lnTo>
                  <a:lnTo>
                    <a:pt x="503695" y="198831"/>
                  </a:lnTo>
                  <a:lnTo>
                    <a:pt x="503695" y="199530"/>
                  </a:lnTo>
                  <a:lnTo>
                    <a:pt x="503746" y="199530"/>
                  </a:lnTo>
                  <a:lnTo>
                    <a:pt x="503746" y="197447"/>
                  </a:lnTo>
                  <a:lnTo>
                    <a:pt x="503746" y="198831"/>
                  </a:lnTo>
                  <a:lnTo>
                    <a:pt x="503746" y="196799"/>
                  </a:lnTo>
                  <a:lnTo>
                    <a:pt x="503784" y="196799"/>
                  </a:lnTo>
                  <a:lnTo>
                    <a:pt x="503784" y="199530"/>
                  </a:lnTo>
                  <a:lnTo>
                    <a:pt x="503784" y="196799"/>
                  </a:lnTo>
                  <a:lnTo>
                    <a:pt x="503784" y="198831"/>
                  </a:lnTo>
                  <a:lnTo>
                    <a:pt x="503886" y="198831"/>
                  </a:lnTo>
                  <a:lnTo>
                    <a:pt x="503886" y="200228"/>
                  </a:lnTo>
                  <a:lnTo>
                    <a:pt x="503886" y="198831"/>
                  </a:lnTo>
                  <a:lnTo>
                    <a:pt x="503886" y="200228"/>
                  </a:lnTo>
                  <a:lnTo>
                    <a:pt x="503937" y="200228"/>
                  </a:lnTo>
                  <a:lnTo>
                    <a:pt x="503937" y="199530"/>
                  </a:lnTo>
                  <a:lnTo>
                    <a:pt x="503937" y="200228"/>
                  </a:lnTo>
                  <a:lnTo>
                    <a:pt x="503937" y="199530"/>
                  </a:lnTo>
                  <a:lnTo>
                    <a:pt x="503937" y="200228"/>
                  </a:lnTo>
                  <a:lnTo>
                    <a:pt x="503987" y="200228"/>
                  </a:lnTo>
                  <a:lnTo>
                    <a:pt x="503987" y="200876"/>
                  </a:lnTo>
                  <a:lnTo>
                    <a:pt x="503987" y="200228"/>
                  </a:lnTo>
                  <a:lnTo>
                    <a:pt x="504089" y="200228"/>
                  </a:lnTo>
                  <a:lnTo>
                    <a:pt x="504089" y="200876"/>
                  </a:lnTo>
                  <a:lnTo>
                    <a:pt x="504089" y="200228"/>
                  </a:lnTo>
                  <a:lnTo>
                    <a:pt x="504089" y="200876"/>
                  </a:lnTo>
                  <a:lnTo>
                    <a:pt x="504140" y="200228"/>
                  </a:lnTo>
                  <a:lnTo>
                    <a:pt x="504140" y="200876"/>
                  </a:lnTo>
                  <a:lnTo>
                    <a:pt x="504140" y="200228"/>
                  </a:lnTo>
                  <a:lnTo>
                    <a:pt x="504140" y="200876"/>
                  </a:lnTo>
                  <a:lnTo>
                    <a:pt x="504140" y="200228"/>
                  </a:lnTo>
                  <a:lnTo>
                    <a:pt x="504191" y="200228"/>
                  </a:lnTo>
                  <a:lnTo>
                    <a:pt x="504191" y="198831"/>
                  </a:lnTo>
                  <a:lnTo>
                    <a:pt x="504241" y="198831"/>
                  </a:lnTo>
                  <a:lnTo>
                    <a:pt x="504241" y="199530"/>
                  </a:lnTo>
                  <a:lnTo>
                    <a:pt x="504241" y="198831"/>
                  </a:lnTo>
                  <a:lnTo>
                    <a:pt x="504241" y="200228"/>
                  </a:lnTo>
                  <a:lnTo>
                    <a:pt x="504241" y="199530"/>
                  </a:lnTo>
                  <a:lnTo>
                    <a:pt x="504330" y="199530"/>
                  </a:lnTo>
                  <a:lnTo>
                    <a:pt x="504330" y="198831"/>
                  </a:lnTo>
                  <a:lnTo>
                    <a:pt x="504330" y="200876"/>
                  </a:lnTo>
                  <a:lnTo>
                    <a:pt x="504330" y="200228"/>
                  </a:lnTo>
                  <a:lnTo>
                    <a:pt x="504381" y="200228"/>
                  </a:lnTo>
                  <a:lnTo>
                    <a:pt x="504381" y="202260"/>
                  </a:lnTo>
                  <a:lnTo>
                    <a:pt x="504381" y="200876"/>
                  </a:lnTo>
                  <a:lnTo>
                    <a:pt x="504432" y="200228"/>
                  </a:lnTo>
                  <a:lnTo>
                    <a:pt x="504432" y="200876"/>
                  </a:lnTo>
                  <a:lnTo>
                    <a:pt x="504432" y="200228"/>
                  </a:lnTo>
                  <a:lnTo>
                    <a:pt x="504432" y="200876"/>
                  </a:lnTo>
                  <a:lnTo>
                    <a:pt x="504432" y="200228"/>
                  </a:lnTo>
                  <a:lnTo>
                    <a:pt x="504432" y="200876"/>
                  </a:lnTo>
                  <a:lnTo>
                    <a:pt x="504432" y="200228"/>
                  </a:lnTo>
                  <a:lnTo>
                    <a:pt x="504432" y="200876"/>
                  </a:lnTo>
                  <a:lnTo>
                    <a:pt x="504483" y="200876"/>
                  </a:lnTo>
                  <a:lnTo>
                    <a:pt x="504483" y="200228"/>
                  </a:lnTo>
                  <a:lnTo>
                    <a:pt x="504483" y="202260"/>
                  </a:lnTo>
                  <a:lnTo>
                    <a:pt x="504483" y="200876"/>
                  </a:lnTo>
                  <a:lnTo>
                    <a:pt x="504584" y="200876"/>
                  </a:lnTo>
                  <a:lnTo>
                    <a:pt x="504584" y="202260"/>
                  </a:lnTo>
                  <a:lnTo>
                    <a:pt x="504584" y="200228"/>
                  </a:lnTo>
                  <a:lnTo>
                    <a:pt x="504584" y="200876"/>
                  </a:lnTo>
                  <a:lnTo>
                    <a:pt x="504584" y="200228"/>
                  </a:lnTo>
                  <a:lnTo>
                    <a:pt x="504584" y="200876"/>
                  </a:lnTo>
                  <a:lnTo>
                    <a:pt x="504635" y="200876"/>
                  </a:lnTo>
                  <a:lnTo>
                    <a:pt x="504635" y="202260"/>
                  </a:lnTo>
                  <a:lnTo>
                    <a:pt x="504635" y="200228"/>
                  </a:lnTo>
                  <a:lnTo>
                    <a:pt x="504686" y="200228"/>
                  </a:lnTo>
                  <a:lnTo>
                    <a:pt x="504686" y="199530"/>
                  </a:lnTo>
                  <a:lnTo>
                    <a:pt x="504686" y="200228"/>
                  </a:lnTo>
                  <a:lnTo>
                    <a:pt x="504686" y="197447"/>
                  </a:lnTo>
                  <a:lnTo>
                    <a:pt x="504787" y="197447"/>
                  </a:lnTo>
                  <a:lnTo>
                    <a:pt x="504787" y="198831"/>
                  </a:lnTo>
                  <a:lnTo>
                    <a:pt x="504787" y="197447"/>
                  </a:lnTo>
                  <a:lnTo>
                    <a:pt x="504787" y="199530"/>
                  </a:lnTo>
                  <a:lnTo>
                    <a:pt x="504787" y="198831"/>
                  </a:lnTo>
                  <a:lnTo>
                    <a:pt x="504787" y="199530"/>
                  </a:lnTo>
                  <a:lnTo>
                    <a:pt x="504787" y="198831"/>
                  </a:lnTo>
                  <a:lnTo>
                    <a:pt x="504826" y="198831"/>
                  </a:lnTo>
                  <a:lnTo>
                    <a:pt x="504826" y="197447"/>
                  </a:lnTo>
                  <a:lnTo>
                    <a:pt x="504826" y="200228"/>
                  </a:lnTo>
                  <a:lnTo>
                    <a:pt x="504826" y="199530"/>
                  </a:lnTo>
                  <a:lnTo>
                    <a:pt x="504876" y="199530"/>
                  </a:lnTo>
                  <a:lnTo>
                    <a:pt x="504876" y="200876"/>
                  </a:lnTo>
                  <a:lnTo>
                    <a:pt x="504876" y="200228"/>
                  </a:lnTo>
                  <a:lnTo>
                    <a:pt x="504876" y="200876"/>
                  </a:lnTo>
                  <a:lnTo>
                    <a:pt x="504876" y="200228"/>
                  </a:lnTo>
                  <a:lnTo>
                    <a:pt x="504927" y="200876"/>
                  </a:lnTo>
                  <a:lnTo>
                    <a:pt x="505029" y="202260"/>
                  </a:lnTo>
                  <a:lnTo>
                    <a:pt x="505029" y="200876"/>
                  </a:lnTo>
                  <a:lnTo>
                    <a:pt x="505029" y="202260"/>
                  </a:lnTo>
                  <a:lnTo>
                    <a:pt x="505080" y="202260"/>
                  </a:lnTo>
                  <a:lnTo>
                    <a:pt x="505080" y="202959"/>
                  </a:lnTo>
                  <a:lnTo>
                    <a:pt x="505080" y="200876"/>
                  </a:lnTo>
                  <a:lnTo>
                    <a:pt x="505080" y="202260"/>
                  </a:lnTo>
                  <a:lnTo>
                    <a:pt x="505130" y="202260"/>
                  </a:lnTo>
                  <a:lnTo>
                    <a:pt x="505130" y="200228"/>
                  </a:lnTo>
                  <a:lnTo>
                    <a:pt x="505130" y="200876"/>
                  </a:lnTo>
                  <a:lnTo>
                    <a:pt x="505130" y="200228"/>
                  </a:lnTo>
                  <a:lnTo>
                    <a:pt x="505130" y="200876"/>
                  </a:lnTo>
                  <a:lnTo>
                    <a:pt x="505130" y="200228"/>
                  </a:lnTo>
                  <a:lnTo>
                    <a:pt x="505130" y="200876"/>
                  </a:lnTo>
                  <a:lnTo>
                    <a:pt x="505130" y="200228"/>
                  </a:lnTo>
                  <a:lnTo>
                    <a:pt x="505232" y="200228"/>
                  </a:lnTo>
                  <a:lnTo>
                    <a:pt x="505232" y="198831"/>
                  </a:lnTo>
                  <a:lnTo>
                    <a:pt x="505283" y="198831"/>
                  </a:lnTo>
                  <a:lnTo>
                    <a:pt x="505283" y="199530"/>
                  </a:lnTo>
                  <a:lnTo>
                    <a:pt x="505283" y="198831"/>
                  </a:lnTo>
                  <a:lnTo>
                    <a:pt x="505283" y="199530"/>
                  </a:lnTo>
                  <a:lnTo>
                    <a:pt x="505283" y="198831"/>
                  </a:lnTo>
                  <a:lnTo>
                    <a:pt x="505283" y="199530"/>
                  </a:lnTo>
                  <a:lnTo>
                    <a:pt x="505283" y="197447"/>
                  </a:lnTo>
                  <a:lnTo>
                    <a:pt x="505333" y="197447"/>
                  </a:lnTo>
                  <a:lnTo>
                    <a:pt x="505333" y="200228"/>
                  </a:lnTo>
                  <a:lnTo>
                    <a:pt x="505333" y="198831"/>
                  </a:lnTo>
                  <a:lnTo>
                    <a:pt x="505372" y="198831"/>
                  </a:lnTo>
                  <a:lnTo>
                    <a:pt x="505372" y="200228"/>
                  </a:lnTo>
                  <a:lnTo>
                    <a:pt x="505372" y="199530"/>
                  </a:lnTo>
                  <a:lnTo>
                    <a:pt x="505372" y="200228"/>
                  </a:lnTo>
                  <a:lnTo>
                    <a:pt x="505473" y="200228"/>
                  </a:lnTo>
                  <a:lnTo>
                    <a:pt x="505473" y="199530"/>
                  </a:lnTo>
                  <a:lnTo>
                    <a:pt x="505473" y="200228"/>
                  </a:lnTo>
                  <a:lnTo>
                    <a:pt x="505524" y="200228"/>
                  </a:lnTo>
                  <a:lnTo>
                    <a:pt x="505524" y="200876"/>
                  </a:lnTo>
                  <a:lnTo>
                    <a:pt x="505524" y="200228"/>
                  </a:lnTo>
                  <a:lnTo>
                    <a:pt x="505524" y="200876"/>
                  </a:lnTo>
                  <a:lnTo>
                    <a:pt x="505524" y="200228"/>
                  </a:lnTo>
                  <a:lnTo>
                    <a:pt x="505575" y="200228"/>
                  </a:lnTo>
                  <a:lnTo>
                    <a:pt x="505575" y="200876"/>
                  </a:lnTo>
                  <a:lnTo>
                    <a:pt x="505575" y="200228"/>
                  </a:lnTo>
                  <a:lnTo>
                    <a:pt x="505575" y="200876"/>
                  </a:lnTo>
                  <a:lnTo>
                    <a:pt x="505676" y="200876"/>
                  </a:lnTo>
                  <a:lnTo>
                    <a:pt x="505676" y="202260"/>
                  </a:lnTo>
                  <a:lnTo>
                    <a:pt x="505676" y="200228"/>
                  </a:lnTo>
                  <a:lnTo>
                    <a:pt x="505727" y="200228"/>
                  </a:lnTo>
                  <a:lnTo>
                    <a:pt x="505727" y="198831"/>
                  </a:lnTo>
                  <a:lnTo>
                    <a:pt x="505727" y="200228"/>
                  </a:lnTo>
                  <a:lnTo>
                    <a:pt x="505778" y="200228"/>
                  </a:lnTo>
                  <a:lnTo>
                    <a:pt x="505778" y="199530"/>
                  </a:lnTo>
                  <a:lnTo>
                    <a:pt x="505778" y="200228"/>
                  </a:lnTo>
                  <a:lnTo>
                    <a:pt x="505778" y="199530"/>
                  </a:lnTo>
                  <a:lnTo>
                    <a:pt x="505778" y="202260"/>
                  </a:lnTo>
                  <a:lnTo>
                    <a:pt x="505829" y="202260"/>
                  </a:lnTo>
                  <a:lnTo>
                    <a:pt x="505829" y="200228"/>
                  </a:lnTo>
                  <a:lnTo>
                    <a:pt x="505829" y="202260"/>
                  </a:lnTo>
                  <a:lnTo>
                    <a:pt x="505918" y="202260"/>
                  </a:lnTo>
                  <a:lnTo>
                    <a:pt x="505918" y="200876"/>
                  </a:lnTo>
                  <a:lnTo>
                    <a:pt x="505918" y="202260"/>
                  </a:lnTo>
                  <a:lnTo>
                    <a:pt x="505968" y="200876"/>
                  </a:lnTo>
                  <a:lnTo>
                    <a:pt x="505968" y="202260"/>
                  </a:lnTo>
                  <a:lnTo>
                    <a:pt x="505968" y="200876"/>
                  </a:lnTo>
                  <a:lnTo>
                    <a:pt x="506019" y="200876"/>
                  </a:lnTo>
                  <a:lnTo>
                    <a:pt x="506019" y="202959"/>
                  </a:lnTo>
                  <a:lnTo>
                    <a:pt x="506070" y="202959"/>
                  </a:lnTo>
                  <a:lnTo>
                    <a:pt x="506070" y="200876"/>
                  </a:lnTo>
                  <a:lnTo>
                    <a:pt x="506070" y="202260"/>
                  </a:lnTo>
                  <a:lnTo>
                    <a:pt x="506070" y="200876"/>
                  </a:lnTo>
                  <a:lnTo>
                    <a:pt x="506172" y="200876"/>
                  </a:lnTo>
                  <a:lnTo>
                    <a:pt x="506172" y="199530"/>
                  </a:lnTo>
                  <a:lnTo>
                    <a:pt x="506222" y="199530"/>
                  </a:lnTo>
                  <a:lnTo>
                    <a:pt x="506222" y="198831"/>
                  </a:lnTo>
                  <a:lnTo>
                    <a:pt x="506222" y="200228"/>
                  </a:lnTo>
                  <a:lnTo>
                    <a:pt x="506273" y="200228"/>
                  </a:lnTo>
                  <a:lnTo>
                    <a:pt x="506273" y="199530"/>
                  </a:lnTo>
                  <a:lnTo>
                    <a:pt x="506273" y="202260"/>
                  </a:lnTo>
                  <a:lnTo>
                    <a:pt x="506375" y="202260"/>
                  </a:lnTo>
                  <a:lnTo>
                    <a:pt x="506375" y="200228"/>
                  </a:lnTo>
                  <a:lnTo>
                    <a:pt x="506375" y="202260"/>
                  </a:lnTo>
                  <a:lnTo>
                    <a:pt x="506413" y="202260"/>
                  </a:lnTo>
                  <a:lnTo>
                    <a:pt x="506413" y="200876"/>
                  </a:lnTo>
                  <a:lnTo>
                    <a:pt x="506413" y="202260"/>
                  </a:lnTo>
                  <a:lnTo>
                    <a:pt x="506464" y="202260"/>
                  </a:lnTo>
                  <a:lnTo>
                    <a:pt x="506464" y="200876"/>
                  </a:lnTo>
                  <a:lnTo>
                    <a:pt x="506464" y="202260"/>
                  </a:lnTo>
                  <a:lnTo>
                    <a:pt x="506464" y="200876"/>
                  </a:lnTo>
                  <a:lnTo>
                    <a:pt x="506464" y="202260"/>
                  </a:lnTo>
                  <a:lnTo>
                    <a:pt x="506464" y="200876"/>
                  </a:lnTo>
                  <a:lnTo>
                    <a:pt x="506464" y="202260"/>
                  </a:lnTo>
                  <a:lnTo>
                    <a:pt x="506515" y="202260"/>
                  </a:lnTo>
                  <a:lnTo>
                    <a:pt x="506515" y="200876"/>
                  </a:lnTo>
                  <a:lnTo>
                    <a:pt x="506515" y="202959"/>
                  </a:lnTo>
                  <a:lnTo>
                    <a:pt x="506515" y="202260"/>
                  </a:lnTo>
                  <a:lnTo>
                    <a:pt x="506515" y="202959"/>
                  </a:lnTo>
                  <a:lnTo>
                    <a:pt x="506515" y="200876"/>
                  </a:lnTo>
                  <a:lnTo>
                    <a:pt x="506616" y="200876"/>
                  </a:lnTo>
                  <a:lnTo>
                    <a:pt x="506616" y="202260"/>
                  </a:lnTo>
                  <a:lnTo>
                    <a:pt x="506616" y="200876"/>
                  </a:lnTo>
                  <a:lnTo>
                    <a:pt x="506616" y="202260"/>
                  </a:lnTo>
                  <a:lnTo>
                    <a:pt x="506616" y="200876"/>
                  </a:lnTo>
                  <a:lnTo>
                    <a:pt x="506667" y="200876"/>
                  </a:lnTo>
                  <a:lnTo>
                    <a:pt x="506667" y="200228"/>
                  </a:lnTo>
                  <a:lnTo>
                    <a:pt x="506667" y="200876"/>
                  </a:lnTo>
                  <a:lnTo>
                    <a:pt x="506667" y="199530"/>
                  </a:lnTo>
                  <a:lnTo>
                    <a:pt x="506718" y="199530"/>
                  </a:lnTo>
                  <a:lnTo>
                    <a:pt x="506718" y="197447"/>
                  </a:lnTo>
                  <a:lnTo>
                    <a:pt x="506718" y="198831"/>
                  </a:lnTo>
                  <a:lnTo>
                    <a:pt x="506718" y="197447"/>
                  </a:lnTo>
                  <a:lnTo>
                    <a:pt x="506718" y="199530"/>
                  </a:lnTo>
                  <a:lnTo>
                    <a:pt x="506819" y="199530"/>
                  </a:lnTo>
                  <a:lnTo>
                    <a:pt x="506819" y="197447"/>
                  </a:lnTo>
                  <a:lnTo>
                    <a:pt x="506819" y="200876"/>
                  </a:lnTo>
                  <a:lnTo>
                    <a:pt x="506819" y="200228"/>
                  </a:lnTo>
                  <a:lnTo>
                    <a:pt x="506870" y="200228"/>
                  </a:lnTo>
                  <a:lnTo>
                    <a:pt x="506870" y="199530"/>
                  </a:lnTo>
                  <a:lnTo>
                    <a:pt x="506870" y="200876"/>
                  </a:lnTo>
                  <a:lnTo>
                    <a:pt x="506870" y="200228"/>
                  </a:lnTo>
                  <a:lnTo>
                    <a:pt x="506921" y="200228"/>
                  </a:lnTo>
                  <a:lnTo>
                    <a:pt x="506921" y="200876"/>
                  </a:lnTo>
                  <a:lnTo>
                    <a:pt x="506959" y="200876"/>
                  </a:lnTo>
                  <a:lnTo>
                    <a:pt x="506959" y="202260"/>
                  </a:lnTo>
                  <a:lnTo>
                    <a:pt x="507061" y="202260"/>
                  </a:lnTo>
                  <a:lnTo>
                    <a:pt x="507061" y="202959"/>
                  </a:lnTo>
                  <a:lnTo>
                    <a:pt x="507061" y="202260"/>
                  </a:lnTo>
                  <a:lnTo>
                    <a:pt x="507061" y="202959"/>
                  </a:lnTo>
                  <a:lnTo>
                    <a:pt x="507061" y="202260"/>
                  </a:lnTo>
                  <a:lnTo>
                    <a:pt x="507061" y="202959"/>
                  </a:lnTo>
                  <a:lnTo>
                    <a:pt x="507061" y="202260"/>
                  </a:lnTo>
                  <a:lnTo>
                    <a:pt x="507112" y="202260"/>
                  </a:lnTo>
                  <a:lnTo>
                    <a:pt x="507112" y="200876"/>
                  </a:lnTo>
                  <a:lnTo>
                    <a:pt x="507162" y="200876"/>
                  </a:lnTo>
                  <a:lnTo>
                    <a:pt x="507162" y="200228"/>
                  </a:lnTo>
                  <a:lnTo>
                    <a:pt x="507162" y="200876"/>
                  </a:lnTo>
                  <a:lnTo>
                    <a:pt x="507162" y="198831"/>
                  </a:lnTo>
                  <a:lnTo>
                    <a:pt x="507264" y="198831"/>
                  </a:lnTo>
                  <a:lnTo>
                    <a:pt x="507264" y="200228"/>
                  </a:lnTo>
                  <a:lnTo>
                    <a:pt x="507264" y="196799"/>
                  </a:lnTo>
                  <a:lnTo>
                    <a:pt x="507264" y="198831"/>
                  </a:lnTo>
                  <a:lnTo>
                    <a:pt x="507315" y="199530"/>
                  </a:lnTo>
                  <a:lnTo>
                    <a:pt x="507315" y="198831"/>
                  </a:lnTo>
                  <a:lnTo>
                    <a:pt x="507315" y="199530"/>
                  </a:lnTo>
                  <a:lnTo>
                    <a:pt x="507315" y="197447"/>
                  </a:lnTo>
                  <a:lnTo>
                    <a:pt x="507315" y="200228"/>
                  </a:lnTo>
                  <a:lnTo>
                    <a:pt x="507366" y="200228"/>
                  </a:lnTo>
                  <a:lnTo>
                    <a:pt x="507366" y="198831"/>
                  </a:lnTo>
                  <a:lnTo>
                    <a:pt x="507366" y="200228"/>
                  </a:lnTo>
                  <a:lnTo>
                    <a:pt x="507416" y="200228"/>
                  </a:lnTo>
                  <a:lnTo>
                    <a:pt x="507416" y="199530"/>
                  </a:lnTo>
                  <a:lnTo>
                    <a:pt x="507416" y="200228"/>
                  </a:lnTo>
                  <a:lnTo>
                    <a:pt x="507505" y="200876"/>
                  </a:lnTo>
                  <a:lnTo>
                    <a:pt x="507505" y="200228"/>
                  </a:lnTo>
                  <a:lnTo>
                    <a:pt x="507505" y="200876"/>
                  </a:lnTo>
                  <a:lnTo>
                    <a:pt x="507505" y="200228"/>
                  </a:lnTo>
                  <a:lnTo>
                    <a:pt x="507505" y="202260"/>
                  </a:lnTo>
                  <a:lnTo>
                    <a:pt x="507556" y="202260"/>
                  </a:lnTo>
                  <a:lnTo>
                    <a:pt x="507556" y="202959"/>
                  </a:lnTo>
                  <a:lnTo>
                    <a:pt x="507556" y="202260"/>
                  </a:lnTo>
                  <a:lnTo>
                    <a:pt x="507556" y="202959"/>
                  </a:lnTo>
                  <a:lnTo>
                    <a:pt x="507556" y="202260"/>
                  </a:lnTo>
                  <a:lnTo>
                    <a:pt x="507607" y="202260"/>
                  </a:lnTo>
                  <a:lnTo>
                    <a:pt x="507607" y="202959"/>
                  </a:lnTo>
                  <a:lnTo>
                    <a:pt x="507607" y="202260"/>
                  </a:lnTo>
                  <a:lnTo>
                    <a:pt x="507607" y="202959"/>
                  </a:lnTo>
                  <a:lnTo>
                    <a:pt x="507607" y="202260"/>
                  </a:lnTo>
                  <a:lnTo>
                    <a:pt x="507658" y="202260"/>
                  </a:lnTo>
                  <a:lnTo>
                    <a:pt x="507658" y="200228"/>
                  </a:lnTo>
                  <a:lnTo>
                    <a:pt x="507759" y="200228"/>
                  </a:lnTo>
                  <a:lnTo>
                    <a:pt x="507759" y="197447"/>
                  </a:lnTo>
                  <a:lnTo>
                    <a:pt x="507759" y="198831"/>
                  </a:lnTo>
                  <a:lnTo>
                    <a:pt x="507759" y="197447"/>
                  </a:lnTo>
                  <a:lnTo>
                    <a:pt x="507810" y="197447"/>
                  </a:lnTo>
                  <a:lnTo>
                    <a:pt x="507810" y="198831"/>
                  </a:lnTo>
                  <a:lnTo>
                    <a:pt x="507810" y="197447"/>
                  </a:lnTo>
                  <a:lnTo>
                    <a:pt x="507810" y="198831"/>
                  </a:lnTo>
                  <a:lnTo>
                    <a:pt x="507810" y="196799"/>
                  </a:lnTo>
                  <a:lnTo>
                    <a:pt x="507810" y="197447"/>
                  </a:lnTo>
                  <a:lnTo>
                    <a:pt x="507861" y="197447"/>
                  </a:lnTo>
                  <a:lnTo>
                    <a:pt x="507861" y="199530"/>
                  </a:lnTo>
                  <a:lnTo>
                    <a:pt x="507861" y="197447"/>
                  </a:lnTo>
                  <a:lnTo>
                    <a:pt x="507861" y="199530"/>
                  </a:lnTo>
                  <a:lnTo>
                    <a:pt x="507962" y="199530"/>
                  </a:lnTo>
                  <a:lnTo>
                    <a:pt x="507962" y="200228"/>
                  </a:lnTo>
                  <a:lnTo>
                    <a:pt x="507962" y="199530"/>
                  </a:lnTo>
                  <a:lnTo>
                    <a:pt x="507962" y="200228"/>
                  </a:lnTo>
                  <a:lnTo>
                    <a:pt x="507962" y="199530"/>
                  </a:lnTo>
                  <a:lnTo>
                    <a:pt x="508001" y="199530"/>
                  </a:lnTo>
                  <a:lnTo>
                    <a:pt x="508001" y="200228"/>
                  </a:lnTo>
                  <a:lnTo>
                    <a:pt x="508001" y="199530"/>
                  </a:lnTo>
                  <a:lnTo>
                    <a:pt x="508001" y="200876"/>
                  </a:lnTo>
                  <a:lnTo>
                    <a:pt x="508001" y="200228"/>
                  </a:lnTo>
                  <a:lnTo>
                    <a:pt x="508001" y="200876"/>
                  </a:lnTo>
                  <a:lnTo>
                    <a:pt x="508051" y="200876"/>
                  </a:lnTo>
                  <a:lnTo>
                    <a:pt x="508051" y="200228"/>
                  </a:lnTo>
                  <a:lnTo>
                    <a:pt x="508051" y="202260"/>
                  </a:lnTo>
                  <a:lnTo>
                    <a:pt x="508051" y="200876"/>
                  </a:lnTo>
                  <a:lnTo>
                    <a:pt x="508051" y="202959"/>
                  </a:lnTo>
                  <a:lnTo>
                    <a:pt x="508102" y="202260"/>
                  </a:lnTo>
                  <a:lnTo>
                    <a:pt x="508204" y="202260"/>
                  </a:lnTo>
                  <a:lnTo>
                    <a:pt x="508204" y="200876"/>
                  </a:lnTo>
                  <a:lnTo>
                    <a:pt x="508255" y="200876"/>
                  </a:lnTo>
                  <a:lnTo>
                    <a:pt x="508255" y="199530"/>
                  </a:lnTo>
                  <a:lnTo>
                    <a:pt x="508255" y="200228"/>
                  </a:lnTo>
                  <a:lnTo>
                    <a:pt x="508255" y="199530"/>
                  </a:lnTo>
                  <a:lnTo>
                    <a:pt x="508255" y="200228"/>
                  </a:lnTo>
                  <a:lnTo>
                    <a:pt x="508305" y="200228"/>
                  </a:lnTo>
                  <a:lnTo>
                    <a:pt x="508305" y="198831"/>
                  </a:lnTo>
                  <a:lnTo>
                    <a:pt x="508305" y="200876"/>
                  </a:lnTo>
                  <a:lnTo>
                    <a:pt x="508407" y="202260"/>
                  </a:lnTo>
                  <a:lnTo>
                    <a:pt x="508407" y="200228"/>
                  </a:lnTo>
                  <a:lnTo>
                    <a:pt x="508407" y="200876"/>
                  </a:lnTo>
                  <a:lnTo>
                    <a:pt x="508407" y="199530"/>
                  </a:lnTo>
                  <a:lnTo>
                    <a:pt x="508407" y="200876"/>
                  </a:lnTo>
                  <a:lnTo>
                    <a:pt x="508458" y="200876"/>
                  </a:lnTo>
                  <a:lnTo>
                    <a:pt x="508458" y="200228"/>
                  </a:lnTo>
                  <a:lnTo>
                    <a:pt x="508458" y="200876"/>
                  </a:lnTo>
                  <a:lnTo>
                    <a:pt x="508458" y="200228"/>
                  </a:lnTo>
                  <a:lnTo>
                    <a:pt x="508458" y="200876"/>
                  </a:lnTo>
                  <a:lnTo>
                    <a:pt x="508458" y="200228"/>
                  </a:lnTo>
                  <a:lnTo>
                    <a:pt x="508508" y="200228"/>
                  </a:lnTo>
                  <a:lnTo>
                    <a:pt x="508508" y="200876"/>
                  </a:lnTo>
                  <a:lnTo>
                    <a:pt x="508508" y="200228"/>
                  </a:lnTo>
                  <a:lnTo>
                    <a:pt x="508508" y="200876"/>
                  </a:lnTo>
                  <a:lnTo>
                    <a:pt x="508508" y="200228"/>
                  </a:lnTo>
                  <a:lnTo>
                    <a:pt x="508508" y="202260"/>
                  </a:lnTo>
                  <a:lnTo>
                    <a:pt x="508547" y="202260"/>
                  </a:lnTo>
                  <a:lnTo>
                    <a:pt x="508547" y="200876"/>
                  </a:lnTo>
                  <a:lnTo>
                    <a:pt x="508547" y="202959"/>
                  </a:lnTo>
                  <a:lnTo>
                    <a:pt x="508699" y="202959"/>
                  </a:lnTo>
                  <a:lnTo>
                    <a:pt x="508699" y="202260"/>
                  </a:lnTo>
                  <a:lnTo>
                    <a:pt x="508699" y="202959"/>
                  </a:lnTo>
                  <a:lnTo>
                    <a:pt x="508699" y="200876"/>
                  </a:lnTo>
                  <a:lnTo>
                    <a:pt x="508750" y="200876"/>
                  </a:lnTo>
                  <a:lnTo>
                    <a:pt x="508750" y="202260"/>
                  </a:lnTo>
                  <a:lnTo>
                    <a:pt x="508750" y="200876"/>
                  </a:lnTo>
                  <a:lnTo>
                    <a:pt x="508750" y="202260"/>
                  </a:lnTo>
                  <a:lnTo>
                    <a:pt x="508851" y="202260"/>
                  </a:lnTo>
                  <a:lnTo>
                    <a:pt x="508851" y="200876"/>
                  </a:lnTo>
                  <a:lnTo>
                    <a:pt x="508851" y="202260"/>
                  </a:lnTo>
                  <a:lnTo>
                    <a:pt x="508851" y="200228"/>
                  </a:lnTo>
                  <a:lnTo>
                    <a:pt x="508851" y="200876"/>
                  </a:lnTo>
                  <a:lnTo>
                    <a:pt x="508851" y="200228"/>
                  </a:lnTo>
                  <a:lnTo>
                    <a:pt x="508851" y="203594"/>
                  </a:lnTo>
                  <a:lnTo>
                    <a:pt x="508851" y="202959"/>
                  </a:lnTo>
                  <a:lnTo>
                    <a:pt x="508902" y="202959"/>
                  </a:lnTo>
                  <a:lnTo>
                    <a:pt x="508902" y="202260"/>
                  </a:lnTo>
                  <a:lnTo>
                    <a:pt x="508902" y="202959"/>
                  </a:lnTo>
                  <a:lnTo>
                    <a:pt x="508902" y="202260"/>
                  </a:lnTo>
                  <a:lnTo>
                    <a:pt x="508902" y="203594"/>
                  </a:lnTo>
                  <a:lnTo>
                    <a:pt x="508902" y="202959"/>
                  </a:lnTo>
                  <a:lnTo>
                    <a:pt x="508953" y="202959"/>
                  </a:lnTo>
                  <a:lnTo>
                    <a:pt x="508953" y="202260"/>
                  </a:lnTo>
                  <a:lnTo>
                    <a:pt x="508953" y="202959"/>
                  </a:lnTo>
                  <a:lnTo>
                    <a:pt x="509004" y="202959"/>
                  </a:lnTo>
                  <a:lnTo>
                    <a:pt x="509004" y="203594"/>
                  </a:lnTo>
                  <a:lnTo>
                    <a:pt x="509004" y="202959"/>
                  </a:lnTo>
                  <a:lnTo>
                    <a:pt x="509004" y="203594"/>
                  </a:lnTo>
                  <a:lnTo>
                    <a:pt x="509004" y="202959"/>
                  </a:lnTo>
                  <a:lnTo>
                    <a:pt x="509093" y="202959"/>
                  </a:lnTo>
                  <a:lnTo>
                    <a:pt x="509093" y="203594"/>
                  </a:lnTo>
                  <a:lnTo>
                    <a:pt x="509093" y="202959"/>
                  </a:lnTo>
                  <a:lnTo>
                    <a:pt x="509093" y="203594"/>
                  </a:lnTo>
                  <a:lnTo>
                    <a:pt x="509093" y="202959"/>
                  </a:lnTo>
                  <a:lnTo>
                    <a:pt x="509093" y="203594"/>
                  </a:lnTo>
                  <a:lnTo>
                    <a:pt x="509093" y="202959"/>
                  </a:lnTo>
                  <a:lnTo>
                    <a:pt x="509143" y="203594"/>
                  </a:lnTo>
                  <a:lnTo>
                    <a:pt x="509143" y="202959"/>
                  </a:lnTo>
                  <a:lnTo>
                    <a:pt x="509143" y="203594"/>
                  </a:lnTo>
                  <a:lnTo>
                    <a:pt x="509143" y="202260"/>
                  </a:lnTo>
                  <a:lnTo>
                    <a:pt x="509143" y="202959"/>
                  </a:lnTo>
                  <a:lnTo>
                    <a:pt x="509194" y="202959"/>
                  </a:lnTo>
                  <a:lnTo>
                    <a:pt x="509194" y="203594"/>
                  </a:lnTo>
                  <a:lnTo>
                    <a:pt x="509194" y="202260"/>
                  </a:lnTo>
                  <a:lnTo>
                    <a:pt x="509245" y="200876"/>
                  </a:lnTo>
                  <a:lnTo>
                    <a:pt x="509245" y="203594"/>
                  </a:lnTo>
                  <a:lnTo>
                    <a:pt x="509245" y="202959"/>
                  </a:lnTo>
                  <a:lnTo>
                    <a:pt x="509347" y="202959"/>
                  </a:lnTo>
                  <a:lnTo>
                    <a:pt x="509347" y="204990"/>
                  </a:lnTo>
                  <a:lnTo>
                    <a:pt x="509347" y="203594"/>
                  </a:lnTo>
                  <a:lnTo>
                    <a:pt x="509397" y="203594"/>
                  </a:lnTo>
                  <a:lnTo>
                    <a:pt x="509397" y="206324"/>
                  </a:lnTo>
                  <a:lnTo>
                    <a:pt x="509397" y="204292"/>
                  </a:lnTo>
                  <a:lnTo>
                    <a:pt x="509397" y="204990"/>
                  </a:lnTo>
                  <a:lnTo>
                    <a:pt x="509588" y="204990"/>
                  </a:lnTo>
                  <a:lnTo>
                    <a:pt x="509588" y="204292"/>
                  </a:lnTo>
                  <a:lnTo>
                    <a:pt x="509588" y="204990"/>
                  </a:lnTo>
                  <a:lnTo>
                    <a:pt x="509588" y="204292"/>
                  </a:lnTo>
                  <a:lnTo>
                    <a:pt x="509639" y="204990"/>
                  </a:lnTo>
                  <a:lnTo>
                    <a:pt x="509639" y="203594"/>
                  </a:lnTo>
                  <a:lnTo>
                    <a:pt x="509690" y="203594"/>
                  </a:lnTo>
                  <a:lnTo>
                    <a:pt x="509690" y="202959"/>
                  </a:lnTo>
                  <a:lnTo>
                    <a:pt x="509690" y="203594"/>
                  </a:lnTo>
                  <a:lnTo>
                    <a:pt x="509690" y="202959"/>
                  </a:lnTo>
                  <a:lnTo>
                    <a:pt x="509690" y="203594"/>
                  </a:lnTo>
                  <a:lnTo>
                    <a:pt x="509690" y="202959"/>
                  </a:lnTo>
                  <a:lnTo>
                    <a:pt x="509791" y="202959"/>
                  </a:lnTo>
                  <a:lnTo>
                    <a:pt x="509791" y="204292"/>
                  </a:lnTo>
                  <a:lnTo>
                    <a:pt x="509842" y="204990"/>
                  </a:lnTo>
                  <a:lnTo>
                    <a:pt x="509842" y="204292"/>
                  </a:lnTo>
                  <a:lnTo>
                    <a:pt x="509842" y="206324"/>
                  </a:lnTo>
                  <a:lnTo>
                    <a:pt x="509893" y="206324"/>
                  </a:lnTo>
                  <a:lnTo>
                    <a:pt x="509893" y="204990"/>
                  </a:lnTo>
                  <a:lnTo>
                    <a:pt x="509893" y="206324"/>
                  </a:lnTo>
                  <a:lnTo>
                    <a:pt x="509994" y="206324"/>
                  </a:lnTo>
                  <a:lnTo>
                    <a:pt x="509994" y="204990"/>
                  </a:lnTo>
                  <a:lnTo>
                    <a:pt x="509994" y="206324"/>
                  </a:lnTo>
                  <a:lnTo>
                    <a:pt x="509994" y="204990"/>
                  </a:lnTo>
                  <a:lnTo>
                    <a:pt x="509994" y="206324"/>
                  </a:lnTo>
                  <a:lnTo>
                    <a:pt x="510045" y="206324"/>
                  </a:lnTo>
                  <a:lnTo>
                    <a:pt x="510045" y="207022"/>
                  </a:lnTo>
                  <a:lnTo>
                    <a:pt x="510045" y="206324"/>
                  </a:lnTo>
                  <a:lnTo>
                    <a:pt x="510045" y="207022"/>
                  </a:lnTo>
                  <a:lnTo>
                    <a:pt x="510045" y="206324"/>
                  </a:lnTo>
                  <a:lnTo>
                    <a:pt x="510045" y="207022"/>
                  </a:lnTo>
                  <a:lnTo>
                    <a:pt x="510096" y="207022"/>
                  </a:lnTo>
                  <a:lnTo>
                    <a:pt x="510096" y="204990"/>
                  </a:lnTo>
                  <a:lnTo>
                    <a:pt x="510096" y="206324"/>
                  </a:lnTo>
                  <a:lnTo>
                    <a:pt x="510096" y="204990"/>
                  </a:lnTo>
                  <a:lnTo>
                    <a:pt x="510134" y="204990"/>
                  </a:lnTo>
                  <a:lnTo>
                    <a:pt x="510134" y="203594"/>
                  </a:lnTo>
                  <a:lnTo>
                    <a:pt x="510134" y="204292"/>
                  </a:lnTo>
                  <a:lnTo>
                    <a:pt x="510134" y="203594"/>
                  </a:lnTo>
                  <a:lnTo>
                    <a:pt x="510134" y="204292"/>
                  </a:lnTo>
                  <a:lnTo>
                    <a:pt x="510134" y="203594"/>
                  </a:lnTo>
                  <a:lnTo>
                    <a:pt x="510236" y="203594"/>
                  </a:lnTo>
                  <a:lnTo>
                    <a:pt x="510236" y="202959"/>
                  </a:lnTo>
                  <a:lnTo>
                    <a:pt x="510236" y="204990"/>
                  </a:lnTo>
                  <a:lnTo>
                    <a:pt x="510236" y="203594"/>
                  </a:lnTo>
                  <a:lnTo>
                    <a:pt x="510287" y="202959"/>
                  </a:lnTo>
                  <a:lnTo>
                    <a:pt x="510287" y="207022"/>
                  </a:lnTo>
                  <a:lnTo>
                    <a:pt x="510287" y="204990"/>
                  </a:lnTo>
                  <a:lnTo>
                    <a:pt x="510337" y="204990"/>
                  </a:lnTo>
                  <a:lnTo>
                    <a:pt x="510337" y="204292"/>
                  </a:lnTo>
                  <a:lnTo>
                    <a:pt x="510337" y="207022"/>
                  </a:lnTo>
                  <a:lnTo>
                    <a:pt x="510337" y="204990"/>
                  </a:lnTo>
                  <a:lnTo>
                    <a:pt x="510337" y="206324"/>
                  </a:lnTo>
                  <a:lnTo>
                    <a:pt x="510439" y="206324"/>
                  </a:lnTo>
                  <a:lnTo>
                    <a:pt x="510439" y="207022"/>
                  </a:lnTo>
                  <a:lnTo>
                    <a:pt x="510439" y="206324"/>
                  </a:lnTo>
                  <a:lnTo>
                    <a:pt x="510439" y="207022"/>
                  </a:lnTo>
                  <a:lnTo>
                    <a:pt x="510439" y="206324"/>
                  </a:lnTo>
                  <a:lnTo>
                    <a:pt x="510490" y="206324"/>
                  </a:lnTo>
                  <a:lnTo>
                    <a:pt x="510490" y="207022"/>
                  </a:lnTo>
                  <a:lnTo>
                    <a:pt x="510490" y="206324"/>
                  </a:lnTo>
                  <a:lnTo>
                    <a:pt x="510490" y="207022"/>
                  </a:lnTo>
                  <a:lnTo>
                    <a:pt x="510490" y="206324"/>
                  </a:lnTo>
                  <a:lnTo>
                    <a:pt x="510490" y="207022"/>
                  </a:lnTo>
                  <a:lnTo>
                    <a:pt x="510591" y="207022"/>
                  </a:lnTo>
                  <a:lnTo>
                    <a:pt x="510591" y="206324"/>
                  </a:lnTo>
                  <a:lnTo>
                    <a:pt x="510680" y="206324"/>
                  </a:lnTo>
                  <a:lnTo>
                    <a:pt x="510680" y="204292"/>
                  </a:lnTo>
                  <a:lnTo>
                    <a:pt x="510731" y="203594"/>
                  </a:lnTo>
                  <a:lnTo>
                    <a:pt x="510731" y="202959"/>
                  </a:lnTo>
                  <a:lnTo>
                    <a:pt x="510731" y="204990"/>
                  </a:lnTo>
                  <a:lnTo>
                    <a:pt x="510731" y="203594"/>
                  </a:lnTo>
                  <a:lnTo>
                    <a:pt x="510782" y="203594"/>
                  </a:lnTo>
                  <a:lnTo>
                    <a:pt x="510782" y="204292"/>
                  </a:lnTo>
                  <a:lnTo>
                    <a:pt x="510782" y="203594"/>
                  </a:lnTo>
                  <a:lnTo>
                    <a:pt x="510782" y="206324"/>
                  </a:lnTo>
                  <a:lnTo>
                    <a:pt x="510782" y="204990"/>
                  </a:lnTo>
                  <a:lnTo>
                    <a:pt x="510782" y="206324"/>
                  </a:lnTo>
                  <a:lnTo>
                    <a:pt x="510782" y="204292"/>
                  </a:lnTo>
                  <a:lnTo>
                    <a:pt x="510833" y="204990"/>
                  </a:lnTo>
                  <a:lnTo>
                    <a:pt x="510833" y="204292"/>
                  </a:lnTo>
                  <a:lnTo>
                    <a:pt x="510833" y="206324"/>
                  </a:lnTo>
                  <a:lnTo>
                    <a:pt x="510833" y="204292"/>
                  </a:lnTo>
                  <a:lnTo>
                    <a:pt x="510833" y="204990"/>
                  </a:lnTo>
                  <a:lnTo>
                    <a:pt x="510934" y="204990"/>
                  </a:lnTo>
                  <a:lnTo>
                    <a:pt x="510934" y="207022"/>
                  </a:lnTo>
                  <a:lnTo>
                    <a:pt x="510934" y="206324"/>
                  </a:lnTo>
                  <a:lnTo>
                    <a:pt x="510985" y="206324"/>
                  </a:lnTo>
                  <a:lnTo>
                    <a:pt x="510985" y="207022"/>
                  </a:lnTo>
                  <a:lnTo>
                    <a:pt x="510985" y="206324"/>
                  </a:lnTo>
                  <a:lnTo>
                    <a:pt x="510985" y="207022"/>
                  </a:lnTo>
                  <a:lnTo>
                    <a:pt x="510985" y="206324"/>
                  </a:lnTo>
                  <a:lnTo>
                    <a:pt x="510985" y="207022"/>
                  </a:lnTo>
                  <a:lnTo>
                    <a:pt x="511036" y="207022"/>
                  </a:lnTo>
                  <a:lnTo>
                    <a:pt x="511036" y="207721"/>
                  </a:lnTo>
                  <a:lnTo>
                    <a:pt x="511137" y="207721"/>
                  </a:lnTo>
                  <a:lnTo>
                    <a:pt x="511137" y="207022"/>
                  </a:lnTo>
                  <a:lnTo>
                    <a:pt x="511137" y="207721"/>
                  </a:lnTo>
                  <a:lnTo>
                    <a:pt x="511137" y="206324"/>
                  </a:lnTo>
                  <a:lnTo>
                    <a:pt x="511137" y="207721"/>
                  </a:lnTo>
                  <a:lnTo>
                    <a:pt x="511137" y="207022"/>
                  </a:lnTo>
                  <a:lnTo>
                    <a:pt x="511176" y="207022"/>
                  </a:lnTo>
                  <a:lnTo>
                    <a:pt x="511176" y="204990"/>
                  </a:lnTo>
                  <a:lnTo>
                    <a:pt x="511176" y="206324"/>
                  </a:lnTo>
                  <a:lnTo>
                    <a:pt x="511176" y="204292"/>
                  </a:lnTo>
                  <a:lnTo>
                    <a:pt x="511176" y="204990"/>
                  </a:lnTo>
                  <a:lnTo>
                    <a:pt x="511176" y="204292"/>
                  </a:lnTo>
                  <a:lnTo>
                    <a:pt x="511226" y="204292"/>
                  </a:lnTo>
                  <a:lnTo>
                    <a:pt x="511226" y="204990"/>
                  </a:lnTo>
                  <a:lnTo>
                    <a:pt x="511226" y="204292"/>
                  </a:lnTo>
                  <a:lnTo>
                    <a:pt x="511226" y="204990"/>
                  </a:lnTo>
                  <a:lnTo>
                    <a:pt x="511226" y="203594"/>
                  </a:lnTo>
                  <a:lnTo>
                    <a:pt x="511277" y="204292"/>
                  </a:lnTo>
                  <a:lnTo>
                    <a:pt x="511277" y="207022"/>
                  </a:lnTo>
                  <a:lnTo>
                    <a:pt x="511277" y="204292"/>
                  </a:lnTo>
                  <a:lnTo>
                    <a:pt x="511277" y="204990"/>
                  </a:lnTo>
                  <a:lnTo>
                    <a:pt x="511277" y="204292"/>
                  </a:lnTo>
                  <a:lnTo>
                    <a:pt x="511277" y="204990"/>
                  </a:lnTo>
                  <a:lnTo>
                    <a:pt x="511379" y="204990"/>
                  </a:lnTo>
                  <a:lnTo>
                    <a:pt x="511379" y="206324"/>
                  </a:lnTo>
                  <a:lnTo>
                    <a:pt x="511379" y="204292"/>
                  </a:lnTo>
                  <a:lnTo>
                    <a:pt x="511379" y="206324"/>
                  </a:lnTo>
                  <a:lnTo>
                    <a:pt x="511430" y="206324"/>
                  </a:lnTo>
                  <a:lnTo>
                    <a:pt x="511430" y="204990"/>
                  </a:lnTo>
                  <a:lnTo>
                    <a:pt x="511430" y="206324"/>
                  </a:lnTo>
                  <a:lnTo>
                    <a:pt x="511430" y="204990"/>
                  </a:lnTo>
                  <a:lnTo>
                    <a:pt x="511430" y="206324"/>
                  </a:lnTo>
                  <a:lnTo>
                    <a:pt x="511480" y="206324"/>
                  </a:lnTo>
                  <a:lnTo>
                    <a:pt x="511480" y="207022"/>
                  </a:lnTo>
                  <a:lnTo>
                    <a:pt x="511480" y="206324"/>
                  </a:lnTo>
                  <a:lnTo>
                    <a:pt x="511480" y="207022"/>
                  </a:lnTo>
                  <a:lnTo>
                    <a:pt x="511582" y="207022"/>
                  </a:lnTo>
                  <a:lnTo>
                    <a:pt x="511582" y="206324"/>
                  </a:lnTo>
                  <a:lnTo>
                    <a:pt x="511582" y="207022"/>
                  </a:lnTo>
                  <a:lnTo>
                    <a:pt x="511582" y="206324"/>
                  </a:lnTo>
                  <a:lnTo>
                    <a:pt x="511582" y="207022"/>
                  </a:lnTo>
                  <a:lnTo>
                    <a:pt x="511633" y="207022"/>
                  </a:lnTo>
                  <a:lnTo>
                    <a:pt x="511633" y="206324"/>
                  </a:lnTo>
                  <a:lnTo>
                    <a:pt x="511633" y="207022"/>
                  </a:lnTo>
                  <a:lnTo>
                    <a:pt x="511633" y="206324"/>
                  </a:lnTo>
                  <a:lnTo>
                    <a:pt x="511683" y="207022"/>
                  </a:lnTo>
                  <a:lnTo>
                    <a:pt x="511683" y="204990"/>
                  </a:lnTo>
                  <a:lnTo>
                    <a:pt x="511683" y="207022"/>
                  </a:lnTo>
                  <a:lnTo>
                    <a:pt x="511722" y="207022"/>
                  </a:lnTo>
                  <a:lnTo>
                    <a:pt x="511722" y="204990"/>
                  </a:lnTo>
                  <a:lnTo>
                    <a:pt x="511722" y="209753"/>
                  </a:lnTo>
                  <a:lnTo>
                    <a:pt x="511823" y="209753"/>
                  </a:lnTo>
                  <a:lnTo>
                    <a:pt x="511823" y="207022"/>
                  </a:lnTo>
                  <a:lnTo>
                    <a:pt x="511823" y="207721"/>
                  </a:lnTo>
                  <a:lnTo>
                    <a:pt x="511823" y="207022"/>
                  </a:lnTo>
                  <a:lnTo>
                    <a:pt x="511823" y="209753"/>
                  </a:lnTo>
                  <a:lnTo>
                    <a:pt x="511823" y="208407"/>
                  </a:lnTo>
                  <a:lnTo>
                    <a:pt x="511874" y="208407"/>
                  </a:lnTo>
                  <a:lnTo>
                    <a:pt x="511874" y="207721"/>
                  </a:lnTo>
                  <a:lnTo>
                    <a:pt x="511925" y="207721"/>
                  </a:lnTo>
                  <a:lnTo>
                    <a:pt x="511925" y="207022"/>
                  </a:lnTo>
                  <a:lnTo>
                    <a:pt x="511925" y="208407"/>
                  </a:lnTo>
                  <a:lnTo>
                    <a:pt x="511925" y="207022"/>
                  </a:lnTo>
                  <a:lnTo>
                    <a:pt x="512026" y="207022"/>
                  </a:lnTo>
                  <a:lnTo>
                    <a:pt x="512026" y="208407"/>
                  </a:lnTo>
                  <a:lnTo>
                    <a:pt x="512026" y="207721"/>
                  </a:lnTo>
                  <a:lnTo>
                    <a:pt x="512026" y="208407"/>
                  </a:lnTo>
                  <a:lnTo>
                    <a:pt x="512026" y="207721"/>
                  </a:lnTo>
                  <a:lnTo>
                    <a:pt x="512077" y="208407"/>
                  </a:lnTo>
                  <a:lnTo>
                    <a:pt x="512077" y="207721"/>
                  </a:lnTo>
                  <a:lnTo>
                    <a:pt x="512077" y="208407"/>
                  </a:lnTo>
                  <a:lnTo>
                    <a:pt x="512077" y="207721"/>
                  </a:lnTo>
                  <a:lnTo>
                    <a:pt x="512128" y="207022"/>
                  </a:lnTo>
                  <a:lnTo>
                    <a:pt x="512128" y="206324"/>
                  </a:lnTo>
                  <a:lnTo>
                    <a:pt x="512128" y="207022"/>
                  </a:lnTo>
                  <a:lnTo>
                    <a:pt x="512128" y="206324"/>
                  </a:lnTo>
                  <a:lnTo>
                    <a:pt x="512179" y="206324"/>
                  </a:lnTo>
                  <a:lnTo>
                    <a:pt x="512179" y="204292"/>
                  </a:lnTo>
                  <a:lnTo>
                    <a:pt x="512179" y="207022"/>
                  </a:lnTo>
                  <a:lnTo>
                    <a:pt x="512179" y="206324"/>
                  </a:lnTo>
                  <a:lnTo>
                    <a:pt x="512268" y="206324"/>
                  </a:lnTo>
                  <a:lnTo>
                    <a:pt x="512268" y="204292"/>
                  </a:lnTo>
                  <a:lnTo>
                    <a:pt x="512268" y="208407"/>
                  </a:lnTo>
                  <a:lnTo>
                    <a:pt x="512318" y="208407"/>
                  </a:lnTo>
                  <a:lnTo>
                    <a:pt x="512318" y="207022"/>
                  </a:lnTo>
                  <a:lnTo>
                    <a:pt x="512318" y="208407"/>
                  </a:lnTo>
                  <a:lnTo>
                    <a:pt x="512318" y="207721"/>
                  </a:lnTo>
                  <a:lnTo>
                    <a:pt x="512369" y="207721"/>
                  </a:lnTo>
                  <a:lnTo>
                    <a:pt x="512369" y="207022"/>
                  </a:lnTo>
                  <a:lnTo>
                    <a:pt x="512369" y="207721"/>
                  </a:lnTo>
                  <a:lnTo>
                    <a:pt x="512369" y="207022"/>
                  </a:lnTo>
                  <a:lnTo>
                    <a:pt x="512369" y="208407"/>
                  </a:lnTo>
                  <a:lnTo>
                    <a:pt x="512369" y="207721"/>
                  </a:lnTo>
                  <a:lnTo>
                    <a:pt x="512369" y="208407"/>
                  </a:lnTo>
                  <a:lnTo>
                    <a:pt x="512369" y="207721"/>
                  </a:lnTo>
                  <a:lnTo>
                    <a:pt x="512420" y="208407"/>
                  </a:lnTo>
                  <a:lnTo>
                    <a:pt x="512420" y="207721"/>
                  </a:lnTo>
                  <a:lnTo>
                    <a:pt x="512420" y="208407"/>
                  </a:lnTo>
                  <a:lnTo>
                    <a:pt x="512420" y="207721"/>
                  </a:lnTo>
                  <a:lnTo>
                    <a:pt x="512420" y="208407"/>
                  </a:lnTo>
                  <a:lnTo>
                    <a:pt x="512420" y="207721"/>
                  </a:lnTo>
                  <a:lnTo>
                    <a:pt x="512522" y="207721"/>
                  </a:lnTo>
                  <a:lnTo>
                    <a:pt x="512522" y="208407"/>
                  </a:lnTo>
                  <a:lnTo>
                    <a:pt x="512522" y="207721"/>
                  </a:lnTo>
                  <a:lnTo>
                    <a:pt x="512522" y="208407"/>
                  </a:lnTo>
                  <a:lnTo>
                    <a:pt x="512572" y="208407"/>
                  </a:lnTo>
                  <a:lnTo>
                    <a:pt x="512572" y="207721"/>
                  </a:lnTo>
                  <a:lnTo>
                    <a:pt x="512572" y="208407"/>
                  </a:lnTo>
                  <a:lnTo>
                    <a:pt x="512572" y="207022"/>
                  </a:lnTo>
                  <a:lnTo>
                    <a:pt x="512572" y="207721"/>
                  </a:lnTo>
                  <a:lnTo>
                    <a:pt x="512572" y="207022"/>
                  </a:lnTo>
                  <a:lnTo>
                    <a:pt x="512623" y="207022"/>
                  </a:lnTo>
                  <a:lnTo>
                    <a:pt x="512623" y="204292"/>
                  </a:lnTo>
                  <a:lnTo>
                    <a:pt x="512725" y="204292"/>
                  </a:lnTo>
                  <a:lnTo>
                    <a:pt x="512725" y="203594"/>
                  </a:lnTo>
                  <a:lnTo>
                    <a:pt x="512725" y="207022"/>
                  </a:lnTo>
                  <a:lnTo>
                    <a:pt x="512725" y="206324"/>
                  </a:lnTo>
                  <a:lnTo>
                    <a:pt x="512725" y="207022"/>
                  </a:lnTo>
                  <a:lnTo>
                    <a:pt x="512725" y="204990"/>
                  </a:lnTo>
                  <a:lnTo>
                    <a:pt x="512763" y="204292"/>
                  </a:lnTo>
                  <a:lnTo>
                    <a:pt x="512763" y="208407"/>
                  </a:lnTo>
                  <a:lnTo>
                    <a:pt x="512763" y="206324"/>
                  </a:lnTo>
                  <a:lnTo>
                    <a:pt x="512814" y="206324"/>
                  </a:lnTo>
                  <a:lnTo>
                    <a:pt x="512814" y="207721"/>
                  </a:lnTo>
                  <a:lnTo>
                    <a:pt x="512814" y="207022"/>
                  </a:lnTo>
                  <a:lnTo>
                    <a:pt x="512865" y="207721"/>
                  </a:lnTo>
                  <a:lnTo>
                    <a:pt x="512865" y="208407"/>
                  </a:lnTo>
                  <a:lnTo>
                    <a:pt x="512865" y="207721"/>
                  </a:lnTo>
                  <a:lnTo>
                    <a:pt x="512865" y="208407"/>
                  </a:lnTo>
                  <a:lnTo>
                    <a:pt x="512966" y="208407"/>
                  </a:lnTo>
                  <a:lnTo>
                    <a:pt x="512966" y="207721"/>
                  </a:lnTo>
                  <a:lnTo>
                    <a:pt x="512966" y="208407"/>
                  </a:lnTo>
                  <a:lnTo>
                    <a:pt x="513017" y="209753"/>
                  </a:lnTo>
                  <a:lnTo>
                    <a:pt x="513017" y="208407"/>
                  </a:lnTo>
                  <a:lnTo>
                    <a:pt x="513017" y="209753"/>
                  </a:lnTo>
                  <a:lnTo>
                    <a:pt x="513068" y="209753"/>
                  </a:lnTo>
                  <a:lnTo>
                    <a:pt x="513068" y="207721"/>
                  </a:lnTo>
                  <a:lnTo>
                    <a:pt x="513068" y="208407"/>
                  </a:lnTo>
                  <a:lnTo>
                    <a:pt x="513068" y="207721"/>
                  </a:lnTo>
                  <a:lnTo>
                    <a:pt x="513169" y="207721"/>
                  </a:lnTo>
                  <a:lnTo>
                    <a:pt x="513169" y="206324"/>
                  </a:lnTo>
                  <a:lnTo>
                    <a:pt x="513169" y="207022"/>
                  </a:lnTo>
                  <a:lnTo>
                    <a:pt x="513169" y="206324"/>
                  </a:lnTo>
                  <a:lnTo>
                    <a:pt x="513169" y="207022"/>
                  </a:lnTo>
                  <a:lnTo>
                    <a:pt x="513169" y="206324"/>
                  </a:lnTo>
                  <a:lnTo>
                    <a:pt x="513169" y="207721"/>
                  </a:lnTo>
                  <a:lnTo>
                    <a:pt x="513220" y="207721"/>
                  </a:lnTo>
                  <a:lnTo>
                    <a:pt x="513220" y="207022"/>
                  </a:lnTo>
                  <a:lnTo>
                    <a:pt x="513220" y="207721"/>
                  </a:lnTo>
                  <a:lnTo>
                    <a:pt x="513220" y="207022"/>
                  </a:lnTo>
                  <a:lnTo>
                    <a:pt x="513220" y="208407"/>
                  </a:lnTo>
                  <a:lnTo>
                    <a:pt x="513271" y="208407"/>
                  </a:lnTo>
                  <a:lnTo>
                    <a:pt x="513271" y="209753"/>
                  </a:lnTo>
                  <a:lnTo>
                    <a:pt x="513271" y="207721"/>
                  </a:lnTo>
                  <a:lnTo>
                    <a:pt x="513271" y="208407"/>
                  </a:lnTo>
                  <a:lnTo>
                    <a:pt x="513271" y="207721"/>
                  </a:lnTo>
                  <a:lnTo>
                    <a:pt x="513271" y="208407"/>
                  </a:lnTo>
                  <a:lnTo>
                    <a:pt x="513309" y="208407"/>
                  </a:lnTo>
                  <a:lnTo>
                    <a:pt x="513309" y="209753"/>
                  </a:lnTo>
                  <a:lnTo>
                    <a:pt x="513309" y="207721"/>
                  </a:lnTo>
                  <a:lnTo>
                    <a:pt x="513309" y="208407"/>
                  </a:lnTo>
                  <a:lnTo>
                    <a:pt x="513411" y="208407"/>
                  </a:lnTo>
                  <a:lnTo>
                    <a:pt x="513411" y="209753"/>
                  </a:lnTo>
                  <a:lnTo>
                    <a:pt x="513411" y="208407"/>
                  </a:lnTo>
                  <a:lnTo>
                    <a:pt x="513462" y="208407"/>
                  </a:lnTo>
                  <a:lnTo>
                    <a:pt x="513462" y="209753"/>
                  </a:lnTo>
                  <a:lnTo>
                    <a:pt x="513462" y="208407"/>
                  </a:lnTo>
                  <a:lnTo>
                    <a:pt x="513462" y="209753"/>
                  </a:lnTo>
                  <a:lnTo>
                    <a:pt x="513462" y="208407"/>
                  </a:lnTo>
                  <a:lnTo>
                    <a:pt x="513462" y="209753"/>
                  </a:lnTo>
                  <a:lnTo>
                    <a:pt x="513512" y="209753"/>
                  </a:lnTo>
                  <a:lnTo>
                    <a:pt x="513512" y="207721"/>
                  </a:lnTo>
                  <a:lnTo>
                    <a:pt x="513614" y="207721"/>
                  </a:lnTo>
                  <a:lnTo>
                    <a:pt x="513614" y="202260"/>
                  </a:lnTo>
                  <a:lnTo>
                    <a:pt x="513665" y="202959"/>
                  </a:lnTo>
                  <a:lnTo>
                    <a:pt x="513665" y="206324"/>
                  </a:lnTo>
                  <a:lnTo>
                    <a:pt x="513665" y="202959"/>
                  </a:lnTo>
                  <a:lnTo>
                    <a:pt x="513665" y="207721"/>
                  </a:lnTo>
                  <a:lnTo>
                    <a:pt x="513665" y="206324"/>
                  </a:lnTo>
                  <a:lnTo>
                    <a:pt x="513665" y="207022"/>
                  </a:lnTo>
                  <a:lnTo>
                    <a:pt x="513665" y="206324"/>
                  </a:lnTo>
                  <a:lnTo>
                    <a:pt x="513716" y="207022"/>
                  </a:lnTo>
                  <a:lnTo>
                    <a:pt x="513716" y="210451"/>
                  </a:lnTo>
                  <a:lnTo>
                    <a:pt x="513716" y="207721"/>
                  </a:lnTo>
                  <a:lnTo>
                    <a:pt x="513766" y="207721"/>
                  </a:lnTo>
                  <a:lnTo>
                    <a:pt x="513766" y="210451"/>
                  </a:lnTo>
                  <a:lnTo>
                    <a:pt x="513766" y="208407"/>
                  </a:lnTo>
                  <a:lnTo>
                    <a:pt x="513855" y="209753"/>
                  </a:lnTo>
                  <a:lnTo>
                    <a:pt x="513855" y="210451"/>
                  </a:lnTo>
                  <a:lnTo>
                    <a:pt x="513855" y="208407"/>
                  </a:lnTo>
                  <a:lnTo>
                    <a:pt x="513855" y="209753"/>
                  </a:lnTo>
                  <a:lnTo>
                    <a:pt x="513906" y="210451"/>
                  </a:lnTo>
                  <a:lnTo>
                    <a:pt x="513906" y="209753"/>
                  </a:lnTo>
                  <a:lnTo>
                    <a:pt x="513957" y="209753"/>
                  </a:lnTo>
                  <a:lnTo>
                    <a:pt x="513957" y="208407"/>
                  </a:lnTo>
                  <a:lnTo>
                    <a:pt x="513957" y="209753"/>
                  </a:lnTo>
                  <a:lnTo>
                    <a:pt x="514008" y="209753"/>
                  </a:lnTo>
                  <a:lnTo>
                    <a:pt x="514008" y="210451"/>
                  </a:lnTo>
                  <a:lnTo>
                    <a:pt x="514008" y="208407"/>
                  </a:lnTo>
                  <a:lnTo>
                    <a:pt x="514109" y="208407"/>
                  </a:lnTo>
                  <a:lnTo>
                    <a:pt x="514109" y="206324"/>
                  </a:lnTo>
                  <a:lnTo>
                    <a:pt x="514160" y="206324"/>
                  </a:lnTo>
                  <a:lnTo>
                    <a:pt x="514160" y="207022"/>
                  </a:lnTo>
                  <a:lnTo>
                    <a:pt x="514160" y="204990"/>
                  </a:lnTo>
                  <a:lnTo>
                    <a:pt x="514211" y="204990"/>
                  </a:lnTo>
                  <a:lnTo>
                    <a:pt x="514211" y="208407"/>
                  </a:lnTo>
                  <a:lnTo>
                    <a:pt x="514211" y="206324"/>
                  </a:lnTo>
                  <a:lnTo>
                    <a:pt x="514312" y="206324"/>
                  </a:lnTo>
                  <a:lnTo>
                    <a:pt x="514312" y="208407"/>
                  </a:lnTo>
                  <a:lnTo>
                    <a:pt x="514312" y="207022"/>
                  </a:lnTo>
                  <a:lnTo>
                    <a:pt x="514312" y="207721"/>
                  </a:lnTo>
                  <a:lnTo>
                    <a:pt x="514351" y="207721"/>
                  </a:lnTo>
                  <a:lnTo>
                    <a:pt x="514351" y="208407"/>
                  </a:lnTo>
                  <a:lnTo>
                    <a:pt x="514351" y="207721"/>
                  </a:lnTo>
                  <a:lnTo>
                    <a:pt x="514351" y="208407"/>
                  </a:lnTo>
                  <a:lnTo>
                    <a:pt x="514401" y="208407"/>
                  </a:lnTo>
                  <a:lnTo>
                    <a:pt x="514401" y="209753"/>
                  </a:lnTo>
                  <a:lnTo>
                    <a:pt x="514452" y="209753"/>
                  </a:lnTo>
                  <a:lnTo>
                    <a:pt x="514452" y="208407"/>
                  </a:lnTo>
                  <a:lnTo>
                    <a:pt x="514554" y="208407"/>
                  </a:lnTo>
                  <a:lnTo>
                    <a:pt x="514554" y="207721"/>
                  </a:lnTo>
                  <a:lnTo>
                    <a:pt x="514554" y="208407"/>
                  </a:lnTo>
                  <a:lnTo>
                    <a:pt x="514554" y="207022"/>
                  </a:lnTo>
                  <a:lnTo>
                    <a:pt x="514605" y="207721"/>
                  </a:lnTo>
                  <a:lnTo>
                    <a:pt x="514605" y="204990"/>
                  </a:lnTo>
                  <a:lnTo>
                    <a:pt x="514605" y="206324"/>
                  </a:lnTo>
                  <a:lnTo>
                    <a:pt x="514605" y="204292"/>
                  </a:lnTo>
                  <a:lnTo>
                    <a:pt x="514605" y="204990"/>
                  </a:lnTo>
                  <a:lnTo>
                    <a:pt x="514655" y="206324"/>
                  </a:lnTo>
                  <a:lnTo>
                    <a:pt x="514655" y="207022"/>
                  </a:lnTo>
                  <a:lnTo>
                    <a:pt x="514655" y="204292"/>
                  </a:lnTo>
                  <a:lnTo>
                    <a:pt x="514655" y="206324"/>
                  </a:lnTo>
                  <a:lnTo>
                    <a:pt x="514757" y="207022"/>
                  </a:lnTo>
                  <a:lnTo>
                    <a:pt x="514757" y="208407"/>
                  </a:lnTo>
                  <a:lnTo>
                    <a:pt x="514757" y="204990"/>
                  </a:lnTo>
                  <a:lnTo>
                    <a:pt x="514757" y="208407"/>
                  </a:lnTo>
                  <a:lnTo>
                    <a:pt x="514808" y="208407"/>
                  </a:lnTo>
                  <a:lnTo>
                    <a:pt x="514808" y="207022"/>
                  </a:lnTo>
                  <a:lnTo>
                    <a:pt x="514808" y="207721"/>
                  </a:lnTo>
                  <a:lnTo>
                    <a:pt x="514808" y="207022"/>
                  </a:lnTo>
                  <a:lnTo>
                    <a:pt x="514808" y="207721"/>
                  </a:lnTo>
                  <a:lnTo>
                    <a:pt x="514858" y="207721"/>
                  </a:lnTo>
                  <a:lnTo>
                    <a:pt x="514858" y="207022"/>
                  </a:lnTo>
                  <a:lnTo>
                    <a:pt x="514858" y="208407"/>
                  </a:lnTo>
                  <a:lnTo>
                    <a:pt x="514897" y="207721"/>
                  </a:lnTo>
                  <a:lnTo>
                    <a:pt x="514897" y="209753"/>
                  </a:lnTo>
                  <a:lnTo>
                    <a:pt x="514897" y="208407"/>
                  </a:lnTo>
                  <a:lnTo>
                    <a:pt x="514897" y="209753"/>
                  </a:lnTo>
                  <a:lnTo>
                    <a:pt x="514998" y="209753"/>
                  </a:lnTo>
                  <a:lnTo>
                    <a:pt x="514998" y="208407"/>
                  </a:lnTo>
                  <a:lnTo>
                    <a:pt x="514998" y="209753"/>
                  </a:lnTo>
                  <a:lnTo>
                    <a:pt x="515049" y="209753"/>
                  </a:lnTo>
                  <a:lnTo>
                    <a:pt x="515049" y="208407"/>
                  </a:lnTo>
                  <a:lnTo>
                    <a:pt x="515049" y="209753"/>
                  </a:lnTo>
                  <a:lnTo>
                    <a:pt x="515049" y="208407"/>
                  </a:lnTo>
                  <a:lnTo>
                    <a:pt x="515049" y="209753"/>
                  </a:lnTo>
                  <a:lnTo>
                    <a:pt x="515049" y="207721"/>
                  </a:lnTo>
                  <a:lnTo>
                    <a:pt x="515100" y="208407"/>
                  </a:lnTo>
                  <a:lnTo>
                    <a:pt x="515100" y="207721"/>
                  </a:lnTo>
                  <a:lnTo>
                    <a:pt x="515100" y="208407"/>
                  </a:lnTo>
                  <a:lnTo>
                    <a:pt x="515100" y="207022"/>
                  </a:lnTo>
                  <a:lnTo>
                    <a:pt x="515100" y="209753"/>
                  </a:lnTo>
                  <a:lnTo>
                    <a:pt x="515201" y="208407"/>
                  </a:lnTo>
                  <a:lnTo>
                    <a:pt x="515201" y="207721"/>
                  </a:lnTo>
                  <a:lnTo>
                    <a:pt x="515201" y="210451"/>
                  </a:lnTo>
                  <a:lnTo>
                    <a:pt x="515252" y="210451"/>
                  </a:lnTo>
                  <a:lnTo>
                    <a:pt x="515252" y="208407"/>
                  </a:lnTo>
                  <a:lnTo>
                    <a:pt x="515252" y="209753"/>
                  </a:lnTo>
                  <a:lnTo>
                    <a:pt x="515252" y="208407"/>
                  </a:lnTo>
                  <a:lnTo>
                    <a:pt x="515252" y="210451"/>
                  </a:lnTo>
                  <a:lnTo>
                    <a:pt x="515252" y="209753"/>
                  </a:lnTo>
                  <a:lnTo>
                    <a:pt x="515303" y="209753"/>
                  </a:lnTo>
                  <a:lnTo>
                    <a:pt x="515303" y="210451"/>
                  </a:lnTo>
                  <a:lnTo>
                    <a:pt x="515303" y="209753"/>
                  </a:lnTo>
                  <a:lnTo>
                    <a:pt x="515303" y="210451"/>
                  </a:lnTo>
                  <a:lnTo>
                    <a:pt x="515303" y="209753"/>
                  </a:lnTo>
                  <a:lnTo>
                    <a:pt x="515354" y="209753"/>
                  </a:lnTo>
                  <a:lnTo>
                    <a:pt x="515354" y="210451"/>
                  </a:lnTo>
                  <a:lnTo>
                    <a:pt x="515354" y="209753"/>
                  </a:lnTo>
                  <a:lnTo>
                    <a:pt x="515354" y="210451"/>
                  </a:lnTo>
                  <a:lnTo>
                    <a:pt x="515354" y="209753"/>
                  </a:lnTo>
                  <a:lnTo>
                    <a:pt x="515443" y="209753"/>
                  </a:lnTo>
                  <a:lnTo>
                    <a:pt x="515443" y="210451"/>
                  </a:lnTo>
                  <a:lnTo>
                    <a:pt x="515443" y="209753"/>
                  </a:lnTo>
                  <a:lnTo>
                    <a:pt x="515493" y="209753"/>
                  </a:lnTo>
                  <a:lnTo>
                    <a:pt x="515493" y="208407"/>
                  </a:lnTo>
                  <a:lnTo>
                    <a:pt x="515493" y="209753"/>
                  </a:lnTo>
                  <a:lnTo>
                    <a:pt x="515493" y="208407"/>
                  </a:lnTo>
                  <a:lnTo>
                    <a:pt x="515493" y="209753"/>
                  </a:lnTo>
                  <a:lnTo>
                    <a:pt x="515544" y="209753"/>
                  </a:lnTo>
                  <a:lnTo>
                    <a:pt x="515544" y="207721"/>
                  </a:lnTo>
                  <a:lnTo>
                    <a:pt x="515544" y="208407"/>
                  </a:lnTo>
                  <a:lnTo>
                    <a:pt x="515544" y="207022"/>
                  </a:lnTo>
                  <a:lnTo>
                    <a:pt x="515595" y="206324"/>
                  </a:lnTo>
                  <a:lnTo>
                    <a:pt x="515595" y="207721"/>
                  </a:lnTo>
                  <a:lnTo>
                    <a:pt x="515595" y="207022"/>
                  </a:lnTo>
                  <a:lnTo>
                    <a:pt x="515697" y="207022"/>
                  </a:lnTo>
                  <a:lnTo>
                    <a:pt x="515697" y="206324"/>
                  </a:lnTo>
                  <a:lnTo>
                    <a:pt x="515697" y="210451"/>
                  </a:lnTo>
                  <a:lnTo>
                    <a:pt x="515697" y="207721"/>
                  </a:lnTo>
                  <a:lnTo>
                    <a:pt x="515747" y="207721"/>
                  </a:lnTo>
                  <a:lnTo>
                    <a:pt x="515747" y="210451"/>
                  </a:lnTo>
                  <a:lnTo>
                    <a:pt x="515747" y="208407"/>
                  </a:lnTo>
                  <a:lnTo>
                    <a:pt x="515798" y="208407"/>
                  </a:lnTo>
                  <a:lnTo>
                    <a:pt x="515798" y="210451"/>
                  </a:lnTo>
                  <a:lnTo>
                    <a:pt x="515798" y="209753"/>
                  </a:lnTo>
                  <a:lnTo>
                    <a:pt x="515900" y="209753"/>
                  </a:lnTo>
                  <a:lnTo>
                    <a:pt x="515900" y="210451"/>
                  </a:lnTo>
                  <a:lnTo>
                    <a:pt x="515900" y="209753"/>
                  </a:lnTo>
                  <a:lnTo>
                    <a:pt x="515900" y="210451"/>
                  </a:lnTo>
                  <a:lnTo>
                    <a:pt x="515900" y="209753"/>
                  </a:lnTo>
                  <a:lnTo>
                    <a:pt x="515900" y="210451"/>
                  </a:lnTo>
                  <a:lnTo>
                    <a:pt x="515900" y="209753"/>
                  </a:lnTo>
                  <a:lnTo>
                    <a:pt x="515900" y="210451"/>
                  </a:lnTo>
                  <a:lnTo>
                    <a:pt x="515900" y="209753"/>
                  </a:lnTo>
                  <a:lnTo>
                    <a:pt x="515938" y="209753"/>
                  </a:lnTo>
                  <a:lnTo>
                    <a:pt x="515938" y="210451"/>
                  </a:lnTo>
                  <a:lnTo>
                    <a:pt x="515938" y="209753"/>
                  </a:lnTo>
                  <a:lnTo>
                    <a:pt x="515989" y="209753"/>
                  </a:lnTo>
                  <a:lnTo>
                    <a:pt x="515989" y="208407"/>
                  </a:lnTo>
                  <a:lnTo>
                    <a:pt x="515989" y="209753"/>
                  </a:lnTo>
                  <a:lnTo>
                    <a:pt x="515989" y="208407"/>
                  </a:lnTo>
                  <a:lnTo>
                    <a:pt x="515989" y="209753"/>
                  </a:lnTo>
                  <a:lnTo>
                    <a:pt x="515989" y="208407"/>
                  </a:lnTo>
                  <a:lnTo>
                    <a:pt x="516040" y="208407"/>
                  </a:lnTo>
                  <a:lnTo>
                    <a:pt x="516040" y="207721"/>
                  </a:lnTo>
                  <a:lnTo>
                    <a:pt x="516040" y="208407"/>
                  </a:lnTo>
                  <a:lnTo>
                    <a:pt x="516040" y="206324"/>
                  </a:lnTo>
                  <a:lnTo>
                    <a:pt x="516141" y="206324"/>
                  </a:lnTo>
                  <a:lnTo>
                    <a:pt x="516141" y="204990"/>
                  </a:lnTo>
                  <a:lnTo>
                    <a:pt x="516141" y="207022"/>
                  </a:lnTo>
                  <a:lnTo>
                    <a:pt x="516141" y="206324"/>
                  </a:lnTo>
                  <a:lnTo>
                    <a:pt x="516192" y="206324"/>
                  </a:lnTo>
                  <a:lnTo>
                    <a:pt x="516192" y="208407"/>
                  </a:lnTo>
                  <a:lnTo>
                    <a:pt x="516192" y="207022"/>
                  </a:lnTo>
                  <a:lnTo>
                    <a:pt x="516243" y="207721"/>
                  </a:lnTo>
                  <a:lnTo>
                    <a:pt x="516243" y="207022"/>
                  </a:lnTo>
                  <a:lnTo>
                    <a:pt x="516243" y="207721"/>
                  </a:lnTo>
                  <a:lnTo>
                    <a:pt x="516243" y="207022"/>
                  </a:lnTo>
                  <a:lnTo>
                    <a:pt x="516243" y="208407"/>
                  </a:lnTo>
                  <a:lnTo>
                    <a:pt x="516243" y="207721"/>
                  </a:lnTo>
                  <a:lnTo>
                    <a:pt x="516243" y="208407"/>
                  </a:lnTo>
                  <a:lnTo>
                    <a:pt x="516344" y="208407"/>
                  </a:lnTo>
                  <a:lnTo>
                    <a:pt x="516344" y="209753"/>
                  </a:lnTo>
                  <a:lnTo>
                    <a:pt x="516344" y="208407"/>
                  </a:lnTo>
                  <a:lnTo>
                    <a:pt x="516344" y="209753"/>
                  </a:lnTo>
                  <a:lnTo>
                    <a:pt x="516446" y="209753"/>
                  </a:lnTo>
                  <a:lnTo>
                    <a:pt x="516446" y="210451"/>
                  </a:lnTo>
                  <a:lnTo>
                    <a:pt x="516446" y="209753"/>
                  </a:lnTo>
                  <a:lnTo>
                    <a:pt x="516446" y="210451"/>
                  </a:lnTo>
                  <a:lnTo>
                    <a:pt x="516484" y="210451"/>
                  </a:lnTo>
                  <a:lnTo>
                    <a:pt x="516484" y="209753"/>
                  </a:lnTo>
                  <a:lnTo>
                    <a:pt x="516484" y="210451"/>
                  </a:lnTo>
                  <a:lnTo>
                    <a:pt x="516484" y="208407"/>
                  </a:lnTo>
                  <a:lnTo>
                    <a:pt x="516586" y="208407"/>
                  </a:lnTo>
                  <a:lnTo>
                    <a:pt x="516586" y="207721"/>
                  </a:lnTo>
                  <a:lnTo>
                    <a:pt x="516586" y="208407"/>
                  </a:lnTo>
                  <a:lnTo>
                    <a:pt x="516586" y="206324"/>
                  </a:lnTo>
                  <a:lnTo>
                    <a:pt x="516637" y="206324"/>
                  </a:lnTo>
                  <a:lnTo>
                    <a:pt x="516637" y="203594"/>
                  </a:lnTo>
                  <a:lnTo>
                    <a:pt x="516637" y="204292"/>
                  </a:lnTo>
                  <a:lnTo>
                    <a:pt x="516687" y="204292"/>
                  </a:lnTo>
                  <a:lnTo>
                    <a:pt x="516687" y="204990"/>
                  </a:lnTo>
                  <a:lnTo>
                    <a:pt x="516687" y="203594"/>
                  </a:lnTo>
                  <a:lnTo>
                    <a:pt x="516687" y="204990"/>
                  </a:lnTo>
                  <a:lnTo>
                    <a:pt x="516789" y="206324"/>
                  </a:lnTo>
                  <a:lnTo>
                    <a:pt x="516789" y="207022"/>
                  </a:lnTo>
                  <a:lnTo>
                    <a:pt x="516789" y="206324"/>
                  </a:lnTo>
                  <a:lnTo>
                    <a:pt x="516840" y="207022"/>
                  </a:lnTo>
                  <a:lnTo>
                    <a:pt x="516840" y="207721"/>
                  </a:lnTo>
                  <a:lnTo>
                    <a:pt x="516891" y="207721"/>
                  </a:lnTo>
                  <a:lnTo>
                    <a:pt x="516891" y="209753"/>
                  </a:lnTo>
                  <a:lnTo>
                    <a:pt x="516941" y="209753"/>
                  </a:lnTo>
                  <a:lnTo>
                    <a:pt x="516941" y="208407"/>
                  </a:lnTo>
                  <a:lnTo>
                    <a:pt x="516941" y="210451"/>
                  </a:lnTo>
                  <a:lnTo>
                    <a:pt x="516941" y="209753"/>
                  </a:lnTo>
                  <a:lnTo>
                    <a:pt x="517030" y="209753"/>
                  </a:lnTo>
                  <a:lnTo>
                    <a:pt x="517030" y="210451"/>
                  </a:lnTo>
                  <a:lnTo>
                    <a:pt x="517030" y="209753"/>
                  </a:lnTo>
                  <a:lnTo>
                    <a:pt x="517030" y="210451"/>
                  </a:lnTo>
                  <a:lnTo>
                    <a:pt x="517030" y="209753"/>
                  </a:lnTo>
                  <a:lnTo>
                    <a:pt x="517030" y="210451"/>
                  </a:lnTo>
                  <a:lnTo>
                    <a:pt x="517030" y="209753"/>
                  </a:lnTo>
                  <a:lnTo>
                    <a:pt x="517081" y="209753"/>
                  </a:lnTo>
                  <a:lnTo>
                    <a:pt x="517081" y="207721"/>
                  </a:lnTo>
                  <a:lnTo>
                    <a:pt x="517081" y="208407"/>
                  </a:lnTo>
                  <a:lnTo>
                    <a:pt x="517081" y="207721"/>
                  </a:lnTo>
                  <a:lnTo>
                    <a:pt x="517132" y="207721"/>
                  </a:lnTo>
                  <a:lnTo>
                    <a:pt x="517132" y="206324"/>
                  </a:lnTo>
                  <a:lnTo>
                    <a:pt x="517132" y="207022"/>
                  </a:lnTo>
                  <a:lnTo>
                    <a:pt x="517132" y="204990"/>
                  </a:lnTo>
                  <a:lnTo>
                    <a:pt x="517183" y="204990"/>
                  </a:lnTo>
                  <a:lnTo>
                    <a:pt x="517183" y="204292"/>
                  </a:lnTo>
                  <a:lnTo>
                    <a:pt x="517183" y="206324"/>
                  </a:lnTo>
                  <a:lnTo>
                    <a:pt x="517183" y="202959"/>
                  </a:lnTo>
                  <a:lnTo>
                    <a:pt x="517183" y="204292"/>
                  </a:lnTo>
                  <a:lnTo>
                    <a:pt x="517284" y="204990"/>
                  </a:lnTo>
                  <a:lnTo>
                    <a:pt x="517284" y="206324"/>
                  </a:lnTo>
                  <a:lnTo>
                    <a:pt x="517284" y="204292"/>
                  </a:lnTo>
                  <a:lnTo>
                    <a:pt x="517284" y="206324"/>
                  </a:lnTo>
                  <a:lnTo>
                    <a:pt x="517335" y="206324"/>
                  </a:lnTo>
                  <a:lnTo>
                    <a:pt x="517335" y="204990"/>
                  </a:lnTo>
                  <a:lnTo>
                    <a:pt x="517335" y="206324"/>
                  </a:lnTo>
                  <a:lnTo>
                    <a:pt x="517335" y="204990"/>
                  </a:lnTo>
                  <a:lnTo>
                    <a:pt x="517335" y="206324"/>
                  </a:lnTo>
                  <a:lnTo>
                    <a:pt x="517335" y="204990"/>
                  </a:lnTo>
                  <a:lnTo>
                    <a:pt x="517335" y="206324"/>
                  </a:lnTo>
                  <a:lnTo>
                    <a:pt x="517386" y="207022"/>
                  </a:lnTo>
                  <a:lnTo>
                    <a:pt x="517386" y="206324"/>
                  </a:lnTo>
                  <a:lnTo>
                    <a:pt x="517386" y="207022"/>
                  </a:lnTo>
                  <a:lnTo>
                    <a:pt x="517487" y="207022"/>
                  </a:lnTo>
                  <a:lnTo>
                    <a:pt x="517487" y="208407"/>
                  </a:lnTo>
                  <a:lnTo>
                    <a:pt x="517526" y="208407"/>
                  </a:lnTo>
                  <a:lnTo>
                    <a:pt x="517526" y="209753"/>
                  </a:lnTo>
                  <a:lnTo>
                    <a:pt x="517526" y="208407"/>
                  </a:lnTo>
                  <a:lnTo>
                    <a:pt x="517526" y="209753"/>
                  </a:lnTo>
                  <a:lnTo>
                    <a:pt x="517526" y="208407"/>
                  </a:lnTo>
                  <a:lnTo>
                    <a:pt x="517576" y="209753"/>
                  </a:lnTo>
                  <a:lnTo>
                    <a:pt x="517576" y="207022"/>
                  </a:lnTo>
                  <a:lnTo>
                    <a:pt x="517627" y="207022"/>
                  </a:lnTo>
                  <a:lnTo>
                    <a:pt x="517627" y="207721"/>
                  </a:lnTo>
                  <a:lnTo>
                    <a:pt x="517627" y="207022"/>
                  </a:lnTo>
                  <a:lnTo>
                    <a:pt x="517627" y="207721"/>
                  </a:lnTo>
                  <a:lnTo>
                    <a:pt x="517729" y="207721"/>
                  </a:lnTo>
                  <a:lnTo>
                    <a:pt x="517729" y="208407"/>
                  </a:lnTo>
                  <a:lnTo>
                    <a:pt x="517729" y="207022"/>
                  </a:lnTo>
                  <a:lnTo>
                    <a:pt x="517729" y="209753"/>
                  </a:lnTo>
                  <a:lnTo>
                    <a:pt x="517780" y="209753"/>
                  </a:lnTo>
                  <a:lnTo>
                    <a:pt x="517780" y="207721"/>
                  </a:lnTo>
                  <a:lnTo>
                    <a:pt x="517780" y="208407"/>
                  </a:lnTo>
                  <a:lnTo>
                    <a:pt x="517830" y="208407"/>
                  </a:lnTo>
                  <a:lnTo>
                    <a:pt x="517830" y="207721"/>
                  </a:lnTo>
                  <a:lnTo>
                    <a:pt x="517830" y="208407"/>
                  </a:lnTo>
                  <a:lnTo>
                    <a:pt x="517830" y="207721"/>
                  </a:lnTo>
                  <a:lnTo>
                    <a:pt x="517830" y="208407"/>
                  </a:lnTo>
                  <a:lnTo>
                    <a:pt x="517830" y="207721"/>
                  </a:lnTo>
                  <a:lnTo>
                    <a:pt x="517932" y="207721"/>
                  </a:lnTo>
                  <a:lnTo>
                    <a:pt x="517932" y="208407"/>
                  </a:lnTo>
                  <a:lnTo>
                    <a:pt x="517932" y="207721"/>
                  </a:lnTo>
                  <a:lnTo>
                    <a:pt x="517932" y="208407"/>
                  </a:lnTo>
                  <a:lnTo>
                    <a:pt x="517932" y="207721"/>
                  </a:lnTo>
                  <a:lnTo>
                    <a:pt x="517932" y="208407"/>
                  </a:lnTo>
                  <a:lnTo>
                    <a:pt x="517983" y="208407"/>
                  </a:lnTo>
                  <a:lnTo>
                    <a:pt x="517983" y="209753"/>
                  </a:lnTo>
                  <a:lnTo>
                    <a:pt x="518033" y="209753"/>
                  </a:lnTo>
                  <a:lnTo>
                    <a:pt x="518033" y="208407"/>
                  </a:lnTo>
                  <a:lnTo>
                    <a:pt x="518033" y="209753"/>
                  </a:lnTo>
                  <a:lnTo>
                    <a:pt x="518033" y="208407"/>
                  </a:lnTo>
                  <a:lnTo>
                    <a:pt x="518033" y="209753"/>
                  </a:lnTo>
                  <a:lnTo>
                    <a:pt x="518033" y="208407"/>
                  </a:lnTo>
                  <a:lnTo>
                    <a:pt x="518033" y="209753"/>
                  </a:lnTo>
                  <a:lnTo>
                    <a:pt x="518072" y="209753"/>
                  </a:lnTo>
                  <a:lnTo>
                    <a:pt x="518072" y="208407"/>
                  </a:lnTo>
                  <a:lnTo>
                    <a:pt x="518072" y="209753"/>
                  </a:lnTo>
                  <a:lnTo>
                    <a:pt x="518072" y="207022"/>
                  </a:lnTo>
                  <a:lnTo>
                    <a:pt x="518072" y="207721"/>
                  </a:lnTo>
                  <a:lnTo>
                    <a:pt x="518173" y="207721"/>
                  </a:lnTo>
                  <a:lnTo>
                    <a:pt x="518173" y="206324"/>
                  </a:lnTo>
                  <a:lnTo>
                    <a:pt x="518173" y="208407"/>
                  </a:lnTo>
                  <a:lnTo>
                    <a:pt x="518224" y="208407"/>
                  </a:lnTo>
                  <a:lnTo>
                    <a:pt x="518224" y="207022"/>
                  </a:lnTo>
                  <a:lnTo>
                    <a:pt x="518224" y="209753"/>
                  </a:lnTo>
                  <a:lnTo>
                    <a:pt x="518275" y="209753"/>
                  </a:lnTo>
                  <a:lnTo>
                    <a:pt x="518275" y="207721"/>
                  </a:lnTo>
                  <a:lnTo>
                    <a:pt x="518275" y="209753"/>
                  </a:lnTo>
                  <a:lnTo>
                    <a:pt x="518275" y="208407"/>
                  </a:lnTo>
                  <a:lnTo>
                    <a:pt x="518275" y="209753"/>
                  </a:lnTo>
                  <a:lnTo>
                    <a:pt x="518376" y="209753"/>
                  </a:lnTo>
                  <a:lnTo>
                    <a:pt x="518376" y="208407"/>
                  </a:lnTo>
                  <a:lnTo>
                    <a:pt x="518376" y="209753"/>
                  </a:lnTo>
                  <a:lnTo>
                    <a:pt x="518376" y="207721"/>
                  </a:lnTo>
                  <a:lnTo>
                    <a:pt x="518427" y="208407"/>
                  </a:lnTo>
                  <a:lnTo>
                    <a:pt x="518427" y="209753"/>
                  </a:lnTo>
                  <a:lnTo>
                    <a:pt x="518427" y="208407"/>
                  </a:lnTo>
                  <a:lnTo>
                    <a:pt x="518427" y="209753"/>
                  </a:lnTo>
                  <a:lnTo>
                    <a:pt x="518427" y="208407"/>
                  </a:lnTo>
                  <a:lnTo>
                    <a:pt x="518427" y="209753"/>
                  </a:lnTo>
                  <a:lnTo>
                    <a:pt x="518427" y="208407"/>
                  </a:lnTo>
                  <a:lnTo>
                    <a:pt x="518427" y="209753"/>
                  </a:lnTo>
                  <a:lnTo>
                    <a:pt x="518478" y="209753"/>
                  </a:lnTo>
                  <a:lnTo>
                    <a:pt x="518478" y="208407"/>
                  </a:lnTo>
                  <a:lnTo>
                    <a:pt x="518529" y="208407"/>
                  </a:lnTo>
                  <a:lnTo>
                    <a:pt x="518529" y="207721"/>
                  </a:lnTo>
                  <a:lnTo>
                    <a:pt x="518618" y="207721"/>
                  </a:lnTo>
                  <a:lnTo>
                    <a:pt x="518618" y="208407"/>
                  </a:lnTo>
                  <a:lnTo>
                    <a:pt x="518618" y="207022"/>
                  </a:lnTo>
                  <a:lnTo>
                    <a:pt x="518618" y="207721"/>
                  </a:lnTo>
                  <a:lnTo>
                    <a:pt x="518618" y="206324"/>
                  </a:lnTo>
                  <a:lnTo>
                    <a:pt x="518668" y="206324"/>
                  </a:lnTo>
                  <a:lnTo>
                    <a:pt x="518668" y="204990"/>
                  </a:lnTo>
                  <a:lnTo>
                    <a:pt x="518668" y="208407"/>
                  </a:lnTo>
                  <a:lnTo>
                    <a:pt x="518668" y="207022"/>
                  </a:lnTo>
                  <a:lnTo>
                    <a:pt x="518668" y="207721"/>
                  </a:lnTo>
                  <a:lnTo>
                    <a:pt x="518668" y="207022"/>
                  </a:lnTo>
                  <a:lnTo>
                    <a:pt x="518719" y="207022"/>
                  </a:lnTo>
                  <a:lnTo>
                    <a:pt x="518719" y="210451"/>
                  </a:lnTo>
                  <a:lnTo>
                    <a:pt x="518719" y="208407"/>
                  </a:lnTo>
                  <a:lnTo>
                    <a:pt x="518770" y="208407"/>
                  </a:lnTo>
                  <a:lnTo>
                    <a:pt x="518770" y="210451"/>
                  </a:lnTo>
                  <a:lnTo>
                    <a:pt x="518770" y="209753"/>
                  </a:lnTo>
                  <a:lnTo>
                    <a:pt x="518770" y="210451"/>
                  </a:lnTo>
                  <a:lnTo>
                    <a:pt x="518770" y="209753"/>
                  </a:lnTo>
                  <a:lnTo>
                    <a:pt x="518770" y="210451"/>
                  </a:lnTo>
                  <a:lnTo>
                    <a:pt x="518872" y="210451"/>
                  </a:lnTo>
                  <a:lnTo>
                    <a:pt x="518872" y="209753"/>
                  </a:lnTo>
                  <a:lnTo>
                    <a:pt x="518872" y="210451"/>
                  </a:lnTo>
                  <a:lnTo>
                    <a:pt x="518922" y="210451"/>
                  </a:lnTo>
                  <a:lnTo>
                    <a:pt x="518922" y="209753"/>
                  </a:lnTo>
                  <a:lnTo>
                    <a:pt x="518922" y="211137"/>
                  </a:lnTo>
                  <a:lnTo>
                    <a:pt x="518922" y="210451"/>
                  </a:lnTo>
                  <a:lnTo>
                    <a:pt x="518973" y="210451"/>
                  </a:lnTo>
                  <a:lnTo>
                    <a:pt x="518973" y="209753"/>
                  </a:lnTo>
                  <a:lnTo>
                    <a:pt x="518973" y="210451"/>
                  </a:lnTo>
                  <a:lnTo>
                    <a:pt x="518973" y="209753"/>
                  </a:lnTo>
                  <a:lnTo>
                    <a:pt x="519075" y="209753"/>
                  </a:lnTo>
                  <a:lnTo>
                    <a:pt x="519075" y="208407"/>
                  </a:lnTo>
                  <a:lnTo>
                    <a:pt x="519075" y="209753"/>
                  </a:lnTo>
                  <a:lnTo>
                    <a:pt x="519075" y="208407"/>
                  </a:lnTo>
                  <a:lnTo>
                    <a:pt x="519075" y="209753"/>
                  </a:lnTo>
                  <a:lnTo>
                    <a:pt x="519075" y="208407"/>
                  </a:lnTo>
                  <a:lnTo>
                    <a:pt x="519113" y="208407"/>
                  </a:lnTo>
                  <a:lnTo>
                    <a:pt x="519113" y="207022"/>
                  </a:lnTo>
                  <a:lnTo>
                    <a:pt x="519113" y="207721"/>
                  </a:lnTo>
                  <a:lnTo>
                    <a:pt x="519113" y="206324"/>
                  </a:lnTo>
                  <a:lnTo>
                    <a:pt x="519164" y="206324"/>
                  </a:lnTo>
                  <a:lnTo>
                    <a:pt x="519164" y="208407"/>
                  </a:lnTo>
                  <a:lnTo>
                    <a:pt x="519164" y="207022"/>
                  </a:lnTo>
                  <a:lnTo>
                    <a:pt x="519215" y="207721"/>
                  </a:lnTo>
                  <a:lnTo>
                    <a:pt x="519215" y="209753"/>
                  </a:lnTo>
                  <a:lnTo>
                    <a:pt x="519215" y="207721"/>
                  </a:lnTo>
                  <a:lnTo>
                    <a:pt x="519215" y="208407"/>
                  </a:lnTo>
                  <a:lnTo>
                    <a:pt x="519316" y="208407"/>
                  </a:lnTo>
                  <a:lnTo>
                    <a:pt x="519316" y="209753"/>
                  </a:lnTo>
                  <a:lnTo>
                    <a:pt x="519316" y="208407"/>
                  </a:lnTo>
                  <a:lnTo>
                    <a:pt x="519316" y="209753"/>
                  </a:lnTo>
                  <a:lnTo>
                    <a:pt x="519367" y="209753"/>
                  </a:lnTo>
                  <a:lnTo>
                    <a:pt x="519367" y="208407"/>
                  </a:lnTo>
                  <a:lnTo>
                    <a:pt x="519367" y="210451"/>
                  </a:lnTo>
                  <a:lnTo>
                    <a:pt x="519418" y="209753"/>
                  </a:lnTo>
                  <a:lnTo>
                    <a:pt x="519418" y="210451"/>
                  </a:lnTo>
                  <a:lnTo>
                    <a:pt x="519418" y="209753"/>
                  </a:lnTo>
                  <a:lnTo>
                    <a:pt x="519418" y="210451"/>
                  </a:lnTo>
                  <a:lnTo>
                    <a:pt x="519418" y="209753"/>
                  </a:lnTo>
                  <a:lnTo>
                    <a:pt x="519519" y="209753"/>
                  </a:lnTo>
                  <a:lnTo>
                    <a:pt x="519519" y="210451"/>
                  </a:lnTo>
                  <a:lnTo>
                    <a:pt x="519570" y="209753"/>
                  </a:lnTo>
                  <a:lnTo>
                    <a:pt x="519570" y="208407"/>
                  </a:lnTo>
                  <a:lnTo>
                    <a:pt x="519570" y="209753"/>
                  </a:lnTo>
                  <a:lnTo>
                    <a:pt x="519570" y="208407"/>
                  </a:lnTo>
                  <a:lnTo>
                    <a:pt x="519621" y="208407"/>
                  </a:lnTo>
                  <a:lnTo>
                    <a:pt x="519621" y="207721"/>
                  </a:lnTo>
                  <a:lnTo>
                    <a:pt x="519621" y="208407"/>
                  </a:lnTo>
                  <a:lnTo>
                    <a:pt x="519621" y="207022"/>
                  </a:lnTo>
                  <a:lnTo>
                    <a:pt x="519659" y="207022"/>
                  </a:lnTo>
                  <a:lnTo>
                    <a:pt x="519659" y="207721"/>
                  </a:lnTo>
                  <a:lnTo>
                    <a:pt x="519659" y="207022"/>
                  </a:lnTo>
                  <a:lnTo>
                    <a:pt x="519659" y="207721"/>
                  </a:lnTo>
                  <a:lnTo>
                    <a:pt x="519659" y="207022"/>
                  </a:lnTo>
                  <a:lnTo>
                    <a:pt x="519659" y="209753"/>
                  </a:lnTo>
                  <a:lnTo>
                    <a:pt x="519761" y="209753"/>
                  </a:lnTo>
                  <a:lnTo>
                    <a:pt x="519761" y="208407"/>
                  </a:lnTo>
                  <a:lnTo>
                    <a:pt x="519761" y="209753"/>
                  </a:lnTo>
                  <a:lnTo>
                    <a:pt x="519761" y="207721"/>
                  </a:lnTo>
                  <a:lnTo>
                    <a:pt x="519761" y="209753"/>
                  </a:lnTo>
                  <a:lnTo>
                    <a:pt x="519761" y="208407"/>
                  </a:lnTo>
                  <a:lnTo>
                    <a:pt x="519812" y="209753"/>
                  </a:lnTo>
                  <a:lnTo>
                    <a:pt x="519812" y="208407"/>
                  </a:lnTo>
                  <a:lnTo>
                    <a:pt x="519812" y="209753"/>
                  </a:lnTo>
                  <a:lnTo>
                    <a:pt x="519812" y="208407"/>
                  </a:lnTo>
                  <a:lnTo>
                    <a:pt x="519812" y="209753"/>
                  </a:lnTo>
                  <a:lnTo>
                    <a:pt x="519812" y="208407"/>
                  </a:lnTo>
                  <a:lnTo>
                    <a:pt x="519812" y="209753"/>
                  </a:lnTo>
                  <a:lnTo>
                    <a:pt x="519862" y="209753"/>
                  </a:lnTo>
                  <a:lnTo>
                    <a:pt x="519862" y="210451"/>
                  </a:lnTo>
                  <a:lnTo>
                    <a:pt x="519862" y="209753"/>
                  </a:lnTo>
                  <a:lnTo>
                    <a:pt x="519862" y="210451"/>
                  </a:lnTo>
                  <a:lnTo>
                    <a:pt x="520015" y="210451"/>
                  </a:lnTo>
                  <a:lnTo>
                    <a:pt x="520015" y="209753"/>
                  </a:lnTo>
                  <a:lnTo>
                    <a:pt x="520066" y="209753"/>
                  </a:lnTo>
                  <a:lnTo>
                    <a:pt x="520066" y="208407"/>
                  </a:lnTo>
                  <a:lnTo>
                    <a:pt x="520066" y="209753"/>
                  </a:lnTo>
                  <a:lnTo>
                    <a:pt x="520066" y="207721"/>
                  </a:lnTo>
                  <a:lnTo>
                    <a:pt x="520066" y="208407"/>
                  </a:lnTo>
                  <a:lnTo>
                    <a:pt x="520066" y="207022"/>
                  </a:lnTo>
                  <a:lnTo>
                    <a:pt x="520116" y="207022"/>
                  </a:lnTo>
                  <a:lnTo>
                    <a:pt x="520116" y="207721"/>
                  </a:lnTo>
                  <a:lnTo>
                    <a:pt x="520116" y="206324"/>
                  </a:lnTo>
                  <a:lnTo>
                    <a:pt x="520116" y="207022"/>
                  </a:lnTo>
                  <a:lnTo>
                    <a:pt x="520205" y="206324"/>
                  </a:lnTo>
                  <a:lnTo>
                    <a:pt x="520205" y="207022"/>
                  </a:lnTo>
                  <a:lnTo>
                    <a:pt x="520205" y="206324"/>
                  </a:lnTo>
                  <a:lnTo>
                    <a:pt x="520205" y="208407"/>
                  </a:lnTo>
                  <a:lnTo>
                    <a:pt x="520256" y="207721"/>
                  </a:lnTo>
                  <a:lnTo>
                    <a:pt x="520256" y="207022"/>
                  </a:lnTo>
                  <a:lnTo>
                    <a:pt x="520256" y="207721"/>
                  </a:lnTo>
                  <a:lnTo>
                    <a:pt x="520307" y="207721"/>
                  </a:lnTo>
                  <a:lnTo>
                    <a:pt x="520307" y="207022"/>
                  </a:lnTo>
                  <a:lnTo>
                    <a:pt x="520307" y="207721"/>
                  </a:lnTo>
                  <a:lnTo>
                    <a:pt x="520307" y="207022"/>
                  </a:lnTo>
                  <a:lnTo>
                    <a:pt x="520307" y="209753"/>
                  </a:lnTo>
                  <a:lnTo>
                    <a:pt x="520307" y="208407"/>
                  </a:lnTo>
                  <a:lnTo>
                    <a:pt x="520358" y="207721"/>
                  </a:lnTo>
                  <a:lnTo>
                    <a:pt x="520358" y="209753"/>
                  </a:lnTo>
                  <a:lnTo>
                    <a:pt x="520358" y="208407"/>
                  </a:lnTo>
                  <a:lnTo>
                    <a:pt x="520358" y="209753"/>
                  </a:lnTo>
                  <a:lnTo>
                    <a:pt x="520358" y="208407"/>
                  </a:lnTo>
                  <a:lnTo>
                    <a:pt x="520459" y="208407"/>
                  </a:lnTo>
                  <a:lnTo>
                    <a:pt x="520459" y="209753"/>
                  </a:lnTo>
                  <a:lnTo>
                    <a:pt x="520459" y="208407"/>
                  </a:lnTo>
                  <a:lnTo>
                    <a:pt x="520459" y="210451"/>
                  </a:lnTo>
                  <a:lnTo>
                    <a:pt x="520459" y="209753"/>
                  </a:lnTo>
                  <a:lnTo>
                    <a:pt x="520510" y="209753"/>
                  </a:lnTo>
                  <a:lnTo>
                    <a:pt x="520510" y="210451"/>
                  </a:lnTo>
                  <a:lnTo>
                    <a:pt x="520510" y="208407"/>
                  </a:lnTo>
                  <a:lnTo>
                    <a:pt x="520561" y="208407"/>
                  </a:lnTo>
                  <a:lnTo>
                    <a:pt x="520561" y="209753"/>
                  </a:lnTo>
                  <a:lnTo>
                    <a:pt x="520561" y="207721"/>
                  </a:lnTo>
                  <a:lnTo>
                    <a:pt x="520561" y="208407"/>
                  </a:lnTo>
                  <a:lnTo>
                    <a:pt x="520561" y="207721"/>
                  </a:lnTo>
                  <a:lnTo>
                    <a:pt x="520561" y="208407"/>
                  </a:lnTo>
                  <a:lnTo>
                    <a:pt x="520561" y="207721"/>
                  </a:lnTo>
                  <a:lnTo>
                    <a:pt x="520561" y="208407"/>
                  </a:lnTo>
                  <a:lnTo>
                    <a:pt x="520561" y="207721"/>
                  </a:lnTo>
                  <a:lnTo>
                    <a:pt x="520662" y="207721"/>
                  </a:lnTo>
                  <a:lnTo>
                    <a:pt x="520662" y="208407"/>
                  </a:lnTo>
                  <a:lnTo>
                    <a:pt x="520662" y="207721"/>
                  </a:lnTo>
                  <a:lnTo>
                    <a:pt x="520662" y="208407"/>
                  </a:lnTo>
                  <a:lnTo>
                    <a:pt x="520701" y="208407"/>
                  </a:lnTo>
                  <a:lnTo>
                    <a:pt x="520701" y="210451"/>
                  </a:lnTo>
                  <a:lnTo>
                    <a:pt x="520701" y="209753"/>
                  </a:lnTo>
                  <a:lnTo>
                    <a:pt x="520751" y="210451"/>
                  </a:lnTo>
                  <a:lnTo>
                    <a:pt x="520751" y="211137"/>
                  </a:lnTo>
                  <a:lnTo>
                    <a:pt x="520751" y="209753"/>
                  </a:lnTo>
                  <a:lnTo>
                    <a:pt x="520751" y="210451"/>
                  </a:lnTo>
                  <a:lnTo>
                    <a:pt x="520802" y="210451"/>
                  </a:lnTo>
                  <a:lnTo>
                    <a:pt x="520802" y="211137"/>
                  </a:lnTo>
                  <a:lnTo>
                    <a:pt x="520802" y="209753"/>
                  </a:lnTo>
                  <a:lnTo>
                    <a:pt x="520802" y="210451"/>
                  </a:lnTo>
                  <a:lnTo>
                    <a:pt x="520802" y="209753"/>
                  </a:lnTo>
                  <a:lnTo>
                    <a:pt x="520802" y="210451"/>
                  </a:lnTo>
                  <a:lnTo>
                    <a:pt x="520802" y="209753"/>
                  </a:lnTo>
                  <a:lnTo>
                    <a:pt x="520904" y="210451"/>
                  </a:lnTo>
                  <a:lnTo>
                    <a:pt x="520904" y="209753"/>
                  </a:lnTo>
                  <a:lnTo>
                    <a:pt x="520904" y="210451"/>
                  </a:lnTo>
                  <a:lnTo>
                    <a:pt x="520955" y="210451"/>
                  </a:lnTo>
                  <a:lnTo>
                    <a:pt x="520955" y="209753"/>
                  </a:lnTo>
                  <a:lnTo>
                    <a:pt x="520955" y="210451"/>
                  </a:lnTo>
                  <a:lnTo>
                    <a:pt x="520955" y="209753"/>
                  </a:lnTo>
                  <a:lnTo>
                    <a:pt x="520955" y="210451"/>
                  </a:lnTo>
                  <a:lnTo>
                    <a:pt x="520955" y="209753"/>
                  </a:lnTo>
                  <a:lnTo>
                    <a:pt x="521005" y="209753"/>
                  </a:lnTo>
                  <a:lnTo>
                    <a:pt x="521005" y="210451"/>
                  </a:lnTo>
                  <a:lnTo>
                    <a:pt x="521005" y="209753"/>
                  </a:lnTo>
                  <a:lnTo>
                    <a:pt x="521005" y="210451"/>
                  </a:lnTo>
                  <a:lnTo>
                    <a:pt x="521005" y="209753"/>
                  </a:lnTo>
                  <a:lnTo>
                    <a:pt x="521005" y="210451"/>
                  </a:lnTo>
                  <a:lnTo>
                    <a:pt x="521005" y="208407"/>
                  </a:lnTo>
                  <a:lnTo>
                    <a:pt x="521005" y="209753"/>
                  </a:lnTo>
                  <a:lnTo>
                    <a:pt x="521005" y="208407"/>
                  </a:lnTo>
                  <a:lnTo>
                    <a:pt x="521107" y="208407"/>
                  </a:lnTo>
                  <a:lnTo>
                    <a:pt x="521107" y="209753"/>
                  </a:lnTo>
                  <a:lnTo>
                    <a:pt x="521107" y="207721"/>
                  </a:lnTo>
                  <a:lnTo>
                    <a:pt x="521107" y="208407"/>
                  </a:lnTo>
                  <a:lnTo>
                    <a:pt x="521158" y="208407"/>
                  </a:lnTo>
                  <a:lnTo>
                    <a:pt x="521158" y="209753"/>
                  </a:lnTo>
                  <a:lnTo>
                    <a:pt x="521158" y="207721"/>
                  </a:lnTo>
                  <a:lnTo>
                    <a:pt x="521158" y="209753"/>
                  </a:lnTo>
                  <a:lnTo>
                    <a:pt x="521208" y="210451"/>
                  </a:lnTo>
                  <a:lnTo>
                    <a:pt x="521208" y="209753"/>
                  </a:lnTo>
                  <a:lnTo>
                    <a:pt x="521208" y="210451"/>
                  </a:lnTo>
                  <a:lnTo>
                    <a:pt x="521247" y="211137"/>
                  </a:lnTo>
                  <a:lnTo>
                    <a:pt x="521247" y="209753"/>
                  </a:lnTo>
                  <a:lnTo>
                    <a:pt x="521247" y="210451"/>
                  </a:lnTo>
                  <a:lnTo>
                    <a:pt x="521247" y="209753"/>
                  </a:lnTo>
                  <a:lnTo>
                    <a:pt x="521247" y="210451"/>
                  </a:lnTo>
                  <a:lnTo>
                    <a:pt x="521348" y="211137"/>
                  </a:lnTo>
                  <a:lnTo>
                    <a:pt x="521348" y="208407"/>
                  </a:lnTo>
                  <a:lnTo>
                    <a:pt x="521348" y="210451"/>
                  </a:lnTo>
                  <a:lnTo>
                    <a:pt x="521399" y="210451"/>
                  </a:lnTo>
                  <a:lnTo>
                    <a:pt x="521399" y="211137"/>
                  </a:lnTo>
                  <a:lnTo>
                    <a:pt x="521399" y="210451"/>
                  </a:lnTo>
                  <a:lnTo>
                    <a:pt x="521399" y="211137"/>
                  </a:lnTo>
                  <a:lnTo>
                    <a:pt x="521399" y="210451"/>
                  </a:lnTo>
                  <a:lnTo>
                    <a:pt x="521399" y="211137"/>
                  </a:lnTo>
                  <a:lnTo>
                    <a:pt x="521399" y="210451"/>
                  </a:lnTo>
                  <a:lnTo>
                    <a:pt x="521450" y="210451"/>
                  </a:lnTo>
                  <a:lnTo>
                    <a:pt x="521450" y="209753"/>
                  </a:lnTo>
                  <a:lnTo>
                    <a:pt x="521450" y="210451"/>
                  </a:lnTo>
                  <a:lnTo>
                    <a:pt x="521551" y="210451"/>
                  </a:lnTo>
                  <a:lnTo>
                    <a:pt x="521551" y="208407"/>
                  </a:lnTo>
                  <a:lnTo>
                    <a:pt x="521551" y="209753"/>
                  </a:lnTo>
                  <a:lnTo>
                    <a:pt x="521551" y="208407"/>
                  </a:lnTo>
                  <a:lnTo>
                    <a:pt x="521602" y="207721"/>
                  </a:lnTo>
                  <a:lnTo>
                    <a:pt x="521602" y="208407"/>
                  </a:lnTo>
                  <a:lnTo>
                    <a:pt x="521602" y="207022"/>
                  </a:lnTo>
                  <a:lnTo>
                    <a:pt x="521602" y="210451"/>
                  </a:lnTo>
                  <a:lnTo>
                    <a:pt x="521602" y="208407"/>
                  </a:lnTo>
                  <a:lnTo>
                    <a:pt x="521653" y="208407"/>
                  </a:lnTo>
                  <a:lnTo>
                    <a:pt x="521653" y="207022"/>
                  </a:lnTo>
                  <a:lnTo>
                    <a:pt x="521653" y="210451"/>
                  </a:lnTo>
                  <a:lnTo>
                    <a:pt x="521653" y="209753"/>
                  </a:lnTo>
                  <a:lnTo>
                    <a:pt x="521704" y="208407"/>
                  </a:lnTo>
                  <a:lnTo>
                    <a:pt x="521704" y="210451"/>
                  </a:lnTo>
                  <a:lnTo>
                    <a:pt x="521793" y="210451"/>
                  </a:lnTo>
                  <a:lnTo>
                    <a:pt x="521793" y="209753"/>
                  </a:lnTo>
                  <a:lnTo>
                    <a:pt x="521793" y="211137"/>
                  </a:lnTo>
                  <a:lnTo>
                    <a:pt x="521793" y="210451"/>
                  </a:lnTo>
                  <a:lnTo>
                    <a:pt x="521843" y="210451"/>
                  </a:lnTo>
                  <a:lnTo>
                    <a:pt x="521843" y="211785"/>
                  </a:lnTo>
                  <a:lnTo>
                    <a:pt x="521843" y="210451"/>
                  </a:lnTo>
                  <a:lnTo>
                    <a:pt x="521894" y="211137"/>
                  </a:lnTo>
                  <a:lnTo>
                    <a:pt x="521894" y="210451"/>
                  </a:lnTo>
                  <a:lnTo>
                    <a:pt x="521894" y="211137"/>
                  </a:lnTo>
                  <a:lnTo>
                    <a:pt x="521894" y="210451"/>
                  </a:lnTo>
                  <a:lnTo>
                    <a:pt x="521894" y="211137"/>
                  </a:lnTo>
                  <a:lnTo>
                    <a:pt x="521894" y="210451"/>
                  </a:lnTo>
                  <a:lnTo>
                    <a:pt x="521945" y="210451"/>
                  </a:lnTo>
                  <a:lnTo>
                    <a:pt x="521945" y="209753"/>
                  </a:lnTo>
                  <a:lnTo>
                    <a:pt x="521945" y="210451"/>
                  </a:lnTo>
                  <a:lnTo>
                    <a:pt x="521945" y="209753"/>
                  </a:lnTo>
                  <a:lnTo>
                    <a:pt x="522047" y="209753"/>
                  </a:lnTo>
                  <a:lnTo>
                    <a:pt x="522047" y="207721"/>
                  </a:lnTo>
                  <a:lnTo>
                    <a:pt x="522047" y="208407"/>
                  </a:lnTo>
                  <a:lnTo>
                    <a:pt x="522047" y="207022"/>
                  </a:lnTo>
                  <a:lnTo>
                    <a:pt x="522047" y="207721"/>
                  </a:lnTo>
                  <a:lnTo>
                    <a:pt x="522097" y="207022"/>
                  </a:lnTo>
                  <a:lnTo>
                    <a:pt x="522097" y="208407"/>
                  </a:lnTo>
                  <a:lnTo>
                    <a:pt x="522097" y="207022"/>
                  </a:lnTo>
                  <a:lnTo>
                    <a:pt x="522148" y="207721"/>
                  </a:lnTo>
                  <a:lnTo>
                    <a:pt x="522148" y="210451"/>
                  </a:lnTo>
                  <a:lnTo>
                    <a:pt x="522148" y="208407"/>
                  </a:lnTo>
                  <a:lnTo>
                    <a:pt x="522250" y="208407"/>
                  </a:lnTo>
                  <a:lnTo>
                    <a:pt x="522250" y="210451"/>
                  </a:lnTo>
                  <a:lnTo>
                    <a:pt x="522250" y="209753"/>
                  </a:lnTo>
                  <a:lnTo>
                    <a:pt x="522250" y="210451"/>
                  </a:lnTo>
                  <a:lnTo>
                    <a:pt x="522250" y="209753"/>
                  </a:lnTo>
                  <a:lnTo>
                    <a:pt x="522250" y="210451"/>
                  </a:lnTo>
                  <a:lnTo>
                    <a:pt x="522250" y="209753"/>
                  </a:lnTo>
                  <a:lnTo>
                    <a:pt x="522250" y="210451"/>
                  </a:lnTo>
                  <a:lnTo>
                    <a:pt x="522250" y="209753"/>
                  </a:lnTo>
                  <a:lnTo>
                    <a:pt x="522288" y="209753"/>
                  </a:lnTo>
                  <a:lnTo>
                    <a:pt x="522288" y="210451"/>
                  </a:lnTo>
                  <a:lnTo>
                    <a:pt x="522288" y="209753"/>
                  </a:lnTo>
                  <a:lnTo>
                    <a:pt x="522288" y="210451"/>
                  </a:lnTo>
                  <a:lnTo>
                    <a:pt x="522288" y="209753"/>
                  </a:lnTo>
                  <a:lnTo>
                    <a:pt x="522288" y="210451"/>
                  </a:lnTo>
                  <a:lnTo>
                    <a:pt x="522339" y="210451"/>
                  </a:lnTo>
                  <a:lnTo>
                    <a:pt x="522339" y="211137"/>
                  </a:lnTo>
                  <a:lnTo>
                    <a:pt x="522339" y="210451"/>
                  </a:lnTo>
                  <a:lnTo>
                    <a:pt x="522339" y="211137"/>
                  </a:lnTo>
                  <a:lnTo>
                    <a:pt x="522390" y="211137"/>
                  </a:lnTo>
                  <a:lnTo>
                    <a:pt x="522390" y="210451"/>
                  </a:lnTo>
                  <a:lnTo>
                    <a:pt x="522390" y="211137"/>
                  </a:lnTo>
                  <a:lnTo>
                    <a:pt x="522390" y="210451"/>
                  </a:lnTo>
                  <a:lnTo>
                    <a:pt x="522491" y="210451"/>
                  </a:lnTo>
                  <a:lnTo>
                    <a:pt x="522491" y="211137"/>
                  </a:lnTo>
                  <a:lnTo>
                    <a:pt x="522491" y="209753"/>
                  </a:lnTo>
                  <a:lnTo>
                    <a:pt x="522491" y="210451"/>
                  </a:lnTo>
                  <a:lnTo>
                    <a:pt x="522542" y="209753"/>
                  </a:lnTo>
                  <a:lnTo>
                    <a:pt x="522542" y="207022"/>
                  </a:lnTo>
                  <a:lnTo>
                    <a:pt x="522593" y="207022"/>
                  </a:lnTo>
                  <a:lnTo>
                    <a:pt x="522593" y="206324"/>
                  </a:lnTo>
                  <a:lnTo>
                    <a:pt x="522593" y="207721"/>
                  </a:lnTo>
                  <a:lnTo>
                    <a:pt x="522593" y="206324"/>
                  </a:lnTo>
                  <a:lnTo>
                    <a:pt x="522694" y="206324"/>
                  </a:lnTo>
                  <a:lnTo>
                    <a:pt x="522694" y="204990"/>
                  </a:lnTo>
                  <a:lnTo>
                    <a:pt x="522694" y="209753"/>
                  </a:lnTo>
                  <a:lnTo>
                    <a:pt x="522694" y="207721"/>
                  </a:lnTo>
                  <a:lnTo>
                    <a:pt x="522745" y="207721"/>
                  </a:lnTo>
                  <a:lnTo>
                    <a:pt x="522745" y="209753"/>
                  </a:lnTo>
                  <a:lnTo>
                    <a:pt x="522745" y="208407"/>
                  </a:lnTo>
                  <a:lnTo>
                    <a:pt x="522796" y="208407"/>
                  </a:lnTo>
                  <a:lnTo>
                    <a:pt x="522796" y="207721"/>
                  </a:lnTo>
                  <a:lnTo>
                    <a:pt x="522796" y="209753"/>
                  </a:lnTo>
                  <a:lnTo>
                    <a:pt x="522834" y="209753"/>
                  </a:lnTo>
                  <a:lnTo>
                    <a:pt x="522834" y="210451"/>
                  </a:lnTo>
                  <a:lnTo>
                    <a:pt x="522834" y="209753"/>
                  </a:lnTo>
                  <a:lnTo>
                    <a:pt x="522834" y="210451"/>
                  </a:lnTo>
                  <a:lnTo>
                    <a:pt x="522936" y="210451"/>
                  </a:lnTo>
                  <a:lnTo>
                    <a:pt x="522936" y="209753"/>
                  </a:lnTo>
                  <a:lnTo>
                    <a:pt x="522936" y="210451"/>
                  </a:lnTo>
                  <a:lnTo>
                    <a:pt x="522936" y="209753"/>
                  </a:lnTo>
                  <a:lnTo>
                    <a:pt x="522936" y="210451"/>
                  </a:lnTo>
                  <a:lnTo>
                    <a:pt x="522987" y="210451"/>
                  </a:lnTo>
                  <a:lnTo>
                    <a:pt x="522987" y="209753"/>
                  </a:lnTo>
                  <a:lnTo>
                    <a:pt x="522987" y="210451"/>
                  </a:lnTo>
                  <a:lnTo>
                    <a:pt x="522987" y="209753"/>
                  </a:lnTo>
                  <a:lnTo>
                    <a:pt x="523037" y="209753"/>
                  </a:lnTo>
                  <a:lnTo>
                    <a:pt x="523037" y="207721"/>
                  </a:lnTo>
                  <a:lnTo>
                    <a:pt x="523037" y="208407"/>
                  </a:lnTo>
                  <a:lnTo>
                    <a:pt x="523037" y="207721"/>
                  </a:lnTo>
                  <a:lnTo>
                    <a:pt x="523037" y="208407"/>
                  </a:lnTo>
                  <a:lnTo>
                    <a:pt x="523037" y="207022"/>
                  </a:lnTo>
                  <a:lnTo>
                    <a:pt x="523037" y="207721"/>
                  </a:lnTo>
                  <a:lnTo>
                    <a:pt x="523139" y="207721"/>
                  </a:lnTo>
                  <a:lnTo>
                    <a:pt x="523139" y="207022"/>
                  </a:lnTo>
                  <a:lnTo>
                    <a:pt x="523190" y="207022"/>
                  </a:lnTo>
                  <a:lnTo>
                    <a:pt x="523190" y="209753"/>
                  </a:lnTo>
                  <a:lnTo>
                    <a:pt x="523190" y="207721"/>
                  </a:lnTo>
                  <a:lnTo>
                    <a:pt x="523241" y="208407"/>
                  </a:lnTo>
                  <a:lnTo>
                    <a:pt x="523241" y="207721"/>
                  </a:lnTo>
                  <a:lnTo>
                    <a:pt x="523291" y="207721"/>
                  </a:lnTo>
                  <a:lnTo>
                    <a:pt x="523291" y="208407"/>
                  </a:lnTo>
                  <a:lnTo>
                    <a:pt x="523380" y="208407"/>
                  </a:lnTo>
                  <a:lnTo>
                    <a:pt x="523380" y="207721"/>
                  </a:lnTo>
                  <a:lnTo>
                    <a:pt x="523380" y="209753"/>
                  </a:lnTo>
                  <a:lnTo>
                    <a:pt x="523380" y="208407"/>
                  </a:lnTo>
                  <a:lnTo>
                    <a:pt x="523380" y="209753"/>
                  </a:lnTo>
                  <a:lnTo>
                    <a:pt x="523431" y="209753"/>
                  </a:lnTo>
                  <a:lnTo>
                    <a:pt x="523431" y="210451"/>
                  </a:lnTo>
                  <a:lnTo>
                    <a:pt x="523431" y="209753"/>
                  </a:lnTo>
                  <a:lnTo>
                    <a:pt x="523431" y="210451"/>
                  </a:lnTo>
                  <a:lnTo>
                    <a:pt x="523431" y="209753"/>
                  </a:lnTo>
                  <a:lnTo>
                    <a:pt x="523482" y="209753"/>
                  </a:lnTo>
                  <a:lnTo>
                    <a:pt x="523482" y="208407"/>
                  </a:lnTo>
                  <a:lnTo>
                    <a:pt x="523533" y="208407"/>
                  </a:lnTo>
                  <a:lnTo>
                    <a:pt x="523533" y="207721"/>
                  </a:lnTo>
                  <a:lnTo>
                    <a:pt x="523533" y="210451"/>
                  </a:lnTo>
                  <a:lnTo>
                    <a:pt x="523533" y="209753"/>
                  </a:lnTo>
                  <a:lnTo>
                    <a:pt x="523634" y="208407"/>
                  </a:lnTo>
                  <a:lnTo>
                    <a:pt x="523634" y="212484"/>
                  </a:lnTo>
                  <a:lnTo>
                    <a:pt x="523634" y="210451"/>
                  </a:lnTo>
                  <a:lnTo>
                    <a:pt x="523685" y="209753"/>
                  </a:lnTo>
                  <a:lnTo>
                    <a:pt x="523685" y="211137"/>
                  </a:lnTo>
                  <a:lnTo>
                    <a:pt x="523685" y="210451"/>
                  </a:lnTo>
                  <a:lnTo>
                    <a:pt x="523736" y="210451"/>
                  </a:lnTo>
                  <a:lnTo>
                    <a:pt x="523736" y="209753"/>
                  </a:lnTo>
                  <a:lnTo>
                    <a:pt x="523736" y="211137"/>
                  </a:lnTo>
                  <a:lnTo>
                    <a:pt x="523736" y="210451"/>
                  </a:lnTo>
                  <a:lnTo>
                    <a:pt x="523736" y="211137"/>
                  </a:lnTo>
                  <a:lnTo>
                    <a:pt x="523736" y="210451"/>
                  </a:lnTo>
                  <a:lnTo>
                    <a:pt x="523837" y="210451"/>
                  </a:lnTo>
                  <a:lnTo>
                    <a:pt x="523837" y="211137"/>
                  </a:lnTo>
                  <a:lnTo>
                    <a:pt x="523837" y="210451"/>
                  </a:lnTo>
                  <a:lnTo>
                    <a:pt x="523876" y="210451"/>
                  </a:lnTo>
                  <a:lnTo>
                    <a:pt x="523876" y="211137"/>
                  </a:lnTo>
                  <a:lnTo>
                    <a:pt x="523876" y="209753"/>
                  </a:lnTo>
                  <a:lnTo>
                    <a:pt x="523926" y="209753"/>
                  </a:lnTo>
                  <a:lnTo>
                    <a:pt x="523926" y="210451"/>
                  </a:lnTo>
                  <a:lnTo>
                    <a:pt x="523926" y="208407"/>
                  </a:lnTo>
                  <a:lnTo>
                    <a:pt x="523926" y="209753"/>
                  </a:lnTo>
                  <a:lnTo>
                    <a:pt x="523977" y="208407"/>
                  </a:lnTo>
                  <a:lnTo>
                    <a:pt x="523977" y="207022"/>
                  </a:lnTo>
                  <a:lnTo>
                    <a:pt x="523977" y="207721"/>
                  </a:lnTo>
                  <a:lnTo>
                    <a:pt x="523977" y="207022"/>
                  </a:lnTo>
                  <a:lnTo>
                    <a:pt x="524079" y="207022"/>
                  </a:lnTo>
                  <a:lnTo>
                    <a:pt x="524079" y="208407"/>
                  </a:lnTo>
                  <a:lnTo>
                    <a:pt x="524079" y="207721"/>
                  </a:lnTo>
                  <a:lnTo>
                    <a:pt x="524130" y="207022"/>
                  </a:lnTo>
                  <a:lnTo>
                    <a:pt x="524130" y="211137"/>
                  </a:lnTo>
                  <a:lnTo>
                    <a:pt x="524130" y="209753"/>
                  </a:lnTo>
                  <a:lnTo>
                    <a:pt x="524180" y="209753"/>
                  </a:lnTo>
                  <a:lnTo>
                    <a:pt x="524180" y="211137"/>
                  </a:lnTo>
                  <a:lnTo>
                    <a:pt x="524180" y="210451"/>
                  </a:lnTo>
                  <a:lnTo>
                    <a:pt x="524282" y="210451"/>
                  </a:lnTo>
                  <a:lnTo>
                    <a:pt x="524282" y="211137"/>
                  </a:lnTo>
                  <a:lnTo>
                    <a:pt x="524282" y="209753"/>
                  </a:lnTo>
                  <a:lnTo>
                    <a:pt x="524282" y="210451"/>
                  </a:lnTo>
                  <a:lnTo>
                    <a:pt x="524333" y="210451"/>
                  </a:lnTo>
                  <a:lnTo>
                    <a:pt x="524333" y="211137"/>
                  </a:lnTo>
                  <a:lnTo>
                    <a:pt x="524333" y="210451"/>
                  </a:lnTo>
                  <a:lnTo>
                    <a:pt x="524333" y="211137"/>
                  </a:lnTo>
                  <a:lnTo>
                    <a:pt x="524333" y="210451"/>
                  </a:lnTo>
                  <a:lnTo>
                    <a:pt x="524333" y="211137"/>
                  </a:lnTo>
                  <a:lnTo>
                    <a:pt x="524383" y="211137"/>
                  </a:lnTo>
                  <a:lnTo>
                    <a:pt x="524383" y="209753"/>
                  </a:lnTo>
                  <a:lnTo>
                    <a:pt x="524422" y="209753"/>
                  </a:lnTo>
                  <a:lnTo>
                    <a:pt x="524422" y="210451"/>
                  </a:lnTo>
                  <a:lnTo>
                    <a:pt x="524422" y="208407"/>
                  </a:lnTo>
                  <a:lnTo>
                    <a:pt x="524523" y="208407"/>
                  </a:lnTo>
                  <a:lnTo>
                    <a:pt x="524523" y="207022"/>
                  </a:lnTo>
                  <a:lnTo>
                    <a:pt x="524574" y="207022"/>
                  </a:lnTo>
                  <a:lnTo>
                    <a:pt x="524574" y="208407"/>
                  </a:lnTo>
                  <a:lnTo>
                    <a:pt x="524574" y="207721"/>
                  </a:lnTo>
                  <a:lnTo>
                    <a:pt x="524574" y="208407"/>
                  </a:lnTo>
                  <a:lnTo>
                    <a:pt x="524574" y="207022"/>
                  </a:lnTo>
                  <a:lnTo>
                    <a:pt x="524574" y="208407"/>
                  </a:lnTo>
                  <a:lnTo>
                    <a:pt x="524625" y="209753"/>
                  </a:lnTo>
                  <a:lnTo>
                    <a:pt x="524625" y="208407"/>
                  </a:lnTo>
                  <a:lnTo>
                    <a:pt x="524625" y="209753"/>
                  </a:lnTo>
                  <a:lnTo>
                    <a:pt x="524726" y="209753"/>
                  </a:lnTo>
                  <a:lnTo>
                    <a:pt x="524726" y="208407"/>
                  </a:lnTo>
                  <a:lnTo>
                    <a:pt x="524726" y="210451"/>
                  </a:lnTo>
                  <a:lnTo>
                    <a:pt x="524726" y="209753"/>
                  </a:lnTo>
                  <a:lnTo>
                    <a:pt x="524726" y="210451"/>
                  </a:lnTo>
                  <a:lnTo>
                    <a:pt x="524777" y="209753"/>
                  </a:lnTo>
                  <a:lnTo>
                    <a:pt x="524777" y="210451"/>
                  </a:lnTo>
                  <a:lnTo>
                    <a:pt x="524777" y="209753"/>
                  </a:lnTo>
                  <a:lnTo>
                    <a:pt x="524777" y="210451"/>
                  </a:lnTo>
                  <a:lnTo>
                    <a:pt x="524777" y="209753"/>
                  </a:lnTo>
                  <a:lnTo>
                    <a:pt x="524777" y="211137"/>
                  </a:lnTo>
                  <a:lnTo>
                    <a:pt x="524777" y="210451"/>
                  </a:lnTo>
                  <a:lnTo>
                    <a:pt x="524828" y="210451"/>
                  </a:lnTo>
                  <a:lnTo>
                    <a:pt x="524828" y="211137"/>
                  </a:lnTo>
                  <a:lnTo>
                    <a:pt x="524828" y="210451"/>
                  </a:lnTo>
                  <a:lnTo>
                    <a:pt x="524828" y="211137"/>
                  </a:lnTo>
                  <a:lnTo>
                    <a:pt x="524879" y="211137"/>
                  </a:lnTo>
                  <a:lnTo>
                    <a:pt x="524879" y="210451"/>
                  </a:lnTo>
                  <a:lnTo>
                    <a:pt x="524879" y="211785"/>
                  </a:lnTo>
                  <a:lnTo>
                    <a:pt x="524879" y="209753"/>
                  </a:lnTo>
                  <a:lnTo>
                    <a:pt x="524879" y="210451"/>
                  </a:lnTo>
                  <a:lnTo>
                    <a:pt x="524879" y="209753"/>
                  </a:lnTo>
                  <a:lnTo>
                    <a:pt x="524879" y="210451"/>
                  </a:lnTo>
                  <a:lnTo>
                    <a:pt x="524968" y="210451"/>
                  </a:lnTo>
                  <a:lnTo>
                    <a:pt x="524968" y="209753"/>
                  </a:lnTo>
                  <a:lnTo>
                    <a:pt x="524968" y="210451"/>
                  </a:lnTo>
                  <a:lnTo>
                    <a:pt x="524968" y="208407"/>
                  </a:lnTo>
                  <a:lnTo>
                    <a:pt x="525018" y="208407"/>
                  </a:lnTo>
                  <a:lnTo>
                    <a:pt x="525018" y="207022"/>
                  </a:lnTo>
                  <a:lnTo>
                    <a:pt x="525018" y="207721"/>
                  </a:lnTo>
                  <a:lnTo>
                    <a:pt x="525069" y="207721"/>
                  </a:lnTo>
                  <a:lnTo>
                    <a:pt x="525069" y="208407"/>
                  </a:lnTo>
                  <a:lnTo>
                    <a:pt x="525069" y="207022"/>
                  </a:lnTo>
                  <a:lnTo>
                    <a:pt x="525069" y="209753"/>
                  </a:lnTo>
                  <a:lnTo>
                    <a:pt x="525120" y="209753"/>
                  </a:lnTo>
                  <a:lnTo>
                    <a:pt x="525120" y="208407"/>
                  </a:lnTo>
                  <a:lnTo>
                    <a:pt x="525120" y="209753"/>
                  </a:lnTo>
                  <a:lnTo>
                    <a:pt x="525222" y="209753"/>
                  </a:lnTo>
                  <a:lnTo>
                    <a:pt x="525222" y="208407"/>
                  </a:lnTo>
                  <a:lnTo>
                    <a:pt x="525222" y="210451"/>
                  </a:lnTo>
                  <a:lnTo>
                    <a:pt x="525272" y="210451"/>
                  </a:lnTo>
                  <a:lnTo>
                    <a:pt x="525272" y="209753"/>
                  </a:lnTo>
                  <a:lnTo>
                    <a:pt x="525272" y="210451"/>
                  </a:lnTo>
                  <a:lnTo>
                    <a:pt x="525323" y="210451"/>
                  </a:lnTo>
                  <a:lnTo>
                    <a:pt x="525323" y="209753"/>
                  </a:lnTo>
                  <a:lnTo>
                    <a:pt x="525323" y="211137"/>
                  </a:lnTo>
                  <a:lnTo>
                    <a:pt x="525323" y="210451"/>
                  </a:lnTo>
                  <a:lnTo>
                    <a:pt x="525425" y="209753"/>
                  </a:lnTo>
                  <a:lnTo>
                    <a:pt x="525425" y="210451"/>
                  </a:lnTo>
                  <a:lnTo>
                    <a:pt x="525425" y="209753"/>
                  </a:lnTo>
                  <a:lnTo>
                    <a:pt x="525425" y="210451"/>
                  </a:lnTo>
                  <a:lnTo>
                    <a:pt x="525425" y="209753"/>
                  </a:lnTo>
                  <a:lnTo>
                    <a:pt x="525425" y="210451"/>
                  </a:lnTo>
                  <a:lnTo>
                    <a:pt x="525425" y="209753"/>
                  </a:lnTo>
                  <a:lnTo>
                    <a:pt x="525463" y="209753"/>
                  </a:lnTo>
                  <a:lnTo>
                    <a:pt x="525463" y="207721"/>
                  </a:lnTo>
                  <a:lnTo>
                    <a:pt x="525514" y="207022"/>
                  </a:lnTo>
                  <a:lnTo>
                    <a:pt x="525514" y="208407"/>
                  </a:lnTo>
                  <a:lnTo>
                    <a:pt x="525514" y="207721"/>
                  </a:lnTo>
                  <a:lnTo>
                    <a:pt x="525565" y="207721"/>
                  </a:lnTo>
                  <a:lnTo>
                    <a:pt x="525565" y="206324"/>
                  </a:lnTo>
                  <a:lnTo>
                    <a:pt x="525565" y="210451"/>
                  </a:lnTo>
                  <a:lnTo>
                    <a:pt x="525565" y="209753"/>
                  </a:lnTo>
                  <a:lnTo>
                    <a:pt x="525565" y="210451"/>
                  </a:lnTo>
                  <a:lnTo>
                    <a:pt x="525565" y="208407"/>
                  </a:lnTo>
                  <a:lnTo>
                    <a:pt x="525666" y="207721"/>
                  </a:lnTo>
                  <a:lnTo>
                    <a:pt x="525666" y="209753"/>
                  </a:lnTo>
                  <a:lnTo>
                    <a:pt x="525666" y="208407"/>
                  </a:lnTo>
                  <a:lnTo>
                    <a:pt x="525666" y="209753"/>
                  </a:lnTo>
                  <a:lnTo>
                    <a:pt x="525717" y="208407"/>
                  </a:lnTo>
                  <a:lnTo>
                    <a:pt x="525717" y="209753"/>
                  </a:lnTo>
                  <a:lnTo>
                    <a:pt x="525768" y="209753"/>
                  </a:lnTo>
                  <a:lnTo>
                    <a:pt x="525768" y="210451"/>
                  </a:lnTo>
                  <a:lnTo>
                    <a:pt x="525768" y="209753"/>
                  </a:lnTo>
                  <a:lnTo>
                    <a:pt x="525768" y="210451"/>
                  </a:lnTo>
                  <a:lnTo>
                    <a:pt x="525768" y="209753"/>
                  </a:lnTo>
                  <a:lnTo>
                    <a:pt x="525768" y="210451"/>
                  </a:lnTo>
                  <a:lnTo>
                    <a:pt x="525768" y="209753"/>
                  </a:lnTo>
                  <a:lnTo>
                    <a:pt x="525768" y="210451"/>
                  </a:lnTo>
                  <a:lnTo>
                    <a:pt x="525869" y="210451"/>
                  </a:lnTo>
                  <a:lnTo>
                    <a:pt x="525869" y="209753"/>
                  </a:lnTo>
                  <a:lnTo>
                    <a:pt x="525869" y="210451"/>
                  </a:lnTo>
                  <a:lnTo>
                    <a:pt x="525869" y="209753"/>
                  </a:lnTo>
                  <a:lnTo>
                    <a:pt x="525869" y="210451"/>
                  </a:lnTo>
                  <a:lnTo>
                    <a:pt x="525869" y="209753"/>
                  </a:lnTo>
                  <a:lnTo>
                    <a:pt x="525869" y="210451"/>
                  </a:lnTo>
                  <a:lnTo>
                    <a:pt x="525869" y="209753"/>
                  </a:lnTo>
                  <a:lnTo>
                    <a:pt x="525869" y="210451"/>
                  </a:lnTo>
                  <a:lnTo>
                    <a:pt x="525920" y="210451"/>
                  </a:lnTo>
                  <a:lnTo>
                    <a:pt x="525920" y="209753"/>
                  </a:lnTo>
                  <a:lnTo>
                    <a:pt x="525920" y="210451"/>
                  </a:lnTo>
                  <a:lnTo>
                    <a:pt x="525920" y="208407"/>
                  </a:lnTo>
                  <a:lnTo>
                    <a:pt x="525971" y="208407"/>
                  </a:lnTo>
                  <a:lnTo>
                    <a:pt x="525971" y="209753"/>
                  </a:lnTo>
                  <a:lnTo>
                    <a:pt x="525971" y="207022"/>
                  </a:lnTo>
                  <a:lnTo>
                    <a:pt x="526009" y="207022"/>
                  </a:lnTo>
                  <a:lnTo>
                    <a:pt x="526009" y="203594"/>
                  </a:lnTo>
                  <a:lnTo>
                    <a:pt x="526111" y="203594"/>
                  </a:lnTo>
                  <a:lnTo>
                    <a:pt x="526111" y="202959"/>
                  </a:lnTo>
                  <a:lnTo>
                    <a:pt x="526111" y="203594"/>
                  </a:lnTo>
                  <a:lnTo>
                    <a:pt x="526111" y="202959"/>
                  </a:lnTo>
                  <a:lnTo>
                    <a:pt x="526111" y="203594"/>
                  </a:lnTo>
                  <a:lnTo>
                    <a:pt x="526162" y="202959"/>
                  </a:lnTo>
                  <a:lnTo>
                    <a:pt x="526162" y="202260"/>
                  </a:lnTo>
                  <a:lnTo>
                    <a:pt x="526162" y="204990"/>
                  </a:lnTo>
                  <a:lnTo>
                    <a:pt x="526162" y="204292"/>
                  </a:lnTo>
                  <a:lnTo>
                    <a:pt x="526212" y="204292"/>
                  </a:lnTo>
                  <a:lnTo>
                    <a:pt x="526212" y="203594"/>
                  </a:lnTo>
                  <a:lnTo>
                    <a:pt x="526212" y="204990"/>
                  </a:lnTo>
                  <a:lnTo>
                    <a:pt x="526314" y="204990"/>
                  </a:lnTo>
                  <a:lnTo>
                    <a:pt x="526314" y="204292"/>
                  </a:lnTo>
                  <a:lnTo>
                    <a:pt x="526314" y="206324"/>
                  </a:lnTo>
                  <a:lnTo>
                    <a:pt x="526314" y="204990"/>
                  </a:lnTo>
                  <a:lnTo>
                    <a:pt x="526314" y="206324"/>
                  </a:lnTo>
                  <a:lnTo>
                    <a:pt x="526365" y="206324"/>
                  </a:lnTo>
                  <a:lnTo>
                    <a:pt x="526365" y="207721"/>
                  </a:lnTo>
                  <a:lnTo>
                    <a:pt x="526365" y="207022"/>
                  </a:lnTo>
                  <a:lnTo>
                    <a:pt x="526365" y="208407"/>
                  </a:lnTo>
                  <a:lnTo>
                    <a:pt x="526416" y="208407"/>
                  </a:lnTo>
                  <a:lnTo>
                    <a:pt x="526416" y="209753"/>
                  </a:lnTo>
                  <a:lnTo>
                    <a:pt x="526416" y="208407"/>
                  </a:lnTo>
                  <a:lnTo>
                    <a:pt x="526555" y="208407"/>
                  </a:lnTo>
                  <a:lnTo>
                    <a:pt x="526555" y="206324"/>
                  </a:lnTo>
                  <a:lnTo>
                    <a:pt x="526555" y="207022"/>
                  </a:lnTo>
                  <a:lnTo>
                    <a:pt x="526606" y="207022"/>
                  </a:lnTo>
                  <a:lnTo>
                    <a:pt x="526606" y="204292"/>
                  </a:lnTo>
                  <a:lnTo>
                    <a:pt x="526606" y="204990"/>
                  </a:lnTo>
                  <a:lnTo>
                    <a:pt x="526606" y="202959"/>
                  </a:lnTo>
                  <a:lnTo>
                    <a:pt x="526657" y="202959"/>
                  </a:lnTo>
                  <a:lnTo>
                    <a:pt x="526657" y="200228"/>
                  </a:lnTo>
                  <a:lnTo>
                    <a:pt x="526657" y="202260"/>
                  </a:lnTo>
                  <a:lnTo>
                    <a:pt x="526657" y="200876"/>
                  </a:lnTo>
                  <a:lnTo>
                    <a:pt x="526708" y="200876"/>
                  </a:lnTo>
                  <a:lnTo>
                    <a:pt x="526708" y="199530"/>
                  </a:lnTo>
                  <a:lnTo>
                    <a:pt x="526708" y="202959"/>
                  </a:lnTo>
                  <a:lnTo>
                    <a:pt x="526708" y="202260"/>
                  </a:lnTo>
                  <a:lnTo>
                    <a:pt x="526809" y="202959"/>
                  </a:lnTo>
                  <a:lnTo>
                    <a:pt x="526809" y="202260"/>
                  </a:lnTo>
                  <a:lnTo>
                    <a:pt x="526809" y="203594"/>
                  </a:lnTo>
                  <a:lnTo>
                    <a:pt x="526860" y="203594"/>
                  </a:lnTo>
                  <a:lnTo>
                    <a:pt x="526860" y="206324"/>
                  </a:lnTo>
                  <a:lnTo>
                    <a:pt x="526911" y="206324"/>
                  </a:lnTo>
                  <a:lnTo>
                    <a:pt x="526911" y="207721"/>
                  </a:lnTo>
                  <a:lnTo>
                    <a:pt x="527012" y="207721"/>
                  </a:lnTo>
                  <a:lnTo>
                    <a:pt x="527012" y="209753"/>
                  </a:lnTo>
                  <a:lnTo>
                    <a:pt x="527012" y="208407"/>
                  </a:lnTo>
                  <a:lnTo>
                    <a:pt x="527012" y="210451"/>
                  </a:lnTo>
                  <a:lnTo>
                    <a:pt x="527051" y="210451"/>
                  </a:lnTo>
                  <a:lnTo>
                    <a:pt x="527051" y="208407"/>
                  </a:lnTo>
                  <a:lnTo>
                    <a:pt x="527051" y="210451"/>
                  </a:lnTo>
                  <a:lnTo>
                    <a:pt x="527051" y="209753"/>
                  </a:lnTo>
                  <a:lnTo>
                    <a:pt x="527051" y="210451"/>
                  </a:lnTo>
                  <a:lnTo>
                    <a:pt x="527051" y="209753"/>
                  </a:lnTo>
                  <a:lnTo>
                    <a:pt x="527101" y="208407"/>
                  </a:lnTo>
                  <a:lnTo>
                    <a:pt x="527101" y="207721"/>
                  </a:lnTo>
                  <a:lnTo>
                    <a:pt x="527101" y="208407"/>
                  </a:lnTo>
                  <a:lnTo>
                    <a:pt x="527101" y="207721"/>
                  </a:lnTo>
                  <a:lnTo>
                    <a:pt x="527101" y="208407"/>
                  </a:lnTo>
                  <a:lnTo>
                    <a:pt x="527101" y="207022"/>
                  </a:lnTo>
                  <a:lnTo>
                    <a:pt x="527152" y="207022"/>
                  </a:lnTo>
                  <a:lnTo>
                    <a:pt x="527152" y="204990"/>
                  </a:lnTo>
                  <a:lnTo>
                    <a:pt x="527152" y="207022"/>
                  </a:lnTo>
                  <a:lnTo>
                    <a:pt x="527152" y="206324"/>
                  </a:lnTo>
                  <a:lnTo>
                    <a:pt x="527254" y="204990"/>
                  </a:lnTo>
                  <a:lnTo>
                    <a:pt x="527254" y="204292"/>
                  </a:lnTo>
                  <a:lnTo>
                    <a:pt x="527254" y="207022"/>
                  </a:lnTo>
                  <a:lnTo>
                    <a:pt x="527254" y="204990"/>
                  </a:lnTo>
                  <a:lnTo>
                    <a:pt x="527305" y="204292"/>
                  </a:lnTo>
                  <a:lnTo>
                    <a:pt x="527305" y="204990"/>
                  </a:lnTo>
                  <a:lnTo>
                    <a:pt x="527305" y="204292"/>
                  </a:lnTo>
                  <a:lnTo>
                    <a:pt x="527305" y="206324"/>
                  </a:lnTo>
                  <a:lnTo>
                    <a:pt x="527305" y="204990"/>
                  </a:lnTo>
                  <a:lnTo>
                    <a:pt x="527355" y="204990"/>
                  </a:lnTo>
                  <a:lnTo>
                    <a:pt x="527355" y="206324"/>
                  </a:lnTo>
                  <a:lnTo>
                    <a:pt x="527355" y="204990"/>
                  </a:lnTo>
                  <a:lnTo>
                    <a:pt x="527355" y="206324"/>
                  </a:lnTo>
                  <a:lnTo>
                    <a:pt x="527457" y="206324"/>
                  </a:lnTo>
                  <a:lnTo>
                    <a:pt x="527457" y="207022"/>
                  </a:lnTo>
                  <a:lnTo>
                    <a:pt x="527457" y="206324"/>
                  </a:lnTo>
                  <a:lnTo>
                    <a:pt x="527457" y="207022"/>
                  </a:lnTo>
                  <a:lnTo>
                    <a:pt x="527457" y="206324"/>
                  </a:lnTo>
                  <a:lnTo>
                    <a:pt x="527457" y="207022"/>
                  </a:lnTo>
                  <a:lnTo>
                    <a:pt x="527508" y="207721"/>
                  </a:lnTo>
                  <a:lnTo>
                    <a:pt x="527508" y="208407"/>
                  </a:lnTo>
                  <a:lnTo>
                    <a:pt x="527508" y="207721"/>
                  </a:lnTo>
                  <a:lnTo>
                    <a:pt x="527508" y="208407"/>
                  </a:lnTo>
                  <a:lnTo>
                    <a:pt x="527508" y="207721"/>
                  </a:lnTo>
                  <a:lnTo>
                    <a:pt x="527508" y="208407"/>
                  </a:lnTo>
                  <a:lnTo>
                    <a:pt x="527558" y="207721"/>
                  </a:lnTo>
                  <a:lnTo>
                    <a:pt x="527558" y="208407"/>
                  </a:lnTo>
                  <a:lnTo>
                    <a:pt x="527558" y="207721"/>
                  </a:lnTo>
                  <a:lnTo>
                    <a:pt x="527558" y="209753"/>
                  </a:lnTo>
                  <a:lnTo>
                    <a:pt x="527558" y="207721"/>
                  </a:lnTo>
                  <a:lnTo>
                    <a:pt x="527558" y="208407"/>
                  </a:lnTo>
                  <a:lnTo>
                    <a:pt x="527597" y="208407"/>
                  </a:lnTo>
                  <a:lnTo>
                    <a:pt x="527597" y="207721"/>
                  </a:lnTo>
                  <a:lnTo>
                    <a:pt x="527597" y="208407"/>
                  </a:lnTo>
                  <a:lnTo>
                    <a:pt x="527597" y="207022"/>
                  </a:lnTo>
                  <a:lnTo>
                    <a:pt x="527698" y="207022"/>
                  </a:lnTo>
                  <a:lnTo>
                    <a:pt x="527698" y="208407"/>
                  </a:lnTo>
                  <a:lnTo>
                    <a:pt x="527698" y="206324"/>
                  </a:lnTo>
                  <a:lnTo>
                    <a:pt x="527749" y="206324"/>
                  </a:lnTo>
                  <a:lnTo>
                    <a:pt x="527749" y="209753"/>
                  </a:lnTo>
                  <a:lnTo>
                    <a:pt x="527749" y="207022"/>
                  </a:lnTo>
                  <a:lnTo>
                    <a:pt x="527800" y="207022"/>
                  </a:lnTo>
                  <a:lnTo>
                    <a:pt x="527800" y="208407"/>
                  </a:lnTo>
                  <a:lnTo>
                    <a:pt x="527800" y="207022"/>
                  </a:lnTo>
                  <a:lnTo>
                    <a:pt x="527800" y="207721"/>
                  </a:lnTo>
                  <a:lnTo>
                    <a:pt x="527800" y="207022"/>
                  </a:lnTo>
                  <a:lnTo>
                    <a:pt x="527901" y="207022"/>
                  </a:lnTo>
                  <a:lnTo>
                    <a:pt x="527901" y="208407"/>
                  </a:lnTo>
                  <a:lnTo>
                    <a:pt x="527901" y="207721"/>
                  </a:lnTo>
                  <a:lnTo>
                    <a:pt x="527901" y="208407"/>
                  </a:lnTo>
                  <a:lnTo>
                    <a:pt x="527901" y="207721"/>
                  </a:lnTo>
                  <a:lnTo>
                    <a:pt x="527952" y="207721"/>
                  </a:lnTo>
                  <a:lnTo>
                    <a:pt x="527952" y="208407"/>
                  </a:lnTo>
                  <a:lnTo>
                    <a:pt x="527952" y="207721"/>
                  </a:lnTo>
                  <a:lnTo>
                    <a:pt x="528003" y="207721"/>
                  </a:lnTo>
                  <a:lnTo>
                    <a:pt x="528003" y="208407"/>
                  </a:lnTo>
                  <a:lnTo>
                    <a:pt x="528003" y="207721"/>
                  </a:lnTo>
                  <a:lnTo>
                    <a:pt x="528003" y="208407"/>
                  </a:lnTo>
                  <a:lnTo>
                    <a:pt x="528003" y="207721"/>
                  </a:lnTo>
                  <a:lnTo>
                    <a:pt x="528054" y="207721"/>
                  </a:lnTo>
                  <a:lnTo>
                    <a:pt x="528054" y="208407"/>
                  </a:lnTo>
                  <a:lnTo>
                    <a:pt x="528054" y="207721"/>
                  </a:lnTo>
                  <a:lnTo>
                    <a:pt x="528054" y="209753"/>
                  </a:lnTo>
                  <a:lnTo>
                    <a:pt x="528054" y="207721"/>
                  </a:lnTo>
                  <a:lnTo>
                    <a:pt x="528054" y="208407"/>
                  </a:lnTo>
                  <a:lnTo>
                    <a:pt x="528054" y="207721"/>
                  </a:lnTo>
                  <a:lnTo>
                    <a:pt x="528143" y="207721"/>
                  </a:lnTo>
                  <a:lnTo>
                    <a:pt x="528143" y="208407"/>
                  </a:lnTo>
                  <a:lnTo>
                    <a:pt x="528143" y="207022"/>
                  </a:lnTo>
                  <a:lnTo>
                    <a:pt x="528143" y="207721"/>
                  </a:lnTo>
                  <a:lnTo>
                    <a:pt x="528193" y="207721"/>
                  </a:lnTo>
                  <a:lnTo>
                    <a:pt x="528193" y="209753"/>
                  </a:lnTo>
                  <a:lnTo>
                    <a:pt x="528193" y="208407"/>
                  </a:lnTo>
                  <a:lnTo>
                    <a:pt x="528193" y="209753"/>
                  </a:lnTo>
                  <a:lnTo>
                    <a:pt x="528193" y="207721"/>
                  </a:lnTo>
                  <a:lnTo>
                    <a:pt x="528193" y="209753"/>
                  </a:lnTo>
                  <a:lnTo>
                    <a:pt x="528244" y="210451"/>
                  </a:lnTo>
                  <a:lnTo>
                    <a:pt x="528244" y="211137"/>
                  </a:lnTo>
                  <a:lnTo>
                    <a:pt x="528244" y="208407"/>
                  </a:lnTo>
                  <a:lnTo>
                    <a:pt x="528244" y="210451"/>
                  </a:lnTo>
                  <a:lnTo>
                    <a:pt x="528295" y="210451"/>
                  </a:lnTo>
                  <a:lnTo>
                    <a:pt x="528295" y="209753"/>
                  </a:lnTo>
                  <a:lnTo>
                    <a:pt x="528295" y="210451"/>
                  </a:lnTo>
                  <a:lnTo>
                    <a:pt x="528397" y="210451"/>
                  </a:lnTo>
                  <a:lnTo>
                    <a:pt x="528397" y="209753"/>
                  </a:lnTo>
                  <a:lnTo>
                    <a:pt x="528397" y="210451"/>
                  </a:lnTo>
                  <a:lnTo>
                    <a:pt x="528397" y="209753"/>
                  </a:lnTo>
                  <a:lnTo>
                    <a:pt x="528447" y="209753"/>
                  </a:lnTo>
                  <a:lnTo>
                    <a:pt x="528447" y="210451"/>
                  </a:lnTo>
                  <a:lnTo>
                    <a:pt x="528447" y="208407"/>
                  </a:lnTo>
                  <a:lnTo>
                    <a:pt x="528447" y="209753"/>
                  </a:lnTo>
                  <a:lnTo>
                    <a:pt x="528447" y="208407"/>
                  </a:lnTo>
                  <a:lnTo>
                    <a:pt x="528447" y="209753"/>
                  </a:lnTo>
                  <a:lnTo>
                    <a:pt x="528447" y="208407"/>
                  </a:lnTo>
                  <a:lnTo>
                    <a:pt x="528498" y="208407"/>
                  </a:lnTo>
                  <a:lnTo>
                    <a:pt x="528498" y="210451"/>
                  </a:lnTo>
                  <a:lnTo>
                    <a:pt x="528498" y="208407"/>
                  </a:lnTo>
                  <a:lnTo>
                    <a:pt x="528498" y="209753"/>
                  </a:lnTo>
                  <a:lnTo>
                    <a:pt x="528600" y="209753"/>
                  </a:lnTo>
                  <a:lnTo>
                    <a:pt x="528600" y="207022"/>
                  </a:lnTo>
                  <a:lnTo>
                    <a:pt x="528600" y="211137"/>
                  </a:lnTo>
                  <a:lnTo>
                    <a:pt x="528638" y="211137"/>
                  </a:lnTo>
                  <a:lnTo>
                    <a:pt x="528638" y="208407"/>
                  </a:lnTo>
                  <a:lnTo>
                    <a:pt x="528638" y="213868"/>
                  </a:lnTo>
                  <a:lnTo>
                    <a:pt x="528638" y="212484"/>
                  </a:lnTo>
                  <a:lnTo>
                    <a:pt x="528689" y="212484"/>
                  </a:lnTo>
                  <a:lnTo>
                    <a:pt x="528689" y="211137"/>
                  </a:lnTo>
                  <a:lnTo>
                    <a:pt x="528689" y="213868"/>
                  </a:lnTo>
                  <a:lnTo>
                    <a:pt x="528740" y="213868"/>
                  </a:lnTo>
                  <a:lnTo>
                    <a:pt x="528740" y="211785"/>
                  </a:lnTo>
                  <a:lnTo>
                    <a:pt x="528740" y="214515"/>
                  </a:lnTo>
                  <a:lnTo>
                    <a:pt x="528740" y="213868"/>
                  </a:lnTo>
                  <a:lnTo>
                    <a:pt x="528841" y="213868"/>
                  </a:lnTo>
                  <a:lnTo>
                    <a:pt x="528841" y="212484"/>
                  </a:lnTo>
                  <a:lnTo>
                    <a:pt x="528841" y="213868"/>
                  </a:lnTo>
                  <a:lnTo>
                    <a:pt x="528841" y="212484"/>
                  </a:lnTo>
                  <a:lnTo>
                    <a:pt x="528841" y="213868"/>
                  </a:lnTo>
                  <a:lnTo>
                    <a:pt x="528892" y="213868"/>
                  </a:lnTo>
                  <a:lnTo>
                    <a:pt x="528892" y="212484"/>
                  </a:lnTo>
                  <a:lnTo>
                    <a:pt x="528892" y="213868"/>
                  </a:lnTo>
                  <a:lnTo>
                    <a:pt x="528892" y="211785"/>
                  </a:lnTo>
                  <a:lnTo>
                    <a:pt x="528943" y="211785"/>
                  </a:lnTo>
                  <a:lnTo>
                    <a:pt x="528943" y="211137"/>
                  </a:lnTo>
                  <a:lnTo>
                    <a:pt x="529044" y="211137"/>
                  </a:lnTo>
                  <a:lnTo>
                    <a:pt x="529044" y="208407"/>
                  </a:lnTo>
                  <a:lnTo>
                    <a:pt x="529095" y="208407"/>
                  </a:lnTo>
                  <a:lnTo>
                    <a:pt x="529095" y="207022"/>
                  </a:lnTo>
                  <a:lnTo>
                    <a:pt x="529095" y="209753"/>
                  </a:lnTo>
                  <a:lnTo>
                    <a:pt x="529095" y="208407"/>
                  </a:lnTo>
                  <a:lnTo>
                    <a:pt x="529146" y="207721"/>
                  </a:lnTo>
                  <a:lnTo>
                    <a:pt x="529146" y="207022"/>
                  </a:lnTo>
                  <a:lnTo>
                    <a:pt x="529146" y="208407"/>
                  </a:lnTo>
                  <a:lnTo>
                    <a:pt x="529146" y="207721"/>
                  </a:lnTo>
                  <a:lnTo>
                    <a:pt x="529146" y="211137"/>
                  </a:lnTo>
                  <a:lnTo>
                    <a:pt x="529146" y="209753"/>
                  </a:lnTo>
                  <a:lnTo>
                    <a:pt x="529184" y="209753"/>
                  </a:lnTo>
                  <a:lnTo>
                    <a:pt x="529184" y="208407"/>
                  </a:lnTo>
                  <a:lnTo>
                    <a:pt x="529184" y="211137"/>
                  </a:lnTo>
                  <a:lnTo>
                    <a:pt x="529184" y="210451"/>
                  </a:lnTo>
                  <a:lnTo>
                    <a:pt x="529184" y="211137"/>
                  </a:lnTo>
                  <a:lnTo>
                    <a:pt x="529286" y="210451"/>
                  </a:lnTo>
                  <a:lnTo>
                    <a:pt x="529286" y="211785"/>
                  </a:lnTo>
                  <a:lnTo>
                    <a:pt x="529286" y="211137"/>
                  </a:lnTo>
                  <a:lnTo>
                    <a:pt x="529337" y="211137"/>
                  </a:lnTo>
                  <a:lnTo>
                    <a:pt x="529337" y="211785"/>
                  </a:lnTo>
                  <a:lnTo>
                    <a:pt x="529387" y="211785"/>
                  </a:lnTo>
                  <a:lnTo>
                    <a:pt x="529387" y="212484"/>
                  </a:lnTo>
                  <a:lnTo>
                    <a:pt x="529387" y="211785"/>
                  </a:lnTo>
                  <a:lnTo>
                    <a:pt x="529387" y="212484"/>
                  </a:lnTo>
                  <a:lnTo>
                    <a:pt x="529387" y="211785"/>
                  </a:lnTo>
                  <a:lnTo>
                    <a:pt x="529489" y="211785"/>
                  </a:lnTo>
                  <a:lnTo>
                    <a:pt x="529489" y="211137"/>
                  </a:lnTo>
                  <a:lnTo>
                    <a:pt x="529489" y="213868"/>
                  </a:lnTo>
                  <a:lnTo>
                    <a:pt x="529540" y="213868"/>
                  </a:lnTo>
                  <a:lnTo>
                    <a:pt x="529540" y="212484"/>
                  </a:lnTo>
                  <a:lnTo>
                    <a:pt x="529540" y="213868"/>
                  </a:lnTo>
                  <a:lnTo>
                    <a:pt x="529540" y="212484"/>
                  </a:lnTo>
                  <a:lnTo>
                    <a:pt x="529540" y="213868"/>
                  </a:lnTo>
                  <a:lnTo>
                    <a:pt x="529540" y="211137"/>
                  </a:lnTo>
                  <a:lnTo>
                    <a:pt x="529540" y="215214"/>
                  </a:lnTo>
                  <a:lnTo>
                    <a:pt x="529591" y="215214"/>
                  </a:lnTo>
                  <a:lnTo>
                    <a:pt x="529591" y="213868"/>
                  </a:lnTo>
                  <a:lnTo>
                    <a:pt x="529591" y="214515"/>
                  </a:lnTo>
                  <a:lnTo>
                    <a:pt x="529591" y="213868"/>
                  </a:lnTo>
                  <a:lnTo>
                    <a:pt x="529591" y="215900"/>
                  </a:lnTo>
                  <a:lnTo>
                    <a:pt x="529641" y="215900"/>
                  </a:lnTo>
                  <a:lnTo>
                    <a:pt x="529641" y="213868"/>
                  </a:lnTo>
                  <a:lnTo>
                    <a:pt x="529641" y="214515"/>
                  </a:lnTo>
                  <a:lnTo>
                    <a:pt x="529730" y="214515"/>
                  </a:lnTo>
                  <a:lnTo>
                    <a:pt x="529730" y="213868"/>
                  </a:lnTo>
                  <a:lnTo>
                    <a:pt x="529730" y="214515"/>
                  </a:lnTo>
                  <a:lnTo>
                    <a:pt x="529781" y="214515"/>
                  </a:lnTo>
                  <a:lnTo>
                    <a:pt x="529781" y="213868"/>
                  </a:lnTo>
                  <a:lnTo>
                    <a:pt x="529832" y="213868"/>
                  </a:lnTo>
                  <a:lnTo>
                    <a:pt x="529832" y="212484"/>
                  </a:lnTo>
                  <a:lnTo>
                    <a:pt x="529832" y="213868"/>
                  </a:lnTo>
                  <a:lnTo>
                    <a:pt x="529832" y="212484"/>
                  </a:lnTo>
                  <a:lnTo>
                    <a:pt x="529832" y="213868"/>
                  </a:lnTo>
                  <a:lnTo>
                    <a:pt x="529832" y="211785"/>
                  </a:lnTo>
                  <a:lnTo>
                    <a:pt x="529832" y="212484"/>
                  </a:lnTo>
                  <a:lnTo>
                    <a:pt x="529883" y="212484"/>
                  </a:lnTo>
                  <a:lnTo>
                    <a:pt x="529883" y="211137"/>
                  </a:lnTo>
                  <a:lnTo>
                    <a:pt x="529984" y="211137"/>
                  </a:lnTo>
                  <a:lnTo>
                    <a:pt x="529984" y="209753"/>
                  </a:lnTo>
                  <a:lnTo>
                    <a:pt x="529984" y="212484"/>
                  </a:lnTo>
                  <a:lnTo>
                    <a:pt x="529984" y="211785"/>
                  </a:lnTo>
                  <a:lnTo>
                    <a:pt x="530035" y="211785"/>
                  </a:lnTo>
                  <a:lnTo>
                    <a:pt x="530035" y="210451"/>
                  </a:lnTo>
                  <a:lnTo>
                    <a:pt x="530035" y="214515"/>
                  </a:lnTo>
                  <a:lnTo>
                    <a:pt x="530035" y="212484"/>
                  </a:lnTo>
                  <a:lnTo>
                    <a:pt x="530086" y="212484"/>
                  </a:lnTo>
                  <a:lnTo>
                    <a:pt x="530086" y="214515"/>
                  </a:lnTo>
                  <a:lnTo>
                    <a:pt x="530086" y="213868"/>
                  </a:lnTo>
                  <a:lnTo>
                    <a:pt x="530187" y="213868"/>
                  </a:lnTo>
                  <a:lnTo>
                    <a:pt x="530187" y="214515"/>
                  </a:lnTo>
                  <a:lnTo>
                    <a:pt x="530187" y="213868"/>
                  </a:lnTo>
                  <a:lnTo>
                    <a:pt x="530276" y="213868"/>
                  </a:lnTo>
                  <a:lnTo>
                    <a:pt x="530276" y="212484"/>
                  </a:lnTo>
                  <a:lnTo>
                    <a:pt x="530276" y="213868"/>
                  </a:lnTo>
                  <a:lnTo>
                    <a:pt x="530276" y="212484"/>
                  </a:lnTo>
                  <a:lnTo>
                    <a:pt x="530327" y="211785"/>
                  </a:lnTo>
                  <a:lnTo>
                    <a:pt x="530327" y="212484"/>
                  </a:lnTo>
                  <a:lnTo>
                    <a:pt x="530327" y="211137"/>
                  </a:lnTo>
                  <a:lnTo>
                    <a:pt x="530429" y="211137"/>
                  </a:lnTo>
                  <a:lnTo>
                    <a:pt x="530429" y="208407"/>
                  </a:lnTo>
                  <a:lnTo>
                    <a:pt x="530429" y="209753"/>
                  </a:lnTo>
                  <a:lnTo>
                    <a:pt x="530480" y="209753"/>
                  </a:lnTo>
                  <a:lnTo>
                    <a:pt x="530480" y="207721"/>
                  </a:lnTo>
                  <a:lnTo>
                    <a:pt x="530480" y="211137"/>
                  </a:lnTo>
                  <a:lnTo>
                    <a:pt x="530480" y="208407"/>
                  </a:lnTo>
                  <a:lnTo>
                    <a:pt x="530530" y="208407"/>
                  </a:lnTo>
                  <a:lnTo>
                    <a:pt x="530530" y="211785"/>
                  </a:lnTo>
                  <a:lnTo>
                    <a:pt x="530530" y="210451"/>
                  </a:lnTo>
                  <a:lnTo>
                    <a:pt x="530632" y="210451"/>
                  </a:lnTo>
                  <a:lnTo>
                    <a:pt x="530632" y="211785"/>
                  </a:lnTo>
                  <a:lnTo>
                    <a:pt x="530683" y="211785"/>
                  </a:lnTo>
                  <a:lnTo>
                    <a:pt x="530683" y="212484"/>
                  </a:lnTo>
                  <a:lnTo>
                    <a:pt x="530683" y="211785"/>
                  </a:lnTo>
                  <a:lnTo>
                    <a:pt x="530683" y="212484"/>
                  </a:lnTo>
                  <a:lnTo>
                    <a:pt x="530683" y="211785"/>
                  </a:lnTo>
                  <a:lnTo>
                    <a:pt x="530683" y="212484"/>
                  </a:lnTo>
                  <a:lnTo>
                    <a:pt x="530683" y="211785"/>
                  </a:lnTo>
                  <a:lnTo>
                    <a:pt x="530733" y="211785"/>
                  </a:lnTo>
                  <a:lnTo>
                    <a:pt x="530733" y="212484"/>
                  </a:lnTo>
                  <a:lnTo>
                    <a:pt x="530733" y="211785"/>
                  </a:lnTo>
                  <a:lnTo>
                    <a:pt x="530733" y="212484"/>
                  </a:lnTo>
                  <a:lnTo>
                    <a:pt x="530772" y="212484"/>
                  </a:lnTo>
                  <a:lnTo>
                    <a:pt x="530772" y="213868"/>
                  </a:lnTo>
                  <a:lnTo>
                    <a:pt x="530772" y="212484"/>
                  </a:lnTo>
                  <a:lnTo>
                    <a:pt x="530873" y="212484"/>
                  </a:lnTo>
                  <a:lnTo>
                    <a:pt x="530873" y="211137"/>
                  </a:lnTo>
                  <a:lnTo>
                    <a:pt x="530924" y="211137"/>
                  </a:lnTo>
                  <a:lnTo>
                    <a:pt x="530924" y="209753"/>
                  </a:lnTo>
                  <a:lnTo>
                    <a:pt x="530924" y="210451"/>
                  </a:lnTo>
                  <a:lnTo>
                    <a:pt x="530924" y="208407"/>
                  </a:lnTo>
                  <a:lnTo>
                    <a:pt x="530975" y="207721"/>
                  </a:lnTo>
                  <a:lnTo>
                    <a:pt x="530975" y="210451"/>
                  </a:lnTo>
                  <a:lnTo>
                    <a:pt x="530975" y="208407"/>
                  </a:lnTo>
                  <a:lnTo>
                    <a:pt x="530975" y="209753"/>
                  </a:lnTo>
                  <a:lnTo>
                    <a:pt x="531076" y="209753"/>
                  </a:lnTo>
                  <a:lnTo>
                    <a:pt x="531076" y="211137"/>
                  </a:lnTo>
                  <a:lnTo>
                    <a:pt x="531076" y="208407"/>
                  </a:lnTo>
                  <a:lnTo>
                    <a:pt x="531076" y="210451"/>
                  </a:lnTo>
                  <a:lnTo>
                    <a:pt x="531127" y="210451"/>
                  </a:lnTo>
                  <a:lnTo>
                    <a:pt x="531127" y="211137"/>
                  </a:lnTo>
                  <a:lnTo>
                    <a:pt x="531127" y="209753"/>
                  </a:lnTo>
                  <a:lnTo>
                    <a:pt x="531127" y="211137"/>
                  </a:lnTo>
                  <a:lnTo>
                    <a:pt x="531178" y="211137"/>
                  </a:lnTo>
                  <a:lnTo>
                    <a:pt x="531178" y="210451"/>
                  </a:lnTo>
                  <a:lnTo>
                    <a:pt x="531178" y="211137"/>
                  </a:lnTo>
                  <a:lnTo>
                    <a:pt x="531178" y="210451"/>
                  </a:lnTo>
                  <a:lnTo>
                    <a:pt x="531178" y="211785"/>
                  </a:lnTo>
                  <a:lnTo>
                    <a:pt x="531178" y="211137"/>
                  </a:lnTo>
                  <a:lnTo>
                    <a:pt x="531229" y="211137"/>
                  </a:lnTo>
                  <a:lnTo>
                    <a:pt x="531229" y="211785"/>
                  </a:lnTo>
                  <a:lnTo>
                    <a:pt x="531229" y="211137"/>
                  </a:lnTo>
                  <a:lnTo>
                    <a:pt x="531229" y="211785"/>
                  </a:lnTo>
                  <a:lnTo>
                    <a:pt x="531318" y="211785"/>
                  </a:lnTo>
                  <a:lnTo>
                    <a:pt x="531318" y="211137"/>
                  </a:lnTo>
                  <a:lnTo>
                    <a:pt x="531318" y="211785"/>
                  </a:lnTo>
                  <a:lnTo>
                    <a:pt x="531318" y="211137"/>
                  </a:lnTo>
                  <a:lnTo>
                    <a:pt x="531368" y="211137"/>
                  </a:lnTo>
                  <a:lnTo>
                    <a:pt x="531368" y="210451"/>
                  </a:lnTo>
                  <a:lnTo>
                    <a:pt x="531368" y="211137"/>
                  </a:lnTo>
                  <a:lnTo>
                    <a:pt x="531368" y="210451"/>
                  </a:lnTo>
                  <a:lnTo>
                    <a:pt x="531419" y="210451"/>
                  </a:lnTo>
                  <a:lnTo>
                    <a:pt x="531419" y="207721"/>
                  </a:lnTo>
                  <a:lnTo>
                    <a:pt x="531470" y="207721"/>
                  </a:lnTo>
                  <a:lnTo>
                    <a:pt x="531470" y="208407"/>
                  </a:lnTo>
                  <a:lnTo>
                    <a:pt x="531470" y="207022"/>
                  </a:lnTo>
                  <a:lnTo>
                    <a:pt x="531470" y="207721"/>
                  </a:lnTo>
                  <a:lnTo>
                    <a:pt x="531470" y="207022"/>
                  </a:lnTo>
                  <a:lnTo>
                    <a:pt x="531572" y="207022"/>
                  </a:lnTo>
                  <a:lnTo>
                    <a:pt x="531572" y="209753"/>
                  </a:lnTo>
                  <a:lnTo>
                    <a:pt x="531572" y="208407"/>
                  </a:lnTo>
                  <a:lnTo>
                    <a:pt x="531572" y="209753"/>
                  </a:lnTo>
                  <a:lnTo>
                    <a:pt x="531572" y="207721"/>
                  </a:lnTo>
                  <a:lnTo>
                    <a:pt x="531572" y="208407"/>
                  </a:lnTo>
                  <a:lnTo>
                    <a:pt x="531622" y="208407"/>
                  </a:lnTo>
                  <a:lnTo>
                    <a:pt x="531622" y="209753"/>
                  </a:lnTo>
                  <a:lnTo>
                    <a:pt x="531622" y="208407"/>
                  </a:lnTo>
                  <a:lnTo>
                    <a:pt x="531622" y="209753"/>
                  </a:lnTo>
                  <a:lnTo>
                    <a:pt x="531622" y="208407"/>
                  </a:lnTo>
                  <a:lnTo>
                    <a:pt x="531622" y="209753"/>
                  </a:lnTo>
                  <a:lnTo>
                    <a:pt x="531622" y="208407"/>
                  </a:lnTo>
                  <a:lnTo>
                    <a:pt x="531673" y="208407"/>
                  </a:lnTo>
                  <a:lnTo>
                    <a:pt x="531673" y="209753"/>
                  </a:lnTo>
                  <a:lnTo>
                    <a:pt x="531673" y="208407"/>
                  </a:lnTo>
                  <a:lnTo>
                    <a:pt x="531673" y="209753"/>
                  </a:lnTo>
                  <a:lnTo>
                    <a:pt x="531673" y="208407"/>
                  </a:lnTo>
                  <a:lnTo>
                    <a:pt x="531673" y="209753"/>
                  </a:lnTo>
                  <a:lnTo>
                    <a:pt x="531673" y="208407"/>
                  </a:lnTo>
                  <a:lnTo>
                    <a:pt x="531673" y="209753"/>
                  </a:lnTo>
                  <a:lnTo>
                    <a:pt x="531775" y="209753"/>
                  </a:lnTo>
                  <a:lnTo>
                    <a:pt x="531775" y="210451"/>
                  </a:lnTo>
                  <a:lnTo>
                    <a:pt x="531813" y="211137"/>
                  </a:lnTo>
                  <a:lnTo>
                    <a:pt x="531813" y="210451"/>
                  </a:lnTo>
                  <a:lnTo>
                    <a:pt x="531813" y="211137"/>
                  </a:lnTo>
                  <a:lnTo>
                    <a:pt x="531813" y="210451"/>
                  </a:lnTo>
                  <a:lnTo>
                    <a:pt x="531813" y="211137"/>
                  </a:lnTo>
                  <a:lnTo>
                    <a:pt x="531813" y="210451"/>
                  </a:lnTo>
                  <a:lnTo>
                    <a:pt x="531813" y="211137"/>
                  </a:lnTo>
                  <a:lnTo>
                    <a:pt x="531864" y="210451"/>
                  </a:lnTo>
                  <a:lnTo>
                    <a:pt x="531864" y="209753"/>
                  </a:lnTo>
                  <a:lnTo>
                    <a:pt x="531915" y="209753"/>
                  </a:lnTo>
                  <a:lnTo>
                    <a:pt x="531915" y="207022"/>
                  </a:lnTo>
                  <a:lnTo>
                    <a:pt x="532016" y="207022"/>
                  </a:lnTo>
                  <a:lnTo>
                    <a:pt x="532016" y="207721"/>
                  </a:lnTo>
                  <a:lnTo>
                    <a:pt x="532016" y="207022"/>
                  </a:lnTo>
                  <a:lnTo>
                    <a:pt x="532016" y="207721"/>
                  </a:lnTo>
                  <a:lnTo>
                    <a:pt x="532016" y="206324"/>
                  </a:lnTo>
                  <a:lnTo>
                    <a:pt x="532016" y="207022"/>
                  </a:lnTo>
                  <a:lnTo>
                    <a:pt x="532067" y="207022"/>
                  </a:lnTo>
                  <a:lnTo>
                    <a:pt x="532067" y="209753"/>
                  </a:lnTo>
                  <a:lnTo>
                    <a:pt x="532067" y="206324"/>
                  </a:lnTo>
                  <a:lnTo>
                    <a:pt x="532067" y="207022"/>
                  </a:lnTo>
                  <a:lnTo>
                    <a:pt x="532118" y="207022"/>
                  </a:lnTo>
                  <a:lnTo>
                    <a:pt x="532118" y="208407"/>
                  </a:lnTo>
                  <a:lnTo>
                    <a:pt x="532118" y="207022"/>
                  </a:lnTo>
                  <a:lnTo>
                    <a:pt x="532118" y="207721"/>
                  </a:lnTo>
                  <a:lnTo>
                    <a:pt x="532219" y="207721"/>
                  </a:lnTo>
                  <a:lnTo>
                    <a:pt x="532219" y="208407"/>
                  </a:lnTo>
                  <a:lnTo>
                    <a:pt x="532219" y="207721"/>
                  </a:lnTo>
                  <a:lnTo>
                    <a:pt x="532219" y="209753"/>
                  </a:lnTo>
                  <a:lnTo>
                    <a:pt x="532219" y="208407"/>
                  </a:lnTo>
                  <a:lnTo>
                    <a:pt x="532270" y="208407"/>
                  </a:lnTo>
                  <a:lnTo>
                    <a:pt x="532270" y="209753"/>
                  </a:lnTo>
                  <a:lnTo>
                    <a:pt x="532270" y="208407"/>
                  </a:lnTo>
                  <a:lnTo>
                    <a:pt x="532321" y="208407"/>
                  </a:lnTo>
                  <a:lnTo>
                    <a:pt x="532321" y="209753"/>
                  </a:lnTo>
                  <a:lnTo>
                    <a:pt x="532321" y="208407"/>
                  </a:lnTo>
                  <a:lnTo>
                    <a:pt x="532321" y="209753"/>
                  </a:lnTo>
                  <a:lnTo>
                    <a:pt x="532321" y="208407"/>
                  </a:lnTo>
                  <a:lnTo>
                    <a:pt x="532321" y="209753"/>
                  </a:lnTo>
                  <a:lnTo>
                    <a:pt x="532359" y="209753"/>
                  </a:lnTo>
                  <a:lnTo>
                    <a:pt x="532359" y="208407"/>
                  </a:lnTo>
                  <a:lnTo>
                    <a:pt x="532359" y="209753"/>
                  </a:lnTo>
                  <a:lnTo>
                    <a:pt x="532359" y="208407"/>
                  </a:lnTo>
                  <a:lnTo>
                    <a:pt x="532461" y="208407"/>
                  </a:lnTo>
                  <a:lnTo>
                    <a:pt x="532461" y="207721"/>
                  </a:lnTo>
                  <a:lnTo>
                    <a:pt x="532461" y="208407"/>
                  </a:lnTo>
                  <a:lnTo>
                    <a:pt x="532461" y="207022"/>
                  </a:lnTo>
                  <a:lnTo>
                    <a:pt x="532461" y="208407"/>
                  </a:lnTo>
                  <a:lnTo>
                    <a:pt x="532512" y="208407"/>
                  </a:lnTo>
                  <a:lnTo>
                    <a:pt x="532512" y="207721"/>
                  </a:lnTo>
                  <a:lnTo>
                    <a:pt x="532512" y="209753"/>
                  </a:lnTo>
                  <a:lnTo>
                    <a:pt x="532562" y="209753"/>
                  </a:lnTo>
                  <a:lnTo>
                    <a:pt x="532562" y="210451"/>
                  </a:lnTo>
                  <a:lnTo>
                    <a:pt x="532562" y="209753"/>
                  </a:lnTo>
                  <a:lnTo>
                    <a:pt x="532562" y="210451"/>
                  </a:lnTo>
                  <a:lnTo>
                    <a:pt x="532664" y="210451"/>
                  </a:lnTo>
                  <a:lnTo>
                    <a:pt x="532664" y="208407"/>
                  </a:lnTo>
                  <a:lnTo>
                    <a:pt x="532664" y="209753"/>
                  </a:lnTo>
                  <a:lnTo>
                    <a:pt x="532664" y="208407"/>
                  </a:lnTo>
                  <a:lnTo>
                    <a:pt x="532664" y="210451"/>
                  </a:lnTo>
                  <a:lnTo>
                    <a:pt x="532664" y="209753"/>
                  </a:lnTo>
                  <a:lnTo>
                    <a:pt x="532715" y="209753"/>
                  </a:lnTo>
                  <a:lnTo>
                    <a:pt x="532715" y="208407"/>
                  </a:lnTo>
                  <a:lnTo>
                    <a:pt x="532715" y="209753"/>
                  </a:lnTo>
                  <a:lnTo>
                    <a:pt x="532715" y="208407"/>
                  </a:lnTo>
                  <a:lnTo>
                    <a:pt x="532715" y="209753"/>
                  </a:lnTo>
                  <a:lnTo>
                    <a:pt x="532766" y="209753"/>
                  </a:lnTo>
                  <a:lnTo>
                    <a:pt x="532766" y="210451"/>
                  </a:lnTo>
                  <a:lnTo>
                    <a:pt x="532766" y="209753"/>
                  </a:lnTo>
                  <a:lnTo>
                    <a:pt x="532816" y="209753"/>
                  </a:lnTo>
                  <a:lnTo>
                    <a:pt x="532816" y="210451"/>
                  </a:lnTo>
                  <a:lnTo>
                    <a:pt x="532816" y="209753"/>
                  </a:lnTo>
                  <a:lnTo>
                    <a:pt x="532816" y="210451"/>
                  </a:lnTo>
                  <a:lnTo>
                    <a:pt x="532816" y="209753"/>
                  </a:lnTo>
                  <a:lnTo>
                    <a:pt x="532905" y="209753"/>
                  </a:lnTo>
                  <a:lnTo>
                    <a:pt x="532905" y="207721"/>
                  </a:lnTo>
                  <a:lnTo>
                    <a:pt x="532905" y="208407"/>
                  </a:lnTo>
                  <a:lnTo>
                    <a:pt x="532905" y="207721"/>
                  </a:lnTo>
                  <a:lnTo>
                    <a:pt x="532956" y="207721"/>
                  </a:lnTo>
                  <a:lnTo>
                    <a:pt x="532956" y="209753"/>
                  </a:lnTo>
                  <a:lnTo>
                    <a:pt x="533007" y="209753"/>
                  </a:lnTo>
                  <a:lnTo>
                    <a:pt x="533007" y="208407"/>
                  </a:lnTo>
                  <a:lnTo>
                    <a:pt x="533007" y="211137"/>
                  </a:lnTo>
                  <a:lnTo>
                    <a:pt x="533007" y="209753"/>
                  </a:lnTo>
                  <a:lnTo>
                    <a:pt x="533058" y="209753"/>
                  </a:lnTo>
                  <a:lnTo>
                    <a:pt x="533058" y="210451"/>
                  </a:lnTo>
                  <a:lnTo>
                    <a:pt x="533058" y="209753"/>
                  </a:lnTo>
                  <a:lnTo>
                    <a:pt x="533159" y="209753"/>
                  </a:lnTo>
                  <a:lnTo>
                    <a:pt x="533159" y="211137"/>
                  </a:lnTo>
                  <a:lnTo>
                    <a:pt x="533159" y="209753"/>
                  </a:lnTo>
                  <a:lnTo>
                    <a:pt x="533159" y="210451"/>
                  </a:lnTo>
                  <a:lnTo>
                    <a:pt x="533210" y="210451"/>
                  </a:lnTo>
                  <a:lnTo>
                    <a:pt x="533210" y="209753"/>
                  </a:lnTo>
                  <a:lnTo>
                    <a:pt x="533210" y="210451"/>
                  </a:lnTo>
                  <a:lnTo>
                    <a:pt x="533210" y="209753"/>
                  </a:lnTo>
                  <a:lnTo>
                    <a:pt x="533210" y="210451"/>
                  </a:lnTo>
                  <a:lnTo>
                    <a:pt x="533210" y="209753"/>
                  </a:lnTo>
                  <a:lnTo>
                    <a:pt x="533210" y="210451"/>
                  </a:lnTo>
                  <a:lnTo>
                    <a:pt x="533261" y="210451"/>
                  </a:lnTo>
                  <a:lnTo>
                    <a:pt x="533261" y="209753"/>
                  </a:lnTo>
                  <a:lnTo>
                    <a:pt x="533261" y="210451"/>
                  </a:lnTo>
                  <a:lnTo>
                    <a:pt x="533261" y="209753"/>
                  </a:lnTo>
                  <a:lnTo>
                    <a:pt x="533362" y="209753"/>
                  </a:lnTo>
                  <a:lnTo>
                    <a:pt x="533362" y="208407"/>
                  </a:lnTo>
                  <a:lnTo>
                    <a:pt x="533401" y="208407"/>
                  </a:lnTo>
                  <a:lnTo>
                    <a:pt x="533401" y="207721"/>
                  </a:lnTo>
                  <a:lnTo>
                    <a:pt x="533401" y="208407"/>
                  </a:lnTo>
                  <a:lnTo>
                    <a:pt x="533401" y="207022"/>
                  </a:lnTo>
                  <a:lnTo>
                    <a:pt x="533451" y="206324"/>
                  </a:lnTo>
                  <a:lnTo>
                    <a:pt x="533451" y="204990"/>
                  </a:lnTo>
                  <a:lnTo>
                    <a:pt x="533451" y="207022"/>
                  </a:lnTo>
                  <a:lnTo>
                    <a:pt x="533502" y="207022"/>
                  </a:lnTo>
                  <a:lnTo>
                    <a:pt x="533502" y="206324"/>
                  </a:lnTo>
                  <a:lnTo>
                    <a:pt x="533502" y="209753"/>
                  </a:lnTo>
                  <a:lnTo>
                    <a:pt x="533502" y="207721"/>
                  </a:lnTo>
                  <a:lnTo>
                    <a:pt x="533604" y="207721"/>
                  </a:lnTo>
                  <a:lnTo>
                    <a:pt x="533604" y="209753"/>
                  </a:lnTo>
                  <a:lnTo>
                    <a:pt x="533604" y="208407"/>
                  </a:lnTo>
                  <a:lnTo>
                    <a:pt x="533604" y="209753"/>
                  </a:lnTo>
                  <a:lnTo>
                    <a:pt x="533604" y="208407"/>
                  </a:lnTo>
                  <a:lnTo>
                    <a:pt x="533604" y="209753"/>
                  </a:lnTo>
                  <a:lnTo>
                    <a:pt x="533655" y="209753"/>
                  </a:lnTo>
                  <a:lnTo>
                    <a:pt x="533655" y="208407"/>
                  </a:lnTo>
                  <a:lnTo>
                    <a:pt x="533655" y="210451"/>
                  </a:lnTo>
                  <a:lnTo>
                    <a:pt x="533655" y="209753"/>
                  </a:lnTo>
                  <a:lnTo>
                    <a:pt x="533705" y="209753"/>
                  </a:lnTo>
                  <a:lnTo>
                    <a:pt x="533705" y="210451"/>
                  </a:lnTo>
                  <a:lnTo>
                    <a:pt x="533705" y="209753"/>
                  </a:lnTo>
                  <a:lnTo>
                    <a:pt x="533807" y="209753"/>
                  </a:lnTo>
                  <a:lnTo>
                    <a:pt x="533807" y="210451"/>
                  </a:lnTo>
                  <a:lnTo>
                    <a:pt x="533807" y="209753"/>
                  </a:lnTo>
                  <a:lnTo>
                    <a:pt x="533807" y="210451"/>
                  </a:lnTo>
                  <a:lnTo>
                    <a:pt x="533807" y="209753"/>
                  </a:lnTo>
                  <a:lnTo>
                    <a:pt x="533807" y="210451"/>
                  </a:lnTo>
                  <a:lnTo>
                    <a:pt x="533858" y="210451"/>
                  </a:lnTo>
                  <a:lnTo>
                    <a:pt x="533858" y="208407"/>
                  </a:lnTo>
                  <a:lnTo>
                    <a:pt x="533858" y="209753"/>
                  </a:lnTo>
                  <a:lnTo>
                    <a:pt x="533858" y="208407"/>
                  </a:lnTo>
                  <a:lnTo>
                    <a:pt x="533908" y="208407"/>
                  </a:lnTo>
                  <a:lnTo>
                    <a:pt x="533908" y="207721"/>
                  </a:lnTo>
                  <a:lnTo>
                    <a:pt x="533908" y="208407"/>
                  </a:lnTo>
                  <a:lnTo>
                    <a:pt x="533908" y="207022"/>
                  </a:lnTo>
                  <a:lnTo>
                    <a:pt x="533908" y="207721"/>
                  </a:lnTo>
                  <a:lnTo>
                    <a:pt x="533908" y="207022"/>
                  </a:lnTo>
                  <a:lnTo>
                    <a:pt x="533908" y="207721"/>
                  </a:lnTo>
                  <a:lnTo>
                    <a:pt x="533908" y="207022"/>
                  </a:lnTo>
                  <a:lnTo>
                    <a:pt x="533947" y="207022"/>
                  </a:lnTo>
                  <a:lnTo>
                    <a:pt x="533947" y="206324"/>
                  </a:lnTo>
                  <a:lnTo>
                    <a:pt x="533947" y="207022"/>
                  </a:lnTo>
                  <a:lnTo>
                    <a:pt x="534048" y="207022"/>
                  </a:lnTo>
                  <a:lnTo>
                    <a:pt x="534048" y="206324"/>
                  </a:lnTo>
                  <a:lnTo>
                    <a:pt x="534048" y="208407"/>
                  </a:lnTo>
                  <a:lnTo>
                    <a:pt x="534048" y="207721"/>
                  </a:lnTo>
                  <a:lnTo>
                    <a:pt x="534048" y="208407"/>
                  </a:lnTo>
                  <a:lnTo>
                    <a:pt x="534048" y="207022"/>
                  </a:lnTo>
                  <a:lnTo>
                    <a:pt x="534048" y="207721"/>
                  </a:lnTo>
                  <a:lnTo>
                    <a:pt x="534099" y="207721"/>
                  </a:lnTo>
                  <a:lnTo>
                    <a:pt x="534099" y="208407"/>
                  </a:lnTo>
                  <a:lnTo>
                    <a:pt x="534099" y="207721"/>
                  </a:lnTo>
                  <a:lnTo>
                    <a:pt x="534099" y="208407"/>
                  </a:lnTo>
                  <a:lnTo>
                    <a:pt x="534099" y="207721"/>
                  </a:lnTo>
                  <a:lnTo>
                    <a:pt x="534099" y="208407"/>
                  </a:lnTo>
                  <a:lnTo>
                    <a:pt x="534099" y="207721"/>
                  </a:lnTo>
                  <a:lnTo>
                    <a:pt x="534099" y="208407"/>
                  </a:lnTo>
                  <a:lnTo>
                    <a:pt x="534150" y="208407"/>
                  </a:lnTo>
                  <a:lnTo>
                    <a:pt x="534150" y="209753"/>
                  </a:lnTo>
                  <a:lnTo>
                    <a:pt x="534150" y="208407"/>
                  </a:lnTo>
                  <a:lnTo>
                    <a:pt x="534150" y="209753"/>
                  </a:lnTo>
                  <a:lnTo>
                    <a:pt x="534150" y="208407"/>
                  </a:lnTo>
                  <a:lnTo>
                    <a:pt x="534150" y="209753"/>
                  </a:lnTo>
                  <a:lnTo>
                    <a:pt x="534251" y="209753"/>
                  </a:lnTo>
                  <a:lnTo>
                    <a:pt x="534251" y="210451"/>
                  </a:lnTo>
                  <a:lnTo>
                    <a:pt x="534302" y="210451"/>
                  </a:lnTo>
                  <a:lnTo>
                    <a:pt x="534302" y="209753"/>
                  </a:lnTo>
                  <a:lnTo>
                    <a:pt x="534302" y="210451"/>
                  </a:lnTo>
                  <a:lnTo>
                    <a:pt x="534302" y="209753"/>
                  </a:lnTo>
                  <a:lnTo>
                    <a:pt x="534302" y="210451"/>
                  </a:lnTo>
                  <a:lnTo>
                    <a:pt x="534302" y="209753"/>
                  </a:lnTo>
                  <a:lnTo>
                    <a:pt x="534302" y="210451"/>
                  </a:lnTo>
                  <a:lnTo>
                    <a:pt x="534302" y="209753"/>
                  </a:lnTo>
                  <a:lnTo>
                    <a:pt x="534353" y="209753"/>
                  </a:lnTo>
                  <a:lnTo>
                    <a:pt x="534353" y="208407"/>
                  </a:lnTo>
                  <a:lnTo>
                    <a:pt x="534353" y="209753"/>
                  </a:lnTo>
                  <a:lnTo>
                    <a:pt x="534353" y="208407"/>
                  </a:lnTo>
                  <a:lnTo>
                    <a:pt x="534353" y="209753"/>
                  </a:lnTo>
                  <a:lnTo>
                    <a:pt x="534353" y="208407"/>
                  </a:lnTo>
                  <a:lnTo>
                    <a:pt x="534404" y="207721"/>
                  </a:lnTo>
                  <a:lnTo>
                    <a:pt x="534404" y="206324"/>
                  </a:lnTo>
                  <a:lnTo>
                    <a:pt x="534493" y="206324"/>
                  </a:lnTo>
                  <a:lnTo>
                    <a:pt x="534493" y="204292"/>
                  </a:lnTo>
                  <a:lnTo>
                    <a:pt x="534493" y="207022"/>
                  </a:lnTo>
                  <a:lnTo>
                    <a:pt x="534493" y="206324"/>
                  </a:lnTo>
                  <a:lnTo>
                    <a:pt x="534543" y="206324"/>
                  </a:lnTo>
                  <a:lnTo>
                    <a:pt x="534543" y="204990"/>
                  </a:lnTo>
                  <a:lnTo>
                    <a:pt x="534543" y="207721"/>
                  </a:lnTo>
                  <a:lnTo>
                    <a:pt x="534543" y="207022"/>
                  </a:lnTo>
                  <a:lnTo>
                    <a:pt x="534594" y="206324"/>
                  </a:lnTo>
                  <a:lnTo>
                    <a:pt x="534594" y="207721"/>
                  </a:lnTo>
                  <a:lnTo>
                    <a:pt x="534594" y="207022"/>
                  </a:lnTo>
                  <a:lnTo>
                    <a:pt x="534645" y="207022"/>
                  </a:lnTo>
                  <a:lnTo>
                    <a:pt x="534645" y="206324"/>
                  </a:lnTo>
                  <a:lnTo>
                    <a:pt x="534645" y="208407"/>
                  </a:lnTo>
                  <a:lnTo>
                    <a:pt x="534645" y="207721"/>
                  </a:lnTo>
                  <a:lnTo>
                    <a:pt x="534645" y="208407"/>
                  </a:lnTo>
                  <a:lnTo>
                    <a:pt x="534645" y="207721"/>
                  </a:lnTo>
                  <a:lnTo>
                    <a:pt x="534747" y="207721"/>
                  </a:lnTo>
                  <a:lnTo>
                    <a:pt x="534747" y="209753"/>
                  </a:lnTo>
                  <a:lnTo>
                    <a:pt x="534747" y="208407"/>
                  </a:lnTo>
                  <a:lnTo>
                    <a:pt x="534747" y="209753"/>
                  </a:lnTo>
                  <a:lnTo>
                    <a:pt x="534797" y="209753"/>
                  </a:lnTo>
                  <a:lnTo>
                    <a:pt x="534797" y="208407"/>
                  </a:lnTo>
                  <a:lnTo>
                    <a:pt x="534797" y="209753"/>
                  </a:lnTo>
                  <a:lnTo>
                    <a:pt x="534848" y="209753"/>
                  </a:lnTo>
                  <a:lnTo>
                    <a:pt x="534848" y="208407"/>
                  </a:lnTo>
                  <a:lnTo>
                    <a:pt x="534848" y="209753"/>
                  </a:lnTo>
                  <a:lnTo>
                    <a:pt x="534848" y="208407"/>
                  </a:lnTo>
                  <a:lnTo>
                    <a:pt x="534950" y="208407"/>
                  </a:lnTo>
                  <a:lnTo>
                    <a:pt x="534950" y="207721"/>
                  </a:lnTo>
                  <a:lnTo>
                    <a:pt x="534950" y="208407"/>
                  </a:lnTo>
                  <a:lnTo>
                    <a:pt x="534950" y="207721"/>
                  </a:lnTo>
                  <a:lnTo>
                    <a:pt x="534950" y="208407"/>
                  </a:lnTo>
                  <a:lnTo>
                    <a:pt x="534950" y="206324"/>
                  </a:lnTo>
                  <a:lnTo>
                    <a:pt x="534988" y="206324"/>
                  </a:lnTo>
                  <a:lnTo>
                    <a:pt x="534988" y="204990"/>
                  </a:lnTo>
                  <a:lnTo>
                    <a:pt x="534988" y="207721"/>
                  </a:lnTo>
                  <a:lnTo>
                    <a:pt x="534988" y="204990"/>
                  </a:lnTo>
                  <a:lnTo>
                    <a:pt x="535039" y="204990"/>
                  </a:lnTo>
                  <a:lnTo>
                    <a:pt x="535039" y="208407"/>
                  </a:lnTo>
                  <a:lnTo>
                    <a:pt x="535039" y="206324"/>
                  </a:lnTo>
                  <a:lnTo>
                    <a:pt x="535039" y="207022"/>
                  </a:lnTo>
                  <a:lnTo>
                    <a:pt x="535090" y="207022"/>
                  </a:lnTo>
                  <a:lnTo>
                    <a:pt x="535090" y="207721"/>
                  </a:lnTo>
                  <a:lnTo>
                    <a:pt x="535090" y="207022"/>
                  </a:lnTo>
                  <a:lnTo>
                    <a:pt x="535191" y="207022"/>
                  </a:lnTo>
                  <a:lnTo>
                    <a:pt x="535191" y="207721"/>
                  </a:lnTo>
                  <a:lnTo>
                    <a:pt x="535191" y="207022"/>
                  </a:lnTo>
                  <a:lnTo>
                    <a:pt x="535191" y="207721"/>
                  </a:lnTo>
                  <a:lnTo>
                    <a:pt x="535242" y="207721"/>
                  </a:lnTo>
                  <a:lnTo>
                    <a:pt x="535242" y="208407"/>
                  </a:lnTo>
                  <a:lnTo>
                    <a:pt x="535242" y="207721"/>
                  </a:lnTo>
                  <a:lnTo>
                    <a:pt x="535242" y="208407"/>
                  </a:lnTo>
                  <a:lnTo>
                    <a:pt x="535293" y="208407"/>
                  </a:lnTo>
                  <a:lnTo>
                    <a:pt x="535293" y="207721"/>
                  </a:lnTo>
                  <a:lnTo>
                    <a:pt x="535293" y="208407"/>
                  </a:lnTo>
                  <a:lnTo>
                    <a:pt x="535293" y="207721"/>
                  </a:lnTo>
                  <a:lnTo>
                    <a:pt x="535293" y="208407"/>
                  </a:lnTo>
                  <a:lnTo>
                    <a:pt x="535293" y="207721"/>
                  </a:lnTo>
                  <a:lnTo>
                    <a:pt x="535293" y="209753"/>
                  </a:lnTo>
                  <a:lnTo>
                    <a:pt x="535293" y="208407"/>
                  </a:lnTo>
                  <a:lnTo>
                    <a:pt x="535394" y="208407"/>
                  </a:lnTo>
                  <a:lnTo>
                    <a:pt x="535394" y="207721"/>
                  </a:lnTo>
                  <a:lnTo>
                    <a:pt x="535394" y="208407"/>
                  </a:lnTo>
                  <a:lnTo>
                    <a:pt x="535394" y="207721"/>
                  </a:lnTo>
                  <a:lnTo>
                    <a:pt x="535445" y="207721"/>
                  </a:lnTo>
                  <a:lnTo>
                    <a:pt x="535445" y="207022"/>
                  </a:lnTo>
                  <a:lnTo>
                    <a:pt x="535445" y="207721"/>
                  </a:lnTo>
                  <a:lnTo>
                    <a:pt x="535445" y="206324"/>
                  </a:lnTo>
                  <a:lnTo>
                    <a:pt x="535445" y="207721"/>
                  </a:lnTo>
                  <a:lnTo>
                    <a:pt x="535496" y="207721"/>
                  </a:lnTo>
                  <a:lnTo>
                    <a:pt x="535496" y="208407"/>
                  </a:lnTo>
                  <a:lnTo>
                    <a:pt x="535496" y="207721"/>
                  </a:lnTo>
                  <a:lnTo>
                    <a:pt x="535496" y="208407"/>
                  </a:lnTo>
                  <a:lnTo>
                    <a:pt x="535496" y="207022"/>
                  </a:lnTo>
                  <a:lnTo>
                    <a:pt x="535496" y="208407"/>
                  </a:lnTo>
                  <a:lnTo>
                    <a:pt x="535534" y="209753"/>
                  </a:lnTo>
                  <a:lnTo>
                    <a:pt x="535534" y="207721"/>
                  </a:lnTo>
                  <a:lnTo>
                    <a:pt x="535534" y="209753"/>
                  </a:lnTo>
                  <a:lnTo>
                    <a:pt x="535636" y="209753"/>
                  </a:lnTo>
                  <a:lnTo>
                    <a:pt x="535636" y="208407"/>
                  </a:lnTo>
                  <a:lnTo>
                    <a:pt x="535636" y="209753"/>
                  </a:lnTo>
                  <a:lnTo>
                    <a:pt x="535687" y="209753"/>
                  </a:lnTo>
                  <a:lnTo>
                    <a:pt x="535687" y="208407"/>
                  </a:lnTo>
                  <a:lnTo>
                    <a:pt x="535687" y="209753"/>
                  </a:lnTo>
                  <a:lnTo>
                    <a:pt x="535737" y="209753"/>
                  </a:lnTo>
                  <a:lnTo>
                    <a:pt x="535737" y="208407"/>
                  </a:lnTo>
                  <a:lnTo>
                    <a:pt x="535737" y="209753"/>
                  </a:lnTo>
                  <a:lnTo>
                    <a:pt x="535737" y="208407"/>
                  </a:lnTo>
                  <a:lnTo>
                    <a:pt x="535737" y="209753"/>
                  </a:lnTo>
                  <a:lnTo>
                    <a:pt x="535839" y="209753"/>
                  </a:lnTo>
                  <a:lnTo>
                    <a:pt x="535839" y="207721"/>
                  </a:lnTo>
                  <a:lnTo>
                    <a:pt x="535890" y="207721"/>
                  </a:lnTo>
                  <a:lnTo>
                    <a:pt x="535890" y="208407"/>
                  </a:lnTo>
                  <a:lnTo>
                    <a:pt x="535890" y="207022"/>
                  </a:lnTo>
                  <a:lnTo>
                    <a:pt x="535941" y="207022"/>
                  </a:lnTo>
                  <a:lnTo>
                    <a:pt x="535941" y="207721"/>
                  </a:lnTo>
                  <a:lnTo>
                    <a:pt x="535991" y="207022"/>
                  </a:lnTo>
                  <a:lnTo>
                    <a:pt x="535991" y="207721"/>
                  </a:lnTo>
                  <a:lnTo>
                    <a:pt x="535991" y="207022"/>
                  </a:lnTo>
                  <a:lnTo>
                    <a:pt x="535991" y="209753"/>
                  </a:lnTo>
                  <a:lnTo>
                    <a:pt x="536080" y="208407"/>
                  </a:lnTo>
                  <a:lnTo>
                    <a:pt x="536080" y="207721"/>
                  </a:lnTo>
                  <a:lnTo>
                    <a:pt x="536080" y="209753"/>
                  </a:lnTo>
                  <a:lnTo>
                    <a:pt x="536080" y="208407"/>
                  </a:lnTo>
                  <a:lnTo>
                    <a:pt x="536131" y="208407"/>
                  </a:lnTo>
                  <a:lnTo>
                    <a:pt x="536131" y="209753"/>
                  </a:lnTo>
                  <a:lnTo>
                    <a:pt x="536131" y="208407"/>
                  </a:lnTo>
                  <a:lnTo>
                    <a:pt x="536131" y="209753"/>
                  </a:lnTo>
                  <a:lnTo>
                    <a:pt x="536182" y="209753"/>
                  </a:lnTo>
                  <a:lnTo>
                    <a:pt x="536182" y="208407"/>
                  </a:lnTo>
                  <a:lnTo>
                    <a:pt x="536182" y="210451"/>
                  </a:lnTo>
                  <a:lnTo>
                    <a:pt x="536182" y="209753"/>
                  </a:lnTo>
                  <a:lnTo>
                    <a:pt x="536233" y="209753"/>
                  </a:lnTo>
                  <a:lnTo>
                    <a:pt x="536233" y="208407"/>
                  </a:lnTo>
                  <a:lnTo>
                    <a:pt x="536233" y="209753"/>
                  </a:lnTo>
                  <a:lnTo>
                    <a:pt x="536334" y="208407"/>
                  </a:lnTo>
                  <a:lnTo>
                    <a:pt x="536334" y="207721"/>
                  </a:lnTo>
                  <a:lnTo>
                    <a:pt x="536334" y="208407"/>
                  </a:lnTo>
                  <a:lnTo>
                    <a:pt x="536334" y="207022"/>
                  </a:lnTo>
                  <a:lnTo>
                    <a:pt x="536385" y="207022"/>
                  </a:lnTo>
                  <a:lnTo>
                    <a:pt x="536385" y="206324"/>
                  </a:lnTo>
                  <a:lnTo>
                    <a:pt x="536385" y="207022"/>
                  </a:lnTo>
                  <a:lnTo>
                    <a:pt x="536436" y="206324"/>
                  </a:lnTo>
                  <a:lnTo>
                    <a:pt x="536436" y="204990"/>
                  </a:lnTo>
                  <a:lnTo>
                    <a:pt x="536436" y="207721"/>
                  </a:lnTo>
                  <a:lnTo>
                    <a:pt x="536436" y="206324"/>
                  </a:lnTo>
                  <a:lnTo>
                    <a:pt x="536537" y="204990"/>
                  </a:lnTo>
                  <a:lnTo>
                    <a:pt x="536537" y="209753"/>
                  </a:lnTo>
                  <a:lnTo>
                    <a:pt x="536537" y="207721"/>
                  </a:lnTo>
                  <a:lnTo>
                    <a:pt x="536576" y="208407"/>
                  </a:lnTo>
                  <a:lnTo>
                    <a:pt x="536576" y="209753"/>
                  </a:lnTo>
                  <a:lnTo>
                    <a:pt x="536576" y="208407"/>
                  </a:lnTo>
                  <a:lnTo>
                    <a:pt x="536576" y="209753"/>
                  </a:lnTo>
                  <a:lnTo>
                    <a:pt x="536576" y="208407"/>
                  </a:lnTo>
                  <a:lnTo>
                    <a:pt x="536626" y="208407"/>
                  </a:lnTo>
                  <a:lnTo>
                    <a:pt x="536626" y="209753"/>
                  </a:lnTo>
                  <a:lnTo>
                    <a:pt x="536626" y="208407"/>
                  </a:lnTo>
                  <a:lnTo>
                    <a:pt x="536626" y="209753"/>
                  </a:lnTo>
                  <a:lnTo>
                    <a:pt x="536626" y="208407"/>
                  </a:lnTo>
                  <a:lnTo>
                    <a:pt x="536626" y="210451"/>
                  </a:lnTo>
                  <a:lnTo>
                    <a:pt x="536677" y="210451"/>
                  </a:lnTo>
                  <a:lnTo>
                    <a:pt x="536677" y="209753"/>
                  </a:lnTo>
                  <a:lnTo>
                    <a:pt x="536677" y="210451"/>
                  </a:lnTo>
                  <a:lnTo>
                    <a:pt x="536677" y="209753"/>
                  </a:lnTo>
                  <a:lnTo>
                    <a:pt x="536677" y="210451"/>
                  </a:lnTo>
                  <a:lnTo>
                    <a:pt x="536677" y="209753"/>
                  </a:lnTo>
                  <a:lnTo>
                    <a:pt x="536677" y="210451"/>
                  </a:lnTo>
                  <a:lnTo>
                    <a:pt x="536677" y="209753"/>
                  </a:lnTo>
                  <a:lnTo>
                    <a:pt x="536677" y="210451"/>
                  </a:lnTo>
                  <a:lnTo>
                    <a:pt x="536779" y="209753"/>
                  </a:lnTo>
                  <a:lnTo>
                    <a:pt x="536779" y="210451"/>
                  </a:lnTo>
                  <a:lnTo>
                    <a:pt x="536779" y="209753"/>
                  </a:lnTo>
                  <a:lnTo>
                    <a:pt x="536830" y="209753"/>
                  </a:lnTo>
                  <a:lnTo>
                    <a:pt x="536830" y="207721"/>
                  </a:lnTo>
                  <a:lnTo>
                    <a:pt x="536830" y="208407"/>
                  </a:lnTo>
                  <a:lnTo>
                    <a:pt x="536880" y="208407"/>
                  </a:lnTo>
                  <a:lnTo>
                    <a:pt x="536880" y="207022"/>
                  </a:lnTo>
                  <a:lnTo>
                    <a:pt x="536880" y="207721"/>
                  </a:lnTo>
                  <a:lnTo>
                    <a:pt x="536880" y="206324"/>
                  </a:lnTo>
                  <a:lnTo>
                    <a:pt x="536880" y="207022"/>
                  </a:lnTo>
                  <a:lnTo>
                    <a:pt x="536982" y="207022"/>
                  </a:lnTo>
                  <a:lnTo>
                    <a:pt x="536982" y="208407"/>
                  </a:lnTo>
                  <a:lnTo>
                    <a:pt x="536982" y="207721"/>
                  </a:lnTo>
                  <a:lnTo>
                    <a:pt x="536982" y="208407"/>
                  </a:lnTo>
                  <a:lnTo>
                    <a:pt x="536982" y="207022"/>
                  </a:lnTo>
                  <a:lnTo>
                    <a:pt x="536982" y="208407"/>
                  </a:lnTo>
                  <a:lnTo>
                    <a:pt x="537033" y="208407"/>
                  </a:lnTo>
                  <a:lnTo>
                    <a:pt x="537033" y="209753"/>
                  </a:lnTo>
                  <a:lnTo>
                    <a:pt x="537033" y="207721"/>
                  </a:lnTo>
                  <a:lnTo>
                    <a:pt x="537033" y="209753"/>
                  </a:lnTo>
                  <a:lnTo>
                    <a:pt x="537083" y="209753"/>
                  </a:lnTo>
                  <a:lnTo>
                    <a:pt x="537083" y="208407"/>
                  </a:lnTo>
                  <a:lnTo>
                    <a:pt x="537083" y="209753"/>
                  </a:lnTo>
                  <a:lnTo>
                    <a:pt x="537083" y="208407"/>
                  </a:lnTo>
                  <a:lnTo>
                    <a:pt x="537083" y="209753"/>
                  </a:lnTo>
                  <a:lnTo>
                    <a:pt x="537083" y="208407"/>
                  </a:lnTo>
                  <a:lnTo>
                    <a:pt x="537122" y="209753"/>
                  </a:lnTo>
                  <a:lnTo>
                    <a:pt x="537122" y="208407"/>
                  </a:lnTo>
                  <a:lnTo>
                    <a:pt x="537122" y="209753"/>
                  </a:lnTo>
                  <a:lnTo>
                    <a:pt x="537122" y="208407"/>
                  </a:lnTo>
                  <a:lnTo>
                    <a:pt x="537122" y="209753"/>
                  </a:lnTo>
                  <a:lnTo>
                    <a:pt x="537223" y="209753"/>
                  </a:lnTo>
                  <a:lnTo>
                    <a:pt x="537223" y="210451"/>
                  </a:lnTo>
                  <a:lnTo>
                    <a:pt x="537223" y="209753"/>
                  </a:lnTo>
                  <a:lnTo>
                    <a:pt x="537223" y="210451"/>
                  </a:lnTo>
                  <a:lnTo>
                    <a:pt x="537223" y="209753"/>
                  </a:lnTo>
                  <a:lnTo>
                    <a:pt x="537223" y="210451"/>
                  </a:lnTo>
                  <a:lnTo>
                    <a:pt x="537223" y="209753"/>
                  </a:lnTo>
                  <a:lnTo>
                    <a:pt x="537223" y="210451"/>
                  </a:lnTo>
                  <a:lnTo>
                    <a:pt x="537274" y="210451"/>
                  </a:lnTo>
                  <a:lnTo>
                    <a:pt x="537274" y="209753"/>
                  </a:lnTo>
                  <a:lnTo>
                    <a:pt x="537274" y="210451"/>
                  </a:lnTo>
                  <a:lnTo>
                    <a:pt x="537274" y="209753"/>
                  </a:lnTo>
                  <a:lnTo>
                    <a:pt x="537274" y="210451"/>
                  </a:lnTo>
                  <a:lnTo>
                    <a:pt x="537274" y="209753"/>
                  </a:lnTo>
                  <a:lnTo>
                    <a:pt x="537325" y="208407"/>
                  </a:lnTo>
                  <a:lnTo>
                    <a:pt x="537325" y="207721"/>
                  </a:lnTo>
                  <a:lnTo>
                    <a:pt x="537426" y="207721"/>
                  </a:lnTo>
                  <a:lnTo>
                    <a:pt x="537426" y="204990"/>
                  </a:lnTo>
                  <a:lnTo>
                    <a:pt x="537426" y="206324"/>
                  </a:lnTo>
                  <a:lnTo>
                    <a:pt x="537477" y="207022"/>
                  </a:lnTo>
                  <a:lnTo>
                    <a:pt x="537477" y="207721"/>
                  </a:lnTo>
                  <a:lnTo>
                    <a:pt x="537477" y="204990"/>
                  </a:lnTo>
                  <a:lnTo>
                    <a:pt x="537477" y="208407"/>
                  </a:lnTo>
                  <a:lnTo>
                    <a:pt x="537528" y="209753"/>
                  </a:lnTo>
                  <a:lnTo>
                    <a:pt x="537528" y="207022"/>
                  </a:lnTo>
                  <a:lnTo>
                    <a:pt x="537528" y="209753"/>
                  </a:lnTo>
                  <a:lnTo>
                    <a:pt x="537579" y="209753"/>
                  </a:lnTo>
                  <a:lnTo>
                    <a:pt x="537579" y="207721"/>
                  </a:lnTo>
                  <a:lnTo>
                    <a:pt x="537579" y="209753"/>
                  </a:lnTo>
                  <a:lnTo>
                    <a:pt x="537579" y="208407"/>
                  </a:lnTo>
                  <a:lnTo>
                    <a:pt x="537668" y="208407"/>
                  </a:lnTo>
                  <a:lnTo>
                    <a:pt x="537668" y="209753"/>
                  </a:lnTo>
                  <a:lnTo>
                    <a:pt x="537718" y="208407"/>
                  </a:lnTo>
                  <a:lnTo>
                    <a:pt x="537718" y="210451"/>
                  </a:lnTo>
                  <a:lnTo>
                    <a:pt x="537718" y="208407"/>
                  </a:lnTo>
                  <a:lnTo>
                    <a:pt x="537769" y="208407"/>
                  </a:lnTo>
                  <a:lnTo>
                    <a:pt x="537769" y="209753"/>
                  </a:lnTo>
                  <a:lnTo>
                    <a:pt x="537769" y="208407"/>
                  </a:lnTo>
                  <a:lnTo>
                    <a:pt x="537820" y="208407"/>
                  </a:lnTo>
                  <a:lnTo>
                    <a:pt x="537820" y="207022"/>
                  </a:lnTo>
                  <a:lnTo>
                    <a:pt x="537922" y="207022"/>
                  </a:lnTo>
                  <a:lnTo>
                    <a:pt x="537922" y="206324"/>
                  </a:lnTo>
                  <a:lnTo>
                    <a:pt x="537922" y="207721"/>
                  </a:lnTo>
                  <a:lnTo>
                    <a:pt x="537922" y="207022"/>
                  </a:lnTo>
                  <a:lnTo>
                    <a:pt x="537972" y="207022"/>
                  </a:lnTo>
                  <a:lnTo>
                    <a:pt x="537972" y="204990"/>
                  </a:lnTo>
                  <a:lnTo>
                    <a:pt x="537972" y="208407"/>
                  </a:lnTo>
                  <a:lnTo>
                    <a:pt x="537972" y="207721"/>
                  </a:lnTo>
                  <a:lnTo>
                    <a:pt x="538023" y="207721"/>
                  </a:lnTo>
                  <a:lnTo>
                    <a:pt x="538023" y="206324"/>
                  </a:lnTo>
                  <a:lnTo>
                    <a:pt x="538023" y="208407"/>
                  </a:lnTo>
                  <a:lnTo>
                    <a:pt x="538023" y="207721"/>
                  </a:lnTo>
                  <a:lnTo>
                    <a:pt x="538125" y="207721"/>
                  </a:lnTo>
                  <a:lnTo>
                    <a:pt x="538125" y="207022"/>
                  </a:lnTo>
                  <a:lnTo>
                    <a:pt x="538125" y="208407"/>
                  </a:lnTo>
                  <a:lnTo>
                    <a:pt x="538125" y="207721"/>
                  </a:lnTo>
                  <a:lnTo>
                    <a:pt x="538163" y="207721"/>
                  </a:lnTo>
                  <a:lnTo>
                    <a:pt x="538163" y="208407"/>
                  </a:lnTo>
                  <a:lnTo>
                    <a:pt x="538163" y="207721"/>
                  </a:lnTo>
                  <a:lnTo>
                    <a:pt x="538163" y="209753"/>
                  </a:lnTo>
                  <a:lnTo>
                    <a:pt x="538163" y="208407"/>
                  </a:lnTo>
                  <a:lnTo>
                    <a:pt x="538214" y="208407"/>
                  </a:lnTo>
                  <a:lnTo>
                    <a:pt x="538214" y="209753"/>
                  </a:lnTo>
                  <a:lnTo>
                    <a:pt x="538214" y="208407"/>
                  </a:lnTo>
                  <a:lnTo>
                    <a:pt x="538265" y="208407"/>
                  </a:lnTo>
                  <a:lnTo>
                    <a:pt x="538265" y="209753"/>
                  </a:lnTo>
                  <a:lnTo>
                    <a:pt x="538265" y="207721"/>
                  </a:lnTo>
                  <a:lnTo>
                    <a:pt x="538366" y="207721"/>
                  </a:lnTo>
                  <a:lnTo>
                    <a:pt x="538366" y="206324"/>
                  </a:lnTo>
                  <a:lnTo>
                    <a:pt x="538417" y="206324"/>
                  </a:lnTo>
                  <a:lnTo>
                    <a:pt x="538417" y="207721"/>
                  </a:lnTo>
                  <a:lnTo>
                    <a:pt x="538417" y="206324"/>
                  </a:lnTo>
                  <a:lnTo>
                    <a:pt x="538468" y="204990"/>
                  </a:lnTo>
                  <a:lnTo>
                    <a:pt x="538468" y="209753"/>
                  </a:lnTo>
                  <a:lnTo>
                    <a:pt x="538468" y="207022"/>
                  </a:lnTo>
                  <a:lnTo>
                    <a:pt x="538569" y="207022"/>
                  </a:lnTo>
                  <a:lnTo>
                    <a:pt x="538569" y="208407"/>
                  </a:lnTo>
                  <a:lnTo>
                    <a:pt x="538569" y="207721"/>
                  </a:lnTo>
                  <a:lnTo>
                    <a:pt x="538569" y="208407"/>
                  </a:lnTo>
                  <a:lnTo>
                    <a:pt x="538569" y="207721"/>
                  </a:lnTo>
                  <a:lnTo>
                    <a:pt x="538569" y="208407"/>
                  </a:lnTo>
                  <a:lnTo>
                    <a:pt x="538569" y="207721"/>
                  </a:lnTo>
                  <a:lnTo>
                    <a:pt x="538620" y="207721"/>
                  </a:lnTo>
                  <a:lnTo>
                    <a:pt x="538620" y="208407"/>
                  </a:lnTo>
                  <a:lnTo>
                    <a:pt x="538620" y="207721"/>
                  </a:lnTo>
                  <a:lnTo>
                    <a:pt x="538620" y="208407"/>
                  </a:lnTo>
                  <a:lnTo>
                    <a:pt x="538671" y="208407"/>
                  </a:lnTo>
                  <a:lnTo>
                    <a:pt x="538671" y="209753"/>
                  </a:lnTo>
                  <a:lnTo>
                    <a:pt x="538671" y="208407"/>
                  </a:lnTo>
                  <a:lnTo>
                    <a:pt x="538709" y="208407"/>
                  </a:lnTo>
                  <a:lnTo>
                    <a:pt x="538709" y="209753"/>
                  </a:lnTo>
                  <a:lnTo>
                    <a:pt x="538709" y="208407"/>
                  </a:lnTo>
                  <a:lnTo>
                    <a:pt x="538709" y="209753"/>
                  </a:lnTo>
                  <a:lnTo>
                    <a:pt x="538709" y="208407"/>
                  </a:lnTo>
                  <a:lnTo>
                    <a:pt x="538709" y="209753"/>
                  </a:lnTo>
                  <a:lnTo>
                    <a:pt x="538811" y="208407"/>
                  </a:lnTo>
                  <a:lnTo>
                    <a:pt x="538862" y="207721"/>
                  </a:lnTo>
                  <a:lnTo>
                    <a:pt x="538862" y="206324"/>
                  </a:lnTo>
                  <a:lnTo>
                    <a:pt x="538862" y="207022"/>
                  </a:lnTo>
                  <a:lnTo>
                    <a:pt x="538862" y="206324"/>
                  </a:lnTo>
                  <a:lnTo>
                    <a:pt x="538862" y="207022"/>
                  </a:lnTo>
                  <a:lnTo>
                    <a:pt x="538862" y="206324"/>
                  </a:lnTo>
                  <a:lnTo>
                    <a:pt x="538912" y="207022"/>
                  </a:lnTo>
                  <a:lnTo>
                    <a:pt x="538912" y="208407"/>
                  </a:lnTo>
                  <a:lnTo>
                    <a:pt x="538912" y="206324"/>
                  </a:lnTo>
                  <a:lnTo>
                    <a:pt x="538912" y="208407"/>
                  </a:lnTo>
                  <a:lnTo>
                    <a:pt x="539014" y="208407"/>
                  </a:lnTo>
                  <a:lnTo>
                    <a:pt x="539014" y="210451"/>
                  </a:lnTo>
                  <a:lnTo>
                    <a:pt x="539014" y="207721"/>
                  </a:lnTo>
                  <a:lnTo>
                    <a:pt x="539014" y="208407"/>
                  </a:lnTo>
                  <a:lnTo>
                    <a:pt x="539065" y="209753"/>
                  </a:lnTo>
                  <a:lnTo>
                    <a:pt x="539065" y="208407"/>
                  </a:lnTo>
                  <a:lnTo>
                    <a:pt x="539065" y="209753"/>
                  </a:lnTo>
                  <a:lnTo>
                    <a:pt x="539116" y="209753"/>
                  </a:lnTo>
                  <a:lnTo>
                    <a:pt x="539116" y="208407"/>
                  </a:lnTo>
                  <a:lnTo>
                    <a:pt x="539116" y="209753"/>
                  </a:lnTo>
                  <a:lnTo>
                    <a:pt x="539166" y="209753"/>
                  </a:lnTo>
                  <a:lnTo>
                    <a:pt x="539166" y="208407"/>
                  </a:lnTo>
                  <a:lnTo>
                    <a:pt x="539166" y="209753"/>
                  </a:lnTo>
                  <a:lnTo>
                    <a:pt x="539166" y="208407"/>
                  </a:lnTo>
                  <a:lnTo>
                    <a:pt x="539255" y="208407"/>
                  </a:lnTo>
                  <a:lnTo>
                    <a:pt x="539255" y="209753"/>
                  </a:lnTo>
                  <a:lnTo>
                    <a:pt x="539255" y="208407"/>
                  </a:lnTo>
                  <a:lnTo>
                    <a:pt x="539306" y="208407"/>
                  </a:lnTo>
                  <a:lnTo>
                    <a:pt x="539306" y="207022"/>
                  </a:lnTo>
                  <a:lnTo>
                    <a:pt x="539306" y="207721"/>
                  </a:lnTo>
                  <a:lnTo>
                    <a:pt x="539306" y="207022"/>
                  </a:lnTo>
                  <a:lnTo>
                    <a:pt x="539306" y="207721"/>
                  </a:lnTo>
                  <a:lnTo>
                    <a:pt x="539306" y="207022"/>
                  </a:lnTo>
                  <a:lnTo>
                    <a:pt x="539357" y="207022"/>
                  </a:lnTo>
                  <a:lnTo>
                    <a:pt x="539357" y="206324"/>
                  </a:lnTo>
                  <a:lnTo>
                    <a:pt x="539357" y="207022"/>
                  </a:lnTo>
                  <a:lnTo>
                    <a:pt x="539357" y="204990"/>
                  </a:lnTo>
                  <a:lnTo>
                    <a:pt x="539357" y="207022"/>
                  </a:lnTo>
                  <a:lnTo>
                    <a:pt x="539408" y="207022"/>
                  </a:lnTo>
                  <a:lnTo>
                    <a:pt x="539408" y="207721"/>
                  </a:lnTo>
                  <a:lnTo>
                    <a:pt x="539408" y="204990"/>
                  </a:lnTo>
                  <a:lnTo>
                    <a:pt x="539408" y="208407"/>
                  </a:lnTo>
                  <a:lnTo>
                    <a:pt x="539509" y="208407"/>
                  </a:lnTo>
                  <a:lnTo>
                    <a:pt x="539509" y="207022"/>
                  </a:lnTo>
                  <a:lnTo>
                    <a:pt x="539509" y="209753"/>
                  </a:lnTo>
                  <a:lnTo>
                    <a:pt x="539560" y="209753"/>
                  </a:lnTo>
                  <a:lnTo>
                    <a:pt x="539560" y="207721"/>
                  </a:lnTo>
                  <a:lnTo>
                    <a:pt x="539560" y="208407"/>
                  </a:lnTo>
                  <a:lnTo>
                    <a:pt x="539560" y="207721"/>
                  </a:lnTo>
                  <a:lnTo>
                    <a:pt x="539560" y="209753"/>
                  </a:lnTo>
                  <a:lnTo>
                    <a:pt x="539560" y="208407"/>
                  </a:lnTo>
                  <a:lnTo>
                    <a:pt x="539611" y="208407"/>
                  </a:lnTo>
                  <a:lnTo>
                    <a:pt x="539611" y="209753"/>
                  </a:lnTo>
                  <a:lnTo>
                    <a:pt x="539611" y="208407"/>
                  </a:lnTo>
                  <a:lnTo>
                    <a:pt x="539712" y="208407"/>
                  </a:lnTo>
                  <a:lnTo>
                    <a:pt x="539712" y="209753"/>
                  </a:lnTo>
                  <a:lnTo>
                    <a:pt x="539712" y="208407"/>
                  </a:lnTo>
                  <a:lnTo>
                    <a:pt x="539712" y="209753"/>
                  </a:lnTo>
                  <a:lnTo>
                    <a:pt x="539751" y="209753"/>
                  </a:lnTo>
                  <a:lnTo>
                    <a:pt x="539751" y="207721"/>
                  </a:lnTo>
                  <a:lnTo>
                    <a:pt x="539751" y="208407"/>
                  </a:lnTo>
                  <a:lnTo>
                    <a:pt x="539801" y="208407"/>
                  </a:lnTo>
                  <a:lnTo>
                    <a:pt x="539801" y="207721"/>
                  </a:lnTo>
                  <a:lnTo>
                    <a:pt x="539801" y="208407"/>
                  </a:lnTo>
                  <a:lnTo>
                    <a:pt x="539801" y="207022"/>
                  </a:lnTo>
                  <a:lnTo>
                    <a:pt x="539852" y="207022"/>
                  </a:lnTo>
                  <a:lnTo>
                    <a:pt x="539852" y="204990"/>
                  </a:lnTo>
                  <a:lnTo>
                    <a:pt x="539852" y="207721"/>
                  </a:lnTo>
                  <a:lnTo>
                    <a:pt x="539954" y="207721"/>
                  </a:lnTo>
                  <a:lnTo>
                    <a:pt x="539954" y="206324"/>
                  </a:lnTo>
                  <a:lnTo>
                    <a:pt x="539954" y="209753"/>
                  </a:lnTo>
                  <a:lnTo>
                    <a:pt x="539954" y="207721"/>
                  </a:lnTo>
                  <a:lnTo>
                    <a:pt x="540005" y="207721"/>
                  </a:lnTo>
                  <a:lnTo>
                    <a:pt x="540005" y="207022"/>
                  </a:lnTo>
                  <a:lnTo>
                    <a:pt x="540005" y="208407"/>
                  </a:lnTo>
                  <a:lnTo>
                    <a:pt x="540005" y="207721"/>
                  </a:lnTo>
                  <a:lnTo>
                    <a:pt x="540005" y="208407"/>
                  </a:lnTo>
                  <a:lnTo>
                    <a:pt x="540005" y="207721"/>
                  </a:lnTo>
                  <a:lnTo>
                    <a:pt x="540005" y="208407"/>
                  </a:lnTo>
                  <a:lnTo>
                    <a:pt x="540055" y="208407"/>
                  </a:lnTo>
                  <a:lnTo>
                    <a:pt x="540055" y="207721"/>
                  </a:lnTo>
                  <a:lnTo>
                    <a:pt x="540055" y="209753"/>
                  </a:lnTo>
                  <a:lnTo>
                    <a:pt x="540055" y="208407"/>
                  </a:lnTo>
                  <a:lnTo>
                    <a:pt x="540055" y="209753"/>
                  </a:lnTo>
                  <a:lnTo>
                    <a:pt x="540055" y="208407"/>
                  </a:lnTo>
                  <a:lnTo>
                    <a:pt x="540055" y="209753"/>
                  </a:lnTo>
                  <a:lnTo>
                    <a:pt x="540157" y="209753"/>
                  </a:lnTo>
                  <a:lnTo>
                    <a:pt x="540157" y="208407"/>
                  </a:lnTo>
                  <a:lnTo>
                    <a:pt x="540157" y="209753"/>
                  </a:lnTo>
                  <a:lnTo>
                    <a:pt x="540157" y="208407"/>
                  </a:lnTo>
                  <a:lnTo>
                    <a:pt x="540157" y="209753"/>
                  </a:lnTo>
                  <a:lnTo>
                    <a:pt x="540208" y="209753"/>
                  </a:lnTo>
                  <a:lnTo>
                    <a:pt x="540208" y="208407"/>
                  </a:lnTo>
                  <a:lnTo>
                    <a:pt x="540258" y="208407"/>
                  </a:lnTo>
                  <a:lnTo>
                    <a:pt x="540258" y="209753"/>
                  </a:lnTo>
                  <a:lnTo>
                    <a:pt x="540258" y="208407"/>
                  </a:lnTo>
                  <a:lnTo>
                    <a:pt x="540297" y="208407"/>
                  </a:lnTo>
                  <a:lnTo>
                    <a:pt x="540297" y="207721"/>
                  </a:lnTo>
                  <a:lnTo>
                    <a:pt x="540297" y="208407"/>
                  </a:lnTo>
                  <a:lnTo>
                    <a:pt x="540297" y="206324"/>
                  </a:lnTo>
                  <a:lnTo>
                    <a:pt x="540398" y="206324"/>
                  </a:lnTo>
                  <a:lnTo>
                    <a:pt x="540398" y="204292"/>
                  </a:lnTo>
                  <a:lnTo>
                    <a:pt x="540398" y="207022"/>
                  </a:lnTo>
                  <a:lnTo>
                    <a:pt x="540449" y="206324"/>
                  </a:lnTo>
                  <a:lnTo>
                    <a:pt x="540449" y="204292"/>
                  </a:lnTo>
                  <a:lnTo>
                    <a:pt x="540449" y="207721"/>
                  </a:lnTo>
                  <a:lnTo>
                    <a:pt x="540449" y="207022"/>
                  </a:lnTo>
                  <a:lnTo>
                    <a:pt x="540449" y="207721"/>
                  </a:lnTo>
                  <a:lnTo>
                    <a:pt x="540500" y="207721"/>
                  </a:lnTo>
                  <a:lnTo>
                    <a:pt x="540500" y="206324"/>
                  </a:lnTo>
                  <a:lnTo>
                    <a:pt x="540500" y="208407"/>
                  </a:lnTo>
                  <a:lnTo>
                    <a:pt x="540500" y="207721"/>
                  </a:lnTo>
                  <a:lnTo>
                    <a:pt x="540500" y="208407"/>
                  </a:lnTo>
                  <a:lnTo>
                    <a:pt x="540601" y="208407"/>
                  </a:lnTo>
                  <a:lnTo>
                    <a:pt x="540601" y="207022"/>
                  </a:lnTo>
                  <a:lnTo>
                    <a:pt x="540601" y="208407"/>
                  </a:lnTo>
                  <a:lnTo>
                    <a:pt x="540652" y="207721"/>
                  </a:lnTo>
                  <a:lnTo>
                    <a:pt x="540652" y="209753"/>
                  </a:lnTo>
                  <a:lnTo>
                    <a:pt x="540652" y="208407"/>
                  </a:lnTo>
                  <a:lnTo>
                    <a:pt x="540703" y="208407"/>
                  </a:lnTo>
                  <a:lnTo>
                    <a:pt x="540703" y="209753"/>
                  </a:lnTo>
                  <a:lnTo>
                    <a:pt x="540754" y="209753"/>
                  </a:lnTo>
                  <a:lnTo>
                    <a:pt x="540754" y="208407"/>
                  </a:lnTo>
                  <a:lnTo>
                    <a:pt x="540754" y="209753"/>
                  </a:lnTo>
                  <a:lnTo>
                    <a:pt x="540754" y="208407"/>
                  </a:lnTo>
                  <a:lnTo>
                    <a:pt x="540754" y="209753"/>
                  </a:lnTo>
                  <a:lnTo>
                    <a:pt x="540754" y="207721"/>
                  </a:lnTo>
                  <a:lnTo>
                    <a:pt x="540843" y="207721"/>
                  </a:lnTo>
                  <a:lnTo>
                    <a:pt x="540843" y="208407"/>
                  </a:lnTo>
                  <a:lnTo>
                    <a:pt x="540843" y="207022"/>
                  </a:lnTo>
                  <a:lnTo>
                    <a:pt x="540893" y="207022"/>
                  </a:lnTo>
                  <a:lnTo>
                    <a:pt x="540893" y="204990"/>
                  </a:lnTo>
                  <a:lnTo>
                    <a:pt x="540893" y="207022"/>
                  </a:lnTo>
                  <a:lnTo>
                    <a:pt x="540893" y="206324"/>
                  </a:lnTo>
                  <a:lnTo>
                    <a:pt x="540944" y="204990"/>
                  </a:lnTo>
                  <a:lnTo>
                    <a:pt x="540944" y="208407"/>
                  </a:lnTo>
                  <a:lnTo>
                    <a:pt x="540944" y="206324"/>
                  </a:lnTo>
                  <a:lnTo>
                    <a:pt x="540995" y="206324"/>
                  </a:lnTo>
                  <a:lnTo>
                    <a:pt x="540995" y="207721"/>
                  </a:lnTo>
                  <a:lnTo>
                    <a:pt x="540995" y="206324"/>
                  </a:lnTo>
                  <a:lnTo>
                    <a:pt x="541097" y="207022"/>
                  </a:lnTo>
                  <a:lnTo>
                    <a:pt x="541097" y="207721"/>
                  </a:lnTo>
                  <a:lnTo>
                    <a:pt x="541097" y="207022"/>
                  </a:lnTo>
                  <a:lnTo>
                    <a:pt x="541147" y="207022"/>
                  </a:lnTo>
                  <a:lnTo>
                    <a:pt x="541147" y="207721"/>
                  </a:lnTo>
                  <a:lnTo>
                    <a:pt x="541147" y="207022"/>
                  </a:lnTo>
                  <a:lnTo>
                    <a:pt x="541147" y="207721"/>
                  </a:lnTo>
                  <a:lnTo>
                    <a:pt x="541198" y="208407"/>
                  </a:lnTo>
                  <a:lnTo>
                    <a:pt x="541198" y="207721"/>
                  </a:lnTo>
                  <a:lnTo>
                    <a:pt x="541198" y="208407"/>
                  </a:lnTo>
                  <a:lnTo>
                    <a:pt x="541198" y="207721"/>
                  </a:lnTo>
                  <a:lnTo>
                    <a:pt x="541300" y="207721"/>
                  </a:lnTo>
                  <a:lnTo>
                    <a:pt x="541300" y="208407"/>
                  </a:lnTo>
                  <a:lnTo>
                    <a:pt x="541300" y="207721"/>
                  </a:lnTo>
                  <a:lnTo>
                    <a:pt x="541300" y="208407"/>
                  </a:lnTo>
                  <a:lnTo>
                    <a:pt x="541300" y="207721"/>
                  </a:lnTo>
                  <a:lnTo>
                    <a:pt x="541338" y="207721"/>
                  </a:lnTo>
                  <a:lnTo>
                    <a:pt x="541338" y="208407"/>
                  </a:lnTo>
                  <a:lnTo>
                    <a:pt x="541338" y="204990"/>
                  </a:lnTo>
                  <a:lnTo>
                    <a:pt x="541338" y="207022"/>
                  </a:lnTo>
                  <a:lnTo>
                    <a:pt x="541389" y="207022"/>
                  </a:lnTo>
                  <a:lnTo>
                    <a:pt x="541389" y="207721"/>
                  </a:lnTo>
                  <a:lnTo>
                    <a:pt x="541389" y="206324"/>
                  </a:lnTo>
                  <a:lnTo>
                    <a:pt x="541389" y="207022"/>
                  </a:lnTo>
                  <a:lnTo>
                    <a:pt x="541440" y="207721"/>
                  </a:lnTo>
                  <a:lnTo>
                    <a:pt x="541440" y="209753"/>
                  </a:lnTo>
                  <a:lnTo>
                    <a:pt x="541440" y="207022"/>
                  </a:lnTo>
                  <a:lnTo>
                    <a:pt x="541440" y="207721"/>
                  </a:lnTo>
                  <a:lnTo>
                    <a:pt x="541541" y="208407"/>
                  </a:lnTo>
                  <a:lnTo>
                    <a:pt x="541541" y="209753"/>
                  </a:lnTo>
                  <a:lnTo>
                    <a:pt x="541541" y="207721"/>
                  </a:lnTo>
                  <a:lnTo>
                    <a:pt x="541541" y="208407"/>
                  </a:lnTo>
                  <a:lnTo>
                    <a:pt x="541592" y="208407"/>
                  </a:lnTo>
                  <a:lnTo>
                    <a:pt x="541592" y="209753"/>
                  </a:lnTo>
                  <a:lnTo>
                    <a:pt x="541592" y="207721"/>
                  </a:lnTo>
                  <a:lnTo>
                    <a:pt x="541592" y="208407"/>
                  </a:lnTo>
                  <a:lnTo>
                    <a:pt x="541643" y="208407"/>
                  </a:lnTo>
                  <a:lnTo>
                    <a:pt x="541643" y="209753"/>
                  </a:lnTo>
                  <a:lnTo>
                    <a:pt x="541643" y="208407"/>
                  </a:lnTo>
                  <a:lnTo>
                    <a:pt x="541643" y="209753"/>
                  </a:lnTo>
                  <a:lnTo>
                    <a:pt x="541744" y="209753"/>
                  </a:lnTo>
                  <a:lnTo>
                    <a:pt x="541744" y="207721"/>
                  </a:lnTo>
                  <a:lnTo>
                    <a:pt x="541795" y="207721"/>
                  </a:lnTo>
                  <a:lnTo>
                    <a:pt x="541795" y="208407"/>
                  </a:lnTo>
                  <a:lnTo>
                    <a:pt x="541795" y="207022"/>
                  </a:lnTo>
                  <a:lnTo>
                    <a:pt x="541846" y="207022"/>
                  </a:lnTo>
                  <a:lnTo>
                    <a:pt x="541846" y="206324"/>
                  </a:lnTo>
                  <a:lnTo>
                    <a:pt x="541846" y="207022"/>
                  </a:lnTo>
                  <a:lnTo>
                    <a:pt x="541846" y="206324"/>
                  </a:lnTo>
                  <a:lnTo>
                    <a:pt x="541846" y="207022"/>
                  </a:lnTo>
                  <a:lnTo>
                    <a:pt x="541884" y="207721"/>
                  </a:lnTo>
                  <a:lnTo>
                    <a:pt x="541884" y="206324"/>
                  </a:lnTo>
                  <a:lnTo>
                    <a:pt x="541884" y="209753"/>
                  </a:lnTo>
                  <a:lnTo>
                    <a:pt x="541986" y="209753"/>
                  </a:lnTo>
                  <a:lnTo>
                    <a:pt x="541986" y="207721"/>
                  </a:lnTo>
                  <a:lnTo>
                    <a:pt x="541986" y="208407"/>
                  </a:lnTo>
                  <a:lnTo>
                    <a:pt x="541986" y="207721"/>
                  </a:lnTo>
                  <a:lnTo>
                    <a:pt x="541986" y="209753"/>
                  </a:lnTo>
                  <a:lnTo>
                    <a:pt x="541986" y="208407"/>
                  </a:lnTo>
                  <a:lnTo>
                    <a:pt x="542087" y="208407"/>
                  </a:lnTo>
                  <a:lnTo>
                    <a:pt x="542087" y="209753"/>
                  </a:lnTo>
                  <a:lnTo>
                    <a:pt x="542087" y="207721"/>
                  </a:lnTo>
                  <a:lnTo>
                    <a:pt x="542087" y="208407"/>
                  </a:lnTo>
                  <a:lnTo>
                    <a:pt x="542189" y="208407"/>
                  </a:lnTo>
                  <a:lnTo>
                    <a:pt x="542189" y="209753"/>
                  </a:lnTo>
                  <a:lnTo>
                    <a:pt x="542189" y="208407"/>
                  </a:lnTo>
                  <a:lnTo>
                    <a:pt x="542189" y="209753"/>
                  </a:lnTo>
                  <a:lnTo>
                    <a:pt x="542240" y="209753"/>
                  </a:lnTo>
                  <a:lnTo>
                    <a:pt x="542240" y="207721"/>
                  </a:lnTo>
                  <a:lnTo>
                    <a:pt x="542291" y="207721"/>
                  </a:lnTo>
                  <a:lnTo>
                    <a:pt x="542291" y="207022"/>
                  </a:lnTo>
                  <a:lnTo>
                    <a:pt x="542291" y="207721"/>
                  </a:lnTo>
                  <a:lnTo>
                    <a:pt x="542291" y="207022"/>
                  </a:lnTo>
                  <a:lnTo>
                    <a:pt x="542291" y="207721"/>
                  </a:lnTo>
                  <a:lnTo>
                    <a:pt x="542291" y="206324"/>
                  </a:lnTo>
                  <a:lnTo>
                    <a:pt x="542291" y="207022"/>
                  </a:lnTo>
                  <a:lnTo>
                    <a:pt x="542341" y="207022"/>
                  </a:lnTo>
                  <a:lnTo>
                    <a:pt x="542341" y="204292"/>
                  </a:lnTo>
                  <a:lnTo>
                    <a:pt x="542341" y="204990"/>
                  </a:lnTo>
                  <a:lnTo>
                    <a:pt x="542341" y="204292"/>
                  </a:lnTo>
                  <a:lnTo>
                    <a:pt x="542341" y="204990"/>
                  </a:lnTo>
                  <a:lnTo>
                    <a:pt x="542430" y="206324"/>
                  </a:lnTo>
                  <a:lnTo>
                    <a:pt x="542430" y="204990"/>
                  </a:lnTo>
                  <a:lnTo>
                    <a:pt x="542430" y="206324"/>
                  </a:lnTo>
                  <a:lnTo>
                    <a:pt x="542430" y="204292"/>
                  </a:lnTo>
                  <a:lnTo>
                    <a:pt x="542430" y="207721"/>
                  </a:lnTo>
                  <a:lnTo>
                    <a:pt x="542481" y="207721"/>
                  </a:lnTo>
                  <a:lnTo>
                    <a:pt x="542481" y="207022"/>
                  </a:lnTo>
                  <a:lnTo>
                    <a:pt x="542481" y="207721"/>
                  </a:lnTo>
                  <a:lnTo>
                    <a:pt x="542532" y="207721"/>
                  </a:lnTo>
                  <a:lnTo>
                    <a:pt x="542532" y="208407"/>
                  </a:lnTo>
                  <a:lnTo>
                    <a:pt x="542583" y="207721"/>
                  </a:lnTo>
                  <a:lnTo>
                    <a:pt x="542583" y="209753"/>
                  </a:lnTo>
                  <a:lnTo>
                    <a:pt x="542583" y="208407"/>
                  </a:lnTo>
                  <a:lnTo>
                    <a:pt x="542684" y="208407"/>
                  </a:lnTo>
                  <a:lnTo>
                    <a:pt x="542684" y="209753"/>
                  </a:lnTo>
                  <a:lnTo>
                    <a:pt x="542684" y="208407"/>
                  </a:lnTo>
                  <a:lnTo>
                    <a:pt x="542684" y="209753"/>
                  </a:lnTo>
                  <a:lnTo>
                    <a:pt x="542684" y="208407"/>
                  </a:lnTo>
                  <a:lnTo>
                    <a:pt x="542684" y="209753"/>
                  </a:lnTo>
                  <a:lnTo>
                    <a:pt x="542735" y="208407"/>
                  </a:lnTo>
                  <a:lnTo>
                    <a:pt x="542735" y="209753"/>
                  </a:lnTo>
                  <a:lnTo>
                    <a:pt x="542735" y="208407"/>
                  </a:lnTo>
                  <a:lnTo>
                    <a:pt x="542735" y="209753"/>
                  </a:lnTo>
                  <a:lnTo>
                    <a:pt x="542735" y="208407"/>
                  </a:lnTo>
                  <a:lnTo>
                    <a:pt x="542786" y="207721"/>
                  </a:lnTo>
                  <a:lnTo>
                    <a:pt x="542786" y="206324"/>
                  </a:lnTo>
                  <a:lnTo>
                    <a:pt x="542786" y="207022"/>
                  </a:lnTo>
                  <a:lnTo>
                    <a:pt x="542887" y="206324"/>
                  </a:lnTo>
                  <a:lnTo>
                    <a:pt x="542887" y="207022"/>
                  </a:lnTo>
                  <a:lnTo>
                    <a:pt x="542887" y="204990"/>
                  </a:lnTo>
                  <a:lnTo>
                    <a:pt x="542887" y="207022"/>
                  </a:lnTo>
                  <a:lnTo>
                    <a:pt x="542926" y="207022"/>
                  </a:lnTo>
                  <a:lnTo>
                    <a:pt x="542926" y="204990"/>
                  </a:lnTo>
                  <a:lnTo>
                    <a:pt x="542926" y="208407"/>
                  </a:lnTo>
                  <a:lnTo>
                    <a:pt x="542926" y="207721"/>
                  </a:lnTo>
                  <a:lnTo>
                    <a:pt x="542976" y="207721"/>
                  </a:lnTo>
                  <a:lnTo>
                    <a:pt x="542976" y="207022"/>
                  </a:lnTo>
                  <a:lnTo>
                    <a:pt x="542976" y="207721"/>
                  </a:lnTo>
                  <a:lnTo>
                    <a:pt x="543027" y="207721"/>
                  </a:lnTo>
                  <a:lnTo>
                    <a:pt x="543027" y="207022"/>
                  </a:lnTo>
                  <a:lnTo>
                    <a:pt x="543027" y="207721"/>
                  </a:lnTo>
                  <a:lnTo>
                    <a:pt x="543027" y="207022"/>
                  </a:lnTo>
                  <a:lnTo>
                    <a:pt x="543027" y="207721"/>
                  </a:lnTo>
                  <a:lnTo>
                    <a:pt x="543129" y="207721"/>
                  </a:lnTo>
                  <a:lnTo>
                    <a:pt x="543129" y="208407"/>
                  </a:lnTo>
                  <a:lnTo>
                    <a:pt x="543180" y="208407"/>
                  </a:lnTo>
                  <a:lnTo>
                    <a:pt x="543180" y="209753"/>
                  </a:lnTo>
                  <a:lnTo>
                    <a:pt x="543180" y="208407"/>
                  </a:lnTo>
                  <a:lnTo>
                    <a:pt x="543230" y="208407"/>
                  </a:lnTo>
                  <a:lnTo>
                    <a:pt x="543230" y="207721"/>
                  </a:lnTo>
                  <a:lnTo>
                    <a:pt x="543230" y="208407"/>
                  </a:lnTo>
                  <a:lnTo>
                    <a:pt x="543230" y="207721"/>
                  </a:lnTo>
                  <a:lnTo>
                    <a:pt x="543332" y="207721"/>
                  </a:lnTo>
                  <a:lnTo>
                    <a:pt x="543332" y="208407"/>
                  </a:lnTo>
                  <a:lnTo>
                    <a:pt x="543332" y="206324"/>
                  </a:lnTo>
                  <a:lnTo>
                    <a:pt x="543383" y="206324"/>
                  </a:lnTo>
                  <a:lnTo>
                    <a:pt x="543383" y="204990"/>
                  </a:lnTo>
                  <a:lnTo>
                    <a:pt x="543383" y="206324"/>
                  </a:lnTo>
                  <a:lnTo>
                    <a:pt x="543383" y="204990"/>
                  </a:lnTo>
                  <a:lnTo>
                    <a:pt x="543433" y="204990"/>
                  </a:lnTo>
                  <a:lnTo>
                    <a:pt x="543433" y="206324"/>
                  </a:lnTo>
                  <a:lnTo>
                    <a:pt x="543433" y="204990"/>
                  </a:lnTo>
                  <a:lnTo>
                    <a:pt x="543433" y="207721"/>
                  </a:lnTo>
                  <a:lnTo>
                    <a:pt x="543433" y="207022"/>
                  </a:lnTo>
                  <a:lnTo>
                    <a:pt x="543472" y="206324"/>
                  </a:lnTo>
                  <a:lnTo>
                    <a:pt x="543472" y="207022"/>
                  </a:lnTo>
                  <a:lnTo>
                    <a:pt x="543472" y="206324"/>
                  </a:lnTo>
                  <a:lnTo>
                    <a:pt x="543472" y="207721"/>
                  </a:lnTo>
                  <a:lnTo>
                    <a:pt x="543472" y="207022"/>
                  </a:lnTo>
                  <a:lnTo>
                    <a:pt x="543573" y="207022"/>
                  </a:lnTo>
                  <a:lnTo>
                    <a:pt x="543573" y="208407"/>
                  </a:lnTo>
                  <a:lnTo>
                    <a:pt x="543573" y="207721"/>
                  </a:lnTo>
                  <a:lnTo>
                    <a:pt x="543624" y="207721"/>
                  </a:lnTo>
                  <a:lnTo>
                    <a:pt x="543624" y="208407"/>
                  </a:lnTo>
                  <a:lnTo>
                    <a:pt x="543624" y="207721"/>
                  </a:lnTo>
                  <a:lnTo>
                    <a:pt x="543624" y="208407"/>
                  </a:lnTo>
                  <a:lnTo>
                    <a:pt x="543624" y="207721"/>
                  </a:lnTo>
                  <a:lnTo>
                    <a:pt x="543624" y="208407"/>
                  </a:lnTo>
                  <a:lnTo>
                    <a:pt x="543675" y="208407"/>
                  </a:lnTo>
                  <a:lnTo>
                    <a:pt x="543675" y="207721"/>
                  </a:lnTo>
                  <a:lnTo>
                    <a:pt x="543675" y="209753"/>
                  </a:lnTo>
                  <a:lnTo>
                    <a:pt x="543675" y="208407"/>
                  </a:lnTo>
                  <a:lnTo>
                    <a:pt x="543675" y="209753"/>
                  </a:lnTo>
                  <a:lnTo>
                    <a:pt x="543776" y="209753"/>
                  </a:lnTo>
                  <a:lnTo>
                    <a:pt x="543776" y="207721"/>
                  </a:lnTo>
                  <a:lnTo>
                    <a:pt x="543776" y="208407"/>
                  </a:lnTo>
                  <a:lnTo>
                    <a:pt x="543776" y="207721"/>
                  </a:lnTo>
                  <a:lnTo>
                    <a:pt x="543827" y="207721"/>
                  </a:lnTo>
                  <a:lnTo>
                    <a:pt x="543827" y="208407"/>
                  </a:lnTo>
                  <a:lnTo>
                    <a:pt x="543827" y="206324"/>
                  </a:lnTo>
                  <a:lnTo>
                    <a:pt x="543878" y="206324"/>
                  </a:lnTo>
                  <a:lnTo>
                    <a:pt x="543878" y="207022"/>
                  </a:lnTo>
                  <a:lnTo>
                    <a:pt x="543878" y="206324"/>
                  </a:lnTo>
                  <a:lnTo>
                    <a:pt x="543929" y="206324"/>
                  </a:lnTo>
                  <a:lnTo>
                    <a:pt x="543929" y="207721"/>
                  </a:lnTo>
                  <a:lnTo>
                    <a:pt x="543929" y="206324"/>
                  </a:lnTo>
                  <a:lnTo>
                    <a:pt x="543929" y="207022"/>
                  </a:lnTo>
                  <a:lnTo>
                    <a:pt x="544018" y="207721"/>
                  </a:lnTo>
                  <a:lnTo>
                    <a:pt x="544018" y="207022"/>
                  </a:lnTo>
                  <a:lnTo>
                    <a:pt x="544018" y="207721"/>
                  </a:lnTo>
                  <a:lnTo>
                    <a:pt x="544018" y="206324"/>
                  </a:lnTo>
                  <a:lnTo>
                    <a:pt x="544018" y="207022"/>
                  </a:lnTo>
                  <a:lnTo>
                    <a:pt x="544068" y="207022"/>
                  </a:lnTo>
                  <a:lnTo>
                    <a:pt x="544068" y="207721"/>
                  </a:lnTo>
                  <a:lnTo>
                    <a:pt x="544119" y="207721"/>
                  </a:lnTo>
                  <a:lnTo>
                    <a:pt x="544119" y="207022"/>
                  </a:lnTo>
                  <a:lnTo>
                    <a:pt x="544119" y="208407"/>
                  </a:lnTo>
                  <a:lnTo>
                    <a:pt x="544119" y="207721"/>
                  </a:lnTo>
                  <a:lnTo>
                    <a:pt x="544170" y="207721"/>
                  </a:lnTo>
                  <a:lnTo>
                    <a:pt x="544170" y="208407"/>
                  </a:lnTo>
                  <a:lnTo>
                    <a:pt x="544170" y="207721"/>
                  </a:lnTo>
                  <a:lnTo>
                    <a:pt x="544170" y="208407"/>
                  </a:lnTo>
                  <a:lnTo>
                    <a:pt x="544272" y="207721"/>
                  </a:lnTo>
                  <a:lnTo>
                    <a:pt x="544272" y="207022"/>
                  </a:lnTo>
                  <a:lnTo>
                    <a:pt x="544272" y="208407"/>
                  </a:lnTo>
                  <a:lnTo>
                    <a:pt x="544272" y="207022"/>
                  </a:lnTo>
                  <a:lnTo>
                    <a:pt x="544322" y="207721"/>
                  </a:lnTo>
                  <a:lnTo>
                    <a:pt x="544322" y="204990"/>
                  </a:lnTo>
                  <a:lnTo>
                    <a:pt x="544322" y="206324"/>
                  </a:lnTo>
                  <a:lnTo>
                    <a:pt x="544373" y="207022"/>
                  </a:lnTo>
                  <a:lnTo>
                    <a:pt x="544373" y="207721"/>
                  </a:lnTo>
                  <a:lnTo>
                    <a:pt x="544373" y="204990"/>
                  </a:lnTo>
                  <a:lnTo>
                    <a:pt x="544373" y="208407"/>
                  </a:lnTo>
                  <a:lnTo>
                    <a:pt x="544475" y="208407"/>
                  </a:lnTo>
                  <a:lnTo>
                    <a:pt x="544475" y="207022"/>
                  </a:lnTo>
                  <a:lnTo>
                    <a:pt x="544475" y="208407"/>
                  </a:lnTo>
                  <a:lnTo>
                    <a:pt x="544513" y="208407"/>
                  </a:lnTo>
                  <a:lnTo>
                    <a:pt x="544513" y="207721"/>
                  </a:lnTo>
                  <a:lnTo>
                    <a:pt x="544513" y="208407"/>
                  </a:lnTo>
                  <a:lnTo>
                    <a:pt x="544564" y="208407"/>
                  </a:lnTo>
                  <a:lnTo>
                    <a:pt x="544564" y="207721"/>
                  </a:lnTo>
                  <a:lnTo>
                    <a:pt x="544564" y="209753"/>
                  </a:lnTo>
                  <a:lnTo>
                    <a:pt x="544615" y="209753"/>
                  </a:lnTo>
                  <a:lnTo>
                    <a:pt x="544615" y="208407"/>
                  </a:lnTo>
                  <a:lnTo>
                    <a:pt x="544615" y="209753"/>
                  </a:lnTo>
                  <a:lnTo>
                    <a:pt x="544615" y="208407"/>
                  </a:lnTo>
                  <a:lnTo>
                    <a:pt x="544615" y="209753"/>
                  </a:lnTo>
                  <a:lnTo>
                    <a:pt x="544615" y="208407"/>
                  </a:lnTo>
                  <a:lnTo>
                    <a:pt x="544716" y="208407"/>
                  </a:lnTo>
                  <a:lnTo>
                    <a:pt x="544716" y="209753"/>
                  </a:lnTo>
                  <a:lnTo>
                    <a:pt x="544716" y="208407"/>
                  </a:lnTo>
                  <a:lnTo>
                    <a:pt x="544716" y="209753"/>
                  </a:lnTo>
                  <a:lnTo>
                    <a:pt x="544716" y="208407"/>
                  </a:lnTo>
                  <a:lnTo>
                    <a:pt x="544716" y="209753"/>
                  </a:lnTo>
                  <a:lnTo>
                    <a:pt x="544716" y="208407"/>
                  </a:lnTo>
                  <a:lnTo>
                    <a:pt x="544767" y="208407"/>
                  </a:lnTo>
                  <a:lnTo>
                    <a:pt x="544767" y="207022"/>
                  </a:lnTo>
                  <a:lnTo>
                    <a:pt x="544767" y="207721"/>
                  </a:lnTo>
                  <a:lnTo>
                    <a:pt x="544767" y="207022"/>
                  </a:lnTo>
                  <a:lnTo>
                    <a:pt x="544818" y="207022"/>
                  </a:lnTo>
                  <a:lnTo>
                    <a:pt x="544818" y="206324"/>
                  </a:lnTo>
                  <a:lnTo>
                    <a:pt x="544818" y="209753"/>
                  </a:lnTo>
                  <a:lnTo>
                    <a:pt x="544818" y="208407"/>
                  </a:lnTo>
                  <a:lnTo>
                    <a:pt x="544919" y="207721"/>
                  </a:lnTo>
                  <a:lnTo>
                    <a:pt x="544919" y="207022"/>
                  </a:lnTo>
                  <a:lnTo>
                    <a:pt x="544919" y="210451"/>
                  </a:lnTo>
                  <a:lnTo>
                    <a:pt x="544919" y="208407"/>
                  </a:lnTo>
                  <a:lnTo>
                    <a:pt x="544970" y="208407"/>
                  </a:lnTo>
                  <a:lnTo>
                    <a:pt x="544970" y="209753"/>
                  </a:lnTo>
                  <a:lnTo>
                    <a:pt x="544970" y="208407"/>
                  </a:lnTo>
                  <a:lnTo>
                    <a:pt x="545021" y="208407"/>
                  </a:lnTo>
                  <a:lnTo>
                    <a:pt x="545021" y="209753"/>
                  </a:lnTo>
                  <a:lnTo>
                    <a:pt x="545021" y="208407"/>
                  </a:lnTo>
                  <a:lnTo>
                    <a:pt x="545059" y="209753"/>
                  </a:lnTo>
                  <a:lnTo>
                    <a:pt x="545059" y="210451"/>
                  </a:lnTo>
                  <a:lnTo>
                    <a:pt x="545059" y="209753"/>
                  </a:lnTo>
                  <a:lnTo>
                    <a:pt x="545059" y="210451"/>
                  </a:lnTo>
                  <a:lnTo>
                    <a:pt x="545059" y="208407"/>
                  </a:lnTo>
                  <a:lnTo>
                    <a:pt x="545161" y="209753"/>
                  </a:lnTo>
                  <a:lnTo>
                    <a:pt x="545161" y="208407"/>
                  </a:lnTo>
                  <a:lnTo>
                    <a:pt x="545161" y="209753"/>
                  </a:lnTo>
                  <a:lnTo>
                    <a:pt x="545161" y="208407"/>
                  </a:lnTo>
                  <a:lnTo>
                    <a:pt x="545161" y="209753"/>
                  </a:lnTo>
                  <a:lnTo>
                    <a:pt x="545161" y="208407"/>
                  </a:lnTo>
                  <a:lnTo>
                    <a:pt x="545161" y="209753"/>
                  </a:lnTo>
                  <a:lnTo>
                    <a:pt x="545161" y="208407"/>
                  </a:lnTo>
                  <a:lnTo>
                    <a:pt x="545212" y="208407"/>
                  </a:lnTo>
                  <a:lnTo>
                    <a:pt x="545212" y="209753"/>
                  </a:lnTo>
                  <a:lnTo>
                    <a:pt x="545212" y="207721"/>
                  </a:lnTo>
                  <a:lnTo>
                    <a:pt x="545262" y="207721"/>
                  </a:lnTo>
                  <a:lnTo>
                    <a:pt x="545262" y="207022"/>
                  </a:lnTo>
                  <a:lnTo>
                    <a:pt x="545262" y="207721"/>
                  </a:lnTo>
                  <a:lnTo>
                    <a:pt x="545262" y="206324"/>
                  </a:lnTo>
                  <a:lnTo>
                    <a:pt x="545262" y="207022"/>
                  </a:lnTo>
                  <a:lnTo>
                    <a:pt x="545262" y="206324"/>
                  </a:lnTo>
                  <a:lnTo>
                    <a:pt x="545364" y="204990"/>
                  </a:lnTo>
                  <a:lnTo>
                    <a:pt x="545364" y="208407"/>
                  </a:lnTo>
                  <a:lnTo>
                    <a:pt x="545364" y="206324"/>
                  </a:lnTo>
                  <a:lnTo>
                    <a:pt x="545415" y="206324"/>
                  </a:lnTo>
                  <a:lnTo>
                    <a:pt x="545415" y="210451"/>
                  </a:lnTo>
                  <a:lnTo>
                    <a:pt x="545415" y="207721"/>
                  </a:lnTo>
                  <a:lnTo>
                    <a:pt x="545466" y="207721"/>
                  </a:lnTo>
                  <a:lnTo>
                    <a:pt x="545466" y="209753"/>
                  </a:lnTo>
                  <a:lnTo>
                    <a:pt x="545466" y="207721"/>
                  </a:lnTo>
                  <a:lnTo>
                    <a:pt x="545466" y="209753"/>
                  </a:lnTo>
                  <a:lnTo>
                    <a:pt x="545516" y="209753"/>
                  </a:lnTo>
                  <a:lnTo>
                    <a:pt x="545605" y="210451"/>
                  </a:lnTo>
                  <a:lnTo>
                    <a:pt x="545605" y="209753"/>
                  </a:lnTo>
                  <a:lnTo>
                    <a:pt x="545605" y="210451"/>
                  </a:lnTo>
                  <a:lnTo>
                    <a:pt x="545605" y="209753"/>
                  </a:lnTo>
                  <a:lnTo>
                    <a:pt x="545605" y="210451"/>
                  </a:lnTo>
                  <a:lnTo>
                    <a:pt x="545605" y="209753"/>
                  </a:lnTo>
                  <a:lnTo>
                    <a:pt x="545656" y="209753"/>
                  </a:lnTo>
                  <a:lnTo>
                    <a:pt x="545656" y="210451"/>
                  </a:lnTo>
                  <a:lnTo>
                    <a:pt x="545656" y="208407"/>
                  </a:lnTo>
                  <a:lnTo>
                    <a:pt x="545656" y="209753"/>
                  </a:lnTo>
                  <a:lnTo>
                    <a:pt x="545707" y="209753"/>
                  </a:lnTo>
                  <a:lnTo>
                    <a:pt x="545707" y="207721"/>
                  </a:lnTo>
                  <a:lnTo>
                    <a:pt x="545758" y="207721"/>
                  </a:lnTo>
                  <a:lnTo>
                    <a:pt x="545758" y="206324"/>
                  </a:lnTo>
                  <a:lnTo>
                    <a:pt x="545758" y="207022"/>
                  </a:lnTo>
                  <a:lnTo>
                    <a:pt x="545758" y="204990"/>
                  </a:lnTo>
                  <a:lnTo>
                    <a:pt x="545758" y="207721"/>
                  </a:lnTo>
                  <a:lnTo>
                    <a:pt x="545859" y="207721"/>
                  </a:lnTo>
                  <a:lnTo>
                    <a:pt x="545859" y="206324"/>
                  </a:lnTo>
                  <a:lnTo>
                    <a:pt x="545859" y="209753"/>
                  </a:lnTo>
                  <a:lnTo>
                    <a:pt x="545910" y="209753"/>
                  </a:lnTo>
                  <a:lnTo>
                    <a:pt x="545910" y="207022"/>
                  </a:lnTo>
                  <a:lnTo>
                    <a:pt x="545910" y="209753"/>
                  </a:lnTo>
                  <a:lnTo>
                    <a:pt x="545961" y="209753"/>
                  </a:lnTo>
                  <a:lnTo>
                    <a:pt x="545961" y="207721"/>
                  </a:lnTo>
                  <a:lnTo>
                    <a:pt x="545961" y="209753"/>
                  </a:lnTo>
                  <a:lnTo>
                    <a:pt x="546062" y="209753"/>
                  </a:lnTo>
                  <a:lnTo>
                    <a:pt x="546062" y="208407"/>
                  </a:lnTo>
                  <a:lnTo>
                    <a:pt x="546062" y="209753"/>
                  </a:lnTo>
                  <a:lnTo>
                    <a:pt x="546062" y="208407"/>
                  </a:lnTo>
                  <a:lnTo>
                    <a:pt x="546062" y="209753"/>
                  </a:lnTo>
                  <a:lnTo>
                    <a:pt x="546062" y="208407"/>
                  </a:lnTo>
                  <a:lnTo>
                    <a:pt x="546062" y="209753"/>
                  </a:lnTo>
                  <a:lnTo>
                    <a:pt x="546101" y="209753"/>
                  </a:lnTo>
                  <a:lnTo>
                    <a:pt x="546101" y="208407"/>
                  </a:lnTo>
                  <a:lnTo>
                    <a:pt x="546101" y="209753"/>
                  </a:lnTo>
                  <a:lnTo>
                    <a:pt x="546151" y="209753"/>
                  </a:lnTo>
                  <a:lnTo>
                    <a:pt x="546151" y="208407"/>
                  </a:lnTo>
                  <a:lnTo>
                    <a:pt x="546151" y="209753"/>
                  </a:lnTo>
                  <a:lnTo>
                    <a:pt x="546151" y="208407"/>
                  </a:lnTo>
                  <a:lnTo>
                    <a:pt x="546151" y="209753"/>
                  </a:lnTo>
                  <a:lnTo>
                    <a:pt x="546151" y="208407"/>
                  </a:lnTo>
                  <a:lnTo>
                    <a:pt x="546151" y="209753"/>
                  </a:lnTo>
                  <a:lnTo>
                    <a:pt x="546151" y="208407"/>
                  </a:lnTo>
                  <a:lnTo>
                    <a:pt x="546151" y="209753"/>
                  </a:lnTo>
                  <a:lnTo>
                    <a:pt x="546202" y="208407"/>
                  </a:lnTo>
                  <a:lnTo>
                    <a:pt x="546202" y="207022"/>
                  </a:lnTo>
                  <a:lnTo>
                    <a:pt x="546304" y="207022"/>
                  </a:lnTo>
                  <a:lnTo>
                    <a:pt x="546304" y="204292"/>
                  </a:lnTo>
                  <a:lnTo>
                    <a:pt x="546304" y="206324"/>
                  </a:lnTo>
                  <a:lnTo>
                    <a:pt x="546355" y="206324"/>
                  </a:lnTo>
                  <a:lnTo>
                    <a:pt x="546355" y="207022"/>
                  </a:lnTo>
                  <a:lnTo>
                    <a:pt x="546355" y="204292"/>
                  </a:lnTo>
                  <a:lnTo>
                    <a:pt x="546355" y="207022"/>
                  </a:lnTo>
                  <a:lnTo>
                    <a:pt x="546405" y="207721"/>
                  </a:lnTo>
                  <a:lnTo>
                    <a:pt x="546405" y="206324"/>
                  </a:lnTo>
                  <a:lnTo>
                    <a:pt x="546405" y="207721"/>
                  </a:lnTo>
                  <a:lnTo>
                    <a:pt x="546558" y="207721"/>
                  </a:lnTo>
                  <a:lnTo>
                    <a:pt x="546558" y="209753"/>
                  </a:lnTo>
                  <a:lnTo>
                    <a:pt x="546608" y="208407"/>
                  </a:lnTo>
                  <a:lnTo>
                    <a:pt x="546608" y="209753"/>
                  </a:lnTo>
                  <a:lnTo>
                    <a:pt x="546608" y="208407"/>
                  </a:lnTo>
                  <a:lnTo>
                    <a:pt x="546608" y="210451"/>
                  </a:lnTo>
                  <a:lnTo>
                    <a:pt x="546608" y="208407"/>
                  </a:lnTo>
                  <a:lnTo>
                    <a:pt x="546608" y="209753"/>
                  </a:lnTo>
                  <a:lnTo>
                    <a:pt x="546647" y="209753"/>
                  </a:lnTo>
                  <a:lnTo>
                    <a:pt x="546647" y="208407"/>
                  </a:lnTo>
                  <a:lnTo>
                    <a:pt x="546647" y="209753"/>
                  </a:lnTo>
                  <a:lnTo>
                    <a:pt x="546647" y="208407"/>
                  </a:lnTo>
                  <a:lnTo>
                    <a:pt x="546748" y="208407"/>
                  </a:lnTo>
                  <a:lnTo>
                    <a:pt x="546748" y="209753"/>
                  </a:lnTo>
                  <a:lnTo>
                    <a:pt x="546748" y="207721"/>
                  </a:lnTo>
                  <a:lnTo>
                    <a:pt x="546748" y="208407"/>
                  </a:lnTo>
                  <a:lnTo>
                    <a:pt x="546748" y="207022"/>
                  </a:lnTo>
                  <a:lnTo>
                    <a:pt x="546799" y="207022"/>
                  </a:lnTo>
                  <a:lnTo>
                    <a:pt x="546799" y="204990"/>
                  </a:lnTo>
                  <a:lnTo>
                    <a:pt x="546799" y="207721"/>
                  </a:lnTo>
                  <a:lnTo>
                    <a:pt x="546799" y="207022"/>
                  </a:lnTo>
                  <a:lnTo>
                    <a:pt x="546850" y="207022"/>
                  </a:lnTo>
                  <a:lnTo>
                    <a:pt x="546850" y="204990"/>
                  </a:lnTo>
                  <a:lnTo>
                    <a:pt x="546850" y="208407"/>
                  </a:lnTo>
                  <a:lnTo>
                    <a:pt x="546850" y="207721"/>
                  </a:lnTo>
                  <a:lnTo>
                    <a:pt x="546951" y="207721"/>
                  </a:lnTo>
                  <a:lnTo>
                    <a:pt x="546951" y="206324"/>
                  </a:lnTo>
                  <a:lnTo>
                    <a:pt x="546951" y="207721"/>
                  </a:lnTo>
                  <a:lnTo>
                    <a:pt x="546951" y="207022"/>
                  </a:lnTo>
                  <a:lnTo>
                    <a:pt x="547002" y="207022"/>
                  </a:lnTo>
                  <a:lnTo>
                    <a:pt x="547002" y="206324"/>
                  </a:lnTo>
                  <a:lnTo>
                    <a:pt x="547002" y="207721"/>
                  </a:lnTo>
                  <a:lnTo>
                    <a:pt x="547002" y="207022"/>
                  </a:lnTo>
                  <a:lnTo>
                    <a:pt x="547053" y="207022"/>
                  </a:lnTo>
                  <a:lnTo>
                    <a:pt x="547053" y="207721"/>
                  </a:lnTo>
                  <a:lnTo>
                    <a:pt x="547053" y="207022"/>
                  </a:lnTo>
                  <a:lnTo>
                    <a:pt x="547053" y="207721"/>
                  </a:lnTo>
                  <a:lnTo>
                    <a:pt x="547104" y="207721"/>
                  </a:lnTo>
                  <a:lnTo>
                    <a:pt x="547104" y="207022"/>
                  </a:lnTo>
                  <a:lnTo>
                    <a:pt x="547104" y="208407"/>
                  </a:lnTo>
                  <a:lnTo>
                    <a:pt x="547104" y="207022"/>
                  </a:lnTo>
                  <a:lnTo>
                    <a:pt x="547104" y="207721"/>
                  </a:lnTo>
                  <a:lnTo>
                    <a:pt x="547193" y="207721"/>
                  </a:lnTo>
                  <a:lnTo>
                    <a:pt x="547193" y="208407"/>
                  </a:lnTo>
                  <a:lnTo>
                    <a:pt x="547193" y="207721"/>
                  </a:lnTo>
                  <a:lnTo>
                    <a:pt x="547193" y="208407"/>
                  </a:lnTo>
                  <a:lnTo>
                    <a:pt x="547193" y="207721"/>
                  </a:lnTo>
                  <a:lnTo>
                    <a:pt x="547193" y="208407"/>
                  </a:lnTo>
                  <a:lnTo>
                    <a:pt x="547193" y="207721"/>
                  </a:lnTo>
                  <a:lnTo>
                    <a:pt x="547243" y="207721"/>
                  </a:lnTo>
                  <a:lnTo>
                    <a:pt x="547243" y="207022"/>
                  </a:lnTo>
                  <a:lnTo>
                    <a:pt x="547243" y="207721"/>
                  </a:lnTo>
                  <a:lnTo>
                    <a:pt x="547243" y="207022"/>
                  </a:lnTo>
                  <a:lnTo>
                    <a:pt x="547243" y="207721"/>
                  </a:lnTo>
                  <a:lnTo>
                    <a:pt x="547243" y="207022"/>
                  </a:lnTo>
                  <a:lnTo>
                    <a:pt x="547243" y="207721"/>
                  </a:lnTo>
                  <a:lnTo>
                    <a:pt x="547243" y="206324"/>
                  </a:lnTo>
                  <a:lnTo>
                    <a:pt x="547294" y="206324"/>
                  </a:lnTo>
                  <a:lnTo>
                    <a:pt x="547294" y="204990"/>
                  </a:lnTo>
                  <a:lnTo>
                    <a:pt x="547294" y="207721"/>
                  </a:lnTo>
                  <a:lnTo>
                    <a:pt x="547294" y="206324"/>
                  </a:lnTo>
                  <a:lnTo>
                    <a:pt x="547345" y="206324"/>
                  </a:lnTo>
                  <a:lnTo>
                    <a:pt x="547345" y="209753"/>
                  </a:lnTo>
                  <a:lnTo>
                    <a:pt x="547345" y="207022"/>
                  </a:lnTo>
                  <a:lnTo>
                    <a:pt x="547447" y="207022"/>
                  </a:lnTo>
                  <a:lnTo>
                    <a:pt x="547447" y="209753"/>
                  </a:lnTo>
                  <a:lnTo>
                    <a:pt x="547447" y="207721"/>
                  </a:lnTo>
                  <a:lnTo>
                    <a:pt x="547447" y="208407"/>
                  </a:lnTo>
                  <a:lnTo>
                    <a:pt x="547497" y="208407"/>
                  </a:lnTo>
                  <a:lnTo>
                    <a:pt x="547497" y="207721"/>
                  </a:lnTo>
                  <a:lnTo>
                    <a:pt x="547497" y="208407"/>
                  </a:lnTo>
                  <a:lnTo>
                    <a:pt x="547497" y="207721"/>
                  </a:lnTo>
                  <a:lnTo>
                    <a:pt x="547497" y="208407"/>
                  </a:lnTo>
                  <a:lnTo>
                    <a:pt x="547497" y="207721"/>
                  </a:lnTo>
                  <a:lnTo>
                    <a:pt x="547497" y="208407"/>
                  </a:lnTo>
                  <a:lnTo>
                    <a:pt x="547548" y="208407"/>
                  </a:lnTo>
                  <a:lnTo>
                    <a:pt x="547548" y="207721"/>
                  </a:lnTo>
                  <a:lnTo>
                    <a:pt x="547548" y="208407"/>
                  </a:lnTo>
                  <a:lnTo>
                    <a:pt x="547650" y="208407"/>
                  </a:lnTo>
                  <a:lnTo>
                    <a:pt x="547650" y="207721"/>
                  </a:lnTo>
                  <a:lnTo>
                    <a:pt x="547650" y="208407"/>
                  </a:lnTo>
                  <a:lnTo>
                    <a:pt x="547688" y="208407"/>
                  </a:lnTo>
                  <a:lnTo>
                    <a:pt x="547688" y="207721"/>
                  </a:lnTo>
                  <a:lnTo>
                    <a:pt x="547688" y="208407"/>
                  </a:lnTo>
                  <a:lnTo>
                    <a:pt x="547688" y="207721"/>
                  </a:lnTo>
                  <a:lnTo>
                    <a:pt x="547688" y="208407"/>
                  </a:lnTo>
                  <a:lnTo>
                    <a:pt x="547688" y="207721"/>
                  </a:lnTo>
                  <a:lnTo>
                    <a:pt x="547739" y="207721"/>
                  </a:lnTo>
                  <a:lnTo>
                    <a:pt x="547739" y="206324"/>
                  </a:lnTo>
                  <a:lnTo>
                    <a:pt x="547739" y="207022"/>
                  </a:lnTo>
                  <a:lnTo>
                    <a:pt x="547739" y="206324"/>
                  </a:lnTo>
                  <a:lnTo>
                    <a:pt x="547739" y="207022"/>
                  </a:lnTo>
                  <a:lnTo>
                    <a:pt x="547739" y="204990"/>
                  </a:lnTo>
                  <a:lnTo>
                    <a:pt x="547739" y="206324"/>
                  </a:lnTo>
                  <a:lnTo>
                    <a:pt x="547790" y="206324"/>
                  </a:lnTo>
                  <a:lnTo>
                    <a:pt x="547790" y="207721"/>
                  </a:lnTo>
                  <a:lnTo>
                    <a:pt x="547790" y="206324"/>
                  </a:lnTo>
                  <a:lnTo>
                    <a:pt x="547790" y="208407"/>
                  </a:lnTo>
                  <a:lnTo>
                    <a:pt x="547891" y="209753"/>
                  </a:lnTo>
                  <a:lnTo>
                    <a:pt x="547891" y="207022"/>
                  </a:lnTo>
                  <a:lnTo>
                    <a:pt x="547891" y="208407"/>
                  </a:lnTo>
                  <a:lnTo>
                    <a:pt x="547942" y="209753"/>
                  </a:lnTo>
                  <a:lnTo>
                    <a:pt x="547942" y="207721"/>
                  </a:lnTo>
                  <a:lnTo>
                    <a:pt x="547942" y="209753"/>
                  </a:lnTo>
                  <a:lnTo>
                    <a:pt x="547993" y="209753"/>
                  </a:lnTo>
                  <a:lnTo>
                    <a:pt x="547993" y="208407"/>
                  </a:lnTo>
                  <a:lnTo>
                    <a:pt x="547993" y="209753"/>
                  </a:lnTo>
                  <a:lnTo>
                    <a:pt x="548094" y="208407"/>
                  </a:lnTo>
                  <a:lnTo>
                    <a:pt x="548094" y="207721"/>
                  </a:lnTo>
                  <a:lnTo>
                    <a:pt x="548094" y="208407"/>
                  </a:lnTo>
                  <a:lnTo>
                    <a:pt x="548094" y="207721"/>
                  </a:lnTo>
                  <a:lnTo>
                    <a:pt x="548094" y="208407"/>
                  </a:lnTo>
                  <a:lnTo>
                    <a:pt x="548145" y="208407"/>
                  </a:lnTo>
                  <a:lnTo>
                    <a:pt x="548145" y="207721"/>
                  </a:lnTo>
                  <a:lnTo>
                    <a:pt x="548145" y="208407"/>
                  </a:lnTo>
                  <a:lnTo>
                    <a:pt x="548145" y="207721"/>
                  </a:lnTo>
                  <a:lnTo>
                    <a:pt x="548196" y="207022"/>
                  </a:lnTo>
                  <a:lnTo>
                    <a:pt x="548196" y="207721"/>
                  </a:lnTo>
                  <a:lnTo>
                    <a:pt x="548196" y="206324"/>
                  </a:lnTo>
                  <a:lnTo>
                    <a:pt x="548234" y="206324"/>
                  </a:lnTo>
                  <a:lnTo>
                    <a:pt x="548234" y="204292"/>
                  </a:lnTo>
                  <a:lnTo>
                    <a:pt x="548234" y="204990"/>
                  </a:lnTo>
                  <a:lnTo>
                    <a:pt x="548336" y="204990"/>
                  </a:lnTo>
                  <a:lnTo>
                    <a:pt x="548336" y="206324"/>
                  </a:lnTo>
                  <a:lnTo>
                    <a:pt x="548336" y="204292"/>
                  </a:lnTo>
                  <a:lnTo>
                    <a:pt x="548336" y="207721"/>
                  </a:lnTo>
                  <a:lnTo>
                    <a:pt x="548387" y="207721"/>
                  </a:lnTo>
                  <a:lnTo>
                    <a:pt x="548387" y="207022"/>
                  </a:lnTo>
                  <a:lnTo>
                    <a:pt x="548387" y="207721"/>
                  </a:lnTo>
                  <a:lnTo>
                    <a:pt x="548437" y="207721"/>
                  </a:lnTo>
                  <a:lnTo>
                    <a:pt x="548437" y="208407"/>
                  </a:lnTo>
                  <a:lnTo>
                    <a:pt x="548437" y="207022"/>
                  </a:lnTo>
                  <a:lnTo>
                    <a:pt x="548437" y="208407"/>
                  </a:lnTo>
                  <a:lnTo>
                    <a:pt x="548437" y="207721"/>
                  </a:lnTo>
                  <a:lnTo>
                    <a:pt x="548437" y="208407"/>
                  </a:lnTo>
                  <a:lnTo>
                    <a:pt x="548437" y="207721"/>
                  </a:lnTo>
                  <a:lnTo>
                    <a:pt x="548539" y="208407"/>
                  </a:lnTo>
                  <a:lnTo>
                    <a:pt x="548539" y="207721"/>
                  </a:lnTo>
                  <a:lnTo>
                    <a:pt x="548539" y="208407"/>
                  </a:lnTo>
                  <a:lnTo>
                    <a:pt x="548590" y="208407"/>
                  </a:lnTo>
                  <a:lnTo>
                    <a:pt x="548590" y="209753"/>
                  </a:lnTo>
                  <a:lnTo>
                    <a:pt x="548590" y="208407"/>
                  </a:lnTo>
                  <a:lnTo>
                    <a:pt x="548590" y="209753"/>
                  </a:lnTo>
                  <a:lnTo>
                    <a:pt x="548590" y="208407"/>
                  </a:lnTo>
                  <a:lnTo>
                    <a:pt x="548590" y="209753"/>
                  </a:lnTo>
                  <a:lnTo>
                    <a:pt x="548641" y="208407"/>
                  </a:lnTo>
                  <a:lnTo>
                    <a:pt x="548641" y="209753"/>
                  </a:lnTo>
                  <a:lnTo>
                    <a:pt x="548641" y="207721"/>
                  </a:lnTo>
                  <a:lnTo>
                    <a:pt x="548641" y="208407"/>
                  </a:lnTo>
                  <a:lnTo>
                    <a:pt x="548691" y="207721"/>
                  </a:lnTo>
                  <a:lnTo>
                    <a:pt x="548691" y="208407"/>
                  </a:lnTo>
                  <a:lnTo>
                    <a:pt x="548691" y="206324"/>
                  </a:lnTo>
                  <a:lnTo>
                    <a:pt x="548780" y="206324"/>
                  </a:lnTo>
                  <a:lnTo>
                    <a:pt x="548780" y="203594"/>
                  </a:lnTo>
                  <a:lnTo>
                    <a:pt x="548780" y="206324"/>
                  </a:lnTo>
                  <a:lnTo>
                    <a:pt x="548831" y="206324"/>
                  </a:lnTo>
                  <a:lnTo>
                    <a:pt x="548831" y="204292"/>
                  </a:lnTo>
                  <a:lnTo>
                    <a:pt x="548831" y="207022"/>
                  </a:lnTo>
                  <a:lnTo>
                    <a:pt x="548882" y="207022"/>
                  </a:lnTo>
                  <a:lnTo>
                    <a:pt x="548882" y="206324"/>
                  </a:lnTo>
                  <a:lnTo>
                    <a:pt x="548882" y="207721"/>
                  </a:lnTo>
                  <a:lnTo>
                    <a:pt x="548882" y="207022"/>
                  </a:lnTo>
                  <a:lnTo>
                    <a:pt x="548933" y="207022"/>
                  </a:lnTo>
                  <a:lnTo>
                    <a:pt x="548933" y="206324"/>
                  </a:lnTo>
                  <a:lnTo>
                    <a:pt x="548933" y="207721"/>
                  </a:lnTo>
                  <a:lnTo>
                    <a:pt x="549034" y="207721"/>
                  </a:lnTo>
                  <a:lnTo>
                    <a:pt x="549034" y="207022"/>
                  </a:lnTo>
                  <a:lnTo>
                    <a:pt x="549034" y="208407"/>
                  </a:lnTo>
                  <a:lnTo>
                    <a:pt x="549034" y="207022"/>
                  </a:lnTo>
                  <a:lnTo>
                    <a:pt x="549034" y="207721"/>
                  </a:lnTo>
                  <a:lnTo>
                    <a:pt x="549085" y="207721"/>
                  </a:lnTo>
                  <a:lnTo>
                    <a:pt x="549085" y="208407"/>
                  </a:lnTo>
                  <a:lnTo>
                    <a:pt x="549085" y="207721"/>
                  </a:lnTo>
                  <a:lnTo>
                    <a:pt x="549085" y="208407"/>
                  </a:lnTo>
                  <a:lnTo>
                    <a:pt x="549085" y="207721"/>
                  </a:lnTo>
                  <a:lnTo>
                    <a:pt x="549085" y="208407"/>
                  </a:lnTo>
                  <a:lnTo>
                    <a:pt x="549136" y="208407"/>
                  </a:lnTo>
                  <a:lnTo>
                    <a:pt x="549136" y="207721"/>
                  </a:lnTo>
                  <a:lnTo>
                    <a:pt x="549237" y="207022"/>
                  </a:lnTo>
                  <a:lnTo>
                    <a:pt x="549237" y="204990"/>
                  </a:lnTo>
                  <a:lnTo>
                    <a:pt x="549276" y="206324"/>
                  </a:lnTo>
                  <a:lnTo>
                    <a:pt x="549276" y="204292"/>
                  </a:lnTo>
                  <a:lnTo>
                    <a:pt x="549276" y="206324"/>
                  </a:lnTo>
                  <a:lnTo>
                    <a:pt x="549326" y="206324"/>
                  </a:lnTo>
                  <a:lnTo>
                    <a:pt x="549326" y="203594"/>
                  </a:lnTo>
                  <a:lnTo>
                    <a:pt x="549326" y="207721"/>
                  </a:lnTo>
                  <a:lnTo>
                    <a:pt x="549326" y="207022"/>
                  </a:lnTo>
                  <a:lnTo>
                    <a:pt x="549377" y="207022"/>
                  </a:lnTo>
                  <a:lnTo>
                    <a:pt x="549377" y="206324"/>
                  </a:lnTo>
                  <a:lnTo>
                    <a:pt x="549377" y="207022"/>
                  </a:lnTo>
                  <a:lnTo>
                    <a:pt x="549377" y="204292"/>
                  </a:lnTo>
                  <a:lnTo>
                    <a:pt x="549377" y="207022"/>
                  </a:lnTo>
                  <a:lnTo>
                    <a:pt x="549377" y="206324"/>
                  </a:lnTo>
                  <a:lnTo>
                    <a:pt x="549479" y="206324"/>
                  </a:lnTo>
                  <a:lnTo>
                    <a:pt x="549479" y="204990"/>
                  </a:lnTo>
                  <a:lnTo>
                    <a:pt x="549479" y="207022"/>
                  </a:lnTo>
                  <a:lnTo>
                    <a:pt x="549530" y="207022"/>
                  </a:lnTo>
                  <a:lnTo>
                    <a:pt x="549530" y="207721"/>
                  </a:lnTo>
                  <a:lnTo>
                    <a:pt x="549530" y="206324"/>
                  </a:lnTo>
                  <a:lnTo>
                    <a:pt x="549530" y="207721"/>
                  </a:lnTo>
                  <a:lnTo>
                    <a:pt x="549580" y="207721"/>
                  </a:lnTo>
                  <a:lnTo>
                    <a:pt x="549580" y="207022"/>
                  </a:lnTo>
                  <a:lnTo>
                    <a:pt x="549580" y="208407"/>
                  </a:lnTo>
                  <a:lnTo>
                    <a:pt x="549580" y="207721"/>
                  </a:lnTo>
                  <a:lnTo>
                    <a:pt x="549580" y="208407"/>
                  </a:lnTo>
                  <a:lnTo>
                    <a:pt x="549682" y="208407"/>
                  </a:lnTo>
                  <a:lnTo>
                    <a:pt x="549682" y="207721"/>
                  </a:lnTo>
                  <a:lnTo>
                    <a:pt x="549682" y="208407"/>
                  </a:lnTo>
                  <a:lnTo>
                    <a:pt x="549682" y="207721"/>
                  </a:lnTo>
                  <a:lnTo>
                    <a:pt x="549733" y="207022"/>
                  </a:lnTo>
                  <a:lnTo>
                    <a:pt x="549733" y="207721"/>
                  </a:lnTo>
                  <a:lnTo>
                    <a:pt x="549733" y="206324"/>
                  </a:lnTo>
                  <a:lnTo>
                    <a:pt x="549733" y="207022"/>
                  </a:lnTo>
                  <a:lnTo>
                    <a:pt x="549733" y="206324"/>
                  </a:lnTo>
                  <a:lnTo>
                    <a:pt x="549783" y="204990"/>
                  </a:lnTo>
                  <a:lnTo>
                    <a:pt x="549783" y="204292"/>
                  </a:lnTo>
                  <a:lnTo>
                    <a:pt x="549783" y="204990"/>
                  </a:lnTo>
                  <a:lnTo>
                    <a:pt x="549783" y="204292"/>
                  </a:lnTo>
                  <a:lnTo>
                    <a:pt x="549783" y="204990"/>
                  </a:lnTo>
                  <a:lnTo>
                    <a:pt x="549783" y="204292"/>
                  </a:lnTo>
                  <a:lnTo>
                    <a:pt x="549822" y="204292"/>
                  </a:lnTo>
                  <a:lnTo>
                    <a:pt x="549822" y="206324"/>
                  </a:lnTo>
                  <a:lnTo>
                    <a:pt x="549822" y="204990"/>
                  </a:lnTo>
                  <a:lnTo>
                    <a:pt x="549923" y="204990"/>
                  </a:lnTo>
                  <a:lnTo>
                    <a:pt x="549923" y="206324"/>
                  </a:lnTo>
                  <a:lnTo>
                    <a:pt x="549974" y="206324"/>
                  </a:lnTo>
                  <a:lnTo>
                    <a:pt x="549974" y="204990"/>
                  </a:lnTo>
                  <a:lnTo>
                    <a:pt x="549974" y="207022"/>
                  </a:lnTo>
                  <a:lnTo>
                    <a:pt x="549974" y="206324"/>
                  </a:lnTo>
                  <a:lnTo>
                    <a:pt x="549974" y="207022"/>
                  </a:lnTo>
                  <a:lnTo>
                    <a:pt x="549974" y="204990"/>
                  </a:lnTo>
                  <a:lnTo>
                    <a:pt x="550025" y="206324"/>
                  </a:lnTo>
                  <a:lnTo>
                    <a:pt x="550025" y="207022"/>
                  </a:lnTo>
                  <a:lnTo>
                    <a:pt x="550025" y="206324"/>
                  </a:lnTo>
                  <a:lnTo>
                    <a:pt x="550025" y="207022"/>
                  </a:lnTo>
                  <a:lnTo>
                    <a:pt x="550025" y="206324"/>
                  </a:lnTo>
                  <a:lnTo>
                    <a:pt x="550126" y="207022"/>
                  </a:lnTo>
                  <a:lnTo>
                    <a:pt x="550126" y="207721"/>
                  </a:lnTo>
                  <a:lnTo>
                    <a:pt x="550126" y="207022"/>
                  </a:lnTo>
                  <a:lnTo>
                    <a:pt x="550177" y="207022"/>
                  </a:lnTo>
                  <a:lnTo>
                    <a:pt x="550177" y="207721"/>
                  </a:lnTo>
                  <a:lnTo>
                    <a:pt x="550177" y="207022"/>
                  </a:lnTo>
                  <a:lnTo>
                    <a:pt x="550228" y="207022"/>
                  </a:lnTo>
                  <a:lnTo>
                    <a:pt x="550228" y="204990"/>
                  </a:lnTo>
                  <a:lnTo>
                    <a:pt x="550279" y="204990"/>
                  </a:lnTo>
                  <a:lnTo>
                    <a:pt x="550279" y="204292"/>
                  </a:lnTo>
                  <a:lnTo>
                    <a:pt x="550279" y="206324"/>
                  </a:lnTo>
                  <a:lnTo>
                    <a:pt x="550279" y="204990"/>
                  </a:lnTo>
                  <a:lnTo>
                    <a:pt x="550368" y="204292"/>
                  </a:lnTo>
                  <a:lnTo>
                    <a:pt x="550368" y="207721"/>
                  </a:lnTo>
                  <a:lnTo>
                    <a:pt x="550368" y="206324"/>
                  </a:lnTo>
                  <a:lnTo>
                    <a:pt x="550418" y="206324"/>
                  </a:lnTo>
                  <a:lnTo>
                    <a:pt x="550418" y="207721"/>
                  </a:lnTo>
                  <a:lnTo>
                    <a:pt x="550418" y="207022"/>
                  </a:lnTo>
                  <a:lnTo>
                    <a:pt x="550469" y="207022"/>
                  </a:lnTo>
                  <a:lnTo>
                    <a:pt x="550469" y="206324"/>
                  </a:lnTo>
                  <a:lnTo>
                    <a:pt x="550469" y="207022"/>
                  </a:lnTo>
                  <a:lnTo>
                    <a:pt x="550520" y="207022"/>
                  </a:lnTo>
                  <a:lnTo>
                    <a:pt x="550520" y="207721"/>
                  </a:lnTo>
                  <a:lnTo>
                    <a:pt x="550520" y="207022"/>
                  </a:lnTo>
                  <a:lnTo>
                    <a:pt x="550520" y="207721"/>
                  </a:lnTo>
                  <a:lnTo>
                    <a:pt x="550520" y="207022"/>
                  </a:lnTo>
                  <a:lnTo>
                    <a:pt x="550520" y="207721"/>
                  </a:lnTo>
                  <a:lnTo>
                    <a:pt x="550622" y="207721"/>
                  </a:lnTo>
                  <a:lnTo>
                    <a:pt x="550622" y="207022"/>
                  </a:lnTo>
                  <a:lnTo>
                    <a:pt x="550622" y="208407"/>
                  </a:lnTo>
                  <a:lnTo>
                    <a:pt x="550622" y="207721"/>
                  </a:lnTo>
                  <a:lnTo>
                    <a:pt x="550622" y="208407"/>
                  </a:lnTo>
                  <a:lnTo>
                    <a:pt x="550622" y="207721"/>
                  </a:lnTo>
                  <a:lnTo>
                    <a:pt x="550672" y="207721"/>
                  </a:lnTo>
                  <a:lnTo>
                    <a:pt x="550672" y="208407"/>
                  </a:lnTo>
                  <a:lnTo>
                    <a:pt x="550672" y="207022"/>
                  </a:lnTo>
                  <a:lnTo>
                    <a:pt x="550672" y="207721"/>
                  </a:lnTo>
                  <a:lnTo>
                    <a:pt x="550672" y="207022"/>
                  </a:lnTo>
                  <a:lnTo>
                    <a:pt x="550723" y="207022"/>
                  </a:lnTo>
                  <a:lnTo>
                    <a:pt x="550723" y="206324"/>
                  </a:lnTo>
                  <a:lnTo>
                    <a:pt x="550825" y="204990"/>
                  </a:lnTo>
                  <a:lnTo>
                    <a:pt x="550825" y="207022"/>
                  </a:lnTo>
                  <a:lnTo>
                    <a:pt x="550825" y="204990"/>
                  </a:lnTo>
                  <a:lnTo>
                    <a:pt x="550825" y="207022"/>
                  </a:lnTo>
                  <a:lnTo>
                    <a:pt x="550863" y="207721"/>
                  </a:lnTo>
                  <a:lnTo>
                    <a:pt x="550863" y="208407"/>
                  </a:lnTo>
                  <a:lnTo>
                    <a:pt x="550863" y="207022"/>
                  </a:lnTo>
                  <a:lnTo>
                    <a:pt x="550863" y="207721"/>
                  </a:lnTo>
                  <a:lnTo>
                    <a:pt x="550914" y="207721"/>
                  </a:lnTo>
                  <a:lnTo>
                    <a:pt x="550914" y="208407"/>
                  </a:lnTo>
                  <a:lnTo>
                    <a:pt x="550914" y="207721"/>
                  </a:lnTo>
                  <a:lnTo>
                    <a:pt x="550965" y="207721"/>
                  </a:lnTo>
                  <a:lnTo>
                    <a:pt x="550965" y="208407"/>
                  </a:lnTo>
                  <a:lnTo>
                    <a:pt x="550965" y="207721"/>
                  </a:lnTo>
                  <a:lnTo>
                    <a:pt x="550965" y="208407"/>
                  </a:lnTo>
                  <a:lnTo>
                    <a:pt x="550965" y="207721"/>
                  </a:lnTo>
                  <a:lnTo>
                    <a:pt x="550965" y="208407"/>
                  </a:lnTo>
                  <a:lnTo>
                    <a:pt x="551066" y="207721"/>
                  </a:lnTo>
                  <a:lnTo>
                    <a:pt x="551066" y="208407"/>
                  </a:lnTo>
                  <a:lnTo>
                    <a:pt x="551066" y="207721"/>
                  </a:lnTo>
                  <a:lnTo>
                    <a:pt x="551117" y="207721"/>
                  </a:lnTo>
                  <a:lnTo>
                    <a:pt x="551117" y="208407"/>
                  </a:lnTo>
                  <a:lnTo>
                    <a:pt x="551117" y="207022"/>
                  </a:lnTo>
                  <a:lnTo>
                    <a:pt x="551117" y="207721"/>
                  </a:lnTo>
                  <a:lnTo>
                    <a:pt x="551117" y="207022"/>
                  </a:lnTo>
                  <a:lnTo>
                    <a:pt x="551168" y="207022"/>
                  </a:lnTo>
                  <a:lnTo>
                    <a:pt x="551168" y="206324"/>
                  </a:lnTo>
                  <a:lnTo>
                    <a:pt x="551269" y="206324"/>
                  </a:lnTo>
                  <a:lnTo>
                    <a:pt x="551269" y="204292"/>
                  </a:lnTo>
                  <a:lnTo>
                    <a:pt x="551269" y="204990"/>
                  </a:lnTo>
                  <a:lnTo>
                    <a:pt x="551320" y="204990"/>
                  </a:lnTo>
                  <a:lnTo>
                    <a:pt x="551320" y="207022"/>
                  </a:lnTo>
                  <a:lnTo>
                    <a:pt x="551320" y="204292"/>
                  </a:lnTo>
                  <a:lnTo>
                    <a:pt x="551320" y="207721"/>
                  </a:lnTo>
                  <a:lnTo>
                    <a:pt x="551371" y="208407"/>
                  </a:lnTo>
                  <a:lnTo>
                    <a:pt x="551371" y="206324"/>
                  </a:lnTo>
                  <a:lnTo>
                    <a:pt x="551371" y="207022"/>
                  </a:lnTo>
                  <a:lnTo>
                    <a:pt x="551371" y="206324"/>
                  </a:lnTo>
                  <a:lnTo>
                    <a:pt x="551371" y="207721"/>
                  </a:lnTo>
                  <a:lnTo>
                    <a:pt x="551409" y="207721"/>
                  </a:lnTo>
                  <a:lnTo>
                    <a:pt x="551409" y="208407"/>
                  </a:lnTo>
                  <a:lnTo>
                    <a:pt x="551409" y="207022"/>
                  </a:lnTo>
                  <a:lnTo>
                    <a:pt x="551409" y="207721"/>
                  </a:lnTo>
                  <a:lnTo>
                    <a:pt x="551409" y="207022"/>
                  </a:lnTo>
                  <a:lnTo>
                    <a:pt x="551409" y="207721"/>
                  </a:lnTo>
                  <a:lnTo>
                    <a:pt x="551409" y="207022"/>
                  </a:lnTo>
                  <a:lnTo>
                    <a:pt x="551409" y="207721"/>
                  </a:lnTo>
                  <a:lnTo>
                    <a:pt x="551511" y="207721"/>
                  </a:lnTo>
                  <a:lnTo>
                    <a:pt x="551511" y="207022"/>
                  </a:lnTo>
                  <a:lnTo>
                    <a:pt x="551511" y="208407"/>
                  </a:lnTo>
                  <a:lnTo>
                    <a:pt x="551511" y="207721"/>
                  </a:lnTo>
                  <a:lnTo>
                    <a:pt x="551511" y="208407"/>
                  </a:lnTo>
                  <a:lnTo>
                    <a:pt x="551562" y="207721"/>
                  </a:lnTo>
                  <a:lnTo>
                    <a:pt x="551562" y="208407"/>
                  </a:lnTo>
                  <a:lnTo>
                    <a:pt x="551562" y="207721"/>
                  </a:lnTo>
                  <a:lnTo>
                    <a:pt x="551562" y="208407"/>
                  </a:lnTo>
                  <a:lnTo>
                    <a:pt x="551612" y="208407"/>
                  </a:lnTo>
                  <a:lnTo>
                    <a:pt x="551612" y="207721"/>
                  </a:lnTo>
                  <a:lnTo>
                    <a:pt x="551714" y="207721"/>
                  </a:lnTo>
                  <a:lnTo>
                    <a:pt x="551714" y="206324"/>
                  </a:lnTo>
                  <a:lnTo>
                    <a:pt x="551765" y="206324"/>
                  </a:lnTo>
                  <a:lnTo>
                    <a:pt x="551765" y="204990"/>
                  </a:lnTo>
                  <a:lnTo>
                    <a:pt x="551765" y="207022"/>
                  </a:lnTo>
                  <a:lnTo>
                    <a:pt x="551765" y="206324"/>
                  </a:lnTo>
                  <a:lnTo>
                    <a:pt x="551816" y="206324"/>
                  </a:lnTo>
                  <a:lnTo>
                    <a:pt x="551816" y="204990"/>
                  </a:lnTo>
                  <a:lnTo>
                    <a:pt x="551816" y="207721"/>
                  </a:lnTo>
                  <a:lnTo>
                    <a:pt x="551816" y="207022"/>
                  </a:lnTo>
                  <a:lnTo>
                    <a:pt x="551816" y="207721"/>
                  </a:lnTo>
                  <a:lnTo>
                    <a:pt x="551816" y="207022"/>
                  </a:lnTo>
                  <a:lnTo>
                    <a:pt x="551866" y="207022"/>
                  </a:lnTo>
                  <a:lnTo>
                    <a:pt x="551866" y="206324"/>
                  </a:lnTo>
                  <a:lnTo>
                    <a:pt x="551866" y="207721"/>
                  </a:lnTo>
                  <a:lnTo>
                    <a:pt x="551866" y="207022"/>
                  </a:lnTo>
                  <a:lnTo>
                    <a:pt x="551866" y="207721"/>
                  </a:lnTo>
                  <a:lnTo>
                    <a:pt x="551955" y="207022"/>
                  </a:lnTo>
                  <a:lnTo>
                    <a:pt x="551955" y="207721"/>
                  </a:lnTo>
                  <a:lnTo>
                    <a:pt x="552006" y="207721"/>
                  </a:lnTo>
                  <a:lnTo>
                    <a:pt x="552006" y="208407"/>
                  </a:lnTo>
                  <a:lnTo>
                    <a:pt x="552006" y="207721"/>
                  </a:lnTo>
                  <a:lnTo>
                    <a:pt x="552006" y="208407"/>
                  </a:lnTo>
                  <a:lnTo>
                    <a:pt x="552006" y="207721"/>
                  </a:lnTo>
                  <a:lnTo>
                    <a:pt x="552006" y="208407"/>
                  </a:lnTo>
                  <a:lnTo>
                    <a:pt x="552006" y="207721"/>
                  </a:lnTo>
                  <a:lnTo>
                    <a:pt x="552006" y="208407"/>
                  </a:lnTo>
                  <a:lnTo>
                    <a:pt x="552057" y="208407"/>
                  </a:lnTo>
                  <a:lnTo>
                    <a:pt x="552057" y="207721"/>
                  </a:lnTo>
                  <a:lnTo>
                    <a:pt x="552057" y="208407"/>
                  </a:lnTo>
                  <a:lnTo>
                    <a:pt x="552108" y="208407"/>
                  </a:lnTo>
                  <a:lnTo>
                    <a:pt x="552108" y="207721"/>
                  </a:lnTo>
                  <a:lnTo>
                    <a:pt x="552108" y="208407"/>
                  </a:lnTo>
                  <a:lnTo>
                    <a:pt x="552108" y="207022"/>
                  </a:lnTo>
                  <a:lnTo>
                    <a:pt x="552209" y="207022"/>
                  </a:lnTo>
                  <a:lnTo>
                    <a:pt x="552209" y="204990"/>
                  </a:lnTo>
                  <a:lnTo>
                    <a:pt x="552260" y="204990"/>
                  </a:lnTo>
                  <a:lnTo>
                    <a:pt x="552260" y="204292"/>
                  </a:lnTo>
                  <a:lnTo>
                    <a:pt x="552260" y="204990"/>
                  </a:lnTo>
                  <a:lnTo>
                    <a:pt x="552260" y="204292"/>
                  </a:lnTo>
                  <a:lnTo>
                    <a:pt x="552260" y="204990"/>
                  </a:lnTo>
                  <a:lnTo>
                    <a:pt x="552311" y="204990"/>
                  </a:lnTo>
                  <a:lnTo>
                    <a:pt x="552311" y="204292"/>
                  </a:lnTo>
                  <a:lnTo>
                    <a:pt x="552311" y="207022"/>
                  </a:lnTo>
                  <a:lnTo>
                    <a:pt x="552311" y="206324"/>
                  </a:lnTo>
                  <a:lnTo>
                    <a:pt x="552412" y="206324"/>
                  </a:lnTo>
                  <a:lnTo>
                    <a:pt x="552412" y="204990"/>
                  </a:lnTo>
                  <a:lnTo>
                    <a:pt x="552412" y="206324"/>
                  </a:lnTo>
                  <a:lnTo>
                    <a:pt x="552412" y="204990"/>
                  </a:lnTo>
                  <a:lnTo>
                    <a:pt x="552412" y="207022"/>
                  </a:lnTo>
                  <a:lnTo>
                    <a:pt x="552412" y="206324"/>
                  </a:lnTo>
                  <a:lnTo>
                    <a:pt x="552451" y="206324"/>
                  </a:lnTo>
                  <a:lnTo>
                    <a:pt x="552451" y="207022"/>
                  </a:lnTo>
                  <a:lnTo>
                    <a:pt x="552501" y="207022"/>
                  </a:lnTo>
                  <a:lnTo>
                    <a:pt x="552501" y="208407"/>
                  </a:lnTo>
                  <a:lnTo>
                    <a:pt x="552552" y="208407"/>
                  </a:lnTo>
                  <a:lnTo>
                    <a:pt x="552552" y="207721"/>
                  </a:lnTo>
                  <a:lnTo>
                    <a:pt x="552552" y="208407"/>
                  </a:lnTo>
                  <a:lnTo>
                    <a:pt x="552552" y="207721"/>
                  </a:lnTo>
                  <a:lnTo>
                    <a:pt x="552552" y="208407"/>
                  </a:lnTo>
                  <a:lnTo>
                    <a:pt x="552654" y="208407"/>
                  </a:lnTo>
                  <a:lnTo>
                    <a:pt x="552654" y="207721"/>
                  </a:lnTo>
                  <a:lnTo>
                    <a:pt x="552705" y="207721"/>
                  </a:lnTo>
                  <a:lnTo>
                    <a:pt x="552705" y="207022"/>
                  </a:lnTo>
                  <a:lnTo>
                    <a:pt x="552705" y="207721"/>
                  </a:lnTo>
                  <a:lnTo>
                    <a:pt x="552705" y="204990"/>
                  </a:lnTo>
                  <a:lnTo>
                    <a:pt x="552755" y="204990"/>
                  </a:lnTo>
                  <a:lnTo>
                    <a:pt x="552755" y="206324"/>
                  </a:lnTo>
                  <a:lnTo>
                    <a:pt x="552755" y="204990"/>
                  </a:lnTo>
                  <a:lnTo>
                    <a:pt x="552755" y="206324"/>
                  </a:lnTo>
                  <a:lnTo>
                    <a:pt x="552755" y="204292"/>
                  </a:lnTo>
                  <a:lnTo>
                    <a:pt x="552755" y="206324"/>
                  </a:lnTo>
                  <a:lnTo>
                    <a:pt x="552857" y="204990"/>
                  </a:lnTo>
                  <a:lnTo>
                    <a:pt x="552857" y="204292"/>
                  </a:lnTo>
                  <a:lnTo>
                    <a:pt x="552857" y="207022"/>
                  </a:lnTo>
                  <a:lnTo>
                    <a:pt x="552857" y="206324"/>
                  </a:lnTo>
                  <a:lnTo>
                    <a:pt x="552908" y="206324"/>
                  </a:lnTo>
                  <a:lnTo>
                    <a:pt x="552908" y="204990"/>
                  </a:lnTo>
                  <a:lnTo>
                    <a:pt x="552908" y="207022"/>
                  </a:lnTo>
                  <a:lnTo>
                    <a:pt x="552908" y="206324"/>
                  </a:lnTo>
                  <a:lnTo>
                    <a:pt x="552908" y="207022"/>
                  </a:lnTo>
                  <a:lnTo>
                    <a:pt x="552908" y="206324"/>
                  </a:lnTo>
                  <a:lnTo>
                    <a:pt x="552958" y="206324"/>
                  </a:lnTo>
                  <a:lnTo>
                    <a:pt x="552958" y="207022"/>
                  </a:lnTo>
                  <a:lnTo>
                    <a:pt x="552958" y="206324"/>
                  </a:lnTo>
                  <a:lnTo>
                    <a:pt x="552958" y="207022"/>
                  </a:lnTo>
                  <a:lnTo>
                    <a:pt x="552997" y="207022"/>
                  </a:lnTo>
                  <a:lnTo>
                    <a:pt x="552997" y="206324"/>
                  </a:lnTo>
                  <a:lnTo>
                    <a:pt x="552997" y="207721"/>
                  </a:lnTo>
                  <a:lnTo>
                    <a:pt x="552997" y="207022"/>
                  </a:lnTo>
                  <a:lnTo>
                    <a:pt x="553098" y="207022"/>
                  </a:lnTo>
                  <a:lnTo>
                    <a:pt x="553098" y="207721"/>
                  </a:lnTo>
                  <a:lnTo>
                    <a:pt x="553098" y="207022"/>
                  </a:lnTo>
                  <a:lnTo>
                    <a:pt x="553098" y="207721"/>
                  </a:lnTo>
                  <a:lnTo>
                    <a:pt x="553098" y="207022"/>
                  </a:lnTo>
                  <a:lnTo>
                    <a:pt x="553149" y="207022"/>
                  </a:lnTo>
                  <a:lnTo>
                    <a:pt x="553149" y="207721"/>
                  </a:lnTo>
                  <a:lnTo>
                    <a:pt x="553149" y="207022"/>
                  </a:lnTo>
                  <a:lnTo>
                    <a:pt x="553149" y="207721"/>
                  </a:lnTo>
                  <a:lnTo>
                    <a:pt x="553149" y="207022"/>
                  </a:lnTo>
                  <a:lnTo>
                    <a:pt x="553149" y="207721"/>
                  </a:lnTo>
                  <a:lnTo>
                    <a:pt x="553149" y="207022"/>
                  </a:lnTo>
                  <a:lnTo>
                    <a:pt x="553200" y="207022"/>
                  </a:lnTo>
                  <a:lnTo>
                    <a:pt x="553200" y="206324"/>
                  </a:lnTo>
                  <a:lnTo>
                    <a:pt x="553200" y="207022"/>
                  </a:lnTo>
                  <a:lnTo>
                    <a:pt x="553200" y="204990"/>
                  </a:lnTo>
                  <a:lnTo>
                    <a:pt x="553301" y="204990"/>
                  </a:lnTo>
                  <a:lnTo>
                    <a:pt x="553301" y="207721"/>
                  </a:lnTo>
                  <a:lnTo>
                    <a:pt x="553301" y="206324"/>
                  </a:lnTo>
                  <a:lnTo>
                    <a:pt x="553301" y="207022"/>
                  </a:lnTo>
                  <a:lnTo>
                    <a:pt x="553352" y="207721"/>
                  </a:lnTo>
                  <a:lnTo>
                    <a:pt x="553352" y="208407"/>
                  </a:lnTo>
                  <a:lnTo>
                    <a:pt x="553352" y="207022"/>
                  </a:lnTo>
                  <a:lnTo>
                    <a:pt x="553352" y="208407"/>
                  </a:lnTo>
                  <a:lnTo>
                    <a:pt x="553403" y="208407"/>
                  </a:lnTo>
                  <a:lnTo>
                    <a:pt x="553403" y="207721"/>
                  </a:lnTo>
                  <a:lnTo>
                    <a:pt x="553403" y="208407"/>
                  </a:lnTo>
                  <a:lnTo>
                    <a:pt x="553403" y="207022"/>
                  </a:lnTo>
                  <a:lnTo>
                    <a:pt x="553403" y="207721"/>
                  </a:lnTo>
                  <a:lnTo>
                    <a:pt x="553454" y="207721"/>
                  </a:lnTo>
                  <a:lnTo>
                    <a:pt x="553454" y="208407"/>
                  </a:lnTo>
                  <a:lnTo>
                    <a:pt x="553454" y="207022"/>
                  </a:lnTo>
                  <a:lnTo>
                    <a:pt x="553454" y="208407"/>
                  </a:lnTo>
                  <a:lnTo>
                    <a:pt x="553454" y="207721"/>
                  </a:lnTo>
                  <a:lnTo>
                    <a:pt x="553454" y="208407"/>
                  </a:lnTo>
                  <a:lnTo>
                    <a:pt x="553543" y="209753"/>
                  </a:lnTo>
                  <a:lnTo>
                    <a:pt x="553543" y="207721"/>
                  </a:lnTo>
                  <a:lnTo>
                    <a:pt x="553543" y="208407"/>
                  </a:lnTo>
                  <a:lnTo>
                    <a:pt x="553543" y="207721"/>
                  </a:lnTo>
                  <a:lnTo>
                    <a:pt x="553593" y="207721"/>
                  </a:lnTo>
                  <a:lnTo>
                    <a:pt x="553593" y="208407"/>
                  </a:lnTo>
                  <a:lnTo>
                    <a:pt x="553593" y="207721"/>
                  </a:lnTo>
                  <a:lnTo>
                    <a:pt x="553593" y="208407"/>
                  </a:lnTo>
                  <a:lnTo>
                    <a:pt x="553593" y="207721"/>
                  </a:lnTo>
                  <a:lnTo>
                    <a:pt x="553644" y="207721"/>
                  </a:lnTo>
                  <a:lnTo>
                    <a:pt x="553644" y="207022"/>
                  </a:lnTo>
                  <a:lnTo>
                    <a:pt x="553644" y="207721"/>
                  </a:lnTo>
                  <a:lnTo>
                    <a:pt x="553644" y="207022"/>
                  </a:lnTo>
                  <a:lnTo>
                    <a:pt x="553644" y="207721"/>
                  </a:lnTo>
                  <a:lnTo>
                    <a:pt x="553644" y="207022"/>
                  </a:lnTo>
                  <a:lnTo>
                    <a:pt x="553695" y="207022"/>
                  </a:lnTo>
                  <a:lnTo>
                    <a:pt x="553695" y="204292"/>
                  </a:lnTo>
                  <a:lnTo>
                    <a:pt x="553797" y="204292"/>
                  </a:lnTo>
                  <a:lnTo>
                    <a:pt x="553797" y="207721"/>
                  </a:lnTo>
                  <a:lnTo>
                    <a:pt x="553797" y="204292"/>
                  </a:lnTo>
                  <a:lnTo>
                    <a:pt x="553797" y="204990"/>
                  </a:lnTo>
                  <a:lnTo>
                    <a:pt x="553847" y="206324"/>
                  </a:lnTo>
                  <a:lnTo>
                    <a:pt x="553847" y="208407"/>
                  </a:lnTo>
                  <a:lnTo>
                    <a:pt x="553847" y="207022"/>
                  </a:lnTo>
                  <a:lnTo>
                    <a:pt x="553847" y="207721"/>
                  </a:lnTo>
                  <a:lnTo>
                    <a:pt x="553847" y="207022"/>
                  </a:lnTo>
                  <a:lnTo>
                    <a:pt x="553847" y="207721"/>
                  </a:lnTo>
                  <a:lnTo>
                    <a:pt x="553898" y="207721"/>
                  </a:lnTo>
                  <a:lnTo>
                    <a:pt x="553898" y="207022"/>
                  </a:lnTo>
                  <a:lnTo>
                    <a:pt x="553898" y="207721"/>
                  </a:lnTo>
                  <a:lnTo>
                    <a:pt x="554000" y="207721"/>
                  </a:lnTo>
                  <a:lnTo>
                    <a:pt x="554000" y="208407"/>
                  </a:lnTo>
                  <a:lnTo>
                    <a:pt x="554000" y="207721"/>
                  </a:lnTo>
                  <a:lnTo>
                    <a:pt x="554000" y="208407"/>
                  </a:lnTo>
                  <a:lnTo>
                    <a:pt x="554000" y="207721"/>
                  </a:lnTo>
                  <a:lnTo>
                    <a:pt x="554038" y="207721"/>
                  </a:lnTo>
                  <a:lnTo>
                    <a:pt x="554038" y="208407"/>
                  </a:lnTo>
                  <a:lnTo>
                    <a:pt x="554038" y="207721"/>
                  </a:lnTo>
                  <a:lnTo>
                    <a:pt x="554038" y="208407"/>
                  </a:lnTo>
                  <a:lnTo>
                    <a:pt x="554038" y="207721"/>
                  </a:lnTo>
                  <a:lnTo>
                    <a:pt x="554038" y="208407"/>
                  </a:lnTo>
                  <a:lnTo>
                    <a:pt x="554038" y="207721"/>
                  </a:lnTo>
                  <a:lnTo>
                    <a:pt x="554038" y="208407"/>
                  </a:lnTo>
                  <a:lnTo>
                    <a:pt x="554038" y="207721"/>
                  </a:lnTo>
                  <a:lnTo>
                    <a:pt x="554089" y="207721"/>
                  </a:lnTo>
                  <a:lnTo>
                    <a:pt x="554089" y="208407"/>
                  </a:lnTo>
                  <a:lnTo>
                    <a:pt x="554089" y="207022"/>
                  </a:lnTo>
                  <a:lnTo>
                    <a:pt x="554140" y="207721"/>
                  </a:lnTo>
                  <a:lnTo>
                    <a:pt x="554140" y="206324"/>
                  </a:lnTo>
                  <a:lnTo>
                    <a:pt x="554140" y="207022"/>
                  </a:lnTo>
                  <a:lnTo>
                    <a:pt x="554140" y="206324"/>
                  </a:lnTo>
                  <a:lnTo>
                    <a:pt x="554241" y="204990"/>
                  </a:lnTo>
                  <a:lnTo>
                    <a:pt x="554241" y="204292"/>
                  </a:lnTo>
                  <a:lnTo>
                    <a:pt x="554241" y="204990"/>
                  </a:lnTo>
                  <a:lnTo>
                    <a:pt x="554241" y="204292"/>
                  </a:lnTo>
                  <a:lnTo>
                    <a:pt x="554292" y="204292"/>
                  </a:lnTo>
                  <a:lnTo>
                    <a:pt x="554292" y="204990"/>
                  </a:lnTo>
                  <a:lnTo>
                    <a:pt x="554292" y="204292"/>
                  </a:lnTo>
                  <a:lnTo>
                    <a:pt x="554292" y="207022"/>
                  </a:lnTo>
                  <a:lnTo>
                    <a:pt x="554343" y="207022"/>
                  </a:lnTo>
                  <a:lnTo>
                    <a:pt x="554343" y="206324"/>
                  </a:lnTo>
                  <a:lnTo>
                    <a:pt x="554343" y="207721"/>
                  </a:lnTo>
                  <a:lnTo>
                    <a:pt x="554444" y="207721"/>
                  </a:lnTo>
                  <a:lnTo>
                    <a:pt x="554444" y="207022"/>
                  </a:lnTo>
                  <a:lnTo>
                    <a:pt x="554444" y="207721"/>
                  </a:lnTo>
                  <a:lnTo>
                    <a:pt x="554444" y="207022"/>
                  </a:lnTo>
                  <a:lnTo>
                    <a:pt x="554444" y="207721"/>
                  </a:lnTo>
                  <a:lnTo>
                    <a:pt x="554444" y="207022"/>
                  </a:lnTo>
                  <a:lnTo>
                    <a:pt x="554444" y="207721"/>
                  </a:lnTo>
                  <a:lnTo>
                    <a:pt x="554444" y="207022"/>
                  </a:lnTo>
                  <a:lnTo>
                    <a:pt x="554495" y="207721"/>
                  </a:lnTo>
                  <a:lnTo>
                    <a:pt x="554495" y="207022"/>
                  </a:lnTo>
                  <a:lnTo>
                    <a:pt x="554495" y="208407"/>
                  </a:lnTo>
                  <a:lnTo>
                    <a:pt x="554495" y="207721"/>
                  </a:lnTo>
                  <a:lnTo>
                    <a:pt x="554495" y="208407"/>
                  </a:lnTo>
                  <a:lnTo>
                    <a:pt x="554546" y="208407"/>
                  </a:lnTo>
                  <a:lnTo>
                    <a:pt x="554546" y="207721"/>
                  </a:lnTo>
                  <a:lnTo>
                    <a:pt x="554546" y="208407"/>
                  </a:lnTo>
                  <a:lnTo>
                    <a:pt x="554546" y="207721"/>
                  </a:lnTo>
                  <a:lnTo>
                    <a:pt x="554546" y="208407"/>
                  </a:lnTo>
                  <a:lnTo>
                    <a:pt x="554546" y="207721"/>
                  </a:lnTo>
                  <a:lnTo>
                    <a:pt x="554546" y="208407"/>
                  </a:lnTo>
                  <a:lnTo>
                    <a:pt x="554584" y="208407"/>
                  </a:lnTo>
                  <a:lnTo>
                    <a:pt x="554584" y="207721"/>
                  </a:lnTo>
                  <a:lnTo>
                    <a:pt x="554584" y="208407"/>
                  </a:lnTo>
                  <a:lnTo>
                    <a:pt x="554584" y="207721"/>
                  </a:lnTo>
                  <a:lnTo>
                    <a:pt x="554584" y="208407"/>
                  </a:lnTo>
                  <a:lnTo>
                    <a:pt x="554584" y="207721"/>
                  </a:lnTo>
                  <a:lnTo>
                    <a:pt x="554686" y="207721"/>
                  </a:lnTo>
                  <a:lnTo>
                    <a:pt x="554686" y="208407"/>
                  </a:lnTo>
                  <a:lnTo>
                    <a:pt x="554686" y="206324"/>
                  </a:lnTo>
                  <a:lnTo>
                    <a:pt x="554686" y="207022"/>
                  </a:lnTo>
                  <a:lnTo>
                    <a:pt x="554686" y="206324"/>
                  </a:lnTo>
                  <a:lnTo>
                    <a:pt x="554737" y="206324"/>
                  </a:lnTo>
                  <a:lnTo>
                    <a:pt x="554737" y="204990"/>
                  </a:lnTo>
                  <a:lnTo>
                    <a:pt x="554737" y="207022"/>
                  </a:lnTo>
                  <a:lnTo>
                    <a:pt x="554737" y="206324"/>
                  </a:lnTo>
                  <a:lnTo>
                    <a:pt x="554787" y="206324"/>
                  </a:lnTo>
                  <a:lnTo>
                    <a:pt x="554787" y="207022"/>
                  </a:lnTo>
                  <a:lnTo>
                    <a:pt x="554787" y="204990"/>
                  </a:lnTo>
                  <a:lnTo>
                    <a:pt x="554787" y="207022"/>
                  </a:lnTo>
                  <a:lnTo>
                    <a:pt x="554787" y="206324"/>
                  </a:lnTo>
                  <a:lnTo>
                    <a:pt x="554787" y="207721"/>
                  </a:lnTo>
                  <a:lnTo>
                    <a:pt x="554787" y="207022"/>
                  </a:lnTo>
                  <a:lnTo>
                    <a:pt x="554889" y="207022"/>
                  </a:lnTo>
                  <a:lnTo>
                    <a:pt x="554889" y="206324"/>
                  </a:lnTo>
                  <a:lnTo>
                    <a:pt x="554889" y="207022"/>
                  </a:lnTo>
                  <a:lnTo>
                    <a:pt x="554889" y="206324"/>
                  </a:lnTo>
                  <a:lnTo>
                    <a:pt x="554889" y="207721"/>
                  </a:lnTo>
                  <a:lnTo>
                    <a:pt x="554889" y="207022"/>
                  </a:lnTo>
                  <a:lnTo>
                    <a:pt x="554940" y="207022"/>
                  </a:lnTo>
                  <a:lnTo>
                    <a:pt x="554940" y="207721"/>
                  </a:lnTo>
                  <a:lnTo>
                    <a:pt x="554940" y="207022"/>
                  </a:lnTo>
                  <a:lnTo>
                    <a:pt x="554940" y="207721"/>
                  </a:lnTo>
                  <a:lnTo>
                    <a:pt x="554940" y="207022"/>
                  </a:lnTo>
                  <a:lnTo>
                    <a:pt x="554991" y="207022"/>
                  </a:lnTo>
                  <a:lnTo>
                    <a:pt x="554991" y="208407"/>
                  </a:lnTo>
                  <a:lnTo>
                    <a:pt x="554991" y="207721"/>
                  </a:lnTo>
                  <a:lnTo>
                    <a:pt x="555041" y="207721"/>
                  </a:lnTo>
                  <a:lnTo>
                    <a:pt x="555041" y="208407"/>
                  </a:lnTo>
                  <a:lnTo>
                    <a:pt x="555041" y="207022"/>
                  </a:lnTo>
                  <a:lnTo>
                    <a:pt x="555041" y="207721"/>
                  </a:lnTo>
                  <a:lnTo>
                    <a:pt x="555130" y="207721"/>
                  </a:lnTo>
                  <a:lnTo>
                    <a:pt x="555130" y="207022"/>
                  </a:lnTo>
                  <a:lnTo>
                    <a:pt x="555130" y="207721"/>
                  </a:lnTo>
                  <a:lnTo>
                    <a:pt x="555130" y="207022"/>
                  </a:lnTo>
                  <a:lnTo>
                    <a:pt x="555130" y="207721"/>
                  </a:lnTo>
                  <a:lnTo>
                    <a:pt x="555181" y="207721"/>
                  </a:lnTo>
                  <a:lnTo>
                    <a:pt x="555181" y="207022"/>
                  </a:lnTo>
                  <a:lnTo>
                    <a:pt x="555181" y="207721"/>
                  </a:lnTo>
                  <a:lnTo>
                    <a:pt x="555181" y="204990"/>
                  </a:lnTo>
                  <a:lnTo>
                    <a:pt x="555181" y="206324"/>
                  </a:lnTo>
                  <a:lnTo>
                    <a:pt x="555181" y="204990"/>
                  </a:lnTo>
                  <a:lnTo>
                    <a:pt x="555232" y="204292"/>
                  </a:lnTo>
                  <a:lnTo>
                    <a:pt x="555232" y="204990"/>
                  </a:lnTo>
                  <a:lnTo>
                    <a:pt x="555232" y="204292"/>
                  </a:lnTo>
                  <a:lnTo>
                    <a:pt x="555232" y="204990"/>
                  </a:lnTo>
                  <a:lnTo>
                    <a:pt x="555283" y="204990"/>
                  </a:lnTo>
                  <a:lnTo>
                    <a:pt x="555283" y="203594"/>
                  </a:lnTo>
                  <a:lnTo>
                    <a:pt x="555283" y="206324"/>
                  </a:lnTo>
                  <a:lnTo>
                    <a:pt x="555283" y="204990"/>
                  </a:lnTo>
                  <a:lnTo>
                    <a:pt x="555283" y="206324"/>
                  </a:lnTo>
                  <a:lnTo>
                    <a:pt x="555384" y="206324"/>
                  </a:lnTo>
                  <a:lnTo>
                    <a:pt x="555384" y="204990"/>
                  </a:lnTo>
                  <a:lnTo>
                    <a:pt x="555384" y="207022"/>
                  </a:lnTo>
                  <a:lnTo>
                    <a:pt x="555435" y="206324"/>
                  </a:lnTo>
                  <a:lnTo>
                    <a:pt x="555435" y="207022"/>
                  </a:lnTo>
                  <a:lnTo>
                    <a:pt x="555435" y="206324"/>
                  </a:lnTo>
                  <a:lnTo>
                    <a:pt x="555486" y="206324"/>
                  </a:lnTo>
                  <a:lnTo>
                    <a:pt x="555486" y="207022"/>
                  </a:lnTo>
                  <a:lnTo>
                    <a:pt x="555587" y="207022"/>
                  </a:lnTo>
                  <a:lnTo>
                    <a:pt x="555587" y="207721"/>
                  </a:lnTo>
                  <a:lnTo>
                    <a:pt x="555587" y="207022"/>
                  </a:lnTo>
                  <a:lnTo>
                    <a:pt x="555587" y="207721"/>
                  </a:lnTo>
                  <a:lnTo>
                    <a:pt x="555587" y="207022"/>
                  </a:lnTo>
                  <a:lnTo>
                    <a:pt x="555626" y="207022"/>
                  </a:lnTo>
                  <a:lnTo>
                    <a:pt x="555626" y="207721"/>
                  </a:lnTo>
                  <a:lnTo>
                    <a:pt x="555626" y="207022"/>
                  </a:lnTo>
                  <a:lnTo>
                    <a:pt x="555676" y="207022"/>
                  </a:lnTo>
                  <a:lnTo>
                    <a:pt x="555676" y="204990"/>
                  </a:lnTo>
                  <a:lnTo>
                    <a:pt x="555727" y="204990"/>
                  </a:lnTo>
                  <a:lnTo>
                    <a:pt x="555727" y="204292"/>
                  </a:lnTo>
                  <a:lnTo>
                    <a:pt x="555727" y="206324"/>
                  </a:lnTo>
                  <a:lnTo>
                    <a:pt x="555727" y="204292"/>
                  </a:lnTo>
                  <a:lnTo>
                    <a:pt x="555727" y="204990"/>
                  </a:lnTo>
                  <a:lnTo>
                    <a:pt x="555829" y="204990"/>
                  </a:lnTo>
                  <a:lnTo>
                    <a:pt x="555829" y="204292"/>
                  </a:lnTo>
                  <a:lnTo>
                    <a:pt x="555829" y="206324"/>
                  </a:lnTo>
                  <a:lnTo>
                    <a:pt x="555829" y="204990"/>
                  </a:lnTo>
                  <a:lnTo>
                    <a:pt x="555880" y="204990"/>
                  </a:lnTo>
                  <a:lnTo>
                    <a:pt x="555880" y="207022"/>
                  </a:lnTo>
                  <a:lnTo>
                    <a:pt x="555880" y="206324"/>
                  </a:lnTo>
                  <a:lnTo>
                    <a:pt x="555880" y="207022"/>
                  </a:lnTo>
                  <a:lnTo>
                    <a:pt x="555880" y="206324"/>
                  </a:lnTo>
                  <a:lnTo>
                    <a:pt x="555930" y="206324"/>
                  </a:lnTo>
                  <a:lnTo>
                    <a:pt x="555930" y="207022"/>
                  </a:lnTo>
                  <a:lnTo>
                    <a:pt x="555930" y="206324"/>
                  </a:lnTo>
                  <a:lnTo>
                    <a:pt x="555930" y="207022"/>
                  </a:lnTo>
                  <a:lnTo>
                    <a:pt x="555930" y="206324"/>
                  </a:lnTo>
                  <a:lnTo>
                    <a:pt x="556032" y="206324"/>
                  </a:lnTo>
                  <a:lnTo>
                    <a:pt x="556032" y="207022"/>
                  </a:lnTo>
                  <a:lnTo>
                    <a:pt x="556032" y="206324"/>
                  </a:lnTo>
                  <a:lnTo>
                    <a:pt x="556032" y="207022"/>
                  </a:lnTo>
                  <a:lnTo>
                    <a:pt x="556032" y="206324"/>
                  </a:lnTo>
                  <a:lnTo>
                    <a:pt x="556032" y="207022"/>
                  </a:lnTo>
                  <a:lnTo>
                    <a:pt x="556032" y="206324"/>
                  </a:lnTo>
                  <a:lnTo>
                    <a:pt x="556032" y="207721"/>
                  </a:lnTo>
                  <a:lnTo>
                    <a:pt x="556032" y="207022"/>
                  </a:lnTo>
                  <a:lnTo>
                    <a:pt x="556133" y="207022"/>
                  </a:lnTo>
                  <a:lnTo>
                    <a:pt x="556133" y="206324"/>
                  </a:lnTo>
                  <a:lnTo>
                    <a:pt x="556133" y="207022"/>
                  </a:lnTo>
                  <a:lnTo>
                    <a:pt x="556133" y="206324"/>
                  </a:lnTo>
                  <a:lnTo>
                    <a:pt x="556133" y="207022"/>
                  </a:lnTo>
                  <a:lnTo>
                    <a:pt x="556172" y="207022"/>
                  </a:lnTo>
                  <a:lnTo>
                    <a:pt x="556172" y="204990"/>
                  </a:lnTo>
                  <a:lnTo>
                    <a:pt x="556172" y="206324"/>
                  </a:lnTo>
                  <a:lnTo>
                    <a:pt x="556273" y="204990"/>
                  </a:lnTo>
                  <a:lnTo>
                    <a:pt x="556273" y="206324"/>
                  </a:lnTo>
                  <a:lnTo>
                    <a:pt x="556273" y="204990"/>
                  </a:lnTo>
                  <a:lnTo>
                    <a:pt x="556273" y="206324"/>
                  </a:lnTo>
                  <a:lnTo>
                    <a:pt x="556273" y="204990"/>
                  </a:lnTo>
                  <a:lnTo>
                    <a:pt x="556273" y="206324"/>
                  </a:lnTo>
                  <a:lnTo>
                    <a:pt x="556324" y="207022"/>
                  </a:lnTo>
                  <a:lnTo>
                    <a:pt x="556324" y="207721"/>
                  </a:lnTo>
                  <a:lnTo>
                    <a:pt x="556324" y="206324"/>
                  </a:lnTo>
                  <a:lnTo>
                    <a:pt x="556324" y="207022"/>
                  </a:lnTo>
                  <a:lnTo>
                    <a:pt x="556375" y="207721"/>
                  </a:lnTo>
                  <a:lnTo>
                    <a:pt x="556375" y="207022"/>
                  </a:lnTo>
                  <a:lnTo>
                    <a:pt x="556375" y="207721"/>
                  </a:lnTo>
                  <a:lnTo>
                    <a:pt x="556476" y="207721"/>
                  </a:lnTo>
                  <a:lnTo>
                    <a:pt x="556476" y="207022"/>
                  </a:lnTo>
                  <a:lnTo>
                    <a:pt x="556476" y="207721"/>
                  </a:lnTo>
                  <a:lnTo>
                    <a:pt x="556476" y="207022"/>
                  </a:lnTo>
                  <a:lnTo>
                    <a:pt x="556476" y="207721"/>
                  </a:lnTo>
                  <a:lnTo>
                    <a:pt x="556527" y="207721"/>
                  </a:lnTo>
                  <a:lnTo>
                    <a:pt x="556527" y="207022"/>
                  </a:lnTo>
                  <a:lnTo>
                    <a:pt x="556527" y="207721"/>
                  </a:lnTo>
                  <a:lnTo>
                    <a:pt x="556578" y="207721"/>
                  </a:lnTo>
                  <a:lnTo>
                    <a:pt x="556578" y="208407"/>
                  </a:lnTo>
                  <a:lnTo>
                    <a:pt x="556578" y="207022"/>
                  </a:lnTo>
                  <a:lnTo>
                    <a:pt x="556578" y="207721"/>
                  </a:lnTo>
                  <a:lnTo>
                    <a:pt x="556578" y="207022"/>
                  </a:lnTo>
                  <a:lnTo>
                    <a:pt x="556578" y="207721"/>
                  </a:lnTo>
                  <a:lnTo>
                    <a:pt x="556629" y="207721"/>
                  </a:lnTo>
                  <a:lnTo>
                    <a:pt x="556629" y="207022"/>
                  </a:lnTo>
                  <a:lnTo>
                    <a:pt x="556629" y="207721"/>
                  </a:lnTo>
                  <a:lnTo>
                    <a:pt x="556629" y="207022"/>
                  </a:lnTo>
                  <a:lnTo>
                    <a:pt x="556718" y="207022"/>
                  </a:lnTo>
                  <a:lnTo>
                    <a:pt x="556718" y="206324"/>
                  </a:lnTo>
                  <a:lnTo>
                    <a:pt x="556718" y="207022"/>
                  </a:lnTo>
                  <a:lnTo>
                    <a:pt x="556768" y="207022"/>
                  </a:lnTo>
                  <a:lnTo>
                    <a:pt x="556768" y="209753"/>
                  </a:lnTo>
                  <a:lnTo>
                    <a:pt x="556768" y="208407"/>
                  </a:lnTo>
                  <a:lnTo>
                    <a:pt x="556768" y="209753"/>
                  </a:lnTo>
                  <a:lnTo>
                    <a:pt x="556768" y="208407"/>
                  </a:lnTo>
                  <a:lnTo>
                    <a:pt x="556819" y="208407"/>
                  </a:lnTo>
                  <a:lnTo>
                    <a:pt x="556819" y="209753"/>
                  </a:lnTo>
                  <a:lnTo>
                    <a:pt x="556819" y="208407"/>
                  </a:lnTo>
                  <a:lnTo>
                    <a:pt x="556819" y="210451"/>
                  </a:lnTo>
                  <a:lnTo>
                    <a:pt x="556819" y="208407"/>
                  </a:lnTo>
                  <a:lnTo>
                    <a:pt x="556870" y="208407"/>
                  </a:lnTo>
                  <a:lnTo>
                    <a:pt x="556870" y="209753"/>
                  </a:lnTo>
                  <a:lnTo>
                    <a:pt x="556870" y="208407"/>
                  </a:lnTo>
                  <a:lnTo>
                    <a:pt x="556870" y="209753"/>
                  </a:lnTo>
                  <a:lnTo>
                    <a:pt x="556972" y="209753"/>
                  </a:lnTo>
                  <a:lnTo>
                    <a:pt x="556972" y="208407"/>
                  </a:lnTo>
                  <a:lnTo>
                    <a:pt x="556972" y="209753"/>
                  </a:lnTo>
                  <a:lnTo>
                    <a:pt x="556972" y="208407"/>
                  </a:lnTo>
                  <a:lnTo>
                    <a:pt x="557022" y="208407"/>
                  </a:lnTo>
                  <a:lnTo>
                    <a:pt x="557022" y="207721"/>
                  </a:lnTo>
                  <a:lnTo>
                    <a:pt x="557022" y="208407"/>
                  </a:lnTo>
                  <a:lnTo>
                    <a:pt x="557022" y="207721"/>
                  </a:lnTo>
                  <a:lnTo>
                    <a:pt x="557073" y="207721"/>
                  </a:lnTo>
                  <a:lnTo>
                    <a:pt x="557073" y="208407"/>
                  </a:lnTo>
                  <a:lnTo>
                    <a:pt x="557073" y="207022"/>
                  </a:lnTo>
                  <a:lnTo>
                    <a:pt x="557073" y="207721"/>
                  </a:lnTo>
                  <a:lnTo>
                    <a:pt x="557073" y="207022"/>
                  </a:lnTo>
                  <a:lnTo>
                    <a:pt x="557175" y="207022"/>
                  </a:lnTo>
                  <a:lnTo>
                    <a:pt x="557175" y="206324"/>
                  </a:lnTo>
                  <a:lnTo>
                    <a:pt x="557175" y="207022"/>
                  </a:lnTo>
                  <a:lnTo>
                    <a:pt x="557175" y="204990"/>
                  </a:lnTo>
                  <a:lnTo>
                    <a:pt x="557213" y="204990"/>
                  </a:lnTo>
                  <a:lnTo>
                    <a:pt x="557213" y="204292"/>
                  </a:lnTo>
                  <a:lnTo>
                    <a:pt x="557213" y="206324"/>
                  </a:lnTo>
                  <a:lnTo>
                    <a:pt x="557213" y="204292"/>
                  </a:lnTo>
                  <a:lnTo>
                    <a:pt x="557213" y="204990"/>
                  </a:lnTo>
                  <a:lnTo>
                    <a:pt x="557264" y="204990"/>
                  </a:lnTo>
                  <a:lnTo>
                    <a:pt x="557264" y="207721"/>
                  </a:lnTo>
                  <a:lnTo>
                    <a:pt x="557264" y="207022"/>
                  </a:lnTo>
                  <a:lnTo>
                    <a:pt x="557315" y="207022"/>
                  </a:lnTo>
                  <a:lnTo>
                    <a:pt x="557315" y="208407"/>
                  </a:lnTo>
                  <a:lnTo>
                    <a:pt x="557315" y="207022"/>
                  </a:lnTo>
                  <a:lnTo>
                    <a:pt x="557315" y="207721"/>
                  </a:lnTo>
                  <a:lnTo>
                    <a:pt x="557416" y="207721"/>
                  </a:lnTo>
                  <a:lnTo>
                    <a:pt x="557416" y="209753"/>
                  </a:lnTo>
                  <a:lnTo>
                    <a:pt x="557416" y="208407"/>
                  </a:lnTo>
                  <a:lnTo>
                    <a:pt x="557467" y="208407"/>
                  </a:lnTo>
                  <a:lnTo>
                    <a:pt x="557467" y="207721"/>
                  </a:lnTo>
                  <a:lnTo>
                    <a:pt x="557467" y="209753"/>
                  </a:lnTo>
                  <a:lnTo>
                    <a:pt x="557467" y="208407"/>
                  </a:lnTo>
                  <a:lnTo>
                    <a:pt x="557518" y="208407"/>
                  </a:lnTo>
                  <a:lnTo>
                    <a:pt x="557518" y="209753"/>
                  </a:lnTo>
                  <a:lnTo>
                    <a:pt x="557518" y="208407"/>
                  </a:lnTo>
                  <a:lnTo>
                    <a:pt x="557518" y="209753"/>
                  </a:lnTo>
                  <a:lnTo>
                    <a:pt x="557518" y="207721"/>
                  </a:lnTo>
                  <a:lnTo>
                    <a:pt x="557518" y="208407"/>
                  </a:lnTo>
                  <a:lnTo>
                    <a:pt x="557619" y="208407"/>
                  </a:lnTo>
                  <a:lnTo>
                    <a:pt x="557619" y="207022"/>
                  </a:lnTo>
                  <a:lnTo>
                    <a:pt x="557670" y="207022"/>
                  </a:lnTo>
                  <a:lnTo>
                    <a:pt x="557670" y="204990"/>
                  </a:lnTo>
                  <a:lnTo>
                    <a:pt x="557670" y="206324"/>
                  </a:lnTo>
                  <a:lnTo>
                    <a:pt x="557721" y="206324"/>
                  </a:lnTo>
                  <a:lnTo>
                    <a:pt x="557721" y="207022"/>
                  </a:lnTo>
                  <a:lnTo>
                    <a:pt x="557721" y="204990"/>
                  </a:lnTo>
                  <a:lnTo>
                    <a:pt x="557721" y="207022"/>
                  </a:lnTo>
                  <a:lnTo>
                    <a:pt x="557759" y="207022"/>
                  </a:lnTo>
                  <a:lnTo>
                    <a:pt x="557759" y="207721"/>
                  </a:lnTo>
                  <a:lnTo>
                    <a:pt x="557759" y="207022"/>
                  </a:lnTo>
                  <a:lnTo>
                    <a:pt x="557759" y="207721"/>
                  </a:lnTo>
                  <a:lnTo>
                    <a:pt x="557861" y="207721"/>
                  </a:lnTo>
                  <a:lnTo>
                    <a:pt x="557861" y="207022"/>
                  </a:lnTo>
                  <a:lnTo>
                    <a:pt x="557861" y="207721"/>
                  </a:lnTo>
                  <a:lnTo>
                    <a:pt x="557861" y="207022"/>
                  </a:lnTo>
                  <a:lnTo>
                    <a:pt x="557861" y="207721"/>
                  </a:lnTo>
                  <a:lnTo>
                    <a:pt x="557912" y="207721"/>
                  </a:lnTo>
                  <a:lnTo>
                    <a:pt x="557912" y="208407"/>
                  </a:lnTo>
                  <a:lnTo>
                    <a:pt x="557962" y="207721"/>
                  </a:lnTo>
                  <a:lnTo>
                    <a:pt x="557962" y="208407"/>
                  </a:lnTo>
                  <a:lnTo>
                    <a:pt x="557962" y="207721"/>
                  </a:lnTo>
                  <a:lnTo>
                    <a:pt x="557962" y="208407"/>
                  </a:lnTo>
                  <a:lnTo>
                    <a:pt x="557962" y="207721"/>
                  </a:lnTo>
                  <a:lnTo>
                    <a:pt x="557962" y="208407"/>
                  </a:lnTo>
                  <a:lnTo>
                    <a:pt x="557962" y="207721"/>
                  </a:lnTo>
                  <a:lnTo>
                    <a:pt x="557962" y="208407"/>
                  </a:lnTo>
                  <a:lnTo>
                    <a:pt x="557962" y="207721"/>
                  </a:lnTo>
                  <a:lnTo>
                    <a:pt x="557962" y="208407"/>
                  </a:lnTo>
                  <a:lnTo>
                    <a:pt x="558064" y="208407"/>
                  </a:lnTo>
                  <a:lnTo>
                    <a:pt x="558064" y="207721"/>
                  </a:lnTo>
                  <a:lnTo>
                    <a:pt x="558064" y="208407"/>
                  </a:lnTo>
                  <a:lnTo>
                    <a:pt x="558064" y="207721"/>
                  </a:lnTo>
                  <a:lnTo>
                    <a:pt x="558064" y="208407"/>
                  </a:lnTo>
                  <a:lnTo>
                    <a:pt x="558064" y="207721"/>
                  </a:lnTo>
                  <a:lnTo>
                    <a:pt x="558115" y="207721"/>
                  </a:lnTo>
                  <a:lnTo>
                    <a:pt x="558115" y="206324"/>
                  </a:lnTo>
                  <a:lnTo>
                    <a:pt x="558166" y="206324"/>
                  </a:lnTo>
                  <a:lnTo>
                    <a:pt x="558166" y="204990"/>
                  </a:lnTo>
                  <a:lnTo>
                    <a:pt x="558166" y="206324"/>
                  </a:lnTo>
                  <a:lnTo>
                    <a:pt x="558166" y="204292"/>
                  </a:lnTo>
                  <a:lnTo>
                    <a:pt x="558166" y="204990"/>
                  </a:lnTo>
                  <a:lnTo>
                    <a:pt x="558166" y="203594"/>
                  </a:lnTo>
                  <a:lnTo>
                    <a:pt x="558216" y="203594"/>
                  </a:lnTo>
                  <a:lnTo>
                    <a:pt x="558216" y="202959"/>
                  </a:lnTo>
                  <a:lnTo>
                    <a:pt x="558216" y="204292"/>
                  </a:lnTo>
                  <a:lnTo>
                    <a:pt x="558216" y="203594"/>
                  </a:lnTo>
                  <a:lnTo>
                    <a:pt x="558216" y="204292"/>
                  </a:lnTo>
                  <a:lnTo>
                    <a:pt x="558305" y="204990"/>
                  </a:lnTo>
                  <a:lnTo>
                    <a:pt x="558305" y="207022"/>
                  </a:lnTo>
                  <a:lnTo>
                    <a:pt x="558305" y="204990"/>
                  </a:lnTo>
                  <a:lnTo>
                    <a:pt x="558305" y="206324"/>
                  </a:lnTo>
                  <a:lnTo>
                    <a:pt x="558305" y="204990"/>
                  </a:lnTo>
                  <a:lnTo>
                    <a:pt x="558305" y="206324"/>
                  </a:lnTo>
                  <a:lnTo>
                    <a:pt x="558356" y="206324"/>
                  </a:lnTo>
                  <a:lnTo>
                    <a:pt x="558356" y="207022"/>
                  </a:lnTo>
                  <a:lnTo>
                    <a:pt x="558356" y="206324"/>
                  </a:lnTo>
                  <a:lnTo>
                    <a:pt x="558356" y="207022"/>
                  </a:lnTo>
                  <a:lnTo>
                    <a:pt x="558458" y="207022"/>
                  </a:lnTo>
                  <a:lnTo>
                    <a:pt x="558458" y="208407"/>
                  </a:lnTo>
                  <a:lnTo>
                    <a:pt x="558559" y="208407"/>
                  </a:lnTo>
                  <a:lnTo>
                    <a:pt x="558559" y="207721"/>
                  </a:lnTo>
                  <a:lnTo>
                    <a:pt x="558559" y="208407"/>
                  </a:lnTo>
                  <a:lnTo>
                    <a:pt x="558559" y="207721"/>
                  </a:lnTo>
                  <a:lnTo>
                    <a:pt x="558559" y="208407"/>
                  </a:lnTo>
                  <a:lnTo>
                    <a:pt x="558559" y="207721"/>
                  </a:lnTo>
                  <a:lnTo>
                    <a:pt x="558610" y="207721"/>
                  </a:lnTo>
                  <a:lnTo>
                    <a:pt x="558610" y="207022"/>
                  </a:lnTo>
                  <a:lnTo>
                    <a:pt x="558610" y="207721"/>
                  </a:lnTo>
                  <a:lnTo>
                    <a:pt x="558610" y="206324"/>
                  </a:lnTo>
                  <a:lnTo>
                    <a:pt x="558661" y="206324"/>
                  </a:lnTo>
                  <a:lnTo>
                    <a:pt x="558661" y="204292"/>
                  </a:lnTo>
                  <a:lnTo>
                    <a:pt x="558661" y="206324"/>
                  </a:lnTo>
                  <a:lnTo>
                    <a:pt x="558762" y="206324"/>
                  </a:lnTo>
                  <a:lnTo>
                    <a:pt x="558762" y="204292"/>
                  </a:lnTo>
                  <a:lnTo>
                    <a:pt x="558762" y="207022"/>
                  </a:lnTo>
                  <a:lnTo>
                    <a:pt x="558801" y="207022"/>
                  </a:lnTo>
                  <a:lnTo>
                    <a:pt x="558801" y="204990"/>
                  </a:lnTo>
                  <a:lnTo>
                    <a:pt x="558801" y="206324"/>
                  </a:lnTo>
                  <a:lnTo>
                    <a:pt x="558801" y="204990"/>
                  </a:lnTo>
                  <a:lnTo>
                    <a:pt x="558801" y="206324"/>
                  </a:lnTo>
                  <a:lnTo>
                    <a:pt x="558851" y="206324"/>
                  </a:lnTo>
                  <a:lnTo>
                    <a:pt x="558851" y="204990"/>
                  </a:lnTo>
                  <a:lnTo>
                    <a:pt x="558851" y="206324"/>
                  </a:lnTo>
                  <a:lnTo>
                    <a:pt x="558902" y="206324"/>
                  </a:lnTo>
                  <a:lnTo>
                    <a:pt x="558902" y="207022"/>
                  </a:lnTo>
                  <a:lnTo>
                    <a:pt x="558902" y="206324"/>
                  </a:lnTo>
                  <a:lnTo>
                    <a:pt x="558902" y="207022"/>
                  </a:lnTo>
                  <a:lnTo>
                    <a:pt x="559055" y="207022"/>
                  </a:lnTo>
                  <a:lnTo>
                    <a:pt x="559055" y="207721"/>
                  </a:lnTo>
                  <a:lnTo>
                    <a:pt x="559055" y="207022"/>
                  </a:lnTo>
                  <a:lnTo>
                    <a:pt x="559055" y="207721"/>
                  </a:lnTo>
                  <a:lnTo>
                    <a:pt x="559055" y="207022"/>
                  </a:lnTo>
                  <a:lnTo>
                    <a:pt x="559055" y="207721"/>
                  </a:lnTo>
                  <a:lnTo>
                    <a:pt x="559055" y="207022"/>
                  </a:lnTo>
                  <a:lnTo>
                    <a:pt x="559105" y="207022"/>
                  </a:lnTo>
                  <a:lnTo>
                    <a:pt x="559105" y="206324"/>
                  </a:lnTo>
                  <a:lnTo>
                    <a:pt x="559105" y="207022"/>
                  </a:lnTo>
                  <a:lnTo>
                    <a:pt x="559105" y="204990"/>
                  </a:lnTo>
                  <a:lnTo>
                    <a:pt x="559105" y="206324"/>
                  </a:lnTo>
                  <a:lnTo>
                    <a:pt x="559105" y="204990"/>
                  </a:lnTo>
                  <a:lnTo>
                    <a:pt x="559207" y="204990"/>
                  </a:lnTo>
                  <a:lnTo>
                    <a:pt x="559207" y="204292"/>
                  </a:lnTo>
                  <a:lnTo>
                    <a:pt x="559207" y="206324"/>
                  </a:lnTo>
                  <a:lnTo>
                    <a:pt x="559207" y="204292"/>
                  </a:lnTo>
                  <a:lnTo>
                    <a:pt x="559258" y="204292"/>
                  </a:lnTo>
                  <a:lnTo>
                    <a:pt x="559258" y="208407"/>
                  </a:lnTo>
                  <a:lnTo>
                    <a:pt x="559258" y="207022"/>
                  </a:lnTo>
                  <a:lnTo>
                    <a:pt x="559308" y="207022"/>
                  </a:lnTo>
                  <a:lnTo>
                    <a:pt x="559308" y="208407"/>
                  </a:lnTo>
                  <a:lnTo>
                    <a:pt x="559308" y="207721"/>
                  </a:lnTo>
                  <a:lnTo>
                    <a:pt x="559308" y="208407"/>
                  </a:lnTo>
                  <a:lnTo>
                    <a:pt x="559308" y="207721"/>
                  </a:lnTo>
                  <a:lnTo>
                    <a:pt x="559347" y="207721"/>
                  </a:lnTo>
                  <a:lnTo>
                    <a:pt x="559347" y="207022"/>
                  </a:lnTo>
                  <a:lnTo>
                    <a:pt x="559347" y="207721"/>
                  </a:lnTo>
                  <a:lnTo>
                    <a:pt x="559448" y="207721"/>
                  </a:lnTo>
                  <a:lnTo>
                    <a:pt x="559448" y="208407"/>
                  </a:lnTo>
                  <a:lnTo>
                    <a:pt x="559448" y="207721"/>
                  </a:lnTo>
                  <a:lnTo>
                    <a:pt x="559499" y="207721"/>
                  </a:lnTo>
                  <a:lnTo>
                    <a:pt x="559499" y="208407"/>
                  </a:lnTo>
                  <a:lnTo>
                    <a:pt x="559499" y="207721"/>
                  </a:lnTo>
                  <a:lnTo>
                    <a:pt x="559550" y="207721"/>
                  </a:lnTo>
                  <a:lnTo>
                    <a:pt x="559550" y="206324"/>
                  </a:lnTo>
                  <a:lnTo>
                    <a:pt x="559550" y="207022"/>
                  </a:lnTo>
                  <a:lnTo>
                    <a:pt x="559550" y="206324"/>
                  </a:lnTo>
                  <a:lnTo>
                    <a:pt x="559651" y="206324"/>
                  </a:lnTo>
                  <a:lnTo>
                    <a:pt x="559651" y="204990"/>
                  </a:lnTo>
                  <a:lnTo>
                    <a:pt x="559651" y="206324"/>
                  </a:lnTo>
                  <a:lnTo>
                    <a:pt x="559651" y="204990"/>
                  </a:lnTo>
                  <a:lnTo>
                    <a:pt x="559702" y="204990"/>
                  </a:lnTo>
                  <a:lnTo>
                    <a:pt x="559702" y="207022"/>
                  </a:lnTo>
                  <a:lnTo>
                    <a:pt x="559702" y="206324"/>
                  </a:lnTo>
                  <a:lnTo>
                    <a:pt x="559753" y="206324"/>
                  </a:lnTo>
                  <a:lnTo>
                    <a:pt x="559753" y="207721"/>
                  </a:lnTo>
                  <a:lnTo>
                    <a:pt x="559753" y="207022"/>
                  </a:lnTo>
                  <a:lnTo>
                    <a:pt x="559753" y="207721"/>
                  </a:lnTo>
                  <a:lnTo>
                    <a:pt x="559804" y="208407"/>
                  </a:lnTo>
                  <a:lnTo>
                    <a:pt x="559804" y="207721"/>
                  </a:lnTo>
                  <a:lnTo>
                    <a:pt x="559804" y="208407"/>
                  </a:lnTo>
                  <a:lnTo>
                    <a:pt x="559804" y="207721"/>
                  </a:lnTo>
                  <a:lnTo>
                    <a:pt x="559804" y="208407"/>
                  </a:lnTo>
                  <a:lnTo>
                    <a:pt x="559804" y="207022"/>
                  </a:lnTo>
                  <a:lnTo>
                    <a:pt x="559804" y="207721"/>
                  </a:lnTo>
                  <a:lnTo>
                    <a:pt x="559893" y="207721"/>
                  </a:lnTo>
                  <a:lnTo>
                    <a:pt x="559893" y="207022"/>
                  </a:lnTo>
                  <a:lnTo>
                    <a:pt x="559893" y="207721"/>
                  </a:lnTo>
                  <a:lnTo>
                    <a:pt x="559943" y="207721"/>
                  </a:lnTo>
                  <a:lnTo>
                    <a:pt x="559943" y="207022"/>
                  </a:lnTo>
                  <a:lnTo>
                    <a:pt x="559943" y="207721"/>
                  </a:lnTo>
                  <a:lnTo>
                    <a:pt x="559943" y="207022"/>
                  </a:lnTo>
                  <a:lnTo>
                    <a:pt x="559943" y="207721"/>
                  </a:lnTo>
                  <a:lnTo>
                    <a:pt x="559994" y="207721"/>
                  </a:lnTo>
                  <a:lnTo>
                    <a:pt x="559994" y="207022"/>
                  </a:lnTo>
                  <a:lnTo>
                    <a:pt x="559994" y="207721"/>
                  </a:lnTo>
                  <a:lnTo>
                    <a:pt x="559994" y="207022"/>
                  </a:lnTo>
                  <a:lnTo>
                    <a:pt x="559994" y="207721"/>
                  </a:lnTo>
                  <a:lnTo>
                    <a:pt x="559994" y="207022"/>
                  </a:lnTo>
                  <a:lnTo>
                    <a:pt x="560045" y="207721"/>
                  </a:lnTo>
                  <a:lnTo>
                    <a:pt x="560045" y="204990"/>
                  </a:lnTo>
                  <a:lnTo>
                    <a:pt x="560147" y="204990"/>
                  </a:lnTo>
                  <a:lnTo>
                    <a:pt x="560147" y="203594"/>
                  </a:lnTo>
                  <a:lnTo>
                    <a:pt x="560147" y="204990"/>
                  </a:lnTo>
                  <a:lnTo>
                    <a:pt x="560197" y="204990"/>
                  </a:lnTo>
                  <a:lnTo>
                    <a:pt x="560197" y="204292"/>
                  </a:lnTo>
                  <a:lnTo>
                    <a:pt x="560197" y="207022"/>
                  </a:lnTo>
                  <a:lnTo>
                    <a:pt x="560248" y="207022"/>
                  </a:lnTo>
                  <a:lnTo>
                    <a:pt x="560248" y="206324"/>
                  </a:lnTo>
                  <a:lnTo>
                    <a:pt x="560248" y="207022"/>
                  </a:lnTo>
                  <a:lnTo>
                    <a:pt x="560248" y="206324"/>
                  </a:lnTo>
                  <a:lnTo>
                    <a:pt x="560248" y="207022"/>
                  </a:lnTo>
                  <a:lnTo>
                    <a:pt x="560248" y="206324"/>
                  </a:lnTo>
                  <a:lnTo>
                    <a:pt x="560248" y="207721"/>
                  </a:lnTo>
                  <a:lnTo>
                    <a:pt x="560350" y="207721"/>
                  </a:lnTo>
                  <a:lnTo>
                    <a:pt x="560350" y="207022"/>
                  </a:lnTo>
                  <a:lnTo>
                    <a:pt x="560350" y="207721"/>
                  </a:lnTo>
                  <a:lnTo>
                    <a:pt x="560388" y="207721"/>
                  </a:lnTo>
                  <a:lnTo>
                    <a:pt x="560388" y="207022"/>
                  </a:lnTo>
                  <a:lnTo>
                    <a:pt x="560388" y="208407"/>
                  </a:lnTo>
                  <a:lnTo>
                    <a:pt x="560439" y="207721"/>
                  </a:lnTo>
                  <a:lnTo>
                    <a:pt x="560439" y="208407"/>
                  </a:lnTo>
                  <a:lnTo>
                    <a:pt x="560439" y="207721"/>
                  </a:lnTo>
                  <a:lnTo>
                    <a:pt x="560439" y="208407"/>
                  </a:lnTo>
                  <a:lnTo>
                    <a:pt x="560439" y="207721"/>
                  </a:lnTo>
                  <a:lnTo>
                    <a:pt x="560439" y="208407"/>
                  </a:lnTo>
                  <a:lnTo>
                    <a:pt x="560490" y="208407"/>
                  </a:lnTo>
                  <a:lnTo>
                    <a:pt x="560490" y="207721"/>
                  </a:lnTo>
                  <a:lnTo>
                    <a:pt x="560490" y="208407"/>
                  </a:lnTo>
                  <a:lnTo>
                    <a:pt x="560490" y="207022"/>
                  </a:lnTo>
                  <a:lnTo>
                    <a:pt x="560591" y="207022"/>
                  </a:lnTo>
                  <a:lnTo>
                    <a:pt x="560591" y="207721"/>
                  </a:lnTo>
                  <a:lnTo>
                    <a:pt x="560591" y="204990"/>
                  </a:lnTo>
                  <a:lnTo>
                    <a:pt x="560642" y="204990"/>
                  </a:lnTo>
                  <a:lnTo>
                    <a:pt x="560642" y="204292"/>
                  </a:lnTo>
                  <a:lnTo>
                    <a:pt x="560642" y="204990"/>
                  </a:lnTo>
                  <a:lnTo>
                    <a:pt x="560642" y="204292"/>
                  </a:lnTo>
                  <a:lnTo>
                    <a:pt x="560642" y="206324"/>
                  </a:lnTo>
                  <a:lnTo>
                    <a:pt x="560642" y="204990"/>
                  </a:lnTo>
                  <a:lnTo>
                    <a:pt x="560693" y="204990"/>
                  </a:lnTo>
                  <a:lnTo>
                    <a:pt x="560693" y="206324"/>
                  </a:lnTo>
                  <a:lnTo>
                    <a:pt x="560693" y="204990"/>
                  </a:lnTo>
                  <a:lnTo>
                    <a:pt x="560693" y="207721"/>
                  </a:lnTo>
                  <a:lnTo>
                    <a:pt x="560693" y="207022"/>
                  </a:lnTo>
                  <a:lnTo>
                    <a:pt x="560794" y="207022"/>
                  </a:lnTo>
                  <a:lnTo>
                    <a:pt x="560794" y="207721"/>
                  </a:lnTo>
                  <a:lnTo>
                    <a:pt x="560794" y="207022"/>
                  </a:lnTo>
                  <a:lnTo>
                    <a:pt x="560845" y="206324"/>
                  </a:lnTo>
                  <a:lnTo>
                    <a:pt x="560845" y="207721"/>
                  </a:lnTo>
                  <a:lnTo>
                    <a:pt x="560845" y="206324"/>
                  </a:lnTo>
                  <a:lnTo>
                    <a:pt x="560896" y="206324"/>
                  </a:lnTo>
                  <a:lnTo>
                    <a:pt x="560896" y="207721"/>
                  </a:lnTo>
                  <a:lnTo>
                    <a:pt x="560896" y="207022"/>
                  </a:lnTo>
                  <a:lnTo>
                    <a:pt x="560896" y="207721"/>
                  </a:lnTo>
                  <a:lnTo>
                    <a:pt x="560896" y="207022"/>
                  </a:lnTo>
                  <a:lnTo>
                    <a:pt x="560896" y="207721"/>
                  </a:lnTo>
                  <a:lnTo>
                    <a:pt x="560896" y="207022"/>
                  </a:lnTo>
                  <a:lnTo>
                    <a:pt x="560896" y="207721"/>
                  </a:lnTo>
                  <a:lnTo>
                    <a:pt x="560934" y="207721"/>
                  </a:lnTo>
                  <a:lnTo>
                    <a:pt x="560934" y="208407"/>
                  </a:lnTo>
                  <a:lnTo>
                    <a:pt x="560934" y="207721"/>
                  </a:lnTo>
                  <a:lnTo>
                    <a:pt x="560934" y="208407"/>
                  </a:lnTo>
                  <a:lnTo>
                    <a:pt x="560934" y="207721"/>
                  </a:lnTo>
                  <a:lnTo>
                    <a:pt x="560934" y="208407"/>
                  </a:lnTo>
                  <a:lnTo>
                    <a:pt x="561036" y="208407"/>
                  </a:lnTo>
                  <a:lnTo>
                    <a:pt x="561036" y="207022"/>
                  </a:lnTo>
                  <a:lnTo>
                    <a:pt x="561036" y="207721"/>
                  </a:lnTo>
                  <a:lnTo>
                    <a:pt x="561036" y="207022"/>
                  </a:lnTo>
                  <a:lnTo>
                    <a:pt x="561036" y="207721"/>
                  </a:lnTo>
                  <a:lnTo>
                    <a:pt x="561036" y="207022"/>
                  </a:lnTo>
                  <a:lnTo>
                    <a:pt x="561087" y="207022"/>
                  </a:lnTo>
                  <a:lnTo>
                    <a:pt x="561087" y="204292"/>
                  </a:lnTo>
                  <a:lnTo>
                    <a:pt x="561087" y="204990"/>
                  </a:lnTo>
                  <a:lnTo>
                    <a:pt x="561137" y="204292"/>
                  </a:lnTo>
                  <a:lnTo>
                    <a:pt x="561137" y="203594"/>
                  </a:lnTo>
                  <a:lnTo>
                    <a:pt x="561137" y="206324"/>
                  </a:lnTo>
                  <a:lnTo>
                    <a:pt x="561137" y="204292"/>
                  </a:lnTo>
                  <a:lnTo>
                    <a:pt x="561239" y="204292"/>
                  </a:lnTo>
                  <a:lnTo>
                    <a:pt x="561239" y="203594"/>
                  </a:lnTo>
                  <a:lnTo>
                    <a:pt x="561239" y="207022"/>
                  </a:lnTo>
                  <a:lnTo>
                    <a:pt x="561239" y="204990"/>
                  </a:lnTo>
                  <a:lnTo>
                    <a:pt x="561290" y="204990"/>
                  </a:lnTo>
                  <a:lnTo>
                    <a:pt x="561290" y="207022"/>
                  </a:lnTo>
                  <a:lnTo>
                    <a:pt x="561290" y="206324"/>
                  </a:lnTo>
                  <a:lnTo>
                    <a:pt x="561341" y="206324"/>
                  </a:lnTo>
                  <a:lnTo>
                    <a:pt x="561341" y="204990"/>
                  </a:lnTo>
                  <a:lnTo>
                    <a:pt x="561341" y="207022"/>
                  </a:lnTo>
                  <a:lnTo>
                    <a:pt x="561341" y="206324"/>
                  </a:lnTo>
                  <a:lnTo>
                    <a:pt x="561341" y="207022"/>
                  </a:lnTo>
                  <a:lnTo>
                    <a:pt x="561341" y="206324"/>
                  </a:lnTo>
                  <a:lnTo>
                    <a:pt x="561341" y="207022"/>
                  </a:lnTo>
                  <a:lnTo>
                    <a:pt x="561341" y="206324"/>
                  </a:lnTo>
                  <a:lnTo>
                    <a:pt x="561341" y="207022"/>
                  </a:lnTo>
                  <a:lnTo>
                    <a:pt x="561391" y="207022"/>
                  </a:lnTo>
                  <a:lnTo>
                    <a:pt x="561391" y="207721"/>
                  </a:lnTo>
                  <a:lnTo>
                    <a:pt x="561391" y="207022"/>
                  </a:lnTo>
                  <a:lnTo>
                    <a:pt x="561391" y="207721"/>
                  </a:lnTo>
                  <a:lnTo>
                    <a:pt x="561391" y="207022"/>
                  </a:lnTo>
                  <a:lnTo>
                    <a:pt x="561391" y="207721"/>
                  </a:lnTo>
                  <a:lnTo>
                    <a:pt x="561391" y="207022"/>
                  </a:lnTo>
                  <a:lnTo>
                    <a:pt x="561391" y="207721"/>
                  </a:lnTo>
                  <a:lnTo>
                    <a:pt x="561480" y="207721"/>
                  </a:lnTo>
                  <a:lnTo>
                    <a:pt x="561480" y="208407"/>
                  </a:lnTo>
                  <a:lnTo>
                    <a:pt x="561480" y="207022"/>
                  </a:lnTo>
                  <a:lnTo>
                    <a:pt x="561480" y="207721"/>
                  </a:lnTo>
                  <a:lnTo>
                    <a:pt x="561480" y="207022"/>
                  </a:lnTo>
                  <a:lnTo>
                    <a:pt x="561480" y="207721"/>
                  </a:lnTo>
                  <a:lnTo>
                    <a:pt x="561480" y="207022"/>
                  </a:lnTo>
                  <a:lnTo>
                    <a:pt x="561480" y="207721"/>
                  </a:lnTo>
                  <a:lnTo>
                    <a:pt x="561480" y="207022"/>
                  </a:lnTo>
                  <a:lnTo>
                    <a:pt x="561531" y="207022"/>
                  </a:lnTo>
                  <a:lnTo>
                    <a:pt x="561531" y="207721"/>
                  </a:lnTo>
                  <a:lnTo>
                    <a:pt x="561531" y="206324"/>
                  </a:lnTo>
                  <a:lnTo>
                    <a:pt x="561531" y="207022"/>
                  </a:lnTo>
                  <a:lnTo>
                    <a:pt x="561531" y="206324"/>
                  </a:lnTo>
                  <a:lnTo>
                    <a:pt x="561531" y="207022"/>
                  </a:lnTo>
                  <a:lnTo>
                    <a:pt x="561582" y="206324"/>
                  </a:lnTo>
                  <a:lnTo>
                    <a:pt x="561582" y="204292"/>
                  </a:lnTo>
                  <a:lnTo>
                    <a:pt x="561582" y="204990"/>
                  </a:lnTo>
                  <a:lnTo>
                    <a:pt x="561582" y="204292"/>
                  </a:lnTo>
                  <a:lnTo>
                    <a:pt x="561633" y="204292"/>
                  </a:lnTo>
                  <a:lnTo>
                    <a:pt x="561633" y="204990"/>
                  </a:lnTo>
                  <a:lnTo>
                    <a:pt x="561633" y="204292"/>
                  </a:lnTo>
                  <a:lnTo>
                    <a:pt x="561633" y="204990"/>
                  </a:lnTo>
                  <a:lnTo>
                    <a:pt x="561633" y="204292"/>
                  </a:lnTo>
                  <a:lnTo>
                    <a:pt x="561633" y="204990"/>
                  </a:lnTo>
                  <a:lnTo>
                    <a:pt x="561633" y="203594"/>
                  </a:lnTo>
                  <a:lnTo>
                    <a:pt x="561734" y="204292"/>
                  </a:lnTo>
                  <a:lnTo>
                    <a:pt x="561734" y="207022"/>
                  </a:lnTo>
                  <a:lnTo>
                    <a:pt x="561734" y="204292"/>
                  </a:lnTo>
                  <a:lnTo>
                    <a:pt x="561734" y="204990"/>
                  </a:lnTo>
                  <a:lnTo>
                    <a:pt x="561785" y="206324"/>
                  </a:lnTo>
                  <a:lnTo>
                    <a:pt x="561785" y="204990"/>
                  </a:lnTo>
                  <a:lnTo>
                    <a:pt x="561836" y="204990"/>
                  </a:lnTo>
                  <a:lnTo>
                    <a:pt x="561836" y="206324"/>
                  </a:lnTo>
                  <a:lnTo>
                    <a:pt x="561836" y="204990"/>
                  </a:lnTo>
                  <a:lnTo>
                    <a:pt x="561836" y="206324"/>
                  </a:lnTo>
                  <a:lnTo>
                    <a:pt x="561836" y="204990"/>
                  </a:lnTo>
                  <a:lnTo>
                    <a:pt x="561836" y="207022"/>
                  </a:lnTo>
                  <a:lnTo>
                    <a:pt x="561937" y="206324"/>
                  </a:lnTo>
                  <a:lnTo>
                    <a:pt x="561937" y="207022"/>
                  </a:lnTo>
                  <a:lnTo>
                    <a:pt x="561937" y="204990"/>
                  </a:lnTo>
                  <a:lnTo>
                    <a:pt x="561937" y="207022"/>
                  </a:lnTo>
                  <a:lnTo>
                    <a:pt x="561937" y="206324"/>
                  </a:lnTo>
                  <a:lnTo>
                    <a:pt x="561976" y="206324"/>
                  </a:lnTo>
                  <a:lnTo>
                    <a:pt x="561976" y="207022"/>
                  </a:lnTo>
                  <a:lnTo>
                    <a:pt x="561976" y="206324"/>
                  </a:lnTo>
                  <a:lnTo>
                    <a:pt x="561976" y="207022"/>
                  </a:lnTo>
                  <a:lnTo>
                    <a:pt x="561976" y="206324"/>
                  </a:lnTo>
                  <a:lnTo>
                    <a:pt x="562026" y="206324"/>
                  </a:lnTo>
                  <a:lnTo>
                    <a:pt x="562026" y="207022"/>
                  </a:lnTo>
                  <a:lnTo>
                    <a:pt x="562026" y="204990"/>
                  </a:lnTo>
                  <a:lnTo>
                    <a:pt x="562077" y="204990"/>
                  </a:lnTo>
                  <a:lnTo>
                    <a:pt x="562077" y="206324"/>
                  </a:lnTo>
                  <a:lnTo>
                    <a:pt x="562077" y="202959"/>
                  </a:lnTo>
                  <a:lnTo>
                    <a:pt x="562077" y="203594"/>
                  </a:lnTo>
                  <a:lnTo>
                    <a:pt x="562179" y="203594"/>
                  </a:lnTo>
                  <a:lnTo>
                    <a:pt x="562179" y="204990"/>
                  </a:lnTo>
                  <a:lnTo>
                    <a:pt x="562179" y="203594"/>
                  </a:lnTo>
                  <a:lnTo>
                    <a:pt x="562179" y="204292"/>
                  </a:lnTo>
                  <a:lnTo>
                    <a:pt x="562230" y="204990"/>
                  </a:lnTo>
                  <a:lnTo>
                    <a:pt x="562230" y="207022"/>
                  </a:lnTo>
                  <a:lnTo>
                    <a:pt x="562230" y="204292"/>
                  </a:lnTo>
                  <a:lnTo>
                    <a:pt x="562230" y="206324"/>
                  </a:lnTo>
                  <a:lnTo>
                    <a:pt x="562280" y="206324"/>
                  </a:lnTo>
                  <a:lnTo>
                    <a:pt x="562280" y="207022"/>
                  </a:lnTo>
                  <a:lnTo>
                    <a:pt x="562280" y="204990"/>
                  </a:lnTo>
                  <a:lnTo>
                    <a:pt x="562280" y="206324"/>
                  </a:lnTo>
                  <a:lnTo>
                    <a:pt x="562382" y="206324"/>
                  </a:lnTo>
                  <a:lnTo>
                    <a:pt x="562382" y="207022"/>
                  </a:lnTo>
                  <a:lnTo>
                    <a:pt x="562382" y="206324"/>
                  </a:lnTo>
                  <a:lnTo>
                    <a:pt x="562382" y="207022"/>
                  </a:lnTo>
                  <a:lnTo>
                    <a:pt x="562382" y="206324"/>
                  </a:lnTo>
                  <a:lnTo>
                    <a:pt x="562382" y="207022"/>
                  </a:lnTo>
                  <a:lnTo>
                    <a:pt x="562382" y="206324"/>
                  </a:lnTo>
                  <a:lnTo>
                    <a:pt x="562433" y="206324"/>
                  </a:lnTo>
                  <a:lnTo>
                    <a:pt x="562433" y="207721"/>
                  </a:lnTo>
                  <a:lnTo>
                    <a:pt x="562433" y="207022"/>
                  </a:lnTo>
                  <a:lnTo>
                    <a:pt x="562433" y="207721"/>
                  </a:lnTo>
                  <a:lnTo>
                    <a:pt x="562483" y="207721"/>
                  </a:lnTo>
                  <a:lnTo>
                    <a:pt x="562483" y="206324"/>
                  </a:lnTo>
                  <a:lnTo>
                    <a:pt x="562522" y="206324"/>
                  </a:lnTo>
                  <a:lnTo>
                    <a:pt x="562522" y="207022"/>
                  </a:lnTo>
                  <a:lnTo>
                    <a:pt x="562522" y="206324"/>
                  </a:lnTo>
                  <a:lnTo>
                    <a:pt x="562522" y="207022"/>
                  </a:lnTo>
                  <a:lnTo>
                    <a:pt x="562522" y="204990"/>
                  </a:lnTo>
                  <a:lnTo>
                    <a:pt x="562623" y="204990"/>
                  </a:lnTo>
                  <a:lnTo>
                    <a:pt x="562623" y="204292"/>
                  </a:lnTo>
                  <a:lnTo>
                    <a:pt x="562623" y="207721"/>
                  </a:lnTo>
                  <a:lnTo>
                    <a:pt x="562623" y="207022"/>
                  </a:lnTo>
                  <a:lnTo>
                    <a:pt x="562674" y="206324"/>
                  </a:lnTo>
                  <a:lnTo>
                    <a:pt x="562674" y="208407"/>
                  </a:lnTo>
                  <a:lnTo>
                    <a:pt x="562674" y="207022"/>
                  </a:lnTo>
                  <a:lnTo>
                    <a:pt x="562725" y="207022"/>
                  </a:lnTo>
                  <a:lnTo>
                    <a:pt x="562725" y="207721"/>
                  </a:lnTo>
                  <a:lnTo>
                    <a:pt x="562725" y="207022"/>
                  </a:lnTo>
                  <a:lnTo>
                    <a:pt x="562725" y="208407"/>
                  </a:lnTo>
                  <a:lnTo>
                    <a:pt x="562725" y="207721"/>
                  </a:lnTo>
                  <a:lnTo>
                    <a:pt x="562826" y="207022"/>
                  </a:lnTo>
                  <a:lnTo>
                    <a:pt x="562826" y="207721"/>
                  </a:lnTo>
                  <a:lnTo>
                    <a:pt x="562826" y="207022"/>
                  </a:lnTo>
                  <a:lnTo>
                    <a:pt x="562826" y="208407"/>
                  </a:lnTo>
                  <a:lnTo>
                    <a:pt x="562826" y="207721"/>
                  </a:lnTo>
                  <a:lnTo>
                    <a:pt x="562877" y="207022"/>
                  </a:lnTo>
                  <a:lnTo>
                    <a:pt x="562877" y="207721"/>
                  </a:lnTo>
                  <a:lnTo>
                    <a:pt x="562877" y="207022"/>
                  </a:lnTo>
                  <a:lnTo>
                    <a:pt x="562877" y="207721"/>
                  </a:lnTo>
                  <a:lnTo>
                    <a:pt x="562877" y="207022"/>
                  </a:lnTo>
                  <a:lnTo>
                    <a:pt x="562877" y="207721"/>
                  </a:lnTo>
                  <a:lnTo>
                    <a:pt x="562877" y="207022"/>
                  </a:lnTo>
                  <a:lnTo>
                    <a:pt x="562928" y="207022"/>
                  </a:lnTo>
                  <a:lnTo>
                    <a:pt x="562928" y="207721"/>
                  </a:lnTo>
                  <a:lnTo>
                    <a:pt x="562928" y="207022"/>
                  </a:lnTo>
                  <a:lnTo>
                    <a:pt x="562979" y="207022"/>
                  </a:lnTo>
                  <a:lnTo>
                    <a:pt x="562979" y="204990"/>
                  </a:lnTo>
                  <a:lnTo>
                    <a:pt x="562979" y="206324"/>
                  </a:lnTo>
                  <a:lnTo>
                    <a:pt x="562979" y="204990"/>
                  </a:lnTo>
                  <a:lnTo>
                    <a:pt x="563068" y="204990"/>
                  </a:lnTo>
                  <a:lnTo>
                    <a:pt x="563068" y="206324"/>
                  </a:lnTo>
                  <a:lnTo>
                    <a:pt x="563068" y="204292"/>
                  </a:lnTo>
                  <a:lnTo>
                    <a:pt x="563118" y="204292"/>
                  </a:lnTo>
                  <a:lnTo>
                    <a:pt x="563118" y="203594"/>
                  </a:lnTo>
                  <a:lnTo>
                    <a:pt x="563118" y="204990"/>
                  </a:lnTo>
                  <a:lnTo>
                    <a:pt x="563118" y="203594"/>
                  </a:lnTo>
                  <a:lnTo>
                    <a:pt x="563169" y="203594"/>
                  </a:lnTo>
                  <a:lnTo>
                    <a:pt x="563169" y="207022"/>
                  </a:lnTo>
                  <a:lnTo>
                    <a:pt x="563169" y="204990"/>
                  </a:lnTo>
                  <a:lnTo>
                    <a:pt x="563220" y="204990"/>
                  </a:lnTo>
                  <a:lnTo>
                    <a:pt x="563220" y="207022"/>
                  </a:lnTo>
                  <a:lnTo>
                    <a:pt x="563220" y="204990"/>
                  </a:lnTo>
                  <a:lnTo>
                    <a:pt x="563220" y="206324"/>
                  </a:lnTo>
                  <a:lnTo>
                    <a:pt x="563322" y="206324"/>
                  </a:lnTo>
                  <a:lnTo>
                    <a:pt x="563322" y="207022"/>
                  </a:lnTo>
                  <a:lnTo>
                    <a:pt x="563322" y="206324"/>
                  </a:lnTo>
                  <a:lnTo>
                    <a:pt x="563322" y="207022"/>
                  </a:lnTo>
                  <a:lnTo>
                    <a:pt x="563322" y="206324"/>
                  </a:lnTo>
                  <a:lnTo>
                    <a:pt x="563322" y="207022"/>
                  </a:lnTo>
                  <a:lnTo>
                    <a:pt x="563372" y="207022"/>
                  </a:lnTo>
                  <a:lnTo>
                    <a:pt x="563372" y="207721"/>
                  </a:lnTo>
                  <a:lnTo>
                    <a:pt x="563372" y="207022"/>
                  </a:lnTo>
                  <a:lnTo>
                    <a:pt x="563372" y="207721"/>
                  </a:lnTo>
                  <a:lnTo>
                    <a:pt x="563372" y="207022"/>
                  </a:lnTo>
                  <a:lnTo>
                    <a:pt x="563372" y="207721"/>
                  </a:lnTo>
                  <a:lnTo>
                    <a:pt x="563372" y="207022"/>
                  </a:lnTo>
                  <a:lnTo>
                    <a:pt x="563372" y="207721"/>
                  </a:lnTo>
                  <a:lnTo>
                    <a:pt x="563372" y="207022"/>
                  </a:lnTo>
                  <a:lnTo>
                    <a:pt x="563423" y="207022"/>
                  </a:lnTo>
                  <a:lnTo>
                    <a:pt x="563423" y="207721"/>
                  </a:lnTo>
                  <a:lnTo>
                    <a:pt x="563423" y="207022"/>
                  </a:lnTo>
                  <a:lnTo>
                    <a:pt x="563525" y="207022"/>
                  </a:lnTo>
                  <a:lnTo>
                    <a:pt x="563525" y="204990"/>
                  </a:lnTo>
                  <a:lnTo>
                    <a:pt x="563525" y="206324"/>
                  </a:lnTo>
                  <a:lnTo>
                    <a:pt x="563525" y="204990"/>
                  </a:lnTo>
                  <a:lnTo>
                    <a:pt x="563525" y="206324"/>
                  </a:lnTo>
                  <a:lnTo>
                    <a:pt x="563525" y="204990"/>
                  </a:lnTo>
                  <a:lnTo>
                    <a:pt x="563563" y="204990"/>
                  </a:lnTo>
                  <a:lnTo>
                    <a:pt x="563563" y="204292"/>
                  </a:lnTo>
                  <a:lnTo>
                    <a:pt x="563563" y="204990"/>
                  </a:lnTo>
                  <a:lnTo>
                    <a:pt x="563563" y="203594"/>
                  </a:lnTo>
                  <a:lnTo>
                    <a:pt x="563614" y="203594"/>
                  </a:lnTo>
                  <a:lnTo>
                    <a:pt x="563614" y="204990"/>
                  </a:lnTo>
                  <a:lnTo>
                    <a:pt x="563614" y="203594"/>
                  </a:lnTo>
                  <a:lnTo>
                    <a:pt x="563614" y="204292"/>
                  </a:lnTo>
                  <a:lnTo>
                    <a:pt x="563614" y="203594"/>
                  </a:lnTo>
                  <a:lnTo>
                    <a:pt x="563665" y="204292"/>
                  </a:lnTo>
                  <a:lnTo>
                    <a:pt x="563665" y="206324"/>
                  </a:lnTo>
                  <a:lnTo>
                    <a:pt x="563665" y="204990"/>
                  </a:lnTo>
                  <a:lnTo>
                    <a:pt x="563665" y="206324"/>
                  </a:lnTo>
                  <a:lnTo>
                    <a:pt x="563766" y="206324"/>
                  </a:lnTo>
                  <a:lnTo>
                    <a:pt x="563766" y="204990"/>
                  </a:lnTo>
                  <a:lnTo>
                    <a:pt x="563766" y="206324"/>
                  </a:lnTo>
                  <a:lnTo>
                    <a:pt x="563817" y="206324"/>
                  </a:lnTo>
                  <a:lnTo>
                    <a:pt x="563817" y="207022"/>
                  </a:lnTo>
                  <a:lnTo>
                    <a:pt x="563817" y="206324"/>
                  </a:lnTo>
                  <a:lnTo>
                    <a:pt x="563817" y="207022"/>
                  </a:lnTo>
                  <a:lnTo>
                    <a:pt x="563817" y="206324"/>
                  </a:lnTo>
                  <a:lnTo>
                    <a:pt x="563817" y="207721"/>
                  </a:lnTo>
                  <a:lnTo>
                    <a:pt x="563817" y="207022"/>
                  </a:lnTo>
                  <a:lnTo>
                    <a:pt x="563868" y="207022"/>
                  </a:lnTo>
                  <a:lnTo>
                    <a:pt x="563868" y="206324"/>
                  </a:lnTo>
                  <a:lnTo>
                    <a:pt x="563868" y="207721"/>
                  </a:lnTo>
                  <a:lnTo>
                    <a:pt x="563969" y="207721"/>
                  </a:lnTo>
                  <a:lnTo>
                    <a:pt x="563969" y="206324"/>
                  </a:lnTo>
                  <a:lnTo>
                    <a:pt x="563969" y="207022"/>
                  </a:lnTo>
                  <a:lnTo>
                    <a:pt x="563969" y="206324"/>
                  </a:lnTo>
                  <a:lnTo>
                    <a:pt x="563969" y="207022"/>
                  </a:lnTo>
                  <a:lnTo>
                    <a:pt x="563969" y="206324"/>
                  </a:lnTo>
                  <a:lnTo>
                    <a:pt x="564020" y="207022"/>
                  </a:lnTo>
                  <a:lnTo>
                    <a:pt x="564020" y="204990"/>
                  </a:lnTo>
                  <a:lnTo>
                    <a:pt x="564071" y="204990"/>
                  </a:lnTo>
                  <a:lnTo>
                    <a:pt x="564071" y="202959"/>
                  </a:lnTo>
                  <a:lnTo>
                    <a:pt x="564109" y="202959"/>
                  </a:lnTo>
                  <a:lnTo>
                    <a:pt x="564109" y="202260"/>
                  </a:lnTo>
                  <a:lnTo>
                    <a:pt x="564109" y="202959"/>
                  </a:lnTo>
                  <a:lnTo>
                    <a:pt x="564109" y="202260"/>
                  </a:lnTo>
                  <a:lnTo>
                    <a:pt x="564109" y="204292"/>
                  </a:lnTo>
                  <a:lnTo>
                    <a:pt x="564109" y="202260"/>
                  </a:lnTo>
                  <a:lnTo>
                    <a:pt x="564211" y="202959"/>
                  </a:lnTo>
                  <a:lnTo>
                    <a:pt x="564211" y="204990"/>
                  </a:lnTo>
                  <a:lnTo>
                    <a:pt x="564211" y="203594"/>
                  </a:lnTo>
                  <a:lnTo>
                    <a:pt x="564262" y="203594"/>
                  </a:lnTo>
                  <a:lnTo>
                    <a:pt x="564262" y="204990"/>
                  </a:lnTo>
                  <a:lnTo>
                    <a:pt x="564262" y="204292"/>
                  </a:lnTo>
                  <a:lnTo>
                    <a:pt x="564312" y="204292"/>
                  </a:lnTo>
                  <a:lnTo>
                    <a:pt x="564312" y="206324"/>
                  </a:lnTo>
                  <a:lnTo>
                    <a:pt x="564414" y="204990"/>
                  </a:lnTo>
                  <a:lnTo>
                    <a:pt x="564414" y="207022"/>
                  </a:lnTo>
                  <a:lnTo>
                    <a:pt x="564465" y="207022"/>
                  </a:lnTo>
                  <a:lnTo>
                    <a:pt x="564465" y="206324"/>
                  </a:lnTo>
                  <a:lnTo>
                    <a:pt x="564465" y="207022"/>
                  </a:lnTo>
                  <a:lnTo>
                    <a:pt x="564516" y="206324"/>
                  </a:lnTo>
                  <a:lnTo>
                    <a:pt x="564516" y="204990"/>
                  </a:lnTo>
                  <a:lnTo>
                    <a:pt x="564516" y="206324"/>
                  </a:lnTo>
                  <a:lnTo>
                    <a:pt x="564516" y="204990"/>
                  </a:lnTo>
                  <a:lnTo>
                    <a:pt x="564566" y="204990"/>
                  </a:lnTo>
                  <a:lnTo>
                    <a:pt x="564566" y="204292"/>
                  </a:lnTo>
                  <a:lnTo>
                    <a:pt x="564566" y="204990"/>
                  </a:lnTo>
                  <a:lnTo>
                    <a:pt x="564566" y="202959"/>
                  </a:lnTo>
                  <a:lnTo>
                    <a:pt x="564655" y="202959"/>
                  </a:lnTo>
                  <a:lnTo>
                    <a:pt x="564655" y="204292"/>
                  </a:lnTo>
                  <a:lnTo>
                    <a:pt x="564655" y="202260"/>
                  </a:lnTo>
                  <a:lnTo>
                    <a:pt x="564655" y="202959"/>
                  </a:lnTo>
                  <a:lnTo>
                    <a:pt x="564706" y="202959"/>
                  </a:lnTo>
                  <a:lnTo>
                    <a:pt x="564706" y="204990"/>
                  </a:lnTo>
                  <a:lnTo>
                    <a:pt x="564706" y="202959"/>
                  </a:lnTo>
                  <a:lnTo>
                    <a:pt x="564706" y="203594"/>
                  </a:lnTo>
                  <a:lnTo>
                    <a:pt x="564757" y="203594"/>
                  </a:lnTo>
                  <a:lnTo>
                    <a:pt x="564757" y="204990"/>
                  </a:lnTo>
                  <a:lnTo>
                    <a:pt x="564757" y="203594"/>
                  </a:lnTo>
                  <a:lnTo>
                    <a:pt x="564757" y="204292"/>
                  </a:lnTo>
                  <a:lnTo>
                    <a:pt x="564757" y="203594"/>
                  </a:lnTo>
                  <a:lnTo>
                    <a:pt x="564757" y="204292"/>
                  </a:lnTo>
                  <a:lnTo>
                    <a:pt x="564757" y="203594"/>
                  </a:lnTo>
                  <a:lnTo>
                    <a:pt x="564757" y="204292"/>
                  </a:lnTo>
                  <a:lnTo>
                    <a:pt x="564808" y="204292"/>
                  </a:lnTo>
                  <a:lnTo>
                    <a:pt x="564808" y="204990"/>
                  </a:lnTo>
                  <a:lnTo>
                    <a:pt x="564808" y="204292"/>
                  </a:lnTo>
                  <a:lnTo>
                    <a:pt x="564808" y="204990"/>
                  </a:lnTo>
                  <a:lnTo>
                    <a:pt x="564909" y="204292"/>
                  </a:lnTo>
                  <a:lnTo>
                    <a:pt x="564909" y="204990"/>
                  </a:lnTo>
                  <a:lnTo>
                    <a:pt x="564909" y="204292"/>
                  </a:lnTo>
                  <a:lnTo>
                    <a:pt x="564909" y="206324"/>
                  </a:lnTo>
                  <a:lnTo>
                    <a:pt x="564960" y="206324"/>
                  </a:lnTo>
                  <a:lnTo>
                    <a:pt x="564960" y="204990"/>
                  </a:lnTo>
                  <a:lnTo>
                    <a:pt x="564960" y="206324"/>
                  </a:lnTo>
                  <a:lnTo>
                    <a:pt x="564960" y="204990"/>
                  </a:lnTo>
                  <a:lnTo>
                    <a:pt x="565011" y="204990"/>
                  </a:lnTo>
                  <a:lnTo>
                    <a:pt x="565011" y="206324"/>
                  </a:lnTo>
                  <a:lnTo>
                    <a:pt x="565011" y="204292"/>
                  </a:lnTo>
                  <a:lnTo>
                    <a:pt x="565112" y="204292"/>
                  </a:lnTo>
                  <a:lnTo>
                    <a:pt x="565112" y="204990"/>
                  </a:lnTo>
                  <a:lnTo>
                    <a:pt x="565112" y="203594"/>
                  </a:lnTo>
                  <a:lnTo>
                    <a:pt x="565112" y="204990"/>
                  </a:lnTo>
                  <a:lnTo>
                    <a:pt x="565151" y="204990"/>
                  </a:lnTo>
                  <a:lnTo>
                    <a:pt x="565151" y="203594"/>
                  </a:lnTo>
                  <a:lnTo>
                    <a:pt x="565151" y="206324"/>
                  </a:lnTo>
                  <a:lnTo>
                    <a:pt x="565201" y="206324"/>
                  </a:lnTo>
                  <a:lnTo>
                    <a:pt x="565201" y="204292"/>
                  </a:lnTo>
                  <a:lnTo>
                    <a:pt x="565201" y="204990"/>
                  </a:lnTo>
                  <a:lnTo>
                    <a:pt x="565201" y="204292"/>
                  </a:lnTo>
                  <a:lnTo>
                    <a:pt x="565201" y="206324"/>
                  </a:lnTo>
                  <a:lnTo>
                    <a:pt x="565252" y="206324"/>
                  </a:lnTo>
                  <a:lnTo>
                    <a:pt x="565252" y="204990"/>
                  </a:lnTo>
                  <a:lnTo>
                    <a:pt x="565252" y="206324"/>
                  </a:lnTo>
                  <a:lnTo>
                    <a:pt x="565354" y="206324"/>
                  </a:lnTo>
                  <a:lnTo>
                    <a:pt x="565354" y="207022"/>
                  </a:lnTo>
                  <a:lnTo>
                    <a:pt x="565354" y="206324"/>
                  </a:lnTo>
                  <a:lnTo>
                    <a:pt x="565354" y="207022"/>
                  </a:lnTo>
                  <a:lnTo>
                    <a:pt x="565354" y="206324"/>
                  </a:lnTo>
                  <a:lnTo>
                    <a:pt x="565354" y="207022"/>
                  </a:lnTo>
                  <a:lnTo>
                    <a:pt x="565354" y="204990"/>
                  </a:lnTo>
                  <a:lnTo>
                    <a:pt x="565405" y="206324"/>
                  </a:lnTo>
                  <a:lnTo>
                    <a:pt x="565405" y="207022"/>
                  </a:lnTo>
                  <a:lnTo>
                    <a:pt x="565405" y="204990"/>
                  </a:lnTo>
                  <a:lnTo>
                    <a:pt x="565405" y="206324"/>
                  </a:lnTo>
                  <a:lnTo>
                    <a:pt x="565405" y="204990"/>
                  </a:lnTo>
                  <a:lnTo>
                    <a:pt x="565405" y="206324"/>
                  </a:lnTo>
                  <a:lnTo>
                    <a:pt x="565455" y="206324"/>
                  </a:lnTo>
                  <a:lnTo>
                    <a:pt x="565455" y="207022"/>
                  </a:lnTo>
                  <a:lnTo>
                    <a:pt x="565455" y="204990"/>
                  </a:lnTo>
                  <a:lnTo>
                    <a:pt x="565557" y="204990"/>
                  </a:lnTo>
                  <a:lnTo>
                    <a:pt x="565557" y="206324"/>
                  </a:lnTo>
                  <a:lnTo>
                    <a:pt x="565557" y="204292"/>
                  </a:lnTo>
                  <a:lnTo>
                    <a:pt x="565608" y="204292"/>
                  </a:lnTo>
                  <a:lnTo>
                    <a:pt x="565608" y="204990"/>
                  </a:lnTo>
                  <a:lnTo>
                    <a:pt x="565608" y="203594"/>
                  </a:lnTo>
                  <a:lnTo>
                    <a:pt x="565608" y="206324"/>
                  </a:lnTo>
                  <a:lnTo>
                    <a:pt x="565658" y="204990"/>
                  </a:lnTo>
                  <a:lnTo>
                    <a:pt x="565658" y="203594"/>
                  </a:lnTo>
                  <a:lnTo>
                    <a:pt x="565658" y="207022"/>
                  </a:lnTo>
                  <a:lnTo>
                    <a:pt x="565658" y="206324"/>
                  </a:lnTo>
                  <a:lnTo>
                    <a:pt x="565658" y="207022"/>
                  </a:lnTo>
                  <a:lnTo>
                    <a:pt x="565658" y="206324"/>
                  </a:lnTo>
                  <a:lnTo>
                    <a:pt x="565697" y="206324"/>
                  </a:lnTo>
                  <a:lnTo>
                    <a:pt x="565697" y="207022"/>
                  </a:lnTo>
                  <a:lnTo>
                    <a:pt x="565697" y="206324"/>
                  </a:lnTo>
                  <a:lnTo>
                    <a:pt x="565697" y="207022"/>
                  </a:lnTo>
                  <a:lnTo>
                    <a:pt x="565697" y="206324"/>
                  </a:lnTo>
                  <a:lnTo>
                    <a:pt x="565798" y="206324"/>
                  </a:lnTo>
                  <a:lnTo>
                    <a:pt x="565798" y="207022"/>
                  </a:lnTo>
                  <a:lnTo>
                    <a:pt x="565798" y="206324"/>
                  </a:lnTo>
                  <a:lnTo>
                    <a:pt x="565849" y="207022"/>
                  </a:lnTo>
                  <a:lnTo>
                    <a:pt x="565849" y="206324"/>
                  </a:lnTo>
                  <a:lnTo>
                    <a:pt x="565849" y="207022"/>
                  </a:lnTo>
                  <a:lnTo>
                    <a:pt x="565849" y="206324"/>
                  </a:lnTo>
                  <a:lnTo>
                    <a:pt x="565849" y="207022"/>
                  </a:lnTo>
                  <a:lnTo>
                    <a:pt x="565900" y="206324"/>
                  </a:lnTo>
                  <a:lnTo>
                    <a:pt x="565900" y="207022"/>
                  </a:lnTo>
                  <a:lnTo>
                    <a:pt x="565900" y="206324"/>
                  </a:lnTo>
                  <a:lnTo>
                    <a:pt x="565900" y="207022"/>
                  </a:lnTo>
                  <a:lnTo>
                    <a:pt x="565900" y="206324"/>
                  </a:lnTo>
                  <a:lnTo>
                    <a:pt x="565900" y="207022"/>
                  </a:lnTo>
                  <a:lnTo>
                    <a:pt x="565900" y="206324"/>
                  </a:lnTo>
                  <a:lnTo>
                    <a:pt x="566001" y="206324"/>
                  </a:lnTo>
                  <a:lnTo>
                    <a:pt x="566001" y="204990"/>
                  </a:lnTo>
                  <a:lnTo>
                    <a:pt x="566001" y="206324"/>
                  </a:lnTo>
                  <a:lnTo>
                    <a:pt x="566001" y="204990"/>
                  </a:lnTo>
                  <a:lnTo>
                    <a:pt x="566052" y="204292"/>
                  </a:lnTo>
                  <a:lnTo>
                    <a:pt x="566052" y="203594"/>
                  </a:lnTo>
                  <a:lnTo>
                    <a:pt x="566103" y="202959"/>
                  </a:lnTo>
                  <a:lnTo>
                    <a:pt x="566103" y="203594"/>
                  </a:lnTo>
                  <a:lnTo>
                    <a:pt x="566103" y="202260"/>
                  </a:lnTo>
                  <a:lnTo>
                    <a:pt x="566103" y="204292"/>
                  </a:lnTo>
                  <a:lnTo>
                    <a:pt x="566103" y="203594"/>
                  </a:lnTo>
                  <a:lnTo>
                    <a:pt x="566154" y="203594"/>
                  </a:lnTo>
                  <a:lnTo>
                    <a:pt x="566154" y="204292"/>
                  </a:lnTo>
                  <a:lnTo>
                    <a:pt x="566154" y="203594"/>
                  </a:lnTo>
                  <a:lnTo>
                    <a:pt x="566154" y="206324"/>
                  </a:lnTo>
                  <a:lnTo>
                    <a:pt x="566154" y="204990"/>
                  </a:lnTo>
                  <a:lnTo>
                    <a:pt x="566243" y="204990"/>
                  </a:lnTo>
                  <a:lnTo>
                    <a:pt x="566243" y="204292"/>
                  </a:lnTo>
                  <a:lnTo>
                    <a:pt x="566243" y="206324"/>
                  </a:lnTo>
                  <a:lnTo>
                    <a:pt x="566243" y="204990"/>
                  </a:lnTo>
                  <a:lnTo>
                    <a:pt x="566243" y="206324"/>
                  </a:lnTo>
                  <a:lnTo>
                    <a:pt x="566243" y="204990"/>
                  </a:lnTo>
                  <a:lnTo>
                    <a:pt x="566293" y="206324"/>
                  </a:lnTo>
                  <a:lnTo>
                    <a:pt x="566293" y="204990"/>
                  </a:lnTo>
                  <a:lnTo>
                    <a:pt x="566293" y="207022"/>
                  </a:lnTo>
                  <a:lnTo>
                    <a:pt x="566293" y="206324"/>
                  </a:lnTo>
                  <a:lnTo>
                    <a:pt x="566293" y="207022"/>
                  </a:lnTo>
                  <a:lnTo>
                    <a:pt x="566293" y="206324"/>
                  </a:lnTo>
                  <a:lnTo>
                    <a:pt x="566293" y="207022"/>
                  </a:lnTo>
                  <a:lnTo>
                    <a:pt x="566293" y="206324"/>
                  </a:lnTo>
                  <a:lnTo>
                    <a:pt x="566344" y="206324"/>
                  </a:lnTo>
                  <a:lnTo>
                    <a:pt x="566344" y="207022"/>
                  </a:lnTo>
                  <a:lnTo>
                    <a:pt x="566344" y="206324"/>
                  </a:lnTo>
                  <a:lnTo>
                    <a:pt x="566344" y="207022"/>
                  </a:lnTo>
                  <a:lnTo>
                    <a:pt x="566344" y="206324"/>
                  </a:lnTo>
                  <a:lnTo>
                    <a:pt x="566344" y="207022"/>
                  </a:lnTo>
                  <a:lnTo>
                    <a:pt x="566344" y="206324"/>
                  </a:lnTo>
                  <a:lnTo>
                    <a:pt x="566344" y="207022"/>
                  </a:lnTo>
                  <a:lnTo>
                    <a:pt x="566395" y="207022"/>
                  </a:lnTo>
                  <a:lnTo>
                    <a:pt x="566395" y="207721"/>
                  </a:lnTo>
                  <a:lnTo>
                    <a:pt x="566395" y="207022"/>
                  </a:lnTo>
                  <a:lnTo>
                    <a:pt x="566395" y="207721"/>
                  </a:lnTo>
                  <a:lnTo>
                    <a:pt x="566395" y="207022"/>
                  </a:lnTo>
                  <a:lnTo>
                    <a:pt x="566497" y="207022"/>
                  </a:lnTo>
                  <a:lnTo>
                    <a:pt x="566497" y="206324"/>
                  </a:lnTo>
                  <a:lnTo>
                    <a:pt x="566497" y="207022"/>
                  </a:lnTo>
                  <a:lnTo>
                    <a:pt x="566497" y="206324"/>
                  </a:lnTo>
                  <a:lnTo>
                    <a:pt x="566497" y="207022"/>
                  </a:lnTo>
                  <a:lnTo>
                    <a:pt x="566497" y="206324"/>
                  </a:lnTo>
                  <a:lnTo>
                    <a:pt x="566547" y="206324"/>
                  </a:lnTo>
                  <a:lnTo>
                    <a:pt x="566547" y="203594"/>
                  </a:lnTo>
                  <a:lnTo>
                    <a:pt x="566547" y="204292"/>
                  </a:lnTo>
                  <a:lnTo>
                    <a:pt x="566598" y="203594"/>
                  </a:lnTo>
                  <a:lnTo>
                    <a:pt x="566598" y="204990"/>
                  </a:lnTo>
                  <a:lnTo>
                    <a:pt x="566598" y="203594"/>
                  </a:lnTo>
                  <a:lnTo>
                    <a:pt x="566598" y="204292"/>
                  </a:lnTo>
                  <a:lnTo>
                    <a:pt x="566700" y="204292"/>
                  </a:lnTo>
                  <a:lnTo>
                    <a:pt x="566700" y="206324"/>
                  </a:lnTo>
                  <a:lnTo>
                    <a:pt x="566700" y="204990"/>
                  </a:lnTo>
                  <a:lnTo>
                    <a:pt x="566700" y="206324"/>
                  </a:lnTo>
                  <a:lnTo>
                    <a:pt x="566700" y="204990"/>
                  </a:lnTo>
                  <a:lnTo>
                    <a:pt x="566738" y="204990"/>
                  </a:lnTo>
                  <a:lnTo>
                    <a:pt x="566738" y="206324"/>
                  </a:lnTo>
                  <a:lnTo>
                    <a:pt x="566738" y="204990"/>
                  </a:lnTo>
                  <a:lnTo>
                    <a:pt x="566738" y="206324"/>
                  </a:lnTo>
                  <a:lnTo>
                    <a:pt x="566738" y="204990"/>
                  </a:lnTo>
                  <a:lnTo>
                    <a:pt x="566738" y="206324"/>
                  </a:lnTo>
                  <a:lnTo>
                    <a:pt x="566789" y="206324"/>
                  </a:lnTo>
                  <a:lnTo>
                    <a:pt x="566789" y="207022"/>
                  </a:lnTo>
                  <a:lnTo>
                    <a:pt x="566789" y="206324"/>
                  </a:lnTo>
                  <a:lnTo>
                    <a:pt x="566789" y="207022"/>
                  </a:lnTo>
                  <a:lnTo>
                    <a:pt x="566840" y="207022"/>
                  </a:lnTo>
                  <a:lnTo>
                    <a:pt x="566840" y="206324"/>
                  </a:lnTo>
                  <a:lnTo>
                    <a:pt x="566840" y="207022"/>
                  </a:lnTo>
                  <a:lnTo>
                    <a:pt x="566840" y="204990"/>
                  </a:lnTo>
                  <a:lnTo>
                    <a:pt x="566840" y="206324"/>
                  </a:lnTo>
                  <a:lnTo>
                    <a:pt x="566941" y="206324"/>
                  </a:lnTo>
                  <a:lnTo>
                    <a:pt x="566941" y="204990"/>
                  </a:lnTo>
                  <a:lnTo>
                    <a:pt x="566941" y="206324"/>
                  </a:lnTo>
                  <a:lnTo>
                    <a:pt x="566941" y="204990"/>
                  </a:lnTo>
                  <a:lnTo>
                    <a:pt x="566941" y="206324"/>
                  </a:lnTo>
                  <a:lnTo>
                    <a:pt x="566941" y="204990"/>
                  </a:lnTo>
                  <a:lnTo>
                    <a:pt x="566941" y="206324"/>
                  </a:lnTo>
                  <a:lnTo>
                    <a:pt x="566992" y="206324"/>
                  </a:lnTo>
                  <a:lnTo>
                    <a:pt x="566992" y="204292"/>
                  </a:lnTo>
                  <a:lnTo>
                    <a:pt x="566992" y="204990"/>
                  </a:lnTo>
                  <a:lnTo>
                    <a:pt x="566992" y="204292"/>
                  </a:lnTo>
                  <a:lnTo>
                    <a:pt x="566992" y="204990"/>
                  </a:lnTo>
                  <a:lnTo>
                    <a:pt x="566992" y="204292"/>
                  </a:lnTo>
                  <a:lnTo>
                    <a:pt x="566992" y="204990"/>
                  </a:lnTo>
                  <a:lnTo>
                    <a:pt x="567043" y="204990"/>
                  </a:lnTo>
                  <a:lnTo>
                    <a:pt x="567043" y="202260"/>
                  </a:lnTo>
                  <a:lnTo>
                    <a:pt x="567043" y="202959"/>
                  </a:lnTo>
                  <a:lnTo>
                    <a:pt x="567043" y="202260"/>
                  </a:lnTo>
                  <a:lnTo>
                    <a:pt x="567043" y="202959"/>
                  </a:lnTo>
                  <a:lnTo>
                    <a:pt x="567144" y="202959"/>
                  </a:lnTo>
                  <a:lnTo>
                    <a:pt x="567144" y="203594"/>
                  </a:lnTo>
                  <a:lnTo>
                    <a:pt x="567144" y="202260"/>
                  </a:lnTo>
                  <a:lnTo>
                    <a:pt x="567195" y="202959"/>
                  </a:lnTo>
                  <a:lnTo>
                    <a:pt x="567195" y="204292"/>
                  </a:lnTo>
                  <a:lnTo>
                    <a:pt x="567195" y="203594"/>
                  </a:lnTo>
                  <a:lnTo>
                    <a:pt x="567195" y="204292"/>
                  </a:lnTo>
                  <a:lnTo>
                    <a:pt x="567195" y="203594"/>
                  </a:lnTo>
                  <a:lnTo>
                    <a:pt x="567195" y="204292"/>
                  </a:lnTo>
                  <a:lnTo>
                    <a:pt x="567246" y="204292"/>
                  </a:lnTo>
                  <a:lnTo>
                    <a:pt x="567246" y="204990"/>
                  </a:lnTo>
                  <a:lnTo>
                    <a:pt x="567246" y="204292"/>
                  </a:lnTo>
                  <a:lnTo>
                    <a:pt x="567246" y="204990"/>
                  </a:lnTo>
                  <a:lnTo>
                    <a:pt x="567246" y="203594"/>
                  </a:lnTo>
                  <a:lnTo>
                    <a:pt x="567246" y="204292"/>
                  </a:lnTo>
                  <a:lnTo>
                    <a:pt x="567284" y="204990"/>
                  </a:lnTo>
                  <a:lnTo>
                    <a:pt x="567284" y="204292"/>
                  </a:lnTo>
                  <a:lnTo>
                    <a:pt x="567284" y="204990"/>
                  </a:lnTo>
                  <a:lnTo>
                    <a:pt x="567284" y="204292"/>
                  </a:lnTo>
                  <a:lnTo>
                    <a:pt x="567284" y="206324"/>
                  </a:lnTo>
                  <a:lnTo>
                    <a:pt x="567386" y="206324"/>
                  </a:lnTo>
                  <a:lnTo>
                    <a:pt x="567386" y="204990"/>
                  </a:lnTo>
                  <a:lnTo>
                    <a:pt x="567386" y="207022"/>
                  </a:lnTo>
                  <a:lnTo>
                    <a:pt x="567437" y="207022"/>
                  </a:lnTo>
                  <a:lnTo>
                    <a:pt x="567437" y="206324"/>
                  </a:lnTo>
                  <a:lnTo>
                    <a:pt x="567437" y="207022"/>
                  </a:lnTo>
                  <a:lnTo>
                    <a:pt x="567437" y="206324"/>
                  </a:lnTo>
                  <a:lnTo>
                    <a:pt x="567437" y="207022"/>
                  </a:lnTo>
                  <a:lnTo>
                    <a:pt x="567437" y="206324"/>
                  </a:lnTo>
                  <a:lnTo>
                    <a:pt x="567487" y="206324"/>
                  </a:lnTo>
                  <a:lnTo>
                    <a:pt x="567487" y="204292"/>
                  </a:lnTo>
                  <a:lnTo>
                    <a:pt x="567589" y="204292"/>
                  </a:lnTo>
                  <a:lnTo>
                    <a:pt x="567589" y="203594"/>
                  </a:lnTo>
                  <a:lnTo>
                    <a:pt x="567640" y="203594"/>
                  </a:lnTo>
                  <a:lnTo>
                    <a:pt x="567640" y="202260"/>
                  </a:lnTo>
                  <a:lnTo>
                    <a:pt x="567640" y="204990"/>
                  </a:lnTo>
                  <a:lnTo>
                    <a:pt x="567691" y="204990"/>
                  </a:lnTo>
                  <a:lnTo>
                    <a:pt x="567691" y="204292"/>
                  </a:lnTo>
                  <a:lnTo>
                    <a:pt x="567691" y="204990"/>
                  </a:lnTo>
                  <a:lnTo>
                    <a:pt x="567741" y="204990"/>
                  </a:lnTo>
                  <a:lnTo>
                    <a:pt x="567741" y="204292"/>
                  </a:lnTo>
                  <a:lnTo>
                    <a:pt x="567741" y="204990"/>
                  </a:lnTo>
                  <a:lnTo>
                    <a:pt x="567741" y="204292"/>
                  </a:lnTo>
                  <a:lnTo>
                    <a:pt x="567741" y="204990"/>
                  </a:lnTo>
                  <a:lnTo>
                    <a:pt x="567830" y="204292"/>
                  </a:lnTo>
                  <a:lnTo>
                    <a:pt x="567830" y="204990"/>
                  </a:lnTo>
                  <a:lnTo>
                    <a:pt x="567830" y="204292"/>
                  </a:lnTo>
                  <a:lnTo>
                    <a:pt x="567830" y="204990"/>
                  </a:lnTo>
                  <a:lnTo>
                    <a:pt x="567881" y="204990"/>
                  </a:lnTo>
                  <a:lnTo>
                    <a:pt x="567881" y="204292"/>
                  </a:lnTo>
                  <a:lnTo>
                    <a:pt x="567881" y="204990"/>
                  </a:lnTo>
                  <a:lnTo>
                    <a:pt x="567881" y="204292"/>
                  </a:lnTo>
                  <a:lnTo>
                    <a:pt x="567881" y="206324"/>
                  </a:lnTo>
                  <a:lnTo>
                    <a:pt x="567881" y="204990"/>
                  </a:lnTo>
                  <a:lnTo>
                    <a:pt x="567932" y="204990"/>
                  </a:lnTo>
                  <a:lnTo>
                    <a:pt x="567932" y="206324"/>
                  </a:lnTo>
                  <a:lnTo>
                    <a:pt x="567932" y="204990"/>
                  </a:lnTo>
                  <a:lnTo>
                    <a:pt x="567932" y="206324"/>
                  </a:lnTo>
                  <a:lnTo>
                    <a:pt x="567932" y="204990"/>
                  </a:lnTo>
                  <a:lnTo>
                    <a:pt x="567932" y="206324"/>
                  </a:lnTo>
                  <a:lnTo>
                    <a:pt x="567983" y="204990"/>
                  </a:lnTo>
                  <a:lnTo>
                    <a:pt x="567983" y="204292"/>
                  </a:lnTo>
                  <a:lnTo>
                    <a:pt x="567983" y="204990"/>
                  </a:lnTo>
                  <a:lnTo>
                    <a:pt x="567983" y="204292"/>
                  </a:lnTo>
                  <a:lnTo>
                    <a:pt x="567983" y="204990"/>
                  </a:lnTo>
                  <a:lnTo>
                    <a:pt x="567983" y="203594"/>
                  </a:lnTo>
                  <a:lnTo>
                    <a:pt x="567983" y="204292"/>
                  </a:lnTo>
                  <a:lnTo>
                    <a:pt x="567983" y="203594"/>
                  </a:lnTo>
                  <a:lnTo>
                    <a:pt x="568084" y="203594"/>
                  </a:lnTo>
                  <a:lnTo>
                    <a:pt x="568084" y="204292"/>
                  </a:lnTo>
                  <a:lnTo>
                    <a:pt x="568084" y="202959"/>
                  </a:lnTo>
                  <a:lnTo>
                    <a:pt x="568084" y="204292"/>
                  </a:lnTo>
                  <a:lnTo>
                    <a:pt x="568135" y="204292"/>
                  </a:lnTo>
                  <a:lnTo>
                    <a:pt x="568135" y="203594"/>
                  </a:lnTo>
                  <a:lnTo>
                    <a:pt x="568135" y="206324"/>
                  </a:lnTo>
                  <a:lnTo>
                    <a:pt x="568135" y="204990"/>
                  </a:lnTo>
                  <a:lnTo>
                    <a:pt x="568186" y="204292"/>
                  </a:lnTo>
                  <a:lnTo>
                    <a:pt x="568186" y="206324"/>
                  </a:lnTo>
                  <a:lnTo>
                    <a:pt x="568186" y="204990"/>
                  </a:lnTo>
                  <a:lnTo>
                    <a:pt x="568287" y="204990"/>
                  </a:lnTo>
                  <a:lnTo>
                    <a:pt x="568287" y="206324"/>
                  </a:lnTo>
                  <a:lnTo>
                    <a:pt x="568287" y="204990"/>
                  </a:lnTo>
                  <a:lnTo>
                    <a:pt x="568326" y="204990"/>
                  </a:lnTo>
                  <a:lnTo>
                    <a:pt x="568326" y="206324"/>
                  </a:lnTo>
                  <a:lnTo>
                    <a:pt x="568326" y="204990"/>
                  </a:lnTo>
                  <a:lnTo>
                    <a:pt x="568326" y="206324"/>
                  </a:lnTo>
                  <a:lnTo>
                    <a:pt x="568326" y="204990"/>
                  </a:lnTo>
                  <a:lnTo>
                    <a:pt x="568326" y="206324"/>
                  </a:lnTo>
                  <a:lnTo>
                    <a:pt x="568376" y="206324"/>
                  </a:lnTo>
                  <a:lnTo>
                    <a:pt x="568376" y="207022"/>
                  </a:lnTo>
                  <a:lnTo>
                    <a:pt x="568376" y="206324"/>
                  </a:lnTo>
                  <a:lnTo>
                    <a:pt x="568427" y="206324"/>
                  </a:lnTo>
                  <a:lnTo>
                    <a:pt x="568427" y="207022"/>
                  </a:lnTo>
                  <a:lnTo>
                    <a:pt x="568427" y="206324"/>
                  </a:lnTo>
                  <a:lnTo>
                    <a:pt x="568427" y="207022"/>
                  </a:lnTo>
                  <a:lnTo>
                    <a:pt x="568427" y="206324"/>
                  </a:lnTo>
                  <a:lnTo>
                    <a:pt x="568529" y="206324"/>
                  </a:lnTo>
                  <a:lnTo>
                    <a:pt x="568529" y="204990"/>
                  </a:lnTo>
                  <a:lnTo>
                    <a:pt x="568529" y="206324"/>
                  </a:lnTo>
                  <a:lnTo>
                    <a:pt x="568529" y="204292"/>
                  </a:lnTo>
                  <a:lnTo>
                    <a:pt x="568580" y="204292"/>
                  </a:lnTo>
                  <a:lnTo>
                    <a:pt x="568580" y="207022"/>
                  </a:lnTo>
                  <a:lnTo>
                    <a:pt x="568580" y="204292"/>
                  </a:lnTo>
                  <a:lnTo>
                    <a:pt x="568580" y="207022"/>
                  </a:lnTo>
                  <a:lnTo>
                    <a:pt x="568630" y="207022"/>
                  </a:lnTo>
                  <a:lnTo>
                    <a:pt x="568630" y="208407"/>
                  </a:lnTo>
                  <a:lnTo>
                    <a:pt x="568630" y="206324"/>
                  </a:lnTo>
                  <a:lnTo>
                    <a:pt x="568630" y="207721"/>
                  </a:lnTo>
                  <a:lnTo>
                    <a:pt x="568732" y="207721"/>
                  </a:lnTo>
                  <a:lnTo>
                    <a:pt x="568732" y="208407"/>
                  </a:lnTo>
                  <a:lnTo>
                    <a:pt x="568732" y="207022"/>
                  </a:lnTo>
                  <a:lnTo>
                    <a:pt x="568732" y="207721"/>
                  </a:lnTo>
                  <a:lnTo>
                    <a:pt x="568783" y="207721"/>
                  </a:lnTo>
                  <a:lnTo>
                    <a:pt x="568783" y="207022"/>
                  </a:lnTo>
                  <a:lnTo>
                    <a:pt x="568783" y="207721"/>
                  </a:lnTo>
                  <a:lnTo>
                    <a:pt x="568783" y="207022"/>
                  </a:lnTo>
                  <a:lnTo>
                    <a:pt x="568783" y="207721"/>
                  </a:lnTo>
                  <a:lnTo>
                    <a:pt x="568783" y="207022"/>
                  </a:lnTo>
                  <a:lnTo>
                    <a:pt x="568783" y="207721"/>
                  </a:lnTo>
                  <a:lnTo>
                    <a:pt x="568783" y="207022"/>
                  </a:lnTo>
                  <a:lnTo>
                    <a:pt x="568833" y="207022"/>
                  </a:lnTo>
                  <a:lnTo>
                    <a:pt x="568833" y="207721"/>
                  </a:lnTo>
                  <a:lnTo>
                    <a:pt x="568833" y="206324"/>
                  </a:lnTo>
                  <a:lnTo>
                    <a:pt x="568833" y="207721"/>
                  </a:lnTo>
                  <a:lnTo>
                    <a:pt x="568833" y="207022"/>
                  </a:lnTo>
                  <a:lnTo>
                    <a:pt x="568872" y="207022"/>
                  </a:lnTo>
                  <a:lnTo>
                    <a:pt x="568872" y="206324"/>
                  </a:lnTo>
                  <a:lnTo>
                    <a:pt x="568973" y="206324"/>
                  </a:lnTo>
                  <a:lnTo>
                    <a:pt x="568973" y="204990"/>
                  </a:lnTo>
                  <a:lnTo>
                    <a:pt x="568973" y="206324"/>
                  </a:lnTo>
                  <a:lnTo>
                    <a:pt x="568973" y="204292"/>
                  </a:lnTo>
                  <a:lnTo>
                    <a:pt x="569024" y="204292"/>
                  </a:lnTo>
                  <a:lnTo>
                    <a:pt x="569024" y="203594"/>
                  </a:lnTo>
                  <a:lnTo>
                    <a:pt x="569024" y="204292"/>
                  </a:lnTo>
                  <a:lnTo>
                    <a:pt x="569024" y="202959"/>
                  </a:lnTo>
                  <a:lnTo>
                    <a:pt x="569024" y="206324"/>
                  </a:lnTo>
                  <a:lnTo>
                    <a:pt x="569075" y="206324"/>
                  </a:lnTo>
                  <a:lnTo>
                    <a:pt x="569075" y="203594"/>
                  </a:lnTo>
                  <a:lnTo>
                    <a:pt x="569075" y="206324"/>
                  </a:lnTo>
                  <a:lnTo>
                    <a:pt x="569176" y="206324"/>
                  </a:lnTo>
                  <a:lnTo>
                    <a:pt x="569176" y="204292"/>
                  </a:lnTo>
                  <a:lnTo>
                    <a:pt x="569176" y="207022"/>
                  </a:lnTo>
                  <a:lnTo>
                    <a:pt x="569227" y="207022"/>
                  </a:lnTo>
                  <a:lnTo>
                    <a:pt x="569227" y="206324"/>
                  </a:lnTo>
                  <a:lnTo>
                    <a:pt x="569227" y="207022"/>
                  </a:lnTo>
                  <a:lnTo>
                    <a:pt x="569278" y="207022"/>
                  </a:lnTo>
                  <a:lnTo>
                    <a:pt x="569278" y="206324"/>
                  </a:lnTo>
                  <a:lnTo>
                    <a:pt x="569278" y="207022"/>
                  </a:lnTo>
                  <a:lnTo>
                    <a:pt x="569329" y="207022"/>
                  </a:lnTo>
                  <a:lnTo>
                    <a:pt x="569329" y="207721"/>
                  </a:lnTo>
                  <a:lnTo>
                    <a:pt x="569329" y="207022"/>
                  </a:lnTo>
                  <a:lnTo>
                    <a:pt x="569418" y="207022"/>
                  </a:lnTo>
                  <a:lnTo>
                    <a:pt x="569418" y="206324"/>
                  </a:lnTo>
                  <a:lnTo>
                    <a:pt x="569418" y="207022"/>
                  </a:lnTo>
                  <a:lnTo>
                    <a:pt x="569418" y="206324"/>
                  </a:lnTo>
                  <a:lnTo>
                    <a:pt x="569468" y="206324"/>
                  </a:lnTo>
                  <a:lnTo>
                    <a:pt x="569468" y="204292"/>
                  </a:lnTo>
                  <a:lnTo>
                    <a:pt x="569468" y="204990"/>
                  </a:lnTo>
                  <a:lnTo>
                    <a:pt x="569468" y="204292"/>
                  </a:lnTo>
                  <a:lnTo>
                    <a:pt x="569519" y="204292"/>
                  </a:lnTo>
                  <a:lnTo>
                    <a:pt x="569519" y="203594"/>
                  </a:lnTo>
                  <a:lnTo>
                    <a:pt x="569519" y="204292"/>
                  </a:lnTo>
                  <a:lnTo>
                    <a:pt x="569519" y="203594"/>
                  </a:lnTo>
                  <a:lnTo>
                    <a:pt x="569519" y="204990"/>
                  </a:lnTo>
                  <a:lnTo>
                    <a:pt x="569519" y="203594"/>
                  </a:lnTo>
                  <a:lnTo>
                    <a:pt x="569570" y="203594"/>
                  </a:lnTo>
                  <a:lnTo>
                    <a:pt x="569570" y="207022"/>
                  </a:lnTo>
                  <a:lnTo>
                    <a:pt x="569570" y="204292"/>
                  </a:lnTo>
                  <a:lnTo>
                    <a:pt x="569672" y="204292"/>
                  </a:lnTo>
                  <a:lnTo>
                    <a:pt x="569672" y="207022"/>
                  </a:lnTo>
                  <a:lnTo>
                    <a:pt x="569672" y="206324"/>
                  </a:lnTo>
                  <a:lnTo>
                    <a:pt x="569672" y="207022"/>
                  </a:lnTo>
                  <a:lnTo>
                    <a:pt x="569672" y="206324"/>
                  </a:lnTo>
                  <a:lnTo>
                    <a:pt x="569672" y="207022"/>
                  </a:lnTo>
                  <a:lnTo>
                    <a:pt x="569672" y="206324"/>
                  </a:lnTo>
                  <a:lnTo>
                    <a:pt x="569722" y="206324"/>
                  </a:lnTo>
                  <a:lnTo>
                    <a:pt x="569722" y="207022"/>
                  </a:lnTo>
                  <a:lnTo>
                    <a:pt x="569773" y="207022"/>
                  </a:lnTo>
                  <a:lnTo>
                    <a:pt x="569773" y="206324"/>
                  </a:lnTo>
                  <a:lnTo>
                    <a:pt x="569773" y="207022"/>
                  </a:lnTo>
                  <a:lnTo>
                    <a:pt x="569875" y="207022"/>
                  </a:lnTo>
                  <a:lnTo>
                    <a:pt x="569875" y="207721"/>
                  </a:lnTo>
                  <a:lnTo>
                    <a:pt x="569875" y="207022"/>
                  </a:lnTo>
                  <a:lnTo>
                    <a:pt x="569875" y="207721"/>
                  </a:lnTo>
                  <a:lnTo>
                    <a:pt x="569875" y="206324"/>
                  </a:lnTo>
                  <a:lnTo>
                    <a:pt x="569875" y="207022"/>
                  </a:lnTo>
                  <a:lnTo>
                    <a:pt x="569913" y="206324"/>
                  </a:lnTo>
                  <a:lnTo>
                    <a:pt x="569913" y="207022"/>
                  </a:lnTo>
                  <a:lnTo>
                    <a:pt x="569913" y="206324"/>
                  </a:lnTo>
                  <a:lnTo>
                    <a:pt x="569913" y="207022"/>
                  </a:lnTo>
                  <a:lnTo>
                    <a:pt x="569913" y="204990"/>
                  </a:lnTo>
                  <a:lnTo>
                    <a:pt x="569913" y="206324"/>
                  </a:lnTo>
                  <a:lnTo>
                    <a:pt x="569964" y="206324"/>
                  </a:lnTo>
                  <a:lnTo>
                    <a:pt x="569964" y="202959"/>
                  </a:lnTo>
                  <a:lnTo>
                    <a:pt x="569964" y="203594"/>
                  </a:lnTo>
                  <a:lnTo>
                    <a:pt x="570015" y="203594"/>
                  </a:lnTo>
                  <a:lnTo>
                    <a:pt x="570015" y="202260"/>
                  </a:lnTo>
                  <a:lnTo>
                    <a:pt x="570015" y="204292"/>
                  </a:lnTo>
                  <a:lnTo>
                    <a:pt x="570015" y="202959"/>
                  </a:lnTo>
                  <a:lnTo>
                    <a:pt x="570116" y="202959"/>
                  </a:lnTo>
                  <a:lnTo>
                    <a:pt x="570116" y="202260"/>
                  </a:lnTo>
                  <a:lnTo>
                    <a:pt x="570116" y="206324"/>
                  </a:lnTo>
                  <a:lnTo>
                    <a:pt x="570116" y="204292"/>
                  </a:lnTo>
                  <a:lnTo>
                    <a:pt x="570167" y="203594"/>
                  </a:lnTo>
                  <a:lnTo>
                    <a:pt x="570167" y="206324"/>
                  </a:lnTo>
                  <a:lnTo>
                    <a:pt x="570167" y="204292"/>
                  </a:lnTo>
                  <a:lnTo>
                    <a:pt x="570218" y="204990"/>
                  </a:lnTo>
                  <a:lnTo>
                    <a:pt x="570218" y="206324"/>
                  </a:lnTo>
                  <a:lnTo>
                    <a:pt x="570319" y="204990"/>
                  </a:lnTo>
                  <a:lnTo>
                    <a:pt x="570319" y="206324"/>
                  </a:lnTo>
                  <a:lnTo>
                    <a:pt x="570319" y="204990"/>
                  </a:lnTo>
                  <a:lnTo>
                    <a:pt x="570319" y="207022"/>
                  </a:lnTo>
                  <a:lnTo>
                    <a:pt x="570319" y="206324"/>
                  </a:lnTo>
                  <a:lnTo>
                    <a:pt x="570319" y="207022"/>
                  </a:lnTo>
                  <a:lnTo>
                    <a:pt x="570370" y="206324"/>
                  </a:lnTo>
                  <a:lnTo>
                    <a:pt x="570370" y="207022"/>
                  </a:lnTo>
                  <a:lnTo>
                    <a:pt x="570370" y="206324"/>
                  </a:lnTo>
                  <a:lnTo>
                    <a:pt x="570370" y="207022"/>
                  </a:lnTo>
                  <a:lnTo>
                    <a:pt x="570370" y="206324"/>
                  </a:lnTo>
                  <a:lnTo>
                    <a:pt x="570421" y="206324"/>
                  </a:lnTo>
                  <a:lnTo>
                    <a:pt x="570421" y="207022"/>
                  </a:lnTo>
                  <a:lnTo>
                    <a:pt x="570421" y="206324"/>
                  </a:lnTo>
                  <a:lnTo>
                    <a:pt x="570459" y="206324"/>
                  </a:lnTo>
                  <a:lnTo>
                    <a:pt x="570459" y="203594"/>
                  </a:lnTo>
                  <a:lnTo>
                    <a:pt x="570459" y="204292"/>
                  </a:lnTo>
                  <a:lnTo>
                    <a:pt x="570459" y="202959"/>
                  </a:lnTo>
                  <a:lnTo>
                    <a:pt x="570561" y="202959"/>
                  </a:lnTo>
                  <a:lnTo>
                    <a:pt x="570561" y="203594"/>
                  </a:lnTo>
                  <a:lnTo>
                    <a:pt x="570561" y="202959"/>
                  </a:lnTo>
                  <a:lnTo>
                    <a:pt x="570561" y="204292"/>
                  </a:lnTo>
                  <a:lnTo>
                    <a:pt x="570561" y="202260"/>
                  </a:lnTo>
                  <a:lnTo>
                    <a:pt x="570612" y="202959"/>
                  </a:lnTo>
                  <a:lnTo>
                    <a:pt x="570612" y="206324"/>
                  </a:lnTo>
                  <a:lnTo>
                    <a:pt x="570612" y="203594"/>
                  </a:lnTo>
                  <a:lnTo>
                    <a:pt x="570662" y="204292"/>
                  </a:lnTo>
                  <a:lnTo>
                    <a:pt x="570662" y="204990"/>
                  </a:lnTo>
                  <a:lnTo>
                    <a:pt x="570662" y="204292"/>
                  </a:lnTo>
                  <a:lnTo>
                    <a:pt x="570815" y="204292"/>
                  </a:lnTo>
                  <a:lnTo>
                    <a:pt x="570815" y="206324"/>
                  </a:lnTo>
                  <a:lnTo>
                    <a:pt x="570815" y="204990"/>
                  </a:lnTo>
                  <a:lnTo>
                    <a:pt x="570866" y="206324"/>
                  </a:lnTo>
                  <a:lnTo>
                    <a:pt x="570866" y="204990"/>
                  </a:lnTo>
                  <a:lnTo>
                    <a:pt x="570866" y="206324"/>
                  </a:lnTo>
                  <a:lnTo>
                    <a:pt x="570866" y="204990"/>
                  </a:lnTo>
                  <a:lnTo>
                    <a:pt x="570866" y="206324"/>
                  </a:lnTo>
                  <a:lnTo>
                    <a:pt x="570866" y="204990"/>
                  </a:lnTo>
                  <a:lnTo>
                    <a:pt x="570916" y="206324"/>
                  </a:lnTo>
                  <a:lnTo>
                    <a:pt x="570916" y="204990"/>
                  </a:lnTo>
                  <a:lnTo>
                    <a:pt x="570916" y="206324"/>
                  </a:lnTo>
                  <a:lnTo>
                    <a:pt x="570916" y="204292"/>
                  </a:lnTo>
                  <a:lnTo>
                    <a:pt x="570916" y="204990"/>
                  </a:lnTo>
                  <a:lnTo>
                    <a:pt x="570916" y="204292"/>
                  </a:lnTo>
                  <a:lnTo>
                    <a:pt x="571005" y="204292"/>
                  </a:lnTo>
                  <a:lnTo>
                    <a:pt x="571005" y="202959"/>
                  </a:lnTo>
                  <a:lnTo>
                    <a:pt x="571005" y="203594"/>
                  </a:lnTo>
                  <a:lnTo>
                    <a:pt x="571005" y="202959"/>
                  </a:lnTo>
                  <a:lnTo>
                    <a:pt x="571005" y="203594"/>
                  </a:lnTo>
                  <a:lnTo>
                    <a:pt x="571056" y="204292"/>
                  </a:lnTo>
                  <a:lnTo>
                    <a:pt x="571056" y="202959"/>
                  </a:lnTo>
                  <a:lnTo>
                    <a:pt x="571056" y="204990"/>
                  </a:lnTo>
                  <a:lnTo>
                    <a:pt x="571107" y="206324"/>
                  </a:lnTo>
                  <a:lnTo>
                    <a:pt x="571107" y="207022"/>
                  </a:lnTo>
                  <a:lnTo>
                    <a:pt x="571107" y="204292"/>
                  </a:lnTo>
                  <a:lnTo>
                    <a:pt x="571107" y="206324"/>
                  </a:lnTo>
                  <a:lnTo>
                    <a:pt x="571158" y="206324"/>
                  </a:lnTo>
                  <a:lnTo>
                    <a:pt x="571158" y="204990"/>
                  </a:lnTo>
                  <a:lnTo>
                    <a:pt x="571158" y="206324"/>
                  </a:lnTo>
                  <a:lnTo>
                    <a:pt x="571158" y="204292"/>
                  </a:lnTo>
                  <a:lnTo>
                    <a:pt x="571158" y="204990"/>
                  </a:lnTo>
                  <a:lnTo>
                    <a:pt x="571259" y="206324"/>
                  </a:lnTo>
                  <a:lnTo>
                    <a:pt x="571259" y="204990"/>
                  </a:lnTo>
                  <a:lnTo>
                    <a:pt x="571259" y="206324"/>
                  </a:lnTo>
                  <a:lnTo>
                    <a:pt x="571310" y="206324"/>
                  </a:lnTo>
                  <a:lnTo>
                    <a:pt x="571310" y="204990"/>
                  </a:lnTo>
                  <a:lnTo>
                    <a:pt x="571310" y="206324"/>
                  </a:lnTo>
                  <a:lnTo>
                    <a:pt x="571310" y="204990"/>
                  </a:lnTo>
                  <a:lnTo>
                    <a:pt x="571310" y="206324"/>
                  </a:lnTo>
                  <a:lnTo>
                    <a:pt x="571361" y="206324"/>
                  </a:lnTo>
                  <a:lnTo>
                    <a:pt x="571361" y="207022"/>
                  </a:lnTo>
                  <a:lnTo>
                    <a:pt x="571361" y="206324"/>
                  </a:lnTo>
                  <a:lnTo>
                    <a:pt x="571361" y="207022"/>
                  </a:lnTo>
                  <a:lnTo>
                    <a:pt x="571361" y="204990"/>
                  </a:lnTo>
                  <a:lnTo>
                    <a:pt x="571361" y="206324"/>
                  </a:lnTo>
                  <a:lnTo>
                    <a:pt x="571361" y="204990"/>
                  </a:lnTo>
                  <a:lnTo>
                    <a:pt x="571462" y="206324"/>
                  </a:lnTo>
                  <a:lnTo>
                    <a:pt x="571462" y="204990"/>
                  </a:lnTo>
                  <a:lnTo>
                    <a:pt x="571462" y="206324"/>
                  </a:lnTo>
                  <a:lnTo>
                    <a:pt x="571462" y="204292"/>
                  </a:lnTo>
                  <a:lnTo>
                    <a:pt x="571501" y="204292"/>
                  </a:lnTo>
                  <a:lnTo>
                    <a:pt x="571501" y="203594"/>
                  </a:lnTo>
                  <a:lnTo>
                    <a:pt x="571501" y="204292"/>
                  </a:lnTo>
                  <a:lnTo>
                    <a:pt x="571501" y="202959"/>
                  </a:lnTo>
                  <a:lnTo>
                    <a:pt x="571551" y="203594"/>
                  </a:lnTo>
                  <a:lnTo>
                    <a:pt x="571551" y="204292"/>
                  </a:lnTo>
                  <a:lnTo>
                    <a:pt x="571551" y="202959"/>
                  </a:lnTo>
                  <a:lnTo>
                    <a:pt x="571551" y="204292"/>
                  </a:lnTo>
                  <a:lnTo>
                    <a:pt x="571602" y="204292"/>
                  </a:lnTo>
                  <a:lnTo>
                    <a:pt x="571602" y="206324"/>
                  </a:lnTo>
                  <a:lnTo>
                    <a:pt x="571602" y="203594"/>
                  </a:lnTo>
                  <a:lnTo>
                    <a:pt x="571602" y="204990"/>
                  </a:lnTo>
                  <a:lnTo>
                    <a:pt x="571704" y="204990"/>
                  </a:lnTo>
                  <a:lnTo>
                    <a:pt x="571704" y="206324"/>
                  </a:lnTo>
                  <a:lnTo>
                    <a:pt x="571704" y="204292"/>
                  </a:lnTo>
                  <a:lnTo>
                    <a:pt x="571704" y="204990"/>
                  </a:lnTo>
                  <a:lnTo>
                    <a:pt x="571755" y="204990"/>
                  </a:lnTo>
                  <a:lnTo>
                    <a:pt x="571755" y="204292"/>
                  </a:lnTo>
                  <a:lnTo>
                    <a:pt x="571755" y="204990"/>
                  </a:lnTo>
                  <a:lnTo>
                    <a:pt x="571805" y="204990"/>
                  </a:lnTo>
                  <a:lnTo>
                    <a:pt x="571805" y="206324"/>
                  </a:lnTo>
                  <a:lnTo>
                    <a:pt x="571805" y="204990"/>
                  </a:lnTo>
                  <a:lnTo>
                    <a:pt x="571805" y="206324"/>
                  </a:lnTo>
                  <a:lnTo>
                    <a:pt x="571805" y="204990"/>
                  </a:lnTo>
                  <a:lnTo>
                    <a:pt x="571805" y="206324"/>
                  </a:lnTo>
                  <a:lnTo>
                    <a:pt x="571907" y="204990"/>
                  </a:lnTo>
                  <a:lnTo>
                    <a:pt x="571907" y="206324"/>
                  </a:lnTo>
                  <a:lnTo>
                    <a:pt x="571907" y="204292"/>
                  </a:lnTo>
                  <a:lnTo>
                    <a:pt x="571958" y="204292"/>
                  </a:lnTo>
                  <a:lnTo>
                    <a:pt x="571958" y="203594"/>
                  </a:lnTo>
                  <a:lnTo>
                    <a:pt x="571958" y="204292"/>
                  </a:lnTo>
                  <a:lnTo>
                    <a:pt x="571958" y="203594"/>
                  </a:lnTo>
                  <a:lnTo>
                    <a:pt x="572008" y="203594"/>
                  </a:lnTo>
                  <a:lnTo>
                    <a:pt x="572008" y="202260"/>
                  </a:lnTo>
                  <a:lnTo>
                    <a:pt x="572008" y="202959"/>
                  </a:lnTo>
                  <a:lnTo>
                    <a:pt x="572008" y="202260"/>
                  </a:lnTo>
                  <a:lnTo>
                    <a:pt x="572008" y="202959"/>
                  </a:lnTo>
                  <a:lnTo>
                    <a:pt x="572047" y="203594"/>
                  </a:lnTo>
                  <a:lnTo>
                    <a:pt x="572047" y="202959"/>
                  </a:lnTo>
                  <a:lnTo>
                    <a:pt x="572047" y="206324"/>
                  </a:lnTo>
                  <a:lnTo>
                    <a:pt x="572148" y="206324"/>
                  </a:lnTo>
                  <a:lnTo>
                    <a:pt x="572148" y="203594"/>
                  </a:lnTo>
                  <a:lnTo>
                    <a:pt x="572148" y="204292"/>
                  </a:lnTo>
                  <a:lnTo>
                    <a:pt x="572148" y="203594"/>
                  </a:lnTo>
                  <a:lnTo>
                    <a:pt x="572148" y="206324"/>
                  </a:lnTo>
                  <a:lnTo>
                    <a:pt x="572199" y="204990"/>
                  </a:lnTo>
                  <a:lnTo>
                    <a:pt x="572199" y="204292"/>
                  </a:lnTo>
                  <a:lnTo>
                    <a:pt x="572199" y="204990"/>
                  </a:lnTo>
                  <a:lnTo>
                    <a:pt x="572250" y="204990"/>
                  </a:lnTo>
                  <a:lnTo>
                    <a:pt x="572250" y="206324"/>
                  </a:lnTo>
                  <a:lnTo>
                    <a:pt x="572250" y="204990"/>
                  </a:lnTo>
                  <a:lnTo>
                    <a:pt x="572250" y="206324"/>
                  </a:lnTo>
                  <a:lnTo>
                    <a:pt x="572351" y="206324"/>
                  </a:lnTo>
                  <a:lnTo>
                    <a:pt x="572351" y="207022"/>
                  </a:lnTo>
                  <a:lnTo>
                    <a:pt x="572351" y="206324"/>
                  </a:lnTo>
                  <a:lnTo>
                    <a:pt x="572402" y="207022"/>
                  </a:lnTo>
                  <a:lnTo>
                    <a:pt x="572402" y="204990"/>
                  </a:lnTo>
                  <a:lnTo>
                    <a:pt x="572402" y="206324"/>
                  </a:lnTo>
                  <a:lnTo>
                    <a:pt x="572402" y="204990"/>
                  </a:lnTo>
                  <a:lnTo>
                    <a:pt x="572453" y="204990"/>
                  </a:lnTo>
                  <a:lnTo>
                    <a:pt x="572453" y="203594"/>
                  </a:lnTo>
                  <a:lnTo>
                    <a:pt x="572453" y="204292"/>
                  </a:lnTo>
                  <a:lnTo>
                    <a:pt x="572504" y="203594"/>
                  </a:lnTo>
                  <a:lnTo>
                    <a:pt x="572504" y="202260"/>
                  </a:lnTo>
                  <a:lnTo>
                    <a:pt x="572504" y="204292"/>
                  </a:lnTo>
                  <a:lnTo>
                    <a:pt x="572593" y="204292"/>
                  </a:lnTo>
                  <a:lnTo>
                    <a:pt x="572593" y="202959"/>
                  </a:lnTo>
                  <a:lnTo>
                    <a:pt x="572593" y="204990"/>
                  </a:lnTo>
                  <a:lnTo>
                    <a:pt x="572593" y="204292"/>
                  </a:lnTo>
                  <a:lnTo>
                    <a:pt x="572643" y="204292"/>
                  </a:lnTo>
                  <a:lnTo>
                    <a:pt x="572643" y="203594"/>
                  </a:lnTo>
                  <a:lnTo>
                    <a:pt x="572643" y="204990"/>
                  </a:lnTo>
                  <a:lnTo>
                    <a:pt x="572643" y="204292"/>
                  </a:lnTo>
                  <a:lnTo>
                    <a:pt x="572694" y="204292"/>
                  </a:lnTo>
                  <a:lnTo>
                    <a:pt x="572694" y="203594"/>
                  </a:lnTo>
                  <a:lnTo>
                    <a:pt x="572694" y="204990"/>
                  </a:lnTo>
                  <a:lnTo>
                    <a:pt x="572694" y="204292"/>
                  </a:lnTo>
                  <a:lnTo>
                    <a:pt x="572694" y="204990"/>
                  </a:lnTo>
                  <a:lnTo>
                    <a:pt x="572694" y="204292"/>
                  </a:lnTo>
                  <a:lnTo>
                    <a:pt x="572745" y="204990"/>
                  </a:lnTo>
                  <a:lnTo>
                    <a:pt x="572745" y="204292"/>
                  </a:lnTo>
                  <a:lnTo>
                    <a:pt x="572745" y="206324"/>
                  </a:lnTo>
                  <a:lnTo>
                    <a:pt x="572745" y="204990"/>
                  </a:lnTo>
                  <a:lnTo>
                    <a:pt x="572745" y="206324"/>
                  </a:lnTo>
                  <a:lnTo>
                    <a:pt x="572745" y="204990"/>
                  </a:lnTo>
                  <a:lnTo>
                    <a:pt x="572847" y="204990"/>
                  </a:lnTo>
                  <a:lnTo>
                    <a:pt x="572847" y="206324"/>
                  </a:lnTo>
                  <a:lnTo>
                    <a:pt x="572847" y="204990"/>
                  </a:lnTo>
                  <a:lnTo>
                    <a:pt x="572847" y="206324"/>
                  </a:lnTo>
                  <a:lnTo>
                    <a:pt x="572847" y="204990"/>
                  </a:lnTo>
                  <a:lnTo>
                    <a:pt x="572847" y="206324"/>
                  </a:lnTo>
                  <a:lnTo>
                    <a:pt x="572847" y="204990"/>
                  </a:lnTo>
                  <a:lnTo>
                    <a:pt x="572847" y="206324"/>
                  </a:lnTo>
                  <a:lnTo>
                    <a:pt x="572847" y="204990"/>
                  </a:lnTo>
                  <a:lnTo>
                    <a:pt x="572897" y="206324"/>
                  </a:lnTo>
                  <a:lnTo>
                    <a:pt x="572897" y="204292"/>
                  </a:lnTo>
                  <a:lnTo>
                    <a:pt x="572897" y="204990"/>
                  </a:lnTo>
                  <a:lnTo>
                    <a:pt x="572897" y="204292"/>
                  </a:lnTo>
                  <a:lnTo>
                    <a:pt x="572948" y="204292"/>
                  </a:lnTo>
                  <a:lnTo>
                    <a:pt x="572948" y="202959"/>
                  </a:lnTo>
                  <a:lnTo>
                    <a:pt x="572948" y="203594"/>
                  </a:lnTo>
                  <a:lnTo>
                    <a:pt x="572948" y="202959"/>
                  </a:lnTo>
                  <a:lnTo>
                    <a:pt x="572948" y="203594"/>
                  </a:lnTo>
                  <a:lnTo>
                    <a:pt x="573050" y="202959"/>
                  </a:lnTo>
                  <a:lnTo>
                    <a:pt x="573050" y="203594"/>
                  </a:lnTo>
                  <a:lnTo>
                    <a:pt x="573050" y="202260"/>
                  </a:lnTo>
                  <a:lnTo>
                    <a:pt x="573050" y="203594"/>
                  </a:lnTo>
                  <a:lnTo>
                    <a:pt x="573088" y="203594"/>
                  </a:lnTo>
                  <a:lnTo>
                    <a:pt x="573088" y="202260"/>
                  </a:lnTo>
                  <a:lnTo>
                    <a:pt x="573088" y="204292"/>
                  </a:lnTo>
                  <a:lnTo>
                    <a:pt x="573088" y="203594"/>
                  </a:lnTo>
                  <a:lnTo>
                    <a:pt x="573139" y="203594"/>
                  </a:lnTo>
                  <a:lnTo>
                    <a:pt x="573139" y="202959"/>
                  </a:lnTo>
                  <a:lnTo>
                    <a:pt x="573139" y="204292"/>
                  </a:lnTo>
                  <a:lnTo>
                    <a:pt x="573139" y="202959"/>
                  </a:lnTo>
                  <a:lnTo>
                    <a:pt x="573190" y="203594"/>
                  </a:lnTo>
                  <a:lnTo>
                    <a:pt x="573190" y="202959"/>
                  </a:lnTo>
                  <a:lnTo>
                    <a:pt x="573190" y="204292"/>
                  </a:lnTo>
                  <a:lnTo>
                    <a:pt x="573291" y="204292"/>
                  </a:lnTo>
                  <a:lnTo>
                    <a:pt x="573291" y="204990"/>
                  </a:lnTo>
                  <a:lnTo>
                    <a:pt x="573291" y="204292"/>
                  </a:lnTo>
                  <a:lnTo>
                    <a:pt x="573291" y="204990"/>
                  </a:lnTo>
                  <a:lnTo>
                    <a:pt x="573342" y="204990"/>
                  </a:lnTo>
                  <a:lnTo>
                    <a:pt x="573342" y="206324"/>
                  </a:lnTo>
                  <a:lnTo>
                    <a:pt x="573342" y="204990"/>
                  </a:lnTo>
                  <a:lnTo>
                    <a:pt x="573342" y="206324"/>
                  </a:lnTo>
                  <a:lnTo>
                    <a:pt x="573342" y="204990"/>
                  </a:lnTo>
                  <a:lnTo>
                    <a:pt x="573393" y="204990"/>
                  </a:lnTo>
                  <a:lnTo>
                    <a:pt x="573393" y="206324"/>
                  </a:lnTo>
                  <a:lnTo>
                    <a:pt x="573393" y="204292"/>
                  </a:lnTo>
                  <a:lnTo>
                    <a:pt x="573393" y="206324"/>
                  </a:lnTo>
                  <a:lnTo>
                    <a:pt x="573393" y="204990"/>
                  </a:lnTo>
                  <a:lnTo>
                    <a:pt x="573494" y="204292"/>
                  </a:lnTo>
                  <a:lnTo>
                    <a:pt x="573494" y="204990"/>
                  </a:lnTo>
                  <a:lnTo>
                    <a:pt x="573494" y="203594"/>
                  </a:lnTo>
                  <a:lnTo>
                    <a:pt x="573545" y="203594"/>
                  </a:lnTo>
                  <a:lnTo>
                    <a:pt x="573545" y="202959"/>
                  </a:lnTo>
                  <a:lnTo>
                    <a:pt x="573545" y="203594"/>
                  </a:lnTo>
                  <a:lnTo>
                    <a:pt x="573545" y="202959"/>
                  </a:lnTo>
                  <a:lnTo>
                    <a:pt x="573545" y="204292"/>
                  </a:lnTo>
                  <a:lnTo>
                    <a:pt x="573545" y="202959"/>
                  </a:lnTo>
                  <a:lnTo>
                    <a:pt x="573596" y="202959"/>
                  </a:lnTo>
                  <a:lnTo>
                    <a:pt x="573596" y="203594"/>
                  </a:lnTo>
                  <a:lnTo>
                    <a:pt x="573596" y="202959"/>
                  </a:lnTo>
                  <a:lnTo>
                    <a:pt x="573596" y="204292"/>
                  </a:lnTo>
                  <a:lnTo>
                    <a:pt x="573596" y="203594"/>
                  </a:lnTo>
                  <a:lnTo>
                    <a:pt x="573634" y="203594"/>
                  </a:lnTo>
                  <a:lnTo>
                    <a:pt x="573634" y="204292"/>
                  </a:lnTo>
                  <a:lnTo>
                    <a:pt x="573634" y="203594"/>
                  </a:lnTo>
                  <a:lnTo>
                    <a:pt x="573634" y="204292"/>
                  </a:lnTo>
                  <a:lnTo>
                    <a:pt x="573634" y="203594"/>
                  </a:lnTo>
                  <a:lnTo>
                    <a:pt x="573736" y="203594"/>
                  </a:lnTo>
                  <a:lnTo>
                    <a:pt x="573736" y="204292"/>
                  </a:lnTo>
                  <a:lnTo>
                    <a:pt x="573736" y="203594"/>
                  </a:lnTo>
                  <a:lnTo>
                    <a:pt x="573736" y="204292"/>
                  </a:lnTo>
                  <a:lnTo>
                    <a:pt x="573787" y="204292"/>
                  </a:lnTo>
                  <a:lnTo>
                    <a:pt x="573787" y="204990"/>
                  </a:lnTo>
                  <a:lnTo>
                    <a:pt x="573787" y="204292"/>
                  </a:lnTo>
                  <a:lnTo>
                    <a:pt x="573787" y="204990"/>
                  </a:lnTo>
                  <a:lnTo>
                    <a:pt x="573787" y="204292"/>
                  </a:lnTo>
                  <a:lnTo>
                    <a:pt x="573787" y="204990"/>
                  </a:lnTo>
                  <a:lnTo>
                    <a:pt x="573787" y="204292"/>
                  </a:lnTo>
                  <a:lnTo>
                    <a:pt x="573787" y="204990"/>
                  </a:lnTo>
                  <a:lnTo>
                    <a:pt x="573837" y="206324"/>
                  </a:lnTo>
                  <a:lnTo>
                    <a:pt x="573837" y="204990"/>
                  </a:lnTo>
                  <a:lnTo>
                    <a:pt x="573837" y="206324"/>
                  </a:lnTo>
                  <a:lnTo>
                    <a:pt x="573837" y="204990"/>
                  </a:lnTo>
                  <a:lnTo>
                    <a:pt x="573837" y="206324"/>
                  </a:lnTo>
                  <a:lnTo>
                    <a:pt x="573837" y="204990"/>
                  </a:lnTo>
                  <a:lnTo>
                    <a:pt x="573837" y="206324"/>
                  </a:lnTo>
                  <a:lnTo>
                    <a:pt x="573939" y="206324"/>
                  </a:lnTo>
                  <a:lnTo>
                    <a:pt x="573939" y="204292"/>
                  </a:lnTo>
                  <a:lnTo>
                    <a:pt x="573939" y="204990"/>
                  </a:lnTo>
                  <a:lnTo>
                    <a:pt x="573990" y="204990"/>
                  </a:lnTo>
                  <a:lnTo>
                    <a:pt x="573990" y="203594"/>
                  </a:lnTo>
                  <a:lnTo>
                    <a:pt x="573990" y="204292"/>
                  </a:lnTo>
                  <a:lnTo>
                    <a:pt x="574041" y="204292"/>
                  </a:lnTo>
                  <a:lnTo>
                    <a:pt x="574041" y="204990"/>
                  </a:lnTo>
                  <a:lnTo>
                    <a:pt x="574041" y="203594"/>
                  </a:lnTo>
                  <a:lnTo>
                    <a:pt x="574041" y="207022"/>
                  </a:lnTo>
                  <a:lnTo>
                    <a:pt x="574091" y="207721"/>
                  </a:lnTo>
                  <a:lnTo>
                    <a:pt x="574091" y="204990"/>
                  </a:lnTo>
                  <a:lnTo>
                    <a:pt x="574091" y="207022"/>
                  </a:lnTo>
                  <a:lnTo>
                    <a:pt x="574180" y="207022"/>
                  </a:lnTo>
                  <a:lnTo>
                    <a:pt x="574180" y="204990"/>
                  </a:lnTo>
                  <a:lnTo>
                    <a:pt x="574180" y="206324"/>
                  </a:lnTo>
                  <a:lnTo>
                    <a:pt x="574180" y="204990"/>
                  </a:lnTo>
                  <a:lnTo>
                    <a:pt x="574180" y="206324"/>
                  </a:lnTo>
                  <a:lnTo>
                    <a:pt x="574231" y="207022"/>
                  </a:lnTo>
                  <a:lnTo>
                    <a:pt x="574231" y="206324"/>
                  </a:lnTo>
                  <a:lnTo>
                    <a:pt x="574231" y="207022"/>
                  </a:lnTo>
                  <a:lnTo>
                    <a:pt x="574231" y="206324"/>
                  </a:lnTo>
                  <a:lnTo>
                    <a:pt x="574282" y="207022"/>
                  </a:lnTo>
                  <a:lnTo>
                    <a:pt x="574282" y="206324"/>
                  </a:lnTo>
                  <a:lnTo>
                    <a:pt x="574282" y="207022"/>
                  </a:lnTo>
                  <a:lnTo>
                    <a:pt x="574282" y="206324"/>
                  </a:lnTo>
                  <a:lnTo>
                    <a:pt x="574282" y="207022"/>
                  </a:lnTo>
                  <a:lnTo>
                    <a:pt x="574282" y="206324"/>
                  </a:lnTo>
                  <a:lnTo>
                    <a:pt x="574333" y="206324"/>
                  </a:lnTo>
                  <a:lnTo>
                    <a:pt x="574333" y="207022"/>
                  </a:lnTo>
                  <a:lnTo>
                    <a:pt x="574333" y="204990"/>
                  </a:lnTo>
                  <a:lnTo>
                    <a:pt x="574333" y="206324"/>
                  </a:lnTo>
                  <a:lnTo>
                    <a:pt x="574434" y="206324"/>
                  </a:lnTo>
                  <a:lnTo>
                    <a:pt x="574434" y="204990"/>
                  </a:lnTo>
                  <a:lnTo>
                    <a:pt x="574434" y="206324"/>
                  </a:lnTo>
                  <a:lnTo>
                    <a:pt x="574434" y="204292"/>
                  </a:lnTo>
                  <a:lnTo>
                    <a:pt x="574434" y="204990"/>
                  </a:lnTo>
                  <a:lnTo>
                    <a:pt x="574434" y="204292"/>
                  </a:lnTo>
                  <a:lnTo>
                    <a:pt x="574485" y="204292"/>
                  </a:lnTo>
                  <a:lnTo>
                    <a:pt x="574485" y="207022"/>
                  </a:lnTo>
                  <a:lnTo>
                    <a:pt x="574485" y="206324"/>
                  </a:lnTo>
                  <a:lnTo>
                    <a:pt x="574536" y="204990"/>
                  </a:lnTo>
                  <a:lnTo>
                    <a:pt x="574536" y="204292"/>
                  </a:lnTo>
                  <a:lnTo>
                    <a:pt x="574536" y="207721"/>
                  </a:lnTo>
                  <a:lnTo>
                    <a:pt x="574536" y="206324"/>
                  </a:lnTo>
                  <a:lnTo>
                    <a:pt x="574637" y="206324"/>
                  </a:lnTo>
                  <a:lnTo>
                    <a:pt x="574637" y="207721"/>
                  </a:lnTo>
                  <a:lnTo>
                    <a:pt x="574637" y="207022"/>
                  </a:lnTo>
                  <a:lnTo>
                    <a:pt x="574637" y="207721"/>
                  </a:lnTo>
                  <a:lnTo>
                    <a:pt x="574637" y="207022"/>
                  </a:lnTo>
                  <a:lnTo>
                    <a:pt x="574637" y="207721"/>
                  </a:lnTo>
                  <a:lnTo>
                    <a:pt x="574637" y="206324"/>
                  </a:lnTo>
                  <a:lnTo>
                    <a:pt x="574676" y="207022"/>
                  </a:lnTo>
                  <a:lnTo>
                    <a:pt x="574676" y="207721"/>
                  </a:lnTo>
                  <a:lnTo>
                    <a:pt x="574676" y="207022"/>
                  </a:lnTo>
                  <a:lnTo>
                    <a:pt x="574676" y="207721"/>
                  </a:lnTo>
                  <a:lnTo>
                    <a:pt x="574676" y="207022"/>
                  </a:lnTo>
                  <a:lnTo>
                    <a:pt x="574726" y="207022"/>
                  </a:lnTo>
                  <a:lnTo>
                    <a:pt x="574726" y="207721"/>
                  </a:lnTo>
                  <a:lnTo>
                    <a:pt x="574726" y="207022"/>
                  </a:lnTo>
                  <a:lnTo>
                    <a:pt x="574726" y="207721"/>
                  </a:lnTo>
                  <a:lnTo>
                    <a:pt x="574726" y="207022"/>
                  </a:lnTo>
                  <a:lnTo>
                    <a:pt x="574726" y="207721"/>
                  </a:lnTo>
                  <a:lnTo>
                    <a:pt x="574726" y="207022"/>
                  </a:lnTo>
                  <a:lnTo>
                    <a:pt x="574726" y="207721"/>
                  </a:lnTo>
                  <a:lnTo>
                    <a:pt x="574726" y="207022"/>
                  </a:lnTo>
                  <a:lnTo>
                    <a:pt x="574777" y="207022"/>
                  </a:lnTo>
                  <a:lnTo>
                    <a:pt x="574777" y="207721"/>
                  </a:lnTo>
                  <a:lnTo>
                    <a:pt x="574777" y="206324"/>
                  </a:lnTo>
                  <a:lnTo>
                    <a:pt x="574777" y="207022"/>
                  </a:lnTo>
                  <a:lnTo>
                    <a:pt x="574879" y="207022"/>
                  </a:lnTo>
                  <a:lnTo>
                    <a:pt x="574879" y="204292"/>
                  </a:lnTo>
                  <a:lnTo>
                    <a:pt x="574930" y="204292"/>
                  </a:lnTo>
                  <a:lnTo>
                    <a:pt x="574930" y="203594"/>
                  </a:lnTo>
                  <a:lnTo>
                    <a:pt x="574930" y="204292"/>
                  </a:lnTo>
                  <a:lnTo>
                    <a:pt x="574930" y="203594"/>
                  </a:lnTo>
                  <a:lnTo>
                    <a:pt x="574980" y="203594"/>
                  </a:lnTo>
                  <a:lnTo>
                    <a:pt x="574980" y="202959"/>
                  </a:lnTo>
                  <a:lnTo>
                    <a:pt x="574980" y="203594"/>
                  </a:lnTo>
                  <a:lnTo>
                    <a:pt x="574980" y="202959"/>
                  </a:lnTo>
                  <a:lnTo>
                    <a:pt x="574980" y="203594"/>
                  </a:lnTo>
                  <a:lnTo>
                    <a:pt x="574980" y="202959"/>
                  </a:lnTo>
                  <a:lnTo>
                    <a:pt x="574980" y="204292"/>
                  </a:lnTo>
                  <a:lnTo>
                    <a:pt x="575082" y="204292"/>
                  </a:lnTo>
                  <a:lnTo>
                    <a:pt x="575082" y="203594"/>
                  </a:lnTo>
                  <a:lnTo>
                    <a:pt x="575082" y="204990"/>
                  </a:lnTo>
                  <a:lnTo>
                    <a:pt x="575133" y="204990"/>
                  </a:lnTo>
                  <a:lnTo>
                    <a:pt x="575133" y="206324"/>
                  </a:lnTo>
                  <a:lnTo>
                    <a:pt x="575183" y="204990"/>
                  </a:lnTo>
                  <a:lnTo>
                    <a:pt x="575183" y="207022"/>
                  </a:lnTo>
                  <a:lnTo>
                    <a:pt x="575183" y="204990"/>
                  </a:lnTo>
                  <a:lnTo>
                    <a:pt x="575183" y="207022"/>
                  </a:lnTo>
                  <a:lnTo>
                    <a:pt x="575222" y="207022"/>
                  </a:lnTo>
                  <a:lnTo>
                    <a:pt x="575222" y="207721"/>
                  </a:lnTo>
                  <a:lnTo>
                    <a:pt x="575222" y="207022"/>
                  </a:lnTo>
                  <a:lnTo>
                    <a:pt x="575323" y="207022"/>
                  </a:lnTo>
                  <a:lnTo>
                    <a:pt x="575323" y="207721"/>
                  </a:lnTo>
                  <a:lnTo>
                    <a:pt x="575323" y="207022"/>
                  </a:lnTo>
                  <a:lnTo>
                    <a:pt x="575374" y="207022"/>
                  </a:lnTo>
                  <a:lnTo>
                    <a:pt x="575374" y="206324"/>
                  </a:lnTo>
                  <a:lnTo>
                    <a:pt x="575374" y="207721"/>
                  </a:lnTo>
                  <a:lnTo>
                    <a:pt x="575374" y="206324"/>
                  </a:lnTo>
                  <a:lnTo>
                    <a:pt x="575425" y="206324"/>
                  </a:lnTo>
                  <a:lnTo>
                    <a:pt x="575425" y="204292"/>
                  </a:lnTo>
                  <a:lnTo>
                    <a:pt x="575526" y="204990"/>
                  </a:lnTo>
                  <a:lnTo>
                    <a:pt x="575526" y="206324"/>
                  </a:lnTo>
                  <a:lnTo>
                    <a:pt x="575526" y="204292"/>
                  </a:lnTo>
                  <a:lnTo>
                    <a:pt x="575526" y="204990"/>
                  </a:lnTo>
                  <a:lnTo>
                    <a:pt x="575526" y="204292"/>
                  </a:lnTo>
                  <a:lnTo>
                    <a:pt x="575526" y="206324"/>
                  </a:lnTo>
                  <a:lnTo>
                    <a:pt x="575577" y="207022"/>
                  </a:lnTo>
                  <a:lnTo>
                    <a:pt x="575577" y="204990"/>
                  </a:lnTo>
                  <a:lnTo>
                    <a:pt x="575577" y="207022"/>
                  </a:lnTo>
                  <a:lnTo>
                    <a:pt x="575628" y="207022"/>
                  </a:lnTo>
                  <a:lnTo>
                    <a:pt x="575628" y="204990"/>
                  </a:lnTo>
                  <a:lnTo>
                    <a:pt x="575628" y="206324"/>
                  </a:lnTo>
                  <a:lnTo>
                    <a:pt x="575628" y="204990"/>
                  </a:lnTo>
                  <a:lnTo>
                    <a:pt x="575628" y="207022"/>
                  </a:lnTo>
                  <a:lnTo>
                    <a:pt x="575679" y="207022"/>
                  </a:lnTo>
                  <a:lnTo>
                    <a:pt x="575679" y="206324"/>
                  </a:lnTo>
                  <a:lnTo>
                    <a:pt x="575679" y="207022"/>
                  </a:lnTo>
                  <a:lnTo>
                    <a:pt x="575679" y="206324"/>
                  </a:lnTo>
                  <a:lnTo>
                    <a:pt x="575679" y="207721"/>
                  </a:lnTo>
                  <a:lnTo>
                    <a:pt x="575768" y="207022"/>
                  </a:lnTo>
                  <a:lnTo>
                    <a:pt x="575768" y="207721"/>
                  </a:lnTo>
                  <a:lnTo>
                    <a:pt x="575768" y="207022"/>
                  </a:lnTo>
                  <a:lnTo>
                    <a:pt x="575768" y="207721"/>
                  </a:lnTo>
                  <a:lnTo>
                    <a:pt x="575768" y="207022"/>
                  </a:lnTo>
                  <a:lnTo>
                    <a:pt x="575768" y="207721"/>
                  </a:lnTo>
                  <a:lnTo>
                    <a:pt x="575818" y="207721"/>
                  </a:lnTo>
                  <a:lnTo>
                    <a:pt x="575818" y="206324"/>
                  </a:lnTo>
                  <a:lnTo>
                    <a:pt x="575869" y="206324"/>
                  </a:lnTo>
                  <a:lnTo>
                    <a:pt x="575869" y="204990"/>
                  </a:lnTo>
                  <a:lnTo>
                    <a:pt x="575920" y="204990"/>
                  </a:lnTo>
                  <a:lnTo>
                    <a:pt x="575920" y="203594"/>
                  </a:lnTo>
                  <a:lnTo>
                    <a:pt x="575920" y="204292"/>
                  </a:lnTo>
                  <a:lnTo>
                    <a:pt x="575920" y="203594"/>
                  </a:lnTo>
                  <a:lnTo>
                    <a:pt x="576022" y="203594"/>
                  </a:lnTo>
                  <a:lnTo>
                    <a:pt x="576022" y="202959"/>
                  </a:lnTo>
                  <a:lnTo>
                    <a:pt x="576022" y="204292"/>
                  </a:lnTo>
                  <a:lnTo>
                    <a:pt x="576022" y="202959"/>
                  </a:lnTo>
                  <a:lnTo>
                    <a:pt x="576072" y="202959"/>
                  </a:lnTo>
                  <a:lnTo>
                    <a:pt x="576072" y="204990"/>
                  </a:lnTo>
                  <a:lnTo>
                    <a:pt x="576072" y="203594"/>
                  </a:lnTo>
                  <a:lnTo>
                    <a:pt x="576123" y="204292"/>
                  </a:lnTo>
                  <a:lnTo>
                    <a:pt x="576123" y="204990"/>
                  </a:lnTo>
                  <a:lnTo>
                    <a:pt x="576123" y="204292"/>
                  </a:lnTo>
                  <a:lnTo>
                    <a:pt x="576123" y="204990"/>
                  </a:lnTo>
                  <a:lnTo>
                    <a:pt x="576123" y="204292"/>
                  </a:lnTo>
                  <a:lnTo>
                    <a:pt x="576123" y="204990"/>
                  </a:lnTo>
                  <a:lnTo>
                    <a:pt x="576225" y="204990"/>
                  </a:lnTo>
                  <a:lnTo>
                    <a:pt x="576225" y="206324"/>
                  </a:lnTo>
                  <a:lnTo>
                    <a:pt x="576225" y="204990"/>
                  </a:lnTo>
                  <a:lnTo>
                    <a:pt x="576225" y="206324"/>
                  </a:lnTo>
                  <a:lnTo>
                    <a:pt x="576225" y="204990"/>
                  </a:lnTo>
                  <a:lnTo>
                    <a:pt x="576225" y="206324"/>
                  </a:lnTo>
                  <a:lnTo>
                    <a:pt x="576225" y="204990"/>
                  </a:lnTo>
                  <a:lnTo>
                    <a:pt x="576225" y="206324"/>
                  </a:lnTo>
                  <a:lnTo>
                    <a:pt x="576263" y="206324"/>
                  </a:lnTo>
                  <a:lnTo>
                    <a:pt x="576263" y="207022"/>
                  </a:lnTo>
                  <a:lnTo>
                    <a:pt x="576263" y="206324"/>
                  </a:lnTo>
                  <a:lnTo>
                    <a:pt x="576263" y="207022"/>
                  </a:lnTo>
                  <a:lnTo>
                    <a:pt x="576263" y="206324"/>
                  </a:lnTo>
                  <a:lnTo>
                    <a:pt x="576263" y="207022"/>
                  </a:lnTo>
                  <a:lnTo>
                    <a:pt x="576365" y="207022"/>
                  </a:lnTo>
                  <a:lnTo>
                    <a:pt x="576365" y="206324"/>
                  </a:lnTo>
                  <a:lnTo>
                    <a:pt x="576365" y="207022"/>
                  </a:lnTo>
                  <a:lnTo>
                    <a:pt x="576365" y="204990"/>
                  </a:lnTo>
                  <a:lnTo>
                    <a:pt x="576466" y="204990"/>
                  </a:lnTo>
                  <a:lnTo>
                    <a:pt x="576466" y="204292"/>
                  </a:lnTo>
                  <a:lnTo>
                    <a:pt x="576517" y="204292"/>
                  </a:lnTo>
                  <a:lnTo>
                    <a:pt x="576517" y="202959"/>
                  </a:lnTo>
                  <a:lnTo>
                    <a:pt x="576517" y="204292"/>
                  </a:lnTo>
                  <a:lnTo>
                    <a:pt x="576568" y="204292"/>
                  </a:lnTo>
                  <a:lnTo>
                    <a:pt x="576568" y="204990"/>
                  </a:lnTo>
                  <a:lnTo>
                    <a:pt x="576568" y="204292"/>
                  </a:lnTo>
                  <a:lnTo>
                    <a:pt x="576568" y="204990"/>
                  </a:lnTo>
                  <a:lnTo>
                    <a:pt x="576669" y="204990"/>
                  </a:lnTo>
                  <a:lnTo>
                    <a:pt x="576669" y="204292"/>
                  </a:lnTo>
                  <a:lnTo>
                    <a:pt x="576669" y="204990"/>
                  </a:lnTo>
                  <a:lnTo>
                    <a:pt x="576720" y="204292"/>
                  </a:lnTo>
                  <a:lnTo>
                    <a:pt x="576720" y="204990"/>
                  </a:lnTo>
                  <a:lnTo>
                    <a:pt x="576720" y="204292"/>
                  </a:lnTo>
                  <a:lnTo>
                    <a:pt x="576720" y="204990"/>
                  </a:lnTo>
                  <a:lnTo>
                    <a:pt x="576720" y="204292"/>
                  </a:lnTo>
                  <a:lnTo>
                    <a:pt x="576720" y="204990"/>
                  </a:lnTo>
                  <a:lnTo>
                    <a:pt x="576771" y="204990"/>
                  </a:lnTo>
                  <a:lnTo>
                    <a:pt x="576771" y="206324"/>
                  </a:lnTo>
                  <a:lnTo>
                    <a:pt x="576771" y="204990"/>
                  </a:lnTo>
                  <a:lnTo>
                    <a:pt x="576771" y="206324"/>
                  </a:lnTo>
                  <a:lnTo>
                    <a:pt x="576809" y="206324"/>
                  </a:lnTo>
                  <a:lnTo>
                    <a:pt x="576809" y="204990"/>
                  </a:lnTo>
                  <a:lnTo>
                    <a:pt x="576809" y="206324"/>
                  </a:lnTo>
                  <a:lnTo>
                    <a:pt x="576809" y="204990"/>
                  </a:lnTo>
                  <a:lnTo>
                    <a:pt x="576911" y="204990"/>
                  </a:lnTo>
                  <a:lnTo>
                    <a:pt x="576911" y="206324"/>
                  </a:lnTo>
                  <a:lnTo>
                    <a:pt x="576911" y="204292"/>
                  </a:lnTo>
                  <a:lnTo>
                    <a:pt x="576962" y="204292"/>
                  </a:lnTo>
                  <a:lnTo>
                    <a:pt x="576962" y="203594"/>
                  </a:lnTo>
                  <a:lnTo>
                    <a:pt x="576962" y="204990"/>
                  </a:lnTo>
                  <a:lnTo>
                    <a:pt x="577012" y="204990"/>
                  </a:lnTo>
                  <a:lnTo>
                    <a:pt x="577012" y="202959"/>
                  </a:lnTo>
                  <a:lnTo>
                    <a:pt x="577012" y="206324"/>
                  </a:lnTo>
                  <a:lnTo>
                    <a:pt x="577114" y="206324"/>
                  </a:lnTo>
                  <a:lnTo>
                    <a:pt x="577114" y="204292"/>
                  </a:lnTo>
                  <a:lnTo>
                    <a:pt x="577114" y="207022"/>
                  </a:lnTo>
                  <a:lnTo>
                    <a:pt x="577165" y="207022"/>
                  </a:lnTo>
                  <a:lnTo>
                    <a:pt x="577165" y="204990"/>
                  </a:lnTo>
                  <a:lnTo>
                    <a:pt x="577165" y="206324"/>
                  </a:lnTo>
                  <a:lnTo>
                    <a:pt x="577165" y="204990"/>
                  </a:lnTo>
                  <a:lnTo>
                    <a:pt x="577165" y="207022"/>
                  </a:lnTo>
                  <a:lnTo>
                    <a:pt x="577165" y="206324"/>
                  </a:lnTo>
                  <a:lnTo>
                    <a:pt x="577216" y="204990"/>
                  </a:lnTo>
                  <a:lnTo>
                    <a:pt x="577216" y="206324"/>
                  </a:lnTo>
                  <a:lnTo>
                    <a:pt x="577216" y="204990"/>
                  </a:lnTo>
                  <a:lnTo>
                    <a:pt x="577216" y="206324"/>
                  </a:lnTo>
                  <a:lnTo>
                    <a:pt x="577216" y="204990"/>
                  </a:lnTo>
                  <a:lnTo>
                    <a:pt x="577266" y="206324"/>
                  </a:lnTo>
                  <a:lnTo>
                    <a:pt x="577266" y="204990"/>
                  </a:lnTo>
                  <a:lnTo>
                    <a:pt x="577266" y="206324"/>
                  </a:lnTo>
                  <a:lnTo>
                    <a:pt x="577266" y="204990"/>
                  </a:lnTo>
                  <a:lnTo>
                    <a:pt x="577266" y="206324"/>
                  </a:lnTo>
                  <a:lnTo>
                    <a:pt x="577406" y="206324"/>
                  </a:lnTo>
                  <a:lnTo>
                    <a:pt x="577406" y="204990"/>
                  </a:lnTo>
                  <a:lnTo>
                    <a:pt x="577406" y="206324"/>
                  </a:lnTo>
                  <a:lnTo>
                    <a:pt x="577406" y="204292"/>
                  </a:lnTo>
                  <a:lnTo>
                    <a:pt x="577406" y="204990"/>
                  </a:lnTo>
                  <a:lnTo>
                    <a:pt x="577457" y="204990"/>
                  </a:lnTo>
                  <a:lnTo>
                    <a:pt x="577457" y="203594"/>
                  </a:lnTo>
                  <a:lnTo>
                    <a:pt x="577457" y="204990"/>
                  </a:lnTo>
                  <a:lnTo>
                    <a:pt x="577508" y="204990"/>
                  </a:lnTo>
                  <a:lnTo>
                    <a:pt x="577508" y="203594"/>
                  </a:lnTo>
                  <a:lnTo>
                    <a:pt x="577508" y="207022"/>
                  </a:lnTo>
                  <a:lnTo>
                    <a:pt x="577508" y="206324"/>
                  </a:lnTo>
                  <a:lnTo>
                    <a:pt x="577609" y="206324"/>
                  </a:lnTo>
                  <a:lnTo>
                    <a:pt x="577609" y="204292"/>
                  </a:lnTo>
                  <a:lnTo>
                    <a:pt x="577609" y="204990"/>
                  </a:lnTo>
                  <a:lnTo>
                    <a:pt x="577609" y="204292"/>
                  </a:lnTo>
                  <a:lnTo>
                    <a:pt x="577609" y="204990"/>
                  </a:lnTo>
                  <a:lnTo>
                    <a:pt x="577609" y="204292"/>
                  </a:lnTo>
                  <a:lnTo>
                    <a:pt x="577609" y="207022"/>
                  </a:lnTo>
                  <a:lnTo>
                    <a:pt x="577660" y="207022"/>
                  </a:lnTo>
                  <a:lnTo>
                    <a:pt x="577660" y="204990"/>
                  </a:lnTo>
                  <a:lnTo>
                    <a:pt x="577660" y="206324"/>
                  </a:lnTo>
                  <a:lnTo>
                    <a:pt x="577660" y="204990"/>
                  </a:lnTo>
                  <a:lnTo>
                    <a:pt x="577660" y="206324"/>
                  </a:lnTo>
                  <a:lnTo>
                    <a:pt x="577660" y="204990"/>
                  </a:lnTo>
                  <a:lnTo>
                    <a:pt x="577660" y="206324"/>
                  </a:lnTo>
                  <a:lnTo>
                    <a:pt x="577660" y="204990"/>
                  </a:lnTo>
                  <a:lnTo>
                    <a:pt x="577711" y="204990"/>
                  </a:lnTo>
                  <a:lnTo>
                    <a:pt x="577711" y="206324"/>
                  </a:lnTo>
                  <a:lnTo>
                    <a:pt x="577711" y="204990"/>
                  </a:lnTo>
                  <a:lnTo>
                    <a:pt x="577711" y="206324"/>
                  </a:lnTo>
                  <a:lnTo>
                    <a:pt x="577812" y="206324"/>
                  </a:lnTo>
                  <a:lnTo>
                    <a:pt x="577812" y="207022"/>
                  </a:lnTo>
                  <a:lnTo>
                    <a:pt x="577812" y="206324"/>
                  </a:lnTo>
                  <a:lnTo>
                    <a:pt x="577851" y="206324"/>
                  </a:lnTo>
                  <a:lnTo>
                    <a:pt x="577851" y="207022"/>
                  </a:lnTo>
                  <a:lnTo>
                    <a:pt x="577851" y="204990"/>
                  </a:lnTo>
                  <a:lnTo>
                    <a:pt x="577851" y="206324"/>
                  </a:lnTo>
                  <a:lnTo>
                    <a:pt x="577851" y="204990"/>
                  </a:lnTo>
                  <a:lnTo>
                    <a:pt x="577851" y="206324"/>
                  </a:lnTo>
                  <a:lnTo>
                    <a:pt x="577901" y="206324"/>
                  </a:lnTo>
                  <a:lnTo>
                    <a:pt x="577901" y="204292"/>
                  </a:lnTo>
                  <a:lnTo>
                    <a:pt x="577901" y="204990"/>
                  </a:lnTo>
                  <a:lnTo>
                    <a:pt x="577901" y="204292"/>
                  </a:lnTo>
                  <a:lnTo>
                    <a:pt x="577901" y="204990"/>
                  </a:lnTo>
                  <a:lnTo>
                    <a:pt x="577901" y="204292"/>
                  </a:lnTo>
                  <a:lnTo>
                    <a:pt x="577952" y="203594"/>
                  </a:lnTo>
                  <a:lnTo>
                    <a:pt x="577952" y="202959"/>
                  </a:lnTo>
                  <a:lnTo>
                    <a:pt x="577952" y="204990"/>
                  </a:lnTo>
                  <a:lnTo>
                    <a:pt x="577952" y="203594"/>
                  </a:lnTo>
                  <a:lnTo>
                    <a:pt x="578054" y="203594"/>
                  </a:lnTo>
                  <a:lnTo>
                    <a:pt x="578054" y="206324"/>
                  </a:lnTo>
                  <a:lnTo>
                    <a:pt x="578054" y="204990"/>
                  </a:lnTo>
                  <a:lnTo>
                    <a:pt x="578105" y="204990"/>
                  </a:lnTo>
                  <a:lnTo>
                    <a:pt x="578105" y="207721"/>
                  </a:lnTo>
                  <a:lnTo>
                    <a:pt x="578105" y="206324"/>
                  </a:lnTo>
                  <a:lnTo>
                    <a:pt x="578105" y="207022"/>
                  </a:lnTo>
                  <a:lnTo>
                    <a:pt x="578105" y="206324"/>
                  </a:lnTo>
                  <a:lnTo>
                    <a:pt x="578105" y="207022"/>
                  </a:lnTo>
                  <a:lnTo>
                    <a:pt x="578155" y="207022"/>
                  </a:lnTo>
                  <a:lnTo>
                    <a:pt x="578155" y="206324"/>
                  </a:lnTo>
                  <a:lnTo>
                    <a:pt x="578155" y="207721"/>
                  </a:lnTo>
                  <a:lnTo>
                    <a:pt x="578155" y="206324"/>
                  </a:lnTo>
                  <a:lnTo>
                    <a:pt x="578155" y="207022"/>
                  </a:lnTo>
                  <a:lnTo>
                    <a:pt x="578257" y="207022"/>
                  </a:lnTo>
                  <a:lnTo>
                    <a:pt x="578257" y="207721"/>
                  </a:lnTo>
                  <a:lnTo>
                    <a:pt x="578257" y="206324"/>
                  </a:lnTo>
                  <a:lnTo>
                    <a:pt x="578257" y="207022"/>
                  </a:lnTo>
                  <a:lnTo>
                    <a:pt x="578257" y="206324"/>
                  </a:lnTo>
                  <a:lnTo>
                    <a:pt x="578257" y="207022"/>
                  </a:lnTo>
                  <a:lnTo>
                    <a:pt x="578308" y="207022"/>
                  </a:lnTo>
                  <a:lnTo>
                    <a:pt x="578308" y="206324"/>
                  </a:lnTo>
                  <a:lnTo>
                    <a:pt x="578308" y="207022"/>
                  </a:lnTo>
                  <a:lnTo>
                    <a:pt x="578358" y="206324"/>
                  </a:lnTo>
                  <a:lnTo>
                    <a:pt x="578358" y="207022"/>
                  </a:lnTo>
                  <a:lnTo>
                    <a:pt x="578358" y="204990"/>
                  </a:lnTo>
                  <a:lnTo>
                    <a:pt x="578358" y="206324"/>
                  </a:lnTo>
                  <a:lnTo>
                    <a:pt x="578397" y="206324"/>
                  </a:lnTo>
                  <a:lnTo>
                    <a:pt x="578397" y="203594"/>
                  </a:lnTo>
                  <a:lnTo>
                    <a:pt x="578397" y="204292"/>
                  </a:lnTo>
                  <a:lnTo>
                    <a:pt x="578498" y="204990"/>
                  </a:lnTo>
                  <a:lnTo>
                    <a:pt x="578498" y="206324"/>
                  </a:lnTo>
                  <a:lnTo>
                    <a:pt x="578498" y="204292"/>
                  </a:lnTo>
                  <a:lnTo>
                    <a:pt x="578498" y="206324"/>
                  </a:lnTo>
                  <a:lnTo>
                    <a:pt x="578549" y="207022"/>
                  </a:lnTo>
                  <a:lnTo>
                    <a:pt x="578549" y="206324"/>
                  </a:lnTo>
                  <a:lnTo>
                    <a:pt x="578549" y="207022"/>
                  </a:lnTo>
                  <a:lnTo>
                    <a:pt x="578701" y="207022"/>
                  </a:lnTo>
                  <a:lnTo>
                    <a:pt x="578701" y="206324"/>
                  </a:lnTo>
                  <a:lnTo>
                    <a:pt x="578752" y="206324"/>
                  </a:lnTo>
                  <a:lnTo>
                    <a:pt x="578752" y="207022"/>
                  </a:lnTo>
                  <a:lnTo>
                    <a:pt x="578803" y="207022"/>
                  </a:lnTo>
                  <a:lnTo>
                    <a:pt x="578803" y="206324"/>
                  </a:lnTo>
                  <a:lnTo>
                    <a:pt x="578803" y="207022"/>
                  </a:lnTo>
                  <a:lnTo>
                    <a:pt x="578803" y="206324"/>
                  </a:lnTo>
                  <a:lnTo>
                    <a:pt x="578854" y="206324"/>
                  </a:lnTo>
                  <a:lnTo>
                    <a:pt x="578854" y="207022"/>
                  </a:lnTo>
                  <a:lnTo>
                    <a:pt x="578854" y="204990"/>
                  </a:lnTo>
                  <a:lnTo>
                    <a:pt x="578854" y="206324"/>
                  </a:lnTo>
                  <a:lnTo>
                    <a:pt x="578854" y="204990"/>
                  </a:lnTo>
                  <a:lnTo>
                    <a:pt x="578943" y="204292"/>
                  </a:lnTo>
                  <a:lnTo>
                    <a:pt x="578943" y="203594"/>
                  </a:lnTo>
                  <a:lnTo>
                    <a:pt x="578943" y="204990"/>
                  </a:lnTo>
                  <a:lnTo>
                    <a:pt x="578943" y="204292"/>
                  </a:lnTo>
                  <a:lnTo>
                    <a:pt x="578993" y="204292"/>
                  </a:lnTo>
                  <a:lnTo>
                    <a:pt x="578993" y="203594"/>
                  </a:lnTo>
                  <a:lnTo>
                    <a:pt x="578993" y="206324"/>
                  </a:lnTo>
                  <a:lnTo>
                    <a:pt x="578993" y="204990"/>
                  </a:lnTo>
                  <a:lnTo>
                    <a:pt x="579044" y="204990"/>
                  </a:lnTo>
                  <a:lnTo>
                    <a:pt x="579044" y="207022"/>
                  </a:lnTo>
                  <a:lnTo>
                    <a:pt x="579044" y="206324"/>
                  </a:lnTo>
                  <a:lnTo>
                    <a:pt x="579044" y="207022"/>
                  </a:lnTo>
                  <a:lnTo>
                    <a:pt x="579044" y="206324"/>
                  </a:lnTo>
                  <a:lnTo>
                    <a:pt x="579095" y="206324"/>
                  </a:lnTo>
                  <a:lnTo>
                    <a:pt x="579095" y="207022"/>
                  </a:lnTo>
                  <a:lnTo>
                    <a:pt x="579095" y="206324"/>
                  </a:lnTo>
                  <a:lnTo>
                    <a:pt x="579095" y="207022"/>
                  </a:lnTo>
                  <a:lnTo>
                    <a:pt x="579197" y="206324"/>
                  </a:lnTo>
                  <a:lnTo>
                    <a:pt x="579197" y="207022"/>
                  </a:lnTo>
                  <a:lnTo>
                    <a:pt x="579197" y="206324"/>
                  </a:lnTo>
                  <a:lnTo>
                    <a:pt x="579197" y="207022"/>
                  </a:lnTo>
                  <a:lnTo>
                    <a:pt x="579197" y="206324"/>
                  </a:lnTo>
                  <a:lnTo>
                    <a:pt x="579247" y="206324"/>
                  </a:lnTo>
                  <a:lnTo>
                    <a:pt x="579247" y="207022"/>
                  </a:lnTo>
                  <a:lnTo>
                    <a:pt x="579247" y="206324"/>
                  </a:lnTo>
                  <a:lnTo>
                    <a:pt x="579298" y="206324"/>
                  </a:lnTo>
                  <a:lnTo>
                    <a:pt x="579298" y="207022"/>
                  </a:lnTo>
                  <a:lnTo>
                    <a:pt x="579298" y="204990"/>
                  </a:lnTo>
                  <a:lnTo>
                    <a:pt x="579400" y="204990"/>
                  </a:lnTo>
                  <a:lnTo>
                    <a:pt x="579400" y="203594"/>
                  </a:lnTo>
                  <a:lnTo>
                    <a:pt x="579400" y="204292"/>
                  </a:lnTo>
                  <a:lnTo>
                    <a:pt x="579400" y="203594"/>
                  </a:lnTo>
                  <a:lnTo>
                    <a:pt x="579438" y="203594"/>
                  </a:lnTo>
                  <a:lnTo>
                    <a:pt x="579438" y="202959"/>
                  </a:lnTo>
                  <a:lnTo>
                    <a:pt x="579438" y="203594"/>
                  </a:lnTo>
                  <a:lnTo>
                    <a:pt x="579438" y="202260"/>
                  </a:lnTo>
                  <a:lnTo>
                    <a:pt x="579489" y="202260"/>
                  </a:lnTo>
                  <a:lnTo>
                    <a:pt x="579489" y="204990"/>
                  </a:lnTo>
                  <a:lnTo>
                    <a:pt x="579489" y="203594"/>
                  </a:lnTo>
                  <a:lnTo>
                    <a:pt x="579540" y="203594"/>
                  </a:lnTo>
                  <a:lnTo>
                    <a:pt x="579540" y="206324"/>
                  </a:lnTo>
                  <a:lnTo>
                    <a:pt x="579540" y="204292"/>
                  </a:lnTo>
                  <a:lnTo>
                    <a:pt x="579641" y="204292"/>
                  </a:lnTo>
                  <a:lnTo>
                    <a:pt x="579641" y="204990"/>
                  </a:lnTo>
                  <a:lnTo>
                    <a:pt x="579641" y="204292"/>
                  </a:lnTo>
                  <a:lnTo>
                    <a:pt x="579641" y="204990"/>
                  </a:lnTo>
                  <a:lnTo>
                    <a:pt x="579641" y="204292"/>
                  </a:lnTo>
                  <a:lnTo>
                    <a:pt x="579692" y="204292"/>
                  </a:lnTo>
                  <a:lnTo>
                    <a:pt x="579692" y="206324"/>
                  </a:lnTo>
                  <a:lnTo>
                    <a:pt x="579692" y="204292"/>
                  </a:lnTo>
                  <a:lnTo>
                    <a:pt x="579692" y="204990"/>
                  </a:lnTo>
                  <a:lnTo>
                    <a:pt x="579743" y="204990"/>
                  </a:lnTo>
                  <a:lnTo>
                    <a:pt x="579743" y="206324"/>
                  </a:lnTo>
                  <a:lnTo>
                    <a:pt x="579743" y="204990"/>
                  </a:lnTo>
                  <a:lnTo>
                    <a:pt x="579743" y="206324"/>
                  </a:lnTo>
                  <a:lnTo>
                    <a:pt x="579743" y="204990"/>
                  </a:lnTo>
                  <a:lnTo>
                    <a:pt x="579844" y="204990"/>
                  </a:lnTo>
                  <a:lnTo>
                    <a:pt x="579844" y="206324"/>
                  </a:lnTo>
                  <a:lnTo>
                    <a:pt x="579844" y="204990"/>
                  </a:lnTo>
                  <a:lnTo>
                    <a:pt x="579844" y="206324"/>
                  </a:lnTo>
                  <a:lnTo>
                    <a:pt x="579844" y="204990"/>
                  </a:lnTo>
                  <a:lnTo>
                    <a:pt x="579844" y="206324"/>
                  </a:lnTo>
                  <a:lnTo>
                    <a:pt x="579844" y="204292"/>
                  </a:lnTo>
                  <a:lnTo>
                    <a:pt x="579844" y="204990"/>
                  </a:lnTo>
                  <a:lnTo>
                    <a:pt x="579895" y="204990"/>
                  </a:lnTo>
                  <a:lnTo>
                    <a:pt x="579895" y="204292"/>
                  </a:lnTo>
                  <a:lnTo>
                    <a:pt x="579895" y="204990"/>
                  </a:lnTo>
                  <a:lnTo>
                    <a:pt x="579895" y="203594"/>
                  </a:lnTo>
                  <a:lnTo>
                    <a:pt x="579895" y="204990"/>
                  </a:lnTo>
                  <a:lnTo>
                    <a:pt x="579946" y="204292"/>
                  </a:lnTo>
                  <a:lnTo>
                    <a:pt x="579946" y="203594"/>
                  </a:lnTo>
                  <a:lnTo>
                    <a:pt x="579946" y="206324"/>
                  </a:lnTo>
                  <a:lnTo>
                    <a:pt x="579946" y="204990"/>
                  </a:lnTo>
                  <a:lnTo>
                    <a:pt x="579946" y="206324"/>
                  </a:lnTo>
                  <a:lnTo>
                    <a:pt x="579984" y="206324"/>
                  </a:lnTo>
                  <a:lnTo>
                    <a:pt x="579984" y="207022"/>
                  </a:lnTo>
                  <a:lnTo>
                    <a:pt x="579984" y="204990"/>
                  </a:lnTo>
                  <a:lnTo>
                    <a:pt x="579984" y="207022"/>
                  </a:lnTo>
                  <a:lnTo>
                    <a:pt x="579984" y="206324"/>
                  </a:lnTo>
                  <a:lnTo>
                    <a:pt x="579984" y="207022"/>
                  </a:lnTo>
                  <a:lnTo>
                    <a:pt x="580086" y="207022"/>
                  </a:lnTo>
                  <a:lnTo>
                    <a:pt x="580086" y="206324"/>
                  </a:lnTo>
                  <a:lnTo>
                    <a:pt x="580086" y="207022"/>
                  </a:lnTo>
                  <a:lnTo>
                    <a:pt x="580137" y="207022"/>
                  </a:lnTo>
                  <a:lnTo>
                    <a:pt x="580137" y="206324"/>
                  </a:lnTo>
                  <a:lnTo>
                    <a:pt x="580137" y="207022"/>
                  </a:lnTo>
                  <a:lnTo>
                    <a:pt x="580137" y="206324"/>
                  </a:lnTo>
                  <a:lnTo>
                    <a:pt x="580137" y="207022"/>
                  </a:lnTo>
                  <a:lnTo>
                    <a:pt x="580137" y="206324"/>
                  </a:lnTo>
                  <a:lnTo>
                    <a:pt x="580187" y="206324"/>
                  </a:lnTo>
                  <a:lnTo>
                    <a:pt x="580187" y="207022"/>
                  </a:lnTo>
                  <a:lnTo>
                    <a:pt x="580187" y="206324"/>
                  </a:lnTo>
                  <a:lnTo>
                    <a:pt x="580187" y="207022"/>
                  </a:lnTo>
                  <a:lnTo>
                    <a:pt x="580187" y="206324"/>
                  </a:lnTo>
                  <a:lnTo>
                    <a:pt x="580289" y="206324"/>
                  </a:lnTo>
                  <a:lnTo>
                    <a:pt x="580289" y="207022"/>
                  </a:lnTo>
                  <a:lnTo>
                    <a:pt x="580289" y="206324"/>
                  </a:lnTo>
                  <a:lnTo>
                    <a:pt x="580289" y="207022"/>
                  </a:lnTo>
                  <a:lnTo>
                    <a:pt x="580289" y="206324"/>
                  </a:lnTo>
                  <a:lnTo>
                    <a:pt x="580340" y="206324"/>
                  </a:lnTo>
                  <a:lnTo>
                    <a:pt x="580340" y="204292"/>
                  </a:lnTo>
                  <a:lnTo>
                    <a:pt x="580340" y="204990"/>
                  </a:lnTo>
                  <a:lnTo>
                    <a:pt x="580391" y="204292"/>
                  </a:lnTo>
                  <a:lnTo>
                    <a:pt x="580391" y="206324"/>
                  </a:lnTo>
                  <a:lnTo>
                    <a:pt x="580391" y="204292"/>
                  </a:lnTo>
                  <a:lnTo>
                    <a:pt x="580391" y="204990"/>
                  </a:lnTo>
                  <a:lnTo>
                    <a:pt x="580391" y="204292"/>
                  </a:lnTo>
                  <a:lnTo>
                    <a:pt x="580441" y="204990"/>
                  </a:lnTo>
                  <a:lnTo>
                    <a:pt x="580441" y="208407"/>
                  </a:lnTo>
                  <a:lnTo>
                    <a:pt x="580441" y="206324"/>
                  </a:lnTo>
                  <a:lnTo>
                    <a:pt x="580441" y="207721"/>
                  </a:lnTo>
                  <a:lnTo>
                    <a:pt x="580530" y="207721"/>
                  </a:lnTo>
                  <a:lnTo>
                    <a:pt x="580530" y="208407"/>
                  </a:lnTo>
                  <a:lnTo>
                    <a:pt x="580530" y="207721"/>
                  </a:lnTo>
                  <a:lnTo>
                    <a:pt x="580530" y="208407"/>
                  </a:lnTo>
                  <a:lnTo>
                    <a:pt x="580530" y="207022"/>
                  </a:lnTo>
                  <a:lnTo>
                    <a:pt x="580530" y="207721"/>
                  </a:lnTo>
                  <a:lnTo>
                    <a:pt x="580530" y="207022"/>
                  </a:lnTo>
                  <a:lnTo>
                    <a:pt x="580530" y="207721"/>
                  </a:lnTo>
                  <a:lnTo>
                    <a:pt x="580581" y="207721"/>
                  </a:lnTo>
                  <a:lnTo>
                    <a:pt x="580581" y="207022"/>
                  </a:lnTo>
                  <a:lnTo>
                    <a:pt x="580581" y="207721"/>
                  </a:lnTo>
                  <a:lnTo>
                    <a:pt x="580581" y="207022"/>
                  </a:lnTo>
                  <a:lnTo>
                    <a:pt x="580632" y="207022"/>
                  </a:lnTo>
                  <a:lnTo>
                    <a:pt x="580632" y="207721"/>
                  </a:lnTo>
                  <a:lnTo>
                    <a:pt x="580632" y="206324"/>
                  </a:lnTo>
                  <a:lnTo>
                    <a:pt x="580632" y="207022"/>
                  </a:lnTo>
                  <a:lnTo>
                    <a:pt x="580683" y="207022"/>
                  </a:lnTo>
                  <a:lnTo>
                    <a:pt x="580683" y="206324"/>
                  </a:lnTo>
                  <a:lnTo>
                    <a:pt x="580683" y="207022"/>
                  </a:lnTo>
                  <a:lnTo>
                    <a:pt x="580683" y="204990"/>
                  </a:lnTo>
                  <a:lnTo>
                    <a:pt x="580683" y="206324"/>
                  </a:lnTo>
                  <a:lnTo>
                    <a:pt x="580784" y="206324"/>
                  </a:lnTo>
                  <a:lnTo>
                    <a:pt x="580784" y="204990"/>
                  </a:lnTo>
                  <a:lnTo>
                    <a:pt x="580784" y="206324"/>
                  </a:lnTo>
                  <a:lnTo>
                    <a:pt x="580784" y="204990"/>
                  </a:lnTo>
                  <a:lnTo>
                    <a:pt x="580784" y="206324"/>
                  </a:lnTo>
                  <a:lnTo>
                    <a:pt x="580784" y="204292"/>
                  </a:lnTo>
                  <a:lnTo>
                    <a:pt x="580835" y="204292"/>
                  </a:lnTo>
                  <a:lnTo>
                    <a:pt x="580835" y="202959"/>
                  </a:lnTo>
                  <a:lnTo>
                    <a:pt x="580886" y="202959"/>
                  </a:lnTo>
                  <a:lnTo>
                    <a:pt x="580886" y="204292"/>
                  </a:lnTo>
                  <a:lnTo>
                    <a:pt x="580886" y="202959"/>
                  </a:lnTo>
                  <a:lnTo>
                    <a:pt x="580886" y="204292"/>
                  </a:lnTo>
                  <a:lnTo>
                    <a:pt x="580987" y="204990"/>
                  </a:lnTo>
                  <a:lnTo>
                    <a:pt x="580987" y="206324"/>
                  </a:lnTo>
                  <a:lnTo>
                    <a:pt x="580987" y="203594"/>
                  </a:lnTo>
                  <a:lnTo>
                    <a:pt x="580987" y="206324"/>
                  </a:lnTo>
                  <a:lnTo>
                    <a:pt x="581026" y="206324"/>
                  </a:lnTo>
                  <a:lnTo>
                    <a:pt x="581026" y="207022"/>
                  </a:lnTo>
                  <a:lnTo>
                    <a:pt x="581026" y="206324"/>
                  </a:lnTo>
                  <a:lnTo>
                    <a:pt x="581026" y="207022"/>
                  </a:lnTo>
                  <a:lnTo>
                    <a:pt x="581026" y="204990"/>
                  </a:lnTo>
                  <a:lnTo>
                    <a:pt x="581026" y="207022"/>
                  </a:lnTo>
                  <a:lnTo>
                    <a:pt x="581026" y="206324"/>
                  </a:lnTo>
                  <a:lnTo>
                    <a:pt x="581076" y="206324"/>
                  </a:lnTo>
                  <a:lnTo>
                    <a:pt x="581076" y="204990"/>
                  </a:lnTo>
                  <a:lnTo>
                    <a:pt x="581076" y="207022"/>
                  </a:lnTo>
                  <a:lnTo>
                    <a:pt x="581127" y="207022"/>
                  </a:lnTo>
                  <a:lnTo>
                    <a:pt x="581127" y="206324"/>
                  </a:lnTo>
                  <a:lnTo>
                    <a:pt x="581127" y="207022"/>
                  </a:lnTo>
                  <a:lnTo>
                    <a:pt x="581127" y="206324"/>
                  </a:lnTo>
                  <a:lnTo>
                    <a:pt x="581127" y="207022"/>
                  </a:lnTo>
                  <a:lnTo>
                    <a:pt x="581127" y="206324"/>
                  </a:lnTo>
                  <a:lnTo>
                    <a:pt x="581127" y="207022"/>
                  </a:lnTo>
                  <a:lnTo>
                    <a:pt x="581127" y="206324"/>
                  </a:lnTo>
                  <a:lnTo>
                    <a:pt x="581127" y="207022"/>
                  </a:lnTo>
                  <a:lnTo>
                    <a:pt x="581229" y="207022"/>
                  </a:lnTo>
                  <a:lnTo>
                    <a:pt x="581229" y="207721"/>
                  </a:lnTo>
                  <a:lnTo>
                    <a:pt x="581229" y="207022"/>
                  </a:lnTo>
                  <a:lnTo>
                    <a:pt x="581280" y="207022"/>
                  </a:lnTo>
                  <a:lnTo>
                    <a:pt x="581280" y="204292"/>
                  </a:lnTo>
                  <a:lnTo>
                    <a:pt x="581330" y="204292"/>
                  </a:lnTo>
                  <a:lnTo>
                    <a:pt x="581330" y="202959"/>
                  </a:lnTo>
                  <a:lnTo>
                    <a:pt x="581330" y="204292"/>
                  </a:lnTo>
                  <a:lnTo>
                    <a:pt x="581432" y="204292"/>
                  </a:lnTo>
                  <a:lnTo>
                    <a:pt x="581432" y="202959"/>
                  </a:lnTo>
                  <a:lnTo>
                    <a:pt x="581432" y="206324"/>
                  </a:lnTo>
                  <a:lnTo>
                    <a:pt x="581483" y="206324"/>
                  </a:lnTo>
                  <a:lnTo>
                    <a:pt x="581483" y="204292"/>
                  </a:lnTo>
                  <a:lnTo>
                    <a:pt x="581483" y="207022"/>
                  </a:lnTo>
                  <a:lnTo>
                    <a:pt x="581483" y="206324"/>
                  </a:lnTo>
                  <a:lnTo>
                    <a:pt x="581483" y="207022"/>
                  </a:lnTo>
                  <a:lnTo>
                    <a:pt x="581483" y="206324"/>
                  </a:lnTo>
                  <a:lnTo>
                    <a:pt x="581483" y="207022"/>
                  </a:lnTo>
                  <a:lnTo>
                    <a:pt x="581533" y="207022"/>
                  </a:lnTo>
                  <a:lnTo>
                    <a:pt x="581533" y="204990"/>
                  </a:lnTo>
                  <a:lnTo>
                    <a:pt x="581533" y="206324"/>
                  </a:lnTo>
                  <a:lnTo>
                    <a:pt x="581673" y="206324"/>
                  </a:lnTo>
                  <a:lnTo>
                    <a:pt x="581673" y="207022"/>
                  </a:lnTo>
                  <a:lnTo>
                    <a:pt x="581673" y="206324"/>
                  </a:lnTo>
                  <a:lnTo>
                    <a:pt x="581673" y="207022"/>
                  </a:lnTo>
                  <a:lnTo>
                    <a:pt x="581673" y="206324"/>
                  </a:lnTo>
                  <a:lnTo>
                    <a:pt x="581724" y="206324"/>
                  </a:lnTo>
                  <a:lnTo>
                    <a:pt x="581724" y="207022"/>
                  </a:lnTo>
                  <a:lnTo>
                    <a:pt x="581724" y="206324"/>
                  </a:lnTo>
                  <a:lnTo>
                    <a:pt x="581775" y="206324"/>
                  </a:lnTo>
                  <a:lnTo>
                    <a:pt x="581775" y="204990"/>
                  </a:lnTo>
                  <a:lnTo>
                    <a:pt x="581775" y="206324"/>
                  </a:lnTo>
                  <a:lnTo>
                    <a:pt x="581775" y="204292"/>
                  </a:lnTo>
                  <a:lnTo>
                    <a:pt x="581775" y="204990"/>
                  </a:lnTo>
                  <a:lnTo>
                    <a:pt x="581775" y="203594"/>
                  </a:lnTo>
                  <a:lnTo>
                    <a:pt x="581876" y="203594"/>
                  </a:lnTo>
                  <a:lnTo>
                    <a:pt x="581876" y="202959"/>
                  </a:lnTo>
                  <a:lnTo>
                    <a:pt x="581876" y="203594"/>
                  </a:lnTo>
                  <a:lnTo>
                    <a:pt x="581876" y="200876"/>
                  </a:lnTo>
                  <a:lnTo>
                    <a:pt x="581876" y="202959"/>
                  </a:lnTo>
                  <a:lnTo>
                    <a:pt x="581927" y="202959"/>
                  </a:lnTo>
                  <a:lnTo>
                    <a:pt x="581927" y="203594"/>
                  </a:lnTo>
                  <a:lnTo>
                    <a:pt x="581927" y="202260"/>
                  </a:lnTo>
                  <a:lnTo>
                    <a:pt x="581927" y="204292"/>
                  </a:lnTo>
                  <a:lnTo>
                    <a:pt x="581978" y="204292"/>
                  </a:lnTo>
                  <a:lnTo>
                    <a:pt x="581978" y="203594"/>
                  </a:lnTo>
                  <a:lnTo>
                    <a:pt x="581978" y="204292"/>
                  </a:lnTo>
                  <a:lnTo>
                    <a:pt x="581978" y="202959"/>
                  </a:lnTo>
                  <a:lnTo>
                    <a:pt x="581978" y="204292"/>
                  </a:lnTo>
                  <a:lnTo>
                    <a:pt x="582029" y="203594"/>
                  </a:lnTo>
                  <a:lnTo>
                    <a:pt x="582029" y="204292"/>
                  </a:lnTo>
                  <a:lnTo>
                    <a:pt x="582029" y="203594"/>
                  </a:lnTo>
                  <a:lnTo>
                    <a:pt x="582029" y="204990"/>
                  </a:lnTo>
                  <a:lnTo>
                    <a:pt x="582029" y="204292"/>
                  </a:lnTo>
                  <a:lnTo>
                    <a:pt x="582029" y="204990"/>
                  </a:lnTo>
                  <a:lnTo>
                    <a:pt x="582029" y="204292"/>
                  </a:lnTo>
                  <a:lnTo>
                    <a:pt x="582118" y="204292"/>
                  </a:lnTo>
                  <a:lnTo>
                    <a:pt x="582118" y="204990"/>
                  </a:lnTo>
                  <a:lnTo>
                    <a:pt x="582168" y="206324"/>
                  </a:lnTo>
                  <a:lnTo>
                    <a:pt x="582219" y="207022"/>
                  </a:lnTo>
                  <a:lnTo>
                    <a:pt x="582219" y="206324"/>
                  </a:lnTo>
                  <a:lnTo>
                    <a:pt x="582219" y="207022"/>
                  </a:lnTo>
                  <a:lnTo>
                    <a:pt x="582219" y="204990"/>
                  </a:lnTo>
                  <a:lnTo>
                    <a:pt x="582219" y="206324"/>
                  </a:lnTo>
                  <a:lnTo>
                    <a:pt x="582219" y="204990"/>
                  </a:lnTo>
                  <a:lnTo>
                    <a:pt x="582219" y="206324"/>
                  </a:lnTo>
                  <a:lnTo>
                    <a:pt x="582219" y="204990"/>
                  </a:lnTo>
                  <a:lnTo>
                    <a:pt x="582270" y="206324"/>
                  </a:lnTo>
                  <a:lnTo>
                    <a:pt x="582270" y="202959"/>
                  </a:lnTo>
                  <a:lnTo>
                    <a:pt x="582270" y="203594"/>
                  </a:lnTo>
                  <a:lnTo>
                    <a:pt x="582270" y="202959"/>
                  </a:lnTo>
                  <a:lnTo>
                    <a:pt x="582372" y="202959"/>
                  </a:lnTo>
                  <a:lnTo>
                    <a:pt x="582372" y="200876"/>
                  </a:lnTo>
                  <a:lnTo>
                    <a:pt x="582372" y="202260"/>
                  </a:lnTo>
                  <a:lnTo>
                    <a:pt x="582372" y="200876"/>
                  </a:lnTo>
                  <a:lnTo>
                    <a:pt x="582372" y="202260"/>
                  </a:lnTo>
                  <a:lnTo>
                    <a:pt x="582422" y="202260"/>
                  </a:lnTo>
                  <a:lnTo>
                    <a:pt x="582422" y="202959"/>
                  </a:lnTo>
                  <a:lnTo>
                    <a:pt x="582422" y="200228"/>
                  </a:lnTo>
                  <a:lnTo>
                    <a:pt x="582422" y="202959"/>
                  </a:lnTo>
                  <a:lnTo>
                    <a:pt x="582473" y="202959"/>
                  </a:lnTo>
                  <a:lnTo>
                    <a:pt x="582473" y="203594"/>
                  </a:lnTo>
                  <a:lnTo>
                    <a:pt x="582473" y="202959"/>
                  </a:lnTo>
                  <a:lnTo>
                    <a:pt x="582473" y="203594"/>
                  </a:lnTo>
                  <a:lnTo>
                    <a:pt x="582473" y="202260"/>
                  </a:lnTo>
                  <a:lnTo>
                    <a:pt x="582473" y="202959"/>
                  </a:lnTo>
                  <a:lnTo>
                    <a:pt x="582575" y="202959"/>
                  </a:lnTo>
                  <a:lnTo>
                    <a:pt x="582575" y="202260"/>
                  </a:lnTo>
                  <a:lnTo>
                    <a:pt x="582575" y="202959"/>
                  </a:lnTo>
                  <a:lnTo>
                    <a:pt x="582575" y="202260"/>
                  </a:lnTo>
                  <a:lnTo>
                    <a:pt x="582613" y="202959"/>
                  </a:lnTo>
                  <a:lnTo>
                    <a:pt x="582613" y="203594"/>
                  </a:lnTo>
                  <a:lnTo>
                    <a:pt x="582664" y="203594"/>
                  </a:lnTo>
                  <a:lnTo>
                    <a:pt x="582664" y="204990"/>
                  </a:lnTo>
                  <a:lnTo>
                    <a:pt x="582664" y="204292"/>
                  </a:lnTo>
                  <a:lnTo>
                    <a:pt x="582664" y="204990"/>
                  </a:lnTo>
                  <a:lnTo>
                    <a:pt x="582715" y="204292"/>
                  </a:lnTo>
                  <a:lnTo>
                    <a:pt x="582715" y="203594"/>
                  </a:lnTo>
                  <a:lnTo>
                    <a:pt x="582816" y="203594"/>
                  </a:lnTo>
                  <a:lnTo>
                    <a:pt x="582816" y="204292"/>
                  </a:lnTo>
                  <a:lnTo>
                    <a:pt x="582816" y="203594"/>
                  </a:lnTo>
                  <a:lnTo>
                    <a:pt x="582816" y="204292"/>
                  </a:lnTo>
                  <a:lnTo>
                    <a:pt x="582816" y="203594"/>
                  </a:lnTo>
                  <a:lnTo>
                    <a:pt x="582867" y="203594"/>
                  </a:lnTo>
                  <a:lnTo>
                    <a:pt x="582867" y="202260"/>
                  </a:lnTo>
                  <a:lnTo>
                    <a:pt x="582867" y="202959"/>
                  </a:lnTo>
                  <a:lnTo>
                    <a:pt x="582918" y="202959"/>
                  </a:lnTo>
                  <a:lnTo>
                    <a:pt x="582918" y="203594"/>
                  </a:lnTo>
                  <a:lnTo>
                    <a:pt x="582918" y="200876"/>
                  </a:lnTo>
                  <a:lnTo>
                    <a:pt x="582918" y="203594"/>
                  </a:lnTo>
                  <a:lnTo>
                    <a:pt x="583019" y="204292"/>
                  </a:lnTo>
                  <a:lnTo>
                    <a:pt x="583019" y="202260"/>
                  </a:lnTo>
                  <a:lnTo>
                    <a:pt x="583019" y="203594"/>
                  </a:lnTo>
                  <a:lnTo>
                    <a:pt x="583070" y="203594"/>
                  </a:lnTo>
                  <a:lnTo>
                    <a:pt x="583070" y="202260"/>
                  </a:lnTo>
                  <a:lnTo>
                    <a:pt x="583070" y="203594"/>
                  </a:lnTo>
                  <a:lnTo>
                    <a:pt x="583070" y="202959"/>
                  </a:lnTo>
                  <a:lnTo>
                    <a:pt x="583070" y="203594"/>
                  </a:lnTo>
                  <a:lnTo>
                    <a:pt x="583121" y="203594"/>
                  </a:lnTo>
                  <a:lnTo>
                    <a:pt x="583121" y="202959"/>
                  </a:lnTo>
                  <a:lnTo>
                    <a:pt x="583121" y="204292"/>
                  </a:lnTo>
                  <a:lnTo>
                    <a:pt x="583159" y="204292"/>
                  </a:lnTo>
                  <a:lnTo>
                    <a:pt x="583159" y="204990"/>
                  </a:lnTo>
                  <a:lnTo>
                    <a:pt x="583159" y="204292"/>
                  </a:lnTo>
                  <a:lnTo>
                    <a:pt x="583159" y="204990"/>
                  </a:lnTo>
                  <a:lnTo>
                    <a:pt x="583159" y="204292"/>
                  </a:lnTo>
                  <a:lnTo>
                    <a:pt x="583312" y="204292"/>
                  </a:lnTo>
                  <a:lnTo>
                    <a:pt x="583312" y="203594"/>
                  </a:lnTo>
                  <a:lnTo>
                    <a:pt x="583312" y="204292"/>
                  </a:lnTo>
                  <a:lnTo>
                    <a:pt x="583312" y="203594"/>
                  </a:lnTo>
                  <a:lnTo>
                    <a:pt x="583362" y="202959"/>
                  </a:lnTo>
                  <a:lnTo>
                    <a:pt x="583362" y="203594"/>
                  </a:lnTo>
                  <a:lnTo>
                    <a:pt x="583362" y="202959"/>
                  </a:lnTo>
                  <a:lnTo>
                    <a:pt x="583362" y="203594"/>
                  </a:lnTo>
                  <a:lnTo>
                    <a:pt x="583362" y="202260"/>
                  </a:lnTo>
                  <a:lnTo>
                    <a:pt x="583362" y="203594"/>
                  </a:lnTo>
                  <a:lnTo>
                    <a:pt x="583464" y="204292"/>
                  </a:lnTo>
                  <a:lnTo>
                    <a:pt x="583464" y="202260"/>
                  </a:lnTo>
                  <a:lnTo>
                    <a:pt x="583464" y="204990"/>
                  </a:lnTo>
                  <a:lnTo>
                    <a:pt x="583515" y="204990"/>
                  </a:lnTo>
                  <a:lnTo>
                    <a:pt x="583515" y="202959"/>
                  </a:lnTo>
                  <a:lnTo>
                    <a:pt x="583515" y="204292"/>
                  </a:lnTo>
                  <a:lnTo>
                    <a:pt x="583566" y="204292"/>
                  </a:lnTo>
                  <a:lnTo>
                    <a:pt x="583566" y="203594"/>
                  </a:lnTo>
                  <a:lnTo>
                    <a:pt x="583566" y="204292"/>
                  </a:lnTo>
                  <a:lnTo>
                    <a:pt x="583616" y="204292"/>
                  </a:lnTo>
                  <a:lnTo>
                    <a:pt x="583616" y="203594"/>
                  </a:lnTo>
                  <a:lnTo>
                    <a:pt x="583616" y="204292"/>
                  </a:lnTo>
                  <a:lnTo>
                    <a:pt x="583616" y="203594"/>
                  </a:lnTo>
                  <a:lnTo>
                    <a:pt x="583616" y="204292"/>
                  </a:lnTo>
                  <a:lnTo>
                    <a:pt x="583616" y="203594"/>
                  </a:lnTo>
                  <a:lnTo>
                    <a:pt x="583616" y="204990"/>
                  </a:lnTo>
                  <a:lnTo>
                    <a:pt x="583616" y="204292"/>
                  </a:lnTo>
                  <a:lnTo>
                    <a:pt x="583705" y="204990"/>
                  </a:lnTo>
                  <a:lnTo>
                    <a:pt x="583705" y="204292"/>
                  </a:lnTo>
                  <a:lnTo>
                    <a:pt x="583705" y="204990"/>
                  </a:lnTo>
                  <a:lnTo>
                    <a:pt x="583705" y="204292"/>
                  </a:lnTo>
                  <a:lnTo>
                    <a:pt x="583705" y="204990"/>
                  </a:lnTo>
                  <a:lnTo>
                    <a:pt x="583705" y="204292"/>
                  </a:lnTo>
                  <a:lnTo>
                    <a:pt x="583705" y="204990"/>
                  </a:lnTo>
                  <a:lnTo>
                    <a:pt x="583705" y="204292"/>
                  </a:lnTo>
                  <a:lnTo>
                    <a:pt x="583756" y="204292"/>
                  </a:lnTo>
                  <a:lnTo>
                    <a:pt x="583756" y="204990"/>
                  </a:lnTo>
                  <a:lnTo>
                    <a:pt x="583756" y="204292"/>
                  </a:lnTo>
                  <a:lnTo>
                    <a:pt x="583807" y="204292"/>
                  </a:lnTo>
                  <a:lnTo>
                    <a:pt x="583807" y="203594"/>
                  </a:lnTo>
                  <a:lnTo>
                    <a:pt x="583807" y="204292"/>
                  </a:lnTo>
                  <a:lnTo>
                    <a:pt x="583807" y="202959"/>
                  </a:lnTo>
                  <a:lnTo>
                    <a:pt x="583807" y="203594"/>
                  </a:lnTo>
                  <a:lnTo>
                    <a:pt x="583807" y="202959"/>
                  </a:lnTo>
                  <a:lnTo>
                    <a:pt x="583858" y="202959"/>
                  </a:lnTo>
                  <a:lnTo>
                    <a:pt x="583858" y="204990"/>
                  </a:lnTo>
                  <a:lnTo>
                    <a:pt x="583858" y="204292"/>
                  </a:lnTo>
                  <a:lnTo>
                    <a:pt x="583959" y="203594"/>
                  </a:lnTo>
                  <a:lnTo>
                    <a:pt x="583959" y="202959"/>
                  </a:lnTo>
                  <a:lnTo>
                    <a:pt x="583959" y="206324"/>
                  </a:lnTo>
                  <a:lnTo>
                    <a:pt x="583959" y="203594"/>
                  </a:lnTo>
                  <a:lnTo>
                    <a:pt x="584010" y="203594"/>
                  </a:lnTo>
                  <a:lnTo>
                    <a:pt x="584010" y="206324"/>
                  </a:lnTo>
                  <a:lnTo>
                    <a:pt x="584010" y="204990"/>
                  </a:lnTo>
                  <a:lnTo>
                    <a:pt x="584010" y="206324"/>
                  </a:lnTo>
                  <a:lnTo>
                    <a:pt x="584010" y="204292"/>
                  </a:lnTo>
                  <a:lnTo>
                    <a:pt x="584010" y="204990"/>
                  </a:lnTo>
                  <a:lnTo>
                    <a:pt x="584061" y="204990"/>
                  </a:lnTo>
                  <a:lnTo>
                    <a:pt x="584061" y="204292"/>
                  </a:lnTo>
                  <a:lnTo>
                    <a:pt x="584061" y="206324"/>
                  </a:lnTo>
                  <a:lnTo>
                    <a:pt x="584061" y="204990"/>
                  </a:lnTo>
                  <a:lnTo>
                    <a:pt x="584061" y="206324"/>
                  </a:lnTo>
                  <a:lnTo>
                    <a:pt x="584061" y="204990"/>
                  </a:lnTo>
                  <a:lnTo>
                    <a:pt x="584162" y="204990"/>
                  </a:lnTo>
                  <a:lnTo>
                    <a:pt x="584162" y="206324"/>
                  </a:lnTo>
                  <a:lnTo>
                    <a:pt x="584162" y="204990"/>
                  </a:lnTo>
                  <a:lnTo>
                    <a:pt x="584162" y="207022"/>
                  </a:lnTo>
                  <a:lnTo>
                    <a:pt x="584162" y="206324"/>
                  </a:lnTo>
                  <a:lnTo>
                    <a:pt x="584201" y="206324"/>
                  </a:lnTo>
                  <a:lnTo>
                    <a:pt x="584201" y="207022"/>
                  </a:lnTo>
                  <a:lnTo>
                    <a:pt x="584201" y="204990"/>
                  </a:lnTo>
                  <a:lnTo>
                    <a:pt x="584251" y="204990"/>
                  </a:lnTo>
                  <a:lnTo>
                    <a:pt x="584251" y="204292"/>
                  </a:lnTo>
                  <a:lnTo>
                    <a:pt x="584251" y="204990"/>
                  </a:lnTo>
                  <a:lnTo>
                    <a:pt x="584251" y="204292"/>
                  </a:lnTo>
                  <a:lnTo>
                    <a:pt x="584302" y="204292"/>
                  </a:lnTo>
                  <a:lnTo>
                    <a:pt x="584302" y="203594"/>
                  </a:lnTo>
                  <a:lnTo>
                    <a:pt x="584302" y="204292"/>
                  </a:lnTo>
                  <a:lnTo>
                    <a:pt x="584302" y="202959"/>
                  </a:lnTo>
                  <a:lnTo>
                    <a:pt x="584404" y="202959"/>
                  </a:lnTo>
                  <a:lnTo>
                    <a:pt x="584404" y="204990"/>
                  </a:lnTo>
                  <a:lnTo>
                    <a:pt x="584404" y="202959"/>
                  </a:lnTo>
                  <a:lnTo>
                    <a:pt x="584404" y="204292"/>
                  </a:lnTo>
                  <a:lnTo>
                    <a:pt x="584455" y="204292"/>
                  </a:lnTo>
                  <a:lnTo>
                    <a:pt x="584455" y="206324"/>
                  </a:lnTo>
                  <a:lnTo>
                    <a:pt x="584455" y="204292"/>
                  </a:lnTo>
                  <a:lnTo>
                    <a:pt x="584455" y="204990"/>
                  </a:lnTo>
                  <a:lnTo>
                    <a:pt x="584455" y="204292"/>
                  </a:lnTo>
                  <a:lnTo>
                    <a:pt x="584505" y="204990"/>
                  </a:lnTo>
                  <a:lnTo>
                    <a:pt x="584505" y="206324"/>
                  </a:lnTo>
                  <a:lnTo>
                    <a:pt x="584607" y="206324"/>
                  </a:lnTo>
                  <a:lnTo>
                    <a:pt x="584607" y="204990"/>
                  </a:lnTo>
                  <a:lnTo>
                    <a:pt x="584607" y="206324"/>
                  </a:lnTo>
                  <a:lnTo>
                    <a:pt x="584607" y="204990"/>
                  </a:lnTo>
                  <a:lnTo>
                    <a:pt x="584607" y="206324"/>
                  </a:lnTo>
                  <a:lnTo>
                    <a:pt x="584607" y="204990"/>
                  </a:lnTo>
                  <a:lnTo>
                    <a:pt x="584607" y="206324"/>
                  </a:lnTo>
                  <a:lnTo>
                    <a:pt x="584607" y="204990"/>
                  </a:lnTo>
                  <a:lnTo>
                    <a:pt x="584607" y="206324"/>
                  </a:lnTo>
                  <a:lnTo>
                    <a:pt x="584607" y="204990"/>
                  </a:lnTo>
                  <a:lnTo>
                    <a:pt x="584607" y="206324"/>
                  </a:lnTo>
                  <a:lnTo>
                    <a:pt x="584658" y="206324"/>
                  </a:lnTo>
                  <a:lnTo>
                    <a:pt x="584658" y="204990"/>
                  </a:lnTo>
                  <a:lnTo>
                    <a:pt x="584658" y="206324"/>
                  </a:lnTo>
                  <a:lnTo>
                    <a:pt x="584658" y="204990"/>
                  </a:lnTo>
                  <a:lnTo>
                    <a:pt x="584658" y="206324"/>
                  </a:lnTo>
                  <a:lnTo>
                    <a:pt x="584708" y="206324"/>
                  </a:lnTo>
                  <a:lnTo>
                    <a:pt x="584708" y="204990"/>
                  </a:lnTo>
                  <a:lnTo>
                    <a:pt x="584747" y="204990"/>
                  </a:lnTo>
                  <a:lnTo>
                    <a:pt x="584747" y="203594"/>
                  </a:lnTo>
                  <a:lnTo>
                    <a:pt x="584747" y="204292"/>
                  </a:lnTo>
                  <a:lnTo>
                    <a:pt x="584747" y="203594"/>
                  </a:lnTo>
                  <a:lnTo>
                    <a:pt x="584848" y="203594"/>
                  </a:lnTo>
                  <a:lnTo>
                    <a:pt x="584848" y="204292"/>
                  </a:lnTo>
                  <a:lnTo>
                    <a:pt x="584848" y="202260"/>
                  </a:lnTo>
                  <a:lnTo>
                    <a:pt x="584848" y="202959"/>
                  </a:lnTo>
                  <a:lnTo>
                    <a:pt x="584848" y="202260"/>
                  </a:lnTo>
                  <a:lnTo>
                    <a:pt x="584899" y="202260"/>
                  </a:lnTo>
                  <a:lnTo>
                    <a:pt x="584899" y="203594"/>
                  </a:lnTo>
                  <a:lnTo>
                    <a:pt x="584899" y="202260"/>
                  </a:lnTo>
                  <a:lnTo>
                    <a:pt x="584899" y="202959"/>
                  </a:lnTo>
                  <a:lnTo>
                    <a:pt x="584950" y="203594"/>
                  </a:lnTo>
                  <a:lnTo>
                    <a:pt x="584950" y="204292"/>
                  </a:lnTo>
                  <a:lnTo>
                    <a:pt x="584950" y="202959"/>
                  </a:lnTo>
                  <a:lnTo>
                    <a:pt x="584950" y="204292"/>
                  </a:lnTo>
                  <a:lnTo>
                    <a:pt x="585051" y="204292"/>
                  </a:lnTo>
                  <a:lnTo>
                    <a:pt x="585051" y="204990"/>
                  </a:lnTo>
                  <a:lnTo>
                    <a:pt x="585051" y="204292"/>
                  </a:lnTo>
                  <a:lnTo>
                    <a:pt x="585051" y="204990"/>
                  </a:lnTo>
                  <a:lnTo>
                    <a:pt x="585102" y="204990"/>
                  </a:lnTo>
                  <a:lnTo>
                    <a:pt x="585102" y="206324"/>
                  </a:lnTo>
                  <a:lnTo>
                    <a:pt x="585102" y="204990"/>
                  </a:lnTo>
                  <a:lnTo>
                    <a:pt x="585102" y="206324"/>
                  </a:lnTo>
                  <a:lnTo>
                    <a:pt x="585153" y="206324"/>
                  </a:lnTo>
                  <a:lnTo>
                    <a:pt x="585153" y="207022"/>
                  </a:lnTo>
                  <a:lnTo>
                    <a:pt x="585153" y="206324"/>
                  </a:lnTo>
                  <a:lnTo>
                    <a:pt x="585204" y="206324"/>
                  </a:lnTo>
                  <a:lnTo>
                    <a:pt x="585204" y="204990"/>
                  </a:lnTo>
                  <a:lnTo>
                    <a:pt x="585204" y="206324"/>
                  </a:lnTo>
                  <a:lnTo>
                    <a:pt x="585204" y="204990"/>
                  </a:lnTo>
                  <a:lnTo>
                    <a:pt x="585204" y="206324"/>
                  </a:lnTo>
                  <a:lnTo>
                    <a:pt x="585293" y="206324"/>
                  </a:lnTo>
                  <a:lnTo>
                    <a:pt x="585293" y="204292"/>
                  </a:lnTo>
                  <a:lnTo>
                    <a:pt x="585293" y="204990"/>
                  </a:lnTo>
                  <a:lnTo>
                    <a:pt x="585293" y="204292"/>
                  </a:lnTo>
                  <a:lnTo>
                    <a:pt x="585343" y="204292"/>
                  </a:lnTo>
                  <a:lnTo>
                    <a:pt x="585343" y="202959"/>
                  </a:lnTo>
                  <a:lnTo>
                    <a:pt x="585394" y="203594"/>
                  </a:lnTo>
                  <a:lnTo>
                    <a:pt x="585394" y="204292"/>
                  </a:lnTo>
                  <a:lnTo>
                    <a:pt x="585394" y="202260"/>
                  </a:lnTo>
                  <a:lnTo>
                    <a:pt x="585394" y="202959"/>
                  </a:lnTo>
                  <a:lnTo>
                    <a:pt x="585394" y="202260"/>
                  </a:lnTo>
                  <a:lnTo>
                    <a:pt x="585394" y="204292"/>
                  </a:lnTo>
                  <a:lnTo>
                    <a:pt x="585445" y="204292"/>
                  </a:lnTo>
                  <a:lnTo>
                    <a:pt x="585445" y="202959"/>
                  </a:lnTo>
                  <a:lnTo>
                    <a:pt x="585445" y="204292"/>
                  </a:lnTo>
                  <a:lnTo>
                    <a:pt x="585547" y="204292"/>
                  </a:lnTo>
                  <a:lnTo>
                    <a:pt x="585547" y="203594"/>
                  </a:lnTo>
                  <a:lnTo>
                    <a:pt x="585547" y="204292"/>
                  </a:lnTo>
                  <a:lnTo>
                    <a:pt x="585547" y="203594"/>
                  </a:lnTo>
                  <a:lnTo>
                    <a:pt x="585547" y="204292"/>
                  </a:lnTo>
                  <a:lnTo>
                    <a:pt x="585547" y="203594"/>
                  </a:lnTo>
                  <a:lnTo>
                    <a:pt x="585547" y="204292"/>
                  </a:lnTo>
                  <a:lnTo>
                    <a:pt x="585547" y="203594"/>
                  </a:lnTo>
                  <a:lnTo>
                    <a:pt x="585547" y="204990"/>
                  </a:lnTo>
                  <a:lnTo>
                    <a:pt x="585547" y="204292"/>
                  </a:lnTo>
                  <a:lnTo>
                    <a:pt x="585597" y="204292"/>
                  </a:lnTo>
                  <a:lnTo>
                    <a:pt x="585597" y="204990"/>
                  </a:lnTo>
                  <a:lnTo>
                    <a:pt x="585597" y="204292"/>
                  </a:lnTo>
                  <a:lnTo>
                    <a:pt x="585597" y="204990"/>
                  </a:lnTo>
                  <a:lnTo>
                    <a:pt x="585648" y="204990"/>
                  </a:lnTo>
                  <a:lnTo>
                    <a:pt x="585648" y="206324"/>
                  </a:lnTo>
                  <a:lnTo>
                    <a:pt x="585648" y="204990"/>
                  </a:lnTo>
                  <a:lnTo>
                    <a:pt x="585648" y="206324"/>
                  </a:lnTo>
                  <a:lnTo>
                    <a:pt x="585648" y="204990"/>
                  </a:lnTo>
                  <a:lnTo>
                    <a:pt x="585648" y="206324"/>
                  </a:lnTo>
                  <a:lnTo>
                    <a:pt x="585648" y="204990"/>
                  </a:lnTo>
                  <a:lnTo>
                    <a:pt x="585648" y="206324"/>
                  </a:lnTo>
                  <a:lnTo>
                    <a:pt x="585648" y="204990"/>
                  </a:lnTo>
                  <a:lnTo>
                    <a:pt x="585750" y="204990"/>
                  </a:lnTo>
                  <a:lnTo>
                    <a:pt x="585750" y="204292"/>
                  </a:lnTo>
                  <a:lnTo>
                    <a:pt x="585750" y="204990"/>
                  </a:lnTo>
                  <a:lnTo>
                    <a:pt x="585788" y="204990"/>
                  </a:lnTo>
                  <a:lnTo>
                    <a:pt x="585788" y="204292"/>
                  </a:lnTo>
                  <a:lnTo>
                    <a:pt x="585839" y="204292"/>
                  </a:lnTo>
                  <a:lnTo>
                    <a:pt x="585839" y="203594"/>
                  </a:lnTo>
                  <a:lnTo>
                    <a:pt x="585839" y="206324"/>
                  </a:lnTo>
                  <a:lnTo>
                    <a:pt x="585839" y="204292"/>
                  </a:lnTo>
                  <a:lnTo>
                    <a:pt x="585890" y="203594"/>
                  </a:lnTo>
                  <a:lnTo>
                    <a:pt x="585890" y="207022"/>
                  </a:lnTo>
                  <a:lnTo>
                    <a:pt x="585890" y="204990"/>
                  </a:lnTo>
                  <a:lnTo>
                    <a:pt x="585991" y="204990"/>
                  </a:lnTo>
                  <a:lnTo>
                    <a:pt x="585991" y="207022"/>
                  </a:lnTo>
                  <a:lnTo>
                    <a:pt x="585991" y="204990"/>
                  </a:lnTo>
                  <a:lnTo>
                    <a:pt x="585991" y="206324"/>
                  </a:lnTo>
                  <a:lnTo>
                    <a:pt x="585991" y="204990"/>
                  </a:lnTo>
                  <a:lnTo>
                    <a:pt x="585991" y="206324"/>
                  </a:lnTo>
                  <a:lnTo>
                    <a:pt x="586042" y="206324"/>
                  </a:lnTo>
                  <a:lnTo>
                    <a:pt x="586042" y="204990"/>
                  </a:lnTo>
                  <a:lnTo>
                    <a:pt x="586042" y="206324"/>
                  </a:lnTo>
                  <a:lnTo>
                    <a:pt x="586042" y="204990"/>
                  </a:lnTo>
                  <a:lnTo>
                    <a:pt x="586093" y="204990"/>
                  </a:lnTo>
                  <a:lnTo>
                    <a:pt x="586093" y="207022"/>
                  </a:lnTo>
                  <a:lnTo>
                    <a:pt x="586093" y="206324"/>
                  </a:lnTo>
                  <a:lnTo>
                    <a:pt x="586245" y="206324"/>
                  </a:lnTo>
                  <a:lnTo>
                    <a:pt x="586245" y="204990"/>
                  </a:lnTo>
                  <a:lnTo>
                    <a:pt x="586245" y="206324"/>
                  </a:lnTo>
                  <a:lnTo>
                    <a:pt x="586245" y="204990"/>
                  </a:lnTo>
                  <a:lnTo>
                    <a:pt x="586245" y="206324"/>
                  </a:lnTo>
                  <a:lnTo>
                    <a:pt x="586245" y="204990"/>
                  </a:lnTo>
                  <a:lnTo>
                    <a:pt x="586296" y="204990"/>
                  </a:lnTo>
                  <a:lnTo>
                    <a:pt x="586296" y="204292"/>
                  </a:lnTo>
                  <a:lnTo>
                    <a:pt x="586296" y="204990"/>
                  </a:lnTo>
                  <a:lnTo>
                    <a:pt x="586296" y="204292"/>
                  </a:lnTo>
                  <a:lnTo>
                    <a:pt x="586334" y="204990"/>
                  </a:lnTo>
                  <a:lnTo>
                    <a:pt x="586334" y="207022"/>
                  </a:lnTo>
                  <a:lnTo>
                    <a:pt x="586334" y="204292"/>
                  </a:lnTo>
                  <a:lnTo>
                    <a:pt x="586334" y="207022"/>
                  </a:lnTo>
                  <a:lnTo>
                    <a:pt x="586436" y="207022"/>
                  </a:lnTo>
                  <a:lnTo>
                    <a:pt x="586436" y="206324"/>
                  </a:lnTo>
                  <a:lnTo>
                    <a:pt x="586436" y="207022"/>
                  </a:lnTo>
                  <a:lnTo>
                    <a:pt x="586487" y="207721"/>
                  </a:lnTo>
                  <a:lnTo>
                    <a:pt x="586487" y="206324"/>
                  </a:lnTo>
                  <a:lnTo>
                    <a:pt x="586487" y="207721"/>
                  </a:lnTo>
                  <a:lnTo>
                    <a:pt x="586537" y="207721"/>
                  </a:lnTo>
                  <a:lnTo>
                    <a:pt x="586537" y="207022"/>
                  </a:lnTo>
                  <a:lnTo>
                    <a:pt x="586537" y="207721"/>
                  </a:lnTo>
                  <a:lnTo>
                    <a:pt x="586537" y="207022"/>
                  </a:lnTo>
                  <a:lnTo>
                    <a:pt x="586537" y="207721"/>
                  </a:lnTo>
                  <a:lnTo>
                    <a:pt x="586537" y="207022"/>
                  </a:lnTo>
                  <a:lnTo>
                    <a:pt x="586537" y="207721"/>
                  </a:lnTo>
                  <a:lnTo>
                    <a:pt x="586639" y="207022"/>
                  </a:lnTo>
                  <a:lnTo>
                    <a:pt x="586639" y="206324"/>
                  </a:lnTo>
                  <a:lnTo>
                    <a:pt x="586639" y="207022"/>
                  </a:lnTo>
                  <a:lnTo>
                    <a:pt x="586639" y="206324"/>
                  </a:lnTo>
                  <a:lnTo>
                    <a:pt x="586690" y="206324"/>
                  </a:lnTo>
                  <a:lnTo>
                    <a:pt x="586690" y="204990"/>
                  </a:lnTo>
                  <a:lnTo>
                    <a:pt x="586690" y="206324"/>
                  </a:lnTo>
                  <a:lnTo>
                    <a:pt x="586690" y="204990"/>
                  </a:lnTo>
                  <a:lnTo>
                    <a:pt x="586690" y="206324"/>
                  </a:lnTo>
                  <a:lnTo>
                    <a:pt x="586690" y="204990"/>
                  </a:lnTo>
                  <a:lnTo>
                    <a:pt x="586690" y="206324"/>
                  </a:lnTo>
                  <a:lnTo>
                    <a:pt x="586690" y="204990"/>
                  </a:lnTo>
                  <a:lnTo>
                    <a:pt x="586741" y="204990"/>
                  </a:lnTo>
                  <a:lnTo>
                    <a:pt x="586741" y="204292"/>
                  </a:lnTo>
                  <a:lnTo>
                    <a:pt x="586741" y="204990"/>
                  </a:lnTo>
                  <a:lnTo>
                    <a:pt x="586741" y="204292"/>
                  </a:lnTo>
                  <a:lnTo>
                    <a:pt x="586741" y="204990"/>
                  </a:lnTo>
                  <a:lnTo>
                    <a:pt x="586741" y="204292"/>
                  </a:lnTo>
                  <a:lnTo>
                    <a:pt x="586741" y="204990"/>
                  </a:lnTo>
                  <a:lnTo>
                    <a:pt x="586741" y="203594"/>
                  </a:lnTo>
                  <a:lnTo>
                    <a:pt x="586791" y="203594"/>
                  </a:lnTo>
                  <a:lnTo>
                    <a:pt x="586791" y="202959"/>
                  </a:lnTo>
                  <a:lnTo>
                    <a:pt x="586791" y="204292"/>
                  </a:lnTo>
                  <a:lnTo>
                    <a:pt x="586880" y="204292"/>
                  </a:lnTo>
                  <a:lnTo>
                    <a:pt x="586880" y="202959"/>
                  </a:lnTo>
                  <a:lnTo>
                    <a:pt x="586880" y="204990"/>
                  </a:lnTo>
                  <a:lnTo>
                    <a:pt x="586931" y="204990"/>
                  </a:lnTo>
                  <a:lnTo>
                    <a:pt x="586931" y="204292"/>
                  </a:lnTo>
                  <a:lnTo>
                    <a:pt x="586931" y="206324"/>
                  </a:lnTo>
                  <a:lnTo>
                    <a:pt x="586982" y="204990"/>
                  </a:lnTo>
                  <a:lnTo>
                    <a:pt x="586982" y="206324"/>
                  </a:lnTo>
                  <a:lnTo>
                    <a:pt x="586982" y="204990"/>
                  </a:lnTo>
                  <a:lnTo>
                    <a:pt x="586982" y="207022"/>
                  </a:lnTo>
                  <a:lnTo>
                    <a:pt x="587033" y="207022"/>
                  </a:lnTo>
                  <a:lnTo>
                    <a:pt x="587033" y="206324"/>
                  </a:lnTo>
                  <a:lnTo>
                    <a:pt x="587033" y="207022"/>
                  </a:lnTo>
                  <a:lnTo>
                    <a:pt x="587033" y="206324"/>
                  </a:lnTo>
                  <a:lnTo>
                    <a:pt x="587033" y="207022"/>
                  </a:lnTo>
                  <a:lnTo>
                    <a:pt x="587033" y="206324"/>
                  </a:lnTo>
                  <a:lnTo>
                    <a:pt x="587134" y="206324"/>
                  </a:lnTo>
                  <a:lnTo>
                    <a:pt x="587134" y="207022"/>
                  </a:lnTo>
                  <a:lnTo>
                    <a:pt x="587134" y="206324"/>
                  </a:lnTo>
                  <a:lnTo>
                    <a:pt x="587134" y="207022"/>
                  </a:lnTo>
                  <a:lnTo>
                    <a:pt x="587134" y="204990"/>
                  </a:lnTo>
                  <a:lnTo>
                    <a:pt x="587134" y="206324"/>
                  </a:lnTo>
                  <a:lnTo>
                    <a:pt x="587185" y="204990"/>
                  </a:lnTo>
                  <a:lnTo>
                    <a:pt x="587185" y="207022"/>
                  </a:lnTo>
                  <a:lnTo>
                    <a:pt x="587185" y="206324"/>
                  </a:lnTo>
                  <a:lnTo>
                    <a:pt x="587185" y="207022"/>
                  </a:lnTo>
                  <a:lnTo>
                    <a:pt x="587185" y="204990"/>
                  </a:lnTo>
                  <a:lnTo>
                    <a:pt x="587185" y="206324"/>
                  </a:lnTo>
                  <a:lnTo>
                    <a:pt x="587236" y="204990"/>
                  </a:lnTo>
                  <a:lnTo>
                    <a:pt x="587236" y="206324"/>
                  </a:lnTo>
                  <a:lnTo>
                    <a:pt x="587236" y="204292"/>
                  </a:lnTo>
                  <a:lnTo>
                    <a:pt x="587236" y="204990"/>
                  </a:lnTo>
                  <a:lnTo>
                    <a:pt x="587236" y="204292"/>
                  </a:lnTo>
                  <a:lnTo>
                    <a:pt x="587236" y="204990"/>
                  </a:lnTo>
                  <a:lnTo>
                    <a:pt x="587236" y="203594"/>
                  </a:lnTo>
                  <a:lnTo>
                    <a:pt x="587236" y="204292"/>
                  </a:lnTo>
                  <a:lnTo>
                    <a:pt x="587337" y="204292"/>
                  </a:lnTo>
                  <a:lnTo>
                    <a:pt x="587337" y="202959"/>
                  </a:lnTo>
                  <a:lnTo>
                    <a:pt x="587337" y="206324"/>
                  </a:lnTo>
                  <a:lnTo>
                    <a:pt x="587337" y="203594"/>
                  </a:lnTo>
                  <a:lnTo>
                    <a:pt x="587376" y="203594"/>
                  </a:lnTo>
                  <a:lnTo>
                    <a:pt x="587376" y="202959"/>
                  </a:lnTo>
                  <a:lnTo>
                    <a:pt x="587376" y="206324"/>
                  </a:lnTo>
                  <a:lnTo>
                    <a:pt x="587376" y="203594"/>
                  </a:lnTo>
                  <a:lnTo>
                    <a:pt x="587426" y="204292"/>
                  </a:lnTo>
                  <a:lnTo>
                    <a:pt x="587426" y="206324"/>
                  </a:lnTo>
                  <a:lnTo>
                    <a:pt x="587426" y="204990"/>
                  </a:lnTo>
                  <a:lnTo>
                    <a:pt x="587477" y="204990"/>
                  </a:lnTo>
                  <a:lnTo>
                    <a:pt x="587477" y="207022"/>
                  </a:lnTo>
                  <a:lnTo>
                    <a:pt x="587477" y="206324"/>
                  </a:lnTo>
                  <a:lnTo>
                    <a:pt x="587477" y="207022"/>
                  </a:lnTo>
                  <a:lnTo>
                    <a:pt x="587477" y="206324"/>
                  </a:lnTo>
                  <a:lnTo>
                    <a:pt x="587477" y="207022"/>
                  </a:lnTo>
                  <a:lnTo>
                    <a:pt x="587579" y="207022"/>
                  </a:lnTo>
                  <a:lnTo>
                    <a:pt x="587579" y="206324"/>
                  </a:lnTo>
                  <a:lnTo>
                    <a:pt x="587579" y="207022"/>
                  </a:lnTo>
                  <a:lnTo>
                    <a:pt x="587579" y="206324"/>
                  </a:lnTo>
                  <a:lnTo>
                    <a:pt x="587579" y="207022"/>
                  </a:lnTo>
                  <a:lnTo>
                    <a:pt x="587579" y="206324"/>
                  </a:lnTo>
                  <a:lnTo>
                    <a:pt x="587579" y="207022"/>
                  </a:lnTo>
                  <a:lnTo>
                    <a:pt x="587579" y="206324"/>
                  </a:lnTo>
                  <a:lnTo>
                    <a:pt x="587579" y="207022"/>
                  </a:lnTo>
                  <a:lnTo>
                    <a:pt x="587630" y="207022"/>
                  </a:lnTo>
                  <a:lnTo>
                    <a:pt x="587630" y="206324"/>
                  </a:lnTo>
                  <a:lnTo>
                    <a:pt x="587630" y="207022"/>
                  </a:lnTo>
                  <a:lnTo>
                    <a:pt x="587630" y="206324"/>
                  </a:lnTo>
                  <a:lnTo>
                    <a:pt x="587630" y="207022"/>
                  </a:lnTo>
                  <a:lnTo>
                    <a:pt x="587630" y="206324"/>
                  </a:lnTo>
                  <a:lnTo>
                    <a:pt x="587680" y="206324"/>
                  </a:lnTo>
                  <a:lnTo>
                    <a:pt x="587680" y="204990"/>
                  </a:lnTo>
                  <a:lnTo>
                    <a:pt x="587680" y="206324"/>
                  </a:lnTo>
                  <a:lnTo>
                    <a:pt x="587680" y="204990"/>
                  </a:lnTo>
                  <a:lnTo>
                    <a:pt x="587782" y="204990"/>
                  </a:lnTo>
                  <a:lnTo>
                    <a:pt x="587782" y="203594"/>
                  </a:lnTo>
                  <a:lnTo>
                    <a:pt x="587782" y="204292"/>
                  </a:lnTo>
                  <a:lnTo>
                    <a:pt x="587782" y="202959"/>
                  </a:lnTo>
                  <a:lnTo>
                    <a:pt x="587833" y="202959"/>
                  </a:lnTo>
                  <a:lnTo>
                    <a:pt x="587833" y="203594"/>
                  </a:lnTo>
                  <a:lnTo>
                    <a:pt x="587833" y="202260"/>
                  </a:lnTo>
                  <a:lnTo>
                    <a:pt x="587833" y="204292"/>
                  </a:lnTo>
                  <a:lnTo>
                    <a:pt x="587833" y="202260"/>
                  </a:lnTo>
                  <a:lnTo>
                    <a:pt x="587883" y="202959"/>
                  </a:lnTo>
                  <a:lnTo>
                    <a:pt x="587883" y="202260"/>
                  </a:lnTo>
                  <a:lnTo>
                    <a:pt x="587883" y="202959"/>
                  </a:lnTo>
                  <a:lnTo>
                    <a:pt x="587883" y="202260"/>
                  </a:lnTo>
                  <a:lnTo>
                    <a:pt x="587883" y="204292"/>
                  </a:lnTo>
                  <a:lnTo>
                    <a:pt x="587883" y="203594"/>
                  </a:lnTo>
                  <a:lnTo>
                    <a:pt x="587922" y="203594"/>
                  </a:lnTo>
                  <a:lnTo>
                    <a:pt x="587922" y="204990"/>
                  </a:lnTo>
                  <a:lnTo>
                    <a:pt x="587922" y="204292"/>
                  </a:lnTo>
                  <a:lnTo>
                    <a:pt x="587922" y="204990"/>
                  </a:lnTo>
                  <a:lnTo>
                    <a:pt x="588023" y="204292"/>
                  </a:lnTo>
                  <a:lnTo>
                    <a:pt x="588023" y="204990"/>
                  </a:lnTo>
                  <a:lnTo>
                    <a:pt x="588074" y="204990"/>
                  </a:lnTo>
                  <a:lnTo>
                    <a:pt x="588074" y="206324"/>
                  </a:lnTo>
                  <a:lnTo>
                    <a:pt x="588074" y="204990"/>
                  </a:lnTo>
                  <a:lnTo>
                    <a:pt x="588074" y="206324"/>
                  </a:lnTo>
                  <a:lnTo>
                    <a:pt x="588125" y="206324"/>
                  </a:lnTo>
                  <a:lnTo>
                    <a:pt x="588125" y="204990"/>
                  </a:lnTo>
                  <a:lnTo>
                    <a:pt x="588125" y="207022"/>
                  </a:lnTo>
                  <a:lnTo>
                    <a:pt x="588125" y="206324"/>
                  </a:lnTo>
                  <a:lnTo>
                    <a:pt x="588125" y="207022"/>
                  </a:lnTo>
                  <a:lnTo>
                    <a:pt x="588125" y="206324"/>
                  </a:lnTo>
                  <a:lnTo>
                    <a:pt x="588125" y="207022"/>
                  </a:lnTo>
                  <a:lnTo>
                    <a:pt x="588125" y="206324"/>
                  </a:lnTo>
                  <a:lnTo>
                    <a:pt x="588226" y="206324"/>
                  </a:lnTo>
                  <a:lnTo>
                    <a:pt x="588226" y="204990"/>
                  </a:lnTo>
                  <a:lnTo>
                    <a:pt x="588226" y="206324"/>
                  </a:lnTo>
                  <a:lnTo>
                    <a:pt x="588226" y="204990"/>
                  </a:lnTo>
                  <a:lnTo>
                    <a:pt x="588226" y="206324"/>
                  </a:lnTo>
                  <a:lnTo>
                    <a:pt x="588226" y="204990"/>
                  </a:lnTo>
                  <a:lnTo>
                    <a:pt x="588277" y="204990"/>
                  </a:lnTo>
                  <a:lnTo>
                    <a:pt x="588277" y="202959"/>
                  </a:lnTo>
                  <a:lnTo>
                    <a:pt x="588328" y="202959"/>
                  </a:lnTo>
                  <a:lnTo>
                    <a:pt x="588328" y="204292"/>
                  </a:lnTo>
                  <a:lnTo>
                    <a:pt x="588328" y="202260"/>
                  </a:lnTo>
                  <a:lnTo>
                    <a:pt x="588379" y="202260"/>
                  </a:lnTo>
                  <a:lnTo>
                    <a:pt x="588379" y="204292"/>
                  </a:lnTo>
                  <a:lnTo>
                    <a:pt x="588379" y="202959"/>
                  </a:lnTo>
                  <a:lnTo>
                    <a:pt x="588379" y="203594"/>
                  </a:lnTo>
                  <a:lnTo>
                    <a:pt x="588468" y="203594"/>
                  </a:lnTo>
                  <a:lnTo>
                    <a:pt x="588468" y="204990"/>
                  </a:lnTo>
                  <a:lnTo>
                    <a:pt x="588468" y="203594"/>
                  </a:lnTo>
                  <a:lnTo>
                    <a:pt x="588468" y="204292"/>
                  </a:lnTo>
                  <a:lnTo>
                    <a:pt x="588518" y="204292"/>
                  </a:lnTo>
                  <a:lnTo>
                    <a:pt x="588518" y="204990"/>
                  </a:lnTo>
                  <a:lnTo>
                    <a:pt x="588518" y="204292"/>
                  </a:lnTo>
                  <a:lnTo>
                    <a:pt x="588518" y="204990"/>
                  </a:lnTo>
                  <a:lnTo>
                    <a:pt x="588518" y="204292"/>
                  </a:lnTo>
                  <a:lnTo>
                    <a:pt x="588569" y="204292"/>
                  </a:lnTo>
                  <a:lnTo>
                    <a:pt x="588569" y="204990"/>
                  </a:lnTo>
                  <a:lnTo>
                    <a:pt x="588569" y="204292"/>
                  </a:lnTo>
                  <a:lnTo>
                    <a:pt x="588569" y="204990"/>
                  </a:lnTo>
                  <a:lnTo>
                    <a:pt x="588569" y="204292"/>
                  </a:lnTo>
                  <a:lnTo>
                    <a:pt x="588569" y="204990"/>
                  </a:lnTo>
                  <a:lnTo>
                    <a:pt x="588620" y="204990"/>
                  </a:lnTo>
                  <a:lnTo>
                    <a:pt x="588620" y="204292"/>
                  </a:lnTo>
                  <a:lnTo>
                    <a:pt x="588620" y="206324"/>
                  </a:lnTo>
                  <a:lnTo>
                    <a:pt x="588722" y="206324"/>
                  </a:lnTo>
                  <a:lnTo>
                    <a:pt x="588722" y="204292"/>
                  </a:lnTo>
                  <a:lnTo>
                    <a:pt x="588722" y="204990"/>
                  </a:lnTo>
                  <a:lnTo>
                    <a:pt x="588722" y="204292"/>
                  </a:lnTo>
                  <a:lnTo>
                    <a:pt x="588772" y="204292"/>
                  </a:lnTo>
                  <a:lnTo>
                    <a:pt x="588772" y="202959"/>
                  </a:lnTo>
                  <a:lnTo>
                    <a:pt x="588772" y="203594"/>
                  </a:lnTo>
                  <a:lnTo>
                    <a:pt x="588823" y="204292"/>
                  </a:lnTo>
                  <a:lnTo>
                    <a:pt x="588823" y="204990"/>
                  </a:lnTo>
                  <a:lnTo>
                    <a:pt x="588823" y="202959"/>
                  </a:lnTo>
                  <a:lnTo>
                    <a:pt x="588823" y="206324"/>
                  </a:lnTo>
                  <a:lnTo>
                    <a:pt x="588925" y="206324"/>
                  </a:lnTo>
                  <a:lnTo>
                    <a:pt x="588925" y="207022"/>
                  </a:lnTo>
                  <a:lnTo>
                    <a:pt x="588925" y="203594"/>
                  </a:lnTo>
                  <a:lnTo>
                    <a:pt x="588925" y="206324"/>
                  </a:lnTo>
                  <a:lnTo>
                    <a:pt x="588963" y="207022"/>
                  </a:lnTo>
                  <a:lnTo>
                    <a:pt x="588963" y="204990"/>
                  </a:lnTo>
                  <a:lnTo>
                    <a:pt x="588963" y="206324"/>
                  </a:lnTo>
                  <a:lnTo>
                    <a:pt x="588963" y="204990"/>
                  </a:lnTo>
                  <a:lnTo>
                    <a:pt x="588963" y="206324"/>
                  </a:lnTo>
                  <a:lnTo>
                    <a:pt x="589014" y="206324"/>
                  </a:lnTo>
                  <a:lnTo>
                    <a:pt x="589014" y="204990"/>
                  </a:lnTo>
                  <a:lnTo>
                    <a:pt x="589065" y="204990"/>
                  </a:lnTo>
                  <a:lnTo>
                    <a:pt x="589065" y="204292"/>
                  </a:lnTo>
                  <a:lnTo>
                    <a:pt x="589065" y="204990"/>
                  </a:lnTo>
                  <a:lnTo>
                    <a:pt x="589166" y="204990"/>
                  </a:lnTo>
                  <a:lnTo>
                    <a:pt x="589166" y="206324"/>
                  </a:lnTo>
                  <a:lnTo>
                    <a:pt x="589166" y="204990"/>
                  </a:lnTo>
                  <a:lnTo>
                    <a:pt x="589166" y="206324"/>
                  </a:lnTo>
                  <a:lnTo>
                    <a:pt x="589166" y="204990"/>
                  </a:lnTo>
                  <a:lnTo>
                    <a:pt x="589166" y="206324"/>
                  </a:lnTo>
                  <a:lnTo>
                    <a:pt x="589166" y="204990"/>
                  </a:lnTo>
                  <a:lnTo>
                    <a:pt x="589217" y="206324"/>
                  </a:lnTo>
                  <a:lnTo>
                    <a:pt x="589217" y="204292"/>
                  </a:lnTo>
                  <a:lnTo>
                    <a:pt x="589268" y="204292"/>
                  </a:lnTo>
                  <a:lnTo>
                    <a:pt x="589268" y="202959"/>
                  </a:lnTo>
                  <a:lnTo>
                    <a:pt x="589268" y="203594"/>
                  </a:lnTo>
                  <a:lnTo>
                    <a:pt x="589268" y="202260"/>
                  </a:lnTo>
                  <a:lnTo>
                    <a:pt x="589268" y="204990"/>
                  </a:lnTo>
                  <a:lnTo>
                    <a:pt x="589369" y="204990"/>
                  </a:lnTo>
                  <a:lnTo>
                    <a:pt x="589369" y="202959"/>
                  </a:lnTo>
                  <a:lnTo>
                    <a:pt x="589369" y="207022"/>
                  </a:lnTo>
                  <a:lnTo>
                    <a:pt x="589369" y="206324"/>
                  </a:lnTo>
                  <a:lnTo>
                    <a:pt x="589420" y="206324"/>
                  </a:lnTo>
                  <a:lnTo>
                    <a:pt x="589420" y="204292"/>
                  </a:lnTo>
                  <a:lnTo>
                    <a:pt x="589420" y="207022"/>
                  </a:lnTo>
                  <a:lnTo>
                    <a:pt x="589420" y="206324"/>
                  </a:lnTo>
                  <a:lnTo>
                    <a:pt x="589471" y="206324"/>
                  </a:lnTo>
                  <a:lnTo>
                    <a:pt x="589471" y="204990"/>
                  </a:lnTo>
                  <a:lnTo>
                    <a:pt x="589471" y="206324"/>
                  </a:lnTo>
                  <a:lnTo>
                    <a:pt x="589471" y="204990"/>
                  </a:lnTo>
                  <a:lnTo>
                    <a:pt x="589471" y="207022"/>
                  </a:lnTo>
                  <a:lnTo>
                    <a:pt x="589471" y="206324"/>
                  </a:lnTo>
                  <a:lnTo>
                    <a:pt x="589509" y="206324"/>
                  </a:lnTo>
                  <a:lnTo>
                    <a:pt x="589509" y="204990"/>
                  </a:lnTo>
                  <a:lnTo>
                    <a:pt x="589509" y="206324"/>
                  </a:lnTo>
                  <a:lnTo>
                    <a:pt x="589509" y="204292"/>
                  </a:lnTo>
                  <a:lnTo>
                    <a:pt x="589509" y="206324"/>
                  </a:lnTo>
                  <a:lnTo>
                    <a:pt x="589509" y="204990"/>
                  </a:lnTo>
                  <a:lnTo>
                    <a:pt x="589611" y="204990"/>
                  </a:lnTo>
                  <a:lnTo>
                    <a:pt x="589611" y="206324"/>
                  </a:lnTo>
                  <a:lnTo>
                    <a:pt x="589611" y="204990"/>
                  </a:lnTo>
                  <a:lnTo>
                    <a:pt x="589662" y="204990"/>
                  </a:lnTo>
                  <a:lnTo>
                    <a:pt x="589662" y="204292"/>
                  </a:lnTo>
                  <a:lnTo>
                    <a:pt x="589662" y="204990"/>
                  </a:lnTo>
                  <a:lnTo>
                    <a:pt x="589662" y="204292"/>
                  </a:lnTo>
                  <a:lnTo>
                    <a:pt x="589712" y="204292"/>
                  </a:lnTo>
                  <a:lnTo>
                    <a:pt x="589712" y="203594"/>
                  </a:lnTo>
                  <a:lnTo>
                    <a:pt x="589712" y="204292"/>
                  </a:lnTo>
                  <a:lnTo>
                    <a:pt x="589712" y="202959"/>
                  </a:lnTo>
                  <a:lnTo>
                    <a:pt x="589712" y="203594"/>
                  </a:lnTo>
                  <a:lnTo>
                    <a:pt x="589712" y="202959"/>
                  </a:lnTo>
                  <a:lnTo>
                    <a:pt x="589814" y="202959"/>
                  </a:lnTo>
                  <a:lnTo>
                    <a:pt x="589814" y="202260"/>
                  </a:lnTo>
                  <a:lnTo>
                    <a:pt x="589814" y="202959"/>
                  </a:lnTo>
                  <a:lnTo>
                    <a:pt x="589814" y="200876"/>
                  </a:lnTo>
                  <a:lnTo>
                    <a:pt x="589814" y="203594"/>
                  </a:lnTo>
                  <a:lnTo>
                    <a:pt x="589814" y="202959"/>
                  </a:lnTo>
                  <a:lnTo>
                    <a:pt x="589865" y="202959"/>
                  </a:lnTo>
                  <a:lnTo>
                    <a:pt x="589865" y="202260"/>
                  </a:lnTo>
                  <a:lnTo>
                    <a:pt x="589865" y="204990"/>
                  </a:lnTo>
                  <a:lnTo>
                    <a:pt x="589865" y="203594"/>
                  </a:lnTo>
                  <a:lnTo>
                    <a:pt x="589916" y="203594"/>
                  </a:lnTo>
                  <a:lnTo>
                    <a:pt x="589916" y="206324"/>
                  </a:lnTo>
                  <a:lnTo>
                    <a:pt x="589916" y="204990"/>
                  </a:lnTo>
                  <a:lnTo>
                    <a:pt x="589966" y="204990"/>
                  </a:lnTo>
                  <a:lnTo>
                    <a:pt x="589966" y="206324"/>
                  </a:lnTo>
                  <a:lnTo>
                    <a:pt x="589966" y="204990"/>
                  </a:lnTo>
                  <a:lnTo>
                    <a:pt x="590055" y="204990"/>
                  </a:lnTo>
                  <a:lnTo>
                    <a:pt x="590055" y="206324"/>
                  </a:lnTo>
                  <a:lnTo>
                    <a:pt x="590055" y="204990"/>
                  </a:lnTo>
                  <a:lnTo>
                    <a:pt x="590106" y="206324"/>
                  </a:lnTo>
                  <a:lnTo>
                    <a:pt x="590106" y="204990"/>
                  </a:lnTo>
                  <a:lnTo>
                    <a:pt x="590106" y="206324"/>
                  </a:lnTo>
                  <a:lnTo>
                    <a:pt x="590106" y="204990"/>
                  </a:lnTo>
                  <a:lnTo>
                    <a:pt x="590106" y="206324"/>
                  </a:lnTo>
                  <a:lnTo>
                    <a:pt x="590106" y="204990"/>
                  </a:lnTo>
                  <a:lnTo>
                    <a:pt x="590106" y="206324"/>
                  </a:lnTo>
                  <a:lnTo>
                    <a:pt x="590157" y="206324"/>
                  </a:lnTo>
                  <a:lnTo>
                    <a:pt x="590157" y="204990"/>
                  </a:lnTo>
                  <a:lnTo>
                    <a:pt x="590157" y="206324"/>
                  </a:lnTo>
                  <a:lnTo>
                    <a:pt x="590157" y="204990"/>
                  </a:lnTo>
                  <a:lnTo>
                    <a:pt x="590157" y="206324"/>
                  </a:lnTo>
                  <a:lnTo>
                    <a:pt x="590157" y="204292"/>
                  </a:lnTo>
                  <a:lnTo>
                    <a:pt x="590208" y="204292"/>
                  </a:lnTo>
                  <a:lnTo>
                    <a:pt x="590208" y="202959"/>
                  </a:lnTo>
                  <a:lnTo>
                    <a:pt x="590309" y="202959"/>
                  </a:lnTo>
                  <a:lnTo>
                    <a:pt x="590309" y="202260"/>
                  </a:lnTo>
                  <a:lnTo>
                    <a:pt x="590309" y="204292"/>
                  </a:lnTo>
                  <a:lnTo>
                    <a:pt x="590309" y="202959"/>
                  </a:lnTo>
                  <a:lnTo>
                    <a:pt x="590360" y="202959"/>
                  </a:lnTo>
                  <a:lnTo>
                    <a:pt x="590360" y="202260"/>
                  </a:lnTo>
                  <a:lnTo>
                    <a:pt x="590360" y="204990"/>
                  </a:lnTo>
                  <a:lnTo>
                    <a:pt x="590360" y="204292"/>
                  </a:lnTo>
                  <a:lnTo>
                    <a:pt x="590360" y="204990"/>
                  </a:lnTo>
                  <a:lnTo>
                    <a:pt x="590360" y="203594"/>
                  </a:lnTo>
                  <a:lnTo>
                    <a:pt x="590411" y="203594"/>
                  </a:lnTo>
                  <a:lnTo>
                    <a:pt x="590411" y="206324"/>
                  </a:lnTo>
                  <a:lnTo>
                    <a:pt x="590411" y="204990"/>
                  </a:lnTo>
                  <a:lnTo>
                    <a:pt x="590411" y="206324"/>
                  </a:lnTo>
                  <a:lnTo>
                    <a:pt x="590411" y="203594"/>
                  </a:lnTo>
                  <a:lnTo>
                    <a:pt x="590411" y="204292"/>
                  </a:lnTo>
                  <a:lnTo>
                    <a:pt x="590512" y="204292"/>
                  </a:lnTo>
                  <a:lnTo>
                    <a:pt x="590512" y="204990"/>
                  </a:lnTo>
                  <a:lnTo>
                    <a:pt x="590512" y="204292"/>
                  </a:lnTo>
                  <a:lnTo>
                    <a:pt x="590551" y="204292"/>
                  </a:lnTo>
                  <a:lnTo>
                    <a:pt x="590551" y="204990"/>
                  </a:lnTo>
                  <a:lnTo>
                    <a:pt x="590551" y="204292"/>
                  </a:lnTo>
                  <a:lnTo>
                    <a:pt x="590551" y="204990"/>
                  </a:lnTo>
                  <a:lnTo>
                    <a:pt x="590551" y="204292"/>
                  </a:lnTo>
                  <a:lnTo>
                    <a:pt x="590551" y="204990"/>
                  </a:lnTo>
                  <a:lnTo>
                    <a:pt x="590551" y="204292"/>
                  </a:lnTo>
                  <a:lnTo>
                    <a:pt x="590551" y="204990"/>
                  </a:lnTo>
                  <a:lnTo>
                    <a:pt x="590601" y="204990"/>
                  </a:lnTo>
                  <a:lnTo>
                    <a:pt x="590601" y="206324"/>
                  </a:lnTo>
                  <a:lnTo>
                    <a:pt x="590601" y="204990"/>
                  </a:lnTo>
                  <a:lnTo>
                    <a:pt x="590601" y="206324"/>
                  </a:lnTo>
                  <a:lnTo>
                    <a:pt x="590601" y="204990"/>
                  </a:lnTo>
                  <a:lnTo>
                    <a:pt x="590652" y="206324"/>
                  </a:lnTo>
                  <a:lnTo>
                    <a:pt x="590652" y="203594"/>
                  </a:lnTo>
                  <a:lnTo>
                    <a:pt x="590754" y="203594"/>
                  </a:lnTo>
                  <a:lnTo>
                    <a:pt x="590754" y="202959"/>
                  </a:lnTo>
                  <a:lnTo>
                    <a:pt x="590754" y="203594"/>
                  </a:lnTo>
                  <a:lnTo>
                    <a:pt x="590754" y="202260"/>
                  </a:lnTo>
                  <a:lnTo>
                    <a:pt x="590805" y="202260"/>
                  </a:lnTo>
                  <a:lnTo>
                    <a:pt x="590805" y="200876"/>
                  </a:lnTo>
                  <a:lnTo>
                    <a:pt x="590805" y="203594"/>
                  </a:lnTo>
                  <a:lnTo>
                    <a:pt x="590805" y="202260"/>
                  </a:lnTo>
                  <a:lnTo>
                    <a:pt x="590805" y="202959"/>
                  </a:lnTo>
                  <a:lnTo>
                    <a:pt x="590805" y="200876"/>
                  </a:lnTo>
                  <a:lnTo>
                    <a:pt x="590855" y="200876"/>
                  </a:lnTo>
                  <a:lnTo>
                    <a:pt x="590855" y="204292"/>
                  </a:lnTo>
                  <a:lnTo>
                    <a:pt x="590855" y="203594"/>
                  </a:lnTo>
                  <a:lnTo>
                    <a:pt x="590957" y="203594"/>
                  </a:lnTo>
                  <a:lnTo>
                    <a:pt x="590957" y="204990"/>
                  </a:lnTo>
                  <a:lnTo>
                    <a:pt x="590957" y="203594"/>
                  </a:lnTo>
                  <a:lnTo>
                    <a:pt x="591008" y="203594"/>
                  </a:lnTo>
                  <a:lnTo>
                    <a:pt x="591008" y="204990"/>
                  </a:lnTo>
                  <a:lnTo>
                    <a:pt x="591058" y="204990"/>
                  </a:lnTo>
                  <a:lnTo>
                    <a:pt x="591058" y="204292"/>
                  </a:lnTo>
                  <a:lnTo>
                    <a:pt x="591058" y="206324"/>
                  </a:lnTo>
                  <a:lnTo>
                    <a:pt x="591097" y="206324"/>
                  </a:lnTo>
                  <a:lnTo>
                    <a:pt x="591097" y="204990"/>
                  </a:lnTo>
                  <a:lnTo>
                    <a:pt x="591097" y="206324"/>
                  </a:lnTo>
                  <a:lnTo>
                    <a:pt x="591097" y="204990"/>
                  </a:lnTo>
                  <a:lnTo>
                    <a:pt x="591097" y="206324"/>
                  </a:lnTo>
                  <a:lnTo>
                    <a:pt x="591097" y="204990"/>
                  </a:lnTo>
                  <a:lnTo>
                    <a:pt x="591097" y="206324"/>
                  </a:lnTo>
                  <a:lnTo>
                    <a:pt x="591198" y="206324"/>
                  </a:lnTo>
                  <a:lnTo>
                    <a:pt x="591198" y="204990"/>
                  </a:lnTo>
                  <a:lnTo>
                    <a:pt x="591198" y="206324"/>
                  </a:lnTo>
                  <a:lnTo>
                    <a:pt x="591198" y="203594"/>
                  </a:lnTo>
                  <a:lnTo>
                    <a:pt x="591249" y="204292"/>
                  </a:lnTo>
                  <a:lnTo>
                    <a:pt x="591249" y="202260"/>
                  </a:lnTo>
                  <a:lnTo>
                    <a:pt x="591249" y="202959"/>
                  </a:lnTo>
                  <a:lnTo>
                    <a:pt x="591300" y="202959"/>
                  </a:lnTo>
                  <a:lnTo>
                    <a:pt x="591300" y="204292"/>
                  </a:lnTo>
                  <a:lnTo>
                    <a:pt x="591300" y="202260"/>
                  </a:lnTo>
                  <a:lnTo>
                    <a:pt x="591300" y="203594"/>
                  </a:lnTo>
                  <a:lnTo>
                    <a:pt x="591401" y="203594"/>
                  </a:lnTo>
                  <a:lnTo>
                    <a:pt x="591401" y="206324"/>
                  </a:lnTo>
                  <a:lnTo>
                    <a:pt x="591401" y="202959"/>
                  </a:lnTo>
                  <a:lnTo>
                    <a:pt x="591401" y="204990"/>
                  </a:lnTo>
                  <a:lnTo>
                    <a:pt x="591452" y="204990"/>
                  </a:lnTo>
                  <a:lnTo>
                    <a:pt x="591452" y="202959"/>
                  </a:lnTo>
                  <a:lnTo>
                    <a:pt x="591452" y="203594"/>
                  </a:lnTo>
                  <a:lnTo>
                    <a:pt x="591503" y="203594"/>
                  </a:lnTo>
                  <a:lnTo>
                    <a:pt x="591503" y="202959"/>
                  </a:lnTo>
                  <a:lnTo>
                    <a:pt x="591503" y="204292"/>
                  </a:lnTo>
                  <a:lnTo>
                    <a:pt x="591554" y="204292"/>
                  </a:lnTo>
                  <a:lnTo>
                    <a:pt x="591554" y="204990"/>
                  </a:lnTo>
                  <a:lnTo>
                    <a:pt x="591643" y="204990"/>
                  </a:lnTo>
                  <a:lnTo>
                    <a:pt x="591643" y="204292"/>
                  </a:lnTo>
                  <a:lnTo>
                    <a:pt x="591643" y="204990"/>
                  </a:lnTo>
                  <a:lnTo>
                    <a:pt x="591643" y="204292"/>
                  </a:lnTo>
                  <a:lnTo>
                    <a:pt x="591643" y="204990"/>
                  </a:lnTo>
                  <a:lnTo>
                    <a:pt x="591643" y="204292"/>
                  </a:lnTo>
                  <a:lnTo>
                    <a:pt x="591693" y="204990"/>
                  </a:lnTo>
                  <a:lnTo>
                    <a:pt x="591693" y="203594"/>
                  </a:lnTo>
                  <a:lnTo>
                    <a:pt x="591744" y="202959"/>
                  </a:lnTo>
                  <a:lnTo>
                    <a:pt x="591744" y="203594"/>
                  </a:lnTo>
                  <a:lnTo>
                    <a:pt x="591744" y="202260"/>
                  </a:lnTo>
                  <a:lnTo>
                    <a:pt x="591744" y="202959"/>
                  </a:lnTo>
                  <a:lnTo>
                    <a:pt x="591744" y="202260"/>
                  </a:lnTo>
                  <a:lnTo>
                    <a:pt x="591795" y="202959"/>
                  </a:lnTo>
                  <a:lnTo>
                    <a:pt x="591795" y="203594"/>
                  </a:lnTo>
                  <a:lnTo>
                    <a:pt x="591795" y="200876"/>
                  </a:lnTo>
                  <a:lnTo>
                    <a:pt x="591795" y="204292"/>
                  </a:lnTo>
                  <a:lnTo>
                    <a:pt x="591897" y="204292"/>
                  </a:lnTo>
                  <a:lnTo>
                    <a:pt x="591897" y="204990"/>
                  </a:lnTo>
                  <a:lnTo>
                    <a:pt x="591897" y="202959"/>
                  </a:lnTo>
                  <a:lnTo>
                    <a:pt x="591897" y="203594"/>
                  </a:lnTo>
                  <a:lnTo>
                    <a:pt x="591897" y="202959"/>
                  </a:lnTo>
                  <a:lnTo>
                    <a:pt x="591897" y="204292"/>
                  </a:lnTo>
                  <a:lnTo>
                    <a:pt x="591947" y="204990"/>
                  </a:lnTo>
                  <a:lnTo>
                    <a:pt x="591947" y="204292"/>
                  </a:lnTo>
                  <a:lnTo>
                    <a:pt x="591947" y="204990"/>
                  </a:lnTo>
                  <a:lnTo>
                    <a:pt x="591947" y="204292"/>
                  </a:lnTo>
                  <a:lnTo>
                    <a:pt x="591998" y="204990"/>
                  </a:lnTo>
                  <a:lnTo>
                    <a:pt x="591998" y="203594"/>
                  </a:lnTo>
                  <a:lnTo>
                    <a:pt x="591998" y="204990"/>
                  </a:lnTo>
                  <a:lnTo>
                    <a:pt x="592100" y="204990"/>
                  </a:lnTo>
                  <a:lnTo>
                    <a:pt x="592100" y="206324"/>
                  </a:lnTo>
                  <a:lnTo>
                    <a:pt x="592138" y="204990"/>
                  </a:lnTo>
                  <a:lnTo>
                    <a:pt x="592138" y="206324"/>
                  </a:lnTo>
                  <a:lnTo>
                    <a:pt x="592138" y="204990"/>
                  </a:lnTo>
                  <a:lnTo>
                    <a:pt x="592138" y="206324"/>
                  </a:lnTo>
                  <a:lnTo>
                    <a:pt x="592138" y="204990"/>
                  </a:lnTo>
                  <a:lnTo>
                    <a:pt x="592138" y="206324"/>
                  </a:lnTo>
                  <a:lnTo>
                    <a:pt x="592138" y="204990"/>
                  </a:lnTo>
                  <a:lnTo>
                    <a:pt x="592189" y="204990"/>
                  </a:lnTo>
                  <a:lnTo>
                    <a:pt x="592189" y="204292"/>
                  </a:lnTo>
                  <a:lnTo>
                    <a:pt x="592189" y="204990"/>
                  </a:lnTo>
                  <a:lnTo>
                    <a:pt x="592189" y="203594"/>
                  </a:lnTo>
                  <a:lnTo>
                    <a:pt x="592240" y="203594"/>
                  </a:lnTo>
                  <a:lnTo>
                    <a:pt x="592240" y="204292"/>
                  </a:lnTo>
                  <a:lnTo>
                    <a:pt x="592240" y="203594"/>
                  </a:lnTo>
                  <a:lnTo>
                    <a:pt x="592240" y="204292"/>
                  </a:lnTo>
                  <a:lnTo>
                    <a:pt x="592341" y="204292"/>
                  </a:lnTo>
                  <a:lnTo>
                    <a:pt x="592341" y="203594"/>
                  </a:lnTo>
                  <a:lnTo>
                    <a:pt x="592341" y="206324"/>
                  </a:lnTo>
                  <a:lnTo>
                    <a:pt x="592341" y="204990"/>
                  </a:lnTo>
                  <a:lnTo>
                    <a:pt x="592341" y="206324"/>
                  </a:lnTo>
                  <a:lnTo>
                    <a:pt x="592392" y="206324"/>
                  </a:lnTo>
                  <a:lnTo>
                    <a:pt x="592392" y="204292"/>
                  </a:lnTo>
                  <a:lnTo>
                    <a:pt x="592392" y="206324"/>
                  </a:lnTo>
                  <a:lnTo>
                    <a:pt x="592392" y="204990"/>
                  </a:lnTo>
                  <a:lnTo>
                    <a:pt x="592443" y="204990"/>
                  </a:lnTo>
                  <a:lnTo>
                    <a:pt x="592443" y="204292"/>
                  </a:lnTo>
                  <a:lnTo>
                    <a:pt x="592443" y="204990"/>
                  </a:lnTo>
                  <a:lnTo>
                    <a:pt x="592443" y="204292"/>
                  </a:lnTo>
                  <a:lnTo>
                    <a:pt x="592443" y="204990"/>
                  </a:lnTo>
                  <a:lnTo>
                    <a:pt x="592443" y="204292"/>
                  </a:lnTo>
                  <a:lnTo>
                    <a:pt x="592443" y="204990"/>
                  </a:lnTo>
                  <a:lnTo>
                    <a:pt x="592544" y="204990"/>
                  </a:lnTo>
                  <a:lnTo>
                    <a:pt x="592544" y="204292"/>
                  </a:lnTo>
                  <a:lnTo>
                    <a:pt x="592544" y="204990"/>
                  </a:lnTo>
                  <a:lnTo>
                    <a:pt x="592544" y="204292"/>
                  </a:lnTo>
                  <a:lnTo>
                    <a:pt x="592544" y="206324"/>
                  </a:lnTo>
                  <a:lnTo>
                    <a:pt x="592595" y="206324"/>
                  </a:lnTo>
                  <a:lnTo>
                    <a:pt x="592595" y="207022"/>
                  </a:lnTo>
                  <a:lnTo>
                    <a:pt x="592595" y="206324"/>
                  </a:lnTo>
                  <a:lnTo>
                    <a:pt x="592595" y="207022"/>
                  </a:lnTo>
                  <a:lnTo>
                    <a:pt x="592595" y="206324"/>
                  </a:lnTo>
                  <a:lnTo>
                    <a:pt x="592595" y="207022"/>
                  </a:lnTo>
                  <a:lnTo>
                    <a:pt x="592595" y="206324"/>
                  </a:lnTo>
                  <a:lnTo>
                    <a:pt x="592646" y="206324"/>
                  </a:lnTo>
                  <a:lnTo>
                    <a:pt x="592646" y="204292"/>
                  </a:lnTo>
                  <a:lnTo>
                    <a:pt x="592646" y="204990"/>
                  </a:lnTo>
                  <a:lnTo>
                    <a:pt x="592684" y="204292"/>
                  </a:lnTo>
                  <a:lnTo>
                    <a:pt x="592684" y="203594"/>
                  </a:lnTo>
                  <a:lnTo>
                    <a:pt x="592786" y="203594"/>
                  </a:lnTo>
                  <a:lnTo>
                    <a:pt x="592786" y="202959"/>
                  </a:lnTo>
                  <a:lnTo>
                    <a:pt x="592786" y="203594"/>
                  </a:lnTo>
                  <a:lnTo>
                    <a:pt x="592786" y="202260"/>
                  </a:lnTo>
                  <a:lnTo>
                    <a:pt x="592786" y="202959"/>
                  </a:lnTo>
                  <a:lnTo>
                    <a:pt x="592837" y="202959"/>
                  </a:lnTo>
                  <a:lnTo>
                    <a:pt x="592837" y="204292"/>
                  </a:lnTo>
                  <a:lnTo>
                    <a:pt x="592837" y="203594"/>
                  </a:lnTo>
                  <a:lnTo>
                    <a:pt x="592837" y="204292"/>
                  </a:lnTo>
                  <a:lnTo>
                    <a:pt x="592837" y="202959"/>
                  </a:lnTo>
                  <a:lnTo>
                    <a:pt x="592837" y="204292"/>
                  </a:lnTo>
                  <a:lnTo>
                    <a:pt x="592887" y="204292"/>
                  </a:lnTo>
                  <a:lnTo>
                    <a:pt x="592887" y="203594"/>
                  </a:lnTo>
                  <a:lnTo>
                    <a:pt x="592887" y="204292"/>
                  </a:lnTo>
                  <a:lnTo>
                    <a:pt x="592989" y="204990"/>
                  </a:lnTo>
                  <a:lnTo>
                    <a:pt x="592989" y="204292"/>
                  </a:lnTo>
                  <a:lnTo>
                    <a:pt x="592989" y="204990"/>
                  </a:lnTo>
                  <a:lnTo>
                    <a:pt x="592989" y="204292"/>
                  </a:lnTo>
                  <a:lnTo>
                    <a:pt x="592989" y="204990"/>
                  </a:lnTo>
                  <a:lnTo>
                    <a:pt x="592989" y="204292"/>
                  </a:lnTo>
                  <a:lnTo>
                    <a:pt x="592989" y="204990"/>
                  </a:lnTo>
                  <a:lnTo>
                    <a:pt x="593040" y="204292"/>
                  </a:lnTo>
                  <a:lnTo>
                    <a:pt x="593040" y="206324"/>
                  </a:lnTo>
                  <a:lnTo>
                    <a:pt x="593040" y="204990"/>
                  </a:lnTo>
                  <a:lnTo>
                    <a:pt x="593040" y="206324"/>
                  </a:lnTo>
                  <a:lnTo>
                    <a:pt x="593040" y="204990"/>
                  </a:lnTo>
                  <a:lnTo>
                    <a:pt x="593040" y="206324"/>
                  </a:lnTo>
                  <a:lnTo>
                    <a:pt x="593091" y="206324"/>
                  </a:lnTo>
                  <a:lnTo>
                    <a:pt x="593091" y="207022"/>
                  </a:lnTo>
                  <a:lnTo>
                    <a:pt x="593091" y="206324"/>
                  </a:lnTo>
                  <a:lnTo>
                    <a:pt x="593141" y="206324"/>
                  </a:lnTo>
                  <a:lnTo>
                    <a:pt x="593141" y="204990"/>
                  </a:lnTo>
                  <a:lnTo>
                    <a:pt x="593141" y="206324"/>
                  </a:lnTo>
                  <a:lnTo>
                    <a:pt x="593141" y="204990"/>
                  </a:lnTo>
                  <a:lnTo>
                    <a:pt x="593141" y="206324"/>
                  </a:lnTo>
                  <a:lnTo>
                    <a:pt x="593141" y="204990"/>
                  </a:lnTo>
                  <a:lnTo>
                    <a:pt x="593230" y="204990"/>
                  </a:lnTo>
                  <a:lnTo>
                    <a:pt x="593230" y="203594"/>
                  </a:lnTo>
                  <a:lnTo>
                    <a:pt x="593281" y="203594"/>
                  </a:lnTo>
                  <a:lnTo>
                    <a:pt x="593281" y="204292"/>
                  </a:lnTo>
                  <a:lnTo>
                    <a:pt x="593281" y="202959"/>
                  </a:lnTo>
                  <a:lnTo>
                    <a:pt x="593281" y="203594"/>
                  </a:lnTo>
                  <a:lnTo>
                    <a:pt x="593281" y="202959"/>
                  </a:lnTo>
                  <a:lnTo>
                    <a:pt x="593281" y="203594"/>
                  </a:lnTo>
                  <a:lnTo>
                    <a:pt x="593281" y="202959"/>
                  </a:lnTo>
                  <a:lnTo>
                    <a:pt x="593281" y="204292"/>
                  </a:lnTo>
                  <a:lnTo>
                    <a:pt x="593332" y="204292"/>
                  </a:lnTo>
                  <a:lnTo>
                    <a:pt x="593332" y="203594"/>
                  </a:lnTo>
                  <a:lnTo>
                    <a:pt x="593332" y="204292"/>
                  </a:lnTo>
                  <a:lnTo>
                    <a:pt x="593332" y="203594"/>
                  </a:lnTo>
                  <a:lnTo>
                    <a:pt x="593332" y="204990"/>
                  </a:lnTo>
                  <a:lnTo>
                    <a:pt x="593383" y="204292"/>
                  </a:lnTo>
                  <a:lnTo>
                    <a:pt x="593383" y="203594"/>
                  </a:lnTo>
                  <a:lnTo>
                    <a:pt x="593383" y="204292"/>
                  </a:lnTo>
                  <a:lnTo>
                    <a:pt x="593383" y="203594"/>
                  </a:lnTo>
                  <a:lnTo>
                    <a:pt x="593383" y="204990"/>
                  </a:lnTo>
                  <a:lnTo>
                    <a:pt x="593484" y="204292"/>
                  </a:lnTo>
                  <a:lnTo>
                    <a:pt x="593484" y="204990"/>
                  </a:lnTo>
                  <a:lnTo>
                    <a:pt x="593484" y="204292"/>
                  </a:lnTo>
                  <a:lnTo>
                    <a:pt x="593484" y="204990"/>
                  </a:lnTo>
                  <a:lnTo>
                    <a:pt x="593535" y="204990"/>
                  </a:lnTo>
                  <a:lnTo>
                    <a:pt x="593535" y="204292"/>
                  </a:lnTo>
                  <a:lnTo>
                    <a:pt x="593535" y="206324"/>
                  </a:lnTo>
                  <a:lnTo>
                    <a:pt x="593535" y="204990"/>
                  </a:lnTo>
                  <a:lnTo>
                    <a:pt x="593535" y="206324"/>
                  </a:lnTo>
                  <a:lnTo>
                    <a:pt x="593586" y="204990"/>
                  </a:lnTo>
                  <a:lnTo>
                    <a:pt x="593586" y="206324"/>
                  </a:lnTo>
                  <a:lnTo>
                    <a:pt x="593586" y="204990"/>
                  </a:lnTo>
                  <a:lnTo>
                    <a:pt x="593586" y="206324"/>
                  </a:lnTo>
                  <a:lnTo>
                    <a:pt x="593687" y="206324"/>
                  </a:lnTo>
                  <a:lnTo>
                    <a:pt x="593687" y="204990"/>
                  </a:lnTo>
                  <a:lnTo>
                    <a:pt x="593687" y="206324"/>
                  </a:lnTo>
                  <a:lnTo>
                    <a:pt x="593687" y="204990"/>
                  </a:lnTo>
                  <a:lnTo>
                    <a:pt x="593726" y="204990"/>
                  </a:lnTo>
                  <a:lnTo>
                    <a:pt x="593726" y="204292"/>
                  </a:lnTo>
                  <a:lnTo>
                    <a:pt x="593726" y="204990"/>
                  </a:lnTo>
                  <a:lnTo>
                    <a:pt x="593726" y="203594"/>
                  </a:lnTo>
                  <a:lnTo>
                    <a:pt x="593776" y="203594"/>
                  </a:lnTo>
                  <a:lnTo>
                    <a:pt x="593776" y="202959"/>
                  </a:lnTo>
                  <a:lnTo>
                    <a:pt x="593776" y="203594"/>
                  </a:lnTo>
                  <a:lnTo>
                    <a:pt x="593776" y="202959"/>
                  </a:lnTo>
                  <a:lnTo>
                    <a:pt x="593776" y="203594"/>
                  </a:lnTo>
                  <a:lnTo>
                    <a:pt x="593776" y="202260"/>
                  </a:lnTo>
                  <a:lnTo>
                    <a:pt x="593776" y="202959"/>
                  </a:lnTo>
                  <a:lnTo>
                    <a:pt x="593827" y="203594"/>
                  </a:lnTo>
                  <a:lnTo>
                    <a:pt x="593827" y="204292"/>
                  </a:lnTo>
                  <a:lnTo>
                    <a:pt x="593827" y="202260"/>
                  </a:lnTo>
                  <a:lnTo>
                    <a:pt x="593827" y="204292"/>
                  </a:lnTo>
                  <a:lnTo>
                    <a:pt x="593929" y="204292"/>
                  </a:lnTo>
                  <a:lnTo>
                    <a:pt x="593929" y="203594"/>
                  </a:lnTo>
                  <a:lnTo>
                    <a:pt x="593929" y="204990"/>
                  </a:lnTo>
                  <a:lnTo>
                    <a:pt x="593929" y="204292"/>
                  </a:lnTo>
                  <a:lnTo>
                    <a:pt x="593980" y="204990"/>
                  </a:lnTo>
                  <a:lnTo>
                    <a:pt x="593980" y="204292"/>
                  </a:lnTo>
                  <a:lnTo>
                    <a:pt x="593980" y="204990"/>
                  </a:lnTo>
                  <a:lnTo>
                    <a:pt x="594030" y="204990"/>
                  </a:lnTo>
                  <a:lnTo>
                    <a:pt x="594030" y="206324"/>
                  </a:lnTo>
                  <a:lnTo>
                    <a:pt x="594030" y="204990"/>
                  </a:lnTo>
                  <a:lnTo>
                    <a:pt x="594030" y="206324"/>
                  </a:lnTo>
                  <a:lnTo>
                    <a:pt x="594030" y="204990"/>
                  </a:lnTo>
                  <a:lnTo>
                    <a:pt x="594030" y="206324"/>
                  </a:lnTo>
                  <a:lnTo>
                    <a:pt x="594030" y="204990"/>
                  </a:lnTo>
                  <a:lnTo>
                    <a:pt x="594030" y="206324"/>
                  </a:lnTo>
                  <a:lnTo>
                    <a:pt x="594030" y="204990"/>
                  </a:lnTo>
                  <a:lnTo>
                    <a:pt x="594132" y="204990"/>
                  </a:lnTo>
                  <a:lnTo>
                    <a:pt x="594132" y="206324"/>
                  </a:lnTo>
                  <a:lnTo>
                    <a:pt x="594132" y="204990"/>
                  </a:lnTo>
                  <a:lnTo>
                    <a:pt x="594132" y="206324"/>
                  </a:lnTo>
                  <a:lnTo>
                    <a:pt x="594132" y="204990"/>
                  </a:lnTo>
                  <a:lnTo>
                    <a:pt x="594132" y="206324"/>
                  </a:lnTo>
                  <a:lnTo>
                    <a:pt x="594132" y="204990"/>
                  </a:lnTo>
                  <a:lnTo>
                    <a:pt x="594132" y="206324"/>
                  </a:lnTo>
                  <a:lnTo>
                    <a:pt x="594183" y="206324"/>
                  </a:lnTo>
                  <a:lnTo>
                    <a:pt x="594183" y="204990"/>
                  </a:lnTo>
                  <a:lnTo>
                    <a:pt x="594183" y="206324"/>
                  </a:lnTo>
                  <a:lnTo>
                    <a:pt x="594183" y="204990"/>
                  </a:lnTo>
                  <a:lnTo>
                    <a:pt x="594183" y="206324"/>
                  </a:lnTo>
                  <a:lnTo>
                    <a:pt x="594233" y="206324"/>
                  </a:lnTo>
                  <a:lnTo>
                    <a:pt x="594233" y="204292"/>
                  </a:lnTo>
                  <a:lnTo>
                    <a:pt x="594233" y="204990"/>
                  </a:lnTo>
                  <a:lnTo>
                    <a:pt x="594233" y="204292"/>
                  </a:lnTo>
                  <a:lnTo>
                    <a:pt x="594233" y="204990"/>
                  </a:lnTo>
                  <a:lnTo>
                    <a:pt x="594272" y="204990"/>
                  </a:lnTo>
                  <a:lnTo>
                    <a:pt x="594272" y="202959"/>
                  </a:lnTo>
                  <a:lnTo>
                    <a:pt x="594272" y="204292"/>
                  </a:lnTo>
                  <a:lnTo>
                    <a:pt x="594373" y="203594"/>
                  </a:lnTo>
                  <a:lnTo>
                    <a:pt x="594373" y="202260"/>
                  </a:lnTo>
                  <a:lnTo>
                    <a:pt x="594373" y="204990"/>
                  </a:lnTo>
                  <a:lnTo>
                    <a:pt x="594373" y="204292"/>
                  </a:lnTo>
                  <a:lnTo>
                    <a:pt x="594424" y="204292"/>
                  </a:lnTo>
                  <a:lnTo>
                    <a:pt x="594424" y="202959"/>
                  </a:lnTo>
                  <a:lnTo>
                    <a:pt x="594424" y="204990"/>
                  </a:lnTo>
                  <a:lnTo>
                    <a:pt x="594424" y="204292"/>
                  </a:lnTo>
                  <a:lnTo>
                    <a:pt x="594424" y="204990"/>
                  </a:lnTo>
                  <a:lnTo>
                    <a:pt x="594424" y="204292"/>
                  </a:lnTo>
                  <a:lnTo>
                    <a:pt x="594475" y="204292"/>
                  </a:lnTo>
                  <a:lnTo>
                    <a:pt x="594475" y="203594"/>
                  </a:lnTo>
                  <a:lnTo>
                    <a:pt x="594475" y="204292"/>
                  </a:lnTo>
                  <a:lnTo>
                    <a:pt x="594475" y="203594"/>
                  </a:lnTo>
                  <a:lnTo>
                    <a:pt x="594475" y="204292"/>
                  </a:lnTo>
                  <a:lnTo>
                    <a:pt x="594475" y="203594"/>
                  </a:lnTo>
                  <a:lnTo>
                    <a:pt x="594475" y="204990"/>
                  </a:lnTo>
                  <a:lnTo>
                    <a:pt x="594475" y="204292"/>
                  </a:lnTo>
                  <a:lnTo>
                    <a:pt x="594576" y="204292"/>
                  </a:lnTo>
                  <a:lnTo>
                    <a:pt x="594576" y="204990"/>
                  </a:lnTo>
                  <a:lnTo>
                    <a:pt x="594576" y="204292"/>
                  </a:lnTo>
                  <a:lnTo>
                    <a:pt x="594576" y="204990"/>
                  </a:lnTo>
                  <a:lnTo>
                    <a:pt x="594576" y="204292"/>
                  </a:lnTo>
                  <a:lnTo>
                    <a:pt x="594576" y="204990"/>
                  </a:lnTo>
                  <a:lnTo>
                    <a:pt x="594576" y="204292"/>
                  </a:lnTo>
                  <a:lnTo>
                    <a:pt x="594576" y="204990"/>
                  </a:lnTo>
                  <a:lnTo>
                    <a:pt x="594627" y="204990"/>
                  </a:lnTo>
                  <a:lnTo>
                    <a:pt x="594627" y="204292"/>
                  </a:lnTo>
                  <a:lnTo>
                    <a:pt x="594627" y="204990"/>
                  </a:lnTo>
                  <a:lnTo>
                    <a:pt x="594678" y="204990"/>
                  </a:lnTo>
                  <a:lnTo>
                    <a:pt x="594678" y="206324"/>
                  </a:lnTo>
                  <a:lnTo>
                    <a:pt x="594678" y="204990"/>
                  </a:lnTo>
                  <a:lnTo>
                    <a:pt x="594678" y="206324"/>
                  </a:lnTo>
                  <a:lnTo>
                    <a:pt x="594678" y="204990"/>
                  </a:lnTo>
                  <a:lnTo>
                    <a:pt x="594729" y="204990"/>
                  </a:lnTo>
                  <a:lnTo>
                    <a:pt x="594729" y="203594"/>
                  </a:lnTo>
                  <a:lnTo>
                    <a:pt x="594818" y="203594"/>
                  </a:lnTo>
                  <a:lnTo>
                    <a:pt x="594818" y="206324"/>
                  </a:lnTo>
                  <a:lnTo>
                    <a:pt x="594818" y="203594"/>
                  </a:lnTo>
                  <a:lnTo>
                    <a:pt x="594818" y="204292"/>
                  </a:lnTo>
                  <a:lnTo>
                    <a:pt x="594868" y="204990"/>
                  </a:lnTo>
                  <a:lnTo>
                    <a:pt x="594868" y="207022"/>
                  </a:lnTo>
                  <a:lnTo>
                    <a:pt x="594868" y="204990"/>
                  </a:lnTo>
                  <a:lnTo>
                    <a:pt x="594868" y="207022"/>
                  </a:lnTo>
                  <a:lnTo>
                    <a:pt x="594919" y="207022"/>
                  </a:lnTo>
                  <a:lnTo>
                    <a:pt x="594919" y="206324"/>
                  </a:lnTo>
                  <a:lnTo>
                    <a:pt x="594919" y="207022"/>
                  </a:lnTo>
                  <a:lnTo>
                    <a:pt x="594919" y="206324"/>
                  </a:lnTo>
                  <a:lnTo>
                    <a:pt x="594919" y="207022"/>
                  </a:lnTo>
                  <a:lnTo>
                    <a:pt x="594919" y="206324"/>
                  </a:lnTo>
                  <a:lnTo>
                    <a:pt x="594919" y="207721"/>
                  </a:lnTo>
                  <a:lnTo>
                    <a:pt x="594970" y="207022"/>
                  </a:lnTo>
                  <a:lnTo>
                    <a:pt x="594970" y="207721"/>
                  </a:lnTo>
                  <a:lnTo>
                    <a:pt x="594970" y="207022"/>
                  </a:lnTo>
                  <a:lnTo>
                    <a:pt x="594970" y="207721"/>
                  </a:lnTo>
                  <a:lnTo>
                    <a:pt x="594970" y="206324"/>
                  </a:lnTo>
                  <a:lnTo>
                    <a:pt x="594970" y="207022"/>
                  </a:lnTo>
                  <a:lnTo>
                    <a:pt x="595072" y="207022"/>
                  </a:lnTo>
                  <a:lnTo>
                    <a:pt x="595072" y="206324"/>
                  </a:lnTo>
                  <a:lnTo>
                    <a:pt x="595072" y="207022"/>
                  </a:lnTo>
                  <a:lnTo>
                    <a:pt x="595072" y="206324"/>
                  </a:lnTo>
                  <a:lnTo>
                    <a:pt x="595072" y="207022"/>
                  </a:lnTo>
                  <a:lnTo>
                    <a:pt x="595072" y="206324"/>
                  </a:lnTo>
                  <a:lnTo>
                    <a:pt x="595122" y="206324"/>
                  </a:lnTo>
                  <a:lnTo>
                    <a:pt x="595122" y="204990"/>
                  </a:lnTo>
                  <a:lnTo>
                    <a:pt x="595122" y="206324"/>
                  </a:lnTo>
                  <a:lnTo>
                    <a:pt x="595122" y="204990"/>
                  </a:lnTo>
                  <a:lnTo>
                    <a:pt x="595122" y="206324"/>
                  </a:lnTo>
                  <a:lnTo>
                    <a:pt x="595122" y="204990"/>
                  </a:lnTo>
                  <a:lnTo>
                    <a:pt x="595173" y="206324"/>
                  </a:lnTo>
                  <a:lnTo>
                    <a:pt x="595173" y="204990"/>
                  </a:lnTo>
                  <a:lnTo>
                    <a:pt x="595173" y="206324"/>
                  </a:lnTo>
                  <a:lnTo>
                    <a:pt x="595173" y="204990"/>
                  </a:lnTo>
                  <a:lnTo>
                    <a:pt x="595275" y="204990"/>
                  </a:lnTo>
                  <a:lnTo>
                    <a:pt x="595275" y="203594"/>
                  </a:lnTo>
                  <a:lnTo>
                    <a:pt x="595275" y="204990"/>
                  </a:lnTo>
                  <a:lnTo>
                    <a:pt x="595313" y="204990"/>
                  </a:lnTo>
                  <a:lnTo>
                    <a:pt x="595313" y="204292"/>
                  </a:lnTo>
                  <a:lnTo>
                    <a:pt x="595313" y="207022"/>
                  </a:lnTo>
                  <a:lnTo>
                    <a:pt x="595364" y="207022"/>
                  </a:lnTo>
                  <a:lnTo>
                    <a:pt x="595364" y="206324"/>
                  </a:lnTo>
                  <a:lnTo>
                    <a:pt x="595364" y="207022"/>
                  </a:lnTo>
                  <a:lnTo>
                    <a:pt x="595364" y="206324"/>
                  </a:lnTo>
                  <a:lnTo>
                    <a:pt x="595364" y="207721"/>
                  </a:lnTo>
                  <a:lnTo>
                    <a:pt x="595364" y="207022"/>
                  </a:lnTo>
                  <a:lnTo>
                    <a:pt x="595415" y="207022"/>
                  </a:lnTo>
                  <a:lnTo>
                    <a:pt x="595415" y="207721"/>
                  </a:lnTo>
                  <a:lnTo>
                    <a:pt x="595516" y="207721"/>
                  </a:lnTo>
                  <a:lnTo>
                    <a:pt x="595516" y="207022"/>
                  </a:lnTo>
                  <a:lnTo>
                    <a:pt x="595516" y="207721"/>
                  </a:lnTo>
                  <a:lnTo>
                    <a:pt x="595567" y="207721"/>
                  </a:lnTo>
                  <a:lnTo>
                    <a:pt x="595567" y="207022"/>
                  </a:lnTo>
                  <a:lnTo>
                    <a:pt x="595567" y="207721"/>
                  </a:lnTo>
                  <a:lnTo>
                    <a:pt x="595567" y="207022"/>
                  </a:lnTo>
                  <a:lnTo>
                    <a:pt x="595618" y="206324"/>
                  </a:lnTo>
                  <a:lnTo>
                    <a:pt x="595618" y="207022"/>
                  </a:lnTo>
                  <a:lnTo>
                    <a:pt x="595618" y="204990"/>
                  </a:lnTo>
                  <a:lnTo>
                    <a:pt x="595719" y="204990"/>
                  </a:lnTo>
                  <a:lnTo>
                    <a:pt x="595719" y="206324"/>
                  </a:lnTo>
                  <a:lnTo>
                    <a:pt x="595719" y="204990"/>
                  </a:lnTo>
                  <a:lnTo>
                    <a:pt x="595719" y="206324"/>
                  </a:lnTo>
                  <a:lnTo>
                    <a:pt x="595719" y="204292"/>
                  </a:lnTo>
                  <a:lnTo>
                    <a:pt x="595770" y="203594"/>
                  </a:lnTo>
                  <a:lnTo>
                    <a:pt x="595770" y="206324"/>
                  </a:lnTo>
                  <a:lnTo>
                    <a:pt x="595770" y="203594"/>
                  </a:lnTo>
                  <a:lnTo>
                    <a:pt x="595770" y="204292"/>
                  </a:lnTo>
                  <a:lnTo>
                    <a:pt x="595821" y="204292"/>
                  </a:lnTo>
                  <a:lnTo>
                    <a:pt x="595821" y="207022"/>
                  </a:lnTo>
                  <a:lnTo>
                    <a:pt x="595821" y="204990"/>
                  </a:lnTo>
                  <a:lnTo>
                    <a:pt x="595821" y="207022"/>
                  </a:lnTo>
                  <a:lnTo>
                    <a:pt x="595821" y="206324"/>
                  </a:lnTo>
                  <a:lnTo>
                    <a:pt x="595859" y="206324"/>
                  </a:lnTo>
                  <a:lnTo>
                    <a:pt x="595859" y="207721"/>
                  </a:lnTo>
                  <a:lnTo>
                    <a:pt x="595859" y="207022"/>
                  </a:lnTo>
                  <a:lnTo>
                    <a:pt x="595859" y="207721"/>
                  </a:lnTo>
                  <a:lnTo>
                    <a:pt x="595961" y="207721"/>
                  </a:lnTo>
                  <a:lnTo>
                    <a:pt x="595961" y="208407"/>
                  </a:lnTo>
                  <a:lnTo>
                    <a:pt x="595961" y="207721"/>
                  </a:lnTo>
                  <a:lnTo>
                    <a:pt x="595961" y="208407"/>
                  </a:lnTo>
                  <a:lnTo>
                    <a:pt x="595961" y="207721"/>
                  </a:lnTo>
                  <a:lnTo>
                    <a:pt x="596012" y="208407"/>
                  </a:lnTo>
                  <a:lnTo>
                    <a:pt x="596012" y="207721"/>
                  </a:lnTo>
                  <a:lnTo>
                    <a:pt x="596012" y="208407"/>
                  </a:lnTo>
                  <a:lnTo>
                    <a:pt x="596012" y="207721"/>
                  </a:lnTo>
                  <a:lnTo>
                    <a:pt x="596062" y="207721"/>
                  </a:lnTo>
                  <a:lnTo>
                    <a:pt x="596062" y="207022"/>
                  </a:lnTo>
                  <a:lnTo>
                    <a:pt x="596062" y="207721"/>
                  </a:lnTo>
                  <a:lnTo>
                    <a:pt x="596164" y="207721"/>
                  </a:lnTo>
                  <a:lnTo>
                    <a:pt x="596164" y="206324"/>
                  </a:lnTo>
                  <a:lnTo>
                    <a:pt x="596164" y="207022"/>
                  </a:lnTo>
                  <a:lnTo>
                    <a:pt x="596164" y="206324"/>
                  </a:lnTo>
                  <a:lnTo>
                    <a:pt x="596215" y="206324"/>
                  </a:lnTo>
                  <a:lnTo>
                    <a:pt x="596215" y="204292"/>
                  </a:lnTo>
                  <a:lnTo>
                    <a:pt x="596215" y="207022"/>
                  </a:lnTo>
                  <a:lnTo>
                    <a:pt x="596266" y="207022"/>
                  </a:lnTo>
                  <a:lnTo>
                    <a:pt x="596266" y="203594"/>
                  </a:lnTo>
                  <a:lnTo>
                    <a:pt x="596266" y="207721"/>
                  </a:lnTo>
                  <a:lnTo>
                    <a:pt x="596266" y="207022"/>
                  </a:lnTo>
                  <a:lnTo>
                    <a:pt x="596316" y="207022"/>
                  </a:lnTo>
                  <a:lnTo>
                    <a:pt x="596316" y="206324"/>
                  </a:lnTo>
                  <a:lnTo>
                    <a:pt x="596316" y="207721"/>
                  </a:lnTo>
                  <a:lnTo>
                    <a:pt x="596316" y="207022"/>
                  </a:lnTo>
                  <a:lnTo>
                    <a:pt x="596405" y="207022"/>
                  </a:lnTo>
                  <a:lnTo>
                    <a:pt x="596405" y="207721"/>
                  </a:lnTo>
                  <a:lnTo>
                    <a:pt x="596405" y="207022"/>
                  </a:lnTo>
                  <a:lnTo>
                    <a:pt x="596405" y="207721"/>
                  </a:lnTo>
                  <a:lnTo>
                    <a:pt x="596456" y="207721"/>
                  </a:lnTo>
                  <a:lnTo>
                    <a:pt x="596456" y="207022"/>
                  </a:lnTo>
                  <a:lnTo>
                    <a:pt x="596456" y="208407"/>
                  </a:lnTo>
                  <a:lnTo>
                    <a:pt x="596456" y="207721"/>
                  </a:lnTo>
                  <a:lnTo>
                    <a:pt x="596507" y="207022"/>
                  </a:lnTo>
                  <a:lnTo>
                    <a:pt x="596507" y="207721"/>
                  </a:lnTo>
                  <a:lnTo>
                    <a:pt x="596507" y="207022"/>
                  </a:lnTo>
                  <a:lnTo>
                    <a:pt x="596507" y="207721"/>
                  </a:lnTo>
                  <a:lnTo>
                    <a:pt x="596507" y="207022"/>
                  </a:lnTo>
                  <a:lnTo>
                    <a:pt x="596558" y="207721"/>
                  </a:lnTo>
                  <a:lnTo>
                    <a:pt x="596558" y="207022"/>
                  </a:lnTo>
                  <a:lnTo>
                    <a:pt x="596558" y="207721"/>
                  </a:lnTo>
                  <a:lnTo>
                    <a:pt x="596558" y="207022"/>
                  </a:lnTo>
                  <a:lnTo>
                    <a:pt x="596659" y="207022"/>
                  </a:lnTo>
                  <a:lnTo>
                    <a:pt x="596659" y="204990"/>
                  </a:lnTo>
                  <a:lnTo>
                    <a:pt x="596710" y="204990"/>
                  </a:lnTo>
                  <a:lnTo>
                    <a:pt x="596710" y="204292"/>
                  </a:lnTo>
                  <a:lnTo>
                    <a:pt x="596710" y="206324"/>
                  </a:lnTo>
                  <a:lnTo>
                    <a:pt x="596710" y="204990"/>
                  </a:lnTo>
                  <a:lnTo>
                    <a:pt x="596710" y="206324"/>
                  </a:lnTo>
                  <a:lnTo>
                    <a:pt x="596710" y="204990"/>
                  </a:lnTo>
                  <a:lnTo>
                    <a:pt x="596710" y="206324"/>
                  </a:lnTo>
                  <a:lnTo>
                    <a:pt x="596710" y="204990"/>
                  </a:lnTo>
                  <a:lnTo>
                    <a:pt x="596761" y="204292"/>
                  </a:lnTo>
                  <a:lnTo>
                    <a:pt x="596761" y="207022"/>
                  </a:lnTo>
                  <a:lnTo>
                    <a:pt x="596761" y="206324"/>
                  </a:lnTo>
                  <a:lnTo>
                    <a:pt x="596761" y="207022"/>
                  </a:lnTo>
                  <a:lnTo>
                    <a:pt x="596761" y="206324"/>
                  </a:lnTo>
                  <a:lnTo>
                    <a:pt x="596862" y="206324"/>
                  </a:lnTo>
                  <a:lnTo>
                    <a:pt x="596862" y="207721"/>
                  </a:lnTo>
                  <a:lnTo>
                    <a:pt x="596862" y="207022"/>
                  </a:lnTo>
                  <a:lnTo>
                    <a:pt x="596901" y="207022"/>
                  </a:lnTo>
                  <a:lnTo>
                    <a:pt x="596901" y="207721"/>
                  </a:lnTo>
                  <a:lnTo>
                    <a:pt x="596901" y="207022"/>
                  </a:lnTo>
                  <a:lnTo>
                    <a:pt x="596901" y="207721"/>
                  </a:lnTo>
                  <a:lnTo>
                    <a:pt x="596951" y="207721"/>
                  </a:lnTo>
                  <a:lnTo>
                    <a:pt x="596951" y="207022"/>
                  </a:lnTo>
                  <a:lnTo>
                    <a:pt x="597002" y="207721"/>
                  </a:lnTo>
                  <a:lnTo>
                    <a:pt x="597002" y="207022"/>
                  </a:lnTo>
                  <a:lnTo>
                    <a:pt x="597002" y="207721"/>
                  </a:lnTo>
                  <a:lnTo>
                    <a:pt x="597002" y="207022"/>
                  </a:lnTo>
                  <a:lnTo>
                    <a:pt x="597002" y="207721"/>
                  </a:lnTo>
                  <a:lnTo>
                    <a:pt x="597002" y="207022"/>
                  </a:lnTo>
                  <a:lnTo>
                    <a:pt x="597104" y="207022"/>
                  </a:lnTo>
                  <a:lnTo>
                    <a:pt x="597104" y="207721"/>
                  </a:lnTo>
                  <a:lnTo>
                    <a:pt x="597104" y="207022"/>
                  </a:lnTo>
                  <a:lnTo>
                    <a:pt x="597155" y="206324"/>
                  </a:lnTo>
                  <a:lnTo>
                    <a:pt x="597155" y="207022"/>
                  </a:lnTo>
                  <a:lnTo>
                    <a:pt x="597155" y="204292"/>
                  </a:lnTo>
                  <a:lnTo>
                    <a:pt x="597205" y="204292"/>
                  </a:lnTo>
                  <a:lnTo>
                    <a:pt x="597205" y="204990"/>
                  </a:lnTo>
                  <a:lnTo>
                    <a:pt x="597205" y="202959"/>
                  </a:lnTo>
                  <a:lnTo>
                    <a:pt x="597307" y="203594"/>
                  </a:lnTo>
                  <a:lnTo>
                    <a:pt x="597307" y="206324"/>
                  </a:lnTo>
                  <a:lnTo>
                    <a:pt x="597307" y="204990"/>
                  </a:lnTo>
                  <a:lnTo>
                    <a:pt x="597307" y="206324"/>
                  </a:lnTo>
                  <a:lnTo>
                    <a:pt x="597307" y="204292"/>
                  </a:lnTo>
                  <a:lnTo>
                    <a:pt x="597358" y="204292"/>
                  </a:lnTo>
                  <a:lnTo>
                    <a:pt x="597358" y="206324"/>
                  </a:lnTo>
                  <a:lnTo>
                    <a:pt x="597358" y="204990"/>
                  </a:lnTo>
                  <a:lnTo>
                    <a:pt x="597358" y="206324"/>
                  </a:lnTo>
                  <a:lnTo>
                    <a:pt x="597358" y="204990"/>
                  </a:lnTo>
                  <a:lnTo>
                    <a:pt x="597358" y="206324"/>
                  </a:lnTo>
                  <a:lnTo>
                    <a:pt x="597358" y="204990"/>
                  </a:lnTo>
                  <a:lnTo>
                    <a:pt x="597408" y="204990"/>
                  </a:lnTo>
                  <a:lnTo>
                    <a:pt x="597408" y="206324"/>
                  </a:lnTo>
                  <a:lnTo>
                    <a:pt x="597447" y="206324"/>
                  </a:lnTo>
                  <a:lnTo>
                    <a:pt x="597447" y="207022"/>
                  </a:lnTo>
                  <a:lnTo>
                    <a:pt x="597447" y="206324"/>
                  </a:lnTo>
                  <a:lnTo>
                    <a:pt x="597447" y="207022"/>
                  </a:lnTo>
                  <a:lnTo>
                    <a:pt x="597447" y="206324"/>
                  </a:lnTo>
                  <a:lnTo>
                    <a:pt x="597548" y="207022"/>
                  </a:lnTo>
                  <a:lnTo>
                    <a:pt x="597548" y="206324"/>
                  </a:lnTo>
                  <a:lnTo>
                    <a:pt x="597548" y="207022"/>
                  </a:lnTo>
                  <a:lnTo>
                    <a:pt x="597599" y="207022"/>
                  </a:lnTo>
                  <a:lnTo>
                    <a:pt x="597599" y="206324"/>
                  </a:lnTo>
                  <a:lnTo>
                    <a:pt x="597650" y="206324"/>
                  </a:lnTo>
                  <a:lnTo>
                    <a:pt x="597650" y="203594"/>
                  </a:lnTo>
                  <a:lnTo>
                    <a:pt x="597751" y="204292"/>
                  </a:lnTo>
                  <a:lnTo>
                    <a:pt x="597751" y="204990"/>
                  </a:lnTo>
                  <a:lnTo>
                    <a:pt x="597751" y="203594"/>
                  </a:lnTo>
                  <a:lnTo>
                    <a:pt x="597751" y="204292"/>
                  </a:lnTo>
                  <a:lnTo>
                    <a:pt x="597802" y="204990"/>
                  </a:lnTo>
                  <a:lnTo>
                    <a:pt x="597802" y="206324"/>
                  </a:lnTo>
                  <a:lnTo>
                    <a:pt x="597802" y="204990"/>
                  </a:lnTo>
                  <a:lnTo>
                    <a:pt x="597802" y="206324"/>
                  </a:lnTo>
                  <a:lnTo>
                    <a:pt x="597853" y="206324"/>
                  </a:lnTo>
                  <a:lnTo>
                    <a:pt x="597853" y="207022"/>
                  </a:lnTo>
                  <a:lnTo>
                    <a:pt x="597853" y="204990"/>
                  </a:lnTo>
                  <a:lnTo>
                    <a:pt x="597853" y="206324"/>
                  </a:lnTo>
                  <a:lnTo>
                    <a:pt x="597853" y="204990"/>
                  </a:lnTo>
                  <a:lnTo>
                    <a:pt x="597853" y="206324"/>
                  </a:lnTo>
                  <a:lnTo>
                    <a:pt x="597853" y="204990"/>
                  </a:lnTo>
                  <a:lnTo>
                    <a:pt x="597853" y="207022"/>
                  </a:lnTo>
                  <a:lnTo>
                    <a:pt x="597904" y="206324"/>
                  </a:lnTo>
                  <a:lnTo>
                    <a:pt x="597993" y="206324"/>
                  </a:lnTo>
                  <a:lnTo>
                    <a:pt x="597993" y="207022"/>
                  </a:lnTo>
                  <a:lnTo>
                    <a:pt x="597993" y="206324"/>
                  </a:lnTo>
                  <a:lnTo>
                    <a:pt x="597993" y="207022"/>
                  </a:lnTo>
                  <a:lnTo>
                    <a:pt x="597993" y="206324"/>
                  </a:lnTo>
                  <a:lnTo>
                    <a:pt x="597993" y="207022"/>
                  </a:lnTo>
                  <a:lnTo>
                    <a:pt x="598043" y="207022"/>
                  </a:lnTo>
                  <a:lnTo>
                    <a:pt x="598043" y="206324"/>
                  </a:lnTo>
                  <a:lnTo>
                    <a:pt x="598043" y="207022"/>
                  </a:lnTo>
                  <a:lnTo>
                    <a:pt x="598043" y="206324"/>
                  </a:lnTo>
                  <a:lnTo>
                    <a:pt x="598043" y="207022"/>
                  </a:lnTo>
                  <a:lnTo>
                    <a:pt x="598094" y="207022"/>
                  </a:lnTo>
                  <a:lnTo>
                    <a:pt x="598094" y="206324"/>
                  </a:lnTo>
                  <a:lnTo>
                    <a:pt x="598094" y="207022"/>
                  </a:lnTo>
                  <a:lnTo>
                    <a:pt x="598094" y="206324"/>
                  </a:lnTo>
                  <a:lnTo>
                    <a:pt x="598094" y="207022"/>
                  </a:lnTo>
                  <a:lnTo>
                    <a:pt x="598094" y="206324"/>
                  </a:lnTo>
                  <a:lnTo>
                    <a:pt x="598094" y="207022"/>
                  </a:lnTo>
                  <a:lnTo>
                    <a:pt x="598094" y="204990"/>
                  </a:lnTo>
                  <a:lnTo>
                    <a:pt x="598145" y="204990"/>
                  </a:lnTo>
                  <a:lnTo>
                    <a:pt x="598145" y="202959"/>
                  </a:lnTo>
                  <a:lnTo>
                    <a:pt x="598145" y="203594"/>
                  </a:lnTo>
                  <a:lnTo>
                    <a:pt x="598247" y="203594"/>
                  </a:lnTo>
                  <a:lnTo>
                    <a:pt x="598247" y="204990"/>
                  </a:lnTo>
                  <a:lnTo>
                    <a:pt x="598247" y="203594"/>
                  </a:lnTo>
                  <a:lnTo>
                    <a:pt x="598247" y="206324"/>
                  </a:lnTo>
                  <a:lnTo>
                    <a:pt x="598297" y="206324"/>
                  </a:lnTo>
                  <a:lnTo>
                    <a:pt x="598297" y="204292"/>
                  </a:lnTo>
                  <a:lnTo>
                    <a:pt x="598297" y="206324"/>
                  </a:lnTo>
                  <a:lnTo>
                    <a:pt x="598297" y="204990"/>
                  </a:lnTo>
                  <a:lnTo>
                    <a:pt x="598297" y="206324"/>
                  </a:lnTo>
                  <a:lnTo>
                    <a:pt x="598348" y="206324"/>
                  </a:lnTo>
                  <a:lnTo>
                    <a:pt x="598348" y="204990"/>
                  </a:lnTo>
                  <a:lnTo>
                    <a:pt x="598348" y="206324"/>
                  </a:lnTo>
                  <a:lnTo>
                    <a:pt x="598348" y="204990"/>
                  </a:lnTo>
                  <a:lnTo>
                    <a:pt x="598348" y="206324"/>
                  </a:lnTo>
                  <a:lnTo>
                    <a:pt x="598348" y="204990"/>
                  </a:lnTo>
                  <a:lnTo>
                    <a:pt x="598348" y="206324"/>
                  </a:lnTo>
                  <a:lnTo>
                    <a:pt x="598348" y="204990"/>
                  </a:lnTo>
                  <a:lnTo>
                    <a:pt x="598348" y="206324"/>
                  </a:lnTo>
                  <a:lnTo>
                    <a:pt x="598450" y="206324"/>
                  </a:lnTo>
                  <a:lnTo>
                    <a:pt x="598450" y="204990"/>
                  </a:lnTo>
                  <a:lnTo>
                    <a:pt x="598450" y="206324"/>
                  </a:lnTo>
                  <a:lnTo>
                    <a:pt x="598450" y="204990"/>
                  </a:lnTo>
                  <a:lnTo>
                    <a:pt x="598488" y="204990"/>
                  </a:lnTo>
                  <a:lnTo>
                    <a:pt x="598488" y="206324"/>
                  </a:lnTo>
                  <a:lnTo>
                    <a:pt x="598488" y="204990"/>
                  </a:lnTo>
                  <a:lnTo>
                    <a:pt x="598539" y="204990"/>
                  </a:lnTo>
                  <a:lnTo>
                    <a:pt x="598539" y="206324"/>
                  </a:lnTo>
                  <a:lnTo>
                    <a:pt x="598539" y="204990"/>
                  </a:lnTo>
                  <a:lnTo>
                    <a:pt x="598539" y="206324"/>
                  </a:lnTo>
                  <a:lnTo>
                    <a:pt x="598539" y="204990"/>
                  </a:lnTo>
                  <a:lnTo>
                    <a:pt x="598539" y="206324"/>
                  </a:lnTo>
                  <a:lnTo>
                    <a:pt x="598590" y="206324"/>
                  </a:lnTo>
                  <a:lnTo>
                    <a:pt x="598590" y="203594"/>
                  </a:lnTo>
                  <a:lnTo>
                    <a:pt x="598691" y="204292"/>
                  </a:lnTo>
                  <a:lnTo>
                    <a:pt x="598691" y="202260"/>
                  </a:lnTo>
                  <a:lnTo>
                    <a:pt x="598691" y="204292"/>
                  </a:lnTo>
                  <a:lnTo>
                    <a:pt x="598691" y="203594"/>
                  </a:lnTo>
                  <a:lnTo>
                    <a:pt x="598691" y="204292"/>
                  </a:lnTo>
                  <a:lnTo>
                    <a:pt x="598742" y="203594"/>
                  </a:lnTo>
                  <a:lnTo>
                    <a:pt x="598742" y="204292"/>
                  </a:lnTo>
                  <a:lnTo>
                    <a:pt x="598742" y="202959"/>
                  </a:lnTo>
                  <a:lnTo>
                    <a:pt x="598742" y="203594"/>
                  </a:lnTo>
                  <a:lnTo>
                    <a:pt x="598742" y="202959"/>
                  </a:lnTo>
                  <a:lnTo>
                    <a:pt x="598742" y="206324"/>
                  </a:lnTo>
                  <a:lnTo>
                    <a:pt x="598793" y="206324"/>
                  </a:lnTo>
                  <a:lnTo>
                    <a:pt x="598793" y="204292"/>
                  </a:lnTo>
                  <a:lnTo>
                    <a:pt x="598793" y="207022"/>
                  </a:lnTo>
                  <a:lnTo>
                    <a:pt x="598894" y="206324"/>
                  </a:lnTo>
                  <a:lnTo>
                    <a:pt x="598894" y="207022"/>
                  </a:lnTo>
                  <a:lnTo>
                    <a:pt x="598894" y="204990"/>
                  </a:lnTo>
                  <a:lnTo>
                    <a:pt x="598894" y="206324"/>
                  </a:lnTo>
                  <a:lnTo>
                    <a:pt x="598894" y="204990"/>
                  </a:lnTo>
                  <a:lnTo>
                    <a:pt x="598894" y="206324"/>
                  </a:lnTo>
                  <a:lnTo>
                    <a:pt x="598894" y="204990"/>
                  </a:lnTo>
                  <a:lnTo>
                    <a:pt x="598894" y="206324"/>
                  </a:lnTo>
                  <a:lnTo>
                    <a:pt x="598945" y="206324"/>
                  </a:lnTo>
                  <a:lnTo>
                    <a:pt x="598945" y="204990"/>
                  </a:lnTo>
                  <a:lnTo>
                    <a:pt x="598945" y="206324"/>
                  </a:lnTo>
                  <a:lnTo>
                    <a:pt x="598945" y="204990"/>
                  </a:lnTo>
                  <a:lnTo>
                    <a:pt x="598945" y="206324"/>
                  </a:lnTo>
                  <a:lnTo>
                    <a:pt x="598996" y="206324"/>
                  </a:lnTo>
                  <a:lnTo>
                    <a:pt x="598996" y="204990"/>
                  </a:lnTo>
                  <a:lnTo>
                    <a:pt x="598996" y="207022"/>
                  </a:lnTo>
                  <a:lnTo>
                    <a:pt x="598996" y="206324"/>
                  </a:lnTo>
                  <a:lnTo>
                    <a:pt x="598996" y="207022"/>
                  </a:lnTo>
                  <a:lnTo>
                    <a:pt x="598996" y="206324"/>
                  </a:lnTo>
                  <a:lnTo>
                    <a:pt x="598996" y="207022"/>
                  </a:lnTo>
                  <a:lnTo>
                    <a:pt x="599034" y="207022"/>
                  </a:lnTo>
                  <a:lnTo>
                    <a:pt x="599034" y="206324"/>
                  </a:lnTo>
                  <a:lnTo>
                    <a:pt x="599034" y="207022"/>
                  </a:lnTo>
                  <a:lnTo>
                    <a:pt x="599034" y="204990"/>
                  </a:lnTo>
                  <a:lnTo>
                    <a:pt x="599136" y="204990"/>
                  </a:lnTo>
                  <a:lnTo>
                    <a:pt x="599136" y="206324"/>
                  </a:lnTo>
                  <a:lnTo>
                    <a:pt x="599136" y="203594"/>
                  </a:lnTo>
                  <a:lnTo>
                    <a:pt x="599187" y="203594"/>
                  </a:lnTo>
                  <a:lnTo>
                    <a:pt x="599187" y="202959"/>
                  </a:lnTo>
                  <a:lnTo>
                    <a:pt x="599187" y="203594"/>
                  </a:lnTo>
                  <a:lnTo>
                    <a:pt x="599187" y="202959"/>
                  </a:lnTo>
                  <a:lnTo>
                    <a:pt x="599187" y="203594"/>
                  </a:lnTo>
                  <a:lnTo>
                    <a:pt x="599187" y="202260"/>
                  </a:lnTo>
                  <a:lnTo>
                    <a:pt x="599187" y="204292"/>
                  </a:lnTo>
                  <a:lnTo>
                    <a:pt x="599187" y="203594"/>
                  </a:lnTo>
                  <a:lnTo>
                    <a:pt x="599237" y="204292"/>
                  </a:lnTo>
                  <a:lnTo>
                    <a:pt x="599237" y="202260"/>
                  </a:lnTo>
                  <a:lnTo>
                    <a:pt x="599237" y="206324"/>
                  </a:lnTo>
                  <a:lnTo>
                    <a:pt x="599237" y="204990"/>
                  </a:lnTo>
                  <a:lnTo>
                    <a:pt x="599339" y="204990"/>
                  </a:lnTo>
                  <a:lnTo>
                    <a:pt x="599339" y="204292"/>
                  </a:lnTo>
                  <a:lnTo>
                    <a:pt x="599339" y="204990"/>
                  </a:lnTo>
                  <a:lnTo>
                    <a:pt x="599390" y="204990"/>
                  </a:lnTo>
                  <a:lnTo>
                    <a:pt x="599390" y="204292"/>
                  </a:lnTo>
                  <a:lnTo>
                    <a:pt x="599390" y="204990"/>
                  </a:lnTo>
                  <a:lnTo>
                    <a:pt x="599390" y="204292"/>
                  </a:lnTo>
                  <a:lnTo>
                    <a:pt x="599390" y="206324"/>
                  </a:lnTo>
                  <a:lnTo>
                    <a:pt x="599390" y="204990"/>
                  </a:lnTo>
                  <a:lnTo>
                    <a:pt x="599441" y="204990"/>
                  </a:lnTo>
                  <a:lnTo>
                    <a:pt x="599441" y="206324"/>
                  </a:lnTo>
                  <a:lnTo>
                    <a:pt x="599441" y="204990"/>
                  </a:lnTo>
                  <a:lnTo>
                    <a:pt x="599441" y="206324"/>
                  </a:lnTo>
                  <a:lnTo>
                    <a:pt x="599441" y="204990"/>
                  </a:lnTo>
                  <a:lnTo>
                    <a:pt x="599491" y="204990"/>
                  </a:lnTo>
                  <a:lnTo>
                    <a:pt x="599491" y="207022"/>
                  </a:lnTo>
                  <a:lnTo>
                    <a:pt x="599491" y="206324"/>
                  </a:lnTo>
                  <a:lnTo>
                    <a:pt x="599491" y="207022"/>
                  </a:lnTo>
                  <a:lnTo>
                    <a:pt x="599491" y="204990"/>
                  </a:lnTo>
                  <a:lnTo>
                    <a:pt x="599491" y="206324"/>
                  </a:lnTo>
                  <a:lnTo>
                    <a:pt x="599580" y="206324"/>
                  </a:lnTo>
                  <a:lnTo>
                    <a:pt x="599580" y="207022"/>
                  </a:lnTo>
                  <a:lnTo>
                    <a:pt x="599580" y="206324"/>
                  </a:lnTo>
                  <a:lnTo>
                    <a:pt x="599631" y="204990"/>
                  </a:lnTo>
                  <a:lnTo>
                    <a:pt x="599631" y="203594"/>
                  </a:lnTo>
                  <a:lnTo>
                    <a:pt x="599631" y="204292"/>
                  </a:lnTo>
                  <a:lnTo>
                    <a:pt x="599631" y="203594"/>
                  </a:lnTo>
                  <a:lnTo>
                    <a:pt x="599682" y="202959"/>
                  </a:lnTo>
                  <a:lnTo>
                    <a:pt x="599682" y="203594"/>
                  </a:lnTo>
                  <a:lnTo>
                    <a:pt x="599682" y="202260"/>
                  </a:lnTo>
                  <a:lnTo>
                    <a:pt x="599682" y="203594"/>
                  </a:lnTo>
                  <a:lnTo>
                    <a:pt x="599682" y="200228"/>
                  </a:lnTo>
                  <a:lnTo>
                    <a:pt x="599733" y="200876"/>
                  </a:lnTo>
                  <a:lnTo>
                    <a:pt x="599733" y="203594"/>
                  </a:lnTo>
                  <a:lnTo>
                    <a:pt x="599733" y="200876"/>
                  </a:lnTo>
                  <a:lnTo>
                    <a:pt x="599733" y="203594"/>
                  </a:lnTo>
                  <a:lnTo>
                    <a:pt x="599834" y="203594"/>
                  </a:lnTo>
                  <a:lnTo>
                    <a:pt x="599834" y="202959"/>
                  </a:lnTo>
                  <a:lnTo>
                    <a:pt x="599834" y="204292"/>
                  </a:lnTo>
                  <a:lnTo>
                    <a:pt x="599885" y="204292"/>
                  </a:lnTo>
                  <a:lnTo>
                    <a:pt x="599885" y="203594"/>
                  </a:lnTo>
                  <a:lnTo>
                    <a:pt x="599885" y="204292"/>
                  </a:lnTo>
                  <a:lnTo>
                    <a:pt x="599885" y="203594"/>
                  </a:lnTo>
                  <a:lnTo>
                    <a:pt x="599885" y="204292"/>
                  </a:lnTo>
                  <a:lnTo>
                    <a:pt x="599936" y="204292"/>
                  </a:lnTo>
                  <a:lnTo>
                    <a:pt x="599936" y="206324"/>
                  </a:lnTo>
                  <a:lnTo>
                    <a:pt x="599936" y="204990"/>
                  </a:lnTo>
                  <a:lnTo>
                    <a:pt x="600037" y="204990"/>
                  </a:lnTo>
                  <a:lnTo>
                    <a:pt x="600037" y="206324"/>
                  </a:lnTo>
                  <a:lnTo>
                    <a:pt x="600037" y="204990"/>
                  </a:lnTo>
                  <a:lnTo>
                    <a:pt x="600037" y="207022"/>
                  </a:lnTo>
                  <a:lnTo>
                    <a:pt x="600037" y="206324"/>
                  </a:lnTo>
                  <a:lnTo>
                    <a:pt x="600037" y="207022"/>
                  </a:lnTo>
                  <a:lnTo>
                    <a:pt x="600037" y="206324"/>
                  </a:lnTo>
                  <a:lnTo>
                    <a:pt x="600076" y="206324"/>
                  </a:lnTo>
                  <a:lnTo>
                    <a:pt x="600076" y="207022"/>
                  </a:lnTo>
                  <a:lnTo>
                    <a:pt x="600076" y="206324"/>
                  </a:lnTo>
                  <a:lnTo>
                    <a:pt x="600126" y="206324"/>
                  </a:lnTo>
                  <a:lnTo>
                    <a:pt x="600126" y="204292"/>
                  </a:lnTo>
                  <a:lnTo>
                    <a:pt x="600177" y="204292"/>
                  </a:lnTo>
                  <a:lnTo>
                    <a:pt x="600177" y="202959"/>
                  </a:lnTo>
                  <a:lnTo>
                    <a:pt x="600177" y="204292"/>
                  </a:lnTo>
                  <a:lnTo>
                    <a:pt x="600279" y="204292"/>
                  </a:lnTo>
                  <a:lnTo>
                    <a:pt x="600279" y="202260"/>
                  </a:lnTo>
                  <a:lnTo>
                    <a:pt x="600279" y="204990"/>
                  </a:lnTo>
                  <a:lnTo>
                    <a:pt x="600330" y="204292"/>
                  </a:lnTo>
                  <a:lnTo>
                    <a:pt x="600330" y="202959"/>
                  </a:lnTo>
                  <a:lnTo>
                    <a:pt x="600330" y="204292"/>
                  </a:lnTo>
                  <a:lnTo>
                    <a:pt x="600330" y="203594"/>
                  </a:lnTo>
                  <a:lnTo>
                    <a:pt x="600380" y="203594"/>
                  </a:lnTo>
                  <a:lnTo>
                    <a:pt x="600380" y="202959"/>
                  </a:lnTo>
                  <a:lnTo>
                    <a:pt x="600380" y="203594"/>
                  </a:lnTo>
                  <a:lnTo>
                    <a:pt x="600482" y="203594"/>
                  </a:lnTo>
                  <a:lnTo>
                    <a:pt x="600482" y="204292"/>
                  </a:lnTo>
                  <a:lnTo>
                    <a:pt x="600482" y="203594"/>
                  </a:lnTo>
                  <a:lnTo>
                    <a:pt x="600482" y="204990"/>
                  </a:lnTo>
                  <a:lnTo>
                    <a:pt x="600533" y="204990"/>
                  </a:lnTo>
                  <a:lnTo>
                    <a:pt x="600533" y="204292"/>
                  </a:lnTo>
                  <a:lnTo>
                    <a:pt x="600533" y="206324"/>
                  </a:lnTo>
                  <a:lnTo>
                    <a:pt x="600533" y="204292"/>
                  </a:lnTo>
                  <a:lnTo>
                    <a:pt x="600533" y="204990"/>
                  </a:lnTo>
                  <a:lnTo>
                    <a:pt x="600583" y="204990"/>
                  </a:lnTo>
                  <a:lnTo>
                    <a:pt x="600583" y="204292"/>
                  </a:lnTo>
                  <a:lnTo>
                    <a:pt x="600583" y="204990"/>
                  </a:lnTo>
                  <a:lnTo>
                    <a:pt x="600583" y="204292"/>
                  </a:lnTo>
                  <a:lnTo>
                    <a:pt x="600583" y="204990"/>
                  </a:lnTo>
                  <a:lnTo>
                    <a:pt x="600583" y="204292"/>
                  </a:lnTo>
                  <a:lnTo>
                    <a:pt x="600583" y="204990"/>
                  </a:lnTo>
                  <a:lnTo>
                    <a:pt x="600622" y="204990"/>
                  </a:lnTo>
                  <a:lnTo>
                    <a:pt x="600622" y="204292"/>
                  </a:lnTo>
                  <a:lnTo>
                    <a:pt x="600622" y="204990"/>
                  </a:lnTo>
                  <a:lnTo>
                    <a:pt x="600622" y="203594"/>
                  </a:lnTo>
                  <a:lnTo>
                    <a:pt x="600622" y="204292"/>
                  </a:lnTo>
                  <a:lnTo>
                    <a:pt x="600723" y="204990"/>
                  </a:lnTo>
                  <a:lnTo>
                    <a:pt x="600723" y="206324"/>
                  </a:lnTo>
                  <a:lnTo>
                    <a:pt x="600723" y="204292"/>
                  </a:lnTo>
                  <a:lnTo>
                    <a:pt x="600723" y="207022"/>
                  </a:lnTo>
                  <a:lnTo>
                    <a:pt x="600774" y="207721"/>
                  </a:lnTo>
                  <a:lnTo>
                    <a:pt x="600774" y="208407"/>
                  </a:lnTo>
                  <a:lnTo>
                    <a:pt x="600774" y="206324"/>
                  </a:lnTo>
                  <a:lnTo>
                    <a:pt x="600774" y="207022"/>
                  </a:lnTo>
                  <a:lnTo>
                    <a:pt x="600774" y="204990"/>
                  </a:lnTo>
                  <a:lnTo>
                    <a:pt x="600774" y="207022"/>
                  </a:lnTo>
                  <a:lnTo>
                    <a:pt x="600825" y="207022"/>
                  </a:lnTo>
                  <a:lnTo>
                    <a:pt x="600825" y="207721"/>
                  </a:lnTo>
                  <a:lnTo>
                    <a:pt x="600825" y="206324"/>
                  </a:lnTo>
                  <a:lnTo>
                    <a:pt x="600825" y="207022"/>
                  </a:lnTo>
                  <a:lnTo>
                    <a:pt x="600825" y="206324"/>
                  </a:lnTo>
                  <a:lnTo>
                    <a:pt x="600825" y="207022"/>
                  </a:lnTo>
                  <a:lnTo>
                    <a:pt x="600926" y="207022"/>
                  </a:lnTo>
                  <a:lnTo>
                    <a:pt x="600926" y="206324"/>
                  </a:lnTo>
                  <a:lnTo>
                    <a:pt x="600926" y="207022"/>
                  </a:lnTo>
                  <a:lnTo>
                    <a:pt x="600977" y="207022"/>
                  </a:lnTo>
                  <a:lnTo>
                    <a:pt x="600977" y="206324"/>
                  </a:lnTo>
                  <a:lnTo>
                    <a:pt x="600977" y="207022"/>
                  </a:lnTo>
                  <a:lnTo>
                    <a:pt x="600977" y="206324"/>
                  </a:lnTo>
                  <a:lnTo>
                    <a:pt x="601028" y="206324"/>
                  </a:lnTo>
                  <a:lnTo>
                    <a:pt x="601028" y="204990"/>
                  </a:lnTo>
                  <a:lnTo>
                    <a:pt x="601028" y="206324"/>
                  </a:lnTo>
                  <a:lnTo>
                    <a:pt x="601028" y="204990"/>
                  </a:lnTo>
                  <a:lnTo>
                    <a:pt x="601079" y="204990"/>
                  </a:lnTo>
                  <a:lnTo>
                    <a:pt x="601079" y="206324"/>
                  </a:lnTo>
                  <a:lnTo>
                    <a:pt x="601079" y="204292"/>
                  </a:lnTo>
                  <a:lnTo>
                    <a:pt x="601168" y="204292"/>
                  </a:lnTo>
                  <a:lnTo>
                    <a:pt x="601168" y="203594"/>
                  </a:lnTo>
                  <a:lnTo>
                    <a:pt x="601168" y="204292"/>
                  </a:lnTo>
                  <a:lnTo>
                    <a:pt x="601168" y="203594"/>
                  </a:lnTo>
                  <a:lnTo>
                    <a:pt x="601168" y="204990"/>
                  </a:lnTo>
                  <a:lnTo>
                    <a:pt x="601218" y="204990"/>
                  </a:lnTo>
                  <a:lnTo>
                    <a:pt x="601218" y="204292"/>
                  </a:lnTo>
                  <a:lnTo>
                    <a:pt x="601218" y="207022"/>
                  </a:lnTo>
                  <a:lnTo>
                    <a:pt x="601269" y="207022"/>
                  </a:lnTo>
                  <a:lnTo>
                    <a:pt x="601269" y="206324"/>
                  </a:lnTo>
                  <a:lnTo>
                    <a:pt x="601269" y="207022"/>
                  </a:lnTo>
                  <a:lnTo>
                    <a:pt x="601269" y="206324"/>
                  </a:lnTo>
                  <a:lnTo>
                    <a:pt x="601269" y="207022"/>
                  </a:lnTo>
                  <a:lnTo>
                    <a:pt x="601269" y="206324"/>
                  </a:lnTo>
                  <a:lnTo>
                    <a:pt x="601269" y="207022"/>
                  </a:lnTo>
                  <a:lnTo>
                    <a:pt x="601320" y="207022"/>
                  </a:lnTo>
                  <a:lnTo>
                    <a:pt x="601320" y="206324"/>
                  </a:lnTo>
                  <a:lnTo>
                    <a:pt x="601320" y="207022"/>
                  </a:lnTo>
                  <a:lnTo>
                    <a:pt x="601320" y="206324"/>
                  </a:lnTo>
                  <a:lnTo>
                    <a:pt x="601320" y="207022"/>
                  </a:lnTo>
                  <a:lnTo>
                    <a:pt x="601320" y="206324"/>
                  </a:lnTo>
                  <a:lnTo>
                    <a:pt x="601422" y="207022"/>
                  </a:lnTo>
                  <a:lnTo>
                    <a:pt x="601422" y="206324"/>
                  </a:lnTo>
                  <a:lnTo>
                    <a:pt x="601422" y="207022"/>
                  </a:lnTo>
                  <a:lnTo>
                    <a:pt x="601472" y="207022"/>
                  </a:lnTo>
                  <a:lnTo>
                    <a:pt x="601472" y="207721"/>
                  </a:lnTo>
                  <a:lnTo>
                    <a:pt x="601472" y="206324"/>
                  </a:lnTo>
                  <a:lnTo>
                    <a:pt x="601472" y="207022"/>
                  </a:lnTo>
                  <a:lnTo>
                    <a:pt x="601472" y="206324"/>
                  </a:lnTo>
                  <a:lnTo>
                    <a:pt x="601523" y="206324"/>
                  </a:lnTo>
                  <a:lnTo>
                    <a:pt x="601523" y="204990"/>
                  </a:lnTo>
                  <a:lnTo>
                    <a:pt x="601625" y="204990"/>
                  </a:lnTo>
                  <a:lnTo>
                    <a:pt x="601625" y="204292"/>
                  </a:lnTo>
                  <a:lnTo>
                    <a:pt x="601625" y="204990"/>
                  </a:lnTo>
                  <a:lnTo>
                    <a:pt x="601625" y="202959"/>
                  </a:lnTo>
                  <a:lnTo>
                    <a:pt x="601663" y="202959"/>
                  </a:lnTo>
                  <a:lnTo>
                    <a:pt x="601663" y="202260"/>
                  </a:lnTo>
                  <a:lnTo>
                    <a:pt x="601663" y="204292"/>
                  </a:lnTo>
                  <a:lnTo>
                    <a:pt x="601714" y="203594"/>
                  </a:lnTo>
                  <a:lnTo>
                    <a:pt x="601714" y="202959"/>
                  </a:lnTo>
                  <a:lnTo>
                    <a:pt x="601714" y="206324"/>
                  </a:lnTo>
                  <a:lnTo>
                    <a:pt x="601714" y="204292"/>
                  </a:lnTo>
                  <a:lnTo>
                    <a:pt x="601765" y="204292"/>
                  </a:lnTo>
                  <a:lnTo>
                    <a:pt x="601765" y="206324"/>
                  </a:lnTo>
                  <a:lnTo>
                    <a:pt x="601765" y="204990"/>
                  </a:lnTo>
                  <a:lnTo>
                    <a:pt x="601765" y="206324"/>
                  </a:lnTo>
                  <a:lnTo>
                    <a:pt x="601765" y="204990"/>
                  </a:lnTo>
                  <a:lnTo>
                    <a:pt x="601866" y="204990"/>
                  </a:lnTo>
                  <a:lnTo>
                    <a:pt x="601866" y="206324"/>
                  </a:lnTo>
                  <a:lnTo>
                    <a:pt x="601866" y="204990"/>
                  </a:lnTo>
                  <a:lnTo>
                    <a:pt x="601866" y="207022"/>
                  </a:lnTo>
                  <a:lnTo>
                    <a:pt x="601866" y="206324"/>
                  </a:lnTo>
                  <a:lnTo>
                    <a:pt x="601866" y="207022"/>
                  </a:lnTo>
                  <a:lnTo>
                    <a:pt x="601917" y="207022"/>
                  </a:lnTo>
                  <a:lnTo>
                    <a:pt x="601917" y="206324"/>
                  </a:lnTo>
                  <a:lnTo>
                    <a:pt x="601917" y="207721"/>
                  </a:lnTo>
                  <a:lnTo>
                    <a:pt x="601917" y="207022"/>
                  </a:lnTo>
                  <a:lnTo>
                    <a:pt x="601968" y="207721"/>
                  </a:lnTo>
                  <a:lnTo>
                    <a:pt x="601968" y="207022"/>
                  </a:lnTo>
                  <a:lnTo>
                    <a:pt x="601968" y="207721"/>
                  </a:lnTo>
                  <a:lnTo>
                    <a:pt x="601968" y="207022"/>
                  </a:lnTo>
                  <a:lnTo>
                    <a:pt x="602069" y="207022"/>
                  </a:lnTo>
                  <a:lnTo>
                    <a:pt x="602069" y="204990"/>
                  </a:lnTo>
                  <a:lnTo>
                    <a:pt x="602069" y="206324"/>
                  </a:lnTo>
                  <a:lnTo>
                    <a:pt x="602069" y="204990"/>
                  </a:lnTo>
                  <a:lnTo>
                    <a:pt x="602069" y="206324"/>
                  </a:lnTo>
                  <a:lnTo>
                    <a:pt x="602069" y="204990"/>
                  </a:lnTo>
                  <a:lnTo>
                    <a:pt x="602120" y="204990"/>
                  </a:lnTo>
                  <a:lnTo>
                    <a:pt x="602120" y="203594"/>
                  </a:lnTo>
                  <a:lnTo>
                    <a:pt x="602120" y="204292"/>
                  </a:lnTo>
                  <a:lnTo>
                    <a:pt x="602120" y="202959"/>
                  </a:lnTo>
                  <a:lnTo>
                    <a:pt x="602171" y="202959"/>
                  </a:lnTo>
                  <a:lnTo>
                    <a:pt x="602171" y="204292"/>
                  </a:lnTo>
                  <a:lnTo>
                    <a:pt x="602171" y="202959"/>
                  </a:lnTo>
                  <a:lnTo>
                    <a:pt x="602171" y="203594"/>
                  </a:lnTo>
                  <a:lnTo>
                    <a:pt x="602209" y="203594"/>
                  </a:lnTo>
                  <a:lnTo>
                    <a:pt x="602209" y="206324"/>
                  </a:lnTo>
                  <a:lnTo>
                    <a:pt x="602209" y="204990"/>
                  </a:lnTo>
                  <a:lnTo>
                    <a:pt x="602209" y="206324"/>
                  </a:lnTo>
                  <a:lnTo>
                    <a:pt x="602209" y="204292"/>
                  </a:lnTo>
                  <a:lnTo>
                    <a:pt x="602311" y="204292"/>
                  </a:lnTo>
                  <a:lnTo>
                    <a:pt x="602311" y="204990"/>
                  </a:lnTo>
                  <a:lnTo>
                    <a:pt x="602311" y="204292"/>
                  </a:lnTo>
                  <a:lnTo>
                    <a:pt x="602311" y="204990"/>
                  </a:lnTo>
                  <a:lnTo>
                    <a:pt x="602311" y="204292"/>
                  </a:lnTo>
                  <a:lnTo>
                    <a:pt x="602311" y="204990"/>
                  </a:lnTo>
                  <a:lnTo>
                    <a:pt x="602362" y="206324"/>
                  </a:lnTo>
                  <a:lnTo>
                    <a:pt x="602362" y="204990"/>
                  </a:lnTo>
                  <a:lnTo>
                    <a:pt x="602362" y="206324"/>
                  </a:lnTo>
                  <a:lnTo>
                    <a:pt x="602412" y="206324"/>
                  </a:lnTo>
                  <a:lnTo>
                    <a:pt x="602412" y="207022"/>
                  </a:lnTo>
                  <a:lnTo>
                    <a:pt x="602412" y="206324"/>
                  </a:lnTo>
                  <a:lnTo>
                    <a:pt x="602412" y="207022"/>
                  </a:lnTo>
                  <a:lnTo>
                    <a:pt x="602514" y="206324"/>
                  </a:lnTo>
                  <a:lnTo>
                    <a:pt x="602514" y="207022"/>
                  </a:lnTo>
                  <a:lnTo>
                    <a:pt x="602514" y="206324"/>
                  </a:lnTo>
                  <a:lnTo>
                    <a:pt x="602565" y="204990"/>
                  </a:lnTo>
                  <a:lnTo>
                    <a:pt x="602565" y="206324"/>
                  </a:lnTo>
                  <a:lnTo>
                    <a:pt x="602565" y="204990"/>
                  </a:lnTo>
                  <a:lnTo>
                    <a:pt x="602565" y="206324"/>
                  </a:lnTo>
                  <a:lnTo>
                    <a:pt x="602565" y="204990"/>
                  </a:lnTo>
                  <a:lnTo>
                    <a:pt x="602616" y="204292"/>
                  </a:lnTo>
                  <a:lnTo>
                    <a:pt x="602616" y="204990"/>
                  </a:lnTo>
                  <a:lnTo>
                    <a:pt x="602616" y="203594"/>
                  </a:lnTo>
                  <a:lnTo>
                    <a:pt x="602616" y="204292"/>
                  </a:lnTo>
                  <a:lnTo>
                    <a:pt x="602616" y="202959"/>
                  </a:lnTo>
                  <a:lnTo>
                    <a:pt x="602616" y="203594"/>
                  </a:lnTo>
                  <a:lnTo>
                    <a:pt x="602616" y="202959"/>
                  </a:lnTo>
                  <a:lnTo>
                    <a:pt x="602666" y="202959"/>
                  </a:lnTo>
                  <a:lnTo>
                    <a:pt x="602666" y="203594"/>
                  </a:lnTo>
                  <a:lnTo>
                    <a:pt x="602666" y="202959"/>
                  </a:lnTo>
                  <a:lnTo>
                    <a:pt x="602666" y="203594"/>
                  </a:lnTo>
                  <a:lnTo>
                    <a:pt x="602755" y="203594"/>
                  </a:lnTo>
                  <a:lnTo>
                    <a:pt x="602755" y="204990"/>
                  </a:lnTo>
                  <a:lnTo>
                    <a:pt x="602755" y="203594"/>
                  </a:lnTo>
                  <a:lnTo>
                    <a:pt x="602755" y="204292"/>
                  </a:lnTo>
                  <a:lnTo>
                    <a:pt x="602806" y="204292"/>
                  </a:lnTo>
                  <a:lnTo>
                    <a:pt x="602806" y="204990"/>
                  </a:lnTo>
                  <a:lnTo>
                    <a:pt x="602806" y="204292"/>
                  </a:lnTo>
                  <a:lnTo>
                    <a:pt x="602806" y="204990"/>
                  </a:lnTo>
                  <a:lnTo>
                    <a:pt x="602857" y="204990"/>
                  </a:lnTo>
                  <a:lnTo>
                    <a:pt x="602857" y="204292"/>
                  </a:lnTo>
                  <a:lnTo>
                    <a:pt x="602857" y="206324"/>
                  </a:lnTo>
                  <a:lnTo>
                    <a:pt x="602857" y="204990"/>
                  </a:lnTo>
                  <a:lnTo>
                    <a:pt x="602908" y="204990"/>
                  </a:lnTo>
                  <a:lnTo>
                    <a:pt x="602908" y="206324"/>
                  </a:lnTo>
                  <a:lnTo>
                    <a:pt x="602908" y="204990"/>
                  </a:lnTo>
                  <a:lnTo>
                    <a:pt x="602908" y="206324"/>
                  </a:lnTo>
                  <a:lnTo>
                    <a:pt x="602908" y="204990"/>
                  </a:lnTo>
                  <a:lnTo>
                    <a:pt x="602908" y="206324"/>
                  </a:lnTo>
                  <a:lnTo>
                    <a:pt x="602908" y="204990"/>
                  </a:lnTo>
                  <a:lnTo>
                    <a:pt x="602908" y="207022"/>
                  </a:lnTo>
                  <a:lnTo>
                    <a:pt x="602908" y="206324"/>
                  </a:lnTo>
                  <a:lnTo>
                    <a:pt x="603009" y="206324"/>
                  </a:lnTo>
                  <a:lnTo>
                    <a:pt x="603009" y="204292"/>
                  </a:lnTo>
                  <a:lnTo>
                    <a:pt x="603009" y="204990"/>
                  </a:lnTo>
                  <a:lnTo>
                    <a:pt x="603009" y="204292"/>
                  </a:lnTo>
                  <a:lnTo>
                    <a:pt x="603060" y="204990"/>
                  </a:lnTo>
                  <a:lnTo>
                    <a:pt x="603060" y="203594"/>
                  </a:lnTo>
                  <a:lnTo>
                    <a:pt x="603060" y="204292"/>
                  </a:lnTo>
                  <a:lnTo>
                    <a:pt x="603060" y="203594"/>
                  </a:lnTo>
                  <a:lnTo>
                    <a:pt x="603111" y="203594"/>
                  </a:lnTo>
                  <a:lnTo>
                    <a:pt x="603111" y="202959"/>
                  </a:lnTo>
                  <a:lnTo>
                    <a:pt x="603111" y="203594"/>
                  </a:lnTo>
                  <a:lnTo>
                    <a:pt x="603111" y="202260"/>
                  </a:lnTo>
                  <a:lnTo>
                    <a:pt x="603212" y="202959"/>
                  </a:lnTo>
                  <a:lnTo>
                    <a:pt x="603212" y="203594"/>
                  </a:lnTo>
                  <a:lnTo>
                    <a:pt x="603212" y="200876"/>
                  </a:lnTo>
                  <a:lnTo>
                    <a:pt x="603212" y="202260"/>
                  </a:lnTo>
                  <a:lnTo>
                    <a:pt x="603251" y="202959"/>
                  </a:lnTo>
                  <a:lnTo>
                    <a:pt x="603251" y="203594"/>
                  </a:lnTo>
                  <a:lnTo>
                    <a:pt x="603251" y="202959"/>
                  </a:lnTo>
                  <a:lnTo>
                    <a:pt x="603251" y="203594"/>
                  </a:lnTo>
                  <a:lnTo>
                    <a:pt x="603251" y="202260"/>
                  </a:lnTo>
                  <a:lnTo>
                    <a:pt x="603251" y="203594"/>
                  </a:lnTo>
                  <a:lnTo>
                    <a:pt x="603301" y="203594"/>
                  </a:lnTo>
                  <a:lnTo>
                    <a:pt x="603301" y="202959"/>
                  </a:lnTo>
                  <a:lnTo>
                    <a:pt x="603301" y="203594"/>
                  </a:lnTo>
                  <a:lnTo>
                    <a:pt x="603301" y="202959"/>
                  </a:lnTo>
                  <a:lnTo>
                    <a:pt x="603301" y="203594"/>
                  </a:lnTo>
                  <a:lnTo>
                    <a:pt x="603352" y="203594"/>
                  </a:lnTo>
                  <a:lnTo>
                    <a:pt x="603352" y="204292"/>
                  </a:lnTo>
                  <a:lnTo>
                    <a:pt x="603352" y="203594"/>
                  </a:lnTo>
                  <a:lnTo>
                    <a:pt x="603352" y="204292"/>
                  </a:lnTo>
                  <a:lnTo>
                    <a:pt x="603454" y="204292"/>
                  </a:lnTo>
                  <a:lnTo>
                    <a:pt x="603454" y="204990"/>
                  </a:lnTo>
                  <a:lnTo>
                    <a:pt x="603454" y="204292"/>
                  </a:lnTo>
                  <a:lnTo>
                    <a:pt x="603454" y="204990"/>
                  </a:lnTo>
                  <a:lnTo>
                    <a:pt x="603454" y="204292"/>
                  </a:lnTo>
                  <a:lnTo>
                    <a:pt x="603454" y="204990"/>
                  </a:lnTo>
                  <a:lnTo>
                    <a:pt x="603454" y="204292"/>
                  </a:lnTo>
                  <a:lnTo>
                    <a:pt x="603505" y="204292"/>
                  </a:lnTo>
                  <a:lnTo>
                    <a:pt x="603505" y="204990"/>
                  </a:lnTo>
                  <a:lnTo>
                    <a:pt x="603505" y="204292"/>
                  </a:lnTo>
                  <a:lnTo>
                    <a:pt x="603505" y="204990"/>
                  </a:lnTo>
                  <a:lnTo>
                    <a:pt x="603505" y="204292"/>
                  </a:lnTo>
                  <a:lnTo>
                    <a:pt x="603505" y="204990"/>
                  </a:lnTo>
                  <a:lnTo>
                    <a:pt x="603505" y="204292"/>
                  </a:lnTo>
                  <a:lnTo>
                    <a:pt x="603657" y="204292"/>
                  </a:lnTo>
                  <a:lnTo>
                    <a:pt x="603657" y="202959"/>
                  </a:lnTo>
                  <a:lnTo>
                    <a:pt x="603657" y="204292"/>
                  </a:lnTo>
                  <a:lnTo>
                    <a:pt x="603708" y="204292"/>
                  </a:lnTo>
                  <a:lnTo>
                    <a:pt x="603708" y="202260"/>
                  </a:lnTo>
                  <a:lnTo>
                    <a:pt x="603708" y="204990"/>
                  </a:lnTo>
                  <a:lnTo>
                    <a:pt x="603708" y="204292"/>
                  </a:lnTo>
                  <a:lnTo>
                    <a:pt x="603708" y="204990"/>
                  </a:lnTo>
                  <a:lnTo>
                    <a:pt x="603708" y="204292"/>
                  </a:lnTo>
                  <a:lnTo>
                    <a:pt x="603758" y="204292"/>
                  </a:lnTo>
                  <a:lnTo>
                    <a:pt x="603758" y="202959"/>
                  </a:lnTo>
                  <a:lnTo>
                    <a:pt x="603758" y="204292"/>
                  </a:lnTo>
                  <a:lnTo>
                    <a:pt x="603797" y="204292"/>
                  </a:lnTo>
                  <a:lnTo>
                    <a:pt x="603797" y="203594"/>
                  </a:lnTo>
                  <a:lnTo>
                    <a:pt x="603797" y="204990"/>
                  </a:lnTo>
                  <a:lnTo>
                    <a:pt x="603797" y="204292"/>
                  </a:lnTo>
                  <a:lnTo>
                    <a:pt x="603898" y="204292"/>
                  </a:lnTo>
                  <a:lnTo>
                    <a:pt x="603898" y="204990"/>
                  </a:lnTo>
                  <a:lnTo>
                    <a:pt x="603949" y="204990"/>
                  </a:lnTo>
                  <a:lnTo>
                    <a:pt x="603949" y="206324"/>
                  </a:lnTo>
                  <a:lnTo>
                    <a:pt x="603949" y="204292"/>
                  </a:lnTo>
                  <a:lnTo>
                    <a:pt x="604000" y="204292"/>
                  </a:lnTo>
                  <a:lnTo>
                    <a:pt x="604000" y="206324"/>
                  </a:lnTo>
                  <a:lnTo>
                    <a:pt x="604000" y="204292"/>
                  </a:lnTo>
                  <a:lnTo>
                    <a:pt x="604000" y="204990"/>
                  </a:lnTo>
                  <a:lnTo>
                    <a:pt x="604101" y="204292"/>
                  </a:lnTo>
                  <a:lnTo>
                    <a:pt x="604101" y="204990"/>
                  </a:lnTo>
                  <a:lnTo>
                    <a:pt x="604101" y="204292"/>
                  </a:lnTo>
                  <a:lnTo>
                    <a:pt x="604152" y="203594"/>
                  </a:lnTo>
                  <a:lnTo>
                    <a:pt x="604152" y="202959"/>
                  </a:lnTo>
                  <a:lnTo>
                    <a:pt x="604152" y="203594"/>
                  </a:lnTo>
                  <a:lnTo>
                    <a:pt x="604152" y="202959"/>
                  </a:lnTo>
                  <a:lnTo>
                    <a:pt x="604152" y="203594"/>
                  </a:lnTo>
                  <a:lnTo>
                    <a:pt x="604203" y="203594"/>
                  </a:lnTo>
                  <a:lnTo>
                    <a:pt x="604203" y="204990"/>
                  </a:lnTo>
                  <a:lnTo>
                    <a:pt x="604203" y="204292"/>
                  </a:lnTo>
                  <a:lnTo>
                    <a:pt x="604254" y="204292"/>
                  </a:lnTo>
                  <a:lnTo>
                    <a:pt x="604254" y="203594"/>
                  </a:lnTo>
                  <a:lnTo>
                    <a:pt x="604254" y="204990"/>
                  </a:lnTo>
                  <a:lnTo>
                    <a:pt x="604343" y="204990"/>
                  </a:lnTo>
                  <a:lnTo>
                    <a:pt x="604343" y="204292"/>
                  </a:lnTo>
                  <a:lnTo>
                    <a:pt x="604343" y="204990"/>
                  </a:lnTo>
                  <a:lnTo>
                    <a:pt x="604393" y="204990"/>
                  </a:lnTo>
                  <a:lnTo>
                    <a:pt x="604393" y="204292"/>
                  </a:lnTo>
                  <a:lnTo>
                    <a:pt x="604393" y="204990"/>
                  </a:lnTo>
                  <a:lnTo>
                    <a:pt x="604393" y="204292"/>
                  </a:lnTo>
                  <a:lnTo>
                    <a:pt x="604393" y="204990"/>
                  </a:lnTo>
                  <a:lnTo>
                    <a:pt x="604393" y="204292"/>
                  </a:lnTo>
                  <a:lnTo>
                    <a:pt x="604444" y="204292"/>
                  </a:lnTo>
                  <a:lnTo>
                    <a:pt x="604444" y="204990"/>
                  </a:lnTo>
                  <a:lnTo>
                    <a:pt x="604444" y="204292"/>
                  </a:lnTo>
                  <a:lnTo>
                    <a:pt x="604444" y="204990"/>
                  </a:lnTo>
                  <a:lnTo>
                    <a:pt x="604444" y="204292"/>
                  </a:lnTo>
                  <a:lnTo>
                    <a:pt x="604444" y="204990"/>
                  </a:lnTo>
                  <a:lnTo>
                    <a:pt x="604444" y="204292"/>
                  </a:lnTo>
                  <a:lnTo>
                    <a:pt x="604495" y="203594"/>
                  </a:lnTo>
                  <a:lnTo>
                    <a:pt x="604495" y="204292"/>
                  </a:lnTo>
                  <a:lnTo>
                    <a:pt x="604495" y="203594"/>
                  </a:lnTo>
                  <a:lnTo>
                    <a:pt x="604495" y="204292"/>
                  </a:lnTo>
                  <a:lnTo>
                    <a:pt x="604597" y="204292"/>
                  </a:lnTo>
                  <a:lnTo>
                    <a:pt x="604597" y="202959"/>
                  </a:lnTo>
                  <a:lnTo>
                    <a:pt x="604597" y="203594"/>
                  </a:lnTo>
                  <a:lnTo>
                    <a:pt x="604597" y="202959"/>
                  </a:lnTo>
                  <a:lnTo>
                    <a:pt x="604647" y="202959"/>
                  </a:lnTo>
                  <a:lnTo>
                    <a:pt x="604647" y="202260"/>
                  </a:lnTo>
                  <a:lnTo>
                    <a:pt x="604647" y="202959"/>
                  </a:lnTo>
                  <a:lnTo>
                    <a:pt x="604647" y="202260"/>
                  </a:lnTo>
                  <a:lnTo>
                    <a:pt x="604647" y="202959"/>
                  </a:lnTo>
                  <a:lnTo>
                    <a:pt x="604647" y="202260"/>
                  </a:lnTo>
                  <a:lnTo>
                    <a:pt x="604647" y="202959"/>
                  </a:lnTo>
                  <a:lnTo>
                    <a:pt x="604698" y="202959"/>
                  </a:lnTo>
                  <a:lnTo>
                    <a:pt x="604698" y="202260"/>
                  </a:lnTo>
                  <a:lnTo>
                    <a:pt x="604698" y="203594"/>
                  </a:lnTo>
                  <a:lnTo>
                    <a:pt x="604800" y="203594"/>
                  </a:lnTo>
                  <a:lnTo>
                    <a:pt x="604800" y="202959"/>
                  </a:lnTo>
                  <a:lnTo>
                    <a:pt x="604800" y="204292"/>
                  </a:lnTo>
                  <a:lnTo>
                    <a:pt x="604838" y="204292"/>
                  </a:lnTo>
                  <a:lnTo>
                    <a:pt x="604838" y="204990"/>
                  </a:lnTo>
                  <a:lnTo>
                    <a:pt x="604838" y="204292"/>
                  </a:lnTo>
                  <a:lnTo>
                    <a:pt x="604838" y="204990"/>
                  </a:lnTo>
                  <a:lnTo>
                    <a:pt x="604838" y="204292"/>
                  </a:lnTo>
                  <a:lnTo>
                    <a:pt x="604838" y="204990"/>
                  </a:lnTo>
                  <a:lnTo>
                    <a:pt x="604838" y="204292"/>
                  </a:lnTo>
                  <a:lnTo>
                    <a:pt x="604889" y="204292"/>
                  </a:lnTo>
                  <a:lnTo>
                    <a:pt x="604889" y="204990"/>
                  </a:lnTo>
                  <a:lnTo>
                    <a:pt x="604889" y="204292"/>
                  </a:lnTo>
                  <a:lnTo>
                    <a:pt x="604889" y="204990"/>
                  </a:lnTo>
                  <a:lnTo>
                    <a:pt x="604940" y="204990"/>
                  </a:lnTo>
                  <a:lnTo>
                    <a:pt x="604940" y="204292"/>
                  </a:lnTo>
                  <a:lnTo>
                    <a:pt x="604940" y="206324"/>
                  </a:lnTo>
                  <a:lnTo>
                    <a:pt x="604940" y="204990"/>
                  </a:lnTo>
                  <a:lnTo>
                    <a:pt x="605041" y="204990"/>
                  </a:lnTo>
                  <a:lnTo>
                    <a:pt x="605041" y="204292"/>
                  </a:lnTo>
                  <a:lnTo>
                    <a:pt x="605041" y="204990"/>
                  </a:lnTo>
                  <a:lnTo>
                    <a:pt x="605041" y="204292"/>
                  </a:lnTo>
                  <a:lnTo>
                    <a:pt x="605092" y="204292"/>
                  </a:lnTo>
                  <a:lnTo>
                    <a:pt x="605092" y="202959"/>
                  </a:lnTo>
                  <a:lnTo>
                    <a:pt x="605092" y="203594"/>
                  </a:lnTo>
                  <a:lnTo>
                    <a:pt x="605092" y="202959"/>
                  </a:lnTo>
                  <a:lnTo>
                    <a:pt x="605143" y="202959"/>
                  </a:lnTo>
                  <a:lnTo>
                    <a:pt x="605143" y="200876"/>
                  </a:lnTo>
                  <a:lnTo>
                    <a:pt x="605143" y="202959"/>
                  </a:lnTo>
                  <a:lnTo>
                    <a:pt x="605244" y="202959"/>
                  </a:lnTo>
                  <a:lnTo>
                    <a:pt x="605244" y="200228"/>
                  </a:lnTo>
                  <a:lnTo>
                    <a:pt x="605244" y="204292"/>
                  </a:lnTo>
                  <a:lnTo>
                    <a:pt x="605244" y="203594"/>
                  </a:lnTo>
                  <a:lnTo>
                    <a:pt x="605295" y="203594"/>
                  </a:lnTo>
                  <a:lnTo>
                    <a:pt x="605295" y="202959"/>
                  </a:lnTo>
                  <a:lnTo>
                    <a:pt x="605295" y="204292"/>
                  </a:lnTo>
                  <a:lnTo>
                    <a:pt x="605346" y="204292"/>
                  </a:lnTo>
                  <a:lnTo>
                    <a:pt x="605346" y="203594"/>
                  </a:lnTo>
                  <a:lnTo>
                    <a:pt x="605346" y="204292"/>
                  </a:lnTo>
                  <a:lnTo>
                    <a:pt x="605384" y="204292"/>
                  </a:lnTo>
                  <a:lnTo>
                    <a:pt x="605384" y="204990"/>
                  </a:lnTo>
                  <a:lnTo>
                    <a:pt x="605384" y="204292"/>
                  </a:lnTo>
                  <a:lnTo>
                    <a:pt x="605384" y="204990"/>
                  </a:lnTo>
                  <a:lnTo>
                    <a:pt x="605486" y="204990"/>
                  </a:lnTo>
                  <a:lnTo>
                    <a:pt x="605486" y="204292"/>
                  </a:lnTo>
                  <a:lnTo>
                    <a:pt x="605486" y="204990"/>
                  </a:lnTo>
                  <a:lnTo>
                    <a:pt x="605486" y="204292"/>
                  </a:lnTo>
                  <a:lnTo>
                    <a:pt x="605486" y="204990"/>
                  </a:lnTo>
                  <a:lnTo>
                    <a:pt x="605537" y="204990"/>
                  </a:lnTo>
                  <a:lnTo>
                    <a:pt x="605537" y="204292"/>
                  </a:lnTo>
                  <a:lnTo>
                    <a:pt x="605537" y="204990"/>
                  </a:lnTo>
                  <a:lnTo>
                    <a:pt x="605537" y="204292"/>
                  </a:lnTo>
                  <a:lnTo>
                    <a:pt x="605587" y="204292"/>
                  </a:lnTo>
                  <a:lnTo>
                    <a:pt x="605587" y="204990"/>
                  </a:lnTo>
                  <a:lnTo>
                    <a:pt x="605587" y="202959"/>
                  </a:lnTo>
                  <a:lnTo>
                    <a:pt x="605689" y="202959"/>
                  </a:lnTo>
                  <a:lnTo>
                    <a:pt x="605689" y="200228"/>
                  </a:lnTo>
                  <a:lnTo>
                    <a:pt x="605689" y="202959"/>
                  </a:lnTo>
                  <a:lnTo>
                    <a:pt x="605740" y="202959"/>
                  </a:lnTo>
                  <a:lnTo>
                    <a:pt x="605740" y="200876"/>
                  </a:lnTo>
                  <a:lnTo>
                    <a:pt x="605740" y="203594"/>
                  </a:lnTo>
                  <a:lnTo>
                    <a:pt x="605791" y="203594"/>
                  </a:lnTo>
                  <a:lnTo>
                    <a:pt x="605791" y="202959"/>
                  </a:lnTo>
                  <a:lnTo>
                    <a:pt x="605791" y="204292"/>
                  </a:lnTo>
                  <a:lnTo>
                    <a:pt x="605791" y="203594"/>
                  </a:lnTo>
                  <a:lnTo>
                    <a:pt x="605841" y="204292"/>
                  </a:lnTo>
                  <a:lnTo>
                    <a:pt x="605841" y="203594"/>
                  </a:lnTo>
                  <a:lnTo>
                    <a:pt x="605841" y="204292"/>
                  </a:lnTo>
                  <a:lnTo>
                    <a:pt x="605841" y="203594"/>
                  </a:lnTo>
                  <a:lnTo>
                    <a:pt x="605841" y="204292"/>
                  </a:lnTo>
                  <a:lnTo>
                    <a:pt x="605930" y="204292"/>
                  </a:lnTo>
                  <a:lnTo>
                    <a:pt x="605930" y="203594"/>
                  </a:lnTo>
                  <a:lnTo>
                    <a:pt x="605930" y="204990"/>
                  </a:lnTo>
                  <a:lnTo>
                    <a:pt x="605930" y="204292"/>
                  </a:lnTo>
                  <a:lnTo>
                    <a:pt x="605981" y="204990"/>
                  </a:lnTo>
                  <a:lnTo>
                    <a:pt x="605981" y="206324"/>
                  </a:lnTo>
                  <a:lnTo>
                    <a:pt x="605981" y="204990"/>
                  </a:lnTo>
                  <a:lnTo>
                    <a:pt x="605981" y="206324"/>
                  </a:lnTo>
                  <a:lnTo>
                    <a:pt x="605981" y="204990"/>
                  </a:lnTo>
                  <a:lnTo>
                    <a:pt x="606032" y="204990"/>
                  </a:lnTo>
                  <a:lnTo>
                    <a:pt x="606032" y="206324"/>
                  </a:lnTo>
                  <a:lnTo>
                    <a:pt x="606032" y="204990"/>
                  </a:lnTo>
                  <a:lnTo>
                    <a:pt x="606083" y="204990"/>
                  </a:lnTo>
                  <a:lnTo>
                    <a:pt x="606083" y="204292"/>
                  </a:lnTo>
                  <a:lnTo>
                    <a:pt x="606083" y="204990"/>
                  </a:lnTo>
                  <a:lnTo>
                    <a:pt x="606083" y="203594"/>
                  </a:lnTo>
                  <a:lnTo>
                    <a:pt x="606184" y="202959"/>
                  </a:lnTo>
                  <a:lnTo>
                    <a:pt x="606184" y="202260"/>
                  </a:lnTo>
                  <a:lnTo>
                    <a:pt x="606184" y="202959"/>
                  </a:lnTo>
                  <a:lnTo>
                    <a:pt x="606184" y="202260"/>
                  </a:lnTo>
                  <a:lnTo>
                    <a:pt x="606184" y="202959"/>
                  </a:lnTo>
                  <a:lnTo>
                    <a:pt x="606235" y="202260"/>
                  </a:lnTo>
                  <a:lnTo>
                    <a:pt x="606235" y="200876"/>
                  </a:lnTo>
                  <a:lnTo>
                    <a:pt x="606235" y="203594"/>
                  </a:lnTo>
                  <a:lnTo>
                    <a:pt x="606286" y="203594"/>
                  </a:lnTo>
                  <a:lnTo>
                    <a:pt x="606286" y="202959"/>
                  </a:lnTo>
                  <a:lnTo>
                    <a:pt x="606286" y="204292"/>
                  </a:lnTo>
                  <a:lnTo>
                    <a:pt x="606387" y="203594"/>
                  </a:lnTo>
                  <a:lnTo>
                    <a:pt x="606387" y="204292"/>
                  </a:lnTo>
                  <a:lnTo>
                    <a:pt x="606387" y="203594"/>
                  </a:lnTo>
                  <a:lnTo>
                    <a:pt x="606426" y="203594"/>
                  </a:lnTo>
                  <a:lnTo>
                    <a:pt x="606426" y="204292"/>
                  </a:lnTo>
                  <a:lnTo>
                    <a:pt x="606426" y="203594"/>
                  </a:lnTo>
                  <a:lnTo>
                    <a:pt x="606426" y="204292"/>
                  </a:lnTo>
                  <a:lnTo>
                    <a:pt x="606476" y="204292"/>
                  </a:lnTo>
                  <a:lnTo>
                    <a:pt x="606476" y="203594"/>
                  </a:lnTo>
                  <a:lnTo>
                    <a:pt x="606476" y="204990"/>
                  </a:lnTo>
                  <a:lnTo>
                    <a:pt x="606476" y="204292"/>
                  </a:lnTo>
                  <a:lnTo>
                    <a:pt x="606476" y="204990"/>
                  </a:lnTo>
                  <a:lnTo>
                    <a:pt x="606527" y="206324"/>
                  </a:lnTo>
                  <a:lnTo>
                    <a:pt x="606527" y="204292"/>
                  </a:lnTo>
                  <a:lnTo>
                    <a:pt x="606527" y="204990"/>
                  </a:lnTo>
                  <a:lnTo>
                    <a:pt x="606527" y="204292"/>
                  </a:lnTo>
                  <a:lnTo>
                    <a:pt x="606629" y="204292"/>
                  </a:lnTo>
                  <a:lnTo>
                    <a:pt x="606629" y="204990"/>
                  </a:lnTo>
                  <a:lnTo>
                    <a:pt x="606629" y="202959"/>
                  </a:lnTo>
                  <a:lnTo>
                    <a:pt x="606629" y="203594"/>
                  </a:lnTo>
                  <a:lnTo>
                    <a:pt x="606680" y="203594"/>
                  </a:lnTo>
                  <a:lnTo>
                    <a:pt x="606680" y="204990"/>
                  </a:lnTo>
                  <a:lnTo>
                    <a:pt x="606680" y="204292"/>
                  </a:lnTo>
                  <a:lnTo>
                    <a:pt x="606680" y="204990"/>
                  </a:lnTo>
                  <a:lnTo>
                    <a:pt x="606680" y="202959"/>
                  </a:lnTo>
                  <a:lnTo>
                    <a:pt x="606730" y="203594"/>
                  </a:lnTo>
                  <a:lnTo>
                    <a:pt x="606730" y="207022"/>
                  </a:lnTo>
                  <a:lnTo>
                    <a:pt x="606730" y="206324"/>
                  </a:lnTo>
                  <a:lnTo>
                    <a:pt x="606730" y="207022"/>
                  </a:lnTo>
                  <a:lnTo>
                    <a:pt x="606730" y="204292"/>
                  </a:lnTo>
                  <a:lnTo>
                    <a:pt x="606730" y="204990"/>
                  </a:lnTo>
                  <a:lnTo>
                    <a:pt x="606832" y="204990"/>
                  </a:lnTo>
                  <a:lnTo>
                    <a:pt x="606832" y="206324"/>
                  </a:lnTo>
                  <a:lnTo>
                    <a:pt x="606832" y="204990"/>
                  </a:lnTo>
                  <a:lnTo>
                    <a:pt x="606832" y="206324"/>
                  </a:lnTo>
                  <a:lnTo>
                    <a:pt x="606832" y="204990"/>
                  </a:lnTo>
                  <a:lnTo>
                    <a:pt x="606883" y="204990"/>
                  </a:lnTo>
                  <a:lnTo>
                    <a:pt x="606883" y="206324"/>
                  </a:lnTo>
                  <a:lnTo>
                    <a:pt x="606883" y="204990"/>
                  </a:lnTo>
                  <a:lnTo>
                    <a:pt x="606883" y="206324"/>
                  </a:lnTo>
                  <a:lnTo>
                    <a:pt x="606883" y="204292"/>
                  </a:lnTo>
                  <a:lnTo>
                    <a:pt x="606883" y="206324"/>
                  </a:lnTo>
                  <a:lnTo>
                    <a:pt x="606933" y="206324"/>
                  </a:lnTo>
                  <a:lnTo>
                    <a:pt x="606933" y="204990"/>
                  </a:lnTo>
                  <a:lnTo>
                    <a:pt x="606933" y="207022"/>
                  </a:lnTo>
                  <a:lnTo>
                    <a:pt x="606972" y="206324"/>
                  </a:lnTo>
                  <a:lnTo>
                    <a:pt x="607073" y="206324"/>
                  </a:lnTo>
                  <a:lnTo>
                    <a:pt x="607073" y="204990"/>
                  </a:lnTo>
                  <a:lnTo>
                    <a:pt x="607124" y="206324"/>
                  </a:lnTo>
                  <a:lnTo>
                    <a:pt x="607124" y="203594"/>
                  </a:lnTo>
                  <a:lnTo>
                    <a:pt x="607124" y="204990"/>
                  </a:lnTo>
                  <a:lnTo>
                    <a:pt x="607175" y="204990"/>
                  </a:lnTo>
                  <a:lnTo>
                    <a:pt x="607175" y="204292"/>
                  </a:lnTo>
                  <a:lnTo>
                    <a:pt x="607175" y="207022"/>
                  </a:lnTo>
                  <a:lnTo>
                    <a:pt x="607276" y="207721"/>
                  </a:lnTo>
                  <a:lnTo>
                    <a:pt x="607276" y="207022"/>
                  </a:lnTo>
                  <a:lnTo>
                    <a:pt x="607276" y="207721"/>
                  </a:lnTo>
                  <a:lnTo>
                    <a:pt x="607327" y="207721"/>
                  </a:lnTo>
                  <a:lnTo>
                    <a:pt x="607327" y="206324"/>
                  </a:lnTo>
                  <a:lnTo>
                    <a:pt x="607327" y="207022"/>
                  </a:lnTo>
                  <a:lnTo>
                    <a:pt x="607378" y="207022"/>
                  </a:lnTo>
                  <a:lnTo>
                    <a:pt x="607378" y="206324"/>
                  </a:lnTo>
                  <a:lnTo>
                    <a:pt x="607378" y="207022"/>
                  </a:lnTo>
                  <a:lnTo>
                    <a:pt x="607378" y="206324"/>
                  </a:lnTo>
                  <a:lnTo>
                    <a:pt x="607429" y="206324"/>
                  </a:lnTo>
                  <a:lnTo>
                    <a:pt x="607429" y="207022"/>
                  </a:lnTo>
                  <a:lnTo>
                    <a:pt x="607429" y="206324"/>
                  </a:lnTo>
                  <a:lnTo>
                    <a:pt x="607429" y="207022"/>
                  </a:lnTo>
                  <a:lnTo>
                    <a:pt x="607429" y="206324"/>
                  </a:lnTo>
                  <a:lnTo>
                    <a:pt x="607429" y="207022"/>
                  </a:lnTo>
                  <a:lnTo>
                    <a:pt x="607518" y="206324"/>
                  </a:lnTo>
                  <a:lnTo>
                    <a:pt x="607518" y="207022"/>
                  </a:lnTo>
                  <a:lnTo>
                    <a:pt x="607518" y="204990"/>
                  </a:lnTo>
                  <a:lnTo>
                    <a:pt x="607568" y="204990"/>
                  </a:lnTo>
                  <a:lnTo>
                    <a:pt x="607568" y="204292"/>
                  </a:lnTo>
                  <a:lnTo>
                    <a:pt x="607568" y="204990"/>
                  </a:lnTo>
                  <a:lnTo>
                    <a:pt x="607568" y="203594"/>
                  </a:lnTo>
                  <a:lnTo>
                    <a:pt x="607568" y="204292"/>
                  </a:lnTo>
                  <a:lnTo>
                    <a:pt x="607619" y="204292"/>
                  </a:lnTo>
                  <a:lnTo>
                    <a:pt x="607619" y="202260"/>
                  </a:lnTo>
                  <a:lnTo>
                    <a:pt x="607619" y="204990"/>
                  </a:lnTo>
                  <a:lnTo>
                    <a:pt x="607619" y="204292"/>
                  </a:lnTo>
                  <a:lnTo>
                    <a:pt x="607670" y="204292"/>
                  </a:lnTo>
                  <a:lnTo>
                    <a:pt x="607670" y="203594"/>
                  </a:lnTo>
                  <a:lnTo>
                    <a:pt x="607670" y="207022"/>
                  </a:lnTo>
                  <a:lnTo>
                    <a:pt x="607670" y="206324"/>
                  </a:lnTo>
                  <a:lnTo>
                    <a:pt x="607772" y="206324"/>
                  </a:lnTo>
                  <a:lnTo>
                    <a:pt x="607772" y="204990"/>
                  </a:lnTo>
                  <a:lnTo>
                    <a:pt x="607772" y="207022"/>
                  </a:lnTo>
                  <a:lnTo>
                    <a:pt x="607772" y="206324"/>
                  </a:lnTo>
                  <a:lnTo>
                    <a:pt x="607822" y="206324"/>
                  </a:lnTo>
                  <a:lnTo>
                    <a:pt x="607822" y="207721"/>
                  </a:lnTo>
                  <a:lnTo>
                    <a:pt x="607822" y="207022"/>
                  </a:lnTo>
                  <a:lnTo>
                    <a:pt x="607873" y="207022"/>
                  </a:lnTo>
                  <a:lnTo>
                    <a:pt x="607873" y="206324"/>
                  </a:lnTo>
                  <a:lnTo>
                    <a:pt x="607873" y="207721"/>
                  </a:lnTo>
                  <a:lnTo>
                    <a:pt x="607873" y="207022"/>
                  </a:lnTo>
                  <a:lnTo>
                    <a:pt x="607873" y="207721"/>
                  </a:lnTo>
                  <a:lnTo>
                    <a:pt x="607873" y="207022"/>
                  </a:lnTo>
                  <a:lnTo>
                    <a:pt x="607873" y="207721"/>
                  </a:lnTo>
                  <a:lnTo>
                    <a:pt x="607975" y="207721"/>
                  </a:lnTo>
                  <a:lnTo>
                    <a:pt x="607975" y="208407"/>
                  </a:lnTo>
                  <a:lnTo>
                    <a:pt x="607975" y="207721"/>
                  </a:lnTo>
                  <a:lnTo>
                    <a:pt x="608013" y="207721"/>
                  </a:lnTo>
                  <a:lnTo>
                    <a:pt x="608013" y="206324"/>
                  </a:lnTo>
                  <a:lnTo>
                    <a:pt x="608013" y="207022"/>
                  </a:lnTo>
                  <a:lnTo>
                    <a:pt x="608013" y="206324"/>
                  </a:lnTo>
                  <a:lnTo>
                    <a:pt x="608013" y="207022"/>
                  </a:lnTo>
                  <a:lnTo>
                    <a:pt x="608013" y="206324"/>
                  </a:lnTo>
                  <a:lnTo>
                    <a:pt x="608064" y="207022"/>
                  </a:lnTo>
                  <a:lnTo>
                    <a:pt x="608064" y="204990"/>
                  </a:lnTo>
                  <a:lnTo>
                    <a:pt x="608064" y="206324"/>
                  </a:lnTo>
                  <a:lnTo>
                    <a:pt x="608064" y="204292"/>
                  </a:lnTo>
                  <a:lnTo>
                    <a:pt x="608064" y="204990"/>
                  </a:lnTo>
                  <a:lnTo>
                    <a:pt x="608064" y="203594"/>
                  </a:lnTo>
                  <a:lnTo>
                    <a:pt x="608115" y="203594"/>
                  </a:lnTo>
                  <a:lnTo>
                    <a:pt x="608115" y="204990"/>
                  </a:lnTo>
                  <a:lnTo>
                    <a:pt x="608115" y="203594"/>
                  </a:lnTo>
                  <a:lnTo>
                    <a:pt x="608216" y="203594"/>
                  </a:lnTo>
                  <a:lnTo>
                    <a:pt x="608216" y="207721"/>
                  </a:lnTo>
                  <a:lnTo>
                    <a:pt x="608216" y="204990"/>
                  </a:lnTo>
                  <a:lnTo>
                    <a:pt x="608216" y="206324"/>
                  </a:lnTo>
                  <a:lnTo>
                    <a:pt x="608267" y="204990"/>
                  </a:lnTo>
                  <a:lnTo>
                    <a:pt x="608267" y="207022"/>
                  </a:lnTo>
                  <a:lnTo>
                    <a:pt x="608267" y="206324"/>
                  </a:lnTo>
                  <a:lnTo>
                    <a:pt x="608267" y="207022"/>
                  </a:lnTo>
                  <a:lnTo>
                    <a:pt x="608267" y="206324"/>
                  </a:lnTo>
                  <a:lnTo>
                    <a:pt x="608267" y="207022"/>
                  </a:lnTo>
                  <a:lnTo>
                    <a:pt x="608267" y="204990"/>
                  </a:lnTo>
                  <a:lnTo>
                    <a:pt x="608267" y="206324"/>
                  </a:lnTo>
                  <a:lnTo>
                    <a:pt x="608267" y="204990"/>
                  </a:lnTo>
                  <a:lnTo>
                    <a:pt x="608267" y="206324"/>
                  </a:lnTo>
                  <a:lnTo>
                    <a:pt x="608318" y="206324"/>
                  </a:lnTo>
                  <a:lnTo>
                    <a:pt x="608318" y="207022"/>
                  </a:lnTo>
                  <a:lnTo>
                    <a:pt x="608318" y="206324"/>
                  </a:lnTo>
                  <a:lnTo>
                    <a:pt x="608318" y="207022"/>
                  </a:lnTo>
                  <a:lnTo>
                    <a:pt x="608318" y="206324"/>
                  </a:lnTo>
                  <a:lnTo>
                    <a:pt x="608318" y="207022"/>
                  </a:lnTo>
                  <a:lnTo>
                    <a:pt x="608419" y="207022"/>
                  </a:lnTo>
                  <a:lnTo>
                    <a:pt x="608470" y="207721"/>
                  </a:lnTo>
                  <a:lnTo>
                    <a:pt x="608470" y="207022"/>
                  </a:lnTo>
                  <a:lnTo>
                    <a:pt x="608470" y="207721"/>
                  </a:lnTo>
                  <a:lnTo>
                    <a:pt x="608470" y="207022"/>
                  </a:lnTo>
                  <a:lnTo>
                    <a:pt x="608470" y="207721"/>
                  </a:lnTo>
                  <a:lnTo>
                    <a:pt x="608470" y="207022"/>
                  </a:lnTo>
                  <a:lnTo>
                    <a:pt x="608521" y="207022"/>
                  </a:lnTo>
                  <a:lnTo>
                    <a:pt x="608521" y="204990"/>
                  </a:lnTo>
                  <a:lnTo>
                    <a:pt x="608521" y="206324"/>
                  </a:lnTo>
                  <a:lnTo>
                    <a:pt x="608521" y="204990"/>
                  </a:lnTo>
                  <a:lnTo>
                    <a:pt x="608559" y="204990"/>
                  </a:lnTo>
                  <a:lnTo>
                    <a:pt x="608559" y="206324"/>
                  </a:lnTo>
                  <a:lnTo>
                    <a:pt x="608559" y="203594"/>
                  </a:lnTo>
                  <a:lnTo>
                    <a:pt x="608661" y="203594"/>
                  </a:lnTo>
                  <a:lnTo>
                    <a:pt x="608661" y="202959"/>
                  </a:lnTo>
                  <a:lnTo>
                    <a:pt x="608661" y="204990"/>
                  </a:lnTo>
                  <a:lnTo>
                    <a:pt x="608661" y="202959"/>
                  </a:lnTo>
                  <a:lnTo>
                    <a:pt x="608712" y="202959"/>
                  </a:lnTo>
                  <a:lnTo>
                    <a:pt x="608712" y="207022"/>
                  </a:lnTo>
                  <a:lnTo>
                    <a:pt x="608712" y="204292"/>
                  </a:lnTo>
                  <a:lnTo>
                    <a:pt x="608762" y="204990"/>
                  </a:lnTo>
                  <a:lnTo>
                    <a:pt x="608762" y="206324"/>
                  </a:lnTo>
                  <a:lnTo>
                    <a:pt x="608762" y="204990"/>
                  </a:lnTo>
                  <a:lnTo>
                    <a:pt x="608762" y="206324"/>
                  </a:lnTo>
                  <a:lnTo>
                    <a:pt x="608762" y="204292"/>
                  </a:lnTo>
                  <a:lnTo>
                    <a:pt x="608762" y="204990"/>
                  </a:lnTo>
                  <a:lnTo>
                    <a:pt x="608762" y="204292"/>
                  </a:lnTo>
                  <a:lnTo>
                    <a:pt x="608762" y="204990"/>
                  </a:lnTo>
                  <a:lnTo>
                    <a:pt x="608864" y="204990"/>
                  </a:lnTo>
                  <a:lnTo>
                    <a:pt x="608864" y="206324"/>
                  </a:lnTo>
                  <a:lnTo>
                    <a:pt x="608864" y="204990"/>
                  </a:lnTo>
                  <a:lnTo>
                    <a:pt x="608864" y="206324"/>
                  </a:lnTo>
                  <a:lnTo>
                    <a:pt x="608915" y="206324"/>
                  </a:lnTo>
                  <a:lnTo>
                    <a:pt x="608915" y="207022"/>
                  </a:lnTo>
                  <a:lnTo>
                    <a:pt x="608915" y="206324"/>
                  </a:lnTo>
                  <a:lnTo>
                    <a:pt x="608915" y="207721"/>
                  </a:lnTo>
                  <a:lnTo>
                    <a:pt x="608915" y="207022"/>
                  </a:lnTo>
                  <a:lnTo>
                    <a:pt x="608915" y="207721"/>
                  </a:lnTo>
                  <a:lnTo>
                    <a:pt x="608915" y="207022"/>
                  </a:lnTo>
                  <a:lnTo>
                    <a:pt x="608966" y="207022"/>
                  </a:lnTo>
                  <a:lnTo>
                    <a:pt x="608966" y="206324"/>
                  </a:lnTo>
                  <a:lnTo>
                    <a:pt x="608966" y="207022"/>
                  </a:lnTo>
                  <a:lnTo>
                    <a:pt x="609016" y="207022"/>
                  </a:lnTo>
                  <a:lnTo>
                    <a:pt x="609016" y="206324"/>
                  </a:lnTo>
                  <a:lnTo>
                    <a:pt x="609016" y="207022"/>
                  </a:lnTo>
                  <a:lnTo>
                    <a:pt x="609016" y="206324"/>
                  </a:lnTo>
                  <a:lnTo>
                    <a:pt x="609016" y="207022"/>
                  </a:lnTo>
                  <a:lnTo>
                    <a:pt x="609016" y="204990"/>
                  </a:lnTo>
                  <a:lnTo>
                    <a:pt x="609105" y="204990"/>
                  </a:lnTo>
                  <a:lnTo>
                    <a:pt x="609105" y="204292"/>
                  </a:lnTo>
                  <a:lnTo>
                    <a:pt x="609105" y="204990"/>
                  </a:lnTo>
                  <a:lnTo>
                    <a:pt x="609105" y="202959"/>
                  </a:lnTo>
                  <a:lnTo>
                    <a:pt x="609156" y="202959"/>
                  </a:lnTo>
                  <a:lnTo>
                    <a:pt x="609156" y="204990"/>
                  </a:lnTo>
                  <a:lnTo>
                    <a:pt x="609156" y="202260"/>
                  </a:lnTo>
                  <a:lnTo>
                    <a:pt x="609156" y="202959"/>
                  </a:lnTo>
                  <a:lnTo>
                    <a:pt x="609207" y="203594"/>
                  </a:lnTo>
                  <a:lnTo>
                    <a:pt x="609207" y="206324"/>
                  </a:lnTo>
                  <a:lnTo>
                    <a:pt x="609207" y="203594"/>
                  </a:lnTo>
                  <a:lnTo>
                    <a:pt x="609207" y="204292"/>
                  </a:lnTo>
                  <a:lnTo>
                    <a:pt x="609258" y="204292"/>
                  </a:lnTo>
                  <a:lnTo>
                    <a:pt x="609258" y="204990"/>
                  </a:lnTo>
                  <a:lnTo>
                    <a:pt x="609258" y="203594"/>
                  </a:lnTo>
                  <a:lnTo>
                    <a:pt x="609258" y="204292"/>
                  </a:lnTo>
                  <a:lnTo>
                    <a:pt x="609359" y="204292"/>
                  </a:lnTo>
                  <a:lnTo>
                    <a:pt x="609359" y="204990"/>
                  </a:lnTo>
                  <a:lnTo>
                    <a:pt x="609359" y="204292"/>
                  </a:lnTo>
                  <a:lnTo>
                    <a:pt x="609359" y="204990"/>
                  </a:lnTo>
                  <a:lnTo>
                    <a:pt x="609410" y="204990"/>
                  </a:lnTo>
                  <a:lnTo>
                    <a:pt x="609410" y="206324"/>
                  </a:lnTo>
                  <a:lnTo>
                    <a:pt x="609410" y="204990"/>
                  </a:lnTo>
                  <a:lnTo>
                    <a:pt x="609410" y="206324"/>
                  </a:lnTo>
                  <a:lnTo>
                    <a:pt x="609410" y="204990"/>
                  </a:lnTo>
                  <a:lnTo>
                    <a:pt x="609410" y="206324"/>
                  </a:lnTo>
                  <a:lnTo>
                    <a:pt x="609461" y="206324"/>
                  </a:lnTo>
                  <a:lnTo>
                    <a:pt x="609461" y="207022"/>
                  </a:lnTo>
                  <a:lnTo>
                    <a:pt x="609461" y="206324"/>
                  </a:lnTo>
                  <a:lnTo>
                    <a:pt x="609461" y="207022"/>
                  </a:lnTo>
                  <a:lnTo>
                    <a:pt x="609461" y="206324"/>
                  </a:lnTo>
                  <a:lnTo>
                    <a:pt x="609461" y="207022"/>
                  </a:lnTo>
                  <a:lnTo>
                    <a:pt x="609461" y="204990"/>
                  </a:lnTo>
                  <a:lnTo>
                    <a:pt x="609461" y="206324"/>
                  </a:lnTo>
                  <a:lnTo>
                    <a:pt x="609562" y="204990"/>
                  </a:lnTo>
                  <a:lnTo>
                    <a:pt x="609562" y="204292"/>
                  </a:lnTo>
                  <a:lnTo>
                    <a:pt x="609562" y="204990"/>
                  </a:lnTo>
                  <a:lnTo>
                    <a:pt x="609562" y="204292"/>
                  </a:lnTo>
                  <a:lnTo>
                    <a:pt x="609601" y="204292"/>
                  </a:lnTo>
                  <a:lnTo>
                    <a:pt x="609601" y="204990"/>
                  </a:lnTo>
                  <a:lnTo>
                    <a:pt x="609601" y="204292"/>
                  </a:lnTo>
                  <a:lnTo>
                    <a:pt x="609651" y="204292"/>
                  </a:lnTo>
                  <a:lnTo>
                    <a:pt x="609651" y="204990"/>
                  </a:lnTo>
                  <a:lnTo>
                    <a:pt x="609651" y="204292"/>
                  </a:lnTo>
                  <a:lnTo>
                    <a:pt x="609651" y="207022"/>
                  </a:lnTo>
                  <a:lnTo>
                    <a:pt x="609651" y="206324"/>
                  </a:lnTo>
                  <a:lnTo>
                    <a:pt x="609702" y="206324"/>
                  </a:lnTo>
                  <a:lnTo>
                    <a:pt x="609702" y="204990"/>
                  </a:lnTo>
                  <a:lnTo>
                    <a:pt x="609702" y="207022"/>
                  </a:lnTo>
                  <a:lnTo>
                    <a:pt x="609804" y="207022"/>
                  </a:lnTo>
                  <a:lnTo>
                    <a:pt x="609804" y="204990"/>
                  </a:lnTo>
                  <a:lnTo>
                    <a:pt x="609804" y="207022"/>
                  </a:lnTo>
                  <a:lnTo>
                    <a:pt x="609804" y="206324"/>
                  </a:lnTo>
                  <a:lnTo>
                    <a:pt x="609855" y="206324"/>
                  </a:lnTo>
                  <a:lnTo>
                    <a:pt x="609855" y="207022"/>
                  </a:lnTo>
                  <a:lnTo>
                    <a:pt x="609855" y="206324"/>
                  </a:lnTo>
                  <a:lnTo>
                    <a:pt x="609855" y="207022"/>
                  </a:lnTo>
                  <a:lnTo>
                    <a:pt x="610007" y="207022"/>
                  </a:lnTo>
                  <a:lnTo>
                    <a:pt x="610007" y="206324"/>
                  </a:lnTo>
                  <a:lnTo>
                    <a:pt x="610007" y="207022"/>
                  </a:lnTo>
                  <a:lnTo>
                    <a:pt x="610007" y="206324"/>
                  </a:lnTo>
                  <a:lnTo>
                    <a:pt x="610007" y="207022"/>
                  </a:lnTo>
                  <a:lnTo>
                    <a:pt x="610007" y="206324"/>
                  </a:lnTo>
                  <a:lnTo>
                    <a:pt x="610058" y="206324"/>
                  </a:lnTo>
                  <a:lnTo>
                    <a:pt x="610058" y="204292"/>
                  </a:lnTo>
                  <a:lnTo>
                    <a:pt x="610058" y="204990"/>
                  </a:lnTo>
                  <a:lnTo>
                    <a:pt x="610058" y="204292"/>
                  </a:lnTo>
                  <a:lnTo>
                    <a:pt x="610108" y="204292"/>
                  </a:lnTo>
                  <a:lnTo>
                    <a:pt x="610108" y="204990"/>
                  </a:lnTo>
                  <a:lnTo>
                    <a:pt x="610108" y="204292"/>
                  </a:lnTo>
                  <a:lnTo>
                    <a:pt x="610108" y="206324"/>
                  </a:lnTo>
                  <a:lnTo>
                    <a:pt x="610147" y="204990"/>
                  </a:lnTo>
                  <a:lnTo>
                    <a:pt x="610147" y="204292"/>
                  </a:lnTo>
                  <a:lnTo>
                    <a:pt x="610147" y="207022"/>
                  </a:lnTo>
                  <a:lnTo>
                    <a:pt x="610147" y="206324"/>
                  </a:lnTo>
                  <a:lnTo>
                    <a:pt x="610147" y="207022"/>
                  </a:lnTo>
                  <a:lnTo>
                    <a:pt x="610147" y="206324"/>
                  </a:lnTo>
                  <a:lnTo>
                    <a:pt x="610248" y="206324"/>
                  </a:lnTo>
                  <a:lnTo>
                    <a:pt x="610248" y="204990"/>
                  </a:lnTo>
                  <a:lnTo>
                    <a:pt x="610248" y="207022"/>
                  </a:lnTo>
                  <a:lnTo>
                    <a:pt x="610248" y="206324"/>
                  </a:lnTo>
                  <a:lnTo>
                    <a:pt x="610299" y="206324"/>
                  </a:lnTo>
                  <a:lnTo>
                    <a:pt x="610299" y="207721"/>
                  </a:lnTo>
                  <a:lnTo>
                    <a:pt x="610299" y="207022"/>
                  </a:lnTo>
                  <a:lnTo>
                    <a:pt x="610350" y="207022"/>
                  </a:lnTo>
                  <a:lnTo>
                    <a:pt x="610350" y="207721"/>
                  </a:lnTo>
                  <a:lnTo>
                    <a:pt x="610350" y="206324"/>
                  </a:lnTo>
                  <a:lnTo>
                    <a:pt x="610350" y="207022"/>
                  </a:lnTo>
                  <a:lnTo>
                    <a:pt x="610451" y="207022"/>
                  </a:lnTo>
                  <a:lnTo>
                    <a:pt x="610451" y="206324"/>
                  </a:lnTo>
                  <a:lnTo>
                    <a:pt x="610451" y="207022"/>
                  </a:lnTo>
                  <a:lnTo>
                    <a:pt x="610451" y="206324"/>
                  </a:lnTo>
                  <a:lnTo>
                    <a:pt x="610502" y="206324"/>
                  </a:lnTo>
                  <a:lnTo>
                    <a:pt x="610502" y="204990"/>
                  </a:lnTo>
                  <a:lnTo>
                    <a:pt x="610553" y="204990"/>
                  </a:lnTo>
                  <a:lnTo>
                    <a:pt x="610553" y="203594"/>
                  </a:lnTo>
                  <a:lnTo>
                    <a:pt x="610553" y="204292"/>
                  </a:lnTo>
                  <a:lnTo>
                    <a:pt x="610604" y="203594"/>
                  </a:lnTo>
                  <a:lnTo>
                    <a:pt x="610604" y="204990"/>
                  </a:lnTo>
                  <a:lnTo>
                    <a:pt x="610604" y="204292"/>
                  </a:lnTo>
                  <a:lnTo>
                    <a:pt x="610604" y="204990"/>
                  </a:lnTo>
                  <a:lnTo>
                    <a:pt x="610604" y="204292"/>
                  </a:lnTo>
                  <a:lnTo>
                    <a:pt x="610693" y="204292"/>
                  </a:lnTo>
                  <a:lnTo>
                    <a:pt x="610693" y="207022"/>
                  </a:lnTo>
                  <a:lnTo>
                    <a:pt x="610693" y="206324"/>
                  </a:lnTo>
                  <a:lnTo>
                    <a:pt x="610693" y="207022"/>
                  </a:lnTo>
                  <a:lnTo>
                    <a:pt x="610693" y="206324"/>
                  </a:lnTo>
                  <a:lnTo>
                    <a:pt x="610743" y="206324"/>
                  </a:lnTo>
                  <a:lnTo>
                    <a:pt x="610743" y="207022"/>
                  </a:lnTo>
                  <a:lnTo>
                    <a:pt x="610743" y="206324"/>
                  </a:lnTo>
                  <a:lnTo>
                    <a:pt x="610743" y="207022"/>
                  </a:lnTo>
                  <a:lnTo>
                    <a:pt x="610743" y="206324"/>
                  </a:lnTo>
                  <a:lnTo>
                    <a:pt x="610743" y="207022"/>
                  </a:lnTo>
                  <a:lnTo>
                    <a:pt x="610743" y="206324"/>
                  </a:lnTo>
                  <a:lnTo>
                    <a:pt x="610743" y="207022"/>
                  </a:lnTo>
                  <a:lnTo>
                    <a:pt x="610794" y="207022"/>
                  </a:lnTo>
                  <a:lnTo>
                    <a:pt x="610794" y="207721"/>
                  </a:lnTo>
                  <a:lnTo>
                    <a:pt x="610794" y="206324"/>
                  </a:lnTo>
                  <a:lnTo>
                    <a:pt x="610794" y="207721"/>
                  </a:lnTo>
                  <a:lnTo>
                    <a:pt x="610794" y="207022"/>
                  </a:lnTo>
                  <a:lnTo>
                    <a:pt x="610845" y="207721"/>
                  </a:lnTo>
                  <a:lnTo>
                    <a:pt x="610845" y="207022"/>
                  </a:lnTo>
                  <a:lnTo>
                    <a:pt x="610845" y="207721"/>
                  </a:lnTo>
                  <a:lnTo>
                    <a:pt x="610845" y="207022"/>
                  </a:lnTo>
                  <a:lnTo>
                    <a:pt x="610845" y="207721"/>
                  </a:lnTo>
                  <a:lnTo>
                    <a:pt x="610845" y="207022"/>
                  </a:lnTo>
                  <a:lnTo>
                    <a:pt x="610845" y="207721"/>
                  </a:lnTo>
                  <a:lnTo>
                    <a:pt x="610845" y="207022"/>
                  </a:lnTo>
                  <a:lnTo>
                    <a:pt x="610947" y="207022"/>
                  </a:lnTo>
                  <a:lnTo>
                    <a:pt x="610947" y="206324"/>
                  </a:lnTo>
                  <a:lnTo>
                    <a:pt x="610997" y="206324"/>
                  </a:lnTo>
                  <a:lnTo>
                    <a:pt x="610997" y="204292"/>
                  </a:lnTo>
                  <a:lnTo>
                    <a:pt x="610997" y="204990"/>
                  </a:lnTo>
                  <a:lnTo>
                    <a:pt x="611048" y="204990"/>
                  </a:lnTo>
                  <a:lnTo>
                    <a:pt x="611048" y="204292"/>
                  </a:lnTo>
                  <a:lnTo>
                    <a:pt x="611048" y="204990"/>
                  </a:lnTo>
                  <a:lnTo>
                    <a:pt x="611048" y="204292"/>
                  </a:lnTo>
                  <a:lnTo>
                    <a:pt x="611048" y="204990"/>
                  </a:lnTo>
                  <a:lnTo>
                    <a:pt x="611150" y="204990"/>
                  </a:lnTo>
                  <a:lnTo>
                    <a:pt x="611150" y="204292"/>
                  </a:lnTo>
                  <a:lnTo>
                    <a:pt x="611150" y="204990"/>
                  </a:lnTo>
                  <a:lnTo>
                    <a:pt x="611150" y="204292"/>
                  </a:lnTo>
                  <a:lnTo>
                    <a:pt x="611150" y="206324"/>
                  </a:lnTo>
                  <a:lnTo>
                    <a:pt x="611188" y="206324"/>
                  </a:lnTo>
                  <a:lnTo>
                    <a:pt x="611188" y="204990"/>
                  </a:lnTo>
                  <a:lnTo>
                    <a:pt x="611188" y="206324"/>
                  </a:lnTo>
                  <a:lnTo>
                    <a:pt x="611239" y="206324"/>
                  </a:lnTo>
                  <a:lnTo>
                    <a:pt x="611239" y="207022"/>
                  </a:lnTo>
                  <a:lnTo>
                    <a:pt x="611239" y="206324"/>
                  </a:lnTo>
                  <a:lnTo>
                    <a:pt x="611239" y="207022"/>
                  </a:lnTo>
                  <a:lnTo>
                    <a:pt x="611239" y="206324"/>
                  </a:lnTo>
                  <a:lnTo>
                    <a:pt x="611290" y="206324"/>
                  </a:lnTo>
                  <a:lnTo>
                    <a:pt x="611290" y="207022"/>
                  </a:lnTo>
                  <a:lnTo>
                    <a:pt x="611290" y="206324"/>
                  </a:lnTo>
                  <a:lnTo>
                    <a:pt x="611290" y="207022"/>
                  </a:lnTo>
                  <a:lnTo>
                    <a:pt x="611391" y="207022"/>
                  </a:lnTo>
                  <a:lnTo>
                    <a:pt x="611391" y="207721"/>
                  </a:lnTo>
                  <a:lnTo>
                    <a:pt x="611391" y="207022"/>
                  </a:lnTo>
                  <a:lnTo>
                    <a:pt x="611391" y="207721"/>
                  </a:lnTo>
                  <a:lnTo>
                    <a:pt x="611391" y="207022"/>
                  </a:lnTo>
                  <a:lnTo>
                    <a:pt x="611391" y="207721"/>
                  </a:lnTo>
                  <a:lnTo>
                    <a:pt x="611391" y="207022"/>
                  </a:lnTo>
                  <a:lnTo>
                    <a:pt x="611391" y="207721"/>
                  </a:lnTo>
                  <a:lnTo>
                    <a:pt x="611442" y="207721"/>
                  </a:lnTo>
                  <a:lnTo>
                    <a:pt x="611442" y="207022"/>
                  </a:lnTo>
                  <a:lnTo>
                    <a:pt x="611442" y="207721"/>
                  </a:lnTo>
                  <a:lnTo>
                    <a:pt x="611442" y="206324"/>
                  </a:lnTo>
                  <a:lnTo>
                    <a:pt x="611493" y="206324"/>
                  </a:lnTo>
                  <a:lnTo>
                    <a:pt x="611493" y="207022"/>
                  </a:lnTo>
                  <a:lnTo>
                    <a:pt x="611493" y="204990"/>
                  </a:lnTo>
                  <a:lnTo>
                    <a:pt x="611493" y="206324"/>
                  </a:lnTo>
                  <a:lnTo>
                    <a:pt x="611493" y="204292"/>
                  </a:lnTo>
                  <a:lnTo>
                    <a:pt x="611594" y="203594"/>
                  </a:lnTo>
                  <a:lnTo>
                    <a:pt x="611594" y="204990"/>
                  </a:lnTo>
                  <a:lnTo>
                    <a:pt x="611594" y="204292"/>
                  </a:lnTo>
                  <a:lnTo>
                    <a:pt x="611645" y="204292"/>
                  </a:lnTo>
                  <a:lnTo>
                    <a:pt x="611645" y="207022"/>
                  </a:lnTo>
                  <a:lnTo>
                    <a:pt x="611645" y="204990"/>
                  </a:lnTo>
                  <a:lnTo>
                    <a:pt x="611696" y="204990"/>
                  </a:lnTo>
                  <a:lnTo>
                    <a:pt x="611696" y="207721"/>
                  </a:lnTo>
                  <a:lnTo>
                    <a:pt x="611696" y="207022"/>
                  </a:lnTo>
                  <a:lnTo>
                    <a:pt x="611734" y="207022"/>
                  </a:lnTo>
                  <a:lnTo>
                    <a:pt x="611734" y="206324"/>
                  </a:lnTo>
                  <a:lnTo>
                    <a:pt x="611734" y="207721"/>
                  </a:lnTo>
                  <a:lnTo>
                    <a:pt x="611734" y="207022"/>
                  </a:lnTo>
                  <a:lnTo>
                    <a:pt x="611836" y="207022"/>
                  </a:lnTo>
                  <a:lnTo>
                    <a:pt x="611836" y="207721"/>
                  </a:lnTo>
                  <a:lnTo>
                    <a:pt x="611836" y="207022"/>
                  </a:lnTo>
                  <a:lnTo>
                    <a:pt x="611836" y="207721"/>
                  </a:lnTo>
                  <a:lnTo>
                    <a:pt x="611887" y="207022"/>
                  </a:lnTo>
                  <a:lnTo>
                    <a:pt x="611887" y="207721"/>
                  </a:lnTo>
                  <a:lnTo>
                    <a:pt x="611887" y="207022"/>
                  </a:lnTo>
                  <a:lnTo>
                    <a:pt x="611887" y="207721"/>
                  </a:lnTo>
                  <a:lnTo>
                    <a:pt x="611887" y="207022"/>
                  </a:lnTo>
                  <a:lnTo>
                    <a:pt x="611937" y="207721"/>
                  </a:lnTo>
                  <a:lnTo>
                    <a:pt x="611937" y="207022"/>
                  </a:lnTo>
                  <a:lnTo>
                    <a:pt x="612039" y="207022"/>
                  </a:lnTo>
                  <a:lnTo>
                    <a:pt x="612039" y="206324"/>
                  </a:lnTo>
                  <a:lnTo>
                    <a:pt x="612039" y="207022"/>
                  </a:lnTo>
                  <a:lnTo>
                    <a:pt x="612039" y="204292"/>
                  </a:lnTo>
                  <a:lnTo>
                    <a:pt x="612090" y="204292"/>
                  </a:lnTo>
                  <a:lnTo>
                    <a:pt x="612090" y="207022"/>
                  </a:lnTo>
                  <a:lnTo>
                    <a:pt x="612090" y="204292"/>
                  </a:lnTo>
                  <a:lnTo>
                    <a:pt x="612090" y="204990"/>
                  </a:lnTo>
                  <a:lnTo>
                    <a:pt x="612141" y="206324"/>
                  </a:lnTo>
                  <a:lnTo>
                    <a:pt x="612141" y="207721"/>
                  </a:lnTo>
                  <a:lnTo>
                    <a:pt x="612141" y="204990"/>
                  </a:lnTo>
                  <a:lnTo>
                    <a:pt x="612141" y="206324"/>
                  </a:lnTo>
                  <a:lnTo>
                    <a:pt x="612191" y="207022"/>
                  </a:lnTo>
                  <a:lnTo>
                    <a:pt x="612191" y="206324"/>
                  </a:lnTo>
                  <a:lnTo>
                    <a:pt x="612191" y="207022"/>
                  </a:lnTo>
                  <a:lnTo>
                    <a:pt x="612191" y="206324"/>
                  </a:lnTo>
                  <a:lnTo>
                    <a:pt x="612191" y="207022"/>
                  </a:lnTo>
                  <a:lnTo>
                    <a:pt x="612191" y="206324"/>
                  </a:lnTo>
                  <a:lnTo>
                    <a:pt x="612191" y="207022"/>
                  </a:lnTo>
                  <a:lnTo>
                    <a:pt x="612280" y="207022"/>
                  </a:lnTo>
                  <a:lnTo>
                    <a:pt x="612280" y="206324"/>
                  </a:lnTo>
                  <a:lnTo>
                    <a:pt x="612280" y="207022"/>
                  </a:lnTo>
                  <a:lnTo>
                    <a:pt x="612280" y="206324"/>
                  </a:lnTo>
                  <a:lnTo>
                    <a:pt x="612280" y="207022"/>
                  </a:lnTo>
                  <a:lnTo>
                    <a:pt x="612280" y="206324"/>
                  </a:lnTo>
                  <a:lnTo>
                    <a:pt x="612280" y="207022"/>
                  </a:lnTo>
                  <a:lnTo>
                    <a:pt x="612280" y="206324"/>
                  </a:lnTo>
                  <a:lnTo>
                    <a:pt x="612280" y="207022"/>
                  </a:lnTo>
                  <a:lnTo>
                    <a:pt x="612331" y="207022"/>
                  </a:lnTo>
                  <a:lnTo>
                    <a:pt x="612331" y="207721"/>
                  </a:lnTo>
                  <a:lnTo>
                    <a:pt x="612331" y="207022"/>
                  </a:lnTo>
                  <a:lnTo>
                    <a:pt x="612331" y="207721"/>
                  </a:lnTo>
                  <a:lnTo>
                    <a:pt x="612331" y="207022"/>
                  </a:lnTo>
                  <a:lnTo>
                    <a:pt x="612382" y="207721"/>
                  </a:lnTo>
                  <a:lnTo>
                    <a:pt x="612382" y="207022"/>
                  </a:lnTo>
                  <a:lnTo>
                    <a:pt x="612382" y="207721"/>
                  </a:lnTo>
                  <a:lnTo>
                    <a:pt x="612382" y="207022"/>
                  </a:lnTo>
                  <a:lnTo>
                    <a:pt x="612382" y="207721"/>
                  </a:lnTo>
                  <a:lnTo>
                    <a:pt x="612382" y="206324"/>
                  </a:lnTo>
                  <a:lnTo>
                    <a:pt x="612433" y="206324"/>
                  </a:lnTo>
                  <a:lnTo>
                    <a:pt x="612433" y="207022"/>
                  </a:lnTo>
                  <a:lnTo>
                    <a:pt x="612433" y="206324"/>
                  </a:lnTo>
                  <a:lnTo>
                    <a:pt x="612433" y="207022"/>
                  </a:lnTo>
                  <a:lnTo>
                    <a:pt x="612433" y="206324"/>
                  </a:lnTo>
                  <a:lnTo>
                    <a:pt x="612433" y="207022"/>
                  </a:lnTo>
                  <a:lnTo>
                    <a:pt x="612433" y="206324"/>
                  </a:lnTo>
                  <a:lnTo>
                    <a:pt x="612433" y="207022"/>
                  </a:lnTo>
                  <a:lnTo>
                    <a:pt x="612433" y="204990"/>
                  </a:lnTo>
                  <a:lnTo>
                    <a:pt x="612534" y="204990"/>
                  </a:lnTo>
                  <a:lnTo>
                    <a:pt x="612534" y="207022"/>
                  </a:lnTo>
                  <a:lnTo>
                    <a:pt x="612534" y="206324"/>
                  </a:lnTo>
                  <a:lnTo>
                    <a:pt x="612534" y="207022"/>
                  </a:lnTo>
                  <a:lnTo>
                    <a:pt x="612534" y="206324"/>
                  </a:lnTo>
                  <a:lnTo>
                    <a:pt x="612585" y="206324"/>
                  </a:lnTo>
                  <a:lnTo>
                    <a:pt x="612585" y="204990"/>
                  </a:lnTo>
                  <a:lnTo>
                    <a:pt x="612585" y="209753"/>
                  </a:lnTo>
                  <a:lnTo>
                    <a:pt x="612585" y="207022"/>
                  </a:lnTo>
                  <a:lnTo>
                    <a:pt x="612636" y="207022"/>
                  </a:lnTo>
                  <a:lnTo>
                    <a:pt x="612636" y="208407"/>
                  </a:lnTo>
                  <a:lnTo>
                    <a:pt x="612636" y="207721"/>
                  </a:lnTo>
                  <a:lnTo>
                    <a:pt x="612737" y="207721"/>
                  </a:lnTo>
                  <a:lnTo>
                    <a:pt x="612737" y="207022"/>
                  </a:lnTo>
                  <a:lnTo>
                    <a:pt x="612737" y="208407"/>
                  </a:lnTo>
                  <a:lnTo>
                    <a:pt x="612737" y="207721"/>
                  </a:lnTo>
                  <a:lnTo>
                    <a:pt x="612776" y="208407"/>
                  </a:lnTo>
                  <a:lnTo>
                    <a:pt x="612776" y="207721"/>
                  </a:lnTo>
                  <a:lnTo>
                    <a:pt x="612826" y="207721"/>
                  </a:lnTo>
                  <a:lnTo>
                    <a:pt x="612826" y="207022"/>
                  </a:lnTo>
                  <a:lnTo>
                    <a:pt x="612826" y="207721"/>
                  </a:lnTo>
                  <a:lnTo>
                    <a:pt x="612826" y="207022"/>
                  </a:lnTo>
                  <a:lnTo>
                    <a:pt x="612877" y="207022"/>
                  </a:lnTo>
                  <a:lnTo>
                    <a:pt x="612877" y="206324"/>
                  </a:lnTo>
                  <a:lnTo>
                    <a:pt x="612979" y="206324"/>
                  </a:lnTo>
                  <a:lnTo>
                    <a:pt x="612979" y="204292"/>
                  </a:lnTo>
                  <a:lnTo>
                    <a:pt x="613030" y="204292"/>
                  </a:lnTo>
                  <a:lnTo>
                    <a:pt x="613030" y="207022"/>
                  </a:lnTo>
                  <a:lnTo>
                    <a:pt x="613030" y="204292"/>
                  </a:lnTo>
                  <a:lnTo>
                    <a:pt x="613080" y="204292"/>
                  </a:lnTo>
                  <a:lnTo>
                    <a:pt x="613080" y="207721"/>
                  </a:lnTo>
                  <a:lnTo>
                    <a:pt x="613080" y="206324"/>
                  </a:lnTo>
                  <a:lnTo>
                    <a:pt x="613182" y="207022"/>
                  </a:lnTo>
                  <a:lnTo>
                    <a:pt x="613182" y="207721"/>
                  </a:lnTo>
                  <a:lnTo>
                    <a:pt x="613182" y="207022"/>
                  </a:lnTo>
                  <a:lnTo>
                    <a:pt x="613182" y="207721"/>
                  </a:lnTo>
                  <a:lnTo>
                    <a:pt x="613182" y="207022"/>
                  </a:lnTo>
                  <a:lnTo>
                    <a:pt x="613182" y="207721"/>
                  </a:lnTo>
                  <a:lnTo>
                    <a:pt x="613182" y="207022"/>
                  </a:lnTo>
                  <a:lnTo>
                    <a:pt x="613233" y="207022"/>
                  </a:lnTo>
                  <a:lnTo>
                    <a:pt x="613233" y="207721"/>
                  </a:lnTo>
                  <a:lnTo>
                    <a:pt x="613233" y="207022"/>
                  </a:lnTo>
                  <a:lnTo>
                    <a:pt x="613233" y="207721"/>
                  </a:lnTo>
                  <a:lnTo>
                    <a:pt x="613233" y="207022"/>
                  </a:lnTo>
                  <a:lnTo>
                    <a:pt x="613233" y="207721"/>
                  </a:lnTo>
                  <a:lnTo>
                    <a:pt x="613233" y="207022"/>
                  </a:lnTo>
                  <a:lnTo>
                    <a:pt x="613233" y="207721"/>
                  </a:lnTo>
                  <a:lnTo>
                    <a:pt x="613283" y="207721"/>
                  </a:lnTo>
                  <a:lnTo>
                    <a:pt x="613283" y="207022"/>
                  </a:lnTo>
                  <a:lnTo>
                    <a:pt x="613283" y="207721"/>
                  </a:lnTo>
                  <a:lnTo>
                    <a:pt x="613283" y="207022"/>
                  </a:lnTo>
                  <a:lnTo>
                    <a:pt x="613283" y="208407"/>
                  </a:lnTo>
                  <a:lnTo>
                    <a:pt x="613283" y="207022"/>
                  </a:lnTo>
                  <a:lnTo>
                    <a:pt x="613322" y="207721"/>
                  </a:lnTo>
                  <a:lnTo>
                    <a:pt x="613322" y="206324"/>
                  </a:lnTo>
                  <a:lnTo>
                    <a:pt x="613322" y="207022"/>
                  </a:lnTo>
                  <a:lnTo>
                    <a:pt x="613423" y="206324"/>
                  </a:lnTo>
                  <a:lnTo>
                    <a:pt x="613423" y="204990"/>
                  </a:lnTo>
                  <a:lnTo>
                    <a:pt x="613423" y="206324"/>
                  </a:lnTo>
                  <a:lnTo>
                    <a:pt x="613423" y="204990"/>
                  </a:lnTo>
                  <a:lnTo>
                    <a:pt x="613474" y="204990"/>
                  </a:lnTo>
                  <a:lnTo>
                    <a:pt x="613474" y="204292"/>
                  </a:lnTo>
                  <a:lnTo>
                    <a:pt x="613474" y="204990"/>
                  </a:lnTo>
                  <a:lnTo>
                    <a:pt x="613474" y="204292"/>
                  </a:lnTo>
                  <a:lnTo>
                    <a:pt x="613474" y="204990"/>
                  </a:lnTo>
                  <a:lnTo>
                    <a:pt x="613474" y="203594"/>
                  </a:lnTo>
                  <a:lnTo>
                    <a:pt x="613525" y="204292"/>
                  </a:lnTo>
                  <a:lnTo>
                    <a:pt x="613525" y="204990"/>
                  </a:lnTo>
                  <a:lnTo>
                    <a:pt x="613525" y="204292"/>
                  </a:lnTo>
                  <a:lnTo>
                    <a:pt x="613525" y="206324"/>
                  </a:lnTo>
                  <a:lnTo>
                    <a:pt x="613626" y="207022"/>
                  </a:lnTo>
                  <a:lnTo>
                    <a:pt x="613626" y="204990"/>
                  </a:lnTo>
                  <a:lnTo>
                    <a:pt x="613626" y="206324"/>
                  </a:lnTo>
                  <a:lnTo>
                    <a:pt x="613677" y="206324"/>
                  </a:lnTo>
                  <a:lnTo>
                    <a:pt x="613677" y="207022"/>
                  </a:lnTo>
                  <a:lnTo>
                    <a:pt x="613677" y="206324"/>
                  </a:lnTo>
                  <a:lnTo>
                    <a:pt x="613677" y="207022"/>
                  </a:lnTo>
                  <a:lnTo>
                    <a:pt x="613677" y="206324"/>
                  </a:lnTo>
                  <a:lnTo>
                    <a:pt x="613677" y="207022"/>
                  </a:lnTo>
                  <a:lnTo>
                    <a:pt x="613728" y="207022"/>
                  </a:lnTo>
                  <a:lnTo>
                    <a:pt x="613728" y="207721"/>
                  </a:lnTo>
                  <a:lnTo>
                    <a:pt x="613728" y="207022"/>
                  </a:lnTo>
                  <a:lnTo>
                    <a:pt x="613728" y="207721"/>
                  </a:lnTo>
                  <a:lnTo>
                    <a:pt x="613728" y="207022"/>
                  </a:lnTo>
                  <a:lnTo>
                    <a:pt x="613728" y="207721"/>
                  </a:lnTo>
                  <a:lnTo>
                    <a:pt x="613868" y="207721"/>
                  </a:lnTo>
                  <a:lnTo>
                    <a:pt x="613868" y="207022"/>
                  </a:lnTo>
                  <a:lnTo>
                    <a:pt x="613918" y="206324"/>
                  </a:lnTo>
                  <a:lnTo>
                    <a:pt x="613918" y="204990"/>
                  </a:lnTo>
                  <a:lnTo>
                    <a:pt x="613969" y="204990"/>
                  </a:lnTo>
                  <a:lnTo>
                    <a:pt x="613969" y="203594"/>
                  </a:lnTo>
                  <a:lnTo>
                    <a:pt x="613969" y="204990"/>
                  </a:lnTo>
                  <a:lnTo>
                    <a:pt x="614020" y="204990"/>
                  </a:lnTo>
                  <a:lnTo>
                    <a:pt x="614020" y="203594"/>
                  </a:lnTo>
                  <a:lnTo>
                    <a:pt x="614020" y="204292"/>
                  </a:lnTo>
                  <a:lnTo>
                    <a:pt x="614020" y="203594"/>
                  </a:lnTo>
                  <a:lnTo>
                    <a:pt x="614020" y="207022"/>
                  </a:lnTo>
                  <a:lnTo>
                    <a:pt x="614122" y="206324"/>
                  </a:lnTo>
                  <a:lnTo>
                    <a:pt x="614122" y="204292"/>
                  </a:lnTo>
                  <a:lnTo>
                    <a:pt x="614122" y="206324"/>
                  </a:lnTo>
                  <a:lnTo>
                    <a:pt x="614122" y="204990"/>
                  </a:lnTo>
                  <a:lnTo>
                    <a:pt x="614172" y="204990"/>
                  </a:lnTo>
                  <a:lnTo>
                    <a:pt x="614172" y="204292"/>
                  </a:lnTo>
                  <a:lnTo>
                    <a:pt x="614172" y="206324"/>
                  </a:lnTo>
                  <a:lnTo>
                    <a:pt x="614172" y="204990"/>
                  </a:lnTo>
                  <a:lnTo>
                    <a:pt x="614223" y="206324"/>
                  </a:lnTo>
                  <a:lnTo>
                    <a:pt x="614223" y="204990"/>
                  </a:lnTo>
                  <a:lnTo>
                    <a:pt x="614223" y="207022"/>
                  </a:lnTo>
                  <a:lnTo>
                    <a:pt x="614223" y="206324"/>
                  </a:lnTo>
                  <a:lnTo>
                    <a:pt x="614325" y="206324"/>
                  </a:lnTo>
                  <a:lnTo>
                    <a:pt x="614325" y="207022"/>
                  </a:lnTo>
                  <a:lnTo>
                    <a:pt x="614325" y="206324"/>
                  </a:lnTo>
                  <a:lnTo>
                    <a:pt x="614325" y="207022"/>
                  </a:lnTo>
                  <a:lnTo>
                    <a:pt x="614325" y="206324"/>
                  </a:lnTo>
                  <a:lnTo>
                    <a:pt x="614325" y="207022"/>
                  </a:lnTo>
                  <a:lnTo>
                    <a:pt x="614363" y="207022"/>
                  </a:lnTo>
                  <a:lnTo>
                    <a:pt x="614363" y="206324"/>
                  </a:lnTo>
                  <a:lnTo>
                    <a:pt x="614363" y="207022"/>
                  </a:lnTo>
                  <a:lnTo>
                    <a:pt x="614363" y="206324"/>
                  </a:lnTo>
                  <a:lnTo>
                    <a:pt x="614363" y="207022"/>
                  </a:lnTo>
                  <a:lnTo>
                    <a:pt x="614363" y="204990"/>
                  </a:lnTo>
                  <a:lnTo>
                    <a:pt x="614363" y="206324"/>
                  </a:lnTo>
                  <a:lnTo>
                    <a:pt x="614414" y="206324"/>
                  </a:lnTo>
                  <a:lnTo>
                    <a:pt x="614414" y="204292"/>
                  </a:lnTo>
                  <a:lnTo>
                    <a:pt x="614465" y="204292"/>
                  </a:lnTo>
                  <a:lnTo>
                    <a:pt x="614465" y="203594"/>
                  </a:lnTo>
                  <a:lnTo>
                    <a:pt x="614465" y="204292"/>
                  </a:lnTo>
                  <a:lnTo>
                    <a:pt x="614465" y="202260"/>
                  </a:lnTo>
                  <a:lnTo>
                    <a:pt x="614465" y="203594"/>
                  </a:lnTo>
                  <a:lnTo>
                    <a:pt x="614566" y="203594"/>
                  </a:lnTo>
                  <a:lnTo>
                    <a:pt x="614566" y="202260"/>
                  </a:lnTo>
                  <a:lnTo>
                    <a:pt x="614566" y="204990"/>
                  </a:lnTo>
                  <a:lnTo>
                    <a:pt x="614566" y="204292"/>
                  </a:lnTo>
                  <a:lnTo>
                    <a:pt x="614566" y="204990"/>
                  </a:lnTo>
                  <a:lnTo>
                    <a:pt x="614566" y="204292"/>
                  </a:lnTo>
                  <a:lnTo>
                    <a:pt x="614617" y="204292"/>
                  </a:lnTo>
                  <a:lnTo>
                    <a:pt x="614617" y="202959"/>
                  </a:lnTo>
                  <a:lnTo>
                    <a:pt x="614617" y="204990"/>
                  </a:lnTo>
                  <a:lnTo>
                    <a:pt x="614668" y="204990"/>
                  </a:lnTo>
                  <a:lnTo>
                    <a:pt x="614668" y="203594"/>
                  </a:lnTo>
                  <a:lnTo>
                    <a:pt x="614668" y="204990"/>
                  </a:lnTo>
                  <a:lnTo>
                    <a:pt x="614668" y="204292"/>
                  </a:lnTo>
                  <a:lnTo>
                    <a:pt x="614668" y="204990"/>
                  </a:lnTo>
                  <a:lnTo>
                    <a:pt x="614668" y="204292"/>
                  </a:lnTo>
                  <a:lnTo>
                    <a:pt x="614769" y="204990"/>
                  </a:lnTo>
                  <a:lnTo>
                    <a:pt x="614769" y="206324"/>
                  </a:lnTo>
                  <a:lnTo>
                    <a:pt x="614769" y="204990"/>
                  </a:lnTo>
                  <a:lnTo>
                    <a:pt x="614820" y="204990"/>
                  </a:lnTo>
                  <a:lnTo>
                    <a:pt x="614820" y="206324"/>
                  </a:lnTo>
                  <a:lnTo>
                    <a:pt x="614820" y="204990"/>
                  </a:lnTo>
                  <a:lnTo>
                    <a:pt x="614820" y="206324"/>
                  </a:lnTo>
                  <a:lnTo>
                    <a:pt x="614871" y="206324"/>
                  </a:lnTo>
                  <a:lnTo>
                    <a:pt x="614871" y="204990"/>
                  </a:lnTo>
                  <a:lnTo>
                    <a:pt x="614871" y="206324"/>
                  </a:lnTo>
                  <a:lnTo>
                    <a:pt x="614871" y="204292"/>
                  </a:lnTo>
                  <a:lnTo>
                    <a:pt x="614909" y="204990"/>
                  </a:lnTo>
                  <a:lnTo>
                    <a:pt x="614909" y="203594"/>
                  </a:lnTo>
                  <a:lnTo>
                    <a:pt x="614909" y="204292"/>
                  </a:lnTo>
                  <a:lnTo>
                    <a:pt x="614909" y="203594"/>
                  </a:lnTo>
                  <a:lnTo>
                    <a:pt x="615011" y="203594"/>
                  </a:lnTo>
                  <a:lnTo>
                    <a:pt x="615011" y="200876"/>
                  </a:lnTo>
                  <a:lnTo>
                    <a:pt x="615062" y="200876"/>
                  </a:lnTo>
                  <a:lnTo>
                    <a:pt x="615062" y="202260"/>
                  </a:lnTo>
                  <a:lnTo>
                    <a:pt x="615062" y="200228"/>
                  </a:lnTo>
                  <a:lnTo>
                    <a:pt x="615062" y="202959"/>
                  </a:lnTo>
                  <a:lnTo>
                    <a:pt x="615112" y="202959"/>
                  </a:lnTo>
                  <a:lnTo>
                    <a:pt x="615112" y="200876"/>
                  </a:lnTo>
                  <a:lnTo>
                    <a:pt x="615112" y="202959"/>
                  </a:lnTo>
                  <a:lnTo>
                    <a:pt x="615214" y="202959"/>
                  </a:lnTo>
                  <a:lnTo>
                    <a:pt x="615214" y="202260"/>
                  </a:lnTo>
                  <a:lnTo>
                    <a:pt x="615214" y="202959"/>
                  </a:lnTo>
                  <a:lnTo>
                    <a:pt x="615214" y="202260"/>
                  </a:lnTo>
                  <a:lnTo>
                    <a:pt x="615214" y="203594"/>
                  </a:lnTo>
                  <a:lnTo>
                    <a:pt x="615265" y="202959"/>
                  </a:lnTo>
                  <a:lnTo>
                    <a:pt x="615265" y="204292"/>
                  </a:lnTo>
                  <a:lnTo>
                    <a:pt x="615316" y="203594"/>
                  </a:lnTo>
                  <a:lnTo>
                    <a:pt x="615316" y="204292"/>
                  </a:lnTo>
                  <a:lnTo>
                    <a:pt x="615316" y="203594"/>
                  </a:lnTo>
                  <a:lnTo>
                    <a:pt x="615316" y="204292"/>
                  </a:lnTo>
                  <a:lnTo>
                    <a:pt x="615366" y="204990"/>
                  </a:lnTo>
                  <a:lnTo>
                    <a:pt x="615366" y="204292"/>
                  </a:lnTo>
                  <a:lnTo>
                    <a:pt x="615366" y="204990"/>
                  </a:lnTo>
                  <a:lnTo>
                    <a:pt x="615455" y="204990"/>
                  </a:lnTo>
                  <a:lnTo>
                    <a:pt x="615455" y="204292"/>
                  </a:lnTo>
                  <a:lnTo>
                    <a:pt x="615455" y="204990"/>
                  </a:lnTo>
                  <a:lnTo>
                    <a:pt x="615455" y="204292"/>
                  </a:lnTo>
                  <a:lnTo>
                    <a:pt x="615506" y="203594"/>
                  </a:lnTo>
                  <a:lnTo>
                    <a:pt x="615506" y="202959"/>
                  </a:lnTo>
                  <a:lnTo>
                    <a:pt x="615506" y="203594"/>
                  </a:lnTo>
                  <a:lnTo>
                    <a:pt x="615506" y="202959"/>
                  </a:lnTo>
                  <a:lnTo>
                    <a:pt x="615506" y="203594"/>
                  </a:lnTo>
                  <a:lnTo>
                    <a:pt x="615506" y="202260"/>
                  </a:lnTo>
                  <a:lnTo>
                    <a:pt x="615506" y="202959"/>
                  </a:lnTo>
                  <a:lnTo>
                    <a:pt x="615557" y="202959"/>
                  </a:lnTo>
                  <a:lnTo>
                    <a:pt x="615557" y="202260"/>
                  </a:lnTo>
                  <a:lnTo>
                    <a:pt x="615557" y="203594"/>
                  </a:lnTo>
                  <a:lnTo>
                    <a:pt x="615608" y="203594"/>
                  </a:lnTo>
                  <a:lnTo>
                    <a:pt x="615608" y="202959"/>
                  </a:lnTo>
                  <a:lnTo>
                    <a:pt x="615608" y="203594"/>
                  </a:lnTo>
                  <a:lnTo>
                    <a:pt x="615709" y="203594"/>
                  </a:lnTo>
                  <a:lnTo>
                    <a:pt x="615709" y="202959"/>
                  </a:lnTo>
                  <a:lnTo>
                    <a:pt x="615709" y="204292"/>
                  </a:lnTo>
                  <a:lnTo>
                    <a:pt x="615709" y="203594"/>
                  </a:lnTo>
                  <a:lnTo>
                    <a:pt x="615709" y="204292"/>
                  </a:lnTo>
                  <a:lnTo>
                    <a:pt x="615760" y="204292"/>
                  </a:lnTo>
                  <a:lnTo>
                    <a:pt x="615760" y="203594"/>
                  </a:lnTo>
                  <a:lnTo>
                    <a:pt x="615760" y="204292"/>
                  </a:lnTo>
                  <a:lnTo>
                    <a:pt x="615760" y="203594"/>
                  </a:lnTo>
                  <a:lnTo>
                    <a:pt x="615760" y="204292"/>
                  </a:lnTo>
                  <a:lnTo>
                    <a:pt x="615760" y="203594"/>
                  </a:lnTo>
                  <a:lnTo>
                    <a:pt x="615760" y="204292"/>
                  </a:lnTo>
                  <a:lnTo>
                    <a:pt x="615811" y="204990"/>
                  </a:lnTo>
                  <a:lnTo>
                    <a:pt x="615811" y="203594"/>
                  </a:lnTo>
                  <a:lnTo>
                    <a:pt x="615811" y="204990"/>
                  </a:lnTo>
                  <a:lnTo>
                    <a:pt x="615912" y="204292"/>
                  </a:lnTo>
                  <a:lnTo>
                    <a:pt x="615912" y="204990"/>
                  </a:lnTo>
                  <a:lnTo>
                    <a:pt x="615912" y="204292"/>
                  </a:lnTo>
                  <a:lnTo>
                    <a:pt x="615912" y="204990"/>
                  </a:lnTo>
                  <a:lnTo>
                    <a:pt x="615912" y="204292"/>
                  </a:lnTo>
                  <a:lnTo>
                    <a:pt x="615912" y="204990"/>
                  </a:lnTo>
                  <a:lnTo>
                    <a:pt x="615912" y="204292"/>
                  </a:lnTo>
                  <a:lnTo>
                    <a:pt x="615951" y="204292"/>
                  </a:lnTo>
                  <a:lnTo>
                    <a:pt x="615951" y="204990"/>
                  </a:lnTo>
                  <a:lnTo>
                    <a:pt x="615951" y="203594"/>
                  </a:lnTo>
                  <a:lnTo>
                    <a:pt x="616001" y="203594"/>
                  </a:lnTo>
                  <a:lnTo>
                    <a:pt x="616001" y="204292"/>
                  </a:lnTo>
                  <a:lnTo>
                    <a:pt x="616001" y="202959"/>
                  </a:lnTo>
                  <a:lnTo>
                    <a:pt x="616001" y="204292"/>
                  </a:lnTo>
                  <a:lnTo>
                    <a:pt x="616052" y="204292"/>
                  </a:lnTo>
                  <a:lnTo>
                    <a:pt x="616052" y="203594"/>
                  </a:lnTo>
                  <a:lnTo>
                    <a:pt x="616052" y="204990"/>
                  </a:lnTo>
                  <a:lnTo>
                    <a:pt x="616052" y="204292"/>
                  </a:lnTo>
                  <a:lnTo>
                    <a:pt x="616154" y="204292"/>
                  </a:lnTo>
                  <a:lnTo>
                    <a:pt x="616154" y="204990"/>
                  </a:lnTo>
                  <a:lnTo>
                    <a:pt x="616154" y="204292"/>
                  </a:lnTo>
                  <a:lnTo>
                    <a:pt x="616205" y="204292"/>
                  </a:lnTo>
                  <a:lnTo>
                    <a:pt x="616205" y="204990"/>
                  </a:lnTo>
                  <a:lnTo>
                    <a:pt x="616205" y="204292"/>
                  </a:lnTo>
                  <a:lnTo>
                    <a:pt x="616205" y="204990"/>
                  </a:lnTo>
                  <a:lnTo>
                    <a:pt x="616205" y="204292"/>
                  </a:lnTo>
                  <a:lnTo>
                    <a:pt x="616205" y="204990"/>
                  </a:lnTo>
                  <a:lnTo>
                    <a:pt x="616255" y="204990"/>
                  </a:lnTo>
                  <a:lnTo>
                    <a:pt x="616255" y="204292"/>
                  </a:lnTo>
                  <a:lnTo>
                    <a:pt x="616255" y="204990"/>
                  </a:lnTo>
                  <a:lnTo>
                    <a:pt x="616255" y="203594"/>
                  </a:lnTo>
                  <a:lnTo>
                    <a:pt x="616255" y="204292"/>
                  </a:lnTo>
                  <a:lnTo>
                    <a:pt x="616357" y="204292"/>
                  </a:lnTo>
                  <a:lnTo>
                    <a:pt x="616357" y="203594"/>
                  </a:lnTo>
                  <a:lnTo>
                    <a:pt x="616357" y="204292"/>
                  </a:lnTo>
                  <a:lnTo>
                    <a:pt x="616357" y="203594"/>
                  </a:lnTo>
                  <a:lnTo>
                    <a:pt x="616357" y="204990"/>
                  </a:lnTo>
                  <a:lnTo>
                    <a:pt x="616357" y="204292"/>
                  </a:lnTo>
                  <a:lnTo>
                    <a:pt x="616408" y="204292"/>
                  </a:lnTo>
                  <a:lnTo>
                    <a:pt x="616408" y="203594"/>
                  </a:lnTo>
                  <a:lnTo>
                    <a:pt x="616408" y="204292"/>
                  </a:lnTo>
                  <a:lnTo>
                    <a:pt x="616408" y="203594"/>
                  </a:lnTo>
                  <a:lnTo>
                    <a:pt x="616408" y="204292"/>
                  </a:lnTo>
                  <a:lnTo>
                    <a:pt x="616408" y="203594"/>
                  </a:lnTo>
                  <a:lnTo>
                    <a:pt x="616408" y="204292"/>
                  </a:lnTo>
                  <a:lnTo>
                    <a:pt x="616458" y="204292"/>
                  </a:lnTo>
                  <a:lnTo>
                    <a:pt x="616458" y="203594"/>
                  </a:lnTo>
                  <a:lnTo>
                    <a:pt x="616458" y="204292"/>
                  </a:lnTo>
                  <a:lnTo>
                    <a:pt x="616458" y="202959"/>
                  </a:lnTo>
                  <a:lnTo>
                    <a:pt x="616458" y="203594"/>
                  </a:lnTo>
                  <a:lnTo>
                    <a:pt x="616458" y="202959"/>
                  </a:lnTo>
                  <a:lnTo>
                    <a:pt x="616497" y="202959"/>
                  </a:lnTo>
                  <a:lnTo>
                    <a:pt x="616497" y="202260"/>
                  </a:lnTo>
                  <a:lnTo>
                    <a:pt x="616497" y="203594"/>
                  </a:lnTo>
                  <a:lnTo>
                    <a:pt x="616497" y="202959"/>
                  </a:lnTo>
                  <a:lnTo>
                    <a:pt x="616598" y="202959"/>
                  </a:lnTo>
                  <a:lnTo>
                    <a:pt x="616598" y="202260"/>
                  </a:lnTo>
                  <a:lnTo>
                    <a:pt x="616598" y="204990"/>
                  </a:lnTo>
                  <a:lnTo>
                    <a:pt x="616598" y="203594"/>
                  </a:lnTo>
                  <a:lnTo>
                    <a:pt x="616649" y="204292"/>
                  </a:lnTo>
                  <a:lnTo>
                    <a:pt x="616649" y="204990"/>
                  </a:lnTo>
                  <a:lnTo>
                    <a:pt x="616649" y="204292"/>
                  </a:lnTo>
                  <a:lnTo>
                    <a:pt x="616649" y="204990"/>
                  </a:lnTo>
                  <a:lnTo>
                    <a:pt x="616649" y="204292"/>
                  </a:lnTo>
                  <a:lnTo>
                    <a:pt x="616700" y="204292"/>
                  </a:lnTo>
                  <a:lnTo>
                    <a:pt x="616700" y="204990"/>
                  </a:lnTo>
                  <a:lnTo>
                    <a:pt x="616700" y="204292"/>
                  </a:lnTo>
                  <a:lnTo>
                    <a:pt x="616700" y="206324"/>
                  </a:lnTo>
                  <a:lnTo>
                    <a:pt x="616700" y="204990"/>
                  </a:lnTo>
                  <a:lnTo>
                    <a:pt x="616700" y="206324"/>
                  </a:lnTo>
                  <a:lnTo>
                    <a:pt x="616700" y="204990"/>
                  </a:lnTo>
                  <a:lnTo>
                    <a:pt x="616801" y="204990"/>
                  </a:lnTo>
                  <a:lnTo>
                    <a:pt x="616801" y="204292"/>
                  </a:lnTo>
                  <a:lnTo>
                    <a:pt x="616801" y="204990"/>
                  </a:lnTo>
                  <a:lnTo>
                    <a:pt x="616852" y="204292"/>
                  </a:lnTo>
                  <a:lnTo>
                    <a:pt x="616852" y="204990"/>
                  </a:lnTo>
                  <a:lnTo>
                    <a:pt x="616852" y="204292"/>
                  </a:lnTo>
                  <a:lnTo>
                    <a:pt x="616852" y="204990"/>
                  </a:lnTo>
                  <a:lnTo>
                    <a:pt x="616852" y="204292"/>
                  </a:lnTo>
                  <a:lnTo>
                    <a:pt x="616852" y="204990"/>
                  </a:lnTo>
                  <a:lnTo>
                    <a:pt x="616852" y="204292"/>
                  </a:lnTo>
                  <a:lnTo>
                    <a:pt x="616852" y="204990"/>
                  </a:lnTo>
                  <a:lnTo>
                    <a:pt x="616903" y="204990"/>
                  </a:lnTo>
                  <a:lnTo>
                    <a:pt x="616903" y="203594"/>
                  </a:lnTo>
                  <a:lnTo>
                    <a:pt x="616954" y="203594"/>
                  </a:lnTo>
                  <a:lnTo>
                    <a:pt x="616954" y="202260"/>
                  </a:lnTo>
                  <a:lnTo>
                    <a:pt x="616954" y="202959"/>
                  </a:lnTo>
                  <a:lnTo>
                    <a:pt x="617043" y="202260"/>
                  </a:lnTo>
                  <a:lnTo>
                    <a:pt x="617043" y="203594"/>
                  </a:lnTo>
                  <a:lnTo>
                    <a:pt x="617043" y="202959"/>
                  </a:lnTo>
                  <a:lnTo>
                    <a:pt x="617043" y="203594"/>
                  </a:lnTo>
                  <a:lnTo>
                    <a:pt x="617043" y="202959"/>
                  </a:lnTo>
                  <a:lnTo>
                    <a:pt x="617093" y="202959"/>
                  </a:lnTo>
                  <a:lnTo>
                    <a:pt x="617093" y="204990"/>
                  </a:lnTo>
                  <a:lnTo>
                    <a:pt x="617093" y="203594"/>
                  </a:lnTo>
                  <a:lnTo>
                    <a:pt x="617093" y="204292"/>
                  </a:lnTo>
                  <a:lnTo>
                    <a:pt x="617144" y="204990"/>
                  </a:lnTo>
                  <a:lnTo>
                    <a:pt x="617144" y="204292"/>
                  </a:lnTo>
                  <a:lnTo>
                    <a:pt x="617144" y="204990"/>
                  </a:lnTo>
                  <a:lnTo>
                    <a:pt x="617144" y="204292"/>
                  </a:lnTo>
                  <a:lnTo>
                    <a:pt x="617144" y="204990"/>
                  </a:lnTo>
                  <a:lnTo>
                    <a:pt x="617195" y="204990"/>
                  </a:lnTo>
                  <a:lnTo>
                    <a:pt x="617195" y="204292"/>
                  </a:lnTo>
                  <a:lnTo>
                    <a:pt x="617195" y="204990"/>
                  </a:lnTo>
                  <a:lnTo>
                    <a:pt x="617297" y="204990"/>
                  </a:lnTo>
                  <a:lnTo>
                    <a:pt x="617297" y="206324"/>
                  </a:lnTo>
                  <a:lnTo>
                    <a:pt x="617297" y="204990"/>
                  </a:lnTo>
                  <a:lnTo>
                    <a:pt x="617297" y="206324"/>
                  </a:lnTo>
                  <a:lnTo>
                    <a:pt x="617297" y="204990"/>
                  </a:lnTo>
                  <a:lnTo>
                    <a:pt x="617347" y="204990"/>
                  </a:lnTo>
                  <a:lnTo>
                    <a:pt x="617347" y="206324"/>
                  </a:lnTo>
                  <a:lnTo>
                    <a:pt x="617347" y="204990"/>
                  </a:lnTo>
                  <a:lnTo>
                    <a:pt x="617347" y="206324"/>
                  </a:lnTo>
                  <a:lnTo>
                    <a:pt x="617347" y="204990"/>
                  </a:lnTo>
                  <a:lnTo>
                    <a:pt x="617398" y="204990"/>
                  </a:lnTo>
                  <a:lnTo>
                    <a:pt x="617398" y="203594"/>
                  </a:lnTo>
                  <a:lnTo>
                    <a:pt x="617500" y="204292"/>
                  </a:lnTo>
                  <a:lnTo>
                    <a:pt x="617500" y="202260"/>
                  </a:lnTo>
                  <a:lnTo>
                    <a:pt x="617538" y="202260"/>
                  </a:lnTo>
                  <a:lnTo>
                    <a:pt x="617538" y="202959"/>
                  </a:lnTo>
                  <a:lnTo>
                    <a:pt x="617538" y="202260"/>
                  </a:lnTo>
                  <a:lnTo>
                    <a:pt x="617538" y="202959"/>
                  </a:lnTo>
                  <a:lnTo>
                    <a:pt x="617589" y="203594"/>
                  </a:lnTo>
                  <a:lnTo>
                    <a:pt x="617589" y="204292"/>
                  </a:lnTo>
                  <a:lnTo>
                    <a:pt x="617640" y="204292"/>
                  </a:lnTo>
                  <a:lnTo>
                    <a:pt x="617640" y="204990"/>
                  </a:lnTo>
                  <a:lnTo>
                    <a:pt x="617640" y="203594"/>
                  </a:lnTo>
                  <a:lnTo>
                    <a:pt x="617640" y="204990"/>
                  </a:lnTo>
                  <a:lnTo>
                    <a:pt x="617741" y="204990"/>
                  </a:lnTo>
                  <a:lnTo>
                    <a:pt x="617741" y="204292"/>
                  </a:lnTo>
                  <a:lnTo>
                    <a:pt x="617741" y="204990"/>
                  </a:lnTo>
                  <a:lnTo>
                    <a:pt x="617741" y="204292"/>
                  </a:lnTo>
                  <a:lnTo>
                    <a:pt x="617741" y="204990"/>
                  </a:lnTo>
                  <a:lnTo>
                    <a:pt x="617792" y="204990"/>
                  </a:lnTo>
                  <a:lnTo>
                    <a:pt x="617792" y="206324"/>
                  </a:lnTo>
                  <a:lnTo>
                    <a:pt x="617792" y="204990"/>
                  </a:lnTo>
                  <a:lnTo>
                    <a:pt x="617792" y="206324"/>
                  </a:lnTo>
                  <a:lnTo>
                    <a:pt x="617843" y="206324"/>
                  </a:lnTo>
                  <a:lnTo>
                    <a:pt x="617843" y="204990"/>
                  </a:lnTo>
                  <a:lnTo>
                    <a:pt x="617843" y="206324"/>
                  </a:lnTo>
                  <a:lnTo>
                    <a:pt x="617843" y="204990"/>
                  </a:lnTo>
                  <a:lnTo>
                    <a:pt x="617843" y="206324"/>
                  </a:lnTo>
                  <a:lnTo>
                    <a:pt x="617843" y="204990"/>
                  </a:lnTo>
                  <a:lnTo>
                    <a:pt x="617843" y="206324"/>
                  </a:lnTo>
                  <a:lnTo>
                    <a:pt x="617843" y="204990"/>
                  </a:lnTo>
                  <a:lnTo>
                    <a:pt x="617944" y="204990"/>
                  </a:lnTo>
                  <a:lnTo>
                    <a:pt x="617944" y="204292"/>
                  </a:lnTo>
                  <a:lnTo>
                    <a:pt x="617944" y="204990"/>
                  </a:lnTo>
                  <a:lnTo>
                    <a:pt x="617944" y="203594"/>
                  </a:lnTo>
                  <a:lnTo>
                    <a:pt x="617944" y="204292"/>
                  </a:lnTo>
                  <a:lnTo>
                    <a:pt x="617995" y="203594"/>
                  </a:lnTo>
                  <a:lnTo>
                    <a:pt x="617995" y="202959"/>
                  </a:lnTo>
                  <a:lnTo>
                    <a:pt x="617995" y="203594"/>
                  </a:lnTo>
                  <a:lnTo>
                    <a:pt x="618046" y="203594"/>
                  </a:lnTo>
                  <a:lnTo>
                    <a:pt x="618046" y="202260"/>
                  </a:lnTo>
                  <a:lnTo>
                    <a:pt x="618046" y="204292"/>
                  </a:lnTo>
                  <a:lnTo>
                    <a:pt x="618084" y="203594"/>
                  </a:lnTo>
                  <a:lnTo>
                    <a:pt x="618084" y="204292"/>
                  </a:lnTo>
                  <a:lnTo>
                    <a:pt x="618084" y="203594"/>
                  </a:lnTo>
                  <a:lnTo>
                    <a:pt x="618084" y="204292"/>
                  </a:lnTo>
                  <a:lnTo>
                    <a:pt x="618186" y="204292"/>
                  </a:lnTo>
                  <a:lnTo>
                    <a:pt x="618186" y="203594"/>
                  </a:lnTo>
                  <a:lnTo>
                    <a:pt x="618186" y="204292"/>
                  </a:lnTo>
                  <a:lnTo>
                    <a:pt x="618186" y="202959"/>
                  </a:lnTo>
                  <a:lnTo>
                    <a:pt x="618186" y="204292"/>
                  </a:lnTo>
                  <a:lnTo>
                    <a:pt x="618186" y="203594"/>
                  </a:lnTo>
                  <a:lnTo>
                    <a:pt x="618186" y="204292"/>
                  </a:lnTo>
                  <a:lnTo>
                    <a:pt x="618186" y="203594"/>
                  </a:lnTo>
                  <a:lnTo>
                    <a:pt x="618237" y="204292"/>
                  </a:lnTo>
                  <a:lnTo>
                    <a:pt x="618237" y="203594"/>
                  </a:lnTo>
                  <a:lnTo>
                    <a:pt x="618237" y="204990"/>
                  </a:lnTo>
                  <a:lnTo>
                    <a:pt x="618237" y="204292"/>
                  </a:lnTo>
                  <a:lnTo>
                    <a:pt x="618287" y="204292"/>
                  </a:lnTo>
                  <a:lnTo>
                    <a:pt x="618287" y="204990"/>
                  </a:lnTo>
                  <a:lnTo>
                    <a:pt x="618287" y="204292"/>
                  </a:lnTo>
                  <a:lnTo>
                    <a:pt x="618287" y="204990"/>
                  </a:lnTo>
                  <a:lnTo>
                    <a:pt x="618389" y="204990"/>
                  </a:lnTo>
                  <a:lnTo>
                    <a:pt x="618389" y="204292"/>
                  </a:lnTo>
                  <a:lnTo>
                    <a:pt x="618389" y="204990"/>
                  </a:lnTo>
                  <a:lnTo>
                    <a:pt x="618389" y="204292"/>
                  </a:lnTo>
                  <a:lnTo>
                    <a:pt x="618440" y="204292"/>
                  </a:lnTo>
                  <a:lnTo>
                    <a:pt x="618440" y="204990"/>
                  </a:lnTo>
                  <a:lnTo>
                    <a:pt x="618440" y="203594"/>
                  </a:lnTo>
                  <a:lnTo>
                    <a:pt x="618440" y="204292"/>
                  </a:lnTo>
                  <a:lnTo>
                    <a:pt x="618491" y="204292"/>
                  </a:lnTo>
                  <a:lnTo>
                    <a:pt x="618491" y="203594"/>
                  </a:lnTo>
                  <a:lnTo>
                    <a:pt x="618491" y="204990"/>
                  </a:lnTo>
                  <a:lnTo>
                    <a:pt x="618491" y="203594"/>
                  </a:lnTo>
                  <a:lnTo>
                    <a:pt x="618541" y="202959"/>
                  </a:lnTo>
                  <a:lnTo>
                    <a:pt x="618541" y="207022"/>
                  </a:lnTo>
                  <a:lnTo>
                    <a:pt x="618541" y="204292"/>
                  </a:lnTo>
                  <a:lnTo>
                    <a:pt x="618630" y="204292"/>
                  </a:lnTo>
                  <a:lnTo>
                    <a:pt x="618630" y="207022"/>
                  </a:lnTo>
                  <a:lnTo>
                    <a:pt x="618630" y="206324"/>
                  </a:lnTo>
                  <a:lnTo>
                    <a:pt x="618630" y="207022"/>
                  </a:lnTo>
                  <a:lnTo>
                    <a:pt x="618630" y="204990"/>
                  </a:lnTo>
                  <a:lnTo>
                    <a:pt x="618681" y="204990"/>
                  </a:lnTo>
                  <a:lnTo>
                    <a:pt x="618681" y="206324"/>
                  </a:lnTo>
                  <a:lnTo>
                    <a:pt x="618681" y="204990"/>
                  </a:lnTo>
                  <a:lnTo>
                    <a:pt x="618681" y="206324"/>
                  </a:lnTo>
                  <a:lnTo>
                    <a:pt x="618681" y="204990"/>
                  </a:lnTo>
                  <a:lnTo>
                    <a:pt x="618732" y="204990"/>
                  </a:lnTo>
                  <a:lnTo>
                    <a:pt x="618732" y="206324"/>
                  </a:lnTo>
                  <a:lnTo>
                    <a:pt x="618732" y="204990"/>
                  </a:lnTo>
                  <a:lnTo>
                    <a:pt x="618732" y="206324"/>
                  </a:lnTo>
                  <a:lnTo>
                    <a:pt x="618783" y="206324"/>
                  </a:lnTo>
                  <a:lnTo>
                    <a:pt x="618783" y="204990"/>
                  </a:lnTo>
                  <a:lnTo>
                    <a:pt x="618783" y="206324"/>
                  </a:lnTo>
                  <a:lnTo>
                    <a:pt x="618783" y="204990"/>
                  </a:lnTo>
                  <a:lnTo>
                    <a:pt x="618783" y="206324"/>
                  </a:lnTo>
                  <a:lnTo>
                    <a:pt x="618783" y="204990"/>
                  </a:lnTo>
                  <a:lnTo>
                    <a:pt x="618783" y="206324"/>
                  </a:lnTo>
                  <a:lnTo>
                    <a:pt x="618884" y="204990"/>
                  </a:lnTo>
                  <a:lnTo>
                    <a:pt x="618884" y="206324"/>
                  </a:lnTo>
                  <a:lnTo>
                    <a:pt x="618884" y="204292"/>
                  </a:lnTo>
                  <a:lnTo>
                    <a:pt x="618935" y="204292"/>
                  </a:lnTo>
                  <a:lnTo>
                    <a:pt x="618935" y="202959"/>
                  </a:lnTo>
                  <a:lnTo>
                    <a:pt x="618935" y="203594"/>
                  </a:lnTo>
                  <a:lnTo>
                    <a:pt x="618935" y="202959"/>
                  </a:lnTo>
                  <a:lnTo>
                    <a:pt x="618986" y="202959"/>
                  </a:lnTo>
                  <a:lnTo>
                    <a:pt x="618986" y="204990"/>
                  </a:lnTo>
                  <a:lnTo>
                    <a:pt x="618986" y="202959"/>
                  </a:lnTo>
                  <a:lnTo>
                    <a:pt x="619087" y="202959"/>
                  </a:lnTo>
                  <a:lnTo>
                    <a:pt x="619087" y="207022"/>
                  </a:lnTo>
                  <a:lnTo>
                    <a:pt x="619087" y="204292"/>
                  </a:lnTo>
                  <a:lnTo>
                    <a:pt x="619087" y="204990"/>
                  </a:lnTo>
                  <a:lnTo>
                    <a:pt x="619126" y="206324"/>
                  </a:lnTo>
                  <a:lnTo>
                    <a:pt x="619126" y="207022"/>
                  </a:lnTo>
                  <a:lnTo>
                    <a:pt x="619126" y="204990"/>
                  </a:lnTo>
                  <a:lnTo>
                    <a:pt x="619126" y="206324"/>
                  </a:lnTo>
                  <a:lnTo>
                    <a:pt x="619176" y="206324"/>
                  </a:lnTo>
                  <a:lnTo>
                    <a:pt x="619176" y="204990"/>
                  </a:lnTo>
                  <a:lnTo>
                    <a:pt x="619176" y="206324"/>
                  </a:lnTo>
                  <a:lnTo>
                    <a:pt x="619176" y="204990"/>
                  </a:lnTo>
                  <a:lnTo>
                    <a:pt x="619227" y="206324"/>
                  </a:lnTo>
                  <a:lnTo>
                    <a:pt x="619227" y="204990"/>
                  </a:lnTo>
                  <a:lnTo>
                    <a:pt x="619227" y="206324"/>
                  </a:lnTo>
                  <a:lnTo>
                    <a:pt x="619227" y="204990"/>
                  </a:lnTo>
                  <a:lnTo>
                    <a:pt x="619227" y="206324"/>
                  </a:lnTo>
                  <a:lnTo>
                    <a:pt x="619227" y="204990"/>
                  </a:lnTo>
                  <a:lnTo>
                    <a:pt x="619227" y="206324"/>
                  </a:lnTo>
                  <a:lnTo>
                    <a:pt x="619227" y="204990"/>
                  </a:lnTo>
                  <a:lnTo>
                    <a:pt x="619227" y="206324"/>
                  </a:lnTo>
                  <a:lnTo>
                    <a:pt x="619227" y="204990"/>
                  </a:lnTo>
                  <a:lnTo>
                    <a:pt x="619227" y="206324"/>
                  </a:lnTo>
                  <a:lnTo>
                    <a:pt x="619329" y="207022"/>
                  </a:lnTo>
                  <a:lnTo>
                    <a:pt x="619329" y="204990"/>
                  </a:lnTo>
                  <a:lnTo>
                    <a:pt x="619329" y="206324"/>
                  </a:lnTo>
                  <a:lnTo>
                    <a:pt x="619329" y="204990"/>
                  </a:lnTo>
                  <a:lnTo>
                    <a:pt x="619380" y="204990"/>
                  </a:lnTo>
                  <a:lnTo>
                    <a:pt x="619380" y="204292"/>
                  </a:lnTo>
                  <a:lnTo>
                    <a:pt x="619430" y="204292"/>
                  </a:lnTo>
                  <a:lnTo>
                    <a:pt x="619430" y="202959"/>
                  </a:lnTo>
                  <a:lnTo>
                    <a:pt x="619430" y="203594"/>
                  </a:lnTo>
                  <a:lnTo>
                    <a:pt x="619532" y="203594"/>
                  </a:lnTo>
                  <a:lnTo>
                    <a:pt x="619532" y="204990"/>
                  </a:lnTo>
                  <a:lnTo>
                    <a:pt x="619532" y="202959"/>
                  </a:lnTo>
                  <a:lnTo>
                    <a:pt x="619532" y="203594"/>
                  </a:lnTo>
                  <a:lnTo>
                    <a:pt x="619532" y="202959"/>
                  </a:lnTo>
                  <a:lnTo>
                    <a:pt x="619532" y="206324"/>
                  </a:lnTo>
                  <a:lnTo>
                    <a:pt x="619583" y="206324"/>
                  </a:lnTo>
                  <a:lnTo>
                    <a:pt x="619583" y="204292"/>
                  </a:lnTo>
                  <a:lnTo>
                    <a:pt x="619583" y="204990"/>
                  </a:lnTo>
                  <a:lnTo>
                    <a:pt x="619583" y="204292"/>
                  </a:lnTo>
                  <a:lnTo>
                    <a:pt x="619583" y="206324"/>
                  </a:lnTo>
                  <a:lnTo>
                    <a:pt x="619633" y="206324"/>
                  </a:lnTo>
                  <a:lnTo>
                    <a:pt x="619633" y="204990"/>
                  </a:lnTo>
                  <a:lnTo>
                    <a:pt x="619633" y="207022"/>
                  </a:lnTo>
                  <a:lnTo>
                    <a:pt x="619633" y="206324"/>
                  </a:lnTo>
                  <a:lnTo>
                    <a:pt x="619672" y="206324"/>
                  </a:lnTo>
                  <a:lnTo>
                    <a:pt x="619672" y="207022"/>
                  </a:lnTo>
                  <a:lnTo>
                    <a:pt x="619773" y="207022"/>
                  </a:lnTo>
                  <a:lnTo>
                    <a:pt x="619773" y="207721"/>
                  </a:lnTo>
                  <a:lnTo>
                    <a:pt x="619773" y="207022"/>
                  </a:lnTo>
                  <a:lnTo>
                    <a:pt x="619824" y="207022"/>
                  </a:lnTo>
                  <a:lnTo>
                    <a:pt x="619824" y="206324"/>
                  </a:lnTo>
                  <a:lnTo>
                    <a:pt x="619824" y="207022"/>
                  </a:lnTo>
                  <a:lnTo>
                    <a:pt x="619824" y="206324"/>
                  </a:lnTo>
                  <a:lnTo>
                    <a:pt x="619824" y="207022"/>
                  </a:lnTo>
                  <a:lnTo>
                    <a:pt x="619824" y="206324"/>
                  </a:lnTo>
                  <a:lnTo>
                    <a:pt x="619875" y="207022"/>
                  </a:lnTo>
                  <a:lnTo>
                    <a:pt x="619875" y="203594"/>
                  </a:lnTo>
                  <a:lnTo>
                    <a:pt x="619976" y="204292"/>
                  </a:lnTo>
                  <a:lnTo>
                    <a:pt x="619976" y="202260"/>
                  </a:lnTo>
                  <a:lnTo>
                    <a:pt x="619976" y="204292"/>
                  </a:lnTo>
                  <a:lnTo>
                    <a:pt x="620027" y="204292"/>
                  </a:lnTo>
                  <a:lnTo>
                    <a:pt x="620027" y="202959"/>
                  </a:lnTo>
                  <a:lnTo>
                    <a:pt x="620027" y="206324"/>
                  </a:lnTo>
                  <a:lnTo>
                    <a:pt x="620027" y="204990"/>
                  </a:lnTo>
                  <a:lnTo>
                    <a:pt x="620078" y="204292"/>
                  </a:lnTo>
                  <a:lnTo>
                    <a:pt x="620078" y="206324"/>
                  </a:lnTo>
                  <a:lnTo>
                    <a:pt x="620078" y="204990"/>
                  </a:lnTo>
                  <a:lnTo>
                    <a:pt x="620129" y="204990"/>
                  </a:lnTo>
                  <a:lnTo>
                    <a:pt x="620129" y="206324"/>
                  </a:lnTo>
                  <a:lnTo>
                    <a:pt x="620129" y="204990"/>
                  </a:lnTo>
                  <a:lnTo>
                    <a:pt x="620218" y="204990"/>
                  </a:lnTo>
                  <a:lnTo>
                    <a:pt x="620218" y="206324"/>
                  </a:lnTo>
                  <a:lnTo>
                    <a:pt x="620218" y="204990"/>
                  </a:lnTo>
                  <a:lnTo>
                    <a:pt x="620218" y="206324"/>
                  </a:lnTo>
                  <a:lnTo>
                    <a:pt x="620268" y="206324"/>
                  </a:lnTo>
                  <a:lnTo>
                    <a:pt x="620268" y="207022"/>
                  </a:lnTo>
                  <a:lnTo>
                    <a:pt x="620268" y="206324"/>
                  </a:lnTo>
                  <a:lnTo>
                    <a:pt x="620268" y="207022"/>
                  </a:lnTo>
                  <a:lnTo>
                    <a:pt x="620268" y="206324"/>
                  </a:lnTo>
                  <a:lnTo>
                    <a:pt x="620268" y="207022"/>
                  </a:lnTo>
                  <a:lnTo>
                    <a:pt x="620268" y="206324"/>
                  </a:lnTo>
                  <a:lnTo>
                    <a:pt x="620319" y="206324"/>
                  </a:lnTo>
                  <a:lnTo>
                    <a:pt x="620319" y="207022"/>
                  </a:lnTo>
                  <a:lnTo>
                    <a:pt x="620319" y="206324"/>
                  </a:lnTo>
                  <a:lnTo>
                    <a:pt x="620319" y="207022"/>
                  </a:lnTo>
                  <a:lnTo>
                    <a:pt x="620319" y="204990"/>
                  </a:lnTo>
                  <a:lnTo>
                    <a:pt x="620319" y="206324"/>
                  </a:lnTo>
                  <a:lnTo>
                    <a:pt x="620319" y="204990"/>
                  </a:lnTo>
                  <a:lnTo>
                    <a:pt x="620319" y="206324"/>
                  </a:lnTo>
                  <a:lnTo>
                    <a:pt x="620319" y="204990"/>
                  </a:lnTo>
                  <a:lnTo>
                    <a:pt x="620370" y="204990"/>
                  </a:lnTo>
                  <a:lnTo>
                    <a:pt x="620370" y="203594"/>
                  </a:lnTo>
                  <a:lnTo>
                    <a:pt x="620472" y="203594"/>
                  </a:lnTo>
                  <a:lnTo>
                    <a:pt x="620472" y="202260"/>
                  </a:lnTo>
                  <a:lnTo>
                    <a:pt x="620472" y="203594"/>
                  </a:lnTo>
                  <a:lnTo>
                    <a:pt x="620522" y="202959"/>
                  </a:lnTo>
                  <a:lnTo>
                    <a:pt x="620522" y="204292"/>
                  </a:lnTo>
                  <a:lnTo>
                    <a:pt x="620522" y="203594"/>
                  </a:lnTo>
                  <a:lnTo>
                    <a:pt x="620573" y="203594"/>
                  </a:lnTo>
                  <a:lnTo>
                    <a:pt x="620573" y="202959"/>
                  </a:lnTo>
                  <a:lnTo>
                    <a:pt x="620573" y="204292"/>
                  </a:lnTo>
                  <a:lnTo>
                    <a:pt x="620573" y="203594"/>
                  </a:lnTo>
                  <a:lnTo>
                    <a:pt x="620675" y="203594"/>
                  </a:lnTo>
                  <a:lnTo>
                    <a:pt x="620675" y="204292"/>
                  </a:lnTo>
                  <a:lnTo>
                    <a:pt x="620675" y="203594"/>
                  </a:lnTo>
                  <a:lnTo>
                    <a:pt x="620675" y="204292"/>
                  </a:lnTo>
                  <a:lnTo>
                    <a:pt x="620675" y="203594"/>
                  </a:lnTo>
                  <a:lnTo>
                    <a:pt x="620675" y="204292"/>
                  </a:lnTo>
                  <a:lnTo>
                    <a:pt x="620713" y="204292"/>
                  </a:lnTo>
                  <a:lnTo>
                    <a:pt x="620713" y="204990"/>
                  </a:lnTo>
                  <a:lnTo>
                    <a:pt x="620764" y="204990"/>
                  </a:lnTo>
                  <a:lnTo>
                    <a:pt x="620764" y="206324"/>
                  </a:lnTo>
                  <a:lnTo>
                    <a:pt x="620815" y="206324"/>
                  </a:lnTo>
                  <a:lnTo>
                    <a:pt x="620815" y="204990"/>
                  </a:lnTo>
                  <a:lnTo>
                    <a:pt x="620815" y="206324"/>
                  </a:lnTo>
                  <a:lnTo>
                    <a:pt x="620815" y="204292"/>
                  </a:lnTo>
                  <a:lnTo>
                    <a:pt x="620815" y="204990"/>
                  </a:lnTo>
                  <a:lnTo>
                    <a:pt x="620916" y="204292"/>
                  </a:lnTo>
                  <a:lnTo>
                    <a:pt x="620916" y="204990"/>
                  </a:lnTo>
                  <a:lnTo>
                    <a:pt x="620916" y="204292"/>
                  </a:lnTo>
                  <a:lnTo>
                    <a:pt x="620916" y="204990"/>
                  </a:lnTo>
                  <a:lnTo>
                    <a:pt x="620916" y="202959"/>
                  </a:lnTo>
                  <a:lnTo>
                    <a:pt x="620967" y="203594"/>
                  </a:lnTo>
                  <a:lnTo>
                    <a:pt x="620967" y="202260"/>
                  </a:lnTo>
                  <a:lnTo>
                    <a:pt x="620967" y="203594"/>
                  </a:lnTo>
                  <a:lnTo>
                    <a:pt x="620967" y="202959"/>
                  </a:lnTo>
                  <a:lnTo>
                    <a:pt x="620967" y="203594"/>
                  </a:lnTo>
                  <a:lnTo>
                    <a:pt x="621018" y="203594"/>
                  </a:lnTo>
                  <a:lnTo>
                    <a:pt x="621018" y="200876"/>
                  </a:lnTo>
                  <a:lnTo>
                    <a:pt x="621018" y="204292"/>
                  </a:lnTo>
                  <a:lnTo>
                    <a:pt x="621018" y="203594"/>
                  </a:lnTo>
                  <a:lnTo>
                    <a:pt x="621119" y="203594"/>
                  </a:lnTo>
                  <a:lnTo>
                    <a:pt x="621119" y="202959"/>
                  </a:lnTo>
                  <a:lnTo>
                    <a:pt x="621119" y="203594"/>
                  </a:lnTo>
                  <a:lnTo>
                    <a:pt x="621119" y="202959"/>
                  </a:lnTo>
                  <a:lnTo>
                    <a:pt x="621119" y="204292"/>
                  </a:lnTo>
                  <a:lnTo>
                    <a:pt x="621119" y="203594"/>
                  </a:lnTo>
                  <a:lnTo>
                    <a:pt x="621170" y="203594"/>
                  </a:lnTo>
                  <a:lnTo>
                    <a:pt x="621170" y="202959"/>
                  </a:lnTo>
                  <a:lnTo>
                    <a:pt x="621170" y="204292"/>
                  </a:lnTo>
                  <a:lnTo>
                    <a:pt x="621170" y="203594"/>
                  </a:lnTo>
                  <a:lnTo>
                    <a:pt x="621170" y="204292"/>
                  </a:lnTo>
                  <a:lnTo>
                    <a:pt x="621170" y="203594"/>
                  </a:lnTo>
                  <a:lnTo>
                    <a:pt x="621221" y="203594"/>
                  </a:lnTo>
                  <a:lnTo>
                    <a:pt x="621221" y="204990"/>
                  </a:lnTo>
                  <a:lnTo>
                    <a:pt x="621361" y="204990"/>
                  </a:lnTo>
                  <a:lnTo>
                    <a:pt x="621361" y="204292"/>
                  </a:lnTo>
                  <a:lnTo>
                    <a:pt x="621361" y="204990"/>
                  </a:lnTo>
                  <a:lnTo>
                    <a:pt x="621361" y="204292"/>
                  </a:lnTo>
                  <a:lnTo>
                    <a:pt x="621412" y="204292"/>
                  </a:lnTo>
                  <a:lnTo>
                    <a:pt x="621412" y="203594"/>
                  </a:lnTo>
                  <a:lnTo>
                    <a:pt x="621412" y="204292"/>
                  </a:lnTo>
                  <a:lnTo>
                    <a:pt x="621462" y="204292"/>
                  </a:lnTo>
                  <a:lnTo>
                    <a:pt x="621462" y="204990"/>
                  </a:lnTo>
                  <a:lnTo>
                    <a:pt x="621462" y="204292"/>
                  </a:lnTo>
                  <a:lnTo>
                    <a:pt x="621462" y="207022"/>
                  </a:lnTo>
                  <a:lnTo>
                    <a:pt x="621564" y="207022"/>
                  </a:lnTo>
                  <a:lnTo>
                    <a:pt x="621564" y="204990"/>
                  </a:lnTo>
                  <a:lnTo>
                    <a:pt x="621564" y="206324"/>
                  </a:lnTo>
                  <a:lnTo>
                    <a:pt x="621615" y="206324"/>
                  </a:lnTo>
                  <a:lnTo>
                    <a:pt x="621615" y="204990"/>
                  </a:lnTo>
                  <a:lnTo>
                    <a:pt x="621615" y="206324"/>
                  </a:lnTo>
                  <a:lnTo>
                    <a:pt x="621666" y="206324"/>
                  </a:lnTo>
                  <a:lnTo>
                    <a:pt x="621666" y="204990"/>
                  </a:lnTo>
                  <a:lnTo>
                    <a:pt x="621666" y="206324"/>
                  </a:lnTo>
                  <a:lnTo>
                    <a:pt x="621666" y="204990"/>
                  </a:lnTo>
                  <a:lnTo>
                    <a:pt x="621666" y="206324"/>
                  </a:lnTo>
                  <a:lnTo>
                    <a:pt x="621666" y="204990"/>
                  </a:lnTo>
                  <a:lnTo>
                    <a:pt x="621666" y="206324"/>
                  </a:lnTo>
                  <a:lnTo>
                    <a:pt x="621716" y="206324"/>
                  </a:lnTo>
                  <a:lnTo>
                    <a:pt x="621716" y="204990"/>
                  </a:lnTo>
                  <a:lnTo>
                    <a:pt x="621716" y="206324"/>
                  </a:lnTo>
                  <a:lnTo>
                    <a:pt x="621805" y="206324"/>
                  </a:lnTo>
                  <a:lnTo>
                    <a:pt x="621805" y="204990"/>
                  </a:lnTo>
                  <a:lnTo>
                    <a:pt x="621856" y="204990"/>
                  </a:lnTo>
                  <a:lnTo>
                    <a:pt x="621856" y="203594"/>
                  </a:lnTo>
                  <a:lnTo>
                    <a:pt x="621907" y="203594"/>
                  </a:lnTo>
                  <a:lnTo>
                    <a:pt x="621907" y="204292"/>
                  </a:lnTo>
                  <a:lnTo>
                    <a:pt x="621907" y="203594"/>
                  </a:lnTo>
                  <a:lnTo>
                    <a:pt x="621907" y="204990"/>
                  </a:lnTo>
                  <a:lnTo>
                    <a:pt x="621958" y="204990"/>
                  </a:lnTo>
                  <a:lnTo>
                    <a:pt x="621958" y="204292"/>
                  </a:lnTo>
                  <a:lnTo>
                    <a:pt x="621958" y="207022"/>
                  </a:lnTo>
                  <a:lnTo>
                    <a:pt x="621958" y="206324"/>
                  </a:lnTo>
                  <a:lnTo>
                    <a:pt x="622059" y="206324"/>
                  </a:lnTo>
                  <a:lnTo>
                    <a:pt x="622059" y="207022"/>
                  </a:lnTo>
                  <a:lnTo>
                    <a:pt x="622059" y="206324"/>
                  </a:lnTo>
                  <a:lnTo>
                    <a:pt x="622059" y="207022"/>
                  </a:lnTo>
                  <a:lnTo>
                    <a:pt x="622059" y="206324"/>
                  </a:lnTo>
                  <a:lnTo>
                    <a:pt x="622110" y="206324"/>
                  </a:lnTo>
                  <a:lnTo>
                    <a:pt x="622110" y="207022"/>
                  </a:lnTo>
                  <a:lnTo>
                    <a:pt x="622110" y="206324"/>
                  </a:lnTo>
                  <a:lnTo>
                    <a:pt x="622110" y="207022"/>
                  </a:lnTo>
                  <a:lnTo>
                    <a:pt x="622110" y="206324"/>
                  </a:lnTo>
                  <a:lnTo>
                    <a:pt x="622110" y="207022"/>
                  </a:lnTo>
                  <a:lnTo>
                    <a:pt x="622110" y="206324"/>
                  </a:lnTo>
                  <a:lnTo>
                    <a:pt x="622161" y="206324"/>
                  </a:lnTo>
                  <a:lnTo>
                    <a:pt x="622161" y="207022"/>
                  </a:lnTo>
                  <a:lnTo>
                    <a:pt x="622161" y="206324"/>
                  </a:lnTo>
                  <a:lnTo>
                    <a:pt x="622161" y="207022"/>
                  </a:lnTo>
                  <a:lnTo>
                    <a:pt x="622161" y="206324"/>
                  </a:lnTo>
                  <a:lnTo>
                    <a:pt x="622161" y="207022"/>
                  </a:lnTo>
                  <a:lnTo>
                    <a:pt x="622161" y="206324"/>
                  </a:lnTo>
                  <a:lnTo>
                    <a:pt x="622161" y="207022"/>
                  </a:lnTo>
                  <a:lnTo>
                    <a:pt x="622262" y="207022"/>
                  </a:lnTo>
                  <a:lnTo>
                    <a:pt x="622262" y="206324"/>
                  </a:lnTo>
                  <a:lnTo>
                    <a:pt x="622262" y="207022"/>
                  </a:lnTo>
                  <a:lnTo>
                    <a:pt x="622262" y="204990"/>
                  </a:lnTo>
                  <a:lnTo>
                    <a:pt x="622301" y="204990"/>
                  </a:lnTo>
                  <a:lnTo>
                    <a:pt x="622301" y="206324"/>
                  </a:lnTo>
                  <a:lnTo>
                    <a:pt x="622301" y="204292"/>
                  </a:lnTo>
                  <a:lnTo>
                    <a:pt x="622301" y="204990"/>
                  </a:lnTo>
                  <a:lnTo>
                    <a:pt x="622301" y="204292"/>
                  </a:lnTo>
                  <a:lnTo>
                    <a:pt x="622351" y="204292"/>
                  </a:lnTo>
                  <a:lnTo>
                    <a:pt x="622351" y="202959"/>
                  </a:lnTo>
                  <a:lnTo>
                    <a:pt x="622402" y="202959"/>
                  </a:lnTo>
                  <a:lnTo>
                    <a:pt x="622402" y="202260"/>
                  </a:lnTo>
                  <a:lnTo>
                    <a:pt x="622402" y="204292"/>
                  </a:lnTo>
                  <a:lnTo>
                    <a:pt x="622402" y="202959"/>
                  </a:lnTo>
                  <a:lnTo>
                    <a:pt x="622504" y="202959"/>
                  </a:lnTo>
                  <a:lnTo>
                    <a:pt x="622504" y="204990"/>
                  </a:lnTo>
                  <a:lnTo>
                    <a:pt x="622504" y="204292"/>
                  </a:lnTo>
                  <a:lnTo>
                    <a:pt x="622504" y="204990"/>
                  </a:lnTo>
                  <a:lnTo>
                    <a:pt x="622504" y="204292"/>
                  </a:lnTo>
                  <a:lnTo>
                    <a:pt x="622555" y="204292"/>
                  </a:lnTo>
                  <a:lnTo>
                    <a:pt x="622555" y="203594"/>
                  </a:lnTo>
                  <a:lnTo>
                    <a:pt x="622555" y="204990"/>
                  </a:lnTo>
                  <a:lnTo>
                    <a:pt x="622555" y="204292"/>
                  </a:lnTo>
                  <a:lnTo>
                    <a:pt x="622605" y="204292"/>
                  </a:lnTo>
                  <a:lnTo>
                    <a:pt x="622605" y="206324"/>
                  </a:lnTo>
                  <a:lnTo>
                    <a:pt x="622605" y="204990"/>
                  </a:lnTo>
                  <a:lnTo>
                    <a:pt x="622605" y="206324"/>
                  </a:lnTo>
                  <a:lnTo>
                    <a:pt x="622605" y="204990"/>
                  </a:lnTo>
                  <a:lnTo>
                    <a:pt x="622605" y="206324"/>
                  </a:lnTo>
                  <a:lnTo>
                    <a:pt x="622707" y="206324"/>
                  </a:lnTo>
                  <a:lnTo>
                    <a:pt x="622707" y="204990"/>
                  </a:lnTo>
                  <a:lnTo>
                    <a:pt x="622707" y="207022"/>
                  </a:lnTo>
                  <a:lnTo>
                    <a:pt x="622758" y="207022"/>
                  </a:lnTo>
                  <a:lnTo>
                    <a:pt x="622758" y="206324"/>
                  </a:lnTo>
                  <a:lnTo>
                    <a:pt x="622758" y="207022"/>
                  </a:lnTo>
                  <a:lnTo>
                    <a:pt x="622758" y="204990"/>
                  </a:lnTo>
                  <a:lnTo>
                    <a:pt x="622758" y="207022"/>
                  </a:lnTo>
                  <a:lnTo>
                    <a:pt x="622808" y="206324"/>
                  </a:lnTo>
                  <a:lnTo>
                    <a:pt x="622808" y="204990"/>
                  </a:lnTo>
                  <a:lnTo>
                    <a:pt x="622808" y="206324"/>
                  </a:lnTo>
                  <a:lnTo>
                    <a:pt x="622808" y="204292"/>
                  </a:lnTo>
                  <a:lnTo>
                    <a:pt x="622847" y="204292"/>
                  </a:lnTo>
                  <a:lnTo>
                    <a:pt x="622847" y="202260"/>
                  </a:lnTo>
                  <a:lnTo>
                    <a:pt x="622948" y="202959"/>
                  </a:lnTo>
                  <a:lnTo>
                    <a:pt x="622948" y="204292"/>
                  </a:lnTo>
                  <a:lnTo>
                    <a:pt x="622948" y="202959"/>
                  </a:lnTo>
                  <a:lnTo>
                    <a:pt x="622948" y="204292"/>
                  </a:lnTo>
                  <a:lnTo>
                    <a:pt x="622999" y="204292"/>
                  </a:lnTo>
                  <a:lnTo>
                    <a:pt x="622999" y="204990"/>
                  </a:lnTo>
                  <a:lnTo>
                    <a:pt x="622999" y="203594"/>
                  </a:lnTo>
                  <a:lnTo>
                    <a:pt x="622999" y="204990"/>
                  </a:lnTo>
                  <a:lnTo>
                    <a:pt x="623050" y="204990"/>
                  </a:lnTo>
                  <a:lnTo>
                    <a:pt x="623050" y="206324"/>
                  </a:lnTo>
                  <a:lnTo>
                    <a:pt x="623050" y="203594"/>
                  </a:lnTo>
                  <a:lnTo>
                    <a:pt x="623050" y="204990"/>
                  </a:lnTo>
                  <a:lnTo>
                    <a:pt x="623151" y="204990"/>
                  </a:lnTo>
                  <a:lnTo>
                    <a:pt x="623151" y="206324"/>
                  </a:lnTo>
                  <a:lnTo>
                    <a:pt x="623151" y="204990"/>
                  </a:lnTo>
                  <a:lnTo>
                    <a:pt x="623151" y="206324"/>
                  </a:lnTo>
                  <a:lnTo>
                    <a:pt x="623151" y="204990"/>
                  </a:lnTo>
                  <a:lnTo>
                    <a:pt x="623202" y="204990"/>
                  </a:lnTo>
                  <a:lnTo>
                    <a:pt x="623202" y="206324"/>
                  </a:lnTo>
                  <a:lnTo>
                    <a:pt x="623202" y="204990"/>
                  </a:lnTo>
                  <a:lnTo>
                    <a:pt x="623202" y="206324"/>
                  </a:lnTo>
                  <a:lnTo>
                    <a:pt x="623202" y="204990"/>
                  </a:lnTo>
                  <a:lnTo>
                    <a:pt x="623202" y="206324"/>
                  </a:lnTo>
                  <a:lnTo>
                    <a:pt x="623202" y="204990"/>
                  </a:lnTo>
                  <a:lnTo>
                    <a:pt x="623202" y="206324"/>
                  </a:lnTo>
                  <a:lnTo>
                    <a:pt x="623202" y="204990"/>
                  </a:lnTo>
                  <a:lnTo>
                    <a:pt x="623253" y="204990"/>
                  </a:lnTo>
                  <a:lnTo>
                    <a:pt x="623253" y="206324"/>
                  </a:lnTo>
                  <a:lnTo>
                    <a:pt x="623253" y="204990"/>
                  </a:lnTo>
                  <a:lnTo>
                    <a:pt x="623253" y="206324"/>
                  </a:lnTo>
                  <a:lnTo>
                    <a:pt x="623253" y="204990"/>
                  </a:lnTo>
                  <a:lnTo>
                    <a:pt x="623304" y="206324"/>
                  </a:lnTo>
                  <a:lnTo>
                    <a:pt x="623304" y="204292"/>
                  </a:lnTo>
                  <a:lnTo>
                    <a:pt x="623304" y="204990"/>
                  </a:lnTo>
                  <a:lnTo>
                    <a:pt x="623304" y="203594"/>
                  </a:lnTo>
                  <a:lnTo>
                    <a:pt x="623393" y="203594"/>
                  </a:lnTo>
                  <a:lnTo>
                    <a:pt x="623393" y="204292"/>
                  </a:lnTo>
                  <a:lnTo>
                    <a:pt x="623393" y="202959"/>
                  </a:lnTo>
                  <a:lnTo>
                    <a:pt x="623393" y="203594"/>
                  </a:lnTo>
                  <a:lnTo>
                    <a:pt x="623393" y="202260"/>
                  </a:lnTo>
                  <a:lnTo>
                    <a:pt x="623393" y="203594"/>
                  </a:lnTo>
                  <a:lnTo>
                    <a:pt x="623443" y="203594"/>
                  </a:lnTo>
                  <a:lnTo>
                    <a:pt x="623443" y="204292"/>
                  </a:lnTo>
                  <a:lnTo>
                    <a:pt x="623443" y="202959"/>
                  </a:lnTo>
                  <a:lnTo>
                    <a:pt x="623443" y="206324"/>
                  </a:lnTo>
                  <a:lnTo>
                    <a:pt x="623494" y="206324"/>
                  </a:lnTo>
                  <a:lnTo>
                    <a:pt x="623494" y="203594"/>
                  </a:lnTo>
                  <a:lnTo>
                    <a:pt x="623494" y="204990"/>
                  </a:lnTo>
                  <a:lnTo>
                    <a:pt x="623545" y="204990"/>
                  </a:lnTo>
                  <a:lnTo>
                    <a:pt x="623545" y="203594"/>
                  </a:lnTo>
                  <a:lnTo>
                    <a:pt x="623545" y="204990"/>
                  </a:lnTo>
                  <a:lnTo>
                    <a:pt x="623545" y="204292"/>
                  </a:lnTo>
                  <a:lnTo>
                    <a:pt x="623647" y="204990"/>
                  </a:lnTo>
                  <a:lnTo>
                    <a:pt x="623647" y="204292"/>
                  </a:lnTo>
                  <a:lnTo>
                    <a:pt x="623647" y="204990"/>
                  </a:lnTo>
                  <a:lnTo>
                    <a:pt x="623647" y="204292"/>
                  </a:lnTo>
                  <a:lnTo>
                    <a:pt x="623647" y="206324"/>
                  </a:lnTo>
                  <a:lnTo>
                    <a:pt x="623697" y="206324"/>
                  </a:lnTo>
                  <a:lnTo>
                    <a:pt x="623697" y="204990"/>
                  </a:lnTo>
                  <a:lnTo>
                    <a:pt x="623697" y="206324"/>
                  </a:lnTo>
                  <a:lnTo>
                    <a:pt x="623697" y="204990"/>
                  </a:lnTo>
                  <a:lnTo>
                    <a:pt x="623697" y="206324"/>
                  </a:lnTo>
                  <a:lnTo>
                    <a:pt x="623748" y="204990"/>
                  </a:lnTo>
                  <a:lnTo>
                    <a:pt x="623748" y="204292"/>
                  </a:lnTo>
                  <a:lnTo>
                    <a:pt x="623748" y="204990"/>
                  </a:lnTo>
                  <a:lnTo>
                    <a:pt x="623748" y="204292"/>
                  </a:lnTo>
                  <a:lnTo>
                    <a:pt x="623850" y="204292"/>
                  </a:lnTo>
                  <a:lnTo>
                    <a:pt x="623850" y="204990"/>
                  </a:lnTo>
                  <a:lnTo>
                    <a:pt x="623850" y="202959"/>
                  </a:lnTo>
                  <a:lnTo>
                    <a:pt x="623888" y="202959"/>
                  </a:lnTo>
                  <a:lnTo>
                    <a:pt x="623888" y="202260"/>
                  </a:lnTo>
                  <a:lnTo>
                    <a:pt x="623888" y="203594"/>
                  </a:lnTo>
                  <a:lnTo>
                    <a:pt x="623939" y="203594"/>
                  </a:lnTo>
                  <a:lnTo>
                    <a:pt x="623939" y="200876"/>
                  </a:lnTo>
                  <a:lnTo>
                    <a:pt x="623939" y="204292"/>
                  </a:lnTo>
                  <a:lnTo>
                    <a:pt x="623939" y="203594"/>
                  </a:lnTo>
                  <a:lnTo>
                    <a:pt x="623990" y="203594"/>
                  </a:lnTo>
                  <a:lnTo>
                    <a:pt x="623990" y="202260"/>
                  </a:lnTo>
                  <a:lnTo>
                    <a:pt x="623990" y="204292"/>
                  </a:lnTo>
                  <a:lnTo>
                    <a:pt x="624091" y="204292"/>
                  </a:lnTo>
                  <a:lnTo>
                    <a:pt x="624091" y="202959"/>
                  </a:lnTo>
                  <a:lnTo>
                    <a:pt x="624091" y="204292"/>
                  </a:lnTo>
                  <a:lnTo>
                    <a:pt x="624091" y="203594"/>
                  </a:lnTo>
                  <a:lnTo>
                    <a:pt x="624142" y="203594"/>
                  </a:lnTo>
                  <a:lnTo>
                    <a:pt x="624142" y="202959"/>
                  </a:lnTo>
                  <a:lnTo>
                    <a:pt x="624142" y="204292"/>
                  </a:lnTo>
                  <a:lnTo>
                    <a:pt x="624294" y="204292"/>
                  </a:lnTo>
                  <a:lnTo>
                    <a:pt x="624294" y="203594"/>
                  </a:lnTo>
                  <a:lnTo>
                    <a:pt x="624294" y="204292"/>
                  </a:lnTo>
                  <a:lnTo>
                    <a:pt x="624294" y="203594"/>
                  </a:lnTo>
                  <a:lnTo>
                    <a:pt x="624294" y="204292"/>
                  </a:lnTo>
                  <a:lnTo>
                    <a:pt x="624345" y="204292"/>
                  </a:lnTo>
                  <a:lnTo>
                    <a:pt x="624345" y="203594"/>
                  </a:lnTo>
                  <a:lnTo>
                    <a:pt x="624345" y="204292"/>
                  </a:lnTo>
                  <a:lnTo>
                    <a:pt x="624345" y="202959"/>
                  </a:lnTo>
                  <a:lnTo>
                    <a:pt x="624396" y="202959"/>
                  </a:lnTo>
                  <a:lnTo>
                    <a:pt x="624396" y="200876"/>
                  </a:lnTo>
                  <a:lnTo>
                    <a:pt x="624396" y="202260"/>
                  </a:lnTo>
                  <a:lnTo>
                    <a:pt x="624396" y="200876"/>
                  </a:lnTo>
                  <a:lnTo>
                    <a:pt x="624396" y="203594"/>
                  </a:lnTo>
                  <a:lnTo>
                    <a:pt x="624396" y="202959"/>
                  </a:lnTo>
                  <a:lnTo>
                    <a:pt x="624434" y="202959"/>
                  </a:lnTo>
                  <a:lnTo>
                    <a:pt x="624434" y="200228"/>
                  </a:lnTo>
                  <a:lnTo>
                    <a:pt x="624434" y="204292"/>
                  </a:lnTo>
                  <a:lnTo>
                    <a:pt x="624434" y="203594"/>
                  </a:lnTo>
                  <a:lnTo>
                    <a:pt x="624536" y="203594"/>
                  </a:lnTo>
                  <a:lnTo>
                    <a:pt x="624536" y="202260"/>
                  </a:lnTo>
                  <a:lnTo>
                    <a:pt x="624536" y="204292"/>
                  </a:lnTo>
                  <a:lnTo>
                    <a:pt x="624536" y="203594"/>
                  </a:lnTo>
                  <a:lnTo>
                    <a:pt x="624587" y="203594"/>
                  </a:lnTo>
                  <a:lnTo>
                    <a:pt x="624587" y="202959"/>
                  </a:lnTo>
                  <a:lnTo>
                    <a:pt x="624587" y="203594"/>
                  </a:lnTo>
                  <a:lnTo>
                    <a:pt x="624587" y="202959"/>
                  </a:lnTo>
                  <a:lnTo>
                    <a:pt x="624587" y="204292"/>
                  </a:lnTo>
                  <a:lnTo>
                    <a:pt x="624587" y="203594"/>
                  </a:lnTo>
                  <a:lnTo>
                    <a:pt x="624587" y="204292"/>
                  </a:lnTo>
                  <a:lnTo>
                    <a:pt x="624587" y="203594"/>
                  </a:lnTo>
                  <a:lnTo>
                    <a:pt x="624637" y="203594"/>
                  </a:lnTo>
                  <a:lnTo>
                    <a:pt x="624637" y="204292"/>
                  </a:lnTo>
                  <a:lnTo>
                    <a:pt x="624637" y="203594"/>
                  </a:lnTo>
                  <a:lnTo>
                    <a:pt x="624637" y="204292"/>
                  </a:lnTo>
                  <a:lnTo>
                    <a:pt x="624637" y="203594"/>
                  </a:lnTo>
                  <a:lnTo>
                    <a:pt x="624637" y="204292"/>
                  </a:lnTo>
                  <a:lnTo>
                    <a:pt x="624637" y="203594"/>
                  </a:lnTo>
                  <a:lnTo>
                    <a:pt x="624739" y="203594"/>
                  </a:lnTo>
                  <a:lnTo>
                    <a:pt x="624739" y="204292"/>
                  </a:lnTo>
                  <a:lnTo>
                    <a:pt x="624739" y="203594"/>
                  </a:lnTo>
                  <a:lnTo>
                    <a:pt x="624739" y="204990"/>
                  </a:lnTo>
                  <a:lnTo>
                    <a:pt x="624739" y="204292"/>
                  </a:lnTo>
                  <a:lnTo>
                    <a:pt x="624790" y="204292"/>
                  </a:lnTo>
                  <a:lnTo>
                    <a:pt x="624790" y="204990"/>
                  </a:lnTo>
                  <a:lnTo>
                    <a:pt x="624790" y="204292"/>
                  </a:lnTo>
                  <a:lnTo>
                    <a:pt x="624841" y="204292"/>
                  </a:lnTo>
                  <a:lnTo>
                    <a:pt x="624841" y="203594"/>
                  </a:lnTo>
                  <a:lnTo>
                    <a:pt x="624841" y="204292"/>
                  </a:lnTo>
                  <a:lnTo>
                    <a:pt x="624841" y="202959"/>
                  </a:lnTo>
                  <a:lnTo>
                    <a:pt x="624841" y="203594"/>
                  </a:lnTo>
                  <a:lnTo>
                    <a:pt x="624841" y="202959"/>
                  </a:lnTo>
                  <a:lnTo>
                    <a:pt x="624891" y="202959"/>
                  </a:lnTo>
                  <a:lnTo>
                    <a:pt x="624891" y="202260"/>
                  </a:lnTo>
                  <a:lnTo>
                    <a:pt x="624891" y="202959"/>
                  </a:lnTo>
                  <a:lnTo>
                    <a:pt x="624891" y="202260"/>
                  </a:lnTo>
                  <a:lnTo>
                    <a:pt x="624891" y="203594"/>
                  </a:lnTo>
                  <a:lnTo>
                    <a:pt x="624891" y="202959"/>
                  </a:lnTo>
                  <a:lnTo>
                    <a:pt x="624980" y="202260"/>
                  </a:lnTo>
                  <a:lnTo>
                    <a:pt x="624980" y="204990"/>
                  </a:lnTo>
                  <a:lnTo>
                    <a:pt x="624980" y="203594"/>
                  </a:lnTo>
                  <a:lnTo>
                    <a:pt x="625031" y="203594"/>
                  </a:lnTo>
                  <a:lnTo>
                    <a:pt x="625031" y="202959"/>
                  </a:lnTo>
                  <a:lnTo>
                    <a:pt x="625031" y="204292"/>
                  </a:lnTo>
                  <a:lnTo>
                    <a:pt x="625031" y="203594"/>
                  </a:lnTo>
                  <a:lnTo>
                    <a:pt x="625082" y="203594"/>
                  </a:lnTo>
                  <a:lnTo>
                    <a:pt x="625082" y="204292"/>
                  </a:lnTo>
                  <a:lnTo>
                    <a:pt x="625082" y="203594"/>
                  </a:lnTo>
                  <a:lnTo>
                    <a:pt x="625082" y="204292"/>
                  </a:lnTo>
                  <a:lnTo>
                    <a:pt x="625082" y="203594"/>
                  </a:lnTo>
                  <a:lnTo>
                    <a:pt x="625133" y="204292"/>
                  </a:lnTo>
                  <a:lnTo>
                    <a:pt x="625133" y="203594"/>
                  </a:lnTo>
                  <a:lnTo>
                    <a:pt x="625133" y="204292"/>
                  </a:lnTo>
                  <a:lnTo>
                    <a:pt x="625133" y="203594"/>
                  </a:lnTo>
                  <a:lnTo>
                    <a:pt x="625133" y="204990"/>
                  </a:lnTo>
                  <a:lnTo>
                    <a:pt x="625133" y="204292"/>
                  </a:lnTo>
                  <a:lnTo>
                    <a:pt x="625234" y="204292"/>
                  </a:lnTo>
                  <a:lnTo>
                    <a:pt x="625234" y="203594"/>
                  </a:lnTo>
                  <a:lnTo>
                    <a:pt x="625285" y="203594"/>
                  </a:lnTo>
                  <a:lnTo>
                    <a:pt x="625285" y="204292"/>
                  </a:lnTo>
                  <a:lnTo>
                    <a:pt x="625285" y="203594"/>
                  </a:lnTo>
                  <a:lnTo>
                    <a:pt x="625285" y="204292"/>
                  </a:lnTo>
                  <a:lnTo>
                    <a:pt x="625285" y="203594"/>
                  </a:lnTo>
                  <a:lnTo>
                    <a:pt x="625336" y="203594"/>
                  </a:lnTo>
                  <a:lnTo>
                    <a:pt x="625336" y="202260"/>
                  </a:lnTo>
                  <a:lnTo>
                    <a:pt x="625437" y="202260"/>
                  </a:lnTo>
                  <a:lnTo>
                    <a:pt x="625437" y="200876"/>
                  </a:lnTo>
                  <a:lnTo>
                    <a:pt x="625437" y="204292"/>
                  </a:lnTo>
                  <a:lnTo>
                    <a:pt x="625437" y="202260"/>
                  </a:lnTo>
                  <a:lnTo>
                    <a:pt x="625437" y="202959"/>
                  </a:lnTo>
                  <a:lnTo>
                    <a:pt x="625476" y="202959"/>
                  </a:lnTo>
                  <a:lnTo>
                    <a:pt x="625476" y="204292"/>
                  </a:lnTo>
                  <a:lnTo>
                    <a:pt x="625476" y="202959"/>
                  </a:lnTo>
                  <a:lnTo>
                    <a:pt x="625476" y="204292"/>
                  </a:lnTo>
                  <a:lnTo>
                    <a:pt x="625526" y="204292"/>
                  </a:lnTo>
                  <a:lnTo>
                    <a:pt x="625526" y="204990"/>
                  </a:lnTo>
                  <a:lnTo>
                    <a:pt x="625526" y="204292"/>
                  </a:lnTo>
                  <a:lnTo>
                    <a:pt x="625577" y="204292"/>
                  </a:lnTo>
                  <a:lnTo>
                    <a:pt x="625577" y="204990"/>
                  </a:lnTo>
                  <a:lnTo>
                    <a:pt x="625577" y="204292"/>
                  </a:lnTo>
                  <a:lnTo>
                    <a:pt x="625577" y="204990"/>
                  </a:lnTo>
                  <a:lnTo>
                    <a:pt x="625577" y="204292"/>
                  </a:lnTo>
                  <a:lnTo>
                    <a:pt x="625577" y="204990"/>
                  </a:lnTo>
                  <a:lnTo>
                    <a:pt x="625679" y="204990"/>
                  </a:lnTo>
                  <a:lnTo>
                    <a:pt x="625679" y="204292"/>
                  </a:lnTo>
                  <a:lnTo>
                    <a:pt x="625679" y="204990"/>
                  </a:lnTo>
                  <a:lnTo>
                    <a:pt x="625679" y="204292"/>
                  </a:lnTo>
                  <a:lnTo>
                    <a:pt x="625679" y="204990"/>
                  </a:lnTo>
                  <a:lnTo>
                    <a:pt x="625679" y="204292"/>
                  </a:lnTo>
                  <a:lnTo>
                    <a:pt x="625730" y="204292"/>
                  </a:lnTo>
                  <a:lnTo>
                    <a:pt x="625730" y="204990"/>
                  </a:lnTo>
                  <a:lnTo>
                    <a:pt x="625730" y="203594"/>
                  </a:lnTo>
                  <a:lnTo>
                    <a:pt x="625780" y="204292"/>
                  </a:lnTo>
                  <a:lnTo>
                    <a:pt x="625780" y="203594"/>
                  </a:lnTo>
                  <a:lnTo>
                    <a:pt x="625780" y="204292"/>
                  </a:lnTo>
                  <a:lnTo>
                    <a:pt x="625780" y="203594"/>
                  </a:lnTo>
                  <a:lnTo>
                    <a:pt x="625780" y="204292"/>
                  </a:lnTo>
                  <a:lnTo>
                    <a:pt x="625780" y="203594"/>
                  </a:lnTo>
                  <a:lnTo>
                    <a:pt x="625780" y="204292"/>
                  </a:lnTo>
                  <a:lnTo>
                    <a:pt x="625780" y="203594"/>
                  </a:lnTo>
                  <a:lnTo>
                    <a:pt x="625882" y="202959"/>
                  </a:lnTo>
                  <a:lnTo>
                    <a:pt x="625882" y="200228"/>
                  </a:lnTo>
                  <a:lnTo>
                    <a:pt x="625882" y="200876"/>
                  </a:lnTo>
                  <a:lnTo>
                    <a:pt x="625933" y="200876"/>
                  </a:lnTo>
                  <a:lnTo>
                    <a:pt x="625933" y="202260"/>
                  </a:lnTo>
                  <a:lnTo>
                    <a:pt x="625933" y="200876"/>
                  </a:lnTo>
                  <a:lnTo>
                    <a:pt x="625933" y="202260"/>
                  </a:lnTo>
                  <a:lnTo>
                    <a:pt x="625933" y="200876"/>
                  </a:lnTo>
                  <a:lnTo>
                    <a:pt x="625933" y="202260"/>
                  </a:lnTo>
                  <a:lnTo>
                    <a:pt x="625933" y="200876"/>
                  </a:lnTo>
                  <a:lnTo>
                    <a:pt x="625983" y="200876"/>
                  </a:lnTo>
                  <a:lnTo>
                    <a:pt x="625983" y="203594"/>
                  </a:lnTo>
                  <a:lnTo>
                    <a:pt x="625983" y="202260"/>
                  </a:lnTo>
                  <a:lnTo>
                    <a:pt x="625983" y="202959"/>
                  </a:lnTo>
                  <a:lnTo>
                    <a:pt x="626022" y="202959"/>
                  </a:lnTo>
                  <a:lnTo>
                    <a:pt x="626022" y="204292"/>
                  </a:lnTo>
                  <a:lnTo>
                    <a:pt x="626123" y="204292"/>
                  </a:lnTo>
                  <a:lnTo>
                    <a:pt x="626123" y="203594"/>
                  </a:lnTo>
                  <a:lnTo>
                    <a:pt x="626123" y="204292"/>
                  </a:lnTo>
                  <a:lnTo>
                    <a:pt x="626123" y="203594"/>
                  </a:lnTo>
                  <a:lnTo>
                    <a:pt x="626123" y="204292"/>
                  </a:lnTo>
                  <a:lnTo>
                    <a:pt x="626123" y="203594"/>
                  </a:lnTo>
                  <a:lnTo>
                    <a:pt x="626123" y="204292"/>
                  </a:lnTo>
                  <a:lnTo>
                    <a:pt x="626174" y="204292"/>
                  </a:lnTo>
                  <a:lnTo>
                    <a:pt x="626174" y="203594"/>
                  </a:lnTo>
                  <a:lnTo>
                    <a:pt x="626174" y="204990"/>
                  </a:lnTo>
                  <a:lnTo>
                    <a:pt x="626225" y="204292"/>
                  </a:lnTo>
                  <a:lnTo>
                    <a:pt x="626225" y="204990"/>
                  </a:lnTo>
                  <a:lnTo>
                    <a:pt x="626225" y="203594"/>
                  </a:lnTo>
                  <a:lnTo>
                    <a:pt x="626326" y="203594"/>
                  </a:lnTo>
                  <a:lnTo>
                    <a:pt x="626326" y="204292"/>
                  </a:lnTo>
                  <a:lnTo>
                    <a:pt x="626326" y="203594"/>
                  </a:lnTo>
                  <a:lnTo>
                    <a:pt x="626326" y="204292"/>
                  </a:lnTo>
                  <a:lnTo>
                    <a:pt x="626326" y="203594"/>
                  </a:lnTo>
                  <a:lnTo>
                    <a:pt x="626326" y="204292"/>
                  </a:lnTo>
                  <a:lnTo>
                    <a:pt x="626326" y="203594"/>
                  </a:lnTo>
                  <a:lnTo>
                    <a:pt x="626326" y="204292"/>
                  </a:lnTo>
                  <a:lnTo>
                    <a:pt x="626326" y="202959"/>
                  </a:lnTo>
                  <a:lnTo>
                    <a:pt x="626326" y="203594"/>
                  </a:lnTo>
                  <a:lnTo>
                    <a:pt x="626377" y="203594"/>
                  </a:lnTo>
                  <a:lnTo>
                    <a:pt x="626377" y="202260"/>
                  </a:lnTo>
                  <a:lnTo>
                    <a:pt x="626377" y="202959"/>
                  </a:lnTo>
                  <a:lnTo>
                    <a:pt x="626377" y="200228"/>
                  </a:lnTo>
                  <a:lnTo>
                    <a:pt x="626377" y="200876"/>
                  </a:lnTo>
                  <a:lnTo>
                    <a:pt x="626428" y="200876"/>
                  </a:lnTo>
                  <a:lnTo>
                    <a:pt x="626428" y="202260"/>
                  </a:lnTo>
                  <a:lnTo>
                    <a:pt x="626428" y="200876"/>
                  </a:lnTo>
                  <a:lnTo>
                    <a:pt x="626428" y="202260"/>
                  </a:lnTo>
                  <a:lnTo>
                    <a:pt x="626428" y="200876"/>
                  </a:lnTo>
                  <a:lnTo>
                    <a:pt x="626479" y="200876"/>
                  </a:lnTo>
                  <a:lnTo>
                    <a:pt x="626479" y="202959"/>
                  </a:lnTo>
                  <a:lnTo>
                    <a:pt x="626479" y="202260"/>
                  </a:lnTo>
                  <a:lnTo>
                    <a:pt x="626479" y="202959"/>
                  </a:lnTo>
                  <a:lnTo>
                    <a:pt x="626568" y="202959"/>
                  </a:lnTo>
                  <a:lnTo>
                    <a:pt x="626568" y="203594"/>
                  </a:lnTo>
                  <a:lnTo>
                    <a:pt x="626568" y="202959"/>
                  </a:lnTo>
                  <a:lnTo>
                    <a:pt x="626568" y="203594"/>
                  </a:lnTo>
                  <a:lnTo>
                    <a:pt x="626568" y="202959"/>
                  </a:lnTo>
                  <a:lnTo>
                    <a:pt x="626568" y="203594"/>
                  </a:lnTo>
                  <a:lnTo>
                    <a:pt x="626618" y="203594"/>
                  </a:lnTo>
                  <a:lnTo>
                    <a:pt x="626618" y="202959"/>
                  </a:lnTo>
                  <a:lnTo>
                    <a:pt x="626618" y="204292"/>
                  </a:lnTo>
                  <a:lnTo>
                    <a:pt x="626618" y="203594"/>
                  </a:lnTo>
                  <a:lnTo>
                    <a:pt x="626669" y="203594"/>
                  </a:lnTo>
                  <a:lnTo>
                    <a:pt x="626669" y="204292"/>
                  </a:lnTo>
                  <a:lnTo>
                    <a:pt x="626669" y="203594"/>
                  </a:lnTo>
                  <a:lnTo>
                    <a:pt x="626669" y="204292"/>
                  </a:lnTo>
                  <a:lnTo>
                    <a:pt x="626669" y="203594"/>
                  </a:lnTo>
                  <a:lnTo>
                    <a:pt x="626669" y="204292"/>
                  </a:lnTo>
                  <a:lnTo>
                    <a:pt x="626720" y="204292"/>
                  </a:lnTo>
                  <a:lnTo>
                    <a:pt x="626720" y="203594"/>
                  </a:lnTo>
                  <a:lnTo>
                    <a:pt x="626720" y="204292"/>
                  </a:lnTo>
                  <a:lnTo>
                    <a:pt x="626822" y="204990"/>
                  </a:lnTo>
                  <a:lnTo>
                    <a:pt x="626822" y="202959"/>
                  </a:lnTo>
                  <a:lnTo>
                    <a:pt x="626822" y="203594"/>
                  </a:lnTo>
                  <a:lnTo>
                    <a:pt x="626872" y="203594"/>
                  </a:lnTo>
                  <a:lnTo>
                    <a:pt x="626872" y="200876"/>
                  </a:lnTo>
                  <a:lnTo>
                    <a:pt x="626923" y="200876"/>
                  </a:lnTo>
                  <a:lnTo>
                    <a:pt x="626923" y="202260"/>
                  </a:lnTo>
                  <a:lnTo>
                    <a:pt x="626923" y="200876"/>
                  </a:lnTo>
                  <a:lnTo>
                    <a:pt x="626923" y="202260"/>
                  </a:lnTo>
                  <a:lnTo>
                    <a:pt x="626923" y="200876"/>
                  </a:lnTo>
                  <a:lnTo>
                    <a:pt x="626923" y="202260"/>
                  </a:lnTo>
                  <a:lnTo>
                    <a:pt x="626923" y="200228"/>
                  </a:lnTo>
                  <a:lnTo>
                    <a:pt x="626923" y="202260"/>
                  </a:lnTo>
                  <a:lnTo>
                    <a:pt x="627025" y="202959"/>
                  </a:lnTo>
                  <a:lnTo>
                    <a:pt x="627025" y="200876"/>
                  </a:lnTo>
                  <a:lnTo>
                    <a:pt x="627025" y="202959"/>
                  </a:lnTo>
                  <a:lnTo>
                    <a:pt x="627063" y="202959"/>
                  </a:lnTo>
                  <a:lnTo>
                    <a:pt x="627063" y="203594"/>
                  </a:lnTo>
                  <a:lnTo>
                    <a:pt x="627063" y="202959"/>
                  </a:lnTo>
                  <a:lnTo>
                    <a:pt x="627063" y="203594"/>
                  </a:lnTo>
                  <a:lnTo>
                    <a:pt x="627063" y="202260"/>
                  </a:lnTo>
                  <a:lnTo>
                    <a:pt x="627063" y="202959"/>
                  </a:lnTo>
                  <a:lnTo>
                    <a:pt x="627114" y="202959"/>
                  </a:lnTo>
                  <a:lnTo>
                    <a:pt x="627114" y="203594"/>
                  </a:lnTo>
                  <a:lnTo>
                    <a:pt x="627165" y="203594"/>
                  </a:lnTo>
                  <a:lnTo>
                    <a:pt x="627165" y="204292"/>
                  </a:lnTo>
                  <a:lnTo>
                    <a:pt x="627165" y="203594"/>
                  </a:lnTo>
                  <a:lnTo>
                    <a:pt x="627165" y="204292"/>
                  </a:lnTo>
                  <a:lnTo>
                    <a:pt x="627266" y="203594"/>
                  </a:lnTo>
                  <a:lnTo>
                    <a:pt x="627266" y="204990"/>
                  </a:lnTo>
                  <a:lnTo>
                    <a:pt x="627266" y="203594"/>
                  </a:lnTo>
                  <a:lnTo>
                    <a:pt x="627266" y="204990"/>
                  </a:lnTo>
                  <a:lnTo>
                    <a:pt x="627266" y="204292"/>
                  </a:lnTo>
                  <a:lnTo>
                    <a:pt x="627317" y="204292"/>
                  </a:lnTo>
                  <a:lnTo>
                    <a:pt x="627317" y="203594"/>
                  </a:lnTo>
                  <a:lnTo>
                    <a:pt x="627317" y="204292"/>
                  </a:lnTo>
                  <a:lnTo>
                    <a:pt x="627317" y="203594"/>
                  </a:lnTo>
                  <a:lnTo>
                    <a:pt x="627317" y="204292"/>
                  </a:lnTo>
                  <a:lnTo>
                    <a:pt x="627317" y="203594"/>
                  </a:lnTo>
                  <a:lnTo>
                    <a:pt x="627368" y="203594"/>
                  </a:lnTo>
                  <a:lnTo>
                    <a:pt x="627368" y="202959"/>
                  </a:lnTo>
                  <a:lnTo>
                    <a:pt x="627368" y="203594"/>
                  </a:lnTo>
                  <a:lnTo>
                    <a:pt x="627368" y="202959"/>
                  </a:lnTo>
                  <a:lnTo>
                    <a:pt x="627368" y="203594"/>
                  </a:lnTo>
                  <a:lnTo>
                    <a:pt x="627368" y="202959"/>
                  </a:lnTo>
                  <a:lnTo>
                    <a:pt x="627368" y="203594"/>
                  </a:lnTo>
                  <a:lnTo>
                    <a:pt x="627469" y="202959"/>
                  </a:lnTo>
                  <a:lnTo>
                    <a:pt x="627469" y="206324"/>
                  </a:lnTo>
                  <a:lnTo>
                    <a:pt x="627469" y="204292"/>
                  </a:lnTo>
                  <a:lnTo>
                    <a:pt x="627520" y="204292"/>
                  </a:lnTo>
                  <a:lnTo>
                    <a:pt x="627520" y="206324"/>
                  </a:lnTo>
                  <a:lnTo>
                    <a:pt x="627520" y="204990"/>
                  </a:lnTo>
                  <a:lnTo>
                    <a:pt x="627571" y="204990"/>
                  </a:lnTo>
                  <a:lnTo>
                    <a:pt x="627571" y="204292"/>
                  </a:lnTo>
                  <a:lnTo>
                    <a:pt x="627571" y="206324"/>
                  </a:lnTo>
                  <a:lnTo>
                    <a:pt x="627571" y="204292"/>
                  </a:lnTo>
                  <a:lnTo>
                    <a:pt x="627571" y="204990"/>
                  </a:lnTo>
                  <a:lnTo>
                    <a:pt x="627609" y="204292"/>
                  </a:lnTo>
                  <a:lnTo>
                    <a:pt x="627609" y="204990"/>
                  </a:lnTo>
                  <a:lnTo>
                    <a:pt x="627609" y="204292"/>
                  </a:lnTo>
                  <a:lnTo>
                    <a:pt x="627609" y="204990"/>
                  </a:lnTo>
                  <a:lnTo>
                    <a:pt x="627609" y="204292"/>
                  </a:lnTo>
                  <a:lnTo>
                    <a:pt x="627609" y="204990"/>
                  </a:lnTo>
                  <a:lnTo>
                    <a:pt x="627711" y="204990"/>
                  </a:lnTo>
                  <a:lnTo>
                    <a:pt x="627711" y="204292"/>
                  </a:lnTo>
                  <a:lnTo>
                    <a:pt x="627711" y="204990"/>
                  </a:lnTo>
                  <a:lnTo>
                    <a:pt x="627762" y="204990"/>
                  </a:lnTo>
                  <a:lnTo>
                    <a:pt x="627762" y="204292"/>
                  </a:lnTo>
                  <a:lnTo>
                    <a:pt x="627762" y="204990"/>
                  </a:lnTo>
                  <a:lnTo>
                    <a:pt x="627762" y="204292"/>
                  </a:lnTo>
                  <a:lnTo>
                    <a:pt x="627762" y="204990"/>
                  </a:lnTo>
                  <a:lnTo>
                    <a:pt x="627762" y="204292"/>
                  </a:lnTo>
                  <a:lnTo>
                    <a:pt x="627812" y="204292"/>
                  </a:lnTo>
                  <a:lnTo>
                    <a:pt x="627812" y="203594"/>
                  </a:lnTo>
                  <a:lnTo>
                    <a:pt x="627812" y="204292"/>
                  </a:lnTo>
                  <a:lnTo>
                    <a:pt x="627812" y="202959"/>
                  </a:lnTo>
                  <a:lnTo>
                    <a:pt x="627914" y="202959"/>
                  </a:lnTo>
                  <a:lnTo>
                    <a:pt x="627914" y="203594"/>
                  </a:lnTo>
                  <a:lnTo>
                    <a:pt x="627914" y="202959"/>
                  </a:lnTo>
                  <a:lnTo>
                    <a:pt x="627914" y="203594"/>
                  </a:lnTo>
                  <a:lnTo>
                    <a:pt x="627965" y="203594"/>
                  </a:lnTo>
                  <a:lnTo>
                    <a:pt x="627965" y="206324"/>
                  </a:lnTo>
                  <a:lnTo>
                    <a:pt x="627965" y="204990"/>
                  </a:lnTo>
                  <a:lnTo>
                    <a:pt x="627965" y="206324"/>
                  </a:lnTo>
                  <a:lnTo>
                    <a:pt x="627965" y="204292"/>
                  </a:lnTo>
                  <a:lnTo>
                    <a:pt x="628016" y="204990"/>
                  </a:lnTo>
                  <a:lnTo>
                    <a:pt x="628016" y="204292"/>
                  </a:lnTo>
                  <a:lnTo>
                    <a:pt x="628016" y="206324"/>
                  </a:lnTo>
                  <a:lnTo>
                    <a:pt x="628016" y="204990"/>
                  </a:lnTo>
                  <a:lnTo>
                    <a:pt x="628066" y="204990"/>
                  </a:lnTo>
                  <a:lnTo>
                    <a:pt x="628066" y="206324"/>
                  </a:lnTo>
                  <a:lnTo>
                    <a:pt x="628066" y="204990"/>
                  </a:lnTo>
                  <a:lnTo>
                    <a:pt x="628066" y="206324"/>
                  </a:lnTo>
                  <a:lnTo>
                    <a:pt x="628066" y="204990"/>
                  </a:lnTo>
                  <a:lnTo>
                    <a:pt x="628066" y="206324"/>
                  </a:lnTo>
                  <a:lnTo>
                    <a:pt x="628066" y="204990"/>
                  </a:lnTo>
                  <a:lnTo>
                    <a:pt x="628066" y="206324"/>
                  </a:lnTo>
                  <a:lnTo>
                    <a:pt x="628155" y="206324"/>
                  </a:lnTo>
                  <a:lnTo>
                    <a:pt x="628155" y="204990"/>
                  </a:lnTo>
                  <a:lnTo>
                    <a:pt x="628155" y="206324"/>
                  </a:lnTo>
                  <a:lnTo>
                    <a:pt x="628155" y="204990"/>
                  </a:lnTo>
                  <a:lnTo>
                    <a:pt x="628155" y="206324"/>
                  </a:lnTo>
                  <a:lnTo>
                    <a:pt x="628206" y="204990"/>
                  </a:lnTo>
                  <a:lnTo>
                    <a:pt x="628206" y="206324"/>
                  </a:lnTo>
                  <a:lnTo>
                    <a:pt x="628206" y="204990"/>
                  </a:lnTo>
                  <a:lnTo>
                    <a:pt x="628206" y="206324"/>
                  </a:lnTo>
                  <a:lnTo>
                    <a:pt x="628206" y="204990"/>
                  </a:lnTo>
                  <a:lnTo>
                    <a:pt x="628206" y="206324"/>
                  </a:lnTo>
                  <a:lnTo>
                    <a:pt x="628206" y="204990"/>
                  </a:lnTo>
                  <a:lnTo>
                    <a:pt x="628257" y="204990"/>
                  </a:lnTo>
                  <a:lnTo>
                    <a:pt x="628257" y="204292"/>
                  </a:lnTo>
                  <a:lnTo>
                    <a:pt x="628257" y="204990"/>
                  </a:lnTo>
                  <a:lnTo>
                    <a:pt x="628257" y="204292"/>
                  </a:lnTo>
                  <a:lnTo>
                    <a:pt x="628257" y="204990"/>
                  </a:lnTo>
                  <a:lnTo>
                    <a:pt x="628257" y="204292"/>
                  </a:lnTo>
                  <a:lnTo>
                    <a:pt x="628308" y="203594"/>
                  </a:lnTo>
                  <a:lnTo>
                    <a:pt x="628308" y="204292"/>
                  </a:lnTo>
                  <a:lnTo>
                    <a:pt x="628308" y="202260"/>
                  </a:lnTo>
                  <a:lnTo>
                    <a:pt x="628409" y="202260"/>
                  </a:lnTo>
                  <a:lnTo>
                    <a:pt x="628409" y="202959"/>
                  </a:lnTo>
                  <a:lnTo>
                    <a:pt x="628409" y="202260"/>
                  </a:lnTo>
                  <a:lnTo>
                    <a:pt x="628409" y="202959"/>
                  </a:lnTo>
                  <a:lnTo>
                    <a:pt x="628409" y="202260"/>
                  </a:lnTo>
                  <a:lnTo>
                    <a:pt x="628460" y="202959"/>
                  </a:lnTo>
                  <a:lnTo>
                    <a:pt x="628460" y="204292"/>
                  </a:lnTo>
                  <a:lnTo>
                    <a:pt x="628460" y="203594"/>
                  </a:lnTo>
                  <a:lnTo>
                    <a:pt x="628460" y="204292"/>
                  </a:lnTo>
                  <a:lnTo>
                    <a:pt x="628460" y="203594"/>
                  </a:lnTo>
                  <a:lnTo>
                    <a:pt x="628460" y="204990"/>
                  </a:lnTo>
                  <a:lnTo>
                    <a:pt x="628511" y="204990"/>
                  </a:lnTo>
                  <a:lnTo>
                    <a:pt x="628511" y="204292"/>
                  </a:lnTo>
                  <a:lnTo>
                    <a:pt x="628511" y="204990"/>
                  </a:lnTo>
                  <a:lnTo>
                    <a:pt x="628612" y="204990"/>
                  </a:lnTo>
                  <a:lnTo>
                    <a:pt x="628612" y="204292"/>
                  </a:lnTo>
                  <a:lnTo>
                    <a:pt x="628612" y="204990"/>
                  </a:lnTo>
                  <a:lnTo>
                    <a:pt x="628612" y="204292"/>
                  </a:lnTo>
                  <a:lnTo>
                    <a:pt x="628612" y="206324"/>
                  </a:lnTo>
                  <a:lnTo>
                    <a:pt x="628612" y="204990"/>
                  </a:lnTo>
                  <a:lnTo>
                    <a:pt x="628651" y="204990"/>
                  </a:lnTo>
                  <a:lnTo>
                    <a:pt x="628651" y="206324"/>
                  </a:lnTo>
                  <a:lnTo>
                    <a:pt x="628651" y="204990"/>
                  </a:lnTo>
                  <a:lnTo>
                    <a:pt x="628651" y="206324"/>
                  </a:lnTo>
                  <a:lnTo>
                    <a:pt x="628651" y="204990"/>
                  </a:lnTo>
                  <a:lnTo>
                    <a:pt x="628651" y="206324"/>
                  </a:lnTo>
                  <a:lnTo>
                    <a:pt x="628701" y="206324"/>
                  </a:lnTo>
                  <a:lnTo>
                    <a:pt x="628701" y="204990"/>
                  </a:lnTo>
                  <a:lnTo>
                    <a:pt x="628701" y="206324"/>
                  </a:lnTo>
                  <a:lnTo>
                    <a:pt x="628701" y="204990"/>
                  </a:lnTo>
                  <a:lnTo>
                    <a:pt x="628752" y="204990"/>
                  </a:lnTo>
                  <a:lnTo>
                    <a:pt x="628752" y="204292"/>
                  </a:lnTo>
                  <a:lnTo>
                    <a:pt x="628752" y="204990"/>
                  </a:lnTo>
                  <a:lnTo>
                    <a:pt x="628752" y="204292"/>
                  </a:lnTo>
                  <a:lnTo>
                    <a:pt x="628752" y="204990"/>
                  </a:lnTo>
                  <a:lnTo>
                    <a:pt x="628752" y="203594"/>
                  </a:lnTo>
                  <a:lnTo>
                    <a:pt x="628854" y="203594"/>
                  </a:lnTo>
                  <a:lnTo>
                    <a:pt x="628854" y="202959"/>
                  </a:lnTo>
                  <a:lnTo>
                    <a:pt x="628854" y="203594"/>
                  </a:lnTo>
                  <a:lnTo>
                    <a:pt x="628854" y="202959"/>
                  </a:lnTo>
                  <a:lnTo>
                    <a:pt x="628854" y="203594"/>
                  </a:lnTo>
                  <a:lnTo>
                    <a:pt x="628905" y="203594"/>
                  </a:lnTo>
                  <a:lnTo>
                    <a:pt x="628905" y="202959"/>
                  </a:lnTo>
                  <a:lnTo>
                    <a:pt x="628905" y="203594"/>
                  </a:lnTo>
                  <a:lnTo>
                    <a:pt x="628905" y="202959"/>
                  </a:lnTo>
                  <a:lnTo>
                    <a:pt x="628905" y="204990"/>
                  </a:lnTo>
                  <a:lnTo>
                    <a:pt x="628955" y="204990"/>
                  </a:lnTo>
                  <a:lnTo>
                    <a:pt x="628955" y="204292"/>
                  </a:lnTo>
                  <a:lnTo>
                    <a:pt x="628955" y="204990"/>
                  </a:lnTo>
                  <a:lnTo>
                    <a:pt x="628955" y="204292"/>
                  </a:lnTo>
                  <a:lnTo>
                    <a:pt x="629057" y="204292"/>
                  </a:lnTo>
                  <a:lnTo>
                    <a:pt x="629057" y="204990"/>
                  </a:lnTo>
                  <a:lnTo>
                    <a:pt x="629057" y="204292"/>
                  </a:lnTo>
                  <a:lnTo>
                    <a:pt x="629108" y="204292"/>
                  </a:lnTo>
                  <a:lnTo>
                    <a:pt x="629108" y="204990"/>
                  </a:lnTo>
                  <a:lnTo>
                    <a:pt x="629108" y="204292"/>
                  </a:lnTo>
                  <a:lnTo>
                    <a:pt x="629108" y="204990"/>
                  </a:lnTo>
                  <a:lnTo>
                    <a:pt x="629158" y="204292"/>
                  </a:lnTo>
                  <a:lnTo>
                    <a:pt x="629158" y="206324"/>
                  </a:lnTo>
                  <a:lnTo>
                    <a:pt x="629158" y="204990"/>
                  </a:lnTo>
                  <a:lnTo>
                    <a:pt x="629158" y="206324"/>
                  </a:lnTo>
                  <a:lnTo>
                    <a:pt x="629158" y="204990"/>
                  </a:lnTo>
                  <a:lnTo>
                    <a:pt x="629197" y="204990"/>
                  </a:lnTo>
                  <a:lnTo>
                    <a:pt x="629197" y="204292"/>
                  </a:lnTo>
                  <a:lnTo>
                    <a:pt x="629197" y="204990"/>
                  </a:lnTo>
                  <a:lnTo>
                    <a:pt x="629197" y="204292"/>
                  </a:lnTo>
                  <a:lnTo>
                    <a:pt x="629197" y="204990"/>
                  </a:lnTo>
                  <a:lnTo>
                    <a:pt x="629197" y="204292"/>
                  </a:lnTo>
                  <a:lnTo>
                    <a:pt x="629298" y="204292"/>
                  </a:lnTo>
                  <a:lnTo>
                    <a:pt x="629298" y="203594"/>
                  </a:lnTo>
                  <a:lnTo>
                    <a:pt x="629298" y="204292"/>
                  </a:lnTo>
                  <a:lnTo>
                    <a:pt x="629298" y="202959"/>
                  </a:lnTo>
                  <a:lnTo>
                    <a:pt x="629349" y="202260"/>
                  </a:lnTo>
                  <a:lnTo>
                    <a:pt x="629349" y="200876"/>
                  </a:lnTo>
                  <a:lnTo>
                    <a:pt x="629349" y="202260"/>
                  </a:lnTo>
                  <a:lnTo>
                    <a:pt x="629349" y="200876"/>
                  </a:lnTo>
                  <a:lnTo>
                    <a:pt x="629349" y="202959"/>
                  </a:lnTo>
                  <a:lnTo>
                    <a:pt x="629349" y="202260"/>
                  </a:lnTo>
                  <a:lnTo>
                    <a:pt x="629349" y="202959"/>
                  </a:lnTo>
                  <a:lnTo>
                    <a:pt x="629400" y="202959"/>
                  </a:lnTo>
                  <a:lnTo>
                    <a:pt x="629400" y="202260"/>
                  </a:lnTo>
                  <a:lnTo>
                    <a:pt x="629400" y="204292"/>
                  </a:lnTo>
                  <a:lnTo>
                    <a:pt x="629400" y="203594"/>
                  </a:lnTo>
                  <a:lnTo>
                    <a:pt x="629501" y="203594"/>
                  </a:lnTo>
                  <a:lnTo>
                    <a:pt x="629501" y="204292"/>
                  </a:lnTo>
                  <a:lnTo>
                    <a:pt x="629501" y="203594"/>
                  </a:lnTo>
                  <a:lnTo>
                    <a:pt x="629501" y="204292"/>
                  </a:lnTo>
                  <a:lnTo>
                    <a:pt x="629552" y="204292"/>
                  </a:lnTo>
                  <a:lnTo>
                    <a:pt x="629552" y="203594"/>
                  </a:lnTo>
                  <a:lnTo>
                    <a:pt x="629552" y="204990"/>
                  </a:lnTo>
                  <a:lnTo>
                    <a:pt x="629552" y="204292"/>
                  </a:lnTo>
                  <a:lnTo>
                    <a:pt x="629603" y="204990"/>
                  </a:lnTo>
                  <a:lnTo>
                    <a:pt x="629603" y="204292"/>
                  </a:lnTo>
                  <a:lnTo>
                    <a:pt x="629603" y="204990"/>
                  </a:lnTo>
                  <a:lnTo>
                    <a:pt x="629654" y="204990"/>
                  </a:lnTo>
                  <a:lnTo>
                    <a:pt x="629654" y="204292"/>
                  </a:lnTo>
                  <a:lnTo>
                    <a:pt x="629654" y="206324"/>
                  </a:lnTo>
                  <a:lnTo>
                    <a:pt x="629654" y="204990"/>
                  </a:lnTo>
                  <a:lnTo>
                    <a:pt x="629654" y="206324"/>
                  </a:lnTo>
                  <a:lnTo>
                    <a:pt x="629654" y="204990"/>
                  </a:lnTo>
                  <a:lnTo>
                    <a:pt x="629654" y="206324"/>
                  </a:lnTo>
                  <a:lnTo>
                    <a:pt x="629654" y="204990"/>
                  </a:lnTo>
                  <a:lnTo>
                    <a:pt x="629743" y="206324"/>
                  </a:lnTo>
                  <a:lnTo>
                    <a:pt x="629743" y="204292"/>
                  </a:lnTo>
                  <a:lnTo>
                    <a:pt x="629743" y="204990"/>
                  </a:lnTo>
                  <a:lnTo>
                    <a:pt x="629743" y="204292"/>
                  </a:lnTo>
                  <a:lnTo>
                    <a:pt x="629793" y="204292"/>
                  </a:lnTo>
                  <a:lnTo>
                    <a:pt x="629793" y="202260"/>
                  </a:lnTo>
                  <a:lnTo>
                    <a:pt x="629844" y="202959"/>
                  </a:lnTo>
                  <a:lnTo>
                    <a:pt x="629844" y="200876"/>
                  </a:lnTo>
                  <a:lnTo>
                    <a:pt x="629844" y="202959"/>
                  </a:lnTo>
                  <a:lnTo>
                    <a:pt x="629844" y="202260"/>
                  </a:lnTo>
                  <a:lnTo>
                    <a:pt x="629844" y="202959"/>
                  </a:lnTo>
                  <a:lnTo>
                    <a:pt x="629844" y="200876"/>
                  </a:lnTo>
                  <a:lnTo>
                    <a:pt x="629895" y="200876"/>
                  </a:lnTo>
                  <a:lnTo>
                    <a:pt x="629895" y="204292"/>
                  </a:lnTo>
                  <a:lnTo>
                    <a:pt x="629895" y="202959"/>
                  </a:lnTo>
                  <a:lnTo>
                    <a:pt x="629997" y="202260"/>
                  </a:lnTo>
                  <a:lnTo>
                    <a:pt x="629997" y="203594"/>
                  </a:lnTo>
                  <a:lnTo>
                    <a:pt x="629997" y="202260"/>
                  </a:lnTo>
                  <a:lnTo>
                    <a:pt x="629997" y="202959"/>
                  </a:lnTo>
                  <a:lnTo>
                    <a:pt x="630047" y="202959"/>
                  </a:lnTo>
                  <a:lnTo>
                    <a:pt x="630047" y="203594"/>
                  </a:lnTo>
                  <a:lnTo>
                    <a:pt x="630047" y="202959"/>
                  </a:lnTo>
                  <a:lnTo>
                    <a:pt x="630047" y="203594"/>
                  </a:lnTo>
                  <a:lnTo>
                    <a:pt x="630047" y="202959"/>
                  </a:lnTo>
                  <a:lnTo>
                    <a:pt x="630047" y="203594"/>
                  </a:lnTo>
                  <a:lnTo>
                    <a:pt x="630098" y="203594"/>
                  </a:lnTo>
                  <a:lnTo>
                    <a:pt x="630098" y="204292"/>
                  </a:lnTo>
                  <a:lnTo>
                    <a:pt x="630098" y="203594"/>
                  </a:lnTo>
                  <a:lnTo>
                    <a:pt x="630098" y="204990"/>
                  </a:lnTo>
                  <a:lnTo>
                    <a:pt x="630200" y="204990"/>
                  </a:lnTo>
                  <a:lnTo>
                    <a:pt x="630200" y="204292"/>
                  </a:lnTo>
                  <a:lnTo>
                    <a:pt x="630200" y="204990"/>
                  </a:lnTo>
                  <a:lnTo>
                    <a:pt x="630200" y="204292"/>
                  </a:lnTo>
                  <a:lnTo>
                    <a:pt x="630200" y="204990"/>
                  </a:lnTo>
                  <a:lnTo>
                    <a:pt x="630200" y="204292"/>
                  </a:lnTo>
                  <a:lnTo>
                    <a:pt x="630238" y="204990"/>
                  </a:lnTo>
                  <a:lnTo>
                    <a:pt x="630238" y="204292"/>
                  </a:lnTo>
                  <a:lnTo>
                    <a:pt x="630238" y="204990"/>
                  </a:lnTo>
                  <a:lnTo>
                    <a:pt x="630238" y="203594"/>
                  </a:lnTo>
                  <a:lnTo>
                    <a:pt x="630289" y="203594"/>
                  </a:lnTo>
                  <a:lnTo>
                    <a:pt x="630289" y="202959"/>
                  </a:lnTo>
                  <a:lnTo>
                    <a:pt x="630289" y="203594"/>
                  </a:lnTo>
                  <a:lnTo>
                    <a:pt x="630289" y="202959"/>
                  </a:lnTo>
                  <a:lnTo>
                    <a:pt x="630289" y="203594"/>
                  </a:lnTo>
                  <a:lnTo>
                    <a:pt x="630289" y="202260"/>
                  </a:lnTo>
                  <a:lnTo>
                    <a:pt x="630340" y="202959"/>
                  </a:lnTo>
                  <a:lnTo>
                    <a:pt x="630340" y="203594"/>
                  </a:lnTo>
                  <a:lnTo>
                    <a:pt x="630340" y="200876"/>
                  </a:lnTo>
                  <a:lnTo>
                    <a:pt x="630340" y="202959"/>
                  </a:lnTo>
                  <a:lnTo>
                    <a:pt x="630441" y="203594"/>
                  </a:lnTo>
                  <a:lnTo>
                    <a:pt x="630441" y="206324"/>
                  </a:lnTo>
                  <a:lnTo>
                    <a:pt x="630441" y="202959"/>
                  </a:lnTo>
                  <a:lnTo>
                    <a:pt x="630441" y="204292"/>
                  </a:lnTo>
                  <a:lnTo>
                    <a:pt x="630492" y="204292"/>
                  </a:lnTo>
                  <a:lnTo>
                    <a:pt x="630492" y="204990"/>
                  </a:lnTo>
                  <a:lnTo>
                    <a:pt x="630492" y="204292"/>
                  </a:lnTo>
                  <a:lnTo>
                    <a:pt x="630492" y="204990"/>
                  </a:lnTo>
                  <a:lnTo>
                    <a:pt x="630492" y="203594"/>
                  </a:lnTo>
                  <a:lnTo>
                    <a:pt x="630492" y="204292"/>
                  </a:lnTo>
                  <a:lnTo>
                    <a:pt x="630543" y="204292"/>
                  </a:lnTo>
                  <a:lnTo>
                    <a:pt x="630543" y="204990"/>
                  </a:lnTo>
                  <a:lnTo>
                    <a:pt x="630543" y="204292"/>
                  </a:lnTo>
                  <a:lnTo>
                    <a:pt x="630543" y="204990"/>
                  </a:lnTo>
                  <a:lnTo>
                    <a:pt x="630644" y="204990"/>
                  </a:lnTo>
                  <a:lnTo>
                    <a:pt x="630644" y="204292"/>
                  </a:lnTo>
                  <a:lnTo>
                    <a:pt x="630644" y="204990"/>
                  </a:lnTo>
                  <a:lnTo>
                    <a:pt x="630644" y="204292"/>
                  </a:lnTo>
                  <a:lnTo>
                    <a:pt x="630644" y="204990"/>
                  </a:lnTo>
                  <a:lnTo>
                    <a:pt x="630644" y="204292"/>
                  </a:lnTo>
                  <a:lnTo>
                    <a:pt x="630644" y="204990"/>
                  </a:lnTo>
                  <a:lnTo>
                    <a:pt x="630695" y="204990"/>
                  </a:lnTo>
                  <a:lnTo>
                    <a:pt x="630695" y="204292"/>
                  </a:lnTo>
                  <a:lnTo>
                    <a:pt x="630695" y="204990"/>
                  </a:lnTo>
                  <a:lnTo>
                    <a:pt x="630695" y="204292"/>
                  </a:lnTo>
                  <a:lnTo>
                    <a:pt x="630746" y="204292"/>
                  </a:lnTo>
                  <a:lnTo>
                    <a:pt x="630746" y="203594"/>
                  </a:lnTo>
                  <a:lnTo>
                    <a:pt x="630784" y="203594"/>
                  </a:lnTo>
                  <a:lnTo>
                    <a:pt x="630784" y="202260"/>
                  </a:lnTo>
                  <a:lnTo>
                    <a:pt x="630784" y="202959"/>
                  </a:lnTo>
                  <a:lnTo>
                    <a:pt x="630784" y="202260"/>
                  </a:lnTo>
                  <a:lnTo>
                    <a:pt x="630784" y="202959"/>
                  </a:lnTo>
                  <a:lnTo>
                    <a:pt x="630784" y="202260"/>
                  </a:lnTo>
                  <a:lnTo>
                    <a:pt x="630886" y="202260"/>
                  </a:lnTo>
                  <a:lnTo>
                    <a:pt x="630886" y="203594"/>
                  </a:lnTo>
                  <a:lnTo>
                    <a:pt x="630886" y="202260"/>
                  </a:lnTo>
                  <a:lnTo>
                    <a:pt x="630886" y="204292"/>
                  </a:lnTo>
                  <a:lnTo>
                    <a:pt x="630937" y="204990"/>
                  </a:lnTo>
                  <a:lnTo>
                    <a:pt x="630937" y="203594"/>
                  </a:lnTo>
                  <a:lnTo>
                    <a:pt x="630937" y="204990"/>
                  </a:lnTo>
                  <a:lnTo>
                    <a:pt x="630987" y="204990"/>
                  </a:lnTo>
                  <a:lnTo>
                    <a:pt x="630987" y="203594"/>
                  </a:lnTo>
                  <a:lnTo>
                    <a:pt x="630987" y="204292"/>
                  </a:lnTo>
                  <a:lnTo>
                    <a:pt x="631089" y="204292"/>
                  </a:lnTo>
                  <a:lnTo>
                    <a:pt x="631089" y="204990"/>
                  </a:lnTo>
                  <a:lnTo>
                    <a:pt x="631089" y="204292"/>
                  </a:lnTo>
                  <a:lnTo>
                    <a:pt x="631089" y="204990"/>
                  </a:lnTo>
                  <a:lnTo>
                    <a:pt x="631140" y="204990"/>
                  </a:lnTo>
                  <a:lnTo>
                    <a:pt x="631140" y="204292"/>
                  </a:lnTo>
                  <a:lnTo>
                    <a:pt x="631140" y="204990"/>
                  </a:lnTo>
                  <a:lnTo>
                    <a:pt x="631140" y="204292"/>
                  </a:lnTo>
                  <a:lnTo>
                    <a:pt x="631140" y="204990"/>
                  </a:lnTo>
                  <a:lnTo>
                    <a:pt x="631140" y="204292"/>
                  </a:lnTo>
                  <a:lnTo>
                    <a:pt x="631241" y="204292"/>
                  </a:lnTo>
                  <a:lnTo>
                    <a:pt x="631241" y="202260"/>
                  </a:lnTo>
                  <a:lnTo>
                    <a:pt x="631330" y="202260"/>
                  </a:lnTo>
                  <a:lnTo>
                    <a:pt x="631330" y="202959"/>
                  </a:lnTo>
                  <a:lnTo>
                    <a:pt x="631330" y="200876"/>
                  </a:lnTo>
                  <a:lnTo>
                    <a:pt x="631330" y="202959"/>
                  </a:lnTo>
                  <a:lnTo>
                    <a:pt x="631381" y="203594"/>
                  </a:lnTo>
                  <a:lnTo>
                    <a:pt x="631381" y="200876"/>
                  </a:lnTo>
                  <a:lnTo>
                    <a:pt x="631381" y="204292"/>
                  </a:lnTo>
                  <a:lnTo>
                    <a:pt x="631432" y="204292"/>
                  </a:lnTo>
                  <a:lnTo>
                    <a:pt x="631432" y="202959"/>
                  </a:lnTo>
                  <a:lnTo>
                    <a:pt x="631432" y="203594"/>
                  </a:lnTo>
                  <a:lnTo>
                    <a:pt x="631432" y="202959"/>
                  </a:lnTo>
                  <a:lnTo>
                    <a:pt x="631432" y="203594"/>
                  </a:lnTo>
                  <a:lnTo>
                    <a:pt x="631432" y="202959"/>
                  </a:lnTo>
                  <a:lnTo>
                    <a:pt x="631432" y="204292"/>
                  </a:lnTo>
                  <a:lnTo>
                    <a:pt x="631483" y="204292"/>
                  </a:lnTo>
                  <a:lnTo>
                    <a:pt x="631483" y="203594"/>
                  </a:lnTo>
                  <a:lnTo>
                    <a:pt x="631483" y="204292"/>
                  </a:lnTo>
                  <a:lnTo>
                    <a:pt x="631584" y="204292"/>
                  </a:lnTo>
                  <a:lnTo>
                    <a:pt x="631584" y="206324"/>
                  </a:lnTo>
                  <a:lnTo>
                    <a:pt x="631584" y="204990"/>
                  </a:lnTo>
                  <a:lnTo>
                    <a:pt x="631635" y="204990"/>
                  </a:lnTo>
                  <a:lnTo>
                    <a:pt x="631635" y="206324"/>
                  </a:lnTo>
                  <a:lnTo>
                    <a:pt x="631635" y="204990"/>
                  </a:lnTo>
                  <a:lnTo>
                    <a:pt x="631686" y="204990"/>
                  </a:lnTo>
                  <a:lnTo>
                    <a:pt x="631686" y="204292"/>
                  </a:lnTo>
                  <a:lnTo>
                    <a:pt x="631787" y="204292"/>
                  </a:lnTo>
                  <a:lnTo>
                    <a:pt x="631787" y="203594"/>
                  </a:lnTo>
                  <a:lnTo>
                    <a:pt x="631787" y="204292"/>
                  </a:lnTo>
                  <a:lnTo>
                    <a:pt x="631787" y="203594"/>
                  </a:lnTo>
                  <a:lnTo>
                    <a:pt x="631787" y="204292"/>
                  </a:lnTo>
                  <a:lnTo>
                    <a:pt x="631787" y="202959"/>
                  </a:lnTo>
                  <a:lnTo>
                    <a:pt x="631787" y="203594"/>
                  </a:lnTo>
                  <a:lnTo>
                    <a:pt x="631826" y="202959"/>
                  </a:lnTo>
                  <a:lnTo>
                    <a:pt x="631826" y="203594"/>
                  </a:lnTo>
                  <a:lnTo>
                    <a:pt x="631826" y="202260"/>
                  </a:lnTo>
                  <a:lnTo>
                    <a:pt x="631826" y="202959"/>
                  </a:lnTo>
                  <a:lnTo>
                    <a:pt x="631876" y="203594"/>
                  </a:lnTo>
                  <a:lnTo>
                    <a:pt x="631876" y="202260"/>
                  </a:lnTo>
                  <a:lnTo>
                    <a:pt x="631876" y="203594"/>
                  </a:lnTo>
                  <a:lnTo>
                    <a:pt x="631927" y="203594"/>
                  </a:lnTo>
                  <a:lnTo>
                    <a:pt x="631927" y="202959"/>
                  </a:lnTo>
                  <a:lnTo>
                    <a:pt x="631927" y="204292"/>
                  </a:lnTo>
                  <a:lnTo>
                    <a:pt x="631927" y="203594"/>
                  </a:lnTo>
                  <a:lnTo>
                    <a:pt x="632029" y="203594"/>
                  </a:lnTo>
                  <a:lnTo>
                    <a:pt x="632029" y="204292"/>
                  </a:lnTo>
                  <a:lnTo>
                    <a:pt x="632029" y="203594"/>
                  </a:lnTo>
                  <a:lnTo>
                    <a:pt x="632029" y="204292"/>
                  </a:lnTo>
                  <a:lnTo>
                    <a:pt x="632029" y="203594"/>
                  </a:lnTo>
                  <a:lnTo>
                    <a:pt x="632029" y="204292"/>
                  </a:lnTo>
                  <a:lnTo>
                    <a:pt x="632080" y="204292"/>
                  </a:lnTo>
                  <a:lnTo>
                    <a:pt x="632080" y="204990"/>
                  </a:lnTo>
                  <a:lnTo>
                    <a:pt x="632130" y="204990"/>
                  </a:lnTo>
                  <a:lnTo>
                    <a:pt x="632130" y="206324"/>
                  </a:lnTo>
                  <a:lnTo>
                    <a:pt x="632130" y="204990"/>
                  </a:lnTo>
                  <a:lnTo>
                    <a:pt x="632130" y="206324"/>
                  </a:lnTo>
                  <a:lnTo>
                    <a:pt x="632130" y="204990"/>
                  </a:lnTo>
                  <a:lnTo>
                    <a:pt x="632232" y="204990"/>
                  </a:lnTo>
                  <a:lnTo>
                    <a:pt x="632232" y="204292"/>
                  </a:lnTo>
                  <a:lnTo>
                    <a:pt x="632232" y="204990"/>
                  </a:lnTo>
                  <a:lnTo>
                    <a:pt x="632232" y="204292"/>
                  </a:lnTo>
                  <a:lnTo>
                    <a:pt x="632232" y="204990"/>
                  </a:lnTo>
                  <a:lnTo>
                    <a:pt x="632232" y="204292"/>
                  </a:lnTo>
                  <a:lnTo>
                    <a:pt x="632283" y="204292"/>
                  </a:lnTo>
                  <a:lnTo>
                    <a:pt x="632283" y="203594"/>
                  </a:lnTo>
                  <a:lnTo>
                    <a:pt x="632283" y="204292"/>
                  </a:lnTo>
                  <a:lnTo>
                    <a:pt x="632283" y="203594"/>
                  </a:lnTo>
                  <a:lnTo>
                    <a:pt x="632283" y="204292"/>
                  </a:lnTo>
                  <a:lnTo>
                    <a:pt x="632283" y="202959"/>
                  </a:lnTo>
                  <a:lnTo>
                    <a:pt x="632283" y="203594"/>
                  </a:lnTo>
                  <a:lnTo>
                    <a:pt x="632333" y="202959"/>
                  </a:lnTo>
                  <a:lnTo>
                    <a:pt x="632333" y="200876"/>
                  </a:lnTo>
                  <a:lnTo>
                    <a:pt x="632333" y="202959"/>
                  </a:lnTo>
                  <a:lnTo>
                    <a:pt x="632372" y="202260"/>
                  </a:lnTo>
                  <a:lnTo>
                    <a:pt x="632372" y="200876"/>
                  </a:lnTo>
                  <a:lnTo>
                    <a:pt x="632372" y="203594"/>
                  </a:lnTo>
                  <a:lnTo>
                    <a:pt x="632473" y="203594"/>
                  </a:lnTo>
                  <a:lnTo>
                    <a:pt x="632473" y="202260"/>
                  </a:lnTo>
                  <a:lnTo>
                    <a:pt x="632473" y="203594"/>
                  </a:lnTo>
                  <a:lnTo>
                    <a:pt x="632524" y="203594"/>
                  </a:lnTo>
                  <a:lnTo>
                    <a:pt x="632524" y="202959"/>
                  </a:lnTo>
                  <a:lnTo>
                    <a:pt x="632524" y="204292"/>
                  </a:lnTo>
                  <a:lnTo>
                    <a:pt x="632524" y="203594"/>
                  </a:lnTo>
                  <a:lnTo>
                    <a:pt x="632575" y="203594"/>
                  </a:lnTo>
                  <a:lnTo>
                    <a:pt x="632575" y="204292"/>
                  </a:lnTo>
                  <a:lnTo>
                    <a:pt x="632676" y="204292"/>
                  </a:lnTo>
                  <a:lnTo>
                    <a:pt x="632676" y="204990"/>
                  </a:lnTo>
                  <a:lnTo>
                    <a:pt x="632676" y="204292"/>
                  </a:lnTo>
                  <a:lnTo>
                    <a:pt x="632676" y="204990"/>
                  </a:lnTo>
                  <a:lnTo>
                    <a:pt x="632676" y="204292"/>
                  </a:lnTo>
                  <a:lnTo>
                    <a:pt x="632676" y="204990"/>
                  </a:lnTo>
                  <a:lnTo>
                    <a:pt x="632676" y="204292"/>
                  </a:lnTo>
                  <a:lnTo>
                    <a:pt x="632727" y="204990"/>
                  </a:lnTo>
                  <a:lnTo>
                    <a:pt x="632727" y="204292"/>
                  </a:lnTo>
                  <a:lnTo>
                    <a:pt x="632727" y="204990"/>
                  </a:lnTo>
                  <a:lnTo>
                    <a:pt x="632727" y="203594"/>
                  </a:lnTo>
                  <a:lnTo>
                    <a:pt x="632727" y="204292"/>
                  </a:lnTo>
                  <a:lnTo>
                    <a:pt x="632778" y="204292"/>
                  </a:lnTo>
                  <a:lnTo>
                    <a:pt x="632778" y="203594"/>
                  </a:lnTo>
                  <a:lnTo>
                    <a:pt x="632778" y="204292"/>
                  </a:lnTo>
                  <a:lnTo>
                    <a:pt x="632778" y="202260"/>
                  </a:lnTo>
                  <a:lnTo>
                    <a:pt x="632829" y="202260"/>
                  </a:lnTo>
                  <a:lnTo>
                    <a:pt x="632829" y="203594"/>
                  </a:lnTo>
                  <a:lnTo>
                    <a:pt x="632829" y="202260"/>
                  </a:lnTo>
                  <a:lnTo>
                    <a:pt x="632829" y="202959"/>
                  </a:lnTo>
                  <a:lnTo>
                    <a:pt x="632918" y="202260"/>
                  </a:lnTo>
                  <a:lnTo>
                    <a:pt x="632918" y="204292"/>
                  </a:lnTo>
                  <a:lnTo>
                    <a:pt x="632918" y="202959"/>
                  </a:lnTo>
                  <a:lnTo>
                    <a:pt x="632968" y="202959"/>
                  </a:lnTo>
                  <a:lnTo>
                    <a:pt x="632968" y="203594"/>
                  </a:lnTo>
                  <a:lnTo>
                    <a:pt x="632968" y="202959"/>
                  </a:lnTo>
                  <a:lnTo>
                    <a:pt x="633019" y="202959"/>
                  </a:lnTo>
                  <a:lnTo>
                    <a:pt x="633019" y="204292"/>
                  </a:lnTo>
                  <a:lnTo>
                    <a:pt x="633019" y="203594"/>
                  </a:lnTo>
                  <a:lnTo>
                    <a:pt x="633019" y="204292"/>
                  </a:lnTo>
                  <a:lnTo>
                    <a:pt x="633019" y="203594"/>
                  </a:lnTo>
                  <a:lnTo>
                    <a:pt x="633019" y="204292"/>
                  </a:lnTo>
                  <a:lnTo>
                    <a:pt x="633070" y="203594"/>
                  </a:lnTo>
                  <a:lnTo>
                    <a:pt x="633070" y="204292"/>
                  </a:lnTo>
                  <a:lnTo>
                    <a:pt x="633070" y="203594"/>
                  </a:lnTo>
                  <a:lnTo>
                    <a:pt x="633070" y="204292"/>
                  </a:lnTo>
                  <a:lnTo>
                    <a:pt x="633172" y="203594"/>
                  </a:lnTo>
                  <a:lnTo>
                    <a:pt x="633172" y="204292"/>
                  </a:lnTo>
                  <a:lnTo>
                    <a:pt x="633172" y="203594"/>
                  </a:lnTo>
                  <a:lnTo>
                    <a:pt x="633172" y="204292"/>
                  </a:lnTo>
                  <a:lnTo>
                    <a:pt x="633172" y="203594"/>
                  </a:lnTo>
                  <a:lnTo>
                    <a:pt x="633172" y="204292"/>
                  </a:lnTo>
                  <a:lnTo>
                    <a:pt x="633172" y="203594"/>
                  </a:lnTo>
                  <a:lnTo>
                    <a:pt x="633172" y="204292"/>
                  </a:lnTo>
                  <a:lnTo>
                    <a:pt x="633222" y="203594"/>
                  </a:lnTo>
                  <a:lnTo>
                    <a:pt x="633222" y="204292"/>
                  </a:lnTo>
                  <a:lnTo>
                    <a:pt x="633222" y="203594"/>
                  </a:lnTo>
                  <a:lnTo>
                    <a:pt x="633222" y="204292"/>
                  </a:lnTo>
                  <a:lnTo>
                    <a:pt x="633222" y="203594"/>
                  </a:lnTo>
                  <a:lnTo>
                    <a:pt x="633222" y="204292"/>
                  </a:lnTo>
                  <a:lnTo>
                    <a:pt x="633222" y="203594"/>
                  </a:lnTo>
                  <a:lnTo>
                    <a:pt x="633222" y="204292"/>
                  </a:lnTo>
                  <a:lnTo>
                    <a:pt x="633222" y="203594"/>
                  </a:lnTo>
                  <a:lnTo>
                    <a:pt x="633273" y="203594"/>
                  </a:lnTo>
                  <a:lnTo>
                    <a:pt x="633273" y="202959"/>
                  </a:lnTo>
                  <a:lnTo>
                    <a:pt x="633273" y="203594"/>
                  </a:lnTo>
                  <a:lnTo>
                    <a:pt x="633273" y="202959"/>
                  </a:lnTo>
                  <a:lnTo>
                    <a:pt x="633273" y="203594"/>
                  </a:lnTo>
                  <a:lnTo>
                    <a:pt x="633375" y="203594"/>
                  </a:lnTo>
                  <a:lnTo>
                    <a:pt x="633375" y="202959"/>
                  </a:lnTo>
                  <a:lnTo>
                    <a:pt x="633375" y="203594"/>
                  </a:lnTo>
                  <a:lnTo>
                    <a:pt x="633375" y="202959"/>
                  </a:lnTo>
                  <a:lnTo>
                    <a:pt x="633375" y="203594"/>
                  </a:lnTo>
                  <a:lnTo>
                    <a:pt x="633375" y="202959"/>
                  </a:lnTo>
                  <a:lnTo>
                    <a:pt x="633375" y="204292"/>
                  </a:lnTo>
                  <a:lnTo>
                    <a:pt x="633413" y="204990"/>
                  </a:lnTo>
                  <a:lnTo>
                    <a:pt x="633413" y="204292"/>
                  </a:lnTo>
                  <a:lnTo>
                    <a:pt x="633413" y="204990"/>
                  </a:lnTo>
                  <a:lnTo>
                    <a:pt x="633413" y="203594"/>
                  </a:lnTo>
                  <a:lnTo>
                    <a:pt x="633413" y="204990"/>
                  </a:lnTo>
                  <a:lnTo>
                    <a:pt x="633464" y="204990"/>
                  </a:lnTo>
                  <a:lnTo>
                    <a:pt x="633464" y="204292"/>
                  </a:lnTo>
                  <a:lnTo>
                    <a:pt x="633464" y="204990"/>
                  </a:lnTo>
                  <a:lnTo>
                    <a:pt x="633464" y="204292"/>
                  </a:lnTo>
                  <a:lnTo>
                    <a:pt x="633464" y="204990"/>
                  </a:lnTo>
                  <a:lnTo>
                    <a:pt x="633464" y="204292"/>
                  </a:lnTo>
                  <a:lnTo>
                    <a:pt x="633515" y="204292"/>
                  </a:lnTo>
                  <a:lnTo>
                    <a:pt x="633515" y="204990"/>
                  </a:lnTo>
                  <a:lnTo>
                    <a:pt x="633515" y="204292"/>
                  </a:lnTo>
                  <a:lnTo>
                    <a:pt x="633515" y="204990"/>
                  </a:lnTo>
                  <a:lnTo>
                    <a:pt x="633616" y="204990"/>
                  </a:lnTo>
                  <a:lnTo>
                    <a:pt x="633616" y="204292"/>
                  </a:lnTo>
                  <a:lnTo>
                    <a:pt x="633616" y="204990"/>
                  </a:lnTo>
                  <a:lnTo>
                    <a:pt x="633616" y="204292"/>
                  </a:lnTo>
                  <a:lnTo>
                    <a:pt x="633616" y="204990"/>
                  </a:lnTo>
                  <a:lnTo>
                    <a:pt x="633667" y="204990"/>
                  </a:lnTo>
                  <a:lnTo>
                    <a:pt x="633667" y="204292"/>
                  </a:lnTo>
                  <a:lnTo>
                    <a:pt x="633667" y="204990"/>
                  </a:lnTo>
                  <a:lnTo>
                    <a:pt x="633667" y="204292"/>
                  </a:lnTo>
                  <a:lnTo>
                    <a:pt x="633667" y="204990"/>
                  </a:lnTo>
                  <a:lnTo>
                    <a:pt x="633667" y="204292"/>
                  </a:lnTo>
                  <a:lnTo>
                    <a:pt x="633667" y="204990"/>
                  </a:lnTo>
                  <a:lnTo>
                    <a:pt x="633718" y="204990"/>
                  </a:lnTo>
                  <a:lnTo>
                    <a:pt x="633718" y="203594"/>
                  </a:lnTo>
                  <a:lnTo>
                    <a:pt x="633819" y="203594"/>
                  </a:lnTo>
                  <a:lnTo>
                    <a:pt x="633819" y="202959"/>
                  </a:lnTo>
                  <a:lnTo>
                    <a:pt x="633819" y="204292"/>
                  </a:lnTo>
                  <a:lnTo>
                    <a:pt x="633870" y="204292"/>
                  </a:lnTo>
                  <a:lnTo>
                    <a:pt x="633870" y="203594"/>
                  </a:lnTo>
                  <a:lnTo>
                    <a:pt x="633870" y="206324"/>
                  </a:lnTo>
                  <a:lnTo>
                    <a:pt x="633870" y="204990"/>
                  </a:lnTo>
                  <a:lnTo>
                    <a:pt x="633921" y="204990"/>
                  </a:lnTo>
                  <a:lnTo>
                    <a:pt x="633921" y="204292"/>
                  </a:lnTo>
                  <a:lnTo>
                    <a:pt x="633921" y="206324"/>
                  </a:lnTo>
                  <a:lnTo>
                    <a:pt x="633921" y="204990"/>
                  </a:lnTo>
                  <a:lnTo>
                    <a:pt x="633959" y="206324"/>
                  </a:lnTo>
                  <a:lnTo>
                    <a:pt x="633959" y="204990"/>
                  </a:lnTo>
                  <a:lnTo>
                    <a:pt x="633959" y="206324"/>
                  </a:lnTo>
                  <a:lnTo>
                    <a:pt x="633959" y="204990"/>
                  </a:lnTo>
                  <a:lnTo>
                    <a:pt x="633959" y="206324"/>
                  </a:lnTo>
                  <a:lnTo>
                    <a:pt x="633959" y="204990"/>
                  </a:lnTo>
                  <a:lnTo>
                    <a:pt x="633959" y="206324"/>
                  </a:lnTo>
                  <a:lnTo>
                    <a:pt x="634061" y="206324"/>
                  </a:lnTo>
                  <a:lnTo>
                    <a:pt x="634061" y="204990"/>
                  </a:lnTo>
                  <a:lnTo>
                    <a:pt x="634061" y="206324"/>
                  </a:lnTo>
                  <a:lnTo>
                    <a:pt x="634061" y="204990"/>
                  </a:lnTo>
                  <a:lnTo>
                    <a:pt x="634061" y="206324"/>
                  </a:lnTo>
                  <a:lnTo>
                    <a:pt x="634061" y="204990"/>
                  </a:lnTo>
                  <a:lnTo>
                    <a:pt x="634061" y="206324"/>
                  </a:lnTo>
                  <a:lnTo>
                    <a:pt x="634112" y="206324"/>
                  </a:lnTo>
                  <a:lnTo>
                    <a:pt x="634112" y="204990"/>
                  </a:lnTo>
                  <a:lnTo>
                    <a:pt x="634112" y="206324"/>
                  </a:lnTo>
                  <a:lnTo>
                    <a:pt x="634112" y="204990"/>
                  </a:lnTo>
                  <a:lnTo>
                    <a:pt x="634112" y="206324"/>
                  </a:lnTo>
                  <a:lnTo>
                    <a:pt x="634112" y="204990"/>
                  </a:lnTo>
                  <a:lnTo>
                    <a:pt x="634112" y="206324"/>
                  </a:lnTo>
                  <a:lnTo>
                    <a:pt x="634112" y="204292"/>
                  </a:lnTo>
                  <a:lnTo>
                    <a:pt x="634112" y="204990"/>
                  </a:lnTo>
                  <a:lnTo>
                    <a:pt x="634162" y="204990"/>
                  </a:lnTo>
                  <a:lnTo>
                    <a:pt x="634162" y="204292"/>
                  </a:lnTo>
                  <a:lnTo>
                    <a:pt x="634264" y="204292"/>
                  </a:lnTo>
                  <a:lnTo>
                    <a:pt x="634264" y="202260"/>
                  </a:lnTo>
                  <a:lnTo>
                    <a:pt x="634315" y="202260"/>
                  </a:lnTo>
                  <a:lnTo>
                    <a:pt x="634315" y="204292"/>
                  </a:lnTo>
                  <a:lnTo>
                    <a:pt x="634315" y="202260"/>
                  </a:lnTo>
                  <a:lnTo>
                    <a:pt x="634315" y="202959"/>
                  </a:lnTo>
                  <a:lnTo>
                    <a:pt x="634366" y="202959"/>
                  </a:lnTo>
                  <a:lnTo>
                    <a:pt x="634366" y="206324"/>
                  </a:lnTo>
                  <a:lnTo>
                    <a:pt x="634366" y="203594"/>
                  </a:lnTo>
                  <a:lnTo>
                    <a:pt x="634416" y="204292"/>
                  </a:lnTo>
                  <a:lnTo>
                    <a:pt x="634416" y="206324"/>
                  </a:lnTo>
                  <a:lnTo>
                    <a:pt x="634416" y="204292"/>
                  </a:lnTo>
                  <a:lnTo>
                    <a:pt x="634416" y="204990"/>
                  </a:lnTo>
                  <a:lnTo>
                    <a:pt x="634505" y="204990"/>
                  </a:lnTo>
                  <a:lnTo>
                    <a:pt x="634505" y="206324"/>
                  </a:lnTo>
                  <a:lnTo>
                    <a:pt x="634505" y="204990"/>
                  </a:lnTo>
                  <a:lnTo>
                    <a:pt x="634505" y="206324"/>
                  </a:lnTo>
                  <a:lnTo>
                    <a:pt x="634505" y="204990"/>
                  </a:lnTo>
                  <a:lnTo>
                    <a:pt x="634505" y="206324"/>
                  </a:lnTo>
                  <a:lnTo>
                    <a:pt x="634556" y="206324"/>
                  </a:lnTo>
                  <a:lnTo>
                    <a:pt x="634556" y="204990"/>
                  </a:lnTo>
                  <a:lnTo>
                    <a:pt x="634556" y="206324"/>
                  </a:lnTo>
                  <a:lnTo>
                    <a:pt x="634556" y="204990"/>
                  </a:lnTo>
                  <a:lnTo>
                    <a:pt x="634556" y="206324"/>
                  </a:lnTo>
                  <a:lnTo>
                    <a:pt x="634556" y="204990"/>
                  </a:lnTo>
                  <a:lnTo>
                    <a:pt x="634607" y="204990"/>
                  </a:lnTo>
                  <a:lnTo>
                    <a:pt x="634607" y="206324"/>
                  </a:lnTo>
                  <a:lnTo>
                    <a:pt x="634607" y="204990"/>
                  </a:lnTo>
                  <a:lnTo>
                    <a:pt x="634607" y="206324"/>
                  </a:lnTo>
                  <a:lnTo>
                    <a:pt x="634658" y="204990"/>
                  </a:lnTo>
                  <a:lnTo>
                    <a:pt x="634658" y="204292"/>
                  </a:lnTo>
                  <a:lnTo>
                    <a:pt x="634658" y="204990"/>
                  </a:lnTo>
                  <a:lnTo>
                    <a:pt x="634658" y="203594"/>
                  </a:lnTo>
                  <a:lnTo>
                    <a:pt x="634658" y="204292"/>
                  </a:lnTo>
                  <a:lnTo>
                    <a:pt x="634759" y="204292"/>
                  </a:lnTo>
                  <a:lnTo>
                    <a:pt x="634759" y="202959"/>
                  </a:lnTo>
                  <a:lnTo>
                    <a:pt x="634759" y="203594"/>
                  </a:lnTo>
                  <a:lnTo>
                    <a:pt x="634759" y="202260"/>
                  </a:lnTo>
                  <a:lnTo>
                    <a:pt x="634759" y="202959"/>
                  </a:lnTo>
                  <a:lnTo>
                    <a:pt x="634810" y="202959"/>
                  </a:lnTo>
                  <a:lnTo>
                    <a:pt x="634810" y="204292"/>
                  </a:lnTo>
                  <a:lnTo>
                    <a:pt x="634810" y="202260"/>
                  </a:lnTo>
                  <a:lnTo>
                    <a:pt x="634810" y="204292"/>
                  </a:lnTo>
                  <a:lnTo>
                    <a:pt x="634861" y="204292"/>
                  </a:lnTo>
                  <a:lnTo>
                    <a:pt x="634861" y="204990"/>
                  </a:lnTo>
                  <a:lnTo>
                    <a:pt x="634861" y="203594"/>
                  </a:lnTo>
                  <a:lnTo>
                    <a:pt x="634861" y="204990"/>
                  </a:lnTo>
                  <a:lnTo>
                    <a:pt x="634962" y="204990"/>
                  </a:lnTo>
                  <a:lnTo>
                    <a:pt x="634962" y="206324"/>
                  </a:lnTo>
                  <a:lnTo>
                    <a:pt x="634962" y="204292"/>
                  </a:lnTo>
                  <a:lnTo>
                    <a:pt x="634962" y="204990"/>
                  </a:lnTo>
                  <a:lnTo>
                    <a:pt x="634962" y="204292"/>
                  </a:lnTo>
                  <a:lnTo>
                    <a:pt x="634962" y="204990"/>
                  </a:lnTo>
                  <a:lnTo>
                    <a:pt x="635001" y="204990"/>
                  </a:lnTo>
                  <a:lnTo>
                    <a:pt x="635001" y="206324"/>
                  </a:lnTo>
                  <a:lnTo>
                    <a:pt x="635001" y="204990"/>
                  </a:lnTo>
                  <a:lnTo>
                    <a:pt x="635001" y="206324"/>
                  </a:lnTo>
                  <a:lnTo>
                    <a:pt x="635001" y="204990"/>
                  </a:lnTo>
                  <a:lnTo>
                    <a:pt x="635001" y="206324"/>
                  </a:lnTo>
                  <a:lnTo>
                    <a:pt x="635051" y="206324"/>
                  </a:lnTo>
                  <a:lnTo>
                    <a:pt x="635051" y="207022"/>
                  </a:lnTo>
                  <a:lnTo>
                    <a:pt x="635102" y="206324"/>
                  </a:lnTo>
                  <a:lnTo>
                    <a:pt x="635102" y="207022"/>
                  </a:lnTo>
                  <a:lnTo>
                    <a:pt x="635102" y="204990"/>
                  </a:lnTo>
                  <a:lnTo>
                    <a:pt x="635102" y="206324"/>
                  </a:lnTo>
                  <a:lnTo>
                    <a:pt x="635102" y="204990"/>
                  </a:lnTo>
                  <a:lnTo>
                    <a:pt x="635102" y="206324"/>
                  </a:lnTo>
                  <a:lnTo>
                    <a:pt x="635204" y="204990"/>
                  </a:lnTo>
                  <a:lnTo>
                    <a:pt x="635204" y="206324"/>
                  </a:lnTo>
                  <a:lnTo>
                    <a:pt x="635204" y="204292"/>
                  </a:lnTo>
                  <a:lnTo>
                    <a:pt x="635204" y="204990"/>
                  </a:lnTo>
                  <a:lnTo>
                    <a:pt x="635204" y="204292"/>
                  </a:lnTo>
                  <a:lnTo>
                    <a:pt x="635204" y="204990"/>
                  </a:lnTo>
                  <a:lnTo>
                    <a:pt x="635204" y="204292"/>
                  </a:lnTo>
                  <a:lnTo>
                    <a:pt x="635255" y="204292"/>
                  </a:lnTo>
                  <a:lnTo>
                    <a:pt x="635255" y="202959"/>
                  </a:lnTo>
                  <a:lnTo>
                    <a:pt x="635255" y="203594"/>
                  </a:lnTo>
                  <a:lnTo>
                    <a:pt x="635255" y="202260"/>
                  </a:lnTo>
                  <a:lnTo>
                    <a:pt x="635305" y="202260"/>
                  </a:lnTo>
                  <a:lnTo>
                    <a:pt x="635305" y="202959"/>
                  </a:lnTo>
                  <a:lnTo>
                    <a:pt x="635305" y="202260"/>
                  </a:lnTo>
                  <a:lnTo>
                    <a:pt x="635305" y="202959"/>
                  </a:lnTo>
                  <a:lnTo>
                    <a:pt x="635407" y="202959"/>
                  </a:lnTo>
                  <a:lnTo>
                    <a:pt x="635407" y="204292"/>
                  </a:lnTo>
                  <a:lnTo>
                    <a:pt x="635407" y="202959"/>
                  </a:lnTo>
                  <a:lnTo>
                    <a:pt x="635407" y="204292"/>
                  </a:lnTo>
                  <a:lnTo>
                    <a:pt x="635458" y="204292"/>
                  </a:lnTo>
                  <a:lnTo>
                    <a:pt x="635458" y="204990"/>
                  </a:lnTo>
                  <a:lnTo>
                    <a:pt x="635458" y="203594"/>
                  </a:lnTo>
                  <a:lnTo>
                    <a:pt x="635458" y="204990"/>
                  </a:lnTo>
                  <a:lnTo>
                    <a:pt x="635508" y="204990"/>
                  </a:lnTo>
                  <a:lnTo>
                    <a:pt x="635508" y="204292"/>
                  </a:lnTo>
                  <a:lnTo>
                    <a:pt x="635508" y="206324"/>
                  </a:lnTo>
                  <a:lnTo>
                    <a:pt x="635508" y="204990"/>
                  </a:lnTo>
                  <a:lnTo>
                    <a:pt x="635547" y="204990"/>
                  </a:lnTo>
                  <a:lnTo>
                    <a:pt x="635547" y="206324"/>
                  </a:lnTo>
                  <a:lnTo>
                    <a:pt x="635648" y="206324"/>
                  </a:lnTo>
                  <a:lnTo>
                    <a:pt x="635648" y="207022"/>
                  </a:lnTo>
                  <a:lnTo>
                    <a:pt x="635648" y="206324"/>
                  </a:lnTo>
                  <a:lnTo>
                    <a:pt x="635648" y="207022"/>
                  </a:lnTo>
                  <a:lnTo>
                    <a:pt x="635648" y="204990"/>
                  </a:lnTo>
                  <a:lnTo>
                    <a:pt x="635648" y="206324"/>
                  </a:lnTo>
                  <a:lnTo>
                    <a:pt x="635699" y="206324"/>
                  </a:lnTo>
                  <a:lnTo>
                    <a:pt x="635699" y="204990"/>
                  </a:lnTo>
                  <a:lnTo>
                    <a:pt x="635699" y="206324"/>
                  </a:lnTo>
                  <a:lnTo>
                    <a:pt x="635699" y="204990"/>
                  </a:lnTo>
                  <a:lnTo>
                    <a:pt x="635699" y="206324"/>
                  </a:lnTo>
                  <a:lnTo>
                    <a:pt x="635699" y="204990"/>
                  </a:lnTo>
                  <a:lnTo>
                    <a:pt x="635699" y="206324"/>
                  </a:lnTo>
                  <a:lnTo>
                    <a:pt x="635699" y="204292"/>
                  </a:lnTo>
                  <a:lnTo>
                    <a:pt x="635750" y="204292"/>
                  </a:lnTo>
                  <a:lnTo>
                    <a:pt x="635750" y="202260"/>
                  </a:lnTo>
                  <a:lnTo>
                    <a:pt x="635851" y="202959"/>
                  </a:lnTo>
                  <a:lnTo>
                    <a:pt x="635851" y="203594"/>
                  </a:lnTo>
                  <a:lnTo>
                    <a:pt x="635851" y="202260"/>
                  </a:lnTo>
                  <a:lnTo>
                    <a:pt x="635851" y="203594"/>
                  </a:lnTo>
                  <a:lnTo>
                    <a:pt x="635902" y="203594"/>
                  </a:lnTo>
                  <a:lnTo>
                    <a:pt x="635902" y="204292"/>
                  </a:lnTo>
                  <a:lnTo>
                    <a:pt x="635902" y="202959"/>
                  </a:lnTo>
                  <a:lnTo>
                    <a:pt x="635902" y="203594"/>
                  </a:lnTo>
                  <a:lnTo>
                    <a:pt x="635953" y="203594"/>
                  </a:lnTo>
                  <a:lnTo>
                    <a:pt x="635953" y="204292"/>
                  </a:lnTo>
                  <a:lnTo>
                    <a:pt x="635953" y="203594"/>
                  </a:lnTo>
                  <a:lnTo>
                    <a:pt x="635953" y="204292"/>
                  </a:lnTo>
                  <a:lnTo>
                    <a:pt x="636004" y="204292"/>
                  </a:lnTo>
                  <a:lnTo>
                    <a:pt x="636004" y="203594"/>
                  </a:lnTo>
                  <a:lnTo>
                    <a:pt x="636004" y="204292"/>
                  </a:lnTo>
                  <a:lnTo>
                    <a:pt x="636004" y="203594"/>
                  </a:lnTo>
                  <a:lnTo>
                    <a:pt x="636004" y="204292"/>
                  </a:lnTo>
                  <a:lnTo>
                    <a:pt x="636093" y="204292"/>
                  </a:lnTo>
                  <a:lnTo>
                    <a:pt x="636093" y="204990"/>
                  </a:lnTo>
                  <a:lnTo>
                    <a:pt x="636093" y="204292"/>
                  </a:lnTo>
                  <a:lnTo>
                    <a:pt x="636093" y="204990"/>
                  </a:lnTo>
                  <a:lnTo>
                    <a:pt x="636143" y="204990"/>
                  </a:lnTo>
                  <a:lnTo>
                    <a:pt x="636143" y="204292"/>
                  </a:lnTo>
                  <a:lnTo>
                    <a:pt x="636143" y="204990"/>
                  </a:lnTo>
                  <a:lnTo>
                    <a:pt x="636143" y="204292"/>
                  </a:lnTo>
                  <a:lnTo>
                    <a:pt x="636143" y="204990"/>
                  </a:lnTo>
                  <a:lnTo>
                    <a:pt x="636194" y="204292"/>
                  </a:lnTo>
                  <a:lnTo>
                    <a:pt x="636194" y="204990"/>
                  </a:lnTo>
                  <a:lnTo>
                    <a:pt x="636194" y="204292"/>
                  </a:lnTo>
                  <a:lnTo>
                    <a:pt x="636194" y="204990"/>
                  </a:lnTo>
                  <a:lnTo>
                    <a:pt x="636194" y="204292"/>
                  </a:lnTo>
                  <a:lnTo>
                    <a:pt x="636245" y="204292"/>
                  </a:lnTo>
                  <a:lnTo>
                    <a:pt x="636245" y="202959"/>
                  </a:lnTo>
                  <a:lnTo>
                    <a:pt x="636245" y="204990"/>
                  </a:lnTo>
                  <a:lnTo>
                    <a:pt x="636347" y="204292"/>
                  </a:lnTo>
                  <a:lnTo>
                    <a:pt x="636347" y="202959"/>
                  </a:lnTo>
                  <a:lnTo>
                    <a:pt x="636347" y="207022"/>
                  </a:lnTo>
                  <a:lnTo>
                    <a:pt x="636347" y="206324"/>
                  </a:lnTo>
                  <a:lnTo>
                    <a:pt x="636397" y="204990"/>
                  </a:lnTo>
                  <a:lnTo>
                    <a:pt x="636397" y="203594"/>
                  </a:lnTo>
                  <a:lnTo>
                    <a:pt x="636397" y="206324"/>
                  </a:lnTo>
                  <a:lnTo>
                    <a:pt x="636397" y="204990"/>
                  </a:lnTo>
                  <a:lnTo>
                    <a:pt x="636448" y="204990"/>
                  </a:lnTo>
                  <a:lnTo>
                    <a:pt x="636448" y="204292"/>
                  </a:lnTo>
                  <a:lnTo>
                    <a:pt x="636448" y="204990"/>
                  </a:lnTo>
                  <a:lnTo>
                    <a:pt x="636448" y="204292"/>
                  </a:lnTo>
                  <a:lnTo>
                    <a:pt x="636448" y="204990"/>
                  </a:lnTo>
                  <a:lnTo>
                    <a:pt x="636448" y="204292"/>
                  </a:lnTo>
                  <a:lnTo>
                    <a:pt x="636550" y="204292"/>
                  </a:lnTo>
                  <a:lnTo>
                    <a:pt x="636550" y="204990"/>
                  </a:lnTo>
                  <a:lnTo>
                    <a:pt x="636550" y="204292"/>
                  </a:lnTo>
                  <a:lnTo>
                    <a:pt x="636588" y="204990"/>
                  </a:lnTo>
                  <a:lnTo>
                    <a:pt x="636588" y="206324"/>
                  </a:lnTo>
                  <a:lnTo>
                    <a:pt x="636588" y="204990"/>
                  </a:lnTo>
                  <a:lnTo>
                    <a:pt x="636588" y="206324"/>
                  </a:lnTo>
                  <a:lnTo>
                    <a:pt x="636588" y="204990"/>
                  </a:lnTo>
                  <a:lnTo>
                    <a:pt x="636690" y="204990"/>
                  </a:lnTo>
                  <a:lnTo>
                    <a:pt x="636690" y="204292"/>
                  </a:lnTo>
                  <a:lnTo>
                    <a:pt x="636690" y="204990"/>
                  </a:lnTo>
                  <a:lnTo>
                    <a:pt x="636690" y="203594"/>
                  </a:lnTo>
                  <a:lnTo>
                    <a:pt x="636791" y="203594"/>
                  </a:lnTo>
                  <a:lnTo>
                    <a:pt x="636791" y="202260"/>
                  </a:lnTo>
                  <a:lnTo>
                    <a:pt x="636791" y="204292"/>
                  </a:lnTo>
                  <a:lnTo>
                    <a:pt x="636791" y="203594"/>
                  </a:lnTo>
                  <a:lnTo>
                    <a:pt x="636842" y="203594"/>
                  </a:lnTo>
                  <a:lnTo>
                    <a:pt x="636842" y="202959"/>
                  </a:lnTo>
                  <a:lnTo>
                    <a:pt x="636842" y="206324"/>
                  </a:lnTo>
                  <a:lnTo>
                    <a:pt x="636842" y="204990"/>
                  </a:lnTo>
                  <a:lnTo>
                    <a:pt x="636893" y="204292"/>
                  </a:lnTo>
                  <a:lnTo>
                    <a:pt x="636893" y="204990"/>
                  </a:lnTo>
                  <a:lnTo>
                    <a:pt x="636994" y="204292"/>
                  </a:lnTo>
                  <a:lnTo>
                    <a:pt x="636994" y="204990"/>
                  </a:lnTo>
                  <a:lnTo>
                    <a:pt x="636994" y="204292"/>
                  </a:lnTo>
                  <a:lnTo>
                    <a:pt x="637045" y="204990"/>
                  </a:lnTo>
                  <a:lnTo>
                    <a:pt x="637045" y="204292"/>
                  </a:lnTo>
                  <a:lnTo>
                    <a:pt x="637045" y="204990"/>
                  </a:lnTo>
                  <a:lnTo>
                    <a:pt x="637045" y="204292"/>
                  </a:lnTo>
                  <a:lnTo>
                    <a:pt x="637045" y="204990"/>
                  </a:lnTo>
                  <a:lnTo>
                    <a:pt x="637045" y="204292"/>
                  </a:lnTo>
                  <a:lnTo>
                    <a:pt x="637045" y="204990"/>
                  </a:lnTo>
                  <a:lnTo>
                    <a:pt x="637096" y="204990"/>
                  </a:lnTo>
                  <a:lnTo>
                    <a:pt x="637096" y="204292"/>
                  </a:lnTo>
                  <a:lnTo>
                    <a:pt x="637096" y="206324"/>
                  </a:lnTo>
                  <a:lnTo>
                    <a:pt x="637096" y="204990"/>
                  </a:lnTo>
                  <a:lnTo>
                    <a:pt x="637096" y="206324"/>
                  </a:lnTo>
                  <a:lnTo>
                    <a:pt x="637096" y="204990"/>
                  </a:lnTo>
                  <a:lnTo>
                    <a:pt x="637134" y="204292"/>
                  </a:lnTo>
                  <a:lnTo>
                    <a:pt x="637134" y="204990"/>
                  </a:lnTo>
                  <a:lnTo>
                    <a:pt x="637134" y="204292"/>
                  </a:lnTo>
                  <a:lnTo>
                    <a:pt x="637134" y="204990"/>
                  </a:lnTo>
                  <a:lnTo>
                    <a:pt x="637134" y="203594"/>
                  </a:lnTo>
                  <a:lnTo>
                    <a:pt x="637134" y="204292"/>
                  </a:lnTo>
                  <a:lnTo>
                    <a:pt x="637236" y="204292"/>
                  </a:lnTo>
                  <a:lnTo>
                    <a:pt x="637236" y="202959"/>
                  </a:lnTo>
                  <a:lnTo>
                    <a:pt x="637236" y="203594"/>
                  </a:lnTo>
                  <a:lnTo>
                    <a:pt x="637236" y="202260"/>
                  </a:lnTo>
                  <a:lnTo>
                    <a:pt x="637287" y="202260"/>
                  </a:lnTo>
                  <a:lnTo>
                    <a:pt x="637287" y="203594"/>
                  </a:lnTo>
                  <a:lnTo>
                    <a:pt x="637287" y="202260"/>
                  </a:lnTo>
                  <a:lnTo>
                    <a:pt x="637337" y="202260"/>
                  </a:lnTo>
                  <a:lnTo>
                    <a:pt x="637337" y="204990"/>
                  </a:lnTo>
                  <a:lnTo>
                    <a:pt x="637337" y="203594"/>
                  </a:lnTo>
                  <a:lnTo>
                    <a:pt x="637337" y="204292"/>
                  </a:lnTo>
                  <a:lnTo>
                    <a:pt x="637439" y="204292"/>
                  </a:lnTo>
                  <a:lnTo>
                    <a:pt x="637439" y="204990"/>
                  </a:lnTo>
                  <a:lnTo>
                    <a:pt x="637439" y="203594"/>
                  </a:lnTo>
                  <a:lnTo>
                    <a:pt x="637439" y="204292"/>
                  </a:lnTo>
                  <a:lnTo>
                    <a:pt x="637490" y="204292"/>
                  </a:lnTo>
                  <a:lnTo>
                    <a:pt x="637490" y="206324"/>
                  </a:lnTo>
                  <a:lnTo>
                    <a:pt x="637490" y="204990"/>
                  </a:lnTo>
                  <a:lnTo>
                    <a:pt x="637541" y="204990"/>
                  </a:lnTo>
                  <a:lnTo>
                    <a:pt x="637541" y="204292"/>
                  </a:lnTo>
                  <a:lnTo>
                    <a:pt x="637541" y="206324"/>
                  </a:lnTo>
                  <a:lnTo>
                    <a:pt x="637541" y="204990"/>
                  </a:lnTo>
                  <a:lnTo>
                    <a:pt x="637591" y="204990"/>
                  </a:lnTo>
                  <a:lnTo>
                    <a:pt x="637591" y="206324"/>
                  </a:lnTo>
                  <a:lnTo>
                    <a:pt x="637591" y="204990"/>
                  </a:lnTo>
                  <a:lnTo>
                    <a:pt x="637680" y="204990"/>
                  </a:lnTo>
                  <a:lnTo>
                    <a:pt x="637680" y="204292"/>
                  </a:lnTo>
                  <a:lnTo>
                    <a:pt x="637680" y="204990"/>
                  </a:lnTo>
                  <a:lnTo>
                    <a:pt x="637680" y="203594"/>
                  </a:lnTo>
                  <a:lnTo>
                    <a:pt x="637731" y="203594"/>
                  </a:lnTo>
                  <a:lnTo>
                    <a:pt x="637731" y="200876"/>
                  </a:lnTo>
                  <a:lnTo>
                    <a:pt x="637731" y="202959"/>
                  </a:lnTo>
                  <a:lnTo>
                    <a:pt x="637782" y="202959"/>
                  </a:lnTo>
                  <a:lnTo>
                    <a:pt x="637782" y="204292"/>
                  </a:lnTo>
                  <a:lnTo>
                    <a:pt x="637782" y="202260"/>
                  </a:lnTo>
                  <a:lnTo>
                    <a:pt x="637782" y="204990"/>
                  </a:lnTo>
                  <a:lnTo>
                    <a:pt x="637833" y="204990"/>
                  </a:lnTo>
                  <a:lnTo>
                    <a:pt x="637833" y="204292"/>
                  </a:lnTo>
                  <a:lnTo>
                    <a:pt x="637833" y="204990"/>
                  </a:lnTo>
                  <a:lnTo>
                    <a:pt x="637833" y="203594"/>
                  </a:lnTo>
                  <a:lnTo>
                    <a:pt x="637833" y="204990"/>
                  </a:lnTo>
                  <a:lnTo>
                    <a:pt x="637934" y="204990"/>
                  </a:lnTo>
                  <a:lnTo>
                    <a:pt x="637934" y="203594"/>
                  </a:lnTo>
                  <a:lnTo>
                    <a:pt x="637934" y="204990"/>
                  </a:lnTo>
                  <a:lnTo>
                    <a:pt x="637934" y="204292"/>
                  </a:lnTo>
                  <a:lnTo>
                    <a:pt x="637985" y="204292"/>
                  </a:lnTo>
                  <a:lnTo>
                    <a:pt x="637985" y="204990"/>
                  </a:lnTo>
                  <a:lnTo>
                    <a:pt x="637985" y="204292"/>
                  </a:lnTo>
                  <a:lnTo>
                    <a:pt x="637985" y="204990"/>
                  </a:lnTo>
                  <a:lnTo>
                    <a:pt x="637985" y="204292"/>
                  </a:lnTo>
                  <a:lnTo>
                    <a:pt x="638036" y="204990"/>
                  </a:lnTo>
                  <a:lnTo>
                    <a:pt x="638036" y="204292"/>
                  </a:lnTo>
                  <a:lnTo>
                    <a:pt x="638036" y="204990"/>
                  </a:lnTo>
                  <a:lnTo>
                    <a:pt x="638036" y="204292"/>
                  </a:lnTo>
                  <a:lnTo>
                    <a:pt x="638036" y="206324"/>
                  </a:lnTo>
                  <a:lnTo>
                    <a:pt x="638036" y="204990"/>
                  </a:lnTo>
                  <a:lnTo>
                    <a:pt x="638137" y="204292"/>
                  </a:lnTo>
                  <a:lnTo>
                    <a:pt x="638137" y="204990"/>
                  </a:lnTo>
                  <a:lnTo>
                    <a:pt x="638137" y="204292"/>
                  </a:lnTo>
                  <a:lnTo>
                    <a:pt x="638137" y="204990"/>
                  </a:lnTo>
                  <a:lnTo>
                    <a:pt x="638137" y="204292"/>
                  </a:lnTo>
                  <a:lnTo>
                    <a:pt x="638176" y="203594"/>
                  </a:lnTo>
                  <a:lnTo>
                    <a:pt x="638176" y="204292"/>
                  </a:lnTo>
                  <a:lnTo>
                    <a:pt x="638176" y="203594"/>
                  </a:lnTo>
                  <a:lnTo>
                    <a:pt x="638176" y="204292"/>
                  </a:lnTo>
                  <a:lnTo>
                    <a:pt x="638176" y="202959"/>
                  </a:lnTo>
                  <a:lnTo>
                    <a:pt x="638176" y="203594"/>
                  </a:lnTo>
                  <a:lnTo>
                    <a:pt x="638226" y="202959"/>
                  </a:lnTo>
                  <a:lnTo>
                    <a:pt x="638226" y="200876"/>
                  </a:lnTo>
                  <a:lnTo>
                    <a:pt x="638226" y="202959"/>
                  </a:lnTo>
                  <a:lnTo>
                    <a:pt x="638277" y="202959"/>
                  </a:lnTo>
                  <a:lnTo>
                    <a:pt x="638277" y="200876"/>
                  </a:lnTo>
                  <a:lnTo>
                    <a:pt x="638277" y="204292"/>
                  </a:lnTo>
                  <a:lnTo>
                    <a:pt x="638379" y="204292"/>
                  </a:lnTo>
                  <a:lnTo>
                    <a:pt x="638379" y="202959"/>
                  </a:lnTo>
                  <a:lnTo>
                    <a:pt x="638379" y="203594"/>
                  </a:lnTo>
                  <a:lnTo>
                    <a:pt x="638379" y="202959"/>
                  </a:lnTo>
                  <a:lnTo>
                    <a:pt x="638379" y="204292"/>
                  </a:lnTo>
                  <a:lnTo>
                    <a:pt x="638430" y="203594"/>
                  </a:lnTo>
                  <a:lnTo>
                    <a:pt x="638430" y="202959"/>
                  </a:lnTo>
                  <a:lnTo>
                    <a:pt x="638430" y="203594"/>
                  </a:lnTo>
                  <a:lnTo>
                    <a:pt x="638430" y="202959"/>
                  </a:lnTo>
                  <a:lnTo>
                    <a:pt x="638430" y="204292"/>
                  </a:lnTo>
                  <a:lnTo>
                    <a:pt x="638480" y="204292"/>
                  </a:lnTo>
                  <a:lnTo>
                    <a:pt x="638480" y="204990"/>
                  </a:lnTo>
                  <a:lnTo>
                    <a:pt x="638582" y="204292"/>
                  </a:lnTo>
                  <a:lnTo>
                    <a:pt x="638582" y="204990"/>
                  </a:lnTo>
                  <a:lnTo>
                    <a:pt x="638582" y="204292"/>
                  </a:lnTo>
                  <a:lnTo>
                    <a:pt x="638582" y="204990"/>
                  </a:lnTo>
                  <a:lnTo>
                    <a:pt x="638633" y="204990"/>
                  </a:lnTo>
                  <a:lnTo>
                    <a:pt x="638633" y="204292"/>
                  </a:lnTo>
                  <a:lnTo>
                    <a:pt x="638633" y="204990"/>
                  </a:lnTo>
                  <a:lnTo>
                    <a:pt x="638633" y="204292"/>
                  </a:lnTo>
                  <a:lnTo>
                    <a:pt x="638683" y="204292"/>
                  </a:lnTo>
                  <a:lnTo>
                    <a:pt x="638683" y="203594"/>
                  </a:lnTo>
                  <a:lnTo>
                    <a:pt x="638683" y="204292"/>
                  </a:lnTo>
                  <a:lnTo>
                    <a:pt x="638683" y="202959"/>
                  </a:lnTo>
                  <a:lnTo>
                    <a:pt x="638722" y="202959"/>
                  </a:lnTo>
                  <a:lnTo>
                    <a:pt x="638722" y="202260"/>
                  </a:lnTo>
                  <a:lnTo>
                    <a:pt x="638722" y="202959"/>
                  </a:lnTo>
                  <a:lnTo>
                    <a:pt x="638722" y="200876"/>
                  </a:lnTo>
                  <a:lnTo>
                    <a:pt x="638722" y="202959"/>
                  </a:lnTo>
                  <a:lnTo>
                    <a:pt x="638722" y="202260"/>
                  </a:lnTo>
                  <a:lnTo>
                    <a:pt x="638823" y="202260"/>
                  </a:lnTo>
                  <a:lnTo>
                    <a:pt x="638823" y="200876"/>
                  </a:lnTo>
                  <a:lnTo>
                    <a:pt x="638823" y="204292"/>
                  </a:lnTo>
                  <a:lnTo>
                    <a:pt x="638823" y="203594"/>
                  </a:lnTo>
                  <a:lnTo>
                    <a:pt x="638874" y="202959"/>
                  </a:lnTo>
                  <a:lnTo>
                    <a:pt x="638874" y="204292"/>
                  </a:lnTo>
                  <a:lnTo>
                    <a:pt x="638874" y="203594"/>
                  </a:lnTo>
                  <a:lnTo>
                    <a:pt x="638874" y="204292"/>
                  </a:lnTo>
                  <a:lnTo>
                    <a:pt x="638874" y="202959"/>
                  </a:lnTo>
                  <a:lnTo>
                    <a:pt x="638925" y="202959"/>
                  </a:lnTo>
                  <a:lnTo>
                    <a:pt x="638925" y="203594"/>
                  </a:lnTo>
                  <a:lnTo>
                    <a:pt x="638925" y="202959"/>
                  </a:lnTo>
                  <a:lnTo>
                    <a:pt x="638925" y="204292"/>
                  </a:lnTo>
                  <a:lnTo>
                    <a:pt x="638925" y="203594"/>
                  </a:lnTo>
                  <a:lnTo>
                    <a:pt x="639026" y="203594"/>
                  </a:lnTo>
                  <a:lnTo>
                    <a:pt x="639026" y="204292"/>
                  </a:lnTo>
                  <a:lnTo>
                    <a:pt x="639026" y="203594"/>
                  </a:lnTo>
                  <a:lnTo>
                    <a:pt x="639077" y="203594"/>
                  </a:lnTo>
                  <a:lnTo>
                    <a:pt x="639077" y="204990"/>
                  </a:lnTo>
                  <a:lnTo>
                    <a:pt x="639077" y="204292"/>
                  </a:lnTo>
                  <a:lnTo>
                    <a:pt x="639077" y="204990"/>
                  </a:lnTo>
                  <a:lnTo>
                    <a:pt x="639077" y="204292"/>
                  </a:lnTo>
                  <a:lnTo>
                    <a:pt x="639077" y="204990"/>
                  </a:lnTo>
                  <a:lnTo>
                    <a:pt x="639077" y="204292"/>
                  </a:lnTo>
                  <a:lnTo>
                    <a:pt x="639077" y="204990"/>
                  </a:lnTo>
                  <a:lnTo>
                    <a:pt x="639077" y="204292"/>
                  </a:lnTo>
                  <a:lnTo>
                    <a:pt x="639077" y="204990"/>
                  </a:lnTo>
                  <a:lnTo>
                    <a:pt x="639128" y="206324"/>
                  </a:lnTo>
                  <a:lnTo>
                    <a:pt x="639128" y="204292"/>
                  </a:lnTo>
                  <a:lnTo>
                    <a:pt x="639128" y="204990"/>
                  </a:lnTo>
                  <a:lnTo>
                    <a:pt x="639128" y="204292"/>
                  </a:lnTo>
                  <a:lnTo>
                    <a:pt x="639179" y="204292"/>
                  </a:lnTo>
                  <a:lnTo>
                    <a:pt x="639179" y="203594"/>
                  </a:lnTo>
                  <a:lnTo>
                    <a:pt x="639179" y="204292"/>
                  </a:lnTo>
                  <a:lnTo>
                    <a:pt x="639179" y="203594"/>
                  </a:lnTo>
                  <a:lnTo>
                    <a:pt x="639268" y="203594"/>
                  </a:lnTo>
                  <a:lnTo>
                    <a:pt x="639268" y="204292"/>
                  </a:lnTo>
                  <a:lnTo>
                    <a:pt x="639268" y="203594"/>
                  </a:lnTo>
                  <a:lnTo>
                    <a:pt x="639318" y="204292"/>
                  </a:lnTo>
                  <a:lnTo>
                    <a:pt x="639318" y="207022"/>
                  </a:lnTo>
                  <a:lnTo>
                    <a:pt x="639318" y="204292"/>
                  </a:lnTo>
                  <a:lnTo>
                    <a:pt x="639318" y="204990"/>
                  </a:lnTo>
                  <a:lnTo>
                    <a:pt x="639369" y="204990"/>
                  </a:lnTo>
                  <a:lnTo>
                    <a:pt x="639369" y="206324"/>
                  </a:lnTo>
                  <a:lnTo>
                    <a:pt x="639369" y="204990"/>
                  </a:lnTo>
                  <a:lnTo>
                    <a:pt x="639369" y="206324"/>
                  </a:lnTo>
                  <a:lnTo>
                    <a:pt x="639369" y="204990"/>
                  </a:lnTo>
                  <a:lnTo>
                    <a:pt x="639369" y="206324"/>
                  </a:lnTo>
                  <a:lnTo>
                    <a:pt x="639369" y="204292"/>
                  </a:lnTo>
                  <a:lnTo>
                    <a:pt x="639369" y="204990"/>
                  </a:lnTo>
                  <a:lnTo>
                    <a:pt x="639420" y="204990"/>
                  </a:lnTo>
                  <a:lnTo>
                    <a:pt x="639420" y="206324"/>
                  </a:lnTo>
                  <a:lnTo>
                    <a:pt x="639420" y="204990"/>
                  </a:lnTo>
                  <a:lnTo>
                    <a:pt x="639420" y="206324"/>
                  </a:lnTo>
                  <a:lnTo>
                    <a:pt x="639522" y="204990"/>
                  </a:lnTo>
                  <a:lnTo>
                    <a:pt x="639572" y="204990"/>
                  </a:lnTo>
                  <a:lnTo>
                    <a:pt x="639572" y="206324"/>
                  </a:lnTo>
                  <a:lnTo>
                    <a:pt x="639572" y="204990"/>
                  </a:lnTo>
                  <a:lnTo>
                    <a:pt x="639572" y="206324"/>
                  </a:lnTo>
                  <a:lnTo>
                    <a:pt x="639572" y="204990"/>
                  </a:lnTo>
                  <a:lnTo>
                    <a:pt x="639572" y="206324"/>
                  </a:lnTo>
                  <a:lnTo>
                    <a:pt x="639572" y="204292"/>
                  </a:lnTo>
                  <a:lnTo>
                    <a:pt x="639572" y="204990"/>
                  </a:lnTo>
                  <a:lnTo>
                    <a:pt x="639623" y="204990"/>
                  </a:lnTo>
                  <a:lnTo>
                    <a:pt x="639623" y="203594"/>
                  </a:lnTo>
                  <a:lnTo>
                    <a:pt x="639725" y="203594"/>
                  </a:lnTo>
                  <a:lnTo>
                    <a:pt x="639725" y="202959"/>
                  </a:lnTo>
                  <a:lnTo>
                    <a:pt x="639725" y="204292"/>
                  </a:lnTo>
                  <a:lnTo>
                    <a:pt x="639763" y="204292"/>
                  </a:lnTo>
                  <a:lnTo>
                    <a:pt x="639763" y="206324"/>
                  </a:lnTo>
                  <a:lnTo>
                    <a:pt x="639814" y="206324"/>
                  </a:lnTo>
                  <a:lnTo>
                    <a:pt x="639814" y="207022"/>
                  </a:lnTo>
                  <a:lnTo>
                    <a:pt x="639814" y="206324"/>
                  </a:lnTo>
                  <a:lnTo>
                    <a:pt x="639865" y="206324"/>
                  </a:lnTo>
                  <a:lnTo>
                    <a:pt x="639865" y="204990"/>
                  </a:lnTo>
                  <a:lnTo>
                    <a:pt x="639865" y="206324"/>
                  </a:lnTo>
                  <a:lnTo>
                    <a:pt x="639865" y="204990"/>
                  </a:lnTo>
                  <a:lnTo>
                    <a:pt x="639966" y="204990"/>
                  </a:lnTo>
                  <a:lnTo>
                    <a:pt x="639966" y="207022"/>
                  </a:lnTo>
                  <a:lnTo>
                    <a:pt x="639966" y="206324"/>
                  </a:lnTo>
                  <a:lnTo>
                    <a:pt x="640017" y="206324"/>
                  </a:lnTo>
                  <a:lnTo>
                    <a:pt x="640017" y="204990"/>
                  </a:lnTo>
                  <a:lnTo>
                    <a:pt x="640017" y="206324"/>
                  </a:lnTo>
                  <a:lnTo>
                    <a:pt x="640017" y="204990"/>
                  </a:lnTo>
                  <a:lnTo>
                    <a:pt x="640017" y="206324"/>
                  </a:lnTo>
                  <a:lnTo>
                    <a:pt x="640068" y="204990"/>
                  </a:lnTo>
                  <a:lnTo>
                    <a:pt x="640068" y="204292"/>
                  </a:lnTo>
                  <a:lnTo>
                    <a:pt x="640169" y="204292"/>
                  </a:lnTo>
                  <a:lnTo>
                    <a:pt x="640169" y="203594"/>
                  </a:lnTo>
                  <a:lnTo>
                    <a:pt x="640169" y="204292"/>
                  </a:lnTo>
                  <a:lnTo>
                    <a:pt x="640169" y="202959"/>
                  </a:lnTo>
                  <a:lnTo>
                    <a:pt x="640220" y="202959"/>
                  </a:lnTo>
                  <a:lnTo>
                    <a:pt x="640220" y="202260"/>
                  </a:lnTo>
                  <a:lnTo>
                    <a:pt x="640220" y="202959"/>
                  </a:lnTo>
                  <a:lnTo>
                    <a:pt x="640220" y="202260"/>
                  </a:lnTo>
                  <a:lnTo>
                    <a:pt x="640220" y="203594"/>
                  </a:lnTo>
                  <a:lnTo>
                    <a:pt x="640271" y="202959"/>
                  </a:lnTo>
                  <a:lnTo>
                    <a:pt x="640271" y="202260"/>
                  </a:lnTo>
                  <a:lnTo>
                    <a:pt x="640271" y="204990"/>
                  </a:lnTo>
                  <a:lnTo>
                    <a:pt x="640309" y="204292"/>
                  </a:lnTo>
                  <a:lnTo>
                    <a:pt x="640309" y="203594"/>
                  </a:lnTo>
                  <a:lnTo>
                    <a:pt x="640309" y="206324"/>
                  </a:lnTo>
                  <a:lnTo>
                    <a:pt x="640309" y="204292"/>
                  </a:lnTo>
                  <a:lnTo>
                    <a:pt x="640411" y="204292"/>
                  </a:lnTo>
                  <a:lnTo>
                    <a:pt x="640411" y="204990"/>
                  </a:lnTo>
                  <a:lnTo>
                    <a:pt x="640462" y="204990"/>
                  </a:lnTo>
                  <a:lnTo>
                    <a:pt x="640462" y="204292"/>
                  </a:lnTo>
                  <a:lnTo>
                    <a:pt x="640462" y="206324"/>
                  </a:lnTo>
                  <a:lnTo>
                    <a:pt x="640512" y="206324"/>
                  </a:lnTo>
                  <a:lnTo>
                    <a:pt x="640512" y="204990"/>
                  </a:lnTo>
                  <a:lnTo>
                    <a:pt x="640512" y="206324"/>
                  </a:lnTo>
                  <a:lnTo>
                    <a:pt x="640512" y="204990"/>
                  </a:lnTo>
                  <a:lnTo>
                    <a:pt x="640512" y="206324"/>
                  </a:lnTo>
                  <a:lnTo>
                    <a:pt x="640512" y="204990"/>
                  </a:lnTo>
                  <a:lnTo>
                    <a:pt x="640614" y="204990"/>
                  </a:lnTo>
                  <a:lnTo>
                    <a:pt x="640614" y="206324"/>
                  </a:lnTo>
                  <a:lnTo>
                    <a:pt x="640614" y="204292"/>
                  </a:lnTo>
                  <a:lnTo>
                    <a:pt x="640614" y="204990"/>
                  </a:lnTo>
                  <a:lnTo>
                    <a:pt x="640614" y="204292"/>
                  </a:lnTo>
                  <a:lnTo>
                    <a:pt x="640665" y="204292"/>
                  </a:lnTo>
                  <a:lnTo>
                    <a:pt x="640665" y="202959"/>
                  </a:lnTo>
                  <a:lnTo>
                    <a:pt x="640716" y="202260"/>
                  </a:lnTo>
                  <a:lnTo>
                    <a:pt x="640716" y="203594"/>
                  </a:lnTo>
                  <a:lnTo>
                    <a:pt x="640716" y="202260"/>
                  </a:lnTo>
                  <a:lnTo>
                    <a:pt x="640766" y="202260"/>
                  </a:lnTo>
                  <a:lnTo>
                    <a:pt x="640766" y="204292"/>
                  </a:lnTo>
                  <a:lnTo>
                    <a:pt x="640766" y="202959"/>
                  </a:lnTo>
                  <a:lnTo>
                    <a:pt x="640855" y="202959"/>
                  </a:lnTo>
                  <a:lnTo>
                    <a:pt x="640855" y="204990"/>
                  </a:lnTo>
                  <a:lnTo>
                    <a:pt x="640855" y="203594"/>
                  </a:lnTo>
                  <a:lnTo>
                    <a:pt x="640906" y="203594"/>
                  </a:lnTo>
                  <a:lnTo>
                    <a:pt x="640906" y="204990"/>
                  </a:lnTo>
                  <a:lnTo>
                    <a:pt x="640906" y="203594"/>
                  </a:lnTo>
                  <a:lnTo>
                    <a:pt x="640906" y="204990"/>
                  </a:lnTo>
                  <a:lnTo>
                    <a:pt x="640906" y="204292"/>
                  </a:lnTo>
                  <a:lnTo>
                    <a:pt x="640957" y="204292"/>
                  </a:lnTo>
                  <a:lnTo>
                    <a:pt x="640957" y="206324"/>
                  </a:lnTo>
                  <a:lnTo>
                    <a:pt x="640957" y="204990"/>
                  </a:lnTo>
                  <a:lnTo>
                    <a:pt x="641008" y="204990"/>
                  </a:lnTo>
                  <a:lnTo>
                    <a:pt x="641008" y="204292"/>
                  </a:lnTo>
                  <a:lnTo>
                    <a:pt x="641008" y="204990"/>
                  </a:lnTo>
                  <a:lnTo>
                    <a:pt x="641109" y="204990"/>
                  </a:lnTo>
                  <a:lnTo>
                    <a:pt x="641109" y="204292"/>
                  </a:lnTo>
                  <a:lnTo>
                    <a:pt x="641109" y="204990"/>
                  </a:lnTo>
                  <a:lnTo>
                    <a:pt x="641109" y="204292"/>
                  </a:lnTo>
                  <a:lnTo>
                    <a:pt x="641109" y="204990"/>
                  </a:lnTo>
                  <a:lnTo>
                    <a:pt x="641109" y="204292"/>
                  </a:lnTo>
                  <a:lnTo>
                    <a:pt x="641109" y="204990"/>
                  </a:lnTo>
                  <a:lnTo>
                    <a:pt x="641109" y="204292"/>
                  </a:lnTo>
                  <a:lnTo>
                    <a:pt x="641160" y="204292"/>
                  </a:lnTo>
                  <a:lnTo>
                    <a:pt x="641160" y="202959"/>
                  </a:lnTo>
                  <a:lnTo>
                    <a:pt x="641160" y="203594"/>
                  </a:lnTo>
                  <a:lnTo>
                    <a:pt x="641160" y="202260"/>
                  </a:lnTo>
                  <a:lnTo>
                    <a:pt x="641211" y="202260"/>
                  </a:lnTo>
                  <a:lnTo>
                    <a:pt x="641211" y="200228"/>
                  </a:lnTo>
                  <a:lnTo>
                    <a:pt x="641211" y="202260"/>
                  </a:lnTo>
                  <a:lnTo>
                    <a:pt x="641211" y="200876"/>
                  </a:lnTo>
                  <a:lnTo>
                    <a:pt x="641312" y="200876"/>
                  </a:lnTo>
                  <a:lnTo>
                    <a:pt x="641312" y="200228"/>
                  </a:lnTo>
                  <a:lnTo>
                    <a:pt x="641312" y="203594"/>
                  </a:lnTo>
                  <a:lnTo>
                    <a:pt x="641312" y="202260"/>
                  </a:lnTo>
                  <a:lnTo>
                    <a:pt x="641351" y="202260"/>
                  </a:lnTo>
                  <a:lnTo>
                    <a:pt x="641351" y="203594"/>
                  </a:lnTo>
                  <a:lnTo>
                    <a:pt x="641351" y="202959"/>
                  </a:lnTo>
                  <a:lnTo>
                    <a:pt x="641401" y="202959"/>
                  </a:lnTo>
                  <a:lnTo>
                    <a:pt x="641401" y="202260"/>
                  </a:lnTo>
                  <a:lnTo>
                    <a:pt x="641401" y="204292"/>
                  </a:lnTo>
                  <a:lnTo>
                    <a:pt x="641401" y="203594"/>
                  </a:lnTo>
                  <a:lnTo>
                    <a:pt x="641452" y="203594"/>
                  </a:lnTo>
                  <a:lnTo>
                    <a:pt x="641452" y="204292"/>
                  </a:lnTo>
                  <a:lnTo>
                    <a:pt x="641452" y="203594"/>
                  </a:lnTo>
                  <a:lnTo>
                    <a:pt x="641452" y="204990"/>
                  </a:lnTo>
                  <a:lnTo>
                    <a:pt x="641452" y="204292"/>
                  </a:lnTo>
                  <a:lnTo>
                    <a:pt x="641452" y="204990"/>
                  </a:lnTo>
                  <a:lnTo>
                    <a:pt x="641452" y="204292"/>
                  </a:lnTo>
                  <a:lnTo>
                    <a:pt x="641452" y="204990"/>
                  </a:lnTo>
                  <a:lnTo>
                    <a:pt x="641554" y="204990"/>
                  </a:lnTo>
                  <a:lnTo>
                    <a:pt x="641554" y="204292"/>
                  </a:lnTo>
                  <a:lnTo>
                    <a:pt x="641554" y="204990"/>
                  </a:lnTo>
                  <a:lnTo>
                    <a:pt x="641554" y="204292"/>
                  </a:lnTo>
                  <a:lnTo>
                    <a:pt x="641554" y="204990"/>
                  </a:lnTo>
                  <a:lnTo>
                    <a:pt x="641554" y="204292"/>
                  </a:lnTo>
                  <a:lnTo>
                    <a:pt x="641605" y="204990"/>
                  </a:lnTo>
                  <a:lnTo>
                    <a:pt x="641605" y="204292"/>
                  </a:lnTo>
                  <a:lnTo>
                    <a:pt x="641605" y="204990"/>
                  </a:lnTo>
                  <a:lnTo>
                    <a:pt x="641605" y="204292"/>
                  </a:lnTo>
                  <a:lnTo>
                    <a:pt x="641655" y="204292"/>
                  </a:lnTo>
                  <a:lnTo>
                    <a:pt x="641655" y="202260"/>
                  </a:lnTo>
                  <a:lnTo>
                    <a:pt x="641757" y="202260"/>
                  </a:lnTo>
                  <a:lnTo>
                    <a:pt x="641757" y="200228"/>
                  </a:lnTo>
                  <a:lnTo>
                    <a:pt x="641757" y="202260"/>
                  </a:lnTo>
                  <a:lnTo>
                    <a:pt x="641757" y="200876"/>
                  </a:lnTo>
                  <a:lnTo>
                    <a:pt x="641808" y="200228"/>
                  </a:lnTo>
                  <a:lnTo>
                    <a:pt x="641808" y="202959"/>
                  </a:lnTo>
                  <a:lnTo>
                    <a:pt x="641808" y="200876"/>
                  </a:lnTo>
                  <a:lnTo>
                    <a:pt x="641858" y="200876"/>
                  </a:lnTo>
                  <a:lnTo>
                    <a:pt x="641858" y="202959"/>
                  </a:lnTo>
                  <a:lnTo>
                    <a:pt x="641858" y="202260"/>
                  </a:lnTo>
                  <a:lnTo>
                    <a:pt x="641858" y="202959"/>
                  </a:lnTo>
                  <a:lnTo>
                    <a:pt x="641858" y="200876"/>
                  </a:lnTo>
                  <a:lnTo>
                    <a:pt x="641897" y="200876"/>
                  </a:lnTo>
                  <a:lnTo>
                    <a:pt x="641897" y="202959"/>
                  </a:lnTo>
                  <a:lnTo>
                    <a:pt x="641897" y="202260"/>
                  </a:lnTo>
                  <a:lnTo>
                    <a:pt x="641897" y="202959"/>
                  </a:lnTo>
                  <a:lnTo>
                    <a:pt x="641998" y="202959"/>
                  </a:lnTo>
                  <a:lnTo>
                    <a:pt x="641998" y="203594"/>
                  </a:lnTo>
                  <a:lnTo>
                    <a:pt x="642049" y="203594"/>
                  </a:lnTo>
                  <a:lnTo>
                    <a:pt x="642049" y="204292"/>
                  </a:lnTo>
                  <a:lnTo>
                    <a:pt x="642049" y="203594"/>
                  </a:lnTo>
                  <a:lnTo>
                    <a:pt x="642049" y="204292"/>
                  </a:lnTo>
                  <a:lnTo>
                    <a:pt x="642049" y="203594"/>
                  </a:lnTo>
                  <a:lnTo>
                    <a:pt x="642049" y="204292"/>
                  </a:lnTo>
                  <a:lnTo>
                    <a:pt x="642100" y="204292"/>
                  </a:lnTo>
                  <a:lnTo>
                    <a:pt x="642100" y="203594"/>
                  </a:lnTo>
                  <a:lnTo>
                    <a:pt x="642100" y="204292"/>
                  </a:lnTo>
                  <a:lnTo>
                    <a:pt x="642100" y="203594"/>
                  </a:lnTo>
                  <a:lnTo>
                    <a:pt x="642201" y="204292"/>
                  </a:lnTo>
                  <a:lnTo>
                    <a:pt x="642201" y="202959"/>
                  </a:lnTo>
                  <a:lnTo>
                    <a:pt x="642201" y="203594"/>
                  </a:lnTo>
                  <a:lnTo>
                    <a:pt x="642201" y="202260"/>
                  </a:lnTo>
                  <a:lnTo>
                    <a:pt x="642252" y="202260"/>
                  </a:lnTo>
                  <a:lnTo>
                    <a:pt x="642252" y="202959"/>
                  </a:lnTo>
                  <a:lnTo>
                    <a:pt x="642252" y="200876"/>
                  </a:lnTo>
                  <a:lnTo>
                    <a:pt x="642303" y="200876"/>
                  </a:lnTo>
                  <a:lnTo>
                    <a:pt x="642303" y="203594"/>
                  </a:lnTo>
                  <a:lnTo>
                    <a:pt x="642303" y="202260"/>
                  </a:lnTo>
                  <a:lnTo>
                    <a:pt x="642354" y="202260"/>
                  </a:lnTo>
                  <a:lnTo>
                    <a:pt x="642354" y="203594"/>
                  </a:lnTo>
                  <a:lnTo>
                    <a:pt x="642354" y="202959"/>
                  </a:lnTo>
                  <a:lnTo>
                    <a:pt x="642354" y="203594"/>
                  </a:lnTo>
                  <a:lnTo>
                    <a:pt x="642443" y="203594"/>
                  </a:lnTo>
                  <a:lnTo>
                    <a:pt x="642443" y="202959"/>
                  </a:lnTo>
                  <a:lnTo>
                    <a:pt x="642443" y="203594"/>
                  </a:lnTo>
                  <a:lnTo>
                    <a:pt x="642443" y="202959"/>
                  </a:lnTo>
                  <a:lnTo>
                    <a:pt x="642443" y="203594"/>
                  </a:lnTo>
                  <a:lnTo>
                    <a:pt x="642443" y="202959"/>
                  </a:lnTo>
                  <a:lnTo>
                    <a:pt x="642443" y="203594"/>
                  </a:lnTo>
                  <a:lnTo>
                    <a:pt x="642493" y="204292"/>
                  </a:lnTo>
                  <a:lnTo>
                    <a:pt x="642493" y="203594"/>
                  </a:lnTo>
                  <a:lnTo>
                    <a:pt x="642493" y="204292"/>
                  </a:lnTo>
                  <a:lnTo>
                    <a:pt x="642493" y="203594"/>
                  </a:lnTo>
                  <a:lnTo>
                    <a:pt x="642493" y="204990"/>
                  </a:lnTo>
                  <a:lnTo>
                    <a:pt x="642544" y="204990"/>
                  </a:lnTo>
                  <a:lnTo>
                    <a:pt x="642544" y="203594"/>
                  </a:lnTo>
                  <a:lnTo>
                    <a:pt x="642544" y="204292"/>
                  </a:lnTo>
                  <a:lnTo>
                    <a:pt x="642544" y="203594"/>
                  </a:lnTo>
                  <a:lnTo>
                    <a:pt x="642544" y="204990"/>
                  </a:lnTo>
                  <a:lnTo>
                    <a:pt x="642544" y="204292"/>
                  </a:lnTo>
                  <a:lnTo>
                    <a:pt x="642595" y="204292"/>
                  </a:lnTo>
                  <a:lnTo>
                    <a:pt x="642595" y="203594"/>
                  </a:lnTo>
                  <a:lnTo>
                    <a:pt x="642697" y="203594"/>
                  </a:lnTo>
                  <a:lnTo>
                    <a:pt x="642697" y="202260"/>
                  </a:lnTo>
                  <a:lnTo>
                    <a:pt x="642747" y="202260"/>
                  </a:lnTo>
                  <a:lnTo>
                    <a:pt x="642747" y="203594"/>
                  </a:lnTo>
                  <a:lnTo>
                    <a:pt x="642747" y="202260"/>
                  </a:lnTo>
                  <a:lnTo>
                    <a:pt x="642747" y="202959"/>
                  </a:lnTo>
                  <a:lnTo>
                    <a:pt x="642798" y="203594"/>
                  </a:lnTo>
                  <a:lnTo>
                    <a:pt x="642798" y="204990"/>
                  </a:lnTo>
                  <a:lnTo>
                    <a:pt x="642798" y="203594"/>
                  </a:lnTo>
                  <a:lnTo>
                    <a:pt x="642798" y="204292"/>
                  </a:lnTo>
                  <a:lnTo>
                    <a:pt x="642900" y="204292"/>
                  </a:lnTo>
                  <a:lnTo>
                    <a:pt x="642900" y="204990"/>
                  </a:lnTo>
                  <a:lnTo>
                    <a:pt x="642900" y="203594"/>
                  </a:lnTo>
                  <a:lnTo>
                    <a:pt x="642900" y="204990"/>
                  </a:lnTo>
                  <a:lnTo>
                    <a:pt x="642900" y="204292"/>
                  </a:lnTo>
                  <a:lnTo>
                    <a:pt x="642938" y="204292"/>
                  </a:lnTo>
                  <a:lnTo>
                    <a:pt x="642938" y="203594"/>
                  </a:lnTo>
                  <a:lnTo>
                    <a:pt x="642938" y="204292"/>
                  </a:lnTo>
                  <a:lnTo>
                    <a:pt x="642938" y="203594"/>
                  </a:lnTo>
                  <a:lnTo>
                    <a:pt x="642938" y="204292"/>
                  </a:lnTo>
                  <a:lnTo>
                    <a:pt x="642989" y="204292"/>
                  </a:lnTo>
                  <a:lnTo>
                    <a:pt x="642989" y="203594"/>
                  </a:lnTo>
                  <a:lnTo>
                    <a:pt x="642989" y="204292"/>
                  </a:lnTo>
                  <a:lnTo>
                    <a:pt x="643040" y="203594"/>
                  </a:lnTo>
                  <a:lnTo>
                    <a:pt x="643040" y="204292"/>
                  </a:lnTo>
                  <a:lnTo>
                    <a:pt x="643040" y="203594"/>
                  </a:lnTo>
                  <a:lnTo>
                    <a:pt x="643141" y="203594"/>
                  </a:lnTo>
                  <a:lnTo>
                    <a:pt x="643141" y="204292"/>
                  </a:lnTo>
                  <a:lnTo>
                    <a:pt x="643141" y="202959"/>
                  </a:lnTo>
                  <a:lnTo>
                    <a:pt x="643141" y="203594"/>
                  </a:lnTo>
                  <a:lnTo>
                    <a:pt x="643141" y="202959"/>
                  </a:lnTo>
                  <a:lnTo>
                    <a:pt x="643141" y="203594"/>
                  </a:lnTo>
                  <a:lnTo>
                    <a:pt x="643141" y="202959"/>
                  </a:lnTo>
                  <a:lnTo>
                    <a:pt x="643192" y="202959"/>
                  </a:lnTo>
                  <a:lnTo>
                    <a:pt x="643192" y="200876"/>
                  </a:lnTo>
                  <a:lnTo>
                    <a:pt x="643192" y="202260"/>
                  </a:lnTo>
                  <a:lnTo>
                    <a:pt x="643192" y="200876"/>
                  </a:lnTo>
                  <a:lnTo>
                    <a:pt x="643192" y="202260"/>
                  </a:lnTo>
                  <a:lnTo>
                    <a:pt x="643192" y="200876"/>
                  </a:lnTo>
                  <a:lnTo>
                    <a:pt x="643243" y="202260"/>
                  </a:lnTo>
                  <a:lnTo>
                    <a:pt x="643243" y="202959"/>
                  </a:lnTo>
                  <a:lnTo>
                    <a:pt x="643243" y="202260"/>
                  </a:lnTo>
                  <a:lnTo>
                    <a:pt x="643243" y="202959"/>
                  </a:lnTo>
                  <a:lnTo>
                    <a:pt x="643243" y="200876"/>
                  </a:lnTo>
                  <a:lnTo>
                    <a:pt x="643243" y="203594"/>
                  </a:lnTo>
                  <a:lnTo>
                    <a:pt x="643344" y="203594"/>
                  </a:lnTo>
                  <a:lnTo>
                    <a:pt x="643344" y="204292"/>
                  </a:lnTo>
                  <a:lnTo>
                    <a:pt x="643344" y="203594"/>
                  </a:lnTo>
                  <a:lnTo>
                    <a:pt x="643344" y="204990"/>
                  </a:lnTo>
                  <a:lnTo>
                    <a:pt x="643395" y="204292"/>
                  </a:lnTo>
                  <a:lnTo>
                    <a:pt x="643395" y="204990"/>
                  </a:lnTo>
                  <a:lnTo>
                    <a:pt x="643395" y="204292"/>
                  </a:lnTo>
                  <a:lnTo>
                    <a:pt x="643446" y="204292"/>
                  </a:lnTo>
                  <a:lnTo>
                    <a:pt x="643446" y="204990"/>
                  </a:lnTo>
                  <a:lnTo>
                    <a:pt x="643446" y="204292"/>
                  </a:lnTo>
                  <a:lnTo>
                    <a:pt x="643446" y="204990"/>
                  </a:lnTo>
                  <a:lnTo>
                    <a:pt x="643446" y="204292"/>
                  </a:lnTo>
                  <a:lnTo>
                    <a:pt x="643484" y="204292"/>
                  </a:lnTo>
                  <a:lnTo>
                    <a:pt x="643484" y="204990"/>
                  </a:lnTo>
                  <a:lnTo>
                    <a:pt x="643484" y="204292"/>
                  </a:lnTo>
                  <a:lnTo>
                    <a:pt x="643484" y="204990"/>
                  </a:lnTo>
                  <a:lnTo>
                    <a:pt x="643484" y="204292"/>
                  </a:lnTo>
                  <a:lnTo>
                    <a:pt x="643484" y="204990"/>
                  </a:lnTo>
                  <a:lnTo>
                    <a:pt x="643586" y="204990"/>
                  </a:lnTo>
                  <a:lnTo>
                    <a:pt x="643586" y="204292"/>
                  </a:lnTo>
                  <a:lnTo>
                    <a:pt x="643586" y="204990"/>
                  </a:lnTo>
                  <a:lnTo>
                    <a:pt x="643586" y="204292"/>
                  </a:lnTo>
                  <a:lnTo>
                    <a:pt x="643637" y="204292"/>
                  </a:lnTo>
                  <a:lnTo>
                    <a:pt x="643637" y="203594"/>
                  </a:lnTo>
                  <a:lnTo>
                    <a:pt x="643637" y="204292"/>
                  </a:lnTo>
                  <a:lnTo>
                    <a:pt x="643637" y="203594"/>
                  </a:lnTo>
                  <a:lnTo>
                    <a:pt x="643637" y="204292"/>
                  </a:lnTo>
                  <a:lnTo>
                    <a:pt x="643637" y="202959"/>
                  </a:lnTo>
                  <a:lnTo>
                    <a:pt x="643637" y="203594"/>
                  </a:lnTo>
                  <a:lnTo>
                    <a:pt x="643637" y="202959"/>
                  </a:lnTo>
                  <a:lnTo>
                    <a:pt x="643687" y="202959"/>
                  </a:lnTo>
                  <a:lnTo>
                    <a:pt x="643687" y="203594"/>
                  </a:lnTo>
                  <a:lnTo>
                    <a:pt x="643687" y="202260"/>
                  </a:lnTo>
                  <a:lnTo>
                    <a:pt x="643687" y="203594"/>
                  </a:lnTo>
                  <a:lnTo>
                    <a:pt x="643789" y="203594"/>
                  </a:lnTo>
                  <a:lnTo>
                    <a:pt x="643789" y="202260"/>
                  </a:lnTo>
                  <a:lnTo>
                    <a:pt x="643789" y="204990"/>
                  </a:lnTo>
                  <a:lnTo>
                    <a:pt x="643789" y="204292"/>
                  </a:lnTo>
                  <a:lnTo>
                    <a:pt x="643840" y="203594"/>
                  </a:lnTo>
                  <a:lnTo>
                    <a:pt x="643840" y="202959"/>
                  </a:lnTo>
                  <a:lnTo>
                    <a:pt x="643840" y="204990"/>
                  </a:lnTo>
                  <a:lnTo>
                    <a:pt x="643840" y="204292"/>
                  </a:lnTo>
                  <a:lnTo>
                    <a:pt x="643840" y="204990"/>
                  </a:lnTo>
                  <a:lnTo>
                    <a:pt x="643840" y="204292"/>
                  </a:lnTo>
                  <a:lnTo>
                    <a:pt x="643891" y="204292"/>
                  </a:lnTo>
                  <a:lnTo>
                    <a:pt x="643891" y="204990"/>
                  </a:lnTo>
                  <a:lnTo>
                    <a:pt x="643891" y="204292"/>
                  </a:lnTo>
                  <a:lnTo>
                    <a:pt x="643891" y="204990"/>
                  </a:lnTo>
                  <a:lnTo>
                    <a:pt x="643891" y="204292"/>
                  </a:lnTo>
                  <a:lnTo>
                    <a:pt x="643891" y="204990"/>
                  </a:lnTo>
                  <a:lnTo>
                    <a:pt x="643891" y="204292"/>
                  </a:lnTo>
                  <a:lnTo>
                    <a:pt x="643941" y="204292"/>
                  </a:lnTo>
                  <a:lnTo>
                    <a:pt x="643941" y="204990"/>
                  </a:lnTo>
                  <a:lnTo>
                    <a:pt x="643941" y="204292"/>
                  </a:lnTo>
                  <a:lnTo>
                    <a:pt x="643941" y="204990"/>
                  </a:lnTo>
                  <a:lnTo>
                    <a:pt x="643941" y="204292"/>
                  </a:lnTo>
                  <a:lnTo>
                    <a:pt x="644030" y="204292"/>
                  </a:lnTo>
                  <a:lnTo>
                    <a:pt x="644030" y="204990"/>
                  </a:lnTo>
                  <a:lnTo>
                    <a:pt x="644081" y="204292"/>
                  </a:lnTo>
                  <a:lnTo>
                    <a:pt x="644081" y="204990"/>
                  </a:lnTo>
                  <a:lnTo>
                    <a:pt x="644081" y="204292"/>
                  </a:lnTo>
                  <a:lnTo>
                    <a:pt x="644081" y="204990"/>
                  </a:lnTo>
                  <a:lnTo>
                    <a:pt x="644081" y="204292"/>
                  </a:lnTo>
                  <a:lnTo>
                    <a:pt x="644132" y="204292"/>
                  </a:lnTo>
                  <a:lnTo>
                    <a:pt x="644132" y="202959"/>
                  </a:lnTo>
                  <a:lnTo>
                    <a:pt x="644183" y="202260"/>
                  </a:lnTo>
                  <a:lnTo>
                    <a:pt x="644183" y="200228"/>
                  </a:lnTo>
                  <a:lnTo>
                    <a:pt x="644183" y="203594"/>
                  </a:lnTo>
                  <a:lnTo>
                    <a:pt x="644183" y="202260"/>
                  </a:lnTo>
                  <a:lnTo>
                    <a:pt x="644284" y="202260"/>
                  </a:lnTo>
                  <a:lnTo>
                    <a:pt x="644284" y="200876"/>
                  </a:lnTo>
                  <a:lnTo>
                    <a:pt x="644284" y="204990"/>
                  </a:lnTo>
                  <a:lnTo>
                    <a:pt x="644284" y="202959"/>
                  </a:lnTo>
                  <a:lnTo>
                    <a:pt x="644335" y="202959"/>
                  </a:lnTo>
                  <a:lnTo>
                    <a:pt x="644335" y="204292"/>
                  </a:lnTo>
                  <a:lnTo>
                    <a:pt x="644335" y="203594"/>
                  </a:lnTo>
                  <a:lnTo>
                    <a:pt x="644335" y="204292"/>
                  </a:lnTo>
                  <a:lnTo>
                    <a:pt x="644335" y="203594"/>
                  </a:lnTo>
                  <a:lnTo>
                    <a:pt x="644386" y="203594"/>
                  </a:lnTo>
                  <a:lnTo>
                    <a:pt x="644386" y="204292"/>
                  </a:lnTo>
                  <a:lnTo>
                    <a:pt x="644386" y="203594"/>
                  </a:lnTo>
                  <a:lnTo>
                    <a:pt x="644386" y="204292"/>
                  </a:lnTo>
                  <a:lnTo>
                    <a:pt x="644487" y="204292"/>
                  </a:lnTo>
                  <a:lnTo>
                    <a:pt x="644487" y="204990"/>
                  </a:lnTo>
                  <a:lnTo>
                    <a:pt x="644487" y="204292"/>
                  </a:lnTo>
                  <a:lnTo>
                    <a:pt x="644487" y="204990"/>
                  </a:lnTo>
                  <a:lnTo>
                    <a:pt x="644526" y="204990"/>
                  </a:lnTo>
                  <a:lnTo>
                    <a:pt x="644526" y="204292"/>
                  </a:lnTo>
                  <a:lnTo>
                    <a:pt x="644526" y="204990"/>
                  </a:lnTo>
                  <a:lnTo>
                    <a:pt x="644526" y="204292"/>
                  </a:lnTo>
                  <a:lnTo>
                    <a:pt x="644576" y="204292"/>
                  </a:lnTo>
                  <a:lnTo>
                    <a:pt x="644576" y="204990"/>
                  </a:lnTo>
                  <a:lnTo>
                    <a:pt x="644576" y="204292"/>
                  </a:lnTo>
                  <a:lnTo>
                    <a:pt x="644576" y="204990"/>
                  </a:lnTo>
                  <a:lnTo>
                    <a:pt x="644576" y="204292"/>
                  </a:lnTo>
                  <a:lnTo>
                    <a:pt x="644576" y="204990"/>
                  </a:lnTo>
                  <a:lnTo>
                    <a:pt x="644576" y="204292"/>
                  </a:lnTo>
                  <a:lnTo>
                    <a:pt x="644627" y="204292"/>
                  </a:lnTo>
                  <a:lnTo>
                    <a:pt x="644627" y="203594"/>
                  </a:lnTo>
                  <a:lnTo>
                    <a:pt x="644627" y="204292"/>
                  </a:lnTo>
                  <a:lnTo>
                    <a:pt x="644627" y="202959"/>
                  </a:lnTo>
                  <a:lnTo>
                    <a:pt x="644729" y="202959"/>
                  </a:lnTo>
                  <a:lnTo>
                    <a:pt x="644729" y="204292"/>
                  </a:lnTo>
                  <a:lnTo>
                    <a:pt x="644729" y="202260"/>
                  </a:lnTo>
                  <a:lnTo>
                    <a:pt x="644729" y="203594"/>
                  </a:lnTo>
                  <a:lnTo>
                    <a:pt x="644780" y="203594"/>
                  </a:lnTo>
                  <a:lnTo>
                    <a:pt x="644780" y="204990"/>
                  </a:lnTo>
                  <a:lnTo>
                    <a:pt x="644780" y="203594"/>
                  </a:lnTo>
                  <a:lnTo>
                    <a:pt x="644780" y="204990"/>
                  </a:lnTo>
                  <a:lnTo>
                    <a:pt x="644830" y="204990"/>
                  </a:lnTo>
                  <a:lnTo>
                    <a:pt x="644830" y="203594"/>
                  </a:lnTo>
                  <a:lnTo>
                    <a:pt x="644830" y="204292"/>
                  </a:lnTo>
                  <a:lnTo>
                    <a:pt x="644932" y="204292"/>
                  </a:lnTo>
                  <a:lnTo>
                    <a:pt x="644932" y="203594"/>
                  </a:lnTo>
                  <a:lnTo>
                    <a:pt x="644932" y="204292"/>
                  </a:lnTo>
                  <a:lnTo>
                    <a:pt x="644932" y="203594"/>
                  </a:lnTo>
                  <a:lnTo>
                    <a:pt x="644932" y="204292"/>
                  </a:lnTo>
                  <a:lnTo>
                    <a:pt x="644983" y="204292"/>
                  </a:lnTo>
                  <a:lnTo>
                    <a:pt x="644983" y="204990"/>
                  </a:lnTo>
                  <a:lnTo>
                    <a:pt x="644983" y="204292"/>
                  </a:lnTo>
                  <a:lnTo>
                    <a:pt x="644983" y="204990"/>
                  </a:lnTo>
                  <a:lnTo>
                    <a:pt x="645033" y="204990"/>
                  </a:lnTo>
                  <a:lnTo>
                    <a:pt x="645033" y="204292"/>
                  </a:lnTo>
                  <a:lnTo>
                    <a:pt x="645033" y="204990"/>
                  </a:lnTo>
                  <a:lnTo>
                    <a:pt x="645033" y="204292"/>
                  </a:lnTo>
                  <a:lnTo>
                    <a:pt x="645033" y="204990"/>
                  </a:lnTo>
                  <a:lnTo>
                    <a:pt x="645033" y="204292"/>
                  </a:lnTo>
                  <a:lnTo>
                    <a:pt x="645072" y="204292"/>
                  </a:lnTo>
                  <a:lnTo>
                    <a:pt x="645072" y="203594"/>
                  </a:lnTo>
                  <a:lnTo>
                    <a:pt x="645072" y="204292"/>
                  </a:lnTo>
                  <a:lnTo>
                    <a:pt x="645072" y="203594"/>
                  </a:lnTo>
                  <a:lnTo>
                    <a:pt x="645173" y="203594"/>
                  </a:lnTo>
                  <a:lnTo>
                    <a:pt x="645173" y="204292"/>
                  </a:lnTo>
                  <a:lnTo>
                    <a:pt x="645173" y="203594"/>
                  </a:lnTo>
                  <a:lnTo>
                    <a:pt x="645173" y="204292"/>
                  </a:lnTo>
                  <a:lnTo>
                    <a:pt x="645224" y="203594"/>
                  </a:lnTo>
                  <a:lnTo>
                    <a:pt x="645224" y="206324"/>
                  </a:lnTo>
                  <a:lnTo>
                    <a:pt x="645224" y="204990"/>
                  </a:lnTo>
                  <a:lnTo>
                    <a:pt x="645275" y="204990"/>
                  </a:lnTo>
                  <a:lnTo>
                    <a:pt x="645275" y="206324"/>
                  </a:lnTo>
                  <a:lnTo>
                    <a:pt x="645275" y="204990"/>
                  </a:lnTo>
                  <a:lnTo>
                    <a:pt x="645275" y="206324"/>
                  </a:lnTo>
                  <a:lnTo>
                    <a:pt x="645275" y="204990"/>
                  </a:lnTo>
                  <a:lnTo>
                    <a:pt x="645376" y="204990"/>
                  </a:lnTo>
                  <a:lnTo>
                    <a:pt x="645376" y="207022"/>
                  </a:lnTo>
                  <a:lnTo>
                    <a:pt x="645376" y="206324"/>
                  </a:lnTo>
                  <a:lnTo>
                    <a:pt x="645478" y="206324"/>
                  </a:lnTo>
                  <a:lnTo>
                    <a:pt x="645529" y="204990"/>
                  </a:lnTo>
                  <a:lnTo>
                    <a:pt x="645529" y="206324"/>
                  </a:lnTo>
                  <a:lnTo>
                    <a:pt x="645529" y="204990"/>
                  </a:lnTo>
                  <a:lnTo>
                    <a:pt x="645529" y="206324"/>
                  </a:lnTo>
                  <a:lnTo>
                    <a:pt x="645529" y="204990"/>
                  </a:lnTo>
                  <a:lnTo>
                    <a:pt x="645618" y="204990"/>
                  </a:lnTo>
                  <a:lnTo>
                    <a:pt x="645618" y="204292"/>
                  </a:lnTo>
                  <a:lnTo>
                    <a:pt x="645618" y="204990"/>
                  </a:lnTo>
                  <a:lnTo>
                    <a:pt x="645618" y="204292"/>
                  </a:lnTo>
                  <a:lnTo>
                    <a:pt x="645668" y="204292"/>
                  </a:lnTo>
                  <a:lnTo>
                    <a:pt x="645668" y="204990"/>
                  </a:lnTo>
                  <a:lnTo>
                    <a:pt x="645668" y="204292"/>
                  </a:lnTo>
                  <a:lnTo>
                    <a:pt x="645668" y="204990"/>
                  </a:lnTo>
                  <a:lnTo>
                    <a:pt x="645719" y="206324"/>
                  </a:lnTo>
                  <a:lnTo>
                    <a:pt x="645719" y="207022"/>
                  </a:lnTo>
                  <a:lnTo>
                    <a:pt x="645719" y="206324"/>
                  </a:lnTo>
                  <a:lnTo>
                    <a:pt x="645719" y="207022"/>
                  </a:lnTo>
                  <a:lnTo>
                    <a:pt x="645770" y="207022"/>
                  </a:lnTo>
                  <a:lnTo>
                    <a:pt x="645770" y="207721"/>
                  </a:lnTo>
                  <a:lnTo>
                    <a:pt x="645770" y="206324"/>
                  </a:lnTo>
                  <a:lnTo>
                    <a:pt x="645770" y="207022"/>
                  </a:lnTo>
                  <a:lnTo>
                    <a:pt x="645770" y="206324"/>
                  </a:lnTo>
                  <a:lnTo>
                    <a:pt x="645770" y="207022"/>
                  </a:lnTo>
                  <a:lnTo>
                    <a:pt x="645872" y="207022"/>
                  </a:lnTo>
                  <a:lnTo>
                    <a:pt x="645872" y="207721"/>
                  </a:lnTo>
                  <a:lnTo>
                    <a:pt x="645872" y="207022"/>
                  </a:lnTo>
                  <a:lnTo>
                    <a:pt x="645872" y="207721"/>
                  </a:lnTo>
                  <a:lnTo>
                    <a:pt x="645922" y="207022"/>
                  </a:lnTo>
                  <a:lnTo>
                    <a:pt x="645922" y="207721"/>
                  </a:lnTo>
                  <a:lnTo>
                    <a:pt x="645922" y="206324"/>
                  </a:lnTo>
                  <a:lnTo>
                    <a:pt x="645922" y="207022"/>
                  </a:lnTo>
                  <a:lnTo>
                    <a:pt x="645973" y="206324"/>
                  </a:lnTo>
                  <a:lnTo>
                    <a:pt x="645973" y="207022"/>
                  </a:lnTo>
                  <a:lnTo>
                    <a:pt x="645973" y="206324"/>
                  </a:lnTo>
                  <a:lnTo>
                    <a:pt x="645973" y="207022"/>
                  </a:lnTo>
                  <a:lnTo>
                    <a:pt x="645973" y="206324"/>
                  </a:lnTo>
                  <a:lnTo>
                    <a:pt x="646075" y="204990"/>
                  </a:lnTo>
                  <a:lnTo>
                    <a:pt x="646075" y="206324"/>
                  </a:lnTo>
                  <a:lnTo>
                    <a:pt x="646075" y="204292"/>
                  </a:lnTo>
                  <a:lnTo>
                    <a:pt x="646113" y="204292"/>
                  </a:lnTo>
                  <a:lnTo>
                    <a:pt x="646113" y="203594"/>
                  </a:lnTo>
                  <a:lnTo>
                    <a:pt x="646113" y="204292"/>
                  </a:lnTo>
                  <a:lnTo>
                    <a:pt x="646113" y="202959"/>
                  </a:lnTo>
                  <a:lnTo>
                    <a:pt x="646113" y="204292"/>
                  </a:lnTo>
                  <a:lnTo>
                    <a:pt x="646164" y="204292"/>
                  </a:lnTo>
                  <a:lnTo>
                    <a:pt x="646164" y="204990"/>
                  </a:lnTo>
                  <a:lnTo>
                    <a:pt x="646164" y="202959"/>
                  </a:lnTo>
                  <a:lnTo>
                    <a:pt x="646164" y="207022"/>
                  </a:lnTo>
                  <a:lnTo>
                    <a:pt x="646215" y="206324"/>
                  </a:lnTo>
                  <a:lnTo>
                    <a:pt x="646215" y="204292"/>
                  </a:lnTo>
                  <a:lnTo>
                    <a:pt x="646215" y="206324"/>
                  </a:lnTo>
                  <a:lnTo>
                    <a:pt x="646316" y="206324"/>
                  </a:lnTo>
                  <a:lnTo>
                    <a:pt x="646316" y="204990"/>
                  </a:lnTo>
                  <a:lnTo>
                    <a:pt x="646316" y="206324"/>
                  </a:lnTo>
                  <a:lnTo>
                    <a:pt x="646367" y="206324"/>
                  </a:lnTo>
                  <a:lnTo>
                    <a:pt x="646367" y="207022"/>
                  </a:lnTo>
                  <a:lnTo>
                    <a:pt x="646367" y="206324"/>
                  </a:lnTo>
                  <a:lnTo>
                    <a:pt x="646367" y="207022"/>
                  </a:lnTo>
                  <a:lnTo>
                    <a:pt x="646367" y="206324"/>
                  </a:lnTo>
                  <a:lnTo>
                    <a:pt x="646367" y="207022"/>
                  </a:lnTo>
                  <a:lnTo>
                    <a:pt x="646367" y="206324"/>
                  </a:lnTo>
                  <a:lnTo>
                    <a:pt x="646367" y="207022"/>
                  </a:lnTo>
                  <a:lnTo>
                    <a:pt x="646418" y="207022"/>
                  </a:lnTo>
                  <a:lnTo>
                    <a:pt x="646418" y="206324"/>
                  </a:lnTo>
                  <a:lnTo>
                    <a:pt x="646418" y="207022"/>
                  </a:lnTo>
                  <a:lnTo>
                    <a:pt x="646519" y="207022"/>
                  </a:lnTo>
                  <a:lnTo>
                    <a:pt x="646519" y="206324"/>
                  </a:lnTo>
                  <a:lnTo>
                    <a:pt x="646519" y="207022"/>
                  </a:lnTo>
                  <a:lnTo>
                    <a:pt x="646519" y="206324"/>
                  </a:lnTo>
                  <a:lnTo>
                    <a:pt x="646570" y="206324"/>
                  </a:lnTo>
                  <a:lnTo>
                    <a:pt x="646570" y="204292"/>
                  </a:lnTo>
                  <a:lnTo>
                    <a:pt x="646621" y="204292"/>
                  </a:lnTo>
                  <a:lnTo>
                    <a:pt x="646621" y="203594"/>
                  </a:lnTo>
                  <a:lnTo>
                    <a:pt x="646621" y="204292"/>
                  </a:lnTo>
                  <a:lnTo>
                    <a:pt x="646621" y="202959"/>
                  </a:lnTo>
                  <a:lnTo>
                    <a:pt x="646621" y="203594"/>
                  </a:lnTo>
                  <a:lnTo>
                    <a:pt x="646621" y="202959"/>
                  </a:lnTo>
                  <a:lnTo>
                    <a:pt x="646621" y="204990"/>
                  </a:lnTo>
                  <a:lnTo>
                    <a:pt x="646659" y="204990"/>
                  </a:lnTo>
                  <a:lnTo>
                    <a:pt x="646659" y="202959"/>
                  </a:lnTo>
                  <a:lnTo>
                    <a:pt x="646659" y="207022"/>
                  </a:lnTo>
                  <a:lnTo>
                    <a:pt x="646659" y="204990"/>
                  </a:lnTo>
                  <a:lnTo>
                    <a:pt x="646761" y="204292"/>
                  </a:lnTo>
                  <a:lnTo>
                    <a:pt x="646761" y="206324"/>
                  </a:lnTo>
                  <a:lnTo>
                    <a:pt x="646761" y="204990"/>
                  </a:lnTo>
                  <a:lnTo>
                    <a:pt x="646812" y="204990"/>
                  </a:lnTo>
                  <a:lnTo>
                    <a:pt x="646812" y="207022"/>
                  </a:lnTo>
                  <a:lnTo>
                    <a:pt x="646812" y="206324"/>
                  </a:lnTo>
                  <a:lnTo>
                    <a:pt x="646862" y="206324"/>
                  </a:lnTo>
                  <a:lnTo>
                    <a:pt x="646862" y="207022"/>
                  </a:lnTo>
                  <a:lnTo>
                    <a:pt x="646862" y="206324"/>
                  </a:lnTo>
                  <a:lnTo>
                    <a:pt x="646964" y="206324"/>
                  </a:lnTo>
                  <a:lnTo>
                    <a:pt x="646964" y="207721"/>
                  </a:lnTo>
                  <a:lnTo>
                    <a:pt x="646964" y="206324"/>
                  </a:lnTo>
                  <a:lnTo>
                    <a:pt x="646964" y="207022"/>
                  </a:lnTo>
                  <a:lnTo>
                    <a:pt x="646964" y="206324"/>
                  </a:lnTo>
                  <a:lnTo>
                    <a:pt x="647015" y="206324"/>
                  </a:lnTo>
                  <a:lnTo>
                    <a:pt x="647015" y="207022"/>
                  </a:lnTo>
                  <a:lnTo>
                    <a:pt x="647015" y="206324"/>
                  </a:lnTo>
                  <a:lnTo>
                    <a:pt x="647066" y="204990"/>
                  </a:lnTo>
                  <a:lnTo>
                    <a:pt x="647066" y="206324"/>
                  </a:lnTo>
                  <a:lnTo>
                    <a:pt x="647066" y="203594"/>
                  </a:lnTo>
                  <a:lnTo>
                    <a:pt x="647066" y="204292"/>
                  </a:lnTo>
                  <a:lnTo>
                    <a:pt x="647066" y="203594"/>
                  </a:lnTo>
                  <a:lnTo>
                    <a:pt x="647116" y="203594"/>
                  </a:lnTo>
                  <a:lnTo>
                    <a:pt x="647116" y="202260"/>
                  </a:lnTo>
                  <a:lnTo>
                    <a:pt x="647116" y="204292"/>
                  </a:lnTo>
                  <a:lnTo>
                    <a:pt x="647205" y="204292"/>
                  </a:lnTo>
                  <a:lnTo>
                    <a:pt x="647205" y="202260"/>
                  </a:lnTo>
                  <a:lnTo>
                    <a:pt x="647205" y="204292"/>
                  </a:lnTo>
                  <a:lnTo>
                    <a:pt x="647256" y="204292"/>
                  </a:lnTo>
                  <a:lnTo>
                    <a:pt x="647256" y="203594"/>
                  </a:lnTo>
                  <a:lnTo>
                    <a:pt x="647256" y="204990"/>
                  </a:lnTo>
                  <a:lnTo>
                    <a:pt x="647256" y="204292"/>
                  </a:lnTo>
                  <a:lnTo>
                    <a:pt x="647307" y="204292"/>
                  </a:lnTo>
                  <a:lnTo>
                    <a:pt x="647307" y="204990"/>
                  </a:lnTo>
                  <a:lnTo>
                    <a:pt x="647307" y="204292"/>
                  </a:lnTo>
                  <a:lnTo>
                    <a:pt x="647358" y="204292"/>
                  </a:lnTo>
                  <a:lnTo>
                    <a:pt x="647358" y="206324"/>
                  </a:lnTo>
                  <a:lnTo>
                    <a:pt x="647358" y="204990"/>
                  </a:lnTo>
                  <a:lnTo>
                    <a:pt x="647358" y="206324"/>
                  </a:lnTo>
                  <a:lnTo>
                    <a:pt x="647358" y="204990"/>
                  </a:lnTo>
                  <a:lnTo>
                    <a:pt x="647358" y="206324"/>
                  </a:lnTo>
                  <a:lnTo>
                    <a:pt x="647459" y="206324"/>
                  </a:lnTo>
                  <a:lnTo>
                    <a:pt x="647459" y="204990"/>
                  </a:lnTo>
                  <a:lnTo>
                    <a:pt x="647459" y="207022"/>
                  </a:lnTo>
                  <a:lnTo>
                    <a:pt x="647510" y="206324"/>
                  </a:lnTo>
                  <a:lnTo>
                    <a:pt x="647510" y="204990"/>
                  </a:lnTo>
                  <a:lnTo>
                    <a:pt x="647510" y="206324"/>
                  </a:lnTo>
                  <a:lnTo>
                    <a:pt x="647510" y="204990"/>
                  </a:lnTo>
                  <a:lnTo>
                    <a:pt x="647510" y="206324"/>
                  </a:lnTo>
                  <a:lnTo>
                    <a:pt x="647510" y="204990"/>
                  </a:lnTo>
                  <a:lnTo>
                    <a:pt x="647561" y="204990"/>
                  </a:lnTo>
                  <a:lnTo>
                    <a:pt x="647561" y="204292"/>
                  </a:lnTo>
                  <a:lnTo>
                    <a:pt x="647561" y="204990"/>
                  </a:lnTo>
                  <a:lnTo>
                    <a:pt x="647561" y="203594"/>
                  </a:lnTo>
                  <a:lnTo>
                    <a:pt x="647662" y="203594"/>
                  </a:lnTo>
                  <a:lnTo>
                    <a:pt x="647662" y="202959"/>
                  </a:lnTo>
                  <a:lnTo>
                    <a:pt x="647662" y="203594"/>
                  </a:lnTo>
                  <a:lnTo>
                    <a:pt x="647662" y="202959"/>
                  </a:lnTo>
                  <a:lnTo>
                    <a:pt x="647701" y="202959"/>
                  </a:lnTo>
                  <a:lnTo>
                    <a:pt x="647701" y="200876"/>
                  </a:lnTo>
                  <a:lnTo>
                    <a:pt x="647701" y="204292"/>
                  </a:lnTo>
                  <a:lnTo>
                    <a:pt x="647701" y="203594"/>
                  </a:lnTo>
                  <a:lnTo>
                    <a:pt x="647751" y="202959"/>
                  </a:lnTo>
                  <a:lnTo>
                    <a:pt x="647751" y="202260"/>
                  </a:lnTo>
                  <a:lnTo>
                    <a:pt x="647751" y="202959"/>
                  </a:lnTo>
                  <a:lnTo>
                    <a:pt x="647751" y="202260"/>
                  </a:lnTo>
                  <a:lnTo>
                    <a:pt x="647751" y="203594"/>
                  </a:lnTo>
                  <a:lnTo>
                    <a:pt x="647751" y="202959"/>
                  </a:lnTo>
                  <a:lnTo>
                    <a:pt x="647802" y="202959"/>
                  </a:lnTo>
                  <a:lnTo>
                    <a:pt x="647802" y="203594"/>
                  </a:lnTo>
                  <a:lnTo>
                    <a:pt x="647904" y="202959"/>
                  </a:lnTo>
                  <a:lnTo>
                    <a:pt x="647904" y="204292"/>
                  </a:lnTo>
                  <a:lnTo>
                    <a:pt x="647904" y="203594"/>
                  </a:lnTo>
                  <a:lnTo>
                    <a:pt x="647904" y="204292"/>
                  </a:lnTo>
                  <a:lnTo>
                    <a:pt x="647955" y="204292"/>
                  </a:lnTo>
                  <a:lnTo>
                    <a:pt x="647955" y="203594"/>
                  </a:lnTo>
                  <a:lnTo>
                    <a:pt x="647955" y="204292"/>
                  </a:lnTo>
                  <a:lnTo>
                    <a:pt x="648005" y="204292"/>
                  </a:lnTo>
                  <a:lnTo>
                    <a:pt x="648005" y="204990"/>
                  </a:lnTo>
                  <a:lnTo>
                    <a:pt x="648005" y="203594"/>
                  </a:lnTo>
                  <a:lnTo>
                    <a:pt x="648005" y="204292"/>
                  </a:lnTo>
                  <a:lnTo>
                    <a:pt x="648107" y="203594"/>
                  </a:lnTo>
                  <a:lnTo>
                    <a:pt x="648107" y="204292"/>
                  </a:lnTo>
                  <a:lnTo>
                    <a:pt x="648107" y="202959"/>
                  </a:lnTo>
                  <a:lnTo>
                    <a:pt x="648158" y="202260"/>
                  </a:lnTo>
                  <a:lnTo>
                    <a:pt x="648158" y="203594"/>
                  </a:lnTo>
                  <a:lnTo>
                    <a:pt x="648158" y="202260"/>
                  </a:lnTo>
                  <a:lnTo>
                    <a:pt x="648208" y="202260"/>
                  </a:lnTo>
                  <a:lnTo>
                    <a:pt x="648208" y="204990"/>
                  </a:lnTo>
                  <a:lnTo>
                    <a:pt x="648208" y="202959"/>
                  </a:lnTo>
                  <a:lnTo>
                    <a:pt x="648208" y="203594"/>
                  </a:lnTo>
                  <a:lnTo>
                    <a:pt x="648247" y="203594"/>
                  </a:lnTo>
                  <a:lnTo>
                    <a:pt x="648247" y="204292"/>
                  </a:lnTo>
                  <a:lnTo>
                    <a:pt x="648247" y="203594"/>
                  </a:lnTo>
                  <a:lnTo>
                    <a:pt x="648348" y="203594"/>
                  </a:lnTo>
                  <a:lnTo>
                    <a:pt x="648348" y="204292"/>
                  </a:lnTo>
                  <a:lnTo>
                    <a:pt x="648348" y="203594"/>
                  </a:lnTo>
                  <a:lnTo>
                    <a:pt x="648348" y="204292"/>
                  </a:lnTo>
                  <a:lnTo>
                    <a:pt x="648399" y="204292"/>
                  </a:lnTo>
                  <a:lnTo>
                    <a:pt x="648399" y="204990"/>
                  </a:lnTo>
                  <a:lnTo>
                    <a:pt x="648399" y="204292"/>
                  </a:lnTo>
                  <a:lnTo>
                    <a:pt x="648399" y="204990"/>
                  </a:lnTo>
                  <a:lnTo>
                    <a:pt x="648399" y="204292"/>
                  </a:lnTo>
                  <a:lnTo>
                    <a:pt x="648399" y="204990"/>
                  </a:lnTo>
                  <a:lnTo>
                    <a:pt x="648399" y="204292"/>
                  </a:lnTo>
                  <a:lnTo>
                    <a:pt x="648399" y="204990"/>
                  </a:lnTo>
                  <a:lnTo>
                    <a:pt x="648450" y="204292"/>
                  </a:lnTo>
                  <a:lnTo>
                    <a:pt x="648450" y="204990"/>
                  </a:lnTo>
                  <a:lnTo>
                    <a:pt x="648450" y="204292"/>
                  </a:lnTo>
                  <a:lnTo>
                    <a:pt x="648450" y="204990"/>
                  </a:lnTo>
                  <a:lnTo>
                    <a:pt x="648551" y="204292"/>
                  </a:lnTo>
                  <a:lnTo>
                    <a:pt x="648551" y="204990"/>
                  </a:lnTo>
                  <a:lnTo>
                    <a:pt x="648551" y="204292"/>
                  </a:lnTo>
                  <a:lnTo>
                    <a:pt x="648551" y="204990"/>
                  </a:lnTo>
                  <a:lnTo>
                    <a:pt x="648551" y="203594"/>
                  </a:lnTo>
                  <a:lnTo>
                    <a:pt x="648602" y="203594"/>
                  </a:lnTo>
                  <a:lnTo>
                    <a:pt x="648602" y="202959"/>
                  </a:lnTo>
                  <a:lnTo>
                    <a:pt x="648653" y="202959"/>
                  </a:lnTo>
                  <a:lnTo>
                    <a:pt x="648653" y="202260"/>
                  </a:lnTo>
                  <a:lnTo>
                    <a:pt x="648653" y="203594"/>
                  </a:lnTo>
                  <a:lnTo>
                    <a:pt x="648653" y="202959"/>
                  </a:lnTo>
                  <a:lnTo>
                    <a:pt x="648653" y="203594"/>
                  </a:lnTo>
                  <a:lnTo>
                    <a:pt x="648653" y="202959"/>
                  </a:lnTo>
                  <a:lnTo>
                    <a:pt x="648704" y="202959"/>
                  </a:lnTo>
                  <a:lnTo>
                    <a:pt x="648704" y="204292"/>
                  </a:lnTo>
                  <a:lnTo>
                    <a:pt x="648704" y="203594"/>
                  </a:lnTo>
                  <a:lnTo>
                    <a:pt x="648704" y="204292"/>
                  </a:lnTo>
                  <a:lnTo>
                    <a:pt x="648704" y="203594"/>
                  </a:lnTo>
                  <a:lnTo>
                    <a:pt x="648704" y="204292"/>
                  </a:lnTo>
                  <a:lnTo>
                    <a:pt x="648793" y="204292"/>
                  </a:lnTo>
                  <a:lnTo>
                    <a:pt x="648793" y="204990"/>
                  </a:lnTo>
                  <a:lnTo>
                    <a:pt x="648793" y="203594"/>
                  </a:lnTo>
                  <a:lnTo>
                    <a:pt x="648793" y="204292"/>
                  </a:lnTo>
                  <a:lnTo>
                    <a:pt x="648894" y="204292"/>
                  </a:lnTo>
                  <a:lnTo>
                    <a:pt x="648894" y="204990"/>
                  </a:lnTo>
                  <a:lnTo>
                    <a:pt x="648894" y="204292"/>
                  </a:lnTo>
                  <a:lnTo>
                    <a:pt x="648894" y="204990"/>
                  </a:lnTo>
                  <a:lnTo>
                    <a:pt x="648894" y="204292"/>
                  </a:lnTo>
                  <a:lnTo>
                    <a:pt x="648894" y="204990"/>
                  </a:lnTo>
                  <a:lnTo>
                    <a:pt x="648945" y="204990"/>
                  </a:lnTo>
                  <a:lnTo>
                    <a:pt x="648945" y="204292"/>
                  </a:lnTo>
                  <a:lnTo>
                    <a:pt x="648945" y="204990"/>
                  </a:lnTo>
                  <a:lnTo>
                    <a:pt x="648945" y="204292"/>
                  </a:lnTo>
                  <a:lnTo>
                    <a:pt x="649047" y="204292"/>
                  </a:lnTo>
                  <a:lnTo>
                    <a:pt x="649047" y="203594"/>
                  </a:lnTo>
                  <a:lnTo>
                    <a:pt x="649047" y="204292"/>
                  </a:lnTo>
                  <a:lnTo>
                    <a:pt x="649047" y="202959"/>
                  </a:lnTo>
                  <a:lnTo>
                    <a:pt x="649097" y="202959"/>
                  </a:lnTo>
                  <a:lnTo>
                    <a:pt x="649097" y="202260"/>
                  </a:lnTo>
                  <a:lnTo>
                    <a:pt x="649097" y="202959"/>
                  </a:lnTo>
                  <a:lnTo>
                    <a:pt x="649097" y="200876"/>
                  </a:lnTo>
                  <a:lnTo>
                    <a:pt x="649097" y="202959"/>
                  </a:lnTo>
                  <a:lnTo>
                    <a:pt x="649148" y="202959"/>
                  </a:lnTo>
                  <a:lnTo>
                    <a:pt x="649148" y="202260"/>
                  </a:lnTo>
                  <a:lnTo>
                    <a:pt x="649148" y="202959"/>
                  </a:lnTo>
                  <a:lnTo>
                    <a:pt x="649148" y="202260"/>
                  </a:lnTo>
                  <a:lnTo>
                    <a:pt x="649148" y="204292"/>
                  </a:lnTo>
                  <a:lnTo>
                    <a:pt x="649250" y="204292"/>
                  </a:lnTo>
                  <a:lnTo>
                    <a:pt x="649250" y="203594"/>
                  </a:lnTo>
                  <a:lnTo>
                    <a:pt x="649250" y="204292"/>
                  </a:lnTo>
                  <a:lnTo>
                    <a:pt x="649250" y="203594"/>
                  </a:lnTo>
                  <a:lnTo>
                    <a:pt x="649250" y="204990"/>
                  </a:lnTo>
                  <a:lnTo>
                    <a:pt x="649288" y="204990"/>
                  </a:lnTo>
                  <a:lnTo>
                    <a:pt x="649288" y="204292"/>
                  </a:lnTo>
                  <a:lnTo>
                    <a:pt x="649288" y="204990"/>
                  </a:lnTo>
                  <a:lnTo>
                    <a:pt x="649339" y="204990"/>
                  </a:lnTo>
                  <a:lnTo>
                    <a:pt x="649339" y="204292"/>
                  </a:lnTo>
                  <a:lnTo>
                    <a:pt x="649339" y="204990"/>
                  </a:lnTo>
                  <a:lnTo>
                    <a:pt x="649339" y="204292"/>
                  </a:lnTo>
                  <a:lnTo>
                    <a:pt x="649339" y="204990"/>
                  </a:lnTo>
                  <a:lnTo>
                    <a:pt x="649390" y="204990"/>
                  </a:lnTo>
                  <a:lnTo>
                    <a:pt x="649390" y="206324"/>
                  </a:lnTo>
                  <a:lnTo>
                    <a:pt x="649390" y="204990"/>
                  </a:lnTo>
                  <a:lnTo>
                    <a:pt x="649491" y="204990"/>
                  </a:lnTo>
                  <a:lnTo>
                    <a:pt x="649491" y="204292"/>
                  </a:lnTo>
                  <a:lnTo>
                    <a:pt x="649491" y="204990"/>
                  </a:lnTo>
                  <a:lnTo>
                    <a:pt x="649491" y="204292"/>
                  </a:lnTo>
                  <a:lnTo>
                    <a:pt x="649542" y="204292"/>
                  </a:lnTo>
                  <a:lnTo>
                    <a:pt x="649542" y="203594"/>
                  </a:lnTo>
                  <a:lnTo>
                    <a:pt x="649542" y="204292"/>
                  </a:lnTo>
                  <a:lnTo>
                    <a:pt x="649542" y="203594"/>
                  </a:lnTo>
                  <a:lnTo>
                    <a:pt x="649593" y="203594"/>
                  </a:lnTo>
                  <a:lnTo>
                    <a:pt x="649593" y="202260"/>
                  </a:lnTo>
                  <a:lnTo>
                    <a:pt x="649593" y="203594"/>
                  </a:lnTo>
                  <a:lnTo>
                    <a:pt x="649593" y="202959"/>
                  </a:lnTo>
                  <a:lnTo>
                    <a:pt x="649694" y="202959"/>
                  </a:lnTo>
                  <a:lnTo>
                    <a:pt x="649694" y="203594"/>
                  </a:lnTo>
                  <a:lnTo>
                    <a:pt x="649694" y="202959"/>
                  </a:lnTo>
                  <a:lnTo>
                    <a:pt x="649694" y="204292"/>
                  </a:lnTo>
                  <a:lnTo>
                    <a:pt x="649745" y="204292"/>
                  </a:lnTo>
                  <a:lnTo>
                    <a:pt x="649745" y="203594"/>
                  </a:lnTo>
                  <a:lnTo>
                    <a:pt x="649745" y="204990"/>
                  </a:lnTo>
                  <a:lnTo>
                    <a:pt x="649745" y="204292"/>
                  </a:lnTo>
                  <a:lnTo>
                    <a:pt x="649796" y="204292"/>
                  </a:lnTo>
                  <a:lnTo>
                    <a:pt x="649796" y="203594"/>
                  </a:lnTo>
                  <a:lnTo>
                    <a:pt x="649796" y="204990"/>
                  </a:lnTo>
                  <a:lnTo>
                    <a:pt x="649796" y="204292"/>
                  </a:lnTo>
                  <a:lnTo>
                    <a:pt x="649834" y="204990"/>
                  </a:lnTo>
                  <a:lnTo>
                    <a:pt x="649834" y="204292"/>
                  </a:lnTo>
                  <a:lnTo>
                    <a:pt x="649834" y="204990"/>
                  </a:lnTo>
                  <a:lnTo>
                    <a:pt x="649834" y="204292"/>
                  </a:lnTo>
                  <a:lnTo>
                    <a:pt x="649834" y="204990"/>
                  </a:lnTo>
                  <a:lnTo>
                    <a:pt x="649834" y="204292"/>
                  </a:lnTo>
                  <a:lnTo>
                    <a:pt x="649834" y="204990"/>
                  </a:lnTo>
                  <a:lnTo>
                    <a:pt x="649936" y="204990"/>
                  </a:lnTo>
                  <a:lnTo>
                    <a:pt x="649936" y="206324"/>
                  </a:lnTo>
                  <a:lnTo>
                    <a:pt x="649936" y="204990"/>
                  </a:lnTo>
                  <a:lnTo>
                    <a:pt x="649987" y="204990"/>
                  </a:lnTo>
                  <a:lnTo>
                    <a:pt x="649987" y="204292"/>
                  </a:lnTo>
                  <a:lnTo>
                    <a:pt x="649987" y="204990"/>
                  </a:lnTo>
                  <a:lnTo>
                    <a:pt x="649987" y="204292"/>
                  </a:lnTo>
                  <a:lnTo>
                    <a:pt x="649987" y="204990"/>
                  </a:lnTo>
                  <a:lnTo>
                    <a:pt x="649987" y="204292"/>
                  </a:lnTo>
                  <a:lnTo>
                    <a:pt x="650037" y="204292"/>
                  </a:lnTo>
                  <a:lnTo>
                    <a:pt x="650037" y="202959"/>
                  </a:lnTo>
                  <a:lnTo>
                    <a:pt x="650037" y="203594"/>
                  </a:lnTo>
                  <a:lnTo>
                    <a:pt x="650037" y="202959"/>
                  </a:lnTo>
                  <a:lnTo>
                    <a:pt x="650139" y="202959"/>
                  </a:lnTo>
                  <a:lnTo>
                    <a:pt x="650139" y="202260"/>
                  </a:lnTo>
                  <a:lnTo>
                    <a:pt x="650139" y="202959"/>
                  </a:lnTo>
                  <a:lnTo>
                    <a:pt x="650139" y="202260"/>
                  </a:lnTo>
                  <a:lnTo>
                    <a:pt x="650139" y="202959"/>
                  </a:lnTo>
                  <a:lnTo>
                    <a:pt x="650139" y="202260"/>
                  </a:lnTo>
                  <a:lnTo>
                    <a:pt x="650190" y="202260"/>
                  </a:lnTo>
                  <a:lnTo>
                    <a:pt x="650190" y="202959"/>
                  </a:lnTo>
                  <a:lnTo>
                    <a:pt x="650190" y="200876"/>
                  </a:lnTo>
                  <a:lnTo>
                    <a:pt x="650190" y="203594"/>
                  </a:lnTo>
                  <a:lnTo>
                    <a:pt x="650241" y="203594"/>
                  </a:lnTo>
                  <a:lnTo>
                    <a:pt x="650241" y="202959"/>
                  </a:lnTo>
                  <a:lnTo>
                    <a:pt x="650241" y="204292"/>
                  </a:lnTo>
                  <a:lnTo>
                    <a:pt x="650241" y="203594"/>
                  </a:lnTo>
                  <a:lnTo>
                    <a:pt x="650291" y="203594"/>
                  </a:lnTo>
                  <a:lnTo>
                    <a:pt x="650291" y="204292"/>
                  </a:lnTo>
                  <a:lnTo>
                    <a:pt x="650291" y="203594"/>
                  </a:lnTo>
                  <a:lnTo>
                    <a:pt x="650291" y="204292"/>
                  </a:lnTo>
                  <a:lnTo>
                    <a:pt x="650380" y="204292"/>
                  </a:lnTo>
                  <a:lnTo>
                    <a:pt x="650380" y="204990"/>
                  </a:lnTo>
                  <a:lnTo>
                    <a:pt x="650380" y="204292"/>
                  </a:lnTo>
                  <a:lnTo>
                    <a:pt x="650431" y="204292"/>
                  </a:lnTo>
                  <a:lnTo>
                    <a:pt x="650431" y="204990"/>
                  </a:lnTo>
                  <a:lnTo>
                    <a:pt x="650431" y="204292"/>
                  </a:lnTo>
                  <a:lnTo>
                    <a:pt x="650482" y="204292"/>
                  </a:lnTo>
                  <a:lnTo>
                    <a:pt x="650482" y="204990"/>
                  </a:lnTo>
                  <a:lnTo>
                    <a:pt x="650482" y="204292"/>
                  </a:lnTo>
                  <a:lnTo>
                    <a:pt x="650482" y="204990"/>
                  </a:lnTo>
                  <a:lnTo>
                    <a:pt x="650482" y="204292"/>
                  </a:lnTo>
                  <a:lnTo>
                    <a:pt x="650482" y="204990"/>
                  </a:lnTo>
                  <a:lnTo>
                    <a:pt x="650482" y="204292"/>
                  </a:lnTo>
                  <a:lnTo>
                    <a:pt x="650533" y="204292"/>
                  </a:lnTo>
                  <a:lnTo>
                    <a:pt x="650533" y="203594"/>
                  </a:lnTo>
                  <a:lnTo>
                    <a:pt x="650533" y="204292"/>
                  </a:lnTo>
                  <a:lnTo>
                    <a:pt x="650533" y="202260"/>
                  </a:lnTo>
                  <a:lnTo>
                    <a:pt x="650533" y="202959"/>
                  </a:lnTo>
                  <a:lnTo>
                    <a:pt x="650634" y="202959"/>
                  </a:lnTo>
                  <a:lnTo>
                    <a:pt x="650634" y="202260"/>
                  </a:lnTo>
                  <a:lnTo>
                    <a:pt x="650634" y="202959"/>
                  </a:lnTo>
                  <a:lnTo>
                    <a:pt x="650634" y="202260"/>
                  </a:lnTo>
                  <a:lnTo>
                    <a:pt x="650634" y="202959"/>
                  </a:lnTo>
                  <a:lnTo>
                    <a:pt x="650634" y="202260"/>
                  </a:lnTo>
                  <a:lnTo>
                    <a:pt x="650685" y="202260"/>
                  </a:lnTo>
                  <a:lnTo>
                    <a:pt x="650685" y="200876"/>
                  </a:lnTo>
                  <a:lnTo>
                    <a:pt x="650685" y="204292"/>
                  </a:lnTo>
                  <a:lnTo>
                    <a:pt x="650685" y="202260"/>
                  </a:lnTo>
                  <a:lnTo>
                    <a:pt x="650736" y="202260"/>
                  </a:lnTo>
                  <a:lnTo>
                    <a:pt x="650736" y="203594"/>
                  </a:lnTo>
                  <a:lnTo>
                    <a:pt x="650736" y="202959"/>
                  </a:lnTo>
                  <a:lnTo>
                    <a:pt x="650837" y="202959"/>
                  </a:lnTo>
                  <a:lnTo>
                    <a:pt x="650837" y="203594"/>
                  </a:lnTo>
                  <a:lnTo>
                    <a:pt x="650837" y="202959"/>
                  </a:lnTo>
                  <a:lnTo>
                    <a:pt x="650837" y="203594"/>
                  </a:lnTo>
                  <a:lnTo>
                    <a:pt x="650837" y="202959"/>
                  </a:lnTo>
                  <a:lnTo>
                    <a:pt x="650837" y="203594"/>
                  </a:lnTo>
                  <a:lnTo>
                    <a:pt x="650876" y="203594"/>
                  </a:lnTo>
                  <a:lnTo>
                    <a:pt x="650876" y="204292"/>
                  </a:lnTo>
                  <a:lnTo>
                    <a:pt x="650876" y="203594"/>
                  </a:lnTo>
                  <a:lnTo>
                    <a:pt x="650926" y="203594"/>
                  </a:lnTo>
                  <a:lnTo>
                    <a:pt x="650926" y="204292"/>
                  </a:lnTo>
                  <a:lnTo>
                    <a:pt x="650926" y="203594"/>
                  </a:lnTo>
                  <a:lnTo>
                    <a:pt x="650926" y="204292"/>
                  </a:lnTo>
                  <a:lnTo>
                    <a:pt x="650926" y="203594"/>
                  </a:lnTo>
                  <a:lnTo>
                    <a:pt x="650926" y="204292"/>
                  </a:lnTo>
                  <a:lnTo>
                    <a:pt x="650926" y="203594"/>
                  </a:lnTo>
                  <a:lnTo>
                    <a:pt x="650977" y="203594"/>
                  </a:lnTo>
                  <a:lnTo>
                    <a:pt x="650977" y="202959"/>
                  </a:lnTo>
                  <a:lnTo>
                    <a:pt x="650977" y="203594"/>
                  </a:lnTo>
                  <a:lnTo>
                    <a:pt x="650977" y="202959"/>
                  </a:lnTo>
                  <a:lnTo>
                    <a:pt x="651079" y="202959"/>
                  </a:lnTo>
                  <a:lnTo>
                    <a:pt x="651079" y="200876"/>
                  </a:lnTo>
                  <a:lnTo>
                    <a:pt x="651079" y="202959"/>
                  </a:lnTo>
                  <a:lnTo>
                    <a:pt x="651130" y="202959"/>
                  </a:lnTo>
                  <a:lnTo>
                    <a:pt x="651130" y="200876"/>
                  </a:lnTo>
                  <a:lnTo>
                    <a:pt x="651130" y="204292"/>
                  </a:lnTo>
                  <a:lnTo>
                    <a:pt x="651180" y="204292"/>
                  </a:lnTo>
                  <a:lnTo>
                    <a:pt x="651180" y="203594"/>
                  </a:lnTo>
                  <a:lnTo>
                    <a:pt x="651180" y="204292"/>
                  </a:lnTo>
                  <a:lnTo>
                    <a:pt x="651180" y="202959"/>
                  </a:lnTo>
                  <a:lnTo>
                    <a:pt x="651180" y="203594"/>
                  </a:lnTo>
                  <a:lnTo>
                    <a:pt x="651180" y="202959"/>
                  </a:lnTo>
                  <a:lnTo>
                    <a:pt x="651180" y="204292"/>
                  </a:lnTo>
                  <a:lnTo>
                    <a:pt x="651282" y="204292"/>
                  </a:lnTo>
                  <a:lnTo>
                    <a:pt x="651282" y="203594"/>
                  </a:lnTo>
                  <a:lnTo>
                    <a:pt x="651333" y="204292"/>
                  </a:lnTo>
                  <a:lnTo>
                    <a:pt x="651333" y="203594"/>
                  </a:lnTo>
                  <a:lnTo>
                    <a:pt x="651333" y="204292"/>
                  </a:lnTo>
                  <a:lnTo>
                    <a:pt x="651333" y="203594"/>
                  </a:lnTo>
                  <a:lnTo>
                    <a:pt x="651333" y="204292"/>
                  </a:lnTo>
                  <a:lnTo>
                    <a:pt x="651333" y="203594"/>
                  </a:lnTo>
                  <a:lnTo>
                    <a:pt x="651383" y="203594"/>
                  </a:lnTo>
                  <a:lnTo>
                    <a:pt x="651383" y="204292"/>
                  </a:lnTo>
                  <a:lnTo>
                    <a:pt x="651422" y="204292"/>
                  </a:lnTo>
                  <a:lnTo>
                    <a:pt x="651422" y="203594"/>
                  </a:lnTo>
                  <a:lnTo>
                    <a:pt x="651422" y="204292"/>
                  </a:lnTo>
                  <a:lnTo>
                    <a:pt x="651422" y="203594"/>
                  </a:lnTo>
                  <a:lnTo>
                    <a:pt x="651422" y="204292"/>
                  </a:lnTo>
                  <a:lnTo>
                    <a:pt x="651422" y="203594"/>
                  </a:lnTo>
                  <a:lnTo>
                    <a:pt x="651523" y="203594"/>
                  </a:lnTo>
                  <a:lnTo>
                    <a:pt x="651523" y="202959"/>
                  </a:lnTo>
                  <a:lnTo>
                    <a:pt x="651523" y="203594"/>
                  </a:lnTo>
                  <a:lnTo>
                    <a:pt x="651523" y="202959"/>
                  </a:lnTo>
                  <a:lnTo>
                    <a:pt x="651574" y="202959"/>
                  </a:lnTo>
                  <a:lnTo>
                    <a:pt x="651574" y="200876"/>
                  </a:lnTo>
                  <a:lnTo>
                    <a:pt x="651574" y="202260"/>
                  </a:lnTo>
                  <a:lnTo>
                    <a:pt x="651574" y="200876"/>
                  </a:lnTo>
                  <a:lnTo>
                    <a:pt x="651574" y="202959"/>
                  </a:lnTo>
                  <a:lnTo>
                    <a:pt x="651574" y="202260"/>
                  </a:lnTo>
                  <a:lnTo>
                    <a:pt x="651574" y="202959"/>
                  </a:lnTo>
                  <a:lnTo>
                    <a:pt x="651625" y="202959"/>
                  </a:lnTo>
                  <a:lnTo>
                    <a:pt x="651625" y="202260"/>
                  </a:lnTo>
                  <a:lnTo>
                    <a:pt x="651625" y="202959"/>
                  </a:lnTo>
                  <a:lnTo>
                    <a:pt x="651625" y="202260"/>
                  </a:lnTo>
                  <a:lnTo>
                    <a:pt x="651625" y="204990"/>
                  </a:lnTo>
                  <a:lnTo>
                    <a:pt x="651625" y="204292"/>
                  </a:lnTo>
                  <a:lnTo>
                    <a:pt x="651726" y="204292"/>
                  </a:lnTo>
                  <a:lnTo>
                    <a:pt x="651726" y="203594"/>
                  </a:lnTo>
                  <a:lnTo>
                    <a:pt x="651726" y="204292"/>
                  </a:lnTo>
                  <a:lnTo>
                    <a:pt x="651726" y="203594"/>
                  </a:lnTo>
                  <a:lnTo>
                    <a:pt x="651726" y="204292"/>
                  </a:lnTo>
                  <a:lnTo>
                    <a:pt x="651777" y="204292"/>
                  </a:lnTo>
                  <a:lnTo>
                    <a:pt x="651777" y="203594"/>
                  </a:lnTo>
                  <a:lnTo>
                    <a:pt x="651777" y="204292"/>
                  </a:lnTo>
                  <a:lnTo>
                    <a:pt x="651777" y="203594"/>
                  </a:lnTo>
                  <a:lnTo>
                    <a:pt x="651777" y="204990"/>
                  </a:lnTo>
                  <a:lnTo>
                    <a:pt x="651777" y="203594"/>
                  </a:lnTo>
                  <a:lnTo>
                    <a:pt x="651777" y="204292"/>
                  </a:lnTo>
                  <a:lnTo>
                    <a:pt x="651828" y="203594"/>
                  </a:lnTo>
                  <a:lnTo>
                    <a:pt x="651828" y="204292"/>
                  </a:lnTo>
                  <a:lnTo>
                    <a:pt x="651879" y="204292"/>
                  </a:lnTo>
                  <a:lnTo>
                    <a:pt x="651879" y="203594"/>
                  </a:lnTo>
                  <a:lnTo>
                    <a:pt x="651879" y="204990"/>
                  </a:lnTo>
                  <a:lnTo>
                    <a:pt x="651879" y="204292"/>
                  </a:lnTo>
                  <a:lnTo>
                    <a:pt x="651968" y="204292"/>
                  </a:lnTo>
                  <a:lnTo>
                    <a:pt x="651968" y="203594"/>
                  </a:lnTo>
                  <a:lnTo>
                    <a:pt x="651968" y="204292"/>
                  </a:lnTo>
                  <a:lnTo>
                    <a:pt x="651968" y="202959"/>
                  </a:lnTo>
                  <a:lnTo>
                    <a:pt x="651968" y="203594"/>
                  </a:lnTo>
                  <a:lnTo>
                    <a:pt x="651968" y="202959"/>
                  </a:lnTo>
                  <a:lnTo>
                    <a:pt x="652018" y="203594"/>
                  </a:lnTo>
                  <a:lnTo>
                    <a:pt x="652018" y="202959"/>
                  </a:lnTo>
                  <a:lnTo>
                    <a:pt x="652018" y="203594"/>
                  </a:lnTo>
                  <a:lnTo>
                    <a:pt x="652018" y="200876"/>
                  </a:lnTo>
                  <a:lnTo>
                    <a:pt x="652069" y="200876"/>
                  </a:lnTo>
                  <a:lnTo>
                    <a:pt x="652069" y="200228"/>
                  </a:lnTo>
                  <a:lnTo>
                    <a:pt x="652069" y="202260"/>
                  </a:lnTo>
                  <a:lnTo>
                    <a:pt x="652069" y="200876"/>
                  </a:lnTo>
                  <a:lnTo>
                    <a:pt x="652120" y="200876"/>
                  </a:lnTo>
                  <a:lnTo>
                    <a:pt x="652120" y="200228"/>
                  </a:lnTo>
                  <a:lnTo>
                    <a:pt x="652120" y="203594"/>
                  </a:lnTo>
                  <a:lnTo>
                    <a:pt x="652222" y="203594"/>
                  </a:lnTo>
                  <a:lnTo>
                    <a:pt x="652222" y="202959"/>
                  </a:lnTo>
                  <a:lnTo>
                    <a:pt x="652222" y="204292"/>
                  </a:lnTo>
                  <a:lnTo>
                    <a:pt x="652222" y="202959"/>
                  </a:lnTo>
                  <a:lnTo>
                    <a:pt x="652222" y="203594"/>
                  </a:lnTo>
                  <a:lnTo>
                    <a:pt x="652222" y="202959"/>
                  </a:lnTo>
                  <a:lnTo>
                    <a:pt x="652272" y="203594"/>
                  </a:lnTo>
                  <a:lnTo>
                    <a:pt x="652272" y="204292"/>
                  </a:lnTo>
                  <a:lnTo>
                    <a:pt x="652272" y="203594"/>
                  </a:lnTo>
                  <a:lnTo>
                    <a:pt x="652272" y="204292"/>
                  </a:lnTo>
                  <a:lnTo>
                    <a:pt x="652323" y="204292"/>
                  </a:lnTo>
                  <a:lnTo>
                    <a:pt x="652323" y="203594"/>
                  </a:lnTo>
                  <a:lnTo>
                    <a:pt x="652323" y="204292"/>
                  </a:lnTo>
                  <a:lnTo>
                    <a:pt x="652323" y="203594"/>
                  </a:lnTo>
                  <a:lnTo>
                    <a:pt x="652323" y="204292"/>
                  </a:lnTo>
                  <a:lnTo>
                    <a:pt x="652425" y="204292"/>
                  </a:lnTo>
                  <a:lnTo>
                    <a:pt x="652425" y="203594"/>
                  </a:lnTo>
                  <a:lnTo>
                    <a:pt x="652425" y="204292"/>
                  </a:lnTo>
                  <a:lnTo>
                    <a:pt x="652463" y="204292"/>
                  </a:lnTo>
                  <a:lnTo>
                    <a:pt x="652463" y="203594"/>
                  </a:lnTo>
                  <a:lnTo>
                    <a:pt x="652463" y="204292"/>
                  </a:lnTo>
                  <a:lnTo>
                    <a:pt x="652463" y="202959"/>
                  </a:lnTo>
                  <a:lnTo>
                    <a:pt x="652514" y="202959"/>
                  </a:lnTo>
                  <a:lnTo>
                    <a:pt x="652514" y="200876"/>
                  </a:lnTo>
                  <a:lnTo>
                    <a:pt x="652514" y="202260"/>
                  </a:lnTo>
                  <a:lnTo>
                    <a:pt x="652565" y="202260"/>
                  </a:lnTo>
                  <a:lnTo>
                    <a:pt x="652565" y="200876"/>
                  </a:lnTo>
                  <a:lnTo>
                    <a:pt x="652565" y="203594"/>
                  </a:lnTo>
                  <a:lnTo>
                    <a:pt x="652565" y="200876"/>
                  </a:lnTo>
                  <a:lnTo>
                    <a:pt x="652565" y="202260"/>
                  </a:lnTo>
                  <a:lnTo>
                    <a:pt x="652666" y="202959"/>
                  </a:lnTo>
                  <a:lnTo>
                    <a:pt x="652666" y="204292"/>
                  </a:lnTo>
                  <a:lnTo>
                    <a:pt x="652666" y="202959"/>
                  </a:lnTo>
                  <a:lnTo>
                    <a:pt x="652666" y="203594"/>
                  </a:lnTo>
                  <a:lnTo>
                    <a:pt x="652666" y="202959"/>
                  </a:lnTo>
                  <a:lnTo>
                    <a:pt x="652717" y="203594"/>
                  </a:lnTo>
                  <a:lnTo>
                    <a:pt x="652717" y="204292"/>
                  </a:lnTo>
                  <a:lnTo>
                    <a:pt x="652717" y="203594"/>
                  </a:lnTo>
                  <a:lnTo>
                    <a:pt x="652717" y="204292"/>
                  </a:lnTo>
                  <a:lnTo>
                    <a:pt x="652717" y="203594"/>
                  </a:lnTo>
                  <a:lnTo>
                    <a:pt x="652768" y="204292"/>
                  </a:lnTo>
                  <a:lnTo>
                    <a:pt x="652768" y="203594"/>
                  </a:lnTo>
                  <a:lnTo>
                    <a:pt x="652768" y="204292"/>
                  </a:lnTo>
                  <a:lnTo>
                    <a:pt x="652768" y="203594"/>
                  </a:lnTo>
                  <a:lnTo>
                    <a:pt x="652768" y="204292"/>
                  </a:lnTo>
                  <a:lnTo>
                    <a:pt x="652768" y="203594"/>
                  </a:lnTo>
                  <a:lnTo>
                    <a:pt x="652768" y="204292"/>
                  </a:lnTo>
                  <a:lnTo>
                    <a:pt x="652869" y="204292"/>
                  </a:lnTo>
                  <a:lnTo>
                    <a:pt x="652869" y="204990"/>
                  </a:lnTo>
                  <a:lnTo>
                    <a:pt x="652869" y="204292"/>
                  </a:lnTo>
                  <a:lnTo>
                    <a:pt x="652920" y="204292"/>
                  </a:lnTo>
                  <a:lnTo>
                    <a:pt x="652920" y="204990"/>
                  </a:lnTo>
                  <a:lnTo>
                    <a:pt x="652920" y="204292"/>
                  </a:lnTo>
                  <a:lnTo>
                    <a:pt x="652920" y="204990"/>
                  </a:lnTo>
                  <a:lnTo>
                    <a:pt x="652920" y="204292"/>
                  </a:lnTo>
                  <a:lnTo>
                    <a:pt x="652971" y="204292"/>
                  </a:lnTo>
                  <a:lnTo>
                    <a:pt x="652971" y="204990"/>
                  </a:lnTo>
                  <a:lnTo>
                    <a:pt x="652971" y="203594"/>
                  </a:lnTo>
                  <a:lnTo>
                    <a:pt x="652971" y="204292"/>
                  </a:lnTo>
                  <a:lnTo>
                    <a:pt x="652971" y="202959"/>
                  </a:lnTo>
                  <a:lnTo>
                    <a:pt x="652971" y="203594"/>
                  </a:lnTo>
                  <a:lnTo>
                    <a:pt x="652971" y="202959"/>
                  </a:lnTo>
                  <a:lnTo>
                    <a:pt x="653009" y="202959"/>
                  </a:lnTo>
                  <a:lnTo>
                    <a:pt x="653009" y="202260"/>
                  </a:lnTo>
                  <a:lnTo>
                    <a:pt x="653009" y="202959"/>
                  </a:lnTo>
                  <a:lnTo>
                    <a:pt x="653009" y="200228"/>
                  </a:lnTo>
                  <a:lnTo>
                    <a:pt x="653111" y="200228"/>
                  </a:lnTo>
                  <a:lnTo>
                    <a:pt x="653111" y="202959"/>
                  </a:lnTo>
                  <a:lnTo>
                    <a:pt x="653111" y="200228"/>
                  </a:lnTo>
                  <a:lnTo>
                    <a:pt x="653162" y="200228"/>
                  </a:lnTo>
                  <a:lnTo>
                    <a:pt x="653162" y="203594"/>
                  </a:lnTo>
                  <a:lnTo>
                    <a:pt x="653162" y="202260"/>
                  </a:lnTo>
                  <a:lnTo>
                    <a:pt x="653162" y="202959"/>
                  </a:lnTo>
                  <a:lnTo>
                    <a:pt x="653212" y="202959"/>
                  </a:lnTo>
                  <a:lnTo>
                    <a:pt x="653212" y="203594"/>
                  </a:lnTo>
                  <a:lnTo>
                    <a:pt x="653212" y="202959"/>
                  </a:lnTo>
                  <a:lnTo>
                    <a:pt x="653212" y="203594"/>
                  </a:lnTo>
                  <a:lnTo>
                    <a:pt x="653212" y="202959"/>
                  </a:lnTo>
                  <a:lnTo>
                    <a:pt x="653212" y="203594"/>
                  </a:lnTo>
                  <a:lnTo>
                    <a:pt x="653314" y="203594"/>
                  </a:lnTo>
                  <a:lnTo>
                    <a:pt x="653314" y="204292"/>
                  </a:lnTo>
                  <a:lnTo>
                    <a:pt x="653314" y="203594"/>
                  </a:lnTo>
                  <a:lnTo>
                    <a:pt x="653314" y="204292"/>
                  </a:lnTo>
                  <a:lnTo>
                    <a:pt x="653365" y="204292"/>
                  </a:lnTo>
                  <a:lnTo>
                    <a:pt x="653365" y="204990"/>
                  </a:lnTo>
                  <a:lnTo>
                    <a:pt x="653365" y="204292"/>
                  </a:lnTo>
                  <a:lnTo>
                    <a:pt x="653365" y="204990"/>
                  </a:lnTo>
                  <a:lnTo>
                    <a:pt x="653365" y="204292"/>
                  </a:lnTo>
                  <a:lnTo>
                    <a:pt x="653365" y="204990"/>
                  </a:lnTo>
                  <a:lnTo>
                    <a:pt x="653416" y="204292"/>
                  </a:lnTo>
                  <a:lnTo>
                    <a:pt x="653416" y="204990"/>
                  </a:lnTo>
                  <a:lnTo>
                    <a:pt x="653416" y="204292"/>
                  </a:lnTo>
                  <a:lnTo>
                    <a:pt x="653416" y="204990"/>
                  </a:lnTo>
                  <a:lnTo>
                    <a:pt x="653416" y="204292"/>
                  </a:lnTo>
                  <a:lnTo>
                    <a:pt x="653416" y="204990"/>
                  </a:lnTo>
                  <a:lnTo>
                    <a:pt x="653416" y="204292"/>
                  </a:lnTo>
                  <a:lnTo>
                    <a:pt x="653416" y="204990"/>
                  </a:lnTo>
                  <a:lnTo>
                    <a:pt x="653466" y="204990"/>
                  </a:lnTo>
                  <a:lnTo>
                    <a:pt x="653466" y="203594"/>
                  </a:lnTo>
                  <a:lnTo>
                    <a:pt x="653466" y="204292"/>
                  </a:lnTo>
                  <a:lnTo>
                    <a:pt x="653466" y="203594"/>
                  </a:lnTo>
                  <a:lnTo>
                    <a:pt x="653466" y="204292"/>
                  </a:lnTo>
                  <a:lnTo>
                    <a:pt x="653466" y="203594"/>
                  </a:lnTo>
                  <a:lnTo>
                    <a:pt x="653555" y="203594"/>
                  </a:lnTo>
                  <a:lnTo>
                    <a:pt x="653555" y="200876"/>
                  </a:lnTo>
                  <a:lnTo>
                    <a:pt x="653606" y="200876"/>
                  </a:lnTo>
                  <a:lnTo>
                    <a:pt x="653606" y="202959"/>
                  </a:lnTo>
                  <a:lnTo>
                    <a:pt x="653606" y="200228"/>
                  </a:lnTo>
                  <a:lnTo>
                    <a:pt x="653606" y="202260"/>
                  </a:lnTo>
                  <a:lnTo>
                    <a:pt x="653657" y="202959"/>
                  </a:lnTo>
                  <a:lnTo>
                    <a:pt x="653657" y="203594"/>
                  </a:lnTo>
                  <a:lnTo>
                    <a:pt x="653657" y="202260"/>
                  </a:lnTo>
                  <a:lnTo>
                    <a:pt x="653657" y="202959"/>
                  </a:lnTo>
                  <a:lnTo>
                    <a:pt x="653708" y="202959"/>
                  </a:lnTo>
                  <a:lnTo>
                    <a:pt x="653708" y="202260"/>
                  </a:lnTo>
                  <a:lnTo>
                    <a:pt x="653708" y="202959"/>
                  </a:lnTo>
                  <a:lnTo>
                    <a:pt x="653809" y="202959"/>
                  </a:lnTo>
                  <a:lnTo>
                    <a:pt x="653809" y="203594"/>
                  </a:lnTo>
                  <a:lnTo>
                    <a:pt x="653809" y="202959"/>
                  </a:lnTo>
                  <a:lnTo>
                    <a:pt x="653809" y="203594"/>
                  </a:lnTo>
                  <a:lnTo>
                    <a:pt x="653809" y="202959"/>
                  </a:lnTo>
                  <a:lnTo>
                    <a:pt x="653860" y="202959"/>
                  </a:lnTo>
                  <a:lnTo>
                    <a:pt x="653860" y="203594"/>
                  </a:lnTo>
                  <a:lnTo>
                    <a:pt x="653860" y="202959"/>
                  </a:lnTo>
                  <a:lnTo>
                    <a:pt x="653860" y="204292"/>
                  </a:lnTo>
                  <a:lnTo>
                    <a:pt x="653911" y="204292"/>
                  </a:lnTo>
                  <a:lnTo>
                    <a:pt x="653911" y="203594"/>
                  </a:lnTo>
                  <a:lnTo>
                    <a:pt x="653911" y="204292"/>
                  </a:lnTo>
                  <a:lnTo>
                    <a:pt x="653911" y="203594"/>
                  </a:lnTo>
                  <a:lnTo>
                    <a:pt x="653911" y="204292"/>
                  </a:lnTo>
                  <a:lnTo>
                    <a:pt x="653911" y="203594"/>
                  </a:lnTo>
                  <a:lnTo>
                    <a:pt x="653911" y="204292"/>
                  </a:lnTo>
                  <a:lnTo>
                    <a:pt x="654012" y="203594"/>
                  </a:lnTo>
                  <a:lnTo>
                    <a:pt x="654012" y="202959"/>
                  </a:lnTo>
                  <a:lnTo>
                    <a:pt x="654012" y="203594"/>
                  </a:lnTo>
                  <a:lnTo>
                    <a:pt x="654012" y="202959"/>
                  </a:lnTo>
                  <a:lnTo>
                    <a:pt x="654051" y="202959"/>
                  </a:lnTo>
                  <a:lnTo>
                    <a:pt x="654051" y="202260"/>
                  </a:lnTo>
                  <a:lnTo>
                    <a:pt x="654051" y="203594"/>
                  </a:lnTo>
                  <a:lnTo>
                    <a:pt x="654101" y="202959"/>
                  </a:lnTo>
                  <a:lnTo>
                    <a:pt x="654101" y="202260"/>
                  </a:lnTo>
                  <a:lnTo>
                    <a:pt x="654101" y="204990"/>
                  </a:lnTo>
                  <a:lnTo>
                    <a:pt x="654152" y="204292"/>
                  </a:lnTo>
                  <a:lnTo>
                    <a:pt x="654152" y="202959"/>
                  </a:lnTo>
                  <a:lnTo>
                    <a:pt x="654152" y="204292"/>
                  </a:lnTo>
                  <a:lnTo>
                    <a:pt x="654254" y="204292"/>
                  </a:lnTo>
                  <a:lnTo>
                    <a:pt x="654254" y="203594"/>
                  </a:lnTo>
                  <a:lnTo>
                    <a:pt x="654254" y="204292"/>
                  </a:lnTo>
                  <a:lnTo>
                    <a:pt x="654254" y="203594"/>
                  </a:lnTo>
                  <a:lnTo>
                    <a:pt x="654254" y="204292"/>
                  </a:lnTo>
                  <a:lnTo>
                    <a:pt x="654305" y="204292"/>
                  </a:lnTo>
                  <a:lnTo>
                    <a:pt x="654305" y="203594"/>
                  </a:lnTo>
                  <a:lnTo>
                    <a:pt x="654305" y="204990"/>
                  </a:lnTo>
                  <a:lnTo>
                    <a:pt x="654305" y="204292"/>
                  </a:lnTo>
                  <a:lnTo>
                    <a:pt x="654355" y="204292"/>
                  </a:lnTo>
                  <a:lnTo>
                    <a:pt x="654355" y="204990"/>
                  </a:lnTo>
                  <a:lnTo>
                    <a:pt x="654457" y="204292"/>
                  </a:lnTo>
                  <a:lnTo>
                    <a:pt x="654457" y="203594"/>
                  </a:lnTo>
                  <a:lnTo>
                    <a:pt x="654457" y="204292"/>
                  </a:lnTo>
                  <a:lnTo>
                    <a:pt x="654457" y="203594"/>
                  </a:lnTo>
                  <a:lnTo>
                    <a:pt x="654508" y="203594"/>
                  </a:lnTo>
                  <a:lnTo>
                    <a:pt x="654508" y="202959"/>
                  </a:lnTo>
                  <a:lnTo>
                    <a:pt x="654508" y="203594"/>
                  </a:lnTo>
                  <a:lnTo>
                    <a:pt x="654508" y="202959"/>
                  </a:lnTo>
                  <a:lnTo>
                    <a:pt x="654508" y="203594"/>
                  </a:lnTo>
                  <a:lnTo>
                    <a:pt x="654508" y="202260"/>
                  </a:lnTo>
                  <a:lnTo>
                    <a:pt x="654558" y="202260"/>
                  </a:lnTo>
                  <a:lnTo>
                    <a:pt x="654558" y="200876"/>
                  </a:lnTo>
                  <a:lnTo>
                    <a:pt x="654558" y="204292"/>
                  </a:lnTo>
                  <a:lnTo>
                    <a:pt x="654558" y="202260"/>
                  </a:lnTo>
                  <a:lnTo>
                    <a:pt x="654597" y="202260"/>
                  </a:lnTo>
                  <a:lnTo>
                    <a:pt x="654597" y="206324"/>
                  </a:lnTo>
                  <a:lnTo>
                    <a:pt x="654597" y="203594"/>
                  </a:lnTo>
                  <a:lnTo>
                    <a:pt x="654698" y="204292"/>
                  </a:lnTo>
                  <a:lnTo>
                    <a:pt x="654698" y="206324"/>
                  </a:lnTo>
                  <a:lnTo>
                    <a:pt x="654698" y="204292"/>
                  </a:lnTo>
                  <a:lnTo>
                    <a:pt x="654749" y="204990"/>
                  </a:lnTo>
                  <a:lnTo>
                    <a:pt x="654749" y="204292"/>
                  </a:lnTo>
                  <a:lnTo>
                    <a:pt x="654749" y="204990"/>
                  </a:lnTo>
                  <a:lnTo>
                    <a:pt x="654749" y="204292"/>
                  </a:lnTo>
                  <a:lnTo>
                    <a:pt x="654800" y="204990"/>
                  </a:lnTo>
                  <a:lnTo>
                    <a:pt x="654800" y="204292"/>
                  </a:lnTo>
                  <a:lnTo>
                    <a:pt x="654800" y="204990"/>
                  </a:lnTo>
                  <a:lnTo>
                    <a:pt x="654800" y="204292"/>
                  </a:lnTo>
                  <a:lnTo>
                    <a:pt x="654800" y="204990"/>
                  </a:lnTo>
                  <a:lnTo>
                    <a:pt x="654901" y="204990"/>
                  </a:lnTo>
                  <a:lnTo>
                    <a:pt x="654901" y="204292"/>
                  </a:lnTo>
                  <a:lnTo>
                    <a:pt x="654901" y="204990"/>
                  </a:lnTo>
                  <a:lnTo>
                    <a:pt x="654901" y="204292"/>
                  </a:lnTo>
                  <a:lnTo>
                    <a:pt x="654952" y="203594"/>
                  </a:lnTo>
                  <a:lnTo>
                    <a:pt x="654952" y="202959"/>
                  </a:lnTo>
                  <a:lnTo>
                    <a:pt x="655003" y="202959"/>
                  </a:lnTo>
                  <a:lnTo>
                    <a:pt x="655003" y="200876"/>
                  </a:lnTo>
                  <a:lnTo>
                    <a:pt x="655003" y="202260"/>
                  </a:lnTo>
                  <a:lnTo>
                    <a:pt x="655003" y="200228"/>
                  </a:lnTo>
                  <a:lnTo>
                    <a:pt x="655003" y="200876"/>
                  </a:lnTo>
                  <a:lnTo>
                    <a:pt x="655003" y="200228"/>
                  </a:lnTo>
                  <a:lnTo>
                    <a:pt x="655054" y="200876"/>
                  </a:lnTo>
                  <a:lnTo>
                    <a:pt x="655054" y="202959"/>
                  </a:lnTo>
                  <a:lnTo>
                    <a:pt x="655054" y="200876"/>
                  </a:lnTo>
                  <a:lnTo>
                    <a:pt x="655054" y="202959"/>
                  </a:lnTo>
                  <a:lnTo>
                    <a:pt x="655143" y="203594"/>
                  </a:lnTo>
                  <a:lnTo>
                    <a:pt x="655143" y="204292"/>
                  </a:lnTo>
                  <a:lnTo>
                    <a:pt x="655143" y="202959"/>
                  </a:lnTo>
                  <a:lnTo>
                    <a:pt x="655143" y="203594"/>
                  </a:lnTo>
                  <a:lnTo>
                    <a:pt x="655143" y="202959"/>
                  </a:lnTo>
                  <a:lnTo>
                    <a:pt x="655143" y="203594"/>
                  </a:lnTo>
                  <a:lnTo>
                    <a:pt x="655193" y="204292"/>
                  </a:lnTo>
                  <a:lnTo>
                    <a:pt x="655193" y="202959"/>
                  </a:lnTo>
                  <a:lnTo>
                    <a:pt x="655193" y="204292"/>
                  </a:lnTo>
                  <a:lnTo>
                    <a:pt x="655193" y="203594"/>
                  </a:lnTo>
                  <a:lnTo>
                    <a:pt x="655244" y="204292"/>
                  </a:lnTo>
                  <a:lnTo>
                    <a:pt x="655244" y="204990"/>
                  </a:lnTo>
                  <a:lnTo>
                    <a:pt x="655244" y="204292"/>
                  </a:lnTo>
                  <a:lnTo>
                    <a:pt x="655244" y="204990"/>
                  </a:lnTo>
                  <a:lnTo>
                    <a:pt x="655244" y="204292"/>
                  </a:lnTo>
                  <a:lnTo>
                    <a:pt x="655244" y="204990"/>
                  </a:lnTo>
                  <a:lnTo>
                    <a:pt x="655244" y="204292"/>
                  </a:lnTo>
                  <a:lnTo>
                    <a:pt x="655295" y="204292"/>
                  </a:lnTo>
                  <a:lnTo>
                    <a:pt x="655295" y="204990"/>
                  </a:lnTo>
                  <a:lnTo>
                    <a:pt x="655397" y="204990"/>
                  </a:lnTo>
                  <a:lnTo>
                    <a:pt x="655397" y="204292"/>
                  </a:lnTo>
                  <a:lnTo>
                    <a:pt x="655397" y="204990"/>
                  </a:lnTo>
                  <a:lnTo>
                    <a:pt x="655397" y="204292"/>
                  </a:lnTo>
                  <a:lnTo>
                    <a:pt x="655447" y="204292"/>
                  </a:lnTo>
                  <a:lnTo>
                    <a:pt x="655447" y="202959"/>
                  </a:lnTo>
                  <a:lnTo>
                    <a:pt x="655498" y="202959"/>
                  </a:lnTo>
                  <a:lnTo>
                    <a:pt x="655498" y="200228"/>
                  </a:lnTo>
                  <a:lnTo>
                    <a:pt x="655498" y="200876"/>
                  </a:lnTo>
                  <a:lnTo>
                    <a:pt x="655600" y="202260"/>
                  </a:lnTo>
                  <a:lnTo>
                    <a:pt x="655600" y="202959"/>
                  </a:lnTo>
                  <a:lnTo>
                    <a:pt x="655600" y="200228"/>
                  </a:lnTo>
                  <a:lnTo>
                    <a:pt x="655600" y="202959"/>
                  </a:lnTo>
                  <a:lnTo>
                    <a:pt x="655638" y="202959"/>
                  </a:lnTo>
                  <a:lnTo>
                    <a:pt x="655638" y="202260"/>
                  </a:lnTo>
                  <a:lnTo>
                    <a:pt x="655638" y="202959"/>
                  </a:lnTo>
                  <a:lnTo>
                    <a:pt x="655638" y="202260"/>
                  </a:lnTo>
                  <a:lnTo>
                    <a:pt x="655638" y="203594"/>
                  </a:lnTo>
                  <a:lnTo>
                    <a:pt x="655689" y="202959"/>
                  </a:lnTo>
                  <a:lnTo>
                    <a:pt x="655689" y="203594"/>
                  </a:lnTo>
                  <a:lnTo>
                    <a:pt x="655689" y="202959"/>
                  </a:lnTo>
                  <a:lnTo>
                    <a:pt x="655689" y="203594"/>
                  </a:lnTo>
                  <a:lnTo>
                    <a:pt x="655689" y="202959"/>
                  </a:lnTo>
                  <a:lnTo>
                    <a:pt x="655689" y="203594"/>
                  </a:lnTo>
                  <a:lnTo>
                    <a:pt x="655689" y="202959"/>
                  </a:lnTo>
                  <a:lnTo>
                    <a:pt x="655689" y="203594"/>
                  </a:lnTo>
                  <a:lnTo>
                    <a:pt x="655740" y="203594"/>
                  </a:lnTo>
                  <a:lnTo>
                    <a:pt x="655740" y="204292"/>
                  </a:lnTo>
                  <a:lnTo>
                    <a:pt x="655740" y="203594"/>
                  </a:lnTo>
                  <a:lnTo>
                    <a:pt x="655740" y="204292"/>
                  </a:lnTo>
                  <a:lnTo>
                    <a:pt x="655740" y="203594"/>
                  </a:lnTo>
                  <a:lnTo>
                    <a:pt x="655740" y="204292"/>
                  </a:lnTo>
                  <a:lnTo>
                    <a:pt x="655841" y="204292"/>
                  </a:lnTo>
                  <a:lnTo>
                    <a:pt x="655841" y="203594"/>
                  </a:lnTo>
                  <a:lnTo>
                    <a:pt x="655841" y="204990"/>
                  </a:lnTo>
                  <a:lnTo>
                    <a:pt x="655841" y="204292"/>
                  </a:lnTo>
                  <a:lnTo>
                    <a:pt x="655892" y="204292"/>
                  </a:lnTo>
                  <a:lnTo>
                    <a:pt x="655892" y="203594"/>
                  </a:lnTo>
                  <a:lnTo>
                    <a:pt x="655892" y="204292"/>
                  </a:lnTo>
                  <a:lnTo>
                    <a:pt x="655892" y="203594"/>
                  </a:lnTo>
                  <a:lnTo>
                    <a:pt x="655943" y="203594"/>
                  </a:lnTo>
                  <a:lnTo>
                    <a:pt x="655943" y="202260"/>
                  </a:lnTo>
                  <a:lnTo>
                    <a:pt x="656044" y="202260"/>
                  </a:lnTo>
                  <a:lnTo>
                    <a:pt x="656044" y="200876"/>
                  </a:lnTo>
                  <a:lnTo>
                    <a:pt x="656044" y="202260"/>
                  </a:lnTo>
                  <a:lnTo>
                    <a:pt x="656044" y="200228"/>
                  </a:lnTo>
                  <a:lnTo>
                    <a:pt x="656044" y="202260"/>
                  </a:lnTo>
                  <a:lnTo>
                    <a:pt x="656095" y="202260"/>
                  </a:lnTo>
                  <a:lnTo>
                    <a:pt x="656095" y="202959"/>
                  </a:lnTo>
                  <a:lnTo>
                    <a:pt x="656095" y="199530"/>
                  </a:lnTo>
                  <a:lnTo>
                    <a:pt x="656095" y="202959"/>
                  </a:lnTo>
                  <a:lnTo>
                    <a:pt x="656146" y="202959"/>
                  </a:lnTo>
                  <a:lnTo>
                    <a:pt x="656146" y="200876"/>
                  </a:lnTo>
                  <a:lnTo>
                    <a:pt x="656146" y="202959"/>
                  </a:lnTo>
                  <a:lnTo>
                    <a:pt x="656146" y="202260"/>
                  </a:lnTo>
                  <a:lnTo>
                    <a:pt x="656146" y="202959"/>
                  </a:lnTo>
                  <a:lnTo>
                    <a:pt x="656184" y="202260"/>
                  </a:lnTo>
                  <a:lnTo>
                    <a:pt x="656184" y="202959"/>
                  </a:lnTo>
                  <a:lnTo>
                    <a:pt x="656286" y="202959"/>
                  </a:lnTo>
                  <a:lnTo>
                    <a:pt x="656286" y="202260"/>
                  </a:lnTo>
                  <a:lnTo>
                    <a:pt x="656286" y="202959"/>
                  </a:lnTo>
                  <a:lnTo>
                    <a:pt x="656286" y="202260"/>
                  </a:lnTo>
                  <a:lnTo>
                    <a:pt x="656286" y="203594"/>
                  </a:lnTo>
                  <a:lnTo>
                    <a:pt x="656337" y="203594"/>
                  </a:lnTo>
                  <a:lnTo>
                    <a:pt x="656337" y="204292"/>
                  </a:lnTo>
                  <a:lnTo>
                    <a:pt x="656337" y="203594"/>
                  </a:lnTo>
                  <a:lnTo>
                    <a:pt x="656337" y="204292"/>
                  </a:lnTo>
                  <a:lnTo>
                    <a:pt x="656337" y="203594"/>
                  </a:lnTo>
                  <a:lnTo>
                    <a:pt x="656387" y="203594"/>
                  </a:lnTo>
                  <a:lnTo>
                    <a:pt x="656387" y="204292"/>
                  </a:lnTo>
                  <a:lnTo>
                    <a:pt x="656387" y="203594"/>
                  </a:lnTo>
                  <a:lnTo>
                    <a:pt x="656387" y="204292"/>
                  </a:lnTo>
                  <a:lnTo>
                    <a:pt x="656387" y="203594"/>
                  </a:lnTo>
                  <a:lnTo>
                    <a:pt x="656387" y="204292"/>
                  </a:lnTo>
                  <a:lnTo>
                    <a:pt x="656489" y="204292"/>
                  </a:lnTo>
                  <a:lnTo>
                    <a:pt x="656489" y="202260"/>
                  </a:lnTo>
                  <a:lnTo>
                    <a:pt x="656540" y="202260"/>
                  </a:lnTo>
                  <a:lnTo>
                    <a:pt x="656540" y="200228"/>
                  </a:lnTo>
                  <a:lnTo>
                    <a:pt x="656540" y="202260"/>
                  </a:lnTo>
                  <a:lnTo>
                    <a:pt x="656591" y="202260"/>
                  </a:lnTo>
                  <a:lnTo>
                    <a:pt x="656591" y="200228"/>
                  </a:lnTo>
                  <a:lnTo>
                    <a:pt x="656591" y="203594"/>
                  </a:lnTo>
                  <a:lnTo>
                    <a:pt x="656591" y="202260"/>
                  </a:lnTo>
                  <a:lnTo>
                    <a:pt x="656641" y="200876"/>
                  </a:lnTo>
                  <a:lnTo>
                    <a:pt x="656641" y="202260"/>
                  </a:lnTo>
                  <a:lnTo>
                    <a:pt x="656641" y="200876"/>
                  </a:lnTo>
                  <a:lnTo>
                    <a:pt x="656641" y="202959"/>
                  </a:lnTo>
                  <a:lnTo>
                    <a:pt x="656730" y="202959"/>
                  </a:lnTo>
                  <a:lnTo>
                    <a:pt x="656730" y="200876"/>
                  </a:lnTo>
                  <a:lnTo>
                    <a:pt x="656730" y="202260"/>
                  </a:lnTo>
                  <a:lnTo>
                    <a:pt x="656781" y="202260"/>
                  </a:lnTo>
                  <a:lnTo>
                    <a:pt x="656781" y="203594"/>
                  </a:lnTo>
                  <a:lnTo>
                    <a:pt x="656781" y="202959"/>
                  </a:lnTo>
                  <a:lnTo>
                    <a:pt x="656832" y="202959"/>
                  </a:lnTo>
                  <a:lnTo>
                    <a:pt x="656832" y="203594"/>
                  </a:lnTo>
                  <a:lnTo>
                    <a:pt x="656832" y="202959"/>
                  </a:lnTo>
                  <a:lnTo>
                    <a:pt x="656883" y="202959"/>
                  </a:lnTo>
                  <a:lnTo>
                    <a:pt x="656883" y="203594"/>
                  </a:lnTo>
                  <a:lnTo>
                    <a:pt x="656883" y="202959"/>
                  </a:lnTo>
                  <a:lnTo>
                    <a:pt x="656883" y="203594"/>
                  </a:lnTo>
                  <a:lnTo>
                    <a:pt x="656883" y="202959"/>
                  </a:lnTo>
                  <a:lnTo>
                    <a:pt x="656984" y="202959"/>
                  </a:lnTo>
                  <a:lnTo>
                    <a:pt x="656984" y="202260"/>
                  </a:lnTo>
                  <a:lnTo>
                    <a:pt x="657035" y="202260"/>
                  </a:lnTo>
                  <a:lnTo>
                    <a:pt x="657035" y="200228"/>
                  </a:lnTo>
                  <a:lnTo>
                    <a:pt x="657035" y="202959"/>
                  </a:lnTo>
                  <a:lnTo>
                    <a:pt x="657035" y="200876"/>
                  </a:lnTo>
                  <a:lnTo>
                    <a:pt x="657086" y="200876"/>
                  </a:lnTo>
                  <a:lnTo>
                    <a:pt x="657086" y="200228"/>
                  </a:lnTo>
                  <a:lnTo>
                    <a:pt x="657086" y="203594"/>
                  </a:lnTo>
                  <a:lnTo>
                    <a:pt x="657086" y="202260"/>
                  </a:lnTo>
                  <a:lnTo>
                    <a:pt x="657187" y="202260"/>
                  </a:lnTo>
                  <a:lnTo>
                    <a:pt x="657187" y="203594"/>
                  </a:lnTo>
                  <a:lnTo>
                    <a:pt x="657187" y="202959"/>
                  </a:lnTo>
                  <a:lnTo>
                    <a:pt x="657226" y="202959"/>
                  </a:lnTo>
                  <a:lnTo>
                    <a:pt x="657226" y="203594"/>
                  </a:lnTo>
                  <a:lnTo>
                    <a:pt x="657226" y="202959"/>
                  </a:lnTo>
                  <a:lnTo>
                    <a:pt x="657226" y="203594"/>
                  </a:lnTo>
                  <a:lnTo>
                    <a:pt x="657226" y="202959"/>
                  </a:lnTo>
                  <a:lnTo>
                    <a:pt x="657276" y="202959"/>
                  </a:lnTo>
                  <a:lnTo>
                    <a:pt x="657276" y="203594"/>
                  </a:lnTo>
                  <a:lnTo>
                    <a:pt x="657276" y="202959"/>
                  </a:lnTo>
                  <a:lnTo>
                    <a:pt x="657276" y="203594"/>
                  </a:lnTo>
                  <a:lnTo>
                    <a:pt x="657327" y="203594"/>
                  </a:lnTo>
                  <a:lnTo>
                    <a:pt x="657327" y="204292"/>
                  </a:lnTo>
                  <a:lnTo>
                    <a:pt x="657327" y="203594"/>
                  </a:lnTo>
                  <a:lnTo>
                    <a:pt x="657327" y="204292"/>
                  </a:lnTo>
                  <a:lnTo>
                    <a:pt x="657327" y="203594"/>
                  </a:lnTo>
                  <a:lnTo>
                    <a:pt x="657429" y="203594"/>
                  </a:lnTo>
                  <a:lnTo>
                    <a:pt x="657429" y="204292"/>
                  </a:lnTo>
                  <a:lnTo>
                    <a:pt x="657429" y="203594"/>
                  </a:lnTo>
                  <a:lnTo>
                    <a:pt x="657429" y="204292"/>
                  </a:lnTo>
                  <a:lnTo>
                    <a:pt x="657429" y="203594"/>
                  </a:lnTo>
                  <a:lnTo>
                    <a:pt x="657429" y="204292"/>
                  </a:lnTo>
                  <a:lnTo>
                    <a:pt x="657429" y="203594"/>
                  </a:lnTo>
                  <a:lnTo>
                    <a:pt x="657480" y="203594"/>
                  </a:lnTo>
                  <a:lnTo>
                    <a:pt x="657480" y="202260"/>
                  </a:lnTo>
                  <a:lnTo>
                    <a:pt x="657480" y="202959"/>
                  </a:lnTo>
                  <a:lnTo>
                    <a:pt x="657480" y="202260"/>
                  </a:lnTo>
                  <a:lnTo>
                    <a:pt x="657530" y="202260"/>
                  </a:lnTo>
                  <a:lnTo>
                    <a:pt x="657530" y="202959"/>
                  </a:lnTo>
                  <a:lnTo>
                    <a:pt x="657530" y="202260"/>
                  </a:lnTo>
                  <a:lnTo>
                    <a:pt x="657632" y="202260"/>
                  </a:lnTo>
                  <a:lnTo>
                    <a:pt x="657632" y="204292"/>
                  </a:lnTo>
                  <a:lnTo>
                    <a:pt x="657632" y="203594"/>
                  </a:lnTo>
                  <a:lnTo>
                    <a:pt x="657683" y="203594"/>
                  </a:lnTo>
                  <a:lnTo>
                    <a:pt x="657683" y="204292"/>
                  </a:lnTo>
                  <a:lnTo>
                    <a:pt x="657683" y="203594"/>
                  </a:lnTo>
                  <a:lnTo>
                    <a:pt x="657733" y="203594"/>
                  </a:lnTo>
                  <a:lnTo>
                    <a:pt x="657733" y="204292"/>
                  </a:lnTo>
                  <a:lnTo>
                    <a:pt x="657733" y="203594"/>
                  </a:lnTo>
                  <a:lnTo>
                    <a:pt x="657733" y="204292"/>
                  </a:lnTo>
                  <a:lnTo>
                    <a:pt x="657733" y="203594"/>
                  </a:lnTo>
                  <a:lnTo>
                    <a:pt x="657733" y="204292"/>
                  </a:lnTo>
                  <a:lnTo>
                    <a:pt x="657733" y="203594"/>
                  </a:lnTo>
                  <a:lnTo>
                    <a:pt x="657733" y="204292"/>
                  </a:lnTo>
                  <a:lnTo>
                    <a:pt x="657733" y="203594"/>
                  </a:lnTo>
                  <a:lnTo>
                    <a:pt x="657772" y="203594"/>
                  </a:lnTo>
                  <a:lnTo>
                    <a:pt x="657772" y="204292"/>
                  </a:lnTo>
                  <a:lnTo>
                    <a:pt x="657772" y="203594"/>
                  </a:lnTo>
                  <a:lnTo>
                    <a:pt x="657772" y="204292"/>
                  </a:lnTo>
                  <a:lnTo>
                    <a:pt x="657772" y="203594"/>
                  </a:lnTo>
                  <a:lnTo>
                    <a:pt x="657772" y="204292"/>
                  </a:lnTo>
                  <a:lnTo>
                    <a:pt x="657772" y="203594"/>
                  </a:lnTo>
                  <a:lnTo>
                    <a:pt x="657873" y="203594"/>
                  </a:lnTo>
                  <a:lnTo>
                    <a:pt x="657873" y="204292"/>
                  </a:lnTo>
                  <a:lnTo>
                    <a:pt x="657873" y="203594"/>
                  </a:lnTo>
                  <a:lnTo>
                    <a:pt x="657873" y="204292"/>
                  </a:lnTo>
                  <a:lnTo>
                    <a:pt x="657924" y="203594"/>
                  </a:lnTo>
                  <a:lnTo>
                    <a:pt x="657924" y="204292"/>
                  </a:lnTo>
                  <a:lnTo>
                    <a:pt x="657924" y="202959"/>
                  </a:lnTo>
                  <a:lnTo>
                    <a:pt x="657924" y="203594"/>
                  </a:lnTo>
                  <a:lnTo>
                    <a:pt x="657924" y="202959"/>
                  </a:lnTo>
                  <a:lnTo>
                    <a:pt x="657975" y="202959"/>
                  </a:lnTo>
                  <a:lnTo>
                    <a:pt x="657975" y="200876"/>
                  </a:lnTo>
                  <a:lnTo>
                    <a:pt x="658076" y="200876"/>
                  </a:lnTo>
                  <a:lnTo>
                    <a:pt x="658076" y="202959"/>
                  </a:lnTo>
                  <a:lnTo>
                    <a:pt x="658076" y="200876"/>
                  </a:lnTo>
                  <a:lnTo>
                    <a:pt x="658076" y="202260"/>
                  </a:lnTo>
                  <a:lnTo>
                    <a:pt x="658127" y="202959"/>
                  </a:lnTo>
                  <a:lnTo>
                    <a:pt x="658127" y="203594"/>
                  </a:lnTo>
                  <a:lnTo>
                    <a:pt x="658127" y="202260"/>
                  </a:lnTo>
                  <a:lnTo>
                    <a:pt x="658127" y="203594"/>
                  </a:lnTo>
                  <a:lnTo>
                    <a:pt x="658178" y="203594"/>
                  </a:lnTo>
                  <a:lnTo>
                    <a:pt x="658178" y="204292"/>
                  </a:lnTo>
                  <a:lnTo>
                    <a:pt x="658178" y="202959"/>
                  </a:lnTo>
                  <a:lnTo>
                    <a:pt x="658178" y="204292"/>
                  </a:lnTo>
                  <a:lnTo>
                    <a:pt x="658229" y="203594"/>
                  </a:lnTo>
                  <a:lnTo>
                    <a:pt x="658229" y="204292"/>
                  </a:lnTo>
                  <a:lnTo>
                    <a:pt x="658229" y="203594"/>
                  </a:lnTo>
                  <a:lnTo>
                    <a:pt x="658229" y="204292"/>
                  </a:lnTo>
                  <a:lnTo>
                    <a:pt x="658229" y="203594"/>
                  </a:lnTo>
                  <a:lnTo>
                    <a:pt x="658229" y="204990"/>
                  </a:lnTo>
                  <a:lnTo>
                    <a:pt x="658229" y="204292"/>
                  </a:lnTo>
                  <a:lnTo>
                    <a:pt x="658318" y="204292"/>
                  </a:lnTo>
                  <a:lnTo>
                    <a:pt x="658318" y="204990"/>
                  </a:lnTo>
                  <a:lnTo>
                    <a:pt x="658318" y="204292"/>
                  </a:lnTo>
                  <a:lnTo>
                    <a:pt x="658318" y="204990"/>
                  </a:lnTo>
                  <a:lnTo>
                    <a:pt x="658318" y="204292"/>
                  </a:lnTo>
                  <a:lnTo>
                    <a:pt x="658318" y="204990"/>
                  </a:lnTo>
                  <a:lnTo>
                    <a:pt x="658318" y="204292"/>
                  </a:lnTo>
                  <a:lnTo>
                    <a:pt x="658368" y="204292"/>
                  </a:lnTo>
                  <a:lnTo>
                    <a:pt x="658368" y="204990"/>
                  </a:lnTo>
                  <a:lnTo>
                    <a:pt x="658368" y="204292"/>
                  </a:lnTo>
                  <a:lnTo>
                    <a:pt x="658368" y="204990"/>
                  </a:lnTo>
                  <a:lnTo>
                    <a:pt x="658368" y="203594"/>
                  </a:lnTo>
                  <a:lnTo>
                    <a:pt x="658368" y="204292"/>
                  </a:lnTo>
                  <a:lnTo>
                    <a:pt x="658419" y="204292"/>
                  </a:lnTo>
                  <a:lnTo>
                    <a:pt x="658419" y="203594"/>
                  </a:lnTo>
                  <a:lnTo>
                    <a:pt x="658470" y="203594"/>
                  </a:lnTo>
                  <a:lnTo>
                    <a:pt x="658470" y="200876"/>
                  </a:lnTo>
                  <a:lnTo>
                    <a:pt x="658470" y="202959"/>
                  </a:lnTo>
                  <a:lnTo>
                    <a:pt x="658572" y="202959"/>
                  </a:lnTo>
                  <a:lnTo>
                    <a:pt x="658572" y="202260"/>
                  </a:lnTo>
                  <a:lnTo>
                    <a:pt x="658572" y="202959"/>
                  </a:lnTo>
                  <a:lnTo>
                    <a:pt x="658572" y="202260"/>
                  </a:lnTo>
                  <a:lnTo>
                    <a:pt x="658572" y="204292"/>
                  </a:lnTo>
                  <a:lnTo>
                    <a:pt x="658572" y="203594"/>
                  </a:lnTo>
                  <a:lnTo>
                    <a:pt x="658622" y="204292"/>
                  </a:lnTo>
                  <a:lnTo>
                    <a:pt x="658622" y="203594"/>
                  </a:lnTo>
                  <a:lnTo>
                    <a:pt x="658622" y="204292"/>
                  </a:lnTo>
                  <a:lnTo>
                    <a:pt x="658673" y="204292"/>
                  </a:lnTo>
                  <a:lnTo>
                    <a:pt x="658673" y="204990"/>
                  </a:lnTo>
                  <a:lnTo>
                    <a:pt x="658673" y="204292"/>
                  </a:lnTo>
                  <a:lnTo>
                    <a:pt x="658673" y="204990"/>
                  </a:lnTo>
                  <a:lnTo>
                    <a:pt x="658673" y="204292"/>
                  </a:lnTo>
                  <a:lnTo>
                    <a:pt x="658775" y="204292"/>
                  </a:lnTo>
                  <a:lnTo>
                    <a:pt x="658775" y="203594"/>
                  </a:lnTo>
                  <a:lnTo>
                    <a:pt x="658775" y="204990"/>
                  </a:lnTo>
                  <a:lnTo>
                    <a:pt x="658775" y="204292"/>
                  </a:lnTo>
                  <a:lnTo>
                    <a:pt x="658813" y="204990"/>
                  </a:lnTo>
                  <a:lnTo>
                    <a:pt x="658813" y="206324"/>
                  </a:lnTo>
                  <a:lnTo>
                    <a:pt x="658813" y="204292"/>
                  </a:lnTo>
                  <a:lnTo>
                    <a:pt x="658813" y="204990"/>
                  </a:lnTo>
                  <a:lnTo>
                    <a:pt x="658813" y="204292"/>
                  </a:lnTo>
                  <a:lnTo>
                    <a:pt x="658813" y="204990"/>
                  </a:lnTo>
                  <a:lnTo>
                    <a:pt x="658813" y="204292"/>
                  </a:lnTo>
                  <a:lnTo>
                    <a:pt x="658864" y="204292"/>
                  </a:lnTo>
                  <a:lnTo>
                    <a:pt x="658864" y="204990"/>
                  </a:lnTo>
                  <a:lnTo>
                    <a:pt x="658864" y="204292"/>
                  </a:lnTo>
                  <a:lnTo>
                    <a:pt x="658915" y="204292"/>
                  </a:lnTo>
                  <a:lnTo>
                    <a:pt x="658915" y="202260"/>
                  </a:lnTo>
                  <a:lnTo>
                    <a:pt x="659016" y="202260"/>
                  </a:lnTo>
                  <a:lnTo>
                    <a:pt x="659016" y="202959"/>
                  </a:lnTo>
                  <a:lnTo>
                    <a:pt x="659016" y="200876"/>
                  </a:lnTo>
                  <a:lnTo>
                    <a:pt x="659016" y="202260"/>
                  </a:lnTo>
                  <a:lnTo>
                    <a:pt x="659016" y="200876"/>
                  </a:lnTo>
                  <a:lnTo>
                    <a:pt x="659067" y="200876"/>
                  </a:lnTo>
                  <a:lnTo>
                    <a:pt x="659067" y="203594"/>
                  </a:lnTo>
                  <a:lnTo>
                    <a:pt x="659067" y="202959"/>
                  </a:lnTo>
                  <a:lnTo>
                    <a:pt x="659118" y="202959"/>
                  </a:lnTo>
                  <a:lnTo>
                    <a:pt x="659118" y="203594"/>
                  </a:lnTo>
                  <a:lnTo>
                    <a:pt x="659219" y="203594"/>
                  </a:lnTo>
                  <a:lnTo>
                    <a:pt x="659219" y="204292"/>
                  </a:lnTo>
                  <a:lnTo>
                    <a:pt x="659219" y="203594"/>
                  </a:lnTo>
                  <a:lnTo>
                    <a:pt x="659219" y="204292"/>
                  </a:lnTo>
                  <a:lnTo>
                    <a:pt x="659270" y="204292"/>
                  </a:lnTo>
                  <a:lnTo>
                    <a:pt x="659270" y="203594"/>
                  </a:lnTo>
                  <a:lnTo>
                    <a:pt x="659270" y="204292"/>
                  </a:lnTo>
                  <a:lnTo>
                    <a:pt x="659270" y="203594"/>
                  </a:lnTo>
                  <a:lnTo>
                    <a:pt x="659270" y="204990"/>
                  </a:lnTo>
                  <a:lnTo>
                    <a:pt x="659270" y="204292"/>
                  </a:lnTo>
                  <a:lnTo>
                    <a:pt x="659321" y="204292"/>
                  </a:lnTo>
                  <a:lnTo>
                    <a:pt x="659321" y="204990"/>
                  </a:lnTo>
                  <a:lnTo>
                    <a:pt x="659321" y="204292"/>
                  </a:lnTo>
                  <a:lnTo>
                    <a:pt x="659321" y="204990"/>
                  </a:lnTo>
                  <a:lnTo>
                    <a:pt x="659321" y="204292"/>
                  </a:lnTo>
                  <a:lnTo>
                    <a:pt x="659321" y="204990"/>
                  </a:lnTo>
                  <a:lnTo>
                    <a:pt x="659321" y="204292"/>
                  </a:lnTo>
                  <a:lnTo>
                    <a:pt x="659321" y="204990"/>
                  </a:lnTo>
                  <a:lnTo>
                    <a:pt x="659321" y="204292"/>
                  </a:lnTo>
                  <a:lnTo>
                    <a:pt x="659321" y="204990"/>
                  </a:lnTo>
                  <a:lnTo>
                    <a:pt x="659321" y="204292"/>
                  </a:lnTo>
                  <a:lnTo>
                    <a:pt x="659359" y="204990"/>
                  </a:lnTo>
                  <a:lnTo>
                    <a:pt x="659359" y="204292"/>
                  </a:lnTo>
                  <a:lnTo>
                    <a:pt x="659359" y="204990"/>
                  </a:lnTo>
                  <a:lnTo>
                    <a:pt x="659359" y="204292"/>
                  </a:lnTo>
                  <a:lnTo>
                    <a:pt x="659359" y="204990"/>
                  </a:lnTo>
                  <a:lnTo>
                    <a:pt x="659359" y="204292"/>
                  </a:lnTo>
                  <a:lnTo>
                    <a:pt x="659359" y="204990"/>
                  </a:lnTo>
                  <a:lnTo>
                    <a:pt x="659359" y="204292"/>
                  </a:lnTo>
                  <a:lnTo>
                    <a:pt x="659461" y="204292"/>
                  </a:lnTo>
                  <a:lnTo>
                    <a:pt x="659461" y="203594"/>
                  </a:lnTo>
                  <a:lnTo>
                    <a:pt x="659461" y="204292"/>
                  </a:lnTo>
                  <a:lnTo>
                    <a:pt x="659461" y="203594"/>
                  </a:lnTo>
                  <a:lnTo>
                    <a:pt x="659461" y="204292"/>
                  </a:lnTo>
                  <a:lnTo>
                    <a:pt x="659461" y="202260"/>
                  </a:lnTo>
                  <a:lnTo>
                    <a:pt x="659512" y="202260"/>
                  </a:lnTo>
                  <a:lnTo>
                    <a:pt x="659512" y="200228"/>
                  </a:lnTo>
                  <a:lnTo>
                    <a:pt x="659512" y="202260"/>
                  </a:lnTo>
                  <a:lnTo>
                    <a:pt x="659512" y="200876"/>
                  </a:lnTo>
                  <a:lnTo>
                    <a:pt x="659562" y="202260"/>
                  </a:lnTo>
                  <a:lnTo>
                    <a:pt x="659562" y="200228"/>
                  </a:lnTo>
                  <a:lnTo>
                    <a:pt x="659562" y="202959"/>
                  </a:lnTo>
                  <a:lnTo>
                    <a:pt x="659664" y="202959"/>
                  </a:lnTo>
                  <a:lnTo>
                    <a:pt x="659664" y="202260"/>
                  </a:lnTo>
                  <a:lnTo>
                    <a:pt x="659664" y="203594"/>
                  </a:lnTo>
                  <a:lnTo>
                    <a:pt x="659664" y="202959"/>
                  </a:lnTo>
                  <a:lnTo>
                    <a:pt x="659664" y="203594"/>
                  </a:lnTo>
                  <a:lnTo>
                    <a:pt x="659664" y="202959"/>
                  </a:lnTo>
                  <a:lnTo>
                    <a:pt x="659715" y="202959"/>
                  </a:lnTo>
                  <a:lnTo>
                    <a:pt x="659715" y="203594"/>
                  </a:lnTo>
                  <a:lnTo>
                    <a:pt x="659715" y="202959"/>
                  </a:lnTo>
                  <a:lnTo>
                    <a:pt x="659715" y="203594"/>
                  </a:lnTo>
                  <a:lnTo>
                    <a:pt x="659715" y="202959"/>
                  </a:lnTo>
                  <a:lnTo>
                    <a:pt x="659715" y="203594"/>
                  </a:lnTo>
                  <a:lnTo>
                    <a:pt x="659715" y="202959"/>
                  </a:lnTo>
                  <a:lnTo>
                    <a:pt x="659715" y="203594"/>
                  </a:lnTo>
                  <a:lnTo>
                    <a:pt x="659715" y="202959"/>
                  </a:lnTo>
                  <a:lnTo>
                    <a:pt x="659766" y="202959"/>
                  </a:lnTo>
                  <a:lnTo>
                    <a:pt x="659766" y="203594"/>
                  </a:lnTo>
                  <a:lnTo>
                    <a:pt x="659766" y="202959"/>
                  </a:lnTo>
                  <a:lnTo>
                    <a:pt x="659766" y="203594"/>
                  </a:lnTo>
                  <a:lnTo>
                    <a:pt x="659766" y="202959"/>
                  </a:lnTo>
                  <a:lnTo>
                    <a:pt x="659766" y="203594"/>
                  </a:lnTo>
                  <a:lnTo>
                    <a:pt x="659816" y="203594"/>
                  </a:lnTo>
                  <a:lnTo>
                    <a:pt x="659816" y="204292"/>
                  </a:lnTo>
                  <a:lnTo>
                    <a:pt x="659816" y="203594"/>
                  </a:lnTo>
                  <a:lnTo>
                    <a:pt x="659816" y="204292"/>
                  </a:lnTo>
                  <a:lnTo>
                    <a:pt x="659816" y="203594"/>
                  </a:lnTo>
                  <a:lnTo>
                    <a:pt x="659905" y="203594"/>
                  </a:lnTo>
                  <a:lnTo>
                    <a:pt x="659905" y="204292"/>
                  </a:lnTo>
                  <a:lnTo>
                    <a:pt x="659905" y="203594"/>
                  </a:lnTo>
                  <a:lnTo>
                    <a:pt x="659905" y="204292"/>
                  </a:lnTo>
                  <a:lnTo>
                    <a:pt x="659905" y="203594"/>
                  </a:lnTo>
                  <a:lnTo>
                    <a:pt x="659956" y="203594"/>
                  </a:lnTo>
                  <a:lnTo>
                    <a:pt x="659956" y="202260"/>
                  </a:lnTo>
                  <a:lnTo>
                    <a:pt x="660007" y="202959"/>
                  </a:lnTo>
                  <a:lnTo>
                    <a:pt x="660007" y="202260"/>
                  </a:lnTo>
                  <a:lnTo>
                    <a:pt x="660007" y="203594"/>
                  </a:lnTo>
                  <a:lnTo>
                    <a:pt x="660007" y="202260"/>
                  </a:lnTo>
                  <a:lnTo>
                    <a:pt x="660007" y="202959"/>
                  </a:lnTo>
                  <a:lnTo>
                    <a:pt x="660058" y="202959"/>
                  </a:lnTo>
                  <a:lnTo>
                    <a:pt x="660058" y="204292"/>
                  </a:lnTo>
                  <a:lnTo>
                    <a:pt x="660058" y="203594"/>
                  </a:lnTo>
                  <a:lnTo>
                    <a:pt x="660058" y="204292"/>
                  </a:lnTo>
                  <a:lnTo>
                    <a:pt x="660058" y="202959"/>
                  </a:lnTo>
                  <a:lnTo>
                    <a:pt x="660058" y="203594"/>
                  </a:lnTo>
                  <a:lnTo>
                    <a:pt x="660159" y="203594"/>
                  </a:lnTo>
                  <a:lnTo>
                    <a:pt x="660159" y="204292"/>
                  </a:lnTo>
                  <a:lnTo>
                    <a:pt x="660159" y="203594"/>
                  </a:lnTo>
                  <a:lnTo>
                    <a:pt x="660210" y="204292"/>
                  </a:lnTo>
                  <a:lnTo>
                    <a:pt x="660210" y="203594"/>
                  </a:lnTo>
                  <a:lnTo>
                    <a:pt x="660210" y="204292"/>
                  </a:lnTo>
                  <a:lnTo>
                    <a:pt x="660210" y="203594"/>
                  </a:lnTo>
                  <a:lnTo>
                    <a:pt x="660210" y="204292"/>
                  </a:lnTo>
                  <a:lnTo>
                    <a:pt x="660210" y="203594"/>
                  </a:lnTo>
                  <a:lnTo>
                    <a:pt x="660210" y="204292"/>
                  </a:lnTo>
                  <a:lnTo>
                    <a:pt x="660210" y="203594"/>
                  </a:lnTo>
                  <a:lnTo>
                    <a:pt x="660210" y="204292"/>
                  </a:lnTo>
                  <a:lnTo>
                    <a:pt x="660261" y="204292"/>
                  </a:lnTo>
                  <a:lnTo>
                    <a:pt x="660261" y="203594"/>
                  </a:lnTo>
                  <a:lnTo>
                    <a:pt x="660261" y="204990"/>
                  </a:lnTo>
                  <a:lnTo>
                    <a:pt x="660261" y="204292"/>
                  </a:lnTo>
                  <a:lnTo>
                    <a:pt x="660261" y="204990"/>
                  </a:lnTo>
                  <a:lnTo>
                    <a:pt x="660362" y="204292"/>
                  </a:lnTo>
                  <a:lnTo>
                    <a:pt x="660362" y="204990"/>
                  </a:lnTo>
                  <a:lnTo>
                    <a:pt x="660362" y="204292"/>
                  </a:lnTo>
                  <a:lnTo>
                    <a:pt x="660362" y="204990"/>
                  </a:lnTo>
                  <a:lnTo>
                    <a:pt x="660362" y="204292"/>
                  </a:lnTo>
                  <a:lnTo>
                    <a:pt x="660362" y="204990"/>
                  </a:lnTo>
                  <a:lnTo>
                    <a:pt x="660362" y="204292"/>
                  </a:lnTo>
                  <a:lnTo>
                    <a:pt x="660401" y="204292"/>
                  </a:lnTo>
                  <a:lnTo>
                    <a:pt x="660401" y="204990"/>
                  </a:lnTo>
                  <a:lnTo>
                    <a:pt x="660401" y="204292"/>
                  </a:lnTo>
                  <a:lnTo>
                    <a:pt x="660451" y="204292"/>
                  </a:lnTo>
                  <a:lnTo>
                    <a:pt x="660451" y="202959"/>
                  </a:lnTo>
                  <a:lnTo>
                    <a:pt x="660451" y="203594"/>
                  </a:lnTo>
                  <a:lnTo>
                    <a:pt x="660451" y="202260"/>
                  </a:lnTo>
                  <a:lnTo>
                    <a:pt x="660451" y="202959"/>
                  </a:lnTo>
                  <a:lnTo>
                    <a:pt x="660502" y="202959"/>
                  </a:lnTo>
                  <a:lnTo>
                    <a:pt x="660502" y="203594"/>
                  </a:lnTo>
                  <a:lnTo>
                    <a:pt x="660502" y="202959"/>
                  </a:lnTo>
                  <a:lnTo>
                    <a:pt x="660502" y="203594"/>
                  </a:lnTo>
                  <a:lnTo>
                    <a:pt x="660502" y="202959"/>
                  </a:lnTo>
                  <a:lnTo>
                    <a:pt x="660502" y="204292"/>
                  </a:lnTo>
                  <a:lnTo>
                    <a:pt x="660604" y="204292"/>
                  </a:lnTo>
                  <a:lnTo>
                    <a:pt x="660604" y="204990"/>
                  </a:lnTo>
                  <a:lnTo>
                    <a:pt x="660604" y="204292"/>
                  </a:lnTo>
                  <a:lnTo>
                    <a:pt x="660604" y="204990"/>
                  </a:lnTo>
                  <a:lnTo>
                    <a:pt x="660655" y="204990"/>
                  </a:lnTo>
                  <a:lnTo>
                    <a:pt x="660655" y="204292"/>
                  </a:lnTo>
                  <a:lnTo>
                    <a:pt x="660655" y="204990"/>
                  </a:lnTo>
                  <a:lnTo>
                    <a:pt x="660705" y="204990"/>
                  </a:lnTo>
                  <a:lnTo>
                    <a:pt x="660705" y="204292"/>
                  </a:lnTo>
                  <a:lnTo>
                    <a:pt x="660705" y="204990"/>
                  </a:lnTo>
                  <a:lnTo>
                    <a:pt x="660705" y="204292"/>
                  </a:lnTo>
                  <a:lnTo>
                    <a:pt x="660705" y="204990"/>
                  </a:lnTo>
                  <a:lnTo>
                    <a:pt x="660807" y="204292"/>
                  </a:lnTo>
                  <a:lnTo>
                    <a:pt x="660858" y="204292"/>
                  </a:lnTo>
                  <a:lnTo>
                    <a:pt x="660858" y="204990"/>
                  </a:lnTo>
                  <a:lnTo>
                    <a:pt x="660858" y="203594"/>
                  </a:lnTo>
                  <a:lnTo>
                    <a:pt x="660858" y="204292"/>
                  </a:lnTo>
                  <a:lnTo>
                    <a:pt x="660858" y="203594"/>
                  </a:lnTo>
                  <a:lnTo>
                    <a:pt x="660908" y="203594"/>
                  </a:lnTo>
                  <a:lnTo>
                    <a:pt x="660908" y="202959"/>
                  </a:lnTo>
                  <a:lnTo>
                    <a:pt x="660908" y="203594"/>
                  </a:lnTo>
                  <a:lnTo>
                    <a:pt x="660908" y="202260"/>
                  </a:lnTo>
                  <a:lnTo>
                    <a:pt x="660947" y="202260"/>
                  </a:lnTo>
                  <a:lnTo>
                    <a:pt x="660947" y="200876"/>
                  </a:lnTo>
                  <a:lnTo>
                    <a:pt x="660947" y="202959"/>
                  </a:lnTo>
                  <a:lnTo>
                    <a:pt x="661048" y="202959"/>
                  </a:lnTo>
                  <a:lnTo>
                    <a:pt x="661048" y="202260"/>
                  </a:lnTo>
                  <a:lnTo>
                    <a:pt x="661048" y="204990"/>
                  </a:lnTo>
                  <a:lnTo>
                    <a:pt x="661048" y="204292"/>
                  </a:lnTo>
                  <a:lnTo>
                    <a:pt x="661099" y="204292"/>
                  </a:lnTo>
                  <a:lnTo>
                    <a:pt x="661099" y="203594"/>
                  </a:lnTo>
                  <a:lnTo>
                    <a:pt x="661099" y="204990"/>
                  </a:lnTo>
                  <a:lnTo>
                    <a:pt x="661099" y="204292"/>
                  </a:lnTo>
                  <a:lnTo>
                    <a:pt x="661150" y="204292"/>
                  </a:lnTo>
                  <a:lnTo>
                    <a:pt x="661150" y="206324"/>
                  </a:lnTo>
                  <a:lnTo>
                    <a:pt x="661150" y="204990"/>
                  </a:lnTo>
                  <a:lnTo>
                    <a:pt x="661251" y="204990"/>
                  </a:lnTo>
                  <a:lnTo>
                    <a:pt x="661251" y="206324"/>
                  </a:lnTo>
                  <a:lnTo>
                    <a:pt x="661251" y="204990"/>
                  </a:lnTo>
                  <a:lnTo>
                    <a:pt x="661251" y="206324"/>
                  </a:lnTo>
                  <a:lnTo>
                    <a:pt x="661251" y="204990"/>
                  </a:lnTo>
                  <a:lnTo>
                    <a:pt x="661251" y="206324"/>
                  </a:lnTo>
                  <a:lnTo>
                    <a:pt x="661251" y="204990"/>
                  </a:lnTo>
                  <a:lnTo>
                    <a:pt x="661302" y="204292"/>
                  </a:lnTo>
                  <a:lnTo>
                    <a:pt x="661302" y="206324"/>
                  </a:lnTo>
                  <a:lnTo>
                    <a:pt x="661302" y="204990"/>
                  </a:lnTo>
                  <a:lnTo>
                    <a:pt x="661302" y="206324"/>
                  </a:lnTo>
                  <a:lnTo>
                    <a:pt x="661302" y="204990"/>
                  </a:lnTo>
                  <a:lnTo>
                    <a:pt x="661302" y="206324"/>
                  </a:lnTo>
                  <a:lnTo>
                    <a:pt x="661302" y="204990"/>
                  </a:lnTo>
                  <a:lnTo>
                    <a:pt x="661353" y="204990"/>
                  </a:lnTo>
                  <a:lnTo>
                    <a:pt x="661353" y="204292"/>
                  </a:lnTo>
                  <a:lnTo>
                    <a:pt x="661404" y="204292"/>
                  </a:lnTo>
                  <a:lnTo>
                    <a:pt x="661404" y="203594"/>
                  </a:lnTo>
                  <a:lnTo>
                    <a:pt x="661404" y="204292"/>
                  </a:lnTo>
                  <a:lnTo>
                    <a:pt x="661404" y="202260"/>
                  </a:lnTo>
                  <a:lnTo>
                    <a:pt x="661493" y="202260"/>
                  </a:lnTo>
                  <a:lnTo>
                    <a:pt x="661493" y="202959"/>
                  </a:lnTo>
                  <a:lnTo>
                    <a:pt x="661493" y="202260"/>
                  </a:lnTo>
                  <a:lnTo>
                    <a:pt x="661493" y="203594"/>
                  </a:lnTo>
                  <a:lnTo>
                    <a:pt x="661543" y="202959"/>
                  </a:lnTo>
                  <a:lnTo>
                    <a:pt x="661543" y="202260"/>
                  </a:lnTo>
                  <a:lnTo>
                    <a:pt x="661543" y="204292"/>
                  </a:lnTo>
                  <a:lnTo>
                    <a:pt x="661543" y="203594"/>
                  </a:lnTo>
                  <a:lnTo>
                    <a:pt x="661594" y="203594"/>
                  </a:lnTo>
                  <a:lnTo>
                    <a:pt x="661594" y="204292"/>
                  </a:lnTo>
                  <a:lnTo>
                    <a:pt x="661594" y="203594"/>
                  </a:lnTo>
                  <a:lnTo>
                    <a:pt x="661645" y="203594"/>
                  </a:lnTo>
                  <a:lnTo>
                    <a:pt x="661645" y="204990"/>
                  </a:lnTo>
                  <a:lnTo>
                    <a:pt x="661645" y="204292"/>
                  </a:lnTo>
                  <a:lnTo>
                    <a:pt x="661645" y="204990"/>
                  </a:lnTo>
                  <a:lnTo>
                    <a:pt x="661645" y="204292"/>
                  </a:lnTo>
                  <a:lnTo>
                    <a:pt x="661747" y="204292"/>
                  </a:lnTo>
                  <a:lnTo>
                    <a:pt x="661747" y="204990"/>
                  </a:lnTo>
                  <a:lnTo>
                    <a:pt x="661747" y="204292"/>
                  </a:lnTo>
                  <a:lnTo>
                    <a:pt x="661747" y="204990"/>
                  </a:lnTo>
                  <a:lnTo>
                    <a:pt x="661797" y="204990"/>
                  </a:lnTo>
                  <a:lnTo>
                    <a:pt x="661797" y="206324"/>
                  </a:lnTo>
                  <a:lnTo>
                    <a:pt x="661797" y="204990"/>
                  </a:lnTo>
                  <a:lnTo>
                    <a:pt x="661797" y="206324"/>
                  </a:lnTo>
                  <a:lnTo>
                    <a:pt x="661797" y="204990"/>
                  </a:lnTo>
                  <a:lnTo>
                    <a:pt x="661797" y="206324"/>
                  </a:lnTo>
                  <a:lnTo>
                    <a:pt x="661848" y="206324"/>
                  </a:lnTo>
                  <a:lnTo>
                    <a:pt x="661848" y="204292"/>
                  </a:lnTo>
                  <a:lnTo>
                    <a:pt x="661848" y="204990"/>
                  </a:lnTo>
                  <a:lnTo>
                    <a:pt x="661848" y="203594"/>
                  </a:lnTo>
                  <a:lnTo>
                    <a:pt x="661848" y="204292"/>
                  </a:lnTo>
                  <a:lnTo>
                    <a:pt x="661950" y="203594"/>
                  </a:lnTo>
                  <a:lnTo>
                    <a:pt x="661950" y="204292"/>
                  </a:lnTo>
                  <a:lnTo>
                    <a:pt x="661950" y="203594"/>
                  </a:lnTo>
                  <a:lnTo>
                    <a:pt x="661950" y="204292"/>
                  </a:lnTo>
                  <a:lnTo>
                    <a:pt x="661950" y="202260"/>
                  </a:lnTo>
                  <a:lnTo>
                    <a:pt x="661988" y="202260"/>
                  </a:lnTo>
                  <a:lnTo>
                    <a:pt x="661988" y="200876"/>
                  </a:lnTo>
                  <a:lnTo>
                    <a:pt x="661988" y="202260"/>
                  </a:lnTo>
                  <a:lnTo>
                    <a:pt x="661988" y="200876"/>
                  </a:lnTo>
                  <a:lnTo>
                    <a:pt x="661988" y="202959"/>
                  </a:lnTo>
                  <a:lnTo>
                    <a:pt x="661988" y="202260"/>
                  </a:lnTo>
                  <a:lnTo>
                    <a:pt x="662039" y="202260"/>
                  </a:lnTo>
                  <a:lnTo>
                    <a:pt x="662039" y="200876"/>
                  </a:lnTo>
                  <a:lnTo>
                    <a:pt x="662039" y="203594"/>
                  </a:lnTo>
                  <a:lnTo>
                    <a:pt x="662039" y="202959"/>
                  </a:lnTo>
                  <a:lnTo>
                    <a:pt x="662090" y="202260"/>
                  </a:lnTo>
                  <a:lnTo>
                    <a:pt x="662090" y="203594"/>
                  </a:lnTo>
                  <a:lnTo>
                    <a:pt x="662090" y="202959"/>
                  </a:lnTo>
                  <a:lnTo>
                    <a:pt x="662191" y="203594"/>
                  </a:lnTo>
                  <a:lnTo>
                    <a:pt x="662191" y="204292"/>
                  </a:lnTo>
                  <a:lnTo>
                    <a:pt x="662191" y="203594"/>
                  </a:lnTo>
                  <a:lnTo>
                    <a:pt x="662191" y="204292"/>
                  </a:lnTo>
                  <a:lnTo>
                    <a:pt x="662191" y="203594"/>
                  </a:lnTo>
                  <a:lnTo>
                    <a:pt x="662191" y="204292"/>
                  </a:lnTo>
                  <a:lnTo>
                    <a:pt x="662242" y="204292"/>
                  </a:lnTo>
                  <a:lnTo>
                    <a:pt x="662293" y="204990"/>
                  </a:lnTo>
                  <a:lnTo>
                    <a:pt x="662293" y="206324"/>
                  </a:lnTo>
                  <a:lnTo>
                    <a:pt x="662293" y="204990"/>
                  </a:lnTo>
                  <a:lnTo>
                    <a:pt x="662394" y="204990"/>
                  </a:lnTo>
                  <a:lnTo>
                    <a:pt x="662394" y="206324"/>
                  </a:lnTo>
                  <a:lnTo>
                    <a:pt x="662394" y="204292"/>
                  </a:lnTo>
                  <a:lnTo>
                    <a:pt x="662394" y="204990"/>
                  </a:lnTo>
                  <a:lnTo>
                    <a:pt x="662394" y="203594"/>
                  </a:lnTo>
                  <a:lnTo>
                    <a:pt x="662445" y="203594"/>
                  </a:lnTo>
                  <a:lnTo>
                    <a:pt x="662445" y="202959"/>
                  </a:lnTo>
                  <a:lnTo>
                    <a:pt x="662496" y="202260"/>
                  </a:lnTo>
                  <a:lnTo>
                    <a:pt x="662496" y="202959"/>
                  </a:lnTo>
                  <a:lnTo>
                    <a:pt x="662496" y="200228"/>
                  </a:lnTo>
                  <a:lnTo>
                    <a:pt x="662496" y="200876"/>
                  </a:lnTo>
                  <a:lnTo>
                    <a:pt x="662534" y="200876"/>
                  </a:lnTo>
                  <a:lnTo>
                    <a:pt x="662534" y="203594"/>
                  </a:lnTo>
                  <a:lnTo>
                    <a:pt x="662534" y="202260"/>
                  </a:lnTo>
                  <a:lnTo>
                    <a:pt x="662636" y="202260"/>
                  </a:lnTo>
                  <a:lnTo>
                    <a:pt x="662636" y="203594"/>
                  </a:lnTo>
                  <a:lnTo>
                    <a:pt x="662636" y="202260"/>
                  </a:lnTo>
                  <a:lnTo>
                    <a:pt x="662636" y="202959"/>
                  </a:lnTo>
                  <a:lnTo>
                    <a:pt x="662636" y="202260"/>
                  </a:lnTo>
                  <a:lnTo>
                    <a:pt x="662636" y="202959"/>
                  </a:lnTo>
                  <a:lnTo>
                    <a:pt x="662687" y="203594"/>
                  </a:lnTo>
                  <a:lnTo>
                    <a:pt x="662687" y="202959"/>
                  </a:lnTo>
                  <a:lnTo>
                    <a:pt x="662687" y="203594"/>
                  </a:lnTo>
                  <a:lnTo>
                    <a:pt x="662737" y="203594"/>
                  </a:lnTo>
                  <a:lnTo>
                    <a:pt x="662737" y="204292"/>
                  </a:lnTo>
                  <a:lnTo>
                    <a:pt x="662737" y="203594"/>
                  </a:lnTo>
                  <a:lnTo>
                    <a:pt x="662737" y="204292"/>
                  </a:lnTo>
                  <a:lnTo>
                    <a:pt x="662737" y="203594"/>
                  </a:lnTo>
                  <a:lnTo>
                    <a:pt x="662737" y="204292"/>
                  </a:lnTo>
                  <a:lnTo>
                    <a:pt x="662839" y="204292"/>
                  </a:lnTo>
                  <a:lnTo>
                    <a:pt x="662839" y="204990"/>
                  </a:lnTo>
                  <a:lnTo>
                    <a:pt x="662839" y="204292"/>
                  </a:lnTo>
                  <a:lnTo>
                    <a:pt x="662890" y="204292"/>
                  </a:lnTo>
                  <a:lnTo>
                    <a:pt x="662890" y="203594"/>
                  </a:lnTo>
                  <a:lnTo>
                    <a:pt x="662890" y="204292"/>
                  </a:lnTo>
                  <a:lnTo>
                    <a:pt x="662890" y="202959"/>
                  </a:lnTo>
                  <a:lnTo>
                    <a:pt x="662890" y="203594"/>
                  </a:lnTo>
                  <a:lnTo>
                    <a:pt x="662941" y="203594"/>
                  </a:lnTo>
                  <a:lnTo>
                    <a:pt x="662941" y="202959"/>
                  </a:lnTo>
                  <a:lnTo>
                    <a:pt x="662941" y="203594"/>
                  </a:lnTo>
                  <a:lnTo>
                    <a:pt x="662941" y="202260"/>
                  </a:lnTo>
                  <a:lnTo>
                    <a:pt x="662941" y="202959"/>
                  </a:lnTo>
                  <a:lnTo>
                    <a:pt x="662941" y="202260"/>
                  </a:lnTo>
                  <a:lnTo>
                    <a:pt x="662941" y="202959"/>
                  </a:lnTo>
                  <a:lnTo>
                    <a:pt x="662991" y="203594"/>
                  </a:lnTo>
                  <a:lnTo>
                    <a:pt x="662991" y="204292"/>
                  </a:lnTo>
                  <a:lnTo>
                    <a:pt x="662991" y="202260"/>
                  </a:lnTo>
                  <a:lnTo>
                    <a:pt x="662991" y="206324"/>
                  </a:lnTo>
                  <a:lnTo>
                    <a:pt x="663080" y="206324"/>
                  </a:lnTo>
                  <a:lnTo>
                    <a:pt x="663080" y="202959"/>
                  </a:lnTo>
                  <a:lnTo>
                    <a:pt x="663080" y="204990"/>
                  </a:lnTo>
                  <a:lnTo>
                    <a:pt x="663131" y="204990"/>
                  </a:lnTo>
                  <a:lnTo>
                    <a:pt x="663131" y="203594"/>
                  </a:lnTo>
                  <a:lnTo>
                    <a:pt x="663131" y="204292"/>
                  </a:lnTo>
                  <a:lnTo>
                    <a:pt x="663182" y="204292"/>
                  </a:lnTo>
                  <a:lnTo>
                    <a:pt x="663182" y="203594"/>
                  </a:lnTo>
                  <a:lnTo>
                    <a:pt x="663182" y="204292"/>
                  </a:lnTo>
                  <a:lnTo>
                    <a:pt x="663182" y="203594"/>
                  </a:lnTo>
                  <a:lnTo>
                    <a:pt x="663182" y="204292"/>
                  </a:lnTo>
                  <a:lnTo>
                    <a:pt x="663233" y="204292"/>
                  </a:lnTo>
                  <a:lnTo>
                    <a:pt x="663233" y="204990"/>
                  </a:lnTo>
                  <a:lnTo>
                    <a:pt x="663233" y="204292"/>
                  </a:lnTo>
                  <a:lnTo>
                    <a:pt x="663233" y="204990"/>
                  </a:lnTo>
                  <a:lnTo>
                    <a:pt x="663233" y="204292"/>
                  </a:lnTo>
                  <a:lnTo>
                    <a:pt x="663334" y="204990"/>
                  </a:lnTo>
                  <a:lnTo>
                    <a:pt x="663334" y="204292"/>
                  </a:lnTo>
                  <a:lnTo>
                    <a:pt x="663334" y="204990"/>
                  </a:lnTo>
                  <a:lnTo>
                    <a:pt x="663334" y="204292"/>
                  </a:lnTo>
                  <a:lnTo>
                    <a:pt x="663385" y="204292"/>
                  </a:lnTo>
                  <a:lnTo>
                    <a:pt x="663385" y="203594"/>
                  </a:lnTo>
                  <a:lnTo>
                    <a:pt x="663436" y="203594"/>
                  </a:lnTo>
                  <a:lnTo>
                    <a:pt x="663436" y="202260"/>
                  </a:lnTo>
                  <a:lnTo>
                    <a:pt x="663436" y="204292"/>
                  </a:lnTo>
                  <a:lnTo>
                    <a:pt x="663537" y="203594"/>
                  </a:lnTo>
                  <a:lnTo>
                    <a:pt x="663537" y="202260"/>
                  </a:lnTo>
                  <a:lnTo>
                    <a:pt x="663537" y="206324"/>
                  </a:lnTo>
                  <a:lnTo>
                    <a:pt x="663537" y="204990"/>
                  </a:lnTo>
                  <a:lnTo>
                    <a:pt x="663576" y="204292"/>
                  </a:lnTo>
                  <a:lnTo>
                    <a:pt x="663576" y="203594"/>
                  </a:lnTo>
                  <a:lnTo>
                    <a:pt x="663576" y="204990"/>
                  </a:lnTo>
                  <a:lnTo>
                    <a:pt x="663576" y="204292"/>
                  </a:lnTo>
                  <a:lnTo>
                    <a:pt x="663626" y="204292"/>
                  </a:lnTo>
                  <a:lnTo>
                    <a:pt x="663626" y="203594"/>
                  </a:lnTo>
                  <a:lnTo>
                    <a:pt x="663626" y="204990"/>
                  </a:lnTo>
                  <a:lnTo>
                    <a:pt x="663626" y="204292"/>
                  </a:lnTo>
                  <a:lnTo>
                    <a:pt x="663677" y="204292"/>
                  </a:lnTo>
                  <a:lnTo>
                    <a:pt x="663677" y="204990"/>
                  </a:lnTo>
                  <a:lnTo>
                    <a:pt x="663677" y="204292"/>
                  </a:lnTo>
                  <a:lnTo>
                    <a:pt x="663677" y="204990"/>
                  </a:lnTo>
                  <a:lnTo>
                    <a:pt x="663779" y="204292"/>
                  </a:lnTo>
                  <a:lnTo>
                    <a:pt x="663779" y="204990"/>
                  </a:lnTo>
                  <a:lnTo>
                    <a:pt x="663779" y="204292"/>
                  </a:lnTo>
                  <a:lnTo>
                    <a:pt x="663830" y="204292"/>
                  </a:lnTo>
                  <a:lnTo>
                    <a:pt x="663830" y="203594"/>
                  </a:lnTo>
                  <a:lnTo>
                    <a:pt x="663830" y="204292"/>
                  </a:lnTo>
                  <a:lnTo>
                    <a:pt x="663830" y="203594"/>
                  </a:lnTo>
                  <a:lnTo>
                    <a:pt x="663880" y="203594"/>
                  </a:lnTo>
                  <a:lnTo>
                    <a:pt x="663880" y="202260"/>
                  </a:lnTo>
                  <a:lnTo>
                    <a:pt x="663880" y="202959"/>
                  </a:lnTo>
                  <a:lnTo>
                    <a:pt x="663880" y="202260"/>
                  </a:lnTo>
                  <a:lnTo>
                    <a:pt x="663880" y="202959"/>
                  </a:lnTo>
                  <a:lnTo>
                    <a:pt x="663880" y="202260"/>
                  </a:lnTo>
                  <a:lnTo>
                    <a:pt x="663982" y="202260"/>
                  </a:lnTo>
                  <a:lnTo>
                    <a:pt x="663982" y="200228"/>
                  </a:lnTo>
                  <a:lnTo>
                    <a:pt x="663982" y="200876"/>
                  </a:lnTo>
                  <a:lnTo>
                    <a:pt x="663982" y="200228"/>
                  </a:lnTo>
                  <a:lnTo>
                    <a:pt x="663982" y="200876"/>
                  </a:lnTo>
                  <a:lnTo>
                    <a:pt x="663982" y="200228"/>
                  </a:lnTo>
                  <a:lnTo>
                    <a:pt x="663982" y="202959"/>
                  </a:lnTo>
                  <a:lnTo>
                    <a:pt x="664033" y="202260"/>
                  </a:lnTo>
                  <a:lnTo>
                    <a:pt x="664033" y="200876"/>
                  </a:lnTo>
                  <a:lnTo>
                    <a:pt x="664033" y="204292"/>
                  </a:lnTo>
                  <a:lnTo>
                    <a:pt x="664033" y="203594"/>
                  </a:lnTo>
                  <a:lnTo>
                    <a:pt x="664083" y="203594"/>
                  </a:lnTo>
                  <a:lnTo>
                    <a:pt x="664083" y="202959"/>
                  </a:lnTo>
                  <a:lnTo>
                    <a:pt x="664083" y="204292"/>
                  </a:lnTo>
                  <a:lnTo>
                    <a:pt x="664083" y="203594"/>
                  </a:lnTo>
                  <a:lnTo>
                    <a:pt x="664083" y="204292"/>
                  </a:lnTo>
                  <a:lnTo>
                    <a:pt x="664083" y="203594"/>
                  </a:lnTo>
                  <a:lnTo>
                    <a:pt x="664122" y="203594"/>
                  </a:lnTo>
                  <a:lnTo>
                    <a:pt x="664122" y="204292"/>
                  </a:lnTo>
                  <a:lnTo>
                    <a:pt x="664122" y="203594"/>
                  </a:lnTo>
                  <a:lnTo>
                    <a:pt x="664223" y="203594"/>
                  </a:lnTo>
                  <a:lnTo>
                    <a:pt x="664223" y="204990"/>
                  </a:lnTo>
                  <a:lnTo>
                    <a:pt x="664223" y="204292"/>
                  </a:lnTo>
                  <a:lnTo>
                    <a:pt x="664223" y="204990"/>
                  </a:lnTo>
                  <a:lnTo>
                    <a:pt x="664223" y="204292"/>
                  </a:lnTo>
                  <a:lnTo>
                    <a:pt x="664223" y="204990"/>
                  </a:lnTo>
                  <a:lnTo>
                    <a:pt x="664223" y="204292"/>
                  </a:lnTo>
                  <a:lnTo>
                    <a:pt x="664274" y="204292"/>
                  </a:lnTo>
                  <a:lnTo>
                    <a:pt x="664274" y="204990"/>
                  </a:lnTo>
                  <a:lnTo>
                    <a:pt x="664274" y="204292"/>
                  </a:lnTo>
                  <a:lnTo>
                    <a:pt x="664325" y="204990"/>
                  </a:lnTo>
                  <a:lnTo>
                    <a:pt x="664325" y="203594"/>
                  </a:lnTo>
                  <a:lnTo>
                    <a:pt x="664426" y="203594"/>
                  </a:lnTo>
                  <a:lnTo>
                    <a:pt x="664426" y="202959"/>
                  </a:lnTo>
                  <a:lnTo>
                    <a:pt x="664426" y="203594"/>
                  </a:lnTo>
                  <a:lnTo>
                    <a:pt x="664426" y="202260"/>
                  </a:lnTo>
                  <a:lnTo>
                    <a:pt x="664477" y="202959"/>
                  </a:lnTo>
                  <a:lnTo>
                    <a:pt x="664477" y="202260"/>
                  </a:lnTo>
                  <a:lnTo>
                    <a:pt x="664477" y="204292"/>
                  </a:lnTo>
                  <a:lnTo>
                    <a:pt x="664477" y="202260"/>
                  </a:lnTo>
                  <a:lnTo>
                    <a:pt x="664477" y="203594"/>
                  </a:lnTo>
                  <a:lnTo>
                    <a:pt x="664528" y="203594"/>
                  </a:lnTo>
                  <a:lnTo>
                    <a:pt x="664528" y="204990"/>
                  </a:lnTo>
                  <a:lnTo>
                    <a:pt x="664528" y="203594"/>
                  </a:lnTo>
                  <a:lnTo>
                    <a:pt x="664528" y="204292"/>
                  </a:lnTo>
                  <a:lnTo>
                    <a:pt x="664579" y="204990"/>
                  </a:lnTo>
                  <a:lnTo>
                    <a:pt x="664579" y="206324"/>
                  </a:lnTo>
                  <a:lnTo>
                    <a:pt x="664579" y="203594"/>
                  </a:lnTo>
                  <a:lnTo>
                    <a:pt x="664579" y="204990"/>
                  </a:lnTo>
                  <a:lnTo>
                    <a:pt x="664668" y="204292"/>
                  </a:lnTo>
                  <a:lnTo>
                    <a:pt x="664668" y="204990"/>
                  </a:lnTo>
                  <a:lnTo>
                    <a:pt x="664718" y="204990"/>
                  </a:lnTo>
                  <a:lnTo>
                    <a:pt x="664718" y="204292"/>
                  </a:lnTo>
                  <a:lnTo>
                    <a:pt x="664718" y="204990"/>
                  </a:lnTo>
                  <a:lnTo>
                    <a:pt x="664769" y="204990"/>
                  </a:lnTo>
                  <a:lnTo>
                    <a:pt x="664769" y="204292"/>
                  </a:lnTo>
                  <a:lnTo>
                    <a:pt x="664769" y="204990"/>
                  </a:lnTo>
                  <a:lnTo>
                    <a:pt x="664769" y="204292"/>
                  </a:lnTo>
                  <a:lnTo>
                    <a:pt x="664769" y="204990"/>
                  </a:lnTo>
                  <a:lnTo>
                    <a:pt x="664820" y="204292"/>
                  </a:lnTo>
                  <a:lnTo>
                    <a:pt x="664820" y="203594"/>
                  </a:lnTo>
                  <a:lnTo>
                    <a:pt x="664820" y="204292"/>
                  </a:lnTo>
                  <a:lnTo>
                    <a:pt x="664820" y="202959"/>
                  </a:lnTo>
                  <a:lnTo>
                    <a:pt x="664922" y="203594"/>
                  </a:lnTo>
                  <a:lnTo>
                    <a:pt x="664922" y="202260"/>
                  </a:lnTo>
                  <a:lnTo>
                    <a:pt x="664972" y="202260"/>
                  </a:lnTo>
                  <a:lnTo>
                    <a:pt x="664972" y="200876"/>
                  </a:lnTo>
                  <a:lnTo>
                    <a:pt x="664972" y="202959"/>
                  </a:lnTo>
                  <a:lnTo>
                    <a:pt x="664972" y="202260"/>
                  </a:lnTo>
                  <a:lnTo>
                    <a:pt x="664972" y="202959"/>
                  </a:lnTo>
                  <a:lnTo>
                    <a:pt x="664972" y="200876"/>
                  </a:lnTo>
                  <a:lnTo>
                    <a:pt x="665023" y="200228"/>
                  </a:lnTo>
                  <a:lnTo>
                    <a:pt x="665023" y="203594"/>
                  </a:lnTo>
                  <a:lnTo>
                    <a:pt x="665023" y="202959"/>
                  </a:lnTo>
                  <a:lnTo>
                    <a:pt x="665125" y="202959"/>
                  </a:lnTo>
                  <a:lnTo>
                    <a:pt x="665125" y="203594"/>
                  </a:lnTo>
                  <a:lnTo>
                    <a:pt x="665125" y="202959"/>
                  </a:lnTo>
                  <a:lnTo>
                    <a:pt x="665125" y="203594"/>
                  </a:lnTo>
                  <a:lnTo>
                    <a:pt x="665163" y="203594"/>
                  </a:lnTo>
                  <a:lnTo>
                    <a:pt x="665163" y="204292"/>
                  </a:lnTo>
                  <a:lnTo>
                    <a:pt x="665163" y="203594"/>
                  </a:lnTo>
                  <a:lnTo>
                    <a:pt x="665163" y="204292"/>
                  </a:lnTo>
                  <a:lnTo>
                    <a:pt x="665163" y="203594"/>
                  </a:lnTo>
                  <a:lnTo>
                    <a:pt x="665163" y="204292"/>
                  </a:lnTo>
                  <a:lnTo>
                    <a:pt x="665214" y="204292"/>
                  </a:lnTo>
                  <a:lnTo>
                    <a:pt x="665214" y="204990"/>
                  </a:lnTo>
                  <a:lnTo>
                    <a:pt x="665265" y="204292"/>
                  </a:lnTo>
                  <a:lnTo>
                    <a:pt x="665265" y="204990"/>
                  </a:lnTo>
                  <a:lnTo>
                    <a:pt x="665265" y="204292"/>
                  </a:lnTo>
                  <a:lnTo>
                    <a:pt x="665265" y="204990"/>
                  </a:lnTo>
                  <a:lnTo>
                    <a:pt x="665265" y="204292"/>
                  </a:lnTo>
                  <a:lnTo>
                    <a:pt x="665366" y="204292"/>
                  </a:lnTo>
                  <a:lnTo>
                    <a:pt x="665366" y="203594"/>
                  </a:lnTo>
                  <a:lnTo>
                    <a:pt x="665366" y="204292"/>
                  </a:lnTo>
                  <a:lnTo>
                    <a:pt x="665366" y="202959"/>
                  </a:lnTo>
                  <a:lnTo>
                    <a:pt x="665417" y="202959"/>
                  </a:lnTo>
                  <a:lnTo>
                    <a:pt x="665417" y="202260"/>
                  </a:lnTo>
                  <a:lnTo>
                    <a:pt x="665417" y="202959"/>
                  </a:lnTo>
                  <a:lnTo>
                    <a:pt x="665417" y="200876"/>
                  </a:lnTo>
                  <a:lnTo>
                    <a:pt x="665417" y="202260"/>
                  </a:lnTo>
                  <a:lnTo>
                    <a:pt x="665468" y="202260"/>
                  </a:lnTo>
                  <a:lnTo>
                    <a:pt x="665468" y="202959"/>
                  </a:lnTo>
                  <a:lnTo>
                    <a:pt x="665468" y="200876"/>
                  </a:lnTo>
                  <a:lnTo>
                    <a:pt x="665468" y="202260"/>
                  </a:lnTo>
                  <a:lnTo>
                    <a:pt x="665569" y="202959"/>
                  </a:lnTo>
                  <a:lnTo>
                    <a:pt x="665569" y="203594"/>
                  </a:lnTo>
                  <a:lnTo>
                    <a:pt x="665569" y="202260"/>
                  </a:lnTo>
                  <a:lnTo>
                    <a:pt x="665569" y="203594"/>
                  </a:lnTo>
                  <a:lnTo>
                    <a:pt x="665620" y="203594"/>
                  </a:lnTo>
                  <a:lnTo>
                    <a:pt x="665620" y="202959"/>
                  </a:lnTo>
                  <a:lnTo>
                    <a:pt x="665671" y="202959"/>
                  </a:lnTo>
                  <a:lnTo>
                    <a:pt x="665671" y="203594"/>
                  </a:lnTo>
                  <a:lnTo>
                    <a:pt x="665671" y="202959"/>
                  </a:lnTo>
                  <a:lnTo>
                    <a:pt x="665671" y="204292"/>
                  </a:lnTo>
                  <a:lnTo>
                    <a:pt x="665671" y="203594"/>
                  </a:lnTo>
                  <a:lnTo>
                    <a:pt x="665671" y="204292"/>
                  </a:lnTo>
                  <a:lnTo>
                    <a:pt x="665709" y="204292"/>
                  </a:lnTo>
                  <a:lnTo>
                    <a:pt x="665709" y="203594"/>
                  </a:lnTo>
                  <a:lnTo>
                    <a:pt x="665709" y="204292"/>
                  </a:lnTo>
                  <a:lnTo>
                    <a:pt x="665709" y="203594"/>
                  </a:lnTo>
                  <a:lnTo>
                    <a:pt x="665709" y="204292"/>
                  </a:lnTo>
                  <a:lnTo>
                    <a:pt x="665811" y="204292"/>
                  </a:lnTo>
                  <a:lnTo>
                    <a:pt x="665811" y="203594"/>
                  </a:lnTo>
                  <a:lnTo>
                    <a:pt x="665811" y="204292"/>
                  </a:lnTo>
                  <a:lnTo>
                    <a:pt x="665862" y="204292"/>
                  </a:lnTo>
                  <a:lnTo>
                    <a:pt x="665862" y="202959"/>
                  </a:lnTo>
                  <a:lnTo>
                    <a:pt x="665912" y="202959"/>
                  </a:lnTo>
                  <a:lnTo>
                    <a:pt x="665912" y="202260"/>
                  </a:lnTo>
                  <a:lnTo>
                    <a:pt x="665912" y="203594"/>
                  </a:lnTo>
                  <a:lnTo>
                    <a:pt x="666014" y="202959"/>
                  </a:lnTo>
                  <a:lnTo>
                    <a:pt x="666014" y="203594"/>
                  </a:lnTo>
                  <a:lnTo>
                    <a:pt x="666014" y="202260"/>
                  </a:lnTo>
                  <a:lnTo>
                    <a:pt x="666014" y="202959"/>
                  </a:lnTo>
                  <a:lnTo>
                    <a:pt x="666014" y="202260"/>
                  </a:lnTo>
                  <a:lnTo>
                    <a:pt x="666014" y="204292"/>
                  </a:lnTo>
                  <a:lnTo>
                    <a:pt x="666065" y="204292"/>
                  </a:lnTo>
                  <a:lnTo>
                    <a:pt x="666065" y="203594"/>
                  </a:lnTo>
                  <a:lnTo>
                    <a:pt x="666065" y="204292"/>
                  </a:lnTo>
                  <a:lnTo>
                    <a:pt x="666116" y="204292"/>
                  </a:lnTo>
                  <a:lnTo>
                    <a:pt x="666116" y="203594"/>
                  </a:lnTo>
                  <a:lnTo>
                    <a:pt x="666116" y="204292"/>
                  </a:lnTo>
                  <a:lnTo>
                    <a:pt x="666166" y="204292"/>
                  </a:lnTo>
                  <a:lnTo>
                    <a:pt x="666166" y="204990"/>
                  </a:lnTo>
                  <a:lnTo>
                    <a:pt x="666166" y="204292"/>
                  </a:lnTo>
                  <a:lnTo>
                    <a:pt x="666166" y="204990"/>
                  </a:lnTo>
                  <a:lnTo>
                    <a:pt x="666166" y="204292"/>
                  </a:lnTo>
                  <a:lnTo>
                    <a:pt x="666166" y="204990"/>
                  </a:lnTo>
                  <a:lnTo>
                    <a:pt x="666255" y="204990"/>
                  </a:lnTo>
                  <a:lnTo>
                    <a:pt x="666255" y="204292"/>
                  </a:lnTo>
                  <a:lnTo>
                    <a:pt x="666255" y="204990"/>
                  </a:lnTo>
                  <a:lnTo>
                    <a:pt x="666255" y="204292"/>
                  </a:lnTo>
                  <a:lnTo>
                    <a:pt x="666306" y="204292"/>
                  </a:lnTo>
                  <a:lnTo>
                    <a:pt x="666306" y="204990"/>
                  </a:lnTo>
                  <a:lnTo>
                    <a:pt x="666306" y="204292"/>
                  </a:lnTo>
                  <a:lnTo>
                    <a:pt x="666306" y="204990"/>
                  </a:lnTo>
                  <a:lnTo>
                    <a:pt x="666306" y="204292"/>
                  </a:lnTo>
                  <a:lnTo>
                    <a:pt x="666357" y="204292"/>
                  </a:lnTo>
                  <a:lnTo>
                    <a:pt x="666357" y="203594"/>
                  </a:lnTo>
                  <a:lnTo>
                    <a:pt x="666357" y="204292"/>
                  </a:lnTo>
                  <a:lnTo>
                    <a:pt x="666357" y="202959"/>
                  </a:lnTo>
                  <a:lnTo>
                    <a:pt x="666408" y="202959"/>
                  </a:lnTo>
                  <a:lnTo>
                    <a:pt x="666408" y="203594"/>
                  </a:lnTo>
                  <a:lnTo>
                    <a:pt x="666408" y="202959"/>
                  </a:lnTo>
                  <a:lnTo>
                    <a:pt x="666408" y="204292"/>
                  </a:lnTo>
                  <a:lnTo>
                    <a:pt x="666408" y="203594"/>
                  </a:lnTo>
                  <a:lnTo>
                    <a:pt x="666509" y="203594"/>
                  </a:lnTo>
                  <a:lnTo>
                    <a:pt x="666509" y="204990"/>
                  </a:lnTo>
                  <a:lnTo>
                    <a:pt x="666509" y="203594"/>
                  </a:lnTo>
                  <a:lnTo>
                    <a:pt x="666560" y="203594"/>
                  </a:lnTo>
                  <a:lnTo>
                    <a:pt x="666560" y="206324"/>
                  </a:lnTo>
                  <a:lnTo>
                    <a:pt x="666560" y="204990"/>
                  </a:lnTo>
                  <a:lnTo>
                    <a:pt x="666611" y="204990"/>
                  </a:lnTo>
                  <a:lnTo>
                    <a:pt x="666611" y="206324"/>
                  </a:lnTo>
                  <a:lnTo>
                    <a:pt x="666611" y="204990"/>
                  </a:lnTo>
                  <a:lnTo>
                    <a:pt x="666712" y="204990"/>
                  </a:lnTo>
                  <a:lnTo>
                    <a:pt x="666712" y="206324"/>
                  </a:lnTo>
                  <a:lnTo>
                    <a:pt x="666712" y="204990"/>
                  </a:lnTo>
                  <a:lnTo>
                    <a:pt x="666712" y="206324"/>
                  </a:lnTo>
                  <a:lnTo>
                    <a:pt x="666712" y="204990"/>
                  </a:lnTo>
                  <a:lnTo>
                    <a:pt x="666712" y="206324"/>
                  </a:lnTo>
                  <a:lnTo>
                    <a:pt x="666712" y="204990"/>
                  </a:lnTo>
                  <a:lnTo>
                    <a:pt x="666751" y="204990"/>
                  </a:lnTo>
                  <a:lnTo>
                    <a:pt x="666751" y="204292"/>
                  </a:lnTo>
                  <a:lnTo>
                    <a:pt x="666751" y="204990"/>
                  </a:lnTo>
                  <a:lnTo>
                    <a:pt x="666751" y="204292"/>
                  </a:lnTo>
                  <a:lnTo>
                    <a:pt x="666751" y="204990"/>
                  </a:lnTo>
                  <a:lnTo>
                    <a:pt x="666751" y="204292"/>
                  </a:lnTo>
                  <a:lnTo>
                    <a:pt x="666801" y="204292"/>
                  </a:lnTo>
                  <a:lnTo>
                    <a:pt x="666801" y="203594"/>
                  </a:lnTo>
                  <a:lnTo>
                    <a:pt x="666852" y="203594"/>
                  </a:lnTo>
                  <a:lnTo>
                    <a:pt x="666852" y="202260"/>
                  </a:lnTo>
                  <a:lnTo>
                    <a:pt x="666954" y="202260"/>
                  </a:lnTo>
                  <a:lnTo>
                    <a:pt x="666954" y="202959"/>
                  </a:lnTo>
                  <a:lnTo>
                    <a:pt x="666954" y="202260"/>
                  </a:lnTo>
                  <a:lnTo>
                    <a:pt x="666954" y="202959"/>
                  </a:lnTo>
                  <a:lnTo>
                    <a:pt x="666954" y="202260"/>
                  </a:lnTo>
                  <a:lnTo>
                    <a:pt x="666954" y="202959"/>
                  </a:lnTo>
                  <a:lnTo>
                    <a:pt x="666954" y="202260"/>
                  </a:lnTo>
                  <a:lnTo>
                    <a:pt x="666954" y="202959"/>
                  </a:lnTo>
                  <a:lnTo>
                    <a:pt x="667005" y="202959"/>
                  </a:lnTo>
                  <a:lnTo>
                    <a:pt x="667005" y="204292"/>
                  </a:lnTo>
                  <a:lnTo>
                    <a:pt x="667005" y="203594"/>
                  </a:lnTo>
                  <a:lnTo>
                    <a:pt x="667055" y="203594"/>
                  </a:lnTo>
                  <a:lnTo>
                    <a:pt x="667055" y="204990"/>
                  </a:lnTo>
                  <a:lnTo>
                    <a:pt x="667055" y="204292"/>
                  </a:lnTo>
                  <a:lnTo>
                    <a:pt x="667055" y="204990"/>
                  </a:lnTo>
                  <a:lnTo>
                    <a:pt x="667055" y="204292"/>
                  </a:lnTo>
                  <a:lnTo>
                    <a:pt x="667055" y="204990"/>
                  </a:lnTo>
                  <a:lnTo>
                    <a:pt x="667157" y="204990"/>
                  </a:lnTo>
                  <a:lnTo>
                    <a:pt x="667157" y="204292"/>
                  </a:lnTo>
                  <a:lnTo>
                    <a:pt x="667157" y="204990"/>
                  </a:lnTo>
                  <a:lnTo>
                    <a:pt x="667208" y="204990"/>
                  </a:lnTo>
                  <a:lnTo>
                    <a:pt x="667208" y="206324"/>
                  </a:lnTo>
                  <a:lnTo>
                    <a:pt x="667208" y="204990"/>
                  </a:lnTo>
                  <a:lnTo>
                    <a:pt x="667208" y="206324"/>
                  </a:lnTo>
                  <a:lnTo>
                    <a:pt x="667208" y="204990"/>
                  </a:lnTo>
                  <a:lnTo>
                    <a:pt x="667208" y="206324"/>
                  </a:lnTo>
                  <a:lnTo>
                    <a:pt x="667258" y="206324"/>
                  </a:lnTo>
                  <a:lnTo>
                    <a:pt x="667258" y="204292"/>
                  </a:lnTo>
                  <a:lnTo>
                    <a:pt x="667258" y="204990"/>
                  </a:lnTo>
                  <a:lnTo>
                    <a:pt x="667297" y="204990"/>
                  </a:lnTo>
                  <a:lnTo>
                    <a:pt x="667297" y="204292"/>
                  </a:lnTo>
                  <a:lnTo>
                    <a:pt x="667297" y="204990"/>
                  </a:lnTo>
                  <a:lnTo>
                    <a:pt x="667297" y="203594"/>
                  </a:lnTo>
                  <a:lnTo>
                    <a:pt x="667398" y="203594"/>
                  </a:lnTo>
                  <a:lnTo>
                    <a:pt x="667398" y="202959"/>
                  </a:lnTo>
                  <a:lnTo>
                    <a:pt x="667398" y="203594"/>
                  </a:lnTo>
                  <a:lnTo>
                    <a:pt x="667398" y="202260"/>
                  </a:lnTo>
                  <a:lnTo>
                    <a:pt x="667449" y="200876"/>
                  </a:lnTo>
                  <a:lnTo>
                    <a:pt x="667449" y="203594"/>
                  </a:lnTo>
                  <a:lnTo>
                    <a:pt x="667449" y="200876"/>
                  </a:lnTo>
                  <a:lnTo>
                    <a:pt x="667449" y="202260"/>
                  </a:lnTo>
                  <a:lnTo>
                    <a:pt x="667500" y="202959"/>
                  </a:lnTo>
                  <a:lnTo>
                    <a:pt x="667500" y="204292"/>
                  </a:lnTo>
                  <a:lnTo>
                    <a:pt x="667500" y="202959"/>
                  </a:lnTo>
                  <a:lnTo>
                    <a:pt x="667500" y="203594"/>
                  </a:lnTo>
                  <a:lnTo>
                    <a:pt x="667601" y="203594"/>
                  </a:lnTo>
                  <a:lnTo>
                    <a:pt x="667601" y="204292"/>
                  </a:lnTo>
                  <a:lnTo>
                    <a:pt x="667601" y="203594"/>
                  </a:lnTo>
                  <a:lnTo>
                    <a:pt x="667601" y="204292"/>
                  </a:lnTo>
                  <a:lnTo>
                    <a:pt x="667601" y="203594"/>
                  </a:lnTo>
                  <a:lnTo>
                    <a:pt x="667601" y="204292"/>
                  </a:lnTo>
                  <a:lnTo>
                    <a:pt x="667601" y="203594"/>
                  </a:lnTo>
                  <a:lnTo>
                    <a:pt x="667601" y="204990"/>
                  </a:lnTo>
                  <a:lnTo>
                    <a:pt x="667652" y="204292"/>
                  </a:lnTo>
                  <a:lnTo>
                    <a:pt x="667652" y="204990"/>
                  </a:lnTo>
                  <a:lnTo>
                    <a:pt x="667652" y="204292"/>
                  </a:lnTo>
                  <a:lnTo>
                    <a:pt x="667703" y="204292"/>
                  </a:lnTo>
                  <a:lnTo>
                    <a:pt x="667703" y="206324"/>
                  </a:lnTo>
                  <a:lnTo>
                    <a:pt x="667703" y="204990"/>
                  </a:lnTo>
                  <a:lnTo>
                    <a:pt x="667754" y="204990"/>
                  </a:lnTo>
                  <a:lnTo>
                    <a:pt x="667754" y="204292"/>
                  </a:lnTo>
                  <a:lnTo>
                    <a:pt x="667754" y="204990"/>
                  </a:lnTo>
                  <a:lnTo>
                    <a:pt x="667843" y="204990"/>
                  </a:lnTo>
                  <a:lnTo>
                    <a:pt x="667843" y="203594"/>
                  </a:lnTo>
                  <a:lnTo>
                    <a:pt x="667893" y="203594"/>
                  </a:lnTo>
                  <a:lnTo>
                    <a:pt x="667893" y="202260"/>
                  </a:lnTo>
                  <a:lnTo>
                    <a:pt x="667893" y="202959"/>
                  </a:lnTo>
                  <a:lnTo>
                    <a:pt x="667893" y="200876"/>
                  </a:lnTo>
                  <a:lnTo>
                    <a:pt x="667944" y="200876"/>
                  </a:lnTo>
                  <a:lnTo>
                    <a:pt x="667944" y="200228"/>
                  </a:lnTo>
                  <a:lnTo>
                    <a:pt x="667944" y="202959"/>
                  </a:lnTo>
                  <a:lnTo>
                    <a:pt x="667944" y="200228"/>
                  </a:lnTo>
                  <a:lnTo>
                    <a:pt x="667995" y="200876"/>
                  </a:lnTo>
                  <a:lnTo>
                    <a:pt x="667995" y="203594"/>
                  </a:lnTo>
                  <a:lnTo>
                    <a:pt x="667995" y="200876"/>
                  </a:lnTo>
                  <a:lnTo>
                    <a:pt x="667995" y="202260"/>
                  </a:lnTo>
                  <a:lnTo>
                    <a:pt x="668097" y="202959"/>
                  </a:lnTo>
                  <a:lnTo>
                    <a:pt x="668097" y="203594"/>
                  </a:lnTo>
                  <a:lnTo>
                    <a:pt x="668097" y="202959"/>
                  </a:lnTo>
                  <a:lnTo>
                    <a:pt x="668097" y="203594"/>
                  </a:lnTo>
                  <a:lnTo>
                    <a:pt x="668147" y="202959"/>
                  </a:lnTo>
                  <a:lnTo>
                    <a:pt x="668147" y="204292"/>
                  </a:lnTo>
                  <a:lnTo>
                    <a:pt x="668147" y="203594"/>
                  </a:lnTo>
                  <a:lnTo>
                    <a:pt x="668147" y="204292"/>
                  </a:lnTo>
                  <a:lnTo>
                    <a:pt x="668147" y="203594"/>
                  </a:lnTo>
                  <a:lnTo>
                    <a:pt x="668147" y="204292"/>
                  </a:lnTo>
                  <a:lnTo>
                    <a:pt x="668198" y="203594"/>
                  </a:lnTo>
                  <a:lnTo>
                    <a:pt x="668198" y="204990"/>
                  </a:lnTo>
                  <a:lnTo>
                    <a:pt x="668198" y="204292"/>
                  </a:lnTo>
                  <a:lnTo>
                    <a:pt x="668300" y="204292"/>
                  </a:lnTo>
                  <a:lnTo>
                    <a:pt x="668300" y="204990"/>
                  </a:lnTo>
                  <a:lnTo>
                    <a:pt x="668300" y="204292"/>
                  </a:lnTo>
                  <a:lnTo>
                    <a:pt x="668338" y="204292"/>
                  </a:lnTo>
                  <a:lnTo>
                    <a:pt x="668338" y="203594"/>
                  </a:lnTo>
                  <a:lnTo>
                    <a:pt x="668389" y="203594"/>
                  </a:lnTo>
                  <a:lnTo>
                    <a:pt x="668389" y="200876"/>
                  </a:lnTo>
                  <a:lnTo>
                    <a:pt x="668389" y="202959"/>
                  </a:lnTo>
                  <a:lnTo>
                    <a:pt x="668440" y="202959"/>
                  </a:lnTo>
                  <a:lnTo>
                    <a:pt x="668440" y="200228"/>
                  </a:lnTo>
                  <a:lnTo>
                    <a:pt x="668440" y="200876"/>
                  </a:lnTo>
                  <a:lnTo>
                    <a:pt x="668440" y="200228"/>
                  </a:lnTo>
                  <a:lnTo>
                    <a:pt x="668440" y="202959"/>
                  </a:lnTo>
                  <a:lnTo>
                    <a:pt x="668541" y="203594"/>
                  </a:lnTo>
                  <a:lnTo>
                    <a:pt x="668541" y="200876"/>
                  </a:lnTo>
                  <a:lnTo>
                    <a:pt x="668541" y="202959"/>
                  </a:lnTo>
                  <a:lnTo>
                    <a:pt x="668592" y="203594"/>
                  </a:lnTo>
                  <a:lnTo>
                    <a:pt x="668592" y="202260"/>
                  </a:lnTo>
                  <a:lnTo>
                    <a:pt x="668592" y="202959"/>
                  </a:lnTo>
                  <a:lnTo>
                    <a:pt x="668592" y="202260"/>
                  </a:lnTo>
                  <a:lnTo>
                    <a:pt x="668592" y="202959"/>
                  </a:lnTo>
                  <a:lnTo>
                    <a:pt x="668643" y="202959"/>
                  </a:lnTo>
                  <a:lnTo>
                    <a:pt x="668643" y="202260"/>
                  </a:lnTo>
                  <a:lnTo>
                    <a:pt x="668643" y="203594"/>
                  </a:lnTo>
                  <a:lnTo>
                    <a:pt x="668744" y="203594"/>
                  </a:lnTo>
                  <a:lnTo>
                    <a:pt x="668744" y="202959"/>
                  </a:lnTo>
                  <a:lnTo>
                    <a:pt x="668744" y="204292"/>
                  </a:lnTo>
                  <a:lnTo>
                    <a:pt x="668744" y="203594"/>
                  </a:lnTo>
                  <a:lnTo>
                    <a:pt x="668744" y="204292"/>
                  </a:lnTo>
                  <a:lnTo>
                    <a:pt x="668744" y="203594"/>
                  </a:lnTo>
                  <a:lnTo>
                    <a:pt x="668744" y="204292"/>
                  </a:lnTo>
                  <a:lnTo>
                    <a:pt x="668744" y="203594"/>
                  </a:lnTo>
                  <a:lnTo>
                    <a:pt x="668744" y="204292"/>
                  </a:lnTo>
                  <a:lnTo>
                    <a:pt x="668744" y="203594"/>
                  </a:lnTo>
                  <a:lnTo>
                    <a:pt x="668795" y="204292"/>
                  </a:lnTo>
                  <a:lnTo>
                    <a:pt x="668795" y="203594"/>
                  </a:lnTo>
                  <a:lnTo>
                    <a:pt x="668846" y="203594"/>
                  </a:lnTo>
                  <a:lnTo>
                    <a:pt x="668846" y="204292"/>
                  </a:lnTo>
                  <a:lnTo>
                    <a:pt x="668846" y="203594"/>
                  </a:lnTo>
                  <a:lnTo>
                    <a:pt x="668884" y="203594"/>
                  </a:lnTo>
                  <a:lnTo>
                    <a:pt x="668884" y="202260"/>
                  </a:lnTo>
                  <a:lnTo>
                    <a:pt x="668884" y="203594"/>
                  </a:lnTo>
                  <a:lnTo>
                    <a:pt x="668986" y="202959"/>
                  </a:lnTo>
                  <a:lnTo>
                    <a:pt x="668986" y="203594"/>
                  </a:lnTo>
                  <a:lnTo>
                    <a:pt x="668986" y="202260"/>
                  </a:lnTo>
                  <a:lnTo>
                    <a:pt x="668986" y="204990"/>
                  </a:lnTo>
                  <a:lnTo>
                    <a:pt x="669037" y="204990"/>
                  </a:lnTo>
                  <a:lnTo>
                    <a:pt x="669037" y="203594"/>
                  </a:lnTo>
                  <a:lnTo>
                    <a:pt x="669037" y="204990"/>
                  </a:lnTo>
                  <a:lnTo>
                    <a:pt x="669087" y="204990"/>
                  </a:lnTo>
                  <a:lnTo>
                    <a:pt x="669087" y="203594"/>
                  </a:lnTo>
                  <a:lnTo>
                    <a:pt x="669087" y="204990"/>
                  </a:lnTo>
                  <a:lnTo>
                    <a:pt x="669087" y="204292"/>
                  </a:lnTo>
                  <a:lnTo>
                    <a:pt x="669189" y="204292"/>
                  </a:lnTo>
                  <a:lnTo>
                    <a:pt x="669189" y="203594"/>
                  </a:lnTo>
                  <a:lnTo>
                    <a:pt x="669189" y="204292"/>
                  </a:lnTo>
                  <a:lnTo>
                    <a:pt x="669240" y="204292"/>
                  </a:lnTo>
                  <a:lnTo>
                    <a:pt x="669240" y="204990"/>
                  </a:lnTo>
                  <a:lnTo>
                    <a:pt x="669240" y="204292"/>
                  </a:lnTo>
                  <a:lnTo>
                    <a:pt x="669291" y="204292"/>
                  </a:lnTo>
                  <a:lnTo>
                    <a:pt x="669291" y="204990"/>
                  </a:lnTo>
                  <a:lnTo>
                    <a:pt x="669291" y="204292"/>
                  </a:lnTo>
                  <a:lnTo>
                    <a:pt x="669341" y="204292"/>
                  </a:lnTo>
                  <a:lnTo>
                    <a:pt x="669341" y="203594"/>
                  </a:lnTo>
                  <a:lnTo>
                    <a:pt x="669341" y="204292"/>
                  </a:lnTo>
                  <a:lnTo>
                    <a:pt x="669341" y="202959"/>
                  </a:lnTo>
                  <a:lnTo>
                    <a:pt x="669430" y="202959"/>
                  </a:lnTo>
                  <a:lnTo>
                    <a:pt x="669430" y="202260"/>
                  </a:lnTo>
                  <a:lnTo>
                    <a:pt x="669430" y="204990"/>
                  </a:lnTo>
                  <a:lnTo>
                    <a:pt x="669430" y="203594"/>
                  </a:lnTo>
                  <a:lnTo>
                    <a:pt x="669481" y="202959"/>
                  </a:lnTo>
                  <a:lnTo>
                    <a:pt x="669481" y="207022"/>
                  </a:lnTo>
                  <a:lnTo>
                    <a:pt x="669481" y="204292"/>
                  </a:lnTo>
                  <a:lnTo>
                    <a:pt x="669532" y="204292"/>
                  </a:lnTo>
                  <a:lnTo>
                    <a:pt x="669532" y="206324"/>
                  </a:lnTo>
                  <a:lnTo>
                    <a:pt x="669532" y="204990"/>
                  </a:lnTo>
                  <a:lnTo>
                    <a:pt x="669532" y="206324"/>
                  </a:lnTo>
                  <a:lnTo>
                    <a:pt x="669532" y="204292"/>
                  </a:lnTo>
                  <a:lnTo>
                    <a:pt x="669532" y="204990"/>
                  </a:lnTo>
                  <a:lnTo>
                    <a:pt x="669583" y="206324"/>
                  </a:lnTo>
                  <a:lnTo>
                    <a:pt x="669583" y="204990"/>
                  </a:lnTo>
                  <a:lnTo>
                    <a:pt x="669583" y="206324"/>
                  </a:lnTo>
                  <a:lnTo>
                    <a:pt x="669583" y="204990"/>
                  </a:lnTo>
                  <a:lnTo>
                    <a:pt x="669684" y="204990"/>
                  </a:lnTo>
                  <a:lnTo>
                    <a:pt x="669684" y="206324"/>
                  </a:lnTo>
                  <a:lnTo>
                    <a:pt x="669684" y="204990"/>
                  </a:lnTo>
                  <a:lnTo>
                    <a:pt x="669684" y="206324"/>
                  </a:lnTo>
                  <a:lnTo>
                    <a:pt x="669684" y="204990"/>
                  </a:lnTo>
                  <a:lnTo>
                    <a:pt x="669684" y="206324"/>
                  </a:lnTo>
                  <a:lnTo>
                    <a:pt x="669684" y="204990"/>
                  </a:lnTo>
                  <a:lnTo>
                    <a:pt x="669735" y="204990"/>
                  </a:lnTo>
                  <a:lnTo>
                    <a:pt x="669735" y="204292"/>
                  </a:lnTo>
                  <a:lnTo>
                    <a:pt x="669735" y="204990"/>
                  </a:lnTo>
                  <a:lnTo>
                    <a:pt x="669786" y="204292"/>
                  </a:lnTo>
                  <a:lnTo>
                    <a:pt x="669786" y="203594"/>
                  </a:lnTo>
                  <a:lnTo>
                    <a:pt x="669786" y="204292"/>
                  </a:lnTo>
                  <a:lnTo>
                    <a:pt x="669786" y="203594"/>
                  </a:lnTo>
                  <a:lnTo>
                    <a:pt x="669887" y="203594"/>
                  </a:lnTo>
                  <a:lnTo>
                    <a:pt x="669887" y="202260"/>
                  </a:lnTo>
                  <a:lnTo>
                    <a:pt x="669887" y="202959"/>
                  </a:lnTo>
                  <a:lnTo>
                    <a:pt x="669887" y="202260"/>
                  </a:lnTo>
                  <a:lnTo>
                    <a:pt x="669926" y="200876"/>
                  </a:lnTo>
                  <a:lnTo>
                    <a:pt x="669926" y="203594"/>
                  </a:lnTo>
                  <a:lnTo>
                    <a:pt x="669926" y="202260"/>
                  </a:lnTo>
                  <a:lnTo>
                    <a:pt x="669976" y="202260"/>
                  </a:lnTo>
                  <a:lnTo>
                    <a:pt x="669976" y="204990"/>
                  </a:lnTo>
                  <a:lnTo>
                    <a:pt x="669976" y="203594"/>
                  </a:lnTo>
                  <a:lnTo>
                    <a:pt x="670027" y="203594"/>
                  </a:lnTo>
                  <a:lnTo>
                    <a:pt x="670027" y="204990"/>
                  </a:lnTo>
                  <a:lnTo>
                    <a:pt x="670027" y="204292"/>
                  </a:lnTo>
                  <a:lnTo>
                    <a:pt x="670027" y="204990"/>
                  </a:lnTo>
                  <a:lnTo>
                    <a:pt x="670129" y="204292"/>
                  </a:lnTo>
                  <a:lnTo>
                    <a:pt x="670129" y="206324"/>
                  </a:lnTo>
                  <a:lnTo>
                    <a:pt x="670129" y="204990"/>
                  </a:lnTo>
                  <a:lnTo>
                    <a:pt x="670180" y="204990"/>
                  </a:lnTo>
                  <a:lnTo>
                    <a:pt x="670180" y="206324"/>
                  </a:lnTo>
                  <a:lnTo>
                    <a:pt x="670180" y="204990"/>
                  </a:lnTo>
                  <a:lnTo>
                    <a:pt x="670180" y="206324"/>
                  </a:lnTo>
                  <a:lnTo>
                    <a:pt x="670180" y="204990"/>
                  </a:lnTo>
                  <a:lnTo>
                    <a:pt x="670180" y="206324"/>
                  </a:lnTo>
                  <a:lnTo>
                    <a:pt x="670180" y="204990"/>
                  </a:lnTo>
                  <a:lnTo>
                    <a:pt x="670230" y="206324"/>
                  </a:lnTo>
                  <a:lnTo>
                    <a:pt x="670230" y="207022"/>
                  </a:lnTo>
                  <a:lnTo>
                    <a:pt x="670230" y="204990"/>
                  </a:lnTo>
                  <a:lnTo>
                    <a:pt x="670230" y="206324"/>
                  </a:lnTo>
                  <a:lnTo>
                    <a:pt x="670230" y="204990"/>
                  </a:lnTo>
                  <a:lnTo>
                    <a:pt x="670332" y="204990"/>
                  </a:lnTo>
                  <a:lnTo>
                    <a:pt x="670332" y="204292"/>
                  </a:lnTo>
                  <a:lnTo>
                    <a:pt x="670383" y="204292"/>
                  </a:lnTo>
                  <a:lnTo>
                    <a:pt x="670383" y="203594"/>
                  </a:lnTo>
                  <a:lnTo>
                    <a:pt x="670383" y="204292"/>
                  </a:lnTo>
                  <a:lnTo>
                    <a:pt x="670383" y="202959"/>
                  </a:lnTo>
                  <a:lnTo>
                    <a:pt x="670383" y="203594"/>
                  </a:lnTo>
                  <a:lnTo>
                    <a:pt x="670433" y="204292"/>
                  </a:lnTo>
                  <a:lnTo>
                    <a:pt x="670433" y="204990"/>
                  </a:lnTo>
                  <a:lnTo>
                    <a:pt x="670433" y="202959"/>
                  </a:lnTo>
                  <a:lnTo>
                    <a:pt x="670433" y="204990"/>
                  </a:lnTo>
                  <a:lnTo>
                    <a:pt x="670472" y="204990"/>
                  </a:lnTo>
                  <a:lnTo>
                    <a:pt x="670472" y="204292"/>
                  </a:lnTo>
                  <a:lnTo>
                    <a:pt x="670472" y="206324"/>
                  </a:lnTo>
                  <a:lnTo>
                    <a:pt x="670472" y="204990"/>
                  </a:lnTo>
                  <a:lnTo>
                    <a:pt x="670573" y="204990"/>
                  </a:lnTo>
                  <a:lnTo>
                    <a:pt x="670573" y="204292"/>
                  </a:lnTo>
                  <a:lnTo>
                    <a:pt x="670573" y="204990"/>
                  </a:lnTo>
                  <a:lnTo>
                    <a:pt x="670624" y="204990"/>
                  </a:lnTo>
                  <a:lnTo>
                    <a:pt x="670624" y="204292"/>
                  </a:lnTo>
                  <a:lnTo>
                    <a:pt x="670624" y="206324"/>
                  </a:lnTo>
                  <a:lnTo>
                    <a:pt x="670624" y="204990"/>
                  </a:lnTo>
                  <a:lnTo>
                    <a:pt x="670624" y="206324"/>
                  </a:lnTo>
                  <a:lnTo>
                    <a:pt x="670675" y="204990"/>
                  </a:lnTo>
                  <a:lnTo>
                    <a:pt x="670675" y="206324"/>
                  </a:lnTo>
                  <a:lnTo>
                    <a:pt x="670675" y="204990"/>
                  </a:lnTo>
                  <a:lnTo>
                    <a:pt x="670675" y="206324"/>
                  </a:lnTo>
                  <a:lnTo>
                    <a:pt x="670675" y="204990"/>
                  </a:lnTo>
                  <a:lnTo>
                    <a:pt x="670675" y="206324"/>
                  </a:lnTo>
                  <a:lnTo>
                    <a:pt x="670675" y="204990"/>
                  </a:lnTo>
                  <a:lnTo>
                    <a:pt x="670776" y="204990"/>
                  </a:lnTo>
                  <a:lnTo>
                    <a:pt x="670776" y="206324"/>
                  </a:lnTo>
                  <a:lnTo>
                    <a:pt x="670776" y="204990"/>
                  </a:lnTo>
                  <a:lnTo>
                    <a:pt x="670776" y="206324"/>
                  </a:lnTo>
                  <a:lnTo>
                    <a:pt x="670776" y="204990"/>
                  </a:lnTo>
                  <a:lnTo>
                    <a:pt x="670827" y="204990"/>
                  </a:lnTo>
                  <a:lnTo>
                    <a:pt x="670827" y="204292"/>
                  </a:lnTo>
                  <a:lnTo>
                    <a:pt x="670827" y="204990"/>
                  </a:lnTo>
                  <a:lnTo>
                    <a:pt x="670827" y="203594"/>
                  </a:lnTo>
                  <a:lnTo>
                    <a:pt x="670878" y="203594"/>
                  </a:lnTo>
                  <a:lnTo>
                    <a:pt x="670878" y="202959"/>
                  </a:lnTo>
                  <a:lnTo>
                    <a:pt x="670878" y="203594"/>
                  </a:lnTo>
                  <a:lnTo>
                    <a:pt x="670878" y="200228"/>
                  </a:lnTo>
                  <a:lnTo>
                    <a:pt x="670929" y="200876"/>
                  </a:lnTo>
                  <a:lnTo>
                    <a:pt x="670929" y="200228"/>
                  </a:lnTo>
                  <a:lnTo>
                    <a:pt x="670929" y="202959"/>
                  </a:lnTo>
                  <a:lnTo>
                    <a:pt x="670929" y="200228"/>
                  </a:lnTo>
                  <a:lnTo>
                    <a:pt x="670929" y="200876"/>
                  </a:lnTo>
                  <a:lnTo>
                    <a:pt x="671018" y="200876"/>
                  </a:lnTo>
                  <a:lnTo>
                    <a:pt x="671018" y="203594"/>
                  </a:lnTo>
                  <a:lnTo>
                    <a:pt x="671018" y="202260"/>
                  </a:lnTo>
                  <a:lnTo>
                    <a:pt x="671018" y="202959"/>
                  </a:lnTo>
                  <a:lnTo>
                    <a:pt x="671068" y="202959"/>
                  </a:lnTo>
                  <a:lnTo>
                    <a:pt x="671068" y="203594"/>
                  </a:lnTo>
                  <a:lnTo>
                    <a:pt x="671068" y="202959"/>
                  </a:lnTo>
                  <a:lnTo>
                    <a:pt x="671068" y="203594"/>
                  </a:lnTo>
                  <a:lnTo>
                    <a:pt x="671119" y="203594"/>
                  </a:lnTo>
                  <a:lnTo>
                    <a:pt x="671119" y="204292"/>
                  </a:lnTo>
                  <a:lnTo>
                    <a:pt x="671119" y="203594"/>
                  </a:lnTo>
                  <a:lnTo>
                    <a:pt x="671119" y="204292"/>
                  </a:lnTo>
                  <a:lnTo>
                    <a:pt x="671170" y="204292"/>
                  </a:lnTo>
                  <a:lnTo>
                    <a:pt x="671170" y="204990"/>
                  </a:lnTo>
                  <a:lnTo>
                    <a:pt x="671170" y="204292"/>
                  </a:lnTo>
                  <a:lnTo>
                    <a:pt x="671170" y="206324"/>
                  </a:lnTo>
                  <a:lnTo>
                    <a:pt x="671170" y="204990"/>
                  </a:lnTo>
                  <a:lnTo>
                    <a:pt x="671170" y="206324"/>
                  </a:lnTo>
                  <a:lnTo>
                    <a:pt x="671272" y="206324"/>
                  </a:lnTo>
                  <a:lnTo>
                    <a:pt x="671272" y="204990"/>
                  </a:lnTo>
                  <a:lnTo>
                    <a:pt x="671272" y="206324"/>
                  </a:lnTo>
                  <a:lnTo>
                    <a:pt x="671272" y="204990"/>
                  </a:lnTo>
                  <a:lnTo>
                    <a:pt x="671322" y="204990"/>
                  </a:lnTo>
                  <a:lnTo>
                    <a:pt x="671322" y="203594"/>
                  </a:lnTo>
                  <a:lnTo>
                    <a:pt x="671373" y="203594"/>
                  </a:lnTo>
                  <a:lnTo>
                    <a:pt x="671373" y="204292"/>
                  </a:lnTo>
                  <a:lnTo>
                    <a:pt x="671373" y="202260"/>
                  </a:lnTo>
                  <a:lnTo>
                    <a:pt x="671373" y="202959"/>
                  </a:lnTo>
                  <a:lnTo>
                    <a:pt x="671373" y="200876"/>
                  </a:lnTo>
                  <a:lnTo>
                    <a:pt x="671373" y="202260"/>
                  </a:lnTo>
                  <a:lnTo>
                    <a:pt x="671373" y="200876"/>
                  </a:lnTo>
                  <a:lnTo>
                    <a:pt x="671475" y="200876"/>
                  </a:lnTo>
                  <a:lnTo>
                    <a:pt x="671475" y="202959"/>
                  </a:lnTo>
                  <a:lnTo>
                    <a:pt x="671475" y="200876"/>
                  </a:lnTo>
                  <a:lnTo>
                    <a:pt x="671475" y="202260"/>
                  </a:lnTo>
                  <a:lnTo>
                    <a:pt x="671475" y="200228"/>
                  </a:lnTo>
                  <a:lnTo>
                    <a:pt x="671475" y="202959"/>
                  </a:lnTo>
                  <a:lnTo>
                    <a:pt x="671513" y="203594"/>
                  </a:lnTo>
                  <a:lnTo>
                    <a:pt x="671513" y="204292"/>
                  </a:lnTo>
                  <a:lnTo>
                    <a:pt x="671513" y="200876"/>
                  </a:lnTo>
                  <a:lnTo>
                    <a:pt x="671513" y="202959"/>
                  </a:lnTo>
                  <a:lnTo>
                    <a:pt x="671564" y="202959"/>
                  </a:lnTo>
                  <a:lnTo>
                    <a:pt x="671564" y="202260"/>
                  </a:lnTo>
                  <a:lnTo>
                    <a:pt x="671564" y="202959"/>
                  </a:lnTo>
                  <a:lnTo>
                    <a:pt x="671564" y="202260"/>
                  </a:lnTo>
                  <a:lnTo>
                    <a:pt x="671564" y="202959"/>
                  </a:lnTo>
                  <a:lnTo>
                    <a:pt x="671615" y="202959"/>
                  </a:lnTo>
                  <a:lnTo>
                    <a:pt x="671615" y="203594"/>
                  </a:lnTo>
                  <a:lnTo>
                    <a:pt x="671615" y="202959"/>
                  </a:lnTo>
                  <a:lnTo>
                    <a:pt x="671615" y="203594"/>
                  </a:lnTo>
                  <a:lnTo>
                    <a:pt x="671716" y="203594"/>
                  </a:lnTo>
                  <a:lnTo>
                    <a:pt x="671716" y="204292"/>
                  </a:lnTo>
                  <a:lnTo>
                    <a:pt x="671716" y="203594"/>
                  </a:lnTo>
                  <a:lnTo>
                    <a:pt x="671716" y="204990"/>
                  </a:lnTo>
                  <a:lnTo>
                    <a:pt x="671716" y="204292"/>
                  </a:lnTo>
                  <a:lnTo>
                    <a:pt x="671716" y="204990"/>
                  </a:lnTo>
                  <a:lnTo>
                    <a:pt x="671716" y="204292"/>
                  </a:lnTo>
                  <a:lnTo>
                    <a:pt x="671767" y="204292"/>
                  </a:lnTo>
                  <a:lnTo>
                    <a:pt x="671767" y="204990"/>
                  </a:lnTo>
                  <a:lnTo>
                    <a:pt x="671767" y="204292"/>
                  </a:lnTo>
                  <a:lnTo>
                    <a:pt x="671818" y="204292"/>
                  </a:lnTo>
                  <a:lnTo>
                    <a:pt x="671818" y="203594"/>
                  </a:lnTo>
                  <a:lnTo>
                    <a:pt x="671818" y="204292"/>
                  </a:lnTo>
                  <a:lnTo>
                    <a:pt x="671818" y="203594"/>
                  </a:lnTo>
                  <a:lnTo>
                    <a:pt x="671818" y="204292"/>
                  </a:lnTo>
                  <a:lnTo>
                    <a:pt x="671818" y="203594"/>
                  </a:lnTo>
                  <a:lnTo>
                    <a:pt x="671818" y="204292"/>
                  </a:lnTo>
                  <a:lnTo>
                    <a:pt x="671919" y="204292"/>
                  </a:lnTo>
                  <a:lnTo>
                    <a:pt x="671919" y="202260"/>
                  </a:lnTo>
                  <a:lnTo>
                    <a:pt x="671919" y="203594"/>
                  </a:lnTo>
                  <a:lnTo>
                    <a:pt x="671970" y="203594"/>
                  </a:lnTo>
                  <a:lnTo>
                    <a:pt x="671970" y="204292"/>
                  </a:lnTo>
                  <a:lnTo>
                    <a:pt x="671970" y="203594"/>
                  </a:lnTo>
                  <a:lnTo>
                    <a:pt x="671970" y="204292"/>
                  </a:lnTo>
                  <a:lnTo>
                    <a:pt x="671970" y="202260"/>
                  </a:lnTo>
                  <a:lnTo>
                    <a:pt x="671970" y="204990"/>
                  </a:lnTo>
                  <a:lnTo>
                    <a:pt x="672021" y="204990"/>
                  </a:lnTo>
                  <a:lnTo>
                    <a:pt x="672021" y="203594"/>
                  </a:lnTo>
                  <a:lnTo>
                    <a:pt x="672021" y="204292"/>
                  </a:lnTo>
                  <a:lnTo>
                    <a:pt x="672059" y="204292"/>
                  </a:lnTo>
                  <a:lnTo>
                    <a:pt x="672059" y="204990"/>
                  </a:lnTo>
                  <a:lnTo>
                    <a:pt x="672059" y="204292"/>
                  </a:lnTo>
                  <a:lnTo>
                    <a:pt x="672059" y="204990"/>
                  </a:lnTo>
                  <a:lnTo>
                    <a:pt x="672059" y="204292"/>
                  </a:lnTo>
                  <a:lnTo>
                    <a:pt x="672059" y="204990"/>
                  </a:lnTo>
                  <a:lnTo>
                    <a:pt x="672059" y="204292"/>
                  </a:lnTo>
                  <a:lnTo>
                    <a:pt x="672161" y="204292"/>
                  </a:lnTo>
                  <a:lnTo>
                    <a:pt x="672161" y="204990"/>
                  </a:lnTo>
                  <a:lnTo>
                    <a:pt x="672161" y="204292"/>
                  </a:lnTo>
                  <a:lnTo>
                    <a:pt x="672161" y="204990"/>
                  </a:lnTo>
                  <a:lnTo>
                    <a:pt x="672212" y="204990"/>
                  </a:lnTo>
                  <a:lnTo>
                    <a:pt x="672212" y="204292"/>
                  </a:lnTo>
                  <a:lnTo>
                    <a:pt x="672212" y="204990"/>
                  </a:lnTo>
                  <a:lnTo>
                    <a:pt x="672212" y="204292"/>
                  </a:lnTo>
                  <a:lnTo>
                    <a:pt x="672212" y="206324"/>
                  </a:lnTo>
                  <a:lnTo>
                    <a:pt x="672212" y="204292"/>
                  </a:lnTo>
                  <a:lnTo>
                    <a:pt x="672262" y="204990"/>
                  </a:lnTo>
                  <a:lnTo>
                    <a:pt x="672262" y="204292"/>
                  </a:lnTo>
                  <a:lnTo>
                    <a:pt x="672262" y="204990"/>
                  </a:lnTo>
                  <a:lnTo>
                    <a:pt x="672262" y="204292"/>
                  </a:lnTo>
                  <a:lnTo>
                    <a:pt x="672262" y="204990"/>
                  </a:lnTo>
                  <a:lnTo>
                    <a:pt x="672262" y="204292"/>
                  </a:lnTo>
                  <a:lnTo>
                    <a:pt x="672262" y="204990"/>
                  </a:lnTo>
                  <a:lnTo>
                    <a:pt x="672262" y="204292"/>
                  </a:lnTo>
                  <a:lnTo>
                    <a:pt x="672364" y="204292"/>
                  </a:lnTo>
                  <a:lnTo>
                    <a:pt x="672364" y="203594"/>
                  </a:lnTo>
                  <a:lnTo>
                    <a:pt x="672364" y="204990"/>
                  </a:lnTo>
                  <a:lnTo>
                    <a:pt x="672364" y="203594"/>
                  </a:lnTo>
                  <a:lnTo>
                    <a:pt x="672415" y="203594"/>
                  </a:lnTo>
                  <a:lnTo>
                    <a:pt x="672415" y="202959"/>
                  </a:lnTo>
                  <a:lnTo>
                    <a:pt x="672415" y="204990"/>
                  </a:lnTo>
                  <a:lnTo>
                    <a:pt x="672415" y="204292"/>
                  </a:lnTo>
                  <a:lnTo>
                    <a:pt x="672415" y="204990"/>
                  </a:lnTo>
                  <a:lnTo>
                    <a:pt x="672415" y="204292"/>
                  </a:lnTo>
                  <a:lnTo>
                    <a:pt x="672466" y="204292"/>
                  </a:lnTo>
                  <a:lnTo>
                    <a:pt x="672466" y="203594"/>
                  </a:lnTo>
                  <a:lnTo>
                    <a:pt x="672466" y="207022"/>
                  </a:lnTo>
                  <a:lnTo>
                    <a:pt x="672466" y="204990"/>
                  </a:lnTo>
                  <a:lnTo>
                    <a:pt x="672516" y="204990"/>
                  </a:lnTo>
                  <a:lnTo>
                    <a:pt x="672516" y="206324"/>
                  </a:lnTo>
                  <a:lnTo>
                    <a:pt x="672516" y="204990"/>
                  </a:lnTo>
                  <a:lnTo>
                    <a:pt x="672605" y="204990"/>
                  </a:lnTo>
                  <a:lnTo>
                    <a:pt x="672605" y="204292"/>
                  </a:lnTo>
                  <a:lnTo>
                    <a:pt x="672605" y="206324"/>
                  </a:lnTo>
                  <a:lnTo>
                    <a:pt x="672605" y="204292"/>
                  </a:lnTo>
                  <a:lnTo>
                    <a:pt x="672605" y="204990"/>
                  </a:lnTo>
                  <a:lnTo>
                    <a:pt x="672656" y="204990"/>
                  </a:lnTo>
                  <a:lnTo>
                    <a:pt x="672656" y="204292"/>
                  </a:lnTo>
                  <a:lnTo>
                    <a:pt x="672656" y="206324"/>
                  </a:lnTo>
                  <a:lnTo>
                    <a:pt x="672656" y="204990"/>
                  </a:lnTo>
                  <a:lnTo>
                    <a:pt x="672707" y="204990"/>
                  </a:lnTo>
                  <a:lnTo>
                    <a:pt x="672707" y="204292"/>
                  </a:lnTo>
                  <a:lnTo>
                    <a:pt x="672707" y="204990"/>
                  </a:lnTo>
                  <a:lnTo>
                    <a:pt x="672758" y="204990"/>
                  </a:lnTo>
                  <a:lnTo>
                    <a:pt x="672758" y="203594"/>
                  </a:lnTo>
                  <a:lnTo>
                    <a:pt x="672859" y="203594"/>
                  </a:lnTo>
                  <a:lnTo>
                    <a:pt x="672859" y="202959"/>
                  </a:lnTo>
                  <a:lnTo>
                    <a:pt x="672859" y="203594"/>
                  </a:lnTo>
                  <a:lnTo>
                    <a:pt x="672859" y="202260"/>
                  </a:lnTo>
                  <a:lnTo>
                    <a:pt x="672910" y="202260"/>
                  </a:lnTo>
                  <a:lnTo>
                    <a:pt x="672910" y="204292"/>
                  </a:lnTo>
                  <a:lnTo>
                    <a:pt x="672910" y="202260"/>
                  </a:lnTo>
                  <a:lnTo>
                    <a:pt x="672910" y="202959"/>
                  </a:lnTo>
                  <a:lnTo>
                    <a:pt x="672961" y="204292"/>
                  </a:lnTo>
                  <a:lnTo>
                    <a:pt x="672961" y="204990"/>
                  </a:lnTo>
                  <a:lnTo>
                    <a:pt x="672961" y="204292"/>
                  </a:lnTo>
                  <a:lnTo>
                    <a:pt x="672961" y="204990"/>
                  </a:lnTo>
                  <a:lnTo>
                    <a:pt x="673062" y="204990"/>
                  </a:lnTo>
                  <a:lnTo>
                    <a:pt x="673062" y="206324"/>
                  </a:lnTo>
                  <a:lnTo>
                    <a:pt x="673062" y="204990"/>
                  </a:lnTo>
                  <a:lnTo>
                    <a:pt x="673062" y="206324"/>
                  </a:lnTo>
                  <a:lnTo>
                    <a:pt x="673101" y="206324"/>
                  </a:lnTo>
                  <a:lnTo>
                    <a:pt x="673101" y="207022"/>
                  </a:lnTo>
                  <a:lnTo>
                    <a:pt x="673101" y="206324"/>
                  </a:lnTo>
                  <a:lnTo>
                    <a:pt x="673151" y="206324"/>
                  </a:lnTo>
                  <a:lnTo>
                    <a:pt x="673151" y="207022"/>
                  </a:lnTo>
                  <a:lnTo>
                    <a:pt x="673151" y="206324"/>
                  </a:lnTo>
                  <a:lnTo>
                    <a:pt x="673202" y="206324"/>
                  </a:lnTo>
                  <a:lnTo>
                    <a:pt x="673202" y="204990"/>
                  </a:lnTo>
                  <a:lnTo>
                    <a:pt x="673202" y="206324"/>
                  </a:lnTo>
                  <a:lnTo>
                    <a:pt x="673202" y="204990"/>
                  </a:lnTo>
                  <a:lnTo>
                    <a:pt x="673304" y="204292"/>
                  </a:lnTo>
                  <a:lnTo>
                    <a:pt x="673304" y="202959"/>
                  </a:lnTo>
                  <a:lnTo>
                    <a:pt x="673304" y="203594"/>
                  </a:lnTo>
                  <a:lnTo>
                    <a:pt x="673355" y="203594"/>
                  </a:lnTo>
                  <a:lnTo>
                    <a:pt x="673355" y="202959"/>
                  </a:lnTo>
                  <a:lnTo>
                    <a:pt x="673355" y="204990"/>
                  </a:lnTo>
                  <a:lnTo>
                    <a:pt x="673405" y="204292"/>
                  </a:lnTo>
                  <a:lnTo>
                    <a:pt x="673405" y="203594"/>
                  </a:lnTo>
                  <a:lnTo>
                    <a:pt x="673405" y="206324"/>
                  </a:lnTo>
                  <a:lnTo>
                    <a:pt x="673405" y="204990"/>
                  </a:lnTo>
                  <a:lnTo>
                    <a:pt x="673405" y="206324"/>
                  </a:lnTo>
                  <a:lnTo>
                    <a:pt x="673405" y="204990"/>
                  </a:lnTo>
                  <a:lnTo>
                    <a:pt x="673507" y="204990"/>
                  </a:lnTo>
                  <a:lnTo>
                    <a:pt x="673507" y="204292"/>
                  </a:lnTo>
                  <a:lnTo>
                    <a:pt x="673507" y="206324"/>
                  </a:lnTo>
                  <a:lnTo>
                    <a:pt x="673507" y="204990"/>
                  </a:lnTo>
                  <a:lnTo>
                    <a:pt x="673558" y="204990"/>
                  </a:lnTo>
                  <a:lnTo>
                    <a:pt x="673608" y="206324"/>
                  </a:lnTo>
                  <a:lnTo>
                    <a:pt x="673608" y="204990"/>
                  </a:lnTo>
                  <a:lnTo>
                    <a:pt x="673608" y="206324"/>
                  </a:lnTo>
                  <a:lnTo>
                    <a:pt x="673608" y="204990"/>
                  </a:lnTo>
                  <a:lnTo>
                    <a:pt x="673608" y="206324"/>
                  </a:lnTo>
                  <a:lnTo>
                    <a:pt x="673608" y="204990"/>
                  </a:lnTo>
                  <a:lnTo>
                    <a:pt x="673647" y="206324"/>
                  </a:lnTo>
                  <a:lnTo>
                    <a:pt x="673647" y="204990"/>
                  </a:lnTo>
                  <a:lnTo>
                    <a:pt x="673748" y="204990"/>
                  </a:lnTo>
                  <a:lnTo>
                    <a:pt x="673748" y="206324"/>
                  </a:lnTo>
                  <a:lnTo>
                    <a:pt x="673748" y="204990"/>
                  </a:lnTo>
                  <a:lnTo>
                    <a:pt x="673748" y="206324"/>
                  </a:lnTo>
                  <a:lnTo>
                    <a:pt x="673748" y="204292"/>
                  </a:lnTo>
                  <a:lnTo>
                    <a:pt x="673799" y="204292"/>
                  </a:lnTo>
                  <a:lnTo>
                    <a:pt x="673799" y="202959"/>
                  </a:lnTo>
                  <a:lnTo>
                    <a:pt x="673850" y="202959"/>
                  </a:lnTo>
                  <a:lnTo>
                    <a:pt x="673850" y="204990"/>
                  </a:lnTo>
                  <a:lnTo>
                    <a:pt x="673850" y="202959"/>
                  </a:lnTo>
                  <a:lnTo>
                    <a:pt x="673951" y="202959"/>
                  </a:lnTo>
                  <a:lnTo>
                    <a:pt x="673951" y="206324"/>
                  </a:lnTo>
                  <a:lnTo>
                    <a:pt x="673951" y="204292"/>
                  </a:lnTo>
                  <a:lnTo>
                    <a:pt x="674002" y="204292"/>
                  </a:lnTo>
                  <a:lnTo>
                    <a:pt x="674002" y="204990"/>
                  </a:lnTo>
                  <a:lnTo>
                    <a:pt x="674002" y="204292"/>
                  </a:lnTo>
                  <a:lnTo>
                    <a:pt x="674002" y="204990"/>
                  </a:lnTo>
                  <a:lnTo>
                    <a:pt x="674002" y="204292"/>
                  </a:lnTo>
                  <a:lnTo>
                    <a:pt x="674053" y="204990"/>
                  </a:lnTo>
                  <a:lnTo>
                    <a:pt x="674053" y="204292"/>
                  </a:lnTo>
                  <a:lnTo>
                    <a:pt x="674053" y="204990"/>
                  </a:lnTo>
                  <a:lnTo>
                    <a:pt x="674053" y="204292"/>
                  </a:lnTo>
                  <a:lnTo>
                    <a:pt x="674053" y="206324"/>
                  </a:lnTo>
                  <a:lnTo>
                    <a:pt x="674104" y="206324"/>
                  </a:lnTo>
                  <a:lnTo>
                    <a:pt x="674104" y="204990"/>
                  </a:lnTo>
                  <a:lnTo>
                    <a:pt x="674104" y="206324"/>
                  </a:lnTo>
                  <a:lnTo>
                    <a:pt x="674104" y="204990"/>
                  </a:lnTo>
                  <a:lnTo>
                    <a:pt x="674193" y="206324"/>
                  </a:lnTo>
                  <a:lnTo>
                    <a:pt x="674193" y="204990"/>
                  </a:lnTo>
                  <a:lnTo>
                    <a:pt x="674243" y="204990"/>
                  </a:lnTo>
                  <a:lnTo>
                    <a:pt x="674243" y="204292"/>
                  </a:lnTo>
                  <a:lnTo>
                    <a:pt x="674243" y="204990"/>
                  </a:lnTo>
                  <a:lnTo>
                    <a:pt x="674243" y="203594"/>
                  </a:lnTo>
                  <a:lnTo>
                    <a:pt x="674294" y="203594"/>
                  </a:lnTo>
                  <a:lnTo>
                    <a:pt x="674294" y="202959"/>
                  </a:lnTo>
                  <a:lnTo>
                    <a:pt x="674294" y="204292"/>
                  </a:lnTo>
                  <a:lnTo>
                    <a:pt x="674294" y="203594"/>
                  </a:lnTo>
                  <a:lnTo>
                    <a:pt x="674345" y="203594"/>
                  </a:lnTo>
                  <a:lnTo>
                    <a:pt x="674345" y="202959"/>
                  </a:lnTo>
                  <a:lnTo>
                    <a:pt x="674345" y="207022"/>
                  </a:lnTo>
                  <a:lnTo>
                    <a:pt x="674345" y="204292"/>
                  </a:lnTo>
                  <a:lnTo>
                    <a:pt x="674447" y="204292"/>
                  </a:lnTo>
                  <a:lnTo>
                    <a:pt x="674447" y="203594"/>
                  </a:lnTo>
                  <a:lnTo>
                    <a:pt x="674447" y="206324"/>
                  </a:lnTo>
                  <a:lnTo>
                    <a:pt x="674447" y="204990"/>
                  </a:lnTo>
                  <a:lnTo>
                    <a:pt x="674447" y="206324"/>
                  </a:lnTo>
                  <a:lnTo>
                    <a:pt x="674447" y="204990"/>
                  </a:lnTo>
                  <a:lnTo>
                    <a:pt x="674497" y="204990"/>
                  </a:lnTo>
                  <a:lnTo>
                    <a:pt x="674497" y="206324"/>
                  </a:lnTo>
                  <a:lnTo>
                    <a:pt x="674497" y="204990"/>
                  </a:lnTo>
                  <a:lnTo>
                    <a:pt x="674497" y="206324"/>
                  </a:lnTo>
                  <a:lnTo>
                    <a:pt x="674497" y="204990"/>
                  </a:lnTo>
                  <a:lnTo>
                    <a:pt x="674497" y="206324"/>
                  </a:lnTo>
                  <a:lnTo>
                    <a:pt x="674497" y="204990"/>
                  </a:lnTo>
                  <a:lnTo>
                    <a:pt x="674497" y="206324"/>
                  </a:lnTo>
                  <a:lnTo>
                    <a:pt x="674497" y="204292"/>
                  </a:lnTo>
                  <a:lnTo>
                    <a:pt x="674548" y="204292"/>
                  </a:lnTo>
                  <a:lnTo>
                    <a:pt x="674548" y="204990"/>
                  </a:lnTo>
                  <a:lnTo>
                    <a:pt x="674548" y="204292"/>
                  </a:lnTo>
                  <a:lnTo>
                    <a:pt x="674548" y="204990"/>
                  </a:lnTo>
                  <a:lnTo>
                    <a:pt x="674650" y="204292"/>
                  </a:lnTo>
                  <a:lnTo>
                    <a:pt x="674650" y="204990"/>
                  </a:lnTo>
                  <a:lnTo>
                    <a:pt x="674650" y="204292"/>
                  </a:lnTo>
                  <a:lnTo>
                    <a:pt x="674650" y="204990"/>
                  </a:lnTo>
                  <a:lnTo>
                    <a:pt x="674688" y="204990"/>
                  </a:lnTo>
                  <a:lnTo>
                    <a:pt x="674688" y="204292"/>
                  </a:lnTo>
                  <a:lnTo>
                    <a:pt x="674688" y="204990"/>
                  </a:lnTo>
                  <a:lnTo>
                    <a:pt x="674688" y="203594"/>
                  </a:lnTo>
                  <a:lnTo>
                    <a:pt x="674739" y="203594"/>
                  </a:lnTo>
                  <a:lnTo>
                    <a:pt x="674739" y="204292"/>
                  </a:lnTo>
                  <a:lnTo>
                    <a:pt x="674739" y="203594"/>
                  </a:lnTo>
                  <a:lnTo>
                    <a:pt x="674739" y="204292"/>
                  </a:lnTo>
                  <a:lnTo>
                    <a:pt x="674739" y="203594"/>
                  </a:lnTo>
                  <a:lnTo>
                    <a:pt x="674739" y="204292"/>
                  </a:lnTo>
                  <a:lnTo>
                    <a:pt x="674790" y="204292"/>
                  </a:lnTo>
                  <a:lnTo>
                    <a:pt x="674790" y="204990"/>
                  </a:lnTo>
                  <a:lnTo>
                    <a:pt x="674790" y="203594"/>
                  </a:lnTo>
                  <a:lnTo>
                    <a:pt x="674790" y="207022"/>
                  </a:lnTo>
                  <a:lnTo>
                    <a:pt x="674891" y="207022"/>
                  </a:lnTo>
                  <a:lnTo>
                    <a:pt x="674891" y="204990"/>
                  </a:lnTo>
                  <a:lnTo>
                    <a:pt x="674891" y="206324"/>
                  </a:lnTo>
                  <a:lnTo>
                    <a:pt x="674891" y="204990"/>
                  </a:lnTo>
                  <a:lnTo>
                    <a:pt x="674891" y="206324"/>
                  </a:lnTo>
                  <a:lnTo>
                    <a:pt x="674942" y="206324"/>
                  </a:lnTo>
                  <a:lnTo>
                    <a:pt x="674942" y="204990"/>
                  </a:lnTo>
                  <a:lnTo>
                    <a:pt x="674942" y="206324"/>
                  </a:lnTo>
                  <a:lnTo>
                    <a:pt x="675094" y="206324"/>
                  </a:lnTo>
                  <a:lnTo>
                    <a:pt x="675094" y="207022"/>
                  </a:lnTo>
                  <a:lnTo>
                    <a:pt x="675094" y="206324"/>
                  </a:lnTo>
                  <a:lnTo>
                    <a:pt x="675145" y="206324"/>
                  </a:lnTo>
                  <a:lnTo>
                    <a:pt x="675145" y="204990"/>
                  </a:lnTo>
                  <a:lnTo>
                    <a:pt x="675145" y="206324"/>
                  </a:lnTo>
                  <a:lnTo>
                    <a:pt x="675145" y="204990"/>
                  </a:lnTo>
                  <a:lnTo>
                    <a:pt x="675196" y="204990"/>
                  </a:lnTo>
                  <a:lnTo>
                    <a:pt x="675196" y="203594"/>
                  </a:lnTo>
                  <a:lnTo>
                    <a:pt x="675196" y="204292"/>
                  </a:lnTo>
                  <a:lnTo>
                    <a:pt x="675234" y="203594"/>
                  </a:lnTo>
                  <a:lnTo>
                    <a:pt x="675234" y="204292"/>
                  </a:lnTo>
                  <a:lnTo>
                    <a:pt x="675234" y="203594"/>
                  </a:lnTo>
                  <a:lnTo>
                    <a:pt x="675336" y="203594"/>
                  </a:lnTo>
                  <a:lnTo>
                    <a:pt x="675336" y="202959"/>
                  </a:lnTo>
                  <a:lnTo>
                    <a:pt x="675336" y="206324"/>
                  </a:lnTo>
                  <a:lnTo>
                    <a:pt x="675336" y="204990"/>
                  </a:lnTo>
                  <a:lnTo>
                    <a:pt x="675387" y="204990"/>
                  </a:lnTo>
                  <a:lnTo>
                    <a:pt x="675387" y="207022"/>
                  </a:lnTo>
                  <a:lnTo>
                    <a:pt x="675387" y="204990"/>
                  </a:lnTo>
                  <a:lnTo>
                    <a:pt x="675387" y="206324"/>
                  </a:lnTo>
                  <a:lnTo>
                    <a:pt x="675437" y="206324"/>
                  </a:lnTo>
                  <a:lnTo>
                    <a:pt x="675437" y="204990"/>
                  </a:lnTo>
                  <a:lnTo>
                    <a:pt x="675437" y="207022"/>
                  </a:lnTo>
                  <a:lnTo>
                    <a:pt x="675437" y="206324"/>
                  </a:lnTo>
                  <a:lnTo>
                    <a:pt x="675539" y="207022"/>
                  </a:lnTo>
                  <a:lnTo>
                    <a:pt x="675539" y="206324"/>
                  </a:lnTo>
                  <a:lnTo>
                    <a:pt x="675539" y="207022"/>
                  </a:lnTo>
                  <a:lnTo>
                    <a:pt x="675539" y="206324"/>
                  </a:lnTo>
                  <a:lnTo>
                    <a:pt x="675590" y="206324"/>
                  </a:lnTo>
                  <a:lnTo>
                    <a:pt x="675590" y="207022"/>
                  </a:lnTo>
                  <a:lnTo>
                    <a:pt x="675590" y="204990"/>
                  </a:lnTo>
                  <a:lnTo>
                    <a:pt x="675590" y="206324"/>
                  </a:lnTo>
                  <a:lnTo>
                    <a:pt x="675641" y="206324"/>
                  </a:lnTo>
                  <a:lnTo>
                    <a:pt x="675641" y="203594"/>
                  </a:lnTo>
                  <a:lnTo>
                    <a:pt x="675691" y="203594"/>
                  </a:lnTo>
                  <a:lnTo>
                    <a:pt x="675691" y="200876"/>
                  </a:lnTo>
                  <a:lnTo>
                    <a:pt x="675780" y="200876"/>
                  </a:lnTo>
                  <a:lnTo>
                    <a:pt x="675780" y="202959"/>
                  </a:lnTo>
                  <a:lnTo>
                    <a:pt x="675780" y="200876"/>
                  </a:lnTo>
                  <a:lnTo>
                    <a:pt x="675831" y="200876"/>
                  </a:lnTo>
                  <a:lnTo>
                    <a:pt x="675831" y="204292"/>
                  </a:lnTo>
                  <a:lnTo>
                    <a:pt x="675831" y="202959"/>
                  </a:lnTo>
                  <a:lnTo>
                    <a:pt x="675831" y="203594"/>
                  </a:lnTo>
                  <a:lnTo>
                    <a:pt x="675831" y="202959"/>
                  </a:lnTo>
                  <a:lnTo>
                    <a:pt x="675831" y="203594"/>
                  </a:lnTo>
                  <a:lnTo>
                    <a:pt x="675882" y="203594"/>
                  </a:lnTo>
                  <a:lnTo>
                    <a:pt x="675882" y="204292"/>
                  </a:lnTo>
                  <a:lnTo>
                    <a:pt x="675882" y="203594"/>
                  </a:lnTo>
                  <a:lnTo>
                    <a:pt x="675882" y="204292"/>
                  </a:lnTo>
                  <a:lnTo>
                    <a:pt x="675882" y="203594"/>
                  </a:lnTo>
                  <a:lnTo>
                    <a:pt x="675882" y="204292"/>
                  </a:lnTo>
                  <a:lnTo>
                    <a:pt x="675933" y="204292"/>
                  </a:lnTo>
                  <a:lnTo>
                    <a:pt x="675933" y="203594"/>
                  </a:lnTo>
                  <a:lnTo>
                    <a:pt x="675933" y="204292"/>
                  </a:lnTo>
                  <a:lnTo>
                    <a:pt x="675933" y="203594"/>
                  </a:lnTo>
                  <a:lnTo>
                    <a:pt x="675933" y="204292"/>
                  </a:lnTo>
                  <a:lnTo>
                    <a:pt x="676034" y="204990"/>
                  </a:lnTo>
                  <a:lnTo>
                    <a:pt x="676034" y="204292"/>
                  </a:lnTo>
                  <a:lnTo>
                    <a:pt x="676034" y="204990"/>
                  </a:lnTo>
                  <a:lnTo>
                    <a:pt x="676034" y="204292"/>
                  </a:lnTo>
                  <a:lnTo>
                    <a:pt x="676034" y="204990"/>
                  </a:lnTo>
                  <a:lnTo>
                    <a:pt x="676034" y="204292"/>
                  </a:lnTo>
                  <a:lnTo>
                    <a:pt x="676034" y="204990"/>
                  </a:lnTo>
                  <a:lnTo>
                    <a:pt x="676085" y="204990"/>
                  </a:lnTo>
                  <a:lnTo>
                    <a:pt x="676085" y="204292"/>
                  </a:lnTo>
                  <a:lnTo>
                    <a:pt x="676085" y="204990"/>
                  </a:lnTo>
                  <a:lnTo>
                    <a:pt x="676085" y="204292"/>
                  </a:lnTo>
                  <a:lnTo>
                    <a:pt x="676085" y="206324"/>
                  </a:lnTo>
                  <a:lnTo>
                    <a:pt x="676085" y="204990"/>
                  </a:lnTo>
                  <a:lnTo>
                    <a:pt x="676136" y="204990"/>
                  </a:lnTo>
                  <a:lnTo>
                    <a:pt x="676136" y="203594"/>
                  </a:lnTo>
                  <a:lnTo>
                    <a:pt x="676136" y="204292"/>
                  </a:lnTo>
                  <a:lnTo>
                    <a:pt x="676136" y="203594"/>
                  </a:lnTo>
                  <a:lnTo>
                    <a:pt x="676237" y="203594"/>
                  </a:lnTo>
                  <a:lnTo>
                    <a:pt x="676237" y="202959"/>
                  </a:lnTo>
                  <a:lnTo>
                    <a:pt x="676237" y="203594"/>
                  </a:lnTo>
                  <a:lnTo>
                    <a:pt x="676237" y="200876"/>
                  </a:lnTo>
                  <a:lnTo>
                    <a:pt x="676276" y="200876"/>
                  </a:lnTo>
                  <a:lnTo>
                    <a:pt x="676276" y="202959"/>
                  </a:lnTo>
                  <a:lnTo>
                    <a:pt x="676276" y="200876"/>
                  </a:lnTo>
                  <a:lnTo>
                    <a:pt x="676276" y="202959"/>
                  </a:lnTo>
                  <a:lnTo>
                    <a:pt x="676326" y="202959"/>
                  </a:lnTo>
                  <a:lnTo>
                    <a:pt x="676326" y="203594"/>
                  </a:lnTo>
                  <a:lnTo>
                    <a:pt x="676326" y="202260"/>
                  </a:lnTo>
                  <a:lnTo>
                    <a:pt x="676326" y="203594"/>
                  </a:lnTo>
                  <a:lnTo>
                    <a:pt x="676377" y="203594"/>
                  </a:lnTo>
                  <a:lnTo>
                    <a:pt x="676377" y="204292"/>
                  </a:lnTo>
                  <a:lnTo>
                    <a:pt x="676377" y="202959"/>
                  </a:lnTo>
                  <a:lnTo>
                    <a:pt x="676377" y="203594"/>
                  </a:lnTo>
                  <a:lnTo>
                    <a:pt x="676377" y="202959"/>
                  </a:lnTo>
                  <a:lnTo>
                    <a:pt x="676377" y="203594"/>
                  </a:lnTo>
                  <a:lnTo>
                    <a:pt x="676479" y="203594"/>
                  </a:lnTo>
                  <a:lnTo>
                    <a:pt x="676479" y="204292"/>
                  </a:lnTo>
                  <a:lnTo>
                    <a:pt x="676530" y="204292"/>
                  </a:lnTo>
                  <a:lnTo>
                    <a:pt x="676530" y="203594"/>
                  </a:lnTo>
                  <a:lnTo>
                    <a:pt x="676530" y="204292"/>
                  </a:lnTo>
                  <a:lnTo>
                    <a:pt x="676530" y="203594"/>
                  </a:lnTo>
                  <a:lnTo>
                    <a:pt x="676530" y="204292"/>
                  </a:lnTo>
                  <a:lnTo>
                    <a:pt x="676530" y="203594"/>
                  </a:lnTo>
                  <a:lnTo>
                    <a:pt x="676530" y="204292"/>
                  </a:lnTo>
                  <a:lnTo>
                    <a:pt x="676682" y="204292"/>
                  </a:lnTo>
                  <a:lnTo>
                    <a:pt x="676682" y="202959"/>
                  </a:lnTo>
                  <a:lnTo>
                    <a:pt x="676682" y="203594"/>
                  </a:lnTo>
                  <a:lnTo>
                    <a:pt x="676682" y="202959"/>
                  </a:lnTo>
                  <a:lnTo>
                    <a:pt x="676682" y="203594"/>
                  </a:lnTo>
                  <a:lnTo>
                    <a:pt x="676682" y="202260"/>
                  </a:lnTo>
                  <a:lnTo>
                    <a:pt x="676733" y="202260"/>
                  </a:lnTo>
                  <a:lnTo>
                    <a:pt x="676733" y="202959"/>
                  </a:lnTo>
                  <a:lnTo>
                    <a:pt x="676733" y="200228"/>
                  </a:lnTo>
                  <a:lnTo>
                    <a:pt x="676783" y="200228"/>
                  </a:lnTo>
                  <a:lnTo>
                    <a:pt x="676783" y="199530"/>
                  </a:lnTo>
                  <a:lnTo>
                    <a:pt x="676783" y="200876"/>
                  </a:lnTo>
                  <a:lnTo>
                    <a:pt x="676783" y="200228"/>
                  </a:lnTo>
                  <a:lnTo>
                    <a:pt x="676822" y="199530"/>
                  </a:lnTo>
                  <a:lnTo>
                    <a:pt x="676822" y="202959"/>
                  </a:lnTo>
                  <a:lnTo>
                    <a:pt x="676822" y="200876"/>
                  </a:lnTo>
                  <a:lnTo>
                    <a:pt x="676923" y="200876"/>
                  </a:lnTo>
                  <a:lnTo>
                    <a:pt x="676923" y="202260"/>
                  </a:lnTo>
                  <a:lnTo>
                    <a:pt x="676923" y="200876"/>
                  </a:lnTo>
                  <a:lnTo>
                    <a:pt x="676923" y="202260"/>
                  </a:lnTo>
                  <a:lnTo>
                    <a:pt x="676974" y="202260"/>
                  </a:lnTo>
                  <a:lnTo>
                    <a:pt x="676974" y="202959"/>
                  </a:lnTo>
                  <a:lnTo>
                    <a:pt x="676974" y="202260"/>
                  </a:lnTo>
                  <a:lnTo>
                    <a:pt x="676974" y="203594"/>
                  </a:lnTo>
                  <a:lnTo>
                    <a:pt x="677025" y="203594"/>
                  </a:lnTo>
                  <a:lnTo>
                    <a:pt x="677025" y="202959"/>
                  </a:lnTo>
                  <a:lnTo>
                    <a:pt x="677025" y="203594"/>
                  </a:lnTo>
                  <a:lnTo>
                    <a:pt x="677025" y="202959"/>
                  </a:lnTo>
                  <a:lnTo>
                    <a:pt x="677025" y="203594"/>
                  </a:lnTo>
                  <a:lnTo>
                    <a:pt x="677025" y="202959"/>
                  </a:lnTo>
                  <a:lnTo>
                    <a:pt x="677025" y="203594"/>
                  </a:lnTo>
                  <a:lnTo>
                    <a:pt x="677126" y="203594"/>
                  </a:lnTo>
                  <a:lnTo>
                    <a:pt x="677126" y="204292"/>
                  </a:lnTo>
                  <a:lnTo>
                    <a:pt x="677126" y="203594"/>
                  </a:lnTo>
                  <a:lnTo>
                    <a:pt x="677126" y="204292"/>
                  </a:lnTo>
                  <a:lnTo>
                    <a:pt x="677126" y="203594"/>
                  </a:lnTo>
                  <a:lnTo>
                    <a:pt x="677177" y="203594"/>
                  </a:lnTo>
                  <a:lnTo>
                    <a:pt x="677177" y="202959"/>
                  </a:lnTo>
                  <a:lnTo>
                    <a:pt x="677177" y="203594"/>
                  </a:lnTo>
                  <a:lnTo>
                    <a:pt x="677177" y="202959"/>
                  </a:lnTo>
                  <a:lnTo>
                    <a:pt x="677228" y="202959"/>
                  </a:lnTo>
                  <a:lnTo>
                    <a:pt x="677228" y="200228"/>
                  </a:lnTo>
                  <a:lnTo>
                    <a:pt x="677279" y="200228"/>
                  </a:lnTo>
                  <a:lnTo>
                    <a:pt x="677279" y="199530"/>
                  </a:lnTo>
                  <a:lnTo>
                    <a:pt x="677279" y="200228"/>
                  </a:lnTo>
                  <a:lnTo>
                    <a:pt x="677279" y="199530"/>
                  </a:lnTo>
                  <a:lnTo>
                    <a:pt x="677279" y="200876"/>
                  </a:lnTo>
                  <a:lnTo>
                    <a:pt x="677279" y="198831"/>
                  </a:lnTo>
                  <a:lnTo>
                    <a:pt x="677368" y="198831"/>
                  </a:lnTo>
                  <a:lnTo>
                    <a:pt x="677368" y="202260"/>
                  </a:lnTo>
                  <a:lnTo>
                    <a:pt x="677368" y="199530"/>
                  </a:lnTo>
                  <a:lnTo>
                    <a:pt x="677418" y="199530"/>
                  </a:lnTo>
                  <a:lnTo>
                    <a:pt x="677418" y="200876"/>
                  </a:lnTo>
                  <a:lnTo>
                    <a:pt x="677418" y="200228"/>
                  </a:lnTo>
                  <a:lnTo>
                    <a:pt x="677469" y="200228"/>
                  </a:lnTo>
                  <a:lnTo>
                    <a:pt x="677469" y="202260"/>
                  </a:lnTo>
                  <a:lnTo>
                    <a:pt x="677469" y="200876"/>
                  </a:lnTo>
                  <a:lnTo>
                    <a:pt x="677469" y="202260"/>
                  </a:lnTo>
                  <a:lnTo>
                    <a:pt x="677469" y="200876"/>
                  </a:lnTo>
                  <a:lnTo>
                    <a:pt x="677469" y="202260"/>
                  </a:lnTo>
                  <a:lnTo>
                    <a:pt x="677469" y="200876"/>
                  </a:lnTo>
                  <a:lnTo>
                    <a:pt x="677469" y="202260"/>
                  </a:lnTo>
                  <a:lnTo>
                    <a:pt x="677520" y="200876"/>
                  </a:lnTo>
                  <a:lnTo>
                    <a:pt x="677520" y="202959"/>
                  </a:lnTo>
                  <a:lnTo>
                    <a:pt x="677520" y="202260"/>
                  </a:lnTo>
                  <a:lnTo>
                    <a:pt x="677520" y="202959"/>
                  </a:lnTo>
                  <a:lnTo>
                    <a:pt x="677622" y="202260"/>
                  </a:lnTo>
                  <a:lnTo>
                    <a:pt x="677622" y="202959"/>
                  </a:lnTo>
                  <a:lnTo>
                    <a:pt x="677622" y="202260"/>
                  </a:lnTo>
                  <a:lnTo>
                    <a:pt x="677622" y="202959"/>
                  </a:lnTo>
                  <a:lnTo>
                    <a:pt x="677622" y="202260"/>
                  </a:lnTo>
                  <a:lnTo>
                    <a:pt x="677622" y="202959"/>
                  </a:lnTo>
                  <a:lnTo>
                    <a:pt x="677622" y="202260"/>
                  </a:lnTo>
                  <a:lnTo>
                    <a:pt x="677622" y="202959"/>
                  </a:lnTo>
                  <a:lnTo>
                    <a:pt x="677672" y="202959"/>
                  </a:lnTo>
                  <a:lnTo>
                    <a:pt x="677672" y="202260"/>
                  </a:lnTo>
                  <a:lnTo>
                    <a:pt x="677672" y="202959"/>
                  </a:lnTo>
                  <a:lnTo>
                    <a:pt x="677672" y="202260"/>
                  </a:lnTo>
                  <a:lnTo>
                    <a:pt x="677723" y="202260"/>
                  </a:lnTo>
                  <a:lnTo>
                    <a:pt x="677723" y="202959"/>
                  </a:lnTo>
                  <a:lnTo>
                    <a:pt x="677723" y="200876"/>
                  </a:lnTo>
                  <a:lnTo>
                    <a:pt x="677825" y="200876"/>
                  </a:lnTo>
                  <a:lnTo>
                    <a:pt x="677825" y="202959"/>
                  </a:lnTo>
                  <a:lnTo>
                    <a:pt x="677825" y="200228"/>
                  </a:lnTo>
                  <a:lnTo>
                    <a:pt x="677825" y="202959"/>
                  </a:lnTo>
                  <a:lnTo>
                    <a:pt x="677863" y="202959"/>
                  </a:lnTo>
                  <a:lnTo>
                    <a:pt x="677863" y="204292"/>
                  </a:lnTo>
                  <a:lnTo>
                    <a:pt x="677863" y="202260"/>
                  </a:lnTo>
                  <a:lnTo>
                    <a:pt x="677863" y="202959"/>
                  </a:lnTo>
                  <a:lnTo>
                    <a:pt x="677914" y="202959"/>
                  </a:lnTo>
                  <a:lnTo>
                    <a:pt x="677914" y="202260"/>
                  </a:lnTo>
                  <a:lnTo>
                    <a:pt x="677914" y="202959"/>
                  </a:lnTo>
                  <a:lnTo>
                    <a:pt x="677914" y="202260"/>
                  </a:lnTo>
                  <a:lnTo>
                    <a:pt x="677965" y="202260"/>
                  </a:lnTo>
                  <a:lnTo>
                    <a:pt x="677965" y="202959"/>
                  </a:lnTo>
                  <a:lnTo>
                    <a:pt x="677965" y="202260"/>
                  </a:lnTo>
                  <a:lnTo>
                    <a:pt x="678066" y="202260"/>
                  </a:lnTo>
                  <a:lnTo>
                    <a:pt x="678066" y="202959"/>
                  </a:lnTo>
                  <a:lnTo>
                    <a:pt x="678066" y="202260"/>
                  </a:lnTo>
                  <a:lnTo>
                    <a:pt x="678066" y="202959"/>
                  </a:lnTo>
                  <a:lnTo>
                    <a:pt x="678117" y="202959"/>
                  </a:lnTo>
                  <a:lnTo>
                    <a:pt x="678117" y="203594"/>
                  </a:lnTo>
                  <a:lnTo>
                    <a:pt x="678117" y="202959"/>
                  </a:lnTo>
                  <a:lnTo>
                    <a:pt x="678117" y="203594"/>
                  </a:lnTo>
                  <a:lnTo>
                    <a:pt x="678168" y="202959"/>
                  </a:lnTo>
                  <a:lnTo>
                    <a:pt x="678168" y="202260"/>
                  </a:lnTo>
                  <a:lnTo>
                    <a:pt x="678269" y="202260"/>
                  </a:lnTo>
                  <a:lnTo>
                    <a:pt x="678269" y="200876"/>
                  </a:lnTo>
                  <a:lnTo>
                    <a:pt x="678269" y="202260"/>
                  </a:lnTo>
                  <a:lnTo>
                    <a:pt x="678269" y="200228"/>
                  </a:lnTo>
                  <a:lnTo>
                    <a:pt x="678269" y="202959"/>
                  </a:lnTo>
                  <a:lnTo>
                    <a:pt x="678320" y="202959"/>
                  </a:lnTo>
                  <a:lnTo>
                    <a:pt x="678320" y="203594"/>
                  </a:lnTo>
                  <a:lnTo>
                    <a:pt x="678320" y="200228"/>
                  </a:lnTo>
                  <a:lnTo>
                    <a:pt x="678320" y="204292"/>
                  </a:lnTo>
                  <a:lnTo>
                    <a:pt x="678371" y="204292"/>
                  </a:lnTo>
                  <a:lnTo>
                    <a:pt x="678371" y="202260"/>
                  </a:lnTo>
                  <a:lnTo>
                    <a:pt x="678371" y="204292"/>
                  </a:lnTo>
                  <a:lnTo>
                    <a:pt x="678409" y="204292"/>
                  </a:lnTo>
                  <a:lnTo>
                    <a:pt x="678409" y="202260"/>
                  </a:lnTo>
                  <a:lnTo>
                    <a:pt x="678409" y="203594"/>
                  </a:lnTo>
                  <a:lnTo>
                    <a:pt x="678511" y="203594"/>
                  </a:lnTo>
                  <a:lnTo>
                    <a:pt x="678511" y="202959"/>
                  </a:lnTo>
                  <a:lnTo>
                    <a:pt x="678511" y="204292"/>
                  </a:lnTo>
                  <a:lnTo>
                    <a:pt x="678511" y="203594"/>
                  </a:lnTo>
                  <a:lnTo>
                    <a:pt x="678511" y="204292"/>
                  </a:lnTo>
                  <a:lnTo>
                    <a:pt x="678511" y="203594"/>
                  </a:lnTo>
                  <a:lnTo>
                    <a:pt x="678562" y="203594"/>
                  </a:lnTo>
                  <a:lnTo>
                    <a:pt x="678562" y="202959"/>
                  </a:lnTo>
                  <a:lnTo>
                    <a:pt x="678562" y="203594"/>
                  </a:lnTo>
                  <a:lnTo>
                    <a:pt x="678562" y="202959"/>
                  </a:lnTo>
                  <a:lnTo>
                    <a:pt x="678562" y="203594"/>
                  </a:lnTo>
                  <a:lnTo>
                    <a:pt x="678562" y="202959"/>
                  </a:lnTo>
                  <a:lnTo>
                    <a:pt x="678612" y="202959"/>
                  </a:lnTo>
                  <a:lnTo>
                    <a:pt x="678612" y="203594"/>
                  </a:lnTo>
                  <a:lnTo>
                    <a:pt x="678612" y="202959"/>
                  </a:lnTo>
                  <a:lnTo>
                    <a:pt x="678612" y="203594"/>
                  </a:lnTo>
                  <a:lnTo>
                    <a:pt x="678612" y="202959"/>
                  </a:lnTo>
                  <a:lnTo>
                    <a:pt x="678714" y="202260"/>
                  </a:lnTo>
                  <a:lnTo>
                    <a:pt x="678714" y="200876"/>
                  </a:lnTo>
                  <a:lnTo>
                    <a:pt x="678714" y="202260"/>
                  </a:lnTo>
                  <a:lnTo>
                    <a:pt x="678714" y="200876"/>
                  </a:lnTo>
                  <a:lnTo>
                    <a:pt x="678765" y="200876"/>
                  </a:lnTo>
                  <a:lnTo>
                    <a:pt x="678765" y="199530"/>
                  </a:lnTo>
                  <a:lnTo>
                    <a:pt x="678765" y="200876"/>
                  </a:lnTo>
                  <a:lnTo>
                    <a:pt x="678816" y="200876"/>
                  </a:lnTo>
                  <a:lnTo>
                    <a:pt x="678816" y="200228"/>
                  </a:lnTo>
                  <a:lnTo>
                    <a:pt x="678816" y="202959"/>
                  </a:lnTo>
                  <a:lnTo>
                    <a:pt x="678866" y="202959"/>
                  </a:lnTo>
                  <a:lnTo>
                    <a:pt x="678866" y="200876"/>
                  </a:lnTo>
                  <a:lnTo>
                    <a:pt x="678866" y="202959"/>
                  </a:lnTo>
                  <a:lnTo>
                    <a:pt x="678866" y="202260"/>
                  </a:lnTo>
                  <a:lnTo>
                    <a:pt x="678866" y="202959"/>
                  </a:lnTo>
                  <a:lnTo>
                    <a:pt x="678955" y="202959"/>
                  </a:lnTo>
                  <a:lnTo>
                    <a:pt x="678955" y="203594"/>
                  </a:lnTo>
                  <a:lnTo>
                    <a:pt x="679006" y="202959"/>
                  </a:lnTo>
                  <a:lnTo>
                    <a:pt x="679006" y="203594"/>
                  </a:lnTo>
                  <a:lnTo>
                    <a:pt x="679006" y="202959"/>
                  </a:lnTo>
                  <a:lnTo>
                    <a:pt x="679006" y="204292"/>
                  </a:lnTo>
                  <a:lnTo>
                    <a:pt x="679006" y="203594"/>
                  </a:lnTo>
                  <a:lnTo>
                    <a:pt x="679057" y="204292"/>
                  </a:lnTo>
                  <a:lnTo>
                    <a:pt x="679057" y="203594"/>
                  </a:lnTo>
                  <a:lnTo>
                    <a:pt x="679057" y="204292"/>
                  </a:lnTo>
                  <a:lnTo>
                    <a:pt x="679057" y="203594"/>
                  </a:lnTo>
                  <a:lnTo>
                    <a:pt x="679057" y="204292"/>
                  </a:lnTo>
                  <a:lnTo>
                    <a:pt x="679057" y="203594"/>
                  </a:lnTo>
                  <a:lnTo>
                    <a:pt x="679057" y="204292"/>
                  </a:lnTo>
                  <a:lnTo>
                    <a:pt x="679057" y="203594"/>
                  </a:lnTo>
                  <a:lnTo>
                    <a:pt x="679057" y="204292"/>
                  </a:lnTo>
                  <a:lnTo>
                    <a:pt x="679108" y="204292"/>
                  </a:lnTo>
                  <a:lnTo>
                    <a:pt x="679108" y="203594"/>
                  </a:lnTo>
                  <a:lnTo>
                    <a:pt x="679209" y="203594"/>
                  </a:lnTo>
                  <a:lnTo>
                    <a:pt x="679209" y="202260"/>
                  </a:lnTo>
                  <a:lnTo>
                    <a:pt x="679209" y="202959"/>
                  </a:lnTo>
                  <a:lnTo>
                    <a:pt x="679209" y="200876"/>
                  </a:lnTo>
                  <a:lnTo>
                    <a:pt x="679260" y="200876"/>
                  </a:lnTo>
                  <a:lnTo>
                    <a:pt x="679260" y="200228"/>
                  </a:lnTo>
                  <a:lnTo>
                    <a:pt x="679260" y="202959"/>
                  </a:lnTo>
                  <a:lnTo>
                    <a:pt x="679260" y="200228"/>
                  </a:lnTo>
                  <a:lnTo>
                    <a:pt x="679311" y="200228"/>
                  </a:lnTo>
                  <a:lnTo>
                    <a:pt x="679311" y="202959"/>
                  </a:lnTo>
                  <a:lnTo>
                    <a:pt x="679311" y="202260"/>
                  </a:lnTo>
                  <a:lnTo>
                    <a:pt x="679412" y="202260"/>
                  </a:lnTo>
                  <a:lnTo>
                    <a:pt x="679412" y="202959"/>
                  </a:lnTo>
                  <a:lnTo>
                    <a:pt x="679412" y="202260"/>
                  </a:lnTo>
                  <a:lnTo>
                    <a:pt x="679412" y="203594"/>
                  </a:lnTo>
                  <a:lnTo>
                    <a:pt x="679412" y="202959"/>
                  </a:lnTo>
                  <a:lnTo>
                    <a:pt x="679412" y="203594"/>
                  </a:lnTo>
                  <a:lnTo>
                    <a:pt x="679412" y="202260"/>
                  </a:lnTo>
                  <a:lnTo>
                    <a:pt x="679451" y="202260"/>
                  </a:lnTo>
                  <a:lnTo>
                    <a:pt x="679451" y="203594"/>
                  </a:lnTo>
                  <a:lnTo>
                    <a:pt x="679451" y="202959"/>
                  </a:lnTo>
                  <a:lnTo>
                    <a:pt x="679451" y="203594"/>
                  </a:lnTo>
                  <a:lnTo>
                    <a:pt x="679451" y="202959"/>
                  </a:lnTo>
                  <a:lnTo>
                    <a:pt x="679451" y="203594"/>
                  </a:lnTo>
                  <a:lnTo>
                    <a:pt x="679501" y="203594"/>
                  </a:lnTo>
                  <a:lnTo>
                    <a:pt x="679501" y="202959"/>
                  </a:lnTo>
                  <a:lnTo>
                    <a:pt x="679501" y="203594"/>
                  </a:lnTo>
                  <a:lnTo>
                    <a:pt x="679501" y="202959"/>
                  </a:lnTo>
                  <a:lnTo>
                    <a:pt x="679501" y="203594"/>
                  </a:lnTo>
                  <a:lnTo>
                    <a:pt x="679501" y="202959"/>
                  </a:lnTo>
                  <a:lnTo>
                    <a:pt x="679501" y="203594"/>
                  </a:lnTo>
                  <a:lnTo>
                    <a:pt x="679654" y="203594"/>
                  </a:lnTo>
                  <a:lnTo>
                    <a:pt x="679654" y="202959"/>
                  </a:lnTo>
                  <a:lnTo>
                    <a:pt x="679654" y="203594"/>
                  </a:lnTo>
                  <a:lnTo>
                    <a:pt x="679654" y="202260"/>
                  </a:lnTo>
                  <a:lnTo>
                    <a:pt x="679705" y="202260"/>
                  </a:lnTo>
                  <a:lnTo>
                    <a:pt x="679705" y="202959"/>
                  </a:lnTo>
                  <a:lnTo>
                    <a:pt x="679705" y="200228"/>
                  </a:lnTo>
                  <a:lnTo>
                    <a:pt x="679755" y="200228"/>
                  </a:lnTo>
                  <a:lnTo>
                    <a:pt x="679755" y="199530"/>
                  </a:lnTo>
                  <a:lnTo>
                    <a:pt x="679755" y="202959"/>
                  </a:lnTo>
                  <a:lnTo>
                    <a:pt x="679755" y="200228"/>
                  </a:lnTo>
                  <a:lnTo>
                    <a:pt x="679857" y="200228"/>
                  </a:lnTo>
                  <a:lnTo>
                    <a:pt x="679857" y="199530"/>
                  </a:lnTo>
                  <a:lnTo>
                    <a:pt x="679857" y="203594"/>
                  </a:lnTo>
                  <a:lnTo>
                    <a:pt x="679857" y="200876"/>
                  </a:lnTo>
                  <a:lnTo>
                    <a:pt x="679857" y="202260"/>
                  </a:lnTo>
                  <a:lnTo>
                    <a:pt x="679908" y="202260"/>
                  </a:lnTo>
                  <a:lnTo>
                    <a:pt x="679908" y="203594"/>
                  </a:lnTo>
                  <a:lnTo>
                    <a:pt x="679908" y="202260"/>
                  </a:lnTo>
                  <a:lnTo>
                    <a:pt x="679908" y="202959"/>
                  </a:lnTo>
                  <a:lnTo>
                    <a:pt x="679958" y="202959"/>
                  </a:lnTo>
                  <a:lnTo>
                    <a:pt x="679958" y="203594"/>
                  </a:lnTo>
                  <a:lnTo>
                    <a:pt x="680098" y="203594"/>
                  </a:lnTo>
                  <a:lnTo>
                    <a:pt x="680098" y="204292"/>
                  </a:lnTo>
                  <a:lnTo>
                    <a:pt x="680098" y="203594"/>
                  </a:lnTo>
                  <a:lnTo>
                    <a:pt x="680098" y="204292"/>
                  </a:lnTo>
                  <a:lnTo>
                    <a:pt x="680098" y="203594"/>
                  </a:lnTo>
                  <a:lnTo>
                    <a:pt x="680098" y="204292"/>
                  </a:lnTo>
                  <a:lnTo>
                    <a:pt x="680149" y="204292"/>
                  </a:lnTo>
                  <a:lnTo>
                    <a:pt x="680149" y="202959"/>
                  </a:lnTo>
                  <a:lnTo>
                    <a:pt x="680200" y="202959"/>
                  </a:lnTo>
                  <a:lnTo>
                    <a:pt x="680200" y="203594"/>
                  </a:lnTo>
                  <a:lnTo>
                    <a:pt x="680200" y="200876"/>
                  </a:lnTo>
                  <a:lnTo>
                    <a:pt x="680200" y="202260"/>
                  </a:lnTo>
                  <a:lnTo>
                    <a:pt x="680301" y="202260"/>
                  </a:lnTo>
                  <a:lnTo>
                    <a:pt x="680301" y="202959"/>
                  </a:lnTo>
                  <a:lnTo>
                    <a:pt x="680301" y="200228"/>
                  </a:lnTo>
                  <a:lnTo>
                    <a:pt x="680301" y="202959"/>
                  </a:lnTo>
                  <a:lnTo>
                    <a:pt x="680352" y="203594"/>
                  </a:lnTo>
                  <a:lnTo>
                    <a:pt x="680352" y="202260"/>
                  </a:lnTo>
                  <a:lnTo>
                    <a:pt x="680352" y="203594"/>
                  </a:lnTo>
                  <a:lnTo>
                    <a:pt x="680403" y="203594"/>
                  </a:lnTo>
                  <a:lnTo>
                    <a:pt x="680403" y="202959"/>
                  </a:lnTo>
                  <a:lnTo>
                    <a:pt x="680403" y="203594"/>
                  </a:lnTo>
                  <a:lnTo>
                    <a:pt x="680543" y="203594"/>
                  </a:lnTo>
                  <a:lnTo>
                    <a:pt x="680543" y="204292"/>
                  </a:lnTo>
                  <a:lnTo>
                    <a:pt x="680543" y="202959"/>
                  </a:lnTo>
                  <a:lnTo>
                    <a:pt x="680543" y="203594"/>
                  </a:lnTo>
                  <a:lnTo>
                    <a:pt x="680593" y="203594"/>
                  </a:lnTo>
                  <a:lnTo>
                    <a:pt x="680593" y="202959"/>
                  </a:lnTo>
                  <a:lnTo>
                    <a:pt x="680593" y="203594"/>
                  </a:lnTo>
                  <a:lnTo>
                    <a:pt x="680644" y="202959"/>
                  </a:lnTo>
                  <a:lnTo>
                    <a:pt x="680644" y="203594"/>
                  </a:lnTo>
                  <a:lnTo>
                    <a:pt x="680644" y="202959"/>
                  </a:lnTo>
                  <a:lnTo>
                    <a:pt x="680644" y="203594"/>
                  </a:lnTo>
                  <a:lnTo>
                    <a:pt x="680644" y="202959"/>
                  </a:lnTo>
                  <a:lnTo>
                    <a:pt x="680644" y="203594"/>
                  </a:lnTo>
                  <a:lnTo>
                    <a:pt x="680644" y="202260"/>
                  </a:lnTo>
                  <a:lnTo>
                    <a:pt x="680644" y="202959"/>
                  </a:lnTo>
                  <a:lnTo>
                    <a:pt x="680695" y="202959"/>
                  </a:lnTo>
                  <a:lnTo>
                    <a:pt x="680695" y="200876"/>
                  </a:lnTo>
                  <a:lnTo>
                    <a:pt x="680695" y="202260"/>
                  </a:lnTo>
                  <a:lnTo>
                    <a:pt x="680695" y="200228"/>
                  </a:lnTo>
                  <a:lnTo>
                    <a:pt x="680797" y="200228"/>
                  </a:lnTo>
                  <a:lnTo>
                    <a:pt x="680797" y="200876"/>
                  </a:lnTo>
                  <a:lnTo>
                    <a:pt x="680797" y="200228"/>
                  </a:lnTo>
                  <a:lnTo>
                    <a:pt x="680797" y="200876"/>
                  </a:lnTo>
                  <a:lnTo>
                    <a:pt x="680797" y="200228"/>
                  </a:lnTo>
                  <a:lnTo>
                    <a:pt x="680847" y="200228"/>
                  </a:lnTo>
                  <a:lnTo>
                    <a:pt x="680847" y="202959"/>
                  </a:lnTo>
                  <a:lnTo>
                    <a:pt x="680847" y="202260"/>
                  </a:lnTo>
                  <a:lnTo>
                    <a:pt x="680898" y="202959"/>
                  </a:lnTo>
                  <a:lnTo>
                    <a:pt x="680898" y="202260"/>
                  </a:lnTo>
                  <a:lnTo>
                    <a:pt x="680898" y="202959"/>
                  </a:lnTo>
                  <a:lnTo>
                    <a:pt x="681000" y="202959"/>
                  </a:lnTo>
                  <a:lnTo>
                    <a:pt x="681000" y="203594"/>
                  </a:lnTo>
                  <a:lnTo>
                    <a:pt x="681000" y="202959"/>
                  </a:lnTo>
                  <a:lnTo>
                    <a:pt x="681000" y="203594"/>
                  </a:lnTo>
                  <a:lnTo>
                    <a:pt x="681000" y="202959"/>
                  </a:lnTo>
                  <a:lnTo>
                    <a:pt x="681000" y="203594"/>
                  </a:lnTo>
                  <a:lnTo>
                    <a:pt x="681038" y="203594"/>
                  </a:lnTo>
                  <a:lnTo>
                    <a:pt x="681038" y="202959"/>
                  </a:lnTo>
                  <a:lnTo>
                    <a:pt x="681038" y="203594"/>
                  </a:lnTo>
                  <a:lnTo>
                    <a:pt x="681038" y="202959"/>
                  </a:lnTo>
                  <a:lnTo>
                    <a:pt x="681038" y="203594"/>
                  </a:lnTo>
                  <a:lnTo>
                    <a:pt x="681089" y="203594"/>
                  </a:lnTo>
                  <a:lnTo>
                    <a:pt x="681089" y="204292"/>
                  </a:lnTo>
                  <a:lnTo>
                    <a:pt x="681089" y="203594"/>
                  </a:lnTo>
                  <a:lnTo>
                    <a:pt x="681089" y="204292"/>
                  </a:lnTo>
                  <a:lnTo>
                    <a:pt x="681089" y="203594"/>
                  </a:lnTo>
                  <a:lnTo>
                    <a:pt x="681089" y="204292"/>
                  </a:lnTo>
                  <a:lnTo>
                    <a:pt x="681140" y="204292"/>
                  </a:lnTo>
                  <a:lnTo>
                    <a:pt x="681140" y="202959"/>
                  </a:lnTo>
                  <a:lnTo>
                    <a:pt x="681140" y="203594"/>
                  </a:lnTo>
                  <a:lnTo>
                    <a:pt x="681140" y="202959"/>
                  </a:lnTo>
                  <a:lnTo>
                    <a:pt x="681241" y="202959"/>
                  </a:lnTo>
                  <a:lnTo>
                    <a:pt x="681241" y="202260"/>
                  </a:lnTo>
                  <a:lnTo>
                    <a:pt x="681241" y="202959"/>
                  </a:lnTo>
                  <a:lnTo>
                    <a:pt x="681241" y="200876"/>
                  </a:lnTo>
                  <a:lnTo>
                    <a:pt x="681241" y="202959"/>
                  </a:lnTo>
                  <a:lnTo>
                    <a:pt x="681241" y="202260"/>
                  </a:lnTo>
                  <a:lnTo>
                    <a:pt x="681241" y="202959"/>
                  </a:lnTo>
                  <a:lnTo>
                    <a:pt x="681241" y="202260"/>
                  </a:lnTo>
                  <a:lnTo>
                    <a:pt x="681241" y="202959"/>
                  </a:lnTo>
                  <a:lnTo>
                    <a:pt x="681292" y="202959"/>
                  </a:lnTo>
                  <a:lnTo>
                    <a:pt x="681292" y="200876"/>
                  </a:lnTo>
                  <a:lnTo>
                    <a:pt x="681292" y="202260"/>
                  </a:lnTo>
                  <a:lnTo>
                    <a:pt x="681292" y="200876"/>
                  </a:lnTo>
                  <a:lnTo>
                    <a:pt x="681292" y="202260"/>
                  </a:lnTo>
                  <a:lnTo>
                    <a:pt x="681292" y="200876"/>
                  </a:lnTo>
                  <a:lnTo>
                    <a:pt x="681292" y="203594"/>
                  </a:lnTo>
                  <a:lnTo>
                    <a:pt x="681292" y="202959"/>
                  </a:lnTo>
                  <a:lnTo>
                    <a:pt x="681292" y="203594"/>
                  </a:lnTo>
                  <a:lnTo>
                    <a:pt x="681292" y="202959"/>
                  </a:lnTo>
                  <a:lnTo>
                    <a:pt x="681343" y="202959"/>
                  </a:lnTo>
                  <a:lnTo>
                    <a:pt x="681343" y="203594"/>
                  </a:lnTo>
                  <a:lnTo>
                    <a:pt x="681343" y="202959"/>
                  </a:lnTo>
                  <a:lnTo>
                    <a:pt x="681343" y="203594"/>
                  </a:lnTo>
                  <a:lnTo>
                    <a:pt x="681343" y="202959"/>
                  </a:lnTo>
                  <a:lnTo>
                    <a:pt x="681343" y="203594"/>
                  </a:lnTo>
                  <a:lnTo>
                    <a:pt x="681444" y="203594"/>
                  </a:lnTo>
                  <a:lnTo>
                    <a:pt x="681444" y="202959"/>
                  </a:lnTo>
                  <a:lnTo>
                    <a:pt x="681444" y="203594"/>
                  </a:lnTo>
                  <a:lnTo>
                    <a:pt x="681495" y="203594"/>
                  </a:lnTo>
                  <a:lnTo>
                    <a:pt x="681495" y="204292"/>
                  </a:lnTo>
                  <a:lnTo>
                    <a:pt x="681495" y="203594"/>
                  </a:lnTo>
                  <a:lnTo>
                    <a:pt x="681495" y="204292"/>
                  </a:lnTo>
                  <a:lnTo>
                    <a:pt x="681495" y="203594"/>
                  </a:lnTo>
                  <a:lnTo>
                    <a:pt x="681546" y="204292"/>
                  </a:lnTo>
                  <a:lnTo>
                    <a:pt x="681546" y="203594"/>
                  </a:lnTo>
                  <a:lnTo>
                    <a:pt x="681546" y="204292"/>
                  </a:lnTo>
                  <a:lnTo>
                    <a:pt x="681546" y="202959"/>
                  </a:lnTo>
                  <a:lnTo>
                    <a:pt x="681546" y="204292"/>
                  </a:lnTo>
                  <a:lnTo>
                    <a:pt x="681584" y="204292"/>
                  </a:lnTo>
                  <a:lnTo>
                    <a:pt x="681584" y="203594"/>
                  </a:lnTo>
                  <a:lnTo>
                    <a:pt x="681686" y="202959"/>
                  </a:lnTo>
                  <a:lnTo>
                    <a:pt x="681686" y="203594"/>
                  </a:lnTo>
                  <a:lnTo>
                    <a:pt x="681686" y="202260"/>
                  </a:lnTo>
                  <a:lnTo>
                    <a:pt x="681686" y="202959"/>
                  </a:lnTo>
                  <a:lnTo>
                    <a:pt x="681686" y="200876"/>
                  </a:lnTo>
                  <a:lnTo>
                    <a:pt x="681737" y="200876"/>
                  </a:lnTo>
                  <a:lnTo>
                    <a:pt x="681737" y="202959"/>
                  </a:lnTo>
                  <a:lnTo>
                    <a:pt x="681737" y="202260"/>
                  </a:lnTo>
                  <a:lnTo>
                    <a:pt x="681737" y="202959"/>
                  </a:lnTo>
                  <a:lnTo>
                    <a:pt x="681787" y="202260"/>
                  </a:lnTo>
                  <a:lnTo>
                    <a:pt x="681787" y="200876"/>
                  </a:lnTo>
                  <a:lnTo>
                    <a:pt x="681787" y="203594"/>
                  </a:lnTo>
                  <a:lnTo>
                    <a:pt x="681787" y="202959"/>
                  </a:lnTo>
                  <a:lnTo>
                    <a:pt x="681889" y="202959"/>
                  </a:lnTo>
                  <a:lnTo>
                    <a:pt x="681889" y="204292"/>
                  </a:lnTo>
                  <a:lnTo>
                    <a:pt x="681940" y="203594"/>
                  </a:lnTo>
                  <a:lnTo>
                    <a:pt x="681940" y="204292"/>
                  </a:lnTo>
                  <a:lnTo>
                    <a:pt x="681940" y="203594"/>
                  </a:lnTo>
                  <a:lnTo>
                    <a:pt x="681940" y="204292"/>
                  </a:lnTo>
                  <a:lnTo>
                    <a:pt x="681940" y="203594"/>
                  </a:lnTo>
                  <a:lnTo>
                    <a:pt x="681991" y="204292"/>
                  </a:lnTo>
                  <a:lnTo>
                    <a:pt x="681991" y="203594"/>
                  </a:lnTo>
                  <a:lnTo>
                    <a:pt x="681991" y="204292"/>
                  </a:lnTo>
                  <a:lnTo>
                    <a:pt x="681991" y="203594"/>
                  </a:lnTo>
                  <a:lnTo>
                    <a:pt x="681991" y="204292"/>
                  </a:lnTo>
                  <a:lnTo>
                    <a:pt x="681991" y="203594"/>
                  </a:lnTo>
                  <a:lnTo>
                    <a:pt x="681991" y="204292"/>
                  </a:lnTo>
                  <a:lnTo>
                    <a:pt x="681991" y="203594"/>
                  </a:lnTo>
                  <a:lnTo>
                    <a:pt x="682041" y="204292"/>
                  </a:lnTo>
                  <a:lnTo>
                    <a:pt x="682041" y="203594"/>
                  </a:lnTo>
                  <a:lnTo>
                    <a:pt x="682041" y="204292"/>
                  </a:lnTo>
                  <a:lnTo>
                    <a:pt x="682041" y="203594"/>
                  </a:lnTo>
                  <a:lnTo>
                    <a:pt x="682041" y="204292"/>
                  </a:lnTo>
                  <a:lnTo>
                    <a:pt x="682130" y="204292"/>
                  </a:lnTo>
                  <a:lnTo>
                    <a:pt x="682130" y="203594"/>
                  </a:lnTo>
                  <a:lnTo>
                    <a:pt x="682130" y="204292"/>
                  </a:lnTo>
                  <a:lnTo>
                    <a:pt x="682130" y="203594"/>
                  </a:lnTo>
                  <a:lnTo>
                    <a:pt x="682130" y="204292"/>
                  </a:lnTo>
                  <a:lnTo>
                    <a:pt x="682130" y="203594"/>
                  </a:lnTo>
                  <a:lnTo>
                    <a:pt x="682130" y="204292"/>
                  </a:lnTo>
                  <a:lnTo>
                    <a:pt x="682130" y="202959"/>
                  </a:lnTo>
                  <a:lnTo>
                    <a:pt x="682181" y="203594"/>
                  </a:lnTo>
                  <a:lnTo>
                    <a:pt x="682181" y="202260"/>
                  </a:lnTo>
                  <a:lnTo>
                    <a:pt x="682181" y="202959"/>
                  </a:lnTo>
                  <a:lnTo>
                    <a:pt x="682232" y="202959"/>
                  </a:lnTo>
                  <a:lnTo>
                    <a:pt x="682232" y="203594"/>
                  </a:lnTo>
                  <a:lnTo>
                    <a:pt x="682232" y="202959"/>
                  </a:lnTo>
                  <a:lnTo>
                    <a:pt x="682232" y="204292"/>
                  </a:lnTo>
                  <a:lnTo>
                    <a:pt x="682283" y="204990"/>
                  </a:lnTo>
                  <a:lnTo>
                    <a:pt x="682283" y="203594"/>
                  </a:lnTo>
                  <a:lnTo>
                    <a:pt x="682283" y="204292"/>
                  </a:lnTo>
                  <a:lnTo>
                    <a:pt x="682384" y="204990"/>
                  </a:lnTo>
                  <a:lnTo>
                    <a:pt x="682384" y="204292"/>
                  </a:lnTo>
                  <a:lnTo>
                    <a:pt x="682384" y="204990"/>
                  </a:lnTo>
                  <a:lnTo>
                    <a:pt x="682435" y="204292"/>
                  </a:lnTo>
                  <a:lnTo>
                    <a:pt x="682435" y="204990"/>
                  </a:lnTo>
                  <a:lnTo>
                    <a:pt x="682435" y="204292"/>
                  </a:lnTo>
                  <a:lnTo>
                    <a:pt x="682435" y="204990"/>
                  </a:lnTo>
                  <a:lnTo>
                    <a:pt x="682435" y="204292"/>
                  </a:lnTo>
                  <a:lnTo>
                    <a:pt x="682435" y="204990"/>
                  </a:lnTo>
                  <a:lnTo>
                    <a:pt x="682486" y="204292"/>
                  </a:lnTo>
                  <a:lnTo>
                    <a:pt x="682486" y="204990"/>
                  </a:lnTo>
                  <a:lnTo>
                    <a:pt x="682486" y="204292"/>
                  </a:lnTo>
                  <a:lnTo>
                    <a:pt x="682486" y="204990"/>
                  </a:lnTo>
                  <a:lnTo>
                    <a:pt x="682486" y="204292"/>
                  </a:lnTo>
                  <a:lnTo>
                    <a:pt x="682587" y="204292"/>
                  </a:lnTo>
                  <a:lnTo>
                    <a:pt x="682587" y="204990"/>
                  </a:lnTo>
                  <a:lnTo>
                    <a:pt x="682587" y="204292"/>
                  </a:lnTo>
                  <a:lnTo>
                    <a:pt x="682587" y="204990"/>
                  </a:lnTo>
                  <a:lnTo>
                    <a:pt x="682587" y="204292"/>
                  </a:lnTo>
                  <a:lnTo>
                    <a:pt x="682626" y="204292"/>
                  </a:lnTo>
                  <a:lnTo>
                    <a:pt x="682626" y="202260"/>
                  </a:lnTo>
                  <a:lnTo>
                    <a:pt x="682676" y="202260"/>
                  </a:lnTo>
                  <a:lnTo>
                    <a:pt x="682676" y="199530"/>
                  </a:lnTo>
                  <a:lnTo>
                    <a:pt x="682727" y="199530"/>
                  </a:lnTo>
                  <a:lnTo>
                    <a:pt x="682727" y="202260"/>
                  </a:lnTo>
                  <a:lnTo>
                    <a:pt x="682727" y="200228"/>
                  </a:lnTo>
                  <a:lnTo>
                    <a:pt x="682829" y="199530"/>
                  </a:lnTo>
                  <a:lnTo>
                    <a:pt x="682829" y="203594"/>
                  </a:lnTo>
                  <a:lnTo>
                    <a:pt x="682829" y="202260"/>
                  </a:lnTo>
                  <a:lnTo>
                    <a:pt x="682829" y="202959"/>
                  </a:lnTo>
                  <a:lnTo>
                    <a:pt x="682829" y="202260"/>
                  </a:lnTo>
                  <a:lnTo>
                    <a:pt x="682880" y="202260"/>
                  </a:lnTo>
                  <a:lnTo>
                    <a:pt x="682880" y="204292"/>
                  </a:lnTo>
                  <a:lnTo>
                    <a:pt x="682880" y="202959"/>
                  </a:lnTo>
                  <a:lnTo>
                    <a:pt x="682880" y="203594"/>
                  </a:lnTo>
                  <a:lnTo>
                    <a:pt x="682880" y="202959"/>
                  </a:lnTo>
                  <a:lnTo>
                    <a:pt x="682880" y="203594"/>
                  </a:lnTo>
                  <a:lnTo>
                    <a:pt x="682880" y="202959"/>
                  </a:lnTo>
                  <a:lnTo>
                    <a:pt x="682880" y="203594"/>
                  </a:lnTo>
                  <a:lnTo>
                    <a:pt x="683032" y="203594"/>
                  </a:lnTo>
                  <a:lnTo>
                    <a:pt x="683032" y="204990"/>
                  </a:lnTo>
                  <a:lnTo>
                    <a:pt x="683083" y="204990"/>
                  </a:lnTo>
                  <a:lnTo>
                    <a:pt x="683083" y="204292"/>
                  </a:lnTo>
                  <a:lnTo>
                    <a:pt x="683083" y="204990"/>
                  </a:lnTo>
                  <a:lnTo>
                    <a:pt x="683133" y="204990"/>
                  </a:lnTo>
                  <a:lnTo>
                    <a:pt x="683133" y="202959"/>
                  </a:lnTo>
                  <a:lnTo>
                    <a:pt x="683172" y="202959"/>
                  </a:lnTo>
                  <a:lnTo>
                    <a:pt x="683172" y="200876"/>
                  </a:lnTo>
                  <a:lnTo>
                    <a:pt x="683172" y="202260"/>
                  </a:lnTo>
                  <a:lnTo>
                    <a:pt x="683172" y="200876"/>
                  </a:lnTo>
                  <a:lnTo>
                    <a:pt x="683172" y="202260"/>
                  </a:lnTo>
                  <a:lnTo>
                    <a:pt x="683172" y="200228"/>
                  </a:lnTo>
                  <a:lnTo>
                    <a:pt x="683273" y="200228"/>
                  </a:lnTo>
                  <a:lnTo>
                    <a:pt x="683273" y="202260"/>
                  </a:lnTo>
                  <a:lnTo>
                    <a:pt x="683273" y="199530"/>
                  </a:lnTo>
                  <a:lnTo>
                    <a:pt x="683273" y="200228"/>
                  </a:lnTo>
                  <a:lnTo>
                    <a:pt x="683324" y="200228"/>
                  </a:lnTo>
                  <a:lnTo>
                    <a:pt x="683324" y="202959"/>
                  </a:lnTo>
                  <a:lnTo>
                    <a:pt x="683324" y="200876"/>
                  </a:lnTo>
                  <a:lnTo>
                    <a:pt x="683324" y="202260"/>
                  </a:lnTo>
                  <a:lnTo>
                    <a:pt x="683375" y="202260"/>
                  </a:lnTo>
                  <a:lnTo>
                    <a:pt x="683375" y="202959"/>
                  </a:lnTo>
                  <a:lnTo>
                    <a:pt x="683375" y="202260"/>
                  </a:lnTo>
                  <a:lnTo>
                    <a:pt x="683375" y="202959"/>
                  </a:lnTo>
                  <a:lnTo>
                    <a:pt x="683375" y="202260"/>
                  </a:lnTo>
                  <a:lnTo>
                    <a:pt x="683476" y="202260"/>
                  </a:lnTo>
                  <a:lnTo>
                    <a:pt x="683476" y="202959"/>
                  </a:lnTo>
                  <a:lnTo>
                    <a:pt x="683476" y="202260"/>
                  </a:lnTo>
                  <a:lnTo>
                    <a:pt x="683476" y="202959"/>
                  </a:lnTo>
                  <a:lnTo>
                    <a:pt x="683476" y="202260"/>
                  </a:lnTo>
                  <a:lnTo>
                    <a:pt x="683476" y="203594"/>
                  </a:lnTo>
                  <a:lnTo>
                    <a:pt x="683527" y="202959"/>
                  </a:lnTo>
                  <a:lnTo>
                    <a:pt x="683527" y="203594"/>
                  </a:lnTo>
                  <a:lnTo>
                    <a:pt x="683527" y="202959"/>
                  </a:lnTo>
                  <a:lnTo>
                    <a:pt x="683527" y="203594"/>
                  </a:lnTo>
                  <a:lnTo>
                    <a:pt x="683527" y="202959"/>
                  </a:lnTo>
                  <a:lnTo>
                    <a:pt x="683527" y="204292"/>
                  </a:lnTo>
                  <a:lnTo>
                    <a:pt x="683527" y="203594"/>
                  </a:lnTo>
                  <a:lnTo>
                    <a:pt x="683527" y="204292"/>
                  </a:lnTo>
                  <a:lnTo>
                    <a:pt x="683527" y="203594"/>
                  </a:lnTo>
                  <a:lnTo>
                    <a:pt x="683578" y="203594"/>
                  </a:lnTo>
                  <a:lnTo>
                    <a:pt x="683578" y="204292"/>
                  </a:lnTo>
                  <a:lnTo>
                    <a:pt x="683578" y="203594"/>
                  </a:lnTo>
                  <a:lnTo>
                    <a:pt x="683578" y="204292"/>
                  </a:lnTo>
                  <a:lnTo>
                    <a:pt x="683578" y="203594"/>
                  </a:lnTo>
                  <a:lnTo>
                    <a:pt x="683578" y="204292"/>
                  </a:lnTo>
                  <a:lnTo>
                    <a:pt x="683578" y="203594"/>
                  </a:lnTo>
                  <a:lnTo>
                    <a:pt x="683578" y="204292"/>
                  </a:lnTo>
                  <a:lnTo>
                    <a:pt x="683629" y="203594"/>
                  </a:lnTo>
                  <a:lnTo>
                    <a:pt x="683629" y="204292"/>
                  </a:lnTo>
                  <a:lnTo>
                    <a:pt x="683629" y="202959"/>
                  </a:lnTo>
                  <a:lnTo>
                    <a:pt x="683718" y="202959"/>
                  </a:lnTo>
                  <a:lnTo>
                    <a:pt x="683718" y="202260"/>
                  </a:lnTo>
                  <a:lnTo>
                    <a:pt x="683718" y="203594"/>
                  </a:lnTo>
                  <a:lnTo>
                    <a:pt x="683768" y="203594"/>
                  </a:lnTo>
                  <a:lnTo>
                    <a:pt x="683768" y="202260"/>
                  </a:lnTo>
                  <a:lnTo>
                    <a:pt x="683768" y="204292"/>
                  </a:lnTo>
                  <a:lnTo>
                    <a:pt x="683768" y="203594"/>
                  </a:lnTo>
                  <a:lnTo>
                    <a:pt x="683819" y="203594"/>
                  </a:lnTo>
                  <a:lnTo>
                    <a:pt x="683819" y="204292"/>
                  </a:lnTo>
                  <a:lnTo>
                    <a:pt x="683819" y="202959"/>
                  </a:lnTo>
                  <a:lnTo>
                    <a:pt x="683819" y="204292"/>
                  </a:lnTo>
                  <a:lnTo>
                    <a:pt x="683870" y="204292"/>
                  </a:lnTo>
                  <a:lnTo>
                    <a:pt x="683870" y="203594"/>
                  </a:lnTo>
                  <a:lnTo>
                    <a:pt x="683870" y="204292"/>
                  </a:lnTo>
                  <a:lnTo>
                    <a:pt x="683870" y="203594"/>
                  </a:lnTo>
                  <a:lnTo>
                    <a:pt x="683972" y="203594"/>
                  </a:lnTo>
                  <a:lnTo>
                    <a:pt x="684022" y="204292"/>
                  </a:lnTo>
                  <a:lnTo>
                    <a:pt x="684022" y="203594"/>
                  </a:lnTo>
                  <a:lnTo>
                    <a:pt x="684022" y="204292"/>
                  </a:lnTo>
                  <a:lnTo>
                    <a:pt x="684073" y="204292"/>
                  </a:lnTo>
                  <a:lnTo>
                    <a:pt x="684073" y="203594"/>
                  </a:lnTo>
                  <a:lnTo>
                    <a:pt x="684073" y="204292"/>
                  </a:lnTo>
                  <a:lnTo>
                    <a:pt x="684073" y="203594"/>
                  </a:lnTo>
                  <a:lnTo>
                    <a:pt x="684073" y="204292"/>
                  </a:lnTo>
                  <a:lnTo>
                    <a:pt x="684073" y="203594"/>
                  </a:lnTo>
                  <a:lnTo>
                    <a:pt x="684175" y="202959"/>
                  </a:lnTo>
                  <a:lnTo>
                    <a:pt x="684175" y="203594"/>
                  </a:lnTo>
                  <a:lnTo>
                    <a:pt x="684175" y="202959"/>
                  </a:lnTo>
                  <a:lnTo>
                    <a:pt x="684175" y="203594"/>
                  </a:lnTo>
                  <a:lnTo>
                    <a:pt x="684175" y="202260"/>
                  </a:lnTo>
                  <a:lnTo>
                    <a:pt x="684175" y="202959"/>
                  </a:lnTo>
                  <a:lnTo>
                    <a:pt x="684175" y="202260"/>
                  </a:lnTo>
                  <a:lnTo>
                    <a:pt x="684213" y="200876"/>
                  </a:lnTo>
                  <a:lnTo>
                    <a:pt x="684213" y="202260"/>
                  </a:lnTo>
                  <a:lnTo>
                    <a:pt x="684213" y="200876"/>
                  </a:lnTo>
                  <a:lnTo>
                    <a:pt x="684213" y="203594"/>
                  </a:lnTo>
                  <a:lnTo>
                    <a:pt x="684213" y="202959"/>
                  </a:lnTo>
                  <a:lnTo>
                    <a:pt x="684264" y="202959"/>
                  </a:lnTo>
                  <a:lnTo>
                    <a:pt x="684264" y="203594"/>
                  </a:lnTo>
                  <a:lnTo>
                    <a:pt x="684264" y="202959"/>
                  </a:lnTo>
                  <a:lnTo>
                    <a:pt x="684264" y="204292"/>
                  </a:lnTo>
                  <a:lnTo>
                    <a:pt x="684264" y="203594"/>
                  </a:lnTo>
                  <a:lnTo>
                    <a:pt x="684315" y="203594"/>
                  </a:lnTo>
                  <a:lnTo>
                    <a:pt x="684315" y="204292"/>
                  </a:lnTo>
                  <a:lnTo>
                    <a:pt x="684315" y="203594"/>
                  </a:lnTo>
                  <a:lnTo>
                    <a:pt x="684315" y="204292"/>
                  </a:lnTo>
                  <a:lnTo>
                    <a:pt x="684416" y="203594"/>
                  </a:lnTo>
                  <a:lnTo>
                    <a:pt x="684416" y="204292"/>
                  </a:lnTo>
                  <a:lnTo>
                    <a:pt x="684416" y="203594"/>
                  </a:lnTo>
                  <a:lnTo>
                    <a:pt x="684416" y="204292"/>
                  </a:lnTo>
                  <a:lnTo>
                    <a:pt x="684416" y="203594"/>
                  </a:lnTo>
                  <a:lnTo>
                    <a:pt x="684416" y="204292"/>
                  </a:lnTo>
                  <a:lnTo>
                    <a:pt x="684416" y="203594"/>
                  </a:lnTo>
                  <a:lnTo>
                    <a:pt x="684416" y="204292"/>
                  </a:lnTo>
                  <a:lnTo>
                    <a:pt x="684416" y="203594"/>
                  </a:lnTo>
                  <a:lnTo>
                    <a:pt x="684467" y="203594"/>
                  </a:lnTo>
                  <a:lnTo>
                    <a:pt x="684467" y="204292"/>
                  </a:lnTo>
                  <a:lnTo>
                    <a:pt x="684518" y="204292"/>
                  </a:lnTo>
                  <a:lnTo>
                    <a:pt x="684518" y="203594"/>
                  </a:lnTo>
                  <a:lnTo>
                    <a:pt x="684518" y="204292"/>
                  </a:lnTo>
                  <a:lnTo>
                    <a:pt x="684518" y="203594"/>
                  </a:lnTo>
                  <a:lnTo>
                    <a:pt x="684619" y="203594"/>
                  </a:lnTo>
                  <a:lnTo>
                    <a:pt x="684619" y="202959"/>
                  </a:lnTo>
                  <a:lnTo>
                    <a:pt x="684670" y="202959"/>
                  </a:lnTo>
                  <a:lnTo>
                    <a:pt x="684670" y="200228"/>
                  </a:lnTo>
                  <a:lnTo>
                    <a:pt x="684721" y="200228"/>
                  </a:lnTo>
                  <a:lnTo>
                    <a:pt x="684721" y="202959"/>
                  </a:lnTo>
                  <a:lnTo>
                    <a:pt x="684721" y="200876"/>
                  </a:lnTo>
                  <a:lnTo>
                    <a:pt x="684759" y="200876"/>
                  </a:lnTo>
                  <a:lnTo>
                    <a:pt x="684759" y="203594"/>
                  </a:lnTo>
                  <a:lnTo>
                    <a:pt x="684759" y="202959"/>
                  </a:lnTo>
                  <a:lnTo>
                    <a:pt x="684861" y="202959"/>
                  </a:lnTo>
                  <a:lnTo>
                    <a:pt x="684861" y="204292"/>
                  </a:lnTo>
                  <a:lnTo>
                    <a:pt x="684861" y="203594"/>
                  </a:lnTo>
                  <a:lnTo>
                    <a:pt x="684861" y="204292"/>
                  </a:lnTo>
                  <a:lnTo>
                    <a:pt x="684861" y="203594"/>
                  </a:lnTo>
                  <a:lnTo>
                    <a:pt x="684861" y="204292"/>
                  </a:lnTo>
                  <a:lnTo>
                    <a:pt x="684861" y="203594"/>
                  </a:lnTo>
                  <a:lnTo>
                    <a:pt x="684861" y="204292"/>
                  </a:lnTo>
                  <a:lnTo>
                    <a:pt x="684912" y="204292"/>
                  </a:lnTo>
                  <a:lnTo>
                    <a:pt x="684912" y="203594"/>
                  </a:lnTo>
                  <a:lnTo>
                    <a:pt x="684912" y="204292"/>
                  </a:lnTo>
                  <a:lnTo>
                    <a:pt x="684912" y="203594"/>
                  </a:lnTo>
                  <a:lnTo>
                    <a:pt x="684912" y="204292"/>
                  </a:lnTo>
                  <a:lnTo>
                    <a:pt x="684912" y="203594"/>
                  </a:lnTo>
                  <a:lnTo>
                    <a:pt x="684912" y="204292"/>
                  </a:lnTo>
                  <a:lnTo>
                    <a:pt x="684962" y="204292"/>
                  </a:lnTo>
                  <a:lnTo>
                    <a:pt x="684962" y="204990"/>
                  </a:lnTo>
                  <a:lnTo>
                    <a:pt x="685064" y="204990"/>
                  </a:lnTo>
                  <a:lnTo>
                    <a:pt x="685064" y="204292"/>
                  </a:lnTo>
                  <a:lnTo>
                    <a:pt x="685064" y="204990"/>
                  </a:lnTo>
                  <a:lnTo>
                    <a:pt x="685115" y="204292"/>
                  </a:lnTo>
                  <a:lnTo>
                    <a:pt x="685115" y="203594"/>
                  </a:lnTo>
                  <a:lnTo>
                    <a:pt x="685115" y="204292"/>
                  </a:lnTo>
                  <a:lnTo>
                    <a:pt x="685115" y="202959"/>
                  </a:lnTo>
                  <a:lnTo>
                    <a:pt x="685115" y="203594"/>
                  </a:lnTo>
                  <a:lnTo>
                    <a:pt x="685166" y="203594"/>
                  </a:lnTo>
                  <a:lnTo>
                    <a:pt x="685166" y="200876"/>
                  </a:lnTo>
                  <a:lnTo>
                    <a:pt x="685166" y="202260"/>
                  </a:lnTo>
                  <a:lnTo>
                    <a:pt x="685216" y="202260"/>
                  </a:lnTo>
                  <a:lnTo>
                    <a:pt x="685216" y="200228"/>
                  </a:lnTo>
                  <a:lnTo>
                    <a:pt x="685216" y="202959"/>
                  </a:lnTo>
                  <a:lnTo>
                    <a:pt x="685216" y="200876"/>
                  </a:lnTo>
                  <a:lnTo>
                    <a:pt x="685305" y="200228"/>
                  </a:lnTo>
                  <a:lnTo>
                    <a:pt x="685305" y="202959"/>
                  </a:lnTo>
                  <a:lnTo>
                    <a:pt x="685305" y="200876"/>
                  </a:lnTo>
                  <a:lnTo>
                    <a:pt x="685305" y="202260"/>
                  </a:lnTo>
                  <a:lnTo>
                    <a:pt x="685356" y="202260"/>
                  </a:lnTo>
                  <a:lnTo>
                    <a:pt x="685356" y="202959"/>
                  </a:lnTo>
                  <a:lnTo>
                    <a:pt x="685356" y="202260"/>
                  </a:lnTo>
                  <a:lnTo>
                    <a:pt x="685356" y="202959"/>
                  </a:lnTo>
                  <a:lnTo>
                    <a:pt x="685407" y="202959"/>
                  </a:lnTo>
                  <a:lnTo>
                    <a:pt x="685407" y="203594"/>
                  </a:lnTo>
                  <a:lnTo>
                    <a:pt x="685407" y="202959"/>
                  </a:lnTo>
                  <a:lnTo>
                    <a:pt x="685407" y="203594"/>
                  </a:lnTo>
                  <a:lnTo>
                    <a:pt x="685458" y="203594"/>
                  </a:lnTo>
                  <a:lnTo>
                    <a:pt x="685458" y="204292"/>
                  </a:lnTo>
                  <a:lnTo>
                    <a:pt x="685559" y="204292"/>
                  </a:lnTo>
                  <a:lnTo>
                    <a:pt x="685559" y="204990"/>
                  </a:lnTo>
                  <a:lnTo>
                    <a:pt x="685559" y="204292"/>
                  </a:lnTo>
                  <a:lnTo>
                    <a:pt x="685559" y="204990"/>
                  </a:lnTo>
                  <a:lnTo>
                    <a:pt x="685559" y="203594"/>
                  </a:lnTo>
                  <a:lnTo>
                    <a:pt x="685559" y="204292"/>
                  </a:lnTo>
                  <a:lnTo>
                    <a:pt x="685610" y="204292"/>
                  </a:lnTo>
                  <a:lnTo>
                    <a:pt x="685610" y="202959"/>
                  </a:lnTo>
                  <a:lnTo>
                    <a:pt x="685661" y="202959"/>
                  </a:lnTo>
                  <a:lnTo>
                    <a:pt x="685661" y="202260"/>
                  </a:lnTo>
                  <a:lnTo>
                    <a:pt x="685661" y="202959"/>
                  </a:lnTo>
                  <a:lnTo>
                    <a:pt x="685661" y="200876"/>
                  </a:lnTo>
                  <a:lnTo>
                    <a:pt x="685661" y="202260"/>
                  </a:lnTo>
                  <a:lnTo>
                    <a:pt x="685661" y="200876"/>
                  </a:lnTo>
                  <a:lnTo>
                    <a:pt x="685661" y="202260"/>
                  </a:lnTo>
                  <a:lnTo>
                    <a:pt x="685661" y="200876"/>
                  </a:lnTo>
                  <a:lnTo>
                    <a:pt x="685762" y="200876"/>
                  </a:lnTo>
                  <a:lnTo>
                    <a:pt x="685762" y="200228"/>
                  </a:lnTo>
                  <a:lnTo>
                    <a:pt x="685762" y="200876"/>
                  </a:lnTo>
                  <a:lnTo>
                    <a:pt x="685762" y="200228"/>
                  </a:lnTo>
                  <a:lnTo>
                    <a:pt x="685762" y="202959"/>
                  </a:lnTo>
                  <a:lnTo>
                    <a:pt x="685762" y="200876"/>
                  </a:lnTo>
                  <a:lnTo>
                    <a:pt x="685801" y="200876"/>
                  </a:lnTo>
                  <a:lnTo>
                    <a:pt x="685801" y="203594"/>
                  </a:lnTo>
                  <a:lnTo>
                    <a:pt x="685801" y="202260"/>
                  </a:lnTo>
                  <a:lnTo>
                    <a:pt x="685851" y="202260"/>
                  </a:lnTo>
                  <a:lnTo>
                    <a:pt x="685851" y="203594"/>
                  </a:lnTo>
                  <a:lnTo>
                    <a:pt x="685851" y="202959"/>
                  </a:lnTo>
                  <a:lnTo>
                    <a:pt x="685902" y="202959"/>
                  </a:lnTo>
                  <a:lnTo>
                    <a:pt x="685902" y="203594"/>
                  </a:lnTo>
                  <a:lnTo>
                    <a:pt x="685902" y="202959"/>
                  </a:lnTo>
                  <a:lnTo>
                    <a:pt x="685902" y="203594"/>
                  </a:lnTo>
                  <a:lnTo>
                    <a:pt x="685902" y="202959"/>
                  </a:lnTo>
                  <a:lnTo>
                    <a:pt x="685902" y="203594"/>
                  </a:lnTo>
                  <a:lnTo>
                    <a:pt x="685902" y="202959"/>
                  </a:lnTo>
                  <a:lnTo>
                    <a:pt x="685902" y="203594"/>
                  </a:lnTo>
                  <a:lnTo>
                    <a:pt x="686004" y="203594"/>
                  </a:lnTo>
                  <a:lnTo>
                    <a:pt x="686004" y="204292"/>
                  </a:lnTo>
                  <a:lnTo>
                    <a:pt x="686004" y="203594"/>
                  </a:lnTo>
                  <a:lnTo>
                    <a:pt x="686004" y="204292"/>
                  </a:lnTo>
                  <a:lnTo>
                    <a:pt x="686004" y="203594"/>
                  </a:lnTo>
                  <a:lnTo>
                    <a:pt x="686055" y="204292"/>
                  </a:lnTo>
                  <a:lnTo>
                    <a:pt x="686055" y="203594"/>
                  </a:lnTo>
                  <a:lnTo>
                    <a:pt x="686105" y="203594"/>
                  </a:lnTo>
                  <a:lnTo>
                    <a:pt x="686105" y="204292"/>
                  </a:lnTo>
                  <a:lnTo>
                    <a:pt x="686105" y="202959"/>
                  </a:lnTo>
                  <a:lnTo>
                    <a:pt x="686105" y="203594"/>
                  </a:lnTo>
                  <a:lnTo>
                    <a:pt x="686207" y="203594"/>
                  </a:lnTo>
                  <a:lnTo>
                    <a:pt x="686207" y="202959"/>
                  </a:lnTo>
                  <a:lnTo>
                    <a:pt x="686207" y="203594"/>
                  </a:lnTo>
                  <a:lnTo>
                    <a:pt x="686207" y="202959"/>
                  </a:lnTo>
                  <a:lnTo>
                    <a:pt x="686207" y="203594"/>
                  </a:lnTo>
                  <a:lnTo>
                    <a:pt x="686207" y="202959"/>
                  </a:lnTo>
                  <a:lnTo>
                    <a:pt x="686258" y="202959"/>
                  </a:lnTo>
                  <a:lnTo>
                    <a:pt x="686258" y="202260"/>
                  </a:lnTo>
                  <a:lnTo>
                    <a:pt x="686258" y="204292"/>
                  </a:lnTo>
                  <a:lnTo>
                    <a:pt x="686258" y="203594"/>
                  </a:lnTo>
                  <a:lnTo>
                    <a:pt x="686308" y="203594"/>
                  </a:lnTo>
                  <a:lnTo>
                    <a:pt x="686308" y="204292"/>
                  </a:lnTo>
                  <a:lnTo>
                    <a:pt x="686308" y="202959"/>
                  </a:lnTo>
                  <a:lnTo>
                    <a:pt x="686308" y="203594"/>
                  </a:lnTo>
                  <a:lnTo>
                    <a:pt x="686308" y="202959"/>
                  </a:lnTo>
                  <a:lnTo>
                    <a:pt x="686347" y="203594"/>
                  </a:lnTo>
                  <a:lnTo>
                    <a:pt x="686347" y="202959"/>
                  </a:lnTo>
                  <a:lnTo>
                    <a:pt x="686347" y="203594"/>
                  </a:lnTo>
                  <a:lnTo>
                    <a:pt x="686347" y="202959"/>
                  </a:lnTo>
                  <a:lnTo>
                    <a:pt x="686347" y="203594"/>
                  </a:lnTo>
                  <a:lnTo>
                    <a:pt x="686347" y="202959"/>
                  </a:lnTo>
                  <a:lnTo>
                    <a:pt x="686448" y="202959"/>
                  </a:lnTo>
                  <a:lnTo>
                    <a:pt x="686448" y="203594"/>
                  </a:lnTo>
                  <a:lnTo>
                    <a:pt x="686499" y="203594"/>
                  </a:lnTo>
                  <a:lnTo>
                    <a:pt x="686499" y="204292"/>
                  </a:lnTo>
                  <a:lnTo>
                    <a:pt x="686499" y="203594"/>
                  </a:lnTo>
                  <a:lnTo>
                    <a:pt x="686499" y="204292"/>
                  </a:lnTo>
                  <a:lnTo>
                    <a:pt x="686499" y="203594"/>
                  </a:lnTo>
                  <a:lnTo>
                    <a:pt x="686550" y="203594"/>
                  </a:lnTo>
                  <a:lnTo>
                    <a:pt x="686550" y="202959"/>
                  </a:lnTo>
                  <a:lnTo>
                    <a:pt x="686651" y="202959"/>
                  </a:lnTo>
                  <a:lnTo>
                    <a:pt x="686651" y="203594"/>
                  </a:lnTo>
                  <a:lnTo>
                    <a:pt x="686651" y="202959"/>
                  </a:lnTo>
                  <a:lnTo>
                    <a:pt x="686651" y="203594"/>
                  </a:lnTo>
                  <a:lnTo>
                    <a:pt x="686651" y="202260"/>
                  </a:lnTo>
                  <a:lnTo>
                    <a:pt x="686702" y="202260"/>
                  </a:lnTo>
                  <a:lnTo>
                    <a:pt x="686702" y="203594"/>
                  </a:lnTo>
                  <a:lnTo>
                    <a:pt x="686702" y="202959"/>
                  </a:lnTo>
                  <a:lnTo>
                    <a:pt x="686702" y="203594"/>
                  </a:lnTo>
                  <a:lnTo>
                    <a:pt x="686702" y="202959"/>
                  </a:lnTo>
                  <a:lnTo>
                    <a:pt x="686753" y="203594"/>
                  </a:lnTo>
                  <a:lnTo>
                    <a:pt x="686753" y="204990"/>
                  </a:lnTo>
                  <a:lnTo>
                    <a:pt x="686753" y="204292"/>
                  </a:lnTo>
                  <a:lnTo>
                    <a:pt x="686804" y="204292"/>
                  </a:lnTo>
                  <a:lnTo>
                    <a:pt x="686804" y="206324"/>
                  </a:lnTo>
                  <a:lnTo>
                    <a:pt x="686804" y="204292"/>
                  </a:lnTo>
                  <a:lnTo>
                    <a:pt x="686804" y="204990"/>
                  </a:lnTo>
                  <a:lnTo>
                    <a:pt x="686943" y="204990"/>
                  </a:lnTo>
                  <a:lnTo>
                    <a:pt x="686943" y="206324"/>
                  </a:lnTo>
                  <a:lnTo>
                    <a:pt x="686943" y="204990"/>
                  </a:lnTo>
                  <a:lnTo>
                    <a:pt x="686943" y="206324"/>
                  </a:lnTo>
                  <a:lnTo>
                    <a:pt x="686943" y="204990"/>
                  </a:lnTo>
                  <a:lnTo>
                    <a:pt x="687045" y="204990"/>
                  </a:lnTo>
                  <a:lnTo>
                    <a:pt x="687045" y="203594"/>
                  </a:lnTo>
                  <a:lnTo>
                    <a:pt x="687147" y="203594"/>
                  </a:lnTo>
                  <a:lnTo>
                    <a:pt x="687147" y="202959"/>
                  </a:lnTo>
                  <a:lnTo>
                    <a:pt x="687147" y="203594"/>
                  </a:lnTo>
                  <a:lnTo>
                    <a:pt x="687147" y="202959"/>
                  </a:lnTo>
                  <a:lnTo>
                    <a:pt x="687147" y="203594"/>
                  </a:lnTo>
                  <a:lnTo>
                    <a:pt x="687147" y="202959"/>
                  </a:lnTo>
                  <a:lnTo>
                    <a:pt x="687147" y="204292"/>
                  </a:lnTo>
                  <a:lnTo>
                    <a:pt x="687197" y="204990"/>
                  </a:lnTo>
                  <a:lnTo>
                    <a:pt x="687197" y="204292"/>
                  </a:lnTo>
                  <a:lnTo>
                    <a:pt x="687197" y="204990"/>
                  </a:lnTo>
                  <a:lnTo>
                    <a:pt x="687197" y="202959"/>
                  </a:lnTo>
                  <a:lnTo>
                    <a:pt x="687197" y="206324"/>
                  </a:lnTo>
                  <a:lnTo>
                    <a:pt x="687248" y="206324"/>
                  </a:lnTo>
                  <a:lnTo>
                    <a:pt x="687248" y="204990"/>
                  </a:lnTo>
                  <a:lnTo>
                    <a:pt x="687248" y="207022"/>
                  </a:lnTo>
                  <a:lnTo>
                    <a:pt x="687248" y="206324"/>
                  </a:lnTo>
                  <a:lnTo>
                    <a:pt x="687350" y="206324"/>
                  </a:lnTo>
                  <a:lnTo>
                    <a:pt x="687350" y="204990"/>
                  </a:lnTo>
                  <a:lnTo>
                    <a:pt x="687350" y="206324"/>
                  </a:lnTo>
                  <a:lnTo>
                    <a:pt x="687350" y="204990"/>
                  </a:lnTo>
                  <a:lnTo>
                    <a:pt x="687350" y="206324"/>
                  </a:lnTo>
                  <a:lnTo>
                    <a:pt x="687388" y="206324"/>
                  </a:lnTo>
                  <a:lnTo>
                    <a:pt x="687388" y="204990"/>
                  </a:lnTo>
                  <a:lnTo>
                    <a:pt x="687388" y="207022"/>
                  </a:lnTo>
                  <a:lnTo>
                    <a:pt x="687388" y="204990"/>
                  </a:lnTo>
                  <a:lnTo>
                    <a:pt x="687388" y="206324"/>
                  </a:lnTo>
                  <a:lnTo>
                    <a:pt x="687439" y="206324"/>
                  </a:lnTo>
                  <a:lnTo>
                    <a:pt x="687439" y="207022"/>
                  </a:lnTo>
                  <a:lnTo>
                    <a:pt x="687439" y="204990"/>
                  </a:lnTo>
                  <a:lnTo>
                    <a:pt x="687490" y="204990"/>
                  </a:lnTo>
                  <a:lnTo>
                    <a:pt x="687490" y="204292"/>
                  </a:lnTo>
                  <a:lnTo>
                    <a:pt x="687490" y="204990"/>
                  </a:lnTo>
                  <a:lnTo>
                    <a:pt x="687490" y="204292"/>
                  </a:lnTo>
                  <a:lnTo>
                    <a:pt x="687490" y="204990"/>
                  </a:lnTo>
                  <a:lnTo>
                    <a:pt x="687490" y="204292"/>
                  </a:lnTo>
                  <a:lnTo>
                    <a:pt x="687591" y="204292"/>
                  </a:lnTo>
                  <a:lnTo>
                    <a:pt x="687591" y="202959"/>
                  </a:lnTo>
                  <a:lnTo>
                    <a:pt x="687642" y="203594"/>
                  </a:lnTo>
                  <a:lnTo>
                    <a:pt x="687642" y="202260"/>
                  </a:lnTo>
                  <a:lnTo>
                    <a:pt x="687642" y="203594"/>
                  </a:lnTo>
                  <a:lnTo>
                    <a:pt x="687642" y="202959"/>
                  </a:lnTo>
                  <a:lnTo>
                    <a:pt x="687693" y="202959"/>
                  </a:lnTo>
                  <a:lnTo>
                    <a:pt x="687693" y="202260"/>
                  </a:lnTo>
                  <a:lnTo>
                    <a:pt x="687693" y="204292"/>
                  </a:lnTo>
                  <a:lnTo>
                    <a:pt x="687794" y="204292"/>
                  </a:lnTo>
                  <a:lnTo>
                    <a:pt x="687794" y="202959"/>
                  </a:lnTo>
                  <a:lnTo>
                    <a:pt x="687794" y="204990"/>
                  </a:lnTo>
                  <a:lnTo>
                    <a:pt x="687794" y="203594"/>
                  </a:lnTo>
                  <a:lnTo>
                    <a:pt x="687794" y="204292"/>
                  </a:lnTo>
                  <a:lnTo>
                    <a:pt x="687845" y="203594"/>
                  </a:lnTo>
                  <a:lnTo>
                    <a:pt x="687845" y="204990"/>
                  </a:lnTo>
                  <a:lnTo>
                    <a:pt x="687845" y="204292"/>
                  </a:lnTo>
                  <a:lnTo>
                    <a:pt x="687845" y="204990"/>
                  </a:lnTo>
                  <a:lnTo>
                    <a:pt x="687845" y="204292"/>
                  </a:lnTo>
                  <a:lnTo>
                    <a:pt x="687896" y="204990"/>
                  </a:lnTo>
                  <a:lnTo>
                    <a:pt x="687896" y="206324"/>
                  </a:lnTo>
                  <a:lnTo>
                    <a:pt x="687896" y="204990"/>
                  </a:lnTo>
                  <a:lnTo>
                    <a:pt x="687896" y="206324"/>
                  </a:lnTo>
                  <a:lnTo>
                    <a:pt x="687934" y="206324"/>
                  </a:lnTo>
                  <a:lnTo>
                    <a:pt x="687934" y="204990"/>
                  </a:lnTo>
                  <a:lnTo>
                    <a:pt x="687934" y="206324"/>
                  </a:lnTo>
                  <a:lnTo>
                    <a:pt x="687934" y="204990"/>
                  </a:lnTo>
                  <a:lnTo>
                    <a:pt x="687934" y="206324"/>
                  </a:lnTo>
                  <a:lnTo>
                    <a:pt x="687934" y="204990"/>
                  </a:lnTo>
                  <a:lnTo>
                    <a:pt x="688036" y="204990"/>
                  </a:lnTo>
                  <a:lnTo>
                    <a:pt x="688036" y="206324"/>
                  </a:lnTo>
                  <a:lnTo>
                    <a:pt x="688036" y="204292"/>
                  </a:lnTo>
                  <a:lnTo>
                    <a:pt x="688087" y="204292"/>
                  </a:lnTo>
                  <a:lnTo>
                    <a:pt x="688087" y="202260"/>
                  </a:lnTo>
                  <a:lnTo>
                    <a:pt x="688137" y="202260"/>
                  </a:lnTo>
                  <a:lnTo>
                    <a:pt x="688137" y="203594"/>
                  </a:lnTo>
                  <a:lnTo>
                    <a:pt x="688137" y="202959"/>
                  </a:lnTo>
                  <a:lnTo>
                    <a:pt x="688239" y="202959"/>
                  </a:lnTo>
                  <a:lnTo>
                    <a:pt x="688239" y="202260"/>
                  </a:lnTo>
                  <a:lnTo>
                    <a:pt x="688239" y="204292"/>
                  </a:lnTo>
                  <a:lnTo>
                    <a:pt x="688239" y="202959"/>
                  </a:lnTo>
                  <a:lnTo>
                    <a:pt x="688290" y="202959"/>
                  </a:lnTo>
                  <a:lnTo>
                    <a:pt x="688290" y="204292"/>
                  </a:lnTo>
                  <a:lnTo>
                    <a:pt x="688290" y="203594"/>
                  </a:lnTo>
                  <a:lnTo>
                    <a:pt x="688290" y="204292"/>
                  </a:lnTo>
                  <a:lnTo>
                    <a:pt x="688290" y="203594"/>
                  </a:lnTo>
                  <a:lnTo>
                    <a:pt x="688341" y="203594"/>
                  </a:lnTo>
                  <a:lnTo>
                    <a:pt x="688341" y="204292"/>
                  </a:lnTo>
                  <a:lnTo>
                    <a:pt x="688341" y="203594"/>
                  </a:lnTo>
                  <a:lnTo>
                    <a:pt x="688341" y="204292"/>
                  </a:lnTo>
                  <a:lnTo>
                    <a:pt x="688391" y="204292"/>
                  </a:lnTo>
                  <a:lnTo>
                    <a:pt x="688391" y="204990"/>
                  </a:lnTo>
                  <a:lnTo>
                    <a:pt x="688391" y="204292"/>
                  </a:lnTo>
                  <a:lnTo>
                    <a:pt x="688391" y="204990"/>
                  </a:lnTo>
                  <a:lnTo>
                    <a:pt x="688391" y="204292"/>
                  </a:lnTo>
                  <a:lnTo>
                    <a:pt x="688391" y="204990"/>
                  </a:lnTo>
                  <a:lnTo>
                    <a:pt x="688480" y="204990"/>
                  </a:lnTo>
                  <a:lnTo>
                    <a:pt x="688480" y="204292"/>
                  </a:lnTo>
                  <a:lnTo>
                    <a:pt x="688480" y="204990"/>
                  </a:lnTo>
                  <a:lnTo>
                    <a:pt x="688480" y="204292"/>
                  </a:lnTo>
                  <a:lnTo>
                    <a:pt x="688531" y="204292"/>
                  </a:lnTo>
                  <a:lnTo>
                    <a:pt x="688531" y="204990"/>
                  </a:lnTo>
                  <a:lnTo>
                    <a:pt x="688531" y="204292"/>
                  </a:lnTo>
                  <a:lnTo>
                    <a:pt x="688531" y="204990"/>
                  </a:lnTo>
                  <a:lnTo>
                    <a:pt x="688531" y="203594"/>
                  </a:lnTo>
                  <a:lnTo>
                    <a:pt x="688582" y="203594"/>
                  </a:lnTo>
                  <a:lnTo>
                    <a:pt x="688582" y="202260"/>
                  </a:lnTo>
                  <a:lnTo>
                    <a:pt x="688633" y="202260"/>
                  </a:lnTo>
                  <a:lnTo>
                    <a:pt x="688633" y="200228"/>
                  </a:lnTo>
                  <a:lnTo>
                    <a:pt x="688633" y="202260"/>
                  </a:lnTo>
                  <a:lnTo>
                    <a:pt x="688633" y="200876"/>
                  </a:lnTo>
                  <a:lnTo>
                    <a:pt x="688734" y="200876"/>
                  </a:lnTo>
                  <a:lnTo>
                    <a:pt x="688734" y="200228"/>
                  </a:lnTo>
                  <a:lnTo>
                    <a:pt x="688734" y="200876"/>
                  </a:lnTo>
                  <a:lnTo>
                    <a:pt x="688734" y="200228"/>
                  </a:lnTo>
                  <a:lnTo>
                    <a:pt x="688734" y="203594"/>
                  </a:lnTo>
                  <a:lnTo>
                    <a:pt x="688734" y="202260"/>
                  </a:lnTo>
                  <a:lnTo>
                    <a:pt x="688785" y="200876"/>
                  </a:lnTo>
                  <a:lnTo>
                    <a:pt x="688785" y="204292"/>
                  </a:lnTo>
                  <a:lnTo>
                    <a:pt x="688785" y="202260"/>
                  </a:lnTo>
                  <a:lnTo>
                    <a:pt x="688836" y="202959"/>
                  </a:lnTo>
                  <a:lnTo>
                    <a:pt x="688836" y="202260"/>
                  </a:lnTo>
                  <a:lnTo>
                    <a:pt x="688836" y="202959"/>
                  </a:lnTo>
                  <a:lnTo>
                    <a:pt x="688836" y="202260"/>
                  </a:lnTo>
                  <a:lnTo>
                    <a:pt x="688836" y="203594"/>
                  </a:lnTo>
                  <a:lnTo>
                    <a:pt x="688937" y="203594"/>
                  </a:lnTo>
                  <a:lnTo>
                    <a:pt x="688937" y="204292"/>
                  </a:lnTo>
                  <a:lnTo>
                    <a:pt x="688937" y="203594"/>
                  </a:lnTo>
                  <a:lnTo>
                    <a:pt x="688937" y="204292"/>
                  </a:lnTo>
                  <a:lnTo>
                    <a:pt x="688937" y="203594"/>
                  </a:lnTo>
                  <a:lnTo>
                    <a:pt x="688937" y="204292"/>
                  </a:lnTo>
                  <a:lnTo>
                    <a:pt x="688937" y="203594"/>
                  </a:lnTo>
                  <a:lnTo>
                    <a:pt x="688937" y="204292"/>
                  </a:lnTo>
                  <a:lnTo>
                    <a:pt x="688976" y="204292"/>
                  </a:lnTo>
                  <a:lnTo>
                    <a:pt x="688976" y="203594"/>
                  </a:lnTo>
                  <a:lnTo>
                    <a:pt x="688976" y="204292"/>
                  </a:lnTo>
                  <a:lnTo>
                    <a:pt x="688976" y="203594"/>
                  </a:lnTo>
                  <a:lnTo>
                    <a:pt x="688976" y="204292"/>
                  </a:lnTo>
                  <a:lnTo>
                    <a:pt x="688976" y="203594"/>
                  </a:lnTo>
                  <a:lnTo>
                    <a:pt x="688976" y="204292"/>
                  </a:lnTo>
                  <a:lnTo>
                    <a:pt x="688976" y="203594"/>
                  </a:lnTo>
                  <a:lnTo>
                    <a:pt x="688976" y="204292"/>
                  </a:lnTo>
                  <a:lnTo>
                    <a:pt x="689026" y="204292"/>
                  </a:lnTo>
                  <a:lnTo>
                    <a:pt x="689026" y="203594"/>
                  </a:lnTo>
                  <a:lnTo>
                    <a:pt x="689026" y="204292"/>
                  </a:lnTo>
                  <a:lnTo>
                    <a:pt x="689026" y="203594"/>
                  </a:lnTo>
                  <a:lnTo>
                    <a:pt x="689077" y="203594"/>
                  </a:lnTo>
                  <a:lnTo>
                    <a:pt x="689077" y="200876"/>
                  </a:lnTo>
                  <a:lnTo>
                    <a:pt x="689179" y="200876"/>
                  </a:lnTo>
                  <a:lnTo>
                    <a:pt x="689179" y="202959"/>
                  </a:lnTo>
                  <a:lnTo>
                    <a:pt x="689179" y="200228"/>
                  </a:lnTo>
                  <a:lnTo>
                    <a:pt x="689230" y="200228"/>
                  </a:lnTo>
                  <a:lnTo>
                    <a:pt x="689230" y="203594"/>
                  </a:lnTo>
                  <a:lnTo>
                    <a:pt x="689230" y="200876"/>
                  </a:lnTo>
                  <a:lnTo>
                    <a:pt x="689230" y="202260"/>
                  </a:lnTo>
                  <a:lnTo>
                    <a:pt x="689280" y="202260"/>
                  </a:lnTo>
                  <a:lnTo>
                    <a:pt x="689280" y="202959"/>
                  </a:lnTo>
                  <a:lnTo>
                    <a:pt x="689280" y="202260"/>
                  </a:lnTo>
                  <a:lnTo>
                    <a:pt x="689280" y="202959"/>
                  </a:lnTo>
                  <a:lnTo>
                    <a:pt x="689280" y="202260"/>
                  </a:lnTo>
                  <a:lnTo>
                    <a:pt x="689280" y="202959"/>
                  </a:lnTo>
                  <a:lnTo>
                    <a:pt x="689382" y="202959"/>
                  </a:lnTo>
                  <a:lnTo>
                    <a:pt x="689382" y="203594"/>
                  </a:lnTo>
                  <a:lnTo>
                    <a:pt x="689382" y="202959"/>
                  </a:lnTo>
                  <a:lnTo>
                    <a:pt x="689382" y="203594"/>
                  </a:lnTo>
                  <a:lnTo>
                    <a:pt x="689382" y="202959"/>
                  </a:lnTo>
                  <a:lnTo>
                    <a:pt x="689382" y="203594"/>
                  </a:lnTo>
                  <a:lnTo>
                    <a:pt x="689433" y="203594"/>
                  </a:lnTo>
                  <a:lnTo>
                    <a:pt x="689433" y="202959"/>
                  </a:lnTo>
                  <a:lnTo>
                    <a:pt x="689433" y="203594"/>
                  </a:lnTo>
                  <a:lnTo>
                    <a:pt x="689433" y="202959"/>
                  </a:lnTo>
                  <a:lnTo>
                    <a:pt x="689433" y="203594"/>
                  </a:lnTo>
                  <a:lnTo>
                    <a:pt x="689522" y="203594"/>
                  </a:lnTo>
                  <a:lnTo>
                    <a:pt x="689522" y="204292"/>
                  </a:lnTo>
                  <a:lnTo>
                    <a:pt x="689522" y="203594"/>
                  </a:lnTo>
                  <a:lnTo>
                    <a:pt x="689623" y="203594"/>
                  </a:lnTo>
                  <a:lnTo>
                    <a:pt x="689623" y="200876"/>
                  </a:lnTo>
                  <a:lnTo>
                    <a:pt x="689674" y="200876"/>
                  </a:lnTo>
                  <a:lnTo>
                    <a:pt x="689674" y="202959"/>
                  </a:lnTo>
                  <a:lnTo>
                    <a:pt x="689674" y="200228"/>
                  </a:lnTo>
                  <a:lnTo>
                    <a:pt x="689674" y="202260"/>
                  </a:lnTo>
                  <a:lnTo>
                    <a:pt x="689725" y="202959"/>
                  </a:lnTo>
                  <a:lnTo>
                    <a:pt x="689725" y="203594"/>
                  </a:lnTo>
                  <a:lnTo>
                    <a:pt x="689725" y="202260"/>
                  </a:lnTo>
                  <a:lnTo>
                    <a:pt x="689725" y="203594"/>
                  </a:lnTo>
                  <a:lnTo>
                    <a:pt x="689826" y="204292"/>
                  </a:lnTo>
                  <a:lnTo>
                    <a:pt x="689826" y="203594"/>
                  </a:lnTo>
                  <a:lnTo>
                    <a:pt x="689826" y="204292"/>
                  </a:lnTo>
                  <a:lnTo>
                    <a:pt x="689826" y="202959"/>
                  </a:lnTo>
                  <a:lnTo>
                    <a:pt x="689826" y="203594"/>
                  </a:lnTo>
                  <a:lnTo>
                    <a:pt x="689826" y="202959"/>
                  </a:lnTo>
                  <a:lnTo>
                    <a:pt x="689826" y="203594"/>
                  </a:lnTo>
                  <a:lnTo>
                    <a:pt x="689877" y="204292"/>
                  </a:lnTo>
                  <a:lnTo>
                    <a:pt x="689877" y="203594"/>
                  </a:lnTo>
                  <a:lnTo>
                    <a:pt x="689877" y="204292"/>
                  </a:lnTo>
                  <a:lnTo>
                    <a:pt x="689877" y="203594"/>
                  </a:lnTo>
                  <a:lnTo>
                    <a:pt x="689877" y="204292"/>
                  </a:lnTo>
                  <a:lnTo>
                    <a:pt x="689877" y="203594"/>
                  </a:lnTo>
                  <a:lnTo>
                    <a:pt x="689877" y="204292"/>
                  </a:lnTo>
                  <a:lnTo>
                    <a:pt x="689877" y="203594"/>
                  </a:lnTo>
                  <a:lnTo>
                    <a:pt x="689928" y="203594"/>
                  </a:lnTo>
                  <a:lnTo>
                    <a:pt x="689928" y="204292"/>
                  </a:lnTo>
                  <a:lnTo>
                    <a:pt x="689928" y="203594"/>
                  </a:lnTo>
                  <a:lnTo>
                    <a:pt x="689928" y="204292"/>
                  </a:lnTo>
                  <a:lnTo>
                    <a:pt x="689979" y="204292"/>
                  </a:lnTo>
                  <a:lnTo>
                    <a:pt x="689979" y="203594"/>
                  </a:lnTo>
                  <a:lnTo>
                    <a:pt x="689979" y="204292"/>
                  </a:lnTo>
                  <a:lnTo>
                    <a:pt x="690068" y="203594"/>
                  </a:lnTo>
                  <a:lnTo>
                    <a:pt x="690068" y="204292"/>
                  </a:lnTo>
                  <a:lnTo>
                    <a:pt x="690068" y="202959"/>
                  </a:lnTo>
                  <a:lnTo>
                    <a:pt x="690118" y="202959"/>
                  </a:lnTo>
                  <a:lnTo>
                    <a:pt x="690118" y="202260"/>
                  </a:lnTo>
                  <a:lnTo>
                    <a:pt x="690118" y="202959"/>
                  </a:lnTo>
                  <a:lnTo>
                    <a:pt x="690118" y="200876"/>
                  </a:lnTo>
                  <a:lnTo>
                    <a:pt x="690118" y="202959"/>
                  </a:lnTo>
                  <a:lnTo>
                    <a:pt x="690169" y="202959"/>
                  </a:lnTo>
                  <a:lnTo>
                    <a:pt x="690169" y="203594"/>
                  </a:lnTo>
                  <a:lnTo>
                    <a:pt x="690169" y="202260"/>
                  </a:lnTo>
                  <a:lnTo>
                    <a:pt x="690169" y="203594"/>
                  </a:lnTo>
                  <a:lnTo>
                    <a:pt x="690220" y="203594"/>
                  </a:lnTo>
                  <a:lnTo>
                    <a:pt x="690220" y="204292"/>
                  </a:lnTo>
                  <a:lnTo>
                    <a:pt x="690220" y="203594"/>
                  </a:lnTo>
                  <a:lnTo>
                    <a:pt x="690220" y="204292"/>
                  </a:lnTo>
                  <a:lnTo>
                    <a:pt x="690322" y="204292"/>
                  </a:lnTo>
                  <a:lnTo>
                    <a:pt x="690322" y="203594"/>
                  </a:lnTo>
                  <a:lnTo>
                    <a:pt x="690322" y="204292"/>
                  </a:lnTo>
                  <a:lnTo>
                    <a:pt x="690322" y="203594"/>
                  </a:lnTo>
                  <a:lnTo>
                    <a:pt x="690322" y="204292"/>
                  </a:lnTo>
                  <a:lnTo>
                    <a:pt x="690322" y="203594"/>
                  </a:lnTo>
                  <a:lnTo>
                    <a:pt x="690322" y="204292"/>
                  </a:lnTo>
                  <a:lnTo>
                    <a:pt x="690322" y="203594"/>
                  </a:lnTo>
                  <a:lnTo>
                    <a:pt x="690322" y="204292"/>
                  </a:lnTo>
                  <a:lnTo>
                    <a:pt x="690322" y="203594"/>
                  </a:lnTo>
                  <a:lnTo>
                    <a:pt x="690372" y="203594"/>
                  </a:lnTo>
                  <a:lnTo>
                    <a:pt x="690372" y="204292"/>
                  </a:lnTo>
                  <a:lnTo>
                    <a:pt x="690372" y="203594"/>
                  </a:lnTo>
                  <a:lnTo>
                    <a:pt x="690423" y="203594"/>
                  </a:lnTo>
                  <a:lnTo>
                    <a:pt x="690423" y="204292"/>
                  </a:lnTo>
                  <a:lnTo>
                    <a:pt x="690423" y="203594"/>
                  </a:lnTo>
                  <a:lnTo>
                    <a:pt x="690423" y="204292"/>
                  </a:lnTo>
                  <a:lnTo>
                    <a:pt x="690423" y="203594"/>
                  </a:lnTo>
                  <a:lnTo>
                    <a:pt x="690423" y="204292"/>
                  </a:lnTo>
                  <a:lnTo>
                    <a:pt x="690525" y="203594"/>
                  </a:lnTo>
                  <a:lnTo>
                    <a:pt x="690525" y="204292"/>
                  </a:lnTo>
                  <a:lnTo>
                    <a:pt x="690525" y="203594"/>
                  </a:lnTo>
                  <a:lnTo>
                    <a:pt x="690525" y="204292"/>
                  </a:lnTo>
                  <a:lnTo>
                    <a:pt x="690563" y="203594"/>
                  </a:lnTo>
                  <a:lnTo>
                    <a:pt x="690563" y="202959"/>
                  </a:lnTo>
                  <a:lnTo>
                    <a:pt x="690614" y="202959"/>
                  </a:lnTo>
                  <a:lnTo>
                    <a:pt x="690614" y="200876"/>
                  </a:lnTo>
                  <a:lnTo>
                    <a:pt x="690614" y="202959"/>
                  </a:lnTo>
                  <a:lnTo>
                    <a:pt x="690665" y="202959"/>
                  </a:lnTo>
                  <a:lnTo>
                    <a:pt x="690665" y="202260"/>
                  </a:lnTo>
                  <a:lnTo>
                    <a:pt x="690665" y="202959"/>
                  </a:lnTo>
                  <a:lnTo>
                    <a:pt x="690665" y="200876"/>
                  </a:lnTo>
                  <a:lnTo>
                    <a:pt x="690665" y="203594"/>
                  </a:lnTo>
                  <a:lnTo>
                    <a:pt x="690766" y="203594"/>
                  </a:lnTo>
                  <a:lnTo>
                    <a:pt x="690766" y="202959"/>
                  </a:lnTo>
                  <a:lnTo>
                    <a:pt x="690766" y="203594"/>
                  </a:lnTo>
                  <a:lnTo>
                    <a:pt x="690766" y="202959"/>
                  </a:lnTo>
                  <a:lnTo>
                    <a:pt x="690766" y="204292"/>
                  </a:lnTo>
                  <a:lnTo>
                    <a:pt x="690817" y="204292"/>
                  </a:lnTo>
                  <a:lnTo>
                    <a:pt x="690817" y="203594"/>
                  </a:lnTo>
                  <a:lnTo>
                    <a:pt x="690817" y="204292"/>
                  </a:lnTo>
                  <a:lnTo>
                    <a:pt x="690817" y="203594"/>
                  </a:lnTo>
                  <a:lnTo>
                    <a:pt x="690817" y="204292"/>
                  </a:lnTo>
                  <a:lnTo>
                    <a:pt x="690817" y="203594"/>
                  </a:lnTo>
                  <a:lnTo>
                    <a:pt x="690817" y="204292"/>
                  </a:lnTo>
                  <a:lnTo>
                    <a:pt x="690817" y="203594"/>
                  </a:lnTo>
                  <a:lnTo>
                    <a:pt x="690817" y="204990"/>
                  </a:lnTo>
                  <a:lnTo>
                    <a:pt x="690817" y="204292"/>
                  </a:lnTo>
                  <a:lnTo>
                    <a:pt x="690868" y="204292"/>
                  </a:lnTo>
                  <a:lnTo>
                    <a:pt x="690868" y="204990"/>
                  </a:lnTo>
                  <a:lnTo>
                    <a:pt x="690868" y="204292"/>
                  </a:lnTo>
                  <a:lnTo>
                    <a:pt x="690969" y="204292"/>
                  </a:lnTo>
                  <a:lnTo>
                    <a:pt x="690969" y="204990"/>
                  </a:lnTo>
                  <a:lnTo>
                    <a:pt x="690969" y="204292"/>
                  </a:lnTo>
                  <a:lnTo>
                    <a:pt x="691020" y="204292"/>
                  </a:lnTo>
                  <a:lnTo>
                    <a:pt x="691020" y="204990"/>
                  </a:lnTo>
                  <a:lnTo>
                    <a:pt x="691020" y="204292"/>
                  </a:lnTo>
                  <a:lnTo>
                    <a:pt x="691020" y="204990"/>
                  </a:lnTo>
                  <a:lnTo>
                    <a:pt x="691020" y="204292"/>
                  </a:lnTo>
                  <a:lnTo>
                    <a:pt x="691071" y="204292"/>
                  </a:lnTo>
                  <a:lnTo>
                    <a:pt x="691071" y="202959"/>
                  </a:lnTo>
                  <a:lnTo>
                    <a:pt x="691071" y="203594"/>
                  </a:lnTo>
                  <a:lnTo>
                    <a:pt x="691071" y="202260"/>
                  </a:lnTo>
                  <a:lnTo>
                    <a:pt x="691109" y="202260"/>
                  </a:lnTo>
                  <a:lnTo>
                    <a:pt x="691109" y="202959"/>
                  </a:lnTo>
                  <a:lnTo>
                    <a:pt x="691109" y="202260"/>
                  </a:lnTo>
                  <a:lnTo>
                    <a:pt x="691109" y="202959"/>
                  </a:lnTo>
                  <a:lnTo>
                    <a:pt x="691211" y="202959"/>
                  </a:lnTo>
                  <a:lnTo>
                    <a:pt x="691211" y="200876"/>
                  </a:lnTo>
                  <a:lnTo>
                    <a:pt x="691211" y="204292"/>
                  </a:lnTo>
                  <a:lnTo>
                    <a:pt x="691211" y="203594"/>
                  </a:lnTo>
                  <a:lnTo>
                    <a:pt x="691211" y="204292"/>
                  </a:lnTo>
                  <a:lnTo>
                    <a:pt x="691211" y="203594"/>
                  </a:lnTo>
                  <a:lnTo>
                    <a:pt x="691262" y="203594"/>
                  </a:lnTo>
                  <a:lnTo>
                    <a:pt x="691262" y="202959"/>
                  </a:lnTo>
                  <a:lnTo>
                    <a:pt x="691262" y="204990"/>
                  </a:lnTo>
                  <a:lnTo>
                    <a:pt x="691262" y="204292"/>
                  </a:lnTo>
                  <a:lnTo>
                    <a:pt x="691312" y="204292"/>
                  </a:lnTo>
                  <a:lnTo>
                    <a:pt x="691312" y="203594"/>
                  </a:lnTo>
                  <a:lnTo>
                    <a:pt x="691312" y="204292"/>
                  </a:lnTo>
                  <a:lnTo>
                    <a:pt x="691414" y="204292"/>
                  </a:lnTo>
                  <a:lnTo>
                    <a:pt x="691414" y="204990"/>
                  </a:lnTo>
                  <a:lnTo>
                    <a:pt x="691414" y="204292"/>
                  </a:lnTo>
                  <a:lnTo>
                    <a:pt x="691414" y="204990"/>
                  </a:lnTo>
                  <a:lnTo>
                    <a:pt x="691414" y="204292"/>
                  </a:lnTo>
                  <a:lnTo>
                    <a:pt x="691465" y="204292"/>
                  </a:lnTo>
                  <a:lnTo>
                    <a:pt x="691465" y="204990"/>
                  </a:lnTo>
                  <a:lnTo>
                    <a:pt x="691516" y="204990"/>
                  </a:lnTo>
                  <a:lnTo>
                    <a:pt x="691516" y="204292"/>
                  </a:lnTo>
                  <a:lnTo>
                    <a:pt x="691516" y="204990"/>
                  </a:lnTo>
                  <a:lnTo>
                    <a:pt x="691516" y="203594"/>
                  </a:lnTo>
                  <a:lnTo>
                    <a:pt x="691566" y="203594"/>
                  </a:lnTo>
                  <a:lnTo>
                    <a:pt x="691566" y="200876"/>
                  </a:lnTo>
                  <a:lnTo>
                    <a:pt x="691655" y="202260"/>
                  </a:lnTo>
                  <a:lnTo>
                    <a:pt x="691655" y="200876"/>
                  </a:lnTo>
                  <a:lnTo>
                    <a:pt x="691655" y="202260"/>
                  </a:lnTo>
                  <a:lnTo>
                    <a:pt x="691655" y="200876"/>
                  </a:lnTo>
                  <a:lnTo>
                    <a:pt x="691706" y="200876"/>
                  </a:lnTo>
                  <a:lnTo>
                    <a:pt x="691706" y="203594"/>
                  </a:lnTo>
                  <a:lnTo>
                    <a:pt x="691706" y="202959"/>
                  </a:lnTo>
                  <a:lnTo>
                    <a:pt x="691706" y="203594"/>
                  </a:lnTo>
                  <a:lnTo>
                    <a:pt x="691706" y="202959"/>
                  </a:lnTo>
                  <a:lnTo>
                    <a:pt x="691706" y="203594"/>
                  </a:lnTo>
                  <a:lnTo>
                    <a:pt x="691706" y="202959"/>
                  </a:lnTo>
                  <a:lnTo>
                    <a:pt x="691757" y="202959"/>
                  </a:lnTo>
                  <a:lnTo>
                    <a:pt x="691757" y="204292"/>
                  </a:lnTo>
                  <a:lnTo>
                    <a:pt x="691757" y="202959"/>
                  </a:lnTo>
                  <a:lnTo>
                    <a:pt x="691757" y="203594"/>
                  </a:lnTo>
                  <a:lnTo>
                    <a:pt x="691909" y="203594"/>
                  </a:lnTo>
                  <a:lnTo>
                    <a:pt x="691909" y="204292"/>
                  </a:lnTo>
                  <a:lnTo>
                    <a:pt x="691909" y="203594"/>
                  </a:lnTo>
                  <a:lnTo>
                    <a:pt x="691909" y="204292"/>
                  </a:lnTo>
                  <a:lnTo>
                    <a:pt x="691960" y="204292"/>
                  </a:lnTo>
                  <a:lnTo>
                    <a:pt x="691960" y="204990"/>
                  </a:lnTo>
                  <a:lnTo>
                    <a:pt x="691960" y="203594"/>
                  </a:lnTo>
                  <a:lnTo>
                    <a:pt x="692011" y="203594"/>
                  </a:lnTo>
                  <a:lnTo>
                    <a:pt x="692011" y="204292"/>
                  </a:lnTo>
                  <a:lnTo>
                    <a:pt x="692011" y="202959"/>
                  </a:lnTo>
                  <a:lnTo>
                    <a:pt x="692112" y="202959"/>
                  </a:lnTo>
                  <a:lnTo>
                    <a:pt x="692112" y="200228"/>
                  </a:lnTo>
                  <a:lnTo>
                    <a:pt x="692112" y="200876"/>
                  </a:lnTo>
                  <a:lnTo>
                    <a:pt x="692112" y="200228"/>
                  </a:lnTo>
                  <a:lnTo>
                    <a:pt x="692151" y="200228"/>
                  </a:lnTo>
                  <a:lnTo>
                    <a:pt x="692151" y="199530"/>
                  </a:lnTo>
                  <a:lnTo>
                    <a:pt x="692151" y="200876"/>
                  </a:lnTo>
                  <a:lnTo>
                    <a:pt x="692151" y="200228"/>
                  </a:lnTo>
                  <a:lnTo>
                    <a:pt x="692201" y="199530"/>
                  </a:lnTo>
                  <a:lnTo>
                    <a:pt x="692201" y="198831"/>
                  </a:lnTo>
                  <a:lnTo>
                    <a:pt x="692201" y="199530"/>
                  </a:lnTo>
                  <a:lnTo>
                    <a:pt x="692201" y="198831"/>
                  </a:lnTo>
                  <a:lnTo>
                    <a:pt x="692201" y="202260"/>
                  </a:lnTo>
                  <a:lnTo>
                    <a:pt x="692201" y="200876"/>
                  </a:lnTo>
                  <a:lnTo>
                    <a:pt x="692252" y="200228"/>
                  </a:lnTo>
                  <a:lnTo>
                    <a:pt x="692252" y="202260"/>
                  </a:lnTo>
                  <a:lnTo>
                    <a:pt x="692252" y="200876"/>
                  </a:lnTo>
                  <a:lnTo>
                    <a:pt x="692252" y="202260"/>
                  </a:lnTo>
                  <a:lnTo>
                    <a:pt x="692252" y="200876"/>
                  </a:lnTo>
                  <a:lnTo>
                    <a:pt x="692354" y="200876"/>
                  </a:lnTo>
                  <a:lnTo>
                    <a:pt x="692354" y="202260"/>
                  </a:lnTo>
                  <a:lnTo>
                    <a:pt x="692354" y="200876"/>
                  </a:lnTo>
                  <a:lnTo>
                    <a:pt x="692354" y="202260"/>
                  </a:lnTo>
                  <a:lnTo>
                    <a:pt x="692354" y="200876"/>
                  </a:lnTo>
                  <a:lnTo>
                    <a:pt x="692405" y="202260"/>
                  </a:lnTo>
                  <a:lnTo>
                    <a:pt x="692405" y="202959"/>
                  </a:lnTo>
                  <a:lnTo>
                    <a:pt x="692455" y="202959"/>
                  </a:lnTo>
                  <a:lnTo>
                    <a:pt x="692455" y="203594"/>
                  </a:lnTo>
                  <a:lnTo>
                    <a:pt x="692557" y="203594"/>
                  </a:lnTo>
                  <a:lnTo>
                    <a:pt x="692557" y="202959"/>
                  </a:lnTo>
                  <a:lnTo>
                    <a:pt x="692557" y="203594"/>
                  </a:lnTo>
                  <a:lnTo>
                    <a:pt x="692557" y="202959"/>
                  </a:lnTo>
                  <a:lnTo>
                    <a:pt x="692557" y="203594"/>
                  </a:lnTo>
                  <a:lnTo>
                    <a:pt x="692557" y="202959"/>
                  </a:lnTo>
                  <a:lnTo>
                    <a:pt x="692608" y="202260"/>
                  </a:lnTo>
                  <a:lnTo>
                    <a:pt x="692608" y="202959"/>
                  </a:lnTo>
                  <a:lnTo>
                    <a:pt x="692608" y="200228"/>
                  </a:lnTo>
                  <a:lnTo>
                    <a:pt x="692608" y="200876"/>
                  </a:lnTo>
                  <a:lnTo>
                    <a:pt x="692658" y="200876"/>
                  </a:lnTo>
                  <a:lnTo>
                    <a:pt x="692658" y="200228"/>
                  </a:lnTo>
                  <a:lnTo>
                    <a:pt x="692658" y="202260"/>
                  </a:lnTo>
                  <a:lnTo>
                    <a:pt x="692658" y="200228"/>
                  </a:lnTo>
                  <a:lnTo>
                    <a:pt x="692697" y="200228"/>
                  </a:lnTo>
                  <a:lnTo>
                    <a:pt x="692697" y="202959"/>
                  </a:lnTo>
                  <a:lnTo>
                    <a:pt x="692697" y="202260"/>
                  </a:lnTo>
                  <a:lnTo>
                    <a:pt x="692697" y="202959"/>
                  </a:lnTo>
                  <a:lnTo>
                    <a:pt x="692697" y="200876"/>
                  </a:lnTo>
                  <a:lnTo>
                    <a:pt x="692697" y="202260"/>
                  </a:lnTo>
                  <a:lnTo>
                    <a:pt x="692697" y="200876"/>
                  </a:lnTo>
                  <a:lnTo>
                    <a:pt x="692798" y="200876"/>
                  </a:lnTo>
                  <a:lnTo>
                    <a:pt x="692798" y="202959"/>
                  </a:lnTo>
                  <a:lnTo>
                    <a:pt x="692798" y="200876"/>
                  </a:lnTo>
                  <a:lnTo>
                    <a:pt x="692798" y="202260"/>
                  </a:lnTo>
                  <a:lnTo>
                    <a:pt x="692849" y="202260"/>
                  </a:lnTo>
                  <a:lnTo>
                    <a:pt x="692849" y="202959"/>
                  </a:lnTo>
                  <a:lnTo>
                    <a:pt x="692849" y="202260"/>
                  </a:lnTo>
                  <a:lnTo>
                    <a:pt x="692849" y="202959"/>
                  </a:lnTo>
                  <a:lnTo>
                    <a:pt x="692900" y="202959"/>
                  </a:lnTo>
                  <a:lnTo>
                    <a:pt x="692900" y="203594"/>
                  </a:lnTo>
                  <a:lnTo>
                    <a:pt x="692900" y="202959"/>
                  </a:lnTo>
                  <a:lnTo>
                    <a:pt x="692900" y="203594"/>
                  </a:lnTo>
                  <a:lnTo>
                    <a:pt x="692900" y="202959"/>
                  </a:lnTo>
                  <a:lnTo>
                    <a:pt x="692900" y="203594"/>
                  </a:lnTo>
                  <a:lnTo>
                    <a:pt x="693001" y="203594"/>
                  </a:lnTo>
                  <a:lnTo>
                    <a:pt x="693001" y="204292"/>
                  </a:lnTo>
                  <a:lnTo>
                    <a:pt x="693001" y="203594"/>
                  </a:lnTo>
                  <a:lnTo>
                    <a:pt x="693001" y="204292"/>
                  </a:lnTo>
                  <a:lnTo>
                    <a:pt x="693052" y="203594"/>
                  </a:lnTo>
                  <a:lnTo>
                    <a:pt x="693052" y="202959"/>
                  </a:lnTo>
                  <a:lnTo>
                    <a:pt x="693103" y="202959"/>
                  </a:lnTo>
                  <a:lnTo>
                    <a:pt x="693103" y="202260"/>
                  </a:lnTo>
                  <a:lnTo>
                    <a:pt x="693103" y="202959"/>
                  </a:lnTo>
                  <a:lnTo>
                    <a:pt x="693103" y="200876"/>
                  </a:lnTo>
                  <a:lnTo>
                    <a:pt x="693103" y="202260"/>
                  </a:lnTo>
                  <a:lnTo>
                    <a:pt x="693154" y="202260"/>
                  </a:lnTo>
                  <a:lnTo>
                    <a:pt x="693154" y="203594"/>
                  </a:lnTo>
                  <a:lnTo>
                    <a:pt x="693154" y="202260"/>
                  </a:lnTo>
                  <a:lnTo>
                    <a:pt x="693154" y="204292"/>
                  </a:lnTo>
                  <a:lnTo>
                    <a:pt x="693243" y="204292"/>
                  </a:lnTo>
                  <a:lnTo>
                    <a:pt x="693243" y="203594"/>
                  </a:lnTo>
                  <a:lnTo>
                    <a:pt x="693243" y="204292"/>
                  </a:lnTo>
                  <a:lnTo>
                    <a:pt x="693293" y="204292"/>
                  </a:lnTo>
                  <a:lnTo>
                    <a:pt x="693293" y="202959"/>
                  </a:lnTo>
                  <a:lnTo>
                    <a:pt x="693293" y="203594"/>
                  </a:lnTo>
                  <a:lnTo>
                    <a:pt x="693344" y="203594"/>
                  </a:lnTo>
                  <a:lnTo>
                    <a:pt x="693344" y="202959"/>
                  </a:lnTo>
                  <a:lnTo>
                    <a:pt x="693344" y="203594"/>
                  </a:lnTo>
                  <a:lnTo>
                    <a:pt x="693344" y="202959"/>
                  </a:lnTo>
                  <a:lnTo>
                    <a:pt x="693395" y="203594"/>
                  </a:lnTo>
                  <a:lnTo>
                    <a:pt x="693497" y="203594"/>
                  </a:lnTo>
                  <a:lnTo>
                    <a:pt x="693497" y="204292"/>
                  </a:lnTo>
                  <a:lnTo>
                    <a:pt x="693497" y="203594"/>
                  </a:lnTo>
                  <a:lnTo>
                    <a:pt x="693497" y="204292"/>
                  </a:lnTo>
                  <a:lnTo>
                    <a:pt x="693497" y="202959"/>
                  </a:lnTo>
                  <a:lnTo>
                    <a:pt x="693497" y="203594"/>
                  </a:lnTo>
                  <a:lnTo>
                    <a:pt x="693497" y="202260"/>
                  </a:lnTo>
                  <a:lnTo>
                    <a:pt x="693547" y="202959"/>
                  </a:lnTo>
                  <a:lnTo>
                    <a:pt x="693547" y="203594"/>
                  </a:lnTo>
                  <a:lnTo>
                    <a:pt x="693547" y="202260"/>
                  </a:lnTo>
                  <a:lnTo>
                    <a:pt x="693547" y="202959"/>
                  </a:lnTo>
                  <a:lnTo>
                    <a:pt x="693547" y="202260"/>
                  </a:lnTo>
                  <a:lnTo>
                    <a:pt x="693547" y="202959"/>
                  </a:lnTo>
                  <a:lnTo>
                    <a:pt x="693547" y="200876"/>
                  </a:lnTo>
                  <a:lnTo>
                    <a:pt x="693598" y="200876"/>
                  </a:lnTo>
                  <a:lnTo>
                    <a:pt x="693598" y="202260"/>
                  </a:lnTo>
                  <a:lnTo>
                    <a:pt x="693598" y="200876"/>
                  </a:lnTo>
                  <a:lnTo>
                    <a:pt x="693598" y="203594"/>
                  </a:lnTo>
                  <a:lnTo>
                    <a:pt x="693598" y="202260"/>
                  </a:lnTo>
                  <a:lnTo>
                    <a:pt x="693700" y="202260"/>
                  </a:lnTo>
                  <a:lnTo>
                    <a:pt x="693700" y="204292"/>
                  </a:lnTo>
                  <a:lnTo>
                    <a:pt x="693700" y="203594"/>
                  </a:lnTo>
                  <a:lnTo>
                    <a:pt x="693700" y="204292"/>
                  </a:lnTo>
                  <a:lnTo>
                    <a:pt x="693700" y="203594"/>
                  </a:lnTo>
                  <a:lnTo>
                    <a:pt x="693738" y="203594"/>
                  </a:lnTo>
                  <a:lnTo>
                    <a:pt x="693738" y="204292"/>
                  </a:lnTo>
                  <a:lnTo>
                    <a:pt x="693738" y="203594"/>
                  </a:lnTo>
                  <a:lnTo>
                    <a:pt x="693789" y="203594"/>
                  </a:lnTo>
                  <a:lnTo>
                    <a:pt x="693789" y="204292"/>
                  </a:lnTo>
                  <a:lnTo>
                    <a:pt x="693789" y="203594"/>
                  </a:lnTo>
                  <a:lnTo>
                    <a:pt x="693789" y="204292"/>
                  </a:lnTo>
                  <a:lnTo>
                    <a:pt x="693789" y="203594"/>
                  </a:lnTo>
                  <a:lnTo>
                    <a:pt x="693789" y="204292"/>
                  </a:lnTo>
                  <a:lnTo>
                    <a:pt x="693840" y="204292"/>
                  </a:lnTo>
                  <a:lnTo>
                    <a:pt x="693840" y="204990"/>
                  </a:lnTo>
                  <a:lnTo>
                    <a:pt x="693840" y="204292"/>
                  </a:lnTo>
                  <a:lnTo>
                    <a:pt x="693840" y="204990"/>
                  </a:lnTo>
                  <a:lnTo>
                    <a:pt x="693840" y="204292"/>
                  </a:lnTo>
                  <a:lnTo>
                    <a:pt x="693840" y="204990"/>
                  </a:lnTo>
                  <a:lnTo>
                    <a:pt x="693941" y="204990"/>
                  </a:lnTo>
                  <a:lnTo>
                    <a:pt x="693941" y="204292"/>
                  </a:lnTo>
                  <a:lnTo>
                    <a:pt x="693941" y="204990"/>
                  </a:lnTo>
                  <a:lnTo>
                    <a:pt x="693941" y="204292"/>
                  </a:lnTo>
                  <a:lnTo>
                    <a:pt x="693941" y="204990"/>
                  </a:lnTo>
                  <a:lnTo>
                    <a:pt x="693941" y="204292"/>
                  </a:lnTo>
                  <a:lnTo>
                    <a:pt x="693941" y="204990"/>
                  </a:lnTo>
                  <a:lnTo>
                    <a:pt x="693941" y="204292"/>
                  </a:lnTo>
                  <a:lnTo>
                    <a:pt x="693992" y="204292"/>
                  </a:lnTo>
                  <a:lnTo>
                    <a:pt x="693992" y="202959"/>
                  </a:lnTo>
                  <a:lnTo>
                    <a:pt x="694043" y="202959"/>
                  </a:lnTo>
                  <a:lnTo>
                    <a:pt x="694043" y="200876"/>
                  </a:lnTo>
                  <a:lnTo>
                    <a:pt x="694043" y="202260"/>
                  </a:lnTo>
                  <a:lnTo>
                    <a:pt x="694043" y="200876"/>
                  </a:lnTo>
                  <a:lnTo>
                    <a:pt x="694144" y="200876"/>
                  </a:lnTo>
                  <a:lnTo>
                    <a:pt x="694144" y="202260"/>
                  </a:lnTo>
                  <a:lnTo>
                    <a:pt x="694144" y="200876"/>
                  </a:lnTo>
                  <a:lnTo>
                    <a:pt x="694144" y="202959"/>
                  </a:lnTo>
                  <a:lnTo>
                    <a:pt x="694144" y="202260"/>
                  </a:lnTo>
                  <a:lnTo>
                    <a:pt x="694195" y="202959"/>
                  </a:lnTo>
                  <a:lnTo>
                    <a:pt x="694195" y="204292"/>
                  </a:lnTo>
                  <a:lnTo>
                    <a:pt x="694195" y="202959"/>
                  </a:lnTo>
                  <a:lnTo>
                    <a:pt x="694195" y="203594"/>
                  </a:lnTo>
                  <a:lnTo>
                    <a:pt x="694246" y="203594"/>
                  </a:lnTo>
                  <a:lnTo>
                    <a:pt x="694246" y="204292"/>
                  </a:lnTo>
                  <a:lnTo>
                    <a:pt x="694246" y="203594"/>
                  </a:lnTo>
                  <a:lnTo>
                    <a:pt x="694246" y="204292"/>
                  </a:lnTo>
                  <a:lnTo>
                    <a:pt x="694284" y="203594"/>
                  </a:lnTo>
                  <a:lnTo>
                    <a:pt x="694284" y="204990"/>
                  </a:lnTo>
                  <a:lnTo>
                    <a:pt x="694284" y="204292"/>
                  </a:lnTo>
                  <a:lnTo>
                    <a:pt x="694284" y="204990"/>
                  </a:lnTo>
                  <a:lnTo>
                    <a:pt x="694284" y="204292"/>
                  </a:lnTo>
                  <a:lnTo>
                    <a:pt x="694386" y="204292"/>
                  </a:lnTo>
                  <a:lnTo>
                    <a:pt x="694386" y="204990"/>
                  </a:lnTo>
                  <a:lnTo>
                    <a:pt x="694386" y="204292"/>
                  </a:lnTo>
                  <a:lnTo>
                    <a:pt x="694386" y="204990"/>
                  </a:lnTo>
                  <a:lnTo>
                    <a:pt x="694386" y="204292"/>
                  </a:lnTo>
                  <a:lnTo>
                    <a:pt x="694386" y="204990"/>
                  </a:lnTo>
                  <a:lnTo>
                    <a:pt x="694437" y="204990"/>
                  </a:lnTo>
                  <a:lnTo>
                    <a:pt x="694437" y="204292"/>
                  </a:lnTo>
                  <a:lnTo>
                    <a:pt x="694437" y="204990"/>
                  </a:lnTo>
                  <a:lnTo>
                    <a:pt x="694437" y="204292"/>
                  </a:lnTo>
                  <a:lnTo>
                    <a:pt x="694487" y="204292"/>
                  </a:lnTo>
                  <a:lnTo>
                    <a:pt x="694487" y="202959"/>
                  </a:lnTo>
                  <a:lnTo>
                    <a:pt x="694487" y="203594"/>
                  </a:lnTo>
                  <a:lnTo>
                    <a:pt x="694487" y="202959"/>
                  </a:lnTo>
                  <a:lnTo>
                    <a:pt x="694589" y="202959"/>
                  </a:lnTo>
                  <a:lnTo>
                    <a:pt x="694589" y="200876"/>
                  </a:lnTo>
                  <a:lnTo>
                    <a:pt x="694640" y="200876"/>
                  </a:lnTo>
                  <a:lnTo>
                    <a:pt x="694640" y="202959"/>
                  </a:lnTo>
                  <a:lnTo>
                    <a:pt x="694640" y="202260"/>
                  </a:lnTo>
                  <a:lnTo>
                    <a:pt x="694640" y="202959"/>
                  </a:lnTo>
                  <a:lnTo>
                    <a:pt x="694691" y="202959"/>
                  </a:lnTo>
                  <a:lnTo>
                    <a:pt x="694691" y="203594"/>
                  </a:lnTo>
                  <a:lnTo>
                    <a:pt x="694691" y="202959"/>
                  </a:lnTo>
                  <a:lnTo>
                    <a:pt x="694691" y="203594"/>
                  </a:lnTo>
                  <a:lnTo>
                    <a:pt x="694741" y="203594"/>
                  </a:lnTo>
                  <a:lnTo>
                    <a:pt x="694741" y="204292"/>
                  </a:lnTo>
                  <a:lnTo>
                    <a:pt x="694741" y="203594"/>
                  </a:lnTo>
                  <a:lnTo>
                    <a:pt x="694830" y="203594"/>
                  </a:lnTo>
                  <a:lnTo>
                    <a:pt x="694830" y="204292"/>
                  </a:lnTo>
                  <a:lnTo>
                    <a:pt x="694830" y="203594"/>
                  </a:lnTo>
                  <a:lnTo>
                    <a:pt x="694830" y="204990"/>
                  </a:lnTo>
                  <a:lnTo>
                    <a:pt x="694830" y="204292"/>
                  </a:lnTo>
                  <a:lnTo>
                    <a:pt x="694830" y="204990"/>
                  </a:lnTo>
                  <a:lnTo>
                    <a:pt x="694881" y="204990"/>
                  </a:lnTo>
                  <a:lnTo>
                    <a:pt x="694881" y="206324"/>
                  </a:lnTo>
                  <a:lnTo>
                    <a:pt x="694881" y="204990"/>
                  </a:lnTo>
                  <a:lnTo>
                    <a:pt x="694881" y="206324"/>
                  </a:lnTo>
                  <a:lnTo>
                    <a:pt x="694881" y="204990"/>
                  </a:lnTo>
                  <a:lnTo>
                    <a:pt x="694881" y="206324"/>
                  </a:lnTo>
                  <a:lnTo>
                    <a:pt x="694881" y="204990"/>
                  </a:lnTo>
                  <a:lnTo>
                    <a:pt x="694932" y="204990"/>
                  </a:lnTo>
                  <a:lnTo>
                    <a:pt x="694932" y="204292"/>
                  </a:lnTo>
                  <a:lnTo>
                    <a:pt x="694932" y="204990"/>
                  </a:lnTo>
                  <a:lnTo>
                    <a:pt x="694932" y="204292"/>
                  </a:lnTo>
                  <a:lnTo>
                    <a:pt x="694983" y="204292"/>
                  </a:lnTo>
                  <a:lnTo>
                    <a:pt x="694983" y="203594"/>
                  </a:lnTo>
                  <a:lnTo>
                    <a:pt x="694983" y="204292"/>
                  </a:lnTo>
                  <a:lnTo>
                    <a:pt x="694983" y="203594"/>
                  </a:lnTo>
                  <a:lnTo>
                    <a:pt x="695084" y="202959"/>
                  </a:lnTo>
                  <a:lnTo>
                    <a:pt x="695084" y="203594"/>
                  </a:lnTo>
                  <a:lnTo>
                    <a:pt x="695084" y="202260"/>
                  </a:lnTo>
                  <a:lnTo>
                    <a:pt x="695084" y="203594"/>
                  </a:lnTo>
                  <a:lnTo>
                    <a:pt x="695084" y="202959"/>
                  </a:lnTo>
                  <a:lnTo>
                    <a:pt x="695135" y="202959"/>
                  </a:lnTo>
                  <a:lnTo>
                    <a:pt x="695135" y="204990"/>
                  </a:lnTo>
                  <a:lnTo>
                    <a:pt x="695135" y="203594"/>
                  </a:lnTo>
                  <a:lnTo>
                    <a:pt x="695186" y="203594"/>
                  </a:lnTo>
                  <a:lnTo>
                    <a:pt x="695186" y="204292"/>
                  </a:lnTo>
                  <a:lnTo>
                    <a:pt x="695186" y="203594"/>
                  </a:lnTo>
                  <a:lnTo>
                    <a:pt x="695186" y="204292"/>
                  </a:lnTo>
                  <a:lnTo>
                    <a:pt x="695186" y="203594"/>
                  </a:lnTo>
                  <a:lnTo>
                    <a:pt x="695186" y="204292"/>
                  </a:lnTo>
                  <a:lnTo>
                    <a:pt x="695287" y="203594"/>
                  </a:lnTo>
                  <a:lnTo>
                    <a:pt x="695287" y="202959"/>
                  </a:lnTo>
                  <a:lnTo>
                    <a:pt x="695287" y="204292"/>
                  </a:lnTo>
                  <a:lnTo>
                    <a:pt x="695287" y="203594"/>
                  </a:lnTo>
                  <a:lnTo>
                    <a:pt x="695326" y="203594"/>
                  </a:lnTo>
                  <a:lnTo>
                    <a:pt x="695326" y="204990"/>
                  </a:lnTo>
                  <a:lnTo>
                    <a:pt x="695326" y="204292"/>
                  </a:lnTo>
                  <a:lnTo>
                    <a:pt x="695376" y="204292"/>
                  </a:lnTo>
                  <a:lnTo>
                    <a:pt x="695376" y="204990"/>
                  </a:lnTo>
                  <a:lnTo>
                    <a:pt x="695376" y="203594"/>
                  </a:lnTo>
                  <a:lnTo>
                    <a:pt x="695376" y="204292"/>
                  </a:lnTo>
                  <a:lnTo>
                    <a:pt x="695376" y="203594"/>
                  </a:lnTo>
                  <a:lnTo>
                    <a:pt x="695376" y="204292"/>
                  </a:lnTo>
                  <a:lnTo>
                    <a:pt x="695376" y="203594"/>
                  </a:lnTo>
                  <a:lnTo>
                    <a:pt x="695427" y="203594"/>
                  </a:lnTo>
                  <a:lnTo>
                    <a:pt x="695427" y="204292"/>
                  </a:lnTo>
                  <a:lnTo>
                    <a:pt x="695427" y="202959"/>
                  </a:lnTo>
                  <a:lnTo>
                    <a:pt x="695427" y="203594"/>
                  </a:lnTo>
                  <a:lnTo>
                    <a:pt x="695427" y="202959"/>
                  </a:lnTo>
                  <a:lnTo>
                    <a:pt x="695529" y="202959"/>
                  </a:lnTo>
                  <a:lnTo>
                    <a:pt x="695529" y="203594"/>
                  </a:lnTo>
                  <a:lnTo>
                    <a:pt x="695529" y="202959"/>
                  </a:lnTo>
                  <a:lnTo>
                    <a:pt x="695529" y="204292"/>
                  </a:lnTo>
                  <a:lnTo>
                    <a:pt x="695580" y="204292"/>
                  </a:lnTo>
                  <a:lnTo>
                    <a:pt x="695580" y="204990"/>
                  </a:lnTo>
                  <a:lnTo>
                    <a:pt x="695580" y="204292"/>
                  </a:lnTo>
                  <a:lnTo>
                    <a:pt x="695580" y="207022"/>
                  </a:lnTo>
                  <a:lnTo>
                    <a:pt x="695580" y="206324"/>
                  </a:lnTo>
                  <a:lnTo>
                    <a:pt x="695630" y="206324"/>
                  </a:lnTo>
                  <a:lnTo>
                    <a:pt x="695630" y="207022"/>
                  </a:lnTo>
                  <a:lnTo>
                    <a:pt x="695630" y="206324"/>
                  </a:lnTo>
                  <a:lnTo>
                    <a:pt x="695732" y="206324"/>
                  </a:lnTo>
                  <a:lnTo>
                    <a:pt x="695732" y="204990"/>
                  </a:lnTo>
                  <a:lnTo>
                    <a:pt x="695732" y="206324"/>
                  </a:lnTo>
                  <a:lnTo>
                    <a:pt x="695732" y="204990"/>
                  </a:lnTo>
                  <a:lnTo>
                    <a:pt x="695732" y="206324"/>
                  </a:lnTo>
                  <a:lnTo>
                    <a:pt x="695732" y="204990"/>
                  </a:lnTo>
                  <a:lnTo>
                    <a:pt x="695732" y="206324"/>
                  </a:lnTo>
                  <a:lnTo>
                    <a:pt x="695732" y="204990"/>
                  </a:lnTo>
                  <a:lnTo>
                    <a:pt x="695783" y="206324"/>
                  </a:lnTo>
                  <a:lnTo>
                    <a:pt x="695783" y="204990"/>
                  </a:lnTo>
                  <a:lnTo>
                    <a:pt x="695783" y="206324"/>
                  </a:lnTo>
                  <a:lnTo>
                    <a:pt x="695833" y="204990"/>
                  </a:lnTo>
                  <a:lnTo>
                    <a:pt x="695833" y="206324"/>
                  </a:lnTo>
                  <a:lnTo>
                    <a:pt x="695833" y="204990"/>
                  </a:lnTo>
                  <a:lnTo>
                    <a:pt x="695872" y="204990"/>
                  </a:lnTo>
                  <a:lnTo>
                    <a:pt x="695872" y="204292"/>
                  </a:lnTo>
                  <a:lnTo>
                    <a:pt x="695973" y="204292"/>
                  </a:lnTo>
                  <a:lnTo>
                    <a:pt x="695973" y="202959"/>
                  </a:lnTo>
                  <a:lnTo>
                    <a:pt x="696024" y="202959"/>
                  </a:lnTo>
                  <a:lnTo>
                    <a:pt x="696024" y="202260"/>
                  </a:lnTo>
                  <a:lnTo>
                    <a:pt x="696024" y="204292"/>
                  </a:lnTo>
                  <a:lnTo>
                    <a:pt x="696024" y="203594"/>
                  </a:lnTo>
                  <a:lnTo>
                    <a:pt x="696075" y="203594"/>
                  </a:lnTo>
                  <a:lnTo>
                    <a:pt x="696075" y="204990"/>
                  </a:lnTo>
                  <a:lnTo>
                    <a:pt x="696075" y="204292"/>
                  </a:lnTo>
                  <a:lnTo>
                    <a:pt x="696075" y="204990"/>
                  </a:lnTo>
                  <a:lnTo>
                    <a:pt x="696176" y="204990"/>
                  </a:lnTo>
                  <a:lnTo>
                    <a:pt x="696176" y="204292"/>
                  </a:lnTo>
                  <a:lnTo>
                    <a:pt x="696176" y="206324"/>
                  </a:lnTo>
                  <a:lnTo>
                    <a:pt x="696176" y="204990"/>
                  </a:lnTo>
                  <a:lnTo>
                    <a:pt x="696227" y="204292"/>
                  </a:lnTo>
                  <a:lnTo>
                    <a:pt x="696227" y="206324"/>
                  </a:lnTo>
                  <a:lnTo>
                    <a:pt x="696227" y="204990"/>
                  </a:lnTo>
                  <a:lnTo>
                    <a:pt x="696227" y="206324"/>
                  </a:lnTo>
                  <a:lnTo>
                    <a:pt x="696278" y="206324"/>
                  </a:lnTo>
                  <a:lnTo>
                    <a:pt x="696278" y="204990"/>
                  </a:lnTo>
                  <a:lnTo>
                    <a:pt x="696278" y="206324"/>
                  </a:lnTo>
                  <a:lnTo>
                    <a:pt x="696278" y="204990"/>
                  </a:lnTo>
                  <a:lnTo>
                    <a:pt x="696278" y="206324"/>
                  </a:lnTo>
                  <a:lnTo>
                    <a:pt x="696329" y="206324"/>
                  </a:lnTo>
                  <a:lnTo>
                    <a:pt x="696329" y="204292"/>
                  </a:lnTo>
                  <a:lnTo>
                    <a:pt x="696329" y="204990"/>
                  </a:lnTo>
                  <a:lnTo>
                    <a:pt x="696418" y="204292"/>
                  </a:lnTo>
                  <a:lnTo>
                    <a:pt x="696418" y="204990"/>
                  </a:lnTo>
                  <a:lnTo>
                    <a:pt x="696418" y="202959"/>
                  </a:lnTo>
                  <a:lnTo>
                    <a:pt x="696468" y="202959"/>
                  </a:lnTo>
                  <a:lnTo>
                    <a:pt x="696468" y="202260"/>
                  </a:lnTo>
                  <a:lnTo>
                    <a:pt x="696468" y="202959"/>
                  </a:lnTo>
                  <a:lnTo>
                    <a:pt x="696468" y="200876"/>
                  </a:lnTo>
                  <a:lnTo>
                    <a:pt x="696468" y="202260"/>
                  </a:lnTo>
                  <a:lnTo>
                    <a:pt x="696468" y="200228"/>
                  </a:lnTo>
                  <a:lnTo>
                    <a:pt x="696519" y="200228"/>
                  </a:lnTo>
                  <a:lnTo>
                    <a:pt x="696519" y="202260"/>
                  </a:lnTo>
                  <a:lnTo>
                    <a:pt x="696519" y="200876"/>
                  </a:lnTo>
                  <a:lnTo>
                    <a:pt x="696570" y="200876"/>
                  </a:lnTo>
                  <a:lnTo>
                    <a:pt x="696570" y="203594"/>
                  </a:lnTo>
                  <a:lnTo>
                    <a:pt x="696570" y="202959"/>
                  </a:lnTo>
                  <a:lnTo>
                    <a:pt x="696570" y="203594"/>
                  </a:lnTo>
                  <a:lnTo>
                    <a:pt x="696570" y="202959"/>
                  </a:lnTo>
                  <a:lnTo>
                    <a:pt x="696570" y="203594"/>
                  </a:lnTo>
                  <a:lnTo>
                    <a:pt x="696570" y="202260"/>
                  </a:lnTo>
                  <a:lnTo>
                    <a:pt x="696570" y="202959"/>
                  </a:lnTo>
                  <a:lnTo>
                    <a:pt x="696672" y="202959"/>
                  </a:lnTo>
                  <a:lnTo>
                    <a:pt x="696672" y="203594"/>
                  </a:lnTo>
                  <a:lnTo>
                    <a:pt x="696672" y="202959"/>
                  </a:lnTo>
                  <a:lnTo>
                    <a:pt x="696672" y="203594"/>
                  </a:lnTo>
                  <a:lnTo>
                    <a:pt x="696672" y="202959"/>
                  </a:lnTo>
                  <a:lnTo>
                    <a:pt x="696672" y="203594"/>
                  </a:lnTo>
                  <a:lnTo>
                    <a:pt x="696722" y="203594"/>
                  </a:lnTo>
                  <a:lnTo>
                    <a:pt x="696722" y="204292"/>
                  </a:lnTo>
                  <a:lnTo>
                    <a:pt x="696722" y="203594"/>
                  </a:lnTo>
                  <a:lnTo>
                    <a:pt x="696722" y="204292"/>
                  </a:lnTo>
                  <a:lnTo>
                    <a:pt x="696773" y="204292"/>
                  </a:lnTo>
                  <a:lnTo>
                    <a:pt x="696773" y="206324"/>
                  </a:lnTo>
                  <a:lnTo>
                    <a:pt x="696773" y="204990"/>
                  </a:lnTo>
                  <a:lnTo>
                    <a:pt x="696773" y="206324"/>
                  </a:lnTo>
                  <a:lnTo>
                    <a:pt x="696773" y="204990"/>
                  </a:lnTo>
                  <a:lnTo>
                    <a:pt x="696773" y="206324"/>
                  </a:lnTo>
                  <a:lnTo>
                    <a:pt x="696875" y="206324"/>
                  </a:lnTo>
                  <a:lnTo>
                    <a:pt x="696875" y="204990"/>
                  </a:lnTo>
                  <a:lnTo>
                    <a:pt x="696875" y="206324"/>
                  </a:lnTo>
                  <a:lnTo>
                    <a:pt x="696875" y="204292"/>
                  </a:lnTo>
                  <a:lnTo>
                    <a:pt x="696913" y="204292"/>
                  </a:lnTo>
                  <a:lnTo>
                    <a:pt x="696913" y="204990"/>
                  </a:lnTo>
                  <a:lnTo>
                    <a:pt x="696913" y="203594"/>
                  </a:lnTo>
                  <a:lnTo>
                    <a:pt x="696964" y="203594"/>
                  </a:lnTo>
                  <a:lnTo>
                    <a:pt x="696964" y="202260"/>
                  </a:lnTo>
                  <a:lnTo>
                    <a:pt x="697015" y="200876"/>
                  </a:lnTo>
                  <a:lnTo>
                    <a:pt x="697015" y="202959"/>
                  </a:lnTo>
                  <a:lnTo>
                    <a:pt x="697015" y="200876"/>
                  </a:lnTo>
                  <a:lnTo>
                    <a:pt x="697116" y="200876"/>
                  </a:lnTo>
                  <a:lnTo>
                    <a:pt x="697116" y="202959"/>
                  </a:lnTo>
                  <a:lnTo>
                    <a:pt x="697116" y="202260"/>
                  </a:lnTo>
                  <a:lnTo>
                    <a:pt x="697116" y="202959"/>
                  </a:lnTo>
                  <a:lnTo>
                    <a:pt x="697116" y="200876"/>
                  </a:lnTo>
                  <a:lnTo>
                    <a:pt x="697116" y="202260"/>
                  </a:lnTo>
                  <a:lnTo>
                    <a:pt x="697167" y="200876"/>
                  </a:lnTo>
                  <a:lnTo>
                    <a:pt x="697167" y="202959"/>
                  </a:lnTo>
                  <a:lnTo>
                    <a:pt x="697167" y="202260"/>
                  </a:lnTo>
                  <a:lnTo>
                    <a:pt x="697167" y="202959"/>
                  </a:lnTo>
                  <a:lnTo>
                    <a:pt x="697218" y="202959"/>
                  </a:lnTo>
                  <a:lnTo>
                    <a:pt x="697218" y="203594"/>
                  </a:lnTo>
                  <a:lnTo>
                    <a:pt x="697218" y="202959"/>
                  </a:lnTo>
                  <a:lnTo>
                    <a:pt x="697218" y="203594"/>
                  </a:lnTo>
                  <a:lnTo>
                    <a:pt x="697218" y="202959"/>
                  </a:lnTo>
                  <a:lnTo>
                    <a:pt x="697218" y="204292"/>
                  </a:lnTo>
                  <a:lnTo>
                    <a:pt x="697319" y="204292"/>
                  </a:lnTo>
                  <a:lnTo>
                    <a:pt x="697319" y="203594"/>
                  </a:lnTo>
                  <a:lnTo>
                    <a:pt x="697319" y="204990"/>
                  </a:lnTo>
                  <a:lnTo>
                    <a:pt x="697319" y="204292"/>
                  </a:lnTo>
                  <a:lnTo>
                    <a:pt x="697370" y="204292"/>
                  </a:lnTo>
                  <a:lnTo>
                    <a:pt x="697370" y="203594"/>
                  </a:lnTo>
                  <a:lnTo>
                    <a:pt x="697370" y="204292"/>
                  </a:lnTo>
                  <a:lnTo>
                    <a:pt x="697370" y="203594"/>
                  </a:lnTo>
                  <a:lnTo>
                    <a:pt x="697421" y="203594"/>
                  </a:lnTo>
                  <a:lnTo>
                    <a:pt x="697421" y="202959"/>
                  </a:lnTo>
                  <a:lnTo>
                    <a:pt x="697421" y="203594"/>
                  </a:lnTo>
                  <a:lnTo>
                    <a:pt x="697421" y="202959"/>
                  </a:lnTo>
                  <a:lnTo>
                    <a:pt x="697421" y="203594"/>
                  </a:lnTo>
                  <a:lnTo>
                    <a:pt x="697459" y="202959"/>
                  </a:lnTo>
                  <a:lnTo>
                    <a:pt x="697459" y="203594"/>
                  </a:lnTo>
                  <a:lnTo>
                    <a:pt x="697459" y="202959"/>
                  </a:lnTo>
                  <a:lnTo>
                    <a:pt x="697459" y="203594"/>
                  </a:lnTo>
                  <a:lnTo>
                    <a:pt x="697459" y="202260"/>
                  </a:lnTo>
                  <a:lnTo>
                    <a:pt x="697459" y="202959"/>
                  </a:lnTo>
                  <a:lnTo>
                    <a:pt x="697459" y="200876"/>
                  </a:lnTo>
                  <a:lnTo>
                    <a:pt x="697561" y="200876"/>
                  </a:lnTo>
                  <a:lnTo>
                    <a:pt x="697561" y="199530"/>
                  </a:lnTo>
                  <a:lnTo>
                    <a:pt x="697561" y="200876"/>
                  </a:lnTo>
                  <a:lnTo>
                    <a:pt x="697561" y="200228"/>
                  </a:lnTo>
                  <a:lnTo>
                    <a:pt x="697612" y="200228"/>
                  </a:lnTo>
                  <a:lnTo>
                    <a:pt x="697612" y="198831"/>
                  </a:lnTo>
                  <a:lnTo>
                    <a:pt x="697612" y="200876"/>
                  </a:lnTo>
                  <a:lnTo>
                    <a:pt x="697662" y="200876"/>
                  </a:lnTo>
                  <a:lnTo>
                    <a:pt x="697662" y="200228"/>
                  </a:lnTo>
                  <a:lnTo>
                    <a:pt x="697662" y="202260"/>
                  </a:lnTo>
                  <a:lnTo>
                    <a:pt x="697662" y="200876"/>
                  </a:lnTo>
                  <a:lnTo>
                    <a:pt x="697662" y="202260"/>
                  </a:lnTo>
                  <a:lnTo>
                    <a:pt x="697662" y="200228"/>
                  </a:lnTo>
                  <a:lnTo>
                    <a:pt x="697662" y="200876"/>
                  </a:lnTo>
                  <a:lnTo>
                    <a:pt x="697764" y="202260"/>
                  </a:lnTo>
                  <a:lnTo>
                    <a:pt x="697764" y="200876"/>
                  </a:lnTo>
                  <a:lnTo>
                    <a:pt x="697764" y="202959"/>
                  </a:lnTo>
                  <a:lnTo>
                    <a:pt x="697764" y="202260"/>
                  </a:lnTo>
                  <a:lnTo>
                    <a:pt x="697815" y="202260"/>
                  </a:lnTo>
                  <a:lnTo>
                    <a:pt x="697815" y="203594"/>
                  </a:lnTo>
                  <a:lnTo>
                    <a:pt x="697815" y="202959"/>
                  </a:lnTo>
                  <a:lnTo>
                    <a:pt x="697815" y="203594"/>
                  </a:lnTo>
                  <a:lnTo>
                    <a:pt x="697815" y="202959"/>
                  </a:lnTo>
                  <a:lnTo>
                    <a:pt x="697866" y="203594"/>
                  </a:lnTo>
                  <a:lnTo>
                    <a:pt x="697866" y="202959"/>
                  </a:lnTo>
                  <a:lnTo>
                    <a:pt x="697866" y="203594"/>
                  </a:lnTo>
                  <a:lnTo>
                    <a:pt x="697916" y="203594"/>
                  </a:lnTo>
                  <a:lnTo>
                    <a:pt x="697916" y="202959"/>
                  </a:lnTo>
                  <a:lnTo>
                    <a:pt x="697916" y="203594"/>
                  </a:lnTo>
                  <a:lnTo>
                    <a:pt x="697916" y="202959"/>
                  </a:lnTo>
                  <a:lnTo>
                    <a:pt x="698005" y="202959"/>
                  </a:lnTo>
                  <a:lnTo>
                    <a:pt x="698005" y="203594"/>
                  </a:lnTo>
                  <a:lnTo>
                    <a:pt x="698005" y="200876"/>
                  </a:lnTo>
                  <a:lnTo>
                    <a:pt x="698056" y="200228"/>
                  </a:lnTo>
                  <a:lnTo>
                    <a:pt x="698056" y="202260"/>
                  </a:lnTo>
                  <a:lnTo>
                    <a:pt x="698056" y="200876"/>
                  </a:lnTo>
                  <a:lnTo>
                    <a:pt x="698056" y="202260"/>
                  </a:lnTo>
                  <a:lnTo>
                    <a:pt x="698056" y="199530"/>
                  </a:lnTo>
                  <a:lnTo>
                    <a:pt x="698107" y="198831"/>
                  </a:lnTo>
                  <a:lnTo>
                    <a:pt x="698107" y="202959"/>
                  </a:lnTo>
                  <a:lnTo>
                    <a:pt x="698107" y="199530"/>
                  </a:lnTo>
                  <a:lnTo>
                    <a:pt x="698158" y="199530"/>
                  </a:lnTo>
                  <a:lnTo>
                    <a:pt x="698158" y="202260"/>
                  </a:lnTo>
                  <a:lnTo>
                    <a:pt x="698158" y="200876"/>
                  </a:lnTo>
                  <a:lnTo>
                    <a:pt x="698158" y="202260"/>
                  </a:lnTo>
                  <a:lnTo>
                    <a:pt x="698158" y="200228"/>
                  </a:lnTo>
                  <a:lnTo>
                    <a:pt x="698158" y="200876"/>
                  </a:lnTo>
                  <a:lnTo>
                    <a:pt x="698259" y="200876"/>
                  </a:lnTo>
                  <a:lnTo>
                    <a:pt x="698259" y="202260"/>
                  </a:lnTo>
                  <a:lnTo>
                    <a:pt x="698259" y="200876"/>
                  </a:lnTo>
                  <a:lnTo>
                    <a:pt x="698259" y="202260"/>
                  </a:lnTo>
                  <a:lnTo>
                    <a:pt x="698310" y="202260"/>
                  </a:lnTo>
                  <a:lnTo>
                    <a:pt x="698310" y="202959"/>
                  </a:lnTo>
                  <a:lnTo>
                    <a:pt x="698310" y="202260"/>
                  </a:lnTo>
                  <a:lnTo>
                    <a:pt x="698310" y="202959"/>
                  </a:lnTo>
                  <a:lnTo>
                    <a:pt x="698310" y="202260"/>
                  </a:lnTo>
                  <a:lnTo>
                    <a:pt x="698310" y="202959"/>
                  </a:lnTo>
                  <a:lnTo>
                    <a:pt x="698361" y="202260"/>
                  </a:lnTo>
                  <a:lnTo>
                    <a:pt x="698361" y="202959"/>
                  </a:lnTo>
                  <a:lnTo>
                    <a:pt x="698361" y="202260"/>
                  </a:lnTo>
                  <a:lnTo>
                    <a:pt x="698361" y="202959"/>
                  </a:lnTo>
                  <a:lnTo>
                    <a:pt x="698462" y="202959"/>
                  </a:lnTo>
                  <a:lnTo>
                    <a:pt x="698462" y="202260"/>
                  </a:lnTo>
                  <a:lnTo>
                    <a:pt x="698462" y="202959"/>
                  </a:lnTo>
                  <a:lnTo>
                    <a:pt x="698462" y="202260"/>
                  </a:lnTo>
                  <a:lnTo>
                    <a:pt x="698462" y="202959"/>
                  </a:lnTo>
                  <a:lnTo>
                    <a:pt x="698462" y="202260"/>
                  </a:lnTo>
                  <a:lnTo>
                    <a:pt x="698501" y="202260"/>
                  </a:lnTo>
                  <a:lnTo>
                    <a:pt x="698501" y="202959"/>
                  </a:lnTo>
                  <a:lnTo>
                    <a:pt x="698501" y="202260"/>
                  </a:lnTo>
                  <a:lnTo>
                    <a:pt x="698501" y="202959"/>
                  </a:lnTo>
                  <a:lnTo>
                    <a:pt x="698501" y="200228"/>
                  </a:lnTo>
                  <a:lnTo>
                    <a:pt x="698551" y="200876"/>
                  </a:lnTo>
                  <a:lnTo>
                    <a:pt x="698551" y="202260"/>
                  </a:lnTo>
                  <a:lnTo>
                    <a:pt x="698551" y="199530"/>
                  </a:lnTo>
                  <a:lnTo>
                    <a:pt x="698551" y="200228"/>
                  </a:lnTo>
                  <a:lnTo>
                    <a:pt x="698602" y="200876"/>
                  </a:lnTo>
                  <a:lnTo>
                    <a:pt x="698602" y="202959"/>
                  </a:lnTo>
                  <a:lnTo>
                    <a:pt x="698602" y="200876"/>
                  </a:lnTo>
                  <a:lnTo>
                    <a:pt x="698602" y="202260"/>
                  </a:lnTo>
                  <a:lnTo>
                    <a:pt x="698704" y="202959"/>
                  </a:lnTo>
                  <a:lnTo>
                    <a:pt x="698704" y="203594"/>
                  </a:lnTo>
                  <a:lnTo>
                    <a:pt x="698704" y="202260"/>
                  </a:lnTo>
                  <a:lnTo>
                    <a:pt x="698704" y="202959"/>
                  </a:lnTo>
                  <a:lnTo>
                    <a:pt x="698805" y="202959"/>
                  </a:lnTo>
                  <a:lnTo>
                    <a:pt x="698805" y="202260"/>
                  </a:lnTo>
                  <a:lnTo>
                    <a:pt x="698805" y="203594"/>
                  </a:lnTo>
                  <a:lnTo>
                    <a:pt x="698805" y="202959"/>
                  </a:lnTo>
                  <a:lnTo>
                    <a:pt x="698907" y="202959"/>
                  </a:lnTo>
                  <a:lnTo>
                    <a:pt x="698907" y="202260"/>
                  </a:lnTo>
                  <a:lnTo>
                    <a:pt x="698907" y="203594"/>
                  </a:lnTo>
                  <a:lnTo>
                    <a:pt x="698907" y="202959"/>
                  </a:lnTo>
                  <a:lnTo>
                    <a:pt x="698907" y="203594"/>
                  </a:lnTo>
                  <a:lnTo>
                    <a:pt x="698958" y="202959"/>
                  </a:lnTo>
                  <a:lnTo>
                    <a:pt x="698958" y="203594"/>
                  </a:lnTo>
                  <a:lnTo>
                    <a:pt x="698958" y="202959"/>
                  </a:lnTo>
                  <a:lnTo>
                    <a:pt x="698958" y="203594"/>
                  </a:lnTo>
                  <a:lnTo>
                    <a:pt x="698958" y="202959"/>
                  </a:lnTo>
                  <a:lnTo>
                    <a:pt x="698958" y="203594"/>
                  </a:lnTo>
                  <a:lnTo>
                    <a:pt x="698958" y="202959"/>
                  </a:lnTo>
                  <a:lnTo>
                    <a:pt x="699008" y="202959"/>
                  </a:lnTo>
                  <a:lnTo>
                    <a:pt x="699008" y="200876"/>
                  </a:lnTo>
                  <a:lnTo>
                    <a:pt x="699008" y="202260"/>
                  </a:lnTo>
                  <a:lnTo>
                    <a:pt x="699047" y="202959"/>
                  </a:lnTo>
                  <a:lnTo>
                    <a:pt x="699047" y="203594"/>
                  </a:lnTo>
                  <a:lnTo>
                    <a:pt x="699047" y="200228"/>
                  </a:lnTo>
                  <a:lnTo>
                    <a:pt x="699047" y="204292"/>
                  </a:lnTo>
                  <a:lnTo>
                    <a:pt x="699148" y="204292"/>
                  </a:lnTo>
                  <a:lnTo>
                    <a:pt x="699148" y="202260"/>
                  </a:lnTo>
                  <a:lnTo>
                    <a:pt x="699148" y="204292"/>
                  </a:lnTo>
                  <a:lnTo>
                    <a:pt x="699199" y="204292"/>
                  </a:lnTo>
                  <a:lnTo>
                    <a:pt x="699199" y="203594"/>
                  </a:lnTo>
                  <a:lnTo>
                    <a:pt x="699199" y="204292"/>
                  </a:lnTo>
                  <a:lnTo>
                    <a:pt x="699250" y="204292"/>
                  </a:lnTo>
                  <a:lnTo>
                    <a:pt x="699250" y="203594"/>
                  </a:lnTo>
                  <a:lnTo>
                    <a:pt x="699351" y="203594"/>
                  </a:lnTo>
                  <a:lnTo>
                    <a:pt x="699351" y="202959"/>
                  </a:lnTo>
                  <a:lnTo>
                    <a:pt x="699351" y="203594"/>
                  </a:lnTo>
                  <a:lnTo>
                    <a:pt x="699351" y="202959"/>
                  </a:lnTo>
                  <a:lnTo>
                    <a:pt x="699351" y="203594"/>
                  </a:lnTo>
                  <a:lnTo>
                    <a:pt x="699351" y="202959"/>
                  </a:lnTo>
                  <a:lnTo>
                    <a:pt x="699402" y="203594"/>
                  </a:lnTo>
                  <a:lnTo>
                    <a:pt x="699402" y="202959"/>
                  </a:lnTo>
                  <a:lnTo>
                    <a:pt x="699402" y="203594"/>
                  </a:lnTo>
                  <a:lnTo>
                    <a:pt x="699402" y="202959"/>
                  </a:lnTo>
                  <a:lnTo>
                    <a:pt x="699402" y="203594"/>
                  </a:lnTo>
                  <a:lnTo>
                    <a:pt x="699453" y="202959"/>
                  </a:lnTo>
                  <a:lnTo>
                    <a:pt x="699453" y="200876"/>
                  </a:lnTo>
                  <a:lnTo>
                    <a:pt x="699504" y="200876"/>
                  </a:lnTo>
                  <a:lnTo>
                    <a:pt x="699504" y="202959"/>
                  </a:lnTo>
                  <a:lnTo>
                    <a:pt x="699504" y="202260"/>
                  </a:lnTo>
                  <a:lnTo>
                    <a:pt x="699504" y="202959"/>
                  </a:lnTo>
                  <a:lnTo>
                    <a:pt x="699504" y="202260"/>
                  </a:lnTo>
                  <a:lnTo>
                    <a:pt x="699593" y="202260"/>
                  </a:lnTo>
                  <a:lnTo>
                    <a:pt x="699593" y="200876"/>
                  </a:lnTo>
                  <a:lnTo>
                    <a:pt x="699593" y="204292"/>
                  </a:lnTo>
                  <a:lnTo>
                    <a:pt x="699593" y="203594"/>
                  </a:lnTo>
                  <a:lnTo>
                    <a:pt x="699643" y="202959"/>
                  </a:lnTo>
                  <a:lnTo>
                    <a:pt x="699643" y="204990"/>
                  </a:lnTo>
                  <a:lnTo>
                    <a:pt x="699643" y="203594"/>
                  </a:lnTo>
                  <a:lnTo>
                    <a:pt x="699694" y="203594"/>
                  </a:lnTo>
                  <a:lnTo>
                    <a:pt x="699694" y="204990"/>
                  </a:lnTo>
                  <a:lnTo>
                    <a:pt x="699694" y="204292"/>
                  </a:lnTo>
                  <a:lnTo>
                    <a:pt x="699745" y="204292"/>
                  </a:lnTo>
                  <a:lnTo>
                    <a:pt x="699745" y="203594"/>
                  </a:lnTo>
                  <a:lnTo>
                    <a:pt x="699745" y="204990"/>
                  </a:lnTo>
                  <a:lnTo>
                    <a:pt x="699745" y="204292"/>
                  </a:lnTo>
                  <a:lnTo>
                    <a:pt x="699847" y="204292"/>
                  </a:lnTo>
                  <a:lnTo>
                    <a:pt x="699847" y="203594"/>
                  </a:lnTo>
                  <a:lnTo>
                    <a:pt x="699847" y="204292"/>
                  </a:lnTo>
                  <a:lnTo>
                    <a:pt x="699847" y="203594"/>
                  </a:lnTo>
                  <a:lnTo>
                    <a:pt x="699897" y="203594"/>
                  </a:lnTo>
                  <a:lnTo>
                    <a:pt x="699897" y="204292"/>
                  </a:lnTo>
                  <a:lnTo>
                    <a:pt x="699897" y="203594"/>
                  </a:lnTo>
                  <a:lnTo>
                    <a:pt x="699897" y="204292"/>
                  </a:lnTo>
                  <a:lnTo>
                    <a:pt x="699897" y="203594"/>
                  </a:lnTo>
                  <a:lnTo>
                    <a:pt x="699897" y="204292"/>
                  </a:lnTo>
                  <a:lnTo>
                    <a:pt x="699897" y="203594"/>
                  </a:lnTo>
                  <a:lnTo>
                    <a:pt x="699948" y="203594"/>
                  </a:lnTo>
                  <a:lnTo>
                    <a:pt x="699948" y="200876"/>
                  </a:lnTo>
                  <a:lnTo>
                    <a:pt x="699948" y="202260"/>
                  </a:lnTo>
                  <a:lnTo>
                    <a:pt x="699948" y="200876"/>
                  </a:lnTo>
                  <a:lnTo>
                    <a:pt x="699948" y="202959"/>
                  </a:lnTo>
                  <a:lnTo>
                    <a:pt x="700050" y="202959"/>
                  </a:lnTo>
                  <a:lnTo>
                    <a:pt x="700050" y="203594"/>
                  </a:lnTo>
                  <a:lnTo>
                    <a:pt x="700050" y="202260"/>
                  </a:lnTo>
                  <a:lnTo>
                    <a:pt x="700050" y="204292"/>
                  </a:lnTo>
                  <a:lnTo>
                    <a:pt x="700088" y="204292"/>
                  </a:lnTo>
                  <a:lnTo>
                    <a:pt x="700088" y="203594"/>
                  </a:lnTo>
                  <a:lnTo>
                    <a:pt x="700088" y="204990"/>
                  </a:lnTo>
                  <a:lnTo>
                    <a:pt x="700139" y="204990"/>
                  </a:lnTo>
                  <a:lnTo>
                    <a:pt x="700139" y="204292"/>
                  </a:lnTo>
                  <a:lnTo>
                    <a:pt x="700139" y="204990"/>
                  </a:lnTo>
                  <a:lnTo>
                    <a:pt x="700139" y="204292"/>
                  </a:lnTo>
                  <a:lnTo>
                    <a:pt x="700139" y="204990"/>
                  </a:lnTo>
                  <a:lnTo>
                    <a:pt x="700139" y="204292"/>
                  </a:lnTo>
                  <a:lnTo>
                    <a:pt x="700139" y="204990"/>
                  </a:lnTo>
                  <a:lnTo>
                    <a:pt x="700190" y="204292"/>
                  </a:lnTo>
                  <a:lnTo>
                    <a:pt x="700190" y="204990"/>
                  </a:lnTo>
                  <a:lnTo>
                    <a:pt x="700291" y="204990"/>
                  </a:lnTo>
                  <a:lnTo>
                    <a:pt x="700291" y="204292"/>
                  </a:lnTo>
                  <a:lnTo>
                    <a:pt x="700291" y="204990"/>
                  </a:lnTo>
                  <a:lnTo>
                    <a:pt x="700291" y="204292"/>
                  </a:lnTo>
                  <a:lnTo>
                    <a:pt x="700291" y="204990"/>
                  </a:lnTo>
                  <a:lnTo>
                    <a:pt x="700342" y="204292"/>
                  </a:lnTo>
                  <a:lnTo>
                    <a:pt x="700342" y="204990"/>
                  </a:lnTo>
                  <a:lnTo>
                    <a:pt x="700342" y="204292"/>
                  </a:lnTo>
                  <a:lnTo>
                    <a:pt x="700342" y="204990"/>
                  </a:lnTo>
                  <a:lnTo>
                    <a:pt x="700342" y="203594"/>
                  </a:lnTo>
                  <a:lnTo>
                    <a:pt x="700342" y="204292"/>
                  </a:lnTo>
                  <a:lnTo>
                    <a:pt x="700393" y="203594"/>
                  </a:lnTo>
                  <a:lnTo>
                    <a:pt x="700393" y="204292"/>
                  </a:lnTo>
                  <a:lnTo>
                    <a:pt x="700393" y="202959"/>
                  </a:lnTo>
                  <a:lnTo>
                    <a:pt x="700494" y="202959"/>
                  </a:lnTo>
                  <a:lnTo>
                    <a:pt x="700494" y="200876"/>
                  </a:lnTo>
                  <a:lnTo>
                    <a:pt x="700494" y="202959"/>
                  </a:lnTo>
                  <a:lnTo>
                    <a:pt x="700545" y="202260"/>
                  </a:lnTo>
                  <a:lnTo>
                    <a:pt x="700545" y="202959"/>
                  </a:lnTo>
                  <a:lnTo>
                    <a:pt x="700545" y="200876"/>
                  </a:lnTo>
                  <a:lnTo>
                    <a:pt x="700545" y="203594"/>
                  </a:lnTo>
                  <a:lnTo>
                    <a:pt x="700596" y="203594"/>
                  </a:lnTo>
                  <a:lnTo>
                    <a:pt x="700596" y="204292"/>
                  </a:lnTo>
                  <a:lnTo>
                    <a:pt x="700596" y="202959"/>
                  </a:lnTo>
                  <a:lnTo>
                    <a:pt x="700596" y="203594"/>
                  </a:lnTo>
                  <a:lnTo>
                    <a:pt x="700596" y="202959"/>
                  </a:lnTo>
                  <a:lnTo>
                    <a:pt x="700596" y="203594"/>
                  </a:lnTo>
                  <a:lnTo>
                    <a:pt x="700596" y="202959"/>
                  </a:lnTo>
                  <a:lnTo>
                    <a:pt x="700596" y="203594"/>
                  </a:lnTo>
                  <a:lnTo>
                    <a:pt x="700634" y="204292"/>
                  </a:lnTo>
                  <a:lnTo>
                    <a:pt x="700634" y="204990"/>
                  </a:lnTo>
                  <a:lnTo>
                    <a:pt x="700634" y="204292"/>
                  </a:lnTo>
                  <a:lnTo>
                    <a:pt x="700634" y="204990"/>
                  </a:lnTo>
                  <a:lnTo>
                    <a:pt x="700634" y="204292"/>
                  </a:lnTo>
                  <a:lnTo>
                    <a:pt x="700634" y="204990"/>
                  </a:lnTo>
                  <a:lnTo>
                    <a:pt x="700634" y="204292"/>
                  </a:lnTo>
                  <a:lnTo>
                    <a:pt x="700634" y="204990"/>
                  </a:lnTo>
                  <a:lnTo>
                    <a:pt x="700736" y="204292"/>
                  </a:lnTo>
                  <a:lnTo>
                    <a:pt x="700736" y="204990"/>
                  </a:lnTo>
                  <a:lnTo>
                    <a:pt x="700736" y="204292"/>
                  </a:lnTo>
                  <a:lnTo>
                    <a:pt x="700787" y="204990"/>
                  </a:lnTo>
                  <a:lnTo>
                    <a:pt x="700787" y="204292"/>
                  </a:lnTo>
                  <a:lnTo>
                    <a:pt x="700787" y="204990"/>
                  </a:lnTo>
                  <a:lnTo>
                    <a:pt x="700837" y="204292"/>
                  </a:lnTo>
                  <a:lnTo>
                    <a:pt x="700837" y="204990"/>
                  </a:lnTo>
                  <a:lnTo>
                    <a:pt x="700837" y="204292"/>
                  </a:lnTo>
                  <a:lnTo>
                    <a:pt x="700837" y="204990"/>
                  </a:lnTo>
                  <a:lnTo>
                    <a:pt x="700837" y="204292"/>
                  </a:lnTo>
                  <a:lnTo>
                    <a:pt x="700837" y="204990"/>
                  </a:lnTo>
                  <a:lnTo>
                    <a:pt x="700837" y="204292"/>
                  </a:lnTo>
                  <a:lnTo>
                    <a:pt x="700837" y="204990"/>
                  </a:lnTo>
                  <a:lnTo>
                    <a:pt x="700837" y="204292"/>
                  </a:lnTo>
                  <a:lnTo>
                    <a:pt x="700939" y="204292"/>
                  </a:lnTo>
                  <a:lnTo>
                    <a:pt x="700939" y="202959"/>
                  </a:lnTo>
                  <a:lnTo>
                    <a:pt x="700990" y="202260"/>
                  </a:lnTo>
                  <a:lnTo>
                    <a:pt x="700990" y="200876"/>
                  </a:lnTo>
                  <a:lnTo>
                    <a:pt x="700990" y="202260"/>
                  </a:lnTo>
                  <a:lnTo>
                    <a:pt x="700990" y="200876"/>
                  </a:lnTo>
                  <a:lnTo>
                    <a:pt x="700990" y="202260"/>
                  </a:lnTo>
                  <a:lnTo>
                    <a:pt x="700990" y="200876"/>
                  </a:lnTo>
                  <a:lnTo>
                    <a:pt x="701041" y="200876"/>
                  </a:lnTo>
                  <a:lnTo>
                    <a:pt x="701041" y="200228"/>
                  </a:lnTo>
                  <a:lnTo>
                    <a:pt x="701041" y="203594"/>
                  </a:lnTo>
                  <a:lnTo>
                    <a:pt x="701041" y="202959"/>
                  </a:lnTo>
                  <a:lnTo>
                    <a:pt x="701091" y="202959"/>
                  </a:lnTo>
                  <a:lnTo>
                    <a:pt x="701091" y="202260"/>
                  </a:lnTo>
                  <a:lnTo>
                    <a:pt x="701091" y="203594"/>
                  </a:lnTo>
                  <a:lnTo>
                    <a:pt x="701091" y="202959"/>
                  </a:lnTo>
                  <a:lnTo>
                    <a:pt x="701091" y="203594"/>
                  </a:lnTo>
                  <a:lnTo>
                    <a:pt x="701091" y="202959"/>
                  </a:lnTo>
                  <a:lnTo>
                    <a:pt x="701091" y="203594"/>
                  </a:lnTo>
                  <a:lnTo>
                    <a:pt x="701091" y="202959"/>
                  </a:lnTo>
                  <a:lnTo>
                    <a:pt x="701180" y="202959"/>
                  </a:lnTo>
                  <a:lnTo>
                    <a:pt x="701180" y="203594"/>
                  </a:lnTo>
                  <a:lnTo>
                    <a:pt x="701282" y="203594"/>
                  </a:lnTo>
                  <a:lnTo>
                    <a:pt x="701282" y="204292"/>
                  </a:lnTo>
                  <a:lnTo>
                    <a:pt x="701282" y="203594"/>
                  </a:lnTo>
                  <a:lnTo>
                    <a:pt x="701282" y="204292"/>
                  </a:lnTo>
                  <a:lnTo>
                    <a:pt x="701282" y="203594"/>
                  </a:lnTo>
                  <a:lnTo>
                    <a:pt x="701282" y="204292"/>
                  </a:lnTo>
                  <a:lnTo>
                    <a:pt x="701282" y="203594"/>
                  </a:lnTo>
                  <a:lnTo>
                    <a:pt x="701282" y="204990"/>
                  </a:lnTo>
                  <a:lnTo>
                    <a:pt x="701333" y="204292"/>
                  </a:lnTo>
                  <a:lnTo>
                    <a:pt x="701434" y="203594"/>
                  </a:lnTo>
                  <a:lnTo>
                    <a:pt x="701434" y="202959"/>
                  </a:lnTo>
                  <a:lnTo>
                    <a:pt x="701434" y="203594"/>
                  </a:lnTo>
                  <a:lnTo>
                    <a:pt x="701434" y="202260"/>
                  </a:lnTo>
                  <a:lnTo>
                    <a:pt x="701485" y="200876"/>
                  </a:lnTo>
                  <a:lnTo>
                    <a:pt x="701485" y="202260"/>
                  </a:lnTo>
                  <a:lnTo>
                    <a:pt x="701485" y="200228"/>
                  </a:lnTo>
                  <a:lnTo>
                    <a:pt x="701485" y="202260"/>
                  </a:lnTo>
                  <a:lnTo>
                    <a:pt x="701485" y="200876"/>
                  </a:lnTo>
                  <a:lnTo>
                    <a:pt x="701485" y="202260"/>
                  </a:lnTo>
                  <a:lnTo>
                    <a:pt x="701485" y="200876"/>
                  </a:lnTo>
                  <a:lnTo>
                    <a:pt x="701485" y="202260"/>
                  </a:lnTo>
                  <a:lnTo>
                    <a:pt x="701536" y="200876"/>
                  </a:lnTo>
                  <a:lnTo>
                    <a:pt x="701536" y="204292"/>
                  </a:lnTo>
                  <a:lnTo>
                    <a:pt x="701536" y="203594"/>
                  </a:lnTo>
                  <a:lnTo>
                    <a:pt x="701536" y="204292"/>
                  </a:lnTo>
                  <a:lnTo>
                    <a:pt x="701536" y="203594"/>
                  </a:lnTo>
                  <a:lnTo>
                    <a:pt x="701637" y="202959"/>
                  </a:lnTo>
                  <a:lnTo>
                    <a:pt x="701637" y="204292"/>
                  </a:lnTo>
                  <a:lnTo>
                    <a:pt x="701637" y="203594"/>
                  </a:lnTo>
                  <a:lnTo>
                    <a:pt x="701676" y="203594"/>
                  </a:lnTo>
                  <a:lnTo>
                    <a:pt x="701676" y="202959"/>
                  </a:lnTo>
                  <a:lnTo>
                    <a:pt x="701676" y="204292"/>
                  </a:lnTo>
                  <a:lnTo>
                    <a:pt x="701676" y="203594"/>
                  </a:lnTo>
                  <a:lnTo>
                    <a:pt x="701726" y="203594"/>
                  </a:lnTo>
                  <a:lnTo>
                    <a:pt x="701726" y="202959"/>
                  </a:lnTo>
                  <a:lnTo>
                    <a:pt x="701726" y="204292"/>
                  </a:lnTo>
                  <a:lnTo>
                    <a:pt x="701726" y="203594"/>
                  </a:lnTo>
                  <a:lnTo>
                    <a:pt x="701726" y="204292"/>
                  </a:lnTo>
                  <a:lnTo>
                    <a:pt x="701777" y="204292"/>
                  </a:lnTo>
                  <a:lnTo>
                    <a:pt x="701777" y="204990"/>
                  </a:lnTo>
                  <a:lnTo>
                    <a:pt x="701777" y="204292"/>
                  </a:lnTo>
                  <a:lnTo>
                    <a:pt x="701777" y="204990"/>
                  </a:lnTo>
                  <a:lnTo>
                    <a:pt x="701777" y="204292"/>
                  </a:lnTo>
                  <a:lnTo>
                    <a:pt x="701879" y="204292"/>
                  </a:lnTo>
                  <a:lnTo>
                    <a:pt x="701879" y="203594"/>
                  </a:lnTo>
                  <a:lnTo>
                    <a:pt x="701879" y="204292"/>
                  </a:lnTo>
                  <a:lnTo>
                    <a:pt x="701879" y="203594"/>
                  </a:lnTo>
                  <a:lnTo>
                    <a:pt x="701879" y="204292"/>
                  </a:lnTo>
                  <a:lnTo>
                    <a:pt x="701879" y="203594"/>
                  </a:lnTo>
                  <a:lnTo>
                    <a:pt x="701930" y="203594"/>
                  </a:lnTo>
                  <a:lnTo>
                    <a:pt x="701930" y="200876"/>
                  </a:lnTo>
                  <a:lnTo>
                    <a:pt x="701980" y="200876"/>
                  </a:lnTo>
                  <a:lnTo>
                    <a:pt x="701980" y="202959"/>
                  </a:lnTo>
                  <a:lnTo>
                    <a:pt x="701980" y="202260"/>
                  </a:lnTo>
                  <a:lnTo>
                    <a:pt x="702082" y="200876"/>
                  </a:lnTo>
                  <a:lnTo>
                    <a:pt x="702082" y="204990"/>
                  </a:lnTo>
                  <a:lnTo>
                    <a:pt x="702082" y="202959"/>
                  </a:lnTo>
                  <a:lnTo>
                    <a:pt x="702133" y="203594"/>
                  </a:lnTo>
                  <a:lnTo>
                    <a:pt x="702133" y="204292"/>
                  </a:lnTo>
                  <a:lnTo>
                    <a:pt x="702133" y="203594"/>
                  </a:lnTo>
                  <a:lnTo>
                    <a:pt x="702183" y="203594"/>
                  </a:lnTo>
                  <a:lnTo>
                    <a:pt x="702183" y="204292"/>
                  </a:lnTo>
                  <a:lnTo>
                    <a:pt x="702183" y="203594"/>
                  </a:lnTo>
                  <a:lnTo>
                    <a:pt x="702183" y="204292"/>
                  </a:lnTo>
                  <a:lnTo>
                    <a:pt x="702183" y="202959"/>
                  </a:lnTo>
                  <a:lnTo>
                    <a:pt x="702183" y="203594"/>
                  </a:lnTo>
                  <a:lnTo>
                    <a:pt x="702183" y="202959"/>
                  </a:lnTo>
                  <a:lnTo>
                    <a:pt x="702222" y="202959"/>
                  </a:lnTo>
                  <a:lnTo>
                    <a:pt x="702222" y="203594"/>
                  </a:lnTo>
                  <a:lnTo>
                    <a:pt x="702222" y="202959"/>
                  </a:lnTo>
                  <a:lnTo>
                    <a:pt x="702222" y="204292"/>
                  </a:lnTo>
                  <a:lnTo>
                    <a:pt x="702323" y="204292"/>
                  </a:lnTo>
                  <a:lnTo>
                    <a:pt x="702323" y="203594"/>
                  </a:lnTo>
                  <a:lnTo>
                    <a:pt x="702323" y="204292"/>
                  </a:lnTo>
                  <a:lnTo>
                    <a:pt x="702323" y="203594"/>
                  </a:lnTo>
                  <a:lnTo>
                    <a:pt x="702323" y="204990"/>
                  </a:lnTo>
                  <a:lnTo>
                    <a:pt x="702323" y="204292"/>
                  </a:lnTo>
                  <a:lnTo>
                    <a:pt x="702374" y="204292"/>
                  </a:lnTo>
                  <a:lnTo>
                    <a:pt x="702374" y="202959"/>
                  </a:lnTo>
                  <a:lnTo>
                    <a:pt x="702374" y="203594"/>
                  </a:lnTo>
                  <a:lnTo>
                    <a:pt x="702374" y="202959"/>
                  </a:lnTo>
                  <a:lnTo>
                    <a:pt x="702425" y="202959"/>
                  </a:lnTo>
                  <a:lnTo>
                    <a:pt x="702425" y="200228"/>
                  </a:lnTo>
                  <a:lnTo>
                    <a:pt x="702425" y="200876"/>
                  </a:lnTo>
                  <a:lnTo>
                    <a:pt x="702425" y="200228"/>
                  </a:lnTo>
                  <a:lnTo>
                    <a:pt x="702526" y="200228"/>
                  </a:lnTo>
                  <a:lnTo>
                    <a:pt x="702526" y="199530"/>
                  </a:lnTo>
                  <a:lnTo>
                    <a:pt x="702526" y="202260"/>
                  </a:lnTo>
                  <a:lnTo>
                    <a:pt x="702526" y="200876"/>
                  </a:lnTo>
                  <a:lnTo>
                    <a:pt x="702577" y="202260"/>
                  </a:lnTo>
                  <a:lnTo>
                    <a:pt x="702577" y="204292"/>
                  </a:lnTo>
                  <a:lnTo>
                    <a:pt x="702577" y="202959"/>
                  </a:lnTo>
                  <a:lnTo>
                    <a:pt x="702628" y="202959"/>
                  </a:lnTo>
                  <a:lnTo>
                    <a:pt x="702628" y="204292"/>
                  </a:lnTo>
                  <a:lnTo>
                    <a:pt x="702628" y="202959"/>
                  </a:lnTo>
                  <a:lnTo>
                    <a:pt x="702628" y="203594"/>
                  </a:lnTo>
                  <a:lnTo>
                    <a:pt x="702679" y="203594"/>
                  </a:lnTo>
                  <a:lnTo>
                    <a:pt x="702679" y="204292"/>
                  </a:lnTo>
                  <a:lnTo>
                    <a:pt x="702679" y="203594"/>
                  </a:lnTo>
                  <a:lnTo>
                    <a:pt x="702679" y="204292"/>
                  </a:lnTo>
                  <a:lnTo>
                    <a:pt x="702679" y="203594"/>
                  </a:lnTo>
                  <a:lnTo>
                    <a:pt x="702679" y="204292"/>
                  </a:lnTo>
                  <a:lnTo>
                    <a:pt x="702768" y="204292"/>
                  </a:lnTo>
                  <a:lnTo>
                    <a:pt x="702768" y="203594"/>
                  </a:lnTo>
                  <a:lnTo>
                    <a:pt x="702768" y="204292"/>
                  </a:lnTo>
                  <a:lnTo>
                    <a:pt x="702768" y="203594"/>
                  </a:lnTo>
                  <a:lnTo>
                    <a:pt x="702768" y="204990"/>
                  </a:lnTo>
                  <a:lnTo>
                    <a:pt x="702768" y="204292"/>
                  </a:lnTo>
                  <a:lnTo>
                    <a:pt x="702818" y="204292"/>
                  </a:lnTo>
                  <a:lnTo>
                    <a:pt x="702818" y="204990"/>
                  </a:lnTo>
                  <a:lnTo>
                    <a:pt x="702818" y="204292"/>
                  </a:lnTo>
                  <a:lnTo>
                    <a:pt x="702869" y="204292"/>
                  </a:lnTo>
                  <a:lnTo>
                    <a:pt x="702869" y="203594"/>
                  </a:lnTo>
                  <a:lnTo>
                    <a:pt x="702869" y="204292"/>
                  </a:lnTo>
                  <a:lnTo>
                    <a:pt x="702869" y="202260"/>
                  </a:lnTo>
                  <a:lnTo>
                    <a:pt x="702920" y="202959"/>
                  </a:lnTo>
                  <a:lnTo>
                    <a:pt x="702920" y="200228"/>
                  </a:lnTo>
                  <a:lnTo>
                    <a:pt x="703022" y="200228"/>
                  </a:lnTo>
                  <a:lnTo>
                    <a:pt x="703022" y="199530"/>
                  </a:lnTo>
                  <a:lnTo>
                    <a:pt x="703022" y="202260"/>
                  </a:lnTo>
                  <a:lnTo>
                    <a:pt x="703022" y="199530"/>
                  </a:lnTo>
                  <a:lnTo>
                    <a:pt x="703022" y="200228"/>
                  </a:lnTo>
                  <a:lnTo>
                    <a:pt x="703072" y="200876"/>
                  </a:lnTo>
                  <a:lnTo>
                    <a:pt x="703072" y="203594"/>
                  </a:lnTo>
                  <a:lnTo>
                    <a:pt x="703072" y="200876"/>
                  </a:lnTo>
                  <a:lnTo>
                    <a:pt x="703072" y="202260"/>
                  </a:lnTo>
                  <a:lnTo>
                    <a:pt x="703123" y="202260"/>
                  </a:lnTo>
                  <a:lnTo>
                    <a:pt x="703123" y="202959"/>
                  </a:lnTo>
                  <a:lnTo>
                    <a:pt x="703123" y="202260"/>
                  </a:lnTo>
                  <a:lnTo>
                    <a:pt x="703123" y="202959"/>
                  </a:lnTo>
                  <a:lnTo>
                    <a:pt x="703225" y="202959"/>
                  </a:lnTo>
                  <a:lnTo>
                    <a:pt x="703225" y="203594"/>
                  </a:lnTo>
                  <a:lnTo>
                    <a:pt x="703263" y="203594"/>
                  </a:lnTo>
                  <a:lnTo>
                    <a:pt x="703263" y="202959"/>
                  </a:lnTo>
                  <a:lnTo>
                    <a:pt x="703263" y="204292"/>
                  </a:lnTo>
                  <a:lnTo>
                    <a:pt x="703314" y="204292"/>
                  </a:lnTo>
                  <a:lnTo>
                    <a:pt x="703314" y="203594"/>
                  </a:lnTo>
                  <a:lnTo>
                    <a:pt x="703314" y="204292"/>
                  </a:lnTo>
                  <a:lnTo>
                    <a:pt x="703314" y="203594"/>
                  </a:lnTo>
                  <a:lnTo>
                    <a:pt x="703314" y="204292"/>
                  </a:lnTo>
                  <a:lnTo>
                    <a:pt x="703314" y="203594"/>
                  </a:lnTo>
                  <a:lnTo>
                    <a:pt x="703314" y="204292"/>
                  </a:lnTo>
                  <a:lnTo>
                    <a:pt x="703365" y="203594"/>
                  </a:lnTo>
                  <a:lnTo>
                    <a:pt x="703365" y="202959"/>
                  </a:lnTo>
                  <a:lnTo>
                    <a:pt x="703365" y="203594"/>
                  </a:lnTo>
                  <a:lnTo>
                    <a:pt x="703365" y="202260"/>
                  </a:lnTo>
                  <a:lnTo>
                    <a:pt x="703365" y="202959"/>
                  </a:lnTo>
                  <a:lnTo>
                    <a:pt x="703365" y="202260"/>
                  </a:lnTo>
                  <a:lnTo>
                    <a:pt x="703365" y="202959"/>
                  </a:lnTo>
                  <a:lnTo>
                    <a:pt x="703466" y="202260"/>
                  </a:lnTo>
                  <a:lnTo>
                    <a:pt x="703466" y="200876"/>
                  </a:lnTo>
                  <a:lnTo>
                    <a:pt x="703466" y="202260"/>
                  </a:lnTo>
                  <a:lnTo>
                    <a:pt x="703466" y="200876"/>
                  </a:lnTo>
                  <a:lnTo>
                    <a:pt x="703466" y="202260"/>
                  </a:lnTo>
                  <a:lnTo>
                    <a:pt x="703466" y="200228"/>
                  </a:lnTo>
                  <a:lnTo>
                    <a:pt x="703517" y="200228"/>
                  </a:lnTo>
                  <a:lnTo>
                    <a:pt x="703517" y="200876"/>
                  </a:lnTo>
                  <a:lnTo>
                    <a:pt x="703517" y="200228"/>
                  </a:lnTo>
                  <a:lnTo>
                    <a:pt x="703517" y="200876"/>
                  </a:lnTo>
                  <a:lnTo>
                    <a:pt x="703517" y="200228"/>
                  </a:lnTo>
                  <a:lnTo>
                    <a:pt x="703568" y="200228"/>
                  </a:lnTo>
                  <a:lnTo>
                    <a:pt x="703568" y="202260"/>
                  </a:lnTo>
                  <a:lnTo>
                    <a:pt x="703568" y="200876"/>
                  </a:lnTo>
                  <a:lnTo>
                    <a:pt x="703568" y="202260"/>
                  </a:lnTo>
                  <a:lnTo>
                    <a:pt x="703568" y="200876"/>
                  </a:lnTo>
                  <a:lnTo>
                    <a:pt x="703669" y="200876"/>
                  </a:lnTo>
                  <a:lnTo>
                    <a:pt x="703669" y="202959"/>
                  </a:lnTo>
                  <a:lnTo>
                    <a:pt x="703669" y="200876"/>
                  </a:lnTo>
                  <a:lnTo>
                    <a:pt x="703669" y="202260"/>
                  </a:lnTo>
                  <a:lnTo>
                    <a:pt x="703720" y="202260"/>
                  </a:lnTo>
                  <a:lnTo>
                    <a:pt x="703720" y="202959"/>
                  </a:lnTo>
                  <a:lnTo>
                    <a:pt x="703720" y="202260"/>
                  </a:lnTo>
                  <a:lnTo>
                    <a:pt x="703720" y="202959"/>
                  </a:lnTo>
                  <a:lnTo>
                    <a:pt x="703771" y="202959"/>
                  </a:lnTo>
                  <a:lnTo>
                    <a:pt x="703771" y="203594"/>
                  </a:lnTo>
                  <a:lnTo>
                    <a:pt x="703771" y="202959"/>
                  </a:lnTo>
                  <a:lnTo>
                    <a:pt x="703771" y="203594"/>
                  </a:lnTo>
                  <a:lnTo>
                    <a:pt x="703809" y="203594"/>
                  </a:lnTo>
                  <a:lnTo>
                    <a:pt x="703809" y="204292"/>
                  </a:lnTo>
                  <a:lnTo>
                    <a:pt x="703809" y="202959"/>
                  </a:lnTo>
                  <a:lnTo>
                    <a:pt x="703911" y="202959"/>
                  </a:lnTo>
                  <a:lnTo>
                    <a:pt x="703911" y="203594"/>
                  </a:lnTo>
                  <a:lnTo>
                    <a:pt x="703911" y="202260"/>
                  </a:lnTo>
                  <a:lnTo>
                    <a:pt x="703962" y="202260"/>
                  </a:lnTo>
                  <a:lnTo>
                    <a:pt x="703962" y="200876"/>
                  </a:lnTo>
                  <a:lnTo>
                    <a:pt x="703962" y="202260"/>
                  </a:lnTo>
                  <a:lnTo>
                    <a:pt x="703962" y="200228"/>
                  </a:lnTo>
                  <a:lnTo>
                    <a:pt x="703962" y="200876"/>
                  </a:lnTo>
                  <a:lnTo>
                    <a:pt x="703962" y="199530"/>
                  </a:lnTo>
                  <a:lnTo>
                    <a:pt x="704012" y="200228"/>
                  </a:lnTo>
                  <a:lnTo>
                    <a:pt x="704012" y="199530"/>
                  </a:lnTo>
                  <a:lnTo>
                    <a:pt x="704012" y="200228"/>
                  </a:lnTo>
                  <a:lnTo>
                    <a:pt x="704012" y="199530"/>
                  </a:lnTo>
                  <a:lnTo>
                    <a:pt x="704012" y="200876"/>
                  </a:lnTo>
                  <a:lnTo>
                    <a:pt x="704012" y="198831"/>
                  </a:lnTo>
                  <a:lnTo>
                    <a:pt x="704114" y="198831"/>
                  </a:lnTo>
                  <a:lnTo>
                    <a:pt x="704114" y="199530"/>
                  </a:lnTo>
                  <a:lnTo>
                    <a:pt x="704114" y="198831"/>
                  </a:lnTo>
                  <a:lnTo>
                    <a:pt x="704114" y="200876"/>
                  </a:lnTo>
                  <a:lnTo>
                    <a:pt x="704114" y="199530"/>
                  </a:lnTo>
                  <a:lnTo>
                    <a:pt x="704165" y="199530"/>
                  </a:lnTo>
                  <a:lnTo>
                    <a:pt x="704165" y="200876"/>
                  </a:lnTo>
                  <a:lnTo>
                    <a:pt x="704165" y="200228"/>
                  </a:lnTo>
                  <a:lnTo>
                    <a:pt x="704165" y="200876"/>
                  </a:lnTo>
                  <a:lnTo>
                    <a:pt x="704165" y="200228"/>
                  </a:lnTo>
                  <a:lnTo>
                    <a:pt x="704216" y="200228"/>
                  </a:lnTo>
                  <a:lnTo>
                    <a:pt x="704216" y="202260"/>
                  </a:lnTo>
                  <a:lnTo>
                    <a:pt x="704216" y="200876"/>
                  </a:lnTo>
                  <a:lnTo>
                    <a:pt x="704216" y="202260"/>
                  </a:lnTo>
                  <a:lnTo>
                    <a:pt x="704266" y="202260"/>
                  </a:lnTo>
                  <a:lnTo>
                    <a:pt x="704266" y="202959"/>
                  </a:lnTo>
                  <a:lnTo>
                    <a:pt x="704266" y="202260"/>
                  </a:lnTo>
                  <a:lnTo>
                    <a:pt x="704266" y="203594"/>
                  </a:lnTo>
                  <a:lnTo>
                    <a:pt x="704355" y="203594"/>
                  </a:lnTo>
                  <a:lnTo>
                    <a:pt x="704355" y="202959"/>
                  </a:lnTo>
                  <a:lnTo>
                    <a:pt x="704355" y="203594"/>
                  </a:lnTo>
                  <a:lnTo>
                    <a:pt x="704355" y="202959"/>
                  </a:lnTo>
                  <a:lnTo>
                    <a:pt x="704355" y="203594"/>
                  </a:lnTo>
                  <a:lnTo>
                    <a:pt x="704355" y="202959"/>
                  </a:lnTo>
                  <a:lnTo>
                    <a:pt x="704355" y="203594"/>
                  </a:lnTo>
                  <a:lnTo>
                    <a:pt x="704355" y="202959"/>
                  </a:lnTo>
                  <a:lnTo>
                    <a:pt x="704355" y="203594"/>
                  </a:lnTo>
                  <a:lnTo>
                    <a:pt x="704355" y="202959"/>
                  </a:lnTo>
                  <a:lnTo>
                    <a:pt x="704406" y="202959"/>
                  </a:lnTo>
                  <a:lnTo>
                    <a:pt x="704406" y="203594"/>
                  </a:lnTo>
                  <a:lnTo>
                    <a:pt x="704406" y="202260"/>
                  </a:lnTo>
                  <a:lnTo>
                    <a:pt x="704406" y="202959"/>
                  </a:lnTo>
                  <a:lnTo>
                    <a:pt x="704457" y="202260"/>
                  </a:lnTo>
                  <a:lnTo>
                    <a:pt x="704457" y="202959"/>
                  </a:lnTo>
                  <a:lnTo>
                    <a:pt x="704457" y="202260"/>
                  </a:lnTo>
                  <a:lnTo>
                    <a:pt x="704457" y="202959"/>
                  </a:lnTo>
                  <a:lnTo>
                    <a:pt x="704457" y="200876"/>
                  </a:lnTo>
                  <a:lnTo>
                    <a:pt x="704508" y="200876"/>
                  </a:lnTo>
                  <a:lnTo>
                    <a:pt x="704508" y="202959"/>
                  </a:lnTo>
                  <a:lnTo>
                    <a:pt x="704508" y="200876"/>
                  </a:lnTo>
                  <a:lnTo>
                    <a:pt x="704508" y="202959"/>
                  </a:lnTo>
                  <a:lnTo>
                    <a:pt x="704609" y="202959"/>
                  </a:lnTo>
                  <a:lnTo>
                    <a:pt x="704609" y="203594"/>
                  </a:lnTo>
                  <a:lnTo>
                    <a:pt x="704609" y="202260"/>
                  </a:lnTo>
                  <a:lnTo>
                    <a:pt x="704609" y="202959"/>
                  </a:lnTo>
                  <a:lnTo>
                    <a:pt x="704609" y="202260"/>
                  </a:lnTo>
                  <a:lnTo>
                    <a:pt x="704609" y="202959"/>
                  </a:lnTo>
                  <a:lnTo>
                    <a:pt x="704609" y="202260"/>
                  </a:lnTo>
                  <a:lnTo>
                    <a:pt x="704660" y="202260"/>
                  </a:lnTo>
                  <a:lnTo>
                    <a:pt x="704660" y="203594"/>
                  </a:lnTo>
                  <a:lnTo>
                    <a:pt x="704660" y="202260"/>
                  </a:lnTo>
                  <a:lnTo>
                    <a:pt x="704660" y="202959"/>
                  </a:lnTo>
                  <a:lnTo>
                    <a:pt x="704660" y="202260"/>
                  </a:lnTo>
                  <a:lnTo>
                    <a:pt x="704660" y="203594"/>
                  </a:lnTo>
                  <a:lnTo>
                    <a:pt x="704711" y="202959"/>
                  </a:lnTo>
                  <a:lnTo>
                    <a:pt x="704711" y="203594"/>
                  </a:lnTo>
                  <a:lnTo>
                    <a:pt x="704711" y="202959"/>
                  </a:lnTo>
                  <a:lnTo>
                    <a:pt x="704711" y="203594"/>
                  </a:lnTo>
                  <a:lnTo>
                    <a:pt x="704711" y="202959"/>
                  </a:lnTo>
                  <a:lnTo>
                    <a:pt x="704711" y="203594"/>
                  </a:lnTo>
                  <a:lnTo>
                    <a:pt x="704711" y="202959"/>
                  </a:lnTo>
                  <a:lnTo>
                    <a:pt x="704812" y="202959"/>
                  </a:lnTo>
                  <a:lnTo>
                    <a:pt x="704812" y="203594"/>
                  </a:lnTo>
                  <a:lnTo>
                    <a:pt x="704812" y="202959"/>
                  </a:lnTo>
                  <a:lnTo>
                    <a:pt x="704812" y="204292"/>
                  </a:lnTo>
                  <a:lnTo>
                    <a:pt x="704812" y="203594"/>
                  </a:lnTo>
                  <a:lnTo>
                    <a:pt x="704851" y="203594"/>
                  </a:lnTo>
                  <a:lnTo>
                    <a:pt x="704851" y="202959"/>
                  </a:lnTo>
                  <a:lnTo>
                    <a:pt x="704851" y="203594"/>
                  </a:lnTo>
                  <a:lnTo>
                    <a:pt x="704851" y="202959"/>
                  </a:lnTo>
                  <a:lnTo>
                    <a:pt x="704901" y="202959"/>
                  </a:lnTo>
                  <a:lnTo>
                    <a:pt x="704901" y="203594"/>
                  </a:lnTo>
                  <a:lnTo>
                    <a:pt x="704901" y="202959"/>
                  </a:lnTo>
                  <a:lnTo>
                    <a:pt x="704901" y="203594"/>
                  </a:lnTo>
                  <a:lnTo>
                    <a:pt x="704901" y="202959"/>
                  </a:lnTo>
                  <a:lnTo>
                    <a:pt x="704901" y="203594"/>
                  </a:lnTo>
                  <a:lnTo>
                    <a:pt x="704901" y="202959"/>
                  </a:lnTo>
                  <a:lnTo>
                    <a:pt x="704952" y="202959"/>
                  </a:lnTo>
                  <a:lnTo>
                    <a:pt x="704952" y="202260"/>
                  </a:lnTo>
                  <a:lnTo>
                    <a:pt x="704952" y="204292"/>
                  </a:lnTo>
                  <a:lnTo>
                    <a:pt x="705054" y="203594"/>
                  </a:lnTo>
                  <a:lnTo>
                    <a:pt x="705054" y="206324"/>
                  </a:lnTo>
                  <a:lnTo>
                    <a:pt x="705054" y="204990"/>
                  </a:lnTo>
                  <a:lnTo>
                    <a:pt x="705105" y="204292"/>
                  </a:lnTo>
                  <a:lnTo>
                    <a:pt x="705105" y="203594"/>
                  </a:lnTo>
                  <a:lnTo>
                    <a:pt x="705105" y="204990"/>
                  </a:lnTo>
                  <a:lnTo>
                    <a:pt x="705105" y="204292"/>
                  </a:lnTo>
                  <a:lnTo>
                    <a:pt x="705155" y="204292"/>
                  </a:lnTo>
                  <a:lnTo>
                    <a:pt x="705155" y="204990"/>
                  </a:lnTo>
                  <a:lnTo>
                    <a:pt x="705155" y="204292"/>
                  </a:lnTo>
                  <a:lnTo>
                    <a:pt x="705257" y="204292"/>
                  </a:lnTo>
                  <a:lnTo>
                    <a:pt x="705257" y="204990"/>
                  </a:lnTo>
                  <a:lnTo>
                    <a:pt x="705257" y="204292"/>
                  </a:lnTo>
                  <a:lnTo>
                    <a:pt x="705257" y="204990"/>
                  </a:lnTo>
                  <a:lnTo>
                    <a:pt x="705308" y="204990"/>
                  </a:lnTo>
                  <a:lnTo>
                    <a:pt x="705308" y="203594"/>
                  </a:lnTo>
                  <a:lnTo>
                    <a:pt x="705308" y="204292"/>
                  </a:lnTo>
                  <a:lnTo>
                    <a:pt x="705358" y="204292"/>
                  </a:lnTo>
                  <a:lnTo>
                    <a:pt x="705358" y="202959"/>
                  </a:lnTo>
                  <a:lnTo>
                    <a:pt x="705358" y="203594"/>
                  </a:lnTo>
                  <a:lnTo>
                    <a:pt x="705358" y="202959"/>
                  </a:lnTo>
                  <a:lnTo>
                    <a:pt x="705397" y="202959"/>
                  </a:lnTo>
                  <a:lnTo>
                    <a:pt x="705397" y="202260"/>
                  </a:lnTo>
                  <a:lnTo>
                    <a:pt x="705397" y="202959"/>
                  </a:lnTo>
                  <a:lnTo>
                    <a:pt x="705397" y="202260"/>
                  </a:lnTo>
                  <a:lnTo>
                    <a:pt x="705397" y="202959"/>
                  </a:lnTo>
                  <a:lnTo>
                    <a:pt x="705397" y="202260"/>
                  </a:lnTo>
                  <a:lnTo>
                    <a:pt x="705498" y="202959"/>
                  </a:lnTo>
                  <a:lnTo>
                    <a:pt x="705498" y="203594"/>
                  </a:lnTo>
                  <a:lnTo>
                    <a:pt x="705498" y="202959"/>
                  </a:lnTo>
                  <a:lnTo>
                    <a:pt x="705498" y="203594"/>
                  </a:lnTo>
                  <a:lnTo>
                    <a:pt x="705498" y="202260"/>
                  </a:lnTo>
                  <a:lnTo>
                    <a:pt x="705498" y="203594"/>
                  </a:lnTo>
                  <a:lnTo>
                    <a:pt x="705549" y="204292"/>
                  </a:lnTo>
                  <a:lnTo>
                    <a:pt x="705549" y="204990"/>
                  </a:lnTo>
                  <a:lnTo>
                    <a:pt x="705549" y="203594"/>
                  </a:lnTo>
                  <a:lnTo>
                    <a:pt x="705549" y="204990"/>
                  </a:lnTo>
                  <a:lnTo>
                    <a:pt x="705600" y="204990"/>
                  </a:lnTo>
                  <a:lnTo>
                    <a:pt x="705600" y="204292"/>
                  </a:lnTo>
                  <a:lnTo>
                    <a:pt x="705600" y="206324"/>
                  </a:lnTo>
                  <a:lnTo>
                    <a:pt x="705600" y="204990"/>
                  </a:lnTo>
                  <a:lnTo>
                    <a:pt x="705701" y="204990"/>
                  </a:lnTo>
                  <a:lnTo>
                    <a:pt x="705701" y="206324"/>
                  </a:lnTo>
                  <a:lnTo>
                    <a:pt x="705701" y="204990"/>
                  </a:lnTo>
                  <a:lnTo>
                    <a:pt x="705701" y="206324"/>
                  </a:lnTo>
                  <a:lnTo>
                    <a:pt x="705701" y="204990"/>
                  </a:lnTo>
                  <a:lnTo>
                    <a:pt x="705701" y="206324"/>
                  </a:lnTo>
                  <a:lnTo>
                    <a:pt x="705752" y="206324"/>
                  </a:lnTo>
                  <a:lnTo>
                    <a:pt x="705752" y="204990"/>
                  </a:lnTo>
                  <a:lnTo>
                    <a:pt x="705752" y="206324"/>
                  </a:lnTo>
                  <a:lnTo>
                    <a:pt x="705752" y="204990"/>
                  </a:lnTo>
                  <a:lnTo>
                    <a:pt x="705803" y="204990"/>
                  </a:lnTo>
                  <a:lnTo>
                    <a:pt x="705803" y="204292"/>
                  </a:lnTo>
                  <a:lnTo>
                    <a:pt x="705803" y="204990"/>
                  </a:lnTo>
                  <a:lnTo>
                    <a:pt x="705803" y="204292"/>
                  </a:lnTo>
                  <a:lnTo>
                    <a:pt x="705803" y="204990"/>
                  </a:lnTo>
                  <a:lnTo>
                    <a:pt x="705803" y="204292"/>
                  </a:lnTo>
                  <a:lnTo>
                    <a:pt x="705803" y="204990"/>
                  </a:lnTo>
                  <a:lnTo>
                    <a:pt x="705803" y="204292"/>
                  </a:lnTo>
                  <a:lnTo>
                    <a:pt x="705854" y="204292"/>
                  </a:lnTo>
                  <a:lnTo>
                    <a:pt x="705854" y="202959"/>
                  </a:lnTo>
                  <a:lnTo>
                    <a:pt x="705943" y="202959"/>
                  </a:lnTo>
                  <a:lnTo>
                    <a:pt x="705943" y="202260"/>
                  </a:lnTo>
                  <a:lnTo>
                    <a:pt x="705943" y="203594"/>
                  </a:lnTo>
                  <a:lnTo>
                    <a:pt x="705943" y="202959"/>
                  </a:lnTo>
                  <a:lnTo>
                    <a:pt x="705993" y="202959"/>
                  </a:lnTo>
                  <a:lnTo>
                    <a:pt x="705993" y="202260"/>
                  </a:lnTo>
                  <a:lnTo>
                    <a:pt x="705993" y="203594"/>
                  </a:lnTo>
                  <a:lnTo>
                    <a:pt x="706044" y="204292"/>
                  </a:lnTo>
                  <a:lnTo>
                    <a:pt x="706044" y="202959"/>
                  </a:lnTo>
                  <a:lnTo>
                    <a:pt x="706044" y="204292"/>
                  </a:lnTo>
                  <a:lnTo>
                    <a:pt x="706095" y="203594"/>
                  </a:lnTo>
                  <a:lnTo>
                    <a:pt x="706095" y="204292"/>
                  </a:lnTo>
                  <a:lnTo>
                    <a:pt x="706095" y="203594"/>
                  </a:lnTo>
                  <a:lnTo>
                    <a:pt x="706095" y="204292"/>
                  </a:lnTo>
                  <a:lnTo>
                    <a:pt x="706095" y="203594"/>
                  </a:lnTo>
                  <a:lnTo>
                    <a:pt x="706095" y="204292"/>
                  </a:lnTo>
                  <a:lnTo>
                    <a:pt x="706197" y="204990"/>
                  </a:lnTo>
                  <a:lnTo>
                    <a:pt x="706197" y="204292"/>
                  </a:lnTo>
                  <a:lnTo>
                    <a:pt x="706197" y="204990"/>
                  </a:lnTo>
                  <a:lnTo>
                    <a:pt x="706197" y="204292"/>
                  </a:lnTo>
                  <a:lnTo>
                    <a:pt x="706197" y="206324"/>
                  </a:lnTo>
                  <a:lnTo>
                    <a:pt x="706197" y="204990"/>
                  </a:lnTo>
                  <a:lnTo>
                    <a:pt x="706247" y="204990"/>
                  </a:lnTo>
                  <a:lnTo>
                    <a:pt x="706247" y="206324"/>
                  </a:lnTo>
                  <a:lnTo>
                    <a:pt x="706247" y="204990"/>
                  </a:lnTo>
                  <a:lnTo>
                    <a:pt x="706247" y="206324"/>
                  </a:lnTo>
                  <a:lnTo>
                    <a:pt x="706247" y="204292"/>
                  </a:lnTo>
                  <a:lnTo>
                    <a:pt x="706298" y="204990"/>
                  </a:lnTo>
                  <a:lnTo>
                    <a:pt x="706298" y="204292"/>
                  </a:lnTo>
                  <a:lnTo>
                    <a:pt x="706298" y="204990"/>
                  </a:lnTo>
                  <a:lnTo>
                    <a:pt x="706298" y="204292"/>
                  </a:lnTo>
                  <a:lnTo>
                    <a:pt x="706298" y="204990"/>
                  </a:lnTo>
                  <a:lnTo>
                    <a:pt x="706298" y="204292"/>
                  </a:lnTo>
                  <a:lnTo>
                    <a:pt x="706298" y="204990"/>
                  </a:lnTo>
                  <a:lnTo>
                    <a:pt x="706298" y="204292"/>
                  </a:lnTo>
                  <a:lnTo>
                    <a:pt x="706400" y="204292"/>
                  </a:lnTo>
                  <a:lnTo>
                    <a:pt x="706400" y="203594"/>
                  </a:lnTo>
                  <a:lnTo>
                    <a:pt x="706400" y="204292"/>
                  </a:lnTo>
                  <a:lnTo>
                    <a:pt x="706400" y="202959"/>
                  </a:lnTo>
                  <a:lnTo>
                    <a:pt x="706400" y="203594"/>
                  </a:lnTo>
                  <a:lnTo>
                    <a:pt x="706400" y="202260"/>
                  </a:lnTo>
                  <a:lnTo>
                    <a:pt x="706438" y="202260"/>
                  </a:lnTo>
                  <a:lnTo>
                    <a:pt x="706438" y="202959"/>
                  </a:lnTo>
                  <a:lnTo>
                    <a:pt x="706438" y="200228"/>
                  </a:lnTo>
                  <a:lnTo>
                    <a:pt x="706438" y="200876"/>
                  </a:lnTo>
                  <a:lnTo>
                    <a:pt x="706489" y="202260"/>
                  </a:lnTo>
                  <a:lnTo>
                    <a:pt x="706489" y="200876"/>
                  </a:lnTo>
                  <a:lnTo>
                    <a:pt x="706489" y="202260"/>
                  </a:lnTo>
                  <a:lnTo>
                    <a:pt x="706489" y="200228"/>
                  </a:lnTo>
                  <a:lnTo>
                    <a:pt x="706489" y="200876"/>
                  </a:lnTo>
                  <a:lnTo>
                    <a:pt x="706489" y="200228"/>
                  </a:lnTo>
                  <a:lnTo>
                    <a:pt x="706489" y="202959"/>
                  </a:lnTo>
                  <a:lnTo>
                    <a:pt x="706540" y="202959"/>
                  </a:lnTo>
                  <a:lnTo>
                    <a:pt x="706540" y="202260"/>
                  </a:lnTo>
                  <a:lnTo>
                    <a:pt x="706540" y="202959"/>
                  </a:lnTo>
                  <a:lnTo>
                    <a:pt x="706540" y="202260"/>
                  </a:lnTo>
                  <a:lnTo>
                    <a:pt x="706540" y="203594"/>
                  </a:lnTo>
                  <a:lnTo>
                    <a:pt x="706641" y="203594"/>
                  </a:lnTo>
                  <a:lnTo>
                    <a:pt x="706641" y="202959"/>
                  </a:lnTo>
                  <a:lnTo>
                    <a:pt x="706641" y="203594"/>
                  </a:lnTo>
                  <a:lnTo>
                    <a:pt x="706641" y="202959"/>
                  </a:lnTo>
                  <a:lnTo>
                    <a:pt x="706641" y="204292"/>
                  </a:lnTo>
                  <a:lnTo>
                    <a:pt x="706641" y="203594"/>
                  </a:lnTo>
                  <a:lnTo>
                    <a:pt x="706692" y="204292"/>
                  </a:lnTo>
                  <a:lnTo>
                    <a:pt x="706692" y="203594"/>
                  </a:lnTo>
                  <a:lnTo>
                    <a:pt x="706692" y="204990"/>
                  </a:lnTo>
                  <a:lnTo>
                    <a:pt x="706743" y="204292"/>
                  </a:lnTo>
                  <a:lnTo>
                    <a:pt x="706743" y="204990"/>
                  </a:lnTo>
                  <a:lnTo>
                    <a:pt x="706743" y="204292"/>
                  </a:lnTo>
                  <a:lnTo>
                    <a:pt x="706743" y="204990"/>
                  </a:lnTo>
                  <a:lnTo>
                    <a:pt x="706844" y="204990"/>
                  </a:lnTo>
                  <a:lnTo>
                    <a:pt x="706844" y="204292"/>
                  </a:lnTo>
                  <a:lnTo>
                    <a:pt x="706844" y="204990"/>
                  </a:lnTo>
                  <a:lnTo>
                    <a:pt x="706844" y="204292"/>
                  </a:lnTo>
                  <a:lnTo>
                    <a:pt x="706844" y="204990"/>
                  </a:lnTo>
                  <a:lnTo>
                    <a:pt x="706844" y="204292"/>
                  </a:lnTo>
                  <a:lnTo>
                    <a:pt x="706844" y="204990"/>
                  </a:lnTo>
                  <a:lnTo>
                    <a:pt x="706844" y="204292"/>
                  </a:lnTo>
                  <a:lnTo>
                    <a:pt x="706895" y="204292"/>
                  </a:lnTo>
                  <a:lnTo>
                    <a:pt x="706895" y="202959"/>
                  </a:lnTo>
                  <a:lnTo>
                    <a:pt x="706895" y="203594"/>
                  </a:lnTo>
                  <a:lnTo>
                    <a:pt x="706946" y="203594"/>
                  </a:lnTo>
                  <a:lnTo>
                    <a:pt x="706946" y="202260"/>
                  </a:lnTo>
                  <a:lnTo>
                    <a:pt x="706946" y="203594"/>
                  </a:lnTo>
                  <a:lnTo>
                    <a:pt x="706946" y="202959"/>
                  </a:lnTo>
                  <a:lnTo>
                    <a:pt x="706984" y="202959"/>
                  </a:lnTo>
                  <a:lnTo>
                    <a:pt x="706984" y="200228"/>
                  </a:lnTo>
                  <a:lnTo>
                    <a:pt x="706984" y="203594"/>
                  </a:lnTo>
                  <a:lnTo>
                    <a:pt x="706984" y="202959"/>
                  </a:lnTo>
                  <a:lnTo>
                    <a:pt x="707086" y="202260"/>
                  </a:lnTo>
                  <a:lnTo>
                    <a:pt x="707086" y="203594"/>
                  </a:lnTo>
                  <a:lnTo>
                    <a:pt x="707137" y="203594"/>
                  </a:lnTo>
                  <a:lnTo>
                    <a:pt x="707137" y="202959"/>
                  </a:lnTo>
                  <a:lnTo>
                    <a:pt x="707137" y="203594"/>
                  </a:lnTo>
                  <a:lnTo>
                    <a:pt x="707137" y="202959"/>
                  </a:lnTo>
                  <a:lnTo>
                    <a:pt x="707137" y="203594"/>
                  </a:lnTo>
                  <a:lnTo>
                    <a:pt x="707137" y="202959"/>
                  </a:lnTo>
                  <a:lnTo>
                    <a:pt x="707187" y="202959"/>
                  </a:lnTo>
                  <a:lnTo>
                    <a:pt x="707187" y="203594"/>
                  </a:lnTo>
                  <a:lnTo>
                    <a:pt x="707187" y="202959"/>
                  </a:lnTo>
                  <a:lnTo>
                    <a:pt x="707187" y="203594"/>
                  </a:lnTo>
                  <a:lnTo>
                    <a:pt x="707289" y="203594"/>
                  </a:lnTo>
                  <a:lnTo>
                    <a:pt x="707289" y="204292"/>
                  </a:lnTo>
                  <a:lnTo>
                    <a:pt x="707289" y="202959"/>
                  </a:lnTo>
                  <a:lnTo>
                    <a:pt x="707289" y="203594"/>
                  </a:lnTo>
                  <a:lnTo>
                    <a:pt x="707340" y="203594"/>
                  </a:lnTo>
                  <a:lnTo>
                    <a:pt x="707340" y="204292"/>
                  </a:lnTo>
                  <a:lnTo>
                    <a:pt x="707340" y="203594"/>
                  </a:lnTo>
                  <a:lnTo>
                    <a:pt x="707340" y="204292"/>
                  </a:lnTo>
                  <a:lnTo>
                    <a:pt x="707391" y="204292"/>
                  </a:lnTo>
                  <a:lnTo>
                    <a:pt x="707391" y="202959"/>
                  </a:lnTo>
                  <a:lnTo>
                    <a:pt x="707391" y="203594"/>
                  </a:lnTo>
                  <a:lnTo>
                    <a:pt x="707441" y="203594"/>
                  </a:lnTo>
                  <a:lnTo>
                    <a:pt x="707441" y="204292"/>
                  </a:lnTo>
                  <a:lnTo>
                    <a:pt x="707441" y="203594"/>
                  </a:lnTo>
                  <a:lnTo>
                    <a:pt x="707441" y="204292"/>
                  </a:lnTo>
                  <a:lnTo>
                    <a:pt x="707441" y="202959"/>
                  </a:lnTo>
                  <a:lnTo>
                    <a:pt x="707441" y="203594"/>
                  </a:lnTo>
                  <a:lnTo>
                    <a:pt x="707441" y="202959"/>
                  </a:lnTo>
                  <a:lnTo>
                    <a:pt x="707441" y="204292"/>
                  </a:lnTo>
                  <a:lnTo>
                    <a:pt x="707530" y="204292"/>
                  </a:lnTo>
                  <a:lnTo>
                    <a:pt x="707530" y="204990"/>
                  </a:lnTo>
                  <a:lnTo>
                    <a:pt x="707530" y="203594"/>
                  </a:lnTo>
                  <a:lnTo>
                    <a:pt x="707530" y="204990"/>
                  </a:lnTo>
                  <a:lnTo>
                    <a:pt x="707581" y="204990"/>
                  </a:lnTo>
                  <a:lnTo>
                    <a:pt x="707581" y="206324"/>
                  </a:lnTo>
                  <a:lnTo>
                    <a:pt x="707581" y="204990"/>
                  </a:lnTo>
                  <a:lnTo>
                    <a:pt x="707632" y="204990"/>
                  </a:lnTo>
                  <a:lnTo>
                    <a:pt x="707632" y="204292"/>
                  </a:lnTo>
                  <a:lnTo>
                    <a:pt x="707632" y="204990"/>
                  </a:lnTo>
                  <a:lnTo>
                    <a:pt x="707632" y="204292"/>
                  </a:lnTo>
                  <a:lnTo>
                    <a:pt x="707632" y="204990"/>
                  </a:lnTo>
                  <a:lnTo>
                    <a:pt x="707683" y="204990"/>
                  </a:lnTo>
                  <a:lnTo>
                    <a:pt x="707683" y="203594"/>
                  </a:lnTo>
                  <a:lnTo>
                    <a:pt x="707784" y="204292"/>
                  </a:lnTo>
                  <a:lnTo>
                    <a:pt x="707784" y="203594"/>
                  </a:lnTo>
                  <a:lnTo>
                    <a:pt x="707784" y="204292"/>
                  </a:lnTo>
                  <a:lnTo>
                    <a:pt x="707835" y="204292"/>
                  </a:lnTo>
                  <a:lnTo>
                    <a:pt x="707835" y="202959"/>
                  </a:lnTo>
                  <a:lnTo>
                    <a:pt x="707835" y="203594"/>
                  </a:lnTo>
                  <a:lnTo>
                    <a:pt x="707835" y="202959"/>
                  </a:lnTo>
                  <a:lnTo>
                    <a:pt x="707886" y="202260"/>
                  </a:lnTo>
                  <a:lnTo>
                    <a:pt x="707886" y="202959"/>
                  </a:lnTo>
                  <a:lnTo>
                    <a:pt x="707886" y="200228"/>
                  </a:lnTo>
                  <a:lnTo>
                    <a:pt x="707886" y="200876"/>
                  </a:lnTo>
                  <a:lnTo>
                    <a:pt x="707987" y="200876"/>
                  </a:lnTo>
                  <a:lnTo>
                    <a:pt x="707987" y="203594"/>
                  </a:lnTo>
                  <a:lnTo>
                    <a:pt x="707987" y="200876"/>
                  </a:lnTo>
                  <a:lnTo>
                    <a:pt x="707987" y="202959"/>
                  </a:lnTo>
                  <a:lnTo>
                    <a:pt x="708026" y="203594"/>
                  </a:lnTo>
                  <a:lnTo>
                    <a:pt x="708026" y="204292"/>
                  </a:lnTo>
                  <a:lnTo>
                    <a:pt x="708026" y="202959"/>
                  </a:lnTo>
                  <a:lnTo>
                    <a:pt x="708026" y="204292"/>
                  </a:lnTo>
                  <a:lnTo>
                    <a:pt x="708076" y="204990"/>
                  </a:lnTo>
                  <a:lnTo>
                    <a:pt x="708076" y="203594"/>
                  </a:lnTo>
                  <a:lnTo>
                    <a:pt x="708076" y="204292"/>
                  </a:lnTo>
                  <a:lnTo>
                    <a:pt x="708076" y="203594"/>
                  </a:lnTo>
                  <a:lnTo>
                    <a:pt x="708076" y="204292"/>
                  </a:lnTo>
                  <a:lnTo>
                    <a:pt x="708127" y="204292"/>
                  </a:lnTo>
                  <a:lnTo>
                    <a:pt x="708127" y="204990"/>
                  </a:lnTo>
                  <a:lnTo>
                    <a:pt x="708127" y="203594"/>
                  </a:lnTo>
                  <a:lnTo>
                    <a:pt x="708127" y="204990"/>
                  </a:lnTo>
                  <a:lnTo>
                    <a:pt x="708127" y="204292"/>
                  </a:lnTo>
                  <a:lnTo>
                    <a:pt x="708229" y="204292"/>
                  </a:lnTo>
                  <a:lnTo>
                    <a:pt x="708229" y="204990"/>
                  </a:lnTo>
                  <a:lnTo>
                    <a:pt x="708229" y="204292"/>
                  </a:lnTo>
                  <a:lnTo>
                    <a:pt x="708280" y="204292"/>
                  </a:lnTo>
                  <a:lnTo>
                    <a:pt x="708280" y="203594"/>
                  </a:lnTo>
                  <a:lnTo>
                    <a:pt x="708280" y="204292"/>
                  </a:lnTo>
                  <a:lnTo>
                    <a:pt x="708330" y="203594"/>
                  </a:lnTo>
                  <a:lnTo>
                    <a:pt x="708330" y="204292"/>
                  </a:lnTo>
                  <a:lnTo>
                    <a:pt x="708330" y="202959"/>
                  </a:lnTo>
                  <a:lnTo>
                    <a:pt x="708432" y="202959"/>
                  </a:lnTo>
                  <a:lnTo>
                    <a:pt x="708432" y="200228"/>
                  </a:lnTo>
                  <a:lnTo>
                    <a:pt x="708432" y="200876"/>
                  </a:lnTo>
                  <a:lnTo>
                    <a:pt x="708483" y="202260"/>
                  </a:lnTo>
                  <a:lnTo>
                    <a:pt x="708483" y="202959"/>
                  </a:lnTo>
                  <a:lnTo>
                    <a:pt x="708483" y="200876"/>
                  </a:lnTo>
                  <a:lnTo>
                    <a:pt x="708483" y="203594"/>
                  </a:lnTo>
                  <a:lnTo>
                    <a:pt x="708533" y="203594"/>
                  </a:lnTo>
                  <a:lnTo>
                    <a:pt x="708533" y="202959"/>
                  </a:lnTo>
                  <a:lnTo>
                    <a:pt x="708533" y="204292"/>
                  </a:lnTo>
                  <a:lnTo>
                    <a:pt x="708572" y="204292"/>
                  </a:lnTo>
                  <a:lnTo>
                    <a:pt x="708572" y="203594"/>
                  </a:lnTo>
                  <a:lnTo>
                    <a:pt x="708572" y="204990"/>
                  </a:lnTo>
                  <a:lnTo>
                    <a:pt x="708572" y="204292"/>
                  </a:lnTo>
                  <a:lnTo>
                    <a:pt x="708673" y="204292"/>
                  </a:lnTo>
                  <a:lnTo>
                    <a:pt x="708673" y="204990"/>
                  </a:lnTo>
                  <a:lnTo>
                    <a:pt x="708724" y="204990"/>
                  </a:lnTo>
                  <a:lnTo>
                    <a:pt x="708724" y="204292"/>
                  </a:lnTo>
                  <a:lnTo>
                    <a:pt x="708724" y="204990"/>
                  </a:lnTo>
                  <a:lnTo>
                    <a:pt x="708724" y="204292"/>
                  </a:lnTo>
                  <a:lnTo>
                    <a:pt x="708724" y="204990"/>
                  </a:lnTo>
                  <a:lnTo>
                    <a:pt x="708775" y="204990"/>
                  </a:lnTo>
                  <a:lnTo>
                    <a:pt x="708775" y="204292"/>
                  </a:lnTo>
                  <a:lnTo>
                    <a:pt x="708775" y="204990"/>
                  </a:lnTo>
                  <a:lnTo>
                    <a:pt x="708775" y="204292"/>
                  </a:lnTo>
                  <a:lnTo>
                    <a:pt x="708876" y="204292"/>
                  </a:lnTo>
                  <a:lnTo>
                    <a:pt x="708876" y="202959"/>
                  </a:lnTo>
                  <a:lnTo>
                    <a:pt x="708927" y="202959"/>
                  </a:lnTo>
                  <a:lnTo>
                    <a:pt x="708927" y="202260"/>
                  </a:lnTo>
                  <a:lnTo>
                    <a:pt x="708927" y="203594"/>
                  </a:lnTo>
                  <a:lnTo>
                    <a:pt x="708927" y="202959"/>
                  </a:lnTo>
                  <a:lnTo>
                    <a:pt x="708978" y="202959"/>
                  </a:lnTo>
                  <a:lnTo>
                    <a:pt x="708978" y="202260"/>
                  </a:lnTo>
                  <a:lnTo>
                    <a:pt x="708978" y="204990"/>
                  </a:lnTo>
                  <a:lnTo>
                    <a:pt x="708978" y="203594"/>
                  </a:lnTo>
                  <a:lnTo>
                    <a:pt x="709029" y="203594"/>
                  </a:lnTo>
                  <a:lnTo>
                    <a:pt x="709029" y="204990"/>
                  </a:lnTo>
                  <a:lnTo>
                    <a:pt x="709029" y="203594"/>
                  </a:lnTo>
                  <a:lnTo>
                    <a:pt x="709029" y="204292"/>
                  </a:lnTo>
                  <a:lnTo>
                    <a:pt x="709118" y="204292"/>
                  </a:lnTo>
                  <a:lnTo>
                    <a:pt x="709118" y="204990"/>
                  </a:lnTo>
                  <a:lnTo>
                    <a:pt x="709118" y="203594"/>
                  </a:lnTo>
                  <a:lnTo>
                    <a:pt x="709118" y="204292"/>
                  </a:lnTo>
                  <a:lnTo>
                    <a:pt x="709168" y="204292"/>
                  </a:lnTo>
                  <a:lnTo>
                    <a:pt x="709168" y="204990"/>
                  </a:lnTo>
                  <a:lnTo>
                    <a:pt x="709168" y="204292"/>
                  </a:lnTo>
                  <a:lnTo>
                    <a:pt x="709219" y="204292"/>
                  </a:lnTo>
                  <a:lnTo>
                    <a:pt x="709219" y="204990"/>
                  </a:lnTo>
                  <a:lnTo>
                    <a:pt x="709219" y="204292"/>
                  </a:lnTo>
                  <a:lnTo>
                    <a:pt x="709219" y="204990"/>
                  </a:lnTo>
                  <a:lnTo>
                    <a:pt x="709219" y="204292"/>
                  </a:lnTo>
                  <a:lnTo>
                    <a:pt x="709219" y="204990"/>
                  </a:lnTo>
                  <a:lnTo>
                    <a:pt x="709270" y="204292"/>
                  </a:lnTo>
                  <a:lnTo>
                    <a:pt x="709270" y="204990"/>
                  </a:lnTo>
                  <a:lnTo>
                    <a:pt x="709270" y="204292"/>
                  </a:lnTo>
                  <a:lnTo>
                    <a:pt x="709270" y="204990"/>
                  </a:lnTo>
                  <a:lnTo>
                    <a:pt x="709270" y="204292"/>
                  </a:lnTo>
                  <a:lnTo>
                    <a:pt x="709372" y="204292"/>
                  </a:lnTo>
                  <a:lnTo>
                    <a:pt x="709372" y="202260"/>
                  </a:lnTo>
                  <a:lnTo>
                    <a:pt x="709422" y="202260"/>
                  </a:lnTo>
                  <a:lnTo>
                    <a:pt x="709422" y="203594"/>
                  </a:lnTo>
                  <a:lnTo>
                    <a:pt x="709422" y="202260"/>
                  </a:lnTo>
                  <a:lnTo>
                    <a:pt x="709422" y="202959"/>
                  </a:lnTo>
                  <a:lnTo>
                    <a:pt x="709473" y="203594"/>
                  </a:lnTo>
                  <a:lnTo>
                    <a:pt x="709473" y="204990"/>
                  </a:lnTo>
                  <a:lnTo>
                    <a:pt x="709473" y="202959"/>
                  </a:lnTo>
                  <a:lnTo>
                    <a:pt x="709473" y="204292"/>
                  </a:lnTo>
                  <a:lnTo>
                    <a:pt x="709575" y="204292"/>
                  </a:lnTo>
                  <a:lnTo>
                    <a:pt x="709575" y="204990"/>
                  </a:lnTo>
                  <a:lnTo>
                    <a:pt x="709575" y="204292"/>
                  </a:lnTo>
                  <a:lnTo>
                    <a:pt x="709575" y="204990"/>
                  </a:lnTo>
                  <a:lnTo>
                    <a:pt x="709613" y="204292"/>
                  </a:lnTo>
                  <a:lnTo>
                    <a:pt x="709613" y="204990"/>
                  </a:lnTo>
                  <a:lnTo>
                    <a:pt x="709613" y="204292"/>
                  </a:lnTo>
                  <a:lnTo>
                    <a:pt x="709664" y="204292"/>
                  </a:lnTo>
                  <a:lnTo>
                    <a:pt x="709664" y="204990"/>
                  </a:lnTo>
                  <a:lnTo>
                    <a:pt x="709664" y="204292"/>
                  </a:lnTo>
                  <a:lnTo>
                    <a:pt x="709664" y="204990"/>
                  </a:lnTo>
                  <a:lnTo>
                    <a:pt x="709664" y="204292"/>
                  </a:lnTo>
                  <a:lnTo>
                    <a:pt x="709664" y="204990"/>
                  </a:lnTo>
                  <a:lnTo>
                    <a:pt x="709715" y="204990"/>
                  </a:lnTo>
                  <a:lnTo>
                    <a:pt x="709715" y="204292"/>
                  </a:lnTo>
                  <a:lnTo>
                    <a:pt x="709816" y="204292"/>
                  </a:lnTo>
                  <a:lnTo>
                    <a:pt x="709816" y="204990"/>
                  </a:lnTo>
                  <a:lnTo>
                    <a:pt x="709816" y="203594"/>
                  </a:lnTo>
                  <a:lnTo>
                    <a:pt x="709867" y="203594"/>
                  </a:lnTo>
                  <a:lnTo>
                    <a:pt x="709867" y="200876"/>
                  </a:lnTo>
                  <a:lnTo>
                    <a:pt x="709918" y="200876"/>
                  </a:lnTo>
                  <a:lnTo>
                    <a:pt x="709918" y="198831"/>
                  </a:lnTo>
                  <a:lnTo>
                    <a:pt x="710019" y="198831"/>
                  </a:lnTo>
                  <a:lnTo>
                    <a:pt x="710019" y="199530"/>
                  </a:lnTo>
                  <a:lnTo>
                    <a:pt x="710019" y="197447"/>
                  </a:lnTo>
                  <a:lnTo>
                    <a:pt x="710019" y="198831"/>
                  </a:lnTo>
                  <a:lnTo>
                    <a:pt x="710019" y="197447"/>
                  </a:lnTo>
                  <a:lnTo>
                    <a:pt x="710019" y="198831"/>
                  </a:lnTo>
                  <a:lnTo>
                    <a:pt x="710070" y="198831"/>
                  </a:lnTo>
                  <a:lnTo>
                    <a:pt x="710070" y="200876"/>
                  </a:lnTo>
                  <a:lnTo>
                    <a:pt x="710070" y="199530"/>
                  </a:lnTo>
                  <a:lnTo>
                    <a:pt x="710070" y="200228"/>
                  </a:lnTo>
                  <a:lnTo>
                    <a:pt x="710121" y="200228"/>
                  </a:lnTo>
                  <a:lnTo>
                    <a:pt x="710121" y="200876"/>
                  </a:lnTo>
                  <a:lnTo>
                    <a:pt x="710121" y="200228"/>
                  </a:lnTo>
                  <a:lnTo>
                    <a:pt x="710121" y="200876"/>
                  </a:lnTo>
                  <a:lnTo>
                    <a:pt x="710121" y="200228"/>
                  </a:lnTo>
                  <a:lnTo>
                    <a:pt x="710121" y="200876"/>
                  </a:lnTo>
                  <a:lnTo>
                    <a:pt x="710159" y="200876"/>
                  </a:lnTo>
                  <a:lnTo>
                    <a:pt x="710159" y="202959"/>
                  </a:lnTo>
                  <a:lnTo>
                    <a:pt x="710261" y="203594"/>
                  </a:lnTo>
                  <a:lnTo>
                    <a:pt x="710261" y="202959"/>
                  </a:lnTo>
                  <a:lnTo>
                    <a:pt x="710261" y="204990"/>
                  </a:lnTo>
                  <a:lnTo>
                    <a:pt x="710261" y="204292"/>
                  </a:lnTo>
                  <a:lnTo>
                    <a:pt x="710312" y="204292"/>
                  </a:lnTo>
                  <a:lnTo>
                    <a:pt x="710312" y="204990"/>
                  </a:lnTo>
                  <a:lnTo>
                    <a:pt x="710312" y="204292"/>
                  </a:lnTo>
                  <a:lnTo>
                    <a:pt x="710312" y="204990"/>
                  </a:lnTo>
                  <a:lnTo>
                    <a:pt x="710312" y="204292"/>
                  </a:lnTo>
                  <a:lnTo>
                    <a:pt x="710312" y="204990"/>
                  </a:lnTo>
                  <a:lnTo>
                    <a:pt x="710312" y="204292"/>
                  </a:lnTo>
                  <a:lnTo>
                    <a:pt x="710362" y="203594"/>
                  </a:lnTo>
                  <a:lnTo>
                    <a:pt x="710362" y="204292"/>
                  </a:lnTo>
                  <a:lnTo>
                    <a:pt x="710362" y="203594"/>
                  </a:lnTo>
                  <a:lnTo>
                    <a:pt x="710464" y="202959"/>
                  </a:lnTo>
                  <a:lnTo>
                    <a:pt x="710464" y="200228"/>
                  </a:lnTo>
                  <a:lnTo>
                    <a:pt x="710464" y="200876"/>
                  </a:lnTo>
                  <a:lnTo>
                    <a:pt x="710464" y="199530"/>
                  </a:lnTo>
                  <a:lnTo>
                    <a:pt x="710515" y="199530"/>
                  </a:lnTo>
                  <a:lnTo>
                    <a:pt x="710515" y="196799"/>
                  </a:lnTo>
                  <a:lnTo>
                    <a:pt x="710515" y="197447"/>
                  </a:lnTo>
                  <a:lnTo>
                    <a:pt x="710515" y="196113"/>
                  </a:lnTo>
                  <a:lnTo>
                    <a:pt x="710566" y="196113"/>
                  </a:lnTo>
                  <a:lnTo>
                    <a:pt x="710566" y="197447"/>
                  </a:lnTo>
                  <a:lnTo>
                    <a:pt x="710566" y="196113"/>
                  </a:lnTo>
                  <a:lnTo>
                    <a:pt x="710566" y="196799"/>
                  </a:lnTo>
                  <a:lnTo>
                    <a:pt x="710566" y="195415"/>
                  </a:lnTo>
                  <a:lnTo>
                    <a:pt x="710566" y="196799"/>
                  </a:lnTo>
                  <a:lnTo>
                    <a:pt x="710616" y="197447"/>
                  </a:lnTo>
                  <a:lnTo>
                    <a:pt x="710616" y="198831"/>
                  </a:lnTo>
                  <a:lnTo>
                    <a:pt x="710616" y="196799"/>
                  </a:lnTo>
                  <a:lnTo>
                    <a:pt x="710616" y="198831"/>
                  </a:lnTo>
                  <a:lnTo>
                    <a:pt x="710705" y="198831"/>
                  </a:lnTo>
                  <a:lnTo>
                    <a:pt x="710705" y="199530"/>
                  </a:lnTo>
                  <a:lnTo>
                    <a:pt x="710705" y="198831"/>
                  </a:lnTo>
                  <a:lnTo>
                    <a:pt x="710705" y="200876"/>
                  </a:lnTo>
                  <a:lnTo>
                    <a:pt x="710756" y="200876"/>
                  </a:lnTo>
                  <a:lnTo>
                    <a:pt x="710756" y="200228"/>
                  </a:lnTo>
                  <a:lnTo>
                    <a:pt x="710756" y="202959"/>
                  </a:lnTo>
                  <a:lnTo>
                    <a:pt x="710756" y="202260"/>
                  </a:lnTo>
                  <a:lnTo>
                    <a:pt x="710756" y="202959"/>
                  </a:lnTo>
                  <a:lnTo>
                    <a:pt x="710807" y="202959"/>
                  </a:lnTo>
                  <a:lnTo>
                    <a:pt x="710807" y="204292"/>
                  </a:lnTo>
                  <a:lnTo>
                    <a:pt x="710807" y="203594"/>
                  </a:lnTo>
                  <a:lnTo>
                    <a:pt x="710807" y="204292"/>
                  </a:lnTo>
                  <a:lnTo>
                    <a:pt x="710858" y="204292"/>
                  </a:lnTo>
                  <a:lnTo>
                    <a:pt x="710858" y="203594"/>
                  </a:lnTo>
                  <a:lnTo>
                    <a:pt x="710959" y="203594"/>
                  </a:lnTo>
                  <a:lnTo>
                    <a:pt x="710959" y="204292"/>
                  </a:lnTo>
                  <a:lnTo>
                    <a:pt x="710959" y="203594"/>
                  </a:lnTo>
                  <a:lnTo>
                    <a:pt x="710959" y="204990"/>
                  </a:lnTo>
                  <a:lnTo>
                    <a:pt x="710959" y="202959"/>
                  </a:lnTo>
                  <a:lnTo>
                    <a:pt x="710959" y="203594"/>
                  </a:lnTo>
                  <a:lnTo>
                    <a:pt x="711010" y="202959"/>
                  </a:lnTo>
                  <a:lnTo>
                    <a:pt x="711010" y="200228"/>
                  </a:lnTo>
                  <a:lnTo>
                    <a:pt x="711061" y="200228"/>
                  </a:lnTo>
                  <a:lnTo>
                    <a:pt x="711061" y="202260"/>
                  </a:lnTo>
                  <a:lnTo>
                    <a:pt x="711061" y="199530"/>
                  </a:lnTo>
                  <a:lnTo>
                    <a:pt x="711061" y="200228"/>
                  </a:lnTo>
                  <a:lnTo>
                    <a:pt x="711162" y="200228"/>
                  </a:lnTo>
                  <a:lnTo>
                    <a:pt x="711162" y="199530"/>
                  </a:lnTo>
                  <a:lnTo>
                    <a:pt x="711162" y="200228"/>
                  </a:lnTo>
                  <a:lnTo>
                    <a:pt x="711162" y="199530"/>
                  </a:lnTo>
                  <a:lnTo>
                    <a:pt x="711162" y="200228"/>
                  </a:lnTo>
                  <a:lnTo>
                    <a:pt x="711201" y="200228"/>
                  </a:lnTo>
                  <a:lnTo>
                    <a:pt x="711201" y="199530"/>
                  </a:lnTo>
                  <a:lnTo>
                    <a:pt x="711201" y="200228"/>
                  </a:lnTo>
                  <a:lnTo>
                    <a:pt x="711201" y="199530"/>
                  </a:lnTo>
                  <a:lnTo>
                    <a:pt x="711201" y="200876"/>
                  </a:lnTo>
                  <a:lnTo>
                    <a:pt x="711251" y="200228"/>
                  </a:lnTo>
                  <a:lnTo>
                    <a:pt x="711251" y="200876"/>
                  </a:lnTo>
                  <a:lnTo>
                    <a:pt x="711251" y="200228"/>
                  </a:lnTo>
                  <a:lnTo>
                    <a:pt x="711251" y="202260"/>
                  </a:lnTo>
                  <a:lnTo>
                    <a:pt x="711302" y="202260"/>
                  </a:lnTo>
                  <a:lnTo>
                    <a:pt x="711302" y="203594"/>
                  </a:lnTo>
                  <a:lnTo>
                    <a:pt x="711302" y="202959"/>
                  </a:lnTo>
                  <a:lnTo>
                    <a:pt x="711404" y="202959"/>
                  </a:lnTo>
                  <a:lnTo>
                    <a:pt x="711404" y="203594"/>
                  </a:lnTo>
                  <a:lnTo>
                    <a:pt x="711404" y="202959"/>
                  </a:lnTo>
                  <a:lnTo>
                    <a:pt x="711404" y="203594"/>
                  </a:lnTo>
                  <a:lnTo>
                    <a:pt x="711455" y="203594"/>
                  </a:lnTo>
                  <a:lnTo>
                    <a:pt x="711455" y="204292"/>
                  </a:lnTo>
                  <a:lnTo>
                    <a:pt x="711455" y="202959"/>
                  </a:lnTo>
                  <a:lnTo>
                    <a:pt x="711505" y="202959"/>
                  </a:lnTo>
                  <a:lnTo>
                    <a:pt x="711505" y="203594"/>
                  </a:lnTo>
                  <a:lnTo>
                    <a:pt x="711505" y="202260"/>
                  </a:lnTo>
                  <a:lnTo>
                    <a:pt x="711505" y="202959"/>
                  </a:lnTo>
                  <a:lnTo>
                    <a:pt x="711607" y="202959"/>
                  </a:lnTo>
                  <a:lnTo>
                    <a:pt x="711607" y="200876"/>
                  </a:lnTo>
                  <a:lnTo>
                    <a:pt x="711607" y="203594"/>
                  </a:lnTo>
                  <a:lnTo>
                    <a:pt x="711658" y="203594"/>
                  </a:lnTo>
                  <a:lnTo>
                    <a:pt x="711658" y="202260"/>
                  </a:lnTo>
                  <a:lnTo>
                    <a:pt x="711658" y="203594"/>
                  </a:lnTo>
                  <a:lnTo>
                    <a:pt x="711658" y="202959"/>
                  </a:lnTo>
                  <a:lnTo>
                    <a:pt x="711708" y="202959"/>
                  </a:lnTo>
                  <a:lnTo>
                    <a:pt x="711708" y="203594"/>
                  </a:lnTo>
                  <a:lnTo>
                    <a:pt x="711708" y="202959"/>
                  </a:lnTo>
                  <a:lnTo>
                    <a:pt x="711708" y="203594"/>
                  </a:lnTo>
                  <a:lnTo>
                    <a:pt x="711708" y="202260"/>
                  </a:lnTo>
                  <a:lnTo>
                    <a:pt x="711708" y="203594"/>
                  </a:lnTo>
                  <a:lnTo>
                    <a:pt x="711708" y="202959"/>
                  </a:lnTo>
                  <a:lnTo>
                    <a:pt x="711747" y="202959"/>
                  </a:lnTo>
                  <a:lnTo>
                    <a:pt x="711747" y="203594"/>
                  </a:lnTo>
                  <a:lnTo>
                    <a:pt x="711747" y="202260"/>
                  </a:lnTo>
                  <a:lnTo>
                    <a:pt x="711747" y="202959"/>
                  </a:lnTo>
                  <a:lnTo>
                    <a:pt x="711848" y="202959"/>
                  </a:lnTo>
                  <a:lnTo>
                    <a:pt x="711848" y="202260"/>
                  </a:lnTo>
                  <a:lnTo>
                    <a:pt x="711848" y="202959"/>
                  </a:lnTo>
                  <a:lnTo>
                    <a:pt x="711899" y="202959"/>
                  </a:lnTo>
                  <a:lnTo>
                    <a:pt x="711899" y="203594"/>
                  </a:lnTo>
                  <a:lnTo>
                    <a:pt x="711899" y="202260"/>
                  </a:lnTo>
                  <a:lnTo>
                    <a:pt x="711899" y="203594"/>
                  </a:lnTo>
                  <a:lnTo>
                    <a:pt x="711950" y="203594"/>
                  </a:lnTo>
                  <a:lnTo>
                    <a:pt x="711950" y="202260"/>
                  </a:lnTo>
                  <a:lnTo>
                    <a:pt x="712051" y="202260"/>
                  </a:lnTo>
                  <a:lnTo>
                    <a:pt x="712051" y="200228"/>
                  </a:lnTo>
                  <a:lnTo>
                    <a:pt x="712051" y="202959"/>
                  </a:lnTo>
                  <a:lnTo>
                    <a:pt x="712102" y="202959"/>
                  </a:lnTo>
                  <a:lnTo>
                    <a:pt x="712102" y="200876"/>
                  </a:lnTo>
                  <a:lnTo>
                    <a:pt x="712102" y="203594"/>
                  </a:lnTo>
                  <a:lnTo>
                    <a:pt x="712153" y="203594"/>
                  </a:lnTo>
                  <a:lnTo>
                    <a:pt x="712153" y="202959"/>
                  </a:lnTo>
                  <a:lnTo>
                    <a:pt x="712153" y="204292"/>
                  </a:lnTo>
                  <a:lnTo>
                    <a:pt x="712153" y="203594"/>
                  </a:lnTo>
                  <a:lnTo>
                    <a:pt x="712153" y="204292"/>
                  </a:lnTo>
                  <a:lnTo>
                    <a:pt x="712153" y="203594"/>
                  </a:lnTo>
                  <a:lnTo>
                    <a:pt x="712204" y="203594"/>
                  </a:lnTo>
                  <a:lnTo>
                    <a:pt x="712204" y="202959"/>
                  </a:lnTo>
                  <a:lnTo>
                    <a:pt x="712204" y="204292"/>
                  </a:lnTo>
                  <a:lnTo>
                    <a:pt x="712204" y="203594"/>
                  </a:lnTo>
                  <a:lnTo>
                    <a:pt x="712293" y="203594"/>
                  </a:lnTo>
                  <a:lnTo>
                    <a:pt x="712293" y="202959"/>
                  </a:lnTo>
                  <a:lnTo>
                    <a:pt x="712293" y="203594"/>
                  </a:lnTo>
                  <a:lnTo>
                    <a:pt x="712293" y="202959"/>
                  </a:lnTo>
                  <a:lnTo>
                    <a:pt x="712293" y="203594"/>
                  </a:lnTo>
                  <a:lnTo>
                    <a:pt x="712293" y="202959"/>
                  </a:lnTo>
                  <a:lnTo>
                    <a:pt x="712343" y="202959"/>
                  </a:lnTo>
                  <a:lnTo>
                    <a:pt x="712343" y="203594"/>
                  </a:lnTo>
                  <a:lnTo>
                    <a:pt x="712343" y="202959"/>
                  </a:lnTo>
                  <a:lnTo>
                    <a:pt x="712343" y="203594"/>
                  </a:lnTo>
                  <a:lnTo>
                    <a:pt x="712343" y="202959"/>
                  </a:lnTo>
                  <a:lnTo>
                    <a:pt x="712343" y="203594"/>
                  </a:lnTo>
                  <a:lnTo>
                    <a:pt x="712343" y="202959"/>
                  </a:lnTo>
                  <a:lnTo>
                    <a:pt x="712343" y="203594"/>
                  </a:lnTo>
                  <a:lnTo>
                    <a:pt x="712394" y="203594"/>
                  </a:lnTo>
                  <a:lnTo>
                    <a:pt x="712394" y="204292"/>
                  </a:lnTo>
                  <a:lnTo>
                    <a:pt x="712394" y="202959"/>
                  </a:lnTo>
                  <a:lnTo>
                    <a:pt x="712394" y="203594"/>
                  </a:lnTo>
                  <a:lnTo>
                    <a:pt x="712445" y="203594"/>
                  </a:lnTo>
                  <a:lnTo>
                    <a:pt x="712445" y="202260"/>
                  </a:lnTo>
                  <a:lnTo>
                    <a:pt x="712445" y="202959"/>
                  </a:lnTo>
                  <a:lnTo>
                    <a:pt x="712445" y="200876"/>
                  </a:lnTo>
                  <a:lnTo>
                    <a:pt x="712547" y="200876"/>
                  </a:lnTo>
                  <a:lnTo>
                    <a:pt x="712547" y="199530"/>
                  </a:lnTo>
                  <a:lnTo>
                    <a:pt x="712547" y="202260"/>
                  </a:lnTo>
                  <a:lnTo>
                    <a:pt x="712597" y="202260"/>
                  </a:lnTo>
                  <a:lnTo>
                    <a:pt x="712597" y="200228"/>
                  </a:lnTo>
                  <a:lnTo>
                    <a:pt x="712597" y="202260"/>
                  </a:lnTo>
                  <a:lnTo>
                    <a:pt x="712597" y="200876"/>
                  </a:lnTo>
                  <a:lnTo>
                    <a:pt x="712597" y="203594"/>
                  </a:lnTo>
                  <a:lnTo>
                    <a:pt x="712648" y="203594"/>
                  </a:lnTo>
                  <a:lnTo>
                    <a:pt x="712648" y="202959"/>
                  </a:lnTo>
                  <a:lnTo>
                    <a:pt x="712648" y="204292"/>
                  </a:lnTo>
                  <a:lnTo>
                    <a:pt x="712648" y="203594"/>
                  </a:lnTo>
                  <a:lnTo>
                    <a:pt x="712750" y="203594"/>
                  </a:lnTo>
                  <a:lnTo>
                    <a:pt x="712750" y="204292"/>
                  </a:lnTo>
                  <a:lnTo>
                    <a:pt x="712750" y="203594"/>
                  </a:lnTo>
                  <a:lnTo>
                    <a:pt x="712750" y="204292"/>
                  </a:lnTo>
                  <a:lnTo>
                    <a:pt x="712750" y="203594"/>
                  </a:lnTo>
                  <a:lnTo>
                    <a:pt x="712788" y="203594"/>
                  </a:lnTo>
                  <a:lnTo>
                    <a:pt x="712788" y="204292"/>
                  </a:lnTo>
                  <a:lnTo>
                    <a:pt x="712839" y="204292"/>
                  </a:lnTo>
                  <a:lnTo>
                    <a:pt x="712839" y="204990"/>
                  </a:lnTo>
                  <a:lnTo>
                    <a:pt x="712839" y="204292"/>
                  </a:lnTo>
                  <a:lnTo>
                    <a:pt x="712890" y="204292"/>
                  </a:lnTo>
                  <a:lnTo>
                    <a:pt x="712890" y="203594"/>
                  </a:lnTo>
                  <a:lnTo>
                    <a:pt x="712890" y="204990"/>
                  </a:lnTo>
                  <a:lnTo>
                    <a:pt x="712890" y="203594"/>
                  </a:lnTo>
                  <a:lnTo>
                    <a:pt x="712991" y="203594"/>
                  </a:lnTo>
                  <a:lnTo>
                    <a:pt x="712991" y="206324"/>
                  </a:lnTo>
                  <a:lnTo>
                    <a:pt x="712991" y="204292"/>
                  </a:lnTo>
                  <a:lnTo>
                    <a:pt x="713042" y="204292"/>
                  </a:lnTo>
                  <a:lnTo>
                    <a:pt x="713042" y="207022"/>
                  </a:lnTo>
                  <a:lnTo>
                    <a:pt x="713042" y="206324"/>
                  </a:lnTo>
                  <a:lnTo>
                    <a:pt x="713093" y="206324"/>
                  </a:lnTo>
                  <a:lnTo>
                    <a:pt x="713093" y="204990"/>
                  </a:lnTo>
                  <a:lnTo>
                    <a:pt x="713093" y="207721"/>
                  </a:lnTo>
                  <a:lnTo>
                    <a:pt x="713093" y="207022"/>
                  </a:lnTo>
                  <a:lnTo>
                    <a:pt x="713194" y="207022"/>
                  </a:lnTo>
                  <a:lnTo>
                    <a:pt x="713194" y="206324"/>
                  </a:lnTo>
                  <a:lnTo>
                    <a:pt x="713194" y="207022"/>
                  </a:lnTo>
                  <a:lnTo>
                    <a:pt x="713194" y="206324"/>
                  </a:lnTo>
                  <a:lnTo>
                    <a:pt x="713245" y="206324"/>
                  </a:lnTo>
                  <a:lnTo>
                    <a:pt x="713245" y="207022"/>
                  </a:lnTo>
                  <a:lnTo>
                    <a:pt x="713245" y="204990"/>
                  </a:lnTo>
                  <a:lnTo>
                    <a:pt x="713245" y="206324"/>
                  </a:lnTo>
                  <a:lnTo>
                    <a:pt x="713296" y="206324"/>
                  </a:lnTo>
                  <a:lnTo>
                    <a:pt x="713296" y="204990"/>
                  </a:lnTo>
                  <a:lnTo>
                    <a:pt x="713296" y="206324"/>
                  </a:lnTo>
                  <a:lnTo>
                    <a:pt x="713296" y="204990"/>
                  </a:lnTo>
                  <a:lnTo>
                    <a:pt x="713296" y="206324"/>
                  </a:lnTo>
                  <a:lnTo>
                    <a:pt x="713334" y="206324"/>
                  </a:lnTo>
                  <a:lnTo>
                    <a:pt x="713334" y="204990"/>
                  </a:lnTo>
                  <a:lnTo>
                    <a:pt x="713334" y="207721"/>
                  </a:lnTo>
                  <a:lnTo>
                    <a:pt x="713436" y="207721"/>
                  </a:lnTo>
                  <a:lnTo>
                    <a:pt x="713436" y="207022"/>
                  </a:lnTo>
                  <a:lnTo>
                    <a:pt x="713436" y="207721"/>
                  </a:lnTo>
                  <a:lnTo>
                    <a:pt x="713436" y="206324"/>
                  </a:lnTo>
                  <a:lnTo>
                    <a:pt x="713436" y="209753"/>
                  </a:lnTo>
                  <a:lnTo>
                    <a:pt x="713487" y="210451"/>
                  </a:lnTo>
                  <a:lnTo>
                    <a:pt x="713487" y="208407"/>
                  </a:lnTo>
                  <a:lnTo>
                    <a:pt x="713487" y="210451"/>
                  </a:lnTo>
                  <a:lnTo>
                    <a:pt x="713537" y="210451"/>
                  </a:lnTo>
                  <a:lnTo>
                    <a:pt x="713537" y="209753"/>
                  </a:lnTo>
                  <a:lnTo>
                    <a:pt x="713537" y="211137"/>
                  </a:lnTo>
                  <a:lnTo>
                    <a:pt x="713537" y="210451"/>
                  </a:lnTo>
                  <a:lnTo>
                    <a:pt x="713639" y="210451"/>
                  </a:lnTo>
                  <a:lnTo>
                    <a:pt x="713639" y="211137"/>
                  </a:lnTo>
                  <a:lnTo>
                    <a:pt x="713639" y="210451"/>
                  </a:lnTo>
                  <a:lnTo>
                    <a:pt x="713690" y="210451"/>
                  </a:lnTo>
                  <a:lnTo>
                    <a:pt x="713690" y="209753"/>
                  </a:lnTo>
                  <a:lnTo>
                    <a:pt x="713690" y="210451"/>
                  </a:lnTo>
                  <a:lnTo>
                    <a:pt x="713690" y="209753"/>
                  </a:lnTo>
                  <a:lnTo>
                    <a:pt x="713690" y="210451"/>
                  </a:lnTo>
                  <a:lnTo>
                    <a:pt x="713690" y="209753"/>
                  </a:lnTo>
                  <a:lnTo>
                    <a:pt x="713741" y="209753"/>
                  </a:lnTo>
                  <a:lnTo>
                    <a:pt x="713741" y="207022"/>
                  </a:lnTo>
                  <a:lnTo>
                    <a:pt x="713791" y="207022"/>
                  </a:lnTo>
                  <a:lnTo>
                    <a:pt x="713791" y="204990"/>
                  </a:lnTo>
                  <a:lnTo>
                    <a:pt x="713791" y="206324"/>
                  </a:lnTo>
                  <a:lnTo>
                    <a:pt x="713791" y="204292"/>
                  </a:lnTo>
                  <a:lnTo>
                    <a:pt x="713880" y="204990"/>
                  </a:lnTo>
                  <a:lnTo>
                    <a:pt x="713880" y="204292"/>
                  </a:lnTo>
                  <a:lnTo>
                    <a:pt x="713880" y="207022"/>
                  </a:lnTo>
                  <a:lnTo>
                    <a:pt x="713880" y="206324"/>
                  </a:lnTo>
                  <a:lnTo>
                    <a:pt x="713880" y="207022"/>
                  </a:lnTo>
                  <a:lnTo>
                    <a:pt x="713880" y="206324"/>
                  </a:lnTo>
                  <a:lnTo>
                    <a:pt x="713931" y="206324"/>
                  </a:lnTo>
                  <a:lnTo>
                    <a:pt x="713931" y="204990"/>
                  </a:lnTo>
                  <a:lnTo>
                    <a:pt x="713931" y="207721"/>
                  </a:lnTo>
                  <a:lnTo>
                    <a:pt x="713931" y="207022"/>
                  </a:lnTo>
                  <a:lnTo>
                    <a:pt x="713982" y="207022"/>
                  </a:lnTo>
                  <a:lnTo>
                    <a:pt x="713982" y="208407"/>
                  </a:lnTo>
                  <a:lnTo>
                    <a:pt x="713982" y="207022"/>
                  </a:lnTo>
                  <a:lnTo>
                    <a:pt x="714033" y="207022"/>
                  </a:lnTo>
                  <a:lnTo>
                    <a:pt x="714033" y="207721"/>
                  </a:lnTo>
                  <a:lnTo>
                    <a:pt x="714033" y="207022"/>
                  </a:lnTo>
                  <a:lnTo>
                    <a:pt x="714033" y="208407"/>
                  </a:lnTo>
                  <a:lnTo>
                    <a:pt x="714033" y="207721"/>
                  </a:lnTo>
                  <a:lnTo>
                    <a:pt x="714033" y="208407"/>
                  </a:lnTo>
                  <a:lnTo>
                    <a:pt x="714134" y="208407"/>
                  </a:lnTo>
                  <a:lnTo>
                    <a:pt x="714134" y="209753"/>
                  </a:lnTo>
                  <a:lnTo>
                    <a:pt x="714134" y="208407"/>
                  </a:lnTo>
                  <a:lnTo>
                    <a:pt x="714134" y="209753"/>
                  </a:lnTo>
                  <a:lnTo>
                    <a:pt x="714185" y="208407"/>
                  </a:lnTo>
                  <a:lnTo>
                    <a:pt x="714185" y="209753"/>
                  </a:lnTo>
                  <a:lnTo>
                    <a:pt x="714185" y="207721"/>
                  </a:lnTo>
                  <a:lnTo>
                    <a:pt x="714185" y="208407"/>
                  </a:lnTo>
                  <a:lnTo>
                    <a:pt x="714236" y="208407"/>
                  </a:lnTo>
                  <a:lnTo>
                    <a:pt x="714236" y="206324"/>
                  </a:lnTo>
                  <a:lnTo>
                    <a:pt x="714337" y="206324"/>
                  </a:lnTo>
                  <a:lnTo>
                    <a:pt x="714337" y="204292"/>
                  </a:lnTo>
                  <a:lnTo>
                    <a:pt x="714337" y="204990"/>
                  </a:lnTo>
                  <a:lnTo>
                    <a:pt x="714337" y="204292"/>
                  </a:lnTo>
                  <a:lnTo>
                    <a:pt x="714376" y="204292"/>
                  </a:lnTo>
                  <a:lnTo>
                    <a:pt x="714376" y="204990"/>
                  </a:lnTo>
                  <a:lnTo>
                    <a:pt x="714376" y="204292"/>
                  </a:lnTo>
                  <a:lnTo>
                    <a:pt x="714376" y="206324"/>
                  </a:lnTo>
                  <a:lnTo>
                    <a:pt x="714376" y="204990"/>
                  </a:lnTo>
                  <a:lnTo>
                    <a:pt x="714376" y="206324"/>
                  </a:lnTo>
                  <a:lnTo>
                    <a:pt x="714426" y="206324"/>
                  </a:lnTo>
                  <a:lnTo>
                    <a:pt x="714426" y="207022"/>
                  </a:lnTo>
                  <a:lnTo>
                    <a:pt x="714426" y="206324"/>
                  </a:lnTo>
                  <a:lnTo>
                    <a:pt x="714426" y="207022"/>
                  </a:lnTo>
                  <a:lnTo>
                    <a:pt x="714426" y="204990"/>
                  </a:lnTo>
                  <a:lnTo>
                    <a:pt x="714426" y="206324"/>
                  </a:lnTo>
                  <a:lnTo>
                    <a:pt x="714477" y="207022"/>
                  </a:lnTo>
                  <a:lnTo>
                    <a:pt x="714477" y="206324"/>
                  </a:lnTo>
                  <a:lnTo>
                    <a:pt x="714477" y="207022"/>
                  </a:lnTo>
                  <a:lnTo>
                    <a:pt x="714477" y="206324"/>
                  </a:lnTo>
                  <a:lnTo>
                    <a:pt x="714477" y="207022"/>
                  </a:lnTo>
                  <a:lnTo>
                    <a:pt x="714477" y="206324"/>
                  </a:lnTo>
                  <a:lnTo>
                    <a:pt x="714477" y="207022"/>
                  </a:lnTo>
                  <a:lnTo>
                    <a:pt x="714477" y="206324"/>
                  </a:lnTo>
                  <a:lnTo>
                    <a:pt x="714579" y="206324"/>
                  </a:lnTo>
                  <a:lnTo>
                    <a:pt x="714579" y="207721"/>
                  </a:lnTo>
                  <a:lnTo>
                    <a:pt x="714630" y="207721"/>
                  </a:lnTo>
                  <a:lnTo>
                    <a:pt x="714630" y="208407"/>
                  </a:lnTo>
                  <a:lnTo>
                    <a:pt x="714630" y="207721"/>
                  </a:lnTo>
                  <a:lnTo>
                    <a:pt x="714630" y="208407"/>
                  </a:lnTo>
                  <a:lnTo>
                    <a:pt x="714680" y="208407"/>
                  </a:lnTo>
                  <a:lnTo>
                    <a:pt x="714680" y="207721"/>
                  </a:lnTo>
                  <a:lnTo>
                    <a:pt x="714680" y="208407"/>
                  </a:lnTo>
                  <a:lnTo>
                    <a:pt x="714680" y="207721"/>
                  </a:lnTo>
                  <a:lnTo>
                    <a:pt x="714782" y="207721"/>
                  </a:lnTo>
                  <a:lnTo>
                    <a:pt x="714782" y="207022"/>
                  </a:lnTo>
                  <a:lnTo>
                    <a:pt x="714782" y="207721"/>
                  </a:lnTo>
                  <a:lnTo>
                    <a:pt x="714782" y="206324"/>
                  </a:lnTo>
                  <a:lnTo>
                    <a:pt x="714833" y="206324"/>
                  </a:lnTo>
                  <a:lnTo>
                    <a:pt x="714833" y="204292"/>
                  </a:lnTo>
                  <a:lnTo>
                    <a:pt x="714833" y="204990"/>
                  </a:lnTo>
                  <a:lnTo>
                    <a:pt x="714833" y="203594"/>
                  </a:lnTo>
                  <a:lnTo>
                    <a:pt x="714883" y="204292"/>
                  </a:lnTo>
                  <a:lnTo>
                    <a:pt x="714883" y="204990"/>
                  </a:lnTo>
                  <a:lnTo>
                    <a:pt x="714883" y="203594"/>
                  </a:lnTo>
                  <a:lnTo>
                    <a:pt x="714883" y="206324"/>
                  </a:lnTo>
                  <a:lnTo>
                    <a:pt x="714922" y="206324"/>
                  </a:lnTo>
                  <a:lnTo>
                    <a:pt x="714922" y="204292"/>
                  </a:lnTo>
                  <a:lnTo>
                    <a:pt x="714922" y="206324"/>
                  </a:lnTo>
                  <a:lnTo>
                    <a:pt x="715023" y="206324"/>
                  </a:lnTo>
                  <a:lnTo>
                    <a:pt x="715023" y="204990"/>
                  </a:lnTo>
                  <a:lnTo>
                    <a:pt x="715023" y="206324"/>
                  </a:lnTo>
                  <a:lnTo>
                    <a:pt x="715023" y="204990"/>
                  </a:lnTo>
                  <a:lnTo>
                    <a:pt x="715023" y="206324"/>
                  </a:lnTo>
                  <a:lnTo>
                    <a:pt x="715074" y="206324"/>
                  </a:lnTo>
                  <a:lnTo>
                    <a:pt x="715074" y="204990"/>
                  </a:lnTo>
                  <a:lnTo>
                    <a:pt x="715074" y="207022"/>
                  </a:lnTo>
                  <a:lnTo>
                    <a:pt x="715125" y="207022"/>
                  </a:lnTo>
                  <a:lnTo>
                    <a:pt x="715125" y="206324"/>
                  </a:lnTo>
                  <a:lnTo>
                    <a:pt x="715125" y="207022"/>
                  </a:lnTo>
                  <a:lnTo>
                    <a:pt x="715125" y="206324"/>
                  </a:lnTo>
                  <a:lnTo>
                    <a:pt x="715226" y="206324"/>
                  </a:lnTo>
                  <a:lnTo>
                    <a:pt x="715226" y="207022"/>
                  </a:lnTo>
                  <a:lnTo>
                    <a:pt x="715226" y="206324"/>
                  </a:lnTo>
                  <a:lnTo>
                    <a:pt x="715226" y="207022"/>
                  </a:lnTo>
                  <a:lnTo>
                    <a:pt x="715226" y="206324"/>
                  </a:lnTo>
                  <a:lnTo>
                    <a:pt x="715226" y="207022"/>
                  </a:lnTo>
                  <a:lnTo>
                    <a:pt x="715226" y="206324"/>
                  </a:lnTo>
                  <a:lnTo>
                    <a:pt x="715226" y="207022"/>
                  </a:lnTo>
                  <a:lnTo>
                    <a:pt x="715226" y="206324"/>
                  </a:lnTo>
                  <a:lnTo>
                    <a:pt x="715277" y="207022"/>
                  </a:lnTo>
                  <a:lnTo>
                    <a:pt x="715277" y="204990"/>
                  </a:lnTo>
                  <a:lnTo>
                    <a:pt x="715277" y="206324"/>
                  </a:lnTo>
                  <a:lnTo>
                    <a:pt x="715277" y="204292"/>
                  </a:lnTo>
                  <a:lnTo>
                    <a:pt x="715328" y="204292"/>
                  </a:lnTo>
                  <a:lnTo>
                    <a:pt x="715328" y="204990"/>
                  </a:lnTo>
                  <a:lnTo>
                    <a:pt x="715328" y="203594"/>
                  </a:lnTo>
                  <a:lnTo>
                    <a:pt x="715328" y="204292"/>
                  </a:lnTo>
                  <a:lnTo>
                    <a:pt x="715328" y="203594"/>
                  </a:lnTo>
                  <a:lnTo>
                    <a:pt x="715328" y="204292"/>
                  </a:lnTo>
                  <a:lnTo>
                    <a:pt x="715328" y="203594"/>
                  </a:lnTo>
                  <a:lnTo>
                    <a:pt x="715379" y="203594"/>
                  </a:lnTo>
                  <a:lnTo>
                    <a:pt x="715379" y="204292"/>
                  </a:lnTo>
                  <a:lnTo>
                    <a:pt x="715379" y="202959"/>
                  </a:lnTo>
                  <a:lnTo>
                    <a:pt x="715379" y="204292"/>
                  </a:lnTo>
                  <a:lnTo>
                    <a:pt x="715468" y="204292"/>
                  </a:lnTo>
                  <a:lnTo>
                    <a:pt x="715468" y="204990"/>
                  </a:lnTo>
                  <a:lnTo>
                    <a:pt x="715468" y="203594"/>
                  </a:lnTo>
                  <a:lnTo>
                    <a:pt x="715468" y="204292"/>
                  </a:lnTo>
                  <a:lnTo>
                    <a:pt x="715468" y="203594"/>
                  </a:lnTo>
                  <a:lnTo>
                    <a:pt x="715468" y="204292"/>
                  </a:lnTo>
                  <a:lnTo>
                    <a:pt x="715518" y="204292"/>
                  </a:lnTo>
                  <a:lnTo>
                    <a:pt x="715518" y="204990"/>
                  </a:lnTo>
                  <a:lnTo>
                    <a:pt x="715518" y="203594"/>
                  </a:lnTo>
                  <a:lnTo>
                    <a:pt x="715518" y="204292"/>
                  </a:lnTo>
                  <a:lnTo>
                    <a:pt x="715518" y="203594"/>
                  </a:lnTo>
                  <a:lnTo>
                    <a:pt x="715518" y="204292"/>
                  </a:lnTo>
                  <a:lnTo>
                    <a:pt x="715569" y="204292"/>
                  </a:lnTo>
                  <a:lnTo>
                    <a:pt x="715569" y="204990"/>
                  </a:lnTo>
                  <a:lnTo>
                    <a:pt x="715569" y="204292"/>
                  </a:lnTo>
                  <a:lnTo>
                    <a:pt x="715569" y="204990"/>
                  </a:lnTo>
                  <a:lnTo>
                    <a:pt x="715620" y="204990"/>
                  </a:lnTo>
                  <a:lnTo>
                    <a:pt x="715620" y="206324"/>
                  </a:lnTo>
                  <a:lnTo>
                    <a:pt x="715620" y="204990"/>
                  </a:lnTo>
                  <a:lnTo>
                    <a:pt x="715620" y="206324"/>
                  </a:lnTo>
                  <a:lnTo>
                    <a:pt x="715620" y="204990"/>
                  </a:lnTo>
                  <a:lnTo>
                    <a:pt x="715772" y="204990"/>
                  </a:lnTo>
                  <a:lnTo>
                    <a:pt x="715772" y="203594"/>
                  </a:lnTo>
                  <a:lnTo>
                    <a:pt x="715823" y="203594"/>
                  </a:lnTo>
                  <a:lnTo>
                    <a:pt x="715823" y="202260"/>
                  </a:lnTo>
                  <a:lnTo>
                    <a:pt x="715823" y="203594"/>
                  </a:lnTo>
                  <a:lnTo>
                    <a:pt x="715925" y="203594"/>
                  </a:lnTo>
                  <a:lnTo>
                    <a:pt x="715925" y="200876"/>
                  </a:lnTo>
                  <a:lnTo>
                    <a:pt x="715925" y="203594"/>
                  </a:lnTo>
                  <a:lnTo>
                    <a:pt x="715963" y="203594"/>
                  </a:lnTo>
                  <a:lnTo>
                    <a:pt x="715963" y="202959"/>
                  </a:lnTo>
                  <a:lnTo>
                    <a:pt x="715963" y="203594"/>
                  </a:lnTo>
                  <a:lnTo>
                    <a:pt x="716014" y="204292"/>
                  </a:lnTo>
                  <a:lnTo>
                    <a:pt x="716014" y="203594"/>
                  </a:lnTo>
                  <a:lnTo>
                    <a:pt x="716014" y="204292"/>
                  </a:lnTo>
                  <a:lnTo>
                    <a:pt x="716014" y="203594"/>
                  </a:lnTo>
                  <a:lnTo>
                    <a:pt x="716014" y="204292"/>
                  </a:lnTo>
                  <a:lnTo>
                    <a:pt x="716014" y="203594"/>
                  </a:lnTo>
                  <a:lnTo>
                    <a:pt x="716065" y="204292"/>
                  </a:lnTo>
                  <a:lnTo>
                    <a:pt x="716065" y="203594"/>
                  </a:lnTo>
                  <a:lnTo>
                    <a:pt x="716065" y="204292"/>
                  </a:lnTo>
                  <a:lnTo>
                    <a:pt x="716065" y="203594"/>
                  </a:lnTo>
                  <a:lnTo>
                    <a:pt x="716065" y="204292"/>
                  </a:lnTo>
                  <a:lnTo>
                    <a:pt x="716065" y="203594"/>
                  </a:lnTo>
                  <a:lnTo>
                    <a:pt x="716065" y="204292"/>
                  </a:lnTo>
                  <a:lnTo>
                    <a:pt x="716065" y="203594"/>
                  </a:lnTo>
                  <a:lnTo>
                    <a:pt x="716166" y="203594"/>
                  </a:lnTo>
                  <a:lnTo>
                    <a:pt x="716166" y="204292"/>
                  </a:lnTo>
                  <a:lnTo>
                    <a:pt x="716166" y="203594"/>
                  </a:lnTo>
                  <a:lnTo>
                    <a:pt x="716166" y="204292"/>
                  </a:lnTo>
                  <a:lnTo>
                    <a:pt x="716166" y="203594"/>
                  </a:lnTo>
                  <a:lnTo>
                    <a:pt x="716166" y="204292"/>
                  </a:lnTo>
                  <a:lnTo>
                    <a:pt x="716166" y="203594"/>
                  </a:lnTo>
                  <a:lnTo>
                    <a:pt x="716217" y="203594"/>
                  </a:lnTo>
                  <a:lnTo>
                    <a:pt x="716217" y="204292"/>
                  </a:lnTo>
                  <a:lnTo>
                    <a:pt x="716217" y="203594"/>
                  </a:lnTo>
                  <a:lnTo>
                    <a:pt x="716217" y="204292"/>
                  </a:lnTo>
                  <a:lnTo>
                    <a:pt x="716217" y="203594"/>
                  </a:lnTo>
                  <a:lnTo>
                    <a:pt x="716268" y="203594"/>
                  </a:lnTo>
                  <a:lnTo>
                    <a:pt x="716268" y="204292"/>
                  </a:lnTo>
                  <a:lnTo>
                    <a:pt x="716268" y="203594"/>
                  </a:lnTo>
                  <a:lnTo>
                    <a:pt x="716268" y="204292"/>
                  </a:lnTo>
                  <a:lnTo>
                    <a:pt x="716268" y="202959"/>
                  </a:lnTo>
                  <a:lnTo>
                    <a:pt x="716369" y="202959"/>
                  </a:lnTo>
                  <a:lnTo>
                    <a:pt x="716369" y="204990"/>
                  </a:lnTo>
                  <a:lnTo>
                    <a:pt x="716369" y="202959"/>
                  </a:lnTo>
                  <a:lnTo>
                    <a:pt x="716369" y="204292"/>
                  </a:lnTo>
                  <a:lnTo>
                    <a:pt x="716420" y="204990"/>
                  </a:lnTo>
                  <a:lnTo>
                    <a:pt x="716420" y="207022"/>
                  </a:lnTo>
                  <a:lnTo>
                    <a:pt x="716420" y="204292"/>
                  </a:lnTo>
                  <a:lnTo>
                    <a:pt x="716420" y="206324"/>
                  </a:lnTo>
                  <a:lnTo>
                    <a:pt x="716471" y="206324"/>
                  </a:lnTo>
                  <a:lnTo>
                    <a:pt x="716471" y="207022"/>
                  </a:lnTo>
                  <a:lnTo>
                    <a:pt x="716471" y="204990"/>
                  </a:lnTo>
                  <a:lnTo>
                    <a:pt x="716471" y="206324"/>
                  </a:lnTo>
                  <a:lnTo>
                    <a:pt x="716509" y="206324"/>
                  </a:lnTo>
                  <a:lnTo>
                    <a:pt x="716509" y="204990"/>
                  </a:lnTo>
                  <a:lnTo>
                    <a:pt x="716509" y="206324"/>
                  </a:lnTo>
                  <a:lnTo>
                    <a:pt x="716509" y="204990"/>
                  </a:lnTo>
                  <a:lnTo>
                    <a:pt x="716611" y="204990"/>
                  </a:lnTo>
                  <a:lnTo>
                    <a:pt x="716611" y="206324"/>
                  </a:lnTo>
                  <a:lnTo>
                    <a:pt x="716611" y="204990"/>
                  </a:lnTo>
                  <a:lnTo>
                    <a:pt x="716611" y="206324"/>
                  </a:lnTo>
                  <a:lnTo>
                    <a:pt x="716611" y="204990"/>
                  </a:lnTo>
                  <a:lnTo>
                    <a:pt x="716611" y="206324"/>
                  </a:lnTo>
                  <a:lnTo>
                    <a:pt x="716611" y="204990"/>
                  </a:lnTo>
                  <a:lnTo>
                    <a:pt x="716611" y="206324"/>
                  </a:lnTo>
                  <a:lnTo>
                    <a:pt x="716662" y="204990"/>
                  </a:lnTo>
                  <a:lnTo>
                    <a:pt x="716662" y="204292"/>
                  </a:lnTo>
                  <a:lnTo>
                    <a:pt x="716662" y="206324"/>
                  </a:lnTo>
                  <a:lnTo>
                    <a:pt x="716662" y="204292"/>
                  </a:lnTo>
                  <a:lnTo>
                    <a:pt x="716814" y="204292"/>
                  </a:lnTo>
                  <a:lnTo>
                    <a:pt x="716814" y="202959"/>
                  </a:lnTo>
                  <a:lnTo>
                    <a:pt x="716814" y="204292"/>
                  </a:lnTo>
                  <a:lnTo>
                    <a:pt x="716865" y="204292"/>
                  </a:lnTo>
                  <a:lnTo>
                    <a:pt x="716865" y="204990"/>
                  </a:lnTo>
                  <a:lnTo>
                    <a:pt x="716865" y="203594"/>
                  </a:lnTo>
                  <a:lnTo>
                    <a:pt x="716865" y="206324"/>
                  </a:lnTo>
                  <a:lnTo>
                    <a:pt x="716916" y="206324"/>
                  </a:lnTo>
                  <a:lnTo>
                    <a:pt x="716916" y="204292"/>
                  </a:lnTo>
                  <a:lnTo>
                    <a:pt x="716916" y="204990"/>
                  </a:lnTo>
                  <a:lnTo>
                    <a:pt x="716916" y="204292"/>
                  </a:lnTo>
                  <a:lnTo>
                    <a:pt x="716916" y="207022"/>
                  </a:lnTo>
                  <a:lnTo>
                    <a:pt x="716916" y="206324"/>
                  </a:lnTo>
                  <a:lnTo>
                    <a:pt x="716966" y="206324"/>
                  </a:lnTo>
                  <a:lnTo>
                    <a:pt x="716966" y="204990"/>
                  </a:lnTo>
                  <a:lnTo>
                    <a:pt x="716966" y="207022"/>
                  </a:lnTo>
                  <a:lnTo>
                    <a:pt x="716966" y="206324"/>
                  </a:lnTo>
                  <a:lnTo>
                    <a:pt x="717055" y="206324"/>
                  </a:lnTo>
                  <a:lnTo>
                    <a:pt x="717055" y="207022"/>
                  </a:lnTo>
                  <a:lnTo>
                    <a:pt x="717055" y="206324"/>
                  </a:lnTo>
                  <a:lnTo>
                    <a:pt x="717055" y="207022"/>
                  </a:lnTo>
                  <a:lnTo>
                    <a:pt x="717055" y="206324"/>
                  </a:lnTo>
                  <a:lnTo>
                    <a:pt x="717055" y="207022"/>
                  </a:lnTo>
                  <a:lnTo>
                    <a:pt x="717055" y="206324"/>
                  </a:lnTo>
                  <a:lnTo>
                    <a:pt x="717106" y="206324"/>
                  </a:lnTo>
                  <a:lnTo>
                    <a:pt x="717106" y="207022"/>
                  </a:lnTo>
                  <a:lnTo>
                    <a:pt x="717106" y="204292"/>
                  </a:lnTo>
                  <a:lnTo>
                    <a:pt x="717157" y="204990"/>
                  </a:lnTo>
                  <a:lnTo>
                    <a:pt x="717157" y="206324"/>
                  </a:lnTo>
                  <a:lnTo>
                    <a:pt x="717157" y="204292"/>
                  </a:lnTo>
                  <a:lnTo>
                    <a:pt x="717208" y="204292"/>
                  </a:lnTo>
                  <a:lnTo>
                    <a:pt x="717208" y="203594"/>
                  </a:lnTo>
                  <a:lnTo>
                    <a:pt x="717208" y="204292"/>
                  </a:lnTo>
                  <a:lnTo>
                    <a:pt x="717208" y="202959"/>
                  </a:lnTo>
                  <a:lnTo>
                    <a:pt x="717309" y="202959"/>
                  </a:lnTo>
                  <a:lnTo>
                    <a:pt x="717309" y="202260"/>
                  </a:lnTo>
                  <a:lnTo>
                    <a:pt x="717309" y="202959"/>
                  </a:lnTo>
                  <a:lnTo>
                    <a:pt x="717309" y="200876"/>
                  </a:lnTo>
                  <a:lnTo>
                    <a:pt x="717309" y="203594"/>
                  </a:lnTo>
                  <a:lnTo>
                    <a:pt x="717360" y="203594"/>
                  </a:lnTo>
                  <a:lnTo>
                    <a:pt x="717360" y="200876"/>
                  </a:lnTo>
                  <a:lnTo>
                    <a:pt x="717360" y="204990"/>
                  </a:lnTo>
                  <a:lnTo>
                    <a:pt x="717360" y="204292"/>
                  </a:lnTo>
                  <a:lnTo>
                    <a:pt x="717411" y="203594"/>
                  </a:lnTo>
                  <a:lnTo>
                    <a:pt x="717411" y="202959"/>
                  </a:lnTo>
                  <a:lnTo>
                    <a:pt x="717411" y="204990"/>
                  </a:lnTo>
                  <a:lnTo>
                    <a:pt x="717411" y="204292"/>
                  </a:lnTo>
                  <a:lnTo>
                    <a:pt x="717512" y="204292"/>
                  </a:lnTo>
                  <a:lnTo>
                    <a:pt x="717512" y="206324"/>
                  </a:lnTo>
                  <a:lnTo>
                    <a:pt x="717512" y="204292"/>
                  </a:lnTo>
                  <a:lnTo>
                    <a:pt x="717551" y="204990"/>
                  </a:lnTo>
                  <a:lnTo>
                    <a:pt x="717551" y="206324"/>
                  </a:lnTo>
                  <a:lnTo>
                    <a:pt x="717551" y="204990"/>
                  </a:lnTo>
                  <a:lnTo>
                    <a:pt x="717551" y="206324"/>
                  </a:lnTo>
                  <a:lnTo>
                    <a:pt x="717551" y="204990"/>
                  </a:lnTo>
                  <a:lnTo>
                    <a:pt x="717601" y="204990"/>
                  </a:lnTo>
                  <a:lnTo>
                    <a:pt x="717601" y="206324"/>
                  </a:lnTo>
                  <a:lnTo>
                    <a:pt x="717601" y="204990"/>
                  </a:lnTo>
                  <a:lnTo>
                    <a:pt x="717652" y="204990"/>
                  </a:lnTo>
                  <a:lnTo>
                    <a:pt x="717652" y="206324"/>
                  </a:lnTo>
                  <a:lnTo>
                    <a:pt x="717652" y="204990"/>
                  </a:lnTo>
                  <a:lnTo>
                    <a:pt x="717754" y="204990"/>
                  </a:lnTo>
                  <a:lnTo>
                    <a:pt x="717754" y="202959"/>
                  </a:lnTo>
                  <a:lnTo>
                    <a:pt x="717805" y="202959"/>
                  </a:lnTo>
                  <a:lnTo>
                    <a:pt x="717805" y="200876"/>
                  </a:lnTo>
                  <a:lnTo>
                    <a:pt x="717805" y="204292"/>
                  </a:lnTo>
                  <a:lnTo>
                    <a:pt x="717805" y="202260"/>
                  </a:lnTo>
                  <a:lnTo>
                    <a:pt x="717855" y="202260"/>
                  </a:lnTo>
                  <a:lnTo>
                    <a:pt x="717855" y="200876"/>
                  </a:lnTo>
                  <a:lnTo>
                    <a:pt x="717855" y="204292"/>
                  </a:lnTo>
                  <a:lnTo>
                    <a:pt x="717855" y="202959"/>
                  </a:lnTo>
                  <a:lnTo>
                    <a:pt x="717957" y="202260"/>
                  </a:lnTo>
                  <a:lnTo>
                    <a:pt x="717957" y="204990"/>
                  </a:lnTo>
                  <a:lnTo>
                    <a:pt x="717957" y="203594"/>
                  </a:lnTo>
                  <a:lnTo>
                    <a:pt x="718008" y="203594"/>
                  </a:lnTo>
                  <a:lnTo>
                    <a:pt x="718008" y="204990"/>
                  </a:lnTo>
                  <a:lnTo>
                    <a:pt x="718008" y="204292"/>
                  </a:lnTo>
                  <a:lnTo>
                    <a:pt x="718008" y="204990"/>
                  </a:lnTo>
                  <a:lnTo>
                    <a:pt x="718008" y="204292"/>
                  </a:lnTo>
                  <a:lnTo>
                    <a:pt x="718008" y="204990"/>
                  </a:lnTo>
                  <a:lnTo>
                    <a:pt x="718058" y="204990"/>
                  </a:lnTo>
                  <a:lnTo>
                    <a:pt x="718058" y="206324"/>
                  </a:lnTo>
                  <a:lnTo>
                    <a:pt x="718058" y="204292"/>
                  </a:lnTo>
                  <a:lnTo>
                    <a:pt x="718058" y="206324"/>
                  </a:lnTo>
                  <a:lnTo>
                    <a:pt x="718058" y="204990"/>
                  </a:lnTo>
                  <a:lnTo>
                    <a:pt x="718097" y="206324"/>
                  </a:lnTo>
                  <a:lnTo>
                    <a:pt x="718097" y="204292"/>
                  </a:lnTo>
                  <a:lnTo>
                    <a:pt x="718097" y="204990"/>
                  </a:lnTo>
                  <a:lnTo>
                    <a:pt x="718198" y="204990"/>
                  </a:lnTo>
                  <a:lnTo>
                    <a:pt x="718198" y="204292"/>
                  </a:lnTo>
                  <a:lnTo>
                    <a:pt x="718198" y="204990"/>
                  </a:lnTo>
                  <a:lnTo>
                    <a:pt x="718198" y="204292"/>
                  </a:lnTo>
                  <a:lnTo>
                    <a:pt x="718198" y="204990"/>
                  </a:lnTo>
                  <a:lnTo>
                    <a:pt x="718198" y="204292"/>
                  </a:lnTo>
                  <a:lnTo>
                    <a:pt x="718249" y="204292"/>
                  </a:lnTo>
                  <a:lnTo>
                    <a:pt x="718249" y="202959"/>
                  </a:lnTo>
                  <a:lnTo>
                    <a:pt x="718249" y="203594"/>
                  </a:lnTo>
                  <a:lnTo>
                    <a:pt x="718249" y="202959"/>
                  </a:lnTo>
                  <a:lnTo>
                    <a:pt x="718249" y="203594"/>
                  </a:lnTo>
                  <a:lnTo>
                    <a:pt x="718249" y="202959"/>
                  </a:lnTo>
                  <a:lnTo>
                    <a:pt x="718300" y="202959"/>
                  </a:lnTo>
                  <a:lnTo>
                    <a:pt x="718300" y="200876"/>
                  </a:lnTo>
                  <a:lnTo>
                    <a:pt x="718300" y="202959"/>
                  </a:lnTo>
                  <a:lnTo>
                    <a:pt x="718300" y="202260"/>
                  </a:lnTo>
                  <a:lnTo>
                    <a:pt x="718401" y="202959"/>
                  </a:lnTo>
                  <a:lnTo>
                    <a:pt x="718401" y="203594"/>
                  </a:lnTo>
                  <a:lnTo>
                    <a:pt x="718401" y="202959"/>
                  </a:lnTo>
                  <a:lnTo>
                    <a:pt x="718401" y="204292"/>
                  </a:lnTo>
                  <a:lnTo>
                    <a:pt x="718401" y="202959"/>
                  </a:lnTo>
                  <a:lnTo>
                    <a:pt x="718452" y="202959"/>
                  </a:lnTo>
                  <a:lnTo>
                    <a:pt x="718452" y="204292"/>
                  </a:lnTo>
                  <a:lnTo>
                    <a:pt x="718452" y="203594"/>
                  </a:lnTo>
                  <a:lnTo>
                    <a:pt x="718452" y="204292"/>
                  </a:lnTo>
                  <a:lnTo>
                    <a:pt x="718452" y="203594"/>
                  </a:lnTo>
                  <a:lnTo>
                    <a:pt x="718503" y="203594"/>
                  </a:lnTo>
                  <a:lnTo>
                    <a:pt x="718503" y="204990"/>
                  </a:lnTo>
                  <a:lnTo>
                    <a:pt x="718503" y="204292"/>
                  </a:lnTo>
                  <a:lnTo>
                    <a:pt x="718554" y="204292"/>
                  </a:lnTo>
                  <a:lnTo>
                    <a:pt x="718554" y="204990"/>
                  </a:lnTo>
                  <a:lnTo>
                    <a:pt x="718554" y="204292"/>
                  </a:lnTo>
                  <a:lnTo>
                    <a:pt x="718554" y="204990"/>
                  </a:lnTo>
                  <a:lnTo>
                    <a:pt x="718554" y="204292"/>
                  </a:lnTo>
                  <a:lnTo>
                    <a:pt x="718554" y="204990"/>
                  </a:lnTo>
                  <a:lnTo>
                    <a:pt x="718643" y="204990"/>
                  </a:lnTo>
                  <a:lnTo>
                    <a:pt x="718643" y="204292"/>
                  </a:lnTo>
                  <a:lnTo>
                    <a:pt x="718643" y="204990"/>
                  </a:lnTo>
                  <a:lnTo>
                    <a:pt x="718643" y="204292"/>
                  </a:lnTo>
                  <a:lnTo>
                    <a:pt x="718643" y="204990"/>
                  </a:lnTo>
                  <a:lnTo>
                    <a:pt x="718693" y="204990"/>
                  </a:lnTo>
                  <a:lnTo>
                    <a:pt x="718693" y="204292"/>
                  </a:lnTo>
                  <a:lnTo>
                    <a:pt x="718693" y="204990"/>
                  </a:lnTo>
                  <a:lnTo>
                    <a:pt x="718693" y="204292"/>
                  </a:lnTo>
                  <a:lnTo>
                    <a:pt x="718693" y="204990"/>
                  </a:lnTo>
                  <a:lnTo>
                    <a:pt x="718693" y="204292"/>
                  </a:lnTo>
                  <a:lnTo>
                    <a:pt x="718744" y="204292"/>
                  </a:lnTo>
                  <a:lnTo>
                    <a:pt x="718744" y="203594"/>
                  </a:lnTo>
                  <a:lnTo>
                    <a:pt x="718744" y="204292"/>
                  </a:lnTo>
                  <a:lnTo>
                    <a:pt x="718744" y="202959"/>
                  </a:lnTo>
                  <a:lnTo>
                    <a:pt x="718795" y="202959"/>
                  </a:lnTo>
                  <a:lnTo>
                    <a:pt x="718795" y="204292"/>
                  </a:lnTo>
                  <a:lnTo>
                    <a:pt x="718795" y="202260"/>
                  </a:lnTo>
                  <a:lnTo>
                    <a:pt x="718795" y="204292"/>
                  </a:lnTo>
                  <a:lnTo>
                    <a:pt x="718897" y="204990"/>
                  </a:lnTo>
                  <a:lnTo>
                    <a:pt x="718897" y="202959"/>
                  </a:lnTo>
                  <a:lnTo>
                    <a:pt x="718897" y="204292"/>
                  </a:lnTo>
                  <a:lnTo>
                    <a:pt x="718947" y="204292"/>
                  </a:lnTo>
                  <a:lnTo>
                    <a:pt x="718947" y="203594"/>
                  </a:lnTo>
                  <a:lnTo>
                    <a:pt x="718947" y="204292"/>
                  </a:lnTo>
                  <a:lnTo>
                    <a:pt x="718947" y="203594"/>
                  </a:lnTo>
                  <a:lnTo>
                    <a:pt x="718947" y="204292"/>
                  </a:lnTo>
                  <a:lnTo>
                    <a:pt x="718998" y="204292"/>
                  </a:lnTo>
                  <a:lnTo>
                    <a:pt x="718998" y="203594"/>
                  </a:lnTo>
                  <a:lnTo>
                    <a:pt x="718998" y="204292"/>
                  </a:lnTo>
                  <a:lnTo>
                    <a:pt x="718998" y="203594"/>
                  </a:lnTo>
                  <a:lnTo>
                    <a:pt x="718998" y="204292"/>
                  </a:lnTo>
                  <a:lnTo>
                    <a:pt x="719100" y="204292"/>
                  </a:lnTo>
                  <a:lnTo>
                    <a:pt x="719100" y="203594"/>
                  </a:lnTo>
                  <a:lnTo>
                    <a:pt x="719100" y="204292"/>
                  </a:lnTo>
                  <a:lnTo>
                    <a:pt x="719100" y="203594"/>
                  </a:lnTo>
                  <a:lnTo>
                    <a:pt x="719100" y="204990"/>
                  </a:lnTo>
                  <a:lnTo>
                    <a:pt x="719100" y="204292"/>
                  </a:lnTo>
                  <a:lnTo>
                    <a:pt x="719138" y="204292"/>
                  </a:lnTo>
                  <a:lnTo>
                    <a:pt x="719138" y="204990"/>
                  </a:lnTo>
                  <a:lnTo>
                    <a:pt x="719138" y="204292"/>
                  </a:lnTo>
                  <a:lnTo>
                    <a:pt x="719189" y="204292"/>
                  </a:lnTo>
                  <a:lnTo>
                    <a:pt x="719189" y="203594"/>
                  </a:lnTo>
                  <a:lnTo>
                    <a:pt x="719189" y="204292"/>
                  </a:lnTo>
                  <a:lnTo>
                    <a:pt x="719189" y="203594"/>
                  </a:lnTo>
                  <a:lnTo>
                    <a:pt x="719240" y="203594"/>
                  </a:lnTo>
                  <a:lnTo>
                    <a:pt x="719240" y="202260"/>
                  </a:lnTo>
                  <a:lnTo>
                    <a:pt x="719240" y="204292"/>
                  </a:lnTo>
                  <a:lnTo>
                    <a:pt x="719240" y="203594"/>
                  </a:lnTo>
                  <a:lnTo>
                    <a:pt x="719341" y="203594"/>
                  </a:lnTo>
                  <a:lnTo>
                    <a:pt x="719341" y="202959"/>
                  </a:lnTo>
                  <a:lnTo>
                    <a:pt x="719341" y="207022"/>
                  </a:lnTo>
                  <a:lnTo>
                    <a:pt x="719341" y="204990"/>
                  </a:lnTo>
                  <a:lnTo>
                    <a:pt x="719392" y="204990"/>
                  </a:lnTo>
                  <a:lnTo>
                    <a:pt x="719392" y="204292"/>
                  </a:lnTo>
                  <a:lnTo>
                    <a:pt x="719392" y="207022"/>
                  </a:lnTo>
                  <a:lnTo>
                    <a:pt x="719392" y="204990"/>
                  </a:lnTo>
                  <a:lnTo>
                    <a:pt x="719443" y="204990"/>
                  </a:lnTo>
                  <a:lnTo>
                    <a:pt x="719443" y="204292"/>
                  </a:lnTo>
                  <a:lnTo>
                    <a:pt x="719443" y="206324"/>
                  </a:lnTo>
                  <a:lnTo>
                    <a:pt x="719443" y="204990"/>
                  </a:lnTo>
                  <a:lnTo>
                    <a:pt x="719443" y="206324"/>
                  </a:lnTo>
                  <a:lnTo>
                    <a:pt x="719443" y="204990"/>
                  </a:lnTo>
                  <a:lnTo>
                    <a:pt x="719544" y="204990"/>
                  </a:lnTo>
                  <a:lnTo>
                    <a:pt x="719544" y="206324"/>
                  </a:lnTo>
                  <a:lnTo>
                    <a:pt x="719544" y="204990"/>
                  </a:lnTo>
                  <a:lnTo>
                    <a:pt x="719544" y="206324"/>
                  </a:lnTo>
                  <a:lnTo>
                    <a:pt x="719544" y="204990"/>
                  </a:lnTo>
                  <a:lnTo>
                    <a:pt x="719544" y="206324"/>
                  </a:lnTo>
                  <a:lnTo>
                    <a:pt x="719544" y="204990"/>
                  </a:lnTo>
                  <a:lnTo>
                    <a:pt x="719595" y="204990"/>
                  </a:lnTo>
                  <a:lnTo>
                    <a:pt x="719595" y="206324"/>
                  </a:lnTo>
                  <a:lnTo>
                    <a:pt x="719595" y="204292"/>
                  </a:lnTo>
                  <a:lnTo>
                    <a:pt x="719595" y="206324"/>
                  </a:lnTo>
                  <a:lnTo>
                    <a:pt x="719646" y="206324"/>
                  </a:lnTo>
                  <a:lnTo>
                    <a:pt x="719646" y="204292"/>
                  </a:lnTo>
                  <a:lnTo>
                    <a:pt x="719684" y="204292"/>
                  </a:lnTo>
                  <a:lnTo>
                    <a:pt x="719684" y="203594"/>
                  </a:lnTo>
                  <a:lnTo>
                    <a:pt x="719684" y="204292"/>
                  </a:lnTo>
                  <a:lnTo>
                    <a:pt x="719684" y="202959"/>
                  </a:lnTo>
                  <a:lnTo>
                    <a:pt x="719786" y="203594"/>
                  </a:lnTo>
                  <a:lnTo>
                    <a:pt x="719786" y="204990"/>
                  </a:lnTo>
                  <a:lnTo>
                    <a:pt x="719786" y="202959"/>
                  </a:lnTo>
                  <a:lnTo>
                    <a:pt x="719837" y="203594"/>
                  </a:lnTo>
                  <a:lnTo>
                    <a:pt x="719837" y="206324"/>
                  </a:lnTo>
                  <a:lnTo>
                    <a:pt x="719837" y="204292"/>
                  </a:lnTo>
                  <a:lnTo>
                    <a:pt x="719837" y="206324"/>
                  </a:lnTo>
                  <a:lnTo>
                    <a:pt x="719887" y="206324"/>
                  </a:lnTo>
                  <a:lnTo>
                    <a:pt x="719887" y="204990"/>
                  </a:lnTo>
                  <a:lnTo>
                    <a:pt x="719887" y="207022"/>
                  </a:lnTo>
                  <a:lnTo>
                    <a:pt x="719887" y="204990"/>
                  </a:lnTo>
                  <a:lnTo>
                    <a:pt x="719887" y="206324"/>
                  </a:lnTo>
                  <a:lnTo>
                    <a:pt x="719887" y="204990"/>
                  </a:lnTo>
                  <a:lnTo>
                    <a:pt x="719887" y="206324"/>
                  </a:lnTo>
                  <a:lnTo>
                    <a:pt x="719989" y="206324"/>
                  </a:lnTo>
                  <a:lnTo>
                    <a:pt x="719989" y="207022"/>
                  </a:lnTo>
                  <a:lnTo>
                    <a:pt x="719989" y="204990"/>
                  </a:lnTo>
                  <a:lnTo>
                    <a:pt x="719989" y="206324"/>
                  </a:lnTo>
                  <a:lnTo>
                    <a:pt x="720040" y="206324"/>
                  </a:lnTo>
                  <a:lnTo>
                    <a:pt x="720040" y="207022"/>
                  </a:lnTo>
                  <a:lnTo>
                    <a:pt x="720040" y="206324"/>
                  </a:lnTo>
                  <a:lnTo>
                    <a:pt x="720040" y="207022"/>
                  </a:lnTo>
                  <a:lnTo>
                    <a:pt x="720040" y="206324"/>
                  </a:lnTo>
                  <a:lnTo>
                    <a:pt x="720091" y="206324"/>
                  </a:lnTo>
                  <a:lnTo>
                    <a:pt x="720091" y="204990"/>
                  </a:lnTo>
                  <a:lnTo>
                    <a:pt x="720091" y="206324"/>
                  </a:lnTo>
                  <a:lnTo>
                    <a:pt x="720091" y="204990"/>
                  </a:lnTo>
                  <a:lnTo>
                    <a:pt x="720091" y="206324"/>
                  </a:lnTo>
                  <a:lnTo>
                    <a:pt x="720091" y="204990"/>
                  </a:lnTo>
                  <a:lnTo>
                    <a:pt x="720141" y="204990"/>
                  </a:lnTo>
                  <a:lnTo>
                    <a:pt x="720141" y="203594"/>
                  </a:lnTo>
                  <a:lnTo>
                    <a:pt x="720141" y="204292"/>
                  </a:lnTo>
                  <a:lnTo>
                    <a:pt x="720141" y="203594"/>
                  </a:lnTo>
                  <a:lnTo>
                    <a:pt x="720230" y="203594"/>
                  </a:lnTo>
                  <a:lnTo>
                    <a:pt x="720230" y="202959"/>
                  </a:lnTo>
                  <a:lnTo>
                    <a:pt x="720230" y="203594"/>
                  </a:lnTo>
                  <a:lnTo>
                    <a:pt x="720230" y="202959"/>
                  </a:lnTo>
                  <a:lnTo>
                    <a:pt x="720230" y="203594"/>
                  </a:lnTo>
                  <a:lnTo>
                    <a:pt x="720230" y="200876"/>
                  </a:lnTo>
                  <a:lnTo>
                    <a:pt x="720230" y="202959"/>
                  </a:lnTo>
                  <a:lnTo>
                    <a:pt x="720281" y="202959"/>
                  </a:lnTo>
                  <a:lnTo>
                    <a:pt x="720281" y="203594"/>
                  </a:lnTo>
                  <a:lnTo>
                    <a:pt x="720281" y="202959"/>
                  </a:lnTo>
                  <a:lnTo>
                    <a:pt x="720281" y="203594"/>
                  </a:lnTo>
                  <a:lnTo>
                    <a:pt x="720281" y="202959"/>
                  </a:lnTo>
                  <a:lnTo>
                    <a:pt x="720281" y="203594"/>
                  </a:lnTo>
                  <a:lnTo>
                    <a:pt x="720281" y="202959"/>
                  </a:lnTo>
                  <a:lnTo>
                    <a:pt x="720281" y="204292"/>
                  </a:lnTo>
                  <a:lnTo>
                    <a:pt x="720332" y="204292"/>
                  </a:lnTo>
                  <a:lnTo>
                    <a:pt x="720332" y="204990"/>
                  </a:lnTo>
                  <a:lnTo>
                    <a:pt x="720332" y="203594"/>
                  </a:lnTo>
                  <a:lnTo>
                    <a:pt x="720332" y="204990"/>
                  </a:lnTo>
                  <a:lnTo>
                    <a:pt x="720383" y="204990"/>
                  </a:lnTo>
                  <a:lnTo>
                    <a:pt x="720383" y="204292"/>
                  </a:lnTo>
                  <a:lnTo>
                    <a:pt x="720383" y="204990"/>
                  </a:lnTo>
                  <a:lnTo>
                    <a:pt x="720383" y="204292"/>
                  </a:lnTo>
                  <a:lnTo>
                    <a:pt x="720383" y="204990"/>
                  </a:lnTo>
                  <a:lnTo>
                    <a:pt x="720383" y="204292"/>
                  </a:lnTo>
                  <a:lnTo>
                    <a:pt x="720383" y="204990"/>
                  </a:lnTo>
                  <a:lnTo>
                    <a:pt x="720484" y="206324"/>
                  </a:lnTo>
                  <a:lnTo>
                    <a:pt x="720484" y="204990"/>
                  </a:lnTo>
                  <a:lnTo>
                    <a:pt x="720484" y="206324"/>
                  </a:lnTo>
                  <a:lnTo>
                    <a:pt x="720484" y="204990"/>
                  </a:lnTo>
                  <a:lnTo>
                    <a:pt x="720484" y="206324"/>
                  </a:lnTo>
                  <a:lnTo>
                    <a:pt x="720484" y="204990"/>
                  </a:lnTo>
                  <a:lnTo>
                    <a:pt x="720484" y="206324"/>
                  </a:lnTo>
                  <a:lnTo>
                    <a:pt x="720535" y="206324"/>
                  </a:lnTo>
                  <a:lnTo>
                    <a:pt x="720535" y="204990"/>
                  </a:lnTo>
                  <a:lnTo>
                    <a:pt x="720535" y="206324"/>
                  </a:lnTo>
                  <a:lnTo>
                    <a:pt x="720535" y="204990"/>
                  </a:lnTo>
                  <a:lnTo>
                    <a:pt x="720586" y="206324"/>
                  </a:lnTo>
                  <a:lnTo>
                    <a:pt x="720586" y="204292"/>
                  </a:lnTo>
                  <a:lnTo>
                    <a:pt x="720586" y="204990"/>
                  </a:lnTo>
                  <a:lnTo>
                    <a:pt x="720586" y="204292"/>
                  </a:lnTo>
                  <a:lnTo>
                    <a:pt x="720687" y="204292"/>
                  </a:lnTo>
                  <a:lnTo>
                    <a:pt x="720687" y="204990"/>
                  </a:lnTo>
                  <a:lnTo>
                    <a:pt x="720687" y="203594"/>
                  </a:lnTo>
                  <a:lnTo>
                    <a:pt x="720726" y="202959"/>
                  </a:lnTo>
                  <a:lnTo>
                    <a:pt x="720726" y="202260"/>
                  </a:lnTo>
                  <a:lnTo>
                    <a:pt x="720726" y="202959"/>
                  </a:lnTo>
                  <a:lnTo>
                    <a:pt x="720726" y="200876"/>
                  </a:lnTo>
                  <a:lnTo>
                    <a:pt x="720726" y="202959"/>
                  </a:lnTo>
                  <a:lnTo>
                    <a:pt x="720776" y="202959"/>
                  </a:lnTo>
                  <a:lnTo>
                    <a:pt x="720776" y="203594"/>
                  </a:lnTo>
                  <a:lnTo>
                    <a:pt x="720776" y="202260"/>
                  </a:lnTo>
                  <a:lnTo>
                    <a:pt x="720776" y="204292"/>
                  </a:lnTo>
                  <a:lnTo>
                    <a:pt x="720827" y="204292"/>
                  </a:lnTo>
                  <a:lnTo>
                    <a:pt x="720827" y="202959"/>
                  </a:lnTo>
                  <a:lnTo>
                    <a:pt x="720827" y="204990"/>
                  </a:lnTo>
                  <a:lnTo>
                    <a:pt x="720827" y="204292"/>
                  </a:lnTo>
                  <a:lnTo>
                    <a:pt x="720929" y="204292"/>
                  </a:lnTo>
                  <a:lnTo>
                    <a:pt x="720929" y="203594"/>
                  </a:lnTo>
                  <a:lnTo>
                    <a:pt x="720929" y="204292"/>
                  </a:lnTo>
                  <a:lnTo>
                    <a:pt x="720929" y="203594"/>
                  </a:lnTo>
                  <a:lnTo>
                    <a:pt x="720929" y="204990"/>
                  </a:lnTo>
                  <a:lnTo>
                    <a:pt x="720929" y="204292"/>
                  </a:lnTo>
                  <a:lnTo>
                    <a:pt x="720980" y="204292"/>
                  </a:lnTo>
                  <a:lnTo>
                    <a:pt x="720980" y="203594"/>
                  </a:lnTo>
                  <a:lnTo>
                    <a:pt x="720980" y="204990"/>
                  </a:lnTo>
                  <a:lnTo>
                    <a:pt x="720980" y="204292"/>
                  </a:lnTo>
                  <a:lnTo>
                    <a:pt x="720980" y="204990"/>
                  </a:lnTo>
                  <a:lnTo>
                    <a:pt x="721030" y="204990"/>
                  </a:lnTo>
                  <a:lnTo>
                    <a:pt x="721030" y="204292"/>
                  </a:lnTo>
                  <a:lnTo>
                    <a:pt x="721030" y="206324"/>
                  </a:lnTo>
                  <a:lnTo>
                    <a:pt x="721132" y="206324"/>
                  </a:lnTo>
                  <a:lnTo>
                    <a:pt x="721132" y="204292"/>
                  </a:lnTo>
                  <a:lnTo>
                    <a:pt x="721132" y="204990"/>
                  </a:lnTo>
                  <a:lnTo>
                    <a:pt x="721132" y="204292"/>
                  </a:lnTo>
                  <a:lnTo>
                    <a:pt x="721183" y="204292"/>
                  </a:lnTo>
                  <a:lnTo>
                    <a:pt x="721183" y="202959"/>
                  </a:lnTo>
                  <a:lnTo>
                    <a:pt x="721233" y="202959"/>
                  </a:lnTo>
                  <a:lnTo>
                    <a:pt x="721233" y="200876"/>
                  </a:lnTo>
                  <a:lnTo>
                    <a:pt x="721233" y="202260"/>
                  </a:lnTo>
                  <a:lnTo>
                    <a:pt x="721233" y="200876"/>
                  </a:lnTo>
                  <a:lnTo>
                    <a:pt x="721233" y="202260"/>
                  </a:lnTo>
                  <a:lnTo>
                    <a:pt x="721272" y="202260"/>
                  </a:lnTo>
                  <a:lnTo>
                    <a:pt x="721272" y="200876"/>
                  </a:lnTo>
                  <a:lnTo>
                    <a:pt x="721272" y="202260"/>
                  </a:lnTo>
                  <a:lnTo>
                    <a:pt x="721272" y="200876"/>
                  </a:lnTo>
                  <a:lnTo>
                    <a:pt x="721272" y="202260"/>
                  </a:lnTo>
                  <a:lnTo>
                    <a:pt x="721272" y="200228"/>
                  </a:lnTo>
                  <a:lnTo>
                    <a:pt x="721272" y="203594"/>
                  </a:lnTo>
                  <a:lnTo>
                    <a:pt x="721272" y="202959"/>
                  </a:lnTo>
                  <a:lnTo>
                    <a:pt x="721373" y="202959"/>
                  </a:lnTo>
                  <a:lnTo>
                    <a:pt x="721373" y="203594"/>
                  </a:lnTo>
                  <a:lnTo>
                    <a:pt x="721373" y="202260"/>
                  </a:lnTo>
                  <a:lnTo>
                    <a:pt x="721373" y="202959"/>
                  </a:lnTo>
                  <a:lnTo>
                    <a:pt x="721373" y="202260"/>
                  </a:lnTo>
                  <a:lnTo>
                    <a:pt x="721373" y="203594"/>
                  </a:lnTo>
                  <a:lnTo>
                    <a:pt x="721424" y="203594"/>
                  </a:lnTo>
                  <a:lnTo>
                    <a:pt x="721424" y="202959"/>
                  </a:lnTo>
                  <a:lnTo>
                    <a:pt x="721424" y="203594"/>
                  </a:lnTo>
                  <a:lnTo>
                    <a:pt x="721424" y="202959"/>
                  </a:lnTo>
                  <a:lnTo>
                    <a:pt x="721424" y="204292"/>
                  </a:lnTo>
                  <a:lnTo>
                    <a:pt x="721424" y="203594"/>
                  </a:lnTo>
                  <a:lnTo>
                    <a:pt x="721475" y="203594"/>
                  </a:lnTo>
                  <a:lnTo>
                    <a:pt x="721475" y="204292"/>
                  </a:lnTo>
                  <a:lnTo>
                    <a:pt x="721475" y="203594"/>
                  </a:lnTo>
                  <a:lnTo>
                    <a:pt x="721475" y="204292"/>
                  </a:lnTo>
                  <a:lnTo>
                    <a:pt x="721576" y="204292"/>
                  </a:lnTo>
                  <a:lnTo>
                    <a:pt x="721576" y="203594"/>
                  </a:lnTo>
                  <a:lnTo>
                    <a:pt x="721576" y="204292"/>
                  </a:lnTo>
                  <a:lnTo>
                    <a:pt x="721576" y="203594"/>
                  </a:lnTo>
                  <a:lnTo>
                    <a:pt x="721576" y="204990"/>
                  </a:lnTo>
                  <a:lnTo>
                    <a:pt x="721576" y="204292"/>
                  </a:lnTo>
                  <a:lnTo>
                    <a:pt x="721576" y="204990"/>
                  </a:lnTo>
                  <a:lnTo>
                    <a:pt x="721576" y="204292"/>
                  </a:lnTo>
                  <a:lnTo>
                    <a:pt x="721576" y="204990"/>
                  </a:lnTo>
                  <a:lnTo>
                    <a:pt x="721627" y="204990"/>
                  </a:lnTo>
                  <a:lnTo>
                    <a:pt x="721627" y="204292"/>
                  </a:lnTo>
                  <a:lnTo>
                    <a:pt x="721627" y="204990"/>
                  </a:lnTo>
                  <a:lnTo>
                    <a:pt x="721627" y="204292"/>
                  </a:lnTo>
                  <a:lnTo>
                    <a:pt x="721627" y="204990"/>
                  </a:lnTo>
                  <a:lnTo>
                    <a:pt x="721627" y="204292"/>
                  </a:lnTo>
                  <a:lnTo>
                    <a:pt x="721627" y="204990"/>
                  </a:lnTo>
                  <a:lnTo>
                    <a:pt x="721627" y="204292"/>
                  </a:lnTo>
                  <a:lnTo>
                    <a:pt x="721678" y="203594"/>
                  </a:lnTo>
                  <a:lnTo>
                    <a:pt x="721678" y="204292"/>
                  </a:lnTo>
                  <a:lnTo>
                    <a:pt x="721678" y="202959"/>
                  </a:lnTo>
                  <a:lnTo>
                    <a:pt x="721678" y="203594"/>
                  </a:lnTo>
                  <a:lnTo>
                    <a:pt x="721678" y="202959"/>
                  </a:lnTo>
                  <a:lnTo>
                    <a:pt x="721729" y="202959"/>
                  </a:lnTo>
                  <a:lnTo>
                    <a:pt x="721729" y="200228"/>
                  </a:lnTo>
                  <a:lnTo>
                    <a:pt x="721729" y="200876"/>
                  </a:lnTo>
                  <a:lnTo>
                    <a:pt x="721729" y="200228"/>
                  </a:lnTo>
                  <a:lnTo>
                    <a:pt x="721729" y="202260"/>
                  </a:lnTo>
                  <a:lnTo>
                    <a:pt x="721818" y="202959"/>
                  </a:lnTo>
                  <a:lnTo>
                    <a:pt x="721818" y="199530"/>
                  </a:lnTo>
                  <a:lnTo>
                    <a:pt x="721818" y="203594"/>
                  </a:lnTo>
                  <a:lnTo>
                    <a:pt x="721868" y="203594"/>
                  </a:lnTo>
                  <a:lnTo>
                    <a:pt x="721868" y="200876"/>
                  </a:lnTo>
                  <a:lnTo>
                    <a:pt x="721868" y="202260"/>
                  </a:lnTo>
                  <a:lnTo>
                    <a:pt x="721868" y="200876"/>
                  </a:lnTo>
                  <a:lnTo>
                    <a:pt x="721868" y="202260"/>
                  </a:lnTo>
                  <a:lnTo>
                    <a:pt x="721919" y="202260"/>
                  </a:lnTo>
                  <a:lnTo>
                    <a:pt x="721919" y="200876"/>
                  </a:lnTo>
                  <a:lnTo>
                    <a:pt x="721919" y="202959"/>
                  </a:lnTo>
                  <a:lnTo>
                    <a:pt x="721919" y="202260"/>
                  </a:lnTo>
                  <a:lnTo>
                    <a:pt x="721919" y="202959"/>
                  </a:lnTo>
                  <a:lnTo>
                    <a:pt x="721970" y="202959"/>
                  </a:lnTo>
                  <a:lnTo>
                    <a:pt x="721970" y="202260"/>
                  </a:lnTo>
                  <a:lnTo>
                    <a:pt x="721970" y="202959"/>
                  </a:lnTo>
                  <a:lnTo>
                    <a:pt x="721970" y="202260"/>
                  </a:lnTo>
                  <a:lnTo>
                    <a:pt x="721970" y="202959"/>
                  </a:lnTo>
                  <a:lnTo>
                    <a:pt x="722072" y="202959"/>
                  </a:lnTo>
                  <a:lnTo>
                    <a:pt x="722072" y="204292"/>
                  </a:lnTo>
                  <a:lnTo>
                    <a:pt x="722072" y="203594"/>
                  </a:lnTo>
                  <a:lnTo>
                    <a:pt x="722122" y="204292"/>
                  </a:lnTo>
                  <a:lnTo>
                    <a:pt x="722122" y="203594"/>
                  </a:lnTo>
                  <a:lnTo>
                    <a:pt x="722122" y="204292"/>
                  </a:lnTo>
                  <a:lnTo>
                    <a:pt x="722122" y="203594"/>
                  </a:lnTo>
                  <a:lnTo>
                    <a:pt x="722173" y="203594"/>
                  </a:lnTo>
                  <a:lnTo>
                    <a:pt x="722173" y="202959"/>
                  </a:lnTo>
                  <a:lnTo>
                    <a:pt x="722173" y="203594"/>
                  </a:lnTo>
                  <a:lnTo>
                    <a:pt x="722173" y="202959"/>
                  </a:lnTo>
                  <a:lnTo>
                    <a:pt x="722173" y="203594"/>
                  </a:lnTo>
                  <a:lnTo>
                    <a:pt x="722173" y="202260"/>
                  </a:lnTo>
                  <a:lnTo>
                    <a:pt x="722275" y="202260"/>
                  </a:lnTo>
                  <a:lnTo>
                    <a:pt x="722275" y="200876"/>
                  </a:lnTo>
                  <a:lnTo>
                    <a:pt x="722275" y="202260"/>
                  </a:lnTo>
                  <a:lnTo>
                    <a:pt x="722275" y="200228"/>
                  </a:lnTo>
                  <a:lnTo>
                    <a:pt x="722275" y="200876"/>
                  </a:lnTo>
                  <a:lnTo>
                    <a:pt x="722313" y="202260"/>
                  </a:lnTo>
                  <a:lnTo>
                    <a:pt x="722313" y="199530"/>
                  </a:lnTo>
                  <a:lnTo>
                    <a:pt x="722313" y="203594"/>
                  </a:lnTo>
                  <a:lnTo>
                    <a:pt x="722313" y="202959"/>
                  </a:lnTo>
                  <a:lnTo>
                    <a:pt x="722364" y="202959"/>
                  </a:lnTo>
                  <a:lnTo>
                    <a:pt x="722364" y="202260"/>
                  </a:lnTo>
                  <a:lnTo>
                    <a:pt x="722364" y="202959"/>
                  </a:lnTo>
                  <a:lnTo>
                    <a:pt x="722364" y="200228"/>
                  </a:lnTo>
                  <a:lnTo>
                    <a:pt x="722364" y="202959"/>
                  </a:lnTo>
                  <a:lnTo>
                    <a:pt x="722415" y="202959"/>
                  </a:lnTo>
                  <a:lnTo>
                    <a:pt x="722415" y="202260"/>
                  </a:lnTo>
                  <a:lnTo>
                    <a:pt x="722415" y="203594"/>
                  </a:lnTo>
                  <a:lnTo>
                    <a:pt x="722415" y="202959"/>
                  </a:lnTo>
                  <a:lnTo>
                    <a:pt x="722516" y="202959"/>
                  </a:lnTo>
                  <a:lnTo>
                    <a:pt x="722516" y="203594"/>
                  </a:lnTo>
                  <a:lnTo>
                    <a:pt x="722516" y="202959"/>
                  </a:lnTo>
                  <a:lnTo>
                    <a:pt x="722516" y="203594"/>
                  </a:lnTo>
                  <a:lnTo>
                    <a:pt x="722567" y="202959"/>
                  </a:lnTo>
                  <a:lnTo>
                    <a:pt x="722567" y="204292"/>
                  </a:lnTo>
                  <a:lnTo>
                    <a:pt x="722567" y="203594"/>
                  </a:lnTo>
                  <a:lnTo>
                    <a:pt x="722618" y="204292"/>
                  </a:lnTo>
                  <a:lnTo>
                    <a:pt x="722618" y="203594"/>
                  </a:lnTo>
                  <a:lnTo>
                    <a:pt x="722618" y="204292"/>
                  </a:lnTo>
                  <a:lnTo>
                    <a:pt x="722618" y="203594"/>
                  </a:lnTo>
                  <a:lnTo>
                    <a:pt x="722618" y="204292"/>
                  </a:lnTo>
                  <a:lnTo>
                    <a:pt x="722618" y="203594"/>
                  </a:lnTo>
                  <a:lnTo>
                    <a:pt x="722719" y="203594"/>
                  </a:lnTo>
                  <a:lnTo>
                    <a:pt x="722719" y="202959"/>
                  </a:lnTo>
                  <a:lnTo>
                    <a:pt x="722770" y="202959"/>
                  </a:lnTo>
                  <a:lnTo>
                    <a:pt x="722770" y="200228"/>
                  </a:lnTo>
                  <a:lnTo>
                    <a:pt x="722770" y="202959"/>
                  </a:lnTo>
                  <a:lnTo>
                    <a:pt x="722821" y="202959"/>
                  </a:lnTo>
                  <a:lnTo>
                    <a:pt x="722821" y="200876"/>
                  </a:lnTo>
                  <a:lnTo>
                    <a:pt x="722821" y="203594"/>
                  </a:lnTo>
                  <a:lnTo>
                    <a:pt x="722859" y="203594"/>
                  </a:lnTo>
                  <a:lnTo>
                    <a:pt x="722859" y="202260"/>
                  </a:lnTo>
                  <a:lnTo>
                    <a:pt x="722859" y="203594"/>
                  </a:lnTo>
                  <a:lnTo>
                    <a:pt x="722859" y="202959"/>
                  </a:lnTo>
                  <a:lnTo>
                    <a:pt x="722961" y="202959"/>
                  </a:lnTo>
                  <a:lnTo>
                    <a:pt x="722961" y="202260"/>
                  </a:lnTo>
                  <a:lnTo>
                    <a:pt x="722961" y="202959"/>
                  </a:lnTo>
                  <a:lnTo>
                    <a:pt x="723012" y="202959"/>
                  </a:lnTo>
                  <a:lnTo>
                    <a:pt x="723012" y="203594"/>
                  </a:lnTo>
                  <a:lnTo>
                    <a:pt x="723012" y="202959"/>
                  </a:lnTo>
                  <a:lnTo>
                    <a:pt x="723062" y="202959"/>
                  </a:lnTo>
                  <a:lnTo>
                    <a:pt x="723062" y="203594"/>
                  </a:lnTo>
                  <a:lnTo>
                    <a:pt x="723062" y="202959"/>
                  </a:lnTo>
                  <a:lnTo>
                    <a:pt x="723062" y="204292"/>
                  </a:lnTo>
                  <a:lnTo>
                    <a:pt x="723062" y="203594"/>
                  </a:lnTo>
                  <a:lnTo>
                    <a:pt x="723164" y="203594"/>
                  </a:lnTo>
                  <a:lnTo>
                    <a:pt x="723164" y="202959"/>
                  </a:lnTo>
                  <a:lnTo>
                    <a:pt x="723215" y="202959"/>
                  </a:lnTo>
                  <a:lnTo>
                    <a:pt x="723215" y="202260"/>
                  </a:lnTo>
                  <a:lnTo>
                    <a:pt x="723215" y="202959"/>
                  </a:lnTo>
                  <a:lnTo>
                    <a:pt x="723215" y="202260"/>
                  </a:lnTo>
                  <a:lnTo>
                    <a:pt x="723215" y="202959"/>
                  </a:lnTo>
                  <a:lnTo>
                    <a:pt x="723215" y="202260"/>
                  </a:lnTo>
                  <a:lnTo>
                    <a:pt x="723266" y="200876"/>
                  </a:lnTo>
                  <a:lnTo>
                    <a:pt x="723266" y="202959"/>
                  </a:lnTo>
                  <a:lnTo>
                    <a:pt x="723266" y="202260"/>
                  </a:lnTo>
                  <a:lnTo>
                    <a:pt x="723316" y="202260"/>
                  </a:lnTo>
                  <a:lnTo>
                    <a:pt x="723316" y="200876"/>
                  </a:lnTo>
                  <a:lnTo>
                    <a:pt x="723316" y="204292"/>
                  </a:lnTo>
                  <a:lnTo>
                    <a:pt x="723316" y="203594"/>
                  </a:lnTo>
                  <a:lnTo>
                    <a:pt x="723316" y="204292"/>
                  </a:lnTo>
                  <a:lnTo>
                    <a:pt x="723316" y="203594"/>
                  </a:lnTo>
                  <a:lnTo>
                    <a:pt x="723405" y="203594"/>
                  </a:lnTo>
                  <a:lnTo>
                    <a:pt x="723405" y="202959"/>
                  </a:lnTo>
                  <a:lnTo>
                    <a:pt x="723405" y="204292"/>
                  </a:lnTo>
                  <a:lnTo>
                    <a:pt x="723405" y="203594"/>
                  </a:lnTo>
                  <a:lnTo>
                    <a:pt x="723405" y="204292"/>
                  </a:lnTo>
                  <a:lnTo>
                    <a:pt x="723405" y="203594"/>
                  </a:lnTo>
                  <a:lnTo>
                    <a:pt x="723456" y="203594"/>
                  </a:lnTo>
                  <a:lnTo>
                    <a:pt x="723456" y="204292"/>
                  </a:lnTo>
                  <a:lnTo>
                    <a:pt x="723456" y="203594"/>
                  </a:lnTo>
                  <a:lnTo>
                    <a:pt x="723507" y="203594"/>
                  </a:lnTo>
                  <a:lnTo>
                    <a:pt x="723507" y="204292"/>
                  </a:lnTo>
                  <a:lnTo>
                    <a:pt x="723507" y="203594"/>
                  </a:lnTo>
                  <a:lnTo>
                    <a:pt x="723507" y="204292"/>
                  </a:lnTo>
                  <a:lnTo>
                    <a:pt x="723507" y="203594"/>
                  </a:lnTo>
                  <a:lnTo>
                    <a:pt x="723507" y="204292"/>
                  </a:lnTo>
                  <a:lnTo>
                    <a:pt x="723558" y="204292"/>
                  </a:lnTo>
                  <a:lnTo>
                    <a:pt x="723558" y="203594"/>
                  </a:lnTo>
                  <a:lnTo>
                    <a:pt x="723558" y="204990"/>
                  </a:lnTo>
                  <a:lnTo>
                    <a:pt x="723558" y="203594"/>
                  </a:lnTo>
                  <a:lnTo>
                    <a:pt x="723659" y="203594"/>
                  </a:lnTo>
                  <a:lnTo>
                    <a:pt x="723659" y="202260"/>
                  </a:lnTo>
                  <a:lnTo>
                    <a:pt x="723710" y="202959"/>
                  </a:lnTo>
                  <a:lnTo>
                    <a:pt x="723710" y="202260"/>
                  </a:lnTo>
                  <a:lnTo>
                    <a:pt x="723710" y="202959"/>
                  </a:lnTo>
                  <a:lnTo>
                    <a:pt x="723710" y="200876"/>
                  </a:lnTo>
                  <a:lnTo>
                    <a:pt x="723761" y="200876"/>
                  </a:lnTo>
                  <a:lnTo>
                    <a:pt x="723761" y="202959"/>
                  </a:lnTo>
                  <a:lnTo>
                    <a:pt x="723761" y="202260"/>
                  </a:lnTo>
                  <a:lnTo>
                    <a:pt x="723761" y="203594"/>
                  </a:lnTo>
                  <a:lnTo>
                    <a:pt x="723862" y="203594"/>
                  </a:lnTo>
                  <a:lnTo>
                    <a:pt x="723862" y="204990"/>
                  </a:lnTo>
                  <a:lnTo>
                    <a:pt x="723862" y="203594"/>
                  </a:lnTo>
                  <a:lnTo>
                    <a:pt x="723862" y="204292"/>
                  </a:lnTo>
                  <a:lnTo>
                    <a:pt x="723901" y="204292"/>
                  </a:lnTo>
                  <a:lnTo>
                    <a:pt x="723901" y="204990"/>
                  </a:lnTo>
                  <a:lnTo>
                    <a:pt x="723901" y="203594"/>
                  </a:lnTo>
                  <a:lnTo>
                    <a:pt x="723901" y="204292"/>
                  </a:lnTo>
                  <a:lnTo>
                    <a:pt x="724002" y="204292"/>
                  </a:lnTo>
                  <a:lnTo>
                    <a:pt x="724002" y="204990"/>
                  </a:lnTo>
                  <a:lnTo>
                    <a:pt x="724002" y="204292"/>
                  </a:lnTo>
                  <a:lnTo>
                    <a:pt x="724002" y="204990"/>
                  </a:lnTo>
                  <a:lnTo>
                    <a:pt x="724002" y="204292"/>
                  </a:lnTo>
                  <a:lnTo>
                    <a:pt x="724002" y="204990"/>
                  </a:lnTo>
                  <a:lnTo>
                    <a:pt x="724104" y="204990"/>
                  </a:lnTo>
                  <a:lnTo>
                    <a:pt x="724104" y="204292"/>
                  </a:lnTo>
                  <a:lnTo>
                    <a:pt x="724155" y="204292"/>
                  </a:lnTo>
                  <a:lnTo>
                    <a:pt x="724155" y="203594"/>
                  </a:lnTo>
                  <a:lnTo>
                    <a:pt x="724155" y="204292"/>
                  </a:lnTo>
                  <a:lnTo>
                    <a:pt x="724155" y="202959"/>
                  </a:lnTo>
                  <a:lnTo>
                    <a:pt x="724155" y="203594"/>
                  </a:lnTo>
                  <a:lnTo>
                    <a:pt x="724155" y="202260"/>
                  </a:lnTo>
                  <a:lnTo>
                    <a:pt x="724155" y="202959"/>
                  </a:lnTo>
                  <a:lnTo>
                    <a:pt x="724205" y="202959"/>
                  </a:lnTo>
                  <a:lnTo>
                    <a:pt x="724205" y="200228"/>
                  </a:lnTo>
                  <a:lnTo>
                    <a:pt x="724307" y="200228"/>
                  </a:lnTo>
                  <a:lnTo>
                    <a:pt x="724307" y="202260"/>
                  </a:lnTo>
                  <a:lnTo>
                    <a:pt x="724307" y="200228"/>
                  </a:lnTo>
                  <a:lnTo>
                    <a:pt x="724307" y="202260"/>
                  </a:lnTo>
                  <a:lnTo>
                    <a:pt x="724358" y="202260"/>
                  </a:lnTo>
                  <a:lnTo>
                    <a:pt x="724358" y="203594"/>
                  </a:lnTo>
                  <a:lnTo>
                    <a:pt x="724358" y="202959"/>
                  </a:lnTo>
                  <a:lnTo>
                    <a:pt x="724408" y="202959"/>
                  </a:lnTo>
                  <a:lnTo>
                    <a:pt x="724408" y="204292"/>
                  </a:lnTo>
                  <a:lnTo>
                    <a:pt x="724408" y="202959"/>
                  </a:lnTo>
                  <a:lnTo>
                    <a:pt x="724408" y="203594"/>
                  </a:lnTo>
                  <a:lnTo>
                    <a:pt x="724408" y="202959"/>
                  </a:lnTo>
                  <a:lnTo>
                    <a:pt x="724408" y="204292"/>
                  </a:lnTo>
                  <a:lnTo>
                    <a:pt x="724447" y="204292"/>
                  </a:lnTo>
                  <a:lnTo>
                    <a:pt x="724447" y="204990"/>
                  </a:lnTo>
                  <a:lnTo>
                    <a:pt x="724447" y="204292"/>
                  </a:lnTo>
                  <a:lnTo>
                    <a:pt x="724447" y="204990"/>
                  </a:lnTo>
                  <a:lnTo>
                    <a:pt x="724447" y="204292"/>
                  </a:lnTo>
                  <a:lnTo>
                    <a:pt x="724447" y="204990"/>
                  </a:lnTo>
                  <a:lnTo>
                    <a:pt x="724548" y="204990"/>
                  </a:lnTo>
                  <a:lnTo>
                    <a:pt x="724548" y="204292"/>
                  </a:lnTo>
                  <a:lnTo>
                    <a:pt x="724548" y="206324"/>
                  </a:lnTo>
                  <a:lnTo>
                    <a:pt x="724599" y="206324"/>
                  </a:lnTo>
                  <a:lnTo>
                    <a:pt x="724599" y="204990"/>
                  </a:lnTo>
                  <a:lnTo>
                    <a:pt x="724599" y="206324"/>
                  </a:lnTo>
                  <a:lnTo>
                    <a:pt x="724599" y="204292"/>
                  </a:lnTo>
                  <a:lnTo>
                    <a:pt x="724650" y="204292"/>
                  </a:lnTo>
                  <a:lnTo>
                    <a:pt x="724650" y="203594"/>
                  </a:lnTo>
                  <a:lnTo>
                    <a:pt x="724751" y="203594"/>
                  </a:lnTo>
                  <a:lnTo>
                    <a:pt x="724751" y="200876"/>
                  </a:lnTo>
                  <a:lnTo>
                    <a:pt x="724751" y="202260"/>
                  </a:lnTo>
                  <a:lnTo>
                    <a:pt x="724802" y="202260"/>
                  </a:lnTo>
                  <a:lnTo>
                    <a:pt x="724802" y="200876"/>
                  </a:lnTo>
                  <a:lnTo>
                    <a:pt x="724802" y="202260"/>
                  </a:lnTo>
                  <a:lnTo>
                    <a:pt x="724802" y="200876"/>
                  </a:lnTo>
                  <a:lnTo>
                    <a:pt x="724802" y="202260"/>
                  </a:lnTo>
                  <a:lnTo>
                    <a:pt x="724802" y="200228"/>
                  </a:lnTo>
                  <a:lnTo>
                    <a:pt x="724853" y="200876"/>
                  </a:lnTo>
                  <a:lnTo>
                    <a:pt x="724853" y="202959"/>
                  </a:lnTo>
                  <a:lnTo>
                    <a:pt x="724853" y="200876"/>
                  </a:lnTo>
                  <a:lnTo>
                    <a:pt x="724853" y="202260"/>
                  </a:lnTo>
                  <a:lnTo>
                    <a:pt x="724853" y="200876"/>
                  </a:lnTo>
                  <a:lnTo>
                    <a:pt x="724853" y="202260"/>
                  </a:lnTo>
                  <a:lnTo>
                    <a:pt x="724904" y="202959"/>
                  </a:lnTo>
                  <a:lnTo>
                    <a:pt x="724904" y="202260"/>
                  </a:lnTo>
                  <a:lnTo>
                    <a:pt x="724904" y="202959"/>
                  </a:lnTo>
                  <a:lnTo>
                    <a:pt x="724904" y="202260"/>
                  </a:lnTo>
                  <a:lnTo>
                    <a:pt x="724904" y="202959"/>
                  </a:lnTo>
                  <a:lnTo>
                    <a:pt x="724904" y="202260"/>
                  </a:lnTo>
                  <a:lnTo>
                    <a:pt x="724904" y="202959"/>
                  </a:lnTo>
                  <a:lnTo>
                    <a:pt x="724993" y="202959"/>
                  </a:lnTo>
                  <a:lnTo>
                    <a:pt x="724993" y="203594"/>
                  </a:lnTo>
                  <a:lnTo>
                    <a:pt x="724993" y="202959"/>
                  </a:lnTo>
                  <a:lnTo>
                    <a:pt x="724993" y="203594"/>
                  </a:lnTo>
                  <a:lnTo>
                    <a:pt x="724993" y="202959"/>
                  </a:lnTo>
                  <a:lnTo>
                    <a:pt x="724993" y="203594"/>
                  </a:lnTo>
                  <a:lnTo>
                    <a:pt x="725043" y="203594"/>
                  </a:lnTo>
                  <a:lnTo>
                    <a:pt x="725043" y="204292"/>
                  </a:lnTo>
                  <a:lnTo>
                    <a:pt x="725094" y="204292"/>
                  </a:lnTo>
                  <a:lnTo>
                    <a:pt x="725094" y="204990"/>
                  </a:lnTo>
                  <a:lnTo>
                    <a:pt x="725094" y="204292"/>
                  </a:lnTo>
                  <a:lnTo>
                    <a:pt x="725094" y="204990"/>
                  </a:lnTo>
                  <a:lnTo>
                    <a:pt x="725094" y="204292"/>
                  </a:lnTo>
                  <a:lnTo>
                    <a:pt x="725145" y="204292"/>
                  </a:lnTo>
                  <a:lnTo>
                    <a:pt x="725145" y="203594"/>
                  </a:lnTo>
                  <a:lnTo>
                    <a:pt x="725145" y="204292"/>
                  </a:lnTo>
                  <a:lnTo>
                    <a:pt x="725247" y="203594"/>
                  </a:lnTo>
                  <a:lnTo>
                    <a:pt x="725247" y="202959"/>
                  </a:lnTo>
                  <a:lnTo>
                    <a:pt x="725247" y="204292"/>
                  </a:lnTo>
                  <a:lnTo>
                    <a:pt x="725247" y="203594"/>
                  </a:lnTo>
                  <a:lnTo>
                    <a:pt x="725297" y="203594"/>
                  </a:lnTo>
                  <a:lnTo>
                    <a:pt x="725297" y="202959"/>
                  </a:lnTo>
                  <a:lnTo>
                    <a:pt x="725297" y="204990"/>
                  </a:lnTo>
                  <a:lnTo>
                    <a:pt x="725297" y="204292"/>
                  </a:lnTo>
                  <a:lnTo>
                    <a:pt x="725348" y="204292"/>
                  </a:lnTo>
                  <a:lnTo>
                    <a:pt x="725348" y="203594"/>
                  </a:lnTo>
                  <a:lnTo>
                    <a:pt x="725348" y="204990"/>
                  </a:lnTo>
                  <a:lnTo>
                    <a:pt x="725348" y="204292"/>
                  </a:lnTo>
                  <a:lnTo>
                    <a:pt x="725348" y="204990"/>
                  </a:lnTo>
                  <a:lnTo>
                    <a:pt x="725348" y="204292"/>
                  </a:lnTo>
                  <a:lnTo>
                    <a:pt x="725450" y="204292"/>
                  </a:lnTo>
                  <a:lnTo>
                    <a:pt x="725450" y="204990"/>
                  </a:lnTo>
                  <a:lnTo>
                    <a:pt x="725450" y="204292"/>
                  </a:lnTo>
                  <a:lnTo>
                    <a:pt x="725488" y="204292"/>
                  </a:lnTo>
                  <a:lnTo>
                    <a:pt x="725488" y="204990"/>
                  </a:lnTo>
                  <a:lnTo>
                    <a:pt x="725488" y="204292"/>
                  </a:lnTo>
                  <a:lnTo>
                    <a:pt x="725488" y="204990"/>
                  </a:lnTo>
                  <a:lnTo>
                    <a:pt x="725539" y="204990"/>
                  </a:lnTo>
                  <a:lnTo>
                    <a:pt x="725539" y="204292"/>
                  </a:lnTo>
                  <a:lnTo>
                    <a:pt x="725539" y="204990"/>
                  </a:lnTo>
                  <a:lnTo>
                    <a:pt x="725539" y="204292"/>
                  </a:lnTo>
                  <a:lnTo>
                    <a:pt x="725539" y="204990"/>
                  </a:lnTo>
                  <a:lnTo>
                    <a:pt x="725539" y="204292"/>
                  </a:lnTo>
                  <a:lnTo>
                    <a:pt x="725539" y="204990"/>
                  </a:lnTo>
                  <a:lnTo>
                    <a:pt x="725590" y="204990"/>
                  </a:lnTo>
                  <a:lnTo>
                    <a:pt x="725590" y="204292"/>
                  </a:lnTo>
                  <a:lnTo>
                    <a:pt x="725590" y="204990"/>
                  </a:lnTo>
                  <a:lnTo>
                    <a:pt x="725590" y="204292"/>
                  </a:lnTo>
                  <a:lnTo>
                    <a:pt x="725590" y="204990"/>
                  </a:lnTo>
                  <a:lnTo>
                    <a:pt x="725590" y="204292"/>
                  </a:lnTo>
                  <a:lnTo>
                    <a:pt x="725590" y="204990"/>
                  </a:lnTo>
                  <a:lnTo>
                    <a:pt x="725590" y="204292"/>
                  </a:lnTo>
                  <a:lnTo>
                    <a:pt x="725691" y="204292"/>
                  </a:lnTo>
                  <a:lnTo>
                    <a:pt x="725691" y="202959"/>
                  </a:lnTo>
                  <a:lnTo>
                    <a:pt x="725742" y="203594"/>
                  </a:lnTo>
                  <a:lnTo>
                    <a:pt x="725742" y="202959"/>
                  </a:lnTo>
                  <a:lnTo>
                    <a:pt x="725742" y="204990"/>
                  </a:lnTo>
                  <a:lnTo>
                    <a:pt x="725742" y="203594"/>
                  </a:lnTo>
                  <a:lnTo>
                    <a:pt x="725742" y="204292"/>
                  </a:lnTo>
                  <a:lnTo>
                    <a:pt x="725742" y="203594"/>
                  </a:lnTo>
                  <a:lnTo>
                    <a:pt x="725793" y="203594"/>
                  </a:lnTo>
                  <a:lnTo>
                    <a:pt x="725793" y="207022"/>
                  </a:lnTo>
                  <a:lnTo>
                    <a:pt x="725793" y="204292"/>
                  </a:lnTo>
                  <a:lnTo>
                    <a:pt x="725793" y="204990"/>
                  </a:lnTo>
                  <a:lnTo>
                    <a:pt x="725894" y="206324"/>
                  </a:lnTo>
                  <a:lnTo>
                    <a:pt x="725894" y="204990"/>
                  </a:lnTo>
                  <a:lnTo>
                    <a:pt x="725945" y="206324"/>
                  </a:lnTo>
                  <a:lnTo>
                    <a:pt x="725945" y="204990"/>
                  </a:lnTo>
                  <a:lnTo>
                    <a:pt x="725945" y="206324"/>
                  </a:lnTo>
                  <a:lnTo>
                    <a:pt x="725996" y="204990"/>
                  </a:lnTo>
                  <a:lnTo>
                    <a:pt x="725996" y="204292"/>
                  </a:lnTo>
                  <a:lnTo>
                    <a:pt x="725996" y="204990"/>
                  </a:lnTo>
                  <a:lnTo>
                    <a:pt x="726034" y="204292"/>
                  </a:lnTo>
                  <a:lnTo>
                    <a:pt x="726136" y="204292"/>
                  </a:lnTo>
                  <a:lnTo>
                    <a:pt x="726136" y="203594"/>
                  </a:lnTo>
                  <a:lnTo>
                    <a:pt x="726136" y="204292"/>
                  </a:lnTo>
                  <a:lnTo>
                    <a:pt x="726136" y="202959"/>
                  </a:lnTo>
                  <a:lnTo>
                    <a:pt x="726187" y="202959"/>
                  </a:lnTo>
                  <a:lnTo>
                    <a:pt x="726187" y="203594"/>
                  </a:lnTo>
                  <a:lnTo>
                    <a:pt x="726187" y="200228"/>
                  </a:lnTo>
                  <a:lnTo>
                    <a:pt x="726187" y="200876"/>
                  </a:lnTo>
                  <a:lnTo>
                    <a:pt x="726187" y="200228"/>
                  </a:lnTo>
                  <a:lnTo>
                    <a:pt x="726237" y="200876"/>
                  </a:lnTo>
                  <a:lnTo>
                    <a:pt x="726237" y="202260"/>
                  </a:lnTo>
                  <a:lnTo>
                    <a:pt x="726237" y="200876"/>
                  </a:lnTo>
                  <a:lnTo>
                    <a:pt x="726237" y="202260"/>
                  </a:lnTo>
                  <a:lnTo>
                    <a:pt x="726339" y="202959"/>
                  </a:lnTo>
                  <a:lnTo>
                    <a:pt x="726339" y="203594"/>
                  </a:lnTo>
                  <a:lnTo>
                    <a:pt x="726339" y="202959"/>
                  </a:lnTo>
                  <a:lnTo>
                    <a:pt x="726339" y="203594"/>
                  </a:lnTo>
                  <a:lnTo>
                    <a:pt x="726390" y="203594"/>
                  </a:lnTo>
                  <a:lnTo>
                    <a:pt x="726390" y="204292"/>
                  </a:lnTo>
                  <a:lnTo>
                    <a:pt x="726390" y="203594"/>
                  </a:lnTo>
                  <a:lnTo>
                    <a:pt x="726390" y="204292"/>
                  </a:lnTo>
                  <a:lnTo>
                    <a:pt x="726441" y="204292"/>
                  </a:lnTo>
                  <a:lnTo>
                    <a:pt x="726441" y="204990"/>
                  </a:lnTo>
                  <a:lnTo>
                    <a:pt x="726491" y="204990"/>
                  </a:lnTo>
                  <a:lnTo>
                    <a:pt x="726491" y="206324"/>
                  </a:lnTo>
                  <a:lnTo>
                    <a:pt x="726491" y="204292"/>
                  </a:lnTo>
                  <a:lnTo>
                    <a:pt x="726491" y="204990"/>
                  </a:lnTo>
                  <a:lnTo>
                    <a:pt x="726580" y="204990"/>
                  </a:lnTo>
                  <a:lnTo>
                    <a:pt x="726580" y="204292"/>
                  </a:lnTo>
                  <a:lnTo>
                    <a:pt x="726580" y="204990"/>
                  </a:lnTo>
                  <a:lnTo>
                    <a:pt x="726580" y="204292"/>
                  </a:lnTo>
                  <a:lnTo>
                    <a:pt x="726631" y="204292"/>
                  </a:lnTo>
                  <a:lnTo>
                    <a:pt x="726631" y="203594"/>
                  </a:lnTo>
                  <a:lnTo>
                    <a:pt x="726631" y="204292"/>
                  </a:lnTo>
                  <a:lnTo>
                    <a:pt x="726631" y="202260"/>
                  </a:lnTo>
                  <a:lnTo>
                    <a:pt x="726682" y="202260"/>
                  </a:lnTo>
                  <a:lnTo>
                    <a:pt x="726682" y="200876"/>
                  </a:lnTo>
                  <a:lnTo>
                    <a:pt x="726682" y="202260"/>
                  </a:lnTo>
                  <a:lnTo>
                    <a:pt x="726682" y="200876"/>
                  </a:lnTo>
                  <a:lnTo>
                    <a:pt x="726733" y="200876"/>
                  </a:lnTo>
                  <a:lnTo>
                    <a:pt x="726733" y="202260"/>
                  </a:lnTo>
                  <a:lnTo>
                    <a:pt x="726733" y="200876"/>
                  </a:lnTo>
                  <a:lnTo>
                    <a:pt x="726733" y="202959"/>
                  </a:lnTo>
                  <a:lnTo>
                    <a:pt x="726834" y="202959"/>
                  </a:lnTo>
                  <a:lnTo>
                    <a:pt x="726834" y="203594"/>
                  </a:lnTo>
                  <a:lnTo>
                    <a:pt x="726834" y="202260"/>
                  </a:lnTo>
                  <a:lnTo>
                    <a:pt x="726834" y="202959"/>
                  </a:lnTo>
                  <a:lnTo>
                    <a:pt x="726834" y="202260"/>
                  </a:lnTo>
                  <a:lnTo>
                    <a:pt x="726834" y="203594"/>
                  </a:lnTo>
                  <a:lnTo>
                    <a:pt x="726885" y="203594"/>
                  </a:lnTo>
                  <a:lnTo>
                    <a:pt x="726885" y="202959"/>
                  </a:lnTo>
                  <a:lnTo>
                    <a:pt x="726885" y="203594"/>
                  </a:lnTo>
                  <a:lnTo>
                    <a:pt x="726885" y="202959"/>
                  </a:lnTo>
                  <a:lnTo>
                    <a:pt x="726885" y="203594"/>
                  </a:lnTo>
                  <a:lnTo>
                    <a:pt x="726936" y="203594"/>
                  </a:lnTo>
                  <a:lnTo>
                    <a:pt x="726936" y="204292"/>
                  </a:lnTo>
                  <a:lnTo>
                    <a:pt x="726936" y="203594"/>
                  </a:lnTo>
                  <a:lnTo>
                    <a:pt x="726936" y="204292"/>
                  </a:lnTo>
                  <a:lnTo>
                    <a:pt x="726936" y="203594"/>
                  </a:lnTo>
                  <a:lnTo>
                    <a:pt x="726936" y="204292"/>
                  </a:lnTo>
                  <a:lnTo>
                    <a:pt x="727037" y="204292"/>
                  </a:lnTo>
                  <a:lnTo>
                    <a:pt x="727037" y="204990"/>
                  </a:lnTo>
                  <a:lnTo>
                    <a:pt x="727037" y="204292"/>
                  </a:lnTo>
                  <a:lnTo>
                    <a:pt x="727076" y="204292"/>
                  </a:lnTo>
                  <a:lnTo>
                    <a:pt x="727076" y="204990"/>
                  </a:lnTo>
                  <a:lnTo>
                    <a:pt x="727076" y="204292"/>
                  </a:lnTo>
                  <a:lnTo>
                    <a:pt x="727076" y="204990"/>
                  </a:lnTo>
                  <a:lnTo>
                    <a:pt x="727076" y="204292"/>
                  </a:lnTo>
                  <a:lnTo>
                    <a:pt x="727126" y="204292"/>
                  </a:lnTo>
                  <a:lnTo>
                    <a:pt x="727126" y="203594"/>
                  </a:lnTo>
                  <a:lnTo>
                    <a:pt x="727126" y="204292"/>
                  </a:lnTo>
                  <a:lnTo>
                    <a:pt x="727126" y="203594"/>
                  </a:lnTo>
                  <a:lnTo>
                    <a:pt x="727126" y="204292"/>
                  </a:lnTo>
                  <a:lnTo>
                    <a:pt x="727126" y="202959"/>
                  </a:lnTo>
                  <a:lnTo>
                    <a:pt x="727126" y="203594"/>
                  </a:lnTo>
                  <a:lnTo>
                    <a:pt x="727126" y="202959"/>
                  </a:lnTo>
                  <a:lnTo>
                    <a:pt x="727177" y="202959"/>
                  </a:lnTo>
                  <a:lnTo>
                    <a:pt x="727177" y="200876"/>
                  </a:lnTo>
                  <a:lnTo>
                    <a:pt x="727177" y="203594"/>
                  </a:lnTo>
                  <a:lnTo>
                    <a:pt x="727279" y="202959"/>
                  </a:lnTo>
                  <a:lnTo>
                    <a:pt x="727279" y="200876"/>
                  </a:lnTo>
                  <a:lnTo>
                    <a:pt x="727279" y="203594"/>
                  </a:lnTo>
                  <a:lnTo>
                    <a:pt x="727330" y="203594"/>
                  </a:lnTo>
                  <a:lnTo>
                    <a:pt x="727330" y="202959"/>
                  </a:lnTo>
                  <a:lnTo>
                    <a:pt x="727330" y="203594"/>
                  </a:lnTo>
                  <a:lnTo>
                    <a:pt x="727380" y="203594"/>
                  </a:lnTo>
                  <a:lnTo>
                    <a:pt x="727380" y="202959"/>
                  </a:lnTo>
                  <a:lnTo>
                    <a:pt x="727380" y="203594"/>
                  </a:lnTo>
                  <a:lnTo>
                    <a:pt x="727380" y="202959"/>
                  </a:lnTo>
                  <a:lnTo>
                    <a:pt x="727380" y="203594"/>
                  </a:lnTo>
                  <a:lnTo>
                    <a:pt x="727482" y="203594"/>
                  </a:lnTo>
                  <a:lnTo>
                    <a:pt x="727482" y="204292"/>
                  </a:lnTo>
                  <a:lnTo>
                    <a:pt x="727482" y="203594"/>
                  </a:lnTo>
                  <a:lnTo>
                    <a:pt x="727482" y="204292"/>
                  </a:lnTo>
                  <a:lnTo>
                    <a:pt x="727482" y="203594"/>
                  </a:lnTo>
                  <a:lnTo>
                    <a:pt x="727533" y="203594"/>
                  </a:lnTo>
                  <a:lnTo>
                    <a:pt x="727533" y="204292"/>
                  </a:lnTo>
                  <a:lnTo>
                    <a:pt x="727533" y="203594"/>
                  </a:lnTo>
                  <a:lnTo>
                    <a:pt x="727533" y="204292"/>
                  </a:lnTo>
                  <a:lnTo>
                    <a:pt x="727533" y="203594"/>
                  </a:lnTo>
                  <a:lnTo>
                    <a:pt x="727583" y="204292"/>
                  </a:lnTo>
                  <a:lnTo>
                    <a:pt x="727583" y="203594"/>
                  </a:lnTo>
                  <a:lnTo>
                    <a:pt x="727622" y="203594"/>
                  </a:lnTo>
                  <a:lnTo>
                    <a:pt x="727622" y="202959"/>
                  </a:lnTo>
                  <a:lnTo>
                    <a:pt x="727622" y="203594"/>
                  </a:lnTo>
                  <a:lnTo>
                    <a:pt x="727622" y="202959"/>
                  </a:lnTo>
                  <a:lnTo>
                    <a:pt x="727622" y="203594"/>
                  </a:lnTo>
                  <a:lnTo>
                    <a:pt x="727622" y="200876"/>
                  </a:lnTo>
                  <a:lnTo>
                    <a:pt x="727622" y="202260"/>
                  </a:lnTo>
                  <a:lnTo>
                    <a:pt x="727622" y="200876"/>
                  </a:lnTo>
                  <a:lnTo>
                    <a:pt x="727723" y="200876"/>
                  </a:lnTo>
                  <a:lnTo>
                    <a:pt x="727723" y="202959"/>
                  </a:lnTo>
                  <a:lnTo>
                    <a:pt x="727723" y="202260"/>
                  </a:lnTo>
                  <a:lnTo>
                    <a:pt x="727723" y="202959"/>
                  </a:lnTo>
                  <a:lnTo>
                    <a:pt x="727723" y="200876"/>
                  </a:lnTo>
                  <a:lnTo>
                    <a:pt x="727723" y="202260"/>
                  </a:lnTo>
                  <a:lnTo>
                    <a:pt x="727723" y="200876"/>
                  </a:lnTo>
                  <a:lnTo>
                    <a:pt x="727774" y="200876"/>
                  </a:lnTo>
                  <a:lnTo>
                    <a:pt x="727774" y="203594"/>
                  </a:lnTo>
                  <a:lnTo>
                    <a:pt x="727774" y="200876"/>
                  </a:lnTo>
                  <a:lnTo>
                    <a:pt x="727774" y="202260"/>
                  </a:lnTo>
                  <a:lnTo>
                    <a:pt x="727825" y="202959"/>
                  </a:lnTo>
                  <a:lnTo>
                    <a:pt x="727825" y="203594"/>
                  </a:lnTo>
                  <a:lnTo>
                    <a:pt x="727825" y="202959"/>
                  </a:lnTo>
                  <a:lnTo>
                    <a:pt x="727825" y="203594"/>
                  </a:lnTo>
                  <a:lnTo>
                    <a:pt x="727825" y="202260"/>
                  </a:lnTo>
                  <a:lnTo>
                    <a:pt x="727825" y="202959"/>
                  </a:lnTo>
                  <a:lnTo>
                    <a:pt x="727926" y="203594"/>
                  </a:lnTo>
                  <a:lnTo>
                    <a:pt x="727926" y="202959"/>
                  </a:lnTo>
                  <a:lnTo>
                    <a:pt x="727926" y="203594"/>
                  </a:lnTo>
                  <a:lnTo>
                    <a:pt x="727926" y="202260"/>
                  </a:lnTo>
                  <a:lnTo>
                    <a:pt x="727926" y="203594"/>
                  </a:lnTo>
                  <a:lnTo>
                    <a:pt x="727977" y="203594"/>
                  </a:lnTo>
                  <a:lnTo>
                    <a:pt x="727977" y="202959"/>
                  </a:lnTo>
                  <a:lnTo>
                    <a:pt x="727977" y="203594"/>
                  </a:lnTo>
                  <a:lnTo>
                    <a:pt x="727977" y="202959"/>
                  </a:lnTo>
                  <a:lnTo>
                    <a:pt x="727977" y="203594"/>
                  </a:lnTo>
                  <a:lnTo>
                    <a:pt x="728028" y="203594"/>
                  </a:lnTo>
                  <a:lnTo>
                    <a:pt x="728028" y="202959"/>
                  </a:lnTo>
                  <a:lnTo>
                    <a:pt x="728028" y="203594"/>
                  </a:lnTo>
                  <a:lnTo>
                    <a:pt x="728028" y="202959"/>
                  </a:lnTo>
                  <a:lnTo>
                    <a:pt x="728028" y="203594"/>
                  </a:lnTo>
                  <a:lnTo>
                    <a:pt x="728028" y="202959"/>
                  </a:lnTo>
                  <a:lnTo>
                    <a:pt x="728079" y="202959"/>
                  </a:lnTo>
                  <a:lnTo>
                    <a:pt x="728079" y="203594"/>
                  </a:lnTo>
                  <a:lnTo>
                    <a:pt x="728079" y="202959"/>
                  </a:lnTo>
                  <a:lnTo>
                    <a:pt x="728079" y="203594"/>
                  </a:lnTo>
                  <a:lnTo>
                    <a:pt x="728079" y="202959"/>
                  </a:lnTo>
                  <a:lnTo>
                    <a:pt x="728168" y="202959"/>
                  </a:lnTo>
                  <a:lnTo>
                    <a:pt x="728168" y="200876"/>
                  </a:lnTo>
                  <a:lnTo>
                    <a:pt x="728168" y="202959"/>
                  </a:lnTo>
                  <a:lnTo>
                    <a:pt x="728218" y="203594"/>
                  </a:lnTo>
                  <a:lnTo>
                    <a:pt x="728218" y="200876"/>
                  </a:lnTo>
                  <a:lnTo>
                    <a:pt x="728218" y="204990"/>
                  </a:lnTo>
                  <a:lnTo>
                    <a:pt x="728269" y="204292"/>
                  </a:lnTo>
                  <a:lnTo>
                    <a:pt x="728269" y="202959"/>
                  </a:lnTo>
                  <a:lnTo>
                    <a:pt x="728269" y="204292"/>
                  </a:lnTo>
                  <a:lnTo>
                    <a:pt x="728320" y="204292"/>
                  </a:lnTo>
                  <a:lnTo>
                    <a:pt x="728320" y="203594"/>
                  </a:lnTo>
                  <a:lnTo>
                    <a:pt x="728320" y="204292"/>
                  </a:lnTo>
                  <a:lnTo>
                    <a:pt x="728320" y="203594"/>
                  </a:lnTo>
                  <a:lnTo>
                    <a:pt x="728320" y="204990"/>
                  </a:lnTo>
                  <a:lnTo>
                    <a:pt x="728320" y="204292"/>
                  </a:lnTo>
                  <a:lnTo>
                    <a:pt x="728422" y="204292"/>
                  </a:lnTo>
                  <a:lnTo>
                    <a:pt x="728422" y="204990"/>
                  </a:lnTo>
                  <a:lnTo>
                    <a:pt x="728422" y="204292"/>
                  </a:lnTo>
                  <a:lnTo>
                    <a:pt x="728422" y="204990"/>
                  </a:lnTo>
                  <a:lnTo>
                    <a:pt x="728422" y="204292"/>
                  </a:lnTo>
                  <a:lnTo>
                    <a:pt x="728472" y="204292"/>
                  </a:lnTo>
                  <a:lnTo>
                    <a:pt x="728472" y="204990"/>
                  </a:lnTo>
                  <a:lnTo>
                    <a:pt x="728472" y="204292"/>
                  </a:lnTo>
                  <a:lnTo>
                    <a:pt x="728472" y="204990"/>
                  </a:lnTo>
                  <a:lnTo>
                    <a:pt x="728472" y="204292"/>
                  </a:lnTo>
                  <a:lnTo>
                    <a:pt x="728523" y="204292"/>
                  </a:lnTo>
                  <a:lnTo>
                    <a:pt x="728523" y="203594"/>
                  </a:lnTo>
                  <a:lnTo>
                    <a:pt x="728523" y="204292"/>
                  </a:lnTo>
                  <a:lnTo>
                    <a:pt x="728523" y="203594"/>
                  </a:lnTo>
                  <a:lnTo>
                    <a:pt x="728625" y="203594"/>
                  </a:lnTo>
                  <a:lnTo>
                    <a:pt x="728625" y="202959"/>
                  </a:lnTo>
                  <a:lnTo>
                    <a:pt x="728663" y="202959"/>
                  </a:lnTo>
                  <a:lnTo>
                    <a:pt x="728663" y="202260"/>
                  </a:lnTo>
                  <a:lnTo>
                    <a:pt x="728663" y="203594"/>
                  </a:lnTo>
                  <a:lnTo>
                    <a:pt x="728663" y="202959"/>
                  </a:lnTo>
                  <a:lnTo>
                    <a:pt x="728714" y="202959"/>
                  </a:lnTo>
                  <a:lnTo>
                    <a:pt x="728714" y="202260"/>
                  </a:lnTo>
                  <a:lnTo>
                    <a:pt x="728714" y="204990"/>
                  </a:lnTo>
                  <a:lnTo>
                    <a:pt x="728714" y="203594"/>
                  </a:lnTo>
                  <a:lnTo>
                    <a:pt x="728765" y="203594"/>
                  </a:lnTo>
                  <a:lnTo>
                    <a:pt x="728765" y="204292"/>
                  </a:lnTo>
                  <a:lnTo>
                    <a:pt x="728765" y="203594"/>
                  </a:lnTo>
                  <a:lnTo>
                    <a:pt x="728866" y="204292"/>
                  </a:lnTo>
                  <a:lnTo>
                    <a:pt x="728866" y="204990"/>
                  </a:lnTo>
                  <a:lnTo>
                    <a:pt x="728866" y="204292"/>
                  </a:lnTo>
                  <a:lnTo>
                    <a:pt x="728866" y="204990"/>
                  </a:lnTo>
                  <a:lnTo>
                    <a:pt x="728917" y="204990"/>
                  </a:lnTo>
                  <a:lnTo>
                    <a:pt x="728917" y="206324"/>
                  </a:lnTo>
                  <a:lnTo>
                    <a:pt x="728917" y="204292"/>
                  </a:lnTo>
                  <a:lnTo>
                    <a:pt x="728917" y="204990"/>
                  </a:lnTo>
                  <a:lnTo>
                    <a:pt x="728917" y="204292"/>
                  </a:lnTo>
                  <a:lnTo>
                    <a:pt x="728917" y="204990"/>
                  </a:lnTo>
                  <a:lnTo>
                    <a:pt x="728917" y="204292"/>
                  </a:lnTo>
                  <a:lnTo>
                    <a:pt x="728917" y="204990"/>
                  </a:lnTo>
                  <a:lnTo>
                    <a:pt x="728968" y="204990"/>
                  </a:lnTo>
                  <a:lnTo>
                    <a:pt x="728968" y="204292"/>
                  </a:lnTo>
                  <a:lnTo>
                    <a:pt x="728968" y="204990"/>
                  </a:lnTo>
                  <a:lnTo>
                    <a:pt x="728968" y="203594"/>
                  </a:lnTo>
                  <a:lnTo>
                    <a:pt x="728968" y="204292"/>
                  </a:lnTo>
                  <a:lnTo>
                    <a:pt x="728968" y="203594"/>
                  </a:lnTo>
                  <a:lnTo>
                    <a:pt x="729069" y="203594"/>
                  </a:lnTo>
                  <a:lnTo>
                    <a:pt x="729069" y="204292"/>
                  </a:lnTo>
                  <a:lnTo>
                    <a:pt x="729069" y="202959"/>
                  </a:lnTo>
                  <a:lnTo>
                    <a:pt x="729120" y="203594"/>
                  </a:lnTo>
                  <a:lnTo>
                    <a:pt x="729120" y="202260"/>
                  </a:lnTo>
                  <a:lnTo>
                    <a:pt x="729171" y="202959"/>
                  </a:lnTo>
                  <a:lnTo>
                    <a:pt x="729171" y="203594"/>
                  </a:lnTo>
                  <a:lnTo>
                    <a:pt x="729171" y="202260"/>
                  </a:lnTo>
                  <a:lnTo>
                    <a:pt x="729171" y="202959"/>
                  </a:lnTo>
                  <a:lnTo>
                    <a:pt x="729171" y="200876"/>
                  </a:lnTo>
                  <a:lnTo>
                    <a:pt x="729171" y="203594"/>
                  </a:lnTo>
                  <a:lnTo>
                    <a:pt x="729209" y="204292"/>
                  </a:lnTo>
                  <a:lnTo>
                    <a:pt x="729209" y="204990"/>
                  </a:lnTo>
                  <a:lnTo>
                    <a:pt x="729209" y="202959"/>
                  </a:lnTo>
                  <a:lnTo>
                    <a:pt x="729209" y="203594"/>
                  </a:lnTo>
                  <a:lnTo>
                    <a:pt x="729311" y="204292"/>
                  </a:lnTo>
                  <a:lnTo>
                    <a:pt x="729311" y="203594"/>
                  </a:lnTo>
                  <a:lnTo>
                    <a:pt x="729311" y="204292"/>
                  </a:lnTo>
                  <a:lnTo>
                    <a:pt x="729362" y="204990"/>
                  </a:lnTo>
                  <a:lnTo>
                    <a:pt x="729362" y="204292"/>
                  </a:lnTo>
                  <a:lnTo>
                    <a:pt x="729362" y="204990"/>
                  </a:lnTo>
                  <a:lnTo>
                    <a:pt x="729362" y="204292"/>
                  </a:lnTo>
                  <a:lnTo>
                    <a:pt x="729362" y="204990"/>
                  </a:lnTo>
                  <a:lnTo>
                    <a:pt x="729362" y="204292"/>
                  </a:lnTo>
                  <a:lnTo>
                    <a:pt x="729362" y="204990"/>
                  </a:lnTo>
                  <a:lnTo>
                    <a:pt x="729412" y="204292"/>
                  </a:lnTo>
                  <a:lnTo>
                    <a:pt x="729412" y="204990"/>
                  </a:lnTo>
                  <a:lnTo>
                    <a:pt x="729412" y="203594"/>
                  </a:lnTo>
                  <a:lnTo>
                    <a:pt x="729412" y="204292"/>
                  </a:lnTo>
                  <a:lnTo>
                    <a:pt x="729514" y="204292"/>
                  </a:lnTo>
                  <a:lnTo>
                    <a:pt x="729514" y="203594"/>
                  </a:lnTo>
                  <a:lnTo>
                    <a:pt x="729514" y="204292"/>
                  </a:lnTo>
                  <a:lnTo>
                    <a:pt x="729514" y="203594"/>
                  </a:lnTo>
                  <a:lnTo>
                    <a:pt x="729565" y="204292"/>
                  </a:lnTo>
                  <a:lnTo>
                    <a:pt x="729565" y="202959"/>
                  </a:lnTo>
                  <a:lnTo>
                    <a:pt x="729616" y="202959"/>
                  </a:lnTo>
                  <a:lnTo>
                    <a:pt x="729616" y="202260"/>
                  </a:lnTo>
                  <a:lnTo>
                    <a:pt x="729616" y="203594"/>
                  </a:lnTo>
                  <a:lnTo>
                    <a:pt x="729616" y="202959"/>
                  </a:lnTo>
                  <a:lnTo>
                    <a:pt x="729616" y="203594"/>
                  </a:lnTo>
                  <a:lnTo>
                    <a:pt x="729616" y="202959"/>
                  </a:lnTo>
                  <a:lnTo>
                    <a:pt x="729616" y="203594"/>
                  </a:lnTo>
                  <a:lnTo>
                    <a:pt x="729616" y="202959"/>
                  </a:lnTo>
                  <a:lnTo>
                    <a:pt x="729666" y="202959"/>
                  </a:lnTo>
                  <a:lnTo>
                    <a:pt x="729666" y="200876"/>
                  </a:lnTo>
                  <a:lnTo>
                    <a:pt x="729666" y="204292"/>
                  </a:lnTo>
                  <a:lnTo>
                    <a:pt x="729666" y="203594"/>
                  </a:lnTo>
                  <a:lnTo>
                    <a:pt x="729755" y="203594"/>
                  </a:lnTo>
                  <a:lnTo>
                    <a:pt x="729755" y="202959"/>
                  </a:lnTo>
                  <a:lnTo>
                    <a:pt x="729755" y="204990"/>
                  </a:lnTo>
                  <a:lnTo>
                    <a:pt x="729755" y="204292"/>
                  </a:lnTo>
                  <a:lnTo>
                    <a:pt x="729806" y="204292"/>
                  </a:lnTo>
                  <a:lnTo>
                    <a:pt x="729806" y="204990"/>
                  </a:lnTo>
                  <a:lnTo>
                    <a:pt x="729806" y="204292"/>
                  </a:lnTo>
                  <a:lnTo>
                    <a:pt x="729806" y="204990"/>
                  </a:lnTo>
                  <a:lnTo>
                    <a:pt x="729857" y="204292"/>
                  </a:lnTo>
                  <a:lnTo>
                    <a:pt x="729857" y="204990"/>
                  </a:lnTo>
                  <a:lnTo>
                    <a:pt x="729857" y="204292"/>
                  </a:lnTo>
                  <a:lnTo>
                    <a:pt x="729857" y="204990"/>
                  </a:lnTo>
                  <a:lnTo>
                    <a:pt x="729857" y="204292"/>
                  </a:lnTo>
                  <a:lnTo>
                    <a:pt x="730009" y="204292"/>
                  </a:lnTo>
                  <a:lnTo>
                    <a:pt x="730009" y="203594"/>
                  </a:lnTo>
                  <a:lnTo>
                    <a:pt x="730009" y="204292"/>
                  </a:lnTo>
                  <a:lnTo>
                    <a:pt x="730009" y="203594"/>
                  </a:lnTo>
                  <a:lnTo>
                    <a:pt x="730060" y="203594"/>
                  </a:lnTo>
                  <a:lnTo>
                    <a:pt x="730060" y="200876"/>
                  </a:lnTo>
                  <a:lnTo>
                    <a:pt x="730111" y="200876"/>
                  </a:lnTo>
                  <a:lnTo>
                    <a:pt x="730111" y="200228"/>
                  </a:lnTo>
                  <a:lnTo>
                    <a:pt x="730111" y="200876"/>
                  </a:lnTo>
                  <a:lnTo>
                    <a:pt x="730111" y="200228"/>
                  </a:lnTo>
                  <a:lnTo>
                    <a:pt x="730111" y="202959"/>
                  </a:lnTo>
                  <a:lnTo>
                    <a:pt x="730111" y="202260"/>
                  </a:lnTo>
                  <a:lnTo>
                    <a:pt x="730212" y="200876"/>
                  </a:lnTo>
                  <a:lnTo>
                    <a:pt x="730212" y="203594"/>
                  </a:lnTo>
                  <a:lnTo>
                    <a:pt x="730251" y="203594"/>
                  </a:lnTo>
                  <a:lnTo>
                    <a:pt x="730251" y="204292"/>
                  </a:lnTo>
                  <a:lnTo>
                    <a:pt x="730251" y="203594"/>
                  </a:lnTo>
                  <a:lnTo>
                    <a:pt x="730301" y="204292"/>
                  </a:lnTo>
                  <a:lnTo>
                    <a:pt x="730301" y="203594"/>
                  </a:lnTo>
                  <a:lnTo>
                    <a:pt x="730301" y="204292"/>
                  </a:lnTo>
                  <a:lnTo>
                    <a:pt x="730301" y="203594"/>
                  </a:lnTo>
                  <a:lnTo>
                    <a:pt x="730301" y="204990"/>
                  </a:lnTo>
                  <a:lnTo>
                    <a:pt x="730301" y="204292"/>
                  </a:lnTo>
                  <a:lnTo>
                    <a:pt x="730352" y="204292"/>
                  </a:lnTo>
                  <a:lnTo>
                    <a:pt x="730352" y="204990"/>
                  </a:lnTo>
                  <a:lnTo>
                    <a:pt x="730454" y="204990"/>
                  </a:lnTo>
                  <a:lnTo>
                    <a:pt x="730454" y="204292"/>
                  </a:lnTo>
                  <a:lnTo>
                    <a:pt x="730454" y="204990"/>
                  </a:lnTo>
                  <a:lnTo>
                    <a:pt x="730454" y="204292"/>
                  </a:lnTo>
                  <a:lnTo>
                    <a:pt x="730454" y="204990"/>
                  </a:lnTo>
                  <a:lnTo>
                    <a:pt x="730505" y="204990"/>
                  </a:lnTo>
                  <a:lnTo>
                    <a:pt x="730505" y="203594"/>
                  </a:lnTo>
                  <a:lnTo>
                    <a:pt x="730505" y="204292"/>
                  </a:lnTo>
                  <a:lnTo>
                    <a:pt x="730505" y="203594"/>
                  </a:lnTo>
                  <a:lnTo>
                    <a:pt x="730555" y="203594"/>
                  </a:lnTo>
                  <a:lnTo>
                    <a:pt x="730555" y="202260"/>
                  </a:lnTo>
                  <a:lnTo>
                    <a:pt x="730657" y="202260"/>
                  </a:lnTo>
                  <a:lnTo>
                    <a:pt x="730657" y="200876"/>
                  </a:lnTo>
                  <a:lnTo>
                    <a:pt x="730657" y="202959"/>
                  </a:lnTo>
                  <a:lnTo>
                    <a:pt x="730657" y="200228"/>
                  </a:lnTo>
                  <a:lnTo>
                    <a:pt x="730708" y="200876"/>
                  </a:lnTo>
                  <a:lnTo>
                    <a:pt x="730708" y="202959"/>
                  </a:lnTo>
                  <a:lnTo>
                    <a:pt x="730708" y="202260"/>
                  </a:lnTo>
                  <a:lnTo>
                    <a:pt x="730758" y="202260"/>
                  </a:lnTo>
                  <a:lnTo>
                    <a:pt x="730758" y="203594"/>
                  </a:lnTo>
                  <a:lnTo>
                    <a:pt x="730758" y="202959"/>
                  </a:lnTo>
                  <a:lnTo>
                    <a:pt x="730758" y="203594"/>
                  </a:lnTo>
                  <a:lnTo>
                    <a:pt x="730758" y="202959"/>
                  </a:lnTo>
                  <a:lnTo>
                    <a:pt x="730758" y="203594"/>
                  </a:lnTo>
                  <a:lnTo>
                    <a:pt x="730758" y="202959"/>
                  </a:lnTo>
                  <a:lnTo>
                    <a:pt x="730758" y="203594"/>
                  </a:lnTo>
                  <a:lnTo>
                    <a:pt x="730758" y="202959"/>
                  </a:lnTo>
                  <a:lnTo>
                    <a:pt x="730758" y="203594"/>
                  </a:lnTo>
                  <a:lnTo>
                    <a:pt x="730797" y="203594"/>
                  </a:lnTo>
                  <a:lnTo>
                    <a:pt x="730797" y="202959"/>
                  </a:lnTo>
                  <a:lnTo>
                    <a:pt x="730797" y="203594"/>
                  </a:lnTo>
                  <a:lnTo>
                    <a:pt x="730797" y="202959"/>
                  </a:lnTo>
                  <a:lnTo>
                    <a:pt x="730797" y="203594"/>
                  </a:lnTo>
                  <a:lnTo>
                    <a:pt x="730898" y="203594"/>
                  </a:lnTo>
                  <a:lnTo>
                    <a:pt x="730898" y="204292"/>
                  </a:lnTo>
                  <a:lnTo>
                    <a:pt x="730898" y="203594"/>
                  </a:lnTo>
                  <a:lnTo>
                    <a:pt x="730898" y="204292"/>
                  </a:lnTo>
                  <a:lnTo>
                    <a:pt x="730898" y="203594"/>
                  </a:lnTo>
                  <a:lnTo>
                    <a:pt x="730949" y="204292"/>
                  </a:lnTo>
                  <a:lnTo>
                    <a:pt x="730949" y="203594"/>
                  </a:lnTo>
                  <a:lnTo>
                    <a:pt x="731000" y="203594"/>
                  </a:lnTo>
                  <a:lnTo>
                    <a:pt x="731000" y="202959"/>
                  </a:lnTo>
                  <a:lnTo>
                    <a:pt x="731000" y="203594"/>
                  </a:lnTo>
                  <a:lnTo>
                    <a:pt x="731000" y="202959"/>
                  </a:lnTo>
                  <a:lnTo>
                    <a:pt x="731101" y="203594"/>
                  </a:lnTo>
                  <a:lnTo>
                    <a:pt x="731101" y="200876"/>
                  </a:lnTo>
                  <a:lnTo>
                    <a:pt x="731101" y="202959"/>
                  </a:lnTo>
                  <a:lnTo>
                    <a:pt x="731152" y="202959"/>
                  </a:lnTo>
                  <a:lnTo>
                    <a:pt x="731152" y="202260"/>
                  </a:lnTo>
                  <a:lnTo>
                    <a:pt x="731152" y="203594"/>
                  </a:lnTo>
                  <a:lnTo>
                    <a:pt x="731203" y="204292"/>
                  </a:lnTo>
                  <a:lnTo>
                    <a:pt x="731203" y="202959"/>
                  </a:lnTo>
                  <a:lnTo>
                    <a:pt x="731203" y="203594"/>
                  </a:lnTo>
                  <a:lnTo>
                    <a:pt x="731254" y="203594"/>
                  </a:lnTo>
                  <a:lnTo>
                    <a:pt x="731254" y="204292"/>
                  </a:lnTo>
                  <a:lnTo>
                    <a:pt x="731254" y="203594"/>
                  </a:lnTo>
                  <a:lnTo>
                    <a:pt x="731254" y="204292"/>
                  </a:lnTo>
                  <a:lnTo>
                    <a:pt x="731254" y="203594"/>
                  </a:lnTo>
                  <a:lnTo>
                    <a:pt x="731343" y="203594"/>
                  </a:lnTo>
                  <a:lnTo>
                    <a:pt x="731343" y="202959"/>
                  </a:lnTo>
                  <a:lnTo>
                    <a:pt x="731343" y="204292"/>
                  </a:lnTo>
                  <a:lnTo>
                    <a:pt x="731343" y="203594"/>
                  </a:lnTo>
                  <a:lnTo>
                    <a:pt x="731393" y="203594"/>
                  </a:lnTo>
                  <a:lnTo>
                    <a:pt x="731393" y="202959"/>
                  </a:lnTo>
                  <a:lnTo>
                    <a:pt x="731393" y="204292"/>
                  </a:lnTo>
                  <a:lnTo>
                    <a:pt x="731393" y="203594"/>
                  </a:lnTo>
                  <a:lnTo>
                    <a:pt x="731444" y="203594"/>
                  </a:lnTo>
                  <a:lnTo>
                    <a:pt x="731444" y="204292"/>
                  </a:lnTo>
                  <a:lnTo>
                    <a:pt x="731444" y="203594"/>
                  </a:lnTo>
                  <a:lnTo>
                    <a:pt x="731444" y="204292"/>
                  </a:lnTo>
                  <a:lnTo>
                    <a:pt x="731444" y="203594"/>
                  </a:lnTo>
                  <a:lnTo>
                    <a:pt x="731495" y="203594"/>
                  </a:lnTo>
                  <a:lnTo>
                    <a:pt x="731495" y="202959"/>
                  </a:lnTo>
                  <a:lnTo>
                    <a:pt x="731495" y="203594"/>
                  </a:lnTo>
                  <a:lnTo>
                    <a:pt x="731495" y="202959"/>
                  </a:lnTo>
                  <a:lnTo>
                    <a:pt x="731597" y="202959"/>
                  </a:lnTo>
                  <a:lnTo>
                    <a:pt x="731597" y="200228"/>
                  </a:lnTo>
                  <a:lnTo>
                    <a:pt x="731597" y="202260"/>
                  </a:lnTo>
                  <a:lnTo>
                    <a:pt x="731647" y="202959"/>
                  </a:lnTo>
                  <a:lnTo>
                    <a:pt x="731647" y="202260"/>
                  </a:lnTo>
                  <a:lnTo>
                    <a:pt x="731647" y="202959"/>
                  </a:lnTo>
                  <a:lnTo>
                    <a:pt x="731647" y="200876"/>
                  </a:lnTo>
                  <a:lnTo>
                    <a:pt x="731647" y="203594"/>
                  </a:lnTo>
                  <a:lnTo>
                    <a:pt x="731698" y="203594"/>
                  </a:lnTo>
                  <a:lnTo>
                    <a:pt x="731698" y="202260"/>
                  </a:lnTo>
                  <a:lnTo>
                    <a:pt x="731698" y="203594"/>
                  </a:lnTo>
                  <a:lnTo>
                    <a:pt x="731800" y="203594"/>
                  </a:lnTo>
                  <a:lnTo>
                    <a:pt x="731800" y="202959"/>
                  </a:lnTo>
                  <a:lnTo>
                    <a:pt x="731800" y="204292"/>
                  </a:lnTo>
                  <a:lnTo>
                    <a:pt x="731838" y="203594"/>
                  </a:lnTo>
                  <a:lnTo>
                    <a:pt x="731889" y="203594"/>
                  </a:lnTo>
                  <a:lnTo>
                    <a:pt x="731889" y="202959"/>
                  </a:lnTo>
                  <a:lnTo>
                    <a:pt x="731889" y="203594"/>
                  </a:lnTo>
                  <a:lnTo>
                    <a:pt x="731940" y="203594"/>
                  </a:lnTo>
                  <a:lnTo>
                    <a:pt x="731940" y="204292"/>
                  </a:lnTo>
                  <a:lnTo>
                    <a:pt x="731940" y="203594"/>
                  </a:lnTo>
                  <a:lnTo>
                    <a:pt x="731940" y="204292"/>
                  </a:lnTo>
                  <a:lnTo>
                    <a:pt x="731940" y="202959"/>
                  </a:lnTo>
                  <a:lnTo>
                    <a:pt x="732041" y="202959"/>
                  </a:lnTo>
                  <a:lnTo>
                    <a:pt x="732041" y="203594"/>
                  </a:lnTo>
                  <a:lnTo>
                    <a:pt x="732041" y="202260"/>
                  </a:lnTo>
                  <a:lnTo>
                    <a:pt x="732041" y="202959"/>
                  </a:lnTo>
                  <a:lnTo>
                    <a:pt x="732041" y="202260"/>
                  </a:lnTo>
                  <a:lnTo>
                    <a:pt x="732041" y="202959"/>
                  </a:lnTo>
                  <a:lnTo>
                    <a:pt x="732041" y="200876"/>
                  </a:lnTo>
                  <a:lnTo>
                    <a:pt x="732092" y="200876"/>
                  </a:lnTo>
                  <a:lnTo>
                    <a:pt x="732092" y="198831"/>
                  </a:lnTo>
                  <a:lnTo>
                    <a:pt x="732092" y="200228"/>
                  </a:lnTo>
                  <a:lnTo>
                    <a:pt x="732143" y="200228"/>
                  </a:lnTo>
                  <a:lnTo>
                    <a:pt x="732143" y="200876"/>
                  </a:lnTo>
                  <a:lnTo>
                    <a:pt x="732143" y="200228"/>
                  </a:lnTo>
                  <a:lnTo>
                    <a:pt x="732143" y="200876"/>
                  </a:lnTo>
                  <a:lnTo>
                    <a:pt x="732143" y="199530"/>
                  </a:lnTo>
                  <a:lnTo>
                    <a:pt x="732143" y="202959"/>
                  </a:lnTo>
                  <a:lnTo>
                    <a:pt x="732244" y="202959"/>
                  </a:lnTo>
                  <a:lnTo>
                    <a:pt x="732244" y="200876"/>
                  </a:lnTo>
                  <a:lnTo>
                    <a:pt x="732244" y="203594"/>
                  </a:lnTo>
                  <a:lnTo>
                    <a:pt x="732295" y="202959"/>
                  </a:lnTo>
                  <a:lnTo>
                    <a:pt x="732295" y="202260"/>
                  </a:lnTo>
                  <a:lnTo>
                    <a:pt x="732295" y="202959"/>
                  </a:lnTo>
                  <a:lnTo>
                    <a:pt x="732295" y="202260"/>
                  </a:lnTo>
                  <a:lnTo>
                    <a:pt x="732295" y="202959"/>
                  </a:lnTo>
                  <a:lnTo>
                    <a:pt x="732346" y="202959"/>
                  </a:lnTo>
                  <a:lnTo>
                    <a:pt x="732346" y="202260"/>
                  </a:lnTo>
                  <a:lnTo>
                    <a:pt x="732346" y="203594"/>
                  </a:lnTo>
                  <a:lnTo>
                    <a:pt x="732384" y="202959"/>
                  </a:lnTo>
                  <a:lnTo>
                    <a:pt x="732384" y="203594"/>
                  </a:lnTo>
                  <a:lnTo>
                    <a:pt x="732384" y="202959"/>
                  </a:lnTo>
                  <a:lnTo>
                    <a:pt x="732384" y="203594"/>
                  </a:lnTo>
                  <a:lnTo>
                    <a:pt x="732384" y="202959"/>
                  </a:lnTo>
                  <a:lnTo>
                    <a:pt x="732384" y="203594"/>
                  </a:lnTo>
                  <a:lnTo>
                    <a:pt x="732486" y="203594"/>
                  </a:lnTo>
                  <a:lnTo>
                    <a:pt x="732537" y="204292"/>
                  </a:lnTo>
                  <a:lnTo>
                    <a:pt x="732537" y="202260"/>
                  </a:lnTo>
                  <a:lnTo>
                    <a:pt x="732537" y="202959"/>
                  </a:lnTo>
                  <a:lnTo>
                    <a:pt x="732537" y="200228"/>
                  </a:lnTo>
                  <a:lnTo>
                    <a:pt x="732587" y="200876"/>
                  </a:lnTo>
                  <a:lnTo>
                    <a:pt x="732587" y="198831"/>
                  </a:lnTo>
                  <a:lnTo>
                    <a:pt x="732587" y="199530"/>
                  </a:lnTo>
                  <a:lnTo>
                    <a:pt x="732689" y="199530"/>
                  </a:lnTo>
                  <a:lnTo>
                    <a:pt x="732689" y="198831"/>
                  </a:lnTo>
                  <a:lnTo>
                    <a:pt x="732689" y="199530"/>
                  </a:lnTo>
                  <a:lnTo>
                    <a:pt x="732689" y="198831"/>
                  </a:lnTo>
                  <a:lnTo>
                    <a:pt x="732689" y="199530"/>
                  </a:lnTo>
                  <a:lnTo>
                    <a:pt x="732689" y="198831"/>
                  </a:lnTo>
                  <a:lnTo>
                    <a:pt x="732689" y="200876"/>
                  </a:lnTo>
                  <a:lnTo>
                    <a:pt x="732740" y="200876"/>
                  </a:lnTo>
                  <a:lnTo>
                    <a:pt x="732740" y="200228"/>
                  </a:lnTo>
                  <a:lnTo>
                    <a:pt x="732740" y="200876"/>
                  </a:lnTo>
                  <a:lnTo>
                    <a:pt x="732791" y="200876"/>
                  </a:lnTo>
                  <a:lnTo>
                    <a:pt x="732791" y="202260"/>
                  </a:lnTo>
                  <a:lnTo>
                    <a:pt x="732791" y="200876"/>
                  </a:lnTo>
                  <a:lnTo>
                    <a:pt x="732791" y="202260"/>
                  </a:lnTo>
                  <a:lnTo>
                    <a:pt x="732791" y="200876"/>
                  </a:lnTo>
                  <a:lnTo>
                    <a:pt x="732841" y="200876"/>
                  </a:lnTo>
                  <a:lnTo>
                    <a:pt x="732841" y="202260"/>
                  </a:lnTo>
                  <a:lnTo>
                    <a:pt x="732841" y="200876"/>
                  </a:lnTo>
                  <a:lnTo>
                    <a:pt x="732841" y="202260"/>
                  </a:lnTo>
                  <a:lnTo>
                    <a:pt x="732841" y="200876"/>
                  </a:lnTo>
                  <a:lnTo>
                    <a:pt x="732841" y="202959"/>
                  </a:lnTo>
                  <a:lnTo>
                    <a:pt x="732930" y="203594"/>
                  </a:lnTo>
                  <a:lnTo>
                    <a:pt x="732930" y="202959"/>
                  </a:lnTo>
                  <a:lnTo>
                    <a:pt x="732930" y="203594"/>
                  </a:lnTo>
                  <a:lnTo>
                    <a:pt x="732981" y="202959"/>
                  </a:lnTo>
                  <a:lnTo>
                    <a:pt x="732981" y="203594"/>
                  </a:lnTo>
                  <a:lnTo>
                    <a:pt x="732981" y="202959"/>
                  </a:lnTo>
                  <a:lnTo>
                    <a:pt x="732981" y="203594"/>
                  </a:lnTo>
                  <a:lnTo>
                    <a:pt x="732981" y="202959"/>
                  </a:lnTo>
                  <a:lnTo>
                    <a:pt x="732981" y="203594"/>
                  </a:lnTo>
                  <a:lnTo>
                    <a:pt x="732981" y="202959"/>
                  </a:lnTo>
                  <a:lnTo>
                    <a:pt x="732981" y="203594"/>
                  </a:lnTo>
                  <a:lnTo>
                    <a:pt x="732981" y="202959"/>
                  </a:lnTo>
                  <a:lnTo>
                    <a:pt x="733032" y="202959"/>
                  </a:lnTo>
                  <a:lnTo>
                    <a:pt x="733032" y="200876"/>
                  </a:lnTo>
                  <a:lnTo>
                    <a:pt x="733032" y="202260"/>
                  </a:lnTo>
                  <a:lnTo>
                    <a:pt x="733032" y="200876"/>
                  </a:lnTo>
                  <a:lnTo>
                    <a:pt x="733083" y="200876"/>
                  </a:lnTo>
                  <a:lnTo>
                    <a:pt x="733083" y="199530"/>
                  </a:lnTo>
                  <a:lnTo>
                    <a:pt x="733083" y="200228"/>
                  </a:lnTo>
                  <a:lnTo>
                    <a:pt x="733083" y="198831"/>
                  </a:lnTo>
                  <a:lnTo>
                    <a:pt x="733184" y="198831"/>
                  </a:lnTo>
                  <a:lnTo>
                    <a:pt x="733184" y="199530"/>
                  </a:lnTo>
                  <a:lnTo>
                    <a:pt x="733184" y="198831"/>
                  </a:lnTo>
                  <a:lnTo>
                    <a:pt x="733184" y="199530"/>
                  </a:lnTo>
                  <a:lnTo>
                    <a:pt x="733184" y="198831"/>
                  </a:lnTo>
                  <a:lnTo>
                    <a:pt x="733184" y="199530"/>
                  </a:lnTo>
                  <a:lnTo>
                    <a:pt x="733184" y="197447"/>
                  </a:lnTo>
                  <a:lnTo>
                    <a:pt x="733235" y="197447"/>
                  </a:lnTo>
                  <a:lnTo>
                    <a:pt x="733235" y="200876"/>
                  </a:lnTo>
                  <a:lnTo>
                    <a:pt x="733235" y="199530"/>
                  </a:lnTo>
                  <a:lnTo>
                    <a:pt x="733286" y="199530"/>
                  </a:lnTo>
                  <a:lnTo>
                    <a:pt x="733286" y="200228"/>
                  </a:lnTo>
                  <a:lnTo>
                    <a:pt x="733286" y="199530"/>
                  </a:lnTo>
                  <a:lnTo>
                    <a:pt x="733286" y="200228"/>
                  </a:lnTo>
                  <a:lnTo>
                    <a:pt x="733286" y="198831"/>
                  </a:lnTo>
                  <a:lnTo>
                    <a:pt x="733286" y="199530"/>
                  </a:lnTo>
                  <a:lnTo>
                    <a:pt x="733387" y="199530"/>
                  </a:lnTo>
                  <a:lnTo>
                    <a:pt x="733387" y="200876"/>
                  </a:lnTo>
                  <a:lnTo>
                    <a:pt x="733387" y="200228"/>
                  </a:lnTo>
                  <a:lnTo>
                    <a:pt x="733387" y="200876"/>
                  </a:lnTo>
                  <a:lnTo>
                    <a:pt x="733426" y="200876"/>
                  </a:lnTo>
                  <a:lnTo>
                    <a:pt x="733426" y="202260"/>
                  </a:lnTo>
                  <a:lnTo>
                    <a:pt x="733476" y="202959"/>
                  </a:lnTo>
                  <a:lnTo>
                    <a:pt x="733476" y="202260"/>
                  </a:lnTo>
                  <a:lnTo>
                    <a:pt x="733476" y="202959"/>
                  </a:lnTo>
                  <a:lnTo>
                    <a:pt x="733476" y="202260"/>
                  </a:lnTo>
                  <a:lnTo>
                    <a:pt x="733476" y="202959"/>
                  </a:lnTo>
                  <a:lnTo>
                    <a:pt x="733476" y="202260"/>
                  </a:lnTo>
                  <a:lnTo>
                    <a:pt x="733476" y="202959"/>
                  </a:lnTo>
                  <a:lnTo>
                    <a:pt x="733527" y="202959"/>
                  </a:lnTo>
                  <a:lnTo>
                    <a:pt x="733527" y="200876"/>
                  </a:lnTo>
                  <a:lnTo>
                    <a:pt x="733629" y="200876"/>
                  </a:lnTo>
                  <a:lnTo>
                    <a:pt x="733629" y="200228"/>
                  </a:lnTo>
                  <a:lnTo>
                    <a:pt x="733629" y="200876"/>
                  </a:lnTo>
                  <a:lnTo>
                    <a:pt x="733629" y="198831"/>
                  </a:lnTo>
                  <a:lnTo>
                    <a:pt x="733680" y="199530"/>
                  </a:lnTo>
                  <a:lnTo>
                    <a:pt x="733680" y="200228"/>
                  </a:lnTo>
                  <a:lnTo>
                    <a:pt x="733680" y="199530"/>
                  </a:lnTo>
                  <a:lnTo>
                    <a:pt x="733680" y="200228"/>
                  </a:lnTo>
                  <a:lnTo>
                    <a:pt x="733730" y="200228"/>
                  </a:lnTo>
                  <a:lnTo>
                    <a:pt x="733730" y="200876"/>
                  </a:lnTo>
                  <a:lnTo>
                    <a:pt x="733730" y="200228"/>
                  </a:lnTo>
                  <a:lnTo>
                    <a:pt x="733730" y="200876"/>
                  </a:lnTo>
                  <a:lnTo>
                    <a:pt x="733730" y="200228"/>
                  </a:lnTo>
                  <a:lnTo>
                    <a:pt x="733730" y="200876"/>
                  </a:lnTo>
                  <a:lnTo>
                    <a:pt x="733730" y="199530"/>
                  </a:lnTo>
                  <a:lnTo>
                    <a:pt x="733730" y="200876"/>
                  </a:lnTo>
                  <a:lnTo>
                    <a:pt x="733832" y="200228"/>
                  </a:lnTo>
                  <a:lnTo>
                    <a:pt x="733832" y="200876"/>
                  </a:lnTo>
                  <a:lnTo>
                    <a:pt x="733832" y="199530"/>
                  </a:lnTo>
                  <a:lnTo>
                    <a:pt x="733832" y="200228"/>
                  </a:lnTo>
                  <a:lnTo>
                    <a:pt x="733832" y="199530"/>
                  </a:lnTo>
                  <a:lnTo>
                    <a:pt x="733832" y="200228"/>
                  </a:lnTo>
                  <a:lnTo>
                    <a:pt x="733832" y="199530"/>
                  </a:lnTo>
                  <a:lnTo>
                    <a:pt x="733883" y="199530"/>
                  </a:lnTo>
                  <a:lnTo>
                    <a:pt x="733883" y="200876"/>
                  </a:lnTo>
                  <a:lnTo>
                    <a:pt x="733933" y="200876"/>
                  </a:lnTo>
                  <a:lnTo>
                    <a:pt x="733933" y="202260"/>
                  </a:lnTo>
                  <a:lnTo>
                    <a:pt x="733933" y="200876"/>
                  </a:lnTo>
                  <a:lnTo>
                    <a:pt x="733933" y="202260"/>
                  </a:lnTo>
                  <a:lnTo>
                    <a:pt x="733972" y="202260"/>
                  </a:lnTo>
                  <a:lnTo>
                    <a:pt x="733972" y="200876"/>
                  </a:lnTo>
                  <a:lnTo>
                    <a:pt x="733972" y="202260"/>
                  </a:lnTo>
                  <a:lnTo>
                    <a:pt x="734073" y="202260"/>
                  </a:lnTo>
                  <a:lnTo>
                    <a:pt x="734073" y="200876"/>
                  </a:lnTo>
                  <a:lnTo>
                    <a:pt x="734073" y="202260"/>
                  </a:lnTo>
                  <a:lnTo>
                    <a:pt x="734073" y="200228"/>
                  </a:lnTo>
                  <a:lnTo>
                    <a:pt x="734124" y="200228"/>
                  </a:lnTo>
                  <a:lnTo>
                    <a:pt x="734124" y="200876"/>
                  </a:lnTo>
                  <a:lnTo>
                    <a:pt x="734124" y="200228"/>
                  </a:lnTo>
                  <a:lnTo>
                    <a:pt x="734124" y="202260"/>
                  </a:lnTo>
                  <a:lnTo>
                    <a:pt x="734175" y="200876"/>
                  </a:lnTo>
                  <a:lnTo>
                    <a:pt x="734175" y="203594"/>
                  </a:lnTo>
                  <a:lnTo>
                    <a:pt x="734175" y="202959"/>
                  </a:lnTo>
                  <a:lnTo>
                    <a:pt x="734276" y="202260"/>
                  </a:lnTo>
                  <a:lnTo>
                    <a:pt x="734276" y="203594"/>
                  </a:lnTo>
                  <a:lnTo>
                    <a:pt x="734276" y="202959"/>
                  </a:lnTo>
                  <a:lnTo>
                    <a:pt x="734327" y="202260"/>
                  </a:lnTo>
                  <a:lnTo>
                    <a:pt x="734327" y="202959"/>
                  </a:lnTo>
                  <a:lnTo>
                    <a:pt x="734327" y="202260"/>
                  </a:lnTo>
                  <a:lnTo>
                    <a:pt x="734378" y="202260"/>
                  </a:lnTo>
                  <a:lnTo>
                    <a:pt x="734378" y="202959"/>
                  </a:lnTo>
                  <a:lnTo>
                    <a:pt x="734378" y="202260"/>
                  </a:lnTo>
                  <a:lnTo>
                    <a:pt x="734378" y="202959"/>
                  </a:lnTo>
                  <a:lnTo>
                    <a:pt x="734429" y="202959"/>
                  </a:lnTo>
                  <a:lnTo>
                    <a:pt x="734429" y="202260"/>
                  </a:lnTo>
                  <a:lnTo>
                    <a:pt x="734429" y="202959"/>
                  </a:lnTo>
                  <a:lnTo>
                    <a:pt x="734518" y="202959"/>
                  </a:lnTo>
                  <a:lnTo>
                    <a:pt x="734518" y="203594"/>
                  </a:lnTo>
                  <a:lnTo>
                    <a:pt x="734518" y="200876"/>
                  </a:lnTo>
                  <a:lnTo>
                    <a:pt x="734568" y="200876"/>
                  </a:lnTo>
                  <a:lnTo>
                    <a:pt x="734568" y="200228"/>
                  </a:lnTo>
                  <a:lnTo>
                    <a:pt x="734619" y="199530"/>
                  </a:lnTo>
                  <a:lnTo>
                    <a:pt x="734619" y="200228"/>
                  </a:lnTo>
                  <a:lnTo>
                    <a:pt x="734619" y="199530"/>
                  </a:lnTo>
                  <a:lnTo>
                    <a:pt x="734619" y="202959"/>
                  </a:lnTo>
                  <a:lnTo>
                    <a:pt x="734619" y="200876"/>
                  </a:lnTo>
                  <a:lnTo>
                    <a:pt x="734670" y="200876"/>
                  </a:lnTo>
                  <a:lnTo>
                    <a:pt x="734670" y="203594"/>
                  </a:lnTo>
                  <a:lnTo>
                    <a:pt x="734670" y="202959"/>
                  </a:lnTo>
                  <a:lnTo>
                    <a:pt x="734772" y="203594"/>
                  </a:lnTo>
                  <a:lnTo>
                    <a:pt x="734772" y="204292"/>
                  </a:lnTo>
                  <a:lnTo>
                    <a:pt x="734772" y="202260"/>
                  </a:lnTo>
                  <a:lnTo>
                    <a:pt x="734772" y="203594"/>
                  </a:lnTo>
                  <a:lnTo>
                    <a:pt x="734873" y="203594"/>
                  </a:lnTo>
                  <a:lnTo>
                    <a:pt x="734873" y="204292"/>
                  </a:lnTo>
                  <a:lnTo>
                    <a:pt x="734873" y="203594"/>
                  </a:lnTo>
                  <a:lnTo>
                    <a:pt x="734873" y="204292"/>
                  </a:lnTo>
                  <a:lnTo>
                    <a:pt x="734873" y="203594"/>
                  </a:lnTo>
                  <a:lnTo>
                    <a:pt x="734975" y="203594"/>
                  </a:lnTo>
                  <a:lnTo>
                    <a:pt x="734975" y="202959"/>
                  </a:lnTo>
                  <a:lnTo>
                    <a:pt x="734975" y="203594"/>
                  </a:lnTo>
                  <a:lnTo>
                    <a:pt x="734975" y="202959"/>
                  </a:lnTo>
                  <a:lnTo>
                    <a:pt x="734975" y="203594"/>
                  </a:lnTo>
                  <a:lnTo>
                    <a:pt x="734975" y="202260"/>
                  </a:lnTo>
                  <a:lnTo>
                    <a:pt x="734975" y="202959"/>
                  </a:lnTo>
                  <a:lnTo>
                    <a:pt x="735013" y="202959"/>
                  </a:lnTo>
                  <a:lnTo>
                    <a:pt x="735013" y="200876"/>
                  </a:lnTo>
                  <a:lnTo>
                    <a:pt x="735013" y="202260"/>
                  </a:lnTo>
                  <a:lnTo>
                    <a:pt x="735013" y="200876"/>
                  </a:lnTo>
                  <a:lnTo>
                    <a:pt x="735064" y="200876"/>
                  </a:lnTo>
                  <a:lnTo>
                    <a:pt x="735064" y="200228"/>
                  </a:lnTo>
                  <a:lnTo>
                    <a:pt x="735064" y="200876"/>
                  </a:lnTo>
                  <a:lnTo>
                    <a:pt x="735064" y="199530"/>
                  </a:lnTo>
                  <a:lnTo>
                    <a:pt x="735064" y="200876"/>
                  </a:lnTo>
                  <a:lnTo>
                    <a:pt x="735115" y="202260"/>
                  </a:lnTo>
                  <a:lnTo>
                    <a:pt x="735115" y="200228"/>
                  </a:lnTo>
                  <a:lnTo>
                    <a:pt x="735115" y="203594"/>
                  </a:lnTo>
                  <a:lnTo>
                    <a:pt x="735216" y="203594"/>
                  </a:lnTo>
                  <a:lnTo>
                    <a:pt x="735216" y="202260"/>
                  </a:lnTo>
                  <a:lnTo>
                    <a:pt x="735216" y="203594"/>
                  </a:lnTo>
                  <a:lnTo>
                    <a:pt x="735267" y="203594"/>
                  </a:lnTo>
                  <a:lnTo>
                    <a:pt x="735267" y="202959"/>
                  </a:lnTo>
                  <a:lnTo>
                    <a:pt x="735267" y="203594"/>
                  </a:lnTo>
                  <a:lnTo>
                    <a:pt x="735318" y="203594"/>
                  </a:lnTo>
                  <a:lnTo>
                    <a:pt x="735318" y="204292"/>
                  </a:lnTo>
                  <a:lnTo>
                    <a:pt x="735419" y="204292"/>
                  </a:lnTo>
                  <a:lnTo>
                    <a:pt x="735419" y="203594"/>
                  </a:lnTo>
                  <a:lnTo>
                    <a:pt x="735470" y="204292"/>
                  </a:lnTo>
                  <a:lnTo>
                    <a:pt x="735470" y="202959"/>
                  </a:lnTo>
                  <a:lnTo>
                    <a:pt x="735521" y="202959"/>
                  </a:lnTo>
                  <a:lnTo>
                    <a:pt x="735521" y="200876"/>
                  </a:lnTo>
                  <a:lnTo>
                    <a:pt x="735559" y="200876"/>
                  </a:lnTo>
                  <a:lnTo>
                    <a:pt x="735559" y="200228"/>
                  </a:lnTo>
                  <a:lnTo>
                    <a:pt x="735559" y="200876"/>
                  </a:lnTo>
                  <a:lnTo>
                    <a:pt x="735559" y="200228"/>
                  </a:lnTo>
                  <a:lnTo>
                    <a:pt x="735559" y="200876"/>
                  </a:lnTo>
                  <a:lnTo>
                    <a:pt x="735559" y="200228"/>
                  </a:lnTo>
                  <a:lnTo>
                    <a:pt x="735559" y="202260"/>
                  </a:lnTo>
                  <a:lnTo>
                    <a:pt x="735661" y="202260"/>
                  </a:lnTo>
                  <a:lnTo>
                    <a:pt x="735661" y="200228"/>
                  </a:lnTo>
                  <a:lnTo>
                    <a:pt x="735661" y="200876"/>
                  </a:lnTo>
                  <a:lnTo>
                    <a:pt x="735661" y="200228"/>
                  </a:lnTo>
                  <a:lnTo>
                    <a:pt x="735661" y="203594"/>
                  </a:lnTo>
                  <a:lnTo>
                    <a:pt x="735661" y="202959"/>
                  </a:lnTo>
                  <a:lnTo>
                    <a:pt x="735712" y="202959"/>
                  </a:lnTo>
                  <a:lnTo>
                    <a:pt x="735712" y="200876"/>
                  </a:lnTo>
                  <a:lnTo>
                    <a:pt x="735712" y="203594"/>
                  </a:lnTo>
                  <a:lnTo>
                    <a:pt x="735712" y="202959"/>
                  </a:lnTo>
                  <a:lnTo>
                    <a:pt x="735762" y="202959"/>
                  </a:lnTo>
                  <a:lnTo>
                    <a:pt x="735762" y="202260"/>
                  </a:lnTo>
                  <a:lnTo>
                    <a:pt x="735762" y="203594"/>
                  </a:lnTo>
                  <a:lnTo>
                    <a:pt x="735762" y="202959"/>
                  </a:lnTo>
                  <a:lnTo>
                    <a:pt x="735864" y="202959"/>
                  </a:lnTo>
                  <a:lnTo>
                    <a:pt x="735864" y="203594"/>
                  </a:lnTo>
                  <a:lnTo>
                    <a:pt x="735864" y="202959"/>
                  </a:lnTo>
                  <a:lnTo>
                    <a:pt x="735864" y="204292"/>
                  </a:lnTo>
                  <a:lnTo>
                    <a:pt x="735864" y="203594"/>
                  </a:lnTo>
                  <a:lnTo>
                    <a:pt x="735864" y="204292"/>
                  </a:lnTo>
                  <a:lnTo>
                    <a:pt x="735864" y="203594"/>
                  </a:lnTo>
                  <a:lnTo>
                    <a:pt x="735864" y="204292"/>
                  </a:lnTo>
                  <a:lnTo>
                    <a:pt x="735915" y="204292"/>
                  </a:lnTo>
                  <a:lnTo>
                    <a:pt x="735915" y="203594"/>
                  </a:lnTo>
                  <a:lnTo>
                    <a:pt x="735915" y="204292"/>
                  </a:lnTo>
                  <a:lnTo>
                    <a:pt x="735915" y="203594"/>
                  </a:lnTo>
                  <a:lnTo>
                    <a:pt x="735915" y="204292"/>
                  </a:lnTo>
                  <a:lnTo>
                    <a:pt x="735915" y="203594"/>
                  </a:lnTo>
                  <a:lnTo>
                    <a:pt x="735966" y="203594"/>
                  </a:lnTo>
                  <a:lnTo>
                    <a:pt x="735966" y="202959"/>
                  </a:lnTo>
                  <a:lnTo>
                    <a:pt x="735966" y="203594"/>
                  </a:lnTo>
                  <a:lnTo>
                    <a:pt x="735966" y="202959"/>
                  </a:lnTo>
                  <a:lnTo>
                    <a:pt x="736016" y="202959"/>
                  </a:lnTo>
                  <a:lnTo>
                    <a:pt x="736016" y="200876"/>
                  </a:lnTo>
                  <a:lnTo>
                    <a:pt x="736016" y="202260"/>
                  </a:lnTo>
                  <a:lnTo>
                    <a:pt x="736016" y="199530"/>
                  </a:lnTo>
                  <a:lnTo>
                    <a:pt x="736105" y="200228"/>
                  </a:lnTo>
                  <a:lnTo>
                    <a:pt x="736105" y="202260"/>
                  </a:lnTo>
                  <a:lnTo>
                    <a:pt x="736105" y="200228"/>
                  </a:lnTo>
                  <a:lnTo>
                    <a:pt x="736156" y="200228"/>
                  </a:lnTo>
                  <a:lnTo>
                    <a:pt x="736156" y="204292"/>
                  </a:lnTo>
                  <a:lnTo>
                    <a:pt x="736156" y="202260"/>
                  </a:lnTo>
                  <a:lnTo>
                    <a:pt x="736207" y="200876"/>
                  </a:lnTo>
                  <a:lnTo>
                    <a:pt x="736207" y="203594"/>
                  </a:lnTo>
                  <a:lnTo>
                    <a:pt x="736207" y="202959"/>
                  </a:lnTo>
                  <a:lnTo>
                    <a:pt x="736258" y="202959"/>
                  </a:lnTo>
                  <a:lnTo>
                    <a:pt x="736258" y="203594"/>
                  </a:lnTo>
                  <a:lnTo>
                    <a:pt x="736258" y="202959"/>
                  </a:lnTo>
                  <a:lnTo>
                    <a:pt x="736258" y="204292"/>
                  </a:lnTo>
                  <a:lnTo>
                    <a:pt x="736359" y="203594"/>
                  </a:lnTo>
                  <a:lnTo>
                    <a:pt x="736359" y="204292"/>
                  </a:lnTo>
                  <a:lnTo>
                    <a:pt x="736410" y="204292"/>
                  </a:lnTo>
                  <a:lnTo>
                    <a:pt x="736410" y="203594"/>
                  </a:lnTo>
                  <a:lnTo>
                    <a:pt x="736410" y="204292"/>
                  </a:lnTo>
                  <a:lnTo>
                    <a:pt x="736461" y="204292"/>
                  </a:lnTo>
                  <a:lnTo>
                    <a:pt x="736461" y="202959"/>
                  </a:lnTo>
                  <a:lnTo>
                    <a:pt x="736562" y="202959"/>
                  </a:lnTo>
                  <a:lnTo>
                    <a:pt x="736562" y="203594"/>
                  </a:lnTo>
                  <a:lnTo>
                    <a:pt x="736562" y="200876"/>
                  </a:lnTo>
                  <a:lnTo>
                    <a:pt x="736601" y="200876"/>
                  </a:lnTo>
                  <a:lnTo>
                    <a:pt x="736601" y="202260"/>
                  </a:lnTo>
                  <a:lnTo>
                    <a:pt x="736601" y="200876"/>
                  </a:lnTo>
                  <a:lnTo>
                    <a:pt x="736601" y="202260"/>
                  </a:lnTo>
                  <a:lnTo>
                    <a:pt x="736601" y="200876"/>
                  </a:lnTo>
                  <a:lnTo>
                    <a:pt x="736651" y="202260"/>
                  </a:lnTo>
                  <a:lnTo>
                    <a:pt x="736651" y="203594"/>
                  </a:lnTo>
                  <a:lnTo>
                    <a:pt x="736651" y="202959"/>
                  </a:lnTo>
                  <a:lnTo>
                    <a:pt x="736651" y="203594"/>
                  </a:lnTo>
                  <a:lnTo>
                    <a:pt x="736651" y="200876"/>
                  </a:lnTo>
                  <a:lnTo>
                    <a:pt x="736651" y="202260"/>
                  </a:lnTo>
                  <a:lnTo>
                    <a:pt x="736702" y="202260"/>
                  </a:lnTo>
                  <a:lnTo>
                    <a:pt x="736702" y="202959"/>
                  </a:lnTo>
                  <a:lnTo>
                    <a:pt x="736702" y="202260"/>
                  </a:lnTo>
                  <a:lnTo>
                    <a:pt x="736702" y="202959"/>
                  </a:lnTo>
                  <a:lnTo>
                    <a:pt x="736804" y="202959"/>
                  </a:lnTo>
                  <a:lnTo>
                    <a:pt x="736804" y="203594"/>
                  </a:lnTo>
                  <a:lnTo>
                    <a:pt x="736804" y="202959"/>
                  </a:lnTo>
                  <a:lnTo>
                    <a:pt x="736804" y="203594"/>
                  </a:lnTo>
                  <a:lnTo>
                    <a:pt x="736855" y="203594"/>
                  </a:lnTo>
                  <a:lnTo>
                    <a:pt x="736855" y="202959"/>
                  </a:lnTo>
                  <a:lnTo>
                    <a:pt x="736855" y="204292"/>
                  </a:lnTo>
                  <a:lnTo>
                    <a:pt x="736905" y="203594"/>
                  </a:lnTo>
                  <a:lnTo>
                    <a:pt x="736905" y="204292"/>
                  </a:lnTo>
                  <a:lnTo>
                    <a:pt x="736905" y="203594"/>
                  </a:lnTo>
                  <a:lnTo>
                    <a:pt x="737007" y="203594"/>
                  </a:lnTo>
                  <a:lnTo>
                    <a:pt x="737007" y="202959"/>
                  </a:lnTo>
                  <a:lnTo>
                    <a:pt x="737058" y="202959"/>
                  </a:lnTo>
                  <a:lnTo>
                    <a:pt x="737058" y="200876"/>
                  </a:lnTo>
                  <a:lnTo>
                    <a:pt x="737058" y="202959"/>
                  </a:lnTo>
                  <a:lnTo>
                    <a:pt x="737108" y="202959"/>
                  </a:lnTo>
                  <a:lnTo>
                    <a:pt x="737108" y="202260"/>
                  </a:lnTo>
                  <a:lnTo>
                    <a:pt x="737108" y="202959"/>
                  </a:lnTo>
                  <a:lnTo>
                    <a:pt x="737108" y="200876"/>
                  </a:lnTo>
                  <a:lnTo>
                    <a:pt x="737108" y="203594"/>
                  </a:lnTo>
                  <a:lnTo>
                    <a:pt x="737147" y="203594"/>
                  </a:lnTo>
                  <a:lnTo>
                    <a:pt x="737147" y="204292"/>
                  </a:lnTo>
                  <a:lnTo>
                    <a:pt x="737147" y="202260"/>
                  </a:lnTo>
                  <a:lnTo>
                    <a:pt x="737147" y="203594"/>
                  </a:lnTo>
                  <a:lnTo>
                    <a:pt x="737147" y="202959"/>
                  </a:lnTo>
                  <a:lnTo>
                    <a:pt x="737248" y="203594"/>
                  </a:lnTo>
                  <a:lnTo>
                    <a:pt x="737248" y="202959"/>
                  </a:lnTo>
                  <a:lnTo>
                    <a:pt x="737248" y="203594"/>
                  </a:lnTo>
                  <a:lnTo>
                    <a:pt x="737299" y="203594"/>
                  </a:lnTo>
                  <a:lnTo>
                    <a:pt x="737299" y="204292"/>
                  </a:lnTo>
                  <a:lnTo>
                    <a:pt x="737299" y="203594"/>
                  </a:lnTo>
                  <a:lnTo>
                    <a:pt x="737299" y="204292"/>
                  </a:lnTo>
                  <a:lnTo>
                    <a:pt x="737299" y="203594"/>
                  </a:lnTo>
                  <a:lnTo>
                    <a:pt x="737451" y="203594"/>
                  </a:lnTo>
                  <a:lnTo>
                    <a:pt x="737451" y="202959"/>
                  </a:lnTo>
                  <a:lnTo>
                    <a:pt x="737451" y="203594"/>
                  </a:lnTo>
                  <a:lnTo>
                    <a:pt x="737451" y="202959"/>
                  </a:lnTo>
                  <a:lnTo>
                    <a:pt x="737502" y="202959"/>
                  </a:lnTo>
                  <a:lnTo>
                    <a:pt x="737502" y="203594"/>
                  </a:lnTo>
                  <a:lnTo>
                    <a:pt x="737502" y="202260"/>
                  </a:lnTo>
                  <a:lnTo>
                    <a:pt x="737553" y="202260"/>
                  </a:lnTo>
                  <a:lnTo>
                    <a:pt x="737553" y="200876"/>
                  </a:lnTo>
                  <a:lnTo>
                    <a:pt x="737553" y="203594"/>
                  </a:lnTo>
                  <a:lnTo>
                    <a:pt x="737553" y="202959"/>
                  </a:lnTo>
                  <a:lnTo>
                    <a:pt x="737553" y="203594"/>
                  </a:lnTo>
                  <a:lnTo>
                    <a:pt x="737553" y="202959"/>
                  </a:lnTo>
                  <a:lnTo>
                    <a:pt x="737604" y="202959"/>
                  </a:lnTo>
                  <a:lnTo>
                    <a:pt x="737604" y="202260"/>
                  </a:lnTo>
                  <a:lnTo>
                    <a:pt x="737604" y="204292"/>
                  </a:lnTo>
                  <a:lnTo>
                    <a:pt x="737604" y="202959"/>
                  </a:lnTo>
                  <a:lnTo>
                    <a:pt x="737693" y="202959"/>
                  </a:lnTo>
                  <a:lnTo>
                    <a:pt x="737693" y="204292"/>
                  </a:lnTo>
                  <a:lnTo>
                    <a:pt x="737693" y="203594"/>
                  </a:lnTo>
                  <a:lnTo>
                    <a:pt x="737693" y="204292"/>
                  </a:lnTo>
                  <a:lnTo>
                    <a:pt x="737693" y="203594"/>
                  </a:lnTo>
                  <a:lnTo>
                    <a:pt x="737743" y="204292"/>
                  </a:lnTo>
                  <a:lnTo>
                    <a:pt x="737845" y="204292"/>
                  </a:lnTo>
                  <a:lnTo>
                    <a:pt x="737845" y="203594"/>
                  </a:lnTo>
                  <a:lnTo>
                    <a:pt x="737845" y="204292"/>
                  </a:lnTo>
                  <a:lnTo>
                    <a:pt x="737845" y="203594"/>
                  </a:lnTo>
                  <a:lnTo>
                    <a:pt x="737845" y="204292"/>
                  </a:lnTo>
                  <a:lnTo>
                    <a:pt x="737845" y="203594"/>
                  </a:lnTo>
                  <a:lnTo>
                    <a:pt x="737947" y="203594"/>
                  </a:lnTo>
                  <a:lnTo>
                    <a:pt x="737947" y="202959"/>
                  </a:lnTo>
                  <a:lnTo>
                    <a:pt x="737947" y="203594"/>
                  </a:lnTo>
                  <a:lnTo>
                    <a:pt x="737947" y="202260"/>
                  </a:lnTo>
                  <a:lnTo>
                    <a:pt x="737997" y="202260"/>
                  </a:lnTo>
                  <a:lnTo>
                    <a:pt x="737997" y="200876"/>
                  </a:lnTo>
                  <a:lnTo>
                    <a:pt x="737997" y="202260"/>
                  </a:lnTo>
                  <a:lnTo>
                    <a:pt x="737997" y="200228"/>
                  </a:lnTo>
                  <a:lnTo>
                    <a:pt x="737997" y="200876"/>
                  </a:lnTo>
                  <a:lnTo>
                    <a:pt x="737997" y="200228"/>
                  </a:lnTo>
                  <a:lnTo>
                    <a:pt x="738048" y="200876"/>
                  </a:lnTo>
                  <a:lnTo>
                    <a:pt x="738048" y="202260"/>
                  </a:lnTo>
                  <a:lnTo>
                    <a:pt x="738048" y="200876"/>
                  </a:lnTo>
                  <a:lnTo>
                    <a:pt x="738048" y="202959"/>
                  </a:lnTo>
                  <a:lnTo>
                    <a:pt x="738150" y="202959"/>
                  </a:lnTo>
                  <a:lnTo>
                    <a:pt x="738150" y="203594"/>
                  </a:lnTo>
                  <a:lnTo>
                    <a:pt x="738150" y="202959"/>
                  </a:lnTo>
                  <a:lnTo>
                    <a:pt x="738150" y="203594"/>
                  </a:lnTo>
                  <a:lnTo>
                    <a:pt x="738150" y="202260"/>
                  </a:lnTo>
                  <a:lnTo>
                    <a:pt x="738150" y="203594"/>
                  </a:lnTo>
                  <a:lnTo>
                    <a:pt x="738188" y="203594"/>
                  </a:lnTo>
                  <a:lnTo>
                    <a:pt x="738188" y="202959"/>
                  </a:lnTo>
                  <a:lnTo>
                    <a:pt x="738188" y="204292"/>
                  </a:lnTo>
                  <a:lnTo>
                    <a:pt x="738239" y="203594"/>
                  </a:lnTo>
                  <a:lnTo>
                    <a:pt x="738239" y="204292"/>
                  </a:lnTo>
                  <a:lnTo>
                    <a:pt x="738290" y="204292"/>
                  </a:lnTo>
                  <a:lnTo>
                    <a:pt x="738290" y="203594"/>
                  </a:lnTo>
                  <a:lnTo>
                    <a:pt x="738391" y="204292"/>
                  </a:lnTo>
                  <a:lnTo>
                    <a:pt x="738391" y="203594"/>
                  </a:lnTo>
                  <a:lnTo>
                    <a:pt x="738391" y="204292"/>
                  </a:lnTo>
                  <a:lnTo>
                    <a:pt x="738391" y="203594"/>
                  </a:lnTo>
                  <a:lnTo>
                    <a:pt x="738442" y="203594"/>
                  </a:lnTo>
                  <a:lnTo>
                    <a:pt x="738442" y="202959"/>
                  </a:lnTo>
                  <a:lnTo>
                    <a:pt x="738442" y="203594"/>
                  </a:lnTo>
                  <a:lnTo>
                    <a:pt x="738442" y="202260"/>
                  </a:lnTo>
                  <a:lnTo>
                    <a:pt x="738442" y="202959"/>
                  </a:lnTo>
                  <a:lnTo>
                    <a:pt x="738442" y="202260"/>
                  </a:lnTo>
                  <a:lnTo>
                    <a:pt x="738493" y="202260"/>
                  </a:lnTo>
                  <a:lnTo>
                    <a:pt x="738493" y="200228"/>
                  </a:lnTo>
                  <a:lnTo>
                    <a:pt x="738493" y="202260"/>
                  </a:lnTo>
                  <a:lnTo>
                    <a:pt x="738594" y="202260"/>
                  </a:lnTo>
                  <a:lnTo>
                    <a:pt x="738594" y="200876"/>
                  </a:lnTo>
                  <a:lnTo>
                    <a:pt x="738594" y="202260"/>
                  </a:lnTo>
                  <a:lnTo>
                    <a:pt x="738594" y="200228"/>
                  </a:lnTo>
                  <a:lnTo>
                    <a:pt x="738594" y="202959"/>
                  </a:lnTo>
                  <a:lnTo>
                    <a:pt x="738645" y="202959"/>
                  </a:lnTo>
                  <a:lnTo>
                    <a:pt x="738645" y="202260"/>
                  </a:lnTo>
                  <a:lnTo>
                    <a:pt x="738645" y="202959"/>
                  </a:lnTo>
                  <a:lnTo>
                    <a:pt x="738645" y="202260"/>
                  </a:lnTo>
                  <a:lnTo>
                    <a:pt x="738645" y="202959"/>
                  </a:lnTo>
                  <a:lnTo>
                    <a:pt x="738645" y="202260"/>
                  </a:lnTo>
                  <a:lnTo>
                    <a:pt x="738645" y="202959"/>
                  </a:lnTo>
                  <a:lnTo>
                    <a:pt x="738696" y="202959"/>
                  </a:lnTo>
                  <a:lnTo>
                    <a:pt x="738696" y="202260"/>
                  </a:lnTo>
                  <a:lnTo>
                    <a:pt x="738696" y="203594"/>
                  </a:lnTo>
                  <a:lnTo>
                    <a:pt x="738696" y="202959"/>
                  </a:lnTo>
                  <a:lnTo>
                    <a:pt x="738696" y="203594"/>
                  </a:lnTo>
                  <a:lnTo>
                    <a:pt x="738836" y="203594"/>
                  </a:lnTo>
                  <a:lnTo>
                    <a:pt x="738836" y="204292"/>
                  </a:lnTo>
                  <a:lnTo>
                    <a:pt x="738836" y="203594"/>
                  </a:lnTo>
                  <a:lnTo>
                    <a:pt x="738836" y="204292"/>
                  </a:lnTo>
                  <a:lnTo>
                    <a:pt x="738836" y="203594"/>
                  </a:lnTo>
                  <a:lnTo>
                    <a:pt x="738887" y="204292"/>
                  </a:lnTo>
                  <a:lnTo>
                    <a:pt x="738887" y="202959"/>
                  </a:lnTo>
                  <a:lnTo>
                    <a:pt x="738887" y="203594"/>
                  </a:lnTo>
                  <a:lnTo>
                    <a:pt x="738937" y="203594"/>
                  </a:lnTo>
                  <a:lnTo>
                    <a:pt x="738937" y="202260"/>
                  </a:lnTo>
                  <a:lnTo>
                    <a:pt x="739039" y="202260"/>
                  </a:lnTo>
                  <a:lnTo>
                    <a:pt x="739039" y="200228"/>
                  </a:lnTo>
                  <a:lnTo>
                    <a:pt x="739039" y="200876"/>
                  </a:lnTo>
                  <a:lnTo>
                    <a:pt x="739039" y="200228"/>
                  </a:lnTo>
                  <a:lnTo>
                    <a:pt x="739090" y="200228"/>
                  </a:lnTo>
                  <a:lnTo>
                    <a:pt x="739090" y="199530"/>
                  </a:lnTo>
                  <a:lnTo>
                    <a:pt x="739090" y="202260"/>
                  </a:lnTo>
                  <a:lnTo>
                    <a:pt x="739141" y="202260"/>
                  </a:lnTo>
                  <a:lnTo>
                    <a:pt x="739141" y="200228"/>
                  </a:lnTo>
                  <a:lnTo>
                    <a:pt x="739141" y="202959"/>
                  </a:lnTo>
                  <a:lnTo>
                    <a:pt x="739191" y="202959"/>
                  </a:lnTo>
                  <a:lnTo>
                    <a:pt x="739191" y="202260"/>
                  </a:lnTo>
                  <a:lnTo>
                    <a:pt x="739191" y="203594"/>
                  </a:lnTo>
                  <a:lnTo>
                    <a:pt x="739191" y="202959"/>
                  </a:lnTo>
                  <a:lnTo>
                    <a:pt x="739280" y="202959"/>
                  </a:lnTo>
                  <a:lnTo>
                    <a:pt x="739280" y="203594"/>
                  </a:lnTo>
                  <a:lnTo>
                    <a:pt x="739331" y="203594"/>
                  </a:lnTo>
                  <a:lnTo>
                    <a:pt x="739331" y="202959"/>
                  </a:lnTo>
                  <a:lnTo>
                    <a:pt x="739331" y="203594"/>
                  </a:lnTo>
                  <a:lnTo>
                    <a:pt x="739331" y="202959"/>
                  </a:lnTo>
                  <a:lnTo>
                    <a:pt x="739382" y="203594"/>
                  </a:lnTo>
                  <a:lnTo>
                    <a:pt x="739382" y="202959"/>
                  </a:lnTo>
                  <a:lnTo>
                    <a:pt x="739382" y="203594"/>
                  </a:lnTo>
                  <a:lnTo>
                    <a:pt x="739382" y="202959"/>
                  </a:lnTo>
                  <a:lnTo>
                    <a:pt x="739382" y="203594"/>
                  </a:lnTo>
                  <a:lnTo>
                    <a:pt x="739382" y="202959"/>
                  </a:lnTo>
                  <a:lnTo>
                    <a:pt x="739433" y="202959"/>
                  </a:lnTo>
                  <a:lnTo>
                    <a:pt x="739433" y="202260"/>
                  </a:lnTo>
                  <a:lnTo>
                    <a:pt x="739534" y="202260"/>
                  </a:lnTo>
                  <a:lnTo>
                    <a:pt x="739534" y="199530"/>
                  </a:lnTo>
                  <a:lnTo>
                    <a:pt x="739534" y="200228"/>
                  </a:lnTo>
                  <a:lnTo>
                    <a:pt x="739585" y="200228"/>
                  </a:lnTo>
                  <a:lnTo>
                    <a:pt x="739585" y="197447"/>
                  </a:lnTo>
                  <a:lnTo>
                    <a:pt x="739585" y="202260"/>
                  </a:lnTo>
                  <a:lnTo>
                    <a:pt x="739636" y="200876"/>
                  </a:lnTo>
                  <a:lnTo>
                    <a:pt x="739636" y="199530"/>
                  </a:lnTo>
                  <a:lnTo>
                    <a:pt x="739636" y="202260"/>
                  </a:lnTo>
                  <a:lnTo>
                    <a:pt x="739636" y="200228"/>
                  </a:lnTo>
                  <a:lnTo>
                    <a:pt x="739737" y="200228"/>
                  </a:lnTo>
                  <a:lnTo>
                    <a:pt x="739737" y="202260"/>
                  </a:lnTo>
                  <a:lnTo>
                    <a:pt x="739737" y="200876"/>
                  </a:lnTo>
                  <a:lnTo>
                    <a:pt x="739776" y="200876"/>
                  </a:lnTo>
                  <a:lnTo>
                    <a:pt x="739776" y="202260"/>
                  </a:lnTo>
                  <a:lnTo>
                    <a:pt x="739776" y="200876"/>
                  </a:lnTo>
                  <a:lnTo>
                    <a:pt x="739776" y="202260"/>
                  </a:lnTo>
                  <a:lnTo>
                    <a:pt x="739776" y="200876"/>
                  </a:lnTo>
                  <a:lnTo>
                    <a:pt x="739776" y="202260"/>
                  </a:lnTo>
                  <a:lnTo>
                    <a:pt x="739776" y="200876"/>
                  </a:lnTo>
                  <a:lnTo>
                    <a:pt x="739776" y="202260"/>
                  </a:lnTo>
                  <a:lnTo>
                    <a:pt x="739826" y="202260"/>
                  </a:lnTo>
                  <a:lnTo>
                    <a:pt x="739826" y="200876"/>
                  </a:lnTo>
                  <a:lnTo>
                    <a:pt x="739826" y="202959"/>
                  </a:lnTo>
                  <a:lnTo>
                    <a:pt x="739826" y="202260"/>
                  </a:lnTo>
                  <a:lnTo>
                    <a:pt x="739826" y="202959"/>
                  </a:lnTo>
                  <a:lnTo>
                    <a:pt x="739877" y="202959"/>
                  </a:lnTo>
                  <a:lnTo>
                    <a:pt x="739877" y="202260"/>
                  </a:lnTo>
                  <a:lnTo>
                    <a:pt x="739877" y="202959"/>
                  </a:lnTo>
                  <a:lnTo>
                    <a:pt x="739877" y="202260"/>
                  </a:lnTo>
                  <a:lnTo>
                    <a:pt x="739877" y="202959"/>
                  </a:lnTo>
                  <a:lnTo>
                    <a:pt x="739979" y="202959"/>
                  </a:lnTo>
                  <a:lnTo>
                    <a:pt x="739979" y="200876"/>
                  </a:lnTo>
                  <a:lnTo>
                    <a:pt x="740030" y="200876"/>
                  </a:lnTo>
                  <a:lnTo>
                    <a:pt x="740030" y="199530"/>
                  </a:lnTo>
                  <a:lnTo>
                    <a:pt x="740030" y="200876"/>
                  </a:lnTo>
                  <a:lnTo>
                    <a:pt x="740080" y="200876"/>
                  </a:lnTo>
                  <a:lnTo>
                    <a:pt x="740080" y="198831"/>
                  </a:lnTo>
                  <a:lnTo>
                    <a:pt x="740080" y="202959"/>
                  </a:lnTo>
                  <a:lnTo>
                    <a:pt x="740080" y="202260"/>
                  </a:lnTo>
                  <a:lnTo>
                    <a:pt x="740182" y="202260"/>
                  </a:lnTo>
                  <a:lnTo>
                    <a:pt x="740182" y="200228"/>
                  </a:lnTo>
                  <a:lnTo>
                    <a:pt x="740182" y="202260"/>
                  </a:lnTo>
                  <a:lnTo>
                    <a:pt x="740233" y="202260"/>
                  </a:lnTo>
                  <a:lnTo>
                    <a:pt x="740233" y="200228"/>
                  </a:lnTo>
                  <a:lnTo>
                    <a:pt x="740233" y="202260"/>
                  </a:lnTo>
                  <a:lnTo>
                    <a:pt x="740233" y="200876"/>
                  </a:lnTo>
                  <a:lnTo>
                    <a:pt x="740233" y="202260"/>
                  </a:lnTo>
                  <a:lnTo>
                    <a:pt x="740233" y="200876"/>
                  </a:lnTo>
                  <a:lnTo>
                    <a:pt x="740283" y="200876"/>
                  </a:lnTo>
                  <a:lnTo>
                    <a:pt x="740283" y="202260"/>
                  </a:lnTo>
                  <a:lnTo>
                    <a:pt x="740322" y="202260"/>
                  </a:lnTo>
                  <a:lnTo>
                    <a:pt x="740322" y="202959"/>
                  </a:lnTo>
                  <a:lnTo>
                    <a:pt x="740322" y="202260"/>
                  </a:lnTo>
                  <a:lnTo>
                    <a:pt x="740322" y="202959"/>
                  </a:lnTo>
                  <a:lnTo>
                    <a:pt x="740423" y="202959"/>
                  </a:lnTo>
                  <a:lnTo>
                    <a:pt x="740423" y="203594"/>
                  </a:lnTo>
                  <a:lnTo>
                    <a:pt x="740423" y="202959"/>
                  </a:lnTo>
                  <a:lnTo>
                    <a:pt x="740474" y="202260"/>
                  </a:lnTo>
                  <a:lnTo>
                    <a:pt x="740474" y="202959"/>
                  </a:lnTo>
                  <a:lnTo>
                    <a:pt x="740474" y="202260"/>
                  </a:lnTo>
                  <a:lnTo>
                    <a:pt x="740474" y="202959"/>
                  </a:lnTo>
                  <a:lnTo>
                    <a:pt x="740474" y="202260"/>
                  </a:lnTo>
                  <a:lnTo>
                    <a:pt x="740474" y="202959"/>
                  </a:lnTo>
                  <a:lnTo>
                    <a:pt x="740474" y="202260"/>
                  </a:lnTo>
                  <a:lnTo>
                    <a:pt x="740525" y="202260"/>
                  </a:lnTo>
                  <a:lnTo>
                    <a:pt x="740525" y="200228"/>
                  </a:lnTo>
                  <a:lnTo>
                    <a:pt x="740525" y="200876"/>
                  </a:lnTo>
                  <a:lnTo>
                    <a:pt x="740525" y="200228"/>
                  </a:lnTo>
                  <a:lnTo>
                    <a:pt x="740525" y="200876"/>
                  </a:lnTo>
                  <a:lnTo>
                    <a:pt x="740525" y="199530"/>
                  </a:lnTo>
                  <a:lnTo>
                    <a:pt x="740626" y="199530"/>
                  </a:lnTo>
                  <a:lnTo>
                    <a:pt x="740626" y="200876"/>
                  </a:lnTo>
                  <a:lnTo>
                    <a:pt x="740626" y="199530"/>
                  </a:lnTo>
                  <a:lnTo>
                    <a:pt x="740626" y="200876"/>
                  </a:lnTo>
                  <a:lnTo>
                    <a:pt x="740677" y="200876"/>
                  </a:lnTo>
                  <a:lnTo>
                    <a:pt x="740677" y="202260"/>
                  </a:lnTo>
                  <a:lnTo>
                    <a:pt x="740677" y="200876"/>
                  </a:lnTo>
                  <a:lnTo>
                    <a:pt x="740779" y="200876"/>
                  </a:lnTo>
                  <a:lnTo>
                    <a:pt x="740779" y="202260"/>
                  </a:lnTo>
                  <a:lnTo>
                    <a:pt x="740779" y="200876"/>
                  </a:lnTo>
                  <a:lnTo>
                    <a:pt x="740779" y="202260"/>
                  </a:lnTo>
                  <a:lnTo>
                    <a:pt x="740868" y="202260"/>
                  </a:lnTo>
                  <a:lnTo>
                    <a:pt x="740868" y="202959"/>
                  </a:lnTo>
                  <a:lnTo>
                    <a:pt x="740868" y="202260"/>
                  </a:lnTo>
                  <a:lnTo>
                    <a:pt x="740868" y="202959"/>
                  </a:lnTo>
                  <a:lnTo>
                    <a:pt x="740918" y="202959"/>
                  </a:lnTo>
                  <a:lnTo>
                    <a:pt x="740918" y="203594"/>
                  </a:lnTo>
                  <a:lnTo>
                    <a:pt x="740918" y="202260"/>
                  </a:lnTo>
                  <a:lnTo>
                    <a:pt x="740969" y="202260"/>
                  </a:lnTo>
                  <a:lnTo>
                    <a:pt x="740969" y="200228"/>
                  </a:lnTo>
                  <a:lnTo>
                    <a:pt x="740969" y="200876"/>
                  </a:lnTo>
                  <a:lnTo>
                    <a:pt x="740969" y="200228"/>
                  </a:lnTo>
                  <a:lnTo>
                    <a:pt x="741020" y="200228"/>
                  </a:lnTo>
                  <a:lnTo>
                    <a:pt x="741020" y="198831"/>
                  </a:lnTo>
                  <a:lnTo>
                    <a:pt x="741020" y="199530"/>
                  </a:lnTo>
                  <a:lnTo>
                    <a:pt x="741122" y="199530"/>
                  </a:lnTo>
                  <a:lnTo>
                    <a:pt x="741122" y="200228"/>
                  </a:lnTo>
                  <a:lnTo>
                    <a:pt x="741122" y="199530"/>
                  </a:lnTo>
                  <a:lnTo>
                    <a:pt x="741122" y="202260"/>
                  </a:lnTo>
                  <a:lnTo>
                    <a:pt x="741172" y="202260"/>
                  </a:lnTo>
                  <a:lnTo>
                    <a:pt x="741172" y="200228"/>
                  </a:lnTo>
                  <a:lnTo>
                    <a:pt x="741172" y="202260"/>
                  </a:lnTo>
                  <a:lnTo>
                    <a:pt x="741223" y="202260"/>
                  </a:lnTo>
                  <a:lnTo>
                    <a:pt x="741223" y="200876"/>
                  </a:lnTo>
                  <a:lnTo>
                    <a:pt x="741223" y="202260"/>
                  </a:lnTo>
                  <a:lnTo>
                    <a:pt x="741223" y="200876"/>
                  </a:lnTo>
                  <a:lnTo>
                    <a:pt x="741223" y="202260"/>
                  </a:lnTo>
                  <a:lnTo>
                    <a:pt x="741223" y="200876"/>
                  </a:lnTo>
                  <a:lnTo>
                    <a:pt x="741325" y="200876"/>
                  </a:lnTo>
                  <a:lnTo>
                    <a:pt x="741325" y="202260"/>
                  </a:lnTo>
                  <a:lnTo>
                    <a:pt x="741325" y="200876"/>
                  </a:lnTo>
                  <a:lnTo>
                    <a:pt x="741325" y="202260"/>
                  </a:lnTo>
                  <a:lnTo>
                    <a:pt x="741325" y="200876"/>
                  </a:lnTo>
                  <a:lnTo>
                    <a:pt x="741363" y="202260"/>
                  </a:lnTo>
                  <a:lnTo>
                    <a:pt x="741363" y="202959"/>
                  </a:lnTo>
                  <a:lnTo>
                    <a:pt x="741363" y="202260"/>
                  </a:lnTo>
                  <a:lnTo>
                    <a:pt x="741363" y="202959"/>
                  </a:lnTo>
                  <a:lnTo>
                    <a:pt x="741414" y="202959"/>
                  </a:lnTo>
                  <a:lnTo>
                    <a:pt x="741414" y="202260"/>
                  </a:lnTo>
                  <a:lnTo>
                    <a:pt x="741465" y="202260"/>
                  </a:lnTo>
                  <a:lnTo>
                    <a:pt x="741465" y="200876"/>
                  </a:lnTo>
                  <a:lnTo>
                    <a:pt x="741465" y="202260"/>
                  </a:lnTo>
                  <a:lnTo>
                    <a:pt x="741465" y="200876"/>
                  </a:lnTo>
                  <a:lnTo>
                    <a:pt x="741465" y="202260"/>
                  </a:lnTo>
                  <a:lnTo>
                    <a:pt x="741465" y="200876"/>
                  </a:lnTo>
                  <a:lnTo>
                    <a:pt x="741566" y="200228"/>
                  </a:lnTo>
                  <a:lnTo>
                    <a:pt x="741566" y="200876"/>
                  </a:lnTo>
                  <a:lnTo>
                    <a:pt x="741566" y="199530"/>
                  </a:lnTo>
                  <a:lnTo>
                    <a:pt x="741566" y="202260"/>
                  </a:lnTo>
                  <a:lnTo>
                    <a:pt x="741617" y="202260"/>
                  </a:lnTo>
                  <a:lnTo>
                    <a:pt x="741617" y="200228"/>
                  </a:lnTo>
                  <a:lnTo>
                    <a:pt x="741617" y="202959"/>
                  </a:lnTo>
                  <a:lnTo>
                    <a:pt x="741668" y="202959"/>
                  </a:lnTo>
                  <a:lnTo>
                    <a:pt x="741668" y="202260"/>
                  </a:lnTo>
                  <a:lnTo>
                    <a:pt x="741668" y="203594"/>
                  </a:lnTo>
                  <a:lnTo>
                    <a:pt x="741668" y="202260"/>
                  </a:lnTo>
                  <a:lnTo>
                    <a:pt x="741668" y="202959"/>
                  </a:lnTo>
                  <a:lnTo>
                    <a:pt x="741668" y="202260"/>
                  </a:lnTo>
                  <a:lnTo>
                    <a:pt x="741769" y="202260"/>
                  </a:lnTo>
                  <a:lnTo>
                    <a:pt x="741769" y="202959"/>
                  </a:lnTo>
                  <a:lnTo>
                    <a:pt x="741769" y="202260"/>
                  </a:lnTo>
                  <a:lnTo>
                    <a:pt x="741769" y="202959"/>
                  </a:lnTo>
                  <a:lnTo>
                    <a:pt x="741820" y="202959"/>
                  </a:lnTo>
                  <a:lnTo>
                    <a:pt x="741820" y="202260"/>
                  </a:lnTo>
                  <a:lnTo>
                    <a:pt x="741820" y="203594"/>
                  </a:lnTo>
                  <a:lnTo>
                    <a:pt x="741820" y="202959"/>
                  </a:lnTo>
                  <a:lnTo>
                    <a:pt x="741871" y="202959"/>
                  </a:lnTo>
                  <a:lnTo>
                    <a:pt x="741871" y="203594"/>
                  </a:lnTo>
                  <a:lnTo>
                    <a:pt x="741909" y="203594"/>
                  </a:lnTo>
                  <a:lnTo>
                    <a:pt x="741909" y="202959"/>
                  </a:lnTo>
                  <a:lnTo>
                    <a:pt x="741909" y="203594"/>
                  </a:lnTo>
                  <a:lnTo>
                    <a:pt x="741909" y="202260"/>
                  </a:lnTo>
                  <a:lnTo>
                    <a:pt x="742011" y="202260"/>
                  </a:lnTo>
                  <a:lnTo>
                    <a:pt x="742011" y="200876"/>
                  </a:lnTo>
                  <a:lnTo>
                    <a:pt x="742011" y="202260"/>
                  </a:lnTo>
                  <a:lnTo>
                    <a:pt x="742011" y="199530"/>
                  </a:lnTo>
                  <a:lnTo>
                    <a:pt x="742062" y="199530"/>
                  </a:lnTo>
                  <a:lnTo>
                    <a:pt x="742062" y="200228"/>
                  </a:lnTo>
                  <a:lnTo>
                    <a:pt x="742062" y="198831"/>
                  </a:lnTo>
                  <a:lnTo>
                    <a:pt x="742062" y="200876"/>
                  </a:lnTo>
                  <a:lnTo>
                    <a:pt x="742112" y="200876"/>
                  </a:lnTo>
                  <a:lnTo>
                    <a:pt x="742112" y="199530"/>
                  </a:lnTo>
                  <a:lnTo>
                    <a:pt x="742112" y="203594"/>
                  </a:lnTo>
                  <a:lnTo>
                    <a:pt x="742112" y="202959"/>
                  </a:lnTo>
                  <a:lnTo>
                    <a:pt x="742214" y="202959"/>
                  </a:lnTo>
                  <a:lnTo>
                    <a:pt x="742214" y="200876"/>
                  </a:lnTo>
                  <a:lnTo>
                    <a:pt x="742214" y="202959"/>
                  </a:lnTo>
                  <a:lnTo>
                    <a:pt x="742214" y="202260"/>
                  </a:lnTo>
                  <a:lnTo>
                    <a:pt x="742214" y="202959"/>
                  </a:lnTo>
                  <a:lnTo>
                    <a:pt x="742265" y="202959"/>
                  </a:lnTo>
                  <a:lnTo>
                    <a:pt x="742265" y="200876"/>
                  </a:lnTo>
                  <a:lnTo>
                    <a:pt x="742265" y="202959"/>
                  </a:lnTo>
                  <a:lnTo>
                    <a:pt x="742316" y="202959"/>
                  </a:lnTo>
                  <a:lnTo>
                    <a:pt x="742316" y="203594"/>
                  </a:lnTo>
                  <a:lnTo>
                    <a:pt x="742316" y="202959"/>
                  </a:lnTo>
                  <a:lnTo>
                    <a:pt x="742316" y="203594"/>
                  </a:lnTo>
                  <a:lnTo>
                    <a:pt x="742316" y="202959"/>
                  </a:lnTo>
                  <a:lnTo>
                    <a:pt x="742316" y="203594"/>
                  </a:lnTo>
                  <a:lnTo>
                    <a:pt x="742366" y="202959"/>
                  </a:lnTo>
                  <a:lnTo>
                    <a:pt x="742366" y="203594"/>
                  </a:lnTo>
                  <a:lnTo>
                    <a:pt x="742455" y="203594"/>
                  </a:lnTo>
                  <a:lnTo>
                    <a:pt x="742455" y="202959"/>
                  </a:lnTo>
                  <a:lnTo>
                    <a:pt x="742506" y="202959"/>
                  </a:lnTo>
                  <a:lnTo>
                    <a:pt x="742506" y="200876"/>
                  </a:lnTo>
                  <a:lnTo>
                    <a:pt x="742557" y="200876"/>
                  </a:lnTo>
                  <a:lnTo>
                    <a:pt x="742557" y="199530"/>
                  </a:lnTo>
                  <a:lnTo>
                    <a:pt x="742557" y="202260"/>
                  </a:lnTo>
                  <a:lnTo>
                    <a:pt x="742557" y="200228"/>
                  </a:lnTo>
                  <a:lnTo>
                    <a:pt x="742608" y="200228"/>
                  </a:lnTo>
                  <a:lnTo>
                    <a:pt x="742608" y="199530"/>
                  </a:lnTo>
                  <a:lnTo>
                    <a:pt x="742608" y="202959"/>
                  </a:lnTo>
                  <a:lnTo>
                    <a:pt x="742608" y="200876"/>
                  </a:lnTo>
                  <a:lnTo>
                    <a:pt x="742709" y="200876"/>
                  </a:lnTo>
                  <a:lnTo>
                    <a:pt x="742709" y="202260"/>
                  </a:lnTo>
                  <a:lnTo>
                    <a:pt x="742709" y="200228"/>
                  </a:lnTo>
                  <a:lnTo>
                    <a:pt x="742760" y="200876"/>
                  </a:lnTo>
                  <a:lnTo>
                    <a:pt x="742760" y="202959"/>
                  </a:lnTo>
                  <a:lnTo>
                    <a:pt x="742811" y="202959"/>
                  </a:lnTo>
                  <a:lnTo>
                    <a:pt x="742811" y="202260"/>
                  </a:lnTo>
                  <a:lnTo>
                    <a:pt x="742811" y="203594"/>
                  </a:lnTo>
                  <a:lnTo>
                    <a:pt x="742811" y="202959"/>
                  </a:lnTo>
                  <a:lnTo>
                    <a:pt x="742912" y="202959"/>
                  </a:lnTo>
                  <a:lnTo>
                    <a:pt x="742912" y="203594"/>
                  </a:lnTo>
                  <a:lnTo>
                    <a:pt x="742912" y="202959"/>
                  </a:lnTo>
                  <a:lnTo>
                    <a:pt x="742912" y="203594"/>
                  </a:lnTo>
                  <a:lnTo>
                    <a:pt x="742912" y="202959"/>
                  </a:lnTo>
                  <a:lnTo>
                    <a:pt x="742912" y="203594"/>
                  </a:lnTo>
                  <a:lnTo>
                    <a:pt x="742912" y="202959"/>
                  </a:lnTo>
                  <a:lnTo>
                    <a:pt x="742951" y="202959"/>
                  </a:lnTo>
                  <a:lnTo>
                    <a:pt x="742951" y="202260"/>
                  </a:lnTo>
                  <a:lnTo>
                    <a:pt x="743001" y="202260"/>
                  </a:lnTo>
                  <a:lnTo>
                    <a:pt x="743001" y="200876"/>
                  </a:lnTo>
                  <a:lnTo>
                    <a:pt x="743001" y="202260"/>
                  </a:lnTo>
                  <a:lnTo>
                    <a:pt x="743001" y="200876"/>
                  </a:lnTo>
                  <a:lnTo>
                    <a:pt x="743001" y="202260"/>
                  </a:lnTo>
                  <a:lnTo>
                    <a:pt x="743052" y="202260"/>
                  </a:lnTo>
                  <a:lnTo>
                    <a:pt x="743052" y="202959"/>
                  </a:lnTo>
                  <a:lnTo>
                    <a:pt x="743052" y="202260"/>
                  </a:lnTo>
                  <a:lnTo>
                    <a:pt x="743052" y="203594"/>
                  </a:lnTo>
                  <a:lnTo>
                    <a:pt x="743154" y="203594"/>
                  </a:lnTo>
                  <a:lnTo>
                    <a:pt x="743154" y="202959"/>
                  </a:lnTo>
                  <a:lnTo>
                    <a:pt x="743154" y="204292"/>
                  </a:lnTo>
                  <a:lnTo>
                    <a:pt x="743205" y="204292"/>
                  </a:lnTo>
                  <a:lnTo>
                    <a:pt x="743205" y="202959"/>
                  </a:lnTo>
                  <a:lnTo>
                    <a:pt x="743205" y="203594"/>
                  </a:lnTo>
                  <a:lnTo>
                    <a:pt x="743205" y="202959"/>
                  </a:lnTo>
                  <a:lnTo>
                    <a:pt x="743205" y="204292"/>
                  </a:lnTo>
                  <a:lnTo>
                    <a:pt x="743255" y="204292"/>
                  </a:lnTo>
                  <a:lnTo>
                    <a:pt x="743255" y="203594"/>
                  </a:lnTo>
                  <a:lnTo>
                    <a:pt x="743255" y="204292"/>
                  </a:lnTo>
                  <a:lnTo>
                    <a:pt x="743255" y="203594"/>
                  </a:lnTo>
                  <a:lnTo>
                    <a:pt x="743357" y="204292"/>
                  </a:lnTo>
                  <a:lnTo>
                    <a:pt x="743357" y="203594"/>
                  </a:lnTo>
                  <a:lnTo>
                    <a:pt x="743357" y="204292"/>
                  </a:lnTo>
                  <a:lnTo>
                    <a:pt x="743357" y="203594"/>
                  </a:lnTo>
                  <a:lnTo>
                    <a:pt x="743408" y="203594"/>
                  </a:lnTo>
                  <a:lnTo>
                    <a:pt x="743408" y="202959"/>
                  </a:lnTo>
                  <a:lnTo>
                    <a:pt x="743458" y="202959"/>
                  </a:lnTo>
                  <a:lnTo>
                    <a:pt x="743458" y="203594"/>
                  </a:lnTo>
                  <a:lnTo>
                    <a:pt x="743458" y="202260"/>
                  </a:lnTo>
                  <a:lnTo>
                    <a:pt x="743458" y="202959"/>
                  </a:lnTo>
                  <a:lnTo>
                    <a:pt x="743458" y="202260"/>
                  </a:lnTo>
                  <a:lnTo>
                    <a:pt x="743458" y="202959"/>
                  </a:lnTo>
                  <a:lnTo>
                    <a:pt x="743458" y="202260"/>
                  </a:lnTo>
                  <a:lnTo>
                    <a:pt x="743497" y="202260"/>
                  </a:lnTo>
                  <a:lnTo>
                    <a:pt x="743497" y="200876"/>
                  </a:lnTo>
                  <a:lnTo>
                    <a:pt x="743497" y="203594"/>
                  </a:lnTo>
                  <a:lnTo>
                    <a:pt x="743497" y="202959"/>
                  </a:lnTo>
                  <a:lnTo>
                    <a:pt x="743497" y="203594"/>
                  </a:lnTo>
                  <a:lnTo>
                    <a:pt x="743497" y="202959"/>
                  </a:lnTo>
                  <a:lnTo>
                    <a:pt x="743598" y="202959"/>
                  </a:lnTo>
                  <a:lnTo>
                    <a:pt x="743598" y="204990"/>
                  </a:lnTo>
                  <a:lnTo>
                    <a:pt x="743598" y="203594"/>
                  </a:lnTo>
                  <a:lnTo>
                    <a:pt x="743598" y="204292"/>
                  </a:lnTo>
                  <a:lnTo>
                    <a:pt x="743649" y="204292"/>
                  </a:lnTo>
                  <a:lnTo>
                    <a:pt x="743649" y="203594"/>
                  </a:lnTo>
                  <a:lnTo>
                    <a:pt x="743649" y="204292"/>
                  </a:lnTo>
                  <a:lnTo>
                    <a:pt x="743700" y="203594"/>
                  </a:lnTo>
                  <a:lnTo>
                    <a:pt x="743700" y="204292"/>
                  </a:lnTo>
                  <a:lnTo>
                    <a:pt x="743700" y="203594"/>
                  </a:lnTo>
                  <a:lnTo>
                    <a:pt x="743700" y="204292"/>
                  </a:lnTo>
                  <a:lnTo>
                    <a:pt x="743700" y="203594"/>
                  </a:lnTo>
                  <a:lnTo>
                    <a:pt x="743700" y="204292"/>
                  </a:lnTo>
                  <a:lnTo>
                    <a:pt x="743700" y="203594"/>
                  </a:lnTo>
                  <a:lnTo>
                    <a:pt x="743801" y="203594"/>
                  </a:lnTo>
                  <a:lnTo>
                    <a:pt x="743801" y="204990"/>
                  </a:lnTo>
                  <a:lnTo>
                    <a:pt x="743801" y="204292"/>
                  </a:lnTo>
                  <a:lnTo>
                    <a:pt x="743801" y="204990"/>
                  </a:lnTo>
                  <a:lnTo>
                    <a:pt x="743801" y="204292"/>
                  </a:lnTo>
                  <a:lnTo>
                    <a:pt x="743852" y="204292"/>
                  </a:lnTo>
                  <a:lnTo>
                    <a:pt x="743852" y="203594"/>
                  </a:lnTo>
                  <a:lnTo>
                    <a:pt x="743852" y="204292"/>
                  </a:lnTo>
                  <a:lnTo>
                    <a:pt x="743852" y="203594"/>
                  </a:lnTo>
                  <a:lnTo>
                    <a:pt x="743903" y="203594"/>
                  </a:lnTo>
                  <a:lnTo>
                    <a:pt x="743903" y="202959"/>
                  </a:lnTo>
                  <a:lnTo>
                    <a:pt x="743903" y="203594"/>
                  </a:lnTo>
                  <a:lnTo>
                    <a:pt x="743903" y="202260"/>
                  </a:lnTo>
                  <a:lnTo>
                    <a:pt x="743903" y="202959"/>
                  </a:lnTo>
                  <a:lnTo>
                    <a:pt x="743954" y="202959"/>
                  </a:lnTo>
                  <a:lnTo>
                    <a:pt x="743954" y="203594"/>
                  </a:lnTo>
                  <a:lnTo>
                    <a:pt x="743954" y="200228"/>
                  </a:lnTo>
                  <a:lnTo>
                    <a:pt x="743954" y="202260"/>
                  </a:lnTo>
                  <a:lnTo>
                    <a:pt x="744043" y="202260"/>
                  </a:lnTo>
                  <a:lnTo>
                    <a:pt x="744043" y="202959"/>
                  </a:lnTo>
                  <a:lnTo>
                    <a:pt x="744043" y="200876"/>
                  </a:lnTo>
                  <a:lnTo>
                    <a:pt x="744043" y="204292"/>
                  </a:lnTo>
                  <a:lnTo>
                    <a:pt x="744093" y="204292"/>
                  </a:lnTo>
                  <a:lnTo>
                    <a:pt x="744093" y="203594"/>
                  </a:lnTo>
                  <a:lnTo>
                    <a:pt x="744093" y="204292"/>
                  </a:lnTo>
                  <a:lnTo>
                    <a:pt x="744093" y="203594"/>
                  </a:lnTo>
                  <a:lnTo>
                    <a:pt x="744093" y="204292"/>
                  </a:lnTo>
                  <a:lnTo>
                    <a:pt x="744144" y="204292"/>
                  </a:lnTo>
                  <a:lnTo>
                    <a:pt x="744144" y="204990"/>
                  </a:lnTo>
                  <a:lnTo>
                    <a:pt x="744144" y="203594"/>
                  </a:lnTo>
                  <a:lnTo>
                    <a:pt x="744144" y="204292"/>
                  </a:lnTo>
                  <a:lnTo>
                    <a:pt x="744195" y="204292"/>
                  </a:lnTo>
                  <a:lnTo>
                    <a:pt x="744195" y="204990"/>
                  </a:lnTo>
                  <a:lnTo>
                    <a:pt x="744195" y="204292"/>
                  </a:lnTo>
                  <a:lnTo>
                    <a:pt x="744195" y="204990"/>
                  </a:lnTo>
                  <a:lnTo>
                    <a:pt x="744297" y="204990"/>
                  </a:lnTo>
                  <a:lnTo>
                    <a:pt x="744297" y="206324"/>
                  </a:lnTo>
                  <a:lnTo>
                    <a:pt x="744297" y="204990"/>
                  </a:lnTo>
                  <a:lnTo>
                    <a:pt x="744297" y="206324"/>
                  </a:lnTo>
                  <a:lnTo>
                    <a:pt x="744297" y="204990"/>
                  </a:lnTo>
                  <a:lnTo>
                    <a:pt x="744297" y="206324"/>
                  </a:lnTo>
                  <a:lnTo>
                    <a:pt x="744297" y="204990"/>
                  </a:lnTo>
                  <a:lnTo>
                    <a:pt x="744347" y="204990"/>
                  </a:lnTo>
                  <a:lnTo>
                    <a:pt x="744347" y="206324"/>
                  </a:lnTo>
                  <a:lnTo>
                    <a:pt x="744347" y="204292"/>
                  </a:lnTo>
                  <a:lnTo>
                    <a:pt x="744398" y="204292"/>
                  </a:lnTo>
                  <a:lnTo>
                    <a:pt x="744398" y="202959"/>
                  </a:lnTo>
                  <a:lnTo>
                    <a:pt x="744500" y="202959"/>
                  </a:lnTo>
                  <a:lnTo>
                    <a:pt x="744500" y="202260"/>
                  </a:lnTo>
                  <a:lnTo>
                    <a:pt x="744500" y="203594"/>
                  </a:lnTo>
                  <a:lnTo>
                    <a:pt x="744500" y="202959"/>
                  </a:lnTo>
                  <a:lnTo>
                    <a:pt x="744538" y="202959"/>
                  </a:lnTo>
                  <a:lnTo>
                    <a:pt x="744538" y="204990"/>
                  </a:lnTo>
                  <a:lnTo>
                    <a:pt x="744538" y="204292"/>
                  </a:lnTo>
                  <a:lnTo>
                    <a:pt x="744589" y="204292"/>
                  </a:lnTo>
                  <a:lnTo>
                    <a:pt x="744589" y="203594"/>
                  </a:lnTo>
                  <a:lnTo>
                    <a:pt x="744589" y="204990"/>
                  </a:lnTo>
                  <a:lnTo>
                    <a:pt x="744589" y="204292"/>
                  </a:lnTo>
                  <a:lnTo>
                    <a:pt x="744589" y="204990"/>
                  </a:lnTo>
                  <a:lnTo>
                    <a:pt x="744589" y="204292"/>
                  </a:lnTo>
                  <a:lnTo>
                    <a:pt x="744589" y="204990"/>
                  </a:lnTo>
                  <a:lnTo>
                    <a:pt x="744589" y="204292"/>
                  </a:lnTo>
                  <a:lnTo>
                    <a:pt x="744640" y="204292"/>
                  </a:lnTo>
                  <a:lnTo>
                    <a:pt x="744640" y="203594"/>
                  </a:lnTo>
                  <a:lnTo>
                    <a:pt x="744640" y="204292"/>
                  </a:lnTo>
                  <a:lnTo>
                    <a:pt x="744640" y="203594"/>
                  </a:lnTo>
                  <a:lnTo>
                    <a:pt x="744640" y="206324"/>
                  </a:lnTo>
                  <a:lnTo>
                    <a:pt x="744640" y="204990"/>
                  </a:lnTo>
                  <a:lnTo>
                    <a:pt x="744741" y="204292"/>
                  </a:lnTo>
                  <a:lnTo>
                    <a:pt x="744741" y="206324"/>
                  </a:lnTo>
                  <a:lnTo>
                    <a:pt x="744741" y="204990"/>
                  </a:lnTo>
                  <a:lnTo>
                    <a:pt x="744792" y="204990"/>
                  </a:lnTo>
                  <a:lnTo>
                    <a:pt x="744792" y="206324"/>
                  </a:lnTo>
                  <a:lnTo>
                    <a:pt x="744792" y="204990"/>
                  </a:lnTo>
                  <a:lnTo>
                    <a:pt x="744843" y="204990"/>
                  </a:lnTo>
                  <a:lnTo>
                    <a:pt x="744843" y="204292"/>
                  </a:lnTo>
                  <a:lnTo>
                    <a:pt x="744843" y="204990"/>
                  </a:lnTo>
                  <a:lnTo>
                    <a:pt x="744843" y="204292"/>
                  </a:lnTo>
                  <a:lnTo>
                    <a:pt x="744843" y="204990"/>
                  </a:lnTo>
                  <a:lnTo>
                    <a:pt x="744843" y="204292"/>
                  </a:lnTo>
                  <a:lnTo>
                    <a:pt x="744944" y="204292"/>
                  </a:lnTo>
                  <a:lnTo>
                    <a:pt x="744944" y="202959"/>
                  </a:lnTo>
                  <a:lnTo>
                    <a:pt x="744995" y="202959"/>
                  </a:lnTo>
                  <a:lnTo>
                    <a:pt x="744995" y="202260"/>
                  </a:lnTo>
                  <a:lnTo>
                    <a:pt x="744995" y="203594"/>
                  </a:lnTo>
                  <a:lnTo>
                    <a:pt x="744995" y="202959"/>
                  </a:lnTo>
                  <a:lnTo>
                    <a:pt x="745046" y="202260"/>
                  </a:lnTo>
                  <a:lnTo>
                    <a:pt x="745046" y="200876"/>
                  </a:lnTo>
                  <a:lnTo>
                    <a:pt x="745046" y="204292"/>
                  </a:lnTo>
                  <a:lnTo>
                    <a:pt x="745046" y="203594"/>
                  </a:lnTo>
                  <a:lnTo>
                    <a:pt x="745084" y="203594"/>
                  </a:lnTo>
                  <a:lnTo>
                    <a:pt x="745084" y="202959"/>
                  </a:lnTo>
                  <a:lnTo>
                    <a:pt x="745084" y="203594"/>
                  </a:lnTo>
                  <a:lnTo>
                    <a:pt x="745084" y="202959"/>
                  </a:lnTo>
                  <a:lnTo>
                    <a:pt x="745084" y="204292"/>
                  </a:lnTo>
                  <a:lnTo>
                    <a:pt x="745084" y="203594"/>
                  </a:lnTo>
                  <a:lnTo>
                    <a:pt x="745186" y="203594"/>
                  </a:lnTo>
                  <a:lnTo>
                    <a:pt x="745186" y="204292"/>
                  </a:lnTo>
                  <a:lnTo>
                    <a:pt x="745186" y="203594"/>
                  </a:lnTo>
                  <a:lnTo>
                    <a:pt x="745186" y="204292"/>
                  </a:lnTo>
                  <a:lnTo>
                    <a:pt x="745237" y="204292"/>
                  </a:lnTo>
                  <a:lnTo>
                    <a:pt x="745237" y="204990"/>
                  </a:lnTo>
                  <a:lnTo>
                    <a:pt x="745237" y="204292"/>
                  </a:lnTo>
                  <a:lnTo>
                    <a:pt x="745237" y="204990"/>
                  </a:lnTo>
                  <a:lnTo>
                    <a:pt x="745237" y="204292"/>
                  </a:lnTo>
                  <a:lnTo>
                    <a:pt x="745237" y="204990"/>
                  </a:lnTo>
                  <a:lnTo>
                    <a:pt x="745287" y="204990"/>
                  </a:lnTo>
                  <a:lnTo>
                    <a:pt x="745287" y="204292"/>
                  </a:lnTo>
                  <a:lnTo>
                    <a:pt x="745389" y="204292"/>
                  </a:lnTo>
                  <a:lnTo>
                    <a:pt x="745389" y="204990"/>
                  </a:lnTo>
                  <a:lnTo>
                    <a:pt x="745389" y="203594"/>
                  </a:lnTo>
                  <a:lnTo>
                    <a:pt x="745389" y="204292"/>
                  </a:lnTo>
                  <a:lnTo>
                    <a:pt x="745389" y="203594"/>
                  </a:lnTo>
                  <a:lnTo>
                    <a:pt x="745389" y="204292"/>
                  </a:lnTo>
                  <a:lnTo>
                    <a:pt x="745389" y="203594"/>
                  </a:lnTo>
                  <a:lnTo>
                    <a:pt x="745389" y="204292"/>
                  </a:lnTo>
                  <a:lnTo>
                    <a:pt x="745440" y="203594"/>
                  </a:lnTo>
                  <a:lnTo>
                    <a:pt x="745440" y="204292"/>
                  </a:lnTo>
                  <a:lnTo>
                    <a:pt x="745440" y="202260"/>
                  </a:lnTo>
                  <a:lnTo>
                    <a:pt x="745491" y="202260"/>
                  </a:lnTo>
                  <a:lnTo>
                    <a:pt x="745491" y="202959"/>
                  </a:lnTo>
                  <a:lnTo>
                    <a:pt x="745491" y="200876"/>
                  </a:lnTo>
                  <a:lnTo>
                    <a:pt x="745541" y="200876"/>
                  </a:lnTo>
                  <a:lnTo>
                    <a:pt x="745541" y="204292"/>
                  </a:lnTo>
                  <a:lnTo>
                    <a:pt x="745541" y="202260"/>
                  </a:lnTo>
                  <a:lnTo>
                    <a:pt x="745541" y="202959"/>
                  </a:lnTo>
                  <a:lnTo>
                    <a:pt x="745630" y="202959"/>
                  </a:lnTo>
                  <a:lnTo>
                    <a:pt x="745630" y="203594"/>
                  </a:lnTo>
                  <a:lnTo>
                    <a:pt x="745630" y="202959"/>
                  </a:lnTo>
                  <a:lnTo>
                    <a:pt x="745630" y="203594"/>
                  </a:lnTo>
                  <a:lnTo>
                    <a:pt x="745681" y="203594"/>
                  </a:lnTo>
                  <a:lnTo>
                    <a:pt x="745681" y="204292"/>
                  </a:lnTo>
                  <a:lnTo>
                    <a:pt x="745732" y="204292"/>
                  </a:lnTo>
                  <a:lnTo>
                    <a:pt x="745732" y="203594"/>
                  </a:lnTo>
                  <a:lnTo>
                    <a:pt x="745732" y="204292"/>
                  </a:lnTo>
                  <a:lnTo>
                    <a:pt x="745732" y="203594"/>
                  </a:lnTo>
                  <a:lnTo>
                    <a:pt x="745783" y="204292"/>
                  </a:lnTo>
                  <a:lnTo>
                    <a:pt x="745884" y="204292"/>
                  </a:lnTo>
                  <a:lnTo>
                    <a:pt x="745884" y="203594"/>
                  </a:lnTo>
                  <a:lnTo>
                    <a:pt x="745935" y="203594"/>
                  </a:lnTo>
                  <a:lnTo>
                    <a:pt x="745935" y="202959"/>
                  </a:lnTo>
                  <a:lnTo>
                    <a:pt x="745935" y="203594"/>
                  </a:lnTo>
                  <a:lnTo>
                    <a:pt x="745935" y="202959"/>
                  </a:lnTo>
                  <a:lnTo>
                    <a:pt x="745935" y="203594"/>
                  </a:lnTo>
                  <a:lnTo>
                    <a:pt x="745986" y="203594"/>
                  </a:lnTo>
                  <a:lnTo>
                    <a:pt x="745986" y="204292"/>
                  </a:lnTo>
                  <a:lnTo>
                    <a:pt x="745986" y="202959"/>
                  </a:lnTo>
                  <a:lnTo>
                    <a:pt x="745986" y="206324"/>
                  </a:lnTo>
                  <a:lnTo>
                    <a:pt x="746087" y="206324"/>
                  </a:lnTo>
                  <a:lnTo>
                    <a:pt x="746087" y="204292"/>
                  </a:lnTo>
                  <a:lnTo>
                    <a:pt x="746087" y="204990"/>
                  </a:lnTo>
                  <a:lnTo>
                    <a:pt x="746126" y="204990"/>
                  </a:lnTo>
                  <a:lnTo>
                    <a:pt x="746126" y="203594"/>
                  </a:lnTo>
                  <a:lnTo>
                    <a:pt x="746126" y="204990"/>
                  </a:lnTo>
                  <a:lnTo>
                    <a:pt x="746176" y="204990"/>
                  </a:lnTo>
                  <a:lnTo>
                    <a:pt x="746176" y="204292"/>
                  </a:lnTo>
                  <a:lnTo>
                    <a:pt x="746176" y="206324"/>
                  </a:lnTo>
                  <a:lnTo>
                    <a:pt x="746176" y="204292"/>
                  </a:lnTo>
                  <a:lnTo>
                    <a:pt x="746227" y="204292"/>
                  </a:lnTo>
                  <a:lnTo>
                    <a:pt x="746227" y="204990"/>
                  </a:lnTo>
                  <a:lnTo>
                    <a:pt x="746227" y="204292"/>
                  </a:lnTo>
                  <a:lnTo>
                    <a:pt x="746227" y="204990"/>
                  </a:lnTo>
                  <a:lnTo>
                    <a:pt x="746227" y="204292"/>
                  </a:lnTo>
                  <a:lnTo>
                    <a:pt x="746227" y="204990"/>
                  </a:lnTo>
                  <a:lnTo>
                    <a:pt x="746329" y="204990"/>
                  </a:lnTo>
                  <a:lnTo>
                    <a:pt x="746329" y="204292"/>
                  </a:lnTo>
                  <a:lnTo>
                    <a:pt x="746329" y="204990"/>
                  </a:lnTo>
                  <a:lnTo>
                    <a:pt x="746329" y="204292"/>
                  </a:lnTo>
                  <a:lnTo>
                    <a:pt x="746329" y="204990"/>
                  </a:lnTo>
                  <a:lnTo>
                    <a:pt x="746329" y="204292"/>
                  </a:lnTo>
                  <a:lnTo>
                    <a:pt x="746329" y="204990"/>
                  </a:lnTo>
                  <a:lnTo>
                    <a:pt x="746329" y="204292"/>
                  </a:lnTo>
                  <a:lnTo>
                    <a:pt x="746380" y="204292"/>
                  </a:lnTo>
                  <a:lnTo>
                    <a:pt x="746380" y="203594"/>
                  </a:lnTo>
                  <a:lnTo>
                    <a:pt x="746380" y="204292"/>
                  </a:lnTo>
                  <a:lnTo>
                    <a:pt x="746380" y="202959"/>
                  </a:lnTo>
                  <a:lnTo>
                    <a:pt x="746430" y="202959"/>
                  </a:lnTo>
                  <a:lnTo>
                    <a:pt x="746430" y="204292"/>
                  </a:lnTo>
                  <a:lnTo>
                    <a:pt x="746430" y="203594"/>
                  </a:lnTo>
                  <a:lnTo>
                    <a:pt x="746532" y="203594"/>
                  </a:lnTo>
                  <a:lnTo>
                    <a:pt x="746532" y="202959"/>
                  </a:lnTo>
                  <a:lnTo>
                    <a:pt x="746532" y="204990"/>
                  </a:lnTo>
                  <a:lnTo>
                    <a:pt x="746532" y="204292"/>
                  </a:lnTo>
                  <a:lnTo>
                    <a:pt x="746583" y="204292"/>
                  </a:lnTo>
                  <a:lnTo>
                    <a:pt x="746583" y="204990"/>
                  </a:lnTo>
                  <a:lnTo>
                    <a:pt x="746583" y="204292"/>
                  </a:lnTo>
                  <a:lnTo>
                    <a:pt x="746583" y="204990"/>
                  </a:lnTo>
                  <a:lnTo>
                    <a:pt x="746633" y="204990"/>
                  </a:lnTo>
                  <a:lnTo>
                    <a:pt x="746633" y="206324"/>
                  </a:lnTo>
                  <a:lnTo>
                    <a:pt x="746633" y="204292"/>
                  </a:lnTo>
                  <a:lnTo>
                    <a:pt x="746633" y="204990"/>
                  </a:lnTo>
                  <a:lnTo>
                    <a:pt x="746672" y="204990"/>
                  </a:lnTo>
                  <a:lnTo>
                    <a:pt x="746672" y="206324"/>
                  </a:lnTo>
                  <a:lnTo>
                    <a:pt x="746672" y="204292"/>
                  </a:lnTo>
                  <a:lnTo>
                    <a:pt x="746672" y="204990"/>
                  </a:lnTo>
                  <a:lnTo>
                    <a:pt x="746773" y="204292"/>
                  </a:lnTo>
                  <a:lnTo>
                    <a:pt x="746773" y="204990"/>
                  </a:lnTo>
                  <a:lnTo>
                    <a:pt x="746773" y="203594"/>
                  </a:lnTo>
                  <a:lnTo>
                    <a:pt x="746773" y="204990"/>
                  </a:lnTo>
                  <a:lnTo>
                    <a:pt x="746773" y="204292"/>
                  </a:lnTo>
                  <a:lnTo>
                    <a:pt x="746824" y="204292"/>
                  </a:lnTo>
                  <a:lnTo>
                    <a:pt x="746824" y="203594"/>
                  </a:lnTo>
                  <a:lnTo>
                    <a:pt x="746875" y="203594"/>
                  </a:lnTo>
                  <a:lnTo>
                    <a:pt x="746875" y="202959"/>
                  </a:lnTo>
                  <a:lnTo>
                    <a:pt x="746875" y="203594"/>
                  </a:lnTo>
                  <a:lnTo>
                    <a:pt x="746875" y="200876"/>
                  </a:lnTo>
                  <a:lnTo>
                    <a:pt x="746976" y="202260"/>
                  </a:lnTo>
                  <a:lnTo>
                    <a:pt x="746976" y="203594"/>
                  </a:lnTo>
                  <a:lnTo>
                    <a:pt x="746976" y="202260"/>
                  </a:lnTo>
                  <a:lnTo>
                    <a:pt x="747027" y="202260"/>
                  </a:lnTo>
                  <a:lnTo>
                    <a:pt x="747027" y="200876"/>
                  </a:lnTo>
                  <a:lnTo>
                    <a:pt x="747027" y="203594"/>
                  </a:lnTo>
                  <a:lnTo>
                    <a:pt x="747027" y="202959"/>
                  </a:lnTo>
                  <a:lnTo>
                    <a:pt x="747078" y="202959"/>
                  </a:lnTo>
                  <a:lnTo>
                    <a:pt x="747078" y="203594"/>
                  </a:lnTo>
                  <a:lnTo>
                    <a:pt x="747129" y="203594"/>
                  </a:lnTo>
                  <a:lnTo>
                    <a:pt x="747129" y="204292"/>
                  </a:lnTo>
                  <a:lnTo>
                    <a:pt x="747129" y="203594"/>
                  </a:lnTo>
                  <a:lnTo>
                    <a:pt x="747129" y="204990"/>
                  </a:lnTo>
                  <a:lnTo>
                    <a:pt x="747129" y="204292"/>
                  </a:lnTo>
                  <a:lnTo>
                    <a:pt x="747218" y="204292"/>
                  </a:lnTo>
                  <a:lnTo>
                    <a:pt x="747218" y="204990"/>
                  </a:lnTo>
                  <a:lnTo>
                    <a:pt x="747218" y="204292"/>
                  </a:lnTo>
                  <a:lnTo>
                    <a:pt x="747268" y="204292"/>
                  </a:lnTo>
                  <a:lnTo>
                    <a:pt x="747268" y="204990"/>
                  </a:lnTo>
                  <a:lnTo>
                    <a:pt x="747268" y="204292"/>
                  </a:lnTo>
                  <a:lnTo>
                    <a:pt x="747268" y="204990"/>
                  </a:lnTo>
                  <a:lnTo>
                    <a:pt x="747268" y="204292"/>
                  </a:lnTo>
                  <a:lnTo>
                    <a:pt x="747319" y="204292"/>
                  </a:lnTo>
                  <a:lnTo>
                    <a:pt x="747319" y="203594"/>
                  </a:lnTo>
                  <a:lnTo>
                    <a:pt x="747319" y="204292"/>
                  </a:lnTo>
                  <a:lnTo>
                    <a:pt x="747319" y="203594"/>
                  </a:lnTo>
                  <a:lnTo>
                    <a:pt x="747370" y="203594"/>
                  </a:lnTo>
                  <a:lnTo>
                    <a:pt x="747370" y="200228"/>
                  </a:lnTo>
                  <a:lnTo>
                    <a:pt x="747472" y="200228"/>
                  </a:lnTo>
                  <a:lnTo>
                    <a:pt x="747472" y="202959"/>
                  </a:lnTo>
                  <a:lnTo>
                    <a:pt x="747472" y="200876"/>
                  </a:lnTo>
                  <a:lnTo>
                    <a:pt x="747472" y="202260"/>
                  </a:lnTo>
                  <a:lnTo>
                    <a:pt x="747472" y="200876"/>
                  </a:lnTo>
                  <a:lnTo>
                    <a:pt x="747472" y="202260"/>
                  </a:lnTo>
                  <a:lnTo>
                    <a:pt x="747472" y="200876"/>
                  </a:lnTo>
                  <a:lnTo>
                    <a:pt x="747472" y="202260"/>
                  </a:lnTo>
                  <a:lnTo>
                    <a:pt x="747522" y="202260"/>
                  </a:lnTo>
                  <a:lnTo>
                    <a:pt x="747522" y="202959"/>
                  </a:lnTo>
                  <a:lnTo>
                    <a:pt x="747522" y="202260"/>
                  </a:lnTo>
                  <a:lnTo>
                    <a:pt x="747522" y="203594"/>
                  </a:lnTo>
                  <a:lnTo>
                    <a:pt x="747522" y="202959"/>
                  </a:lnTo>
                  <a:lnTo>
                    <a:pt x="747573" y="202959"/>
                  </a:lnTo>
                  <a:lnTo>
                    <a:pt x="747573" y="203594"/>
                  </a:lnTo>
                  <a:lnTo>
                    <a:pt x="747573" y="202959"/>
                  </a:lnTo>
                  <a:lnTo>
                    <a:pt x="747573" y="203594"/>
                  </a:lnTo>
                  <a:lnTo>
                    <a:pt x="747573" y="202959"/>
                  </a:lnTo>
                  <a:lnTo>
                    <a:pt x="747573" y="203594"/>
                  </a:lnTo>
                  <a:lnTo>
                    <a:pt x="747675" y="203594"/>
                  </a:lnTo>
                  <a:lnTo>
                    <a:pt x="747675" y="204292"/>
                  </a:lnTo>
                  <a:lnTo>
                    <a:pt x="747675" y="203594"/>
                  </a:lnTo>
                  <a:lnTo>
                    <a:pt x="747675" y="204292"/>
                  </a:lnTo>
                  <a:lnTo>
                    <a:pt x="747675" y="203594"/>
                  </a:lnTo>
                  <a:lnTo>
                    <a:pt x="747675" y="204292"/>
                  </a:lnTo>
                  <a:lnTo>
                    <a:pt x="747713" y="204292"/>
                  </a:lnTo>
                  <a:lnTo>
                    <a:pt x="747713" y="204990"/>
                  </a:lnTo>
                  <a:lnTo>
                    <a:pt x="747713" y="204292"/>
                  </a:lnTo>
                  <a:lnTo>
                    <a:pt x="747713" y="204990"/>
                  </a:lnTo>
                  <a:lnTo>
                    <a:pt x="747713" y="204292"/>
                  </a:lnTo>
                  <a:lnTo>
                    <a:pt x="747764" y="204292"/>
                  </a:lnTo>
                  <a:lnTo>
                    <a:pt x="747764" y="204990"/>
                  </a:lnTo>
                  <a:lnTo>
                    <a:pt x="747764" y="204292"/>
                  </a:lnTo>
                  <a:lnTo>
                    <a:pt x="747764" y="204990"/>
                  </a:lnTo>
                  <a:lnTo>
                    <a:pt x="747764" y="204292"/>
                  </a:lnTo>
                  <a:lnTo>
                    <a:pt x="747815" y="204292"/>
                  </a:lnTo>
                  <a:lnTo>
                    <a:pt x="747815" y="202959"/>
                  </a:lnTo>
                  <a:lnTo>
                    <a:pt x="747916" y="202959"/>
                  </a:lnTo>
                  <a:lnTo>
                    <a:pt x="747916" y="202260"/>
                  </a:lnTo>
                  <a:lnTo>
                    <a:pt x="747916" y="202959"/>
                  </a:lnTo>
                  <a:lnTo>
                    <a:pt x="747916" y="200876"/>
                  </a:lnTo>
                  <a:lnTo>
                    <a:pt x="747967" y="200876"/>
                  </a:lnTo>
                  <a:lnTo>
                    <a:pt x="747967" y="200228"/>
                  </a:lnTo>
                  <a:lnTo>
                    <a:pt x="747967" y="202260"/>
                  </a:lnTo>
                  <a:lnTo>
                    <a:pt x="747967" y="200876"/>
                  </a:lnTo>
                  <a:lnTo>
                    <a:pt x="747967" y="202260"/>
                  </a:lnTo>
                  <a:lnTo>
                    <a:pt x="747967" y="199530"/>
                  </a:lnTo>
                  <a:lnTo>
                    <a:pt x="747967" y="200228"/>
                  </a:lnTo>
                  <a:lnTo>
                    <a:pt x="748018" y="200228"/>
                  </a:lnTo>
                  <a:lnTo>
                    <a:pt x="748018" y="202959"/>
                  </a:lnTo>
                  <a:lnTo>
                    <a:pt x="748018" y="200876"/>
                  </a:lnTo>
                  <a:lnTo>
                    <a:pt x="748018" y="202260"/>
                  </a:lnTo>
                  <a:lnTo>
                    <a:pt x="748119" y="202260"/>
                  </a:lnTo>
                  <a:lnTo>
                    <a:pt x="748119" y="202959"/>
                  </a:lnTo>
                  <a:lnTo>
                    <a:pt x="748119" y="202260"/>
                  </a:lnTo>
                  <a:lnTo>
                    <a:pt x="748119" y="203594"/>
                  </a:lnTo>
                  <a:lnTo>
                    <a:pt x="748119" y="202260"/>
                  </a:lnTo>
                  <a:lnTo>
                    <a:pt x="748119" y="202959"/>
                  </a:lnTo>
                  <a:lnTo>
                    <a:pt x="748170" y="202959"/>
                  </a:lnTo>
                  <a:lnTo>
                    <a:pt x="748170" y="204292"/>
                  </a:lnTo>
                  <a:lnTo>
                    <a:pt x="748221" y="204292"/>
                  </a:lnTo>
                  <a:lnTo>
                    <a:pt x="748221" y="203594"/>
                  </a:lnTo>
                  <a:lnTo>
                    <a:pt x="748221" y="204292"/>
                  </a:lnTo>
                  <a:lnTo>
                    <a:pt x="748221" y="203594"/>
                  </a:lnTo>
                  <a:lnTo>
                    <a:pt x="748221" y="204292"/>
                  </a:lnTo>
                  <a:lnTo>
                    <a:pt x="748259" y="204292"/>
                  </a:lnTo>
                  <a:lnTo>
                    <a:pt x="748259" y="203594"/>
                  </a:lnTo>
                  <a:lnTo>
                    <a:pt x="748259" y="204292"/>
                  </a:lnTo>
                  <a:lnTo>
                    <a:pt x="748361" y="204292"/>
                  </a:lnTo>
                  <a:lnTo>
                    <a:pt x="748361" y="203594"/>
                  </a:lnTo>
                  <a:lnTo>
                    <a:pt x="748361" y="204292"/>
                  </a:lnTo>
                  <a:lnTo>
                    <a:pt x="748361" y="202959"/>
                  </a:lnTo>
                  <a:lnTo>
                    <a:pt x="748412" y="202959"/>
                  </a:lnTo>
                  <a:lnTo>
                    <a:pt x="748412" y="202260"/>
                  </a:lnTo>
                  <a:lnTo>
                    <a:pt x="748412" y="202959"/>
                  </a:lnTo>
                  <a:lnTo>
                    <a:pt x="748412" y="202260"/>
                  </a:lnTo>
                  <a:lnTo>
                    <a:pt x="748412" y="202959"/>
                  </a:lnTo>
                  <a:lnTo>
                    <a:pt x="748412" y="199530"/>
                  </a:lnTo>
                  <a:lnTo>
                    <a:pt x="748462" y="199530"/>
                  </a:lnTo>
                  <a:lnTo>
                    <a:pt x="748462" y="200876"/>
                  </a:lnTo>
                  <a:lnTo>
                    <a:pt x="748462" y="198831"/>
                  </a:lnTo>
                  <a:lnTo>
                    <a:pt x="748564" y="198831"/>
                  </a:lnTo>
                  <a:lnTo>
                    <a:pt x="748564" y="202260"/>
                  </a:lnTo>
                  <a:lnTo>
                    <a:pt x="748564" y="200228"/>
                  </a:lnTo>
                  <a:lnTo>
                    <a:pt x="748615" y="200228"/>
                  </a:lnTo>
                  <a:lnTo>
                    <a:pt x="748615" y="202959"/>
                  </a:lnTo>
                  <a:lnTo>
                    <a:pt x="748615" y="200876"/>
                  </a:lnTo>
                  <a:lnTo>
                    <a:pt x="748666" y="200876"/>
                  </a:lnTo>
                  <a:lnTo>
                    <a:pt x="748666" y="202260"/>
                  </a:lnTo>
                  <a:lnTo>
                    <a:pt x="748666" y="200876"/>
                  </a:lnTo>
                  <a:lnTo>
                    <a:pt x="748666" y="202260"/>
                  </a:lnTo>
                  <a:lnTo>
                    <a:pt x="748666" y="200876"/>
                  </a:lnTo>
                  <a:lnTo>
                    <a:pt x="748666" y="202260"/>
                  </a:lnTo>
                  <a:lnTo>
                    <a:pt x="748716" y="202959"/>
                  </a:lnTo>
                  <a:lnTo>
                    <a:pt x="748716" y="202260"/>
                  </a:lnTo>
                  <a:lnTo>
                    <a:pt x="748716" y="202959"/>
                  </a:lnTo>
                  <a:lnTo>
                    <a:pt x="748716" y="202260"/>
                  </a:lnTo>
                  <a:lnTo>
                    <a:pt x="748716" y="202959"/>
                  </a:lnTo>
                  <a:lnTo>
                    <a:pt x="748805" y="202959"/>
                  </a:lnTo>
                  <a:lnTo>
                    <a:pt x="748805" y="202260"/>
                  </a:lnTo>
                  <a:lnTo>
                    <a:pt x="748805" y="202959"/>
                  </a:lnTo>
                  <a:lnTo>
                    <a:pt x="748805" y="202260"/>
                  </a:lnTo>
                  <a:lnTo>
                    <a:pt x="748805" y="202959"/>
                  </a:lnTo>
                  <a:lnTo>
                    <a:pt x="748856" y="202959"/>
                  </a:lnTo>
                  <a:lnTo>
                    <a:pt x="748856" y="202260"/>
                  </a:lnTo>
                  <a:lnTo>
                    <a:pt x="748856" y="202959"/>
                  </a:lnTo>
                  <a:lnTo>
                    <a:pt x="748856" y="202260"/>
                  </a:lnTo>
                  <a:lnTo>
                    <a:pt x="748907" y="202260"/>
                  </a:lnTo>
                  <a:lnTo>
                    <a:pt x="748907" y="200228"/>
                  </a:lnTo>
                  <a:lnTo>
                    <a:pt x="748907" y="200876"/>
                  </a:lnTo>
                  <a:lnTo>
                    <a:pt x="748907" y="200228"/>
                  </a:lnTo>
                  <a:lnTo>
                    <a:pt x="748907" y="200876"/>
                  </a:lnTo>
                  <a:lnTo>
                    <a:pt x="748958" y="202260"/>
                  </a:lnTo>
                  <a:lnTo>
                    <a:pt x="748958" y="202959"/>
                  </a:lnTo>
                  <a:lnTo>
                    <a:pt x="748958" y="199530"/>
                  </a:lnTo>
                  <a:lnTo>
                    <a:pt x="748958" y="203594"/>
                  </a:lnTo>
                  <a:lnTo>
                    <a:pt x="749059" y="202959"/>
                  </a:lnTo>
                  <a:lnTo>
                    <a:pt x="749059" y="200228"/>
                  </a:lnTo>
                  <a:lnTo>
                    <a:pt x="749059" y="203594"/>
                  </a:lnTo>
                  <a:lnTo>
                    <a:pt x="749110" y="203594"/>
                  </a:lnTo>
                  <a:lnTo>
                    <a:pt x="749110" y="202260"/>
                  </a:lnTo>
                  <a:lnTo>
                    <a:pt x="749110" y="202959"/>
                  </a:lnTo>
                  <a:lnTo>
                    <a:pt x="749110" y="200876"/>
                  </a:lnTo>
                  <a:lnTo>
                    <a:pt x="749110" y="202959"/>
                  </a:lnTo>
                  <a:lnTo>
                    <a:pt x="749110" y="202260"/>
                  </a:lnTo>
                  <a:lnTo>
                    <a:pt x="749161" y="202959"/>
                  </a:lnTo>
                  <a:lnTo>
                    <a:pt x="749161" y="202260"/>
                  </a:lnTo>
                  <a:lnTo>
                    <a:pt x="749161" y="202959"/>
                  </a:lnTo>
                  <a:lnTo>
                    <a:pt x="749161" y="202260"/>
                  </a:lnTo>
                  <a:lnTo>
                    <a:pt x="749161" y="202959"/>
                  </a:lnTo>
                  <a:lnTo>
                    <a:pt x="749262" y="202959"/>
                  </a:lnTo>
                  <a:lnTo>
                    <a:pt x="749262" y="202260"/>
                  </a:lnTo>
                  <a:lnTo>
                    <a:pt x="749262" y="202959"/>
                  </a:lnTo>
                  <a:lnTo>
                    <a:pt x="749262" y="202260"/>
                  </a:lnTo>
                  <a:lnTo>
                    <a:pt x="749262" y="202959"/>
                  </a:lnTo>
                  <a:lnTo>
                    <a:pt x="749262" y="202260"/>
                  </a:lnTo>
                  <a:lnTo>
                    <a:pt x="749262" y="202959"/>
                  </a:lnTo>
                  <a:lnTo>
                    <a:pt x="749301" y="202959"/>
                  </a:lnTo>
                  <a:lnTo>
                    <a:pt x="749301" y="203594"/>
                  </a:lnTo>
                  <a:lnTo>
                    <a:pt x="749301" y="202959"/>
                  </a:lnTo>
                  <a:lnTo>
                    <a:pt x="749301" y="203594"/>
                  </a:lnTo>
                  <a:lnTo>
                    <a:pt x="749301" y="202959"/>
                  </a:lnTo>
                  <a:lnTo>
                    <a:pt x="749301" y="203594"/>
                  </a:lnTo>
                  <a:lnTo>
                    <a:pt x="749351" y="203594"/>
                  </a:lnTo>
                  <a:lnTo>
                    <a:pt x="749351" y="202959"/>
                  </a:lnTo>
                  <a:lnTo>
                    <a:pt x="749351" y="203594"/>
                  </a:lnTo>
                  <a:lnTo>
                    <a:pt x="749351" y="202260"/>
                  </a:lnTo>
                  <a:lnTo>
                    <a:pt x="749351" y="202959"/>
                  </a:lnTo>
                  <a:lnTo>
                    <a:pt x="749351" y="200876"/>
                  </a:lnTo>
                  <a:lnTo>
                    <a:pt x="749402" y="200876"/>
                  </a:lnTo>
                  <a:lnTo>
                    <a:pt x="749402" y="203594"/>
                  </a:lnTo>
                  <a:lnTo>
                    <a:pt x="749402" y="202959"/>
                  </a:lnTo>
                  <a:lnTo>
                    <a:pt x="749504" y="202260"/>
                  </a:lnTo>
                  <a:lnTo>
                    <a:pt x="749504" y="200876"/>
                  </a:lnTo>
                  <a:lnTo>
                    <a:pt x="749504" y="204292"/>
                  </a:lnTo>
                  <a:lnTo>
                    <a:pt x="749504" y="202959"/>
                  </a:lnTo>
                  <a:lnTo>
                    <a:pt x="749555" y="202959"/>
                  </a:lnTo>
                  <a:lnTo>
                    <a:pt x="749555" y="204990"/>
                  </a:lnTo>
                  <a:lnTo>
                    <a:pt x="749555" y="203594"/>
                  </a:lnTo>
                  <a:lnTo>
                    <a:pt x="749605" y="203594"/>
                  </a:lnTo>
                  <a:lnTo>
                    <a:pt x="749605" y="204292"/>
                  </a:lnTo>
                  <a:lnTo>
                    <a:pt x="749605" y="203594"/>
                  </a:lnTo>
                  <a:lnTo>
                    <a:pt x="749605" y="204292"/>
                  </a:lnTo>
                  <a:lnTo>
                    <a:pt x="749605" y="202959"/>
                  </a:lnTo>
                  <a:lnTo>
                    <a:pt x="749707" y="203594"/>
                  </a:lnTo>
                  <a:lnTo>
                    <a:pt x="749707" y="202959"/>
                  </a:lnTo>
                  <a:lnTo>
                    <a:pt x="749707" y="203594"/>
                  </a:lnTo>
                  <a:lnTo>
                    <a:pt x="749707" y="202959"/>
                  </a:lnTo>
                  <a:lnTo>
                    <a:pt x="749707" y="203594"/>
                  </a:lnTo>
                  <a:lnTo>
                    <a:pt x="749707" y="202959"/>
                  </a:lnTo>
                  <a:lnTo>
                    <a:pt x="749758" y="202959"/>
                  </a:lnTo>
                  <a:lnTo>
                    <a:pt x="749758" y="203594"/>
                  </a:lnTo>
                  <a:lnTo>
                    <a:pt x="749758" y="202959"/>
                  </a:lnTo>
                  <a:lnTo>
                    <a:pt x="749758" y="203594"/>
                  </a:lnTo>
                  <a:lnTo>
                    <a:pt x="749758" y="202959"/>
                  </a:lnTo>
                  <a:lnTo>
                    <a:pt x="749808" y="202959"/>
                  </a:lnTo>
                  <a:lnTo>
                    <a:pt x="749808" y="203594"/>
                  </a:lnTo>
                  <a:lnTo>
                    <a:pt x="749808" y="202260"/>
                  </a:lnTo>
                  <a:lnTo>
                    <a:pt x="749847" y="202260"/>
                  </a:lnTo>
                  <a:lnTo>
                    <a:pt x="749847" y="199530"/>
                  </a:lnTo>
                  <a:lnTo>
                    <a:pt x="749948" y="199530"/>
                  </a:lnTo>
                  <a:lnTo>
                    <a:pt x="749948" y="202260"/>
                  </a:lnTo>
                  <a:lnTo>
                    <a:pt x="749948" y="200228"/>
                  </a:lnTo>
                  <a:lnTo>
                    <a:pt x="749948" y="200876"/>
                  </a:lnTo>
                  <a:lnTo>
                    <a:pt x="749999" y="202260"/>
                  </a:lnTo>
                  <a:lnTo>
                    <a:pt x="749999" y="203594"/>
                  </a:lnTo>
                  <a:lnTo>
                    <a:pt x="749999" y="202260"/>
                  </a:lnTo>
                  <a:lnTo>
                    <a:pt x="749999" y="202959"/>
                  </a:lnTo>
                  <a:lnTo>
                    <a:pt x="750050" y="202959"/>
                  </a:lnTo>
                  <a:lnTo>
                    <a:pt x="750050" y="203594"/>
                  </a:lnTo>
                  <a:lnTo>
                    <a:pt x="750050" y="202959"/>
                  </a:lnTo>
                  <a:lnTo>
                    <a:pt x="750050" y="203594"/>
                  </a:lnTo>
                  <a:lnTo>
                    <a:pt x="750050" y="202959"/>
                  </a:lnTo>
                  <a:lnTo>
                    <a:pt x="750050" y="203594"/>
                  </a:lnTo>
                  <a:lnTo>
                    <a:pt x="750151" y="203594"/>
                  </a:lnTo>
                  <a:lnTo>
                    <a:pt x="750151" y="204292"/>
                  </a:lnTo>
                  <a:lnTo>
                    <a:pt x="750151" y="203594"/>
                  </a:lnTo>
                  <a:lnTo>
                    <a:pt x="750151" y="204292"/>
                  </a:lnTo>
                  <a:lnTo>
                    <a:pt x="750202" y="204292"/>
                  </a:lnTo>
                  <a:lnTo>
                    <a:pt x="750202" y="203594"/>
                  </a:lnTo>
                  <a:lnTo>
                    <a:pt x="750202" y="204292"/>
                  </a:lnTo>
                  <a:lnTo>
                    <a:pt x="750202" y="203594"/>
                  </a:lnTo>
                  <a:lnTo>
                    <a:pt x="750202" y="204292"/>
                  </a:lnTo>
                  <a:lnTo>
                    <a:pt x="750253" y="204292"/>
                  </a:lnTo>
                  <a:lnTo>
                    <a:pt x="750253" y="203594"/>
                  </a:lnTo>
                  <a:lnTo>
                    <a:pt x="750253" y="204292"/>
                  </a:lnTo>
                  <a:lnTo>
                    <a:pt x="750253" y="203594"/>
                  </a:lnTo>
                  <a:lnTo>
                    <a:pt x="750304" y="203594"/>
                  </a:lnTo>
                  <a:lnTo>
                    <a:pt x="750304" y="202959"/>
                  </a:lnTo>
                  <a:lnTo>
                    <a:pt x="750304" y="203594"/>
                  </a:lnTo>
                  <a:lnTo>
                    <a:pt x="750304" y="202260"/>
                  </a:lnTo>
                  <a:lnTo>
                    <a:pt x="750393" y="202959"/>
                  </a:lnTo>
                  <a:lnTo>
                    <a:pt x="750393" y="198831"/>
                  </a:lnTo>
                  <a:lnTo>
                    <a:pt x="750393" y="199530"/>
                  </a:lnTo>
                  <a:lnTo>
                    <a:pt x="750443" y="200228"/>
                  </a:lnTo>
                  <a:lnTo>
                    <a:pt x="750443" y="202260"/>
                  </a:lnTo>
                  <a:lnTo>
                    <a:pt x="750443" y="199530"/>
                  </a:lnTo>
                  <a:lnTo>
                    <a:pt x="750443" y="202959"/>
                  </a:lnTo>
                  <a:lnTo>
                    <a:pt x="750494" y="202959"/>
                  </a:lnTo>
                  <a:lnTo>
                    <a:pt x="750494" y="200876"/>
                  </a:lnTo>
                  <a:lnTo>
                    <a:pt x="750494" y="203594"/>
                  </a:lnTo>
                  <a:lnTo>
                    <a:pt x="750545" y="203594"/>
                  </a:lnTo>
                  <a:lnTo>
                    <a:pt x="750545" y="202959"/>
                  </a:lnTo>
                  <a:lnTo>
                    <a:pt x="750545" y="203594"/>
                  </a:lnTo>
                  <a:lnTo>
                    <a:pt x="750545" y="202260"/>
                  </a:lnTo>
                  <a:lnTo>
                    <a:pt x="750545" y="203594"/>
                  </a:lnTo>
                  <a:lnTo>
                    <a:pt x="750647" y="203594"/>
                  </a:lnTo>
                  <a:lnTo>
                    <a:pt x="750647" y="202959"/>
                  </a:lnTo>
                  <a:lnTo>
                    <a:pt x="750647" y="203594"/>
                  </a:lnTo>
                  <a:lnTo>
                    <a:pt x="750647" y="202959"/>
                  </a:lnTo>
                  <a:lnTo>
                    <a:pt x="750647" y="203594"/>
                  </a:lnTo>
                  <a:lnTo>
                    <a:pt x="750697" y="203594"/>
                  </a:lnTo>
                  <a:lnTo>
                    <a:pt x="750697" y="204292"/>
                  </a:lnTo>
                  <a:lnTo>
                    <a:pt x="750697" y="203594"/>
                  </a:lnTo>
                  <a:lnTo>
                    <a:pt x="750697" y="204292"/>
                  </a:lnTo>
                  <a:lnTo>
                    <a:pt x="750697" y="203594"/>
                  </a:lnTo>
                  <a:lnTo>
                    <a:pt x="750850" y="203594"/>
                  </a:lnTo>
                  <a:lnTo>
                    <a:pt x="750850" y="202260"/>
                  </a:lnTo>
                  <a:lnTo>
                    <a:pt x="750888" y="202260"/>
                  </a:lnTo>
                  <a:lnTo>
                    <a:pt x="750888" y="198831"/>
                  </a:lnTo>
                  <a:lnTo>
                    <a:pt x="750888" y="200228"/>
                  </a:lnTo>
                  <a:lnTo>
                    <a:pt x="750939" y="200228"/>
                  </a:lnTo>
                  <a:lnTo>
                    <a:pt x="750939" y="202260"/>
                  </a:lnTo>
                  <a:lnTo>
                    <a:pt x="750939" y="198831"/>
                  </a:lnTo>
                  <a:lnTo>
                    <a:pt x="750939" y="202260"/>
                  </a:lnTo>
                  <a:lnTo>
                    <a:pt x="750990" y="202260"/>
                  </a:lnTo>
                  <a:lnTo>
                    <a:pt x="750990" y="200876"/>
                  </a:lnTo>
                  <a:lnTo>
                    <a:pt x="750990" y="202959"/>
                  </a:lnTo>
                  <a:lnTo>
                    <a:pt x="751091" y="202959"/>
                  </a:lnTo>
                  <a:lnTo>
                    <a:pt x="751091" y="200876"/>
                  </a:lnTo>
                  <a:lnTo>
                    <a:pt x="751091" y="202260"/>
                  </a:lnTo>
                  <a:lnTo>
                    <a:pt x="751142" y="202260"/>
                  </a:lnTo>
                  <a:lnTo>
                    <a:pt x="751142" y="202959"/>
                  </a:lnTo>
                  <a:lnTo>
                    <a:pt x="751142" y="202260"/>
                  </a:lnTo>
                  <a:lnTo>
                    <a:pt x="751142" y="202959"/>
                  </a:lnTo>
                  <a:lnTo>
                    <a:pt x="751142" y="202260"/>
                  </a:lnTo>
                  <a:lnTo>
                    <a:pt x="751142" y="202959"/>
                  </a:lnTo>
                  <a:lnTo>
                    <a:pt x="751193" y="202959"/>
                  </a:lnTo>
                  <a:lnTo>
                    <a:pt x="751193" y="204292"/>
                  </a:lnTo>
                  <a:lnTo>
                    <a:pt x="751193" y="203594"/>
                  </a:lnTo>
                  <a:lnTo>
                    <a:pt x="751294" y="203594"/>
                  </a:lnTo>
                  <a:lnTo>
                    <a:pt x="751294" y="202959"/>
                  </a:lnTo>
                  <a:lnTo>
                    <a:pt x="751345" y="203594"/>
                  </a:lnTo>
                  <a:lnTo>
                    <a:pt x="751345" y="204292"/>
                  </a:lnTo>
                  <a:lnTo>
                    <a:pt x="751345" y="200876"/>
                  </a:lnTo>
                  <a:lnTo>
                    <a:pt x="751396" y="200876"/>
                  </a:lnTo>
                  <a:lnTo>
                    <a:pt x="751396" y="200228"/>
                  </a:lnTo>
                  <a:lnTo>
                    <a:pt x="751396" y="200876"/>
                  </a:lnTo>
                  <a:lnTo>
                    <a:pt x="751396" y="199530"/>
                  </a:lnTo>
                  <a:lnTo>
                    <a:pt x="751396" y="200876"/>
                  </a:lnTo>
                  <a:lnTo>
                    <a:pt x="751434" y="200876"/>
                  </a:lnTo>
                  <a:lnTo>
                    <a:pt x="751434" y="198831"/>
                  </a:lnTo>
                  <a:lnTo>
                    <a:pt x="751434" y="202959"/>
                  </a:lnTo>
                  <a:lnTo>
                    <a:pt x="751434" y="202260"/>
                  </a:lnTo>
                  <a:lnTo>
                    <a:pt x="751536" y="202260"/>
                  </a:lnTo>
                  <a:lnTo>
                    <a:pt x="751536" y="199530"/>
                  </a:lnTo>
                  <a:lnTo>
                    <a:pt x="751536" y="200228"/>
                  </a:lnTo>
                  <a:lnTo>
                    <a:pt x="751536" y="199530"/>
                  </a:lnTo>
                  <a:lnTo>
                    <a:pt x="751536" y="202260"/>
                  </a:lnTo>
                  <a:lnTo>
                    <a:pt x="751587" y="200876"/>
                  </a:lnTo>
                  <a:lnTo>
                    <a:pt x="751587" y="202260"/>
                  </a:lnTo>
                  <a:lnTo>
                    <a:pt x="751587" y="200876"/>
                  </a:lnTo>
                  <a:lnTo>
                    <a:pt x="751587" y="202260"/>
                  </a:lnTo>
                  <a:lnTo>
                    <a:pt x="751637" y="202260"/>
                  </a:lnTo>
                  <a:lnTo>
                    <a:pt x="751637" y="200876"/>
                  </a:lnTo>
                  <a:lnTo>
                    <a:pt x="751637" y="202260"/>
                  </a:lnTo>
                  <a:lnTo>
                    <a:pt x="751637" y="200876"/>
                  </a:lnTo>
                  <a:lnTo>
                    <a:pt x="751637" y="202260"/>
                  </a:lnTo>
                  <a:lnTo>
                    <a:pt x="751637" y="200876"/>
                  </a:lnTo>
                  <a:lnTo>
                    <a:pt x="751637" y="202959"/>
                  </a:lnTo>
                  <a:lnTo>
                    <a:pt x="751637" y="202260"/>
                  </a:lnTo>
                  <a:lnTo>
                    <a:pt x="751739" y="202260"/>
                  </a:lnTo>
                  <a:lnTo>
                    <a:pt x="751739" y="203594"/>
                  </a:lnTo>
                  <a:lnTo>
                    <a:pt x="751790" y="202959"/>
                  </a:lnTo>
                  <a:lnTo>
                    <a:pt x="751790" y="202260"/>
                  </a:lnTo>
                  <a:lnTo>
                    <a:pt x="751790" y="203594"/>
                  </a:lnTo>
                  <a:lnTo>
                    <a:pt x="751790" y="202959"/>
                  </a:lnTo>
                  <a:lnTo>
                    <a:pt x="751790" y="203594"/>
                  </a:lnTo>
                  <a:lnTo>
                    <a:pt x="751790" y="202260"/>
                  </a:lnTo>
                  <a:lnTo>
                    <a:pt x="751790" y="202959"/>
                  </a:lnTo>
                  <a:lnTo>
                    <a:pt x="751790" y="202260"/>
                  </a:lnTo>
                  <a:lnTo>
                    <a:pt x="751790" y="202959"/>
                  </a:lnTo>
                  <a:lnTo>
                    <a:pt x="751790" y="202260"/>
                  </a:lnTo>
                  <a:lnTo>
                    <a:pt x="751841" y="202959"/>
                  </a:lnTo>
                  <a:lnTo>
                    <a:pt x="751841" y="200876"/>
                  </a:lnTo>
                  <a:lnTo>
                    <a:pt x="751891" y="200228"/>
                  </a:lnTo>
                  <a:lnTo>
                    <a:pt x="751891" y="200876"/>
                  </a:lnTo>
                  <a:lnTo>
                    <a:pt x="751891" y="200228"/>
                  </a:lnTo>
                  <a:lnTo>
                    <a:pt x="751891" y="202260"/>
                  </a:lnTo>
                  <a:lnTo>
                    <a:pt x="751891" y="200876"/>
                  </a:lnTo>
                  <a:lnTo>
                    <a:pt x="751891" y="202959"/>
                  </a:lnTo>
                  <a:lnTo>
                    <a:pt x="751891" y="200228"/>
                  </a:lnTo>
                  <a:lnTo>
                    <a:pt x="751980" y="200876"/>
                  </a:lnTo>
                  <a:lnTo>
                    <a:pt x="751980" y="200228"/>
                  </a:lnTo>
                  <a:lnTo>
                    <a:pt x="751980" y="204292"/>
                  </a:lnTo>
                  <a:lnTo>
                    <a:pt x="751980" y="202260"/>
                  </a:lnTo>
                  <a:lnTo>
                    <a:pt x="752031" y="202260"/>
                  </a:lnTo>
                  <a:lnTo>
                    <a:pt x="752031" y="203594"/>
                  </a:lnTo>
                  <a:lnTo>
                    <a:pt x="752031" y="202260"/>
                  </a:lnTo>
                  <a:lnTo>
                    <a:pt x="752082" y="202959"/>
                  </a:lnTo>
                  <a:lnTo>
                    <a:pt x="752082" y="202260"/>
                  </a:lnTo>
                  <a:lnTo>
                    <a:pt x="752082" y="203594"/>
                  </a:lnTo>
                  <a:lnTo>
                    <a:pt x="752082" y="202959"/>
                  </a:lnTo>
                  <a:lnTo>
                    <a:pt x="752133" y="202959"/>
                  </a:lnTo>
                  <a:lnTo>
                    <a:pt x="752133" y="203594"/>
                  </a:lnTo>
                  <a:lnTo>
                    <a:pt x="752133" y="202959"/>
                  </a:lnTo>
                  <a:lnTo>
                    <a:pt x="752133" y="203594"/>
                  </a:lnTo>
                  <a:lnTo>
                    <a:pt x="752133" y="202959"/>
                  </a:lnTo>
                  <a:lnTo>
                    <a:pt x="752133" y="203594"/>
                  </a:lnTo>
                  <a:lnTo>
                    <a:pt x="752234" y="203594"/>
                  </a:lnTo>
                  <a:lnTo>
                    <a:pt x="752234" y="202959"/>
                  </a:lnTo>
                  <a:lnTo>
                    <a:pt x="752234" y="203594"/>
                  </a:lnTo>
                  <a:lnTo>
                    <a:pt x="752234" y="202959"/>
                  </a:lnTo>
                  <a:lnTo>
                    <a:pt x="752285" y="202959"/>
                  </a:lnTo>
                  <a:lnTo>
                    <a:pt x="752285" y="203594"/>
                  </a:lnTo>
                  <a:lnTo>
                    <a:pt x="752285" y="202260"/>
                  </a:lnTo>
                  <a:lnTo>
                    <a:pt x="752285" y="202959"/>
                  </a:lnTo>
                  <a:lnTo>
                    <a:pt x="752285" y="202260"/>
                  </a:lnTo>
                  <a:lnTo>
                    <a:pt x="752285" y="202959"/>
                  </a:lnTo>
                  <a:lnTo>
                    <a:pt x="752285" y="202260"/>
                  </a:lnTo>
                  <a:lnTo>
                    <a:pt x="752336" y="202260"/>
                  </a:lnTo>
                  <a:lnTo>
                    <a:pt x="752336" y="200228"/>
                  </a:lnTo>
                  <a:lnTo>
                    <a:pt x="752336" y="200876"/>
                  </a:lnTo>
                  <a:lnTo>
                    <a:pt x="752336" y="200228"/>
                  </a:lnTo>
                  <a:lnTo>
                    <a:pt x="752437" y="200228"/>
                  </a:lnTo>
                  <a:lnTo>
                    <a:pt x="752437" y="199530"/>
                  </a:lnTo>
                  <a:lnTo>
                    <a:pt x="752437" y="202959"/>
                  </a:lnTo>
                  <a:lnTo>
                    <a:pt x="752437" y="200228"/>
                  </a:lnTo>
                  <a:lnTo>
                    <a:pt x="752476" y="200228"/>
                  </a:lnTo>
                  <a:lnTo>
                    <a:pt x="752476" y="203594"/>
                  </a:lnTo>
                  <a:lnTo>
                    <a:pt x="752476" y="202959"/>
                  </a:lnTo>
                  <a:lnTo>
                    <a:pt x="752476" y="203594"/>
                  </a:lnTo>
                  <a:lnTo>
                    <a:pt x="752476" y="202260"/>
                  </a:lnTo>
                  <a:lnTo>
                    <a:pt x="752526" y="202260"/>
                  </a:lnTo>
                  <a:lnTo>
                    <a:pt x="752526" y="203594"/>
                  </a:lnTo>
                  <a:lnTo>
                    <a:pt x="752526" y="202260"/>
                  </a:lnTo>
                  <a:lnTo>
                    <a:pt x="752577" y="202260"/>
                  </a:lnTo>
                  <a:lnTo>
                    <a:pt x="752577" y="203594"/>
                  </a:lnTo>
                  <a:lnTo>
                    <a:pt x="752577" y="202959"/>
                  </a:lnTo>
                  <a:lnTo>
                    <a:pt x="752577" y="203594"/>
                  </a:lnTo>
                  <a:lnTo>
                    <a:pt x="752577" y="202959"/>
                  </a:lnTo>
                  <a:lnTo>
                    <a:pt x="752679" y="203594"/>
                  </a:lnTo>
                  <a:lnTo>
                    <a:pt x="752679" y="202959"/>
                  </a:lnTo>
                  <a:lnTo>
                    <a:pt x="752679" y="203594"/>
                  </a:lnTo>
                  <a:lnTo>
                    <a:pt x="752679" y="202959"/>
                  </a:lnTo>
                  <a:lnTo>
                    <a:pt x="752679" y="203594"/>
                  </a:lnTo>
                  <a:lnTo>
                    <a:pt x="752679" y="202959"/>
                  </a:lnTo>
                  <a:lnTo>
                    <a:pt x="752679" y="203594"/>
                  </a:lnTo>
                  <a:lnTo>
                    <a:pt x="752679" y="202959"/>
                  </a:lnTo>
                  <a:lnTo>
                    <a:pt x="752679" y="203594"/>
                  </a:lnTo>
                  <a:lnTo>
                    <a:pt x="752730" y="203594"/>
                  </a:lnTo>
                  <a:lnTo>
                    <a:pt x="752730" y="202959"/>
                  </a:lnTo>
                  <a:lnTo>
                    <a:pt x="752730" y="203594"/>
                  </a:lnTo>
                  <a:lnTo>
                    <a:pt x="752730" y="202959"/>
                  </a:lnTo>
                  <a:lnTo>
                    <a:pt x="752730" y="203594"/>
                  </a:lnTo>
                  <a:lnTo>
                    <a:pt x="752730" y="202959"/>
                  </a:lnTo>
                  <a:lnTo>
                    <a:pt x="752780" y="202959"/>
                  </a:lnTo>
                  <a:lnTo>
                    <a:pt x="752780" y="200876"/>
                  </a:lnTo>
                  <a:lnTo>
                    <a:pt x="752882" y="200876"/>
                  </a:lnTo>
                  <a:lnTo>
                    <a:pt x="752882" y="199530"/>
                  </a:lnTo>
                  <a:lnTo>
                    <a:pt x="752933" y="199530"/>
                  </a:lnTo>
                  <a:lnTo>
                    <a:pt x="752933" y="198831"/>
                  </a:lnTo>
                  <a:lnTo>
                    <a:pt x="752933" y="200876"/>
                  </a:lnTo>
                  <a:lnTo>
                    <a:pt x="752933" y="200228"/>
                  </a:lnTo>
                  <a:lnTo>
                    <a:pt x="752933" y="200876"/>
                  </a:lnTo>
                  <a:lnTo>
                    <a:pt x="752933" y="200228"/>
                  </a:lnTo>
                  <a:lnTo>
                    <a:pt x="752983" y="200228"/>
                  </a:lnTo>
                  <a:lnTo>
                    <a:pt x="752983" y="202959"/>
                  </a:lnTo>
                  <a:lnTo>
                    <a:pt x="752983" y="200876"/>
                  </a:lnTo>
                  <a:lnTo>
                    <a:pt x="753022" y="202260"/>
                  </a:lnTo>
                  <a:lnTo>
                    <a:pt x="753022" y="202959"/>
                  </a:lnTo>
                  <a:lnTo>
                    <a:pt x="753022" y="202260"/>
                  </a:lnTo>
                  <a:lnTo>
                    <a:pt x="753022" y="202959"/>
                  </a:lnTo>
                  <a:lnTo>
                    <a:pt x="753022" y="202260"/>
                  </a:lnTo>
                  <a:lnTo>
                    <a:pt x="753022" y="202959"/>
                  </a:lnTo>
                  <a:lnTo>
                    <a:pt x="753123" y="202959"/>
                  </a:lnTo>
                  <a:lnTo>
                    <a:pt x="753123" y="203594"/>
                  </a:lnTo>
                  <a:lnTo>
                    <a:pt x="753123" y="202959"/>
                  </a:lnTo>
                  <a:lnTo>
                    <a:pt x="753123" y="203594"/>
                  </a:lnTo>
                  <a:lnTo>
                    <a:pt x="753123" y="202959"/>
                  </a:lnTo>
                  <a:lnTo>
                    <a:pt x="753123" y="204292"/>
                  </a:lnTo>
                  <a:lnTo>
                    <a:pt x="753174" y="203594"/>
                  </a:lnTo>
                  <a:lnTo>
                    <a:pt x="753174" y="204292"/>
                  </a:lnTo>
                  <a:lnTo>
                    <a:pt x="753174" y="203594"/>
                  </a:lnTo>
                  <a:lnTo>
                    <a:pt x="753174" y="204292"/>
                  </a:lnTo>
                  <a:lnTo>
                    <a:pt x="753225" y="204292"/>
                  </a:lnTo>
                  <a:lnTo>
                    <a:pt x="753225" y="203594"/>
                  </a:lnTo>
                  <a:lnTo>
                    <a:pt x="753225" y="204292"/>
                  </a:lnTo>
                  <a:lnTo>
                    <a:pt x="753225" y="203594"/>
                  </a:lnTo>
                  <a:lnTo>
                    <a:pt x="753225" y="204292"/>
                  </a:lnTo>
                  <a:lnTo>
                    <a:pt x="753225" y="203594"/>
                  </a:lnTo>
                  <a:lnTo>
                    <a:pt x="753326" y="203594"/>
                  </a:lnTo>
                  <a:lnTo>
                    <a:pt x="753326" y="202959"/>
                  </a:lnTo>
                  <a:lnTo>
                    <a:pt x="753377" y="202959"/>
                  </a:lnTo>
                  <a:lnTo>
                    <a:pt x="753377" y="200876"/>
                  </a:lnTo>
                  <a:lnTo>
                    <a:pt x="753377" y="202959"/>
                  </a:lnTo>
                  <a:lnTo>
                    <a:pt x="753428" y="203594"/>
                  </a:lnTo>
                  <a:lnTo>
                    <a:pt x="753428" y="200876"/>
                  </a:lnTo>
                  <a:lnTo>
                    <a:pt x="753428" y="204990"/>
                  </a:lnTo>
                  <a:lnTo>
                    <a:pt x="753479" y="204292"/>
                  </a:lnTo>
                  <a:lnTo>
                    <a:pt x="753479" y="202959"/>
                  </a:lnTo>
                  <a:lnTo>
                    <a:pt x="753479" y="204292"/>
                  </a:lnTo>
                  <a:lnTo>
                    <a:pt x="753479" y="203594"/>
                  </a:lnTo>
                  <a:lnTo>
                    <a:pt x="753568" y="203594"/>
                  </a:lnTo>
                  <a:lnTo>
                    <a:pt x="753568" y="204292"/>
                  </a:lnTo>
                  <a:lnTo>
                    <a:pt x="753568" y="203594"/>
                  </a:lnTo>
                  <a:lnTo>
                    <a:pt x="753618" y="203594"/>
                  </a:lnTo>
                  <a:lnTo>
                    <a:pt x="753618" y="204292"/>
                  </a:lnTo>
                  <a:lnTo>
                    <a:pt x="753618" y="203594"/>
                  </a:lnTo>
                  <a:lnTo>
                    <a:pt x="753618" y="204292"/>
                  </a:lnTo>
                  <a:lnTo>
                    <a:pt x="753618" y="203594"/>
                  </a:lnTo>
                  <a:lnTo>
                    <a:pt x="753669" y="204292"/>
                  </a:lnTo>
                  <a:lnTo>
                    <a:pt x="753669" y="204990"/>
                  </a:lnTo>
                  <a:lnTo>
                    <a:pt x="753669" y="204292"/>
                  </a:lnTo>
                  <a:lnTo>
                    <a:pt x="753720" y="204292"/>
                  </a:lnTo>
                  <a:lnTo>
                    <a:pt x="753720" y="203594"/>
                  </a:lnTo>
                  <a:lnTo>
                    <a:pt x="753720" y="204292"/>
                  </a:lnTo>
                  <a:lnTo>
                    <a:pt x="753720" y="203594"/>
                  </a:lnTo>
                  <a:lnTo>
                    <a:pt x="753720" y="204292"/>
                  </a:lnTo>
                  <a:lnTo>
                    <a:pt x="753720" y="203594"/>
                  </a:lnTo>
                  <a:lnTo>
                    <a:pt x="753822" y="203594"/>
                  </a:lnTo>
                  <a:lnTo>
                    <a:pt x="753822" y="202260"/>
                  </a:lnTo>
                  <a:lnTo>
                    <a:pt x="753822" y="202959"/>
                  </a:lnTo>
                  <a:lnTo>
                    <a:pt x="753822" y="202260"/>
                  </a:lnTo>
                  <a:lnTo>
                    <a:pt x="753822" y="202959"/>
                  </a:lnTo>
                  <a:lnTo>
                    <a:pt x="753872" y="202260"/>
                  </a:lnTo>
                  <a:lnTo>
                    <a:pt x="753872" y="200876"/>
                  </a:lnTo>
                  <a:lnTo>
                    <a:pt x="753872" y="202260"/>
                  </a:lnTo>
                  <a:lnTo>
                    <a:pt x="753872" y="200228"/>
                  </a:lnTo>
                  <a:lnTo>
                    <a:pt x="753872" y="202959"/>
                  </a:lnTo>
                  <a:lnTo>
                    <a:pt x="753923" y="202260"/>
                  </a:lnTo>
                  <a:lnTo>
                    <a:pt x="753923" y="200876"/>
                  </a:lnTo>
                  <a:lnTo>
                    <a:pt x="753923" y="204990"/>
                  </a:lnTo>
                  <a:lnTo>
                    <a:pt x="753923" y="203594"/>
                  </a:lnTo>
                  <a:lnTo>
                    <a:pt x="754025" y="203594"/>
                  </a:lnTo>
                  <a:lnTo>
                    <a:pt x="754025" y="202959"/>
                  </a:lnTo>
                  <a:lnTo>
                    <a:pt x="754025" y="204292"/>
                  </a:lnTo>
                  <a:lnTo>
                    <a:pt x="754025" y="203594"/>
                  </a:lnTo>
                  <a:lnTo>
                    <a:pt x="754063" y="203594"/>
                  </a:lnTo>
                  <a:lnTo>
                    <a:pt x="754063" y="202959"/>
                  </a:lnTo>
                  <a:lnTo>
                    <a:pt x="754063" y="204990"/>
                  </a:lnTo>
                  <a:lnTo>
                    <a:pt x="754063" y="203594"/>
                  </a:lnTo>
                  <a:lnTo>
                    <a:pt x="754063" y="204292"/>
                  </a:lnTo>
                  <a:lnTo>
                    <a:pt x="754063" y="203594"/>
                  </a:lnTo>
                  <a:lnTo>
                    <a:pt x="754063" y="204292"/>
                  </a:lnTo>
                  <a:lnTo>
                    <a:pt x="754114" y="204292"/>
                  </a:lnTo>
                  <a:lnTo>
                    <a:pt x="754114" y="203594"/>
                  </a:lnTo>
                  <a:lnTo>
                    <a:pt x="754114" y="204990"/>
                  </a:lnTo>
                  <a:lnTo>
                    <a:pt x="754114" y="204292"/>
                  </a:lnTo>
                  <a:lnTo>
                    <a:pt x="754165" y="204292"/>
                  </a:lnTo>
                  <a:lnTo>
                    <a:pt x="754165" y="204990"/>
                  </a:lnTo>
                  <a:lnTo>
                    <a:pt x="754266" y="204292"/>
                  </a:lnTo>
                  <a:lnTo>
                    <a:pt x="754266" y="204990"/>
                  </a:lnTo>
                  <a:lnTo>
                    <a:pt x="754266" y="202959"/>
                  </a:lnTo>
                  <a:lnTo>
                    <a:pt x="754266" y="203594"/>
                  </a:lnTo>
                  <a:lnTo>
                    <a:pt x="754317" y="203594"/>
                  </a:lnTo>
                  <a:lnTo>
                    <a:pt x="754317" y="200876"/>
                  </a:lnTo>
                  <a:lnTo>
                    <a:pt x="754368" y="200876"/>
                  </a:lnTo>
                  <a:lnTo>
                    <a:pt x="754368" y="202959"/>
                  </a:lnTo>
                  <a:lnTo>
                    <a:pt x="754368" y="200876"/>
                  </a:lnTo>
                  <a:lnTo>
                    <a:pt x="754469" y="200876"/>
                  </a:lnTo>
                  <a:lnTo>
                    <a:pt x="754469" y="203594"/>
                  </a:lnTo>
                  <a:lnTo>
                    <a:pt x="754469" y="202260"/>
                  </a:lnTo>
                  <a:lnTo>
                    <a:pt x="754469" y="202959"/>
                  </a:lnTo>
                  <a:lnTo>
                    <a:pt x="754469" y="202260"/>
                  </a:lnTo>
                  <a:lnTo>
                    <a:pt x="754520" y="202260"/>
                  </a:lnTo>
                  <a:lnTo>
                    <a:pt x="754520" y="203594"/>
                  </a:lnTo>
                  <a:lnTo>
                    <a:pt x="754520" y="202260"/>
                  </a:lnTo>
                  <a:lnTo>
                    <a:pt x="754520" y="202959"/>
                  </a:lnTo>
                  <a:lnTo>
                    <a:pt x="754571" y="202959"/>
                  </a:lnTo>
                  <a:lnTo>
                    <a:pt x="754571" y="203594"/>
                  </a:lnTo>
                  <a:lnTo>
                    <a:pt x="754571" y="202959"/>
                  </a:lnTo>
                  <a:lnTo>
                    <a:pt x="754571" y="203594"/>
                  </a:lnTo>
                  <a:lnTo>
                    <a:pt x="754571" y="202959"/>
                  </a:lnTo>
                  <a:lnTo>
                    <a:pt x="754571" y="203594"/>
                  </a:lnTo>
                  <a:lnTo>
                    <a:pt x="754571" y="202959"/>
                  </a:lnTo>
                  <a:lnTo>
                    <a:pt x="754571" y="203594"/>
                  </a:lnTo>
                  <a:lnTo>
                    <a:pt x="754571" y="202959"/>
                  </a:lnTo>
                  <a:lnTo>
                    <a:pt x="754571" y="203594"/>
                  </a:lnTo>
                  <a:lnTo>
                    <a:pt x="754571" y="202959"/>
                  </a:lnTo>
                  <a:lnTo>
                    <a:pt x="754609" y="203594"/>
                  </a:lnTo>
                  <a:lnTo>
                    <a:pt x="754711" y="203594"/>
                  </a:lnTo>
                  <a:lnTo>
                    <a:pt x="754711" y="204292"/>
                  </a:lnTo>
                  <a:lnTo>
                    <a:pt x="754711" y="203594"/>
                  </a:lnTo>
                  <a:lnTo>
                    <a:pt x="754711" y="204292"/>
                  </a:lnTo>
                  <a:lnTo>
                    <a:pt x="754711" y="203594"/>
                  </a:lnTo>
                  <a:lnTo>
                    <a:pt x="754762" y="203594"/>
                  </a:lnTo>
                  <a:lnTo>
                    <a:pt x="754762" y="202959"/>
                  </a:lnTo>
                  <a:lnTo>
                    <a:pt x="754812" y="202959"/>
                  </a:lnTo>
                  <a:lnTo>
                    <a:pt x="754812" y="200876"/>
                  </a:lnTo>
                  <a:lnTo>
                    <a:pt x="754812" y="202260"/>
                  </a:lnTo>
                  <a:lnTo>
                    <a:pt x="754914" y="202260"/>
                  </a:lnTo>
                  <a:lnTo>
                    <a:pt x="754914" y="202959"/>
                  </a:lnTo>
                  <a:lnTo>
                    <a:pt x="754914" y="200876"/>
                  </a:lnTo>
                  <a:lnTo>
                    <a:pt x="754914" y="203594"/>
                  </a:lnTo>
                  <a:lnTo>
                    <a:pt x="754965" y="203594"/>
                  </a:lnTo>
                  <a:lnTo>
                    <a:pt x="754965" y="204292"/>
                  </a:lnTo>
                  <a:lnTo>
                    <a:pt x="754965" y="202959"/>
                  </a:lnTo>
                  <a:lnTo>
                    <a:pt x="754965" y="203594"/>
                  </a:lnTo>
                  <a:lnTo>
                    <a:pt x="755016" y="203594"/>
                  </a:lnTo>
                  <a:lnTo>
                    <a:pt x="755016" y="204292"/>
                  </a:lnTo>
                  <a:lnTo>
                    <a:pt x="755016" y="203594"/>
                  </a:lnTo>
                  <a:lnTo>
                    <a:pt x="755016" y="204292"/>
                  </a:lnTo>
                  <a:lnTo>
                    <a:pt x="755016" y="203594"/>
                  </a:lnTo>
                  <a:lnTo>
                    <a:pt x="755066" y="203594"/>
                  </a:lnTo>
                  <a:lnTo>
                    <a:pt x="755066" y="204292"/>
                  </a:lnTo>
                  <a:lnTo>
                    <a:pt x="755066" y="203594"/>
                  </a:lnTo>
                  <a:lnTo>
                    <a:pt x="755066" y="204292"/>
                  </a:lnTo>
                  <a:lnTo>
                    <a:pt x="755155" y="204292"/>
                  </a:lnTo>
                  <a:lnTo>
                    <a:pt x="755155" y="203594"/>
                  </a:lnTo>
                  <a:lnTo>
                    <a:pt x="755155" y="204292"/>
                  </a:lnTo>
                  <a:lnTo>
                    <a:pt x="755155" y="203594"/>
                  </a:lnTo>
                  <a:lnTo>
                    <a:pt x="755155" y="204292"/>
                  </a:lnTo>
                  <a:lnTo>
                    <a:pt x="755155" y="203594"/>
                  </a:lnTo>
                  <a:lnTo>
                    <a:pt x="755155" y="204292"/>
                  </a:lnTo>
                  <a:lnTo>
                    <a:pt x="755155" y="203594"/>
                  </a:lnTo>
                  <a:lnTo>
                    <a:pt x="755206" y="203594"/>
                  </a:lnTo>
                  <a:lnTo>
                    <a:pt x="755206" y="204292"/>
                  </a:lnTo>
                  <a:lnTo>
                    <a:pt x="755206" y="203594"/>
                  </a:lnTo>
                  <a:lnTo>
                    <a:pt x="755206" y="204292"/>
                  </a:lnTo>
                  <a:lnTo>
                    <a:pt x="755206" y="203594"/>
                  </a:lnTo>
                  <a:lnTo>
                    <a:pt x="755257" y="203594"/>
                  </a:lnTo>
                  <a:lnTo>
                    <a:pt x="755257" y="202959"/>
                  </a:lnTo>
                  <a:lnTo>
                    <a:pt x="755257" y="203594"/>
                  </a:lnTo>
                  <a:lnTo>
                    <a:pt x="755257" y="202959"/>
                  </a:lnTo>
                  <a:lnTo>
                    <a:pt x="755257" y="203594"/>
                  </a:lnTo>
                  <a:lnTo>
                    <a:pt x="755257" y="202260"/>
                  </a:lnTo>
                  <a:lnTo>
                    <a:pt x="755308" y="202260"/>
                  </a:lnTo>
                  <a:lnTo>
                    <a:pt x="755308" y="202959"/>
                  </a:lnTo>
                  <a:lnTo>
                    <a:pt x="755308" y="200228"/>
                  </a:lnTo>
                  <a:lnTo>
                    <a:pt x="755308" y="202959"/>
                  </a:lnTo>
                  <a:lnTo>
                    <a:pt x="755409" y="202959"/>
                  </a:lnTo>
                  <a:lnTo>
                    <a:pt x="755409" y="202260"/>
                  </a:lnTo>
                  <a:lnTo>
                    <a:pt x="755409" y="204292"/>
                  </a:lnTo>
                  <a:lnTo>
                    <a:pt x="755409" y="203594"/>
                  </a:lnTo>
                  <a:lnTo>
                    <a:pt x="755409" y="204292"/>
                  </a:lnTo>
                  <a:lnTo>
                    <a:pt x="755460" y="203594"/>
                  </a:lnTo>
                  <a:lnTo>
                    <a:pt x="755460" y="204292"/>
                  </a:lnTo>
                  <a:lnTo>
                    <a:pt x="755460" y="203594"/>
                  </a:lnTo>
                  <a:lnTo>
                    <a:pt x="755511" y="203594"/>
                  </a:lnTo>
                  <a:lnTo>
                    <a:pt x="755511" y="204292"/>
                  </a:lnTo>
                  <a:lnTo>
                    <a:pt x="755612" y="203594"/>
                  </a:lnTo>
                  <a:lnTo>
                    <a:pt x="755612" y="204292"/>
                  </a:lnTo>
                  <a:lnTo>
                    <a:pt x="755612" y="203594"/>
                  </a:lnTo>
                  <a:lnTo>
                    <a:pt x="755612" y="204292"/>
                  </a:lnTo>
                  <a:lnTo>
                    <a:pt x="755612" y="203594"/>
                  </a:lnTo>
                  <a:lnTo>
                    <a:pt x="755612" y="204292"/>
                  </a:lnTo>
                  <a:lnTo>
                    <a:pt x="755651" y="204292"/>
                  </a:lnTo>
                  <a:lnTo>
                    <a:pt x="755651" y="203594"/>
                  </a:lnTo>
                  <a:lnTo>
                    <a:pt x="755651" y="204292"/>
                  </a:lnTo>
                  <a:lnTo>
                    <a:pt x="755651" y="202959"/>
                  </a:lnTo>
                  <a:lnTo>
                    <a:pt x="755651" y="203594"/>
                  </a:lnTo>
                  <a:lnTo>
                    <a:pt x="755701" y="203594"/>
                  </a:lnTo>
                  <a:lnTo>
                    <a:pt x="755701" y="202959"/>
                  </a:lnTo>
                  <a:lnTo>
                    <a:pt x="755752" y="202959"/>
                  </a:lnTo>
                  <a:lnTo>
                    <a:pt x="755752" y="200228"/>
                  </a:lnTo>
                  <a:lnTo>
                    <a:pt x="755854" y="200228"/>
                  </a:lnTo>
                  <a:lnTo>
                    <a:pt x="755854" y="199530"/>
                  </a:lnTo>
                  <a:lnTo>
                    <a:pt x="755854" y="202260"/>
                  </a:lnTo>
                  <a:lnTo>
                    <a:pt x="755854" y="200228"/>
                  </a:lnTo>
                  <a:lnTo>
                    <a:pt x="755905" y="200228"/>
                  </a:lnTo>
                  <a:lnTo>
                    <a:pt x="755905" y="202959"/>
                  </a:lnTo>
                  <a:lnTo>
                    <a:pt x="755905" y="202260"/>
                  </a:lnTo>
                  <a:lnTo>
                    <a:pt x="755905" y="202959"/>
                  </a:lnTo>
                  <a:lnTo>
                    <a:pt x="755955" y="202260"/>
                  </a:lnTo>
                  <a:lnTo>
                    <a:pt x="755955" y="203594"/>
                  </a:lnTo>
                  <a:lnTo>
                    <a:pt x="755955" y="202959"/>
                  </a:lnTo>
                  <a:lnTo>
                    <a:pt x="755955" y="203594"/>
                  </a:lnTo>
                  <a:lnTo>
                    <a:pt x="755955" y="202959"/>
                  </a:lnTo>
                  <a:lnTo>
                    <a:pt x="755955" y="203594"/>
                  </a:lnTo>
                  <a:lnTo>
                    <a:pt x="756057" y="203594"/>
                  </a:lnTo>
                  <a:lnTo>
                    <a:pt x="756057" y="202959"/>
                  </a:lnTo>
                  <a:lnTo>
                    <a:pt x="756057" y="203594"/>
                  </a:lnTo>
                  <a:lnTo>
                    <a:pt x="756057" y="202959"/>
                  </a:lnTo>
                  <a:lnTo>
                    <a:pt x="756057" y="203594"/>
                  </a:lnTo>
                  <a:lnTo>
                    <a:pt x="756057" y="202959"/>
                  </a:lnTo>
                  <a:lnTo>
                    <a:pt x="756057" y="203594"/>
                  </a:lnTo>
                  <a:lnTo>
                    <a:pt x="756057" y="202959"/>
                  </a:lnTo>
                  <a:lnTo>
                    <a:pt x="756057" y="203594"/>
                  </a:lnTo>
                  <a:lnTo>
                    <a:pt x="756057" y="202959"/>
                  </a:lnTo>
                  <a:lnTo>
                    <a:pt x="756057" y="203594"/>
                  </a:lnTo>
                  <a:lnTo>
                    <a:pt x="756057" y="202959"/>
                  </a:lnTo>
                  <a:lnTo>
                    <a:pt x="756057" y="203594"/>
                  </a:lnTo>
                  <a:lnTo>
                    <a:pt x="756108" y="203594"/>
                  </a:lnTo>
                  <a:lnTo>
                    <a:pt x="756108" y="204292"/>
                  </a:lnTo>
                  <a:lnTo>
                    <a:pt x="756108" y="203594"/>
                  </a:lnTo>
                  <a:lnTo>
                    <a:pt x="756108" y="204292"/>
                  </a:lnTo>
                  <a:lnTo>
                    <a:pt x="756108" y="203594"/>
                  </a:lnTo>
                  <a:lnTo>
                    <a:pt x="756108" y="204292"/>
                  </a:lnTo>
                  <a:lnTo>
                    <a:pt x="756108" y="203594"/>
                  </a:lnTo>
                  <a:lnTo>
                    <a:pt x="756108" y="204292"/>
                  </a:lnTo>
                  <a:lnTo>
                    <a:pt x="756158" y="204292"/>
                  </a:lnTo>
                  <a:lnTo>
                    <a:pt x="756158" y="203594"/>
                  </a:lnTo>
                  <a:lnTo>
                    <a:pt x="756158" y="204292"/>
                  </a:lnTo>
                  <a:lnTo>
                    <a:pt x="756158" y="203594"/>
                  </a:lnTo>
                  <a:lnTo>
                    <a:pt x="756158" y="204292"/>
                  </a:lnTo>
                  <a:lnTo>
                    <a:pt x="756158" y="203594"/>
                  </a:lnTo>
                  <a:lnTo>
                    <a:pt x="756197" y="203594"/>
                  </a:lnTo>
                  <a:lnTo>
                    <a:pt x="756197" y="202959"/>
                  </a:lnTo>
                  <a:lnTo>
                    <a:pt x="756197" y="203594"/>
                  </a:lnTo>
                  <a:lnTo>
                    <a:pt x="756197" y="202959"/>
                  </a:lnTo>
                  <a:lnTo>
                    <a:pt x="756298" y="202959"/>
                  </a:lnTo>
                  <a:lnTo>
                    <a:pt x="756298" y="200876"/>
                  </a:lnTo>
                  <a:lnTo>
                    <a:pt x="756298" y="202260"/>
                  </a:lnTo>
                  <a:lnTo>
                    <a:pt x="756298" y="200228"/>
                  </a:lnTo>
                  <a:lnTo>
                    <a:pt x="756349" y="200228"/>
                  </a:lnTo>
                  <a:lnTo>
                    <a:pt x="756349" y="199530"/>
                  </a:lnTo>
                  <a:lnTo>
                    <a:pt x="756349" y="200876"/>
                  </a:lnTo>
                  <a:lnTo>
                    <a:pt x="756349" y="199530"/>
                  </a:lnTo>
                  <a:lnTo>
                    <a:pt x="756400" y="199530"/>
                  </a:lnTo>
                  <a:lnTo>
                    <a:pt x="756400" y="202260"/>
                  </a:lnTo>
                  <a:lnTo>
                    <a:pt x="756400" y="200876"/>
                  </a:lnTo>
                  <a:lnTo>
                    <a:pt x="756501" y="200876"/>
                  </a:lnTo>
                  <a:lnTo>
                    <a:pt x="756501" y="202260"/>
                  </a:lnTo>
                  <a:lnTo>
                    <a:pt x="756501" y="200876"/>
                  </a:lnTo>
                  <a:lnTo>
                    <a:pt x="756501" y="202260"/>
                  </a:lnTo>
                  <a:lnTo>
                    <a:pt x="756552" y="202260"/>
                  </a:lnTo>
                  <a:lnTo>
                    <a:pt x="756552" y="202959"/>
                  </a:lnTo>
                  <a:lnTo>
                    <a:pt x="756552" y="202260"/>
                  </a:lnTo>
                  <a:lnTo>
                    <a:pt x="756552" y="202959"/>
                  </a:lnTo>
                  <a:lnTo>
                    <a:pt x="756552" y="202260"/>
                  </a:lnTo>
                  <a:lnTo>
                    <a:pt x="756552" y="202959"/>
                  </a:lnTo>
                  <a:lnTo>
                    <a:pt x="756603" y="202959"/>
                  </a:lnTo>
                  <a:lnTo>
                    <a:pt x="756603" y="203594"/>
                  </a:lnTo>
                  <a:lnTo>
                    <a:pt x="756603" y="202959"/>
                  </a:lnTo>
                  <a:lnTo>
                    <a:pt x="756603" y="203594"/>
                  </a:lnTo>
                  <a:lnTo>
                    <a:pt x="756603" y="202959"/>
                  </a:lnTo>
                  <a:lnTo>
                    <a:pt x="756603" y="203594"/>
                  </a:lnTo>
                  <a:lnTo>
                    <a:pt x="756654" y="203594"/>
                  </a:lnTo>
                  <a:lnTo>
                    <a:pt x="756654" y="202959"/>
                  </a:lnTo>
                  <a:lnTo>
                    <a:pt x="756743" y="202959"/>
                  </a:lnTo>
                  <a:lnTo>
                    <a:pt x="756743" y="203594"/>
                  </a:lnTo>
                  <a:lnTo>
                    <a:pt x="756743" y="202260"/>
                  </a:lnTo>
                  <a:lnTo>
                    <a:pt x="756793" y="202260"/>
                  </a:lnTo>
                  <a:lnTo>
                    <a:pt x="756793" y="199530"/>
                  </a:lnTo>
                  <a:lnTo>
                    <a:pt x="756844" y="199530"/>
                  </a:lnTo>
                  <a:lnTo>
                    <a:pt x="756844" y="198831"/>
                  </a:lnTo>
                  <a:lnTo>
                    <a:pt x="756844" y="200228"/>
                  </a:lnTo>
                  <a:lnTo>
                    <a:pt x="756844" y="199530"/>
                  </a:lnTo>
                  <a:lnTo>
                    <a:pt x="756844" y="200228"/>
                  </a:lnTo>
                  <a:lnTo>
                    <a:pt x="756844" y="199530"/>
                  </a:lnTo>
                  <a:lnTo>
                    <a:pt x="756895" y="199530"/>
                  </a:lnTo>
                  <a:lnTo>
                    <a:pt x="756895" y="202260"/>
                  </a:lnTo>
                  <a:lnTo>
                    <a:pt x="756895" y="200228"/>
                  </a:lnTo>
                  <a:lnTo>
                    <a:pt x="756895" y="200876"/>
                  </a:lnTo>
                  <a:lnTo>
                    <a:pt x="756997" y="200876"/>
                  </a:lnTo>
                  <a:lnTo>
                    <a:pt x="756997" y="202959"/>
                  </a:lnTo>
                  <a:lnTo>
                    <a:pt x="756997" y="200876"/>
                  </a:lnTo>
                  <a:lnTo>
                    <a:pt x="757047" y="200876"/>
                  </a:lnTo>
                  <a:lnTo>
                    <a:pt x="757047" y="202260"/>
                  </a:lnTo>
                  <a:lnTo>
                    <a:pt x="757047" y="200876"/>
                  </a:lnTo>
                  <a:lnTo>
                    <a:pt x="757047" y="202959"/>
                  </a:lnTo>
                  <a:lnTo>
                    <a:pt x="757098" y="202959"/>
                  </a:lnTo>
                  <a:lnTo>
                    <a:pt x="757098" y="203594"/>
                  </a:lnTo>
                  <a:lnTo>
                    <a:pt x="757098" y="202959"/>
                  </a:lnTo>
                  <a:lnTo>
                    <a:pt x="757200" y="202959"/>
                  </a:lnTo>
                  <a:lnTo>
                    <a:pt x="757200" y="203594"/>
                  </a:lnTo>
                  <a:lnTo>
                    <a:pt x="757200" y="202959"/>
                  </a:lnTo>
                  <a:lnTo>
                    <a:pt x="757238" y="202959"/>
                  </a:lnTo>
                  <a:lnTo>
                    <a:pt x="757238" y="202260"/>
                  </a:lnTo>
                  <a:lnTo>
                    <a:pt x="757238" y="202959"/>
                  </a:lnTo>
                  <a:lnTo>
                    <a:pt x="757238" y="202260"/>
                  </a:lnTo>
                  <a:lnTo>
                    <a:pt x="757289" y="202260"/>
                  </a:lnTo>
                  <a:lnTo>
                    <a:pt x="757289" y="200876"/>
                  </a:lnTo>
                  <a:lnTo>
                    <a:pt x="757289" y="202260"/>
                  </a:lnTo>
                  <a:lnTo>
                    <a:pt x="757289" y="200228"/>
                  </a:lnTo>
                  <a:lnTo>
                    <a:pt x="757289" y="202260"/>
                  </a:lnTo>
                  <a:lnTo>
                    <a:pt x="757340" y="202260"/>
                  </a:lnTo>
                  <a:lnTo>
                    <a:pt x="757340" y="200228"/>
                  </a:lnTo>
                  <a:lnTo>
                    <a:pt x="757340" y="200876"/>
                  </a:lnTo>
                  <a:lnTo>
                    <a:pt x="757340" y="199530"/>
                  </a:lnTo>
                  <a:lnTo>
                    <a:pt x="757340" y="200228"/>
                  </a:lnTo>
                  <a:lnTo>
                    <a:pt x="757340" y="199530"/>
                  </a:lnTo>
                  <a:lnTo>
                    <a:pt x="757340" y="202959"/>
                  </a:lnTo>
                  <a:lnTo>
                    <a:pt x="757441" y="202959"/>
                  </a:lnTo>
                  <a:lnTo>
                    <a:pt x="757441" y="200876"/>
                  </a:lnTo>
                  <a:lnTo>
                    <a:pt x="757441" y="202260"/>
                  </a:lnTo>
                  <a:lnTo>
                    <a:pt x="757441" y="200876"/>
                  </a:lnTo>
                  <a:lnTo>
                    <a:pt x="757441" y="202260"/>
                  </a:lnTo>
                  <a:lnTo>
                    <a:pt x="757492" y="202260"/>
                  </a:lnTo>
                  <a:lnTo>
                    <a:pt x="757492" y="200876"/>
                  </a:lnTo>
                  <a:lnTo>
                    <a:pt x="757492" y="202959"/>
                  </a:lnTo>
                  <a:lnTo>
                    <a:pt x="757543" y="202959"/>
                  </a:lnTo>
                  <a:lnTo>
                    <a:pt x="757543" y="202260"/>
                  </a:lnTo>
                  <a:lnTo>
                    <a:pt x="757543" y="202959"/>
                  </a:lnTo>
                  <a:lnTo>
                    <a:pt x="757543" y="202260"/>
                  </a:lnTo>
                  <a:lnTo>
                    <a:pt x="757644" y="202260"/>
                  </a:lnTo>
                  <a:lnTo>
                    <a:pt x="757644" y="202959"/>
                  </a:lnTo>
                  <a:lnTo>
                    <a:pt x="757644" y="202260"/>
                  </a:lnTo>
                  <a:lnTo>
                    <a:pt x="757644" y="202959"/>
                  </a:lnTo>
                  <a:lnTo>
                    <a:pt x="757695" y="202959"/>
                  </a:lnTo>
                  <a:lnTo>
                    <a:pt x="757695" y="202260"/>
                  </a:lnTo>
                  <a:lnTo>
                    <a:pt x="757695" y="202959"/>
                  </a:lnTo>
                  <a:lnTo>
                    <a:pt x="757695" y="202260"/>
                  </a:lnTo>
                  <a:lnTo>
                    <a:pt x="757695" y="202959"/>
                  </a:lnTo>
                  <a:lnTo>
                    <a:pt x="757695" y="202260"/>
                  </a:lnTo>
                  <a:lnTo>
                    <a:pt x="757695" y="202959"/>
                  </a:lnTo>
                  <a:lnTo>
                    <a:pt x="757695" y="202260"/>
                  </a:lnTo>
                  <a:lnTo>
                    <a:pt x="757746" y="202260"/>
                  </a:lnTo>
                  <a:lnTo>
                    <a:pt x="757746" y="202959"/>
                  </a:lnTo>
                  <a:lnTo>
                    <a:pt x="757746" y="200876"/>
                  </a:lnTo>
                  <a:lnTo>
                    <a:pt x="757784" y="200876"/>
                  </a:lnTo>
                  <a:lnTo>
                    <a:pt x="757784" y="200228"/>
                  </a:lnTo>
                  <a:lnTo>
                    <a:pt x="757784" y="202260"/>
                  </a:lnTo>
                  <a:lnTo>
                    <a:pt x="757784" y="200876"/>
                  </a:lnTo>
                  <a:lnTo>
                    <a:pt x="757886" y="200876"/>
                  </a:lnTo>
                  <a:lnTo>
                    <a:pt x="757886" y="200228"/>
                  </a:lnTo>
                  <a:lnTo>
                    <a:pt x="757886" y="203594"/>
                  </a:lnTo>
                  <a:lnTo>
                    <a:pt x="757886" y="202959"/>
                  </a:lnTo>
                  <a:lnTo>
                    <a:pt x="757937" y="202959"/>
                  </a:lnTo>
                  <a:lnTo>
                    <a:pt x="757937" y="200876"/>
                  </a:lnTo>
                  <a:lnTo>
                    <a:pt x="757937" y="202260"/>
                  </a:lnTo>
                  <a:lnTo>
                    <a:pt x="757937" y="200876"/>
                  </a:lnTo>
                  <a:lnTo>
                    <a:pt x="757937" y="203594"/>
                  </a:lnTo>
                  <a:lnTo>
                    <a:pt x="757937" y="202959"/>
                  </a:lnTo>
                  <a:lnTo>
                    <a:pt x="757987" y="202959"/>
                  </a:lnTo>
                  <a:lnTo>
                    <a:pt x="757987" y="203594"/>
                  </a:lnTo>
                  <a:lnTo>
                    <a:pt x="757987" y="202959"/>
                  </a:lnTo>
                  <a:lnTo>
                    <a:pt x="758089" y="202959"/>
                  </a:lnTo>
                  <a:lnTo>
                    <a:pt x="758089" y="203594"/>
                  </a:lnTo>
                  <a:lnTo>
                    <a:pt x="758089" y="202959"/>
                  </a:lnTo>
                  <a:lnTo>
                    <a:pt x="758140" y="203594"/>
                  </a:lnTo>
                  <a:lnTo>
                    <a:pt x="758140" y="202959"/>
                  </a:lnTo>
                  <a:lnTo>
                    <a:pt x="758140" y="203594"/>
                  </a:lnTo>
                  <a:lnTo>
                    <a:pt x="758140" y="202959"/>
                  </a:lnTo>
                  <a:lnTo>
                    <a:pt x="758140" y="203594"/>
                  </a:lnTo>
                  <a:lnTo>
                    <a:pt x="758140" y="202959"/>
                  </a:lnTo>
                  <a:lnTo>
                    <a:pt x="758191" y="202959"/>
                  </a:lnTo>
                  <a:lnTo>
                    <a:pt x="758191" y="202260"/>
                  </a:lnTo>
                  <a:lnTo>
                    <a:pt x="758191" y="202959"/>
                  </a:lnTo>
                  <a:lnTo>
                    <a:pt x="758191" y="202260"/>
                  </a:lnTo>
                  <a:lnTo>
                    <a:pt x="758241" y="202260"/>
                  </a:lnTo>
                  <a:lnTo>
                    <a:pt x="758241" y="200228"/>
                  </a:lnTo>
                  <a:lnTo>
                    <a:pt x="758330" y="200228"/>
                  </a:lnTo>
                  <a:lnTo>
                    <a:pt x="758330" y="199530"/>
                  </a:lnTo>
                  <a:lnTo>
                    <a:pt x="758330" y="200876"/>
                  </a:lnTo>
                  <a:lnTo>
                    <a:pt x="758330" y="200228"/>
                  </a:lnTo>
                  <a:lnTo>
                    <a:pt x="758330" y="200876"/>
                  </a:lnTo>
                  <a:lnTo>
                    <a:pt x="758330" y="200228"/>
                  </a:lnTo>
                  <a:lnTo>
                    <a:pt x="758381" y="200228"/>
                  </a:lnTo>
                  <a:lnTo>
                    <a:pt x="758381" y="199530"/>
                  </a:lnTo>
                  <a:lnTo>
                    <a:pt x="758381" y="203594"/>
                  </a:lnTo>
                  <a:lnTo>
                    <a:pt x="758381" y="200876"/>
                  </a:lnTo>
                  <a:lnTo>
                    <a:pt x="758432" y="200876"/>
                  </a:lnTo>
                  <a:lnTo>
                    <a:pt x="758432" y="203594"/>
                  </a:lnTo>
                  <a:lnTo>
                    <a:pt x="758432" y="202260"/>
                  </a:lnTo>
                  <a:lnTo>
                    <a:pt x="758483" y="202260"/>
                  </a:lnTo>
                  <a:lnTo>
                    <a:pt x="758483" y="202959"/>
                  </a:lnTo>
                  <a:lnTo>
                    <a:pt x="758584" y="202959"/>
                  </a:lnTo>
                  <a:lnTo>
                    <a:pt x="758584" y="203594"/>
                  </a:lnTo>
                  <a:lnTo>
                    <a:pt x="758635" y="203594"/>
                  </a:lnTo>
                  <a:lnTo>
                    <a:pt x="758635" y="202959"/>
                  </a:lnTo>
                  <a:lnTo>
                    <a:pt x="758635" y="203594"/>
                  </a:lnTo>
                  <a:lnTo>
                    <a:pt x="758635" y="202959"/>
                  </a:lnTo>
                  <a:lnTo>
                    <a:pt x="758635" y="203594"/>
                  </a:lnTo>
                  <a:lnTo>
                    <a:pt x="758635" y="202959"/>
                  </a:lnTo>
                  <a:lnTo>
                    <a:pt x="758686" y="202959"/>
                  </a:lnTo>
                  <a:lnTo>
                    <a:pt x="758686" y="202260"/>
                  </a:lnTo>
                  <a:lnTo>
                    <a:pt x="758686" y="202959"/>
                  </a:lnTo>
                  <a:lnTo>
                    <a:pt x="758686" y="202260"/>
                  </a:lnTo>
                  <a:lnTo>
                    <a:pt x="758686" y="202959"/>
                  </a:lnTo>
                  <a:lnTo>
                    <a:pt x="758686" y="202260"/>
                  </a:lnTo>
                  <a:lnTo>
                    <a:pt x="758787" y="202260"/>
                  </a:lnTo>
                  <a:lnTo>
                    <a:pt x="758787" y="200876"/>
                  </a:lnTo>
                  <a:lnTo>
                    <a:pt x="758787" y="202260"/>
                  </a:lnTo>
                  <a:lnTo>
                    <a:pt x="758787" y="200876"/>
                  </a:lnTo>
                  <a:lnTo>
                    <a:pt x="758787" y="202260"/>
                  </a:lnTo>
                  <a:lnTo>
                    <a:pt x="758787" y="200228"/>
                  </a:lnTo>
                  <a:lnTo>
                    <a:pt x="758787" y="200876"/>
                  </a:lnTo>
                  <a:lnTo>
                    <a:pt x="758787" y="199530"/>
                  </a:lnTo>
                  <a:lnTo>
                    <a:pt x="758826" y="199530"/>
                  </a:lnTo>
                  <a:lnTo>
                    <a:pt x="758826" y="200876"/>
                  </a:lnTo>
                  <a:lnTo>
                    <a:pt x="758826" y="199530"/>
                  </a:lnTo>
                  <a:lnTo>
                    <a:pt x="758876" y="200228"/>
                  </a:lnTo>
                  <a:lnTo>
                    <a:pt x="758876" y="202959"/>
                  </a:lnTo>
                  <a:lnTo>
                    <a:pt x="758876" y="200876"/>
                  </a:lnTo>
                  <a:lnTo>
                    <a:pt x="758876" y="202260"/>
                  </a:lnTo>
                  <a:lnTo>
                    <a:pt x="758927" y="202260"/>
                  </a:lnTo>
                  <a:lnTo>
                    <a:pt x="758927" y="202959"/>
                  </a:lnTo>
                  <a:lnTo>
                    <a:pt x="758927" y="202260"/>
                  </a:lnTo>
                  <a:lnTo>
                    <a:pt x="758927" y="202959"/>
                  </a:lnTo>
                  <a:lnTo>
                    <a:pt x="759029" y="202959"/>
                  </a:lnTo>
                  <a:lnTo>
                    <a:pt x="759029" y="203594"/>
                  </a:lnTo>
                  <a:lnTo>
                    <a:pt x="759029" y="202959"/>
                  </a:lnTo>
                  <a:lnTo>
                    <a:pt x="759029" y="203594"/>
                  </a:lnTo>
                  <a:lnTo>
                    <a:pt x="759029" y="202959"/>
                  </a:lnTo>
                  <a:lnTo>
                    <a:pt x="759029" y="203594"/>
                  </a:lnTo>
                  <a:lnTo>
                    <a:pt x="759029" y="202959"/>
                  </a:lnTo>
                  <a:lnTo>
                    <a:pt x="759029" y="203594"/>
                  </a:lnTo>
                  <a:lnTo>
                    <a:pt x="759080" y="203594"/>
                  </a:lnTo>
                  <a:lnTo>
                    <a:pt x="759080" y="202959"/>
                  </a:lnTo>
                  <a:lnTo>
                    <a:pt x="759080" y="203594"/>
                  </a:lnTo>
                  <a:lnTo>
                    <a:pt x="759130" y="203594"/>
                  </a:lnTo>
                  <a:lnTo>
                    <a:pt x="759130" y="202959"/>
                  </a:lnTo>
                  <a:lnTo>
                    <a:pt x="759130" y="203594"/>
                  </a:lnTo>
                  <a:lnTo>
                    <a:pt x="759130" y="202959"/>
                  </a:lnTo>
                  <a:lnTo>
                    <a:pt x="759130" y="203594"/>
                  </a:lnTo>
                  <a:lnTo>
                    <a:pt x="759232" y="203594"/>
                  </a:lnTo>
                  <a:lnTo>
                    <a:pt x="759232" y="202260"/>
                  </a:lnTo>
                  <a:lnTo>
                    <a:pt x="759283" y="202260"/>
                  </a:lnTo>
                  <a:lnTo>
                    <a:pt x="759283" y="200876"/>
                  </a:lnTo>
                  <a:lnTo>
                    <a:pt x="759283" y="202260"/>
                  </a:lnTo>
                  <a:lnTo>
                    <a:pt x="759283" y="200228"/>
                  </a:lnTo>
                  <a:lnTo>
                    <a:pt x="759283" y="200876"/>
                  </a:lnTo>
                  <a:lnTo>
                    <a:pt x="759333" y="202260"/>
                  </a:lnTo>
                  <a:lnTo>
                    <a:pt x="759333" y="202959"/>
                  </a:lnTo>
                  <a:lnTo>
                    <a:pt x="759333" y="200228"/>
                  </a:lnTo>
                  <a:lnTo>
                    <a:pt x="759333" y="203594"/>
                  </a:lnTo>
                  <a:lnTo>
                    <a:pt x="759372" y="203594"/>
                  </a:lnTo>
                  <a:lnTo>
                    <a:pt x="759372" y="202260"/>
                  </a:lnTo>
                  <a:lnTo>
                    <a:pt x="759372" y="203594"/>
                  </a:lnTo>
                  <a:lnTo>
                    <a:pt x="759473" y="203594"/>
                  </a:lnTo>
                  <a:lnTo>
                    <a:pt x="759473" y="202959"/>
                  </a:lnTo>
                  <a:lnTo>
                    <a:pt x="759473" y="203594"/>
                  </a:lnTo>
                  <a:lnTo>
                    <a:pt x="759524" y="203594"/>
                  </a:lnTo>
                  <a:lnTo>
                    <a:pt x="759524" y="204292"/>
                  </a:lnTo>
                  <a:lnTo>
                    <a:pt x="759524" y="202959"/>
                  </a:lnTo>
                  <a:lnTo>
                    <a:pt x="759524" y="203594"/>
                  </a:lnTo>
                  <a:lnTo>
                    <a:pt x="759575" y="203594"/>
                  </a:lnTo>
                  <a:lnTo>
                    <a:pt x="759575" y="204292"/>
                  </a:lnTo>
                  <a:lnTo>
                    <a:pt x="759575" y="203594"/>
                  </a:lnTo>
                  <a:lnTo>
                    <a:pt x="759575" y="204292"/>
                  </a:lnTo>
                  <a:lnTo>
                    <a:pt x="759575" y="203594"/>
                  </a:lnTo>
                  <a:lnTo>
                    <a:pt x="759575" y="204292"/>
                  </a:lnTo>
                  <a:lnTo>
                    <a:pt x="759676" y="204292"/>
                  </a:lnTo>
                  <a:lnTo>
                    <a:pt x="759676" y="203594"/>
                  </a:lnTo>
                  <a:lnTo>
                    <a:pt x="759676" y="204292"/>
                  </a:lnTo>
                  <a:lnTo>
                    <a:pt x="759676" y="203594"/>
                  </a:lnTo>
                  <a:lnTo>
                    <a:pt x="759727" y="203594"/>
                  </a:lnTo>
                  <a:lnTo>
                    <a:pt x="759727" y="202959"/>
                  </a:lnTo>
                  <a:lnTo>
                    <a:pt x="759727" y="203594"/>
                  </a:lnTo>
                  <a:lnTo>
                    <a:pt x="759727" y="202260"/>
                  </a:lnTo>
                  <a:lnTo>
                    <a:pt x="759778" y="202260"/>
                  </a:lnTo>
                  <a:lnTo>
                    <a:pt x="759778" y="199530"/>
                  </a:lnTo>
                  <a:lnTo>
                    <a:pt x="759829" y="199530"/>
                  </a:lnTo>
                  <a:lnTo>
                    <a:pt x="759829" y="200228"/>
                  </a:lnTo>
                  <a:lnTo>
                    <a:pt x="759829" y="199530"/>
                  </a:lnTo>
                  <a:lnTo>
                    <a:pt x="759829" y="200876"/>
                  </a:lnTo>
                  <a:lnTo>
                    <a:pt x="759918" y="200876"/>
                  </a:lnTo>
                  <a:lnTo>
                    <a:pt x="759918" y="202260"/>
                  </a:lnTo>
                  <a:lnTo>
                    <a:pt x="759918" y="200228"/>
                  </a:lnTo>
                  <a:lnTo>
                    <a:pt x="759918" y="200876"/>
                  </a:lnTo>
                  <a:lnTo>
                    <a:pt x="759918" y="200228"/>
                  </a:lnTo>
                  <a:lnTo>
                    <a:pt x="759918" y="202260"/>
                  </a:lnTo>
                  <a:lnTo>
                    <a:pt x="759918" y="200876"/>
                  </a:lnTo>
                  <a:lnTo>
                    <a:pt x="759918" y="202260"/>
                  </a:lnTo>
                  <a:lnTo>
                    <a:pt x="759968" y="202260"/>
                  </a:lnTo>
                  <a:lnTo>
                    <a:pt x="759968" y="202959"/>
                  </a:lnTo>
                  <a:lnTo>
                    <a:pt x="759968" y="202260"/>
                  </a:lnTo>
                  <a:lnTo>
                    <a:pt x="759968" y="203594"/>
                  </a:lnTo>
                  <a:lnTo>
                    <a:pt x="760019" y="202959"/>
                  </a:lnTo>
                  <a:lnTo>
                    <a:pt x="760019" y="203594"/>
                  </a:lnTo>
                  <a:lnTo>
                    <a:pt x="760019" y="202959"/>
                  </a:lnTo>
                  <a:lnTo>
                    <a:pt x="760019" y="203594"/>
                  </a:lnTo>
                  <a:lnTo>
                    <a:pt x="760019" y="202959"/>
                  </a:lnTo>
                  <a:lnTo>
                    <a:pt x="760019" y="203594"/>
                  </a:lnTo>
                  <a:lnTo>
                    <a:pt x="760070" y="203594"/>
                  </a:lnTo>
                  <a:lnTo>
                    <a:pt x="760070" y="204292"/>
                  </a:lnTo>
                  <a:lnTo>
                    <a:pt x="760070" y="203594"/>
                  </a:lnTo>
                  <a:lnTo>
                    <a:pt x="760070" y="204292"/>
                  </a:lnTo>
                  <a:lnTo>
                    <a:pt x="760070" y="203594"/>
                  </a:lnTo>
                  <a:lnTo>
                    <a:pt x="760070" y="204292"/>
                  </a:lnTo>
                  <a:lnTo>
                    <a:pt x="760070" y="203594"/>
                  </a:lnTo>
                  <a:lnTo>
                    <a:pt x="760070" y="204292"/>
                  </a:lnTo>
                  <a:lnTo>
                    <a:pt x="760172" y="204292"/>
                  </a:lnTo>
                  <a:lnTo>
                    <a:pt x="760172" y="203594"/>
                  </a:lnTo>
                  <a:lnTo>
                    <a:pt x="760172" y="204292"/>
                  </a:lnTo>
                  <a:lnTo>
                    <a:pt x="760172" y="203594"/>
                  </a:lnTo>
                  <a:lnTo>
                    <a:pt x="760172" y="204292"/>
                  </a:lnTo>
                  <a:lnTo>
                    <a:pt x="760172" y="203594"/>
                  </a:lnTo>
                  <a:lnTo>
                    <a:pt x="760222" y="203594"/>
                  </a:lnTo>
                  <a:lnTo>
                    <a:pt x="760222" y="202959"/>
                  </a:lnTo>
                  <a:lnTo>
                    <a:pt x="760222" y="203594"/>
                  </a:lnTo>
                  <a:lnTo>
                    <a:pt x="760222" y="202260"/>
                  </a:lnTo>
                  <a:lnTo>
                    <a:pt x="760273" y="202959"/>
                  </a:lnTo>
                  <a:lnTo>
                    <a:pt x="760273" y="199530"/>
                  </a:lnTo>
                  <a:lnTo>
                    <a:pt x="760273" y="200228"/>
                  </a:lnTo>
                  <a:lnTo>
                    <a:pt x="760375" y="199530"/>
                  </a:lnTo>
                  <a:lnTo>
                    <a:pt x="760375" y="200876"/>
                  </a:lnTo>
                  <a:lnTo>
                    <a:pt x="760375" y="198831"/>
                  </a:lnTo>
                  <a:lnTo>
                    <a:pt x="760413" y="198831"/>
                  </a:lnTo>
                  <a:lnTo>
                    <a:pt x="760413" y="202260"/>
                  </a:lnTo>
                  <a:lnTo>
                    <a:pt x="760413" y="200228"/>
                  </a:lnTo>
                  <a:lnTo>
                    <a:pt x="760464" y="200876"/>
                  </a:lnTo>
                  <a:lnTo>
                    <a:pt x="760464" y="202260"/>
                  </a:lnTo>
                  <a:lnTo>
                    <a:pt x="760464" y="200876"/>
                  </a:lnTo>
                  <a:lnTo>
                    <a:pt x="760464" y="202260"/>
                  </a:lnTo>
                  <a:lnTo>
                    <a:pt x="760464" y="200876"/>
                  </a:lnTo>
                  <a:lnTo>
                    <a:pt x="760515" y="200876"/>
                  </a:lnTo>
                  <a:lnTo>
                    <a:pt x="760515" y="202260"/>
                  </a:lnTo>
                  <a:lnTo>
                    <a:pt x="760515" y="200876"/>
                  </a:lnTo>
                  <a:lnTo>
                    <a:pt x="760515" y="202959"/>
                  </a:lnTo>
                  <a:lnTo>
                    <a:pt x="760515" y="202260"/>
                  </a:lnTo>
                  <a:lnTo>
                    <a:pt x="760616" y="202260"/>
                  </a:lnTo>
                  <a:lnTo>
                    <a:pt x="760616" y="200876"/>
                  </a:lnTo>
                  <a:lnTo>
                    <a:pt x="760616" y="204292"/>
                  </a:lnTo>
                  <a:lnTo>
                    <a:pt x="760667" y="203594"/>
                  </a:lnTo>
                  <a:lnTo>
                    <a:pt x="760667" y="202959"/>
                  </a:lnTo>
                  <a:lnTo>
                    <a:pt x="760667" y="203594"/>
                  </a:lnTo>
                  <a:lnTo>
                    <a:pt x="760667" y="202959"/>
                  </a:lnTo>
                  <a:lnTo>
                    <a:pt x="760718" y="202959"/>
                  </a:lnTo>
                  <a:lnTo>
                    <a:pt x="760718" y="203594"/>
                  </a:lnTo>
                  <a:lnTo>
                    <a:pt x="760718" y="202959"/>
                  </a:lnTo>
                  <a:lnTo>
                    <a:pt x="760718" y="203594"/>
                  </a:lnTo>
                  <a:lnTo>
                    <a:pt x="760718" y="202260"/>
                  </a:lnTo>
                  <a:lnTo>
                    <a:pt x="760819" y="202260"/>
                  </a:lnTo>
                  <a:lnTo>
                    <a:pt x="760819" y="200876"/>
                  </a:lnTo>
                  <a:lnTo>
                    <a:pt x="760819" y="202959"/>
                  </a:lnTo>
                  <a:lnTo>
                    <a:pt x="760870" y="202260"/>
                  </a:lnTo>
                  <a:lnTo>
                    <a:pt x="760870" y="200876"/>
                  </a:lnTo>
                  <a:lnTo>
                    <a:pt x="760870" y="204292"/>
                  </a:lnTo>
                  <a:lnTo>
                    <a:pt x="760921" y="203594"/>
                  </a:lnTo>
                  <a:lnTo>
                    <a:pt x="760921" y="202959"/>
                  </a:lnTo>
                  <a:lnTo>
                    <a:pt x="760921" y="203594"/>
                  </a:lnTo>
                  <a:lnTo>
                    <a:pt x="760959" y="203594"/>
                  </a:lnTo>
                  <a:lnTo>
                    <a:pt x="760959" y="202959"/>
                  </a:lnTo>
                  <a:lnTo>
                    <a:pt x="760959" y="203594"/>
                  </a:lnTo>
                  <a:lnTo>
                    <a:pt x="760959" y="202959"/>
                  </a:lnTo>
                  <a:lnTo>
                    <a:pt x="760959" y="203594"/>
                  </a:lnTo>
                  <a:lnTo>
                    <a:pt x="760959" y="202959"/>
                  </a:lnTo>
                  <a:lnTo>
                    <a:pt x="761061" y="202959"/>
                  </a:lnTo>
                  <a:lnTo>
                    <a:pt x="761061" y="203594"/>
                  </a:lnTo>
                  <a:lnTo>
                    <a:pt x="761061" y="202959"/>
                  </a:lnTo>
                  <a:lnTo>
                    <a:pt x="761061" y="203594"/>
                  </a:lnTo>
                  <a:lnTo>
                    <a:pt x="761061" y="202959"/>
                  </a:lnTo>
                  <a:lnTo>
                    <a:pt x="761061" y="203594"/>
                  </a:lnTo>
                  <a:lnTo>
                    <a:pt x="761061" y="202959"/>
                  </a:lnTo>
                  <a:lnTo>
                    <a:pt x="761061" y="203594"/>
                  </a:lnTo>
                  <a:lnTo>
                    <a:pt x="761061" y="202959"/>
                  </a:lnTo>
                  <a:lnTo>
                    <a:pt x="761061" y="203594"/>
                  </a:lnTo>
                  <a:lnTo>
                    <a:pt x="761112" y="202959"/>
                  </a:lnTo>
                  <a:lnTo>
                    <a:pt x="761112" y="203594"/>
                  </a:lnTo>
                  <a:lnTo>
                    <a:pt x="761162" y="203594"/>
                  </a:lnTo>
                  <a:lnTo>
                    <a:pt x="761162" y="202959"/>
                  </a:lnTo>
                  <a:lnTo>
                    <a:pt x="761162" y="203594"/>
                  </a:lnTo>
                  <a:lnTo>
                    <a:pt x="761162" y="202959"/>
                  </a:lnTo>
                  <a:lnTo>
                    <a:pt x="761162" y="203594"/>
                  </a:lnTo>
                  <a:lnTo>
                    <a:pt x="761264" y="202959"/>
                  </a:lnTo>
                  <a:lnTo>
                    <a:pt x="761264" y="202260"/>
                  </a:lnTo>
                  <a:lnTo>
                    <a:pt x="761315" y="202260"/>
                  </a:lnTo>
                  <a:lnTo>
                    <a:pt x="761315" y="200876"/>
                  </a:lnTo>
                  <a:lnTo>
                    <a:pt x="761315" y="202959"/>
                  </a:lnTo>
                  <a:lnTo>
                    <a:pt x="761315" y="202260"/>
                  </a:lnTo>
                  <a:lnTo>
                    <a:pt x="761315" y="202959"/>
                  </a:lnTo>
                  <a:lnTo>
                    <a:pt x="761366" y="202959"/>
                  </a:lnTo>
                  <a:lnTo>
                    <a:pt x="761366" y="202260"/>
                  </a:lnTo>
                  <a:lnTo>
                    <a:pt x="761366" y="204292"/>
                  </a:lnTo>
                  <a:lnTo>
                    <a:pt x="761366" y="203594"/>
                  </a:lnTo>
                  <a:lnTo>
                    <a:pt x="761416" y="203594"/>
                  </a:lnTo>
                  <a:lnTo>
                    <a:pt x="761416" y="204292"/>
                  </a:lnTo>
                  <a:lnTo>
                    <a:pt x="761416" y="203594"/>
                  </a:lnTo>
                  <a:lnTo>
                    <a:pt x="761416" y="204292"/>
                  </a:lnTo>
                  <a:lnTo>
                    <a:pt x="761416" y="203594"/>
                  </a:lnTo>
                  <a:lnTo>
                    <a:pt x="761556" y="203594"/>
                  </a:lnTo>
                  <a:lnTo>
                    <a:pt x="761556" y="202959"/>
                  </a:lnTo>
                  <a:lnTo>
                    <a:pt x="761556" y="203594"/>
                  </a:lnTo>
                  <a:lnTo>
                    <a:pt x="761556" y="202959"/>
                  </a:lnTo>
                  <a:lnTo>
                    <a:pt x="761556" y="203594"/>
                  </a:lnTo>
                  <a:lnTo>
                    <a:pt x="761607" y="203594"/>
                  </a:lnTo>
                  <a:lnTo>
                    <a:pt x="761607" y="202959"/>
                  </a:lnTo>
                  <a:lnTo>
                    <a:pt x="761658" y="203594"/>
                  </a:lnTo>
                  <a:lnTo>
                    <a:pt x="761658" y="202959"/>
                  </a:lnTo>
                  <a:lnTo>
                    <a:pt x="761658" y="203594"/>
                  </a:lnTo>
                  <a:lnTo>
                    <a:pt x="761658" y="202260"/>
                  </a:lnTo>
                  <a:lnTo>
                    <a:pt x="761759" y="202260"/>
                  </a:lnTo>
                  <a:lnTo>
                    <a:pt x="761759" y="200876"/>
                  </a:lnTo>
                  <a:lnTo>
                    <a:pt x="761759" y="202260"/>
                  </a:lnTo>
                  <a:lnTo>
                    <a:pt x="761759" y="200228"/>
                  </a:lnTo>
                  <a:lnTo>
                    <a:pt x="761810" y="200228"/>
                  </a:lnTo>
                  <a:lnTo>
                    <a:pt x="761810" y="199530"/>
                  </a:lnTo>
                  <a:lnTo>
                    <a:pt x="761810" y="202260"/>
                  </a:lnTo>
                  <a:lnTo>
                    <a:pt x="761810" y="200228"/>
                  </a:lnTo>
                  <a:lnTo>
                    <a:pt x="761861" y="200228"/>
                  </a:lnTo>
                  <a:lnTo>
                    <a:pt x="761861" y="203594"/>
                  </a:lnTo>
                  <a:lnTo>
                    <a:pt x="761861" y="200876"/>
                  </a:lnTo>
                  <a:lnTo>
                    <a:pt x="761861" y="202260"/>
                  </a:lnTo>
                  <a:lnTo>
                    <a:pt x="761962" y="202959"/>
                  </a:lnTo>
                  <a:lnTo>
                    <a:pt x="761962" y="203594"/>
                  </a:lnTo>
                  <a:lnTo>
                    <a:pt x="761962" y="202959"/>
                  </a:lnTo>
                  <a:lnTo>
                    <a:pt x="761962" y="203594"/>
                  </a:lnTo>
                  <a:lnTo>
                    <a:pt x="761962" y="202959"/>
                  </a:lnTo>
                  <a:lnTo>
                    <a:pt x="761962" y="203594"/>
                  </a:lnTo>
                  <a:lnTo>
                    <a:pt x="761962" y="202959"/>
                  </a:lnTo>
                  <a:lnTo>
                    <a:pt x="762001" y="203594"/>
                  </a:lnTo>
                  <a:lnTo>
                    <a:pt x="762001" y="204292"/>
                  </a:lnTo>
                  <a:lnTo>
                    <a:pt x="762001" y="203594"/>
                  </a:lnTo>
                  <a:lnTo>
                    <a:pt x="762001" y="204292"/>
                  </a:lnTo>
                  <a:lnTo>
                    <a:pt x="762051" y="203594"/>
                  </a:lnTo>
                  <a:lnTo>
                    <a:pt x="762051" y="204292"/>
                  </a:lnTo>
                  <a:lnTo>
                    <a:pt x="762051" y="203594"/>
                  </a:lnTo>
                  <a:lnTo>
                    <a:pt x="762051" y="204292"/>
                  </a:lnTo>
                  <a:lnTo>
                    <a:pt x="762051" y="203594"/>
                  </a:lnTo>
                  <a:lnTo>
                    <a:pt x="762102" y="203594"/>
                  </a:lnTo>
                  <a:lnTo>
                    <a:pt x="762102" y="204292"/>
                  </a:lnTo>
                  <a:lnTo>
                    <a:pt x="762102" y="203594"/>
                  </a:lnTo>
                  <a:lnTo>
                    <a:pt x="762102" y="204292"/>
                  </a:lnTo>
                  <a:lnTo>
                    <a:pt x="762102" y="202959"/>
                  </a:lnTo>
                  <a:lnTo>
                    <a:pt x="762102" y="203594"/>
                  </a:lnTo>
                  <a:lnTo>
                    <a:pt x="762204" y="202959"/>
                  </a:lnTo>
                  <a:lnTo>
                    <a:pt x="762204" y="203594"/>
                  </a:lnTo>
                  <a:lnTo>
                    <a:pt x="762204" y="202959"/>
                  </a:lnTo>
                  <a:lnTo>
                    <a:pt x="762204" y="203594"/>
                  </a:lnTo>
                  <a:lnTo>
                    <a:pt x="762204" y="202260"/>
                  </a:lnTo>
                  <a:lnTo>
                    <a:pt x="762255" y="202260"/>
                  </a:lnTo>
                  <a:lnTo>
                    <a:pt x="762255" y="199530"/>
                  </a:lnTo>
                  <a:lnTo>
                    <a:pt x="762255" y="200228"/>
                  </a:lnTo>
                  <a:lnTo>
                    <a:pt x="762255" y="199530"/>
                  </a:lnTo>
                  <a:lnTo>
                    <a:pt x="762305" y="199530"/>
                  </a:lnTo>
                  <a:lnTo>
                    <a:pt x="762305" y="200228"/>
                  </a:lnTo>
                  <a:lnTo>
                    <a:pt x="762305" y="199530"/>
                  </a:lnTo>
                  <a:lnTo>
                    <a:pt x="762305" y="200876"/>
                  </a:lnTo>
                  <a:lnTo>
                    <a:pt x="762305" y="200228"/>
                  </a:lnTo>
                  <a:lnTo>
                    <a:pt x="762407" y="200228"/>
                  </a:lnTo>
                  <a:lnTo>
                    <a:pt x="762407" y="202959"/>
                  </a:lnTo>
                  <a:lnTo>
                    <a:pt x="762407" y="202260"/>
                  </a:lnTo>
                  <a:lnTo>
                    <a:pt x="762407" y="202959"/>
                  </a:lnTo>
                  <a:lnTo>
                    <a:pt x="762407" y="200876"/>
                  </a:lnTo>
                  <a:lnTo>
                    <a:pt x="762407" y="202260"/>
                  </a:lnTo>
                  <a:lnTo>
                    <a:pt x="762407" y="200876"/>
                  </a:lnTo>
                  <a:lnTo>
                    <a:pt x="762407" y="202260"/>
                  </a:lnTo>
                  <a:lnTo>
                    <a:pt x="762458" y="202260"/>
                  </a:lnTo>
                  <a:lnTo>
                    <a:pt x="762458" y="202959"/>
                  </a:lnTo>
                  <a:lnTo>
                    <a:pt x="762458" y="202260"/>
                  </a:lnTo>
                  <a:lnTo>
                    <a:pt x="762458" y="202959"/>
                  </a:lnTo>
                  <a:lnTo>
                    <a:pt x="762508" y="202959"/>
                  </a:lnTo>
                  <a:lnTo>
                    <a:pt x="762508" y="203594"/>
                  </a:lnTo>
                  <a:lnTo>
                    <a:pt x="762508" y="202959"/>
                  </a:lnTo>
                  <a:lnTo>
                    <a:pt x="762508" y="203594"/>
                  </a:lnTo>
                  <a:lnTo>
                    <a:pt x="762648" y="203594"/>
                  </a:lnTo>
                  <a:lnTo>
                    <a:pt x="762648" y="204292"/>
                  </a:lnTo>
                  <a:lnTo>
                    <a:pt x="762648" y="202959"/>
                  </a:lnTo>
                  <a:lnTo>
                    <a:pt x="762648" y="203594"/>
                  </a:lnTo>
                  <a:lnTo>
                    <a:pt x="762699" y="203594"/>
                  </a:lnTo>
                  <a:lnTo>
                    <a:pt x="762699" y="202959"/>
                  </a:lnTo>
                  <a:lnTo>
                    <a:pt x="762699" y="203594"/>
                  </a:lnTo>
                  <a:lnTo>
                    <a:pt x="762699" y="202260"/>
                  </a:lnTo>
                  <a:lnTo>
                    <a:pt x="762750" y="200876"/>
                  </a:lnTo>
                  <a:lnTo>
                    <a:pt x="762750" y="202260"/>
                  </a:lnTo>
                  <a:lnTo>
                    <a:pt x="762750" y="199530"/>
                  </a:lnTo>
                  <a:lnTo>
                    <a:pt x="762750" y="200228"/>
                  </a:lnTo>
                  <a:lnTo>
                    <a:pt x="762851" y="200228"/>
                  </a:lnTo>
                  <a:lnTo>
                    <a:pt x="762851" y="200876"/>
                  </a:lnTo>
                  <a:lnTo>
                    <a:pt x="762851" y="200228"/>
                  </a:lnTo>
                  <a:lnTo>
                    <a:pt x="762851" y="200876"/>
                  </a:lnTo>
                  <a:lnTo>
                    <a:pt x="762851" y="199530"/>
                  </a:lnTo>
                  <a:lnTo>
                    <a:pt x="762851" y="200876"/>
                  </a:lnTo>
                  <a:lnTo>
                    <a:pt x="762902" y="200876"/>
                  </a:lnTo>
                  <a:lnTo>
                    <a:pt x="762902" y="202260"/>
                  </a:lnTo>
                  <a:lnTo>
                    <a:pt x="762902" y="200876"/>
                  </a:lnTo>
                  <a:lnTo>
                    <a:pt x="762902" y="202260"/>
                  </a:lnTo>
                  <a:lnTo>
                    <a:pt x="762902" y="200228"/>
                  </a:lnTo>
                  <a:lnTo>
                    <a:pt x="762902" y="202959"/>
                  </a:lnTo>
                  <a:lnTo>
                    <a:pt x="762953" y="202959"/>
                  </a:lnTo>
                  <a:lnTo>
                    <a:pt x="762953" y="200876"/>
                  </a:lnTo>
                  <a:lnTo>
                    <a:pt x="762953" y="202260"/>
                  </a:lnTo>
                  <a:lnTo>
                    <a:pt x="762953" y="200876"/>
                  </a:lnTo>
                  <a:lnTo>
                    <a:pt x="762953" y="202959"/>
                  </a:lnTo>
                  <a:lnTo>
                    <a:pt x="763004" y="202959"/>
                  </a:lnTo>
                  <a:lnTo>
                    <a:pt x="763004" y="202260"/>
                  </a:lnTo>
                  <a:lnTo>
                    <a:pt x="763004" y="202959"/>
                  </a:lnTo>
                  <a:lnTo>
                    <a:pt x="763004" y="202260"/>
                  </a:lnTo>
                  <a:lnTo>
                    <a:pt x="763004" y="203594"/>
                  </a:lnTo>
                  <a:lnTo>
                    <a:pt x="763093" y="203594"/>
                  </a:lnTo>
                  <a:lnTo>
                    <a:pt x="763093" y="202959"/>
                  </a:lnTo>
                  <a:lnTo>
                    <a:pt x="763093" y="204292"/>
                  </a:lnTo>
                  <a:lnTo>
                    <a:pt x="763093" y="203594"/>
                  </a:lnTo>
                  <a:lnTo>
                    <a:pt x="763143" y="203594"/>
                  </a:lnTo>
                  <a:lnTo>
                    <a:pt x="763143" y="204292"/>
                  </a:lnTo>
                  <a:lnTo>
                    <a:pt x="763143" y="203594"/>
                  </a:lnTo>
                  <a:lnTo>
                    <a:pt x="763143" y="204292"/>
                  </a:lnTo>
                  <a:lnTo>
                    <a:pt x="763143" y="203594"/>
                  </a:lnTo>
                  <a:lnTo>
                    <a:pt x="763194" y="203594"/>
                  </a:lnTo>
                  <a:lnTo>
                    <a:pt x="763194" y="202959"/>
                  </a:lnTo>
                  <a:lnTo>
                    <a:pt x="763194" y="203594"/>
                  </a:lnTo>
                  <a:lnTo>
                    <a:pt x="763194" y="202260"/>
                  </a:lnTo>
                  <a:lnTo>
                    <a:pt x="763194" y="202959"/>
                  </a:lnTo>
                  <a:lnTo>
                    <a:pt x="763194" y="202260"/>
                  </a:lnTo>
                  <a:lnTo>
                    <a:pt x="763245" y="202260"/>
                  </a:lnTo>
                  <a:lnTo>
                    <a:pt x="763245" y="200228"/>
                  </a:lnTo>
                  <a:lnTo>
                    <a:pt x="763347" y="200228"/>
                  </a:lnTo>
                  <a:lnTo>
                    <a:pt x="763347" y="200876"/>
                  </a:lnTo>
                  <a:lnTo>
                    <a:pt x="763347" y="198831"/>
                  </a:lnTo>
                  <a:lnTo>
                    <a:pt x="763347" y="199530"/>
                  </a:lnTo>
                  <a:lnTo>
                    <a:pt x="763397" y="200228"/>
                  </a:lnTo>
                  <a:lnTo>
                    <a:pt x="763397" y="202260"/>
                  </a:lnTo>
                  <a:lnTo>
                    <a:pt x="763397" y="199530"/>
                  </a:lnTo>
                  <a:lnTo>
                    <a:pt x="763397" y="200228"/>
                  </a:lnTo>
                  <a:lnTo>
                    <a:pt x="763397" y="199530"/>
                  </a:lnTo>
                  <a:lnTo>
                    <a:pt x="763397" y="200228"/>
                  </a:lnTo>
                  <a:lnTo>
                    <a:pt x="763448" y="200228"/>
                  </a:lnTo>
                  <a:lnTo>
                    <a:pt x="763448" y="202260"/>
                  </a:lnTo>
                  <a:lnTo>
                    <a:pt x="763448" y="200228"/>
                  </a:lnTo>
                  <a:lnTo>
                    <a:pt x="763448" y="200876"/>
                  </a:lnTo>
                  <a:lnTo>
                    <a:pt x="763550" y="200876"/>
                  </a:lnTo>
                  <a:lnTo>
                    <a:pt x="763550" y="202260"/>
                  </a:lnTo>
                  <a:lnTo>
                    <a:pt x="763550" y="200876"/>
                  </a:lnTo>
                  <a:lnTo>
                    <a:pt x="763550" y="202260"/>
                  </a:lnTo>
                  <a:lnTo>
                    <a:pt x="763550" y="200876"/>
                  </a:lnTo>
                  <a:lnTo>
                    <a:pt x="763550" y="202260"/>
                  </a:lnTo>
                  <a:lnTo>
                    <a:pt x="763588" y="202260"/>
                  </a:lnTo>
                  <a:lnTo>
                    <a:pt x="763588" y="202959"/>
                  </a:lnTo>
                  <a:lnTo>
                    <a:pt x="763588" y="202260"/>
                  </a:lnTo>
                  <a:lnTo>
                    <a:pt x="763588" y="202959"/>
                  </a:lnTo>
                  <a:lnTo>
                    <a:pt x="763639" y="203594"/>
                  </a:lnTo>
                  <a:lnTo>
                    <a:pt x="763639" y="202959"/>
                  </a:lnTo>
                  <a:lnTo>
                    <a:pt x="763639" y="203594"/>
                  </a:lnTo>
                  <a:lnTo>
                    <a:pt x="763639" y="202959"/>
                  </a:lnTo>
                  <a:lnTo>
                    <a:pt x="763639" y="203594"/>
                  </a:lnTo>
                  <a:lnTo>
                    <a:pt x="763639" y="202959"/>
                  </a:lnTo>
                  <a:lnTo>
                    <a:pt x="763639" y="203594"/>
                  </a:lnTo>
                  <a:lnTo>
                    <a:pt x="763690" y="203594"/>
                  </a:lnTo>
                  <a:lnTo>
                    <a:pt x="763690" y="202260"/>
                  </a:lnTo>
                  <a:lnTo>
                    <a:pt x="763791" y="202260"/>
                  </a:lnTo>
                  <a:lnTo>
                    <a:pt x="763791" y="200876"/>
                  </a:lnTo>
                  <a:lnTo>
                    <a:pt x="763791" y="202959"/>
                  </a:lnTo>
                  <a:lnTo>
                    <a:pt x="763791" y="202260"/>
                  </a:lnTo>
                  <a:lnTo>
                    <a:pt x="763842" y="202260"/>
                  </a:lnTo>
                  <a:lnTo>
                    <a:pt x="763842" y="200876"/>
                  </a:lnTo>
                  <a:lnTo>
                    <a:pt x="763842" y="203594"/>
                  </a:lnTo>
                  <a:lnTo>
                    <a:pt x="763842" y="202959"/>
                  </a:lnTo>
                  <a:lnTo>
                    <a:pt x="763893" y="202959"/>
                  </a:lnTo>
                  <a:lnTo>
                    <a:pt x="763893" y="203594"/>
                  </a:lnTo>
                  <a:lnTo>
                    <a:pt x="763893" y="202959"/>
                  </a:lnTo>
                  <a:lnTo>
                    <a:pt x="763893" y="203594"/>
                  </a:lnTo>
                  <a:lnTo>
                    <a:pt x="763893" y="202959"/>
                  </a:lnTo>
                  <a:lnTo>
                    <a:pt x="763994" y="203594"/>
                  </a:lnTo>
                  <a:lnTo>
                    <a:pt x="763994" y="202959"/>
                  </a:lnTo>
                  <a:lnTo>
                    <a:pt x="763994" y="203594"/>
                  </a:lnTo>
                  <a:lnTo>
                    <a:pt x="763994" y="202959"/>
                  </a:lnTo>
                  <a:lnTo>
                    <a:pt x="763994" y="203594"/>
                  </a:lnTo>
                  <a:lnTo>
                    <a:pt x="763994" y="202959"/>
                  </a:lnTo>
                  <a:lnTo>
                    <a:pt x="763994" y="203594"/>
                  </a:lnTo>
                  <a:lnTo>
                    <a:pt x="763994" y="202959"/>
                  </a:lnTo>
                  <a:lnTo>
                    <a:pt x="764045" y="202959"/>
                  </a:lnTo>
                  <a:lnTo>
                    <a:pt x="764045" y="203594"/>
                  </a:lnTo>
                  <a:lnTo>
                    <a:pt x="764045" y="202959"/>
                  </a:lnTo>
                  <a:lnTo>
                    <a:pt x="764045" y="203594"/>
                  </a:lnTo>
                  <a:lnTo>
                    <a:pt x="764096" y="203594"/>
                  </a:lnTo>
                  <a:lnTo>
                    <a:pt x="764096" y="202959"/>
                  </a:lnTo>
                  <a:lnTo>
                    <a:pt x="764096" y="204292"/>
                  </a:lnTo>
                  <a:lnTo>
                    <a:pt x="764096" y="203594"/>
                  </a:lnTo>
                  <a:lnTo>
                    <a:pt x="764096" y="204292"/>
                  </a:lnTo>
                  <a:lnTo>
                    <a:pt x="764134" y="204292"/>
                  </a:lnTo>
                  <a:lnTo>
                    <a:pt x="764134" y="203594"/>
                  </a:lnTo>
                  <a:lnTo>
                    <a:pt x="764134" y="204292"/>
                  </a:lnTo>
                  <a:lnTo>
                    <a:pt x="764134" y="203594"/>
                  </a:lnTo>
                  <a:lnTo>
                    <a:pt x="764134" y="204292"/>
                  </a:lnTo>
                  <a:lnTo>
                    <a:pt x="764134" y="203594"/>
                  </a:lnTo>
                  <a:lnTo>
                    <a:pt x="764236" y="203594"/>
                  </a:lnTo>
                  <a:lnTo>
                    <a:pt x="764236" y="202260"/>
                  </a:lnTo>
                  <a:lnTo>
                    <a:pt x="764236" y="202959"/>
                  </a:lnTo>
                  <a:lnTo>
                    <a:pt x="764287" y="202260"/>
                  </a:lnTo>
                  <a:lnTo>
                    <a:pt x="764287" y="204292"/>
                  </a:lnTo>
                  <a:lnTo>
                    <a:pt x="764287" y="202959"/>
                  </a:lnTo>
                  <a:lnTo>
                    <a:pt x="764337" y="202959"/>
                  </a:lnTo>
                  <a:lnTo>
                    <a:pt x="764337" y="203594"/>
                  </a:lnTo>
                  <a:lnTo>
                    <a:pt x="764337" y="202959"/>
                  </a:lnTo>
                  <a:lnTo>
                    <a:pt x="764337" y="204990"/>
                  </a:lnTo>
                  <a:lnTo>
                    <a:pt x="764337" y="203594"/>
                  </a:lnTo>
                  <a:lnTo>
                    <a:pt x="764337" y="204292"/>
                  </a:lnTo>
                  <a:lnTo>
                    <a:pt x="764439" y="204292"/>
                  </a:lnTo>
                  <a:lnTo>
                    <a:pt x="764439" y="204990"/>
                  </a:lnTo>
                  <a:lnTo>
                    <a:pt x="764439" y="204292"/>
                  </a:lnTo>
                  <a:lnTo>
                    <a:pt x="764439" y="204990"/>
                  </a:lnTo>
                  <a:lnTo>
                    <a:pt x="764439" y="204292"/>
                  </a:lnTo>
                  <a:lnTo>
                    <a:pt x="764490" y="204292"/>
                  </a:lnTo>
                  <a:lnTo>
                    <a:pt x="764490" y="204990"/>
                  </a:lnTo>
                  <a:lnTo>
                    <a:pt x="764490" y="204292"/>
                  </a:lnTo>
                  <a:lnTo>
                    <a:pt x="764541" y="204292"/>
                  </a:lnTo>
                  <a:lnTo>
                    <a:pt x="764541" y="204990"/>
                  </a:lnTo>
                  <a:lnTo>
                    <a:pt x="764541" y="204292"/>
                  </a:lnTo>
                  <a:lnTo>
                    <a:pt x="764541" y="204990"/>
                  </a:lnTo>
                  <a:lnTo>
                    <a:pt x="764541" y="204292"/>
                  </a:lnTo>
                  <a:lnTo>
                    <a:pt x="764541" y="204990"/>
                  </a:lnTo>
                  <a:lnTo>
                    <a:pt x="764591" y="204990"/>
                  </a:lnTo>
                  <a:lnTo>
                    <a:pt x="764591" y="203594"/>
                  </a:lnTo>
                  <a:lnTo>
                    <a:pt x="764591" y="204292"/>
                  </a:lnTo>
                  <a:lnTo>
                    <a:pt x="764591" y="203594"/>
                  </a:lnTo>
                  <a:lnTo>
                    <a:pt x="764591" y="204292"/>
                  </a:lnTo>
                  <a:lnTo>
                    <a:pt x="764680" y="203594"/>
                  </a:lnTo>
                  <a:lnTo>
                    <a:pt x="764680" y="202959"/>
                  </a:lnTo>
                  <a:lnTo>
                    <a:pt x="764731" y="202959"/>
                  </a:lnTo>
                  <a:lnTo>
                    <a:pt x="764731" y="202260"/>
                  </a:lnTo>
                  <a:lnTo>
                    <a:pt x="764731" y="202959"/>
                  </a:lnTo>
                  <a:lnTo>
                    <a:pt x="764731" y="200876"/>
                  </a:lnTo>
                  <a:lnTo>
                    <a:pt x="764782" y="200876"/>
                  </a:lnTo>
                  <a:lnTo>
                    <a:pt x="764782" y="202959"/>
                  </a:lnTo>
                  <a:lnTo>
                    <a:pt x="764782" y="202260"/>
                  </a:lnTo>
                  <a:lnTo>
                    <a:pt x="764833" y="202260"/>
                  </a:lnTo>
                  <a:lnTo>
                    <a:pt x="764833" y="204292"/>
                  </a:lnTo>
                  <a:lnTo>
                    <a:pt x="764833" y="203594"/>
                  </a:lnTo>
                  <a:lnTo>
                    <a:pt x="764934" y="203594"/>
                  </a:lnTo>
                  <a:lnTo>
                    <a:pt x="764934" y="204990"/>
                  </a:lnTo>
                  <a:lnTo>
                    <a:pt x="764934" y="203594"/>
                  </a:lnTo>
                  <a:lnTo>
                    <a:pt x="764934" y="204292"/>
                  </a:lnTo>
                  <a:lnTo>
                    <a:pt x="764934" y="203594"/>
                  </a:lnTo>
                  <a:lnTo>
                    <a:pt x="764934" y="204990"/>
                  </a:lnTo>
                  <a:lnTo>
                    <a:pt x="764985" y="204990"/>
                  </a:lnTo>
                  <a:lnTo>
                    <a:pt x="764985" y="204292"/>
                  </a:lnTo>
                  <a:lnTo>
                    <a:pt x="764985" y="204990"/>
                  </a:lnTo>
                  <a:lnTo>
                    <a:pt x="765036" y="204990"/>
                  </a:lnTo>
                  <a:lnTo>
                    <a:pt x="765036" y="204292"/>
                  </a:lnTo>
                  <a:lnTo>
                    <a:pt x="765036" y="206324"/>
                  </a:lnTo>
                  <a:lnTo>
                    <a:pt x="765036" y="204990"/>
                  </a:lnTo>
                  <a:lnTo>
                    <a:pt x="765036" y="206324"/>
                  </a:lnTo>
                  <a:lnTo>
                    <a:pt x="765036" y="204990"/>
                  </a:lnTo>
                  <a:lnTo>
                    <a:pt x="765137" y="204990"/>
                  </a:lnTo>
                  <a:lnTo>
                    <a:pt x="765137" y="204292"/>
                  </a:lnTo>
                  <a:lnTo>
                    <a:pt x="765137" y="204990"/>
                  </a:lnTo>
                  <a:lnTo>
                    <a:pt x="765137" y="204292"/>
                  </a:lnTo>
                  <a:lnTo>
                    <a:pt x="765137" y="204990"/>
                  </a:lnTo>
                  <a:lnTo>
                    <a:pt x="765137" y="204292"/>
                  </a:lnTo>
                  <a:lnTo>
                    <a:pt x="765176" y="204292"/>
                  </a:lnTo>
                  <a:lnTo>
                    <a:pt x="765176" y="203594"/>
                  </a:lnTo>
                  <a:lnTo>
                    <a:pt x="765176" y="204292"/>
                  </a:lnTo>
                  <a:lnTo>
                    <a:pt x="765176" y="203594"/>
                  </a:lnTo>
                  <a:lnTo>
                    <a:pt x="765176" y="204292"/>
                  </a:lnTo>
                  <a:lnTo>
                    <a:pt x="765176" y="203594"/>
                  </a:lnTo>
                  <a:lnTo>
                    <a:pt x="765226" y="203594"/>
                  </a:lnTo>
                  <a:lnTo>
                    <a:pt x="765226" y="202260"/>
                  </a:lnTo>
                  <a:lnTo>
                    <a:pt x="765226" y="202959"/>
                  </a:lnTo>
                  <a:lnTo>
                    <a:pt x="765226" y="202260"/>
                  </a:lnTo>
                  <a:lnTo>
                    <a:pt x="765226" y="202959"/>
                  </a:lnTo>
                  <a:lnTo>
                    <a:pt x="765277" y="203594"/>
                  </a:lnTo>
                  <a:lnTo>
                    <a:pt x="765277" y="202260"/>
                  </a:lnTo>
                  <a:lnTo>
                    <a:pt x="765277" y="202959"/>
                  </a:lnTo>
                  <a:lnTo>
                    <a:pt x="765277" y="202260"/>
                  </a:lnTo>
                  <a:lnTo>
                    <a:pt x="765277" y="204292"/>
                  </a:lnTo>
                  <a:lnTo>
                    <a:pt x="765379" y="204292"/>
                  </a:lnTo>
                  <a:lnTo>
                    <a:pt x="765379" y="202959"/>
                  </a:lnTo>
                  <a:lnTo>
                    <a:pt x="765379" y="204292"/>
                  </a:lnTo>
                  <a:lnTo>
                    <a:pt x="765430" y="204292"/>
                  </a:lnTo>
                  <a:lnTo>
                    <a:pt x="765430" y="203594"/>
                  </a:lnTo>
                  <a:lnTo>
                    <a:pt x="765430" y="204292"/>
                  </a:lnTo>
                  <a:lnTo>
                    <a:pt x="765430" y="203594"/>
                  </a:lnTo>
                  <a:lnTo>
                    <a:pt x="765430" y="204292"/>
                  </a:lnTo>
                  <a:lnTo>
                    <a:pt x="765480" y="204292"/>
                  </a:lnTo>
                  <a:lnTo>
                    <a:pt x="765480" y="204990"/>
                  </a:lnTo>
                  <a:lnTo>
                    <a:pt x="765582" y="204990"/>
                  </a:lnTo>
                  <a:lnTo>
                    <a:pt x="765582" y="204292"/>
                  </a:lnTo>
                  <a:lnTo>
                    <a:pt x="765582" y="206324"/>
                  </a:lnTo>
                  <a:lnTo>
                    <a:pt x="765582" y="204292"/>
                  </a:lnTo>
                  <a:lnTo>
                    <a:pt x="765582" y="204990"/>
                  </a:lnTo>
                  <a:lnTo>
                    <a:pt x="765582" y="204292"/>
                  </a:lnTo>
                  <a:lnTo>
                    <a:pt x="765582" y="204990"/>
                  </a:lnTo>
                  <a:lnTo>
                    <a:pt x="765633" y="204990"/>
                  </a:lnTo>
                  <a:lnTo>
                    <a:pt x="765633" y="204292"/>
                  </a:lnTo>
                  <a:lnTo>
                    <a:pt x="765633" y="204990"/>
                  </a:lnTo>
                  <a:lnTo>
                    <a:pt x="765633" y="204292"/>
                  </a:lnTo>
                  <a:lnTo>
                    <a:pt x="765633" y="204990"/>
                  </a:lnTo>
                  <a:lnTo>
                    <a:pt x="765633" y="204292"/>
                  </a:lnTo>
                  <a:lnTo>
                    <a:pt x="765683" y="204990"/>
                  </a:lnTo>
                  <a:lnTo>
                    <a:pt x="765683" y="203594"/>
                  </a:lnTo>
                  <a:lnTo>
                    <a:pt x="765683" y="204292"/>
                  </a:lnTo>
                  <a:lnTo>
                    <a:pt x="765683" y="202959"/>
                  </a:lnTo>
                  <a:lnTo>
                    <a:pt x="765722" y="202959"/>
                  </a:lnTo>
                  <a:lnTo>
                    <a:pt x="765722" y="200876"/>
                  </a:lnTo>
                  <a:lnTo>
                    <a:pt x="765722" y="202260"/>
                  </a:lnTo>
                  <a:lnTo>
                    <a:pt x="765722" y="200876"/>
                  </a:lnTo>
                  <a:lnTo>
                    <a:pt x="765722" y="202260"/>
                  </a:lnTo>
                  <a:lnTo>
                    <a:pt x="765722" y="200876"/>
                  </a:lnTo>
                  <a:lnTo>
                    <a:pt x="765722" y="202260"/>
                  </a:lnTo>
                  <a:lnTo>
                    <a:pt x="765823" y="202959"/>
                  </a:lnTo>
                  <a:lnTo>
                    <a:pt x="765823" y="203594"/>
                  </a:lnTo>
                  <a:lnTo>
                    <a:pt x="765823" y="200876"/>
                  </a:lnTo>
                  <a:lnTo>
                    <a:pt x="765823" y="202959"/>
                  </a:lnTo>
                  <a:lnTo>
                    <a:pt x="765823" y="202260"/>
                  </a:lnTo>
                  <a:lnTo>
                    <a:pt x="765823" y="202959"/>
                  </a:lnTo>
                  <a:lnTo>
                    <a:pt x="765874" y="202959"/>
                  </a:lnTo>
                  <a:lnTo>
                    <a:pt x="765874" y="203594"/>
                  </a:lnTo>
                  <a:lnTo>
                    <a:pt x="765874" y="202959"/>
                  </a:lnTo>
                  <a:lnTo>
                    <a:pt x="765874" y="203594"/>
                  </a:lnTo>
                  <a:lnTo>
                    <a:pt x="765874" y="202959"/>
                  </a:lnTo>
                  <a:lnTo>
                    <a:pt x="765874" y="203594"/>
                  </a:lnTo>
                  <a:lnTo>
                    <a:pt x="765874" y="202959"/>
                  </a:lnTo>
                  <a:lnTo>
                    <a:pt x="765874" y="203594"/>
                  </a:lnTo>
                  <a:lnTo>
                    <a:pt x="765925" y="204292"/>
                  </a:lnTo>
                  <a:lnTo>
                    <a:pt x="765925" y="202959"/>
                  </a:lnTo>
                  <a:lnTo>
                    <a:pt x="765925" y="204292"/>
                  </a:lnTo>
                  <a:lnTo>
                    <a:pt x="765925" y="203594"/>
                  </a:lnTo>
                  <a:lnTo>
                    <a:pt x="765925" y="204292"/>
                  </a:lnTo>
                  <a:lnTo>
                    <a:pt x="766026" y="203594"/>
                  </a:lnTo>
                  <a:lnTo>
                    <a:pt x="766026" y="204292"/>
                  </a:lnTo>
                  <a:lnTo>
                    <a:pt x="766026" y="203594"/>
                  </a:lnTo>
                  <a:lnTo>
                    <a:pt x="766026" y="204990"/>
                  </a:lnTo>
                  <a:lnTo>
                    <a:pt x="766026" y="204292"/>
                  </a:lnTo>
                  <a:lnTo>
                    <a:pt x="766026" y="204990"/>
                  </a:lnTo>
                  <a:lnTo>
                    <a:pt x="766026" y="204292"/>
                  </a:lnTo>
                  <a:lnTo>
                    <a:pt x="766077" y="204990"/>
                  </a:lnTo>
                  <a:lnTo>
                    <a:pt x="766077" y="204292"/>
                  </a:lnTo>
                  <a:lnTo>
                    <a:pt x="766077" y="204990"/>
                  </a:lnTo>
                  <a:lnTo>
                    <a:pt x="766128" y="204292"/>
                  </a:lnTo>
                  <a:lnTo>
                    <a:pt x="766128" y="204990"/>
                  </a:lnTo>
                  <a:lnTo>
                    <a:pt x="766128" y="204292"/>
                  </a:lnTo>
                  <a:lnTo>
                    <a:pt x="766128" y="204990"/>
                  </a:lnTo>
                  <a:lnTo>
                    <a:pt x="766128" y="204292"/>
                  </a:lnTo>
                  <a:lnTo>
                    <a:pt x="766128" y="204990"/>
                  </a:lnTo>
                  <a:lnTo>
                    <a:pt x="766128" y="204292"/>
                  </a:lnTo>
                  <a:lnTo>
                    <a:pt x="766128" y="204990"/>
                  </a:lnTo>
                  <a:lnTo>
                    <a:pt x="766128" y="204292"/>
                  </a:lnTo>
                  <a:lnTo>
                    <a:pt x="766179" y="204292"/>
                  </a:lnTo>
                  <a:lnTo>
                    <a:pt x="766179" y="203594"/>
                  </a:lnTo>
                  <a:lnTo>
                    <a:pt x="766179" y="204292"/>
                  </a:lnTo>
                  <a:lnTo>
                    <a:pt x="766179" y="202959"/>
                  </a:lnTo>
                  <a:lnTo>
                    <a:pt x="766268" y="202959"/>
                  </a:lnTo>
                  <a:lnTo>
                    <a:pt x="766268" y="200876"/>
                  </a:lnTo>
                  <a:lnTo>
                    <a:pt x="766268" y="202959"/>
                  </a:lnTo>
                  <a:lnTo>
                    <a:pt x="766318" y="202959"/>
                  </a:lnTo>
                  <a:lnTo>
                    <a:pt x="766318" y="200876"/>
                  </a:lnTo>
                  <a:lnTo>
                    <a:pt x="766318" y="203594"/>
                  </a:lnTo>
                  <a:lnTo>
                    <a:pt x="766318" y="202959"/>
                  </a:lnTo>
                  <a:lnTo>
                    <a:pt x="766318" y="203594"/>
                  </a:lnTo>
                  <a:lnTo>
                    <a:pt x="766318" y="202959"/>
                  </a:lnTo>
                  <a:lnTo>
                    <a:pt x="766369" y="202959"/>
                  </a:lnTo>
                  <a:lnTo>
                    <a:pt x="766369" y="202260"/>
                  </a:lnTo>
                  <a:lnTo>
                    <a:pt x="766369" y="203594"/>
                  </a:lnTo>
                  <a:lnTo>
                    <a:pt x="766369" y="202959"/>
                  </a:lnTo>
                  <a:lnTo>
                    <a:pt x="766369" y="203594"/>
                  </a:lnTo>
                  <a:lnTo>
                    <a:pt x="766369" y="202959"/>
                  </a:lnTo>
                  <a:lnTo>
                    <a:pt x="766420" y="202959"/>
                  </a:lnTo>
                  <a:lnTo>
                    <a:pt x="766420" y="202260"/>
                  </a:lnTo>
                  <a:lnTo>
                    <a:pt x="766420" y="202959"/>
                  </a:lnTo>
                  <a:lnTo>
                    <a:pt x="766420" y="202260"/>
                  </a:lnTo>
                  <a:lnTo>
                    <a:pt x="766420" y="203594"/>
                  </a:lnTo>
                  <a:lnTo>
                    <a:pt x="766420" y="202959"/>
                  </a:lnTo>
                  <a:lnTo>
                    <a:pt x="766522" y="202959"/>
                  </a:lnTo>
                  <a:lnTo>
                    <a:pt x="766522" y="203594"/>
                  </a:lnTo>
                  <a:lnTo>
                    <a:pt x="766522" y="202959"/>
                  </a:lnTo>
                  <a:lnTo>
                    <a:pt x="766522" y="203594"/>
                  </a:lnTo>
                  <a:lnTo>
                    <a:pt x="766522" y="202959"/>
                  </a:lnTo>
                  <a:lnTo>
                    <a:pt x="766522" y="203594"/>
                  </a:lnTo>
                  <a:lnTo>
                    <a:pt x="766522" y="202959"/>
                  </a:lnTo>
                  <a:lnTo>
                    <a:pt x="766522" y="203594"/>
                  </a:lnTo>
                  <a:lnTo>
                    <a:pt x="766572" y="203594"/>
                  </a:lnTo>
                  <a:lnTo>
                    <a:pt x="766572" y="204292"/>
                  </a:lnTo>
                  <a:lnTo>
                    <a:pt x="766572" y="203594"/>
                  </a:lnTo>
                  <a:lnTo>
                    <a:pt x="766572" y="204292"/>
                  </a:lnTo>
                  <a:lnTo>
                    <a:pt x="766623" y="204292"/>
                  </a:lnTo>
                  <a:lnTo>
                    <a:pt x="766623" y="203594"/>
                  </a:lnTo>
                  <a:lnTo>
                    <a:pt x="766623" y="204292"/>
                  </a:lnTo>
                  <a:lnTo>
                    <a:pt x="766623" y="203594"/>
                  </a:lnTo>
                  <a:lnTo>
                    <a:pt x="766623" y="204292"/>
                  </a:lnTo>
                  <a:lnTo>
                    <a:pt x="766725" y="203594"/>
                  </a:lnTo>
                  <a:lnTo>
                    <a:pt x="766725" y="202260"/>
                  </a:lnTo>
                  <a:lnTo>
                    <a:pt x="766763" y="202260"/>
                  </a:lnTo>
                  <a:lnTo>
                    <a:pt x="766763" y="204292"/>
                  </a:lnTo>
                  <a:lnTo>
                    <a:pt x="766763" y="202260"/>
                  </a:lnTo>
                  <a:lnTo>
                    <a:pt x="766763" y="202959"/>
                  </a:lnTo>
                  <a:lnTo>
                    <a:pt x="766814" y="202959"/>
                  </a:lnTo>
                  <a:lnTo>
                    <a:pt x="766814" y="206324"/>
                  </a:lnTo>
                  <a:lnTo>
                    <a:pt x="766814" y="203594"/>
                  </a:lnTo>
                  <a:lnTo>
                    <a:pt x="766865" y="204292"/>
                  </a:lnTo>
                  <a:lnTo>
                    <a:pt x="766865" y="204990"/>
                  </a:lnTo>
                  <a:lnTo>
                    <a:pt x="766865" y="203594"/>
                  </a:lnTo>
                  <a:lnTo>
                    <a:pt x="766865" y="204292"/>
                  </a:lnTo>
                  <a:lnTo>
                    <a:pt x="766966" y="204292"/>
                  </a:lnTo>
                  <a:lnTo>
                    <a:pt x="766966" y="204990"/>
                  </a:lnTo>
                  <a:lnTo>
                    <a:pt x="766966" y="203594"/>
                  </a:lnTo>
                  <a:lnTo>
                    <a:pt x="767017" y="204292"/>
                  </a:lnTo>
                  <a:lnTo>
                    <a:pt x="767017" y="203594"/>
                  </a:lnTo>
                  <a:lnTo>
                    <a:pt x="767017" y="204990"/>
                  </a:lnTo>
                  <a:lnTo>
                    <a:pt x="767068" y="204990"/>
                  </a:lnTo>
                  <a:lnTo>
                    <a:pt x="767068" y="204292"/>
                  </a:lnTo>
                  <a:lnTo>
                    <a:pt x="767068" y="204990"/>
                  </a:lnTo>
                  <a:lnTo>
                    <a:pt x="767068" y="203594"/>
                  </a:lnTo>
                  <a:lnTo>
                    <a:pt x="767068" y="204292"/>
                  </a:lnTo>
                  <a:lnTo>
                    <a:pt x="767068" y="203594"/>
                  </a:lnTo>
                  <a:lnTo>
                    <a:pt x="767068" y="204292"/>
                  </a:lnTo>
                  <a:lnTo>
                    <a:pt x="767068" y="203594"/>
                  </a:lnTo>
                  <a:lnTo>
                    <a:pt x="767169" y="203594"/>
                  </a:lnTo>
                  <a:lnTo>
                    <a:pt x="767169" y="204292"/>
                  </a:lnTo>
                  <a:lnTo>
                    <a:pt x="767169" y="203594"/>
                  </a:lnTo>
                  <a:lnTo>
                    <a:pt x="767169" y="204292"/>
                  </a:lnTo>
                  <a:lnTo>
                    <a:pt x="767169" y="203594"/>
                  </a:lnTo>
                  <a:lnTo>
                    <a:pt x="767169" y="204292"/>
                  </a:lnTo>
                  <a:lnTo>
                    <a:pt x="767169" y="202959"/>
                  </a:lnTo>
                  <a:lnTo>
                    <a:pt x="767220" y="202959"/>
                  </a:lnTo>
                  <a:lnTo>
                    <a:pt x="767220" y="203594"/>
                  </a:lnTo>
                  <a:lnTo>
                    <a:pt x="767220" y="202260"/>
                  </a:lnTo>
                  <a:lnTo>
                    <a:pt x="767220" y="202959"/>
                  </a:lnTo>
                  <a:lnTo>
                    <a:pt x="767271" y="203594"/>
                  </a:lnTo>
                  <a:lnTo>
                    <a:pt x="767271" y="202959"/>
                  </a:lnTo>
                  <a:lnTo>
                    <a:pt x="767271" y="204292"/>
                  </a:lnTo>
                  <a:lnTo>
                    <a:pt x="767309" y="204292"/>
                  </a:lnTo>
                  <a:lnTo>
                    <a:pt x="767309" y="204990"/>
                  </a:lnTo>
                  <a:lnTo>
                    <a:pt x="767309" y="203594"/>
                  </a:lnTo>
                  <a:lnTo>
                    <a:pt x="767309" y="204990"/>
                  </a:lnTo>
                  <a:lnTo>
                    <a:pt x="767411" y="204990"/>
                  </a:lnTo>
                  <a:lnTo>
                    <a:pt x="767411" y="204292"/>
                  </a:lnTo>
                  <a:lnTo>
                    <a:pt x="767411" y="204990"/>
                  </a:lnTo>
                  <a:lnTo>
                    <a:pt x="767462" y="204990"/>
                  </a:lnTo>
                  <a:lnTo>
                    <a:pt x="767462" y="204292"/>
                  </a:lnTo>
                  <a:lnTo>
                    <a:pt x="767462" y="204990"/>
                  </a:lnTo>
                  <a:lnTo>
                    <a:pt x="767462" y="204292"/>
                  </a:lnTo>
                  <a:lnTo>
                    <a:pt x="767462" y="204990"/>
                  </a:lnTo>
                  <a:lnTo>
                    <a:pt x="767462" y="204292"/>
                  </a:lnTo>
                  <a:lnTo>
                    <a:pt x="767512" y="204990"/>
                  </a:lnTo>
                  <a:lnTo>
                    <a:pt x="767512" y="204292"/>
                  </a:lnTo>
                  <a:lnTo>
                    <a:pt x="767512" y="204990"/>
                  </a:lnTo>
                  <a:lnTo>
                    <a:pt x="767512" y="204292"/>
                  </a:lnTo>
                  <a:lnTo>
                    <a:pt x="767512" y="204990"/>
                  </a:lnTo>
                  <a:lnTo>
                    <a:pt x="767512" y="203594"/>
                  </a:lnTo>
                  <a:lnTo>
                    <a:pt x="767614" y="204292"/>
                  </a:lnTo>
                  <a:lnTo>
                    <a:pt x="767614" y="203594"/>
                  </a:lnTo>
                  <a:lnTo>
                    <a:pt x="767614" y="204292"/>
                  </a:lnTo>
                  <a:lnTo>
                    <a:pt x="767614" y="202959"/>
                  </a:lnTo>
                  <a:lnTo>
                    <a:pt x="767665" y="203594"/>
                  </a:lnTo>
                  <a:lnTo>
                    <a:pt x="767665" y="202260"/>
                  </a:lnTo>
                  <a:lnTo>
                    <a:pt x="767665" y="202959"/>
                  </a:lnTo>
                  <a:lnTo>
                    <a:pt x="767716" y="202959"/>
                  </a:lnTo>
                  <a:lnTo>
                    <a:pt x="767716" y="200876"/>
                  </a:lnTo>
                  <a:lnTo>
                    <a:pt x="767716" y="203594"/>
                  </a:lnTo>
                  <a:lnTo>
                    <a:pt x="767716" y="202959"/>
                  </a:lnTo>
                  <a:lnTo>
                    <a:pt x="767766" y="202959"/>
                  </a:lnTo>
                  <a:lnTo>
                    <a:pt x="767766" y="200876"/>
                  </a:lnTo>
                  <a:lnTo>
                    <a:pt x="767766" y="204990"/>
                  </a:lnTo>
                  <a:lnTo>
                    <a:pt x="767766" y="204292"/>
                  </a:lnTo>
                  <a:lnTo>
                    <a:pt x="767855" y="204292"/>
                  </a:lnTo>
                  <a:lnTo>
                    <a:pt x="767855" y="203594"/>
                  </a:lnTo>
                  <a:lnTo>
                    <a:pt x="767855" y="204990"/>
                  </a:lnTo>
                  <a:lnTo>
                    <a:pt x="767855" y="204292"/>
                  </a:lnTo>
                  <a:lnTo>
                    <a:pt x="767906" y="204292"/>
                  </a:lnTo>
                  <a:lnTo>
                    <a:pt x="767906" y="203594"/>
                  </a:lnTo>
                  <a:lnTo>
                    <a:pt x="767906" y="206324"/>
                  </a:lnTo>
                  <a:lnTo>
                    <a:pt x="767906" y="204292"/>
                  </a:lnTo>
                  <a:lnTo>
                    <a:pt x="767906" y="204990"/>
                  </a:lnTo>
                  <a:lnTo>
                    <a:pt x="767957" y="204990"/>
                  </a:lnTo>
                  <a:lnTo>
                    <a:pt x="767957" y="206324"/>
                  </a:lnTo>
                  <a:lnTo>
                    <a:pt x="767957" y="204990"/>
                  </a:lnTo>
                  <a:lnTo>
                    <a:pt x="768008" y="204990"/>
                  </a:lnTo>
                  <a:lnTo>
                    <a:pt x="768008" y="206324"/>
                  </a:lnTo>
                  <a:lnTo>
                    <a:pt x="768008" y="204990"/>
                  </a:lnTo>
                  <a:lnTo>
                    <a:pt x="768008" y="206324"/>
                  </a:lnTo>
                  <a:lnTo>
                    <a:pt x="768008" y="204990"/>
                  </a:lnTo>
                  <a:lnTo>
                    <a:pt x="768008" y="206324"/>
                  </a:lnTo>
                  <a:lnTo>
                    <a:pt x="768008" y="204990"/>
                  </a:lnTo>
                  <a:lnTo>
                    <a:pt x="768008" y="206324"/>
                  </a:lnTo>
                  <a:lnTo>
                    <a:pt x="768008" y="204990"/>
                  </a:lnTo>
                  <a:lnTo>
                    <a:pt x="768109" y="204990"/>
                  </a:lnTo>
                  <a:lnTo>
                    <a:pt x="768109" y="204292"/>
                  </a:lnTo>
                  <a:lnTo>
                    <a:pt x="768109" y="204990"/>
                  </a:lnTo>
                  <a:lnTo>
                    <a:pt x="768109" y="204292"/>
                  </a:lnTo>
                  <a:lnTo>
                    <a:pt x="768109" y="204990"/>
                  </a:lnTo>
                  <a:lnTo>
                    <a:pt x="768109" y="204292"/>
                  </a:lnTo>
                  <a:lnTo>
                    <a:pt x="768160" y="204292"/>
                  </a:lnTo>
                  <a:lnTo>
                    <a:pt x="768160" y="202959"/>
                  </a:lnTo>
                  <a:lnTo>
                    <a:pt x="768211" y="202959"/>
                  </a:lnTo>
                  <a:lnTo>
                    <a:pt x="768211" y="202260"/>
                  </a:lnTo>
                  <a:lnTo>
                    <a:pt x="768211" y="202959"/>
                  </a:lnTo>
                  <a:lnTo>
                    <a:pt x="768211" y="202260"/>
                  </a:lnTo>
                  <a:lnTo>
                    <a:pt x="768312" y="202260"/>
                  </a:lnTo>
                  <a:lnTo>
                    <a:pt x="768312" y="204292"/>
                  </a:lnTo>
                  <a:lnTo>
                    <a:pt x="768312" y="203594"/>
                  </a:lnTo>
                  <a:lnTo>
                    <a:pt x="768351" y="203594"/>
                  </a:lnTo>
                  <a:lnTo>
                    <a:pt x="768351" y="204292"/>
                  </a:lnTo>
                  <a:lnTo>
                    <a:pt x="768351" y="203594"/>
                  </a:lnTo>
                  <a:lnTo>
                    <a:pt x="768351" y="204292"/>
                  </a:lnTo>
                  <a:lnTo>
                    <a:pt x="768351" y="203594"/>
                  </a:lnTo>
                  <a:lnTo>
                    <a:pt x="768351" y="204292"/>
                  </a:lnTo>
                  <a:lnTo>
                    <a:pt x="768401" y="204292"/>
                  </a:lnTo>
                  <a:lnTo>
                    <a:pt x="768401" y="204990"/>
                  </a:lnTo>
                  <a:lnTo>
                    <a:pt x="768401" y="204292"/>
                  </a:lnTo>
                  <a:lnTo>
                    <a:pt x="768452" y="204292"/>
                  </a:lnTo>
                  <a:lnTo>
                    <a:pt x="768452" y="203594"/>
                  </a:lnTo>
                  <a:lnTo>
                    <a:pt x="768452" y="204990"/>
                  </a:lnTo>
                  <a:lnTo>
                    <a:pt x="768452" y="204292"/>
                  </a:lnTo>
                  <a:lnTo>
                    <a:pt x="768554" y="204990"/>
                  </a:lnTo>
                  <a:lnTo>
                    <a:pt x="768605" y="204292"/>
                  </a:lnTo>
                  <a:lnTo>
                    <a:pt x="768605" y="204990"/>
                  </a:lnTo>
                  <a:lnTo>
                    <a:pt x="768605" y="203594"/>
                  </a:lnTo>
                  <a:lnTo>
                    <a:pt x="768655" y="203594"/>
                  </a:lnTo>
                  <a:lnTo>
                    <a:pt x="768655" y="200876"/>
                  </a:lnTo>
                  <a:lnTo>
                    <a:pt x="768757" y="200876"/>
                  </a:lnTo>
                  <a:lnTo>
                    <a:pt x="768757" y="202959"/>
                  </a:lnTo>
                  <a:lnTo>
                    <a:pt x="768757" y="200876"/>
                  </a:lnTo>
                  <a:lnTo>
                    <a:pt x="768808" y="200228"/>
                  </a:lnTo>
                  <a:lnTo>
                    <a:pt x="768808" y="204292"/>
                  </a:lnTo>
                  <a:lnTo>
                    <a:pt x="768808" y="202959"/>
                  </a:lnTo>
                  <a:lnTo>
                    <a:pt x="768858" y="202959"/>
                  </a:lnTo>
                  <a:lnTo>
                    <a:pt x="768858" y="204292"/>
                  </a:lnTo>
                  <a:lnTo>
                    <a:pt x="768858" y="202959"/>
                  </a:lnTo>
                  <a:lnTo>
                    <a:pt x="768858" y="203594"/>
                  </a:lnTo>
                  <a:lnTo>
                    <a:pt x="768897" y="203594"/>
                  </a:lnTo>
                  <a:lnTo>
                    <a:pt x="768897" y="204292"/>
                  </a:lnTo>
                  <a:lnTo>
                    <a:pt x="768897" y="203594"/>
                  </a:lnTo>
                  <a:lnTo>
                    <a:pt x="768897" y="204292"/>
                  </a:lnTo>
                  <a:lnTo>
                    <a:pt x="768998" y="204292"/>
                  </a:lnTo>
                  <a:lnTo>
                    <a:pt x="768998" y="204990"/>
                  </a:lnTo>
                  <a:lnTo>
                    <a:pt x="768998" y="204292"/>
                  </a:lnTo>
                  <a:lnTo>
                    <a:pt x="769049" y="204292"/>
                  </a:lnTo>
                  <a:lnTo>
                    <a:pt x="769049" y="204990"/>
                  </a:lnTo>
                  <a:lnTo>
                    <a:pt x="769049" y="204292"/>
                  </a:lnTo>
                  <a:lnTo>
                    <a:pt x="769049" y="204990"/>
                  </a:lnTo>
                  <a:lnTo>
                    <a:pt x="769049" y="204292"/>
                  </a:lnTo>
                  <a:lnTo>
                    <a:pt x="769100" y="204292"/>
                  </a:lnTo>
                  <a:lnTo>
                    <a:pt x="769100" y="203594"/>
                  </a:lnTo>
                  <a:lnTo>
                    <a:pt x="769100" y="204292"/>
                  </a:lnTo>
                  <a:lnTo>
                    <a:pt x="769201" y="203594"/>
                  </a:lnTo>
                  <a:lnTo>
                    <a:pt x="769201" y="202260"/>
                  </a:lnTo>
                  <a:lnTo>
                    <a:pt x="769201" y="202959"/>
                  </a:lnTo>
                  <a:lnTo>
                    <a:pt x="769252" y="202959"/>
                  </a:lnTo>
                  <a:lnTo>
                    <a:pt x="769252" y="203594"/>
                  </a:lnTo>
                  <a:lnTo>
                    <a:pt x="769252" y="200876"/>
                  </a:lnTo>
                  <a:lnTo>
                    <a:pt x="769252" y="202260"/>
                  </a:lnTo>
                  <a:lnTo>
                    <a:pt x="769252" y="200876"/>
                  </a:lnTo>
                  <a:lnTo>
                    <a:pt x="769252" y="204292"/>
                  </a:lnTo>
                  <a:lnTo>
                    <a:pt x="769303" y="204292"/>
                  </a:lnTo>
                  <a:lnTo>
                    <a:pt x="769303" y="202260"/>
                  </a:lnTo>
                  <a:lnTo>
                    <a:pt x="769303" y="203594"/>
                  </a:lnTo>
                  <a:lnTo>
                    <a:pt x="769354" y="203594"/>
                  </a:lnTo>
                  <a:lnTo>
                    <a:pt x="769354" y="204292"/>
                  </a:lnTo>
                  <a:lnTo>
                    <a:pt x="769354" y="202959"/>
                  </a:lnTo>
                  <a:lnTo>
                    <a:pt x="769354" y="203594"/>
                  </a:lnTo>
                  <a:lnTo>
                    <a:pt x="769354" y="202959"/>
                  </a:lnTo>
                  <a:lnTo>
                    <a:pt x="769354" y="203594"/>
                  </a:lnTo>
                  <a:lnTo>
                    <a:pt x="769443" y="203594"/>
                  </a:lnTo>
                  <a:lnTo>
                    <a:pt x="769443" y="204292"/>
                  </a:lnTo>
                  <a:lnTo>
                    <a:pt x="769443" y="203594"/>
                  </a:lnTo>
                  <a:lnTo>
                    <a:pt x="769493" y="203594"/>
                  </a:lnTo>
                  <a:lnTo>
                    <a:pt x="769493" y="204292"/>
                  </a:lnTo>
                  <a:lnTo>
                    <a:pt x="769493" y="202959"/>
                  </a:lnTo>
                  <a:lnTo>
                    <a:pt x="769493" y="204292"/>
                  </a:lnTo>
                  <a:lnTo>
                    <a:pt x="769544" y="204292"/>
                  </a:lnTo>
                  <a:lnTo>
                    <a:pt x="769544" y="203594"/>
                  </a:lnTo>
                  <a:lnTo>
                    <a:pt x="769544" y="204292"/>
                  </a:lnTo>
                  <a:lnTo>
                    <a:pt x="769544" y="203594"/>
                  </a:lnTo>
                  <a:lnTo>
                    <a:pt x="769544" y="204292"/>
                  </a:lnTo>
                  <a:lnTo>
                    <a:pt x="769544" y="203594"/>
                  </a:lnTo>
                  <a:lnTo>
                    <a:pt x="769595" y="203594"/>
                  </a:lnTo>
                  <a:lnTo>
                    <a:pt x="769595" y="202959"/>
                  </a:lnTo>
                  <a:lnTo>
                    <a:pt x="769697" y="202959"/>
                  </a:lnTo>
                  <a:lnTo>
                    <a:pt x="769697" y="202260"/>
                  </a:lnTo>
                  <a:lnTo>
                    <a:pt x="769697" y="203594"/>
                  </a:lnTo>
                  <a:lnTo>
                    <a:pt x="769747" y="203594"/>
                  </a:lnTo>
                  <a:lnTo>
                    <a:pt x="769747" y="200876"/>
                  </a:lnTo>
                  <a:lnTo>
                    <a:pt x="769747" y="204990"/>
                  </a:lnTo>
                  <a:lnTo>
                    <a:pt x="769798" y="204292"/>
                  </a:lnTo>
                  <a:lnTo>
                    <a:pt x="769798" y="203594"/>
                  </a:lnTo>
                  <a:lnTo>
                    <a:pt x="769798" y="204990"/>
                  </a:lnTo>
                  <a:lnTo>
                    <a:pt x="769798" y="204292"/>
                  </a:lnTo>
                  <a:lnTo>
                    <a:pt x="769798" y="204990"/>
                  </a:lnTo>
                  <a:lnTo>
                    <a:pt x="769798" y="204292"/>
                  </a:lnTo>
                  <a:lnTo>
                    <a:pt x="769900" y="203594"/>
                  </a:lnTo>
                  <a:lnTo>
                    <a:pt x="769900" y="204292"/>
                  </a:lnTo>
                  <a:lnTo>
                    <a:pt x="769989" y="204292"/>
                  </a:lnTo>
                  <a:lnTo>
                    <a:pt x="769989" y="204990"/>
                  </a:lnTo>
                  <a:lnTo>
                    <a:pt x="769989" y="204292"/>
                  </a:lnTo>
                  <a:lnTo>
                    <a:pt x="770040" y="204292"/>
                  </a:lnTo>
                  <a:lnTo>
                    <a:pt x="770040" y="204990"/>
                  </a:lnTo>
                  <a:lnTo>
                    <a:pt x="770040" y="204292"/>
                  </a:lnTo>
                  <a:lnTo>
                    <a:pt x="770040" y="204990"/>
                  </a:lnTo>
                  <a:lnTo>
                    <a:pt x="770040" y="203594"/>
                  </a:lnTo>
                  <a:lnTo>
                    <a:pt x="770141" y="203594"/>
                  </a:lnTo>
                  <a:lnTo>
                    <a:pt x="770141" y="204292"/>
                  </a:lnTo>
                  <a:lnTo>
                    <a:pt x="770141" y="202959"/>
                  </a:lnTo>
                  <a:lnTo>
                    <a:pt x="770141" y="203594"/>
                  </a:lnTo>
                  <a:lnTo>
                    <a:pt x="770141" y="202959"/>
                  </a:lnTo>
                  <a:lnTo>
                    <a:pt x="770192" y="202959"/>
                  </a:lnTo>
                  <a:lnTo>
                    <a:pt x="770192" y="200876"/>
                  </a:lnTo>
                  <a:lnTo>
                    <a:pt x="770192" y="203594"/>
                  </a:lnTo>
                  <a:lnTo>
                    <a:pt x="770192" y="202959"/>
                  </a:lnTo>
                  <a:lnTo>
                    <a:pt x="770243" y="202959"/>
                  </a:lnTo>
                  <a:lnTo>
                    <a:pt x="770243" y="200876"/>
                  </a:lnTo>
                  <a:lnTo>
                    <a:pt x="770243" y="204292"/>
                  </a:lnTo>
                  <a:lnTo>
                    <a:pt x="770243" y="203594"/>
                  </a:lnTo>
                  <a:lnTo>
                    <a:pt x="770344" y="203594"/>
                  </a:lnTo>
                  <a:lnTo>
                    <a:pt x="770344" y="204990"/>
                  </a:lnTo>
                  <a:lnTo>
                    <a:pt x="770344" y="203594"/>
                  </a:lnTo>
                  <a:lnTo>
                    <a:pt x="770395" y="203594"/>
                  </a:lnTo>
                  <a:lnTo>
                    <a:pt x="770395" y="204292"/>
                  </a:lnTo>
                  <a:lnTo>
                    <a:pt x="770395" y="203594"/>
                  </a:lnTo>
                  <a:lnTo>
                    <a:pt x="770395" y="204292"/>
                  </a:lnTo>
                  <a:lnTo>
                    <a:pt x="770395" y="203594"/>
                  </a:lnTo>
                  <a:lnTo>
                    <a:pt x="770446" y="203594"/>
                  </a:lnTo>
                  <a:lnTo>
                    <a:pt x="770446" y="204292"/>
                  </a:lnTo>
                  <a:lnTo>
                    <a:pt x="770446" y="203594"/>
                  </a:lnTo>
                  <a:lnTo>
                    <a:pt x="770446" y="204292"/>
                  </a:lnTo>
                  <a:lnTo>
                    <a:pt x="770484" y="204292"/>
                  </a:lnTo>
                  <a:lnTo>
                    <a:pt x="770484" y="203594"/>
                  </a:lnTo>
                  <a:lnTo>
                    <a:pt x="770484" y="204292"/>
                  </a:lnTo>
                  <a:lnTo>
                    <a:pt x="770484" y="203594"/>
                  </a:lnTo>
                  <a:lnTo>
                    <a:pt x="770484" y="204990"/>
                  </a:lnTo>
                  <a:lnTo>
                    <a:pt x="770484" y="204292"/>
                  </a:lnTo>
                  <a:lnTo>
                    <a:pt x="770586" y="203594"/>
                  </a:lnTo>
                  <a:lnTo>
                    <a:pt x="770586" y="204292"/>
                  </a:lnTo>
                  <a:lnTo>
                    <a:pt x="770586" y="203594"/>
                  </a:lnTo>
                  <a:lnTo>
                    <a:pt x="770586" y="204292"/>
                  </a:lnTo>
                  <a:lnTo>
                    <a:pt x="770586" y="202959"/>
                  </a:lnTo>
                  <a:lnTo>
                    <a:pt x="770637" y="202959"/>
                  </a:lnTo>
                  <a:lnTo>
                    <a:pt x="770637" y="200228"/>
                  </a:lnTo>
                  <a:lnTo>
                    <a:pt x="770687" y="200228"/>
                  </a:lnTo>
                  <a:lnTo>
                    <a:pt x="770687" y="202260"/>
                  </a:lnTo>
                  <a:lnTo>
                    <a:pt x="770687" y="200876"/>
                  </a:lnTo>
                  <a:lnTo>
                    <a:pt x="770789" y="200876"/>
                  </a:lnTo>
                  <a:lnTo>
                    <a:pt x="770789" y="203594"/>
                  </a:lnTo>
                  <a:lnTo>
                    <a:pt x="770789" y="202959"/>
                  </a:lnTo>
                  <a:lnTo>
                    <a:pt x="770840" y="202959"/>
                  </a:lnTo>
                  <a:lnTo>
                    <a:pt x="770840" y="203594"/>
                  </a:lnTo>
                  <a:lnTo>
                    <a:pt x="770840" y="202959"/>
                  </a:lnTo>
                  <a:lnTo>
                    <a:pt x="770840" y="203594"/>
                  </a:lnTo>
                  <a:lnTo>
                    <a:pt x="770840" y="202959"/>
                  </a:lnTo>
                  <a:lnTo>
                    <a:pt x="770891" y="202959"/>
                  </a:lnTo>
                  <a:lnTo>
                    <a:pt x="770891" y="203594"/>
                  </a:lnTo>
                  <a:lnTo>
                    <a:pt x="770891" y="202959"/>
                  </a:lnTo>
                  <a:lnTo>
                    <a:pt x="770891" y="203594"/>
                  </a:lnTo>
                  <a:lnTo>
                    <a:pt x="770891" y="202959"/>
                  </a:lnTo>
                  <a:lnTo>
                    <a:pt x="770891" y="203594"/>
                  </a:lnTo>
                  <a:lnTo>
                    <a:pt x="770941" y="203594"/>
                  </a:lnTo>
                  <a:lnTo>
                    <a:pt x="770941" y="204292"/>
                  </a:lnTo>
                  <a:lnTo>
                    <a:pt x="771030" y="204292"/>
                  </a:lnTo>
                  <a:lnTo>
                    <a:pt x="771030" y="204990"/>
                  </a:lnTo>
                  <a:lnTo>
                    <a:pt x="771030" y="204292"/>
                  </a:lnTo>
                  <a:lnTo>
                    <a:pt x="771081" y="204292"/>
                  </a:lnTo>
                  <a:lnTo>
                    <a:pt x="771081" y="202959"/>
                  </a:lnTo>
                  <a:lnTo>
                    <a:pt x="771132" y="202260"/>
                  </a:lnTo>
                  <a:lnTo>
                    <a:pt x="771132" y="200876"/>
                  </a:lnTo>
                  <a:lnTo>
                    <a:pt x="771132" y="202260"/>
                  </a:lnTo>
                  <a:lnTo>
                    <a:pt x="771183" y="202260"/>
                  </a:lnTo>
                  <a:lnTo>
                    <a:pt x="771183" y="202959"/>
                  </a:lnTo>
                  <a:lnTo>
                    <a:pt x="771183" y="202260"/>
                  </a:lnTo>
                  <a:lnTo>
                    <a:pt x="771183" y="202959"/>
                  </a:lnTo>
                  <a:lnTo>
                    <a:pt x="771183" y="200876"/>
                  </a:lnTo>
                  <a:lnTo>
                    <a:pt x="771183" y="203594"/>
                  </a:lnTo>
                  <a:lnTo>
                    <a:pt x="771284" y="203594"/>
                  </a:lnTo>
                  <a:lnTo>
                    <a:pt x="771284" y="202959"/>
                  </a:lnTo>
                  <a:lnTo>
                    <a:pt x="771284" y="203594"/>
                  </a:lnTo>
                  <a:lnTo>
                    <a:pt x="771284" y="202959"/>
                  </a:lnTo>
                  <a:lnTo>
                    <a:pt x="771284" y="204292"/>
                  </a:lnTo>
                  <a:lnTo>
                    <a:pt x="771335" y="204292"/>
                  </a:lnTo>
                  <a:lnTo>
                    <a:pt x="771335" y="203594"/>
                  </a:lnTo>
                  <a:lnTo>
                    <a:pt x="771335" y="204292"/>
                  </a:lnTo>
                  <a:lnTo>
                    <a:pt x="771335" y="203594"/>
                  </a:lnTo>
                  <a:lnTo>
                    <a:pt x="771335" y="204292"/>
                  </a:lnTo>
                  <a:lnTo>
                    <a:pt x="771335" y="203594"/>
                  </a:lnTo>
                  <a:lnTo>
                    <a:pt x="771386" y="203594"/>
                  </a:lnTo>
                  <a:lnTo>
                    <a:pt x="771386" y="204292"/>
                  </a:lnTo>
                  <a:lnTo>
                    <a:pt x="771386" y="203594"/>
                  </a:lnTo>
                  <a:lnTo>
                    <a:pt x="771386" y="204292"/>
                  </a:lnTo>
                  <a:lnTo>
                    <a:pt x="771386" y="203594"/>
                  </a:lnTo>
                  <a:lnTo>
                    <a:pt x="771487" y="203594"/>
                  </a:lnTo>
                  <a:lnTo>
                    <a:pt x="771487" y="204292"/>
                  </a:lnTo>
                  <a:lnTo>
                    <a:pt x="771487" y="203594"/>
                  </a:lnTo>
                  <a:lnTo>
                    <a:pt x="771487" y="204292"/>
                  </a:lnTo>
                  <a:lnTo>
                    <a:pt x="771487" y="203594"/>
                  </a:lnTo>
                  <a:lnTo>
                    <a:pt x="771526" y="203594"/>
                  </a:lnTo>
                  <a:lnTo>
                    <a:pt x="771526" y="204292"/>
                  </a:lnTo>
                  <a:lnTo>
                    <a:pt x="771526" y="203594"/>
                  </a:lnTo>
                  <a:lnTo>
                    <a:pt x="771526" y="204292"/>
                  </a:lnTo>
                  <a:lnTo>
                    <a:pt x="771526" y="203594"/>
                  </a:lnTo>
                  <a:lnTo>
                    <a:pt x="771526" y="204292"/>
                  </a:lnTo>
                  <a:lnTo>
                    <a:pt x="771526" y="203594"/>
                  </a:lnTo>
                  <a:lnTo>
                    <a:pt x="771576" y="203594"/>
                  </a:lnTo>
                  <a:lnTo>
                    <a:pt x="771576" y="202959"/>
                  </a:lnTo>
                  <a:lnTo>
                    <a:pt x="771576" y="203594"/>
                  </a:lnTo>
                  <a:lnTo>
                    <a:pt x="771576" y="202260"/>
                  </a:lnTo>
                  <a:lnTo>
                    <a:pt x="771627" y="202260"/>
                  </a:lnTo>
                  <a:lnTo>
                    <a:pt x="771627" y="200876"/>
                  </a:lnTo>
                  <a:lnTo>
                    <a:pt x="771627" y="202260"/>
                  </a:lnTo>
                  <a:lnTo>
                    <a:pt x="771627" y="200228"/>
                  </a:lnTo>
                  <a:lnTo>
                    <a:pt x="771627" y="200876"/>
                  </a:lnTo>
                  <a:lnTo>
                    <a:pt x="771627" y="199530"/>
                  </a:lnTo>
                  <a:lnTo>
                    <a:pt x="771729" y="199530"/>
                  </a:lnTo>
                  <a:lnTo>
                    <a:pt x="771729" y="200876"/>
                  </a:lnTo>
                  <a:lnTo>
                    <a:pt x="771729" y="200228"/>
                  </a:lnTo>
                  <a:lnTo>
                    <a:pt x="771729" y="202260"/>
                  </a:lnTo>
                  <a:lnTo>
                    <a:pt x="771780" y="202959"/>
                  </a:lnTo>
                  <a:lnTo>
                    <a:pt x="771780" y="200876"/>
                  </a:lnTo>
                  <a:lnTo>
                    <a:pt x="771780" y="203594"/>
                  </a:lnTo>
                  <a:lnTo>
                    <a:pt x="771830" y="203594"/>
                  </a:lnTo>
                  <a:lnTo>
                    <a:pt x="771830" y="202959"/>
                  </a:lnTo>
                  <a:lnTo>
                    <a:pt x="771830" y="203594"/>
                  </a:lnTo>
                  <a:lnTo>
                    <a:pt x="771830" y="202959"/>
                  </a:lnTo>
                  <a:lnTo>
                    <a:pt x="771830" y="203594"/>
                  </a:lnTo>
                  <a:lnTo>
                    <a:pt x="771932" y="203594"/>
                  </a:lnTo>
                  <a:lnTo>
                    <a:pt x="771932" y="202959"/>
                  </a:lnTo>
                  <a:lnTo>
                    <a:pt x="771932" y="204292"/>
                  </a:lnTo>
                  <a:lnTo>
                    <a:pt x="771932" y="203594"/>
                  </a:lnTo>
                  <a:lnTo>
                    <a:pt x="771983" y="204292"/>
                  </a:lnTo>
                  <a:lnTo>
                    <a:pt x="771983" y="203594"/>
                  </a:lnTo>
                  <a:lnTo>
                    <a:pt x="771983" y="204292"/>
                  </a:lnTo>
                  <a:lnTo>
                    <a:pt x="771983" y="203594"/>
                  </a:lnTo>
                  <a:lnTo>
                    <a:pt x="771983" y="204292"/>
                  </a:lnTo>
                  <a:lnTo>
                    <a:pt x="772033" y="204292"/>
                  </a:lnTo>
                  <a:lnTo>
                    <a:pt x="772033" y="203594"/>
                  </a:lnTo>
                  <a:lnTo>
                    <a:pt x="772033" y="204292"/>
                  </a:lnTo>
                  <a:lnTo>
                    <a:pt x="772033" y="203594"/>
                  </a:lnTo>
                  <a:lnTo>
                    <a:pt x="772033" y="204292"/>
                  </a:lnTo>
                  <a:lnTo>
                    <a:pt x="772072" y="204292"/>
                  </a:lnTo>
                  <a:lnTo>
                    <a:pt x="772072" y="202959"/>
                  </a:lnTo>
                  <a:lnTo>
                    <a:pt x="772072" y="203594"/>
                  </a:lnTo>
                  <a:lnTo>
                    <a:pt x="772072" y="202260"/>
                  </a:lnTo>
                  <a:lnTo>
                    <a:pt x="772173" y="202260"/>
                  </a:lnTo>
                  <a:lnTo>
                    <a:pt x="772173" y="200228"/>
                  </a:lnTo>
                  <a:lnTo>
                    <a:pt x="772173" y="200876"/>
                  </a:lnTo>
                  <a:lnTo>
                    <a:pt x="772224" y="202260"/>
                  </a:lnTo>
                  <a:lnTo>
                    <a:pt x="772224" y="199530"/>
                  </a:lnTo>
                  <a:lnTo>
                    <a:pt x="772224" y="203594"/>
                  </a:lnTo>
                  <a:lnTo>
                    <a:pt x="772224" y="202959"/>
                  </a:lnTo>
                  <a:lnTo>
                    <a:pt x="772275" y="202959"/>
                  </a:lnTo>
                  <a:lnTo>
                    <a:pt x="772275" y="200876"/>
                  </a:lnTo>
                  <a:lnTo>
                    <a:pt x="772275" y="202959"/>
                  </a:lnTo>
                  <a:lnTo>
                    <a:pt x="772376" y="202959"/>
                  </a:lnTo>
                  <a:lnTo>
                    <a:pt x="772376" y="200876"/>
                  </a:lnTo>
                  <a:lnTo>
                    <a:pt x="772376" y="203594"/>
                  </a:lnTo>
                  <a:lnTo>
                    <a:pt x="772427" y="203594"/>
                  </a:lnTo>
                  <a:lnTo>
                    <a:pt x="772427" y="202260"/>
                  </a:lnTo>
                  <a:lnTo>
                    <a:pt x="772427" y="202959"/>
                  </a:lnTo>
                  <a:lnTo>
                    <a:pt x="772427" y="202260"/>
                  </a:lnTo>
                  <a:lnTo>
                    <a:pt x="772427" y="202959"/>
                  </a:lnTo>
                  <a:lnTo>
                    <a:pt x="772427" y="202260"/>
                  </a:lnTo>
                  <a:lnTo>
                    <a:pt x="772427" y="202959"/>
                  </a:lnTo>
                  <a:lnTo>
                    <a:pt x="772478" y="202959"/>
                  </a:lnTo>
                  <a:lnTo>
                    <a:pt x="772478" y="203594"/>
                  </a:lnTo>
                  <a:lnTo>
                    <a:pt x="772478" y="202959"/>
                  </a:lnTo>
                  <a:lnTo>
                    <a:pt x="772478" y="204292"/>
                  </a:lnTo>
                  <a:lnTo>
                    <a:pt x="772478" y="203594"/>
                  </a:lnTo>
                  <a:lnTo>
                    <a:pt x="772529" y="203594"/>
                  </a:lnTo>
                  <a:lnTo>
                    <a:pt x="772529" y="202959"/>
                  </a:lnTo>
                  <a:lnTo>
                    <a:pt x="772529" y="203594"/>
                  </a:lnTo>
                  <a:lnTo>
                    <a:pt x="772618" y="203594"/>
                  </a:lnTo>
                  <a:lnTo>
                    <a:pt x="772618" y="202959"/>
                  </a:lnTo>
                  <a:lnTo>
                    <a:pt x="772618" y="203594"/>
                  </a:lnTo>
                  <a:lnTo>
                    <a:pt x="772618" y="202959"/>
                  </a:lnTo>
                  <a:lnTo>
                    <a:pt x="772618" y="203594"/>
                  </a:lnTo>
                  <a:lnTo>
                    <a:pt x="772618" y="202260"/>
                  </a:lnTo>
                  <a:lnTo>
                    <a:pt x="772618" y="202959"/>
                  </a:lnTo>
                  <a:lnTo>
                    <a:pt x="772618" y="200876"/>
                  </a:lnTo>
                  <a:lnTo>
                    <a:pt x="772668" y="200876"/>
                  </a:lnTo>
                  <a:lnTo>
                    <a:pt x="772668" y="203594"/>
                  </a:lnTo>
                  <a:lnTo>
                    <a:pt x="772668" y="202260"/>
                  </a:lnTo>
                  <a:lnTo>
                    <a:pt x="772719" y="202260"/>
                  </a:lnTo>
                  <a:lnTo>
                    <a:pt x="772719" y="200876"/>
                  </a:lnTo>
                  <a:lnTo>
                    <a:pt x="772719" y="204292"/>
                  </a:lnTo>
                  <a:lnTo>
                    <a:pt x="772719" y="202959"/>
                  </a:lnTo>
                  <a:lnTo>
                    <a:pt x="772770" y="202959"/>
                  </a:lnTo>
                  <a:lnTo>
                    <a:pt x="772770" y="204292"/>
                  </a:lnTo>
                  <a:lnTo>
                    <a:pt x="772770" y="202959"/>
                  </a:lnTo>
                  <a:lnTo>
                    <a:pt x="772770" y="203594"/>
                  </a:lnTo>
                  <a:lnTo>
                    <a:pt x="772872" y="203594"/>
                  </a:lnTo>
                  <a:lnTo>
                    <a:pt x="772872" y="204292"/>
                  </a:lnTo>
                  <a:lnTo>
                    <a:pt x="772872" y="202959"/>
                  </a:lnTo>
                  <a:lnTo>
                    <a:pt x="772872" y="203594"/>
                  </a:lnTo>
                  <a:lnTo>
                    <a:pt x="772922" y="203594"/>
                  </a:lnTo>
                  <a:lnTo>
                    <a:pt x="772922" y="204292"/>
                  </a:lnTo>
                  <a:lnTo>
                    <a:pt x="772922" y="203594"/>
                  </a:lnTo>
                  <a:lnTo>
                    <a:pt x="772922" y="204292"/>
                  </a:lnTo>
                  <a:lnTo>
                    <a:pt x="772922" y="203594"/>
                  </a:lnTo>
                  <a:lnTo>
                    <a:pt x="772922" y="204292"/>
                  </a:lnTo>
                  <a:lnTo>
                    <a:pt x="772973" y="204292"/>
                  </a:lnTo>
                  <a:lnTo>
                    <a:pt x="772973" y="203594"/>
                  </a:lnTo>
                  <a:lnTo>
                    <a:pt x="772973" y="204292"/>
                  </a:lnTo>
                  <a:lnTo>
                    <a:pt x="772973" y="203594"/>
                  </a:lnTo>
                  <a:lnTo>
                    <a:pt x="772973" y="204292"/>
                  </a:lnTo>
                  <a:lnTo>
                    <a:pt x="772973" y="203594"/>
                  </a:lnTo>
                  <a:lnTo>
                    <a:pt x="773075" y="203594"/>
                  </a:lnTo>
                  <a:lnTo>
                    <a:pt x="773113" y="202959"/>
                  </a:lnTo>
                  <a:lnTo>
                    <a:pt x="773113" y="203594"/>
                  </a:lnTo>
                  <a:lnTo>
                    <a:pt x="773113" y="202260"/>
                  </a:lnTo>
                  <a:lnTo>
                    <a:pt x="773113" y="202959"/>
                  </a:lnTo>
                  <a:lnTo>
                    <a:pt x="773113" y="200876"/>
                  </a:lnTo>
                  <a:lnTo>
                    <a:pt x="773113" y="202260"/>
                  </a:lnTo>
                  <a:lnTo>
                    <a:pt x="773113" y="200876"/>
                  </a:lnTo>
                  <a:lnTo>
                    <a:pt x="773164" y="200876"/>
                  </a:lnTo>
                  <a:lnTo>
                    <a:pt x="773164" y="200228"/>
                  </a:lnTo>
                  <a:lnTo>
                    <a:pt x="773164" y="203594"/>
                  </a:lnTo>
                  <a:lnTo>
                    <a:pt x="773164" y="202260"/>
                  </a:lnTo>
                  <a:lnTo>
                    <a:pt x="773215" y="202959"/>
                  </a:lnTo>
                  <a:lnTo>
                    <a:pt x="773215" y="204990"/>
                  </a:lnTo>
                  <a:lnTo>
                    <a:pt x="773215" y="202959"/>
                  </a:lnTo>
                  <a:lnTo>
                    <a:pt x="773215" y="203594"/>
                  </a:lnTo>
                  <a:lnTo>
                    <a:pt x="773316" y="203594"/>
                  </a:lnTo>
                  <a:lnTo>
                    <a:pt x="773316" y="204292"/>
                  </a:lnTo>
                  <a:lnTo>
                    <a:pt x="773316" y="203594"/>
                  </a:lnTo>
                  <a:lnTo>
                    <a:pt x="773316" y="204292"/>
                  </a:lnTo>
                  <a:lnTo>
                    <a:pt x="773316" y="203594"/>
                  </a:lnTo>
                  <a:lnTo>
                    <a:pt x="773316" y="204292"/>
                  </a:lnTo>
                  <a:lnTo>
                    <a:pt x="773367" y="204292"/>
                  </a:lnTo>
                  <a:lnTo>
                    <a:pt x="773367" y="203594"/>
                  </a:lnTo>
                  <a:lnTo>
                    <a:pt x="773367" y="204292"/>
                  </a:lnTo>
                  <a:lnTo>
                    <a:pt x="773367" y="203594"/>
                  </a:lnTo>
                  <a:lnTo>
                    <a:pt x="773367" y="204292"/>
                  </a:lnTo>
                  <a:lnTo>
                    <a:pt x="773367" y="203594"/>
                  </a:lnTo>
                  <a:lnTo>
                    <a:pt x="773367" y="204292"/>
                  </a:lnTo>
                  <a:lnTo>
                    <a:pt x="773367" y="203594"/>
                  </a:lnTo>
                  <a:lnTo>
                    <a:pt x="773367" y="204292"/>
                  </a:lnTo>
                  <a:lnTo>
                    <a:pt x="773418" y="204292"/>
                  </a:lnTo>
                  <a:lnTo>
                    <a:pt x="773418" y="203594"/>
                  </a:lnTo>
                  <a:lnTo>
                    <a:pt x="773418" y="204292"/>
                  </a:lnTo>
                  <a:lnTo>
                    <a:pt x="773418" y="203594"/>
                  </a:lnTo>
                  <a:lnTo>
                    <a:pt x="773418" y="204292"/>
                  </a:lnTo>
                  <a:lnTo>
                    <a:pt x="773418" y="203594"/>
                  </a:lnTo>
                  <a:lnTo>
                    <a:pt x="773519" y="203594"/>
                  </a:lnTo>
                  <a:lnTo>
                    <a:pt x="773519" y="204292"/>
                  </a:lnTo>
                  <a:lnTo>
                    <a:pt x="773519" y="202959"/>
                  </a:lnTo>
                  <a:lnTo>
                    <a:pt x="773519" y="203594"/>
                  </a:lnTo>
                  <a:lnTo>
                    <a:pt x="773519" y="202959"/>
                  </a:lnTo>
                  <a:lnTo>
                    <a:pt x="773519" y="203594"/>
                  </a:lnTo>
                  <a:lnTo>
                    <a:pt x="773570" y="203594"/>
                  </a:lnTo>
                  <a:lnTo>
                    <a:pt x="773570" y="202959"/>
                  </a:lnTo>
                  <a:lnTo>
                    <a:pt x="773570" y="203594"/>
                  </a:lnTo>
                  <a:lnTo>
                    <a:pt x="773570" y="202260"/>
                  </a:lnTo>
                  <a:lnTo>
                    <a:pt x="773570" y="202959"/>
                  </a:lnTo>
                  <a:lnTo>
                    <a:pt x="773570" y="202260"/>
                  </a:lnTo>
                  <a:lnTo>
                    <a:pt x="773621" y="202260"/>
                  </a:lnTo>
                  <a:lnTo>
                    <a:pt x="773621" y="199530"/>
                  </a:lnTo>
                  <a:lnTo>
                    <a:pt x="773621" y="200228"/>
                  </a:lnTo>
                  <a:lnTo>
                    <a:pt x="773621" y="199530"/>
                  </a:lnTo>
                  <a:lnTo>
                    <a:pt x="773659" y="199530"/>
                  </a:lnTo>
                  <a:lnTo>
                    <a:pt x="773659" y="202959"/>
                  </a:lnTo>
                  <a:lnTo>
                    <a:pt x="773659" y="200228"/>
                  </a:lnTo>
                  <a:lnTo>
                    <a:pt x="773659" y="202959"/>
                  </a:lnTo>
                  <a:lnTo>
                    <a:pt x="773761" y="203594"/>
                  </a:lnTo>
                  <a:lnTo>
                    <a:pt x="773761" y="202260"/>
                  </a:lnTo>
                  <a:lnTo>
                    <a:pt x="773761" y="203594"/>
                  </a:lnTo>
                  <a:lnTo>
                    <a:pt x="773761" y="202959"/>
                  </a:lnTo>
                  <a:lnTo>
                    <a:pt x="773761" y="203594"/>
                  </a:lnTo>
                  <a:lnTo>
                    <a:pt x="773812" y="203594"/>
                  </a:lnTo>
                  <a:lnTo>
                    <a:pt x="773812" y="204292"/>
                  </a:lnTo>
                  <a:lnTo>
                    <a:pt x="773812" y="202959"/>
                  </a:lnTo>
                  <a:lnTo>
                    <a:pt x="773812" y="203594"/>
                  </a:lnTo>
                  <a:lnTo>
                    <a:pt x="773862" y="203594"/>
                  </a:lnTo>
                  <a:lnTo>
                    <a:pt x="773862" y="204292"/>
                  </a:lnTo>
                  <a:lnTo>
                    <a:pt x="773862" y="203594"/>
                  </a:lnTo>
                  <a:lnTo>
                    <a:pt x="773862" y="204292"/>
                  </a:lnTo>
                  <a:lnTo>
                    <a:pt x="773964" y="204292"/>
                  </a:lnTo>
                  <a:lnTo>
                    <a:pt x="773964" y="203594"/>
                  </a:lnTo>
                  <a:lnTo>
                    <a:pt x="773964" y="204990"/>
                  </a:lnTo>
                  <a:lnTo>
                    <a:pt x="773964" y="204292"/>
                  </a:lnTo>
                  <a:lnTo>
                    <a:pt x="774015" y="204292"/>
                  </a:lnTo>
                  <a:lnTo>
                    <a:pt x="774015" y="203594"/>
                  </a:lnTo>
                  <a:lnTo>
                    <a:pt x="774015" y="204292"/>
                  </a:lnTo>
                  <a:lnTo>
                    <a:pt x="774066" y="203594"/>
                  </a:lnTo>
                  <a:lnTo>
                    <a:pt x="774066" y="202959"/>
                  </a:lnTo>
                  <a:lnTo>
                    <a:pt x="774066" y="203594"/>
                  </a:lnTo>
                  <a:lnTo>
                    <a:pt x="774066" y="202959"/>
                  </a:lnTo>
                  <a:lnTo>
                    <a:pt x="774066" y="203594"/>
                  </a:lnTo>
                  <a:lnTo>
                    <a:pt x="774066" y="202260"/>
                  </a:lnTo>
                  <a:lnTo>
                    <a:pt x="774116" y="202260"/>
                  </a:lnTo>
                  <a:lnTo>
                    <a:pt x="774116" y="200228"/>
                  </a:lnTo>
                  <a:lnTo>
                    <a:pt x="774116" y="200876"/>
                  </a:lnTo>
                  <a:lnTo>
                    <a:pt x="774205" y="200876"/>
                  </a:lnTo>
                  <a:lnTo>
                    <a:pt x="774205" y="202260"/>
                  </a:lnTo>
                  <a:lnTo>
                    <a:pt x="774205" y="200228"/>
                  </a:lnTo>
                  <a:lnTo>
                    <a:pt x="774205" y="200876"/>
                  </a:lnTo>
                  <a:lnTo>
                    <a:pt x="774205" y="200228"/>
                  </a:lnTo>
                  <a:lnTo>
                    <a:pt x="774205" y="200876"/>
                  </a:lnTo>
                  <a:lnTo>
                    <a:pt x="774205" y="200228"/>
                  </a:lnTo>
                  <a:lnTo>
                    <a:pt x="774205" y="202959"/>
                  </a:lnTo>
                  <a:lnTo>
                    <a:pt x="774256" y="202260"/>
                  </a:lnTo>
                  <a:lnTo>
                    <a:pt x="774256" y="200876"/>
                  </a:lnTo>
                  <a:lnTo>
                    <a:pt x="774256" y="202959"/>
                  </a:lnTo>
                  <a:lnTo>
                    <a:pt x="774307" y="202959"/>
                  </a:lnTo>
                  <a:lnTo>
                    <a:pt x="774307" y="202260"/>
                  </a:lnTo>
                  <a:lnTo>
                    <a:pt x="774307" y="202959"/>
                  </a:lnTo>
                  <a:lnTo>
                    <a:pt x="774307" y="202260"/>
                  </a:lnTo>
                  <a:lnTo>
                    <a:pt x="774307" y="203594"/>
                  </a:lnTo>
                  <a:lnTo>
                    <a:pt x="774307" y="202260"/>
                  </a:lnTo>
                  <a:lnTo>
                    <a:pt x="774307" y="202959"/>
                  </a:lnTo>
                  <a:lnTo>
                    <a:pt x="774358" y="202959"/>
                  </a:lnTo>
                  <a:lnTo>
                    <a:pt x="774358" y="203594"/>
                  </a:lnTo>
                  <a:lnTo>
                    <a:pt x="774358" y="202959"/>
                  </a:lnTo>
                  <a:lnTo>
                    <a:pt x="774358" y="204292"/>
                  </a:lnTo>
                  <a:lnTo>
                    <a:pt x="774358" y="203594"/>
                  </a:lnTo>
                  <a:lnTo>
                    <a:pt x="774459" y="203594"/>
                  </a:lnTo>
                  <a:lnTo>
                    <a:pt x="774459" y="204292"/>
                  </a:lnTo>
                  <a:lnTo>
                    <a:pt x="774459" y="203594"/>
                  </a:lnTo>
                  <a:lnTo>
                    <a:pt x="774459" y="204292"/>
                  </a:lnTo>
                  <a:lnTo>
                    <a:pt x="774459" y="203594"/>
                  </a:lnTo>
                  <a:lnTo>
                    <a:pt x="774459" y="204292"/>
                  </a:lnTo>
                  <a:lnTo>
                    <a:pt x="774459" y="203594"/>
                  </a:lnTo>
                  <a:lnTo>
                    <a:pt x="774459" y="204292"/>
                  </a:lnTo>
                  <a:lnTo>
                    <a:pt x="774459" y="203594"/>
                  </a:lnTo>
                  <a:lnTo>
                    <a:pt x="774459" y="204292"/>
                  </a:lnTo>
                  <a:lnTo>
                    <a:pt x="774510" y="204292"/>
                  </a:lnTo>
                  <a:lnTo>
                    <a:pt x="774510" y="202959"/>
                  </a:lnTo>
                  <a:lnTo>
                    <a:pt x="774561" y="203594"/>
                  </a:lnTo>
                  <a:lnTo>
                    <a:pt x="774561" y="202959"/>
                  </a:lnTo>
                  <a:lnTo>
                    <a:pt x="774561" y="203594"/>
                  </a:lnTo>
                  <a:lnTo>
                    <a:pt x="774561" y="202260"/>
                  </a:lnTo>
                  <a:lnTo>
                    <a:pt x="774561" y="202959"/>
                  </a:lnTo>
                  <a:lnTo>
                    <a:pt x="774561" y="202260"/>
                  </a:lnTo>
                  <a:lnTo>
                    <a:pt x="774662" y="202260"/>
                  </a:lnTo>
                  <a:lnTo>
                    <a:pt x="774662" y="200876"/>
                  </a:lnTo>
                  <a:lnTo>
                    <a:pt x="774662" y="202260"/>
                  </a:lnTo>
                  <a:lnTo>
                    <a:pt x="774662" y="199530"/>
                  </a:lnTo>
                  <a:lnTo>
                    <a:pt x="774662" y="200876"/>
                  </a:lnTo>
                  <a:lnTo>
                    <a:pt x="774701" y="200876"/>
                  </a:lnTo>
                  <a:lnTo>
                    <a:pt x="774701" y="202260"/>
                  </a:lnTo>
                  <a:lnTo>
                    <a:pt x="774701" y="199530"/>
                  </a:lnTo>
                  <a:lnTo>
                    <a:pt x="774701" y="202959"/>
                  </a:lnTo>
                  <a:lnTo>
                    <a:pt x="774751" y="202959"/>
                  </a:lnTo>
                  <a:lnTo>
                    <a:pt x="774751" y="200876"/>
                  </a:lnTo>
                  <a:lnTo>
                    <a:pt x="774751" y="202959"/>
                  </a:lnTo>
                  <a:lnTo>
                    <a:pt x="774802" y="202959"/>
                  </a:lnTo>
                  <a:lnTo>
                    <a:pt x="774802" y="202260"/>
                  </a:lnTo>
                  <a:lnTo>
                    <a:pt x="774802" y="203594"/>
                  </a:lnTo>
                  <a:lnTo>
                    <a:pt x="774904" y="202959"/>
                  </a:lnTo>
                  <a:lnTo>
                    <a:pt x="774904" y="203594"/>
                  </a:lnTo>
                  <a:lnTo>
                    <a:pt x="774904" y="202959"/>
                  </a:lnTo>
                  <a:lnTo>
                    <a:pt x="774904" y="203594"/>
                  </a:lnTo>
                  <a:lnTo>
                    <a:pt x="774955" y="203594"/>
                  </a:lnTo>
                  <a:lnTo>
                    <a:pt x="774955" y="204292"/>
                  </a:lnTo>
                  <a:lnTo>
                    <a:pt x="774955" y="203594"/>
                  </a:lnTo>
                  <a:lnTo>
                    <a:pt x="774955" y="204292"/>
                  </a:lnTo>
                  <a:lnTo>
                    <a:pt x="775005" y="203594"/>
                  </a:lnTo>
                  <a:lnTo>
                    <a:pt x="775005" y="204292"/>
                  </a:lnTo>
                  <a:lnTo>
                    <a:pt x="775005" y="203594"/>
                  </a:lnTo>
                  <a:lnTo>
                    <a:pt x="775005" y="204292"/>
                  </a:lnTo>
                  <a:lnTo>
                    <a:pt x="775005" y="203594"/>
                  </a:lnTo>
                  <a:lnTo>
                    <a:pt x="775107" y="203594"/>
                  </a:lnTo>
                  <a:lnTo>
                    <a:pt x="775107" y="202260"/>
                  </a:lnTo>
                  <a:lnTo>
                    <a:pt x="775158" y="202260"/>
                  </a:lnTo>
                  <a:lnTo>
                    <a:pt x="775158" y="200876"/>
                  </a:lnTo>
                  <a:lnTo>
                    <a:pt x="775158" y="202260"/>
                  </a:lnTo>
                  <a:lnTo>
                    <a:pt x="775158" y="200228"/>
                  </a:lnTo>
                  <a:lnTo>
                    <a:pt x="775158" y="200876"/>
                  </a:lnTo>
                  <a:lnTo>
                    <a:pt x="775158" y="200228"/>
                  </a:lnTo>
                  <a:lnTo>
                    <a:pt x="775158" y="200876"/>
                  </a:lnTo>
                  <a:lnTo>
                    <a:pt x="775208" y="200876"/>
                  </a:lnTo>
                  <a:lnTo>
                    <a:pt x="775208" y="200228"/>
                  </a:lnTo>
                  <a:lnTo>
                    <a:pt x="775208" y="200876"/>
                  </a:lnTo>
                  <a:lnTo>
                    <a:pt x="775208" y="199530"/>
                  </a:lnTo>
                  <a:lnTo>
                    <a:pt x="775208" y="202260"/>
                  </a:lnTo>
                  <a:lnTo>
                    <a:pt x="775247" y="202959"/>
                  </a:lnTo>
                  <a:lnTo>
                    <a:pt x="775247" y="200228"/>
                  </a:lnTo>
                  <a:lnTo>
                    <a:pt x="775247" y="200876"/>
                  </a:lnTo>
                  <a:lnTo>
                    <a:pt x="775247" y="200228"/>
                  </a:lnTo>
                  <a:lnTo>
                    <a:pt x="775247" y="202260"/>
                  </a:lnTo>
                  <a:lnTo>
                    <a:pt x="775348" y="202260"/>
                  </a:lnTo>
                  <a:lnTo>
                    <a:pt x="775348" y="202959"/>
                  </a:lnTo>
                  <a:lnTo>
                    <a:pt x="775348" y="202260"/>
                  </a:lnTo>
                  <a:lnTo>
                    <a:pt x="775399" y="202260"/>
                  </a:lnTo>
                  <a:lnTo>
                    <a:pt x="775399" y="202959"/>
                  </a:lnTo>
                  <a:lnTo>
                    <a:pt x="775399" y="202260"/>
                  </a:lnTo>
                  <a:lnTo>
                    <a:pt x="775399" y="202959"/>
                  </a:lnTo>
                  <a:lnTo>
                    <a:pt x="775399" y="202260"/>
                  </a:lnTo>
                  <a:lnTo>
                    <a:pt x="775399" y="202959"/>
                  </a:lnTo>
                  <a:lnTo>
                    <a:pt x="775399" y="202260"/>
                  </a:lnTo>
                  <a:lnTo>
                    <a:pt x="775399" y="202959"/>
                  </a:lnTo>
                  <a:lnTo>
                    <a:pt x="775399" y="202260"/>
                  </a:lnTo>
                  <a:lnTo>
                    <a:pt x="775399" y="202959"/>
                  </a:lnTo>
                  <a:lnTo>
                    <a:pt x="775450" y="202959"/>
                  </a:lnTo>
                  <a:lnTo>
                    <a:pt x="775450" y="203594"/>
                  </a:lnTo>
                  <a:lnTo>
                    <a:pt x="775450" y="202959"/>
                  </a:lnTo>
                  <a:lnTo>
                    <a:pt x="775450" y="203594"/>
                  </a:lnTo>
                  <a:lnTo>
                    <a:pt x="775551" y="203594"/>
                  </a:lnTo>
                  <a:lnTo>
                    <a:pt x="775551" y="202959"/>
                  </a:lnTo>
                  <a:lnTo>
                    <a:pt x="775551" y="203594"/>
                  </a:lnTo>
                  <a:lnTo>
                    <a:pt x="775551" y="202959"/>
                  </a:lnTo>
                  <a:lnTo>
                    <a:pt x="775551" y="203594"/>
                  </a:lnTo>
                  <a:lnTo>
                    <a:pt x="775551" y="202959"/>
                  </a:lnTo>
                  <a:lnTo>
                    <a:pt x="775551" y="203594"/>
                  </a:lnTo>
                  <a:lnTo>
                    <a:pt x="775602" y="202959"/>
                  </a:lnTo>
                  <a:lnTo>
                    <a:pt x="775602" y="203594"/>
                  </a:lnTo>
                  <a:lnTo>
                    <a:pt x="775602" y="202260"/>
                  </a:lnTo>
                  <a:lnTo>
                    <a:pt x="775602" y="202959"/>
                  </a:lnTo>
                  <a:lnTo>
                    <a:pt x="775653" y="202260"/>
                  </a:lnTo>
                  <a:lnTo>
                    <a:pt x="775653" y="200876"/>
                  </a:lnTo>
                  <a:lnTo>
                    <a:pt x="775653" y="202260"/>
                  </a:lnTo>
                  <a:lnTo>
                    <a:pt x="775653" y="200876"/>
                  </a:lnTo>
                  <a:lnTo>
                    <a:pt x="775653" y="202959"/>
                  </a:lnTo>
                  <a:lnTo>
                    <a:pt x="775653" y="202260"/>
                  </a:lnTo>
                  <a:lnTo>
                    <a:pt x="775704" y="202959"/>
                  </a:lnTo>
                  <a:lnTo>
                    <a:pt x="775704" y="200876"/>
                  </a:lnTo>
                  <a:lnTo>
                    <a:pt x="775704" y="203594"/>
                  </a:lnTo>
                  <a:lnTo>
                    <a:pt x="775704" y="202959"/>
                  </a:lnTo>
                  <a:lnTo>
                    <a:pt x="775793" y="202959"/>
                  </a:lnTo>
                  <a:lnTo>
                    <a:pt x="775793" y="202260"/>
                  </a:lnTo>
                  <a:lnTo>
                    <a:pt x="775793" y="203594"/>
                  </a:lnTo>
                  <a:lnTo>
                    <a:pt x="775793" y="202959"/>
                  </a:lnTo>
                  <a:lnTo>
                    <a:pt x="775843" y="203594"/>
                  </a:lnTo>
                  <a:lnTo>
                    <a:pt x="775843" y="202959"/>
                  </a:lnTo>
                  <a:lnTo>
                    <a:pt x="775843" y="203594"/>
                  </a:lnTo>
                  <a:lnTo>
                    <a:pt x="775843" y="202959"/>
                  </a:lnTo>
                  <a:lnTo>
                    <a:pt x="775843" y="203594"/>
                  </a:lnTo>
                  <a:lnTo>
                    <a:pt x="775843" y="202959"/>
                  </a:lnTo>
                  <a:lnTo>
                    <a:pt x="775843" y="203594"/>
                  </a:lnTo>
                  <a:lnTo>
                    <a:pt x="775843" y="202959"/>
                  </a:lnTo>
                  <a:lnTo>
                    <a:pt x="775894" y="203594"/>
                  </a:lnTo>
                  <a:lnTo>
                    <a:pt x="775894" y="202959"/>
                  </a:lnTo>
                  <a:lnTo>
                    <a:pt x="775894" y="203594"/>
                  </a:lnTo>
                  <a:lnTo>
                    <a:pt x="775894" y="202959"/>
                  </a:lnTo>
                  <a:lnTo>
                    <a:pt x="775894" y="203594"/>
                  </a:lnTo>
                  <a:lnTo>
                    <a:pt x="775945" y="203594"/>
                  </a:lnTo>
                  <a:lnTo>
                    <a:pt x="775945" y="204292"/>
                  </a:lnTo>
                  <a:lnTo>
                    <a:pt x="775945" y="203594"/>
                  </a:lnTo>
                  <a:lnTo>
                    <a:pt x="776097" y="203594"/>
                  </a:lnTo>
                  <a:lnTo>
                    <a:pt x="776097" y="202959"/>
                  </a:lnTo>
                  <a:lnTo>
                    <a:pt x="776148" y="202260"/>
                  </a:lnTo>
                  <a:lnTo>
                    <a:pt x="776148" y="203594"/>
                  </a:lnTo>
                  <a:lnTo>
                    <a:pt x="776148" y="202260"/>
                  </a:lnTo>
                  <a:lnTo>
                    <a:pt x="776250" y="202959"/>
                  </a:lnTo>
                  <a:lnTo>
                    <a:pt x="776250" y="204292"/>
                  </a:lnTo>
                  <a:lnTo>
                    <a:pt x="776250" y="203594"/>
                  </a:lnTo>
                  <a:lnTo>
                    <a:pt x="776288" y="203594"/>
                  </a:lnTo>
                  <a:lnTo>
                    <a:pt x="776288" y="204990"/>
                  </a:lnTo>
                  <a:lnTo>
                    <a:pt x="776288" y="204292"/>
                  </a:lnTo>
                  <a:lnTo>
                    <a:pt x="776288" y="204990"/>
                  </a:lnTo>
                  <a:lnTo>
                    <a:pt x="776339" y="204990"/>
                  </a:lnTo>
                  <a:lnTo>
                    <a:pt x="776339" y="204292"/>
                  </a:lnTo>
                  <a:lnTo>
                    <a:pt x="776339" y="204990"/>
                  </a:lnTo>
                  <a:lnTo>
                    <a:pt x="776339" y="204292"/>
                  </a:lnTo>
                  <a:lnTo>
                    <a:pt x="776390" y="204292"/>
                  </a:lnTo>
                  <a:lnTo>
                    <a:pt x="776390" y="203594"/>
                  </a:lnTo>
                  <a:lnTo>
                    <a:pt x="776390" y="204292"/>
                  </a:lnTo>
                  <a:lnTo>
                    <a:pt x="776390" y="203594"/>
                  </a:lnTo>
                  <a:lnTo>
                    <a:pt x="776491" y="203594"/>
                  </a:lnTo>
                  <a:lnTo>
                    <a:pt x="776491" y="204292"/>
                  </a:lnTo>
                  <a:lnTo>
                    <a:pt x="776491" y="203594"/>
                  </a:lnTo>
                  <a:lnTo>
                    <a:pt x="776542" y="203594"/>
                  </a:lnTo>
                  <a:lnTo>
                    <a:pt x="776542" y="202959"/>
                  </a:lnTo>
                  <a:lnTo>
                    <a:pt x="776593" y="202260"/>
                  </a:lnTo>
                  <a:lnTo>
                    <a:pt x="776593" y="202959"/>
                  </a:lnTo>
                  <a:lnTo>
                    <a:pt x="776593" y="200876"/>
                  </a:lnTo>
                  <a:lnTo>
                    <a:pt x="776694" y="200876"/>
                  </a:lnTo>
                  <a:lnTo>
                    <a:pt x="776694" y="200228"/>
                  </a:lnTo>
                  <a:lnTo>
                    <a:pt x="776694" y="202260"/>
                  </a:lnTo>
                  <a:lnTo>
                    <a:pt x="776694" y="200876"/>
                  </a:lnTo>
                  <a:lnTo>
                    <a:pt x="776745" y="202260"/>
                  </a:lnTo>
                  <a:lnTo>
                    <a:pt x="776745" y="203594"/>
                  </a:lnTo>
                  <a:lnTo>
                    <a:pt x="776745" y="202959"/>
                  </a:lnTo>
                  <a:lnTo>
                    <a:pt x="776745" y="203594"/>
                  </a:lnTo>
                  <a:lnTo>
                    <a:pt x="776796" y="203594"/>
                  </a:lnTo>
                  <a:lnTo>
                    <a:pt x="776796" y="204292"/>
                  </a:lnTo>
                  <a:lnTo>
                    <a:pt x="776796" y="203594"/>
                  </a:lnTo>
                  <a:lnTo>
                    <a:pt x="776834" y="203594"/>
                  </a:lnTo>
                  <a:lnTo>
                    <a:pt x="776834" y="204292"/>
                  </a:lnTo>
                  <a:lnTo>
                    <a:pt x="776834" y="203594"/>
                  </a:lnTo>
                  <a:lnTo>
                    <a:pt x="776834" y="204292"/>
                  </a:lnTo>
                  <a:lnTo>
                    <a:pt x="776936" y="204292"/>
                  </a:lnTo>
                  <a:lnTo>
                    <a:pt x="776936" y="203594"/>
                  </a:lnTo>
                  <a:lnTo>
                    <a:pt x="776936" y="204292"/>
                  </a:lnTo>
                  <a:lnTo>
                    <a:pt x="776987" y="204292"/>
                  </a:lnTo>
                  <a:lnTo>
                    <a:pt x="776987" y="203594"/>
                  </a:lnTo>
                  <a:lnTo>
                    <a:pt x="777037" y="203594"/>
                  </a:lnTo>
                  <a:lnTo>
                    <a:pt x="777037" y="202959"/>
                  </a:lnTo>
                  <a:lnTo>
                    <a:pt x="777139" y="202959"/>
                  </a:lnTo>
                  <a:lnTo>
                    <a:pt x="777139" y="202260"/>
                  </a:lnTo>
                  <a:lnTo>
                    <a:pt x="777139" y="202959"/>
                  </a:lnTo>
                  <a:lnTo>
                    <a:pt x="777190" y="202959"/>
                  </a:lnTo>
                  <a:lnTo>
                    <a:pt x="777190" y="200876"/>
                  </a:lnTo>
                  <a:lnTo>
                    <a:pt x="777190" y="204292"/>
                  </a:lnTo>
                  <a:lnTo>
                    <a:pt x="777190" y="203594"/>
                  </a:lnTo>
                  <a:lnTo>
                    <a:pt x="777241" y="203594"/>
                  </a:lnTo>
                  <a:lnTo>
                    <a:pt x="777241" y="202959"/>
                  </a:lnTo>
                  <a:lnTo>
                    <a:pt x="777241" y="204292"/>
                  </a:lnTo>
                  <a:lnTo>
                    <a:pt x="777241" y="203594"/>
                  </a:lnTo>
                  <a:lnTo>
                    <a:pt x="777241" y="204292"/>
                  </a:lnTo>
                  <a:lnTo>
                    <a:pt x="777241" y="203594"/>
                  </a:lnTo>
                  <a:lnTo>
                    <a:pt x="777241" y="204292"/>
                  </a:lnTo>
                  <a:lnTo>
                    <a:pt x="777291" y="204292"/>
                  </a:lnTo>
                  <a:lnTo>
                    <a:pt x="777291" y="203594"/>
                  </a:lnTo>
                  <a:lnTo>
                    <a:pt x="777291" y="204292"/>
                  </a:lnTo>
                  <a:lnTo>
                    <a:pt x="777291" y="203594"/>
                  </a:lnTo>
                  <a:lnTo>
                    <a:pt x="777291" y="204990"/>
                  </a:lnTo>
                  <a:lnTo>
                    <a:pt x="777291" y="204292"/>
                  </a:lnTo>
                  <a:lnTo>
                    <a:pt x="777291" y="204990"/>
                  </a:lnTo>
                  <a:lnTo>
                    <a:pt x="777380" y="204990"/>
                  </a:lnTo>
                  <a:lnTo>
                    <a:pt x="777380" y="203594"/>
                  </a:lnTo>
                  <a:lnTo>
                    <a:pt x="777380" y="204990"/>
                  </a:lnTo>
                  <a:lnTo>
                    <a:pt x="777380" y="204292"/>
                  </a:lnTo>
                  <a:lnTo>
                    <a:pt x="777482" y="204292"/>
                  </a:lnTo>
                  <a:lnTo>
                    <a:pt x="777482" y="203594"/>
                  </a:lnTo>
                  <a:lnTo>
                    <a:pt x="777533" y="203594"/>
                  </a:lnTo>
                  <a:lnTo>
                    <a:pt x="777533" y="202260"/>
                  </a:lnTo>
                  <a:lnTo>
                    <a:pt x="777533" y="202959"/>
                  </a:lnTo>
                  <a:lnTo>
                    <a:pt x="777533" y="202260"/>
                  </a:lnTo>
                  <a:lnTo>
                    <a:pt x="777634" y="200876"/>
                  </a:lnTo>
                  <a:lnTo>
                    <a:pt x="777634" y="202260"/>
                  </a:lnTo>
                  <a:lnTo>
                    <a:pt x="777634" y="200228"/>
                  </a:lnTo>
                  <a:lnTo>
                    <a:pt x="777634" y="202959"/>
                  </a:lnTo>
                  <a:lnTo>
                    <a:pt x="777685" y="202959"/>
                  </a:lnTo>
                  <a:lnTo>
                    <a:pt x="777685" y="200228"/>
                  </a:lnTo>
                  <a:lnTo>
                    <a:pt x="777685" y="203594"/>
                  </a:lnTo>
                  <a:lnTo>
                    <a:pt x="777736" y="204292"/>
                  </a:lnTo>
                  <a:lnTo>
                    <a:pt x="777736" y="202260"/>
                  </a:lnTo>
                  <a:lnTo>
                    <a:pt x="777736" y="204292"/>
                  </a:lnTo>
                  <a:lnTo>
                    <a:pt x="777736" y="203594"/>
                  </a:lnTo>
                  <a:lnTo>
                    <a:pt x="777736" y="204292"/>
                  </a:lnTo>
                  <a:lnTo>
                    <a:pt x="777837" y="203594"/>
                  </a:lnTo>
                  <a:lnTo>
                    <a:pt x="777837" y="204292"/>
                  </a:lnTo>
                  <a:lnTo>
                    <a:pt x="777837" y="203594"/>
                  </a:lnTo>
                  <a:lnTo>
                    <a:pt x="777837" y="204292"/>
                  </a:lnTo>
                  <a:lnTo>
                    <a:pt x="777876" y="204292"/>
                  </a:lnTo>
                  <a:lnTo>
                    <a:pt x="777876" y="204990"/>
                  </a:lnTo>
                  <a:lnTo>
                    <a:pt x="777876" y="204292"/>
                  </a:lnTo>
                  <a:lnTo>
                    <a:pt x="777876" y="204990"/>
                  </a:lnTo>
                  <a:lnTo>
                    <a:pt x="777876" y="204292"/>
                  </a:lnTo>
                  <a:lnTo>
                    <a:pt x="777926" y="204292"/>
                  </a:lnTo>
                  <a:lnTo>
                    <a:pt x="777926" y="204990"/>
                  </a:lnTo>
                  <a:lnTo>
                    <a:pt x="777926" y="204292"/>
                  </a:lnTo>
                  <a:lnTo>
                    <a:pt x="777926" y="204990"/>
                  </a:lnTo>
                  <a:lnTo>
                    <a:pt x="777926" y="204292"/>
                  </a:lnTo>
                  <a:lnTo>
                    <a:pt x="777926" y="204990"/>
                  </a:lnTo>
                  <a:lnTo>
                    <a:pt x="777977" y="204990"/>
                  </a:lnTo>
                  <a:lnTo>
                    <a:pt x="777977" y="204292"/>
                  </a:lnTo>
                  <a:lnTo>
                    <a:pt x="777977" y="204990"/>
                  </a:lnTo>
                  <a:lnTo>
                    <a:pt x="777977" y="204292"/>
                  </a:lnTo>
                  <a:lnTo>
                    <a:pt x="778079" y="204292"/>
                  </a:lnTo>
                  <a:lnTo>
                    <a:pt x="778079" y="202959"/>
                  </a:lnTo>
                  <a:lnTo>
                    <a:pt x="778130" y="202959"/>
                  </a:lnTo>
                  <a:lnTo>
                    <a:pt x="778130" y="202260"/>
                  </a:lnTo>
                  <a:lnTo>
                    <a:pt x="778130" y="203594"/>
                  </a:lnTo>
                  <a:lnTo>
                    <a:pt x="778130" y="200876"/>
                  </a:lnTo>
                  <a:lnTo>
                    <a:pt x="778180" y="202260"/>
                  </a:lnTo>
                  <a:lnTo>
                    <a:pt x="778180" y="204292"/>
                  </a:lnTo>
                  <a:lnTo>
                    <a:pt x="778180" y="203594"/>
                  </a:lnTo>
                  <a:lnTo>
                    <a:pt x="778282" y="203594"/>
                  </a:lnTo>
                  <a:lnTo>
                    <a:pt x="778282" y="204292"/>
                  </a:lnTo>
                  <a:lnTo>
                    <a:pt x="778282" y="203594"/>
                  </a:lnTo>
                  <a:lnTo>
                    <a:pt x="778333" y="203594"/>
                  </a:lnTo>
                  <a:lnTo>
                    <a:pt x="778333" y="204292"/>
                  </a:lnTo>
                  <a:lnTo>
                    <a:pt x="778333" y="203594"/>
                  </a:lnTo>
                  <a:lnTo>
                    <a:pt x="778333" y="204292"/>
                  </a:lnTo>
                  <a:lnTo>
                    <a:pt x="778333" y="203594"/>
                  </a:lnTo>
                  <a:lnTo>
                    <a:pt x="778333" y="204292"/>
                  </a:lnTo>
                  <a:lnTo>
                    <a:pt x="778383" y="204292"/>
                  </a:lnTo>
                  <a:lnTo>
                    <a:pt x="778383" y="203594"/>
                  </a:lnTo>
                  <a:lnTo>
                    <a:pt x="778383" y="204292"/>
                  </a:lnTo>
                  <a:lnTo>
                    <a:pt x="778422" y="204292"/>
                  </a:lnTo>
                  <a:lnTo>
                    <a:pt x="778422" y="204990"/>
                  </a:lnTo>
                  <a:lnTo>
                    <a:pt x="778422" y="204292"/>
                  </a:lnTo>
                  <a:lnTo>
                    <a:pt x="778422" y="204990"/>
                  </a:lnTo>
                  <a:lnTo>
                    <a:pt x="778422" y="204292"/>
                  </a:lnTo>
                  <a:lnTo>
                    <a:pt x="778523" y="204292"/>
                  </a:lnTo>
                  <a:lnTo>
                    <a:pt x="778523" y="203594"/>
                  </a:lnTo>
                  <a:lnTo>
                    <a:pt x="778523" y="204292"/>
                  </a:lnTo>
                  <a:lnTo>
                    <a:pt x="778523" y="203594"/>
                  </a:lnTo>
                  <a:lnTo>
                    <a:pt x="778574" y="203594"/>
                  </a:lnTo>
                  <a:lnTo>
                    <a:pt x="778574" y="202959"/>
                  </a:lnTo>
                  <a:lnTo>
                    <a:pt x="778574" y="204292"/>
                  </a:lnTo>
                  <a:lnTo>
                    <a:pt x="778625" y="203594"/>
                  </a:lnTo>
                  <a:lnTo>
                    <a:pt x="778625" y="202959"/>
                  </a:lnTo>
                  <a:lnTo>
                    <a:pt x="778625" y="206324"/>
                  </a:lnTo>
                  <a:lnTo>
                    <a:pt x="778625" y="204990"/>
                  </a:lnTo>
                  <a:lnTo>
                    <a:pt x="778726" y="204990"/>
                  </a:lnTo>
                  <a:lnTo>
                    <a:pt x="778726" y="204292"/>
                  </a:lnTo>
                  <a:lnTo>
                    <a:pt x="778726" y="207022"/>
                  </a:lnTo>
                  <a:lnTo>
                    <a:pt x="778726" y="206324"/>
                  </a:lnTo>
                  <a:lnTo>
                    <a:pt x="778726" y="207022"/>
                  </a:lnTo>
                  <a:lnTo>
                    <a:pt x="778726" y="206324"/>
                  </a:lnTo>
                  <a:lnTo>
                    <a:pt x="778777" y="206324"/>
                  </a:lnTo>
                  <a:lnTo>
                    <a:pt x="778777" y="204990"/>
                  </a:lnTo>
                  <a:lnTo>
                    <a:pt x="778777" y="206324"/>
                  </a:lnTo>
                  <a:lnTo>
                    <a:pt x="778777" y="204990"/>
                  </a:lnTo>
                  <a:lnTo>
                    <a:pt x="778777" y="206324"/>
                  </a:lnTo>
                  <a:lnTo>
                    <a:pt x="778777" y="204990"/>
                  </a:lnTo>
                  <a:lnTo>
                    <a:pt x="778828" y="204990"/>
                  </a:lnTo>
                  <a:lnTo>
                    <a:pt x="778828" y="207022"/>
                  </a:lnTo>
                  <a:lnTo>
                    <a:pt x="778828" y="206324"/>
                  </a:lnTo>
                  <a:lnTo>
                    <a:pt x="778879" y="206324"/>
                  </a:lnTo>
                  <a:lnTo>
                    <a:pt x="778879" y="204990"/>
                  </a:lnTo>
                  <a:lnTo>
                    <a:pt x="778879" y="206324"/>
                  </a:lnTo>
                  <a:lnTo>
                    <a:pt x="778879" y="204990"/>
                  </a:lnTo>
                  <a:lnTo>
                    <a:pt x="778968" y="204990"/>
                  </a:lnTo>
                  <a:lnTo>
                    <a:pt x="778968" y="204292"/>
                  </a:lnTo>
                  <a:lnTo>
                    <a:pt x="778968" y="206324"/>
                  </a:lnTo>
                  <a:lnTo>
                    <a:pt x="778968" y="204292"/>
                  </a:lnTo>
                  <a:lnTo>
                    <a:pt x="778968" y="204990"/>
                  </a:lnTo>
                  <a:lnTo>
                    <a:pt x="778968" y="204292"/>
                  </a:lnTo>
                  <a:lnTo>
                    <a:pt x="778968" y="204990"/>
                  </a:lnTo>
                  <a:lnTo>
                    <a:pt x="779018" y="204990"/>
                  </a:lnTo>
                  <a:lnTo>
                    <a:pt x="779018" y="204292"/>
                  </a:lnTo>
                  <a:lnTo>
                    <a:pt x="779018" y="204990"/>
                  </a:lnTo>
                  <a:lnTo>
                    <a:pt x="779018" y="203594"/>
                  </a:lnTo>
                  <a:lnTo>
                    <a:pt x="779069" y="203594"/>
                  </a:lnTo>
                  <a:lnTo>
                    <a:pt x="779069" y="204292"/>
                  </a:lnTo>
                  <a:lnTo>
                    <a:pt x="779069" y="203594"/>
                  </a:lnTo>
                  <a:lnTo>
                    <a:pt x="779069" y="204292"/>
                  </a:lnTo>
                  <a:lnTo>
                    <a:pt x="779120" y="204292"/>
                  </a:lnTo>
                  <a:lnTo>
                    <a:pt x="779120" y="203594"/>
                  </a:lnTo>
                  <a:lnTo>
                    <a:pt x="779120" y="206324"/>
                  </a:lnTo>
                  <a:lnTo>
                    <a:pt x="779120" y="204292"/>
                  </a:lnTo>
                  <a:lnTo>
                    <a:pt x="779120" y="204990"/>
                  </a:lnTo>
                  <a:lnTo>
                    <a:pt x="779120" y="204292"/>
                  </a:lnTo>
                  <a:lnTo>
                    <a:pt x="779120" y="204990"/>
                  </a:lnTo>
                  <a:lnTo>
                    <a:pt x="779222" y="204292"/>
                  </a:lnTo>
                  <a:lnTo>
                    <a:pt x="779222" y="206324"/>
                  </a:lnTo>
                  <a:lnTo>
                    <a:pt x="779222" y="204990"/>
                  </a:lnTo>
                  <a:lnTo>
                    <a:pt x="779222" y="206324"/>
                  </a:lnTo>
                  <a:lnTo>
                    <a:pt x="779222" y="204990"/>
                  </a:lnTo>
                  <a:lnTo>
                    <a:pt x="779272" y="204990"/>
                  </a:lnTo>
                  <a:lnTo>
                    <a:pt x="779272" y="206324"/>
                  </a:lnTo>
                  <a:lnTo>
                    <a:pt x="779272" y="204990"/>
                  </a:lnTo>
                  <a:lnTo>
                    <a:pt x="779272" y="206324"/>
                  </a:lnTo>
                  <a:lnTo>
                    <a:pt x="779323" y="206324"/>
                  </a:lnTo>
                  <a:lnTo>
                    <a:pt x="779323" y="204990"/>
                  </a:lnTo>
                  <a:lnTo>
                    <a:pt x="779323" y="206324"/>
                  </a:lnTo>
                  <a:lnTo>
                    <a:pt x="779323" y="204990"/>
                  </a:lnTo>
                  <a:lnTo>
                    <a:pt x="779323" y="206324"/>
                  </a:lnTo>
                  <a:lnTo>
                    <a:pt x="779425" y="206324"/>
                  </a:lnTo>
                  <a:lnTo>
                    <a:pt x="779425" y="204990"/>
                  </a:lnTo>
                  <a:lnTo>
                    <a:pt x="779425" y="206324"/>
                  </a:lnTo>
                  <a:lnTo>
                    <a:pt x="779425" y="204292"/>
                  </a:lnTo>
                  <a:lnTo>
                    <a:pt x="779425" y="204990"/>
                  </a:lnTo>
                  <a:lnTo>
                    <a:pt x="779425" y="204292"/>
                  </a:lnTo>
                  <a:lnTo>
                    <a:pt x="779425" y="204990"/>
                  </a:lnTo>
                  <a:lnTo>
                    <a:pt x="779463" y="204292"/>
                  </a:lnTo>
                  <a:lnTo>
                    <a:pt x="779463" y="203594"/>
                  </a:lnTo>
                  <a:lnTo>
                    <a:pt x="779463" y="204292"/>
                  </a:lnTo>
                  <a:lnTo>
                    <a:pt x="779463" y="203594"/>
                  </a:lnTo>
                  <a:lnTo>
                    <a:pt x="779463" y="204292"/>
                  </a:lnTo>
                  <a:lnTo>
                    <a:pt x="779514" y="203594"/>
                  </a:lnTo>
                  <a:lnTo>
                    <a:pt x="779514" y="202959"/>
                  </a:lnTo>
                  <a:lnTo>
                    <a:pt x="779514" y="203594"/>
                  </a:lnTo>
                  <a:lnTo>
                    <a:pt x="779514" y="202260"/>
                  </a:lnTo>
                  <a:lnTo>
                    <a:pt x="779565" y="200876"/>
                  </a:lnTo>
                  <a:lnTo>
                    <a:pt x="779565" y="203594"/>
                  </a:lnTo>
                  <a:lnTo>
                    <a:pt x="779565" y="202260"/>
                  </a:lnTo>
                  <a:lnTo>
                    <a:pt x="779565" y="203594"/>
                  </a:lnTo>
                  <a:lnTo>
                    <a:pt x="779666" y="203594"/>
                  </a:lnTo>
                  <a:lnTo>
                    <a:pt x="779666" y="204990"/>
                  </a:lnTo>
                  <a:lnTo>
                    <a:pt x="779666" y="203594"/>
                  </a:lnTo>
                  <a:lnTo>
                    <a:pt x="779666" y="204292"/>
                  </a:lnTo>
                  <a:lnTo>
                    <a:pt x="779717" y="204990"/>
                  </a:lnTo>
                  <a:lnTo>
                    <a:pt x="779717" y="204292"/>
                  </a:lnTo>
                  <a:lnTo>
                    <a:pt x="779717" y="204990"/>
                  </a:lnTo>
                  <a:lnTo>
                    <a:pt x="779717" y="204292"/>
                  </a:lnTo>
                  <a:lnTo>
                    <a:pt x="779717" y="204990"/>
                  </a:lnTo>
                  <a:lnTo>
                    <a:pt x="779768" y="206324"/>
                  </a:lnTo>
                  <a:lnTo>
                    <a:pt x="779768" y="204292"/>
                  </a:lnTo>
                  <a:lnTo>
                    <a:pt x="779768" y="206324"/>
                  </a:lnTo>
                  <a:lnTo>
                    <a:pt x="779869" y="206324"/>
                  </a:lnTo>
                  <a:lnTo>
                    <a:pt x="779869" y="207022"/>
                  </a:lnTo>
                  <a:lnTo>
                    <a:pt x="779869" y="206324"/>
                  </a:lnTo>
                  <a:lnTo>
                    <a:pt x="779920" y="206324"/>
                  </a:lnTo>
                  <a:lnTo>
                    <a:pt x="779920" y="204990"/>
                  </a:lnTo>
                  <a:lnTo>
                    <a:pt x="779920" y="206324"/>
                  </a:lnTo>
                  <a:lnTo>
                    <a:pt x="779920" y="204990"/>
                  </a:lnTo>
                  <a:lnTo>
                    <a:pt x="779971" y="204990"/>
                  </a:lnTo>
                  <a:lnTo>
                    <a:pt x="779971" y="203594"/>
                  </a:lnTo>
                  <a:lnTo>
                    <a:pt x="779971" y="204292"/>
                  </a:lnTo>
                  <a:lnTo>
                    <a:pt x="779971" y="203594"/>
                  </a:lnTo>
                  <a:lnTo>
                    <a:pt x="780009" y="203594"/>
                  </a:lnTo>
                  <a:lnTo>
                    <a:pt x="780009" y="202260"/>
                  </a:lnTo>
                  <a:lnTo>
                    <a:pt x="780009" y="202959"/>
                  </a:lnTo>
                  <a:lnTo>
                    <a:pt x="780111" y="203594"/>
                  </a:lnTo>
                  <a:lnTo>
                    <a:pt x="780111" y="202959"/>
                  </a:lnTo>
                  <a:lnTo>
                    <a:pt x="780111" y="204292"/>
                  </a:lnTo>
                  <a:lnTo>
                    <a:pt x="780162" y="204292"/>
                  </a:lnTo>
                  <a:lnTo>
                    <a:pt x="780162" y="203594"/>
                  </a:lnTo>
                  <a:lnTo>
                    <a:pt x="780162" y="204990"/>
                  </a:lnTo>
                  <a:lnTo>
                    <a:pt x="780162" y="204292"/>
                  </a:lnTo>
                  <a:lnTo>
                    <a:pt x="780212" y="204292"/>
                  </a:lnTo>
                  <a:lnTo>
                    <a:pt x="780212" y="204990"/>
                  </a:lnTo>
                  <a:lnTo>
                    <a:pt x="780212" y="204292"/>
                  </a:lnTo>
                  <a:lnTo>
                    <a:pt x="780212" y="204990"/>
                  </a:lnTo>
                  <a:lnTo>
                    <a:pt x="780212" y="204292"/>
                  </a:lnTo>
                  <a:lnTo>
                    <a:pt x="780314" y="204292"/>
                  </a:lnTo>
                  <a:lnTo>
                    <a:pt x="780314" y="204990"/>
                  </a:lnTo>
                  <a:lnTo>
                    <a:pt x="780314" y="204292"/>
                  </a:lnTo>
                  <a:lnTo>
                    <a:pt x="780314" y="204990"/>
                  </a:lnTo>
                  <a:lnTo>
                    <a:pt x="780314" y="204292"/>
                  </a:lnTo>
                  <a:lnTo>
                    <a:pt x="780314" y="204990"/>
                  </a:lnTo>
                  <a:lnTo>
                    <a:pt x="780365" y="204990"/>
                  </a:lnTo>
                  <a:lnTo>
                    <a:pt x="780365" y="206324"/>
                  </a:lnTo>
                  <a:lnTo>
                    <a:pt x="780365" y="204990"/>
                  </a:lnTo>
                  <a:lnTo>
                    <a:pt x="780365" y="206324"/>
                  </a:lnTo>
                  <a:lnTo>
                    <a:pt x="780365" y="204990"/>
                  </a:lnTo>
                  <a:lnTo>
                    <a:pt x="780416" y="206324"/>
                  </a:lnTo>
                  <a:lnTo>
                    <a:pt x="780416" y="204292"/>
                  </a:lnTo>
                  <a:lnTo>
                    <a:pt x="780416" y="204990"/>
                  </a:lnTo>
                  <a:lnTo>
                    <a:pt x="780416" y="204292"/>
                  </a:lnTo>
                  <a:lnTo>
                    <a:pt x="780416" y="204990"/>
                  </a:lnTo>
                  <a:lnTo>
                    <a:pt x="780416" y="204292"/>
                  </a:lnTo>
                  <a:lnTo>
                    <a:pt x="780466" y="204990"/>
                  </a:lnTo>
                  <a:lnTo>
                    <a:pt x="780466" y="202959"/>
                  </a:lnTo>
                  <a:lnTo>
                    <a:pt x="780555" y="202959"/>
                  </a:lnTo>
                  <a:lnTo>
                    <a:pt x="780555" y="200876"/>
                  </a:lnTo>
                  <a:lnTo>
                    <a:pt x="780555" y="202260"/>
                  </a:lnTo>
                  <a:lnTo>
                    <a:pt x="780606" y="202260"/>
                  </a:lnTo>
                  <a:lnTo>
                    <a:pt x="780606" y="202959"/>
                  </a:lnTo>
                  <a:lnTo>
                    <a:pt x="780606" y="200876"/>
                  </a:lnTo>
                  <a:lnTo>
                    <a:pt x="780606" y="202260"/>
                  </a:lnTo>
                  <a:lnTo>
                    <a:pt x="780606" y="200876"/>
                  </a:lnTo>
                  <a:lnTo>
                    <a:pt x="780606" y="203594"/>
                  </a:lnTo>
                  <a:lnTo>
                    <a:pt x="780657" y="203594"/>
                  </a:lnTo>
                  <a:lnTo>
                    <a:pt x="780657" y="202959"/>
                  </a:lnTo>
                  <a:lnTo>
                    <a:pt x="780657" y="203594"/>
                  </a:lnTo>
                  <a:lnTo>
                    <a:pt x="780657" y="202959"/>
                  </a:lnTo>
                  <a:lnTo>
                    <a:pt x="780657" y="203594"/>
                  </a:lnTo>
                  <a:lnTo>
                    <a:pt x="780657" y="202959"/>
                  </a:lnTo>
                  <a:lnTo>
                    <a:pt x="780657" y="203594"/>
                  </a:lnTo>
                  <a:lnTo>
                    <a:pt x="780809" y="203594"/>
                  </a:lnTo>
                  <a:lnTo>
                    <a:pt x="780809" y="204292"/>
                  </a:lnTo>
                  <a:lnTo>
                    <a:pt x="780809" y="203594"/>
                  </a:lnTo>
                  <a:lnTo>
                    <a:pt x="780809" y="204292"/>
                  </a:lnTo>
                  <a:lnTo>
                    <a:pt x="780809" y="203594"/>
                  </a:lnTo>
                  <a:lnTo>
                    <a:pt x="780809" y="204292"/>
                  </a:lnTo>
                  <a:lnTo>
                    <a:pt x="780860" y="204292"/>
                  </a:lnTo>
                  <a:lnTo>
                    <a:pt x="780860" y="204990"/>
                  </a:lnTo>
                  <a:lnTo>
                    <a:pt x="780860" y="204292"/>
                  </a:lnTo>
                  <a:lnTo>
                    <a:pt x="780911" y="204292"/>
                  </a:lnTo>
                  <a:lnTo>
                    <a:pt x="780911" y="204990"/>
                  </a:lnTo>
                  <a:lnTo>
                    <a:pt x="780911" y="204292"/>
                  </a:lnTo>
                  <a:lnTo>
                    <a:pt x="780911" y="204990"/>
                  </a:lnTo>
                  <a:lnTo>
                    <a:pt x="780911" y="204292"/>
                  </a:lnTo>
                  <a:lnTo>
                    <a:pt x="781012" y="204292"/>
                  </a:lnTo>
                  <a:lnTo>
                    <a:pt x="781012" y="203594"/>
                  </a:lnTo>
                  <a:lnTo>
                    <a:pt x="781012" y="204292"/>
                  </a:lnTo>
                  <a:lnTo>
                    <a:pt x="781012" y="202959"/>
                  </a:lnTo>
                  <a:lnTo>
                    <a:pt x="781051" y="202959"/>
                  </a:lnTo>
                  <a:lnTo>
                    <a:pt x="781051" y="200228"/>
                  </a:lnTo>
                  <a:lnTo>
                    <a:pt x="781051" y="202959"/>
                  </a:lnTo>
                  <a:lnTo>
                    <a:pt x="781101" y="202260"/>
                  </a:lnTo>
                  <a:lnTo>
                    <a:pt x="781101" y="200228"/>
                  </a:lnTo>
                  <a:lnTo>
                    <a:pt x="781101" y="202959"/>
                  </a:lnTo>
                  <a:lnTo>
                    <a:pt x="781152" y="202959"/>
                  </a:lnTo>
                  <a:lnTo>
                    <a:pt x="781152" y="202260"/>
                  </a:lnTo>
                  <a:lnTo>
                    <a:pt x="781152" y="202959"/>
                  </a:lnTo>
                  <a:lnTo>
                    <a:pt x="781152" y="202260"/>
                  </a:lnTo>
                  <a:lnTo>
                    <a:pt x="781152" y="202959"/>
                  </a:lnTo>
                  <a:lnTo>
                    <a:pt x="781152" y="202260"/>
                  </a:lnTo>
                  <a:lnTo>
                    <a:pt x="781152" y="202959"/>
                  </a:lnTo>
                  <a:lnTo>
                    <a:pt x="781254" y="202959"/>
                  </a:lnTo>
                  <a:lnTo>
                    <a:pt x="781254" y="200876"/>
                  </a:lnTo>
                  <a:lnTo>
                    <a:pt x="781254" y="202260"/>
                  </a:lnTo>
                  <a:lnTo>
                    <a:pt x="781305" y="202959"/>
                  </a:lnTo>
                  <a:lnTo>
                    <a:pt x="781305" y="202260"/>
                  </a:lnTo>
                  <a:lnTo>
                    <a:pt x="781305" y="202959"/>
                  </a:lnTo>
                  <a:lnTo>
                    <a:pt x="781305" y="202260"/>
                  </a:lnTo>
                  <a:lnTo>
                    <a:pt x="781305" y="203594"/>
                  </a:lnTo>
                  <a:lnTo>
                    <a:pt x="781305" y="202959"/>
                  </a:lnTo>
                  <a:lnTo>
                    <a:pt x="781355" y="202959"/>
                  </a:lnTo>
                  <a:lnTo>
                    <a:pt x="781355" y="203594"/>
                  </a:lnTo>
                  <a:lnTo>
                    <a:pt x="781355" y="202959"/>
                  </a:lnTo>
                  <a:lnTo>
                    <a:pt x="781355" y="204292"/>
                  </a:lnTo>
                  <a:lnTo>
                    <a:pt x="781355" y="203594"/>
                  </a:lnTo>
                  <a:lnTo>
                    <a:pt x="781355" y="204292"/>
                  </a:lnTo>
                  <a:lnTo>
                    <a:pt x="781355" y="203594"/>
                  </a:lnTo>
                  <a:lnTo>
                    <a:pt x="781457" y="204292"/>
                  </a:lnTo>
                  <a:lnTo>
                    <a:pt x="781457" y="203594"/>
                  </a:lnTo>
                  <a:lnTo>
                    <a:pt x="781457" y="204292"/>
                  </a:lnTo>
                  <a:lnTo>
                    <a:pt x="781457" y="203594"/>
                  </a:lnTo>
                  <a:lnTo>
                    <a:pt x="781457" y="204292"/>
                  </a:lnTo>
                  <a:lnTo>
                    <a:pt x="781457" y="203594"/>
                  </a:lnTo>
                  <a:lnTo>
                    <a:pt x="781508" y="203594"/>
                  </a:lnTo>
                  <a:lnTo>
                    <a:pt x="781508" y="204292"/>
                  </a:lnTo>
                  <a:lnTo>
                    <a:pt x="781508" y="202260"/>
                  </a:lnTo>
                  <a:lnTo>
                    <a:pt x="781558" y="202260"/>
                  </a:lnTo>
                  <a:lnTo>
                    <a:pt x="781558" y="202959"/>
                  </a:lnTo>
                  <a:lnTo>
                    <a:pt x="781558" y="200228"/>
                  </a:lnTo>
                  <a:lnTo>
                    <a:pt x="781558" y="202260"/>
                  </a:lnTo>
                  <a:lnTo>
                    <a:pt x="781558" y="200876"/>
                  </a:lnTo>
                  <a:lnTo>
                    <a:pt x="781558" y="202260"/>
                  </a:lnTo>
                  <a:lnTo>
                    <a:pt x="781597" y="202260"/>
                  </a:lnTo>
                  <a:lnTo>
                    <a:pt x="781597" y="200876"/>
                  </a:lnTo>
                  <a:lnTo>
                    <a:pt x="781597" y="202260"/>
                  </a:lnTo>
                  <a:lnTo>
                    <a:pt x="781597" y="200876"/>
                  </a:lnTo>
                  <a:lnTo>
                    <a:pt x="781597" y="203594"/>
                  </a:lnTo>
                  <a:lnTo>
                    <a:pt x="781597" y="202959"/>
                  </a:lnTo>
                  <a:lnTo>
                    <a:pt x="781698" y="202959"/>
                  </a:lnTo>
                  <a:lnTo>
                    <a:pt x="781698" y="202260"/>
                  </a:lnTo>
                  <a:lnTo>
                    <a:pt x="781698" y="203594"/>
                  </a:lnTo>
                  <a:lnTo>
                    <a:pt x="781698" y="202959"/>
                  </a:lnTo>
                  <a:lnTo>
                    <a:pt x="781749" y="202959"/>
                  </a:lnTo>
                  <a:lnTo>
                    <a:pt x="781749" y="203594"/>
                  </a:lnTo>
                  <a:lnTo>
                    <a:pt x="781749" y="202959"/>
                  </a:lnTo>
                  <a:lnTo>
                    <a:pt x="781749" y="203594"/>
                  </a:lnTo>
                  <a:lnTo>
                    <a:pt x="781749" y="202959"/>
                  </a:lnTo>
                  <a:lnTo>
                    <a:pt x="781749" y="203594"/>
                  </a:lnTo>
                  <a:lnTo>
                    <a:pt x="781800" y="203594"/>
                  </a:lnTo>
                  <a:lnTo>
                    <a:pt x="781800" y="202959"/>
                  </a:lnTo>
                  <a:lnTo>
                    <a:pt x="781800" y="203594"/>
                  </a:lnTo>
                  <a:lnTo>
                    <a:pt x="781800" y="202959"/>
                  </a:lnTo>
                  <a:lnTo>
                    <a:pt x="781800" y="203594"/>
                  </a:lnTo>
                  <a:lnTo>
                    <a:pt x="781901" y="203594"/>
                  </a:lnTo>
                  <a:lnTo>
                    <a:pt x="781901" y="204292"/>
                  </a:lnTo>
                  <a:lnTo>
                    <a:pt x="781901" y="203594"/>
                  </a:lnTo>
                  <a:lnTo>
                    <a:pt x="781901" y="204292"/>
                  </a:lnTo>
                  <a:lnTo>
                    <a:pt x="781901" y="203594"/>
                  </a:lnTo>
                  <a:lnTo>
                    <a:pt x="781901" y="204292"/>
                  </a:lnTo>
                  <a:lnTo>
                    <a:pt x="781901" y="203594"/>
                  </a:lnTo>
                  <a:lnTo>
                    <a:pt x="781952" y="204292"/>
                  </a:lnTo>
                  <a:lnTo>
                    <a:pt x="781952" y="203594"/>
                  </a:lnTo>
                  <a:lnTo>
                    <a:pt x="781952" y="204292"/>
                  </a:lnTo>
                  <a:lnTo>
                    <a:pt x="781952" y="203594"/>
                  </a:lnTo>
                  <a:lnTo>
                    <a:pt x="782003" y="203594"/>
                  </a:lnTo>
                  <a:lnTo>
                    <a:pt x="782003" y="202260"/>
                  </a:lnTo>
                  <a:lnTo>
                    <a:pt x="782003" y="202959"/>
                  </a:lnTo>
                  <a:lnTo>
                    <a:pt x="782003" y="202260"/>
                  </a:lnTo>
                  <a:lnTo>
                    <a:pt x="782003" y="202959"/>
                  </a:lnTo>
                  <a:lnTo>
                    <a:pt x="782054" y="202959"/>
                  </a:lnTo>
                  <a:lnTo>
                    <a:pt x="782054" y="202260"/>
                  </a:lnTo>
                  <a:lnTo>
                    <a:pt x="782054" y="202959"/>
                  </a:lnTo>
                  <a:lnTo>
                    <a:pt x="782143" y="202959"/>
                  </a:lnTo>
                  <a:lnTo>
                    <a:pt x="782143" y="202260"/>
                  </a:lnTo>
                  <a:lnTo>
                    <a:pt x="782143" y="204292"/>
                  </a:lnTo>
                  <a:lnTo>
                    <a:pt x="782143" y="203594"/>
                  </a:lnTo>
                  <a:lnTo>
                    <a:pt x="782143" y="204292"/>
                  </a:lnTo>
                  <a:lnTo>
                    <a:pt x="782143" y="203594"/>
                  </a:lnTo>
                  <a:lnTo>
                    <a:pt x="782193" y="203594"/>
                  </a:lnTo>
                  <a:lnTo>
                    <a:pt x="782193" y="202959"/>
                  </a:lnTo>
                  <a:lnTo>
                    <a:pt x="782193" y="204292"/>
                  </a:lnTo>
                  <a:lnTo>
                    <a:pt x="782193" y="203594"/>
                  </a:lnTo>
                  <a:lnTo>
                    <a:pt x="782244" y="202959"/>
                  </a:lnTo>
                  <a:lnTo>
                    <a:pt x="782244" y="204292"/>
                  </a:lnTo>
                  <a:lnTo>
                    <a:pt x="782244" y="203594"/>
                  </a:lnTo>
                  <a:lnTo>
                    <a:pt x="782244" y="204292"/>
                  </a:lnTo>
                  <a:lnTo>
                    <a:pt x="782244" y="203594"/>
                  </a:lnTo>
                  <a:lnTo>
                    <a:pt x="782295" y="203594"/>
                  </a:lnTo>
                  <a:lnTo>
                    <a:pt x="782295" y="202959"/>
                  </a:lnTo>
                  <a:lnTo>
                    <a:pt x="782295" y="204292"/>
                  </a:lnTo>
                  <a:lnTo>
                    <a:pt x="782397" y="204292"/>
                  </a:lnTo>
                  <a:lnTo>
                    <a:pt x="782397" y="203594"/>
                  </a:lnTo>
                  <a:lnTo>
                    <a:pt x="782397" y="204292"/>
                  </a:lnTo>
                  <a:lnTo>
                    <a:pt x="782397" y="203594"/>
                  </a:lnTo>
                  <a:lnTo>
                    <a:pt x="782397" y="204292"/>
                  </a:lnTo>
                  <a:lnTo>
                    <a:pt x="782397" y="203594"/>
                  </a:lnTo>
                  <a:lnTo>
                    <a:pt x="782447" y="203594"/>
                  </a:lnTo>
                  <a:lnTo>
                    <a:pt x="782447" y="202959"/>
                  </a:lnTo>
                  <a:lnTo>
                    <a:pt x="782498" y="202959"/>
                  </a:lnTo>
                  <a:lnTo>
                    <a:pt x="782498" y="200876"/>
                  </a:lnTo>
                  <a:lnTo>
                    <a:pt x="782600" y="200876"/>
                  </a:lnTo>
                  <a:lnTo>
                    <a:pt x="782600" y="202959"/>
                  </a:lnTo>
                  <a:lnTo>
                    <a:pt x="782600" y="200876"/>
                  </a:lnTo>
                  <a:lnTo>
                    <a:pt x="782600" y="202959"/>
                  </a:lnTo>
                  <a:lnTo>
                    <a:pt x="782638" y="202959"/>
                  </a:lnTo>
                  <a:lnTo>
                    <a:pt x="782638" y="204990"/>
                  </a:lnTo>
                  <a:lnTo>
                    <a:pt x="782638" y="202959"/>
                  </a:lnTo>
                  <a:lnTo>
                    <a:pt x="782638" y="204292"/>
                  </a:lnTo>
                  <a:lnTo>
                    <a:pt x="782689" y="204292"/>
                  </a:lnTo>
                  <a:lnTo>
                    <a:pt x="782689" y="203594"/>
                  </a:lnTo>
                  <a:lnTo>
                    <a:pt x="782689" y="204292"/>
                  </a:lnTo>
                  <a:lnTo>
                    <a:pt x="782689" y="203594"/>
                  </a:lnTo>
                  <a:lnTo>
                    <a:pt x="782689" y="204292"/>
                  </a:lnTo>
                  <a:lnTo>
                    <a:pt x="782740" y="204292"/>
                  </a:lnTo>
                  <a:lnTo>
                    <a:pt x="782740" y="204990"/>
                  </a:lnTo>
                  <a:lnTo>
                    <a:pt x="782740" y="204292"/>
                  </a:lnTo>
                  <a:lnTo>
                    <a:pt x="782740" y="204990"/>
                  </a:lnTo>
                  <a:lnTo>
                    <a:pt x="782841" y="204990"/>
                  </a:lnTo>
                  <a:lnTo>
                    <a:pt x="782841" y="204292"/>
                  </a:lnTo>
                  <a:lnTo>
                    <a:pt x="782841" y="204990"/>
                  </a:lnTo>
                  <a:lnTo>
                    <a:pt x="782841" y="204292"/>
                  </a:lnTo>
                  <a:lnTo>
                    <a:pt x="782841" y="204990"/>
                  </a:lnTo>
                  <a:lnTo>
                    <a:pt x="782841" y="204292"/>
                  </a:lnTo>
                  <a:lnTo>
                    <a:pt x="782841" y="204990"/>
                  </a:lnTo>
                  <a:lnTo>
                    <a:pt x="782841" y="204292"/>
                  </a:lnTo>
                  <a:lnTo>
                    <a:pt x="782892" y="204292"/>
                  </a:lnTo>
                  <a:lnTo>
                    <a:pt x="782892" y="204990"/>
                  </a:lnTo>
                  <a:lnTo>
                    <a:pt x="782892" y="203594"/>
                  </a:lnTo>
                  <a:lnTo>
                    <a:pt x="782892" y="204292"/>
                  </a:lnTo>
                  <a:lnTo>
                    <a:pt x="782943" y="204292"/>
                  </a:lnTo>
                  <a:lnTo>
                    <a:pt x="782943" y="202959"/>
                  </a:lnTo>
                  <a:lnTo>
                    <a:pt x="782943" y="203594"/>
                  </a:lnTo>
                  <a:lnTo>
                    <a:pt x="782943" y="202959"/>
                  </a:lnTo>
                  <a:lnTo>
                    <a:pt x="783044" y="202959"/>
                  </a:lnTo>
                  <a:lnTo>
                    <a:pt x="783044" y="200876"/>
                  </a:lnTo>
                  <a:lnTo>
                    <a:pt x="783044" y="203594"/>
                  </a:lnTo>
                  <a:lnTo>
                    <a:pt x="783095" y="204292"/>
                  </a:lnTo>
                  <a:lnTo>
                    <a:pt x="783095" y="202260"/>
                  </a:lnTo>
                  <a:lnTo>
                    <a:pt x="783095" y="204990"/>
                  </a:lnTo>
                  <a:lnTo>
                    <a:pt x="783095" y="204292"/>
                  </a:lnTo>
                  <a:lnTo>
                    <a:pt x="783146" y="204292"/>
                  </a:lnTo>
                  <a:lnTo>
                    <a:pt x="783146" y="203594"/>
                  </a:lnTo>
                  <a:lnTo>
                    <a:pt x="783146" y="204990"/>
                  </a:lnTo>
                  <a:lnTo>
                    <a:pt x="783146" y="204292"/>
                  </a:lnTo>
                  <a:lnTo>
                    <a:pt x="783184" y="204292"/>
                  </a:lnTo>
                  <a:lnTo>
                    <a:pt x="783184" y="203594"/>
                  </a:lnTo>
                  <a:lnTo>
                    <a:pt x="783184" y="204990"/>
                  </a:lnTo>
                  <a:lnTo>
                    <a:pt x="783184" y="204292"/>
                  </a:lnTo>
                  <a:lnTo>
                    <a:pt x="783286" y="204292"/>
                  </a:lnTo>
                  <a:lnTo>
                    <a:pt x="783286" y="204990"/>
                  </a:lnTo>
                  <a:lnTo>
                    <a:pt x="783286" y="204292"/>
                  </a:lnTo>
                  <a:lnTo>
                    <a:pt x="783337" y="204292"/>
                  </a:lnTo>
                  <a:lnTo>
                    <a:pt x="783337" y="204990"/>
                  </a:lnTo>
                  <a:lnTo>
                    <a:pt x="783337" y="204292"/>
                  </a:lnTo>
                  <a:lnTo>
                    <a:pt x="783337" y="204990"/>
                  </a:lnTo>
                  <a:lnTo>
                    <a:pt x="783337" y="204292"/>
                  </a:lnTo>
                  <a:lnTo>
                    <a:pt x="783337" y="204990"/>
                  </a:lnTo>
                  <a:lnTo>
                    <a:pt x="783387" y="204990"/>
                  </a:lnTo>
                  <a:lnTo>
                    <a:pt x="783387" y="204292"/>
                  </a:lnTo>
                  <a:lnTo>
                    <a:pt x="783387" y="204990"/>
                  </a:lnTo>
                  <a:lnTo>
                    <a:pt x="783387" y="203594"/>
                  </a:lnTo>
                  <a:lnTo>
                    <a:pt x="783387" y="204292"/>
                  </a:lnTo>
                  <a:lnTo>
                    <a:pt x="783489" y="203594"/>
                  </a:lnTo>
                  <a:lnTo>
                    <a:pt x="783489" y="204292"/>
                  </a:lnTo>
                  <a:lnTo>
                    <a:pt x="783489" y="202260"/>
                  </a:lnTo>
                  <a:lnTo>
                    <a:pt x="783489" y="203594"/>
                  </a:lnTo>
                  <a:lnTo>
                    <a:pt x="783489" y="200876"/>
                  </a:lnTo>
                  <a:lnTo>
                    <a:pt x="783540" y="202260"/>
                  </a:lnTo>
                  <a:lnTo>
                    <a:pt x="783540" y="200876"/>
                  </a:lnTo>
                  <a:lnTo>
                    <a:pt x="783540" y="202959"/>
                  </a:lnTo>
                  <a:lnTo>
                    <a:pt x="783540" y="200228"/>
                  </a:lnTo>
                  <a:lnTo>
                    <a:pt x="783540" y="200876"/>
                  </a:lnTo>
                  <a:lnTo>
                    <a:pt x="783591" y="202260"/>
                  </a:lnTo>
                  <a:lnTo>
                    <a:pt x="783591" y="200228"/>
                  </a:lnTo>
                  <a:lnTo>
                    <a:pt x="783591" y="203594"/>
                  </a:lnTo>
                  <a:lnTo>
                    <a:pt x="783641" y="203594"/>
                  </a:lnTo>
                  <a:lnTo>
                    <a:pt x="783641" y="202959"/>
                  </a:lnTo>
                  <a:lnTo>
                    <a:pt x="783641" y="204292"/>
                  </a:lnTo>
                  <a:lnTo>
                    <a:pt x="783641" y="203594"/>
                  </a:lnTo>
                  <a:lnTo>
                    <a:pt x="783730" y="203594"/>
                  </a:lnTo>
                  <a:lnTo>
                    <a:pt x="783730" y="202959"/>
                  </a:lnTo>
                  <a:lnTo>
                    <a:pt x="783730" y="204990"/>
                  </a:lnTo>
                  <a:lnTo>
                    <a:pt x="783781" y="204292"/>
                  </a:lnTo>
                  <a:lnTo>
                    <a:pt x="783781" y="204990"/>
                  </a:lnTo>
                  <a:lnTo>
                    <a:pt x="783781" y="204292"/>
                  </a:lnTo>
                  <a:lnTo>
                    <a:pt x="783781" y="206324"/>
                  </a:lnTo>
                  <a:lnTo>
                    <a:pt x="783781" y="204990"/>
                  </a:lnTo>
                  <a:lnTo>
                    <a:pt x="783832" y="204990"/>
                  </a:lnTo>
                  <a:lnTo>
                    <a:pt x="783832" y="204292"/>
                  </a:lnTo>
                  <a:lnTo>
                    <a:pt x="783832" y="204990"/>
                  </a:lnTo>
                  <a:lnTo>
                    <a:pt x="783832" y="204292"/>
                  </a:lnTo>
                  <a:lnTo>
                    <a:pt x="783832" y="206324"/>
                  </a:lnTo>
                  <a:lnTo>
                    <a:pt x="783883" y="206324"/>
                  </a:lnTo>
                  <a:lnTo>
                    <a:pt x="783883" y="204292"/>
                  </a:lnTo>
                  <a:lnTo>
                    <a:pt x="783984" y="204292"/>
                  </a:lnTo>
                  <a:lnTo>
                    <a:pt x="783984" y="203594"/>
                  </a:lnTo>
                  <a:lnTo>
                    <a:pt x="783984" y="204292"/>
                  </a:lnTo>
                  <a:lnTo>
                    <a:pt x="783984" y="202959"/>
                  </a:lnTo>
                  <a:lnTo>
                    <a:pt x="783984" y="203594"/>
                  </a:lnTo>
                  <a:lnTo>
                    <a:pt x="783984" y="202959"/>
                  </a:lnTo>
                  <a:lnTo>
                    <a:pt x="784035" y="202959"/>
                  </a:lnTo>
                  <a:lnTo>
                    <a:pt x="784035" y="202260"/>
                  </a:lnTo>
                  <a:lnTo>
                    <a:pt x="784035" y="203594"/>
                  </a:lnTo>
                  <a:lnTo>
                    <a:pt x="784035" y="202260"/>
                  </a:lnTo>
                  <a:lnTo>
                    <a:pt x="784086" y="202260"/>
                  </a:lnTo>
                  <a:lnTo>
                    <a:pt x="784086" y="200876"/>
                  </a:lnTo>
                  <a:lnTo>
                    <a:pt x="784086" y="204990"/>
                  </a:lnTo>
                  <a:lnTo>
                    <a:pt x="784086" y="202959"/>
                  </a:lnTo>
                  <a:lnTo>
                    <a:pt x="784187" y="202260"/>
                  </a:lnTo>
                  <a:lnTo>
                    <a:pt x="784187" y="204292"/>
                  </a:lnTo>
                  <a:lnTo>
                    <a:pt x="784187" y="203594"/>
                  </a:lnTo>
                  <a:lnTo>
                    <a:pt x="784187" y="204292"/>
                  </a:lnTo>
                  <a:lnTo>
                    <a:pt x="784187" y="202959"/>
                  </a:lnTo>
                  <a:lnTo>
                    <a:pt x="784187" y="203594"/>
                  </a:lnTo>
                  <a:lnTo>
                    <a:pt x="784226" y="203594"/>
                  </a:lnTo>
                  <a:lnTo>
                    <a:pt x="784226" y="202959"/>
                  </a:lnTo>
                  <a:lnTo>
                    <a:pt x="784226" y="203594"/>
                  </a:lnTo>
                  <a:lnTo>
                    <a:pt x="784276" y="203594"/>
                  </a:lnTo>
                  <a:lnTo>
                    <a:pt x="784276" y="204292"/>
                  </a:lnTo>
                  <a:lnTo>
                    <a:pt x="784276" y="203594"/>
                  </a:lnTo>
                  <a:lnTo>
                    <a:pt x="784276" y="204292"/>
                  </a:lnTo>
                  <a:lnTo>
                    <a:pt x="784429" y="204292"/>
                  </a:lnTo>
                  <a:lnTo>
                    <a:pt x="784429" y="204990"/>
                  </a:lnTo>
                  <a:lnTo>
                    <a:pt x="784429" y="204292"/>
                  </a:lnTo>
                  <a:lnTo>
                    <a:pt x="784480" y="204292"/>
                  </a:lnTo>
                  <a:lnTo>
                    <a:pt x="784480" y="202959"/>
                  </a:lnTo>
                  <a:lnTo>
                    <a:pt x="784480" y="203594"/>
                  </a:lnTo>
                  <a:lnTo>
                    <a:pt x="784480" y="202959"/>
                  </a:lnTo>
                  <a:lnTo>
                    <a:pt x="784480" y="203594"/>
                  </a:lnTo>
                  <a:lnTo>
                    <a:pt x="784480" y="202959"/>
                  </a:lnTo>
                  <a:lnTo>
                    <a:pt x="784530" y="202959"/>
                  </a:lnTo>
                  <a:lnTo>
                    <a:pt x="784530" y="204292"/>
                  </a:lnTo>
                  <a:lnTo>
                    <a:pt x="784530" y="202260"/>
                  </a:lnTo>
                  <a:lnTo>
                    <a:pt x="784530" y="202959"/>
                  </a:lnTo>
                  <a:lnTo>
                    <a:pt x="784632" y="203594"/>
                  </a:lnTo>
                  <a:lnTo>
                    <a:pt x="784632" y="204990"/>
                  </a:lnTo>
                  <a:lnTo>
                    <a:pt x="784632" y="203594"/>
                  </a:lnTo>
                  <a:lnTo>
                    <a:pt x="784632" y="204292"/>
                  </a:lnTo>
                  <a:lnTo>
                    <a:pt x="784683" y="204990"/>
                  </a:lnTo>
                  <a:lnTo>
                    <a:pt x="784683" y="204292"/>
                  </a:lnTo>
                  <a:lnTo>
                    <a:pt x="784683" y="204990"/>
                  </a:lnTo>
                  <a:lnTo>
                    <a:pt x="784733" y="204990"/>
                  </a:lnTo>
                  <a:lnTo>
                    <a:pt x="784733" y="204292"/>
                  </a:lnTo>
                  <a:lnTo>
                    <a:pt x="784733" y="204990"/>
                  </a:lnTo>
                  <a:lnTo>
                    <a:pt x="784733" y="204292"/>
                  </a:lnTo>
                  <a:lnTo>
                    <a:pt x="784733" y="204990"/>
                  </a:lnTo>
                  <a:lnTo>
                    <a:pt x="784772" y="204990"/>
                  </a:lnTo>
                  <a:lnTo>
                    <a:pt x="784772" y="206324"/>
                  </a:lnTo>
                  <a:lnTo>
                    <a:pt x="784772" y="204292"/>
                  </a:lnTo>
                  <a:lnTo>
                    <a:pt x="784772" y="206324"/>
                  </a:lnTo>
                  <a:lnTo>
                    <a:pt x="784772" y="204990"/>
                  </a:lnTo>
                  <a:lnTo>
                    <a:pt x="784873" y="204292"/>
                  </a:lnTo>
                  <a:lnTo>
                    <a:pt x="784873" y="204990"/>
                  </a:lnTo>
                  <a:lnTo>
                    <a:pt x="784873" y="204292"/>
                  </a:lnTo>
                  <a:lnTo>
                    <a:pt x="784873" y="204990"/>
                  </a:lnTo>
                  <a:lnTo>
                    <a:pt x="784873" y="204292"/>
                  </a:lnTo>
                  <a:lnTo>
                    <a:pt x="784924" y="204292"/>
                  </a:lnTo>
                  <a:lnTo>
                    <a:pt x="784924" y="204990"/>
                  </a:lnTo>
                  <a:lnTo>
                    <a:pt x="784924" y="203594"/>
                  </a:lnTo>
                  <a:lnTo>
                    <a:pt x="784975" y="203594"/>
                  </a:lnTo>
                  <a:lnTo>
                    <a:pt x="784975" y="202260"/>
                  </a:lnTo>
                  <a:lnTo>
                    <a:pt x="784975" y="204292"/>
                  </a:lnTo>
                  <a:lnTo>
                    <a:pt x="785076" y="204292"/>
                  </a:lnTo>
                  <a:lnTo>
                    <a:pt x="785076" y="202959"/>
                  </a:lnTo>
                  <a:lnTo>
                    <a:pt x="785076" y="206324"/>
                  </a:lnTo>
                  <a:lnTo>
                    <a:pt x="785127" y="206324"/>
                  </a:lnTo>
                  <a:lnTo>
                    <a:pt x="785127" y="204292"/>
                  </a:lnTo>
                  <a:lnTo>
                    <a:pt x="785127" y="204990"/>
                  </a:lnTo>
                  <a:lnTo>
                    <a:pt x="785127" y="204292"/>
                  </a:lnTo>
                  <a:lnTo>
                    <a:pt x="785127" y="206324"/>
                  </a:lnTo>
                  <a:lnTo>
                    <a:pt x="785178" y="206324"/>
                  </a:lnTo>
                  <a:lnTo>
                    <a:pt x="785178" y="204990"/>
                  </a:lnTo>
                  <a:lnTo>
                    <a:pt x="785178" y="206324"/>
                  </a:lnTo>
                  <a:lnTo>
                    <a:pt x="785178" y="204990"/>
                  </a:lnTo>
                  <a:lnTo>
                    <a:pt x="785229" y="204990"/>
                  </a:lnTo>
                  <a:lnTo>
                    <a:pt x="785229" y="204292"/>
                  </a:lnTo>
                  <a:lnTo>
                    <a:pt x="785229" y="204990"/>
                  </a:lnTo>
                  <a:lnTo>
                    <a:pt x="785229" y="204292"/>
                  </a:lnTo>
                  <a:lnTo>
                    <a:pt x="785229" y="204990"/>
                  </a:lnTo>
                  <a:lnTo>
                    <a:pt x="785318" y="204292"/>
                  </a:lnTo>
                  <a:lnTo>
                    <a:pt x="785318" y="204990"/>
                  </a:lnTo>
                  <a:lnTo>
                    <a:pt x="785318" y="204292"/>
                  </a:lnTo>
                  <a:lnTo>
                    <a:pt x="785419" y="204292"/>
                  </a:lnTo>
                  <a:lnTo>
                    <a:pt x="785419" y="202260"/>
                  </a:lnTo>
                  <a:lnTo>
                    <a:pt x="785470" y="202260"/>
                  </a:lnTo>
                  <a:lnTo>
                    <a:pt x="785470" y="200876"/>
                  </a:lnTo>
                  <a:lnTo>
                    <a:pt x="785470" y="203594"/>
                  </a:lnTo>
                  <a:lnTo>
                    <a:pt x="785572" y="203594"/>
                  </a:lnTo>
                  <a:lnTo>
                    <a:pt x="785572" y="200876"/>
                  </a:lnTo>
                  <a:lnTo>
                    <a:pt x="785572" y="204292"/>
                  </a:lnTo>
                  <a:lnTo>
                    <a:pt x="785572" y="203594"/>
                  </a:lnTo>
                  <a:lnTo>
                    <a:pt x="785622" y="203594"/>
                  </a:lnTo>
                  <a:lnTo>
                    <a:pt x="785622" y="202959"/>
                  </a:lnTo>
                  <a:lnTo>
                    <a:pt x="785622" y="203594"/>
                  </a:lnTo>
                  <a:lnTo>
                    <a:pt x="785622" y="202959"/>
                  </a:lnTo>
                  <a:lnTo>
                    <a:pt x="785622" y="204990"/>
                  </a:lnTo>
                  <a:lnTo>
                    <a:pt x="785622" y="204292"/>
                  </a:lnTo>
                  <a:lnTo>
                    <a:pt x="785673" y="204292"/>
                  </a:lnTo>
                  <a:lnTo>
                    <a:pt x="785673" y="204990"/>
                  </a:lnTo>
                  <a:lnTo>
                    <a:pt x="785673" y="204292"/>
                  </a:lnTo>
                  <a:lnTo>
                    <a:pt x="785775" y="204292"/>
                  </a:lnTo>
                  <a:lnTo>
                    <a:pt x="785775" y="204990"/>
                  </a:lnTo>
                  <a:lnTo>
                    <a:pt x="785775" y="204292"/>
                  </a:lnTo>
                  <a:lnTo>
                    <a:pt x="785775" y="204990"/>
                  </a:lnTo>
                  <a:lnTo>
                    <a:pt x="785813" y="204292"/>
                  </a:lnTo>
                  <a:lnTo>
                    <a:pt x="785813" y="206324"/>
                  </a:lnTo>
                  <a:lnTo>
                    <a:pt x="785813" y="204292"/>
                  </a:lnTo>
                  <a:lnTo>
                    <a:pt x="785813" y="204990"/>
                  </a:lnTo>
                  <a:lnTo>
                    <a:pt x="785864" y="204990"/>
                  </a:lnTo>
                  <a:lnTo>
                    <a:pt x="785864" y="204292"/>
                  </a:lnTo>
                  <a:lnTo>
                    <a:pt x="785864" y="204990"/>
                  </a:lnTo>
                  <a:lnTo>
                    <a:pt x="785864" y="204292"/>
                  </a:lnTo>
                  <a:lnTo>
                    <a:pt x="785915" y="204292"/>
                  </a:lnTo>
                  <a:lnTo>
                    <a:pt x="785915" y="203594"/>
                  </a:lnTo>
                  <a:lnTo>
                    <a:pt x="785915" y="204292"/>
                  </a:lnTo>
                  <a:lnTo>
                    <a:pt x="785915" y="203594"/>
                  </a:lnTo>
                  <a:lnTo>
                    <a:pt x="785915" y="204292"/>
                  </a:lnTo>
                  <a:lnTo>
                    <a:pt x="785915" y="202260"/>
                  </a:lnTo>
                  <a:lnTo>
                    <a:pt x="786016" y="202260"/>
                  </a:lnTo>
                  <a:lnTo>
                    <a:pt x="786016" y="200876"/>
                  </a:lnTo>
                  <a:lnTo>
                    <a:pt x="786016" y="202260"/>
                  </a:lnTo>
                  <a:lnTo>
                    <a:pt x="786067" y="202260"/>
                  </a:lnTo>
                  <a:lnTo>
                    <a:pt x="786067" y="200876"/>
                  </a:lnTo>
                  <a:lnTo>
                    <a:pt x="786067" y="203594"/>
                  </a:lnTo>
                  <a:lnTo>
                    <a:pt x="786118" y="203594"/>
                  </a:lnTo>
                  <a:lnTo>
                    <a:pt x="786118" y="202959"/>
                  </a:lnTo>
                  <a:lnTo>
                    <a:pt x="786118" y="203594"/>
                  </a:lnTo>
                  <a:lnTo>
                    <a:pt x="786219" y="203594"/>
                  </a:lnTo>
                  <a:lnTo>
                    <a:pt x="786219" y="204292"/>
                  </a:lnTo>
                  <a:lnTo>
                    <a:pt x="786219" y="203594"/>
                  </a:lnTo>
                  <a:lnTo>
                    <a:pt x="786219" y="204292"/>
                  </a:lnTo>
                  <a:lnTo>
                    <a:pt x="786270" y="204292"/>
                  </a:lnTo>
                  <a:lnTo>
                    <a:pt x="786270" y="203594"/>
                  </a:lnTo>
                  <a:lnTo>
                    <a:pt x="786270" y="204292"/>
                  </a:lnTo>
                  <a:lnTo>
                    <a:pt x="786321" y="204292"/>
                  </a:lnTo>
                  <a:lnTo>
                    <a:pt x="786321" y="204990"/>
                  </a:lnTo>
                  <a:lnTo>
                    <a:pt x="786321" y="204292"/>
                  </a:lnTo>
                  <a:lnTo>
                    <a:pt x="786321" y="204990"/>
                  </a:lnTo>
                  <a:lnTo>
                    <a:pt x="786321" y="204292"/>
                  </a:lnTo>
                  <a:lnTo>
                    <a:pt x="786321" y="204990"/>
                  </a:lnTo>
                  <a:lnTo>
                    <a:pt x="786359" y="204292"/>
                  </a:lnTo>
                  <a:lnTo>
                    <a:pt x="786359" y="204990"/>
                  </a:lnTo>
                  <a:lnTo>
                    <a:pt x="786359" y="204292"/>
                  </a:lnTo>
                  <a:lnTo>
                    <a:pt x="786461" y="204292"/>
                  </a:lnTo>
                  <a:lnTo>
                    <a:pt x="786461" y="202260"/>
                  </a:lnTo>
                  <a:lnTo>
                    <a:pt x="786512" y="202260"/>
                  </a:lnTo>
                  <a:lnTo>
                    <a:pt x="786512" y="200876"/>
                  </a:lnTo>
                  <a:lnTo>
                    <a:pt x="786512" y="202260"/>
                  </a:lnTo>
                  <a:lnTo>
                    <a:pt x="786562" y="200876"/>
                  </a:lnTo>
                  <a:lnTo>
                    <a:pt x="786562" y="200228"/>
                  </a:lnTo>
                  <a:lnTo>
                    <a:pt x="786562" y="202959"/>
                  </a:lnTo>
                  <a:lnTo>
                    <a:pt x="786664" y="202959"/>
                  </a:lnTo>
                  <a:lnTo>
                    <a:pt x="786664" y="202260"/>
                  </a:lnTo>
                  <a:lnTo>
                    <a:pt x="786664" y="203594"/>
                  </a:lnTo>
                  <a:lnTo>
                    <a:pt x="786664" y="202959"/>
                  </a:lnTo>
                  <a:lnTo>
                    <a:pt x="786715" y="202959"/>
                  </a:lnTo>
                  <a:lnTo>
                    <a:pt x="786715" y="203594"/>
                  </a:lnTo>
                  <a:lnTo>
                    <a:pt x="786715" y="202959"/>
                  </a:lnTo>
                  <a:lnTo>
                    <a:pt x="786715" y="203594"/>
                  </a:lnTo>
                  <a:lnTo>
                    <a:pt x="786715" y="202959"/>
                  </a:lnTo>
                  <a:lnTo>
                    <a:pt x="786715" y="203594"/>
                  </a:lnTo>
                  <a:lnTo>
                    <a:pt x="786715" y="202959"/>
                  </a:lnTo>
                  <a:lnTo>
                    <a:pt x="786766" y="203594"/>
                  </a:lnTo>
                  <a:lnTo>
                    <a:pt x="786766" y="204292"/>
                  </a:lnTo>
                  <a:lnTo>
                    <a:pt x="786766" y="203594"/>
                  </a:lnTo>
                  <a:lnTo>
                    <a:pt x="786766" y="204292"/>
                  </a:lnTo>
                  <a:lnTo>
                    <a:pt x="786816" y="204292"/>
                  </a:lnTo>
                  <a:lnTo>
                    <a:pt x="786816" y="204990"/>
                  </a:lnTo>
                  <a:lnTo>
                    <a:pt x="786816" y="204292"/>
                  </a:lnTo>
                  <a:lnTo>
                    <a:pt x="786816" y="204990"/>
                  </a:lnTo>
                  <a:lnTo>
                    <a:pt x="786905" y="204990"/>
                  </a:lnTo>
                  <a:lnTo>
                    <a:pt x="786905" y="204292"/>
                  </a:lnTo>
                  <a:lnTo>
                    <a:pt x="786905" y="204990"/>
                  </a:lnTo>
                  <a:lnTo>
                    <a:pt x="786905" y="203594"/>
                  </a:lnTo>
                  <a:lnTo>
                    <a:pt x="786956" y="203594"/>
                  </a:lnTo>
                  <a:lnTo>
                    <a:pt x="786956" y="204292"/>
                  </a:lnTo>
                  <a:lnTo>
                    <a:pt x="786956" y="202260"/>
                  </a:lnTo>
                  <a:lnTo>
                    <a:pt x="787007" y="202260"/>
                  </a:lnTo>
                  <a:lnTo>
                    <a:pt x="787007" y="200876"/>
                  </a:lnTo>
                  <a:lnTo>
                    <a:pt x="787007" y="202260"/>
                  </a:lnTo>
                  <a:lnTo>
                    <a:pt x="787058" y="202260"/>
                  </a:lnTo>
                  <a:lnTo>
                    <a:pt x="787058" y="200876"/>
                  </a:lnTo>
                  <a:lnTo>
                    <a:pt x="787058" y="203594"/>
                  </a:lnTo>
                  <a:lnTo>
                    <a:pt x="787058" y="202959"/>
                  </a:lnTo>
                  <a:lnTo>
                    <a:pt x="787058" y="203594"/>
                  </a:lnTo>
                  <a:lnTo>
                    <a:pt x="787058" y="202959"/>
                  </a:lnTo>
                  <a:lnTo>
                    <a:pt x="787159" y="202260"/>
                  </a:lnTo>
                  <a:lnTo>
                    <a:pt x="787159" y="203594"/>
                  </a:lnTo>
                  <a:lnTo>
                    <a:pt x="787159" y="202959"/>
                  </a:lnTo>
                  <a:lnTo>
                    <a:pt x="787210" y="202959"/>
                  </a:lnTo>
                  <a:lnTo>
                    <a:pt x="787210" y="202260"/>
                  </a:lnTo>
                  <a:lnTo>
                    <a:pt x="787210" y="203594"/>
                  </a:lnTo>
                  <a:lnTo>
                    <a:pt x="787210" y="202959"/>
                  </a:lnTo>
                  <a:lnTo>
                    <a:pt x="787210" y="203594"/>
                  </a:lnTo>
                  <a:lnTo>
                    <a:pt x="787210" y="202959"/>
                  </a:lnTo>
                  <a:lnTo>
                    <a:pt x="787210" y="203594"/>
                  </a:lnTo>
                  <a:lnTo>
                    <a:pt x="787210" y="202959"/>
                  </a:lnTo>
                  <a:lnTo>
                    <a:pt x="787261" y="202959"/>
                  </a:lnTo>
                  <a:lnTo>
                    <a:pt x="787261" y="202260"/>
                  </a:lnTo>
                  <a:lnTo>
                    <a:pt x="787261" y="203594"/>
                  </a:lnTo>
                  <a:lnTo>
                    <a:pt x="787261" y="202959"/>
                  </a:lnTo>
                  <a:lnTo>
                    <a:pt x="787261" y="203594"/>
                  </a:lnTo>
                  <a:lnTo>
                    <a:pt x="787261" y="202959"/>
                  </a:lnTo>
                  <a:lnTo>
                    <a:pt x="787261" y="203594"/>
                  </a:lnTo>
                  <a:lnTo>
                    <a:pt x="787362" y="203594"/>
                  </a:lnTo>
                  <a:lnTo>
                    <a:pt x="787362" y="204292"/>
                  </a:lnTo>
                  <a:lnTo>
                    <a:pt x="787362" y="203594"/>
                  </a:lnTo>
                  <a:lnTo>
                    <a:pt x="787362" y="204292"/>
                  </a:lnTo>
                  <a:lnTo>
                    <a:pt x="787362" y="203594"/>
                  </a:lnTo>
                  <a:lnTo>
                    <a:pt x="787362" y="204292"/>
                  </a:lnTo>
                  <a:lnTo>
                    <a:pt x="787401" y="204292"/>
                  </a:lnTo>
                  <a:lnTo>
                    <a:pt x="787401" y="203594"/>
                  </a:lnTo>
                  <a:lnTo>
                    <a:pt x="787401" y="204292"/>
                  </a:lnTo>
                  <a:lnTo>
                    <a:pt x="787401" y="203594"/>
                  </a:lnTo>
                  <a:lnTo>
                    <a:pt x="787451" y="203594"/>
                  </a:lnTo>
                  <a:lnTo>
                    <a:pt x="787451" y="202260"/>
                  </a:lnTo>
                  <a:lnTo>
                    <a:pt x="787451" y="202959"/>
                  </a:lnTo>
                  <a:lnTo>
                    <a:pt x="787451" y="202260"/>
                  </a:lnTo>
                  <a:lnTo>
                    <a:pt x="787502" y="202260"/>
                  </a:lnTo>
                  <a:lnTo>
                    <a:pt x="787502" y="202959"/>
                  </a:lnTo>
                  <a:lnTo>
                    <a:pt x="787502" y="202260"/>
                  </a:lnTo>
                  <a:lnTo>
                    <a:pt x="787604" y="200876"/>
                  </a:lnTo>
                  <a:lnTo>
                    <a:pt x="787604" y="204292"/>
                  </a:lnTo>
                  <a:lnTo>
                    <a:pt x="787604" y="202959"/>
                  </a:lnTo>
                  <a:lnTo>
                    <a:pt x="787655" y="202959"/>
                  </a:lnTo>
                  <a:lnTo>
                    <a:pt x="787655" y="204292"/>
                  </a:lnTo>
                  <a:lnTo>
                    <a:pt x="787655" y="203594"/>
                  </a:lnTo>
                  <a:lnTo>
                    <a:pt x="787705" y="203594"/>
                  </a:lnTo>
                  <a:lnTo>
                    <a:pt x="787705" y="204292"/>
                  </a:lnTo>
                  <a:lnTo>
                    <a:pt x="787705" y="203594"/>
                  </a:lnTo>
                  <a:lnTo>
                    <a:pt x="787705" y="204292"/>
                  </a:lnTo>
                  <a:lnTo>
                    <a:pt x="787705" y="203594"/>
                  </a:lnTo>
                  <a:lnTo>
                    <a:pt x="787807" y="204292"/>
                  </a:lnTo>
                  <a:lnTo>
                    <a:pt x="787807" y="203594"/>
                  </a:lnTo>
                  <a:lnTo>
                    <a:pt x="787807" y="204990"/>
                  </a:lnTo>
                  <a:lnTo>
                    <a:pt x="787858" y="204990"/>
                  </a:lnTo>
                  <a:lnTo>
                    <a:pt x="787858" y="204292"/>
                  </a:lnTo>
                  <a:lnTo>
                    <a:pt x="787858" y="204990"/>
                  </a:lnTo>
                  <a:lnTo>
                    <a:pt x="787858" y="204292"/>
                  </a:lnTo>
                  <a:lnTo>
                    <a:pt x="787858" y="204990"/>
                  </a:lnTo>
                  <a:lnTo>
                    <a:pt x="787908" y="204990"/>
                  </a:lnTo>
                  <a:lnTo>
                    <a:pt x="787908" y="203594"/>
                  </a:lnTo>
                  <a:lnTo>
                    <a:pt x="787908" y="204292"/>
                  </a:lnTo>
                  <a:lnTo>
                    <a:pt x="787908" y="203594"/>
                  </a:lnTo>
                  <a:lnTo>
                    <a:pt x="787908" y="204292"/>
                  </a:lnTo>
                  <a:lnTo>
                    <a:pt x="787908" y="203594"/>
                  </a:lnTo>
                  <a:lnTo>
                    <a:pt x="787947" y="203594"/>
                  </a:lnTo>
                  <a:lnTo>
                    <a:pt x="787947" y="202959"/>
                  </a:lnTo>
                  <a:lnTo>
                    <a:pt x="787947" y="203594"/>
                  </a:lnTo>
                  <a:lnTo>
                    <a:pt x="787947" y="202260"/>
                  </a:lnTo>
                  <a:lnTo>
                    <a:pt x="787947" y="202959"/>
                  </a:lnTo>
                  <a:lnTo>
                    <a:pt x="788048" y="202959"/>
                  </a:lnTo>
                  <a:lnTo>
                    <a:pt x="788048" y="204990"/>
                  </a:lnTo>
                  <a:lnTo>
                    <a:pt x="788099" y="204990"/>
                  </a:lnTo>
                  <a:lnTo>
                    <a:pt x="788099" y="204292"/>
                  </a:lnTo>
                  <a:lnTo>
                    <a:pt x="788099" y="204990"/>
                  </a:lnTo>
                  <a:lnTo>
                    <a:pt x="788150" y="204990"/>
                  </a:lnTo>
                  <a:lnTo>
                    <a:pt x="788150" y="204292"/>
                  </a:lnTo>
                  <a:lnTo>
                    <a:pt x="788150" y="204990"/>
                  </a:lnTo>
                  <a:lnTo>
                    <a:pt x="788150" y="204292"/>
                  </a:lnTo>
                  <a:lnTo>
                    <a:pt x="788150" y="206324"/>
                  </a:lnTo>
                  <a:lnTo>
                    <a:pt x="788150" y="204292"/>
                  </a:lnTo>
                  <a:lnTo>
                    <a:pt x="788150" y="204990"/>
                  </a:lnTo>
                  <a:lnTo>
                    <a:pt x="788251" y="204990"/>
                  </a:lnTo>
                  <a:lnTo>
                    <a:pt x="788251" y="204292"/>
                  </a:lnTo>
                  <a:lnTo>
                    <a:pt x="788251" y="204990"/>
                  </a:lnTo>
                  <a:lnTo>
                    <a:pt x="788251" y="204292"/>
                  </a:lnTo>
                  <a:lnTo>
                    <a:pt x="788251" y="204990"/>
                  </a:lnTo>
                  <a:lnTo>
                    <a:pt x="788251" y="204292"/>
                  </a:lnTo>
                  <a:lnTo>
                    <a:pt x="788251" y="204990"/>
                  </a:lnTo>
                  <a:lnTo>
                    <a:pt x="788302" y="204990"/>
                  </a:lnTo>
                  <a:lnTo>
                    <a:pt x="788302" y="204292"/>
                  </a:lnTo>
                  <a:lnTo>
                    <a:pt x="788302" y="204990"/>
                  </a:lnTo>
                  <a:lnTo>
                    <a:pt x="788302" y="204292"/>
                  </a:lnTo>
                  <a:lnTo>
                    <a:pt x="788302" y="204990"/>
                  </a:lnTo>
                  <a:lnTo>
                    <a:pt x="788302" y="204292"/>
                  </a:lnTo>
                  <a:lnTo>
                    <a:pt x="788353" y="204292"/>
                  </a:lnTo>
                  <a:lnTo>
                    <a:pt x="788353" y="204990"/>
                  </a:lnTo>
                  <a:lnTo>
                    <a:pt x="788353" y="203594"/>
                  </a:lnTo>
                  <a:lnTo>
                    <a:pt x="788353" y="204292"/>
                  </a:lnTo>
                  <a:lnTo>
                    <a:pt x="788353" y="203594"/>
                  </a:lnTo>
                  <a:lnTo>
                    <a:pt x="788353" y="204292"/>
                  </a:lnTo>
                  <a:lnTo>
                    <a:pt x="788353" y="203594"/>
                  </a:lnTo>
                  <a:lnTo>
                    <a:pt x="788404" y="204292"/>
                  </a:lnTo>
                  <a:lnTo>
                    <a:pt x="788404" y="203594"/>
                  </a:lnTo>
                  <a:lnTo>
                    <a:pt x="788404" y="204292"/>
                  </a:lnTo>
                  <a:lnTo>
                    <a:pt x="788404" y="202959"/>
                  </a:lnTo>
                  <a:lnTo>
                    <a:pt x="788493" y="202959"/>
                  </a:lnTo>
                  <a:lnTo>
                    <a:pt x="788493" y="200876"/>
                  </a:lnTo>
                  <a:lnTo>
                    <a:pt x="788493" y="202260"/>
                  </a:lnTo>
                  <a:lnTo>
                    <a:pt x="788493" y="200876"/>
                  </a:lnTo>
                  <a:lnTo>
                    <a:pt x="788493" y="202959"/>
                  </a:lnTo>
                  <a:lnTo>
                    <a:pt x="788493" y="202260"/>
                  </a:lnTo>
                  <a:lnTo>
                    <a:pt x="788543" y="202260"/>
                  </a:lnTo>
                  <a:lnTo>
                    <a:pt x="788543" y="202959"/>
                  </a:lnTo>
                  <a:lnTo>
                    <a:pt x="788543" y="202260"/>
                  </a:lnTo>
                  <a:lnTo>
                    <a:pt x="788543" y="204292"/>
                  </a:lnTo>
                  <a:lnTo>
                    <a:pt x="788594" y="204292"/>
                  </a:lnTo>
                  <a:lnTo>
                    <a:pt x="788594" y="203594"/>
                  </a:lnTo>
                  <a:lnTo>
                    <a:pt x="788594" y="204292"/>
                  </a:lnTo>
                  <a:lnTo>
                    <a:pt x="788594" y="203594"/>
                  </a:lnTo>
                  <a:lnTo>
                    <a:pt x="788594" y="204292"/>
                  </a:lnTo>
                  <a:lnTo>
                    <a:pt x="788645" y="204292"/>
                  </a:lnTo>
                  <a:lnTo>
                    <a:pt x="788645" y="203594"/>
                  </a:lnTo>
                  <a:lnTo>
                    <a:pt x="788645" y="204990"/>
                  </a:lnTo>
                  <a:lnTo>
                    <a:pt x="788645" y="204292"/>
                  </a:lnTo>
                  <a:lnTo>
                    <a:pt x="788645" y="204990"/>
                  </a:lnTo>
                  <a:lnTo>
                    <a:pt x="788645" y="204292"/>
                  </a:lnTo>
                  <a:lnTo>
                    <a:pt x="788747" y="204292"/>
                  </a:lnTo>
                  <a:lnTo>
                    <a:pt x="788747" y="204990"/>
                  </a:lnTo>
                  <a:lnTo>
                    <a:pt x="788797" y="204990"/>
                  </a:lnTo>
                  <a:lnTo>
                    <a:pt x="788797" y="206324"/>
                  </a:lnTo>
                  <a:lnTo>
                    <a:pt x="788848" y="204990"/>
                  </a:lnTo>
                  <a:lnTo>
                    <a:pt x="788848" y="204292"/>
                  </a:lnTo>
                  <a:lnTo>
                    <a:pt x="788848" y="204990"/>
                  </a:lnTo>
                  <a:lnTo>
                    <a:pt x="788848" y="204292"/>
                  </a:lnTo>
                  <a:lnTo>
                    <a:pt x="788848" y="204990"/>
                  </a:lnTo>
                  <a:lnTo>
                    <a:pt x="788848" y="204292"/>
                  </a:lnTo>
                  <a:lnTo>
                    <a:pt x="788950" y="204292"/>
                  </a:lnTo>
                  <a:lnTo>
                    <a:pt x="788950" y="203594"/>
                  </a:lnTo>
                  <a:lnTo>
                    <a:pt x="788950" y="204292"/>
                  </a:lnTo>
                  <a:lnTo>
                    <a:pt x="788950" y="202959"/>
                  </a:lnTo>
                  <a:lnTo>
                    <a:pt x="788950" y="203594"/>
                  </a:lnTo>
                  <a:lnTo>
                    <a:pt x="788950" y="202959"/>
                  </a:lnTo>
                  <a:lnTo>
                    <a:pt x="788988" y="202959"/>
                  </a:lnTo>
                  <a:lnTo>
                    <a:pt x="788988" y="200876"/>
                  </a:lnTo>
                  <a:lnTo>
                    <a:pt x="788988" y="204292"/>
                  </a:lnTo>
                  <a:lnTo>
                    <a:pt x="788988" y="202959"/>
                  </a:lnTo>
                  <a:lnTo>
                    <a:pt x="789039" y="202260"/>
                  </a:lnTo>
                  <a:lnTo>
                    <a:pt x="789039" y="206324"/>
                  </a:lnTo>
                  <a:lnTo>
                    <a:pt x="789039" y="203594"/>
                  </a:lnTo>
                  <a:lnTo>
                    <a:pt x="789090" y="203594"/>
                  </a:lnTo>
                  <a:lnTo>
                    <a:pt x="789090" y="204990"/>
                  </a:lnTo>
                  <a:lnTo>
                    <a:pt x="789090" y="204292"/>
                  </a:lnTo>
                  <a:lnTo>
                    <a:pt x="789191" y="204292"/>
                  </a:lnTo>
                  <a:lnTo>
                    <a:pt x="789191" y="204990"/>
                  </a:lnTo>
                  <a:lnTo>
                    <a:pt x="789242" y="204990"/>
                  </a:lnTo>
                  <a:lnTo>
                    <a:pt x="789242" y="206324"/>
                  </a:lnTo>
                  <a:lnTo>
                    <a:pt x="789242" y="204990"/>
                  </a:lnTo>
                  <a:lnTo>
                    <a:pt x="789242" y="206324"/>
                  </a:lnTo>
                  <a:lnTo>
                    <a:pt x="789242" y="204990"/>
                  </a:lnTo>
                  <a:lnTo>
                    <a:pt x="789293" y="206324"/>
                  </a:lnTo>
                  <a:lnTo>
                    <a:pt x="789293" y="204990"/>
                  </a:lnTo>
                  <a:lnTo>
                    <a:pt x="789293" y="206324"/>
                  </a:lnTo>
                  <a:lnTo>
                    <a:pt x="789293" y="204990"/>
                  </a:lnTo>
                  <a:lnTo>
                    <a:pt x="789394" y="204990"/>
                  </a:lnTo>
                  <a:lnTo>
                    <a:pt x="789394" y="203594"/>
                  </a:lnTo>
                  <a:lnTo>
                    <a:pt x="789445" y="203594"/>
                  </a:lnTo>
                  <a:lnTo>
                    <a:pt x="789445" y="202959"/>
                  </a:lnTo>
                  <a:lnTo>
                    <a:pt x="789445" y="203594"/>
                  </a:lnTo>
                  <a:lnTo>
                    <a:pt x="789445" y="202260"/>
                  </a:lnTo>
                  <a:lnTo>
                    <a:pt x="789496" y="200876"/>
                  </a:lnTo>
                  <a:lnTo>
                    <a:pt x="789496" y="202260"/>
                  </a:lnTo>
                  <a:lnTo>
                    <a:pt x="789496" y="200228"/>
                  </a:lnTo>
                  <a:lnTo>
                    <a:pt x="789496" y="202959"/>
                  </a:lnTo>
                  <a:lnTo>
                    <a:pt x="789534" y="202959"/>
                  </a:lnTo>
                  <a:lnTo>
                    <a:pt x="789534" y="200228"/>
                  </a:lnTo>
                  <a:lnTo>
                    <a:pt x="789534" y="203594"/>
                  </a:lnTo>
                  <a:lnTo>
                    <a:pt x="789636" y="203594"/>
                  </a:lnTo>
                  <a:lnTo>
                    <a:pt x="789636" y="202959"/>
                  </a:lnTo>
                  <a:lnTo>
                    <a:pt x="789636" y="203594"/>
                  </a:lnTo>
                  <a:lnTo>
                    <a:pt x="789636" y="202959"/>
                  </a:lnTo>
                  <a:lnTo>
                    <a:pt x="789687" y="202959"/>
                  </a:lnTo>
                  <a:lnTo>
                    <a:pt x="789687" y="203594"/>
                  </a:lnTo>
                  <a:lnTo>
                    <a:pt x="789737" y="203594"/>
                  </a:lnTo>
                  <a:lnTo>
                    <a:pt x="789737" y="204990"/>
                  </a:lnTo>
                  <a:lnTo>
                    <a:pt x="789737" y="204292"/>
                  </a:lnTo>
                  <a:lnTo>
                    <a:pt x="789737" y="204990"/>
                  </a:lnTo>
                  <a:lnTo>
                    <a:pt x="789737" y="204292"/>
                  </a:lnTo>
                  <a:lnTo>
                    <a:pt x="789839" y="204292"/>
                  </a:lnTo>
                  <a:lnTo>
                    <a:pt x="789839" y="206324"/>
                  </a:lnTo>
                  <a:lnTo>
                    <a:pt x="789839" y="204990"/>
                  </a:lnTo>
                  <a:lnTo>
                    <a:pt x="789839" y="206324"/>
                  </a:lnTo>
                  <a:lnTo>
                    <a:pt x="789839" y="204990"/>
                  </a:lnTo>
                  <a:lnTo>
                    <a:pt x="789890" y="204990"/>
                  </a:lnTo>
                  <a:lnTo>
                    <a:pt x="789890" y="204292"/>
                  </a:lnTo>
                  <a:lnTo>
                    <a:pt x="789890" y="204990"/>
                  </a:lnTo>
                  <a:lnTo>
                    <a:pt x="789890" y="204292"/>
                  </a:lnTo>
                  <a:lnTo>
                    <a:pt x="789941" y="204292"/>
                  </a:lnTo>
                  <a:lnTo>
                    <a:pt x="789941" y="203594"/>
                  </a:lnTo>
                  <a:lnTo>
                    <a:pt x="789941" y="204292"/>
                  </a:lnTo>
                  <a:lnTo>
                    <a:pt x="789941" y="203594"/>
                  </a:lnTo>
                  <a:lnTo>
                    <a:pt x="789941" y="204292"/>
                  </a:lnTo>
                  <a:lnTo>
                    <a:pt x="789941" y="202959"/>
                  </a:lnTo>
                  <a:lnTo>
                    <a:pt x="789941" y="203594"/>
                  </a:lnTo>
                  <a:lnTo>
                    <a:pt x="789991" y="202959"/>
                  </a:lnTo>
                  <a:lnTo>
                    <a:pt x="789991" y="203594"/>
                  </a:lnTo>
                  <a:lnTo>
                    <a:pt x="789991" y="202260"/>
                  </a:lnTo>
                  <a:lnTo>
                    <a:pt x="789991" y="203594"/>
                  </a:lnTo>
                  <a:lnTo>
                    <a:pt x="789991" y="202959"/>
                  </a:lnTo>
                  <a:lnTo>
                    <a:pt x="789991" y="203594"/>
                  </a:lnTo>
                  <a:lnTo>
                    <a:pt x="789991" y="202260"/>
                  </a:lnTo>
                  <a:lnTo>
                    <a:pt x="790080" y="202260"/>
                  </a:lnTo>
                  <a:lnTo>
                    <a:pt x="790080" y="203594"/>
                  </a:lnTo>
                  <a:lnTo>
                    <a:pt x="790080" y="202959"/>
                  </a:lnTo>
                  <a:lnTo>
                    <a:pt x="790131" y="202959"/>
                  </a:lnTo>
                  <a:lnTo>
                    <a:pt x="790131" y="203594"/>
                  </a:lnTo>
                  <a:lnTo>
                    <a:pt x="790131" y="202260"/>
                  </a:lnTo>
                  <a:lnTo>
                    <a:pt x="790182" y="202959"/>
                  </a:lnTo>
                  <a:lnTo>
                    <a:pt x="790182" y="202260"/>
                  </a:lnTo>
                  <a:lnTo>
                    <a:pt x="790182" y="203594"/>
                  </a:lnTo>
                  <a:lnTo>
                    <a:pt x="790182" y="202959"/>
                  </a:lnTo>
                  <a:lnTo>
                    <a:pt x="790182" y="204292"/>
                  </a:lnTo>
                  <a:lnTo>
                    <a:pt x="790182" y="202959"/>
                  </a:lnTo>
                  <a:lnTo>
                    <a:pt x="790182" y="203594"/>
                  </a:lnTo>
                  <a:lnTo>
                    <a:pt x="790233" y="203594"/>
                  </a:lnTo>
                  <a:lnTo>
                    <a:pt x="790233" y="204292"/>
                  </a:lnTo>
                  <a:lnTo>
                    <a:pt x="790233" y="203594"/>
                  </a:lnTo>
                  <a:lnTo>
                    <a:pt x="790233" y="204292"/>
                  </a:lnTo>
                  <a:lnTo>
                    <a:pt x="790334" y="204292"/>
                  </a:lnTo>
                  <a:lnTo>
                    <a:pt x="790334" y="203594"/>
                  </a:lnTo>
                  <a:lnTo>
                    <a:pt x="790334" y="204292"/>
                  </a:lnTo>
                  <a:lnTo>
                    <a:pt x="790334" y="203594"/>
                  </a:lnTo>
                  <a:lnTo>
                    <a:pt x="790334" y="204292"/>
                  </a:lnTo>
                  <a:lnTo>
                    <a:pt x="790385" y="203594"/>
                  </a:lnTo>
                  <a:lnTo>
                    <a:pt x="790385" y="204292"/>
                  </a:lnTo>
                  <a:lnTo>
                    <a:pt x="790385" y="203594"/>
                  </a:lnTo>
                  <a:lnTo>
                    <a:pt x="790385" y="204292"/>
                  </a:lnTo>
                  <a:lnTo>
                    <a:pt x="790385" y="203594"/>
                  </a:lnTo>
                  <a:lnTo>
                    <a:pt x="790436" y="203594"/>
                  </a:lnTo>
                  <a:lnTo>
                    <a:pt x="790436" y="204292"/>
                  </a:lnTo>
                  <a:lnTo>
                    <a:pt x="790436" y="202959"/>
                  </a:lnTo>
                  <a:lnTo>
                    <a:pt x="790436" y="204292"/>
                  </a:lnTo>
                  <a:lnTo>
                    <a:pt x="790537" y="204292"/>
                  </a:lnTo>
                  <a:lnTo>
                    <a:pt x="790537" y="203594"/>
                  </a:lnTo>
                  <a:lnTo>
                    <a:pt x="790537" y="204990"/>
                  </a:lnTo>
                  <a:lnTo>
                    <a:pt x="790576" y="204990"/>
                  </a:lnTo>
                  <a:lnTo>
                    <a:pt x="790576" y="204292"/>
                  </a:lnTo>
                  <a:lnTo>
                    <a:pt x="790576" y="204990"/>
                  </a:lnTo>
                  <a:lnTo>
                    <a:pt x="790626" y="204990"/>
                  </a:lnTo>
                  <a:lnTo>
                    <a:pt x="790626" y="204292"/>
                  </a:lnTo>
                  <a:lnTo>
                    <a:pt x="790626" y="204990"/>
                  </a:lnTo>
                  <a:lnTo>
                    <a:pt x="790626" y="204292"/>
                  </a:lnTo>
                  <a:lnTo>
                    <a:pt x="790626" y="204990"/>
                  </a:lnTo>
                  <a:lnTo>
                    <a:pt x="790626" y="204292"/>
                  </a:lnTo>
                  <a:lnTo>
                    <a:pt x="790677" y="204990"/>
                  </a:lnTo>
                  <a:lnTo>
                    <a:pt x="790677" y="204292"/>
                  </a:lnTo>
                  <a:lnTo>
                    <a:pt x="790677" y="204990"/>
                  </a:lnTo>
                  <a:lnTo>
                    <a:pt x="790779" y="204990"/>
                  </a:lnTo>
                  <a:lnTo>
                    <a:pt x="790779" y="204292"/>
                  </a:lnTo>
                  <a:lnTo>
                    <a:pt x="790779" y="204990"/>
                  </a:lnTo>
                  <a:lnTo>
                    <a:pt x="790779" y="204292"/>
                  </a:lnTo>
                  <a:lnTo>
                    <a:pt x="790779" y="204990"/>
                  </a:lnTo>
                  <a:lnTo>
                    <a:pt x="790830" y="204990"/>
                  </a:lnTo>
                  <a:lnTo>
                    <a:pt x="790830" y="204292"/>
                  </a:lnTo>
                  <a:lnTo>
                    <a:pt x="790830" y="204990"/>
                  </a:lnTo>
                  <a:lnTo>
                    <a:pt x="790830" y="204292"/>
                  </a:lnTo>
                  <a:lnTo>
                    <a:pt x="790830" y="204990"/>
                  </a:lnTo>
                  <a:lnTo>
                    <a:pt x="790830" y="204292"/>
                  </a:lnTo>
                  <a:lnTo>
                    <a:pt x="790830" y="204990"/>
                  </a:lnTo>
                  <a:lnTo>
                    <a:pt x="790830" y="204292"/>
                  </a:lnTo>
                  <a:lnTo>
                    <a:pt x="790880" y="203594"/>
                  </a:lnTo>
                  <a:lnTo>
                    <a:pt x="790880" y="204292"/>
                  </a:lnTo>
                  <a:lnTo>
                    <a:pt x="790880" y="202959"/>
                  </a:lnTo>
                  <a:lnTo>
                    <a:pt x="790982" y="202959"/>
                  </a:lnTo>
                  <a:lnTo>
                    <a:pt x="790982" y="204990"/>
                  </a:lnTo>
                  <a:lnTo>
                    <a:pt x="790982" y="202959"/>
                  </a:lnTo>
                  <a:lnTo>
                    <a:pt x="791033" y="203594"/>
                  </a:lnTo>
                  <a:lnTo>
                    <a:pt x="791033" y="202959"/>
                  </a:lnTo>
                  <a:lnTo>
                    <a:pt x="791033" y="206324"/>
                  </a:lnTo>
                  <a:lnTo>
                    <a:pt x="791033" y="204292"/>
                  </a:lnTo>
                  <a:lnTo>
                    <a:pt x="791083" y="204292"/>
                  </a:lnTo>
                  <a:lnTo>
                    <a:pt x="791083" y="207022"/>
                  </a:lnTo>
                  <a:lnTo>
                    <a:pt x="791083" y="204292"/>
                  </a:lnTo>
                  <a:lnTo>
                    <a:pt x="791083" y="204990"/>
                  </a:lnTo>
                  <a:lnTo>
                    <a:pt x="791122" y="204990"/>
                  </a:lnTo>
                  <a:lnTo>
                    <a:pt x="791122" y="206324"/>
                  </a:lnTo>
                  <a:lnTo>
                    <a:pt x="791122" y="204990"/>
                  </a:lnTo>
                  <a:lnTo>
                    <a:pt x="791223" y="204990"/>
                  </a:lnTo>
                  <a:lnTo>
                    <a:pt x="791223" y="206324"/>
                  </a:lnTo>
                  <a:lnTo>
                    <a:pt x="791223" y="204990"/>
                  </a:lnTo>
                  <a:lnTo>
                    <a:pt x="791223" y="206324"/>
                  </a:lnTo>
                  <a:lnTo>
                    <a:pt x="791223" y="204990"/>
                  </a:lnTo>
                  <a:lnTo>
                    <a:pt x="791223" y="206324"/>
                  </a:lnTo>
                  <a:lnTo>
                    <a:pt x="791223" y="204292"/>
                  </a:lnTo>
                  <a:lnTo>
                    <a:pt x="791223" y="206324"/>
                  </a:lnTo>
                  <a:lnTo>
                    <a:pt x="791274" y="204990"/>
                  </a:lnTo>
                  <a:lnTo>
                    <a:pt x="791274" y="204292"/>
                  </a:lnTo>
                  <a:lnTo>
                    <a:pt x="791274" y="204990"/>
                  </a:lnTo>
                  <a:lnTo>
                    <a:pt x="791274" y="203594"/>
                  </a:lnTo>
                  <a:lnTo>
                    <a:pt x="791325" y="204292"/>
                  </a:lnTo>
                  <a:lnTo>
                    <a:pt x="791325" y="202959"/>
                  </a:lnTo>
                  <a:lnTo>
                    <a:pt x="791426" y="202959"/>
                  </a:lnTo>
                  <a:lnTo>
                    <a:pt x="791426" y="200876"/>
                  </a:lnTo>
                  <a:lnTo>
                    <a:pt x="791477" y="200876"/>
                  </a:lnTo>
                  <a:lnTo>
                    <a:pt x="791477" y="200228"/>
                  </a:lnTo>
                  <a:lnTo>
                    <a:pt x="791477" y="202959"/>
                  </a:lnTo>
                  <a:lnTo>
                    <a:pt x="791477" y="202260"/>
                  </a:lnTo>
                  <a:lnTo>
                    <a:pt x="791477" y="202959"/>
                  </a:lnTo>
                  <a:lnTo>
                    <a:pt x="791477" y="200876"/>
                  </a:lnTo>
                  <a:lnTo>
                    <a:pt x="791477" y="202959"/>
                  </a:lnTo>
                  <a:lnTo>
                    <a:pt x="791528" y="202959"/>
                  </a:lnTo>
                  <a:lnTo>
                    <a:pt x="791528" y="203594"/>
                  </a:lnTo>
                  <a:lnTo>
                    <a:pt x="791528" y="202959"/>
                  </a:lnTo>
                  <a:lnTo>
                    <a:pt x="791528" y="204292"/>
                  </a:lnTo>
                  <a:lnTo>
                    <a:pt x="791579" y="204292"/>
                  </a:lnTo>
                  <a:lnTo>
                    <a:pt x="791579" y="204990"/>
                  </a:lnTo>
                  <a:lnTo>
                    <a:pt x="791579" y="203594"/>
                  </a:lnTo>
                  <a:lnTo>
                    <a:pt x="791579" y="204990"/>
                  </a:lnTo>
                  <a:lnTo>
                    <a:pt x="791668" y="204990"/>
                  </a:lnTo>
                  <a:lnTo>
                    <a:pt x="791668" y="204292"/>
                  </a:lnTo>
                  <a:lnTo>
                    <a:pt x="791668" y="204990"/>
                  </a:lnTo>
                  <a:lnTo>
                    <a:pt x="791718" y="204292"/>
                  </a:lnTo>
                  <a:lnTo>
                    <a:pt x="791718" y="204990"/>
                  </a:lnTo>
                  <a:lnTo>
                    <a:pt x="791718" y="204292"/>
                  </a:lnTo>
                  <a:lnTo>
                    <a:pt x="791718" y="204990"/>
                  </a:lnTo>
                  <a:lnTo>
                    <a:pt x="791718" y="204292"/>
                  </a:lnTo>
                  <a:lnTo>
                    <a:pt x="791718" y="204990"/>
                  </a:lnTo>
                  <a:lnTo>
                    <a:pt x="791769" y="204990"/>
                  </a:lnTo>
                  <a:lnTo>
                    <a:pt x="791769" y="204292"/>
                  </a:lnTo>
                  <a:lnTo>
                    <a:pt x="791769" y="204990"/>
                  </a:lnTo>
                  <a:lnTo>
                    <a:pt x="791769" y="204292"/>
                  </a:lnTo>
                  <a:lnTo>
                    <a:pt x="791820" y="204292"/>
                  </a:lnTo>
                  <a:lnTo>
                    <a:pt x="791820" y="202959"/>
                  </a:lnTo>
                  <a:lnTo>
                    <a:pt x="791922" y="202959"/>
                  </a:lnTo>
                  <a:lnTo>
                    <a:pt x="791922" y="202260"/>
                  </a:lnTo>
                  <a:lnTo>
                    <a:pt x="791922" y="203594"/>
                  </a:lnTo>
                  <a:lnTo>
                    <a:pt x="791972" y="203594"/>
                  </a:lnTo>
                  <a:lnTo>
                    <a:pt x="791972" y="202959"/>
                  </a:lnTo>
                  <a:lnTo>
                    <a:pt x="791972" y="204292"/>
                  </a:lnTo>
                  <a:lnTo>
                    <a:pt x="792023" y="203594"/>
                  </a:lnTo>
                  <a:lnTo>
                    <a:pt x="792023" y="202959"/>
                  </a:lnTo>
                  <a:lnTo>
                    <a:pt x="792023" y="204292"/>
                  </a:lnTo>
                  <a:lnTo>
                    <a:pt x="792023" y="203594"/>
                  </a:lnTo>
                  <a:lnTo>
                    <a:pt x="792125" y="203594"/>
                  </a:lnTo>
                  <a:lnTo>
                    <a:pt x="792125" y="204990"/>
                  </a:lnTo>
                  <a:lnTo>
                    <a:pt x="792125" y="204292"/>
                  </a:lnTo>
                  <a:lnTo>
                    <a:pt x="792125" y="204990"/>
                  </a:lnTo>
                  <a:lnTo>
                    <a:pt x="792125" y="204292"/>
                  </a:lnTo>
                  <a:lnTo>
                    <a:pt x="792125" y="204990"/>
                  </a:lnTo>
                  <a:lnTo>
                    <a:pt x="792125" y="204292"/>
                  </a:lnTo>
                  <a:lnTo>
                    <a:pt x="792125" y="204990"/>
                  </a:lnTo>
                  <a:lnTo>
                    <a:pt x="792125" y="204292"/>
                  </a:lnTo>
                  <a:lnTo>
                    <a:pt x="792163" y="204292"/>
                  </a:lnTo>
                  <a:lnTo>
                    <a:pt x="792163" y="204990"/>
                  </a:lnTo>
                  <a:lnTo>
                    <a:pt x="792265" y="204990"/>
                  </a:lnTo>
                  <a:lnTo>
                    <a:pt x="792265" y="204292"/>
                  </a:lnTo>
                  <a:lnTo>
                    <a:pt x="792265" y="204990"/>
                  </a:lnTo>
                  <a:lnTo>
                    <a:pt x="792265" y="203594"/>
                  </a:lnTo>
                  <a:lnTo>
                    <a:pt x="792366" y="203594"/>
                  </a:lnTo>
                  <a:lnTo>
                    <a:pt x="792366" y="202959"/>
                  </a:lnTo>
                  <a:lnTo>
                    <a:pt x="792417" y="202260"/>
                  </a:lnTo>
                  <a:lnTo>
                    <a:pt x="792417" y="200876"/>
                  </a:lnTo>
                  <a:lnTo>
                    <a:pt x="792417" y="202959"/>
                  </a:lnTo>
                  <a:lnTo>
                    <a:pt x="792417" y="202260"/>
                  </a:lnTo>
                  <a:lnTo>
                    <a:pt x="792468" y="202260"/>
                  </a:lnTo>
                  <a:lnTo>
                    <a:pt x="792468" y="202959"/>
                  </a:lnTo>
                  <a:lnTo>
                    <a:pt x="792468" y="200228"/>
                  </a:lnTo>
                  <a:lnTo>
                    <a:pt x="792468" y="200876"/>
                  </a:lnTo>
                  <a:lnTo>
                    <a:pt x="792468" y="200228"/>
                  </a:lnTo>
                  <a:lnTo>
                    <a:pt x="792468" y="203594"/>
                  </a:lnTo>
                  <a:lnTo>
                    <a:pt x="792569" y="202959"/>
                  </a:lnTo>
                  <a:lnTo>
                    <a:pt x="792569" y="202260"/>
                  </a:lnTo>
                  <a:lnTo>
                    <a:pt x="792569" y="203594"/>
                  </a:lnTo>
                  <a:lnTo>
                    <a:pt x="792620" y="203594"/>
                  </a:lnTo>
                  <a:lnTo>
                    <a:pt x="792620" y="202959"/>
                  </a:lnTo>
                  <a:lnTo>
                    <a:pt x="792620" y="204292"/>
                  </a:lnTo>
                  <a:lnTo>
                    <a:pt x="792671" y="203594"/>
                  </a:lnTo>
                  <a:lnTo>
                    <a:pt x="792671" y="204292"/>
                  </a:lnTo>
                  <a:lnTo>
                    <a:pt x="792709" y="204292"/>
                  </a:lnTo>
                  <a:lnTo>
                    <a:pt x="792709" y="204990"/>
                  </a:lnTo>
                  <a:lnTo>
                    <a:pt x="792709" y="204292"/>
                  </a:lnTo>
                  <a:lnTo>
                    <a:pt x="792709" y="204990"/>
                  </a:lnTo>
                  <a:lnTo>
                    <a:pt x="792811" y="204990"/>
                  </a:lnTo>
                  <a:lnTo>
                    <a:pt x="792811" y="204292"/>
                  </a:lnTo>
                  <a:lnTo>
                    <a:pt x="792811" y="204990"/>
                  </a:lnTo>
                  <a:lnTo>
                    <a:pt x="792811" y="203594"/>
                  </a:lnTo>
                  <a:lnTo>
                    <a:pt x="792811" y="204292"/>
                  </a:lnTo>
                  <a:lnTo>
                    <a:pt x="792862" y="204292"/>
                  </a:lnTo>
                  <a:lnTo>
                    <a:pt x="792862" y="202959"/>
                  </a:lnTo>
                  <a:lnTo>
                    <a:pt x="792862" y="203594"/>
                  </a:lnTo>
                  <a:lnTo>
                    <a:pt x="792862" y="202260"/>
                  </a:lnTo>
                  <a:lnTo>
                    <a:pt x="792912" y="202260"/>
                  </a:lnTo>
                  <a:lnTo>
                    <a:pt x="792912" y="200876"/>
                  </a:lnTo>
                  <a:lnTo>
                    <a:pt x="792912" y="202959"/>
                  </a:lnTo>
                  <a:lnTo>
                    <a:pt x="792912" y="200876"/>
                  </a:lnTo>
                  <a:lnTo>
                    <a:pt x="793014" y="200876"/>
                  </a:lnTo>
                  <a:lnTo>
                    <a:pt x="793014" y="200228"/>
                  </a:lnTo>
                  <a:lnTo>
                    <a:pt x="793014" y="203594"/>
                  </a:lnTo>
                  <a:lnTo>
                    <a:pt x="793014" y="202959"/>
                  </a:lnTo>
                  <a:lnTo>
                    <a:pt x="793065" y="202260"/>
                  </a:lnTo>
                  <a:lnTo>
                    <a:pt x="793065" y="200228"/>
                  </a:lnTo>
                  <a:lnTo>
                    <a:pt x="793065" y="202959"/>
                  </a:lnTo>
                  <a:lnTo>
                    <a:pt x="793065" y="202260"/>
                  </a:lnTo>
                  <a:lnTo>
                    <a:pt x="793116" y="202260"/>
                  </a:lnTo>
                  <a:lnTo>
                    <a:pt x="793116" y="203594"/>
                  </a:lnTo>
                  <a:lnTo>
                    <a:pt x="793116" y="202959"/>
                  </a:lnTo>
                  <a:lnTo>
                    <a:pt x="793166" y="202959"/>
                  </a:lnTo>
                  <a:lnTo>
                    <a:pt x="793166" y="203594"/>
                  </a:lnTo>
                  <a:lnTo>
                    <a:pt x="793166" y="202959"/>
                  </a:lnTo>
                  <a:lnTo>
                    <a:pt x="793166" y="203594"/>
                  </a:lnTo>
                  <a:lnTo>
                    <a:pt x="793255" y="203594"/>
                  </a:lnTo>
                  <a:lnTo>
                    <a:pt x="793255" y="204292"/>
                  </a:lnTo>
                  <a:lnTo>
                    <a:pt x="793255" y="203594"/>
                  </a:lnTo>
                  <a:lnTo>
                    <a:pt x="793255" y="204292"/>
                  </a:lnTo>
                  <a:lnTo>
                    <a:pt x="793255" y="203594"/>
                  </a:lnTo>
                  <a:lnTo>
                    <a:pt x="793255" y="204292"/>
                  </a:lnTo>
                  <a:lnTo>
                    <a:pt x="793255" y="203594"/>
                  </a:lnTo>
                  <a:lnTo>
                    <a:pt x="793255" y="204292"/>
                  </a:lnTo>
                  <a:lnTo>
                    <a:pt x="793306" y="204292"/>
                  </a:lnTo>
                  <a:lnTo>
                    <a:pt x="793306" y="203594"/>
                  </a:lnTo>
                  <a:lnTo>
                    <a:pt x="793306" y="204292"/>
                  </a:lnTo>
                  <a:lnTo>
                    <a:pt x="793306" y="203594"/>
                  </a:lnTo>
                  <a:lnTo>
                    <a:pt x="793306" y="204292"/>
                  </a:lnTo>
                  <a:lnTo>
                    <a:pt x="793306" y="203594"/>
                  </a:lnTo>
                  <a:lnTo>
                    <a:pt x="793306" y="204292"/>
                  </a:lnTo>
                  <a:lnTo>
                    <a:pt x="793306" y="203594"/>
                  </a:lnTo>
                  <a:lnTo>
                    <a:pt x="793306" y="204292"/>
                  </a:lnTo>
                  <a:lnTo>
                    <a:pt x="793306" y="203594"/>
                  </a:lnTo>
                  <a:lnTo>
                    <a:pt x="793306" y="204292"/>
                  </a:lnTo>
                  <a:lnTo>
                    <a:pt x="793306" y="203594"/>
                  </a:lnTo>
                  <a:lnTo>
                    <a:pt x="793306" y="204292"/>
                  </a:lnTo>
                  <a:lnTo>
                    <a:pt x="793357" y="203594"/>
                  </a:lnTo>
                  <a:lnTo>
                    <a:pt x="793357" y="202959"/>
                  </a:lnTo>
                  <a:lnTo>
                    <a:pt x="793357" y="203594"/>
                  </a:lnTo>
                  <a:lnTo>
                    <a:pt x="793357" y="202260"/>
                  </a:lnTo>
                  <a:lnTo>
                    <a:pt x="793408" y="202260"/>
                  </a:lnTo>
                  <a:lnTo>
                    <a:pt x="793408" y="200876"/>
                  </a:lnTo>
                  <a:lnTo>
                    <a:pt x="793408" y="202959"/>
                  </a:lnTo>
                  <a:lnTo>
                    <a:pt x="793408" y="200876"/>
                  </a:lnTo>
                  <a:lnTo>
                    <a:pt x="793408" y="202260"/>
                  </a:lnTo>
                  <a:lnTo>
                    <a:pt x="793509" y="200876"/>
                  </a:lnTo>
                  <a:lnTo>
                    <a:pt x="793509" y="204292"/>
                  </a:lnTo>
                  <a:lnTo>
                    <a:pt x="793509" y="202260"/>
                  </a:lnTo>
                  <a:lnTo>
                    <a:pt x="793560" y="202260"/>
                  </a:lnTo>
                  <a:lnTo>
                    <a:pt x="793560" y="204292"/>
                  </a:lnTo>
                  <a:lnTo>
                    <a:pt x="793560" y="202959"/>
                  </a:lnTo>
                  <a:lnTo>
                    <a:pt x="793560" y="203594"/>
                  </a:lnTo>
                  <a:lnTo>
                    <a:pt x="793611" y="203594"/>
                  </a:lnTo>
                  <a:lnTo>
                    <a:pt x="793611" y="204292"/>
                  </a:lnTo>
                  <a:lnTo>
                    <a:pt x="793611" y="203594"/>
                  </a:lnTo>
                  <a:lnTo>
                    <a:pt x="793611" y="204292"/>
                  </a:lnTo>
                  <a:lnTo>
                    <a:pt x="793611" y="203594"/>
                  </a:lnTo>
                  <a:lnTo>
                    <a:pt x="793712" y="203594"/>
                  </a:lnTo>
                  <a:lnTo>
                    <a:pt x="793712" y="202959"/>
                  </a:lnTo>
                  <a:lnTo>
                    <a:pt x="793712" y="204292"/>
                  </a:lnTo>
                  <a:lnTo>
                    <a:pt x="793712" y="203594"/>
                  </a:lnTo>
                  <a:lnTo>
                    <a:pt x="793712" y="204292"/>
                  </a:lnTo>
                  <a:lnTo>
                    <a:pt x="793712" y="203594"/>
                  </a:lnTo>
                  <a:lnTo>
                    <a:pt x="793712" y="204292"/>
                  </a:lnTo>
                  <a:lnTo>
                    <a:pt x="793751" y="204292"/>
                  </a:lnTo>
                  <a:lnTo>
                    <a:pt x="793751" y="204990"/>
                  </a:lnTo>
                  <a:lnTo>
                    <a:pt x="793751" y="203594"/>
                  </a:lnTo>
                  <a:lnTo>
                    <a:pt x="793751" y="204292"/>
                  </a:lnTo>
                  <a:lnTo>
                    <a:pt x="793751" y="203594"/>
                  </a:lnTo>
                  <a:lnTo>
                    <a:pt x="793751" y="204292"/>
                  </a:lnTo>
                  <a:lnTo>
                    <a:pt x="793801" y="204292"/>
                  </a:lnTo>
                  <a:lnTo>
                    <a:pt x="793801" y="204990"/>
                  </a:lnTo>
                  <a:lnTo>
                    <a:pt x="793801" y="204292"/>
                  </a:lnTo>
                  <a:lnTo>
                    <a:pt x="793852" y="204292"/>
                  </a:lnTo>
                  <a:lnTo>
                    <a:pt x="793852" y="203594"/>
                  </a:lnTo>
                  <a:lnTo>
                    <a:pt x="793852" y="204292"/>
                  </a:lnTo>
                  <a:lnTo>
                    <a:pt x="793852" y="202959"/>
                  </a:lnTo>
                  <a:lnTo>
                    <a:pt x="793954" y="202959"/>
                  </a:lnTo>
                  <a:lnTo>
                    <a:pt x="793954" y="202260"/>
                  </a:lnTo>
                  <a:lnTo>
                    <a:pt x="793954" y="204292"/>
                  </a:lnTo>
                  <a:lnTo>
                    <a:pt x="793954" y="202959"/>
                  </a:lnTo>
                  <a:lnTo>
                    <a:pt x="793954" y="203594"/>
                  </a:lnTo>
                  <a:lnTo>
                    <a:pt x="794005" y="204292"/>
                  </a:lnTo>
                  <a:lnTo>
                    <a:pt x="794005" y="204990"/>
                  </a:lnTo>
                  <a:lnTo>
                    <a:pt x="794005" y="203594"/>
                  </a:lnTo>
                  <a:lnTo>
                    <a:pt x="794005" y="204292"/>
                  </a:lnTo>
                  <a:lnTo>
                    <a:pt x="794055" y="204292"/>
                  </a:lnTo>
                  <a:lnTo>
                    <a:pt x="794055" y="206324"/>
                  </a:lnTo>
                  <a:lnTo>
                    <a:pt x="794055" y="203594"/>
                  </a:lnTo>
                  <a:lnTo>
                    <a:pt x="794055" y="204292"/>
                  </a:lnTo>
                  <a:lnTo>
                    <a:pt x="794055" y="203594"/>
                  </a:lnTo>
                  <a:lnTo>
                    <a:pt x="794055" y="204990"/>
                  </a:lnTo>
                  <a:lnTo>
                    <a:pt x="794055" y="204292"/>
                  </a:lnTo>
                  <a:lnTo>
                    <a:pt x="794055" y="204990"/>
                  </a:lnTo>
                  <a:lnTo>
                    <a:pt x="794157" y="204990"/>
                  </a:lnTo>
                  <a:lnTo>
                    <a:pt x="794157" y="204292"/>
                  </a:lnTo>
                  <a:lnTo>
                    <a:pt x="794208" y="204292"/>
                  </a:lnTo>
                  <a:lnTo>
                    <a:pt x="794208" y="203594"/>
                  </a:lnTo>
                  <a:lnTo>
                    <a:pt x="794208" y="204990"/>
                  </a:lnTo>
                  <a:lnTo>
                    <a:pt x="794258" y="204990"/>
                  </a:lnTo>
                  <a:lnTo>
                    <a:pt x="794258" y="203594"/>
                  </a:lnTo>
                  <a:lnTo>
                    <a:pt x="794258" y="204292"/>
                  </a:lnTo>
                  <a:lnTo>
                    <a:pt x="794297" y="204292"/>
                  </a:lnTo>
                  <a:lnTo>
                    <a:pt x="794297" y="203594"/>
                  </a:lnTo>
                  <a:lnTo>
                    <a:pt x="794297" y="204292"/>
                  </a:lnTo>
                  <a:lnTo>
                    <a:pt x="794297" y="202959"/>
                  </a:lnTo>
                  <a:lnTo>
                    <a:pt x="794297" y="203594"/>
                  </a:lnTo>
                  <a:lnTo>
                    <a:pt x="794297" y="202959"/>
                  </a:lnTo>
                  <a:lnTo>
                    <a:pt x="794398" y="203594"/>
                  </a:lnTo>
                  <a:lnTo>
                    <a:pt x="794398" y="200876"/>
                  </a:lnTo>
                  <a:lnTo>
                    <a:pt x="794398" y="203594"/>
                  </a:lnTo>
                  <a:lnTo>
                    <a:pt x="794449" y="203594"/>
                  </a:lnTo>
                  <a:lnTo>
                    <a:pt x="794449" y="200876"/>
                  </a:lnTo>
                  <a:lnTo>
                    <a:pt x="794449" y="204990"/>
                  </a:lnTo>
                  <a:lnTo>
                    <a:pt x="794500" y="204990"/>
                  </a:lnTo>
                  <a:lnTo>
                    <a:pt x="794500" y="203594"/>
                  </a:lnTo>
                  <a:lnTo>
                    <a:pt x="794500" y="204990"/>
                  </a:lnTo>
                  <a:lnTo>
                    <a:pt x="794601" y="204990"/>
                  </a:lnTo>
                  <a:lnTo>
                    <a:pt x="794601" y="204292"/>
                  </a:lnTo>
                  <a:lnTo>
                    <a:pt x="794652" y="204292"/>
                  </a:lnTo>
                  <a:lnTo>
                    <a:pt x="794652" y="204990"/>
                  </a:lnTo>
                  <a:lnTo>
                    <a:pt x="794652" y="204292"/>
                  </a:lnTo>
                  <a:lnTo>
                    <a:pt x="794652" y="204990"/>
                  </a:lnTo>
                  <a:lnTo>
                    <a:pt x="794652" y="204292"/>
                  </a:lnTo>
                  <a:lnTo>
                    <a:pt x="794703" y="204292"/>
                  </a:lnTo>
                  <a:lnTo>
                    <a:pt x="794703" y="204990"/>
                  </a:lnTo>
                  <a:lnTo>
                    <a:pt x="794703" y="204292"/>
                  </a:lnTo>
                  <a:lnTo>
                    <a:pt x="794703" y="204990"/>
                  </a:lnTo>
                  <a:lnTo>
                    <a:pt x="794703" y="204292"/>
                  </a:lnTo>
                  <a:lnTo>
                    <a:pt x="794754" y="204990"/>
                  </a:lnTo>
                  <a:lnTo>
                    <a:pt x="794754" y="203594"/>
                  </a:lnTo>
                  <a:lnTo>
                    <a:pt x="794754" y="204292"/>
                  </a:lnTo>
                  <a:lnTo>
                    <a:pt x="794754" y="203594"/>
                  </a:lnTo>
                  <a:lnTo>
                    <a:pt x="794754" y="204292"/>
                  </a:lnTo>
                  <a:lnTo>
                    <a:pt x="794843" y="204292"/>
                  </a:lnTo>
                  <a:lnTo>
                    <a:pt x="794843" y="202260"/>
                  </a:lnTo>
                  <a:lnTo>
                    <a:pt x="794843" y="202959"/>
                  </a:lnTo>
                  <a:lnTo>
                    <a:pt x="794893" y="202959"/>
                  </a:lnTo>
                  <a:lnTo>
                    <a:pt x="794893" y="200876"/>
                  </a:lnTo>
                  <a:lnTo>
                    <a:pt x="794893" y="203594"/>
                  </a:lnTo>
                  <a:lnTo>
                    <a:pt x="794893" y="202260"/>
                  </a:lnTo>
                  <a:lnTo>
                    <a:pt x="794944" y="202959"/>
                  </a:lnTo>
                  <a:lnTo>
                    <a:pt x="794944" y="202260"/>
                  </a:lnTo>
                  <a:lnTo>
                    <a:pt x="794944" y="206324"/>
                  </a:lnTo>
                  <a:lnTo>
                    <a:pt x="794944" y="203594"/>
                  </a:lnTo>
                  <a:lnTo>
                    <a:pt x="794995" y="203594"/>
                  </a:lnTo>
                  <a:lnTo>
                    <a:pt x="794995" y="204990"/>
                  </a:lnTo>
                  <a:lnTo>
                    <a:pt x="794995" y="204292"/>
                  </a:lnTo>
                  <a:lnTo>
                    <a:pt x="795097" y="204292"/>
                  </a:lnTo>
                  <a:lnTo>
                    <a:pt x="795097" y="204990"/>
                  </a:lnTo>
                  <a:lnTo>
                    <a:pt x="795097" y="204292"/>
                  </a:lnTo>
                  <a:lnTo>
                    <a:pt x="795097" y="204990"/>
                  </a:lnTo>
                  <a:lnTo>
                    <a:pt x="795147" y="204292"/>
                  </a:lnTo>
                  <a:lnTo>
                    <a:pt x="795147" y="204990"/>
                  </a:lnTo>
                  <a:lnTo>
                    <a:pt x="795147" y="204292"/>
                  </a:lnTo>
                  <a:lnTo>
                    <a:pt x="795147" y="204990"/>
                  </a:lnTo>
                  <a:lnTo>
                    <a:pt x="795198" y="204990"/>
                  </a:lnTo>
                  <a:lnTo>
                    <a:pt x="795198" y="206324"/>
                  </a:lnTo>
                  <a:lnTo>
                    <a:pt x="795198" y="204990"/>
                  </a:lnTo>
                  <a:lnTo>
                    <a:pt x="795198" y="206324"/>
                  </a:lnTo>
                  <a:lnTo>
                    <a:pt x="795198" y="204990"/>
                  </a:lnTo>
                  <a:lnTo>
                    <a:pt x="795198" y="206324"/>
                  </a:lnTo>
                  <a:lnTo>
                    <a:pt x="795198" y="204990"/>
                  </a:lnTo>
                  <a:lnTo>
                    <a:pt x="795198" y="206324"/>
                  </a:lnTo>
                  <a:lnTo>
                    <a:pt x="795198" y="204990"/>
                  </a:lnTo>
                  <a:lnTo>
                    <a:pt x="795300" y="204990"/>
                  </a:lnTo>
                  <a:lnTo>
                    <a:pt x="795300" y="204292"/>
                  </a:lnTo>
                  <a:lnTo>
                    <a:pt x="795300" y="204990"/>
                  </a:lnTo>
                  <a:lnTo>
                    <a:pt x="795300" y="204292"/>
                  </a:lnTo>
                  <a:lnTo>
                    <a:pt x="795338" y="204292"/>
                  </a:lnTo>
                  <a:lnTo>
                    <a:pt x="795338" y="203594"/>
                  </a:lnTo>
                  <a:lnTo>
                    <a:pt x="795338" y="204292"/>
                  </a:lnTo>
                  <a:lnTo>
                    <a:pt x="795338" y="203594"/>
                  </a:lnTo>
                  <a:lnTo>
                    <a:pt x="795338" y="204292"/>
                  </a:lnTo>
                  <a:lnTo>
                    <a:pt x="795338" y="202260"/>
                  </a:lnTo>
                  <a:lnTo>
                    <a:pt x="795389" y="202260"/>
                  </a:lnTo>
                  <a:lnTo>
                    <a:pt x="795389" y="200876"/>
                  </a:lnTo>
                  <a:lnTo>
                    <a:pt x="795389" y="203594"/>
                  </a:lnTo>
                  <a:lnTo>
                    <a:pt x="795389" y="202260"/>
                  </a:lnTo>
                  <a:lnTo>
                    <a:pt x="795440" y="202959"/>
                  </a:lnTo>
                  <a:lnTo>
                    <a:pt x="795440" y="206324"/>
                  </a:lnTo>
                  <a:lnTo>
                    <a:pt x="795440" y="203594"/>
                  </a:lnTo>
                  <a:lnTo>
                    <a:pt x="795440" y="204292"/>
                  </a:lnTo>
                  <a:lnTo>
                    <a:pt x="795541" y="204292"/>
                  </a:lnTo>
                  <a:lnTo>
                    <a:pt x="795541" y="206324"/>
                  </a:lnTo>
                  <a:lnTo>
                    <a:pt x="795541" y="204292"/>
                  </a:lnTo>
                  <a:lnTo>
                    <a:pt x="795592" y="204292"/>
                  </a:lnTo>
                  <a:lnTo>
                    <a:pt x="795592" y="206324"/>
                  </a:lnTo>
                  <a:lnTo>
                    <a:pt x="795592" y="204292"/>
                  </a:lnTo>
                  <a:lnTo>
                    <a:pt x="795592" y="206324"/>
                  </a:lnTo>
                  <a:lnTo>
                    <a:pt x="795643" y="206324"/>
                  </a:lnTo>
                  <a:lnTo>
                    <a:pt x="795643" y="204990"/>
                  </a:lnTo>
                  <a:lnTo>
                    <a:pt x="795643" y="206324"/>
                  </a:lnTo>
                  <a:lnTo>
                    <a:pt x="795643" y="204990"/>
                  </a:lnTo>
                  <a:lnTo>
                    <a:pt x="795643" y="206324"/>
                  </a:lnTo>
                  <a:lnTo>
                    <a:pt x="795643" y="204990"/>
                  </a:lnTo>
                  <a:lnTo>
                    <a:pt x="795643" y="206324"/>
                  </a:lnTo>
                  <a:lnTo>
                    <a:pt x="795744" y="206324"/>
                  </a:lnTo>
                  <a:lnTo>
                    <a:pt x="795744" y="204990"/>
                  </a:lnTo>
                  <a:lnTo>
                    <a:pt x="795744" y="206324"/>
                  </a:lnTo>
                  <a:lnTo>
                    <a:pt x="795795" y="204990"/>
                  </a:lnTo>
                  <a:lnTo>
                    <a:pt x="795795" y="206324"/>
                  </a:lnTo>
                  <a:lnTo>
                    <a:pt x="795795" y="204292"/>
                  </a:lnTo>
                  <a:lnTo>
                    <a:pt x="795795" y="204990"/>
                  </a:lnTo>
                  <a:lnTo>
                    <a:pt x="795795" y="204292"/>
                  </a:lnTo>
                  <a:lnTo>
                    <a:pt x="795846" y="204292"/>
                  </a:lnTo>
                  <a:lnTo>
                    <a:pt x="795846" y="202959"/>
                  </a:lnTo>
                  <a:lnTo>
                    <a:pt x="795846" y="203594"/>
                  </a:lnTo>
                  <a:lnTo>
                    <a:pt x="795884" y="203594"/>
                  </a:lnTo>
                  <a:lnTo>
                    <a:pt x="795884" y="202959"/>
                  </a:lnTo>
                  <a:lnTo>
                    <a:pt x="795884" y="203594"/>
                  </a:lnTo>
                  <a:lnTo>
                    <a:pt x="795884" y="202959"/>
                  </a:lnTo>
                  <a:lnTo>
                    <a:pt x="795884" y="204990"/>
                  </a:lnTo>
                  <a:lnTo>
                    <a:pt x="795986" y="204292"/>
                  </a:lnTo>
                  <a:lnTo>
                    <a:pt x="795986" y="204990"/>
                  </a:lnTo>
                  <a:lnTo>
                    <a:pt x="795986" y="204292"/>
                  </a:lnTo>
                  <a:lnTo>
                    <a:pt x="795986" y="204990"/>
                  </a:lnTo>
                  <a:lnTo>
                    <a:pt x="795986" y="204292"/>
                  </a:lnTo>
                  <a:lnTo>
                    <a:pt x="795986" y="204990"/>
                  </a:lnTo>
                  <a:lnTo>
                    <a:pt x="796037" y="204292"/>
                  </a:lnTo>
                  <a:lnTo>
                    <a:pt x="796037" y="204990"/>
                  </a:lnTo>
                  <a:lnTo>
                    <a:pt x="796037" y="204292"/>
                  </a:lnTo>
                  <a:lnTo>
                    <a:pt x="796037" y="204990"/>
                  </a:lnTo>
                  <a:lnTo>
                    <a:pt x="796087" y="204990"/>
                  </a:lnTo>
                  <a:lnTo>
                    <a:pt x="796087" y="204292"/>
                  </a:lnTo>
                  <a:lnTo>
                    <a:pt x="796087" y="206324"/>
                  </a:lnTo>
                  <a:lnTo>
                    <a:pt x="796087" y="204990"/>
                  </a:lnTo>
                  <a:lnTo>
                    <a:pt x="796189" y="204292"/>
                  </a:lnTo>
                  <a:lnTo>
                    <a:pt x="796189" y="204990"/>
                  </a:lnTo>
                  <a:lnTo>
                    <a:pt x="796189" y="204292"/>
                  </a:lnTo>
                  <a:lnTo>
                    <a:pt x="796189" y="204990"/>
                  </a:lnTo>
                  <a:lnTo>
                    <a:pt x="796240" y="204990"/>
                  </a:lnTo>
                  <a:lnTo>
                    <a:pt x="796240" y="206324"/>
                  </a:lnTo>
                  <a:lnTo>
                    <a:pt x="796240" y="204292"/>
                  </a:lnTo>
                  <a:lnTo>
                    <a:pt x="796240" y="204990"/>
                  </a:lnTo>
                  <a:lnTo>
                    <a:pt x="796240" y="204292"/>
                  </a:lnTo>
                  <a:lnTo>
                    <a:pt x="796240" y="204990"/>
                  </a:lnTo>
                  <a:lnTo>
                    <a:pt x="796291" y="204990"/>
                  </a:lnTo>
                  <a:lnTo>
                    <a:pt x="796291" y="203594"/>
                  </a:lnTo>
                  <a:lnTo>
                    <a:pt x="796291" y="204292"/>
                  </a:lnTo>
                  <a:lnTo>
                    <a:pt x="796291" y="202959"/>
                  </a:lnTo>
                  <a:lnTo>
                    <a:pt x="796341" y="202959"/>
                  </a:lnTo>
                  <a:lnTo>
                    <a:pt x="796341" y="202260"/>
                  </a:lnTo>
                  <a:lnTo>
                    <a:pt x="796341" y="203594"/>
                  </a:lnTo>
                  <a:lnTo>
                    <a:pt x="796430" y="203594"/>
                  </a:lnTo>
                  <a:lnTo>
                    <a:pt x="796430" y="202959"/>
                  </a:lnTo>
                  <a:lnTo>
                    <a:pt x="796430" y="204990"/>
                  </a:lnTo>
                  <a:lnTo>
                    <a:pt x="796430" y="204292"/>
                  </a:lnTo>
                  <a:lnTo>
                    <a:pt x="796481" y="204292"/>
                  </a:lnTo>
                  <a:lnTo>
                    <a:pt x="796481" y="204990"/>
                  </a:lnTo>
                  <a:lnTo>
                    <a:pt x="796481" y="204292"/>
                  </a:lnTo>
                  <a:lnTo>
                    <a:pt x="796481" y="204990"/>
                  </a:lnTo>
                  <a:lnTo>
                    <a:pt x="796481" y="204292"/>
                  </a:lnTo>
                  <a:lnTo>
                    <a:pt x="796481" y="206324"/>
                  </a:lnTo>
                  <a:lnTo>
                    <a:pt x="796481" y="204990"/>
                  </a:lnTo>
                  <a:lnTo>
                    <a:pt x="796532" y="204990"/>
                  </a:lnTo>
                  <a:lnTo>
                    <a:pt x="796532" y="204292"/>
                  </a:lnTo>
                  <a:lnTo>
                    <a:pt x="796532" y="206324"/>
                  </a:lnTo>
                  <a:lnTo>
                    <a:pt x="796583" y="206324"/>
                  </a:lnTo>
                  <a:lnTo>
                    <a:pt x="796583" y="204292"/>
                  </a:lnTo>
                  <a:lnTo>
                    <a:pt x="796583" y="206324"/>
                  </a:lnTo>
                  <a:lnTo>
                    <a:pt x="796583" y="204990"/>
                  </a:lnTo>
                  <a:lnTo>
                    <a:pt x="796684" y="206324"/>
                  </a:lnTo>
                  <a:lnTo>
                    <a:pt x="796684" y="204990"/>
                  </a:lnTo>
                  <a:lnTo>
                    <a:pt x="796684" y="206324"/>
                  </a:lnTo>
                  <a:lnTo>
                    <a:pt x="796735" y="204990"/>
                  </a:lnTo>
                  <a:lnTo>
                    <a:pt x="796735" y="204292"/>
                  </a:lnTo>
                  <a:lnTo>
                    <a:pt x="796786" y="204292"/>
                  </a:lnTo>
                  <a:lnTo>
                    <a:pt x="796786" y="202260"/>
                  </a:lnTo>
                  <a:lnTo>
                    <a:pt x="796887" y="202260"/>
                  </a:lnTo>
                  <a:lnTo>
                    <a:pt x="796887" y="204292"/>
                  </a:lnTo>
                  <a:lnTo>
                    <a:pt x="796887" y="203594"/>
                  </a:lnTo>
                  <a:lnTo>
                    <a:pt x="796926" y="203594"/>
                  </a:lnTo>
                  <a:lnTo>
                    <a:pt x="796926" y="206324"/>
                  </a:lnTo>
                  <a:lnTo>
                    <a:pt x="796926" y="204990"/>
                  </a:lnTo>
                  <a:lnTo>
                    <a:pt x="796926" y="206324"/>
                  </a:lnTo>
                  <a:lnTo>
                    <a:pt x="796926" y="204292"/>
                  </a:lnTo>
                  <a:lnTo>
                    <a:pt x="796926" y="204990"/>
                  </a:lnTo>
                  <a:lnTo>
                    <a:pt x="796926" y="204292"/>
                  </a:lnTo>
                  <a:lnTo>
                    <a:pt x="796976" y="204990"/>
                  </a:lnTo>
                  <a:lnTo>
                    <a:pt x="796976" y="204292"/>
                  </a:lnTo>
                  <a:lnTo>
                    <a:pt x="796976" y="204990"/>
                  </a:lnTo>
                  <a:lnTo>
                    <a:pt x="796976" y="204292"/>
                  </a:lnTo>
                  <a:lnTo>
                    <a:pt x="797027" y="204292"/>
                  </a:lnTo>
                  <a:lnTo>
                    <a:pt x="797027" y="204990"/>
                  </a:lnTo>
                  <a:lnTo>
                    <a:pt x="797027" y="204292"/>
                  </a:lnTo>
                  <a:lnTo>
                    <a:pt x="797027" y="204990"/>
                  </a:lnTo>
                  <a:lnTo>
                    <a:pt x="797129" y="204990"/>
                  </a:lnTo>
                  <a:lnTo>
                    <a:pt x="797129" y="204292"/>
                  </a:lnTo>
                  <a:lnTo>
                    <a:pt x="797129" y="204990"/>
                  </a:lnTo>
                  <a:lnTo>
                    <a:pt x="797129" y="204292"/>
                  </a:lnTo>
                  <a:lnTo>
                    <a:pt x="797129" y="204990"/>
                  </a:lnTo>
                  <a:lnTo>
                    <a:pt x="797180" y="204990"/>
                  </a:lnTo>
                  <a:lnTo>
                    <a:pt x="797180" y="204292"/>
                  </a:lnTo>
                  <a:lnTo>
                    <a:pt x="797180" y="204990"/>
                  </a:lnTo>
                  <a:lnTo>
                    <a:pt x="797180" y="204292"/>
                  </a:lnTo>
                  <a:lnTo>
                    <a:pt x="797180" y="204990"/>
                  </a:lnTo>
                  <a:lnTo>
                    <a:pt x="797180" y="204292"/>
                  </a:lnTo>
                  <a:lnTo>
                    <a:pt x="797180" y="204990"/>
                  </a:lnTo>
                  <a:lnTo>
                    <a:pt x="797230" y="204292"/>
                  </a:lnTo>
                  <a:lnTo>
                    <a:pt x="797230" y="202959"/>
                  </a:lnTo>
                  <a:lnTo>
                    <a:pt x="797332" y="202959"/>
                  </a:lnTo>
                  <a:lnTo>
                    <a:pt x="797332" y="200876"/>
                  </a:lnTo>
                  <a:lnTo>
                    <a:pt x="797383" y="200876"/>
                  </a:lnTo>
                  <a:lnTo>
                    <a:pt x="797383" y="202260"/>
                  </a:lnTo>
                  <a:lnTo>
                    <a:pt x="797383" y="200876"/>
                  </a:lnTo>
                  <a:lnTo>
                    <a:pt x="797383" y="203594"/>
                  </a:lnTo>
                  <a:lnTo>
                    <a:pt x="797433" y="204292"/>
                  </a:lnTo>
                  <a:lnTo>
                    <a:pt x="797433" y="203594"/>
                  </a:lnTo>
                  <a:lnTo>
                    <a:pt x="797433" y="204292"/>
                  </a:lnTo>
                  <a:lnTo>
                    <a:pt x="797472" y="204292"/>
                  </a:lnTo>
                  <a:lnTo>
                    <a:pt x="797472" y="204990"/>
                  </a:lnTo>
                  <a:lnTo>
                    <a:pt x="797472" y="203594"/>
                  </a:lnTo>
                  <a:lnTo>
                    <a:pt x="797472" y="204292"/>
                  </a:lnTo>
                  <a:lnTo>
                    <a:pt x="797472" y="203594"/>
                  </a:lnTo>
                  <a:lnTo>
                    <a:pt x="797472" y="204292"/>
                  </a:lnTo>
                  <a:lnTo>
                    <a:pt x="797573" y="204292"/>
                  </a:lnTo>
                  <a:lnTo>
                    <a:pt x="797573" y="203594"/>
                  </a:lnTo>
                  <a:lnTo>
                    <a:pt x="797573" y="204990"/>
                  </a:lnTo>
                  <a:lnTo>
                    <a:pt x="797573" y="204292"/>
                  </a:lnTo>
                  <a:lnTo>
                    <a:pt x="797573" y="204990"/>
                  </a:lnTo>
                  <a:lnTo>
                    <a:pt x="797624" y="204990"/>
                  </a:lnTo>
                  <a:lnTo>
                    <a:pt x="797624" y="204292"/>
                  </a:lnTo>
                  <a:lnTo>
                    <a:pt x="797624" y="206324"/>
                  </a:lnTo>
                  <a:lnTo>
                    <a:pt x="797675" y="204990"/>
                  </a:lnTo>
                  <a:lnTo>
                    <a:pt x="797675" y="206324"/>
                  </a:lnTo>
                  <a:lnTo>
                    <a:pt x="797675" y="204292"/>
                  </a:lnTo>
                  <a:lnTo>
                    <a:pt x="797675" y="204990"/>
                  </a:lnTo>
                  <a:lnTo>
                    <a:pt x="797776" y="204990"/>
                  </a:lnTo>
                  <a:lnTo>
                    <a:pt x="797776" y="203594"/>
                  </a:lnTo>
                  <a:lnTo>
                    <a:pt x="797776" y="204292"/>
                  </a:lnTo>
                  <a:lnTo>
                    <a:pt x="797776" y="202959"/>
                  </a:lnTo>
                  <a:lnTo>
                    <a:pt x="797827" y="202959"/>
                  </a:lnTo>
                  <a:lnTo>
                    <a:pt x="797827" y="200876"/>
                  </a:lnTo>
                  <a:lnTo>
                    <a:pt x="797878" y="200228"/>
                  </a:lnTo>
                  <a:lnTo>
                    <a:pt x="797878" y="202260"/>
                  </a:lnTo>
                  <a:lnTo>
                    <a:pt x="797878" y="200876"/>
                  </a:lnTo>
                  <a:lnTo>
                    <a:pt x="797929" y="200876"/>
                  </a:lnTo>
                  <a:lnTo>
                    <a:pt x="797929" y="203594"/>
                  </a:lnTo>
                  <a:lnTo>
                    <a:pt x="797929" y="202260"/>
                  </a:lnTo>
                  <a:lnTo>
                    <a:pt x="798018" y="202260"/>
                  </a:lnTo>
                  <a:lnTo>
                    <a:pt x="798018" y="203594"/>
                  </a:lnTo>
                  <a:lnTo>
                    <a:pt x="798018" y="202959"/>
                  </a:lnTo>
                  <a:lnTo>
                    <a:pt x="798018" y="203594"/>
                  </a:lnTo>
                  <a:lnTo>
                    <a:pt x="798018" y="202260"/>
                  </a:lnTo>
                  <a:lnTo>
                    <a:pt x="798018" y="202959"/>
                  </a:lnTo>
                  <a:lnTo>
                    <a:pt x="798068" y="202959"/>
                  </a:lnTo>
                  <a:lnTo>
                    <a:pt x="798068" y="203594"/>
                  </a:lnTo>
                  <a:lnTo>
                    <a:pt x="798068" y="202959"/>
                  </a:lnTo>
                  <a:lnTo>
                    <a:pt x="798068" y="203594"/>
                  </a:lnTo>
                  <a:lnTo>
                    <a:pt x="798068" y="202959"/>
                  </a:lnTo>
                  <a:lnTo>
                    <a:pt x="798068" y="203594"/>
                  </a:lnTo>
                  <a:lnTo>
                    <a:pt x="798068" y="202959"/>
                  </a:lnTo>
                  <a:lnTo>
                    <a:pt x="798068" y="203594"/>
                  </a:lnTo>
                  <a:lnTo>
                    <a:pt x="798119" y="203594"/>
                  </a:lnTo>
                  <a:lnTo>
                    <a:pt x="798119" y="204292"/>
                  </a:lnTo>
                  <a:lnTo>
                    <a:pt x="798119" y="203594"/>
                  </a:lnTo>
                  <a:lnTo>
                    <a:pt x="798119" y="204292"/>
                  </a:lnTo>
                  <a:lnTo>
                    <a:pt x="798119" y="203594"/>
                  </a:lnTo>
                  <a:lnTo>
                    <a:pt x="798119" y="204292"/>
                  </a:lnTo>
                  <a:lnTo>
                    <a:pt x="798272" y="204292"/>
                  </a:lnTo>
                  <a:lnTo>
                    <a:pt x="798272" y="202959"/>
                  </a:lnTo>
                  <a:lnTo>
                    <a:pt x="798322" y="202959"/>
                  </a:lnTo>
                  <a:lnTo>
                    <a:pt x="798322" y="202260"/>
                  </a:lnTo>
                  <a:lnTo>
                    <a:pt x="798322" y="202959"/>
                  </a:lnTo>
                  <a:lnTo>
                    <a:pt x="798322" y="200876"/>
                  </a:lnTo>
                  <a:lnTo>
                    <a:pt x="798322" y="202260"/>
                  </a:lnTo>
                  <a:lnTo>
                    <a:pt x="798322" y="200228"/>
                  </a:lnTo>
                  <a:lnTo>
                    <a:pt x="798373" y="200228"/>
                  </a:lnTo>
                  <a:lnTo>
                    <a:pt x="798373" y="199530"/>
                  </a:lnTo>
                  <a:lnTo>
                    <a:pt x="798373" y="200228"/>
                  </a:lnTo>
                  <a:lnTo>
                    <a:pt x="798373" y="198831"/>
                  </a:lnTo>
                  <a:lnTo>
                    <a:pt x="798475" y="199530"/>
                  </a:lnTo>
                  <a:lnTo>
                    <a:pt x="798475" y="198831"/>
                  </a:lnTo>
                  <a:lnTo>
                    <a:pt x="798475" y="200876"/>
                  </a:lnTo>
                  <a:lnTo>
                    <a:pt x="798475" y="200228"/>
                  </a:lnTo>
                  <a:lnTo>
                    <a:pt x="798513" y="200228"/>
                  </a:lnTo>
                  <a:lnTo>
                    <a:pt x="798513" y="199530"/>
                  </a:lnTo>
                  <a:lnTo>
                    <a:pt x="798513" y="200876"/>
                  </a:lnTo>
                  <a:lnTo>
                    <a:pt x="798513" y="200228"/>
                  </a:lnTo>
                  <a:lnTo>
                    <a:pt x="798513" y="200876"/>
                  </a:lnTo>
                  <a:lnTo>
                    <a:pt x="798564" y="200228"/>
                  </a:lnTo>
                  <a:lnTo>
                    <a:pt x="798564" y="202260"/>
                  </a:lnTo>
                  <a:lnTo>
                    <a:pt x="798615" y="202959"/>
                  </a:lnTo>
                  <a:lnTo>
                    <a:pt x="798615" y="202260"/>
                  </a:lnTo>
                  <a:lnTo>
                    <a:pt x="798615" y="203594"/>
                  </a:lnTo>
                  <a:lnTo>
                    <a:pt x="798716" y="203594"/>
                  </a:lnTo>
                  <a:lnTo>
                    <a:pt x="798716" y="204292"/>
                  </a:lnTo>
                  <a:lnTo>
                    <a:pt x="798767" y="204292"/>
                  </a:lnTo>
                  <a:lnTo>
                    <a:pt x="798767" y="203594"/>
                  </a:lnTo>
                  <a:lnTo>
                    <a:pt x="798767" y="204292"/>
                  </a:lnTo>
                  <a:lnTo>
                    <a:pt x="798767" y="203594"/>
                  </a:lnTo>
                  <a:lnTo>
                    <a:pt x="798767" y="204292"/>
                  </a:lnTo>
                  <a:lnTo>
                    <a:pt x="798767" y="202260"/>
                  </a:lnTo>
                  <a:lnTo>
                    <a:pt x="798767" y="202959"/>
                  </a:lnTo>
                  <a:lnTo>
                    <a:pt x="798818" y="202959"/>
                  </a:lnTo>
                  <a:lnTo>
                    <a:pt x="798818" y="202260"/>
                  </a:lnTo>
                  <a:lnTo>
                    <a:pt x="798818" y="202959"/>
                  </a:lnTo>
                  <a:lnTo>
                    <a:pt x="798919" y="202959"/>
                  </a:lnTo>
                  <a:lnTo>
                    <a:pt x="798919" y="200228"/>
                  </a:lnTo>
                  <a:lnTo>
                    <a:pt x="798919" y="203594"/>
                  </a:lnTo>
                  <a:lnTo>
                    <a:pt x="798970" y="203594"/>
                  </a:lnTo>
                  <a:lnTo>
                    <a:pt x="798970" y="200876"/>
                  </a:lnTo>
                  <a:lnTo>
                    <a:pt x="798970" y="202959"/>
                  </a:lnTo>
                  <a:lnTo>
                    <a:pt x="799021" y="202959"/>
                  </a:lnTo>
                  <a:lnTo>
                    <a:pt x="799021" y="202260"/>
                  </a:lnTo>
                  <a:lnTo>
                    <a:pt x="799021" y="202959"/>
                  </a:lnTo>
                  <a:lnTo>
                    <a:pt x="799021" y="200876"/>
                  </a:lnTo>
                  <a:lnTo>
                    <a:pt x="799021" y="202260"/>
                  </a:lnTo>
                  <a:lnTo>
                    <a:pt x="799021" y="200876"/>
                  </a:lnTo>
                  <a:lnTo>
                    <a:pt x="799021" y="202260"/>
                  </a:lnTo>
                  <a:lnTo>
                    <a:pt x="799059" y="202959"/>
                  </a:lnTo>
                  <a:lnTo>
                    <a:pt x="799059" y="202260"/>
                  </a:lnTo>
                  <a:lnTo>
                    <a:pt x="799059" y="202959"/>
                  </a:lnTo>
                  <a:lnTo>
                    <a:pt x="799161" y="202959"/>
                  </a:lnTo>
                  <a:lnTo>
                    <a:pt x="799161" y="202260"/>
                  </a:lnTo>
                  <a:lnTo>
                    <a:pt x="799161" y="202959"/>
                  </a:lnTo>
                  <a:lnTo>
                    <a:pt x="799161" y="202260"/>
                  </a:lnTo>
                  <a:lnTo>
                    <a:pt x="799161" y="202959"/>
                  </a:lnTo>
                  <a:lnTo>
                    <a:pt x="799161" y="202260"/>
                  </a:lnTo>
                  <a:lnTo>
                    <a:pt x="799161" y="202959"/>
                  </a:lnTo>
                  <a:lnTo>
                    <a:pt x="799161" y="202260"/>
                  </a:lnTo>
                  <a:lnTo>
                    <a:pt x="799212" y="202260"/>
                  </a:lnTo>
                  <a:lnTo>
                    <a:pt x="799212" y="202959"/>
                  </a:lnTo>
                  <a:lnTo>
                    <a:pt x="799212" y="202260"/>
                  </a:lnTo>
                  <a:lnTo>
                    <a:pt x="799212" y="202959"/>
                  </a:lnTo>
                  <a:lnTo>
                    <a:pt x="799212" y="202260"/>
                  </a:lnTo>
                  <a:lnTo>
                    <a:pt x="799212" y="202959"/>
                  </a:lnTo>
                  <a:lnTo>
                    <a:pt x="799262" y="202260"/>
                  </a:lnTo>
                  <a:lnTo>
                    <a:pt x="799262" y="202959"/>
                  </a:lnTo>
                  <a:lnTo>
                    <a:pt x="799262" y="202260"/>
                  </a:lnTo>
                  <a:lnTo>
                    <a:pt x="799262" y="202959"/>
                  </a:lnTo>
                  <a:lnTo>
                    <a:pt x="799262" y="200876"/>
                  </a:lnTo>
                  <a:lnTo>
                    <a:pt x="799364" y="200876"/>
                  </a:lnTo>
                  <a:lnTo>
                    <a:pt x="799364" y="203594"/>
                  </a:lnTo>
                  <a:lnTo>
                    <a:pt x="799364" y="202959"/>
                  </a:lnTo>
                  <a:lnTo>
                    <a:pt x="799415" y="203594"/>
                  </a:lnTo>
                  <a:lnTo>
                    <a:pt x="799415" y="206324"/>
                  </a:lnTo>
                  <a:lnTo>
                    <a:pt x="799415" y="204292"/>
                  </a:lnTo>
                  <a:lnTo>
                    <a:pt x="799466" y="204292"/>
                  </a:lnTo>
                  <a:lnTo>
                    <a:pt x="799466" y="206324"/>
                  </a:lnTo>
                  <a:lnTo>
                    <a:pt x="799466" y="204292"/>
                  </a:lnTo>
                  <a:lnTo>
                    <a:pt x="799466" y="204990"/>
                  </a:lnTo>
                  <a:lnTo>
                    <a:pt x="799466" y="204292"/>
                  </a:lnTo>
                  <a:lnTo>
                    <a:pt x="799466" y="204990"/>
                  </a:lnTo>
                  <a:lnTo>
                    <a:pt x="799466" y="204292"/>
                  </a:lnTo>
                  <a:lnTo>
                    <a:pt x="799516" y="204292"/>
                  </a:lnTo>
                  <a:lnTo>
                    <a:pt x="799516" y="204990"/>
                  </a:lnTo>
                  <a:lnTo>
                    <a:pt x="799516" y="204292"/>
                  </a:lnTo>
                  <a:lnTo>
                    <a:pt x="799516" y="204990"/>
                  </a:lnTo>
                  <a:lnTo>
                    <a:pt x="799516" y="204292"/>
                  </a:lnTo>
                  <a:lnTo>
                    <a:pt x="799605" y="203594"/>
                  </a:lnTo>
                  <a:lnTo>
                    <a:pt x="799605" y="204990"/>
                  </a:lnTo>
                  <a:lnTo>
                    <a:pt x="799605" y="204292"/>
                  </a:lnTo>
                  <a:lnTo>
                    <a:pt x="799656" y="204292"/>
                  </a:lnTo>
                  <a:lnTo>
                    <a:pt x="799656" y="203594"/>
                  </a:lnTo>
                  <a:lnTo>
                    <a:pt x="799656" y="204292"/>
                  </a:lnTo>
                  <a:lnTo>
                    <a:pt x="799656" y="202959"/>
                  </a:lnTo>
                  <a:lnTo>
                    <a:pt x="799656" y="203594"/>
                  </a:lnTo>
                  <a:lnTo>
                    <a:pt x="799707" y="203594"/>
                  </a:lnTo>
                  <a:lnTo>
                    <a:pt x="799707" y="202959"/>
                  </a:lnTo>
                  <a:lnTo>
                    <a:pt x="799758" y="202959"/>
                  </a:lnTo>
                  <a:lnTo>
                    <a:pt x="799758" y="200876"/>
                  </a:lnTo>
                  <a:lnTo>
                    <a:pt x="799758" y="202959"/>
                  </a:lnTo>
                  <a:lnTo>
                    <a:pt x="799859" y="202959"/>
                  </a:lnTo>
                  <a:lnTo>
                    <a:pt x="799859" y="203594"/>
                  </a:lnTo>
                  <a:lnTo>
                    <a:pt x="799859" y="202260"/>
                  </a:lnTo>
                  <a:lnTo>
                    <a:pt x="799859" y="204990"/>
                  </a:lnTo>
                  <a:lnTo>
                    <a:pt x="799910" y="204990"/>
                  </a:lnTo>
                  <a:lnTo>
                    <a:pt x="799910" y="203594"/>
                  </a:lnTo>
                  <a:lnTo>
                    <a:pt x="799910" y="204292"/>
                  </a:lnTo>
                  <a:lnTo>
                    <a:pt x="799910" y="203594"/>
                  </a:lnTo>
                  <a:lnTo>
                    <a:pt x="799910" y="204990"/>
                  </a:lnTo>
                  <a:lnTo>
                    <a:pt x="799961" y="204990"/>
                  </a:lnTo>
                  <a:lnTo>
                    <a:pt x="799961" y="204292"/>
                  </a:lnTo>
                  <a:lnTo>
                    <a:pt x="799961" y="206324"/>
                  </a:lnTo>
                  <a:lnTo>
                    <a:pt x="800062" y="206324"/>
                  </a:lnTo>
                  <a:lnTo>
                    <a:pt x="800062" y="204990"/>
                  </a:lnTo>
                  <a:lnTo>
                    <a:pt x="800062" y="206324"/>
                  </a:lnTo>
                  <a:lnTo>
                    <a:pt x="800101" y="206324"/>
                  </a:lnTo>
                  <a:lnTo>
                    <a:pt x="800101" y="204990"/>
                  </a:lnTo>
                  <a:lnTo>
                    <a:pt x="800101" y="206324"/>
                  </a:lnTo>
                  <a:lnTo>
                    <a:pt x="800101" y="204990"/>
                  </a:lnTo>
                  <a:lnTo>
                    <a:pt x="800101" y="206324"/>
                  </a:lnTo>
                  <a:lnTo>
                    <a:pt x="800101" y="204292"/>
                  </a:lnTo>
                  <a:lnTo>
                    <a:pt x="800101" y="204990"/>
                  </a:lnTo>
                  <a:lnTo>
                    <a:pt x="800151" y="204292"/>
                  </a:lnTo>
                  <a:lnTo>
                    <a:pt x="800151" y="204990"/>
                  </a:lnTo>
                  <a:lnTo>
                    <a:pt x="800151" y="203594"/>
                  </a:lnTo>
                  <a:lnTo>
                    <a:pt x="800151" y="204292"/>
                  </a:lnTo>
                  <a:lnTo>
                    <a:pt x="800151" y="203594"/>
                  </a:lnTo>
                  <a:lnTo>
                    <a:pt x="800202" y="203594"/>
                  </a:lnTo>
                  <a:lnTo>
                    <a:pt x="800202" y="202959"/>
                  </a:lnTo>
                  <a:lnTo>
                    <a:pt x="800202" y="203594"/>
                  </a:lnTo>
                  <a:lnTo>
                    <a:pt x="800202" y="202260"/>
                  </a:lnTo>
                  <a:lnTo>
                    <a:pt x="800304" y="202260"/>
                  </a:lnTo>
                  <a:lnTo>
                    <a:pt x="800304" y="200228"/>
                  </a:lnTo>
                  <a:lnTo>
                    <a:pt x="800304" y="202260"/>
                  </a:lnTo>
                  <a:lnTo>
                    <a:pt x="800355" y="202260"/>
                  </a:lnTo>
                  <a:lnTo>
                    <a:pt x="800355" y="200876"/>
                  </a:lnTo>
                  <a:lnTo>
                    <a:pt x="800355" y="203594"/>
                  </a:lnTo>
                  <a:lnTo>
                    <a:pt x="800355" y="202959"/>
                  </a:lnTo>
                  <a:lnTo>
                    <a:pt x="800405" y="202959"/>
                  </a:lnTo>
                  <a:lnTo>
                    <a:pt x="800405" y="202260"/>
                  </a:lnTo>
                  <a:lnTo>
                    <a:pt x="800405" y="203594"/>
                  </a:lnTo>
                  <a:lnTo>
                    <a:pt x="800507" y="202959"/>
                  </a:lnTo>
                  <a:lnTo>
                    <a:pt x="800507" y="204990"/>
                  </a:lnTo>
                  <a:lnTo>
                    <a:pt x="800507" y="204292"/>
                  </a:lnTo>
                  <a:lnTo>
                    <a:pt x="800558" y="204292"/>
                  </a:lnTo>
                  <a:lnTo>
                    <a:pt x="800558" y="204990"/>
                  </a:lnTo>
                  <a:lnTo>
                    <a:pt x="800558" y="204292"/>
                  </a:lnTo>
                  <a:lnTo>
                    <a:pt x="800558" y="204990"/>
                  </a:lnTo>
                  <a:lnTo>
                    <a:pt x="800558" y="204292"/>
                  </a:lnTo>
                  <a:lnTo>
                    <a:pt x="800558" y="204990"/>
                  </a:lnTo>
                  <a:lnTo>
                    <a:pt x="800608" y="204990"/>
                  </a:lnTo>
                  <a:lnTo>
                    <a:pt x="800608" y="204292"/>
                  </a:lnTo>
                  <a:lnTo>
                    <a:pt x="800608" y="204990"/>
                  </a:lnTo>
                  <a:lnTo>
                    <a:pt x="800608" y="204292"/>
                  </a:lnTo>
                  <a:lnTo>
                    <a:pt x="800647" y="204292"/>
                  </a:lnTo>
                  <a:lnTo>
                    <a:pt x="800647" y="203594"/>
                  </a:lnTo>
                  <a:lnTo>
                    <a:pt x="800647" y="204292"/>
                  </a:lnTo>
                  <a:lnTo>
                    <a:pt x="800647" y="203594"/>
                  </a:lnTo>
                  <a:lnTo>
                    <a:pt x="800647" y="204292"/>
                  </a:lnTo>
                  <a:lnTo>
                    <a:pt x="800647" y="203594"/>
                  </a:lnTo>
                  <a:lnTo>
                    <a:pt x="800748" y="203594"/>
                  </a:lnTo>
                  <a:lnTo>
                    <a:pt x="800748" y="202260"/>
                  </a:lnTo>
                  <a:lnTo>
                    <a:pt x="800748" y="202959"/>
                  </a:lnTo>
                  <a:lnTo>
                    <a:pt x="800748" y="202260"/>
                  </a:lnTo>
                  <a:lnTo>
                    <a:pt x="800799" y="202260"/>
                  </a:lnTo>
                  <a:lnTo>
                    <a:pt x="800799" y="200876"/>
                  </a:lnTo>
                  <a:lnTo>
                    <a:pt x="800799" y="202959"/>
                  </a:lnTo>
                  <a:lnTo>
                    <a:pt x="800799" y="200876"/>
                  </a:lnTo>
                  <a:lnTo>
                    <a:pt x="800850" y="200876"/>
                  </a:lnTo>
                  <a:lnTo>
                    <a:pt x="800850" y="204292"/>
                  </a:lnTo>
                  <a:lnTo>
                    <a:pt x="800850" y="202260"/>
                  </a:lnTo>
                  <a:lnTo>
                    <a:pt x="800951" y="202260"/>
                  </a:lnTo>
                  <a:lnTo>
                    <a:pt x="800951" y="204292"/>
                  </a:lnTo>
                  <a:lnTo>
                    <a:pt x="800951" y="202260"/>
                  </a:lnTo>
                  <a:lnTo>
                    <a:pt x="800951" y="202959"/>
                  </a:lnTo>
                  <a:lnTo>
                    <a:pt x="801002" y="202959"/>
                  </a:lnTo>
                  <a:lnTo>
                    <a:pt x="801002" y="203594"/>
                  </a:lnTo>
                  <a:lnTo>
                    <a:pt x="801002" y="202959"/>
                  </a:lnTo>
                  <a:lnTo>
                    <a:pt x="801002" y="203594"/>
                  </a:lnTo>
                  <a:lnTo>
                    <a:pt x="801002" y="202959"/>
                  </a:lnTo>
                  <a:lnTo>
                    <a:pt x="801002" y="203594"/>
                  </a:lnTo>
                  <a:lnTo>
                    <a:pt x="801053" y="203594"/>
                  </a:lnTo>
                  <a:lnTo>
                    <a:pt x="801053" y="204292"/>
                  </a:lnTo>
                  <a:lnTo>
                    <a:pt x="801053" y="203594"/>
                  </a:lnTo>
                  <a:lnTo>
                    <a:pt x="801053" y="204292"/>
                  </a:lnTo>
                  <a:lnTo>
                    <a:pt x="801053" y="203594"/>
                  </a:lnTo>
                  <a:lnTo>
                    <a:pt x="801053" y="204292"/>
                  </a:lnTo>
                  <a:lnTo>
                    <a:pt x="801104" y="203594"/>
                  </a:lnTo>
                  <a:lnTo>
                    <a:pt x="801104" y="204292"/>
                  </a:lnTo>
                  <a:lnTo>
                    <a:pt x="801104" y="203594"/>
                  </a:lnTo>
                  <a:lnTo>
                    <a:pt x="801104" y="204292"/>
                  </a:lnTo>
                  <a:lnTo>
                    <a:pt x="801193" y="203594"/>
                  </a:lnTo>
                  <a:lnTo>
                    <a:pt x="801193" y="204292"/>
                  </a:lnTo>
                  <a:lnTo>
                    <a:pt x="801193" y="203594"/>
                  </a:lnTo>
                  <a:lnTo>
                    <a:pt x="801193" y="204292"/>
                  </a:lnTo>
                  <a:lnTo>
                    <a:pt x="801193" y="202959"/>
                  </a:lnTo>
                  <a:lnTo>
                    <a:pt x="801193" y="203594"/>
                  </a:lnTo>
                  <a:lnTo>
                    <a:pt x="801193" y="202959"/>
                  </a:lnTo>
                  <a:lnTo>
                    <a:pt x="801243" y="202959"/>
                  </a:lnTo>
                  <a:lnTo>
                    <a:pt x="801243" y="203594"/>
                  </a:lnTo>
                  <a:lnTo>
                    <a:pt x="801243" y="202260"/>
                  </a:lnTo>
                  <a:lnTo>
                    <a:pt x="801294" y="200876"/>
                  </a:lnTo>
                  <a:lnTo>
                    <a:pt x="801294" y="200228"/>
                  </a:lnTo>
                  <a:lnTo>
                    <a:pt x="801294" y="202260"/>
                  </a:lnTo>
                  <a:lnTo>
                    <a:pt x="801294" y="200876"/>
                  </a:lnTo>
                  <a:lnTo>
                    <a:pt x="801294" y="202260"/>
                  </a:lnTo>
                  <a:lnTo>
                    <a:pt x="801294" y="200228"/>
                  </a:lnTo>
                  <a:lnTo>
                    <a:pt x="801345" y="199530"/>
                  </a:lnTo>
                  <a:lnTo>
                    <a:pt x="801345" y="202959"/>
                  </a:lnTo>
                  <a:lnTo>
                    <a:pt x="801345" y="200876"/>
                  </a:lnTo>
                  <a:lnTo>
                    <a:pt x="801447" y="200876"/>
                  </a:lnTo>
                  <a:lnTo>
                    <a:pt x="801447" y="202959"/>
                  </a:lnTo>
                  <a:lnTo>
                    <a:pt x="801447" y="202260"/>
                  </a:lnTo>
                  <a:lnTo>
                    <a:pt x="801447" y="202959"/>
                  </a:lnTo>
                  <a:lnTo>
                    <a:pt x="801497" y="202260"/>
                  </a:lnTo>
                  <a:lnTo>
                    <a:pt x="801497" y="203594"/>
                  </a:lnTo>
                  <a:lnTo>
                    <a:pt x="801497" y="202959"/>
                  </a:lnTo>
                  <a:lnTo>
                    <a:pt x="801497" y="203594"/>
                  </a:lnTo>
                  <a:lnTo>
                    <a:pt x="801497" y="202959"/>
                  </a:lnTo>
                  <a:lnTo>
                    <a:pt x="801548" y="202959"/>
                  </a:lnTo>
                  <a:lnTo>
                    <a:pt x="801548" y="204292"/>
                  </a:lnTo>
                  <a:lnTo>
                    <a:pt x="801548" y="203594"/>
                  </a:lnTo>
                  <a:lnTo>
                    <a:pt x="801548" y="204292"/>
                  </a:lnTo>
                  <a:lnTo>
                    <a:pt x="801650" y="204292"/>
                  </a:lnTo>
                  <a:lnTo>
                    <a:pt x="801650" y="203594"/>
                  </a:lnTo>
                  <a:lnTo>
                    <a:pt x="801650" y="204292"/>
                  </a:lnTo>
                  <a:lnTo>
                    <a:pt x="801650" y="203594"/>
                  </a:lnTo>
                  <a:lnTo>
                    <a:pt x="801688" y="203594"/>
                  </a:lnTo>
                  <a:lnTo>
                    <a:pt x="801688" y="204292"/>
                  </a:lnTo>
                  <a:lnTo>
                    <a:pt x="801688" y="203594"/>
                  </a:lnTo>
                  <a:lnTo>
                    <a:pt x="801688" y="204292"/>
                  </a:lnTo>
                  <a:lnTo>
                    <a:pt x="801688" y="202959"/>
                  </a:lnTo>
                  <a:lnTo>
                    <a:pt x="801688" y="203594"/>
                  </a:lnTo>
                  <a:lnTo>
                    <a:pt x="801688" y="202959"/>
                  </a:lnTo>
                  <a:lnTo>
                    <a:pt x="801688" y="203594"/>
                  </a:lnTo>
                  <a:lnTo>
                    <a:pt x="801739" y="203594"/>
                  </a:lnTo>
                  <a:lnTo>
                    <a:pt x="801739" y="202959"/>
                  </a:lnTo>
                  <a:lnTo>
                    <a:pt x="801739" y="203594"/>
                  </a:lnTo>
                  <a:lnTo>
                    <a:pt x="801739" y="202260"/>
                  </a:lnTo>
                  <a:lnTo>
                    <a:pt x="801790" y="200876"/>
                  </a:lnTo>
                  <a:lnTo>
                    <a:pt x="801790" y="198831"/>
                  </a:lnTo>
                  <a:lnTo>
                    <a:pt x="801790" y="200228"/>
                  </a:lnTo>
                  <a:lnTo>
                    <a:pt x="801790" y="199530"/>
                  </a:lnTo>
                  <a:lnTo>
                    <a:pt x="801891" y="200228"/>
                  </a:lnTo>
                  <a:lnTo>
                    <a:pt x="801891" y="198831"/>
                  </a:lnTo>
                  <a:lnTo>
                    <a:pt x="801891" y="200876"/>
                  </a:lnTo>
                  <a:lnTo>
                    <a:pt x="801942" y="200228"/>
                  </a:lnTo>
                  <a:lnTo>
                    <a:pt x="801942" y="202260"/>
                  </a:lnTo>
                  <a:lnTo>
                    <a:pt x="801993" y="200876"/>
                  </a:lnTo>
                  <a:lnTo>
                    <a:pt x="801993" y="200228"/>
                  </a:lnTo>
                  <a:lnTo>
                    <a:pt x="801993" y="202260"/>
                  </a:lnTo>
                  <a:lnTo>
                    <a:pt x="801993" y="200876"/>
                  </a:lnTo>
                  <a:lnTo>
                    <a:pt x="801993" y="202260"/>
                  </a:lnTo>
                  <a:lnTo>
                    <a:pt x="801993" y="200876"/>
                  </a:lnTo>
                  <a:lnTo>
                    <a:pt x="802094" y="202260"/>
                  </a:lnTo>
                  <a:lnTo>
                    <a:pt x="802094" y="200876"/>
                  </a:lnTo>
                  <a:lnTo>
                    <a:pt x="802094" y="202260"/>
                  </a:lnTo>
                  <a:lnTo>
                    <a:pt x="802145" y="202959"/>
                  </a:lnTo>
                  <a:lnTo>
                    <a:pt x="802145" y="203594"/>
                  </a:lnTo>
                  <a:lnTo>
                    <a:pt x="802145" y="202959"/>
                  </a:lnTo>
                  <a:lnTo>
                    <a:pt x="802145" y="203594"/>
                  </a:lnTo>
                  <a:lnTo>
                    <a:pt x="802234" y="203594"/>
                  </a:lnTo>
                  <a:lnTo>
                    <a:pt x="802234" y="202260"/>
                  </a:lnTo>
                  <a:lnTo>
                    <a:pt x="802336" y="202260"/>
                  </a:lnTo>
                  <a:lnTo>
                    <a:pt x="802336" y="202959"/>
                  </a:lnTo>
                  <a:lnTo>
                    <a:pt x="802336" y="199530"/>
                  </a:lnTo>
                  <a:lnTo>
                    <a:pt x="802336" y="200228"/>
                  </a:lnTo>
                  <a:lnTo>
                    <a:pt x="802336" y="199530"/>
                  </a:lnTo>
                  <a:lnTo>
                    <a:pt x="802336" y="200228"/>
                  </a:lnTo>
                  <a:lnTo>
                    <a:pt x="802387" y="199530"/>
                  </a:lnTo>
                  <a:lnTo>
                    <a:pt x="802387" y="200228"/>
                  </a:lnTo>
                  <a:lnTo>
                    <a:pt x="802387" y="197447"/>
                  </a:lnTo>
                  <a:lnTo>
                    <a:pt x="802387" y="199530"/>
                  </a:lnTo>
                  <a:lnTo>
                    <a:pt x="802437" y="200228"/>
                  </a:lnTo>
                  <a:lnTo>
                    <a:pt x="802437" y="200876"/>
                  </a:lnTo>
                  <a:lnTo>
                    <a:pt x="802437" y="200228"/>
                  </a:lnTo>
                  <a:lnTo>
                    <a:pt x="802437" y="200876"/>
                  </a:lnTo>
                  <a:lnTo>
                    <a:pt x="802539" y="200876"/>
                  </a:lnTo>
                  <a:lnTo>
                    <a:pt x="802539" y="202260"/>
                  </a:lnTo>
                  <a:lnTo>
                    <a:pt x="802539" y="200228"/>
                  </a:lnTo>
                  <a:lnTo>
                    <a:pt x="802539" y="200876"/>
                  </a:lnTo>
                  <a:lnTo>
                    <a:pt x="802590" y="200876"/>
                  </a:lnTo>
                  <a:lnTo>
                    <a:pt x="802590" y="202959"/>
                  </a:lnTo>
                  <a:lnTo>
                    <a:pt x="802590" y="202260"/>
                  </a:lnTo>
                  <a:lnTo>
                    <a:pt x="802641" y="202959"/>
                  </a:lnTo>
                  <a:lnTo>
                    <a:pt x="802641" y="203594"/>
                  </a:lnTo>
                  <a:lnTo>
                    <a:pt x="802641" y="202959"/>
                  </a:lnTo>
                  <a:lnTo>
                    <a:pt x="802641" y="204292"/>
                  </a:lnTo>
                  <a:lnTo>
                    <a:pt x="802641" y="203594"/>
                  </a:lnTo>
                  <a:lnTo>
                    <a:pt x="802691" y="203594"/>
                  </a:lnTo>
                  <a:lnTo>
                    <a:pt x="802691" y="204292"/>
                  </a:lnTo>
                  <a:lnTo>
                    <a:pt x="802780" y="204292"/>
                  </a:lnTo>
                  <a:lnTo>
                    <a:pt x="802780" y="203594"/>
                  </a:lnTo>
                  <a:lnTo>
                    <a:pt x="802780" y="204292"/>
                  </a:lnTo>
                  <a:lnTo>
                    <a:pt x="802780" y="202959"/>
                  </a:lnTo>
                  <a:lnTo>
                    <a:pt x="802780" y="203594"/>
                  </a:lnTo>
                  <a:lnTo>
                    <a:pt x="802780" y="202959"/>
                  </a:lnTo>
                  <a:lnTo>
                    <a:pt x="802780" y="203594"/>
                  </a:lnTo>
                  <a:lnTo>
                    <a:pt x="802831" y="203594"/>
                  </a:lnTo>
                  <a:lnTo>
                    <a:pt x="802831" y="200228"/>
                  </a:lnTo>
                  <a:lnTo>
                    <a:pt x="802831" y="200876"/>
                  </a:lnTo>
                  <a:lnTo>
                    <a:pt x="802831" y="200228"/>
                  </a:lnTo>
                  <a:lnTo>
                    <a:pt x="802831" y="200876"/>
                  </a:lnTo>
                  <a:lnTo>
                    <a:pt x="802882" y="200876"/>
                  </a:lnTo>
                  <a:lnTo>
                    <a:pt x="802882" y="200228"/>
                  </a:lnTo>
                  <a:lnTo>
                    <a:pt x="802882" y="202959"/>
                  </a:lnTo>
                  <a:lnTo>
                    <a:pt x="802882" y="200228"/>
                  </a:lnTo>
                  <a:lnTo>
                    <a:pt x="802933" y="200876"/>
                  </a:lnTo>
                  <a:lnTo>
                    <a:pt x="802933" y="202959"/>
                  </a:lnTo>
                  <a:lnTo>
                    <a:pt x="802933" y="200876"/>
                  </a:lnTo>
                  <a:lnTo>
                    <a:pt x="802933" y="202959"/>
                  </a:lnTo>
                  <a:lnTo>
                    <a:pt x="803034" y="202959"/>
                  </a:lnTo>
                  <a:lnTo>
                    <a:pt x="803034" y="200876"/>
                  </a:lnTo>
                  <a:lnTo>
                    <a:pt x="803085" y="200876"/>
                  </a:lnTo>
                  <a:lnTo>
                    <a:pt x="803085" y="202959"/>
                  </a:lnTo>
                  <a:lnTo>
                    <a:pt x="803136" y="202959"/>
                  </a:lnTo>
                  <a:lnTo>
                    <a:pt x="803136" y="203594"/>
                  </a:lnTo>
                  <a:lnTo>
                    <a:pt x="803237" y="203594"/>
                  </a:lnTo>
                  <a:lnTo>
                    <a:pt x="803237" y="204292"/>
                  </a:lnTo>
                  <a:lnTo>
                    <a:pt x="803237" y="203594"/>
                  </a:lnTo>
                  <a:lnTo>
                    <a:pt x="803276" y="203594"/>
                  </a:lnTo>
                  <a:lnTo>
                    <a:pt x="803276" y="202959"/>
                  </a:lnTo>
                  <a:lnTo>
                    <a:pt x="803326" y="202959"/>
                  </a:lnTo>
                  <a:lnTo>
                    <a:pt x="803326" y="202260"/>
                  </a:lnTo>
                  <a:lnTo>
                    <a:pt x="803326" y="204292"/>
                  </a:lnTo>
                  <a:lnTo>
                    <a:pt x="803326" y="202959"/>
                  </a:lnTo>
                  <a:lnTo>
                    <a:pt x="803377" y="202959"/>
                  </a:lnTo>
                  <a:lnTo>
                    <a:pt x="803377" y="204990"/>
                  </a:lnTo>
                  <a:lnTo>
                    <a:pt x="803377" y="204292"/>
                  </a:lnTo>
                  <a:lnTo>
                    <a:pt x="803479" y="204292"/>
                  </a:lnTo>
                  <a:lnTo>
                    <a:pt x="803479" y="204990"/>
                  </a:lnTo>
                  <a:lnTo>
                    <a:pt x="803479" y="204292"/>
                  </a:lnTo>
                  <a:lnTo>
                    <a:pt x="803530" y="204292"/>
                  </a:lnTo>
                  <a:lnTo>
                    <a:pt x="803530" y="203594"/>
                  </a:lnTo>
                  <a:lnTo>
                    <a:pt x="803530" y="204990"/>
                  </a:lnTo>
                  <a:lnTo>
                    <a:pt x="803530" y="203594"/>
                  </a:lnTo>
                  <a:lnTo>
                    <a:pt x="803530" y="204292"/>
                  </a:lnTo>
                  <a:lnTo>
                    <a:pt x="803530" y="203594"/>
                  </a:lnTo>
                  <a:lnTo>
                    <a:pt x="803530" y="204292"/>
                  </a:lnTo>
                  <a:lnTo>
                    <a:pt x="803530" y="203594"/>
                  </a:lnTo>
                  <a:lnTo>
                    <a:pt x="803580" y="203594"/>
                  </a:lnTo>
                  <a:lnTo>
                    <a:pt x="803580" y="204292"/>
                  </a:lnTo>
                  <a:lnTo>
                    <a:pt x="803682" y="204292"/>
                  </a:lnTo>
                  <a:lnTo>
                    <a:pt x="803682" y="203594"/>
                  </a:lnTo>
                  <a:lnTo>
                    <a:pt x="803682" y="204292"/>
                  </a:lnTo>
                  <a:lnTo>
                    <a:pt x="803682" y="203594"/>
                  </a:lnTo>
                  <a:lnTo>
                    <a:pt x="803682" y="204292"/>
                  </a:lnTo>
                  <a:lnTo>
                    <a:pt x="803682" y="203594"/>
                  </a:lnTo>
                  <a:lnTo>
                    <a:pt x="803733" y="203594"/>
                  </a:lnTo>
                  <a:lnTo>
                    <a:pt x="803733" y="204292"/>
                  </a:lnTo>
                  <a:lnTo>
                    <a:pt x="803733" y="203594"/>
                  </a:lnTo>
                  <a:lnTo>
                    <a:pt x="803733" y="204292"/>
                  </a:lnTo>
                  <a:lnTo>
                    <a:pt x="803733" y="203594"/>
                  </a:lnTo>
                  <a:lnTo>
                    <a:pt x="803733" y="204292"/>
                  </a:lnTo>
                  <a:lnTo>
                    <a:pt x="803733" y="203594"/>
                  </a:lnTo>
                  <a:lnTo>
                    <a:pt x="803783" y="203594"/>
                  </a:lnTo>
                  <a:lnTo>
                    <a:pt x="803783" y="202260"/>
                  </a:lnTo>
                  <a:lnTo>
                    <a:pt x="803783" y="202959"/>
                  </a:lnTo>
                  <a:lnTo>
                    <a:pt x="803783" y="202260"/>
                  </a:lnTo>
                  <a:lnTo>
                    <a:pt x="803783" y="202959"/>
                  </a:lnTo>
                  <a:lnTo>
                    <a:pt x="803822" y="202959"/>
                  </a:lnTo>
                  <a:lnTo>
                    <a:pt x="803822" y="204292"/>
                  </a:lnTo>
                  <a:lnTo>
                    <a:pt x="803822" y="202959"/>
                  </a:lnTo>
                  <a:lnTo>
                    <a:pt x="803822" y="204990"/>
                  </a:lnTo>
                  <a:lnTo>
                    <a:pt x="803923" y="204990"/>
                  </a:lnTo>
                  <a:lnTo>
                    <a:pt x="803923" y="206324"/>
                  </a:lnTo>
                  <a:lnTo>
                    <a:pt x="803923" y="204990"/>
                  </a:lnTo>
                  <a:lnTo>
                    <a:pt x="803923" y="206324"/>
                  </a:lnTo>
                  <a:lnTo>
                    <a:pt x="803923" y="204990"/>
                  </a:lnTo>
                  <a:lnTo>
                    <a:pt x="803923" y="206324"/>
                  </a:lnTo>
                  <a:lnTo>
                    <a:pt x="803923" y="204990"/>
                  </a:lnTo>
                  <a:lnTo>
                    <a:pt x="803923" y="206324"/>
                  </a:lnTo>
                  <a:lnTo>
                    <a:pt x="803974" y="206324"/>
                  </a:lnTo>
                  <a:lnTo>
                    <a:pt x="803974" y="204990"/>
                  </a:lnTo>
                  <a:lnTo>
                    <a:pt x="803974" y="206324"/>
                  </a:lnTo>
                  <a:lnTo>
                    <a:pt x="803974" y="204990"/>
                  </a:lnTo>
                  <a:lnTo>
                    <a:pt x="803974" y="206324"/>
                  </a:lnTo>
                  <a:lnTo>
                    <a:pt x="804025" y="206324"/>
                  </a:lnTo>
                  <a:lnTo>
                    <a:pt x="804025" y="204990"/>
                  </a:lnTo>
                  <a:lnTo>
                    <a:pt x="804025" y="206324"/>
                  </a:lnTo>
                  <a:lnTo>
                    <a:pt x="804025" y="204990"/>
                  </a:lnTo>
                  <a:lnTo>
                    <a:pt x="804025" y="206324"/>
                  </a:lnTo>
                  <a:lnTo>
                    <a:pt x="804126" y="204990"/>
                  </a:lnTo>
                  <a:lnTo>
                    <a:pt x="804126" y="206324"/>
                  </a:lnTo>
                  <a:lnTo>
                    <a:pt x="804126" y="204990"/>
                  </a:lnTo>
                  <a:lnTo>
                    <a:pt x="804126" y="206324"/>
                  </a:lnTo>
                  <a:lnTo>
                    <a:pt x="804126" y="204990"/>
                  </a:lnTo>
                  <a:lnTo>
                    <a:pt x="804177" y="204990"/>
                  </a:lnTo>
                  <a:lnTo>
                    <a:pt x="804177" y="204292"/>
                  </a:lnTo>
                  <a:lnTo>
                    <a:pt x="804177" y="204990"/>
                  </a:lnTo>
                  <a:lnTo>
                    <a:pt x="804177" y="204292"/>
                  </a:lnTo>
                  <a:lnTo>
                    <a:pt x="804228" y="203594"/>
                  </a:lnTo>
                  <a:lnTo>
                    <a:pt x="804228" y="204292"/>
                  </a:lnTo>
                  <a:lnTo>
                    <a:pt x="804228" y="202959"/>
                  </a:lnTo>
                  <a:lnTo>
                    <a:pt x="804228" y="203594"/>
                  </a:lnTo>
                  <a:lnTo>
                    <a:pt x="804228" y="202959"/>
                  </a:lnTo>
                  <a:lnTo>
                    <a:pt x="804279" y="202959"/>
                  </a:lnTo>
                  <a:lnTo>
                    <a:pt x="804279" y="200876"/>
                  </a:lnTo>
                  <a:lnTo>
                    <a:pt x="804279" y="202260"/>
                  </a:lnTo>
                  <a:lnTo>
                    <a:pt x="804279" y="200876"/>
                  </a:lnTo>
                  <a:lnTo>
                    <a:pt x="804279" y="202959"/>
                  </a:lnTo>
                  <a:lnTo>
                    <a:pt x="804368" y="202959"/>
                  </a:lnTo>
                  <a:lnTo>
                    <a:pt x="804368" y="200876"/>
                  </a:lnTo>
                  <a:lnTo>
                    <a:pt x="804368" y="204292"/>
                  </a:lnTo>
                  <a:lnTo>
                    <a:pt x="804418" y="204292"/>
                  </a:lnTo>
                  <a:lnTo>
                    <a:pt x="804418" y="202959"/>
                  </a:lnTo>
                  <a:lnTo>
                    <a:pt x="804418" y="204990"/>
                  </a:lnTo>
                  <a:lnTo>
                    <a:pt x="804418" y="204292"/>
                  </a:lnTo>
                  <a:lnTo>
                    <a:pt x="804418" y="204990"/>
                  </a:lnTo>
                  <a:lnTo>
                    <a:pt x="804418" y="204292"/>
                  </a:lnTo>
                  <a:lnTo>
                    <a:pt x="804469" y="204292"/>
                  </a:lnTo>
                  <a:lnTo>
                    <a:pt x="804469" y="203594"/>
                  </a:lnTo>
                  <a:lnTo>
                    <a:pt x="804469" y="206324"/>
                  </a:lnTo>
                  <a:lnTo>
                    <a:pt x="804469" y="204990"/>
                  </a:lnTo>
                  <a:lnTo>
                    <a:pt x="804520" y="204292"/>
                  </a:lnTo>
                  <a:lnTo>
                    <a:pt x="804520" y="206324"/>
                  </a:lnTo>
                  <a:lnTo>
                    <a:pt x="804520" y="204990"/>
                  </a:lnTo>
                  <a:lnTo>
                    <a:pt x="804622" y="204990"/>
                  </a:lnTo>
                  <a:lnTo>
                    <a:pt x="804622" y="206324"/>
                  </a:lnTo>
                  <a:lnTo>
                    <a:pt x="804622" y="204990"/>
                  </a:lnTo>
                  <a:lnTo>
                    <a:pt x="804622" y="206324"/>
                  </a:lnTo>
                  <a:lnTo>
                    <a:pt x="804672" y="204990"/>
                  </a:lnTo>
                  <a:lnTo>
                    <a:pt x="804672" y="206324"/>
                  </a:lnTo>
                  <a:lnTo>
                    <a:pt x="804672" y="204990"/>
                  </a:lnTo>
                  <a:lnTo>
                    <a:pt x="804672" y="206324"/>
                  </a:lnTo>
                  <a:lnTo>
                    <a:pt x="804672" y="204990"/>
                  </a:lnTo>
                  <a:lnTo>
                    <a:pt x="804672" y="206324"/>
                  </a:lnTo>
                  <a:lnTo>
                    <a:pt x="804672" y="204990"/>
                  </a:lnTo>
                  <a:lnTo>
                    <a:pt x="804723" y="204292"/>
                  </a:lnTo>
                  <a:lnTo>
                    <a:pt x="804723" y="202959"/>
                  </a:lnTo>
                  <a:lnTo>
                    <a:pt x="804825" y="202959"/>
                  </a:lnTo>
                  <a:lnTo>
                    <a:pt x="804825" y="200228"/>
                  </a:lnTo>
                  <a:lnTo>
                    <a:pt x="804825" y="202959"/>
                  </a:lnTo>
                  <a:lnTo>
                    <a:pt x="804825" y="202260"/>
                  </a:lnTo>
                  <a:lnTo>
                    <a:pt x="804863" y="202260"/>
                  </a:lnTo>
                  <a:lnTo>
                    <a:pt x="804863" y="200228"/>
                  </a:lnTo>
                  <a:lnTo>
                    <a:pt x="804863" y="204292"/>
                  </a:lnTo>
                  <a:lnTo>
                    <a:pt x="804863" y="203594"/>
                  </a:lnTo>
                  <a:lnTo>
                    <a:pt x="804914" y="202959"/>
                  </a:lnTo>
                  <a:lnTo>
                    <a:pt x="804914" y="202260"/>
                  </a:lnTo>
                  <a:lnTo>
                    <a:pt x="804914" y="203594"/>
                  </a:lnTo>
                  <a:lnTo>
                    <a:pt x="804914" y="202959"/>
                  </a:lnTo>
                  <a:lnTo>
                    <a:pt x="804914" y="204292"/>
                  </a:lnTo>
                  <a:lnTo>
                    <a:pt x="804914" y="202959"/>
                  </a:lnTo>
                  <a:lnTo>
                    <a:pt x="804965" y="202959"/>
                  </a:lnTo>
                  <a:lnTo>
                    <a:pt x="804965" y="203594"/>
                  </a:lnTo>
                  <a:lnTo>
                    <a:pt x="804965" y="202959"/>
                  </a:lnTo>
                  <a:lnTo>
                    <a:pt x="804965" y="203594"/>
                  </a:lnTo>
                  <a:lnTo>
                    <a:pt x="805066" y="203594"/>
                  </a:lnTo>
                  <a:lnTo>
                    <a:pt x="805066" y="204292"/>
                  </a:lnTo>
                  <a:lnTo>
                    <a:pt x="805066" y="203594"/>
                  </a:lnTo>
                  <a:lnTo>
                    <a:pt x="805066" y="204292"/>
                  </a:lnTo>
                  <a:lnTo>
                    <a:pt x="805117" y="204292"/>
                  </a:lnTo>
                  <a:lnTo>
                    <a:pt x="805117" y="204990"/>
                  </a:lnTo>
                  <a:lnTo>
                    <a:pt x="805168" y="204990"/>
                  </a:lnTo>
                  <a:lnTo>
                    <a:pt x="805168" y="204292"/>
                  </a:lnTo>
                  <a:lnTo>
                    <a:pt x="805269" y="204292"/>
                  </a:lnTo>
                  <a:lnTo>
                    <a:pt x="805269" y="203594"/>
                  </a:lnTo>
                  <a:lnTo>
                    <a:pt x="805320" y="204292"/>
                  </a:lnTo>
                  <a:lnTo>
                    <a:pt x="805320" y="202959"/>
                  </a:lnTo>
                  <a:lnTo>
                    <a:pt x="805320" y="204990"/>
                  </a:lnTo>
                  <a:lnTo>
                    <a:pt x="805371" y="206324"/>
                  </a:lnTo>
                  <a:lnTo>
                    <a:pt x="805371" y="204990"/>
                  </a:lnTo>
                  <a:lnTo>
                    <a:pt x="805371" y="206324"/>
                  </a:lnTo>
                  <a:lnTo>
                    <a:pt x="805371" y="204990"/>
                  </a:lnTo>
                  <a:lnTo>
                    <a:pt x="805371" y="206324"/>
                  </a:lnTo>
                  <a:lnTo>
                    <a:pt x="805409" y="204990"/>
                  </a:lnTo>
                  <a:lnTo>
                    <a:pt x="805409" y="206324"/>
                  </a:lnTo>
                  <a:lnTo>
                    <a:pt x="805409" y="204292"/>
                  </a:lnTo>
                  <a:lnTo>
                    <a:pt x="805409" y="204990"/>
                  </a:lnTo>
                  <a:lnTo>
                    <a:pt x="805409" y="204292"/>
                  </a:lnTo>
                  <a:lnTo>
                    <a:pt x="805409" y="204990"/>
                  </a:lnTo>
                  <a:lnTo>
                    <a:pt x="805511" y="204990"/>
                  </a:lnTo>
                  <a:lnTo>
                    <a:pt x="805511" y="204292"/>
                  </a:lnTo>
                  <a:lnTo>
                    <a:pt x="805511" y="204990"/>
                  </a:lnTo>
                  <a:lnTo>
                    <a:pt x="805511" y="204292"/>
                  </a:lnTo>
                  <a:lnTo>
                    <a:pt x="805511" y="204990"/>
                  </a:lnTo>
                  <a:lnTo>
                    <a:pt x="805562" y="204990"/>
                  </a:lnTo>
                  <a:lnTo>
                    <a:pt x="805562" y="204292"/>
                  </a:lnTo>
                  <a:lnTo>
                    <a:pt x="805562" y="206324"/>
                  </a:lnTo>
                  <a:lnTo>
                    <a:pt x="805612" y="206324"/>
                  </a:lnTo>
                  <a:lnTo>
                    <a:pt x="805612" y="204990"/>
                  </a:lnTo>
                  <a:lnTo>
                    <a:pt x="805612" y="206324"/>
                  </a:lnTo>
                  <a:lnTo>
                    <a:pt x="805612" y="204990"/>
                  </a:lnTo>
                  <a:lnTo>
                    <a:pt x="805612" y="206324"/>
                  </a:lnTo>
                  <a:lnTo>
                    <a:pt x="805612" y="204990"/>
                  </a:lnTo>
                  <a:lnTo>
                    <a:pt x="805714" y="204990"/>
                  </a:lnTo>
                  <a:lnTo>
                    <a:pt x="805714" y="203594"/>
                  </a:lnTo>
                  <a:lnTo>
                    <a:pt x="805765" y="202959"/>
                  </a:lnTo>
                  <a:lnTo>
                    <a:pt x="805765" y="203594"/>
                  </a:lnTo>
                  <a:lnTo>
                    <a:pt x="805765" y="202959"/>
                  </a:lnTo>
                  <a:lnTo>
                    <a:pt x="805765" y="204990"/>
                  </a:lnTo>
                  <a:lnTo>
                    <a:pt x="805765" y="204292"/>
                  </a:lnTo>
                  <a:lnTo>
                    <a:pt x="805765" y="204990"/>
                  </a:lnTo>
                  <a:lnTo>
                    <a:pt x="805765" y="204292"/>
                  </a:lnTo>
                  <a:lnTo>
                    <a:pt x="805816" y="204292"/>
                  </a:lnTo>
                  <a:lnTo>
                    <a:pt x="805816" y="203594"/>
                  </a:lnTo>
                  <a:lnTo>
                    <a:pt x="805816" y="207721"/>
                  </a:lnTo>
                  <a:lnTo>
                    <a:pt x="805816" y="204990"/>
                  </a:lnTo>
                  <a:lnTo>
                    <a:pt x="805866" y="206324"/>
                  </a:lnTo>
                  <a:lnTo>
                    <a:pt x="805866" y="207721"/>
                  </a:lnTo>
                  <a:lnTo>
                    <a:pt x="805866" y="206324"/>
                  </a:lnTo>
                  <a:lnTo>
                    <a:pt x="805866" y="207022"/>
                  </a:lnTo>
                  <a:lnTo>
                    <a:pt x="805866" y="206324"/>
                  </a:lnTo>
                  <a:lnTo>
                    <a:pt x="805955" y="206324"/>
                  </a:lnTo>
                  <a:lnTo>
                    <a:pt x="805955" y="207022"/>
                  </a:lnTo>
                  <a:lnTo>
                    <a:pt x="805955" y="206324"/>
                  </a:lnTo>
                  <a:lnTo>
                    <a:pt x="806006" y="206324"/>
                  </a:lnTo>
                  <a:lnTo>
                    <a:pt x="806006" y="207022"/>
                  </a:lnTo>
                  <a:lnTo>
                    <a:pt x="806006" y="204990"/>
                  </a:lnTo>
                  <a:lnTo>
                    <a:pt x="806006" y="206324"/>
                  </a:lnTo>
                  <a:lnTo>
                    <a:pt x="806006" y="204990"/>
                  </a:lnTo>
                  <a:lnTo>
                    <a:pt x="806057" y="204990"/>
                  </a:lnTo>
                  <a:lnTo>
                    <a:pt x="806057" y="206324"/>
                  </a:lnTo>
                  <a:lnTo>
                    <a:pt x="806057" y="204990"/>
                  </a:lnTo>
                  <a:lnTo>
                    <a:pt x="806057" y="206324"/>
                  </a:lnTo>
                  <a:lnTo>
                    <a:pt x="806057" y="204292"/>
                  </a:lnTo>
                  <a:lnTo>
                    <a:pt x="806057" y="204990"/>
                  </a:lnTo>
                  <a:lnTo>
                    <a:pt x="806108" y="204990"/>
                  </a:lnTo>
                  <a:lnTo>
                    <a:pt x="806108" y="203594"/>
                  </a:lnTo>
                  <a:lnTo>
                    <a:pt x="806108" y="204292"/>
                  </a:lnTo>
                  <a:lnTo>
                    <a:pt x="806108" y="203594"/>
                  </a:lnTo>
                  <a:lnTo>
                    <a:pt x="806209" y="203594"/>
                  </a:lnTo>
                  <a:lnTo>
                    <a:pt x="806209" y="202260"/>
                  </a:lnTo>
                  <a:lnTo>
                    <a:pt x="806209" y="202959"/>
                  </a:lnTo>
                  <a:lnTo>
                    <a:pt x="806209" y="200876"/>
                  </a:lnTo>
                  <a:lnTo>
                    <a:pt x="806209" y="202260"/>
                  </a:lnTo>
                  <a:lnTo>
                    <a:pt x="806260" y="202260"/>
                  </a:lnTo>
                  <a:lnTo>
                    <a:pt x="806260" y="203594"/>
                  </a:lnTo>
                  <a:lnTo>
                    <a:pt x="806260" y="202959"/>
                  </a:lnTo>
                  <a:lnTo>
                    <a:pt x="806260" y="203594"/>
                  </a:lnTo>
                  <a:lnTo>
                    <a:pt x="806260" y="202260"/>
                  </a:lnTo>
                  <a:lnTo>
                    <a:pt x="806260" y="202959"/>
                  </a:lnTo>
                  <a:lnTo>
                    <a:pt x="806311" y="202959"/>
                  </a:lnTo>
                  <a:lnTo>
                    <a:pt x="806311" y="204990"/>
                  </a:lnTo>
                  <a:lnTo>
                    <a:pt x="806311" y="203594"/>
                  </a:lnTo>
                  <a:lnTo>
                    <a:pt x="806311" y="204990"/>
                  </a:lnTo>
                  <a:lnTo>
                    <a:pt x="806412" y="204990"/>
                  </a:lnTo>
                  <a:lnTo>
                    <a:pt x="806412" y="206324"/>
                  </a:lnTo>
                  <a:lnTo>
                    <a:pt x="806412" y="204292"/>
                  </a:lnTo>
                  <a:lnTo>
                    <a:pt x="806412" y="204990"/>
                  </a:lnTo>
                  <a:lnTo>
                    <a:pt x="806412" y="204292"/>
                  </a:lnTo>
                  <a:lnTo>
                    <a:pt x="806412" y="204990"/>
                  </a:lnTo>
                  <a:lnTo>
                    <a:pt x="806451" y="204990"/>
                  </a:lnTo>
                  <a:lnTo>
                    <a:pt x="806451" y="204292"/>
                  </a:lnTo>
                  <a:lnTo>
                    <a:pt x="806451" y="204990"/>
                  </a:lnTo>
                  <a:lnTo>
                    <a:pt x="806501" y="204990"/>
                  </a:lnTo>
                  <a:lnTo>
                    <a:pt x="806501" y="206324"/>
                  </a:lnTo>
                  <a:lnTo>
                    <a:pt x="806501" y="204990"/>
                  </a:lnTo>
                  <a:lnTo>
                    <a:pt x="806501" y="206324"/>
                  </a:lnTo>
                  <a:lnTo>
                    <a:pt x="806501" y="204990"/>
                  </a:lnTo>
                  <a:lnTo>
                    <a:pt x="806552" y="206324"/>
                  </a:lnTo>
                  <a:lnTo>
                    <a:pt x="806552" y="204990"/>
                  </a:lnTo>
                  <a:lnTo>
                    <a:pt x="806552" y="206324"/>
                  </a:lnTo>
                  <a:lnTo>
                    <a:pt x="806552" y="204990"/>
                  </a:lnTo>
                  <a:lnTo>
                    <a:pt x="806552" y="206324"/>
                  </a:lnTo>
                  <a:lnTo>
                    <a:pt x="806552" y="204990"/>
                  </a:lnTo>
                  <a:lnTo>
                    <a:pt x="806654" y="204990"/>
                  </a:lnTo>
                  <a:lnTo>
                    <a:pt x="806654" y="204292"/>
                  </a:lnTo>
                  <a:lnTo>
                    <a:pt x="806654" y="204990"/>
                  </a:lnTo>
                  <a:lnTo>
                    <a:pt x="806654" y="202959"/>
                  </a:lnTo>
                  <a:lnTo>
                    <a:pt x="806705" y="202959"/>
                  </a:lnTo>
                  <a:lnTo>
                    <a:pt x="806705" y="200876"/>
                  </a:lnTo>
                  <a:lnTo>
                    <a:pt x="806705" y="202959"/>
                  </a:lnTo>
                  <a:lnTo>
                    <a:pt x="806755" y="202959"/>
                  </a:lnTo>
                  <a:lnTo>
                    <a:pt x="806755" y="203594"/>
                  </a:lnTo>
                  <a:lnTo>
                    <a:pt x="806755" y="202260"/>
                  </a:lnTo>
                  <a:lnTo>
                    <a:pt x="806755" y="204990"/>
                  </a:lnTo>
                  <a:lnTo>
                    <a:pt x="806857" y="204990"/>
                  </a:lnTo>
                  <a:lnTo>
                    <a:pt x="806857" y="202959"/>
                  </a:lnTo>
                  <a:lnTo>
                    <a:pt x="806857" y="204990"/>
                  </a:lnTo>
                  <a:lnTo>
                    <a:pt x="806908" y="204990"/>
                  </a:lnTo>
                  <a:lnTo>
                    <a:pt x="806908" y="203594"/>
                  </a:lnTo>
                  <a:lnTo>
                    <a:pt x="806908" y="204292"/>
                  </a:lnTo>
                  <a:lnTo>
                    <a:pt x="806958" y="204292"/>
                  </a:lnTo>
                  <a:lnTo>
                    <a:pt x="806958" y="204990"/>
                  </a:lnTo>
                  <a:lnTo>
                    <a:pt x="806958" y="204292"/>
                  </a:lnTo>
                  <a:lnTo>
                    <a:pt x="806958" y="204990"/>
                  </a:lnTo>
                  <a:lnTo>
                    <a:pt x="806997" y="204990"/>
                  </a:lnTo>
                  <a:lnTo>
                    <a:pt x="806997" y="207022"/>
                  </a:lnTo>
                  <a:lnTo>
                    <a:pt x="806997" y="204990"/>
                  </a:lnTo>
                  <a:lnTo>
                    <a:pt x="807098" y="204990"/>
                  </a:lnTo>
                  <a:lnTo>
                    <a:pt x="807098" y="206324"/>
                  </a:lnTo>
                  <a:lnTo>
                    <a:pt x="807098" y="204990"/>
                  </a:lnTo>
                  <a:lnTo>
                    <a:pt x="807098" y="206324"/>
                  </a:lnTo>
                  <a:lnTo>
                    <a:pt x="807098" y="204990"/>
                  </a:lnTo>
                  <a:lnTo>
                    <a:pt x="807149" y="204990"/>
                  </a:lnTo>
                  <a:lnTo>
                    <a:pt x="807149" y="204292"/>
                  </a:lnTo>
                  <a:lnTo>
                    <a:pt x="807149" y="204990"/>
                  </a:lnTo>
                  <a:lnTo>
                    <a:pt x="807149" y="202959"/>
                  </a:lnTo>
                  <a:lnTo>
                    <a:pt x="807200" y="202959"/>
                  </a:lnTo>
                  <a:lnTo>
                    <a:pt x="807200" y="200876"/>
                  </a:lnTo>
                  <a:lnTo>
                    <a:pt x="807200" y="202260"/>
                  </a:lnTo>
                  <a:lnTo>
                    <a:pt x="807200" y="200876"/>
                  </a:lnTo>
                  <a:lnTo>
                    <a:pt x="807301" y="200876"/>
                  </a:lnTo>
                  <a:lnTo>
                    <a:pt x="807301" y="199530"/>
                  </a:lnTo>
                  <a:lnTo>
                    <a:pt x="807301" y="202260"/>
                  </a:lnTo>
                  <a:lnTo>
                    <a:pt x="807301" y="200228"/>
                  </a:lnTo>
                  <a:lnTo>
                    <a:pt x="807352" y="200228"/>
                  </a:lnTo>
                  <a:lnTo>
                    <a:pt x="807352" y="202959"/>
                  </a:lnTo>
                  <a:lnTo>
                    <a:pt x="807352" y="200876"/>
                  </a:lnTo>
                  <a:lnTo>
                    <a:pt x="807403" y="200876"/>
                  </a:lnTo>
                  <a:lnTo>
                    <a:pt x="807403" y="203594"/>
                  </a:lnTo>
                  <a:lnTo>
                    <a:pt x="807403" y="202260"/>
                  </a:lnTo>
                  <a:lnTo>
                    <a:pt x="807454" y="202260"/>
                  </a:lnTo>
                  <a:lnTo>
                    <a:pt x="807454" y="204292"/>
                  </a:lnTo>
                  <a:lnTo>
                    <a:pt x="807543" y="204292"/>
                  </a:lnTo>
                  <a:lnTo>
                    <a:pt x="807543" y="204990"/>
                  </a:lnTo>
                  <a:lnTo>
                    <a:pt x="807543" y="204292"/>
                  </a:lnTo>
                  <a:lnTo>
                    <a:pt x="807543" y="204990"/>
                  </a:lnTo>
                  <a:lnTo>
                    <a:pt x="807543" y="204292"/>
                  </a:lnTo>
                  <a:lnTo>
                    <a:pt x="807543" y="204990"/>
                  </a:lnTo>
                  <a:lnTo>
                    <a:pt x="807593" y="204990"/>
                  </a:lnTo>
                  <a:lnTo>
                    <a:pt x="807593" y="204292"/>
                  </a:lnTo>
                  <a:lnTo>
                    <a:pt x="807593" y="204990"/>
                  </a:lnTo>
                  <a:lnTo>
                    <a:pt x="807593" y="204292"/>
                  </a:lnTo>
                  <a:lnTo>
                    <a:pt x="807593" y="204990"/>
                  </a:lnTo>
                  <a:lnTo>
                    <a:pt x="807644" y="204990"/>
                  </a:lnTo>
                  <a:lnTo>
                    <a:pt x="807644" y="204292"/>
                  </a:lnTo>
                  <a:lnTo>
                    <a:pt x="807644" y="204990"/>
                  </a:lnTo>
                  <a:lnTo>
                    <a:pt x="807644" y="204292"/>
                  </a:lnTo>
                  <a:lnTo>
                    <a:pt x="807644" y="204990"/>
                  </a:lnTo>
                  <a:lnTo>
                    <a:pt x="807644" y="204292"/>
                  </a:lnTo>
                  <a:lnTo>
                    <a:pt x="807644" y="204990"/>
                  </a:lnTo>
                  <a:lnTo>
                    <a:pt x="807644" y="203594"/>
                  </a:lnTo>
                  <a:lnTo>
                    <a:pt x="807644" y="204292"/>
                  </a:lnTo>
                  <a:lnTo>
                    <a:pt x="807695" y="203594"/>
                  </a:lnTo>
                  <a:lnTo>
                    <a:pt x="807695" y="202260"/>
                  </a:lnTo>
                  <a:lnTo>
                    <a:pt x="807695" y="204292"/>
                  </a:lnTo>
                  <a:lnTo>
                    <a:pt x="807797" y="204292"/>
                  </a:lnTo>
                  <a:lnTo>
                    <a:pt x="807797" y="202260"/>
                  </a:lnTo>
                  <a:lnTo>
                    <a:pt x="807797" y="202959"/>
                  </a:lnTo>
                  <a:lnTo>
                    <a:pt x="807797" y="202260"/>
                  </a:lnTo>
                  <a:lnTo>
                    <a:pt x="807797" y="204990"/>
                  </a:lnTo>
                  <a:lnTo>
                    <a:pt x="807847" y="204292"/>
                  </a:lnTo>
                  <a:lnTo>
                    <a:pt x="807847" y="202260"/>
                  </a:lnTo>
                  <a:lnTo>
                    <a:pt x="807847" y="203594"/>
                  </a:lnTo>
                  <a:lnTo>
                    <a:pt x="807898" y="203594"/>
                  </a:lnTo>
                  <a:lnTo>
                    <a:pt x="807898" y="202959"/>
                  </a:lnTo>
                  <a:lnTo>
                    <a:pt x="807898" y="203594"/>
                  </a:lnTo>
                  <a:lnTo>
                    <a:pt x="808000" y="203594"/>
                  </a:lnTo>
                  <a:lnTo>
                    <a:pt x="808000" y="202959"/>
                  </a:lnTo>
                  <a:lnTo>
                    <a:pt x="808000" y="203594"/>
                  </a:lnTo>
                  <a:lnTo>
                    <a:pt x="808000" y="202959"/>
                  </a:lnTo>
                  <a:lnTo>
                    <a:pt x="808000" y="204292"/>
                  </a:lnTo>
                  <a:lnTo>
                    <a:pt x="808000" y="203594"/>
                  </a:lnTo>
                  <a:lnTo>
                    <a:pt x="808000" y="204292"/>
                  </a:lnTo>
                  <a:lnTo>
                    <a:pt x="808038" y="204292"/>
                  </a:lnTo>
                  <a:lnTo>
                    <a:pt x="808038" y="203594"/>
                  </a:lnTo>
                  <a:lnTo>
                    <a:pt x="808038" y="204292"/>
                  </a:lnTo>
                  <a:lnTo>
                    <a:pt x="808038" y="203594"/>
                  </a:lnTo>
                  <a:lnTo>
                    <a:pt x="808038" y="204292"/>
                  </a:lnTo>
                  <a:lnTo>
                    <a:pt x="808089" y="204292"/>
                  </a:lnTo>
                  <a:lnTo>
                    <a:pt x="808089" y="203594"/>
                  </a:lnTo>
                  <a:lnTo>
                    <a:pt x="808089" y="204292"/>
                  </a:lnTo>
                  <a:lnTo>
                    <a:pt x="808140" y="204292"/>
                  </a:lnTo>
                  <a:lnTo>
                    <a:pt x="808140" y="203594"/>
                  </a:lnTo>
                  <a:lnTo>
                    <a:pt x="808140" y="204292"/>
                  </a:lnTo>
                  <a:lnTo>
                    <a:pt x="808140" y="203594"/>
                  </a:lnTo>
                  <a:lnTo>
                    <a:pt x="808241" y="203594"/>
                  </a:lnTo>
                  <a:lnTo>
                    <a:pt x="808241" y="202959"/>
                  </a:lnTo>
                  <a:lnTo>
                    <a:pt x="808241" y="204292"/>
                  </a:lnTo>
                  <a:lnTo>
                    <a:pt x="808241" y="203594"/>
                  </a:lnTo>
                  <a:lnTo>
                    <a:pt x="808241" y="204292"/>
                  </a:lnTo>
                  <a:lnTo>
                    <a:pt x="808241" y="203594"/>
                  </a:lnTo>
                  <a:lnTo>
                    <a:pt x="808292" y="202959"/>
                  </a:lnTo>
                  <a:lnTo>
                    <a:pt x="808292" y="207022"/>
                  </a:lnTo>
                  <a:lnTo>
                    <a:pt x="808292" y="203594"/>
                  </a:lnTo>
                  <a:lnTo>
                    <a:pt x="808343" y="203594"/>
                  </a:lnTo>
                  <a:lnTo>
                    <a:pt x="808343" y="206324"/>
                  </a:lnTo>
                  <a:lnTo>
                    <a:pt x="808343" y="204292"/>
                  </a:lnTo>
                  <a:lnTo>
                    <a:pt x="808343" y="204990"/>
                  </a:lnTo>
                  <a:lnTo>
                    <a:pt x="808444" y="204292"/>
                  </a:lnTo>
                  <a:lnTo>
                    <a:pt x="808444" y="204990"/>
                  </a:lnTo>
                  <a:lnTo>
                    <a:pt x="808444" y="204292"/>
                  </a:lnTo>
                  <a:lnTo>
                    <a:pt x="808444" y="204990"/>
                  </a:lnTo>
                  <a:lnTo>
                    <a:pt x="808495" y="204990"/>
                  </a:lnTo>
                  <a:lnTo>
                    <a:pt x="808495" y="204292"/>
                  </a:lnTo>
                  <a:lnTo>
                    <a:pt x="808495" y="204990"/>
                  </a:lnTo>
                  <a:lnTo>
                    <a:pt x="808495" y="204292"/>
                  </a:lnTo>
                  <a:lnTo>
                    <a:pt x="808495" y="204990"/>
                  </a:lnTo>
                  <a:lnTo>
                    <a:pt x="808495" y="204292"/>
                  </a:lnTo>
                  <a:lnTo>
                    <a:pt x="808546" y="204292"/>
                  </a:lnTo>
                  <a:lnTo>
                    <a:pt x="808546" y="204990"/>
                  </a:lnTo>
                  <a:lnTo>
                    <a:pt x="808546" y="203594"/>
                  </a:lnTo>
                  <a:lnTo>
                    <a:pt x="808546" y="204292"/>
                  </a:lnTo>
                  <a:lnTo>
                    <a:pt x="808546" y="203594"/>
                  </a:lnTo>
                  <a:lnTo>
                    <a:pt x="808584" y="203594"/>
                  </a:lnTo>
                  <a:lnTo>
                    <a:pt x="808584" y="204292"/>
                  </a:lnTo>
                  <a:lnTo>
                    <a:pt x="808584" y="203594"/>
                  </a:lnTo>
                  <a:lnTo>
                    <a:pt x="808686" y="203594"/>
                  </a:lnTo>
                  <a:lnTo>
                    <a:pt x="808686" y="200876"/>
                  </a:lnTo>
                  <a:lnTo>
                    <a:pt x="808737" y="200876"/>
                  </a:lnTo>
                  <a:lnTo>
                    <a:pt x="808737" y="203594"/>
                  </a:lnTo>
                  <a:lnTo>
                    <a:pt x="808737" y="202260"/>
                  </a:lnTo>
                  <a:lnTo>
                    <a:pt x="808787" y="202959"/>
                  </a:lnTo>
                  <a:lnTo>
                    <a:pt x="808787" y="204990"/>
                  </a:lnTo>
                  <a:lnTo>
                    <a:pt x="808787" y="203594"/>
                  </a:lnTo>
                  <a:lnTo>
                    <a:pt x="808787" y="204292"/>
                  </a:lnTo>
                  <a:lnTo>
                    <a:pt x="808889" y="204292"/>
                  </a:lnTo>
                  <a:lnTo>
                    <a:pt x="808889" y="204990"/>
                  </a:lnTo>
                  <a:lnTo>
                    <a:pt x="808889" y="203594"/>
                  </a:lnTo>
                  <a:lnTo>
                    <a:pt x="808889" y="204990"/>
                  </a:lnTo>
                  <a:lnTo>
                    <a:pt x="808940" y="204990"/>
                  </a:lnTo>
                  <a:lnTo>
                    <a:pt x="808940" y="204292"/>
                  </a:lnTo>
                  <a:lnTo>
                    <a:pt x="808940" y="204990"/>
                  </a:lnTo>
                  <a:lnTo>
                    <a:pt x="808940" y="204292"/>
                  </a:lnTo>
                  <a:lnTo>
                    <a:pt x="808940" y="204990"/>
                  </a:lnTo>
                  <a:lnTo>
                    <a:pt x="808940" y="204292"/>
                  </a:lnTo>
                  <a:lnTo>
                    <a:pt x="808940" y="204990"/>
                  </a:lnTo>
                  <a:lnTo>
                    <a:pt x="808991" y="204990"/>
                  </a:lnTo>
                  <a:lnTo>
                    <a:pt x="808991" y="206324"/>
                  </a:lnTo>
                  <a:lnTo>
                    <a:pt x="808991" y="204292"/>
                  </a:lnTo>
                  <a:lnTo>
                    <a:pt x="808991" y="206324"/>
                  </a:lnTo>
                  <a:lnTo>
                    <a:pt x="808991" y="204990"/>
                  </a:lnTo>
                  <a:lnTo>
                    <a:pt x="809041" y="204990"/>
                  </a:lnTo>
                  <a:lnTo>
                    <a:pt x="809041" y="203594"/>
                  </a:lnTo>
                  <a:lnTo>
                    <a:pt x="809041" y="204292"/>
                  </a:lnTo>
                  <a:lnTo>
                    <a:pt x="809041" y="203594"/>
                  </a:lnTo>
                  <a:lnTo>
                    <a:pt x="809041" y="204292"/>
                  </a:lnTo>
                  <a:lnTo>
                    <a:pt x="809041" y="203594"/>
                  </a:lnTo>
                  <a:lnTo>
                    <a:pt x="809041" y="204292"/>
                  </a:lnTo>
                  <a:lnTo>
                    <a:pt x="809130" y="204292"/>
                  </a:lnTo>
                  <a:lnTo>
                    <a:pt x="809130" y="202959"/>
                  </a:lnTo>
                  <a:lnTo>
                    <a:pt x="809181" y="202959"/>
                  </a:lnTo>
                  <a:lnTo>
                    <a:pt x="809181" y="200228"/>
                  </a:lnTo>
                  <a:lnTo>
                    <a:pt x="809181" y="202260"/>
                  </a:lnTo>
                  <a:lnTo>
                    <a:pt x="809232" y="202959"/>
                  </a:lnTo>
                  <a:lnTo>
                    <a:pt x="809232" y="202260"/>
                  </a:lnTo>
                  <a:lnTo>
                    <a:pt x="809232" y="203594"/>
                  </a:lnTo>
                  <a:lnTo>
                    <a:pt x="809283" y="203594"/>
                  </a:lnTo>
                  <a:lnTo>
                    <a:pt x="809283" y="204292"/>
                  </a:lnTo>
                  <a:lnTo>
                    <a:pt x="809283" y="202959"/>
                  </a:lnTo>
                  <a:lnTo>
                    <a:pt x="809283" y="203594"/>
                  </a:lnTo>
                  <a:lnTo>
                    <a:pt x="809283" y="202959"/>
                  </a:lnTo>
                  <a:lnTo>
                    <a:pt x="809283" y="204292"/>
                  </a:lnTo>
                  <a:lnTo>
                    <a:pt x="809384" y="204292"/>
                  </a:lnTo>
                  <a:lnTo>
                    <a:pt x="809384" y="203594"/>
                  </a:lnTo>
                  <a:lnTo>
                    <a:pt x="809384" y="204990"/>
                  </a:lnTo>
                  <a:lnTo>
                    <a:pt x="809384" y="204292"/>
                  </a:lnTo>
                  <a:lnTo>
                    <a:pt x="809435" y="204292"/>
                  </a:lnTo>
                  <a:lnTo>
                    <a:pt x="809435" y="204990"/>
                  </a:lnTo>
                  <a:lnTo>
                    <a:pt x="809435" y="204292"/>
                  </a:lnTo>
                  <a:lnTo>
                    <a:pt x="809435" y="206324"/>
                  </a:lnTo>
                  <a:lnTo>
                    <a:pt x="809435" y="204990"/>
                  </a:lnTo>
                  <a:lnTo>
                    <a:pt x="809486" y="204990"/>
                  </a:lnTo>
                  <a:lnTo>
                    <a:pt x="809486" y="207022"/>
                  </a:lnTo>
                  <a:lnTo>
                    <a:pt x="809486" y="204990"/>
                  </a:lnTo>
                  <a:lnTo>
                    <a:pt x="809486" y="206324"/>
                  </a:lnTo>
                  <a:lnTo>
                    <a:pt x="809587" y="206324"/>
                  </a:lnTo>
                  <a:lnTo>
                    <a:pt x="809587" y="204990"/>
                  </a:lnTo>
                  <a:lnTo>
                    <a:pt x="809587" y="206324"/>
                  </a:lnTo>
                  <a:lnTo>
                    <a:pt x="809587" y="204292"/>
                  </a:lnTo>
                  <a:lnTo>
                    <a:pt x="809626" y="204990"/>
                  </a:lnTo>
                  <a:lnTo>
                    <a:pt x="809626" y="203594"/>
                  </a:lnTo>
                  <a:lnTo>
                    <a:pt x="809626" y="204292"/>
                  </a:lnTo>
                  <a:lnTo>
                    <a:pt x="809626" y="203594"/>
                  </a:lnTo>
                  <a:lnTo>
                    <a:pt x="809676" y="202959"/>
                  </a:lnTo>
                  <a:lnTo>
                    <a:pt x="809676" y="202260"/>
                  </a:lnTo>
                  <a:lnTo>
                    <a:pt x="809676" y="202959"/>
                  </a:lnTo>
                  <a:lnTo>
                    <a:pt x="809676" y="202260"/>
                  </a:lnTo>
                  <a:lnTo>
                    <a:pt x="809676" y="203594"/>
                  </a:lnTo>
                  <a:lnTo>
                    <a:pt x="809727" y="203594"/>
                  </a:lnTo>
                  <a:lnTo>
                    <a:pt x="809727" y="200876"/>
                  </a:lnTo>
                  <a:lnTo>
                    <a:pt x="809727" y="204990"/>
                  </a:lnTo>
                  <a:lnTo>
                    <a:pt x="809727" y="204292"/>
                  </a:lnTo>
                  <a:lnTo>
                    <a:pt x="809829" y="204292"/>
                  </a:lnTo>
                  <a:lnTo>
                    <a:pt x="809829" y="202959"/>
                  </a:lnTo>
                  <a:lnTo>
                    <a:pt x="809829" y="203594"/>
                  </a:lnTo>
                  <a:lnTo>
                    <a:pt x="809880" y="203594"/>
                  </a:lnTo>
                  <a:lnTo>
                    <a:pt x="809880" y="204292"/>
                  </a:lnTo>
                  <a:lnTo>
                    <a:pt x="809930" y="204292"/>
                  </a:lnTo>
                  <a:lnTo>
                    <a:pt x="809930" y="204990"/>
                  </a:lnTo>
                  <a:lnTo>
                    <a:pt x="810032" y="204990"/>
                  </a:lnTo>
                  <a:lnTo>
                    <a:pt x="810032" y="204292"/>
                  </a:lnTo>
                  <a:lnTo>
                    <a:pt x="810032" y="204990"/>
                  </a:lnTo>
                  <a:lnTo>
                    <a:pt x="810032" y="204292"/>
                  </a:lnTo>
                  <a:lnTo>
                    <a:pt x="810083" y="204292"/>
                  </a:lnTo>
                  <a:lnTo>
                    <a:pt x="810083" y="204990"/>
                  </a:lnTo>
                  <a:lnTo>
                    <a:pt x="810083" y="204292"/>
                  </a:lnTo>
                  <a:lnTo>
                    <a:pt x="810083" y="204990"/>
                  </a:lnTo>
                  <a:lnTo>
                    <a:pt x="810083" y="203594"/>
                  </a:lnTo>
                  <a:lnTo>
                    <a:pt x="810133" y="203594"/>
                  </a:lnTo>
                  <a:lnTo>
                    <a:pt x="810133" y="204292"/>
                  </a:lnTo>
                  <a:lnTo>
                    <a:pt x="810133" y="203594"/>
                  </a:lnTo>
                  <a:lnTo>
                    <a:pt x="810133" y="204292"/>
                  </a:lnTo>
                  <a:lnTo>
                    <a:pt x="810133" y="202959"/>
                  </a:lnTo>
                  <a:lnTo>
                    <a:pt x="810172" y="202959"/>
                  </a:lnTo>
                  <a:lnTo>
                    <a:pt x="810172" y="202260"/>
                  </a:lnTo>
                  <a:lnTo>
                    <a:pt x="810172" y="202959"/>
                  </a:lnTo>
                  <a:lnTo>
                    <a:pt x="810172" y="202260"/>
                  </a:lnTo>
                  <a:lnTo>
                    <a:pt x="810172" y="202959"/>
                  </a:lnTo>
                  <a:lnTo>
                    <a:pt x="810172" y="200228"/>
                  </a:lnTo>
                  <a:lnTo>
                    <a:pt x="810172" y="202959"/>
                  </a:lnTo>
                  <a:lnTo>
                    <a:pt x="810273" y="202959"/>
                  </a:lnTo>
                  <a:lnTo>
                    <a:pt x="810273" y="200228"/>
                  </a:lnTo>
                  <a:lnTo>
                    <a:pt x="810273" y="204292"/>
                  </a:lnTo>
                  <a:lnTo>
                    <a:pt x="810273" y="203594"/>
                  </a:lnTo>
                  <a:lnTo>
                    <a:pt x="810324" y="202959"/>
                  </a:lnTo>
                  <a:lnTo>
                    <a:pt x="810324" y="202260"/>
                  </a:lnTo>
                  <a:lnTo>
                    <a:pt x="810324" y="204292"/>
                  </a:lnTo>
                  <a:lnTo>
                    <a:pt x="810324" y="203594"/>
                  </a:lnTo>
                  <a:lnTo>
                    <a:pt x="810375" y="202959"/>
                  </a:lnTo>
                  <a:lnTo>
                    <a:pt x="810375" y="204292"/>
                  </a:lnTo>
                  <a:lnTo>
                    <a:pt x="810375" y="203594"/>
                  </a:lnTo>
                  <a:lnTo>
                    <a:pt x="810476" y="203594"/>
                  </a:lnTo>
                  <a:lnTo>
                    <a:pt x="810476" y="204292"/>
                  </a:lnTo>
                  <a:lnTo>
                    <a:pt x="810476" y="203594"/>
                  </a:lnTo>
                  <a:lnTo>
                    <a:pt x="810476" y="204292"/>
                  </a:lnTo>
                  <a:lnTo>
                    <a:pt x="810527" y="204292"/>
                  </a:lnTo>
                  <a:lnTo>
                    <a:pt x="810527" y="204990"/>
                  </a:lnTo>
                  <a:lnTo>
                    <a:pt x="810527" y="204292"/>
                  </a:lnTo>
                  <a:lnTo>
                    <a:pt x="810527" y="204990"/>
                  </a:lnTo>
                  <a:lnTo>
                    <a:pt x="810527" y="204292"/>
                  </a:lnTo>
                  <a:lnTo>
                    <a:pt x="810578" y="204292"/>
                  </a:lnTo>
                  <a:lnTo>
                    <a:pt x="810578" y="204990"/>
                  </a:lnTo>
                  <a:lnTo>
                    <a:pt x="810578" y="204292"/>
                  </a:lnTo>
                  <a:lnTo>
                    <a:pt x="810578" y="204990"/>
                  </a:lnTo>
                  <a:lnTo>
                    <a:pt x="810629" y="204292"/>
                  </a:lnTo>
                  <a:lnTo>
                    <a:pt x="810629" y="202959"/>
                  </a:lnTo>
                  <a:lnTo>
                    <a:pt x="810718" y="202959"/>
                  </a:lnTo>
                  <a:lnTo>
                    <a:pt x="810718" y="203594"/>
                  </a:lnTo>
                  <a:lnTo>
                    <a:pt x="810718" y="202959"/>
                  </a:lnTo>
                  <a:lnTo>
                    <a:pt x="810718" y="203594"/>
                  </a:lnTo>
                  <a:lnTo>
                    <a:pt x="810718" y="202260"/>
                  </a:lnTo>
                  <a:lnTo>
                    <a:pt x="810768" y="202260"/>
                  </a:lnTo>
                  <a:lnTo>
                    <a:pt x="810768" y="204990"/>
                  </a:lnTo>
                  <a:lnTo>
                    <a:pt x="810768" y="202959"/>
                  </a:lnTo>
                  <a:lnTo>
                    <a:pt x="810819" y="202959"/>
                  </a:lnTo>
                  <a:lnTo>
                    <a:pt x="810819" y="204292"/>
                  </a:lnTo>
                  <a:lnTo>
                    <a:pt x="810819" y="202959"/>
                  </a:lnTo>
                  <a:lnTo>
                    <a:pt x="810870" y="203594"/>
                  </a:lnTo>
                  <a:lnTo>
                    <a:pt x="810870" y="204292"/>
                  </a:lnTo>
                  <a:lnTo>
                    <a:pt x="810870" y="203594"/>
                  </a:lnTo>
                  <a:lnTo>
                    <a:pt x="810870" y="204292"/>
                  </a:lnTo>
                  <a:lnTo>
                    <a:pt x="810870" y="203594"/>
                  </a:lnTo>
                  <a:lnTo>
                    <a:pt x="810972" y="203594"/>
                  </a:lnTo>
                  <a:lnTo>
                    <a:pt x="810972" y="204292"/>
                  </a:lnTo>
                  <a:lnTo>
                    <a:pt x="810972" y="203594"/>
                  </a:lnTo>
                  <a:lnTo>
                    <a:pt x="810972" y="204292"/>
                  </a:lnTo>
                  <a:lnTo>
                    <a:pt x="811073" y="204292"/>
                  </a:lnTo>
                  <a:lnTo>
                    <a:pt x="811073" y="203594"/>
                  </a:lnTo>
                  <a:lnTo>
                    <a:pt x="811073" y="204292"/>
                  </a:lnTo>
                  <a:lnTo>
                    <a:pt x="811073" y="203594"/>
                  </a:lnTo>
                  <a:lnTo>
                    <a:pt x="811175" y="204292"/>
                  </a:lnTo>
                  <a:lnTo>
                    <a:pt x="811175" y="202959"/>
                  </a:lnTo>
                  <a:lnTo>
                    <a:pt x="811175" y="203594"/>
                  </a:lnTo>
                  <a:lnTo>
                    <a:pt x="811175" y="202260"/>
                  </a:lnTo>
                  <a:lnTo>
                    <a:pt x="811213" y="202260"/>
                  </a:lnTo>
                  <a:lnTo>
                    <a:pt x="811213" y="203594"/>
                  </a:lnTo>
                  <a:lnTo>
                    <a:pt x="811213" y="200876"/>
                  </a:lnTo>
                  <a:lnTo>
                    <a:pt x="811264" y="200876"/>
                  </a:lnTo>
                  <a:lnTo>
                    <a:pt x="811264" y="204990"/>
                  </a:lnTo>
                  <a:lnTo>
                    <a:pt x="811264" y="203594"/>
                  </a:lnTo>
                  <a:lnTo>
                    <a:pt x="811264" y="204292"/>
                  </a:lnTo>
                  <a:lnTo>
                    <a:pt x="811264" y="202959"/>
                  </a:lnTo>
                  <a:lnTo>
                    <a:pt x="811315" y="202959"/>
                  </a:lnTo>
                  <a:lnTo>
                    <a:pt x="811315" y="204990"/>
                  </a:lnTo>
                  <a:lnTo>
                    <a:pt x="811315" y="203594"/>
                  </a:lnTo>
                  <a:lnTo>
                    <a:pt x="811315" y="204292"/>
                  </a:lnTo>
                  <a:lnTo>
                    <a:pt x="811315" y="203594"/>
                  </a:lnTo>
                  <a:lnTo>
                    <a:pt x="811315" y="204292"/>
                  </a:lnTo>
                  <a:lnTo>
                    <a:pt x="811416" y="204292"/>
                  </a:lnTo>
                  <a:lnTo>
                    <a:pt x="811416" y="204990"/>
                  </a:lnTo>
                  <a:lnTo>
                    <a:pt x="811416" y="204292"/>
                  </a:lnTo>
                  <a:lnTo>
                    <a:pt x="811416" y="204990"/>
                  </a:lnTo>
                  <a:lnTo>
                    <a:pt x="811416" y="204292"/>
                  </a:lnTo>
                  <a:lnTo>
                    <a:pt x="811416" y="204990"/>
                  </a:lnTo>
                  <a:lnTo>
                    <a:pt x="811467" y="204990"/>
                  </a:lnTo>
                  <a:lnTo>
                    <a:pt x="811467" y="204292"/>
                  </a:lnTo>
                  <a:lnTo>
                    <a:pt x="811467" y="204990"/>
                  </a:lnTo>
                  <a:lnTo>
                    <a:pt x="811467" y="204292"/>
                  </a:lnTo>
                  <a:lnTo>
                    <a:pt x="811467" y="204990"/>
                  </a:lnTo>
                  <a:lnTo>
                    <a:pt x="811467" y="204292"/>
                  </a:lnTo>
                  <a:lnTo>
                    <a:pt x="811518" y="204292"/>
                  </a:lnTo>
                  <a:lnTo>
                    <a:pt x="811518" y="204990"/>
                  </a:lnTo>
                  <a:lnTo>
                    <a:pt x="811518" y="204292"/>
                  </a:lnTo>
                  <a:lnTo>
                    <a:pt x="811619" y="204990"/>
                  </a:lnTo>
                  <a:lnTo>
                    <a:pt x="811619" y="203594"/>
                  </a:lnTo>
                  <a:lnTo>
                    <a:pt x="811619" y="204292"/>
                  </a:lnTo>
                  <a:lnTo>
                    <a:pt x="811619" y="203594"/>
                  </a:lnTo>
                  <a:lnTo>
                    <a:pt x="811619" y="204292"/>
                  </a:lnTo>
                  <a:lnTo>
                    <a:pt x="811619" y="203594"/>
                  </a:lnTo>
                  <a:lnTo>
                    <a:pt x="811670" y="204292"/>
                  </a:lnTo>
                  <a:lnTo>
                    <a:pt x="811670" y="202260"/>
                  </a:lnTo>
                  <a:lnTo>
                    <a:pt x="811670" y="202959"/>
                  </a:lnTo>
                  <a:lnTo>
                    <a:pt x="811670" y="202260"/>
                  </a:lnTo>
                  <a:lnTo>
                    <a:pt x="811721" y="202260"/>
                  </a:lnTo>
                  <a:lnTo>
                    <a:pt x="811721" y="204292"/>
                  </a:lnTo>
                  <a:lnTo>
                    <a:pt x="811721" y="202260"/>
                  </a:lnTo>
                  <a:lnTo>
                    <a:pt x="811721" y="202959"/>
                  </a:lnTo>
                  <a:lnTo>
                    <a:pt x="811759" y="203594"/>
                  </a:lnTo>
                  <a:lnTo>
                    <a:pt x="811759" y="204990"/>
                  </a:lnTo>
                  <a:lnTo>
                    <a:pt x="811759" y="203594"/>
                  </a:lnTo>
                  <a:lnTo>
                    <a:pt x="811759" y="204292"/>
                  </a:lnTo>
                  <a:lnTo>
                    <a:pt x="811861" y="204292"/>
                  </a:lnTo>
                  <a:lnTo>
                    <a:pt x="811861" y="204990"/>
                  </a:lnTo>
                  <a:lnTo>
                    <a:pt x="811861" y="204292"/>
                  </a:lnTo>
                  <a:lnTo>
                    <a:pt x="811861" y="204990"/>
                  </a:lnTo>
                  <a:lnTo>
                    <a:pt x="811861" y="204292"/>
                  </a:lnTo>
                  <a:lnTo>
                    <a:pt x="811861" y="204990"/>
                  </a:lnTo>
                  <a:lnTo>
                    <a:pt x="811912" y="204990"/>
                  </a:lnTo>
                  <a:lnTo>
                    <a:pt x="811912" y="204292"/>
                  </a:lnTo>
                  <a:lnTo>
                    <a:pt x="811912" y="204990"/>
                  </a:lnTo>
                  <a:lnTo>
                    <a:pt x="811912" y="204292"/>
                  </a:lnTo>
                  <a:lnTo>
                    <a:pt x="811912" y="204990"/>
                  </a:lnTo>
                  <a:lnTo>
                    <a:pt x="811912" y="204292"/>
                  </a:lnTo>
                  <a:lnTo>
                    <a:pt x="811962" y="204292"/>
                  </a:lnTo>
                  <a:lnTo>
                    <a:pt x="811962" y="204990"/>
                  </a:lnTo>
                  <a:lnTo>
                    <a:pt x="811962" y="204292"/>
                  </a:lnTo>
                  <a:lnTo>
                    <a:pt x="812064" y="204292"/>
                  </a:lnTo>
                  <a:lnTo>
                    <a:pt x="812064" y="204990"/>
                  </a:lnTo>
                  <a:lnTo>
                    <a:pt x="812064" y="204292"/>
                  </a:lnTo>
                  <a:lnTo>
                    <a:pt x="812064" y="204990"/>
                  </a:lnTo>
                  <a:lnTo>
                    <a:pt x="812064" y="204292"/>
                  </a:lnTo>
                  <a:lnTo>
                    <a:pt x="812064" y="204990"/>
                  </a:lnTo>
                  <a:lnTo>
                    <a:pt x="812064" y="204292"/>
                  </a:lnTo>
                  <a:lnTo>
                    <a:pt x="812064" y="204990"/>
                  </a:lnTo>
                  <a:lnTo>
                    <a:pt x="812064" y="204292"/>
                  </a:lnTo>
                  <a:lnTo>
                    <a:pt x="812115" y="204292"/>
                  </a:lnTo>
                  <a:lnTo>
                    <a:pt x="812115" y="203594"/>
                  </a:lnTo>
                  <a:lnTo>
                    <a:pt x="812115" y="204292"/>
                  </a:lnTo>
                  <a:lnTo>
                    <a:pt x="812115" y="203594"/>
                  </a:lnTo>
                  <a:lnTo>
                    <a:pt x="812115" y="204292"/>
                  </a:lnTo>
                  <a:lnTo>
                    <a:pt x="812115" y="202959"/>
                  </a:lnTo>
                  <a:lnTo>
                    <a:pt x="812115" y="203594"/>
                  </a:lnTo>
                  <a:lnTo>
                    <a:pt x="812166" y="202959"/>
                  </a:lnTo>
                  <a:lnTo>
                    <a:pt x="812166" y="203594"/>
                  </a:lnTo>
                  <a:lnTo>
                    <a:pt x="812166" y="200876"/>
                  </a:lnTo>
                  <a:lnTo>
                    <a:pt x="812166" y="203594"/>
                  </a:lnTo>
                  <a:lnTo>
                    <a:pt x="812216" y="203594"/>
                  </a:lnTo>
                  <a:lnTo>
                    <a:pt x="812216" y="200876"/>
                  </a:lnTo>
                  <a:lnTo>
                    <a:pt x="812216" y="204990"/>
                  </a:lnTo>
                  <a:lnTo>
                    <a:pt x="812305" y="204292"/>
                  </a:lnTo>
                  <a:lnTo>
                    <a:pt x="812305" y="202959"/>
                  </a:lnTo>
                  <a:lnTo>
                    <a:pt x="812305" y="203594"/>
                  </a:lnTo>
                  <a:lnTo>
                    <a:pt x="812305" y="202959"/>
                  </a:lnTo>
                  <a:lnTo>
                    <a:pt x="812305" y="204292"/>
                  </a:lnTo>
                  <a:lnTo>
                    <a:pt x="812356" y="204292"/>
                  </a:lnTo>
                  <a:lnTo>
                    <a:pt x="812356" y="204990"/>
                  </a:lnTo>
                  <a:lnTo>
                    <a:pt x="812356" y="204292"/>
                  </a:lnTo>
                  <a:lnTo>
                    <a:pt x="812407" y="204292"/>
                  </a:lnTo>
                  <a:lnTo>
                    <a:pt x="812458" y="203594"/>
                  </a:lnTo>
                  <a:lnTo>
                    <a:pt x="812458" y="204990"/>
                  </a:lnTo>
                  <a:lnTo>
                    <a:pt x="812458" y="204292"/>
                  </a:lnTo>
                  <a:lnTo>
                    <a:pt x="812458" y="204990"/>
                  </a:lnTo>
                  <a:lnTo>
                    <a:pt x="812559" y="204990"/>
                  </a:lnTo>
                  <a:lnTo>
                    <a:pt x="812559" y="204292"/>
                  </a:lnTo>
                  <a:lnTo>
                    <a:pt x="812559" y="204990"/>
                  </a:lnTo>
                  <a:lnTo>
                    <a:pt x="812559" y="204292"/>
                  </a:lnTo>
                  <a:lnTo>
                    <a:pt x="812559" y="204990"/>
                  </a:lnTo>
                  <a:lnTo>
                    <a:pt x="812559" y="204292"/>
                  </a:lnTo>
                  <a:lnTo>
                    <a:pt x="812610" y="203594"/>
                  </a:lnTo>
                  <a:lnTo>
                    <a:pt x="812610" y="204292"/>
                  </a:lnTo>
                  <a:lnTo>
                    <a:pt x="812610" y="203594"/>
                  </a:lnTo>
                  <a:lnTo>
                    <a:pt x="812610" y="204292"/>
                  </a:lnTo>
                  <a:lnTo>
                    <a:pt x="812610" y="202959"/>
                  </a:lnTo>
                  <a:lnTo>
                    <a:pt x="812661" y="202959"/>
                  </a:lnTo>
                  <a:lnTo>
                    <a:pt x="812661" y="202260"/>
                  </a:lnTo>
                  <a:lnTo>
                    <a:pt x="812661" y="203594"/>
                  </a:lnTo>
                  <a:lnTo>
                    <a:pt x="812661" y="202959"/>
                  </a:lnTo>
                  <a:lnTo>
                    <a:pt x="812762" y="202260"/>
                  </a:lnTo>
                  <a:lnTo>
                    <a:pt x="812762" y="200876"/>
                  </a:lnTo>
                  <a:lnTo>
                    <a:pt x="812762" y="204990"/>
                  </a:lnTo>
                  <a:lnTo>
                    <a:pt x="812762" y="203594"/>
                  </a:lnTo>
                  <a:lnTo>
                    <a:pt x="812801" y="203594"/>
                  </a:lnTo>
                  <a:lnTo>
                    <a:pt x="812801" y="202959"/>
                  </a:lnTo>
                  <a:lnTo>
                    <a:pt x="812801" y="204292"/>
                  </a:lnTo>
                  <a:lnTo>
                    <a:pt x="812801" y="203594"/>
                  </a:lnTo>
                  <a:lnTo>
                    <a:pt x="812851" y="203594"/>
                  </a:lnTo>
                  <a:lnTo>
                    <a:pt x="812851" y="204990"/>
                  </a:lnTo>
                  <a:lnTo>
                    <a:pt x="812851" y="204292"/>
                  </a:lnTo>
                  <a:lnTo>
                    <a:pt x="812902" y="203594"/>
                  </a:lnTo>
                  <a:lnTo>
                    <a:pt x="812902" y="204990"/>
                  </a:lnTo>
                  <a:lnTo>
                    <a:pt x="812902" y="204292"/>
                  </a:lnTo>
                  <a:lnTo>
                    <a:pt x="812902" y="204990"/>
                  </a:lnTo>
                  <a:lnTo>
                    <a:pt x="813004" y="204990"/>
                  </a:lnTo>
                  <a:lnTo>
                    <a:pt x="813004" y="204292"/>
                  </a:lnTo>
                  <a:lnTo>
                    <a:pt x="813004" y="204990"/>
                  </a:lnTo>
                  <a:lnTo>
                    <a:pt x="813004" y="204292"/>
                  </a:lnTo>
                  <a:lnTo>
                    <a:pt x="813004" y="204990"/>
                  </a:lnTo>
                  <a:lnTo>
                    <a:pt x="813055" y="204990"/>
                  </a:lnTo>
                  <a:lnTo>
                    <a:pt x="813055" y="203594"/>
                  </a:lnTo>
                  <a:lnTo>
                    <a:pt x="813105" y="203594"/>
                  </a:lnTo>
                  <a:lnTo>
                    <a:pt x="813105" y="200876"/>
                  </a:lnTo>
                  <a:lnTo>
                    <a:pt x="813207" y="200876"/>
                  </a:lnTo>
                  <a:lnTo>
                    <a:pt x="813207" y="202260"/>
                  </a:lnTo>
                  <a:lnTo>
                    <a:pt x="813207" y="200228"/>
                  </a:lnTo>
                  <a:lnTo>
                    <a:pt x="813207" y="200876"/>
                  </a:lnTo>
                  <a:lnTo>
                    <a:pt x="813207" y="200228"/>
                  </a:lnTo>
                  <a:lnTo>
                    <a:pt x="813258" y="200228"/>
                  </a:lnTo>
                  <a:lnTo>
                    <a:pt x="813258" y="200876"/>
                  </a:lnTo>
                  <a:lnTo>
                    <a:pt x="813258" y="200228"/>
                  </a:lnTo>
                  <a:lnTo>
                    <a:pt x="813258" y="202959"/>
                  </a:lnTo>
                  <a:lnTo>
                    <a:pt x="813308" y="202959"/>
                  </a:lnTo>
                  <a:lnTo>
                    <a:pt x="813308" y="203594"/>
                  </a:lnTo>
                  <a:lnTo>
                    <a:pt x="813308" y="202959"/>
                  </a:lnTo>
                  <a:lnTo>
                    <a:pt x="813308" y="203594"/>
                  </a:lnTo>
                  <a:lnTo>
                    <a:pt x="813308" y="202959"/>
                  </a:lnTo>
                  <a:lnTo>
                    <a:pt x="813347" y="202959"/>
                  </a:lnTo>
                  <a:lnTo>
                    <a:pt x="813347" y="203594"/>
                  </a:lnTo>
                  <a:lnTo>
                    <a:pt x="813347" y="202959"/>
                  </a:lnTo>
                  <a:lnTo>
                    <a:pt x="813347" y="204292"/>
                  </a:lnTo>
                  <a:lnTo>
                    <a:pt x="813347" y="203594"/>
                  </a:lnTo>
                  <a:lnTo>
                    <a:pt x="813347" y="204292"/>
                  </a:lnTo>
                  <a:lnTo>
                    <a:pt x="813347" y="203594"/>
                  </a:lnTo>
                  <a:lnTo>
                    <a:pt x="813448" y="203594"/>
                  </a:lnTo>
                  <a:lnTo>
                    <a:pt x="813448" y="204292"/>
                  </a:lnTo>
                  <a:lnTo>
                    <a:pt x="813448" y="203594"/>
                  </a:lnTo>
                  <a:lnTo>
                    <a:pt x="813448" y="204292"/>
                  </a:lnTo>
                  <a:lnTo>
                    <a:pt x="813499" y="203594"/>
                  </a:lnTo>
                  <a:lnTo>
                    <a:pt x="813499" y="204990"/>
                  </a:lnTo>
                  <a:lnTo>
                    <a:pt x="813499" y="204292"/>
                  </a:lnTo>
                  <a:lnTo>
                    <a:pt x="813499" y="204990"/>
                  </a:lnTo>
                  <a:lnTo>
                    <a:pt x="813499" y="204292"/>
                  </a:lnTo>
                  <a:lnTo>
                    <a:pt x="813499" y="204990"/>
                  </a:lnTo>
                  <a:lnTo>
                    <a:pt x="813499" y="204292"/>
                  </a:lnTo>
                  <a:lnTo>
                    <a:pt x="813499" y="204990"/>
                  </a:lnTo>
                  <a:lnTo>
                    <a:pt x="813550" y="204990"/>
                  </a:lnTo>
                  <a:lnTo>
                    <a:pt x="813550" y="204292"/>
                  </a:lnTo>
                  <a:lnTo>
                    <a:pt x="813550" y="204990"/>
                  </a:lnTo>
                  <a:lnTo>
                    <a:pt x="813550" y="203594"/>
                  </a:lnTo>
                  <a:lnTo>
                    <a:pt x="813651" y="204292"/>
                  </a:lnTo>
                  <a:lnTo>
                    <a:pt x="813651" y="203594"/>
                  </a:lnTo>
                  <a:lnTo>
                    <a:pt x="813651" y="204292"/>
                  </a:lnTo>
                  <a:lnTo>
                    <a:pt x="813651" y="202260"/>
                  </a:lnTo>
                  <a:lnTo>
                    <a:pt x="813702" y="202260"/>
                  </a:lnTo>
                  <a:lnTo>
                    <a:pt x="813702" y="202959"/>
                  </a:lnTo>
                  <a:lnTo>
                    <a:pt x="813702" y="200228"/>
                  </a:lnTo>
                  <a:lnTo>
                    <a:pt x="813702" y="202260"/>
                  </a:lnTo>
                  <a:lnTo>
                    <a:pt x="813753" y="200876"/>
                  </a:lnTo>
                  <a:lnTo>
                    <a:pt x="813753" y="200228"/>
                  </a:lnTo>
                  <a:lnTo>
                    <a:pt x="813753" y="202959"/>
                  </a:lnTo>
                  <a:lnTo>
                    <a:pt x="813804" y="202260"/>
                  </a:lnTo>
                  <a:lnTo>
                    <a:pt x="813804" y="200876"/>
                  </a:lnTo>
                  <a:lnTo>
                    <a:pt x="813804" y="202959"/>
                  </a:lnTo>
                  <a:lnTo>
                    <a:pt x="813804" y="202260"/>
                  </a:lnTo>
                  <a:lnTo>
                    <a:pt x="813804" y="202959"/>
                  </a:lnTo>
                  <a:lnTo>
                    <a:pt x="813804" y="202260"/>
                  </a:lnTo>
                  <a:lnTo>
                    <a:pt x="813893" y="202260"/>
                  </a:lnTo>
                  <a:lnTo>
                    <a:pt x="813893" y="200876"/>
                  </a:lnTo>
                  <a:lnTo>
                    <a:pt x="813893" y="202959"/>
                  </a:lnTo>
                  <a:lnTo>
                    <a:pt x="813893" y="202260"/>
                  </a:lnTo>
                  <a:lnTo>
                    <a:pt x="813893" y="202959"/>
                  </a:lnTo>
                  <a:lnTo>
                    <a:pt x="813893" y="202260"/>
                  </a:lnTo>
                  <a:lnTo>
                    <a:pt x="813943" y="202260"/>
                  </a:lnTo>
                  <a:lnTo>
                    <a:pt x="813943" y="202959"/>
                  </a:lnTo>
                  <a:lnTo>
                    <a:pt x="813943" y="202260"/>
                  </a:lnTo>
                  <a:lnTo>
                    <a:pt x="813943" y="203594"/>
                  </a:lnTo>
                  <a:lnTo>
                    <a:pt x="813943" y="202959"/>
                  </a:lnTo>
                  <a:lnTo>
                    <a:pt x="813994" y="202959"/>
                  </a:lnTo>
                  <a:lnTo>
                    <a:pt x="813994" y="204292"/>
                  </a:lnTo>
                  <a:lnTo>
                    <a:pt x="813994" y="203594"/>
                  </a:lnTo>
                  <a:lnTo>
                    <a:pt x="813994" y="204292"/>
                  </a:lnTo>
                  <a:lnTo>
                    <a:pt x="813994" y="203594"/>
                  </a:lnTo>
                  <a:lnTo>
                    <a:pt x="813994" y="204292"/>
                  </a:lnTo>
                  <a:lnTo>
                    <a:pt x="814045" y="203594"/>
                  </a:lnTo>
                  <a:lnTo>
                    <a:pt x="814045" y="204292"/>
                  </a:lnTo>
                  <a:lnTo>
                    <a:pt x="814045" y="203594"/>
                  </a:lnTo>
                  <a:lnTo>
                    <a:pt x="814045" y="204292"/>
                  </a:lnTo>
                  <a:lnTo>
                    <a:pt x="814045" y="203594"/>
                  </a:lnTo>
                  <a:lnTo>
                    <a:pt x="814045" y="204292"/>
                  </a:lnTo>
                  <a:lnTo>
                    <a:pt x="814045" y="203594"/>
                  </a:lnTo>
                  <a:lnTo>
                    <a:pt x="814147" y="203594"/>
                  </a:lnTo>
                  <a:lnTo>
                    <a:pt x="814147" y="202959"/>
                  </a:lnTo>
                  <a:lnTo>
                    <a:pt x="814197" y="202959"/>
                  </a:lnTo>
                  <a:lnTo>
                    <a:pt x="814197" y="204292"/>
                  </a:lnTo>
                  <a:lnTo>
                    <a:pt x="814197" y="202959"/>
                  </a:lnTo>
                  <a:lnTo>
                    <a:pt x="814197" y="204292"/>
                  </a:lnTo>
                  <a:lnTo>
                    <a:pt x="814248" y="204990"/>
                  </a:lnTo>
                  <a:lnTo>
                    <a:pt x="814248" y="204292"/>
                  </a:lnTo>
                  <a:lnTo>
                    <a:pt x="814248" y="204990"/>
                  </a:lnTo>
                  <a:lnTo>
                    <a:pt x="814350" y="204990"/>
                  </a:lnTo>
                  <a:lnTo>
                    <a:pt x="814350" y="204292"/>
                  </a:lnTo>
                  <a:lnTo>
                    <a:pt x="814350" y="204990"/>
                  </a:lnTo>
                  <a:lnTo>
                    <a:pt x="814388" y="204292"/>
                  </a:lnTo>
                  <a:lnTo>
                    <a:pt x="814388" y="203594"/>
                  </a:lnTo>
                  <a:lnTo>
                    <a:pt x="814388" y="204292"/>
                  </a:lnTo>
                  <a:lnTo>
                    <a:pt x="814439" y="204292"/>
                  </a:lnTo>
                  <a:lnTo>
                    <a:pt x="814439" y="204990"/>
                  </a:lnTo>
                  <a:lnTo>
                    <a:pt x="814439" y="204292"/>
                  </a:lnTo>
                  <a:lnTo>
                    <a:pt x="814591" y="204292"/>
                  </a:lnTo>
                  <a:lnTo>
                    <a:pt x="814591" y="203594"/>
                  </a:lnTo>
                  <a:lnTo>
                    <a:pt x="814591" y="204292"/>
                  </a:lnTo>
                  <a:lnTo>
                    <a:pt x="814591" y="203594"/>
                  </a:lnTo>
                  <a:lnTo>
                    <a:pt x="814591" y="204292"/>
                  </a:lnTo>
                  <a:lnTo>
                    <a:pt x="814591" y="202959"/>
                  </a:lnTo>
                  <a:lnTo>
                    <a:pt x="814642" y="202959"/>
                  </a:lnTo>
                  <a:lnTo>
                    <a:pt x="814642" y="202260"/>
                  </a:lnTo>
                  <a:lnTo>
                    <a:pt x="814642" y="203594"/>
                  </a:lnTo>
                  <a:lnTo>
                    <a:pt x="814693" y="203594"/>
                  </a:lnTo>
                  <a:lnTo>
                    <a:pt x="814693" y="202959"/>
                  </a:lnTo>
                  <a:lnTo>
                    <a:pt x="814693" y="204990"/>
                  </a:lnTo>
                  <a:lnTo>
                    <a:pt x="814794" y="204990"/>
                  </a:lnTo>
                  <a:lnTo>
                    <a:pt x="814794" y="204292"/>
                  </a:lnTo>
                  <a:lnTo>
                    <a:pt x="814794" y="204990"/>
                  </a:lnTo>
                  <a:lnTo>
                    <a:pt x="814845" y="204990"/>
                  </a:lnTo>
                  <a:lnTo>
                    <a:pt x="814845" y="204292"/>
                  </a:lnTo>
                  <a:lnTo>
                    <a:pt x="814896" y="204292"/>
                  </a:lnTo>
                  <a:lnTo>
                    <a:pt x="814896" y="204990"/>
                  </a:lnTo>
                  <a:lnTo>
                    <a:pt x="814896" y="204292"/>
                  </a:lnTo>
                  <a:lnTo>
                    <a:pt x="814934" y="204292"/>
                  </a:lnTo>
                  <a:lnTo>
                    <a:pt x="814934" y="204990"/>
                  </a:lnTo>
                  <a:lnTo>
                    <a:pt x="814934" y="204292"/>
                  </a:lnTo>
                  <a:lnTo>
                    <a:pt x="814934" y="204990"/>
                  </a:lnTo>
                  <a:lnTo>
                    <a:pt x="814934" y="204292"/>
                  </a:lnTo>
                  <a:lnTo>
                    <a:pt x="814934" y="204990"/>
                  </a:lnTo>
                  <a:lnTo>
                    <a:pt x="815036" y="204990"/>
                  </a:lnTo>
                  <a:lnTo>
                    <a:pt x="815036" y="203594"/>
                  </a:lnTo>
                  <a:lnTo>
                    <a:pt x="815087" y="203594"/>
                  </a:lnTo>
                  <a:lnTo>
                    <a:pt x="815087" y="202959"/>
                  </a:lnTo>
                  <a:lnTo>
                    <a:pt x="815087" y="203594"/>
                  </a:lnTo>
                  <a:lnTo>
                    <a:pt x="815087" y="202959"/>
                  </a:lnTo>
                  <a:lnTo>
                    <a:pt x="815087" y="203594"/>
                  </a:lnTo>
                  <a:lnTo>
                    <a:pt x="815087" y="200876"/>
                  </a:lnTo>
                  <a:lnTo>
                    <a:pt x="815087" y="202260"/>
                  </a:lnTo>
                  <a:lnTo>
                    <a:pt x="815137" y="202260"/>
                  </a:lnTo>
                  <a:lnTo>
                    <a:pt x="815137" y="200228"/>
                  </a:lnTo>
                  <a:lnTo>
                    <a:pt x="815137" y="202959"/>
                  </a:lnTo>
                  <a:lnTo>
                    <a:pt x="815137" y="202260"/>
                  </a:lnTo>
                  <a:lnTo>
                    <a:pt x="815239" y="202260"/>
                  </a:lnTo>
                  <a:lnTo>
                    <a:pt x="815239" y="200876"/>
                  </a:lnTo>
                  <a:lnTo>
                    <a:pt x="815239" y="203594"/>
                  </a:lnTo>
                  <a:lnTo>
                    <a:pt x="815290" y="203594"/>
                  </a:lnTo>
                  <a:lnTo>
                    <a:pt x="815290" y="204990"/>
                  </a:lnTo>
                  <a:lnTo>
                    <a:pt x="815290" y="204292"/>
                  </a:lnTo>
                  <a:lnTo>
                    <a:pt x="815391" y="204292"/>
                  </a:lnTo>
                  <a:lnTo>
                    <a:pt x="815391" y="204990"/>
                  </a:lnTo>
                  <a:lnTo>
                    <a:pt x="815480" y="204990"/>
                  </a:lnTo>
                  <a:lnTo>
                    <a:pt x="815480" y="206324"/>
                  </a:lnTo>
                  <a:lnTo>
                    <a:pt x="815480" y="204990"/>
                  </a:lnTo>
                  <a:lnTo>
                    <a:pt x="815480" y="206324"/>
                  </a:lnTo>
                  <a:lnTo>
                    <a:pt x="815480" y="204990"/>
                  </a:lnTo>
                  <a:lnTo>
                    <a:pt x="815531" y="204990"/>
                  </a:lnTo>
                  <a:lnTo>
                    <a:pt x="815531" y="204292"/>
                  </a:lnTo>
                  <a:lnTo>
                    <a:pt x="815531" y="204990"/>
                  </a:lnTo>
                  <a:lnTo>
                    <a:pt x="815531" y="204292"/>
                  </a:lnTo>
                  <a:lnTo>
                    <a:pt x="815531" y="204990"/>
                  </a:lnTo>
                  <a:lnTo>
                    <a:pt x="815531" y="204292"/>
                  </a:lnTo>
                  <a:lnTo>
                    <a:pt x="815531" y="204990"/>
                  </a:lnTo>
                  <a:lnTo>
                    <a:pt x="815531" y="204292"/>
                  </a:lnTo>
                  <a:lnTo>
                    <a:pt x="815582" y="204292"/>
                  </a:lnTo>
                  <a:lnTo>
                    <a:pt x="815582" y="202260"/>
                  </a:lnTo>
                  <a:lnTo>
                    <a:pt x="815582" y="202959"/>
                  </a:lnTo>
                  <a:lnTo>
                    <a:pt x="815633" y="202959"/>
                  </a:lnTo>
                  <a:lnTo>
                    <a:pt x="815633" y="202260"/>
                  </a:lnTo>
                  <a:lnTo>
                    <a:pt x="815633" y="202959"/>
                  </a:lnTo>
                  <a:lnTo>
                    <a:pt x="815633" y="202260"/>
                  </a:lnTo>
                  <a:lnTo>
                    <a:pt x="815633" y="203594"/>
                  </a:lnTo>
                  <a:lnTo>
                    <a:pt x="815633" y="202959"/>
                  </a:lnTo>
                  <a:lnTo>
                    <a:pt x="815633" y="203594"/>
                  </a:lnTo>
                  <a:lnTo>
                    <a:pt x="815633" y="202260"/>
                  </a:lnTo>
                  <a:lnTo>
                    <a:pt x="815734" y="202260"/>
                  </a:lnTo>
                  <a:lnTo>
                    <a:pt x="815734" y="204292"/>
                  </a:lnTo>
                  <a:lnTo>
                    <a:pt x="815734" y="202959"/>
                  </a:lnTo>
                  <a:lnTo>
                    <a:pt x="815734" y="203594"/>
                  </a:lnTo>
                  <a:lnTo>
                    <a:pt x="815734" y="202959"/>
                  </a:lnTo>
                  <a:lnTo>
                    <a:pt x="815785" y="202959"/>
                  </a:lnTo>
                  <a:lnTo>
                    <a:pt x="815785" y="204292"/>
                  </a:lnTo>
                  <a:lnTo>
                    <a:pt x="815785" y="203594"/>
                  </a:lnTo>
                  <a:lnTo>
                    <a:pt x="815785" y="204292"/>
                  </a:lnTo>
                  <a:lnTo>
                    <a:pt x="815785" y="203594"/>
                  </a:lnTo>
                  <a:lnTo>
                    <a:pt x="815785" y="204292"/>
                  </a:lnTo>
                  <a:lnTo>
                    <a:pt x="815785" y="203594"/>
                  </a:lnTo>
                  <a:lnTo>
                    <a:pt x="815836" y="203594"/>
                  </a:lnTo>
                  <a:lnTo>
                    <a:pt x="815836" y="204292"/>
                  </a:lnTo>
                  <a:lnTo>
                    <a:pt x="815836" y="203594"/>
                  </a:lnTo>
                  <a:lnTo>
                    <a:pt x="815836" y="204292"/>
                  </a:lnTo>
                  <a:lnTo>
                    <a:pt x="815937" y="204292"/>
                  </a:lnTo>
                  <a:lnTo>
                    <a:pt x="815937" y="204990"/>
                  </a:lnTo>
                  <a:lnTo>
                    <a:pt x="815937" y="204292"/>
                  </a:lnTo>
                  <a:lnTo>
                    <a:pt x="815937" y="204990"/>
                  </a:lnTo>
                  <a:lnTo>
                    <a:pt x="815937" y="204292"/>
                  </a:lnTo>
                  <a:lnTo>
                    <a:pt x="815937" y="204990"/>
                  </a:lnTo>
                  <a:lnTo>
                    <a:pt x="815937" y="204292"/>
                  </a:lnTo>
                  <a:lnTo>
                    <a:pt x="815937" y="204990"/>
                  </a:lnTo>
                  <a:lnTo>
                    <a:pt x="815976" y="204990"/>
                  </a:lnTo>
                  <a:lnTo>
                    <a:pt x="815976" y="206324"/>
                  </a:lnTo>
                  <a:lnTo>
                    <a:pt x="815976" y="204990"/>
                  </a:lnTo>
                  <a:lnTo>
                    <a:pt x="816026" y="204990"/>
                  </a:lnTo>
                  <a:lnTo>
                    <a:pt x="816026" y="204292"/>
                  </a:lnTo>
                  <a:lnTo>
                    <a:pt x="816026" y="204990"/>
                  </a:lnTo>
                  <a:lnTo>
                    <a:pt x="816026" y="203594"/>
                  </a:lnTo>
                  <a:lnTo>
                    <a:pt x="816026" y="204292"/>
                  </a:lnTo>
                  <a:lnTo>
                    <a:pt x="816026" y="203594"/>
                  </a:lnTo>
                  <a:lnTo>
                    <a:pt x="816077" y="204292"/>
                  </a:lnTo>
                  <a:lnTo>
                    <a:pt x="816077" y="202959"/>
                  </a:lnTo>
                  <a:lnTo>
                    <a:pt x="816077" y="203594"/>
                  </a:lnTo>
                  <a:lnTo>
                    <a:pt x="816077" y="200876"/>
                  </a:lnTo>
                  <a:lnTo>
                    <a:pt x="816179" y="200876"/>
                  </a:lnTo>
                  <a:lnTo>
                    <a:pt x="816179" y="202959"/>
                  </a:lnTo>
                  <a:lnTo>
                    <a:pt x="816179" y="200228"/>
                  </a:lnTo>
                  <a:lnTo>
                    <a:pt x="816230" y="200876"/>
                  </a:lnTo>
                  <a:lnTo>
                    <a:pt x="816230" y="204292"/>
                  </a:lnTo>
                  <a:lnTo>
                    <a:pt x="816230" y="202959"/>
                  </a:lnTo>
                  <a:lnTo>
                    <a:pt x="816230" y="203594"/>
                  </a:lnTo>
                  <a:lnTo>
                    <a:pt x="816230" y="202959"/>
                  </a:lnTo>
                  <a:lnTo>
                    <a:pt x="816230" y="203594"/>
                  </a:lnTo>
                  <a:lnTo>
                    <a:pt x="816230" y="202260"/>
                  </a:lnTo>
                  <a:lnTo>
                    <a:pt x="816280" y="202959"/>
                  </a:lnTo>
                  <a:lnTo>
                    <a:pt x="816280" y="203594"/>
                  </a:lnTo>
                  <a:lnTo>
                    <a:pt x="816280" y="202959"/>
                  </a:lnTo>
                  <a:lnTo>
                    <a:pt x="816280" y="203594"/>
                  </a:lnTo>
                  <a:lnTo>
                    <a:pt x="816382" y="203594"/>
                  </a:lnTo>
                  <a:lnTo>
                    <a:pt x="816382" y="202959"/>
                  </a:lnTo>
                  <a:lnTo>
                    <a:pt x="816382" y="204292"/>
                  </a:lnTo>
                  <a:lnTo>
                    <a:pt x="816382" y="203594"/>
                  </a:lnTo>
                  <a:lnTo>
                    <a:pt x="816433" y="203594"/>
                  </a:lnTo>
                  <a:lnTo>
                    <a:pt x="816433" y="204292"/>
                  </a:lnTo>
                  <a:lnTo>
                    <a:pt x="816433" y="203594"/>
                  </a:lnTo>
                  <a:lnTo>
                    <a:pt x="816433" y="204990"/>
                  </a:lnTo>
                  <a:lnTo>
                    <a:pt x="816433" y="204292"/>
                  </a:lnTo>
                  <a:lnTo>
                    <a:pt x="816483" y="204292"/>
                  </a:lnTo>
                  <a:lnTo>
                    <a:pt x="816483" y="203594"/>
                  </a:lnTo>
                  <a:lnTo>
                    <a:pt x="816522" y="203594"/>
                  </a:lnTo>
                  <a:lnTo>
                    <a:pt x="816522" y="204292"/>
                  </a:lnTo>
                  <a:lnTo>
                    <a:pt x="816522" y="202959"/>
                  </a:lnTo>
                  <a:lnTo>
                    <a:pt x="816623" y="202959"/>
                  </a:lnTo>
                  <a:lnTo>
                    <a:pt x="816623" y="200876"/>
                  </a:lnTo>
                  <a:lnTo>
                    <a:pt x="816674" y="200876"/>
                  </a:lnTo>
                  <a:lnTo>
                    <a:pt x="816674" y="200228"/>
                  </a:lnTo>
                  <a:lnTo>
                    <a:pt x="816674" y="200876"/>
                  </a:lnTo>
                  <a:lnTo>
                    <a:pt x="816674" y="200228"/>
                  </a:lnTo>
                  <a:lnTo>
                    <a:pt x="816725" y="200228"/>
                  </a:lnTo>
                  <a:lnTo>
                    <a:pt x="816725" y="202959"/>
                  </a:lnTo>
                  <a:lnTo>
                    <a:pt x="816725" y="200228"/>
                  </a:lnTo>
                  <a:lnTo>
                    <a:pt x="816826" y="200876"/>
                  </a:lnTo>
                  <a:lnTo>
                    <a:pt x="816826" y="202959"/>
                  </a:lnTo>
                  <a:lnTo>
                    <a:pt x="816826" y="202260"/>
                  </a:lnTo>
                  <a:lnTo>
                    <a:pt x="816826" y="202959"/>
                  </a:lnTo>
                  <a:lnTo>
                    <a:pt x="816826" y="200876"/>
                  </a:lnTo>
                  <a:lnTo>
                    <a:pt x="816826" y="202260"/>
                  </a:lnTo>
                  <a:lnTo>
                    <a:pt x="816877" y="202260"/>
                  </a:lnTo>
                  <a:lnTo>
                    <a:pt x="816877" y="202959"/>
                  </a:lnTo>
                  <a:lnTo>
                    <a:pt x="816928" y="202959"/>
                  </a:lnTo>
                  <a:lnTo>
                    <a:pt x="816928" y="203594"/>
                  </a:lnTo>
                  <a:lnTo>
                    <a:pt x="817068" y="203594"/>
                  </a:lnTo>
                  <a:lnTo>
                    <a:pt x="817068" y="202959"/>
                  </a:lnTo>
                  <a:lnTo>
                    <a:pt x="817068" y="204292"/>
                  </a:lnTo>
                  <a:lnTo>
                    <a:pt x="817068" y="202959"/>
                  </a:lnTo>
                  <a:lnTo>
                    <a:pt x="817068" y="203594"/>
                  </a:lnTo>
                  <a:lnTo>
                    <a:pt x="817068" y="202959"/>
                  </a:lnTo>
                  <a:lnTo>
                    <a:pt x="817068" y="203594"/>
                  </a:lnTo>
                  <a:lnTo>
                    <a:pt x="817068" y="202959"/>
                  </a:lnTo>
                  <a:lnTo>
                    <a:pt x="817068" y="203594"/>
                  </a:lnTo>
                  <a:lnTo>
                    <a:pt x="817118" y="202959"/>
                  </a:lnTo>
                  <a:lnTo>
                    <a:pt x="817118" y="200876"/>
                  </a:lnTo>
                  <a:lnTo>
                    <a:pt x="817118" y="202260"/>
                  </a:lnTo>
                  <a:lnTo>
                    <a:pt x="817169" y="202260"/>
                  </a:lnTo>
                  <a:lnTo>
                    <a:pt x="817169" y="200228"/>
                  </a:lnTo>
                  <a:lnTo>
                    <a:pt x="817169" y="202260"/>
                  </a:lnTo>
                  <a:lnTo>
                    <a:pt x="817169" y="200228"/>
                  </a:lnTo>
                  <a:lnTo>
                    <a:pt x="817169" y="200876"/>
                  </a:lnTo>
                  <a:lnTo>
                    <a:pt x="817220" y="200228"/>
                  </a:lnTo>
                  <a:lnTo>
                    <a:pt x="817220" y="202959"/>
                  </a:lnTo>
                  <a:lnTo>
                    <a:pt x="817220" y="200876"/>
                  </a:lnTo>
                  <a:lnTo>
                    <a:pt x="817322" y="202260"/>
                  </a:lnTo>
                  <a:lnTo>
                    <a:pt x="817322" y="203594"/>
                  </a:lnTo>
                  <a:lnTo>
                    <a:pt x="817322" y="202260"/>
                  </a:lnTo>
                  <a:lnTo>
                    <a:pt x="817372" y="202959"/>
                  </a:lnTo>
                  <a:lnTo>
                    <a:pt x="817372" y="202260"/>
                  </a:lnTo>
                  <a:lnTo>
                    <a:pt x="817372" y="202959"/>
                  </a:lnTo>
                  <a:lnTo>
                    <a:pt x="817372" y="202260"/>
                  </a:lnTo>
                  <a:lnTo>
                    <a:pt x="817372" y="203594"/>
                  </a:lnTo>
                  <a:lnTo>
                    <a:pt x="817372" y="202959"/>
                  </a:lnTo>
                  <a:lnTo>
                    <a:pt x="817372" y="203594"/>
                  </a:lnTo>
                  <a:lnTo>
                    <a:pt x="817372" y="202959"/>
                  </a:lnTo>
                  <a:lnTo>
                    <a:pt x="817423" y="203594"/>
                  </a:lnTo>
                  <a:lnTo>
                    <a:pt x="817423" y="204292"/>
                  </a:lnTo>
                  <a:lnTo>
                    <a:pt x="817423" y="203594"/>
                  </a:lnTo>
                  <a:lnTo>
                    <a:pt x="817423" y="204292"/>
                  </a:lnTo>
                  <a:lnTo>
                    <a:pt x="817423" y="203594"/>
                  </a:lnTo>
                  <a:lnTo>
                    <a:pt x="817423" y="204292"/>
                  </a:lnTo>
                  <a:lnTo>
                    <a:pt x="817423" y="203594"/>
                  </a:lnTo>
                  <a:lnTo>
                    <a:pt x="817525" y="203594"/>
                  </a:lnTo>
                  <a:lnTo>
                    <a:pt x="817525" y="204292"/>
                  </a:lnTo>
                  <a:lnTo>
                    <a:pt x="817525" y="203594"/>
                  </a:lnTo>
                  <a:lnTo>
                    <a:pt x="817525" y="204292"/>
                  </a:lnTo>
                  <a:lnTo>
                    <a:pt x="817525" y="203594"/>
                  </a:lnTo>
                  <a:lnTo>
                    <a:pt x="817563" y="203594"/>
                  </a:lnTo>
                  <a:lnTo>
                    <a:pt x="817563" y="204292"/>
                  </a:lnTo>
                  <a:lnTo>
                    <a:pt x="817563" y="203594"/>
                  </a:lnTo>
                  <a:lnTo>
                    <a:pt x="817563" y="204292"/>
                  </a:lnTo>
                  <a:lnTo>
                    <a:pt x="817563" y="202959"/>
                  </a:lnTo>
                  <a:lnTo>
                    <a:pt x="817563" y="203594"/>
                  </a:lnTo>
                  <a:lnTo>
                    <a:pt x="817614" y="202959"/>
                  </a:lnTo>
                  <a:lnTo>
                    <a:pt x="817614" y="203594"/>
                  </a:lnTo>
                  <a:lnTo>
                    <a:pt x="817614" y="202260"/>
                  </a:lnTo>
                  <a:lnTo>
                    <a:pt x="817614" y="202959"/>
                  </a:lnTo>
                  <a:lnTo>
                    <a:pt x="817614" y="200876"/>
                  </a:lnTo>
                  <a:lnTo>
                    <a:pt x="817665" y="200876"/>
                  </a:lnTo>
                  <a:lnTo>
                    <a:pt x="817665" y="200228"/>
                  </a:lnTo>
                  <a:lnTo>
                    <a:pt x="817665" y="202959"/>
                  </a:lnTo>
                  <a:lnTo>
                    <a:pt x="817665" y="200228"/>
                  </a:lnTo>
                  <a:lnTo>
                    <a:pt x="817766" y="200228"/>
                  </a:lnTo>
                  <a:lnTo>
                    <a:pt x="817766" y="204292"/>
                  </a:lnTo>
                  <a:lnTo>
                    <a:pt x="817766" y="200876"/>
                  </a:lnTo>
                  <a:lnTo>
                    <a:pt x="817817" y="202260"/>
                  </a:lnTo>
                  <a:lnTo>
                    <a:pt x="817817" y="203594"/>
                  </a:lnTo>
                  <a:lnTo>
                    <a:pt x="817817" y="202959"/>
                  </a:lnTo>
                  <a:lnTo>
                    <a:pt x="817817" y="203594"/>
                  </a:lnTo>
                  <a:lnTo>
                    <a:pt x="817817" y="202260"/>
                  </a:lnTo>
                  <a:lnTo>
                    <a:pt x="817817" y="202959"/>
                  </a:lnTo>
                  <a:lnTo>
                    <a:pt x="817868" y="202959"/>
                  </a:lnTo>
                  <a:lnTo>
                    <a:pt x="817868" y="202260"/>
                  </a:lnTo>
                  <a:lnTo>
                    <a:pt x="817868" y="203594"/>
                  </a:lnTo>
                  <a:lnTo>
                    <a:pt x="817868" y="202959"/>
                  </a:lnTo>
                  <a:lnTo>
                    <a:pt x="817868" y="203594"/>
                  </a:lnTo>
                  <a:lnTo>
                    <a:pt x="817969" y="202959"/>
                  </a:lnTo>
                  <a:lnTo>
                    <a:pt x="817969" y="203594"/>
                  </a:lnTo>
                  <a:lnTo>
                    <a:pt x="817969" y="202959"/>
                  </a:lnTo>
                  <a:lnTo>
                    <a:pt x="817969" y="203594"/>
                  </a:lnTo>
                  <a:lnTo>
                    <a:pt x="817969" y="202959"/>
                  </a:lnTo>
                  <a:lnTo>
                    <a:pt x="817969" y="203594"/>
                  </a:lnTo>
                  <a:lnTo>
                    <a:pt x="818020" y="203594"/>
                  </a:lnTo>
                  <a:lnTo>
                    <a:pt x="818020" y="202959"/>
                  </a:lnTo>
                  <a:lnTo>
                    <a:pt x="818020" y="204292"/>
                  </a:lnTo>
                  <a:lnTo>
                    <a:pt x="818071" y="204292"/>
                  </a:lnTo>
                  <a:lnTo>
                    <a:pt x="818071" y="202959"/>
                  </a:lnTo>
                  <a:lnTo>
                    <a:pt x="818109" y="202959"/>
                  </a:lnTo>
                  <a:lnTo>
                    <a:pt x="818109" y="200876"/>
                  </a:lnTo>
                  <a:lnTo>
                    <a:pt x="818211" y="200876"/>
                  </a:lnTo>
                  <a:lnTo>
                    <a:pt x="818211" y="202959"/>
                  </a:lnTo>
                  <a:lnTo>
                    <a:pt x="818211" y="200876"/>
                  </a:lnTo>
                  <a:lnTo>
                    <a:pt x="818262" y="202260"/>
                  </a:lnTo>
                  <a:lnTo>
                    <a:pt x="818262" y="203594"/>
                  </a:lnTo>
                  <a:lnTo>
                    <a:pt x="818262" y="202260"/>
                  </a:lnTo>
                  <a:lnTo>
                    <a:pt x="818262" y="202959"/>
                  </a:lnTo>
                  <a:lnTo>
                    <a:pt x="818262" y="202260"/>
                  </a:lnTo>
                  <a:lnTo>
                    <a:pt x="818262" y="202959"/>
                  </a:lnTo>
                  <a:lnTo>
                    <a:pt x="818312" y="202959"/>
                  </a:lnTo>
                  <a:lnTo>
                    <a:pt x="818312" y="204292"/>
                  </a:lnTo>
                  <a:lnTo>
                    <a:pt x="818312" y="202959"/>
                  </a:lnTo>
                  <a:lnTo>
                    <a:pt x="818312" y="203594"/>
                  </a:lnTo>
                  <a:lnTo>
                    <a:pt x="818414" y="203594"/>
                  </a:lnTo>
                  <a:lnTo>
                    <a:pt x="818414" y="204292"/>
                  </a:lnTo>
                  <a:lnTo>
                    <a:pt x="818414" y="203594"/>
                  </a:lnTo>
                  <a:lnTo>
                    <a:pt x="818414" y="204292"/>
                  </a:lnTo>
                  <a:lnTo>
                    <a:pt x="818465" y="204292"/>
                  </a:lnTo>
                  <a:lnTo>
                    <a:pt x="818465" y="203594"/>
                  </a:lnTo>
                  <a:lnTo>
                    <a:pt x="818465" y="204292"/>
                  </a:lnTo>
                  <a:lnTo>
                    <a:pt x="818465" y="203594"/>
                  </a:lnTo>
                  <a:lnTo>
                    <a:pt x="818516" y="204292"/>
                  </a:lnTo>
                  <a:lnTo>
                    <a:pt x="818516" y="203594"/>
                  </a:lnTo>
                  <a:lnTo>
                    <a:pt x="818516" y="204292"/>
                  </a:lnTo>
                  <a:lnTo>
                    <a:pt x="818516" y="203594"/>
                  </a:lnTo>
                  <a:lnTo>
                    <a:pt x="818516" y="204292"/>
                  </a:lnTo>
                  <a:lnTo>
                    <a:pt x="818516" y="203594"/>
                  </a:lnTo>
                  <a:lnTo>
                    <a:pt x="818516" y="204292"/>
                  </a:lnTo>
                  <a:lnTo>
                    <a:pt x="818566" y="204292"/>
                  </a:lnTo>
                  <a:lnTo>
                    <a:pt x="818566" y="202959"/>
                  </a:lnTo>
                  <a:lnTo>
                    <a:pt x="818655" y="202959"/>
                  </a:lnTo>
                  <a:lnTo>
                    <a:pt x="818655" y="203594"/>
                  </a:lnTo>
                  <a:lnTo>
                    <a:pt x="818655" y="200876"/>
                  </a:lnTo>
                  <a:lnTo>
                    <a:pt x="818655" y="202959"/>
                  </a:lnTo>
                  <a:lnTo>
                    <a:pt x="818706" y="202959"/>
                  </a:lnTo>
                  <a:lnTo>
                    <a:pt x="818706" y="203594"/>
                  </a:lnTo>
                  <a:lnTo>
                    <a:pt x="818706" y="200876"/>
                  </a:lnTo>
                  <a:lnTo>
                    <a:pt x="818706" y="204292"/>
                  </a:lnTo>
                  <a:lnTo>
                    <a:pt x="818757" y="204292"/>
                  </a:lnTo>
                  <a:lnTo>
                    <a:pt x="818757" y="203594"/>
                  </a:lnTo>
                  <a:lnTo>
                    <a:pt x="818757" y="204292"/>
                  </a:lnTo>
                  <a:lnTo>
                    <a:pt x="818757" y="203594"/>
                  </a:lnTo>
                  <a:lnTo>
                    <a:pt x="818757" y="204292"/>
                  </a:lnTo>
                  <a:lnTo>
                    <a:pt x="818808" y="204292"/>
                  </a:lnTo>
                  <a:lnTo>
                    <a:pt x="818808" y="203594"/>
                  </a:lnTo>
                  <a:lnTo>
                    <a:pt x="818808" y="204292"/>
                  </a:lnTo>
                  <a:lnTo>
                    <a:pt x="818808" y="203594"/>
                  </a:lnTo>
                  <a:lnTo>
                    <a:pt x="818808" y="204292"/>
                  </a:lnTo>
                  <a:lnTo>
                    <a:pt x="818909" y="204292"/>
                  </a:lnTo>
                  <a:lnTo>
                    <a:pt x="818909" y="203594"/>
                  </a:lnTo>
                  <a:lnTo>
                    <a:pt x="818909" y="204292"/>
                  </a:lnTo>
                  <a:lnTo>
                    <a:pt x="818960" y="204292"/>
                  </a:lnTo>
                  <a:lnTo>
                    <a:pt x="818960" y="204990"/>
                  </a:lnTo>
                  <a:lnTo>
                    <a:pt x="818960" y="204292"/>
                  </a:lnTo>
                  <a:lnTo>
                    <a:pt x="818960" y="204990"/>
                  </a:lnTo>
                  <a:lnTo>
                    <a:pt x="818960" y="204292"/>
                  </a:lnTo>
                  <a:lnTo>
                    <a:pt x="819011" y="204292"/>
                  </a:lnTo>
                  <a:lnTo>
                    <a:pt x="819011" y="204990"/>
                  </a:lnTo>
                  <a:lnTo>
                    <a:pt x="819011" y="203594"/>
                  </a:lnTo>
                  <a:lnTo>
                    <a:pt x="819011" y="204292"/>
                  </a:lnTo>
                  <a:lnTo>
                    <a:pt x="819112" y="204292"/>
                  </a:lnTo>
                  <a:lnTo>
                    <a:pt x="819112" y="203594"/>
                  </a:lnTo>
                  <a:lnTo>
                    <a:pt x="819112" y="204292"/>
                  </a:lnTo>
                  <a:lnTo>
                    <a:pt x="819112" y="203594"/>
                  </a:lnTo>
                  <a:lnTo>
                    <a:pt x="819112" y="204292"/>
                  </a:lnTo>
                  <a:lnTo>
                    <a:pt x="819112" y="202959"/>
                  </a:lnTo>
                  <a:lnTo>
                    <a:pt x="819151" y="202959"/>
                  </a:lnTo>
                  <a:lnTo>
                    <a:pt x="819151" y="202260"/>
                  </a:lnTo>
                  <a:lnTo>
                    <a:pt x="819151" y="202959"/>
                  </a:lnTo>
                  <a:lnTo>
                    <a:pt x="819151" y="200876"/>
                  </a:lnTo>
                  <a:lnTo>
                    <a:pt x="819151" y="202260"/>
                  </a:lnTo>
                  <a:lnTo>
                    <a:pt x="819201" y="202959"/>
                  </a:lnTo>
                  <a:lnTo>
                    <a:pt x="819201" y="200876"/>
                  </a:lnTo>
                  <a:lnTo>
                    <a:pt x="819201" y="203594"/>
                  </a:lnTo>
                  <a:lnTo>
                    <a:pt x="819252" y="204292"/>
                  </a:lnTo>
                  <a:lnTo>
                    <a:pt x="819252" y="202959"/>
                  </a:lnTo>
                  <a:lnTo>
                    <a:pt x="819252" y="204292"/>
                  </a:lnTo>
                  <a:lnTo>
                    <a:pt x="819252" y="203594"/>
                  </a:lnTo>
                  <a:lnTo>
                    <a:pt x="819354" y="203594"/>
                  </a:lnTo>
                  <a:lnTo>
                    <a:pt x="819354" y="204292"/>
                  </a:lnTo>
                  <a:lnTo>
                    <a:pt x="819354" y="203594"/>
                  </a:lnTo>
                  <a:lnTo>
                    <a:pt x="819354" y="204292"/>
                  </a:lnTo>
                  <a:lnTo>
                    <a:pt x="819405" y="204292"/>
                  </a:lnTo>
                  <a:lnTo>
                    <a:pt x="819405" y="204990"/>
                  </a:lnTo>
                  <a:lnTo>
                    <a:pt x="819405" y="204292"/>
                  </a:lnTo>
                  <a:lnTo>
                    <a:pt x="819405" y="204990"/>
                  </a:lnTo>
                  <a:lnTo>
                    <a:pt x="819405" y="204292"/>
                  </a:lnTo>
                  <a:lnTo>
                    <a:pt x="819455" y="204292"/>
                  </a:lnTo>
                  <a:lnTo>
                    <a:pt x="819455" y="204990"/>
                  </a:lnTo>
                  <a:lnTo>
                    <a:pt x="819455" y="204292"/>
                  </a:lnTo>
                  <a:lnTo>
                    <a:pt x="819455" y="204990"/>
                  </a:lnTo>
                  <a:lnTo>
                    <a:pt x="819455" y="204292"/>
                  </a:lnTo>
                  <a:lnTo>
                    <a:pt x="819455" y="204990"/>
                  </a:lnTo>
                  <a:lnTo>
                    <a:pt x="819455" y="204292"/>
                  </a:lnTo>
                  <a:lnTo>
                    <a:pt x="819455" y="204990"/>
                  </a:lnTo>
                  <a:lnTo>
                    <a:pt x="819455" y="204292"/>
                  </a:lnTo>
                  <a:lnTo>
                    <a:pt x="819455" y="204990"/>
                  </a:lnTo>
                  <a:lnTo>
                    <a:pt x="819557" y="204292"/>
                  </a:lnTo>
                  <a:lnTo>
                    <a:pt x="819557" y="204990"/>
                  </a:lnTo>
                  <a:lnTo>
                    <a:pt x="819557" y="204292"/>
                  </a:lnTo>
                  <a:lnTo>
                    <a:pt x="819557" y="204990"/>
                  </a:lnTo>
                  <a:lnTo>
                    <a:pt x="819557" y="204292"/>
                  </a:lnTo>
                  <a:lnTo>
                    <a:pt x="819608" y="203594"/>
                  </a:lnTo>
                  <a:lnTo>
                    <a:pt x="819608" y="202260"/>
                  </a:lnTo>
                  <a:lnTo>
                    <a:pt x="819658" y="202260"/>
                  </a:lnTo>
                  <a:lnTo>
                    <a:pt x="819658" y="200876"/>
                  </a:lnTo>
                  <a:lnTo>
                    <a:pt x="819658" y="203594"/>
                  </a:lnTo>
                  <a:lnTo>
                    <a:pt x="819658" y="202260"/>
                  </a:lnTo>
                  <a:lnTo>
                    <a:pt x="819697" y="202260"/>
                  </a:lnTo>
                  <a:lnTo>
                    <a:pt x="819697" y="200876"/>
                  </a:lnTo>
                  <a:lnTo>
                    <a:pt x="819697" y="204292"/>
                  </a:lnTo>
                  <a:lnTo>
                    <a:pt x="819697" y="202959"/>
                  </a:lnTo>
                  <a:lnTo>
                    <a:pt x="819697" y="203594"/>
                  </a:lnTo>
                  <a:lnTo>
                    <a:pt x="819697" y="202959"/>
                  </a:lnTo>
                  <a:lnTo>
                    <a:pt x="819798" y="203594"/>
                  </a:lnTo>
                  <a:lnTo>
                    <a:pt x="819798" y="204292"/>
                  </a:lnTo>
                  <a:lnTo>
                    <a:pt x="819798" y="203594"/>
                  </a:lnTo>
                  <a:lnTo>
                    <a:pt x="819849" y="203594"/>
                  </a:lnTo>
                  <a:lnTo>
                    <a:pt x="819849" y="204292"/>
                  </a:lnTo>
                  <a:lnTo>
                    <a:pt x="819849" y="203594"/>
                  </a:lnTo>
                  <a:lnTo>
                    <a:pt x="819849" y="204292"/>
                  </a:lnTo>
                  <a:lnTo>
                    <a:pt x="819849" y="202959"/>
                  </a:lnTo>
                  <a:lnTo>
                    <a:pt x="819849" y="203594"/>
                  </a:lnTo>
                  <a:lnTo>
                    <a:pt x="819900" y="203594"/>
                  </a:lnTo>
                  <a:lnTo>
                    <a:pt x="819900" y="204292"/>
                  </a:lnTo>
                  <a:lnTo>
                    <a:pt x="819900" y="203594"/>
                  </a:lnTo>
                  <a:lnTo>
                    <a:pt x="819900" y="204292"/>
                  </a:lnTo>
                  <a:lnTo>
                    <a:pt x="820001" y="204292"/>
                  </a:lnTo>
                  <a:lnTo>
                    <a:pt x="820001" y="203594"/>
                  </a:lnTo>
                  <a:lnTo>
                    <a:pt x="820001" y="204292"/>
                  </a:lnTo>
                  <a:lnTo>
                    <a:pt x="820052" y="204292"/>
                  </a:lnTo>
                  <a:lnTo>
                    <a:pt x="820052" y="204990"/>
                  </a:lnTo>
                  <a:lnTo>
                    <a:pt x="820052" y="203594"/>
                  </a:lnTo>
                  <a:lnTo>
                    <a:pt x="820052" y="204292"/>
                  </a:lnTo>
                  <a:lnTo>
                    <a:pt x="820052" y="203594"/>
                  </a:lnTo>
                  <a:lnTo>
                    <a:pt x="820103" y="203594"/>
                  </a:lnTo>
                  <a:lnTo>
                    <a:pt x="820103" y="204292"/>
                  </a:lnTo>
                  <a:lnTo>
                    <a:pt x="820103" y="203594"/>
                  </a:lnTo>
                  <a:lnTo>
                    <a:pt x="820103" y="204292"/>
                  </a:lnTo>
                  <a:lnTo>
                    <a:pt x="820154" y="204292"/>
                  </a:lnTo>
                  <a:lnTo>
                    <a:pt x="820154" y="203594"/>
                  </a:lnTo>
                  <a:lnTo>
                    <a:pt x="820154" y="207022"/>
                  </a:lnTo>
                  <a:lnTo>
                    <a:pt x="820154" y="206324"/>
                  </a:lnTo>
                  <a:lnTo>
                    <a:pt x="820243" y="206324"/>
                  </a:lnTo>
                  <a:lnTo>
                    <a:pt x="820243" y="204990"/>
                  </a:lnTo>
                  <a:lnTo>
                    <a:pt x="820243" y="207022"/>
                  </a:lnTo>
                  <a:lnTo>
                    <a:pt x="820243" y="206324"/>
                  </a:lnTo>
                  <a:lnTo>
                    <a:pt x="820243" y="207022"/>
                  </a:lnTo>
                  <a:lnTo>
                    <a:pt x="820243" y="206324"/>
                  </a:lnTo>
                  <a:lnTo>
                    <a:pt x="820243" y="207022"/>
                  </a:lnTo>
                  <a:lnTo>
                    <a:pt x="820243" y="206324"/>
                  </a:lnTo>
                  <a:lnTo>
                    <a:pt x="820293" y="206324"/>
                  </a:lnTo>
                  <a:lnTo>
                    <a:pt x="820293" y="207022"/>
                  </a:lnTo>
                  <a:lnTo>
                    <a:pt x="820344" y="207022"/>
                  </a:lnTo>
                  <a:lnTo>
                    <a:pt x="820344" y="206324"/>
                  </a:lnTo>
                  <a:lnTo>
                    <a:pt x="820344" y="207022"/>
                  </a:lnTo>
                  <a:lnTo>
                    <a:pt x="820344" y="206324"/>
                  </a:lnTo>
                  <a:lnTo>
                    <a:pt x="820344" y="207022"/>
                  </a:lnTo>
                  <a:lnTo>
                    <a:pt x="820395" y="206324"/>
                  </a:lnTo>
                  <a:lnTo>
                    <a:pt x="820395" y="207022"/>
                  </a:lnTo>
                  <a:lnTo>
                    <a:pt x="820395" y="206324"/>
                  </a:lnTo>
                  <a:lnTo>
                    <a:pt x="820395" y="207022"/>
                  </a:lnTo>
                  <a:lnTo>
                    <a:pt x="820395" y="204990"/>
                  </a:lnTo>
                  <a:lnTo>
                    <a:pt x="820395" y="206324"/>
                  </a:lnTo>
                  <a:lnTo>
                    <a:pt x="820497" y="206324"/>
                  </a:lnTo>
                  <a:lnTo>
                    <a:pt x="820497" y="204990"/>
                  </a:lnTo>
                  <a:lnTo>
                    <a:pt x="820497" y="206324"/>
                  </a:lnTo>
                  <a:lnTo>
                    <a:pt x="820497" y="204990"/>
                  </a:lnTo>
                  <a:lnTo>
                    <a:pt x="820497" y="206324"/>
                  </a:lnTo>
                  <a:lnTo>
                    <a:pt x="820497" y="204292"/>
                  </a:lnTo>
                  <a:lnTo>
                    <a:pt x="820547" y="204292"/>
                  </a:lnTo>
                  <a:lnTo>
                    <a:pt x="820547" y="202959"/>
                  </a:lnTo>
                  <a:lnTo>
                    <a:pt x="820547" y="203594"/>
                  </a:lnTo>
                  <a:lnTo>
                    <a:pt x="820598" y="204292"/>
                  </a:lnTo>
                  <a:lnTo>
                    <a:pt x="820598" y="204990"/>
                  </a:lnTo>
                  <a:lnTo>
                    <a:pt x="820598" y="203594"/>
                  </a:lnTo>
                  <a:lnTo>
                    <a:pt x="820598" y="204990"/>
                  </a:lnTo>
                  <a:lnTo>
                    <a:pt x="820700" y="206324"/>
                  </a:lnTo>
                  <a:lnTo>
                    <a:pt x="820700" y="207022"/>
                  </a:lnTo>
                  <a:lnTo>
                    <a:pt x="820700" y="204990"/>
                  </a:lnTo>
                  <a:lnTo>
                    <a:pt x="820700" y="207022"/>
                  </a:lnTo>
                  <a:lnTo>
                    <a:pt x="820738" y="207022"/>
                  </a:lnTo>
                  <a:lnTo>
                    <a:pt x="820738" y="206324"/>
                  </a:lnTo>
                  <a:lnTo>
                    <a:pt x="820738" y="207022"/>
                  </a:lnTo>
                  <a:lnTo>
                    <a:pt x="820738" y="206324"/>
                  </a:lnTo>
                  <a:lnTo>
                    <a:pt x="820738" y="207022"/>
                  </a:lnTo>
                  <a:lnTo>
                    <a:pt x="820789" y="207022"/>
                  </a:lnTo>
                  <a:lnTo>
                    <a:pt x="820789" y="206324"/>
                  </a:lnTo>
                  <a:lnTo>
                    <a:pt x="820789" y="207721"/>
                  </a:lnTo>
                  <a:lnTo>
                    <a:pt x="820789" y="207022"/>
                  </a:lnTo>
                  <a:lnTo>
                    <a:pt x="820840" y="207022"/>
                  </a:lnTo>
                  <a:lnTo>
                    <a:pt x="820840" y="204990"/>
                  </a:lnTo>
                  <a:lnTo>
                    <a:pt x="820941" y="204990"/>
                  </a:lnTo>
                  <a:lnTo>
                    <a:pt x="820941" y="206324"/>
                  </a:lnTo>
                  <a:lnTo>
                    <a:pt x="820941" y="204292"/>
                  </a:lnTo>
                  <a:lnTo>
                    <a:pt x="820992" y="204990"/>
                  </a:lnTo>
                  <a:lnTo>
                    <a:pt x="820992" y="202959"/>
                  </a:lnTo>
                  <a:lnTo>
                    <a:pt x="821043" y="202959"/>
                  </a:lnTo>
                  <a:lnTo>
                    <a:pt x="821043" y="202260"/>
                  </a:lnTo>
                  <a:lnTo>
                    <a:pt x="821043" y="202959"/>
                  </a:lnTo>
                  <a:lnTo>
                    <a:pt x="821043" y="202260"/>
                  </a:lnTo>
                  <a:lnTo>
                    <a:pt x="821043" y="202959"/>
                  </a:lnTo>
                  <a:lnTo>
                    <a:pt x="821043" y="202260"/>
                  </a:lnTo>
                  <a:lnTo>
                    <a:pt x="821043" y="204292"/>
                  </a:lnTo>
                  <a:lnTo>
                    <a:pt x="821043" y="203594"/>
                  </a:lnTo>
                  <a:lnTo>
                    <a:pt x="821043" y="204292"/>
                  </a:lnTo>
                  <a:lnTo>
                    <a:pt x="821043" y="203594"/>
                  </a:lnTo>
                  <a:lnTo>
                    <a:pt x="821144" y="203594"/>
                  </a:lnTo>
                  <a:lnTo>
                    <a:pt x="821144" y="202260"/>
                  </a:lnTo>
                  <a:lnTo>
                    <a:pt x="821144" y="204990"/>
                  </a:lnTo>
                  <a:lnTo>
                    <a:pt x="821144" y="204292"/>
                  </a:lnTo>
                  <a:lnTo>
                    <a:pt x="821195" y="204292"/>
                  </a:lnTo>
                  <a:lnTo>
                    <a:pt x="821195" y="204990"/>
                  </a:lnTo>
                  <a:lnTo>
                    <a:pt x="821246" y="204990"/>
                  </a:lnTo>
                  <a:lnTo>
                    <a:pt x="821246" y="206324"/>
                  </a:lnTo>
                  <a:lnTo>
                    <a:pt x="821246" y="204990"/>
                  </a:lnTo>
                  <a:lnTo>
                    <a:pt x="821246" y="206324"/>
                  </a:lnTo>
                  <a:lnTo>
                    <a:pt x="821284" y="206324"/>
                  </a:lnTo>
                  <a:lnTo>
                    <a:pt x="821284" y="207022"/>
                  </a:lnTo>
                  <a:lnTo>
                    <a:pt x="821284" y="206324"/>
                  </a:lnTo>
                  <a:lnTo>
                    <a:pt x="821284" y="207022"/>
                  </a:lnTo>
                  <a:lnTo>
                    <a:pt x="821386" y="207022"/>
                  </a:lnTo>
                  <a:lnTo>
                    <a:pt x="821386" y="206324"/>
                  </a:lnTo>
                  <a:lnTo>
                    <a:pt x="821386" y="207022"/>
                  </a:lnTo>
                  <a:lnTo>
                    <a:pt x="821437" y="207022"/>
                  </a:lnTo>
                  <a:lnTo>
                    <a:pt x="821437" y="206324"/>
                  </a:lnTo>
                  <a:lnTo>
                    <a:pt x="821437" y="207022"/>
                  </a:lnTo>
                  <a:lnTo>
                    <a:pt x="821437" y="206324"/>
                  </a:lnTo>
                  <a:lnTo>
                    <a:pt x="821437" y="207022"/>
                  </a:lnTo>
                  <a:lnTo>
                    <a:pt x="821437" y="204990"/>
                  </a:lnTo>
                  <a:lnTo>
                    <a:pt x="821487" y="204990"/>
                  </a:lnTo>
                  <a:lnTo>
                    <a:pt x="821487" y="202959"/>
                  </a:lnTo>
                  <a:lnTo>
                    <a:pt x="821589" y="203594"/>
                  </a:lnTo>
                  <a:lnTo>
                    <a:pt x="821589" y="202959"/>
                  </a:lnTo>
                  <a:lnTo>
                    <a:pt x="821589" y="204292"/>
                  </a:lnTo>
                  <a:lnTo>
                    <a:pt x="821589" y="202959"/>
                  </a:lnTo>
                  <a:lnTo>
                    <a:pt x="821640" y="202959"/>
                  </a:lnTo>
                  <a:lnTo>
                    <a:pt x="821640" y="202260"/>
                  </a:lnTo>
                  <a:lnTo>
                    <a:pt x="821640" y="204990"/>
                  </a:lnTo>
                  <a:lnTo>
                    <a:pt x="821640" y="203594"/>
                  </a:lnTo>
                  <a:lnTo>
                    <a:pt x="821691" y="204292"/>
                  </a:lnTo>
                  <a:lnTo>
                    <a:pt x="821691" y="204990"/>
                  </a:lnTo>
                  <a:lnTo>
                    <a:pt x="821691" y="204292"/>
                  </a:lnTo>
                  <a:lnTo>
                    <a:pt x="821691" y="204990"/>
                  </a:lnTo>
                  <a:lnTo>
                    <a:pt x="821741" y="204990"/>
                  </a:lnTo>
                  <a:lnTo>
                    <a:pt x="821741" y="204292"/>
                  </a:lnTo>
                  <a:lnTo>
                    <a:pt x="821741" y="204990"/>
                  </a:lnTo>
                  <a:lnTo>
                    <a:pt x="821830" y="204990"/>
                  </a:lnTo>
                  <a:lnTo>
                    <a:pt x="821830" y="206324"/>
                  </a:lnTo>
                  <a:lnTo>
                    <a:pt x="821830" y="204990"/>
                  </a:lnTo>
                  <a:lnTo>
                    <a:pt x="821830" y="206324"/>
                  </a:lnTo>
                  <a:lnTo>
                    <a:pt x="821830" y="204990"/>
                  </a:lnTo>
                  <a:lnTo>
                    <a:pt x="821830" y="206324"/>
                  </a:lnTo>
                  <a:lnTo>
                    <a:pt x="821881" y="206324"/>
                  </a:lnTo>
                  <a:lnTo>
                    <a:pt x="821881" y="204990"/>
                  </a:lnTo>
                  <a:lnTo>
                    <a:pt x="821881" y="206324"/>
                  </a:lnTo>
                  <a:lnTo>
                    <a:pt x="821881" y="204990"/>
                  </a:lnTo>
                  <a:lnTo>
                    <a:pt x="821932" y="206324"/>
                  </a:lnTo>
                  <a:lnTo>
                    <a:pt x="821932" y="204990"/>
                  </a:lnTo>
                  <a:lnTo>
                    <a:pt x="821932" y="206324"/>
                  </a:lnTo>
                  <a:lnTo>
                    <a:pt x="821932" y="204292"/>
                  </a:lnTo>
                  <a:lnTo>
                    <a:pt x="821932" y="204990"/>
                  </a:lnTo>
                  <a:lnTo>
                    <a:pt x="821932" y="204292"/>
                  </a:lnTo>
                  <a:lnTo>
                    <a:pt x="821983" y="204292"/>
                  </a:lnTo>
                  <a:lnTo>
                    <a:pt x="821983" y="202959"/>
                  </a:lnTo>
                  <a:lnTo>
                    <a:pt x="822084" y="202959"/>
                  </a:lnTo>
                  <a:lnTo>
                    <a:pt x="822084" y="202260"/>
                  </a:lnTo>
                  <a:lnTo>
                    <a:pt x="822084" y="203594"/>
                  </a:lnTo>
                  <a:lnTo>
                    <a:pt x="822084" y="202260"/>
                  </a:lnTo>
                  <a:lnTo>
                    <a:pt x="822135" y="202260"/>
                  </a:lnTo>
                  <a:lnTo>
                    <a:pt x="822135" y="203594"/>
                  </a:lnTo>
                  <a:lnTo>
                    <a:pt x="822135" y="202959"/>
                  </a:lnTo>
                  <a:lnTo>
                    <a:pt x="822135" y="203594"/>
                  </a:lnTo>
                  <a:lnTo>
                    <a:pt x="822186" y="203594"/>
                  </a:lnTo>
                  <a:lnTo>
                    <a:pt x="822186" y="204292"/>
                  </a:lnTo>
                  <a:lnTo>
                    <a:pt x="822186" y="203594"/>
                  </a:lnTo>
                  <a:lnTo>
                    <a:pt x="822287" y="203594"/>
                  </a:lnTo>
                  <a:lnTo>
                    <a:pt x="822287" y="204292"/>
                  </a:lnTo>
                  <a:lnTo>
                    <a:pt x="822287" y="203594"/>
                  </a:lnTo>
                  <a:lnTo>
                    <a:pt x="822287" y="204292"/>
                  </a:lnTo>
                  <a:lnTo>
                    <a:pt x="822287" y="203594"/>
                  </a:lnTo>
                  <a:lnTo>
                    <a:pt x="822287" y="204292"/>
                  </a:lnTo>
                  <a:lnTo>
                    <a:pt x="822326" y="203594"/>
                  </a:lnTo>
                  <a:lnTo>
                    <a:pt x="822326" y="204990"/>
                  </a:lnTo>
                  <a:lnTo>
                    <a:pt x="822326" y="204292"/>
                  </a:lnTo>
                  <a:lnTo>
                    <a:pt x="822326" y="204990"/>
                  </a:lnTo>
                  <a:lnTo>
                    <a:pt x="822376" y="204292"/>
                  </a:lnTo>
                  <a:lnTo>
                    <a:pt x="822376" y="204990"/>
                  </a:lnTo>
                  <a:lnTo>
                    <a:pt x="822376" y="204292"/>
                  </a:lnTo>
                  <a:lnTo>
                    <a:pt x="822376" y="204990"/>
                  </a:lnTo>
                  <a:lnTo>
                    <a:pt x="822427" y="204990"/>
                  </a:lnTo>
                  <a:lnTo>
                    <a:pt x="822427" y="204292"/>
                  </a:lnTo>
                  <a:lnTo>
                    <a:pt x="822529" y="204292"/>
                  </a:lnTo>
                  <a:lnTo>
                    <a:pt x="822529" y="203594"/>
                  </a:lnTo>
                  <a:lnTo>
                    <a:pt x="822529" y="204292"/>
                  </a:lnTo>
                  <a:lnTo>
                    <a:pt x="822529" y="203594"/>
                  </a:lnTo>
                  <a:lnTo>
                    <a:pt x="822529" y="204292"/>
                  </a:lnTo>
                  <a:lnTo>
                    <a:pt x="822529" y="202959"/>
                  </a:lnTo>
                  <a:lnTo>
                    <a:pt x="822529" y="203594"/>
                  </a:lnTo>
                  <a:lnTo>
                    <a:pt x="822529" y="202260"/>
                  </a:lnTo>
                  <a:lnTo>
                    <a:pt x="822580" y="202260"/>
                  </a:lnTo>
                  <a:lnTo>
                    <a:pt x="822580" y="200876"/>
                  </a:lnTo>
                  <a:lnTo>
                    <a:pt x="822580" y="202260"/>
                  </a:lnTo>
                  <a:lnTo>
                    <a:pt x="822580" y="200876"/>
                  </a:lnTo>
                  <a:lnTo>
                    <a:pt x="822630" y="200228"/>
                  </a:lnTo>
                  <a:lnTo>
                    <a:pt x="822630" y="199530"/>
                  </a:lnTo>
                  <a:lnTo>
                    <a:pt x="822630" y="202959"/>
                  </a:lnTo>
                  <a:lnTo>
                    <a:pt x="822630" y="202260"/>
                  </a:lnTo>
                  <a:lnTo>
                    <a:pt x="822732" y="200876"/>
                  </a:lnTo>
                  <a:lnTo>
                    <a:pt x="822732" y="203594"/>
                  </a:lnTo>
                  <a:lnTo>
                    <a:pt x="822732" y="202260"/>
                  </a:lnTo>
                  <a:lnTo>
                    <a:pt x="822783" y="202260"/>
                  </a:lnTo>
                  <a:lnTo>
                    <a:pt x="822783" y="203594"/>
                  </a:lnTo>
                  <a:lnTo>
                    <a:pt x="822783" y="202959"/>
                  </a:lnTo>
                  <a:lnTo>
                    <a:pt x="822783" y="203594"/>
                  </a:lnTo>
                  <a:lnTo>
                    <a:pt x="822783" y="202959"/>
                  </a:lnTo>
                  <a:lnTo>
                    <a:pt x="822833" y="202959"/>
                  </a:lnTo>
                  <a:lnTo>
                    <a:pt x="822833" y="203594"/>
                  </a:lnTo>
                  <a:lnTo>
                    <a:pt x="822833" y="202959"/>
                  </a:lnTo>
                  <a:lnTo>
                    <a:pt x="822833" y="203594"/>
                  </a:lnTo>
                  <a:lnTo>
                    <a:pt x="822833" y="202959"/>
                  </a:lnTo>
                  <a:lnTo>
                    <a:pt x="822833" y="203594"/>
                  </a:lnTo>
                  <a:lnTo>
                    <a:pt x="822833" y="202959"/>
                  </a:lnTo>
                  <a:lnTo>
                    <a:pt x="822833" y="203594"/>
                  </a:lnTo>
                  <a:lnTo>
                    <a:pt x="822872" y="203594"/>
                  </a:lnTo>
                  <a:lnTo>
                    <a:pt x="822872" y="202959"/>
                  </a:lnTo>
                  <a:lnTo>
                    <a:pt x="822872" y="204292"/>
                  </a:lnTo>
                  <a:lnTo>
                    <a:pt x="822872" y="203594"/>
                  </a:lnTo>
                  <a:lnTo>
                    <a:pt x="822872" y="204292"/>
                  </a:lnTo>
                  <a:lnTo>
                    <a:pt x="822973" y="204292"/>
                  </a:lnTo>
                  <a:lnTo>
                    <a:pt x="822973" y="203594"/>
                  </a:lnTo>
                  <a:lnTo>
                    <a:pt x="822973" y="204292"/>
                  </a:lnTo>
                  <a:lnTo>
                    <a:pt x="822973" y="203594"/>
                  </a:lnTo>
                  <a:lnTo>
                    <a:pt x="822973" y="204292"/>
                  </a:lnTo>
                  <a:lnTo>
                    <a:pt x="822973" y="203594"/>
                  </a:lnTo>
                  <a:lnTo>
                    <a:pt x="823024" y="204292"/>
                  </a:lnTo>
                  <a:lnTo>
                    <a:pt x="823024" y="202959"/>
                  </a:lnTo>
                  <a:lnTo>
                    <a:pt x="823024" y="203594"/>
                  </a:lnTo>
                  <a:lnTo>
                    <a:pt x="823024" y="202260"/>
                  </a:lnTo>
                  <a:lnTo>
                    <a:pt x="823075" y="200876"/>
                  </a:lnTo>
                  <a:lnTo>
                    <a:pt x="823075" y="202959"/>
                  </a:lnTo>
                  <a:lnTo>
                    <a:pt x="823075" y="200228"/>
                  </a:lnTo>
                  <a:lnTo>
                    <a:pt x="823176" y="200228"/>
                  </a:lnTo>
                  <a:lnTo>
                    <a:pt x="823176" y="203594"/>
                  </a:lnTo>
                  <a:lnTo>
                    <a:pt x="823176" y="202260"/>
                  </a:lnTo>
                  <a:lnTo>
                    <a:pt x="823227" y="202260"/>
                  </a:lnTo>
                  <a:lnTo>
                    <a:pt x="823227" y="203594"/>
                  </a:lnTo>
                  <a:lnTo>
                    <a:pt x="823227" y="202959"/>
                  </a:lnTo>
                  <a:lnTo>
                    <a:pt x="823227" y="203594"/>
                  </a:lnTo>
                  <a:lnTo>
                    <a:pt x="823227" y="202959"/>
                  </a:lnTo>
                  <a:lnTo>
                    <a:pt x="823329" y="202959"/>
                  </a:lnTo>
                  <a:lnTo>
                    <a:pt x="823329" y="204292"/>
                  </a:lnTo>
                  <a:lnTo>
                    <a:pt x="823329" y="203594"/>
                  </a:lnTo>
                  <a:lnTo>
                    <a:pt x="823329" y="204292"/>
                  </a:lnTo>
                  <a:lnTo>
                    <a:pt x="823418" y="204292"/>
                  </a:lnTo>
                  <a:lnTo>
                    <a:pt x="823418" y="203594"/>
                  </a:lnTo>
                  <a:lnTo>
                    <a:pt x="823418" y="204990"/>
                  </a:lnTo>
                  <a:lnTo>
                    <a:pt x="823418" y="204292"/>
                  </a:lnTo>
                  <a:lnTo>
                    <a:pt x="823418" y="204990"/>
                  </a:lnTo>
                  <a:lnTo>
                    <a:pt x="823468" y="204990"/>
                  </a:lnTo>
                  <a:lnTo>
                    <a:pt x="823468" y="204292"/>
                  </a:lnTo>
                  <a:lnTo>
                    <a:pt x="823468" y="204990"/>
                  </a:lnTo>
                  <a:lnTo>
                    <a:pt x="823468" y="204292"/>
                  </a:lnTo>
                  <a:lnTo>
                    <a:pt x="823468" y="204990"/>
                  </a:lnTo>
                  <a:lnTo>
                    <a:pt x="823468" y="204292"/>
                  </a:lnTo>
                  <a:lnTo>
                    <a:pt x="823519" y="203594"/>
                  </a:lnTo>
                  <a:lnTo>
                    <a:pt x="823519" y="204292"/>
                  </a:lnTo>
                  <a:lnTo>
                    <a:pt x="823519" y="203594"/>
                  </a:lnTo>
                  <a:lnTo>
                    <a:pt x="823519" y="204292"/>
                  </a:lnTo>
                  <a:lnTo>
                    <a:pt x="823519" y="203594"/>
                  </a:lnTo>
                  <a:lnTo>
                    <a:pt x="823519" y="204292"/>
                  </a:lnTo>
                  <a:lnTo>
                    <a:pt x="823519" y="202260"/>
                  </a:lnTo>
                  <a:lnTo>
                    <a:pt x="823519" y="202959"/>
                  </a:lnTo>
                  <a:lnTo>
                    <a:pt x="823570" y="202959"/>
                  </a:lnTo>
                  <a:lnTo>
                    <a:pt x="823570" y="202260"/>
                  </a:lnTo>
                  <a:lnTo>
                    <a:pt x="823570" y="202959"/>
                  </a:lnTo>
                  <a:lnTo>
                    <a:pt x="823672" y="202959"/>
                  </a:lnTo>
                  <a:lnTo>
                    <a:pt x="823672" y="204292"/>
                  </a:lnTo>
                  <a:lnTo>
                    <a:pt x="823672" y="203594"/>
                  </a:lnTo>
                  <a:lnTo>
                    <a:pt x="823672" y="204292"/>
                  </a:lnTo>
                  <a:lnTo>
                    <a:pt x="823672" y="203594"/>
                  </a:lnTo>
                  <a:lnTo>
                    <a:pt x="823672" y="204292"/>
                  </a:lnTo>
                  <a:lnTo>
                    <a:pt x="823672" y="203594"/>
                  </a:lnTo>
                  <a:lnTo>
                    <a:pt x="823672" y="204292"/>
                  </a:lnTo>
                  <a:lnTo>
                    <a:pt x="823672" y="203594"/>
                  </a:lnTo>
                  <a:lnTo>
                    <a:pt x="823722" y="203594"/>
                  </a:lnTo>
                  <a:lnTo>
                    <a:pt x="823722" y="204990"/>
                  </a:lnTo>
                  <a:lnTo>
                    <a:pt x="823722" y="203594"/>
                  </a:lnTo>
                  <a:lnTo>
                    <a:pt x="823773" y="203594"/>
                  </a:lnTo>
                  <a:lnTo>
                    <a:pt x="823773" y="204292"/>
                  </a:lnTo>
                  <a:lnTo>
                    <a:pt x="823773" y="203594"/>
                  </a:lnTo>
                  <a:lnTo>
                    <a:pt x="823773" y="204292"/>
                  </a:lnTo>
                  <a:lnTo>
                    <a:pt x="823913" y="204292"/>
                  </a:lnTo>
                  <a:lnTo>
                    <a:pt x="823913" y="203594"/>
                  </a:lnTo>
                  <a:lnTo>
                    <a:pt x="823913" y="204292"/>
                  </a:lnTo>
                  <a:lnTo>
                    <a:pt x="823964" y="204292"/>
                  </a:lnTo>
                  <a:lnTo>
                    <a:pt x="823964" y="203594"/>
                  </a:lnTo>
                  <a:lnTo>
                    <a:pt x="824015" y="203594"/>
                  </a:lnTo>
                  <a:lnTo>
                    <a:pt x="824015" y="202260"/>
                  </a:lnTo>
                  <a:lnTo>
                    <a:pt x="824116" y="202959"/>
                  </a:lnTo>
                  <a:lnTo>
                    <a:pt x="824116" y="203594"/>
                  </a:lnTo>
                  <a:lnTo>
                    <a:pt x="824116" y="202260"/>
                  </a:lnTo>
                  <a:lnTo>
                    <a:pt x="824116" y="203594"/>
                  </a:lnTo>
                  <a:lnTo>
                    <a:pt x="824167" y="203594"/>
                  </a:lnTo>
                  <a:lnTo>
                    <a:pt x="824167" y="204990"/>
                  </a:lnTo>
                  <a:lnTo>
                    <a:pt x="824167" y="203594"/>
                  </a:lnTo>
                  <a:lnTo>
                    <a:pt x="824167" y="204292"/>
                  </a:lnTo>
                  <a:lnTo>
                    <a:pt x="824218" y="204990"/>
                  </a:lnTo>
                  <a:lnTo>
                    <a:pt x="824218" y="204292"/>
                  </a:lnTo>
                  <a:lnTo>
                    <a:pt x="824218" y="204990"/>
                  </a:lnTo>
                  <a:lnTo>
                    <a:pt x="824218" y="204292"/>
                  </a:lnTo>
                  <a:lnTo>
                    <a:pt x="824218" y="204990"/>
                  </a:lnTo>
                  <a:lnTo>
                    <a:pt x="824218" y="204292"/>
                  </a:lnTo>
                  <a:lnTo>
                    <a:pt x="824319" y="204292"/>
                  </a:lnTo>
                  <a:lnTo>
                    <a:pt x="824319" y="204990"/>
                  </a:lnTo>
                  <a:lnTo>
                    <a:pt x="824319" y="204292"/>
                  </a:lnTo>
                  <a:lnTo>
                    <a:pt x="824319" y="204990"/>
                  </a:lnTo>
                  <a:lnTo>
                    <a:pt x="824319" y="204292"/>
                  </a:lnTo>
                  <a:lnTo>
                    <a:pt x="824319" y="204990"/>
                  </a:lnTo>
                  <a:lnTo>
                    <a:pt x="824370" y="204990"/>
                  </a:lnTo>
                  <a:lnTo>
                    <a:pt x="824370" y="206324"/>
                  </a:lnTo>
                  <a:lnTo>
                    <a:pt x="824370" y="204990"/>
                  </a:lnTo>
                  <a:lnTo>
                    <a:pt x="824370" y="206324"/>
                  </a:lnTo>
                  <a:lnTo>
                    <a:pt x="824370" y="204990"/>
                  </a:lnTo>
                  <a:lnTo>
                    <a:pt x="824421" y="204990"/>
                  </a:lnTo>
                  <a:lnTo>
                    <a:pt x="824421" y="204292"/>
                  </a:lnTo>
                  <a:lnTo>
                    <a:pt x="824459" y="204990"/>
                  </a:lnTo>
                  <a:lnTo>
                    <a:pt x="824459" y="203594"/>
                  </a:lnTo>
                  <a:lnTo>
                    <a:pt x="824459" y="204292"/>
                  </a:lnTo>
                  <a:lnTo>
                    <a:pt x="824459" y="203594"/>
                  </a:lnTo>
                  <a:lnTo>
                    <a:pt x="824459" y="204292"/>
                  </a:lnTo>
                  <a:lnTo>
                    <a:pt x="824459" y="203594"/>
                  </a:lnTo>
                  <a:lnTo>
                    <a:pt x="824561" y="202959"/>
                  </a:lnTo>
                  <a:lnTo>
                    <a:pt x="824561" y="202260"/>
                  </a:lnTo>
                  <a:lnTo>
                    <a:pt x="824561" y="202959"/>
                  </a:lnTo>
                  <a:lnTo>
                    <a:pt x="824561" y="202260"/>
                  </a:lnTo>
                  <a:lnTo>
                    <a:pt x="824561" y="202959"/>
                  </a:lnTo>
                  <a:lnTo>
                    <a:pt x="824561" y="202260"/>
                  </a:lnTo>
                  <a:lnTo>
                    <a:pt x="824561" y="202959"/>
                  </a:lnTo>
                  <a:lnTo>
                    <a:pt x="824561" y="202260"/>
                  </a:lnTo>
                  <a:lnTo>
                    <a:pt x="824561" y="202959"/>
                  </a:lnTo>
                  <a:lnTo>
                    <a:pt x="824612" y="202959"/>
                  </a:lnTo>
                  <a:lnTo>
                    <a:pt x="824612" y="203594"/>
                  </a:lnTo>
                  <a:lnTo>
                    <a:pt x="824612" y="202260"/>
                  </a:lnTo>
                  <a:lnTo>
                    <a:pt x="824612" y="204990"/>
                  </a:lnTo>
                  <a:lnTo>
                    <a:pt x="824612" y="204292"/>
                  </a:lnTo>
                  <a:lnTo>
                    <a:pt x="824662" y="204292"/>
                  </a:lnTo>
                  <a:lnTo>
                    <a:pt x="824662" y="203594"/>
                  </a:lnTo>
                  <a:lnTo>
                    <a:pt x="824662" y="206324"/>
                  </a:lnTo>
                  <a:lnTo>
                    <a:pt x="824662" y="204990"/>
                  </a:lnTo>
                  <a:lnTo>
                    <a:pt x="824764" y="204990"/>
                  </a:lnTo>
                  <a:lnTo>
                    <a:pt x="824764" y="204292"/>
                  </a:lnTo>
                  <a:lnTo>
                    <a:pt x="824764" y="204990"/>
                  </a:lnTo>
                  <a:lnTo>
                    <a:pt x="824815" y="204990"/>
                  </a:lnTo>
                  <a:lnTo>
                    <a:pt x="824815" y="204292"/>
                  </a:lnTo>
                  <a:lnTo>
                    <a:pt x="824815" y="204990"/>
                  </a:lnTo>
                  <a:lnTo>
                    <a:pt x="824815" y="204292"/>
                  </a:lnTo>
                  <a:lnTo>
                    <a:pt x="824815" y="206324"/>
                  </a:lnTo>
                  <a:lnTo>
                    <a:pt x="824815" y="204990"/>
                  </a:lnTo>
                  <a:lnTo>
                    <a:pt x="824866" y="204990"/>
                  </a:lnTo>
                  <a:lnTo>
                    <a:pt x="824866" y="206324"/>
                  </a:lnTo>
                  <a:lnTo>
                    <a:pt x="824866" y="204990"/>
                  </a:lnTo>
                  <a:lnTo>
                    <a:pt x="824916" y="204990"/>
                  </a:lnTo>
                  <a:lnTo>
                    <a:pt x="824916" y="204292"/>
                  </a:lnTo>
                  <a:lnTo>
                    <a:pt x="824916" y="204990"/>
                  </a:lnTo>
                  <a:lnTo>
                    <a:pt x="824916" y="204292"/>
                  </a:lnTo>
                  <a:lnTo>
                    <a:pt x="824916" y="204990"/>
                  </a:lnTo>
                  <a:lnTo>
                    <a:pt x="824916" y="204292"/>
                  </a:lnTo>
                  <a:lnTo>
                    <a:pt x="824916" y="204990"/>
                  </a:lnTo>
                  <a:lnTo>
                    <a:pt x="824916" y="204292"/>
                  </a:lnTo>
                  <a:lnTo>
                    <a:pt x="825005" y="204292"/>
                  </a:lnTo>
                  <a:lnTo>
                    <a:pt x="825005" y="203594"/>
                  </a:lnTo>
                  <a:lnTo>
                    <a:pt x="825005" y="204292"/>
                  </a:lnTo>
                  <a:lnTo>
                    <a:pt x="825005" y="202959"/>
                  </a:lnTo>
                  <a:lnTo>
                    <a:pt x="825005" y="203594"/>
                  </a:lnTo>
                  <a:lnTo>
                    <a:pt x="825056" y="203594"/>
                  </a:lnTo>
                  <a:lnTo>
                    <a:pt x="825056" y="200228"/>
                  </a:lnTo>
                  <a:lnTo>
                    <a:pt x="825056" y="202260"/>
                  </a:lnTo>
                  <a:lnTo>
                    <a:pt x="825056" y="200876"/>
                  </a:lnTo>
                  <a:lnTo>
                    <a:pt x="825107" y="200876"/>
                  </a:lnTo>
                  <a:lnTo>
                    <a:pt x="825107" y="202260"/>
                  </a:lnTo>
                  <a:lnTo>
                    <a:pt x="825107" y="200876"/>
                  </a:lnTo>
                  <a:lnTo>
                    <a:pt x="825107" y="202959"/>
                  </a:lnTo>
                  <a:lnTo>
                    <a:pt x="825107" y="200228"/>
                  </a:lnTo>
                  <a:lnTo>
                    <a:pt x="825107" y="202959"/>
                  </a:lnTo>
                  <a:lnTo>
                    <a:pt x="825158" y="203594"/>
                  </a:lnTo>
                  <a:lnTo>
                    <a:pt x="825158" y="202959"/>
                  </a:lnTo>
                  <a:lnTo>
                    <a:pt x="825158" y="203594"/>
                  </a:lnTo>
                  <a:lnTo>
                    <a:pt x="825158" y="202260"/>
                  </a:lnTo>
                  <a:lnTo>
                    <a:pt x="825158" y="203594"/>
                  </a:lnTo>
                  <a:lnTo>
                    <a:pt x="825310" y="203594"/>
                  </a:lnTo>
                  <a:lnTo>
                    <a:pt x="825310" y="204292"/>
                  </a:lnTo>
                  <a:lnTo>
                    <a:pt x="825310" y="203594"/>
                  </a:lnTo>
                  <a:lnTo>
                    <a:pt x="825310" y="204292"/>
                  </a:lnTo>
                  <a:lnTo>
                    <a:pt x="825361" y="204990"/>
                  </a:lnTo>
                  <a:lnTo>
                    <a:pt x="825361" y="204292"/>
                  </a:lnTo>
                  <a:lnTo>
                    <a:pt x="825361" y="206324"/>
                  </a:lnTo>
                  <a:lnTo>
                    <a:pt x="825462" y="206324"/>
                  </a:lnTo>
                  <a:lnTo>
                    <a:pt x="825462" y="204990"/>
                  </a:lnTo>
                  <a:lnTo>
                    <a:pt x="825462" y="206324"/>
                  </a:lnTo>
                  <a:lnTo>
                    <a:pt x="825462" y="204990"/>
                  </a:lnTo>
                  <a:lnTo>
                    <a:pt x="825462" y="206324"/>
                  </a:lnTo>
                  <a:lnTo>
                    <a:pt x="825462" y="204292"/>
                  </a:lnTo>
                  <a:lnTo>
                    <a:pt x="825462" y="204990"/>
                  </a:lnTo>
                  <a:lnTo>
                    <a:pt x="825501" y="204292"/>
                  </a:lnTo>
                  <a:lnTo>
                    <a:pt x="825501" y="204990"/>
                  </a:lnTo>
                  <a:lnTo>
                    <a:pt x="825501" y="203594"/>
                  </a:lnTo>
                  <a:lnTo>
                    <a:pt x="825551" y="203594"/>
                  </a:lnTo>
                  <a:lnTo>
                    <a:pt x="825551" y="200876"/>
                  </a:lnTo>
                  <a:lnTo>
                    <a:pt x="825602" y="200876"/>
                  </a:lnTo>
                  <a:lnTo>
                    <a:pt x="825602" y="202260"/>
                  </a:lnTo>
                  <a:lnTo>
                    <a:pt x="825602" y="200228"/>
                  </a:lnTo>
                  <a:lnTo>
                    <a:pt x="825602" y="202260"/>
                  </a:lnTo>
                  <a:lnTo>
                    <a:pt x="825704" y="202260"/>
                  </a:lnTo>
                  <a:lnTo>
                    <a:pt x="825704" y="202959"/>
                  </a:lnTo>
                  <a:lnTo>
                    <a:pt x="825704" y="200876"/>
                  </a:lnTo>
                  <a:lnTo>
                    <a:pt x="825704" y="202959"/>
                  </a:lnTo>
                  <a:lnTo>
                    <a:pt x="825704" y="202260"/>
                  </a:lnTo>
                  <a:lnTo>
                    <a:pt x="825704" y="202959"/>
                  </a:lnTo>
                  <a:lnTo>
                    <a:pt x="825704" y="202260"/>
                  </a:lnTo>
                  <a:lnTo>
                    <a:pt x="825755" y="202260"/>
                  </a:lnTo>
                  <a:lnTo>
                    <a:pt x="825755" y="202959"/>
                  </a:lnTo>
                  <a:lnTo>
                    <a:pt x="825755" y="200876"/>
                  </a:lnTo>
                  <a:lnTo>
                    <a:pt x="825755" y="202959"/>
                  </a:lnTo>
                  <a:lnTo>
                    <a:pt x="825805" y="202959"/>
                  </a:lnTo>
                  <a:lnTo>
                    <a:pt x="825805" y="202260"/>
                  </a:lnTo>
                  <a:lnTo>
                    <a:pt x="825805" y="202959"/>
                  </a:lnTo>
                  <a:lnTo>
                    <a:pt x="825805" y="202260"/>
                  </a:lnTo>
                  <a:lnTo>
                    <a:pt x="825805" y="203594"/>
                  </a:lnTo>
                  <a:lnTo>
                    <a:pt x="825805" y="202959"/>
                  </a:lnTo>
                  <a:lnTo>
                    <a:pt x="825805" y="203594"/>
                  </a:lnTo>
                  <a:lnTo>
                    <a:pt x="825805" y="202959"/>
                  </a:lnTo>
                  <a:lnTo>
                    <a:pt x="825805" y="203594"/>
                  </a:lnTo>
                  <a:lnTo>
                    <a:pt x="825907" y="203594"/>
                  </a:lnTo>
                  <a:lnTo>
                    <a:pt x="825907" y="204292"/>
                  </a:lnTo>
                  <a:lnTo>
                    <a:pt x="825907" y="203594"/>
                  </a:lnTo>
                  <a:lnTo>
                    <a:pt x="825907" y="204292"/>
                  </a:lnTo>
                  <a:lnTo>
                    <a:pt x="825907" y="203594"/>
                  </a:lnTo>
                  <a:lnTo>
                    <a:pt x="825958" y="204292"/>
                  </a:lnTo>
                  <a:lnTo>
                    <a:pt x="825958" y="203594"/>
                  </a:lnTo>
                  <a:lnTo>
                    <a:pt x="825958" y="204292"/>
                  </a:lnTo>
                  <a:lnTo>
                    <a:pt x="825958" y="203594"/>
                  </a:lnTo>
                  <a:lnTo>
                    <a:pt x="825958" y="204292"/>
                  </a:lnTo>
                  <a:lnTo>
                    <a:pt x="825958" y="203594"/>
                  </a:lnTo>
                  <a:lnTo>
                    <a:pt x="825958" y="204292"/>
                  </a:lnTo>
                  <a:lnTo>
                    <a:pt x="826008" y="204292"/>
                  </a:lnTo>
                  <a:lnTo>
                    <a:pt x="826008" y="203594"/>
                  </a:lnTo>
                  <a:lnTo>
                    <a:pt x="826008" y="204292"/>
                  </a:lnTo>
                  <a:lnTo>
                    <a:pt x="826008" y="203594"/>
                  </a:lnTo>
                  <a:lnTo>
                    <a:pt x="826008" y="204292"/>
                  </a:lnTo>
                  <a:lnTo>
                    <a:pt x="826008" y="203594"/>
                  </a:lnTo>
                  <a:lnTo>
                    <a:pt x="826008" y="204292"/>
                  </a:lnTo>
                  <a:lnTo>
                    <a:pt x="826008" y="203594"/>
                  </a:lnTo>
                  <a:lnTo>
                    <a:pt x="826047" y="202959"/>
                  </a:lnTo>
                  <a:lnTo>
                    <a:pt x="826047" y="203594"/>
                  </a:lnTo>
                  <a:lnTo>
                    <a:pt x="826047" y="202959"/>
                  </a:lnTo>
                  <a:lnTo>
                    <a:pt x="826047" y="204990"/>
                  </a:lnTo>
                  <a:lnTo>
                    <a:pt x="826047" y="203594"/>
                  </a:lnTo>
                  <a:lnTo>
                    <a:pt x="826148" y="203594"/>
                  </a:lnTo>
                  <a:lnTo>
                    <a:pt x="826148" y="202959"/>
                  </a:lnTo>
                  <a:lnTo>
                    <a:pt x="826148" y="206324"/>
                  </a:lnTo>
                  <a:lnTo>
                    <a:pt x="826148" y="203594"/>
                  </a:lnTo>
                  <a:lnTo>
                    <a:pt x="826199" y="203594"/>
                  </a:lnTo>
                  <a:lnTo>
                    <a:pt x="826199" y="204990"/>
                  </a:lnTo>
                  <a:lnTo>
                    <a:pt x="826199" y="204292"/>
                  </a:lnTo>
                  <a:lnTo>
                    <a:pt x="826250" y="203594"/>
                  </a:lnTo>
                  <a:lnTo>
                    <a:pt x="826250" y="204990"/>
                  </a:lnTo>
                  <a:lnTo>
                    <a:pt x="826250" y="204292"/>
                  </a:lnTo>
                  <a:lnTo>
                    <a:pt x="826351" y="204292"/>
                  </a:lnTo>
                  <a:lnTo>
                    <a:pt x="826351" y="204990"/>
                  </a:lnTo>
                  <a:lnTo>
                    <a:pt x="826351" y="203594"/>
                  </a:lnTo>
                  <a:lnTo>
                    <a:pt x="826351" y="204990"/>
                  </a:lnTo>
                  <a:lnTo>
                    <a:pt x="826402" y="204292"/>
                  </a:lnTo>
                  <a:lnTo>
                    <a:pt x="826402" y="203594"/>
                  </a:lnTo>
                  <a:lnTo>
                    <a:pt x="826402" y="204292"/>
                  </a:lnTo>
                  <a:lnTo>
                    <a:pt x="826453" y="203594"/>
                  </a:lnTo>
                  <a:lnTo>
                    <a:pt x="826453" y="204292"/>
                  </a:lnTo>
                  <a:lnTo>
                    <a:pt x="826453" y="203594"/>
                  </a:lnTo>
                  <a:lnTo>
                    <a:pt x="826453" y="204292"/>
                  </a:lnTo>
                  <a:lnTo>
                    <a:pt x="826453" y="203594"/>
                  </a:lnTo>
                  <a:lnTo>
                    <a:pt x="826453" y="204292"/>
                  </a:lnTo>
                  <a:lnTo>
                    <a:pt x="826453" y="203594"/>
                  </a:lnTo>
                  <a:lnTo>
                    <a:pt x="826504" y="203594"/>
                  </a:lnTo>
                  <a:lnTo>
                    <a:pt x="826504" y="202959"/>
                  </a:lnTo>
                  <a:lnTo>
                    <a:pt x="826504" y="203594"/>
                  </a:lnTo>
                  <a:lnTo>
                    <a:pt x="826504" y="202959"/>
                  </a:lnTo>
                  <a:lnTo>
                    <a:pt x="826504" y="203594"/>
                  </a:lnTo>
                  <a:lnTo>
                    <a:pt x="826504" y="202959"/>
                  </a:lnTo>
                  <a:lnTo>
                    <a:pt x="826593" y="202959"/>
                  </a:lnTo>
                  <a:lnTo>
                    <a:pt x="826593" y="204292"/>
                  </a:lnTo>
                  <a:lnTo>
                    <a:pt x="826593" y="202959"/>
                  </a:lnTo>
                  <a:lnTo>
                    <a:pt x="826643" y="203594"/>
                  </a:lnTo>
                  <a:lnTo>
                    <a:pt x="826643" y="206324"/>
                  </a:lnTo>
                  <a:lnTo>
                    <a:pt x="826643" y="204292"/>
                  </a:lnTo>
                  <a:lnTo>
                    <a:pt x="826643" y="204990"/>
                  </a:lnTo>
                  <a:lnTo>
                    <a:pt x="826694" y="204990"/>
                  </a:lnTo>
                  <a:lnTo>
                    <a:pt x="826694" y="206324"/>
                  </a:lnTo>
                  <a:lnTo>
                    <a:pt x="826694" y="204292"/>
                  </a:lnTo>
                  <a:lnTo>
                    <a:pt x="826694" y="204990"/>
                  </a:lnTo>
                  <a:lnTo>
                    <a:pt x="826745" y="204990"/>
                  </a:lnTo>
                  <a:lnTo>
                    <a:pt x="826745" y="206324"/>
                  </a:lnTo>
                  <a:lnTo>
                    <a:pt x="826745" y="204990"/>
                  </a:lnTo>
                  <a:lnTo>
                    <a:pt x="826745" y="206324"/>
                  </a:lnTo>
                  <a:lnTo>
                    <a:pt x="826847" y="206324"/>
                  </a:lnTo>
                  <a:lnTo>
                    <a:pt x="826847" y="204990"/>
                  </a:lnTo>
                  <a:lnTo>
                    <a:pt x="826847" y="206324"/>
                  </a:lnTo>
                  <a:lnTo>
                    <a:pt x="826847" y="204990"/>
                  </a:lnTo>
                  <a:lnTo>
                    <a:pt x="826897" y="204990"/>
                  </a:lnTo>
                  <a:lnTo>
                    <a:pt x="826897" y="203594"/>
                  </a:lnTo>
                  <a:lnTo>
                    <a:pt x="826897" y="204292"/>
                  </a:lnTo>
                  <a:lnTo>
                    <a:pt x="826897" y="203594"/>
                  </a:lnTo>
                  <a:lnTo>
                    <a:pt x="826948" y="204292"/>
                  </a:lnTo>
                  <a:lnTo>
                    <a:pt x="826948" y="203594"/>
                  </a:lnTo>
                  <a:lnTo>
                    <a:pt x="826948" y="204292"/>
                  </a:lnTo>
                  <a:lnTo>
                    <a:pt x="826948" y="202959"/>
                  </a:lnTo>
                  <a:lnTo>
                    <a:pt x="827050" y="202959"/>
                  </a:lnTo>
                  <a:lnTo>
                    <a:pt x="827050" y="200876"/>
                  </a:lnTo>
                  <a:lnTo>
                    <a:pt x="827050" y="202959"/>
                  </a:lnTo>
                  <a:lnTo>
                    <a:pt x="827088" y="202959"/>
                  </a:lnTo>
                  <a:lnTo>
                    <a:pt x="827088" y="203594"/>
                  </a:lnTo>
                  <a:lnTo>
                    <a:pt x="827088" y="202260"/>
                  </a:lnTo>
                  <a:lnTo>
                    <a:pt x="827088" y="204990"/>
                  </a:lnTo>
                  <a:lnTo>
                    <a:pt x="827139" y="204292"/>
                  </a:lnTo>
                  <a:lnTo>
                    <a:pt x="827139" y="204990"/>
                  </a:lnTo>
                  <a:lnTo>
                    <a:pt x="827139" y="203594"/>
                  </a:lnTo>
                  <a:lnTo>
                    <a:pt x="827139" y="204990"/>
                  </a:lnTo>
                  <a:lnTo>
                    <a:pt x="827190" y="204990"/>
                  </a:lnTo>
                  <a:lnTo>
                    <a:pt x="827190" y="204292"/>
                  </a:lnTo>
                  <a:lnTo>
                    <a:pt x="827190" y="204990"/>
                  </a:lnTo>
                  <a:lnTo>
                    <a:pt x="827190" y="204292"/>
                  </a:lnTo>
                  <a:lnTo>
                    <a:pt x="827190" y="204990"/>
                  </a:lnTo>
                  <a:lnTo>
                    <a:pt x="827291" y="204990"/>
                  </a:lnTo>
                  <a:lnTo>
                    <a:pt x="827291" y="206324"/>
                  </a:lnTo>
                  <a:lnTo>
                    <a:pt x="827291" y="204292"/>
                  </a:lnTo>
                  <a:lnTo>
                    <a:pt x="827291" y="206324"/>
                  </a:lnTo>
                  <a:lnTo>
                    <a:pt x="827342" y="206324"/>
                  </a:lnTo>
                  <a:lnTo>
                    <a:pt x="827342" y="204990"/>
                  </a:lnTo>
                  <a:lnTo>
                    <a:pt x="827342" y="206324"/>
                  </a:lnTo>
                  <a:lnTo>
                    <a:pt x="827393" y="206324"/>
                  </a:lnTo>
                  <a:lnTo>
                    <a:pt x="827393" y="204990"/>
                  </a:lnTo>
                  <a:lnTo>
                    <a:pt x="827393" y="206324"/>
                  </a:lnTo>
                  <a:lnTo>
                    <a:pt x="827393" y="204292"/>
                  </a:lnTo>
                  <a:lnTo>
                    <a:pt x="827494" y="204292"/>
                  </a:lnTo>
                  <a:lnTo>
                    <a:pt x="827494" y="202959"/>
                  </a:lnTo>
                  <a:lnTo>
                    <a:pt x="827545" y="202959"/>
                  </a:lnTo>
                  <a:lnTo>
                    <a:pt x="827545" y="200876"/>
                  </a:lnTo>
                  <a:lnTo>
                    <a:pt x="827545" y="203594"/>
                  </a:lnTo>
                  <a:lnTo>
                    <a:pt x="827545" y="202959"/>
                  </a:lnTo>
                  <a:lnTo>
                    <a:pt x="827596" y="202959"/>
                  </a:lnTo>
                  <a:lnTo>
                    <a:pt x="827596" y="200876"/>
                  </a:lnTo>
                  <a:lnTo>
                    <a:pt x="827596" y="204292"/>
                  </a:lnTo>
                  <a:lnTo>
                    <a:pt x="827634" y="204292"/>
                  </a:lnTo>
                  <a:lnTo>
                    <a:pt x="827634" y="202959"/>
                  </a:lnTo>
                  <a:lnTo>
                    <a:pt x="827634" y="204292"/>
                  </a:lnTo>
                  <a:lnTo>
                    <a:pt x="827634" y="203594"/>
                  </a:lnTo>
                  <a:lnTo>
                    <a:pt x="827634" y="204292"/>
                  </a:lnTo>
                  <a:lnTo>
                    <a:pt x="827634" y="203594"/>
                  </a:lnTo>
                  <a:lnTo>
                    <a:pt x="827736" y="203594"/>
                  </a:lnTo>
                  <a:lnTo>
                    <a:pt x="827736" y="204292"/>
                  </a:lnTo>
                  <a:lnTo>
                    <a:pt x="827787" y="204292"/>
                  </a:lnTo>
                  <a:lnTo>
                    <a:pt x="827787" y="204990"/>
                  </a:lnTo>
                  <a:lnTo>
                    <a:pt x="827837" y="204990"/>
                  </a:lnTo>
                  <a:lnTo>
                    <a:pt x="827837" y="206324"/>
                  </a:lnTo>
                  <a:lnTo>
                    <a:pt x="827837" y="204292"/>
                  </a:lnTo>
                  <a:lnTo>
                    <a:pt x="827837" y="204990"/>
                  </a:lnTo>
                  <a:lnTo>
                    <a:pt x="827939" y="204292"/>
                  </a:lnTo>
                  <a:lnTo>
                    <a:pt x="827939" y="204990"/>
                  </a:lnTo>
                  <a:lnTo>
                    <a:pt x="827939" y="203594"/>
                  </a:lnTo>
                  <a:lnTo>
                    <a:pt x="827990" y="203594"/>
                  </a:lnTo>
                  <a:lnTo>
                    <a:pt x="827990" y="204292"/>
                  </a:lnTo>
                  <a:lnTo>
                    <a:pt x="827990" y="203594"/>
                  </a:lnTo>
                  <a:lnTo>
                    <a:pt x="827990" y="204292"/>
                  </a:lnTo>
                  <a:lnTo>
                    <a:pt x="827990" y="202959"/>
                  </a:lnTo>
                  <a:lnTo>
                    <a:pt x="828041" y="202260"/>
                  </a:lnTo>
                  <a:lnTo>
                    <a:pt x="828041" y="202959"/>
                  </a:lnTo>
                  <a:lnTo>
                    <a:pt x="828041" y="202260"/>
                  </a:lnTo>
                  <a:lnTo>
                    <a:pt x="828041" y="202959"/>
                  </a:lnTo>
                  <a:lnTo>
                    <a:pt x="828041" y="202260"/>
                  </a:lnTo>
                  <a:lnTo>
                    <a:pt x="828091" y="202260"/>
                  </a:lnTo>
                  <a:lnTo>
                    <a:pt x="828091" y="203594"/>
                  </a:lnTo>
                  <a:lnTo>
                    <a:pt x="828091" y="202959"/>
                  </a:lnTo>
                  <a:lnTo>
                    <a:pt x="828180" y="202959"/>
                  </a:lnTo>
                  <a:lnTo>
                    <a:pt x="828180" y="202260"/>
                  </a:lnTo>
                  <a:lnTo>
                    <a:pt x="828180" y="203594"/>
                  </a:lnTo>
                  <a:lnTo>
                    <a:pt x="828180" y="202959"/>
                  </a:lnTo>
                  <a:lnTo>
                    <a:pt x="828180" y="203594"/>
                  </a:lnTo>
                  <a:lnTo>
                    <a:pt x="828231" y="203594"/>
                  </a:lnTo>
                  <a:lnTo>
                    <a:pt x="828231" y="204292"/>
                  </a:lnTo>
                  <a:lnTo>
                    <a:pt x="828231" y="203594"/>
                  </a:lnTo>
                  <a:lnTo>
                    <a:pt x="828231" y="204292"/>
                  </a:lnTo>
                  <a:lnTo>
                    <a:pt x="828231" y="203594"/>
                  </a:lnTo>
                  <a:lnTo>
                    <a:pt x="828231" y="204292"/>
                  </a:lnTo>
                  <a:lnTo>
                    <a:pt x="828282" y="204292"/>
                  </a:lnTo>
                  <a:lnTo>
                    <a:pt x="828282" y="203594"/>
                  </a:lnTo>
                  <a:lnTo>
                    <a:pt x="828282" y="204292"/>
                  </a:lnTo>
                  <a:lnTo>
                    <a:pt x="828333" y="204990"/>
                  </a:lnTo>
                  <a:lnTo>
                    <a:pt x="828333" y="204292"/>
                  </a:lnTo>
                  <a:lnTo>
                    <a:pt x="828333" y="204990"/>
                  </a:lnTo>
                  <a:lnTo>
                    <a:pt x="828333" y="204292"/>
                  </a:lnTo>
                  <a:lnTo>
                    <a:pt x="828333" y="204990"/>
                  </a:lnTo>
                  <a:lnTo>
                    <a:pt x="828333" y="204292"/>
                  </a:lnTo>
                  <a:lnTo>
                    <a:pt x="828434" y="204292"/>
                  </a:lnTo>
                  <a:lnTo>
                    <a:pt x="828434" y="203594"/>
                  </a:lnTo>
                  <a:lnTo>
                    <a:pt x="828434" y="204292"/>
                  </a:lnTo>
                  <a:lnTo>
                    <a:pt x="828434" y="203594"/>
                  </a:lnTo>
                  <a:lnTo>
                    <a:pt x="828434" y="204292"/>
                  </a:lnTo>
                  <a:lnTo>
                    <a:pt x="828485" y="204292"/>
                  </a:lnTo>
                  <a:lnTo>
                    <a:pt x="828485" y="202959"/>
                  </a:lnTo>
                  <a:lnTo>
                    <a:pt x="828485" y="203594"/>
                  </a:lnTo>
                  <a:lnTo>
                    <a:pt x="828485" y="202260"/>
                  </a:lnTo>
                  <a:lnTo>
                    <a:pt x="828536" y="202260"/>
                  </a:lnTo>
                  <a:lnTo>
                    <a:pt x="828536" y="202959"/>
                  </a:lnTo>
                  <a:lnTo>
                    <a:pt x="828536" y="200876"/>
                  </a:lnTo>
                  <a:lnTo>
                    <a:pt x="828536" y="202260"/>
                  </a:lnTo>
                  <a:lnTo>
                    <a:pt x="828536" y="200876"/>
                  </a:lnTo>
                  <a:lnTo>
                    <a:pt x="828536" y="202959"/>
                  </a:lnTo>
                  <a:lnTo>
                    <a:pt x="828637" y="202959"/>
                  </a:lnTo>
                  <a:lnTo>
                    <a:pt x="828637" y="204292"/>
                  </a:lnTo>
                  <a:lnTo>
                    <a:pt x="828637" y="202959"/>
                  </a:lnTo>
                  <a:lnTo>
                    <a:pt x="828676" y="203594"/>
                  </a:lnTo>
                  <a:lnTo>
                    <a:pt x="828676" y="202959"/>
                  </a:lnTo>
                  <a:lnTo>
                    <a:pt x="828676" y="203594"/>
                  </a:lnTo>
                  <a:lnTo>
                    <a:pt x="828726" y="203594"/>
                  </a:lnTo>
                  <a:lnTo>
                    <a:pt x="828726" y="204292"/>
                  </a:lnTo>
                  <a:lnTo>
                    <a:pt x="828726" y="203594"/>
                  </a:lnTo>
                  <a:lnTo>
                    <a:pt x="828726" y="204292"/>
                  </a:lnTo>
                  <a:lnTo>
                    <a:pt x="828726" y="203594"/>
                  </a:lnTo>
                  <a:lnTo>
                    <a:pt x="828777" y="204292"/>
                  </a:lnTo>
                  <a:lnTo>
                    <a:pt x="828777" y="203594"/>
                  </a:lnTo>
                  <a:lnTo>
                    <a:pt x="828777" y="204292"/>
                  </a:lnTo>
                  <a:lnTo>
                    <a:pt x="828777" y="203594"/>
                  </a:lnTo>
                  <a:lnTo>
                    <a:pt x="828777" y="204292"/>
                  </a:lnTo>
                  <a:lnTo>
                    <a:pt x="828879" y="204292"/>
                  </a:lnTo>
                  <a:lnTo>
                    <a:pt x="828879" y="203594"/>
                  </a:lnTo>
                  <a:lnTo>
                    <a:pt x="828879" y="204990"/>
                  </a:lnTo>
                  <a:lnTo>
                    <a:pt x="828879" y="204292"/>
                  </a:lnTo>
                  <a:lnTo>
                    <a:pt x="828879" y="204990"/>
                  </a:lnTo>
                  <a:lnTo>
                    <a:pt x="828879" y="204292"/>
                  </a:lnTo>
                  <a:lnTo>
                    <a:pt x="828930" y="204292"/>
                  </a:lnTo>
                  <a:lnTo>
                    <a:pt x="828930" y="202959"/>
                  </a:lnTo>
                  <a:lnTo>
                    <a:pt x="828980" y="203594"/>
                  </a:lnTo>
                  <a:lnTo>
                    <a:pt x="828980" y="202260"/>
                  </a:lnTo>
                  <a:lnTo>
                    <a:pt x="828980" y="202959"/>
                  </a:lnTo>
                  <a:lnTo>
                    <a:pt x="828980" y="202260"/>
                  </a:lnTo>
                  <a:lnTo>
                    <a:pt x="828980" y="204292"/>
                  </a:lnTo>
                  <a:lnTo>
                    <a:pt x="829082" y="204292"/>
                  </a:lnTo>
                  <a:lnTo>
                    <a:pt x="829082" y="202959"/>
                  </a:lnTo>
                  <a:lnTo>
                    <a:pt x="829082" y="206324"/>
                  </a:lnTo>
                  <a:lnTo>
                    <a:pt x="829082" y="204990"/>
                  </a:lnTo>
                  <a:lnTo>
                    <a:pt x="829133" y="204990"/>
                  </a:lnTo>
                  <a:lnTo>
                    <a:pt x="829133" y="203594"/>
                  </a:lnTo>
                  <a:lnTo>
                    <a:pt x="829133" y="206324"/>
                  </a:lnTo>
                  <a:lnTo>
                    <a:pt x="829133" y="204990"/>
                  </a:lnTo>
                  <a:lnTo>
                    <a:pt x="829183" y="204292"/>
                  </a:lnTo>
                  <a:lnTo>
                    <a:pt x="829183" y="204990"/>
                  </a:lnTo>
                  <a:lnTo>
                    <a:pt x="829183" y="204292"/>
                  </a:lnTo>
                  <a:lnTo>
                    <a:pt x="829222" y="204990"/>
                  </a:lnTo>
                  <a:lnTo>
                    <a:pt x="829222" y="206324"/>
                  </a:lnTo>
                  <a:lnTo>
                    <a:pt x="829222" y="204990"/>
                  </a:lnTo>
                  <a:lnTo>
                    <a:pt x="829222" y="206324"/>
                  </a:lnTo>
                  <a:lnTo>
                    <a:pt x="829222" y="204990"/>
                  </a:lnTo>
                  <a:lnTo>
                    <a:pt x="829323" y="204990"/>
                  </a:lnTo>
                  <a:lnTo>
                    <a:pt x="829323" y="204292"/>
                  </a:lnTo>
                  <a:lnTo>
                    <a:pt x="829323" y="204990"/>
                  </a:lnTo>
                  <a:lnTo>
                    <a:pt x="829323" y="204292"/>
                  </a:lnTo>
                  <a:lnTo>
                    <a:pt x="829323" y="204990"/>
                  </a:lnTo>
                  <a:lnTo>
                    <a:pt x="829374" y="204292"/>
                  </a:lnTo>
                  <a:lnTo>
                    <a:pt x="829374" y="204990"/>
                  </a:lnTo>
                  <a:lnTo>
                    <a:pt x="829374" y="204292"/>
                  </a:lnTo>
                  <a:lnTo>
                    <a:pt x="829374" y="204990"/>
                  </a:lnTo>
                  <a:lnTo>
                    <a:pt x="829374" y="204292"/>
                  </a:lnTo>
                  <a:lnTo>
                    <a:pt x="829374" y="204990"/>
                  </a:lnTo>
                  <a:lnTo>
                    <a:pt x="829374" y="204292"/>
                  </a:lnTo>
                  <a:lnTo>
                    <a:pt x="829374" y="204990"/>
                  </a:lnTo>
                  <a:lnTo>
                    <a:pt x="829374" y="204292"/>
                  </a:lnTo>
                  <a:lnTo>
                    <a:pt x="829425" y="204292"/>
                  </a:lnTo>
                  <a:lnTo>
                    <a:pt x="829425" y="203594"/>
                  </a:lnTo>
                  <a:lnTo>
                    <a:pt x="829526" y="203594"/>
                  </a:lnTo>
                  <a:lnTo>
                    <a:pt x="829526" y="202959"/>
                  </a:lnTo>
                  <a:lnTo>
                    <a:pt x="829526" y="203594"/>
                  </a:lnTo>
                  <a:lnTo>
                    <a:pt x="829526" y="202959"/>
                  </a:lnTo>
                  <a:lnTo>
                    <a:pt x="829526" y="203594"/>
                  </a:lnTo>
                  <a:lnTo>
                    <a:pt x="829526" y="202959"/>
                  </a:lnTo>
                  <a:lnTo>
                    <a:pt x="829526" y="204292"/>
                  </a:lnTo>
                  <a:lnTo>
                    <a:pt x="829526" y="202959"/>
                  </a:lnTo>
                  <a:lnTo>
                    <a:pt x="829577" y="202959"/>
                  </a:lnTo>
                  <a:lnTo>
                    <a:pt x="829577" y="204990"/>
                  </a:lnTo>
                  <a:lnTo>
                    <a:pt x="829577" y="204292"/>
                  </a:lnTo>
                  <a:lnTo>
                    <a:pt x="829628" y="204292"/>
                  </a:lnTo>
                  <a:lnTo>
                    <a:pt x="829628" y="204990"/>
                  </a:lnTo>
                  <a:lnTo>
                    <a:pt x="829628" y="204292"/>
                  </a:lnTo>
                  <a:lnTo>
                    <a:pt x="829628" y="204990"/>
                  </a:lnTo>
                  <a:lnTo>
                    <a:pt x="829679" y="204292"/>
                  </a:lnTo>
                  <a:lnTo>
                    <a:pt x="829679" y="204990"/>
                  </a:lnTo>
                  <a:lnTo>
                    <a:pt x="829768" y="204990"/>
                  </a:lnTo>
                  <a:lnTo>
                    <a:pt x="829768" y="206324"/>
                  </a:lnTo>
                  <a:lnTo>
                    <a:pt x="829768" y="204990"/>
                  </a:lnTo>
                  <a:lnTo>
                    <a:pt x="829768" y="206324"/>
                  </a:lnTo>
                  <a:lnTo>
                    <a:pt x="829768" y="204990"/>
                  </a:lnTo>
                  <a:lnTo>
                    <a:pt x="829818" y="204990"/>
                  </a:lnTo>
                  <a:lnTo>
                    <a:pt x="829818" y="206324"/>
                  </a:lnTo>
                  <a:lnTo>
                    <a:pt x="829818" y="204990"/>
                  </a:lnTo>
                  <a:lnTo>
                    <a:pt x="829818" y="206324"/>
                  </a:lnTo>
                  <a:lnTo>
                    <a:pt x="829818" y="204292"/>
                  </a:lnTo>
                  <a:lnTo>
                    <a:pt x="829818" y="204990"/>
                  </a:lnTo>
                  <a:lnTo>
                    <a:pt x="829869" y="204990"/>
                  </a:lnTo>
                  <a:lnTo>
                    <a:pt x="829869" y="203594"/>
                  </a:lnTo>
                  <a:lnTo>
                    <a:pt x="829869" y="204292"/>
                  </a:lnTo>
                  <a:lnTo>
                    <a:pt x="829920" y="204292"/>
                  </a:lnTo>
                  <a:lnTo>
                    <a:pt x="829920" y="202959"/>
                  </a:lnTo>
                  <a:lnTo>
                    <a:pt x="829920" y="203594"/>
                  </a:lnTo>
                  <a:lnTo>
                    <a:pt x="829920" y="202260"/>
                  </a:lnTo>
                  <a:lnTo>
                    <a:pt x="829920" y="202959"/>
                  </a:lnTo>
                  <a:lnTo>
                    <a:pt x="829920" y="202260"/>
                  </a:lnTo>
                  <a:lnTo>
                    <a:pt x="830022" y="202260"/>
                  </a:lnTo>
                  <a:lnTo>
                    <a:pt x="830022" y="200876"/>
                  </a:lnTo>
                  <a:lnTo>
                    <a:pt x="830022" y="203594"/>
                  </a:lnTo>
                  <a:lnTo>
                    <a:pt x="830022" y="200876"/>
                  </a:lnTo>
                  <a:lnTo>
                    <a:pt x="830022" y="202260"/>
                  </a:lnTo>
                  <a:lnTo>
                    <a:pt x="830072" y="202260"/>
                  </a:lnTo>
                  <a:lnTo>
                    <a:pt x="830072" y="200876"/>
                  </a:lnTo>
                  <a:lnTo>
                    <a:pt x="830072" y="204990"/>
                  </a:lnTo>
                  <a:lnTo>
                    <a:pt x="830072" y="202959"/>
                  </a:lnTo>
                  <a:lnTo>
                    <a:pt x="830123" y="203594"/>
                  </a:lnTo>
                  <a:lnTo>
                    <a:pt x="830123" y="206324"/>
                  </a:lnTo>
                  <a:lnTo>
                    <a:pt x="830123" y="203594"/>
                  </a:lnTo>
                  <a:lnTo>
                    <a:pt x="830123" y="204292"/>
                  </a:lnTo>
                  <a:lnTo>
                    <a:pt x="830225" y="204292"/>
                  </a:lnTo>
                  <a:lnTo>
                    <a:pt x="830225" y="204990"/>
                  </a:lnTo>
                  <a:lnTo>
                    <a:pt x="830225" y="204292"/>
                  </a:lnTo>
                  <a:lnTo>
                    <a:pt x="830225" y="204990"/>
                  </a:lnTo>
                  <a:lnTo>
                    <a:pt x="830225" y="204292"/>
                  </a:lnTo>
                  <a:lnTo>
                    <a:pt x="830225" y="204990"/>
                  </a:lnTo>
                  <a:lnTo>
                    <a:pt x="830225" y="204292"/>
                  </a:lnTo>
                  <a:lnTo>
                    <a:pt x="830263" y="204990"/>
                  </a:lnTo>
                  <a:lnTo>
                    <a:pt x="830263" y="204292"/>
                  </a:lnTo>
                  <a:lnTo>
                    <a:pt x="830263" y="204990"/>
                  </a:lnTo>
                  <a:lnTo>
                    <a:pt x="830314" y="204990"/>
                  </a:lnTo>
                  <a:lnTo>
                    <a:pt x="830314" y="204292"/>
                  </a:lnTo>
                  <a:lnTo>
                    <a:pt x="830314" y="204990"/>
                  </a:lnTo>
                  <a:lnTo>
                    <a:pt x="830314" y="204292"/>
                  </a:lnTo>
                  <a:lnTo>
                    <a:pt x="830365" y="204292"/>
                  </a:lnTo>
                  <a:lnTo>
                    <a:pt x="830365" y="204990"/>
                  </a:lnTo>
                  <a:lnTo>
                    <a:pt x="830365" y="203594"/>
                  </a:lnTo>
                  <a:lnTo>
                    <a:pt x="830466" y="203594"/>
                  </a:lnTo>
                  <a:lnTo>
                    <a:pt x="830466" y="202260"/>
                  </a:lnTo>
                  <a:lnTo>
                    <a:pt x="830466" y="202959"/>
                  </a:lnTo>
                  <a:lnTo>
                    <a:pt x="830466" y="202260"/>
                  </a:lnTo>
                  <a:lnTo>
                    <a:pt x="830517" y="202260"/>
                  </a:lnTo>
                  <a:lnTo>
                    <a:pt x="830517" y="203594"/>
                  </a:lnTo>
                  <a:lnTo>
                    <a:pt x="830517" y="200876"/>
                  </a:lnTo>
                  <a:lnTo>
                    <a:pt x="830517" y="203594"/>
                  </a:lnTo>
                  <a:lnTo>
                    <a:pt x="830568" y="204292"/>
                  </a:lnTo>
                  <a:lnTo>
                    <a:pt x="830568" y="202959"/>
                  </a:lnTo>
                  <a:lnTo>
                    <a:pt x="830568" y="204292"/>
                  </a:lnTo>
                  <a:lnTo>
                    <a:pt x="830669" y="204292"/>
                  </a:lnTo>
                  <a:lnTo>
                    <a:pt x="830669" y="203594"/>
                  </a:lnTo>
                  <a:lnTo>
                    <a:pt x="830669" y="204292"/>
                  </a:lnTo>
                  <a:lnTo>
                    <a:pt x="830669" y="203594"/>
                  </a:lnTo>
                  <a:lnTo>
                    <a:pt x="830669" y="204292"/>
                  </a:lnTo>
                  <a:lnTo>
                    <a:pt x="830669" y="203594"/>
                  </a:lnTo>
                  <a:lnTo>
                    <a:pt x="830669" y="204292"/>
                  </a:lnTo>
                  <a:lnTo>
                    <a:pt x="830669" y="203594"/>
                  </a:lnTo>
                  <a:lnTo>
                    <a:pt x="830669" y="204990"/>
                  </a:lnTo>
                  <a:lnTo>
                    <a:pt x="830720" y="204990"/>
                  </a:lnTo>
                  <a:lnTo>
                    <a:pt x="830720" y="204292"/>
                  </a:lnTo>
                  <a:lnTo>
                    <a:pt x="830771" y="204292"/>
                  </a:lnTo>
                  <a:lnTo>
                    <a:pt x="830771" y="204990"/>
                  </a:lnTo>
                  <a:lnTo>
                    <a:pt x="830809" y="204990"/>
                  </a:lnTo>
                  <a:lnTo>
                    <a:pt x="830809" y="204292"/>
                  </a:lnTo>
                  <a:lnTo>
                    <a:pt x="830809" y="204990"/>
                  </a:lnTo>
                  <a:lnTo>
                    <a:pt x="830809" y="204292"/>
                  </a:lnTo>
                  <a:lnTo>
                    <a:pt x="830911" y="203594"/>
                  </a:lnTo>
                  <a:lnTo>
                    <a:pt x="830911" y="204292"/>
                  </a:lnTo>
                  <a:lnTo>
                    <a:pt x="830911" y="202959"/>
                  </a:lnTo>
                  <a:lnTo>
                    <a:pt x="830962" y="202959"/>
                  </a:lnTo>
                  <a:lnTo>
                    <a:pt x="830962" y="200876"/>
                  </a:lnTo>
                  <a:lnTo>
                    <a:pt x="830962" y="202260"/>
                  </a:lnTo>
                  <a:lnTo>
                    <a:pt x="831012" y="202260"/>
                  </a:lnTo>
                  <a:lnTo>
                    <a:pt x="831012" y="202959"/>
                  </a:lnTo>
                  <a:lnTo>
                    <a:pt x="831012" y="200876"/>
                  </a:lnTo>
                  <a:lnTo>
                    <a:pt x="831012" y="203594"/>
                  </a:lnTo>
                  <a:lnTo>
                    <a:pt x="831114" y="202959"/>
                  </a:lnTo>
                  <a:lnTo>
                    <a:pt x="831114" y="203594"/>
                  </a:lnTo>
                  <a:lnTo>
                    <a:pt x="831165" y="203594"/>
                  </a:lnTo>
                  <a:lnTo>
                    <a:pt x="831165" y="202959"/>
                  </a:lnTo>
                  <a:lnTo>
                    <a:pt x="831165" y="204292"/>
                  </a:lnTo>
                  <a:lnTo>
                    <a:pt x="831216" y="203594"/>
                  </a:lnTo>
                  <a:lnTo>
                    <a:pt x="831216" y="204292"/>
                  </a:lnTo>
                  <a:lnTo>
                    <a:pt x="831216" y="203594"/>
                  </a:lnTo>
                  <a:lnTo>
                    <a:pt x="831216" y="204292"/>
                  </a:lnTo>
                  <a:lnTo>
                    <a:pt x="831216" y="203594"/>
                  </a:lnTo>
                  <a:lnTo>
                    <a:pt x="831216" y="204990"/>
                  </a:lnTo>
                  <a:lnTo>
                    <a:pt x="831216" y="204292"/>
                  </a:lnTo>
                  <a:lnTo>
                    <a:pt x="831266" y="204292"/>
                  </a:lnTo>
                  <a:lnTo>
                    <a:pt x="831266" y="203594"/>
                  </a:lnTo>
                  <a:lnTo>
                    <a:pt x="831266" y="204292"/>
                  </a:lnTo>
                  <a:lnTo>
                    <a:pt x="831266" y="203594"/>
                  </a:lnTo>
                  <a:lnTo>
                    <a:pt x="831266" y="204292"/>
                  </a:lnTo>
                  <a:lnTo>
                    <a:pt x="831355" y="204292"/>
                  </a:lnTo>
                  <a:lnTo>
                    <a:pt x="831355" y="203594"/>
                  </a:lnTo>
                  <a:lnTo>
                    <a:pt x="831355" y="204292"/>
                  </a:lnTo>
                  <a:lnTo>
                    <a:pt x="831406" y="204292"/>
                  </a:lnTo>
                  <a:lnTo>
                    <a:pt x="831406" y="202260"/>
                  </a:lnTo>
                  <a:lnTo>
                    <a:pt x="831406" y="202959"/>
                  </a:lnTo>
                  <a:lnTo>
                    <a:pt x="831457" y="202959"/>
                  </a:lnTo>
                  <a:lnTo>
                    <a:pt x="831457" y="202260"/>
                  </a:lnTo>
                  <a:lnTo>
                    <a:pt x="831457" y="202959"/>
                  </a:lnTo>
                  <a:lnTo>
                    <a:pt x="831457" y="200228"/>
                  </a:lnTo>
                  <a:lnTo>
                    <a:pt x="831508" y="200228"/>
                  </a:lnTo>
                  <a:lnTo>
                    <a:pt x="831508" y="200876"/>
                  </a:lnTo>
                  <a:lnTo>
                    <a:pt x="831508" y="199530"/>
                  </a:lnTo>
                  <a:lnTo>
                    <a:pt x="831508" y="200876"/>
                  </a:lnTo>
                  <a:lnTo>
                    <a:pt x="831609" y="202260"/>
                  </a:lnTo>
                  <a:lnTo>
                    <a:pt x="831609" y="200876"/>
                  </a:lnTo>
                  <a:lnTo>
                    <a:pt x="831609" y="202260"/>
                  </a:lnTo>
                  <a:lnTo>
                    <a:pt x="831660" y="202959"/>
                  </a:lnTo>
                  <a:lnTo>
                    <a:pt x="831660" y="202260"/>
                  </a:lnTo>
                  <a:lnTo>
                    <a:pt x="831660" y="202959"/>
                  </a:lnTo>
                  <a:lnTo>
                    <a:pt x="831660" y="202260"/>
                  </a:lnTo>
                  <a:lnTo>
                    <a:pt x="831660" y="202959"/>
                  </a:lnTo>
                  <a:lnTo>
                    <a:pt x="831660" y="202260"/>
                  </a:lnTo>
                  <a:lnTo>
                    <a:pt x="831660" y="202959"/>
                  </a:lnTo>
                  <a:lnTo>
                    <a:pt x="831660" y="202260"/>
                  </a:lnTo>
                  <a:lnTo>
                    <a:pt x="831660" y="202959"/>
                  </a:lnTo>
                  <a:lnTo>
                    <a:pt x="831711" y="202959"/>
                  </a:lnTo>
                  <a:lnTo>
                    <a:pt x="831711" y="202260"/>
                  </a:lnTo>
                  <a:lnTo>
                    <a:pt x="831711" y="203594"/>
                  </a:lnTo>
                  <a:lnTo>
                    <a:pt x="831812" y="202959"/>
                  </a:lnTo>
                  <a:lnTo>
                    <a:pt x="831812" y="204292"/>
                  </a:lnTo>
                  <a:lnTo>
                    <a:pt x="831851" y="204292"/>
                  </a:lnTo>
                  <a:lnTo>
                    <a:pt x="831851" y="203594"/>
                  </a:lnTo>
                  <a:lnTo>
                    <a:pt x="831851" y="204292"/>
                  </a:lnTo>
                  <a:lnTo>
                    <a:pt x="831851" y="203594"/>
                  </a:lnTo>
                  <a:lnTo>
                    <a:pt x="831851" y="204292"/>
                  </a:lnTo>
                  <a:lnTo>
                    <a:pt x="831851" y="203594"/>
                  </a:lnTo>
                  <a:lnTo>
                    <a:pt x="831851" y="204292"/>
                  </a:lnTo>
                  <a:lnTo>
                    <a:pt x="831901" y="203594"/>
                  </a:lnTo>
                  <a:lnTo>
                    <a:pt x="831901" y="204292"/>
                  </a:lnTo>
                  <a:lnTo>
                    <a:pt x="831901" y="202260"/>
                  </a:lnTo>
                  <a:lnTo>
                    <a:pt x="831952" y="202260"/>
                  </a:lnTo>
                  <a:lnTo>
                    <a:pt x="831952" y="202959"/>
                  </a:lnTo>
                  <a:lnTo>
                    <a:pt x="831952" y="200228"/>
                  </a:lnTo>
                  <a:lnTo>
                    <a:pt x="831952" y="202260"/>
                  </a:lnTo>
                  <a:lnTo>
                    <a:pt x="832054" y="202260"/>
                  </a:lnTo>
                  <a:lnTo>
                    <a:pt x="832054" y="202959"/>
                  </a:lnTo>
                  <a:lnTo>
                    <a:pt x="832054" y="200228"/>
                  </a:lnTo>
                  <a:lnTo>
                    <a:pt x="832054" y="203594"/>
                  </a:lnTo>
                  <a:lnTo>
                    <a:pt x="832105" y="203594"/>
                  </a:lnTo>
                  <a:lnTo>
                    <a:pt x="832105" y="202260"/>
                  </a:lnTo>
                  <a:lnTo>
                    <a:pt x="832105" y="202959"/>
                  </a:lnTo>
                  <a:lnTo>
                    <a:pt x="832105" y="202260"/>
                  </a:lnTo>
                  <a:lnTo>
                    <a:pt x="832105" y="204292"/>
                  </a:lnTo>
                  <a:lnTo>
                    <a:pt x="832155" y="204292"/>
                  </a:lnTo>
                  <a:lnTo>
                    <a:pt x="832155" y="203594"/>
                  </a:lnTo>
                  <a:lnTo>
                    <a:pt x="832155" y="204292"/>
                  </a:lnTo>
                  <a:lnTo>
                    <a:pt x="832155" y="202959"/>
                  </a:lnTo>
                  <a:lnTo>
                    <a:pt x="832155" y="203594"/>
                  </a:lnTo>
                  <a:lnTo>
                    <a:pt x="832257" y="203594"/>
                  </a:lnTo>
                  <a:lnTo>
                    <a:pt x="832257" y="202959"/>
                  </a:lnTo>
                  <a:lnTo>
                    <a:pt x="832257" y="203594"/>
                  </a:lnTo>
                  <a:lnTo>
                    <a:pt x="832257" y="202959"/>
                  </a:lnTo>
                  <a:lnTo>
                    <a:pt x="832257" y="203594"/>
                  </a:lnTo>
                  <a:lnTo>
                    <a:pt x="832257" y="202959"/>
                  </a:lnTo>
                  <a:lnTo>
                    <a:pt x="832257" y="203594"/>
                  </a:lnTo>
                  <a:lnTo>
                    <a:pt x="832308" y="203594"/>
                  </a:lnTo>
                  <a:lnTo>
                    <a:pt x="832308" y="204292"/>
                  </a:lnTo>
                  <a:lnTo>
                    <a:pt x="832308" y="203594"/>
                  </a:lnTo>
                  <a:lnTo>
                    <a:pt x="832308" y="204292"/>
                  </a:lnTo>
                  <a:lnTo>
                    <a:pt x="832308" y="203594"/>
                  </a:lnTo>
                  <a:lnTo>
                    <a:pt x="832308" y="204990"/>
                  </a:lnTo>
                  <a:lnTo>
                    <a:pt x="832358" y="204990"/>
                  </a:lnTo>
                  <a:lnTo>
                    <a:pt x="832358" y="204292"/>
                  </a:lnTo>
                  <a:lnTo>
                    <a:pt x="832397" y="204990"/>
                  </a:lnTo>
                  <a:lnTo>
                    <a:pt x="832397" y="203594"/>
                  </a:lnTo>
                  <a:lnTo>
                    <a:pt x="832397" y="204292"/>
                  </a:lnTo>
                  <a:lnTo>
                    <a:pt x="832397" y="203594"/>
                  </a:lnTo>
                  <a:lnTo>
                    <a:pt x="832498" y="203594"/>
                  </a:lnTo>
                  <a:lnTo>
                    <a:pt x="832498" y="200876"/>
                  </a:lnTo>
                  <a:lnTo>
                    <a:pt x="832498" y="203594"/>
                  </a:lnTo>
                  <a:lnTo>
                    <a:pt x="832549" y="203594"/>
                  </a:lnTo>
                  <a:lnTo>
                    <a:pt x="832549" y="202260"/>
                  </a:lnTo>
                  <a:lnTo>
                    <a:pt x="832549" y="204990"/>
                  </a:lnTo>
                  <a:lnTo>
                    <a:pt x="832549" y="204292"/>
                  </a:lnTo>
                  <a:lnTo>
                    <a:pt x="832600" y="203594"/>
                  </a:lnTo>
                  <a:lnTo>
                    <a:pt x="832600" y="202959"/>
                  </a:lnTo>
                  <a:lnTo>
                    <a:pt x="832600" y="204292"/>
                  </a:lnTo>
                  <a:lnTo>
                    <a:pt x="832701" y="204292"/>
                  </a:lnTo>
                  <a:lnTo>
                    <a:pt x="832701" y="203594"/>
                  </a:lnTo>
                  <a:lnTo>
                    <a:pt x="832701" y="204292"/>
                  </a:lnTo>
                  <a:lnTo>
                    <a:pt x="832701" y="203594"/>
                  </a:lnTo>
                  <a:lnTo>
                    <a:pt x="832701" y="204292"/>
                  </a:lnTo>
                  <a:lnTo>
                    <a:pt x="832701" y="202959"/>
                  </a:lnTo>
                  <a:lnTo>
                    <a:pt x="832701" y="203594"/>
                  </a:lnTo>
                  <a:lnTo>
                    <a:pt x="832752" y="203594"/>
                  </a:lnTo>
                  <a:lnTo>
                    <a:pt x="832752" y="204292"/>
                  </a:lnTo>
                  <a:lnTo>
                    <a:pt x="832752" y="203594"/>
                  </a:lnTo>
                  <a:lnTo>
                    <a:pt x="832803" y="203594"/>
                  </a:lnTo>
                  <a:lnTo>
                    <a:pt x="832803" y="204292"/>
                  </a:lnTo>
                  <a:lnTo>
                    <a:pt x="832803" y="203594"/>
                  </a:lnTo>
                  <a:lnTo>
                    <a:pt x="832803" y="204292"/>
                  </a:lnTo>
                  <a:lnTo>
                    <a:pt x="832803" y="203594"/>
                  </a:lnTo>
                  <a:lnTo>
                    <a:pt x="832803" y="204292"/>
                  </a:lnTo>
                  <a:lnTo>
                    <a:pt x="832803" y="203594"/>
                  </a:lnTo>
                  <a:lnTo>
                    <a:pt x="832803" y="204292"/>
                  </a:lnTo>
                  <a:lnTo>
                    <a:pt x="832854" y="203594"/>
                  </a:lnTo>
                  <a:lnTo>
                    <a:pt x="832854" y="204292"/>
                  </a:lnTo>
                  <a:lnTo>
                    <a:pt x="832854" y="203594"/>
                  </a:lnTo>
                  <a:lnTo>
                    <a:pt x="832943" y="203594"/>
                  </a:lnTo>
                  <a:lnTo>
                    <a:pt x="832943" y="202959"/>
                  </a:lnTo>
                  <a:lnTo>
                    <a:pt x="832943" y="203594"/>
                  </a:lnTo>
                  <a:lnTo>
                    <a:pt x="832943" y="200876"/>
                  </a:lnTo>
                  <a:lnTo>
                    <a:pt x="832993" y="200876"/>
                  </a:lnTo>
                  <a:lnTo>
                    <a:pt x="832993" y="203594"/>
                  </a:lnTo>
                  <a:lnTo>
                    <a:pt x="832993" y="202260"/>
                  </a:lnTo>
                  <a:lnTo>
                    <a:pt x="833044" y="202260"/>
                  </a:lnTo>
                  <a:lnTo>
                    <a:pt x="833044" y="204990"/>
                  </a:lnTo>
                  <a:lnTo>
                    <a:pt x="833044" y="203594"/>
                  </a:lnTo>
                  <a:lnTo>
                    <a:pt x="833044" y="204292"/>
                  </a:lnTo>
                  <a:lnTo>
                    <a:pt x="833095" y="204292"/>
                  </a:lnTo>
                  <a:lnTo>
                    <a:pt x="833095" y="204990"/>
                  </a:lnTo>
                  <a:lnTo>
                    <a:pt x="833095" y="204292"/>
                  </a:lnTo>
                  <a:lnTo>
                    <a:pt x="833095" y="204990"/>
                  </a:lnTo>
                  <a:lnTo>
                    <a:pt x="833197" y="204990"/>
                  </a:lnTo>
                  <a:lnTo>
                    <a:pt x="833197" y="206324"/>
                  </a:lnTo>
                  <a:lnTo>
                    <a:pt x="833197" y="204292"/>
                  </a:lnTo>
                  <a:lnTo>
                    <a:pt x="833197" y="206324"/>
                  </a:lnTo>
                  <a:lnTo>
                    <a:pt x="833197" y="204292"/>
                  </a:lnTo>
                  <a:lnTo>
                    <a:pt x="833197" y="204990"/>
                  </a:lnTo>
                  <a:lnTo>
                    <a:pt x="833247" y="204292"/>
                  </a:lnTo>
                  <a:lnTo>
                    <a:pt x="833247" y="204990"/>
                  </a:lnTo>
                  <a:lnTo>
                    <a:pt x="833247" y="204292"/>
                  </a:lnTo>
                  <a:lnTo>
                    <a:pt x="833247" y="204990"/>
                  </a:lnTo>
                  <a:lnTo>
                    <a:pt x="833298" y="204990"/>
                  </a:lnTo>
                  <a:lnTo>
                    <a:pt x="833298" y="204292"/>
                  </a:lnTo>
                  <a:lnTo>
                    <a:pt x="833298" y="204990"/>
                  </a:lnTo>
                  <a:lnTo>
                    <a:pt x="833298" y="204292"/>
                  </a:lnTo>
                  <a:lnTo>
                    <a:pt x="833298" y="204990"/>
                  </a:lnTo>
                  <a:lnTo>
                    <a:pt x="833298" y="204292"/>
                  </a:lnTo>
                  <a:lnTo>
                    <a:pt x="833400" y="204292"/>
                  </a:lnTo>
                  <a:lnTo>
                    <a:pt x="833400" y="204990"/>
                  </a:lnTo>
                  <a:lnTo>
                    <a:pt x="833400" y="203594"/>
                  </a:lnTo>
                  <a:lnTo>
                    <a:pt x="833438" y="203594"/>
                  </a:lnTo>
                  <a:lnTo>
                    <a:pt x="833438" y="202959"/>
                  </a:lnTo>
                  <a:lnTo>
                    <a:pt x="833438" y="203594"/>
                  </a:lnTo>
                  <a:lnTo>
                    <a:pt x="833438" y="200876"/>
                  </a:lnTo>
                  <a:lnTo>
                    <a:pt x="833438" y="202260"/>
                  </a:lnTo>
                  <a:lnTo>
                    <a:pt x="833489" y="202260"/>
                  </a:lnTo>
                  <a:lnTo>
                    <a:pt x="833489" y="203594"/>
                  </a:lnTo>
                  <a:lnTo>
                    <a:pt x="833489" y="202260"/>
                  </a:lnTo>
                  <a:lnTo>
                    <a:pt x="833489" y="204990"/>
                  </a:lnTo>
                  <a:lnTo>
                    <a:pt x="833540" y="204990"/>
                  </a:lnTo>
                  <a:lnTo>
                    <a:pt x="833540" y="203594"/>
                  </a:lnTo>
                  <a:lnTo>
                    <a:pt x="833540" y="204292"/>
                  </a:lnTo>
                  <a:lnTo>
                    <a:pt x="833540" y="203594"/>
                  </a:lnTo>
                  <a:lnTo>
                    <a:pt x="833540" y="204990"/>
                  </a:lnTo>
                  <a:lnTo>
                    <a:pt x="833641" y="204990"/>
                  </a:lnTo>
                  <a:lnTo>
                    <a:pt x="833641" y="204292"/>
                  </a:lnTo>
                  <a:lnTo>
                    <a:pt x="833641" y="204990"/>
                  </a:lnTo>
                  <a:lnTo>
                    <a:pt x="833692" y="204990"/>
                  </a:lnTo>
                  <a:lnTo>
                    <a:pt x="833692" y="204292"/>
                  </a:lnTo>
                  <a:lnTo>
                    <a:pt x="833692" y="204990"/>
                  </a:lnTo>
                  <a:lnTo>
                    <a:pt x="833692" y="204292"/>
                  </a:lnTo>
                  <a:lnTo>
                    <a:pt x="833743" y="204292"/>
                  </a:lnTo>
                  <a:lnTo>
                    <a:pt x="833743" y="204990"/>
                  </a:lnTo>
                  <a:lnTo>
                    <a:pt x="833743" y="204292"/>
                  </a:lnTo>
                  <a:lnTo>
                    <a:pt x="833743" y="204990"/>
                  </a:lnTo>
                  <a:lnTo>
                    <a:pt x="833743" y="204292"/>
                  </a:lnTo>
                  <a:lnTo>
                    <a:pt x="833743" y="204990"/>
                  </a:lnTo>
                  <a:lnTo>
                    <a:pt x="833743" y="204292"/>
                  </a:lnTo>
                  <a:lnTo>
                    <a:pt x="833743" y="204990"/>
                  </a:lnTo>
                  <a:lnTo>
                    <a:pt x="833844" y="204990"/>
                  </a:lnTo>
                  <a:lnTo>
                    <a:pt x="833844" y="204292"/>
                  </a:lnTo>
                  <a:lnTo>
                    <a:pt x="833844" y="204990"/>
                  </a:lnTo>
                  <a:lnTo>
                    <a:pt x="833844" y="204292"/>
                  </a:lnTo>
                  <a:lnTo>
                    <a:pt x="833844" y="204990"/>
                  </a:lnTo>
                  <a:lnTo>
                    <a:pt x="833844" y="204292"/>
                  </a:lnTo>
                  <a:lnTo>
                    <a:pt x="833895" y="204292"/>
                  </a:lnTo>
                  <a:lnTo>
                    <a:pt x="833895" y="202959"/>
                  </a:lnTo>
                  <a:lnTo>
                    <a:pt x="833946" y="202959"/>
                  </a:lnTo>
                  <a:lnTo>
                    <a:pt x="833946" y="200228"/>
                  </a:lnTo>
                  <a:lnTo>
                    <a:pt x="833946" y="202959"/>
                  </a:lnTo>
                  <a:lnTo>
                    <a:pt x="833984" y="202959"/>
                  </a:lnTo>
                  <a:lnTo>
                    <a:pt x="833984" y="200876"/>
                  </a:lnTo>
                  <a:lnTo>
                    <a:pt x="833984" y="204292"/>
                  </a:lnTo>
                  <a:lnTo>
                    <a:pt x="834086" y="204292"/>
                  </a:lnTo>
                  <a:lnTo>
                    <a:pt x="834086" y="202959"/>
                  </a:lnTo>
                  <a:lnTo>
                    <a:pt x="834086" y="204292"/>
                  </a:lnTo>
                  <a:lnTo>
                    <a:pt x="834137" y="204292"/>
                  </a:lnTo>
                  <a:lnTo>
                    <a:pt x="834137" y="203594"/>
                  </a:lnTo>
                  <a:lnTo>
                    <a:pt x="834137" y="204292"/>
                  </a:lnTo>
                  <a:lnTo>
                    <a:pt x="834137" y="203594"/>
                  </a:lnTo>
                  <a:lnTo>
                    <a:pt x="834187" y="203594"/>
                  </a:lnTo>
                  <a:lnTo>
                    <a:pt x="834187" y="204292"/>
                  </a:lnTo>
                  <a:lnTo>
                    <a:pt x="834187" y="203594"/>
                  </a:lnTo>
                  <a:lnTo>
                    <a:pt x="834187" y="204292"/>
                  </a:lnTo>
                  <a:lnTo>
                    <a:pt x="834289" y="204292"/>
                  </a:lnTo>
                  <a:lnTo>
                    <a:pt x="834289" y="204990"/>
                  </a:lnTo>
                  <a:lnTo>
                    <a:pt x="834289" y="204292"/>
                  </a:lnTo>
                  <a:lnTo>
                    <a:pt x="834289" y="204990"/>
                  </a:lnTo>
                  <a:lnTo>
                    <a:pt x="834289" y="204292"/>
                  </a:lnTo>
                  <a:lnTo>
                    <a:pt x="834289" y="204990"/>
                  </a:lnTo>
                  <a:lnTo>
                    <a:pt x="834289" y="204292"/>
                  </a:lnTo>
                  <a:lnTo>
                    <a:pt x="834340" y="204292"/>
                  </a:lnTo>
                  <a:lnTo>
                    <a:pt x="834340" y="204990"/>
                  </a:lnTo>
                  <a:lnTo>
                    <a:pt x="834340" y="204292"/>
                  </a:lnTo>
                  <a:lnTo>
                    <a:pt x="834340" y="204990"/>
                  </a:lnTo>
                  <a:lnTo>
                    <a:pt x="834340" y="204292"/>
                  </a:lnTo>
                  <a:lnTo>
                    <a:pt x="834391" y="204292"/>
                  </a:lnTo>
                  <a:lnTo>
                    <a:pt x="834391" y="203594"/>
                  </a:lnTo>
                  <a:lnTo>
                    <a:pt x="834391" y="204292"/>
                  </a:lnTo>
                  <a:lnTo>
                    <a:pt x="834391" y="203594"/>
                  </a:lnTo>
                  <a:lnTo>
                    <a:pt x="834391" y="204292"/>
                  </a:lnTo>
                  <a:lnTo>
                    <a:pt x="834391" y="203594"/>
                  </a:lnTo>
                  <a:lnTo>
                    <a:pt x="834391" y="204292"/>
                  </a:lnTo>
                  <a:lnTo>
                    <a:pt x="834391" y="202959"/>
                  </a:lnTo>
                  <a:lnTo>
                    <a:pt x="834391" y="203594"/>
                  </a:lnTo>
                  <a:lnTo>
                    <a:pt x="834391" y="202959"/>
                  </a:lnTo>
                  <a:lnTo>
                    <a:pt x="834441" y="202959"/>
                  </a:lnTo>
                  <a:lnTo>
                    <a:pt x="834441" y="200876"/>
                  </a:lnTo>
                  <a:lnTo>
                    <a:pt x="834441" y="202959"/>
                  </a:lnTo>
                  <a:lnTo>
                    <a:pt x="834441" y="200876"/>
                  </a:lnTo>
                  <a:lnTo>
                    <a:pt x="834530" y="200876"/>
                  </a:lnTo>
                  <a:lnTo>
                    <a:pt x="834530" y="200228"/>
                  </a:lnTo>
                  <a:lnTo>
                    <a:pt x="834530" y="204292"/>
                  </a:lnTo>
                  <a:lnTo>
                    <a:pt x="834530" y="202959"/>
                  </a:lnTo>
                  <a:lnTo>
                    <a:pt x="834581" y="202959"/>
                  </a:lnTo>
                  <a:lnTo>
                    <a:pt x="834581" y="204292"/>
                  </a:lnTo>
                  <a:lnTo>
                    <a:pt x="834581" y="202959"/>
                  </a:lnTo>
                  <a:lnTo>
                    <a:pt x="834632" y="202959"/>
                  </a:lnTo>
                  <a:lnTo>
                    <a:pt x="834632" y="203594"/>
                  </a:lnTo>
                  <a:lnTo>
                    <a:pt x="834632" y="202959"/>
                  </a:lnTo>
                  <a:lnTo>
                    <a:pt x="834632" y="203594"/>
                  </a:lnTo>
                  <a:lnTo>
                    <a:pt x="834632" y="202959"/>
                  </a:lnTo>
                  <a:lnTo>
                    <a:pt x="834683" y="202959"/>
                  </a:lnTo>
                  <a:lnTo>
                    <a:pt x="834683" y="204292"/>
                  </a:lnTo>
                  <a:lnTo>
                    <a:pt x="834683" y="203594"/>
                  </a:lnTo>
                  <a:lnTo>
                    <a:pt x="834784" y="203594"/>
                  </a:lnTo>
                  <a:lnTo>
                    <a:pt x="834784" y="204292"/>
                  </a:lnTo>
                  <a:lnTo>
                    <a:pt x="834835" y="204990"/>
                  </a:lnTo>
                  <a:lnTo>
                    <a:pt x="834835" y="203594"/>
                  </a:lnTo>
                  <a:lnTo>
                    <a:pt x="834835" y="204292"/>
                  </a:lnTo>
                  <a:lnTo>
                    <a:pt x="834835" y="203594"/>
                  </a:lnTo>
                  <a:lnTo>
                    <a:pt x="834835" y="204292"/>
                  </a:lnTo>
                  <a:lnTo>
                    <a:pt x="834835" y="203594"/>
                  </a:lnTo>
                  <a:lnTo>
                    <a:pt x="834886" y="203594"/>
                  </a:lnTo>
                  <a:lnTo>
                    <a:pt x="834886" y="202959"/>
                  </a:lnTo>
                  <a:lnTo>
                    <a:pt x="834886" y="203594"/>
                  </a:lnTo>
                  <a:lnTo>
                    <a:pt x="834886" y="202959"/>
                  </a:lnTo>
                  <a:lnTo>
                    <a:pt x="834886" y="204292"/>
                  </a:lnTo>
                  <a:lnTo>
                    <a:pt x="834886" y="203594"/>
                  </a:lnTo>
                  <a:lnTo>
                    <a:pt x="834987" y="203594"/>
                  </a:lnTo>
                  <a:lnTo>
                    <a:pt x="834987" y="202959"/>
                  </a:lnTo>
                  <a:lnTo>
                    <a:pt x="834987" y="206324"/>
                  </a:lnTo>
                  <a:lnTo>
                    <a:pt x="835026" y="206324"/>
                  </a:lnTo>
                  <a:lnTo>
                    <a:pt x="835026" y="204292"/>
                  </a:lnTo>
                  <a:lnTo>
                    <a:pt x="835026" y="206324"/>
                  </a:lnTo>
                  <a:lnTo>
                    <a:pt x="835076" y="204990"/>
                  </a:lnTo>
                  <a:lnTo>
                    <a:pt x="835076" y="204292"/>
                  </a:lnTo>
                  <a:lnTo>
                    <a:pt x="835076" y="206324"/>
                  </a:lnTo>
                  <a:lnTo>
                    <a:pt x="835127" y="204990"/>
                  </a:lnTo>
                  <a:lnTo>
                    <a:pt x="835127" y="206324"/>
                  </a:lnTo>
                  <a:lnTo>
                    <a:pt x="835127" y="204990"/>
                  </a:lnTo>
                  <a:lnTo>
                    <a:pt x="835127" y="206324"/>
                  </a:lnTo>
                  <a:lnTo>
                    <a:pt x="835127" y="204990"/>
                  </a:lnTo>
                  <a:lnTo>
                    <a:pt x="835127" y="206324"/>
                  </a:lnTo>
                  <a:lnTo>
                    <a:pt x="835127" y="204292"/>
                  </a:lnTo>
                  <a:lnTo>
                    <a:pt x="835229" y="204990"/>
                  </a:lnTo>
                  <a:lnTo>
                    <a:pt x="835280" y="204990"/>
                  </a:lnTo>
                  <a:lnTo>
                    <a:pt x="835280" y="204292"/>
                  </a:lnTo>
                  <a:lnTo>
                    <a:pt x="835280" y="204990"/>
                  </a:lnTo>
                  <a:lnTo>
                    <a:pt x="835280" y="204292"/>
                  </a:lnTo>
                  <a:lnTo>
                    <a:pt x="835330" y="204292"/>
                  </a:lnTo>
                  <a:lnTo>
                    <a:pt x="835330" y="203594"/>
                  </a:lnTo>
                  <a:lnTo>
                    <a:pt x="835330" y="204292"/>
                  </a:lnTo>
                  <a:lnTo>
                    <a:pt x="835330" y="202959"/>
                  </a:lnTo>
                  <a:lnTo>
                    <a:pt x="835432" y="202959"/>
                  </a:lnTo>
                  <a:lnTo>
                    <a:pt x="835432" y="203594"/>
                  </a:lnTo>
                  <a:lnTo>
                    <a:pt x="835432" y="202959"/>
                  </a:lnTo>
                  <a:lnTo>
                    <a:pt x="835432" y="203594"/>
                  </a:lnTo>
                  <a:lnTo>
                    <a:pt x="835483" y="203594"/>
                  </a:lnTo>
                  <a:lnTo>
                    <a:pt x="835483" y="202959"/>
                  </a:lnTo>
                  <a:lnTo>
                    <a:pt x="835483" y="204990"/>
                  </a:lnTo>
                  <a:lnTo>
                    <a:pt x="835533" y="204990"/>
                  </a:lnTo>
                  <a:lnTo>
                    <a:pt x="835533" y="204292"/>
                  </a:lnTo>
                  <a:lnTo>
                    <a:pt x="835533" y="206324"/>
                  </a:lnTo>
                  <a:lnTo>
                    <a:pt x="835533" y="204990"/>
                  </a:lnTo>
                  <a:lnTo>
                    <a:pt x="835572" y="204990"/>
                  </a:lnTo>
                  <a:lnTo>
                    <a:pt x="835572" y="206324"/>
                  </a:lnTo>
                  <a:lnTo>
                    <a:pt x="835572" y="204990"/>
                  </a:lnTo>
                  <a:lnTo>
                    <a:pt x="835572" y="206324"/>
                  </a:lnTo>
                  <a:lnTo>
                    <a:pt x="835572" y="204990"/>
                  </a:lnTo>
                  <a:lnTo>
                    <a:pt x="835572" y="206324"/>
                  </a:lnTo>
                  <a:lnTo>
                    <a:pt x="835572" y="204990"/>
                  </a:lnTo>
                  <a:lnTo>
                    <a:pt x="835572" y="206324"/>
                  </a:lnTo>
                  <a:lnTo>
                    <a:pt x="835673" y="206324"/>
                  </a:lnTo>
                  <a:lnTo>
                    <a:pt x="835673" y="204990"/>
                  </a:lnTo>
                  <a:lnTo>
                    <a:pt x="835673" y="206324"/>
                  </a:lnTo>
                  <a:lnTo>
                    <a:pt x="835673" y="204990"/>
                  </a:lnTo>
                  <a:lnTo>
                    <a:pt x="835724" y="206324"/>
                  </a:lnTo>
                  <a:lnTo>
                    <a:pt x="835724" y="204292"/>
                  </a:lnTo>
                  <a:lnTo>
                    <a:pt x="835724" y="206324"/>
                  </a:lnTo>
                  <a:lnTo>
                    <a:pt x="835775" y="206324"/>
                  </a:lnTo>
                  <a:lnTo>
                    <a:pt x="835775" y="204292"/>
                  </a:lnTo>
                  <a:lnTo>
                    <a:pt x="835775" y="204990"/>
                  </a:lnTo>
                  <a:lnTo>
                    <a:pt x="835775" y="204292"/>
                  </a:lnTo>
                  <a:lnTo>
                    <a:pt x="835876" y="204292"/>
                  </a:lnTo>
                  <a:lnTo>
                    <a:pt x="835876" y="200876"/>
                  </a:lnTo>
                  <a:lnTo>
                    <a:pt x="835927" y="202260"/>
                  </a:lnTo>
                  <a:lnTo>
                    <a:pt x="835927" y="202959"/>
                  </a:lnTo>
                  <a:lnTo>
                    <a:pt x="835927" y="202260"/>
                  </a:lnTo>
                  <a:lnTo>
                    <a:pt x="835978" y="202260"/>
                  </a:lnTo>
                  <a:lnTo>
                    <a:pt x="835978" y="203594"/>
                  </a:lnTo>
                  <a:lnTo>
                    <a:pt x="835978" y="202959"/>
                  </a:lnTo>
                  <a:lnTo>
                    <a:pt x="835978" y="203594"/>
                  </a:lnTo>
                  <a:lnTo>
                    <a:pt x="835978" y="202959"/>
                  </a:lnTo>
                  <a:lnTo>
                    <a:pt x="835978" y="203594"/>
                  </a:lnTo>
                  <a:lnTo>
                    <a:pt x="836029" y="203594"/>
                  </a:lnTo>
                  <a:lnTo>
                    <a:pt x="836029" y="204990"/>
                  </a:lnTo>
                  <a:lnTo>
                    <a:pt x="836029" y="204292"/>
                  </a:lnTo>
                  <a:lnTo>
                    <a:pt x="836118" y="204292"/>
                  </a:lnTo>
                  <a:lnTo>
                    <a:pt x="836118" y="204990"/>
                  </a:lnTo>
                  <a:lnTo>
                    <a:pt x="836118" y="204292"/>
                  </a:lnTo>
                  <a:lnTo>
                    <a:pt x="836118" y="206324"/>
                  </a:lnTo>
                  <a:lnTo>
                    <a:pt x="836168" y="206324"/>
                  </a:lnTo>
                  <a:lnTo>
                    <a:pt x="836168" y="204990"/>
                  </a:lnTo>
                  <a:lnTo>
                    <a:pt x="836168" y="206324"/>
                  </a:lnTo>
                  <a:lnTo>
                    <a:pt x="836168" y="204990"/>
                  </a:lnTo>
                  <a:lnTo>
                    <a:pt x="836168" y="206324"/>
                  </a:lnTo>
                  <a:lnTo>
                    <a:pt x="836168" y="204990"/>
                  </a:lnTo>
                  <a:lnTo>
                    <a:pt x="836168" y="206324"/>
                  </a:lnTo>
                  <a:lnTo>
                    <a:pt x="836168" y="204990"/>
                  </a:lnTo>
                  <a:lnTo>
                    <a:pt x="836168" y="206324"/>
                  </a:lnTo>
                  <a:lnTo>
                    <a:pt x="836219" y="204990"/>
                  </a:lnTo>
                  <a:lnTo>
                    <a:pt x="836219" y="206324"/>
                  </a:lnTo>
                  <a:lnTo>
                    <a:pt x="836219" y="204990"/>
                  </a:lnTo>
                  <a:lnTo>
                    <a:pt x="836219" y="206324"/>
                  </a:lnTo>
                  <a:lnTo>
                    <a:pt x="836219" y="204990"/>
                  </a:lnTo>
                  <a:lnTo>
                    <a:pt x="836219" y="206324"/>
                  </a:lnTo>
                  <a:lnTo>
                    <a:pt x="836219" y="204990"/>
                  </a:lnTo>
                  <a:lnTo>
                    <a:pt x="836270" y="206324"/>
                  </a:lnTo>
                  <a:lnTo>
                    <a:pt x="836270" y="203594"/>
                  </a:lnTo>
                  <a:lnTo>
                    <a:pt x="836372" y="203594"/>
                  </a:lnTo>
                  <a:lnTo>
                    <a:pt x="836372" y="202260"/>
                  </a:lnTo>
                  <a:lnTo>
                    <a:pt x="836372" y="202959"/>
                  </a:lnTo>
                  <a:lnTo>
                    <a:pt x="836422" y="202959"/>
                  </a:lnTo>
                  <a:lnTo>
                    <a:pt x="836422" y="203594"/>
                  </a:lnTo>
                  <a:lnTo>
                    <a:pt x="836422" y="202260"/>
                  </a:lnTo>
                  <a:lnTo>
                    <a:pt x="836422" y="204292"/>
                  </a:lnTo>
                  <a:lnTo>
                    <a:pt x="836473" y="204292"/>
                  </a:lnTo>
                  <a:lnTo>
                    <a:pt x="836473" y="204990"/>
                  </a:lnTo>
                  <a:lnTo>
                    <a:pt x="836473" y="202959"/>
                  </a:lnTo>
                  <a:lnTo>
                    <a:pt x="836473" y="204990"/>
                  </a:lnTo>
                  <a:lnTo>
                    <a:pt x="836575" y="204990"/>
                  </a:lnTo>
                  <a:lnTo>
                    <a:pt x="836575" y="203594"/>
                  </a:lnTo>
                  <a:lnTo>
                    <a:pt x="836575" y="204990"/>
                  </a:lnTo>
                  <a:lnTo>
                    <a:pt x="836575" y="204292"/>
                  </a:lnTo>
                  <a:lnTo>
                    <a:pt x="836613" y="204292"/>
                  </a:lnTo>
                  <a:lnTo>
                    <a:pt x="836664" y="204990"/>
                  </a:lnTo>
                  <a:lnTo>
                    <a:pt x="836715" y="204990"/>
                  </a:lnTo>
                  <a:lnTo>
                    <a:pt x="836715" y="204292"/>
                  </a:lnTo>
                  <a:lnTo>
                    <a:pt x="836715" y="204990"/>
                  </a:lnTo>
                  <a:lnTo>
                    <a:pt x="836715" y="204292"/>
                  </a:lnTo>
                  <a:lnTo>
                    <a:pt x="836715" y="204990"/>
                  </a:lnTo>
                  <a:lnTo>
                    <a:pt x="836715" y="204292"/>
                  </a:lnTo>
                  <a:lnTo>
                    <a:pt x="836816" y="204990"/>
                  </a:lnTo>
                  <a:lnTo>
                    <a:pt x="836816" y="202260"/>
                  </a:lnTo>
                  <a:lnTo>
                    <a:pt x="836816" y="202959"/>
                  </a:lnTo>
                  <a:lnTo>
                    <a:pt x="836867" y="202959"/>
                  </a:lnTo>
                  <a:lnTo>
                    <a:pt x="836867" y="202260"/>
                  </a:lnTo>
                  <a:lnTo>
                    <a:pt x="836867" y="203594"/>
                  </a:lnTo>
                  <a:lnTo>
                    <a:pt x="836918" y="203594"/>
                  </a:lnTo>
                  <a:lnTo>
                    <a:pt x="836918" y="200876"/>
                  </a:lnTo>
                  <a:lnTo>
                    <a:pt x="836918" y="204292"/>
                  </a:lnTo>
                  <a:lnTo>
                    <a:pt x="836918" y="203594"/>
                  </a:lnTo>
                  <a:lnTo>
                    <a:pt x="837019" y="203594"/>
                  </a:lnTo>
                  <a:lnTo>
                    <a:pt x="837019" y="202260"/>
                  </a:lnTo>
                  <a:lnTo>
                    <a:pt x="837019" y="204990"/>
                  </a:lnTo>
                  <a:lnTo>
                    <a:pt x="837019" y="204292"/>
                  </a:lnTo>
                  <a:lnTo>
                    <a:pt x="837070" y="204292"/>
                  </a:lnTo>
                  <a:lnTo>
                    <a:pt x="837070" y="203594"/>
                  </a:lnTo>
                  <a:lnTo>
                    <a:pt x="837070" y="204292"/>
                  </a:lnTo>
                  <a:lnTo>
                    <a:pt x="837121" y="204292"/>
                  </a:lnTo>
                  <a:lnTo>
                    <a:pt x="837121" y="204990"/>
                  </a:lnTo>
                  <a:lnTo>
                    <a:pt x="837121" y="204292"/>
                  </a:lnTo>
                  <a:lnTo>
                    <a:pt x="837121" y="204990"/>
                  </a:lnTo>
                  <a:lnTo>
                    <a:pt x="837159" y="204292"/>
                  </a:lnTo>
                  <a:lnTo>
                    <a:pt x="837159" y="206324"/>
                  </a:lnTo>
                  <a:lnTo>
                    <a:pt x="837159" y="204990"/>
                  </a:lnTo>
                  <a:lnTo>
                    <a:pt x="837159" y="206324"/>
                  </a:lnTo>
                  <a:lnTo>
                    <a:pt x="837159" y="204990"/>
                  </a:lnTo>
                  <a:lnTo>
                    <a:pt x="837261" y="206324"/>
                  </a:lnTo>
                  <a:lnTo>
                    <a:pt x="837261" y="204292"/>
                  </a:lnTo>
                  <a:lnTo>
                    <a:pt x="837261" y="204990"/>
                  </a:lnTo>
                  <a:lnTo>
                    <a:pt x="837261" y="204292"/>
                  </a:lnTo>
                  <a:lnTo>
                    <a:pt x="837261" y="204990"/>
                  </a:lnTo>
                  <a:lnTo>
                    <a:pt x="837261" y="204292"/>
                  </a:lnTo>
                  <a:lnTo>
                    <a:pt x="837312" y="204292"/>
                  </a:lnTo>
                  <a:lnTo>
                    <a:pt x="837312" y="203594"/>
                  </a:lnTo>
                  <a:lnTo>
                    <a:pt x="837312" y="204292"/>
                  </a:lnTo>
                  <a:lnTo>
                    <a:pt x="837312" y="202959"/>
                  </a:lnTo>
                  <a:lnTo>
                    <a:pt x="837312" y="203594"/>
                  </a:lnTo>
                  <a:lnTo>
                    <a:pt x="837312" y="202260"/>
                  </a:lnTo>
                  <a:lnTo>
                    <a:pt x="837362" y="202260"/>
                  </a:lnTo>
                  <a:lnTo>
                    <a:pt x="837362" y="200228"/>
                  </a:lnTo>
                  <a:lnTo>
                    <a:pt x="837362" y="202959"/>
                  </a:lnTo>
                  <a:lnTo>
                    <a:pt x="837464" y="202959"/>
                  </a:lnTo>
                  <a:lnTo>
                    <a:pt x="837464" y="200228"/>
                  </a:lnTo>
                  <a:lnTo>
                    <a:pt x="837464" y="203594"/>
                  </a:lnTo>
                  <a:lnTo>
                    <a:pt x="837464" y="202959"/>
                  </a:lnTo>
                  <a:lnTo>
                    <a:pt x="837515" y="203594"/>
                  </a:lnTo>
                  <a:lnTo>
                    <a:pt x="837515" y="202260"/>
                  </a:lnTo>
                  <a:lnTo>
                    <a:pt x="837515" y="203594"/>
                  </a:lnTo>
                  <a:lnTo>
                    <a:pt x="837515" y="202959"/>
                  </a:lnTo>
                  <a:lnTo>
                    <a:pt x="837566" y="202959"/>
                  </a:lnTo>
                  <a:lnTo>
                    <a:pt x="837566" y="203594"/>
                  </a:lnTo>
                  <a:lnTo>
                    <a:pt x="837566" y="202959"/>
                  </a:lnTo>
                  <a:lnTo>
                    <a:pt x="837566" y="203594"/>
                  </a:lnTo>
                  <a:lnTo>
                    <a:pt x="837566" y="202959"/>
                  </a:lnTo>
                  <a:lnTo>
                    <a:pt x="837566" y="203594"/>
                  </a:lnTo>
                  <a:lnTo>
                    <a:pt x="837566" y="202959"/>
                  </a:lnTo>
                  <a:lnTo>
                    <a:pt x="837616" y="202959"/>
                  </a:lnTo>
                  <a:lnTo>
                    <a:pt x="837616" y="203594"/>
                  </a:lnTo>
                  <a:lnTo>
                    <a:pt x="837616" y="202959"/>
                  </a:lnTo>
                  <a:lnTo>
                    <a:pt x="837616" y="203594"/>
                  </a:lnTo>
                  <a:lnTo>
                    <a:pt x="837616" y="202959"/>
                  </a:lnTo>
                  <a:lnTo>
                    <a:pt x="837616" y="203594"/>
                  </a:lnTo>
                  <a:lnTo>
                    <a:pt x="837616" y="202959"/>
                  </a:lnTo>
                  <a:lnTo>
                    <a:pt x="837616" y="203594"/>
                  </a:lnTo>
                  <a:lnTo>
                    <a:pt x="837705" y="203594"/>
                  </a:lnTo>
                  <a:lnTo>
                    <a:pt x="837705" y="204292"/>
                  </a:lnTo>
                  <a:lnTo>
                    <a:pt x="837705" y="203594"/>
                  </a:lnTo>
                  <a:lnTo>
                    <a:pt x="837705" y="204292"/>
                  </a:lnTo>
                  <a:lnTo>
                    <a:pt x="837705" y="203594"/>
                  </a:lnTo>
                  <a:lnTo>
                    <a:pt x="837705" y="204292"/>
                  </a:lnTo>
                  <a:lnTo>
                    <a:pt x="837705" y="203594"/>
                  </a:lnTo>
                  <a:lnTo>
                    <a:pt x="837756" y="203594"/>
                  </a:lnTo>
                  <a:lnTo>
                    <a:pt x="837756" y="204292"/>
                  </a:lnTo>
                  <a:lnTo>
                    <a:pt x="837756" y="203594"/>
                  </a:lnTo>
                  <a:lnTo>
                    <a:pt x="837756" y="204292"/>
                  </a:lnTo>
                  <a:lnTo>
                    <a:pt x="837756" y="203594"/>
                  </a:lnTo>
                  <a:lnTo>
                    <a:pt x="837807" y="203594"/>
                  </a:lnTo>
                  <a:lnTo>
                    <a:pt x="837807" y="202959"/>
                  </a:lnTo>
                  <a:lnTo>
                    <a:pt x="837807" y="203594"/>
                  </a:lnTo>
                  <a:lnTo>
                    <a:pt x="837807" y="202959"/>
                  </a:lnTo>
                  <a:lnTo>
                    <a:pt x="837807" y="203594"/>
                  </a:lnTo>
                  <a:lnTo>
                    <a:pt x="837807" y="202959"/>
                  </a:lnTo>
                  <a:lnTo>
                    <a:pt x="837858" y="202260"/>
                  </a:lnTo>
                  <a:lnTo>
                    <a:pt x="837858" y="200876"/>
                  </a:lnTo>
                  <a:lnTo>
                    <a:pt x="837858" y="202260"/>
                  </a:lnTo>
                  <a:lnTo>
                    <a:pt x="837858" y="200228"/>
                  </a:lnTo>
                  <a:lnTo>
                    <a:pt x="837858" y="200876"/>
                  </a:lnTo>
                  <a:lnTo>
                    <a:pt x="837858" y="200228"/>
                  </a:lnTo>
                  <a:lnTo>
                    <a:pt x="837959" y="199530"/>
                  </a:lnTo>
                  <a:lnTo>
                    <a:pt x="837959" y="198831"/>
                  </a:lnTo>
                  <a:lnTo>
                    <a:pt x="837959" y="199530"/>
                  </a:lnTo>
                  <a:lnTo>
                    <a:pt x="837959" y="198831"/>
                  </a:lnTo>
                  <a:lnTo>
                    <a:pt x="838010" y="198831"/>
                  </a:lnTo>
                  <a:lnTo>
                    <a:pt x="838010" y="197447"/>
                  </a:lnTo>
                  <a:lnTo>
                    <a:pt x="838010" y="200228"/>
                  </a:lnTo>
                  <a:lnTo>
                    <a:pt x="838010" y="199530"/>
                  </a:lnTo>
                  <a:lnTo>
                    <a:pt x="838061" y="199530"/>
                  </a:lnTo>
                  <a:lnTo>
                    <a:pt x="838061" y="200876"/>
                  </a:lnTo>
                  <a:lnTo>
                    <a:pt x="838162" y="200876"/>
                  </a:lnTo>
                  <a:lnTo>
                    <a:pt x="838162" y="202959"/>
                  </a:lnTo>
                  <a:lnTo>
                    <a:pt x="838201" y="202959"/>
                  </a:lnTo>
                  <a:lnTo>
                    <a:pt x="838201" y="203594"/>
                  </a:lnTo>
                  <a:lnTo>
                    <a:pt x="838201" y="202959"/>
                  </a:lnTo>
                  <a:lnTo>
                    <a:pt x="838201" y="203594"/>
                  </a:lnTo>
                  <a:lnTo>
                    <a:pt x="838251" y="203594"/>
                  </a:lnTo>
                  <a:lnTo>
                    <a:pt x="838251" y="204292"/>
                  </a:lnTo>
                  <a:lnTo>
                    <a:pt x="838251" y="203594"/>
                  </a:lnTo>
                  <a:lnTo>
                    <a:pt x="838251" y="204292"/>
                  </a:lnTo>
                  <a:lnTo>
                    <a:pt x="838251" y="203594"/>
                  </a:lnTo>
                  <a:lnTo>
                    <a:pt x="838251" y="204292"/>
                  </a:lnTo>
                  <a:lnTo>
                    <a:pt x="838251" y="203594"/>
                  </a:lnTo>
                  <a:lnTo>
                    <a:pt x="838251" y="204292"/>
                  </a:lnTo>
                  <a:lnTo>
                    <a:pt x="838251" y="203594"/>
                  </a:lnTo>
                  <a:lnTo>
                    <a:pt x="838251" y="204292"/>
                  </a:lnTo>
                  <a:lnTo>
                    <a:pt x="838251" y="203594"/>
                  </a:lnTo>
                  <a:lnTo>
                    <a:pt x="838302" y="204292"/>
                  </a:lnTo>
                  <a:lnTo>
                    <a:pt x="838302" y="203594"/>
                  </a:lnTo>
                  <a:lnTo>
                    <a:pt x="838302" y="204292"/>
                  </a:lnTo>
                  <a:lnTo>
                    <a:pt x="838302" y="203594"/>
                  </a:lnTo>
                  <a:lnTo>
                    <a:pt x="838404" y="202959"/>
                  </a:lnTo>
                  <a:lnTo>
                    <a:pt x="838404" y="203594"/>
                  </a:lnTo>
                  <a:lnTo>
                    <a:pt x="838404" y="200876"/>
                  </a:lnTo>
                  <a:lnTo>
                    <a:pt x="838404" y="202260"/>
                  </a:lnTo>
                  <a:lnTo>
                    <a:pt x="838455" y="202260"/>
                  </a:lnTo>
                  <a:lnTo>
                    <a:pt x="838455" y="197447"/>
                  </a:lnTo>
                  <a:lnTo>
                    <a:pt x="838505" y="197447"/>
                  </a:lnTo>
                  <a:lnTo>
                    <a:pt x="838505" y="196113"/>
                  </a:lnTo>
                  <a:lnTo>
                    <a:pt x="838505" y="197447"/>
                  </a:lnTo>
                  <a:lnTo>
                    <a:pt x="838505" y="196799"/>
                  </a:lnTo>
                  <a:lnTo>
                    <a:pt x="838607" y="196799"/>
                  </a:lnTo>
                  <a:lnTo>
                    <a:pt x="838607" y="194716"/>
                  </a:lnTo>
                  <a:lnTo>
                    <a:pt x="838607" y="198831"/>
                  </a:lnTo>
                  <a:lnTo>
                    <a:pt x="838607" y="197447"/>
                  </a:lnTo>
                  <a:lnTo>
                    <a:pt x="838658" y="197447"/>
                  </a:lnTo>
                  <a:lnTo>
                    <a:pt x="838658" y="196799"/>
                  </a:lnTo>
                  <a:lnTo>
                    <a:pt x="838658" y="199530"/>
                  </a:lnTo>
                  <a:lnTo>
                    <a:pt x="838658" y="198831"/>
                  </a:lnTo>
                  <a:lnTo>
                    <a:pt x="838658" y="199530"/>
                  </a:lnTo>
                  <a:lnTo>
                    <a:pt x="838658" y="198831"/>
                  </a:lnTo>
                  <a:lnTo>
                    <a:pt x="838658" y="199530"/>
                  </a:lnTo>
                  <a:lnTo>
                    <a:pt x="838658" y="198831"/>
                  </a:lnTo>
                  <a:lnTo>
                    <a:pt x="838708" y="199530"/>
                  </a:lnTo>
                  <a:lnTo>
                    <a:pt x="838708" y="198831"/>
                  </a:lnTo>
                  <a:lnTo>
                    <a:pt x="838708" y="200876"/>
                  </a:lnTo>
                  <a:lnTo>
                    <a:pt x="838747" y="200228"/>
                  </a:lnTo>
                  <a:lnTo>
                    <a:pt x="838747" y="202959"/>
                  </a:lnTo>
                  <a:lnTo>
                    <a:pt x="838747" y="202260"/>
                  </a:lnTo>
                  <a:lnTo>
                    <a:pt x="838747" y="202959"/>
                  </a:lnTo>
                  <a:lnTo>
                    <a:pt x="838848" y="202959"/>
                  </a:lnTo>
                  <a:lnTo>
                    <a:pt x="838848" y="204292"/>
                  </a:lnTo>
                  <a:lnTo>
                    <a:pt x="838899" y="203594"/>
                  </a:lnTo>
                  <a:lnTo>
                    <a:pt x="838899" y="204292"/>
                  </a:lnTo>
                  <a:lnTo>
                    <a:pt x="838899" y="203594"/>
                  </a:lnTo>
                  <a:lnTo>
                    <a:pt x="838899" y="204990"/>
                  </a:lnTo>
                  <a:lnTo>
                    <a:pt x="838950" y="204292"/>
                  </a:lnTo>
                  <a:lnTo>
                    <a:pt x="838950" y="200876"/>
                  </a:lnTo>
                  <a:lnTo>
                    <a:pt x="838950" y="202260"/>
                  </a:lnTo>
                  <a:lnTo>
                    <a:pt x="838950" y="200876"/>
                  </a:lnTo>
                  <a:lnTo>
                    <a:pt x="839051" y="200876"/>
                  </a:lnTo>
                  <a:lnTo>
                    <a:pt x="839051" y="199530"/>
                  </a:lnTo>
                  <a:lnTo>
                    <a:pt x="839051" y="200876"/>
                  </a:lnTo>
                  <a:lnTo>
                    <a:pt x="839051" y="200228"/>
                  </a:lnTo>
                  <a:lnTo>
                    <a:pt x="839102" y="200228"/>
                  </a:lnTo>
                  <a:lnTo>
                    <a:pt x="839102" y="199530"/>
                  </a:lnTo>
                  <a:lnTo>
                    <a:pt x="839102" y="202260"/>
                  </a:lnTo>
                  <a:lnTo>
                    <a:pt x="839102" y="200228"/>
                  </a:lnTo>
                  <a:lnTo>
                    <a:pt x="839153" y="200228"/>
                  </a:lnTo>
                  <a:lnTo>
                    <a:pt x="839153" y="202260"/>
                  </a:lnTo>
                  <a:lnTo>
                    <a:pt x="839153" y="200876"/>
                  </a:lnTo>
                  <a:lnTo>
                    <a:pt x="839153" y="202260"/>
                  </a:lnTo>
                  <a:lnTo>
                    <a:pt x="839153" y="200876"/>
                  </a:lnTo>
                  <a:lnTo>
                    <a:pt x="839204" y="200876"/>
                  </a:lnTo>
                  <a:lnTo>
                    <a:pt x="839204" y="202260"/>
                  </a:lnTo>
                  <a:lnTo>
                    <a:pt x="839204" y="200876"/>
                  </a:lnTo>
                  <a:lnTo>
                    <a:pt x="839204" y="202260"/>
                  </a:lnTo>
                  <a:lnTo>
                    <a:pt x="839204" y="200876"/>
                  </a:lnTo>
                  <a:lnTo>
                    <a:pt x="839293" y="200876"/>
                  </a:lnTo>
                  <a:lnTo>
                    <a:pt x="839293" y="202959"/>
                  </a:lnTo>
                  <a:lnTo>
                    <a:pt x="839293" y="202260"/>
                  </a:lnTo>
                  <a:lnTo>
                    <a:pt x="839293" y="203594"/>
                  </a:lnTo>
                  <a:lnTo>
                    <a:pt x="839343" y="203594"/>
                  </a:lnTo>
                  <a:lnTo>
                    <a:pt x="839343" y="204292"/>
                  </a:lnTo>
                  <a:lnTo>
                    <a:pt x="839394" y="204990"/>
                  </a:lnTo>
                  <a:lnTo>
                    <a:pt x="839394" y="203594"/>
                  </a:lnTo>
                  <a:lnTo>
                    <a:pt x="839394" y="204990"/>
                  </a:lnTo>
                  <a:lnTo>
                    <a:pt x="839394" y="204292"/>
                  </a:lnTo>
                  <a:lnTo>
                    <a:pt x="839445" y="204292"/>
                  </a:lnTo>
                  <a:lnTo>
                    <a:pt x="839445" y="202959"/>
                  </a:lnTo>
                  <a:lnTo>
                    <a:pt x="839445" y="203594"/>
                  </a:lnTo>
                  <a:lnTo>
                    <a:pt x="839445" y="202260"/>
                  </a:lnTo>
                  <a:lnTo>
                    <a:pt x="839547" y="202260"/>
                  </a:lnTo>
                  <a:lnTo>
                    <a:pt x="839547" y="200876"/>
                  </a:lnTo>
                  <a:lnTo>
                    <a:pt x="839547" y="202959"/>
                  </a:lnTo>
                  <a:lnTo>
                    <a:pt x="839547" y="202260"/>
                  </a:lnTo>
                  <a:lnTo>
                    <a:pt x="839597" y="202260"/>
                  </a:lnTo>
                  <a:lnTo>
                    <a:pt x="839597" y="200876"/>
                  </a:lnTo>
                  <a:lnTo>
                    <a:pt x="839597" y="203594"/>
                  </a:lnTo>
                  <a:lnTo>
                    <a:pt x="839597" y="202959"/>
                  </a:lnTo>
                  <a:lnTo>
                    <a:pt x="839648" y="202260"/>
                  </a:lnTo>
                  <a:lnTo>
                    <a:pt x="839648" y="203594"/>
                  </a:lnTo>
                  <a:lnTo>
                    <a:pt x="839648" y="202260"/>
                  </a:lnTo>
                  <a:lnTo>
                    <a:pt x="839750" y="202260"/>
                  </a:lnTo>
                  <a:lnTo>
                    <a:pt x="839750" y="200876"/>
                  </a:lnTo>
                  <a:lnTo>
                    <a:pt x="839750" y="202959"/>
                  </a:lnTo>
                  <a:lnTo>
                    <a:pt x="839750" y="202260"/>
                  </a:lnTo>
                  <a:lnTo>
                    <a:pt x="839750" y="202959"/>
                  </a:lnTo>
                  <a:lnTo>
                    <a:pt x="839750" y="202260"/>
                  </a:lnTo>
                  <a:lnTo>
                    <a:pt x="839750" y="202959"/>
                  </a:lnTo>
                  <a:lnTo>
                    <a:pt x="839750" y="202260"/>
                  </a:lnTo>
                  <a:lnTo>
                    <a:pt x="839750" y="202959"/>
                  </a:lnTo>
                  <a:lnTo>
                    <a:pt x="839788" y="202260"/>
                  </a:lnTo>
                  <a:lnTo>
                    <a:pt x="839788" y="203594"/>
                  </a:lnTo>
                  <a:lnTo>
                    <a:pt x="839788" y="202959"/>
                  </a:lnTo>
                  <a:lnTo>
                    <a:pt x="839788" y="203594"/>
                  </a:lnTo>
                  <a:lnTo>
                    <a:pt x="839839" y="203594"/>
                  </a:lnTo>
                  <a:lnTo>
                    <a:pt x="839839" y="204292"/>
                  </a:lnTo>
                  <a:lnTo>
                    <a:pt x="839839" y="203594"/>
                  </a:lnTo>
                  <a:lnTo>
                    <a:pt x="839839" y="204292"/>
                  </a:lnTo>
                  <a:lnTo>
                    <a:pt x="839839" y="203594"/>
                  </a:lnTo>
                  <a:lnTo>
                    <a:pt x="839839" y="204990"/>
                  </a:lnTo>
                  <a:lnTo>
                    <a:pt x="839839" y="204292"/>
                  </a:lnTo>
                  <a:lnTo>
                    <a:pt x="839890" y="204292"/>
                  </a:lnTo>
                  <a:lnTo>
                    <a:pt x="839890" y="203594"/>
                  </a:lnTo>
                  <a:lnTo>
                    <a:pt x="839890" y="204292"/>
                  </a:lnTo>
                  <a:lnTo>
                    <a:pt x="839890" y="203594"/>
                  </a:lnTo>
                  <a:lnTo>
                    <a:pt x="839991" y="203594"/>
                  </a:lnTo>
                  <a:lnTo>
                    <a:pt x="839991" y="202959"/>
                  </a:lnTo>
                  <a:lnTo>
                    <a:pt x="839991" y="203594"/>
                  </a:lnTo>
                  <a:lnTo>
                    <a:pt x="839991" y="202959"/>
                  </a:lnTo>
                  <a:lnTo>
                    <a:pt x="840042" y="202959"/>
                  </a:lnTo>
                  <a:lnTo>
                    <a:pt x="840042" y="202260"/>
                  </a:lnTo>
                  <a:lnTo>
                    <a:pt x="840042" y="203594"/>
                  </a:lnTo>
                  <a:lnTo>
                    <a:pt x="840042" y="202959"/>
                  </a:lnTo>
                  <a:lnTo>
                    <a:pt x="840093" y="202959"/>
                  </a:lnTo>
                  <a:lnTo>
                    <a:pt x="840093" y="202260"/>
                  </a:lnTo>
                  <a:lnTo>
                    <a:pt x="840093" y="204292"/>
                  </a:lnTo>
                  <a:lnTo>
                    <a:pt x="840093" y="203594"/>
                  </a:lnTo>
                  <a:lnTo>
                    <a:pt x="840194" y="203594"/>
                  </a:lnTo>
                  <a:lnTo>
                    <a:pt x="840194" y="202959"/>
                  </a:lnTo>
                  <a:lnTo>
                    <a:pt x="840194" y="204292"/>
                  </a:lnTo>
                  <a:lnTo>
                    <a:pt x="840194" y="203594"/>
                  </a:lnTo>
                  <a:lnTo>
                    <a:pt x="840245" y="203594"/>
                  </a:lnTo>
                  <a:lnTo>
                    <a:pt x="840245" y="202959"/>
                  </a:lnTo>
                  <a:lnTo>
                    <a:pt x="840245" y="203594"/>
                  </a:lnTo>
                  <a:lnTo>
                    <a:pt x="840296" y="203594"/>
                  </a:lnTo>
                  <a:lnTo>
                    <a:pt x="840296" y="204990"/>
                  </a:lnTo>
                  <a:lnTo>
                    <a:pt x="840296" y="204292"/>
                  </a:lnTo>
                  <a:lnTo>
                    <a:pt x="840334" y="204292"/>
                  </a:lnTo>
                  <a:lnTo>
                    <a:pt x="840334" y="204990"/>
                  </a:lnTo>
                  <a:lnTo>
                    <a:pt x="840334" y="204292"/>
                  </a:lnTo>
                  <a:lnTo>
                    <a:pt x="840334" y="204990"/>
                  </a:lnTo>
                  <a:lnTo>
                    <a:pt x="840334" y="204292"/>
                  </a:lnTo>
                  <a:lnTo>
                    <a:pt x="840436" y="204292"/>
                  </a:lnTo>
                  <a:lnTo>
                    <a:pt x="840436" y="204990"/>
                  </a:lnTo>
                  <a:lnTo>
                    <a:pt x="840436" y="203594"/>
                  </a:lnTo>
                  <a:lnTo>
                    <a:pt x="840487" y="203594"/>
                  </a:lnTo>
                  <a:lnTo>
                    <a:pt x="840487" y="202959"/>
                  </a:lnTo>
                  <a:lnTo>
                    <a:pt x="840487" y="203594"/>
                  </a:lnTo>
                  <a:lnTo>
                    <a:pt x="840487" y="202959"/>
                  </a:lnTo>
                  <a:lnTo>
                    <a:pt x="840537" y="202959"/>
                  </a:lnTo>
                  <a:lnTo>
                    <a:pt x="840537" y="204292"/>
                  </a:lnTo>
                  <a:lnTo>
                    <a:pt x="840537" y="203594"/>
                  </a:lnTo>
                  <a:lnTo>
                    <a:pt x="840537" y="204292"/>
                  </a:lnTo>
                  <a:lnTo>
                    <a:pt x="840537" y="203594"/>
                  </a:lnTo>
                  <a:lnTo>
                    <a:pt x="840537" y="204292"/>
                  </a:lnTo>
                  <a:lnTo>
                    <a:pt x="840537" y="202959"/>
                  </a:lnTo>
                  <a:lnTo>
                    <a:pt x="840639" y="203594"/>
                  </a:lnTo>
                  <a:lnTo>
                    <a:pt x="840639" y="206324"/>
                  </a:lnTo>
                  <a:lnTo>
                    <a:pt x="840639" y="203594"/>
                  </a:lnTo>
                  <a:lnTo>
                    <a:pt x="840639" y="204292"/>
                  </a:lnTo>
                  <a:lnTo>
                    <a:pt x="840639" y="203594"/>
                  </a:lnTo>
                  <a:lnTo>
                    <a:pt x="840690" y="204292"/>
                  </a:lnTo>
                  <a:lnTo>
                    <a:pt x="840690" y="206324"/>
                  </a:lnTo>
                  <a:lnTo>
                    <a:pt x="840690" y="203594"/>
                  </a:lnTo>
                  <a:lnTo>
                    <a:pt x="840690" y="204990"/>
                  </a:lnTo>
                  <a:lnTo>
                    <a:pt x="840741" y="204990"/>
                  </a:lnTo>
                  <a:lnTo>
                    <a:pt x="840741" y="204292"/>
                  </a:lnTo>
                  <a:lnTo>
                    <a:pt x="840741" y="204990"/>
                  </a:lnTo>
                  <a:lnTo>
                    <a:pt x="840741" y="204292"/>
                  </a:lnTo>
                  <a:lnTo>
                    <a:pt x="840741" y="204990"/>
                  </a:lnTo>
                  <a:lnTo>
                    <a:pt x="840741" y="204292"/>
                  </a:lnTo>
                  <a:lnTo>
                    <a:pt x="840741" y="204990"/>
                  </a:lnTo>
                  <a:lnTo>
                    <a:pt x="840741" y="204292"/>
                  </a:lnTo>
                  <a:lnTo>
                    <a:pt x="840741" y="204990"/>
                  </a:lnTo>
                  <a:lnTo>
                    <a:pt x="840791" y="204990"/>
                  </a:lnTo>
                  <a:lnTo>
                    <a:pt x="840791" y="206324"/>
                  </a:lnTo>
                  <a:lnTo>
                    <a:pt x="840791" y="204990"/>
                  </a:lnTo>
                  <a:lnTo>
                    <a:pt x="840791" y="206324"/>
                  </a:lnTo>
                  <a:lnTo>
                    <a:pt x="840791" y="204990"/>
                  </a:lnTo>
                  <a:lnTo>
                    <a:pt x="840791" y="206324"/>
                  </a:lnTo>
                  <a:lnTo>
                    <a:pt x="840791" y="204990"/>
                  </a:lnTo>
                  <a:lnTo>
                    <a:pt x="840791" y="206324"/>
                  </a:lnTo>
                  <a:lnTo>
                    <a:pt x="840880" y="206324"/>
                  </a:lnTo>
                  <a:lnTo>
                    <a:pt x="840880" y="204990"/>
                  </a:lnTo>
                  <a:lnTo>
                    <a:pt x="840880" y="206324"/>
                  </a:lnTo>
                  <a:lnTo>
                    <a:pt x="840880" y="204990"/>
                  </a:lnTo>
                  <a:lnTo>
                    <a:pt x="840931" y="204292"/>
                  </a:lnTo>
                  <a:lnTo>
                    <a:pt x="840931" y="206324"/>
                  </a:lnTo>
                  <a:lnTo>
                    <a:pt x="840931" y="204990"/>
                  </a:lnTo>
                  <a:lnTo>
                    <a:pt x="840931" y="206324"/>
                  </a:lnTo>
                  <a:lnTo>
                    <a:pt x="840931" y="204990"/>
                  </a:lnTo>
                  <a:lnTo>
                    <a:pt x="840931" y="207022"/>
                  </a:lnTo>
                  <a:lnTo>
                    <a:pt x="840982" y="206324"/>
                  </a:lnTo>
                  <a:lnTo>
                    <a:pt x="840982" y="209753"/>
                  </a:lnTo>
                  <a:lnTo>
                    <a:pt x="841033" y="209753"/>
                  </a:lnTo>
                  <a:lnTo>
                    <a:pt x="841033" y="208407"/>
                  </a:lnTo>
                  <a:lnTo>
                    <a:pt x="841033" y="209753"/>
                  </a:lnTo>
                  <a:lnTo>
                    <a:pt x="841033" y="208407"/>
                  </a:lnTo>
                  <a:lnTo>
                    <a:pt x="841033" y="210451"/>
                  </a:lnTo>
                  <a:lnTo>
                    <a:pt x="841134" y="210451"/>
                  </a:lnTo>
                  <a:lnTo>
                    <a:pt x="841134" y="208407"/>
                  </a:lnTo>
                  <a:lnTo>
                    <a:pt x="841134" y="210451"/>
                  </a:lnTo>
                  <a:lnTo>
                    <a:pt x="841134" y="209753"/>
                  </a:lnTo>
                  <a:lnTo>
                    <a:pt x="841185" y="209753"/>
                  </a:lnTo>
                  <a:lnTo>
                    <a:pt x="841185" y="210451"/>
                  </a:lnTo>
                  <a:lnTo>
                    <a:pt x="841185" y="208407"/>
                  </a:lnTo>
                  <a:lnTo>
                    <a:pt x="841185" y="209753"/>
                  </a:lnTo>
                  <a:lnTo>
                    <a:pt x="841236" y="209753"/>
                  </a:lnTo>
                  <a:lnTo>
                    <a:pt x="841236" y="208407"/>
                  </a:lnTo>
                  <a:lnTo>
                    <a:pt x="841236" y="209753"/>
                  </a:lnTo>
                  <a:lnTo>
                    <a:pt x="841236" y="207721"/>
                  </a:lnTo>
                  <a:lnTo>
                    <a:pt x="841337" y="208407"/>
                  </a:lnTo>
                  <a:lnTo>
                    <a:pt x="841337" y="207022"/>
                  </a:lnTo>
                  <a:lnTo>
                    <a:pt x="841376" y="206324"/>
                  </a:lnTo>
                  <a:lnTo>
                    <a:pt x="841376" y="208407"/>
                  </a:lnTo>
                  <a:lnTo>
                    <a:pt x="841376" y="207721"/>
                  </a:lnTo>
                  <a:lnTo>
                    <a:pt x="841426" y="207721"/>
                  </a:lnTo>
                  <a:lnTo>
                    <a:pt x="841426" y="211137"/>
                  </a:lnTo>
                  <a:lnTo>
                    <a:pt x="841426" y="210451"/>
                  </a:lnTo>
                  <a:lnTo>
                    <a:pt x="841426" y="211137"/>
                  </a:lnTo>
                  <a:lnTo>
                    <a:pt x="841426" y="209753"/>
                  </a:lnTo>
                  <a:lnTo>
                    <a:pt x="841426" y="210451"/>
                  </a:lnTo>
                  <a:lnTo>
                    <a:pt x="841477" y="210451"/>
                  </a:lnTo>
                  <a:lnTo>
                    <a:pt x="841477" y="211785"/>
                  </a:lnTo>
                  <a:lnTo>
                    <a:pt x="841477" y="211137"/>
                  </a:lnTo>
                  <a:lnTo>
                    <a:pt x="841477" y="211785"/>
                  </a:lnTo>
                  <a:lnTo>
                    <a:pt x="841477" y="211137"/>
                  </a:lnTo>
                  <a:lnTo>
                    <a:pt x="841477" y="211785"/>
                  </a:lnTo>
                  <a:lnTo>
                    <a:pt x="841579" y="211785"/>
                  </a:lnTo>
                  <a:lnTo>
                    <a:pt x="841579" y="212484"/>
                  </a:lnTo>
                  <a:lnTo>
                    <a:pt x="841579" y="211785"/>
                  </a:lnTo>
                  <a:lnTo>
                    <a:pt x="841579" y="212484"/>
                  </a:lnTo>
                  <a:lnTo>
                    <a:pt x="841579" y="211785"/>
                  </a:lnTo>
                  <a:lnTo>
                    <a:pt x="841630" y="211785"/>
                  </a:lnTo>
                  <a:lnTo>
                    <a:pt x="841630" y="211137"/>
                  </a:lnTo>
                  <a:lnTo>
                    <a:pt x="841630" y="211785"/>
                  </a:lnTo>
                  <a:lnTo>
                    <a:pt x="841630" y="211137"/>
                  </a:lnTo>
                  <a:lnTo>
                    <a:pt x="841680" y="211137"/>
                  </a:lnTo>
                  <a:lnTo>
                    <a:pt x="841680" y="210451"/>
                  </a:lnTo>
                  <a:lnTo>
                    <a:pt x="841680" y="211137"/>
                  </a:lnTo>
                  <a:lnTo>
                    <a:pt x="841680" y="210451"/>
                  </a:lnTo>
                  <a:lnTo>
                    <a:pt x="841782" y="210451"/>
                  </a:lnTo>
                  <a:lnTo>
                    <a:pt x="841782" y="208407"/>
                  </a:lnTo>
                  <a:lnTo>
                    <a:pt x="841833" y="208407"/>
                  </a:lnTo>
                  <a:lnTo>
                    <a:pt x="841833" y="206324"/>
                  </a:lnTo>
                  <a:lnTo>
                    <a:pt x="841833" y="207022"/>
                  </a:lnTo>
                  <a:lnTo>
                    <a:pt x="841833" y="204990"/>
                  </a:lnTo>
                  <a:lnTo>
                    <a:pt x="841833" y="207721"/>
                  </a:lnTo>
                  <a:lnTo>
                    <a:pt x="841883" y="207721"/>
                  </a:lnTo>
                  <a:lnTo>
                    <a:pt x="841883" y="208407"/>
                  </a:lnTo>
                  <a:lnTo>
                    <a:pt x="841883" y="204990"/>
                  </a:lnTo>
                  <a:lnTo>
                    <a:pt x="841883" y="209753"/>
                  </a:lnTo>
                  <a:lnTo>
                    <a:pt x="841922" y="209753"/>
                  </a:lnTo>
                  <a:lnTo>
                    <a:pt x="841922" y="207721"/>
                  </a:lnTo>
                  <a:lnTo>
                    <a:pt x="841922" y="209753"/>
                  </a:lnTo>
                  <a:lnTo>
                    <a:pt x="842023" y="209753"/>
                  </a:lnTo>
                  <a:lnTo>
                    <a:pt x="842023" y="208407"/>
                  </a:lnTo>
                  <a:lnTo>
                    <a:pt x="842023" y="210451"/>
                  </a:lnTo>
                  <a:lnTo>
                    <a:pt x="842023" y="209753"/>
                  </a:lnTo>
                  <a:lnTo>
                    <a:pt x="842023" y="210451"/>
                  </a:lnTo>
                  <a:lnTo>
                    <a:pt x="842074" y="209753"/>
                  </a:lnTo>
                  <a:lnTo>
                    <a:pt x="842074" y="210451"/>
                  </a:lnTo>
                  <a:lnTo>
                    <a:pt x="842074" y="209753"/>
                  </a:lnTo>
                  <a:lnTo>
                    <a:pt x="842074" y="210451"/>
                  </a:lnTo>
                  <a:lnTo>
                    <a:pt x="842074" y="209753"/>
                  </a:lnTo>
                  <a:lnTo>
                    <a:pt x="842125" y="209753"/>
                  </a:lnTo>
                  <a:lnTo>
                    <a:pt x="842125" y="210451"/>
                  </a:lnTo>
                  <a:lnTo>
                    <a:pt x="842125" y="209753"/>
                  </a:lnTo>
                  <a:lnTo>
                    <a:pt x="842125" y="210451"/>
                  </a:lnTo>
                  <a:lnTo>
                    <a:pt x="842125" y="209753"/>
                  </a:lnTo>
                  <a:lnTo>
                    <a:pt x="842226" y="209753"/>
                  </a:lnTo>
                  <a:lnTo>
                    <a:pt x="842226" y="210451"/>
                  </a:lnTo>
                  <a:lnTo>
                    <a:pt x="842226" y="209753"/>
                  </a:lnTo>
                  <a:lnTo>
                    <a:pt x="842277" y="209753"/>
                  </a:lnTo>
                  <a:lnTo>
                    <a:pt x="842277" y="208407"/>
                  </a:lnTo>
                  <a:lnTo>
                    <a:pt x="842277" y="209753"/>
                  </a:lnTo>
                  <a:lnTo>
                    <a:pt x="842277" y="207022"/>
                  </a:lnTo>
                  <a:lnTo>
                    <a:pt x="842328" y="207022"/>
                  </a:lnTo>
                  <a:lnTo>
                    <a:pt x="842328" y="204990"/>
                  </a:lnTo>
                  <a:lnTo>
                    <a:pt x="842328" y="207721"/>
                  </a:lnTo>
                  <a:lnTo>
                    <a:pt x="842328" y="206324"/>
                  </a:lnTo>
                  <a:lnTo>
                    <a:pt x="842379" y="206324"/>
                  </a:lnTo>
                  <a:lnTo>
                    <a:pt x="842379" y="204292"/>
                  </a:lnTo>
                  <a:lnTo>
                    <a:pt x="842379" y="208407"/>
                  </a:lnTo>
                  <a:lnTo>
                    <a:pt x="842379" y="207022"/>
                  </a:lnTo>
                  <a:lnTo>
                    <a:pt x="842468" y="207022"/>
                  </a:lnTo>
                  <a:lnTo>
                    <a:pt x="842468" y="206324"/>
                  </a:lnTo>
                  <a:lnTo>
                    <a:pt x="842468" y="209753"/>
                  </a:lnTo>
                  <a:lnTo>
                    <a:pt x="842468" y="207721"/>
                  </a:lnTo>
                  <a:lnTo>
                    <a:pt x="842518" y="207022"/>
                  </a:lnTo>
                  <a:lnTo>
                    <a:pt x="842518" y="208407"/>
                  </a:lnTo>
                  <a:lnTo>
                    <a:pt x="842518" y="207721"/>
                  </a:lnTo>
                  <a:lnTo>
                    <a:pt x="842518" y="208407"/>
                  </a:lnTo>
                  <a:lnTo>
                    <a:pt x="842569" y="208407"/>
                  </a:lnTo>
                  <a:lnTo>
                    <a:pt x="842569" y="207721"/>
                  </a:lnTo>
                  <a:lnTo>
                    <a:pt x="842569" y="208407"/>
                  </a:lnTo>
                  <a:lnTo>
                    <a:pt x="842569" y="207721"/>
                  </a:lnTo>
                  <a:lnTo>
                    <a:pt x="842569" y="208407"/>
                  </a:lnTo>
                  <a:lnTo>
                    <a:pt x="842569" y="207721"/>
                  </a:lnTo>
                  <a:lnTo>
                    <a:pt x="842620" y="207721"/>
                  </a:lnTo>
                  <a:lnTo>
                    <a:pt x="842620" y="208407"/>
                  </a:lnTo>
                  <a:lnTo>
                    <a:pt x="842620" y="207721"/>
                  </a:lnTo>
                  <a:lnTo>
                    <a:pt x="842620" y="208407"/>
                  </a:lnTo>
                  <a:lnTo>
                    <a:pt x="842722" y="208407"/>
                  </a:lnTo>
                  <a:lnTo>
                    <a:pt x="842722" y="207721"/>
                  </a:lnTo>
                  <a:lnTo>
                    <a:pt x="842722" y="208407"/>
                  </a:lnTo>
                  <a:lnTo>
                    <a:pt x="842722" y="207721"/>
                  </a:lnTo>
                  <a:lnTo>
                    <a:pt x="842722" y="208407"/>
                  </a:lnTo>
                  <a:lnTo>
                    <a:pt x="842722" y="207721"/>
                  </a:lnTo>
                  <a:lnTo>
                    <a:pt x="842772" y="207721"/>
                  </a:lnTo>
                  <a:lnTo>
                    <a:pt x="842772" y="207022"/>
                  </a:lnTo>
                  <a:lnTo>
                    <a:pt x="842772" y="207721"/>
                  </a:lnTo>
                  <a:lnTo>
                    <a:pt x="842772" y="204990"/>
                  </a:lnTo>
                  <a:lnTo>
                    <a:pt x="842772" y="206324"/>
                  </a:lnTo>
                  <a:lnTo>
                    <a:pt x="842823" y="204990"/>
                  </a:lnTo>
                  <a:lnTo>
                    <a:pt x="842823" y="204292"/>
                  </a:lnTo>
                  <a:lnTo>
                    <a:pt x="842925" y="204292"/>
                  </a:lnTo>
                  <a:lnTo>
                    <a:pt x="842925" y="206324"/>
                  </a:lnTo>
                  <a:lnTo>
                    <a:pt x="842963" y="206324"/>
                  </a:lnTo>
                  <a:lnTo>
                    <a:pt x="842963" y="207022"/>
                  </a:lnTo>
                  <a:lnTo>
                    <a:pt x="842963" y="204990"/>
                  </a:lnTo>
                  <a:lnTo>
                    <a:pt x="843014" y="206324"/>
                  </a:lnTo>
                  <a:lnTo>
                    <a:pt x="843014" y="207022"/>
                  </a:lnTo>
                  <a:lnTo>
                    <a:pt x="843014" y="206324"/>
                  </a:lnTo>
                  <a:lnTo>
                    <a:pt x="843065" y="206324"/>
                  </a:lnTo>
                  <a:lnTo>
                    <a:pt x="843065" y="207022"/>
                  </a:lnTo>
                  <a:lnTo>
                    <a:pt x="843065" y="206324"/>
                  </a:lnTo>
                  <a:lnTo>
                    <a:pt x="843065" y="207022"/>
                  </a:lnTo>
                  <a:lnTo>
                    <a:pt x="843065" y="206324"/>
                  </a:lnTo>
                  <a:lnTo>
                    <a:pt x="843065" y="207022"/>
                  </a:lnTo>
                  <a:lnTo>
                    <a:pt x="843166" y="207022"/>
                  </a:lnTo>
                  <a:lnTo>
                    <a:pt x="843166" y="207721"/>
                  </a:lnTo>
                  <a:lnTo>
                    <a:pt x="843166" y="207022"/>
                  </a:lnTo>
                  <a:lnTo>
                    <a:pt x="843217" y="207721"/>
                  </a:lnTo>
                  <a:lnTo>
                    <a:pt x="843217" y="206324"/>
                  </a:lnTo>
                  <a:lnTo>
                    <a:pt x="843217" y="207022"/>
                  </a:lnTo>
                  <a:lnTo>
                    <a:pt x="843268" y="207022"/>
                  </a:lnTo>
                  <a:lnTo>
                    <a:pt x="843268" y="204292"/>
                  </a:lnTo>
                  <a:lnTo>
                    <a:pt x="843369" y="204292"/>
                  </a:lnTo>
                  <a:lnTo>
                    <a:pt x="843369" y="203594"/>
                  </a:lnTo>
                  <a:lnTo>
                    <a:pt x="843369" y="204292"/>
                  </a:lnTo>
                  <a:lnTo>
                    <a:pt x="843369" y="203594"/>
                  </a:lnTo>
                  <a:lnTo>
                    <a:pt x="843420" y="203594"/>
                  </a:lnTo>
                  <a:lnTo>
                    <a:pt x="843420" y="204990"/>
                  </a:lnTo>
                  <a:lnTo>
                    <a:pt x="843420" y="204292"/>
                  </a:lnTo>
                  <a:lnTo>
                    <a:pt x="843471" y="204292"/>
                  </a:lnTo>
                  <a:lnTo>
                    <a:pt x="843471" y="206324"/>
                  </a:lnTo>
                  <a:lnTo>
                    <a:pt x="843471" y="204292"/>
                  </a:lnTo>
                  <a:lnTo>
                    <a:pt x="843509" y="204292"/>
                  </a:lnTo>
                  <a:lnTo>
                    <a:pt x="843509" y="204990"/>
                  </a:lnTo>
                  <a:lnTo>
                    <a:pt x="843509" y="204292"/>
                  </a:lnTo>
                  <a:lnTo>
                    <a:pt x="843509" y="204990"/>
                  </a:lnTo>
                  <a:lnTo>
                    <a:pt x="843509" y="204292"/>
                  </a:lnTo>
                  <a:lnTo>
                    <a:pt x="843611" y="204990"/>
                  </a:lnTo>
                  <a:lnTo>
                    <a:pt x="843611" y="204292"/>
                  </a:lnTo>
                  <a:lnTo>
                    <a:pt x="843611" y="204990"/>
                  </a:lnTo>
                  <a:lnTo>
                    <a:pt x="843611" y="204292"/>
                  </a:lnTo>
                  <a:lnTo>
                    <a:pt x="843611" y="204990"/>
                  </a:lnTo>
                  <a:lnTo>
                    <a:pt x="843662" y="206324"/>
                  </a:lnTo>
                  <a:lnTo>
                    <a:pt x="843662" y="204990"/>
                  </a:lnTo>
                  <a:lnTo>
                    <a:pt x="843662" y="206324"/>
                  </a:lnTo>
                  <a:lnTo>
                    <a:pt x="843712" y="206324"/>
                  </a:lnTo>
                  <a:lnTo>
                    <a:pt x="843712" y="204990"/>
                  </a:lnTo>
                  <a:lnTo>
                    <a:pt x="843712" y="206324"/>
                  </a:lnTo>
                  <a:lnTo>
                    <a:pt x="843712" y="204292"/>
                  </a:lnTo>
                  <a:lnTo>
                    <a:pt x="843712" y="204990"/>
                  </a:lnTo>
                  <a:lnTo>
                    <a:pt x="843814" y="204990"/>
                  </a:lnTo>
                  <a:lnTo>
                    <a:pt x="843814" y="203594"/>
                  </a:lnTo>
                  <a:lnTo>
                    <a:pt x="843814" y="206324"/>
                  </a:lnTo>
                  <a:lnTo>
                    <a:pt x="843865" y="206324"/>
                  </a:lnTo>
                  <a:lnTo>
                    <a:pt x="843865" y="203594"/>
                  </a:lnTo>
                  <a:lnTo>
                    <a:pt x="843865" y="208407"/>
                  </a:lnTo>
                  <a:lnTo>
                    <a:pt x="843916" y="207721"/>
                  </a:lnTo>
                  <a:lnTo>
                    <a:pt x="843916" y="206324"/>
                  </a:lnTo>
                  <a:lnTo>
                    <a:pt x="843916" y="207721"/>
                  </a:lnTo>
                  <a:lnTo>
                    <a:pt x="843966" y="207022"/>
                  </a:lnTo>
                  <a:lnTo>
                    <a:pt x="843966" y="206324"/>
                  </a:lnTo>
                  <a:lnTo>
                    <a:pt x="843966" y="207022"/>
                  </a:lnTo>
                  <a:lnTo>
                    <a:pt x="843966" y="206324"/>
                  </a:lnTo>
                  <a:lnTo>
                    <a:pt x="843966" y="207022"/>
                  </a:lnTo>
                  <a:lnTo>
                    <a:pt x="843966" y="206324"/>
                  </a:lnTo>
                  <a:lnTo>
                    <a:pt x="844055" y="206324"/>
                  </a:lnTo>
                  <a:lnTo>
                    <a:pt x="844055" y="207022"/>
                  </a:lnTo>
                  <a:lnTo>
                    <a:pt x="844055" y="206324"/>
                  </a:lnTo>
                  <a:lnTo>
                    <a:pt x="844106" y="206324"/>
                  </a:lnTo>
                  <a:lnTo>
                    <a:pt x="844106" y="207022"/>
                  </a:lnTo>
                  <a:lnTo>
                    <a:pt x="844106" y="206324"/>
                  </a:lnTo>
                  <a:lnTo>
                    <a:pt x="844106" y="207022"/>
                  </a:lnTo>
                  <a:lnTo>
                    <a:pt x="844106" y="206324"/>
                  </a:lnTo>
                  <a:lnTo>
                    <a:pt x="844157" y="206324"/>
                  </a:lnTo>
                  <a:lnTo>
                    <a:pt x="844208" y="204990"/>
                  </a:lnTo>
                  <a:lnTo>
                    <a:pt x="844208" y="206324"/>
                  </a:lnTo>
                  <a:lnTo>
                    <a:pt x="844208" y="203594"/>
                  </a:lnTo>
                  <a:lnTo>
                    <a:pt x="844309" y="203594"/>
                  </a:lnTo>
                  <a:lnTo>
                    <a:pt x="844309" y="202959"/>
                  </a:lnTo>
                  <a:lnTo>
                    <a:pt x="844309" y="204990"/>
                  </a:lnTo>
                  <a:lnTo>
                    <a:pt x="844309" y="204292"/>
                  </a:lnTo>
                  <a:lnTo>
                    <a:pt x="844360" y="204292"/>
                  </a:lnTo>
                  <a:lnTo>
                    <a:pt x="844360" y="203594"/>
                  </a:lnTo>
                  <a:lnTo>
                    <a:pt x="844360" y="207022"/>
                  </a:lnTo>
                  <a:lnTo>
                    <a:pt x="844360" y="206324"/>
                  </a:lnTo>
                  <a:lnTo>
                    <a:pt x="844360" y="207022"/>
                  </a:lnTo>
                  <a:lnTo>
                    <a:pt x="844360" y="204990"/>
                  </a:lnTo>
                  <a:lnTo>
                    <a:pt x="844411" y="206324"/>
                  </a:lnTo>
                  <a:lnTo>
                    <a:pt x="844411" y="204990"/>
                  </a:lnTo>
                  <a:lnTo>
                    <a:pt x="844411" y="207721"/>
                  </a:lnTo>
                  <a:lnTo>
                    <a:pt x="844411" y="206324"/>
                  </a:lnTo>
                  <a:lnTo>
                    <a:pt x="844512" y="206324"/>
                  </a:lnTo>
                  <a:lnTo>
                    <a:pt x="844512" y="207022"/>
                  </a:lnTo>
                  <a:lnTo>
                    <a:pt x="844512" y="206324"/>
                  </a:lnTo>
                  <a:lnTo>
                    <a:pt x="844512" y="207022"/>
                  </a:lnTo>
                  <a:lnTo>
                    <a:pt x="844512" y="206324"/>
                  </a:lnTo>
                  <a:lnTo>
                    <a:pt x="844551" y="206324"/>
                  </a:lnTo>
                  <a:lnTo>
                    <a:pt x="844551" y="207022"/>
                  </a:lnTo>
                  <a:lnTo>
                    <a:pt x="844551" y="206324"/>
                  </a:lnTo>
                  <a:lnTo>
                    <a:pt x="844551" y="207022"/>
                  </a:lnTo>
                  <a:lnTo>
                    <a:pt x="844551" y="206324"/>
                  </a:lnTo>
                  <a:lnTo>
                    <a:pt x="844551" y="207022"/>
                  </a:lnTo>
                  <a:lnTo>
                    <a:pt x="844551" y="206324"/>
                  </a:lnTo>
                  <a:lnTo>
                    <a:pt x="844551" y="207022"/>
                  </a:lnTo>
                  <a:lnTo>
                    <a:pt x="844551" y="206324"/>
                  </a:lnTo>
                  <a:lnTo>
                    <a:pt x="844601" y="206324"/>
                  </a:lnTo>
                  <a:lnTo>
                    <a:pt x="844601" y="207022"/>
                  </a:lnTo>
                  <a:lnTo>
                    <a:pt x="844601" y="206324"/>
                  </a:lnTo>
                  <a:lnTo>
                    <a:pt x="844652" y="206324"/>
                  </a:lnTo>
                  <a:lnTo>
                    <a:pt x="844652" y="204990"/>
                  </a:lnTo>
                  <a:lnTo>
                    <a:pt x="844652" y="206324"/>
                  </a:lnTo>
                  <a:lnTo>
                    <a:pt x="844652" y="204990"/>
                  </a:lnTo>
                  <a:lnTo>
                    <a:pt x="844652" y="206324"/>
                  </a:lnTo>
                  <a:lnTo>
                    <a:pt x="844652" y="204292"/>
                  </a:lnTo>
                  <a:lnTo>
                    <a:pt x="844652" y="204990"/>
                  </a:lnTo>
                  <a:lnTo>
                    <a:pt x="844754" y="204990"/>
                  </a:lnTo>
                  <a:lnTo>
                    <a:pt x="844754" y="202959"/>
                  </a:lnTo>
                  <a:lnTo>
                    <a:pt x="844754" y="203594"/>
                  </a:lnTo>
                  <a:lnTo>
                    <a:pt x="844754" y="202260"/>
                  </a:lnTo>
                  <a:lnTo>
                    <a:pt x="844754" y="202959"/>
                  </a:lnTo>
                  <a:lnTo>
                    <a:pt x="844754" y="202260"/>
                  </a:lnTo>
                  <a:lnTo>
                    <a:pt x="844754" y="202959"/>
                  </a:lnTo>
                  <a:lnTo>
                    <a:pt x="844805" y="202260"/>
                  </a:lnTo>
                  <a:lnTo>
                    <a:pt x="844805" y="203594"/>
                  </a:lnTo>
                  <a:lnTo>
                    <a:pt x="844805" y="202959"/>
                  </a:lnTo>
                  <a:lnTo>
                    <a:pt x="844855" y="202959"/>
                  </a:lnTo>
                  <a:lnTo>
                    <a:pt x="844855" y="206324"/>
                  </a:lnTo>
                  <a:lnTo>
                    <a:pt x="844855" y="204292"/>
                  </a:lnTo>
                  <a:lnTo>
                    <a:pt x="844957" y="204292"/>
                  </a:lnTo>
                  <a:lnTo>
                    <a:pt x="844957" y="207022"/>
                  </a:lnTo>
                  <a:lnTo>
                    <a:pt x="844957" y="204990"/>
                  </a:lnTo>
                  <a:lnTo>
                    <a:pt x="845008" y="204990"/>
                  </a:lnTo>
                  <a:lnTo>
                    <a:pt x="845008" y="206324"/>
                  </a:lnTo>
                  <a:lnTo>
                    <a:pt x="845008" y="204990"/>
                  </a:lnTo>
                  <a:lnTo>
                    <a:pt x="845008" y="206324"/>
                  </a:lnTo>
                  <a:lnTo>
                    <a:pt x="845058" y="206324"/>
                  </a:lnTo>
                  <a:lnTo>
                    <a:pt x="845058" y="207022"/>
                  </a:lnTo>
                  <a:lnTo>
                    <a:pt x="845058" y="206324"/>
                  </a:lnTo>
                  <a:lnTo>
                    <a:pt x="845058" y="207022"/>
                  </a:lnTo>
                  <a:lnTo>
                    <a:pt x="845198" y="207022"/>
                  </a:lnTo>
                  <a:lnTo>
                    <a:pt x="845198" y="204990"/>
                  </a:lnTo>
                  <a:lnTo>
                    <a:pt x="845198" y="206324"/>
                  </a:lnTo>
                  <a:lnTo>
                    <a:pt x="845198" y="204990"/>
                  </a:lnTo>
                  <a:lnTo>
                    <a:pt x="845249" y="204292"/>
                  </a:lnTo>
                  <a:lnTo>
                    <a:pt x="845249" y="202959"/>
                  </a:lnTo>
                  <a:lnTo>
                    <a:pt x="845300" y="202959"/>
                  </a:lnTo>
                  <a:lnTo>
                    <a:pt x="845300" y="202260"/>
                  </a:lnTo>
                  <a:lnTo>
                    <a:pt x="845300" y="204292"/>
                  </a:lnTo>
                  <a:lnTo>
                    <a:pt x="845300" y="202260"/>
                  </a:lnTo>
                  <a:lnTo>
                    <a:pt x="845300" y="202959"/>
                  </a:lnTo>
                  <a:lnTo>
                    <a:pt x="845401" y="202959"/>
                  </a:lnTo>
                  <a:lnTo>
                    <a:pt x="845401" y="204990"/>
                  </a:lnTo>
                  <a:lnTo>
                    <a:pt x="845401" y="203594"/>
                  </a:lnTo>
                  <a:lnTo>
                    <a:pt x="845401" y="204292"/>
                  </a:lnTo>
                  <a:lnTo>
                    <a:pt x="845452" y="204292"/>
                  </a:lnTo>
                  <a:lnTo>
                    <a:pt x="845452" y="206324"/>
                  </a:lnTo>
                  <a:lnTo>
                    <a:pt x="845452" y="204292"/>
                  </a:lnTo>
                  <a:lnTo>
                    <a:pt x="845452" y="204990"/>
                  </a:lnTo>
                  <a:lnTo>
                    <a:pt x="845452" y="204292"/>
                  </a:lnTo>
                  <a:lnTo>
                    <a:pt x="845503" y="204292"/>
                  </a:lnTo>
                  <a:lnTo>
                    <a:pt x="845503" y="204990"/>
                  </a:lnTo>
                  <a:lnTo>
                    <a:pt x="845503" y="204292"/>
                  </a:lnTo>
                  <a:lnTo>
                    <a:pt x="845503" y="206324"/>
                  </a:lnTo>
                  <a:lnTo>
                    <a:pt x="845554" y="206324"/>
                  </a:lnTo>
                  <a:lnTo>
                    <a:pt x="845554" y="204990"/>
                  </a:lnTo>
                  <a:lnTo>
                    <a:pt x="845554" y="207022"/>
                  </a:lnTo>
                  <a:lnTo>
                    <a:pt x="845643" y="207022"/>
                  </a:lnTo>
                  <a:lnTo>
                    <a:pt x="845643" y="206324"/>
                  </a:lnTo>
                  <a:lnTo>
                    <a:pt x="845643" y="207022"/>
                  </a:lnTo>
                  <a:lnTo>
                    <a:pt x="845643" y="206324"/>
                  </a:lnTo>
                  <a:lnTo>
                    <a:pt x="845643" y="207022"/>
                  </a:lnTo>
                  <a:lnTo>
                    <a:pt x="845643" y="206324"/>
                  </a:lnTo>
                  <a:lnTo>
                    <a:pt x="845643" y="207022"/>
                  </a:lnTo>
                  <a:lnTo>
                    <a:pt x="845643" y="206324"/>
                  </a:lnTo>
                  <a:lnTo>
                    <a:pt x="845693" y="207022"/>
                  </a:lnTo>
                  <a:lnTo>
                    <a:pt x="845693" y="204292"/>
                  </a:lnTo>
                  <a:lnTo>
                    <a:pt x="845693" y="204990"/>
                  </a:lnTo>
                  <a:lnTo>
                    <a:pt x="845693" y="204292"/>
                  </a:lnTo>
                  <a:lnTo>
                    <a:pt x="845693" y="204990"/>
                  </a:lnTo>
                  <a:lnTo>
                    <a:pt x="845744" y="204990"/>
                  </a:lnTo>
                  <a:lnTo>
                    <a:pt x="845744" y="202959"/>
                  </a:lnTo>
                  <a:lnTo>
                    <a:pt x="845744" y="203594"/>
                  </a:lnTo>
                  <a:lnTo>
                    <a:pt x="845744" y="202959"/>
                  </a:lnTo>
                  <a:lnTo>
                    <a:pt x="845744" y="203594"/>
                  </a:lnTo>
                  <a:lnTo>
                    <a:pt x="845795" y="203594"/>
                  </a:lnTo>
                  <a:lnTo>
                    <a:pt x="845795" y="204990"/>
                  </a:lnTo>
                  <a:lnTo>
                    <a:pt x="845795" y="202959"/>
                  </a:lnTo>
                  <a:lnTo>
                    <a:pt x="845795" y="204990"/>
                  </a:lnTo>
                  <a:lnTo>
                    <a:pt x="845897" y="206324"/>
                  </a:lnTo>
                  <a:lnTo>
                    <a:pt x="845897" y="207022"/>
                  </a:lnTo>
                  <a:lnTo>
                    <a:pt x="845897" y="204292"/>
                  </a:lnTo>
                  <a:lnTo>
                    <a:pt x="845897" y="206324"/>
                  </a:lnTo>
                  <a:lnTo>
                    <a:pt x="845947" y="206324"/>
                  </a:lnTo>
                  <a:lnTo>
                    <a:pt x="845947" y="204292"/>
                  </a:lnTo>
                  <a:lnTo>
                    <a:pt x="845947" y="204990"/>
                  </a:lnTo>
                  <a:lnTo>
                    <a:pt x="845947" y="204292"/>
                  </a:lnTo>
                  <a:lnTo>
                    <a:pt x="845998" y="204292"/>
                  </a:lnTo>
                  <a:lnTo>
                    <a:pt x="845998" y="204990"/>
                  </a:lnTo>
                  <a:lnTo>
                    <a:pt x="845998" y="204292"/>
                  </a:lnTo>
                  <a:lnTo>
                    <a:pt x="845998" y="204990"/>
                  </a:lnTo>
                  <a:lnTo>
                    <a:pt x="846100" y="204990"/>
                  </a:lnTo>
                  <a:lnTo>
                    <a:pt x="846100" y="206324"/>
                  </a:lnTo>
                  <a:lnTo>
                    <a:pt x="846100" y="204990"/>
                  </a:lnTo>
                  <a:lnTo>
                    <a:pt x="846100" y="206324"/>
                  </a:lnTo>
                  <a:lnTo>
                    <a:pt x="846100" y="204990"/>
                  </a:lnTo>
                  <a:lnTo>
                    <a:pt x="846100" y="206324"/>
                  </a:lnTo>
                  <a:lnTo>
                    <a:pt x="846138" y="206324"/>
                  </a:lnTo>
                  <a:lnTo>
                    <a:pt x="846138" y="204990"/>
                  </a:lnTo>
                  <a:lnTo>
                    <a:pt x="846138" y="206324"/>
                  </a:lnTo>
                  <a:lnTo>
                    <a:pt x="846138" y="204990"/>
                  </a:lnTo>
                  <a:lnTo>
                    <a:pt x="846138" y="206324"/>
                  </a:lnTo>
                  <a:lnTo>
                    <a:pt x="846138" y="204990"/>
                  </a:lnTo>
                  <a:lnTo>
                    <a:pt x="846189" y="204990"/>
                  </a:lnTo>
                  <a:lnTo>
                    <a:pt x="846189" y="203594"/>
                  </a:lnTo>
                  <a:lnTo>
                    <a:pt x="846240" y="203594"/>
                  </a:lnTo>
                  <a:lnTo>
                    <a:pt x="846240" y="202959"/>
                  </a:lnTo>
                  <a:lnTo>
                    <a:pt x="846240" y="203594"/>
                  </a:lnTo>
                  <a:lnTo>
                    <a:pt x="846240" y="202959"/>
                  </a:lnTo>
                  <a:lnTo>
                    <a:pt x="846240" y="204292"/>
                  </a:lnTo>
                  <a:lnTo>
                    <a:pt x="846341" y="203594"/>
                  </a:lnTo>
                  <a:lnTo>
                    <a:pt x="846341" y="202260"/>
                  </a:lnTo>
                  <a:lnTo>
                    <a:pt x="846341" y="204990"/>
                  </a:lnTo>
                  <a:lnTo>
                    <a:pt x="846392" y="204990"/>
                  </a:lnTo>
                  <a:lnTo>
                    <a:pt x="846392" y="202959"/>
                  </a:lnTo>
                  <a:lnTo>
                    <a:pt x="846392" y="204990"/>
                  </a:lnTo>
                  <a:lnTo>
                    <a:pt x="846392" y="204292"/>
                  </a:lnTo>
                  <a:lnTo>
                    <a:pt x="846443" y="204292"/>
                  </a:lnTo>
                  <a:lnTo>
                    <a:pt x="846443" y="203594"/>
                  </a:lnTo>
                  <a:lnTo>
                    <a:pt x="846443" y="204292"/>
                  </a:lnTo>
                  <a:lnTo>
                    <a:pt x="846544" y="204292"/>
                  </a:lnTo>
                  <a:lnTo>
                    <a:pt x="846544" y="203594"/>
                  </a:lnTo>
                  <a:lnTo>
                    <a:pt x="846544" y="204990"/>
                  </a:lnTo>
                  <a:lnTo>
                    <a:pt x="846595" y="204292"/>
                  </a:lnTo>
                  <a:lnTo>
                    <a:pt x="846595" y="204990"/>
                  </a:lnTo>
                  <a:lnTo>
                    <a:pt x="846646" y="204292"/>
                  </a:lnTo>
                  <a:lnTo>
                    <a:pt x="846646" y="204990"/>
                  </a:lnTo>
                  <a:lnTo>
                    <a:pt x="846646" y="204292"/>
                  </a:lnTo>
                  <a:lnTo>
                    <a:pt x="846646" y="204990"/>
                  </a:lnTo>
                  <a:lnTo>
                    <a:pt x="846684" y="204990"/>
                  </a:lnTo>
                  <a:lnTo>
                    <a:pt x="846684" y="203594"/>
                  </a:lnTo>
                  <a:lnTo>
                    <a:pt x="846786" y="203594"/>
                  </a:lnTo>
                  <a:lnTo>
                    <a:pt x="846786" y="202260"/>
                  </a:lnTo>
                  <a:lnTo>
                    <a:pt x="846786" y="204990"/>
                  </a:lnTo>
                  <a:lnTo>
                    <a:pt x="846786" y="203594"/>
                  </a:lnTo>
                  <a:lnTo>
                    <a:pt x="846837" y="203594"/>
                  </a:lnTo>
                  <a:lnTo>
                    <a:pt x="846837" y="202959"/>
                  </a:lnTo>
                  <a:lnTo>
                    <a:pt x="846837" y="206324"/>
                  </a:lnTo>
                  <a:lnTo>
                    <a:pt x="846837" y="204292"/>
                  </a:lnTo>
                  <a:lnTo>
                    <a:pt x="846887" y="204292"/>
                  </a:lnTo>
                  <a:lnTo>
                    <a:pt x="846887" y="207022"/>
                  </a:lnTo>
                  <a:lnTo>
                    <a:pt x="846887" y="204292"/>
                  </a:lnTo>
                  <a:lnTo>
                    <a:pt x="846989" y="204292"/>
                  </a:lnTo>
                  <a:lnTo>
                    <a:pt x="846989" y="206324"/>
                  </a:lnTo>
                  <a:lnTo>
                    <a:pt x="846989" y="204292"/>
                  </a:lnTo>
                  <a:lnTo>
                    <a:pt x="846989" y="204990"/>
                  </a:lnTo>
                  <a:lnTo>
                    <a:pt x="847040" y="204990"/>
                  </a:lnTo>
                  <a:lnTo>
                    <a:pt x="847040" y="204292"/>
                  </a:lnTo>
                  <a:lnTo>
                    <a:pt x="847040" y="206324"/>
                  </a:lnTo>
                  <a:lnTo>
                    <a:pt x="847040" y="204990"/>
                  </a:lnTo>
                  <a:lnTo>
                    <a:pt x="847040" y="206324"/>
                  </a:lnTo>
                  <a:lnTo>
                    <a:pt x="847141" y="206324"/>
                  </a:lnTo>
                  <a:lnTo>
                    <a:pt x="847141" y="204990"/>
                  </a:lnTo>
                  <a:lnTo>
                    <a:pt x="847141" y="206324"/>
                  </a:lnTo>
                  <a:lnTo>
                    <a:pt x="847141" y="204990"/>
                  </a:lnTo>
                  <a:lnTo>
                    <a:pt x="847141" y="206324"/>
                  </a:lnTo>
                  <a:lnTo>
                    <a:pt x="847141" y="204990"/>
                  </a:lnTo>
                  <a:lnTo>
                    <a:pt x="847230" y="204990"/>
                  </a:lnTo>
                  <a:lnTo>
                    <a:pt x="847230" y="204292"/>
                  </a:lnTo>
                  <a:lnTo>
                    <a:pt x="847230" y="204990"/>
                  </a:lnTo>
                  <a:lnTo>
                    <a:pt x="847230" y="203594"/>
                  </a:lnTo>
                  <a:lnTo>
                    <a:pt x="847281" y="203594"/>
                  </a:lnTo>
                  <a:lnTo>
                    <a:pt x="847281" y="206324"/>
                  </a:lnTo>
                  <a:lnTo>
                    <a:pt x="847281" y="204292"/>
                  </a:lnTo>
                  <a:lnTo>
                    <a:pt x="847332" y="204292"/>
                  </a:lnTo>
                  <a:lnTo>
                    <a:pt x="847332" y="207721"/>
                  </a:lnTo>
                  <a:lnTo>
                    <a:pt x="847332" y="204292"/>
                  </a:lnTo>
                  <a:lnTo>
                    <a:pt x="847332" y="204990"/>
                  </a:lnTo>
                  <a:lnTo>
                    <a:pt x="847383" y="204990"/>
                  </a:lnTo>
                  <a:lnTo>
                    <a:pt x="847383" y="206324"/>
                  </a:lnTo>
                  <a:lnTo>
                    <a:pt x="847383" y="204990"/>
                  </a:lnTo>
                  <a:lnTo>
                    <a:pt x="847383" y="207022"/>
                  </a:lnTo>
                  <a:lnTo>
                    <a:pt x="847383" y="204990"/>
                  </a:lnTo>
                  <a:lnTo>
                    <a:pt x="847383" y="206324"/>
                  </a:lnTo>
                  <a:lnTo>
                    <a:pt x="847383" y="204990"/>
                  </a:lnTo>
                  <a:lnTo>
                    <a:pt x="847484" y="206324"/>
                  </a:lnTo>
                  <a:lnTo>
                    <a:pt x="847484" y="207022"/>
                  </a:lnTo>
                  <a:lnTo>
                    <a:pt x="847484" y="206324"/>
                  </a:lnTo>
                  <a:lnTo>
                    <a:pt x="847484" y="207022"/>
                  </a:lnTo>
                  <a:lnTo>
                    <a:pt x="847484" y="206324"/>
                  </a:lnTo>
                  <a:lnTo>
                    <a:pt x="847535" y="206324"/>
                  </a:lnTo>
                  <a:lnTo>
                    <a:pt x="847535" y="207022"/>
                  </a:lnTo>
                  <a:lnTo>
                    <a:pt x="847535" y="206324"/>
                  </a:lnTo>
                  <a:lnTo>
                    <a:pt x="847535" y="207022"/>
                  </a:lnTo>
                  <a:lnTo>
                    <a:pt x="847535" y="206324"/>
                  </a:lnTo>
                  <a:lnTo>
                    <a:pt x="847535" y="207022"/>
                  </a:lnTo>
                  <a:lnTo>
                    <a:pt x="847535" y="206324"/>
                  </a:lnTo>
                  <a:lnTo>
                    <a:pt x="847535" y="207022"/>
                  </a:lnTo>
                  <a:lnTo>
                    <a:pt x="847535" y="206324"/>
                  </a:lnTo>
                  <a:lnTo>
                    <a:pt x="847586" y="207022"/>
                  </a:lnTo>
                  <a:lnTo>
                    <a:pt x="847586" y="204990"/>
                  </a:lnTo>
                  <a:lnTo>
                    <a:pt x="847687" y="204990"/>
                  </a:lnTo>
                  <a:lnTo>
                    <a:pt x="847687" y="204292"/>
                  </a:lnTo>
                  <a:lnTo>
                    <a:pt x="847687" y="204990"/>
                  </a:lnTo>
                  <a:lnTo>
                    <a:pt x="847687" y="203594"/>
                  </a:lnTo>
                  <a:lnTo>
                    <a:pt x="847726" y="203594"/>
                  </a:lnTo>
                  <a:lnTo>
                    <a:pt x="847726" y="204292"/>
                  </a:lnTo>
                  <a:lnTo>
                    <a:pt x="847726" y="202959"/>
                  </a:lnTo>
                  <a:lnTo>
                    <a:pt x="847726" y="203594"/>
                  </a:lnTo>
                  <a:lnTo>
                    <a:pt x="847726" y="202260"/>
                  </a:lnTo>
                  <a:lnTo>
                    <a:pt x="847726" y="203594"/>
                  </a:lnTo>
                  <a:lnTo>
                    <a:pt x="847776" y="203594"/>
                  </a:lnTo>
                  <a:lnTo>
                    <a:pt x="847776" y="204292"/>
                  </a:lnTo>
                  <a:lnTo>
                    <a:pt x="847776" y="203594"/>
                  </a:lnTo>
                  <a:lnTo>
                    <a:pt x="847776" y="206324"/>
                  </a:lnTo>
                  <a:lnTo>
                    <a:pt x="847827" y="206324"/>
                  </a:lnTo>
                  <a:lnTo>
                    <a:pt x="847827" y="204292"/>
                  </a:lnTo>
                  <a:lnTo>
                    <a:pt x="847827" y="206324"/>
                  </a:lnTo>
                  <a:lnTo>
                    <a:pt x="847929" y="204990"/>
                  </a:lnTo>
                  <a:lnTo>
                    <a:pt x="847929" y="206324"/>
                  </a:lnTo>
                  <a:lnTo>
                    <a:pt x="847929" y="204990"/>
                  </a:lnTo>
                  <a:lnTo>
                    <a:pt x="847929" y="206324"/>
                  </a:lnTo>
                  <a:lnTo>
                    <a:pt x="847980" y="204990"/>
                  </a:lnTo>
                  <a:lnTo>
                    <a:pt x="847980" y="206324"/>
                  </a:lnTo>
                  <a:lnTo>
                    <a:pt x="847980" y="204990"/>
                  </a:lnTo>
                  <a:lnTo>
                    <a:pt x="847980" y="207022"/>
                  </a:lnTo>
                  <a:lnTo>
                    <a:pt x="847980" y="206324"/>
                  </a:lnTo>
                  <a:lnTo>
                    <a:pt x="848030" y="206324"/>
                  </a:lnTo>
                  <a:lnTo>
                    <a:pt x="848030" y="207022"/>
                  </a:lnTo>
                  <a:lnTo>
                    <a:pt x="848030" y="206324"/>
                  </a:lnTo>
                  <a:lnTo>
                    <a:pt x="848132" y="206324"/>
                  </a:lnTo>
                  <a:lnTo>
                    <a:pt x="848132" y="204990"/>
                  </a:lnTo>
                  <a:lnTo>
                    <a:pt x="848183" y="204990"/>
                  </a:lnTo>
                  <a:lnTo>
                    <a:pt x="848183" y="204292"/>
                  </a:lnTo>
                  <a:lnTo>
                    <a:pt x="848183" y="204990"/>
                  </a:lnTo>
                  <a:lnTo>
                    <a:pt x="848183" y="203594"/>
                  </a:lnTo>
                  <a:lnTo>
                    <a:pt x="848233" y="203594"/>
                  </a:lnTo>
                  <a:lnTo>
                    <a:pt x="848233" y="202959"/>
                  </a:lnTo>
                  <a:lnTo>
                    <a:pt x="848233" y="203594"/>
                  </a:lnTo>
                  <a:lnTo>
                    <a:pt x="848233" y="202959"/>
                  </a:lnTo>
                  <a:lnTo>
                    <a:pt x="848233" y="204990"/>
                  </a:lnTo>
                  <a:lnTo>
                    <a:pt x="848272" y="204990"/>
                  </a:lnTo>
                  <a:lnTo>
                    <a:pt x="848272" y="203594"/>
                  </a:lnTo>
                  <a:lnTo>
                    <a:pt x="848272" y="206324"/>
                  </a:lnTo>
                  <a:lnTo>
                    <a:pt x="848272" y="204990"/>
                  </a:lnTo>
                  <a:lnTo>
                    <a:pt x="848373" y="204990"/>
                  </a:lnTo>
                  <a:lnTo>
                    <a:pt x="848373" y="204292"/>
                  </a:lnTo>
                  <a:lnTo>
                    <a:pt x="848373" y="206324"/>
                  </a:lnTo>
                  <a:lnTo>
                    <a:pt x="848373" y="204990"/>
                  </a:lnTo>
                  <a:lnTo>
                    <a:pt x="848373" y="206324"/>
                  </a:lnTo>
                  <a:lnTo>
                    <a:pt x="848373" y="204990"/>
                  </a:lnTo>
                  <a:lnTo>
                    <a:pt x="848424" y="204292"/>
                  </a:lnTo>
                  <a:lnTo>
                    <a:pt x="848424" y="206324"/>
                  </a:lnTo>
                  <a:lnTo>
                    <a:pt x="848424" y="204990"/>
                  </a:lnTo>
                  <a:lnTo>
                    <a:pt x="848475" y="204990"/>
                  </a:lnTo>
                  <a:lnTo>
                    <a:pt x="848475" y="206324"/>
                  </a:lnTo>
                  <a:lnTo>
                    <a:pt x="848475" y="204990"/>
                  </a:lnTo>
                  <a:lnTo>
                    <a:pt x="848475" y="206324"/>
                  </a:lnTo>
                  <a:lnTo>
                    <a:pt x="848475" y="204990"/>
                  </a:lnTo>
                  <a:lnTo>
                    <a:pt x="848475" y="206324"/>
                  </a:lnTo>
                  <a:lnTo>
                    <a:pt x="848576" y="206324"/>
                  </a:lnTo>
                  <a:lnTo>
                    <a:pt x="848576" y="207022"/>
                  </a:lnTo>
                  <a:lnTo>
                    <a:pt x="848576" y="204990"/>
                  </a:lnTo>
                  <a:lnTo>
                    <a:pt x="848576" y="206324"/>
                  </a:lnTo>
                  <a:lnTo>
                    <a:pt x="848627" y="206324"/>
                  </a:lnTo>
                  <a:lnTo>
                    <a:pt x="848627" y="204292"/>
                  </a:lnTo>
                  <a:lnTo>
                    <a:pt x="848678" y="204292"/>
                  </a:lnTo>
                  <a:lnTo>
                    <a:pt x="848678" y="202959"/>
                  </a:lnTo>
                  <a:lnTo>
                    <a:pt x="848678" y="203594"/>
                  </a:lnTo>
                  <a:lnTo>
                    <a:pt x="848678" y="202959"/>
                  </a:lnTo>
                  <a:lnTo>
                    <a:pt x="848678" y="203594"/>
                  </a:lnTo>
                  <a:lnTo>
                    <a:pt x="848678" y="202959"/>
                  </a:lnTo>
                  <a:lnTo>
                    <a:pt x="848729" y="202959"/>
                  </a:lnTo>
                  <a:lnTo>
                    <a:pt x="848729" y="200876"/>
                  </a:lnTo>
                  <a:lnTo>
                    <a:pt x="848729" y="203594"/>
                  </a:lnTo>
                  <a:lnTo>
                    <a:pt x="848818" y="202959"/>
                  </a:lnTo>
                  <a:lnTo>
                    <a:pt x="848818" y="200876"/>
                  </a:lnTo>
                  <a:lnTo>
                    <a:pt x="848818" y="202260"/>
                  </a:lnTo>
                  <a:lnTo>
                    <a:pt x="848818" y="200876"/>
                  </a:lnTo>
                  <a:lnTo>
                    <a:pt x="848818" y="204292"/>
                  </a:lnTo>
                  <a:lnTo>
                    <a:pt x="848818" y="203594"/>
                  </a:lnTo>
                  <a:lnTo>
                    <a:pt x="848868" y="203594"/>
                  </a:lnTo>
                  <a:lnTo>
                    <a:pt x="848868" y="202260"/>
                  </a:lnTo>
                  <a:lnTo>
                    <a:pt x="848868" y="204292"/>
                  </a:lnTo>
                  <a:lnTo>
                    <a:pt x="848868" y="203594"/>
                  </a:lnTo>
                  <a:lnTo>
                    <a:pt x="848868" y="204292"/>
                  </a:lnTo>
                  <a:lnTo>
                    <a:pt x="848868" y="203594"/>
                  </a:lnTo>
                  <a:lnTo>
                    <a:pt x="848919" y="203594"/>
                  </a:lnTo>
                  <a:lnTo>
                    <a:pt x="848919" y="204990"/>
                  </a:lnTo>
                  <a:lnTo>
                    <a:pt x="848919" y="204292"/>
                  </a:lnTo>
                  <a:lnTo>
                    <a:pt x="848919" y="204990"/>
                  </a:lnTo>
                  <a:lnTo>
                    <a:pt x="848919" y="204292"/>
                  </a:lnTo>
                  <a:lnTo>
                    <a:pt x="848970" y="204292"/>
                  </a:lnTo>
                  <a:lnTo>
                    <a:pt x="848970" y="204990"/>
                  </a:lnTo>
                  <a:lnTo>
                    <a:pt x="848970" y="204292"/>
                  </a:lnTo>
                  <a:lnTo>
                    <a:pt x="848970" y="204990"/>
                  </a:lnTo>
                  <a:lnTo>
                    <a:pt x="848970" y="204292"/>
                  </a:lnTo>
                  <a:lnTo>
                    <a:pt x="848970" y="204990"/>
                  </a:lnTo>
                  <a:lnTo>
                    <a:pt x="849072" y="204990"/>
                  </a:lnTo>
                  <a:lnTo>
                    <a:pt x="849072" y="206324"/>
                  </a:lnTo>
                  <a:lnTo>
                    <a:pt x="849072" y="204990"/>
                  </a:lnTo>
                  <a:lnTo>
                    <a:pt x="849072" y="206324"/>
                  </a:lnTo>
                  <a:lnTo>
                    <a:pt x="849072" y="204990"/>
                  </a:lnTo>
                  <a:lnTo>
                    <a:pt x="849072" y="206324"/>
                  </a:lnTo>
                  <a:lnTo>
                    <a:pt x="849072" y="204990"/>
                  </a:lnTo>
                  <a:lnTo>
                    <a:pt x="849122" y="204990"/>
                  </a:lnTo>
                  <a:lnTo>
                    <a:pt x="849122" y="203594"/>
                  </a:lnTo>
                  <a:lnTo>
                    <a:pt x="849173" y="204292"/>
                  </a:lnTo>
                  <a:lnTo>
                    <a:pt x="849173" y="203594"/>
                  </a:lnTo>
                  <a:lnTo>
                    <a:pt x="849173" y="204292"/>
                  </a:lnTo>
                  <a:lnTo>
                    <a:pt x="849173" y="202959"/>
                  </a:lnTo>
                  <a:lnTo>
                    <a:pt x="849275" y="202959"/>
                  </a:lnTo>
                  <a:lnTo>
                    <a:pt x="849275" y="200228"/>
                  </a:lnTo>
                  <a:lnTo>
                    <a:pt x="849275" y="200876"/>
                  </a:lnTo>
                  <a:lnTo>
                    <a:pt x="849275" y="200228"/>
                  </a:lnTo>
                  <a:lnTo>
                    <a:pt x="849275" y="202260"/>
                  </a:lnTo>
                  <a:lnTo>
                    <a:pt x="849275" y="200876"/>
                  </a:lnTo>
                  <a:lnTo>
                    <a:pt x="849313" y="200876"/>
                  </a:lnTo>
                  <a:lnTo>
                    <a:pt x="849313" y="202260"/>
                  </a:lnTo>
                  <a:lnTo>
                    <a:pt x="849313" y="200228"/>
                  </a:lnTo>
                  <a:lnTo>
                    <a:pt x="849313" y="202260"/>
                  </a:lnTo>
                  <a:lnTo>
                    <a:pt x="849364" y="202260"/>
                  </a:lnTo>
                  <a:lnTo>
                    <a:pt x="849364" y="200876"/>
                  </a:lnTo>
                  <a:lnTo>
                    <a:pt x="849364" y="202260"/>
                  </a:lnTo>
                  <a:lnTo>
                    <a:pt x="849364" y="200228"/>
                  </a:lnTo>
                  <a:lnTo>
                    <a:pt x="849364" y="202260"/>
                  </a:lnTo>
                  <a:lnTo>
                    <a:pt x="849415" y="202260"/>
                  </a:lnTo>
                  <a:lnTo>
                    <a:pt x="849415" y="202959"/>
                  </a:lnTo>
                  <a:lnTo>
                    <a:pt x="849516" y="202959"/>
                  </a:lnTo>
                  <a:lnTo>
                    <a:pt x="849516" y="204292"/>
                  </a:lnTo>
                  <a:lnTo>
                    <a:pt x="849567" y="204292"/>
                  </a:lnTo>
                  <a:lnTo>
                    <a:pt x="849567" y="203594"/>
                  </a:lnTo>
                  <a:lnTo>
                    <a:pt x="849567" y="204990"/>
                  </a:lnTo>
                  <a:lnTo>
                    <a:pt x="849567" y="204292"/>
                  </a:lnTo>
                  <a:lnTo>
                    <a:pt x="849618" y="204292"/>
                  </a:lnTo>
                  <a:lnTo>
                    <a:pt x="849618" y="204990"/>
                  </a:lnTo>
                  <a:lnTo>
                    <a:pt x="849618" y="204292"/>
                  </a:lnTo>
                  <a:lnTo>
                    <a:pt x="849618" y="204990"/>
                  </a:lnTo>
                  <a:lnTo>
                    <a:pt x="849618" y="204292"/>
                  </a:lnTo>
                  <a:lnTo>
                    <a:pt x="849618" y="204990"/>
                  </a:lnTo>
                  <a:lnTo>
                    <a:pt x="849618" y="204292"/>
                  </a:lnTo>
                  <a:lnTo>
                    <a:pt x="849618" y="204990"/>
                  </a:lnTo>
                  <a:lnTo>
                    <a:pt x="849719" y="204990"/>
                  </a:lnTo>
                  <a:lnTo>
                    <a:pt x="849719" y="203594"/>
                  </a:lnTo>
                  <a:lnTo>
                    <a:pt x="849719" y="204292"/>
                  </a:lnTo>
                  <a:lnTo>
                    <a:pt x="849719" y="203594"/>
                  </a:lnTo>
                  <a:lnTo>
                    <a:pt x="849719" y="204292"/>
                  </a:lnTo>
                  <a:lnTo>
                    <a:pt x="849719" y="203594"/>
                  </a:lnTo>
                  <a:lnTo>
                    <a:pt x="849770" y="203594"/>
                  </a:lnTo>
                  <a:lnTo>
                    <a:pt x="849770" y="202959"/>
                  </a:lnTo>
                  <a:lnTo>
                    <a:pt x="849770" y="203594"/>
                  </a:lnTo>
                  <a:lnTo>
                    <a:pt x="849770" y="202959"/>
                  </a:lnTo>
                  <a:lnTo>
                    <a:pt x="849770" y="203594"/>
                  </a:lnTo>
                  <a:lnTo>
                    <a:pt x="849770" y="202959"/>
                  </a:lnTo>
                  <a:lnTo>
                    <a:pt x="849770" y="203594"/>
                  </a:lnTo>
                  <a:lnTo>
                    <a:pt x="849770" y="202959"/>
                  </a:lnTo>
                  <a:lnTo>
                    <a:pt x="849821" y="202959"/>
                  </a:lnTo>
                  <a:lnTo>
                    <a:pt x="849821" y="202260"/>
                  </a:lnTo>
                  <a:lnTo>
                    <a:pt x="849821" y="204292"/>
                  </a:lnTo>
                  <a:lnTo>
                    <a:pt x="849821" y="203594"/>
                  </a:lnTo>
                  <a:lnTo>
                    <a:pt x="849859" y="203594"/>
                  </a:lnTo>
                  <a:lnTo>
                    <a:pt x="849859" y="204292"/>
                  </a:lnTo>
                  <a:lnTo>
                    <a:pt x="849859" y="203594"/>
                  </a:lnTo>
                  <a:lnTo>
                    <a:pt x="849961" y="203594"/>
                  </a:lnTo>
                  <a:lnTo>
                    <a:pt x="849961" y="204292"/>
                  </a:lnTo>
                  <a:lnTo>
                    <a:pt x="849961" y="203594"/>
                  </a:lnTo>
                  <a:lnTo>
                    <a:pt x="849961" y="204292"/>
                  </a:lnTo>
                  <a:lnTo>
                    <a:pt x="850012" y="204292"/>
                  </a:lnTo>
                  <a:lnTo>
                    <a:pt x="850012" y="203594"/>
                  </a:lnTo>
                  <a:lnTo>
                    <a:pt x="850012" y="204292"/>
                  </a:lnTo>
                  <a:lnTo>
                    <a:pt x="850012" y="203594"/>
                  </a:lnTo>
                  <a:lnTo>
                    <a:pt x="850012" y="204292"/>
                  </a:lnTo>
                  <a:lnTo>
                    <a:pt x="850062" y="204292"/>
                  </a:lnTo>
                  <a:lnTo>
                    <a:pt x="850062" y="203594"/>
                  </a:lnTo>
                  <a:lnTo>
                    <a:pt x="850062" y="204292"/>
                  </a:lnTo>
                  <a:lnTo>
                    <a:pt x="850164" y="204292"/>
                  </a:lnTo>
                  <a:lnTo>
                    <a:pt x="850164" y="203594"/>
                  </a:lnTo>
                  <a:lnTo>
                    <a:pt x="850215" y="204292"/>
                  </a:lnTo>
                  <a:lnTo>
                    <a:pt x="850215" y="202959"/>
                  </a:lnTo>
                  <a:lnTo>
                    <a:pt x="850215" y="203594"/>
                  </a:lnTo>
                  <a:lnTo>
                    <a:pt x="850266" y="203594"/>
                  </a:lnTo>
                  <a:lnTo>
                    <a:pt x="850266" y="200876"/>
                  </a:lnTo>
                  <a:lnTo>
                    <a:pt x="850266" y="204292"/>
                  </a:lnTo>
                  <a:lnTo>
                    <a:pt x="850266" y="202959"/>
                  </a:lnTo>
                  <a:lnTo>
                    <a:pt x="850316" y="202959"/>
                  </a:lnTo>
                  <a:lnTo>
                    <a:pt x="850316" y="200876"/>
                  </a:lnTo>
                  <a:lnTo>
                    <a:pt x="850316" y="204292"/>
                  </a:lnTo>
                  <a:lnTo>
                    <a:pt x="850316" y="203594"/>
                  </a:lnTo>
                  <a:lnTo>
                    <a:pt x="850405" y="203594"/>
                  </a:lnTo>
                  <a:lnTo>
                    <a:pt x="850405" y="202959"/>
                  </a:lnTo>
                  <a:lnTo>
                    <a:pt x="850405" y="204292"/>
                  </a:lnTo>
                  <a:lnTo>
                    <a:pt x="850405" y="203594"/>
                  </a:lnTo>
                  <a:lnTo>
                    <a:pt x="850456" y="203594"/>
                  </a:lnTo>
                  <a:lnTo>
                    <a:pt x="850456" y="204292"/>
                  </a:lnTo>
                  <a:lnTo>
                    <a:pt x="850507" y="204292"/>
                  </a:lnTo>
                  <a:lnTo>
                    <a:pt x="850507" y="203594"/>
                  </a:lnTo>
                  <a:lnTo>
                    <a:pt x="850507" y="204292"/>
                  </a:lnTo>
                  <a:lnTo>
                    <a:pt x="850507" y="203594"/>
                  </a:lnTo>
                  <a:lnTo>
                    <a:pt x="850507" y="204292"/>
                  </a:lnTo>
                  <a:lnTo>
                    <a:pt x="850507" y="203594"/>
                  </a:lnTo>
                  <a:lnTo>
                    <a:pt x="850558" y="204292"/>
                  </a:lnTo>
                  <a:lnTo>
                    <a:pt x="850558" y="203594"/>
                  </a:lnTo>
                  <a:lnTo>
                    <a:pt x="850558" y="204292"/>
                  </a:lnTo>
                  <a:lnTo>
                    <a:pt x="850558" y="203594"/>
                  </a:lnTo>
                  <a:lnTo>
                    <a:pt x="850558" y="204292"/>
                  </a:lnTo>
                  <a:lnTo>
                    <a:pt x="850558" y="203594"/>
                  </a:lnTo>
                  <a:lnTo>
                    <a:pt x="850558" y="204292"/>
                  </a:lnTo>
                  <a:lnTo>
                    <a:pt x="850659" y="204292"/>
                  </a:lnTo>
                  <a:lnTo>
                    <a:pt x="850659" y="203594"/>
                  </a:lnTo>
                  <a:lnTo>
                    <a:pt x="850659" y="204292"/>
                  </a:lnTo>
                  <a:lnTo>
                    <a:pt x="850659" y="203594"/>
                  </a:lnTo>
                  <a:lnTo>
                    <a:pt x="850710" y="203594"/>
                  </a:lnTo>
                  <a:lnTo>
                    <a:pt x="850710" y="200876"/>
                  </a:lnTo>
                  <a:lnTo>
                    <a:pt x="850761" y="200876"/>
                  </a:lnTo>
                  <a:lnTo>
                    <a:pt x="850761" y="202959"/>
                  </a:lnTo>
                  <a:lnTo>
                    <a:pt x="850761" y="200876"/>
                  </a:lnTo>
                  <a:lnTo>
                    <a:pt x="850862" y="200876"/>
                  </a:lnTo>
                  <a:lnTo>
                    <a:pt x="850862" y="204292"/>
                  </a:lnTo>
                  <a:lnTo>
                    <a:pt x="850862" y="202959"/>
                  </a:lnTo>
                  <a:lnTo>
                    <a:pt x="850862" y="203594"/>
                  </a:lnTo>
                  <a:lnTo>
                    <a:pt x="850901" y="203594"/>
                  </a:lnTo>
                  <a:lnTo>
                    <a:pt x="850901" y="204990"/>
                  </a:lnTo>
                  <a:lnTo>
                    <a:pt x="850901" y="204292"/>
                  </a:lnTo>
                  <a:lnTo>
                    <a:pt x="850951" y="204990"/>
                  </a:lnTo>
                  <a:lnTo>
                    <a:pt x="850951" y="204292"/>
                  </a:lnTo>
                  <a:lnTo>
                    <a:pt x="850951" y="204990"/>
                  </a:lnTo>
                  <a:lnTo>
                    <a:pt x="851002" y="204990"/>
                  </a:lnTo>
                  <a:lnTo>
                    <a:pt x="851002" y="204292"/>
                  </a:lnTo>
                  <a:lnTo>
                    <a:pt x="851002" y="204990"/>
                  </a:lnTo>
                  <a:lnTo>
                    <a:pt x="851002" y="204292"/>
                  </a:lnTo>
                  <a:lnTo>
                    <a:pt x="851002" y="204990"/>
                  </a:lnTo>
                  <a:lnTo>
                    <a:pt x="851002" y="204292"/>
                  </a:lnTo>
                  <a:lnTo>
                    <a:pt x="851002" y="204990"/>
                  </a:lnTo>
                  <a:lnTo>
                    <a:pt x="851104" y="204990"/>
                  </a:lnTo>
                  <a:lnTo>
                    <a:pt x="851104" y="204292"/>
                  </a:lnTo>
                  <a:lnTo>
                    <a:pt x="851104" y="204990"/>
                  </a:lnTo>
                  <a:lnTo>
                    <a:pt x="851104" y="204292"/>
                  </a:lnTo>
                  <a:lnTo>
                    <a:pt x="851104" y="204990"/>
                  </a:lnTo>
                  <a:lnTo>
                    <a:pt x="851104" y="204292"/>
                  </a:lnTo>
                  <a:lnTo>
                    <a:pt x="851155" y="204292"/>
                  </a:lnTo>
                  <a:lnTo>
                    <a:pt x="851155" y="203594"/>
                  </a:lnTo>
                  <a:lnTo>
                    <a:pt x="851205" y="203594"/>
                  </a:lnTo>
                  <a:lnTo>
                    <a:pt x="851205" y="204292"/>
                  </a:lnTo>
                  <a:lnTo>
                    <a:pt x="851205" y="200876"/>
                  </a:lnTo>
                  <a:lnTo>
                    <a:pt x="851307" y="200876"/>
                  </a:lnTo>
                  <a:lnTo>
                    <a:pt x="851307" y="200228"/>
                  </a:lnTo>
                  <a:lnTo>
                    <a:pt x="851307" y="203594"/>
                  </a:lnTo>
                  <a:lnTo>
                    <a:pt x="851307" y="200876"/>
                  </a:lnTo>
                  <a:lnTo>
                    <a:pt x="851307" y="202260"/>
                  </a:lnTo>
                  <a:lnTo>
                    <a:pt x="851358" y="202959"/>
                  </a:lnTo>
                  <a:lnTo>
                    <a:pt x="851358" y="204292"/>
                  </a:lnTo>
                  <a:lnTo>
                    <a:pt x="851358" y="202959"/>
                  </a:lnTo>
                  <a:lnTo>
                    <a:pt x="851358" y="203594"/>
                  </a:lnTo>
                  <a:lnTo>
                    <a:pt x="851408" y="203594"/>
                  </a:lnTo>
                  <a:lnTo>
                    <a:pt x="851408" y="204292"/>
                  </a:lnTo>
                  <a:lnTo>
                    <a:pt x="851408" y="203594"/>
                  </a:lnTo>
                  <a:lnTo>
                    <a:pt x="851408" y="204292"/>
                  </a:lnTo>
                  <a:lnTo>
                    <a:pt x="851408" y="203594"/>
                  </a:lnTo>
                  <a:lnTo>
                    <a:pt x="851408" y="204292"/>
                  </a:lnTo>
                  <a:lnTo>
                    <a:pt x="851408" y="203594"/>
                  </a:lnTo>
                  <a:lnTo>
                    <a:pt x="851408" y="204292"/>
                  </a:lnTo>
                  <a:lnTo>
                    <a:pt x="851447" y="204292"/>
                  </a:lnTo>
                  <a:lnTo>
                    <a:pt x="851548" y="203594"/>
                  </a:lnTo>
                  <a:lnTo>
                    <a:pt x="851548" y="204990"/>
                  </a:lnTo>
                  <a:lnTo>
                    <a:pt x="851548" y="204292"/>
                  </a:lnTo>
                  <a:lnTo>
                    <a:pt x="851548" y="204990"/>
                  </a:lnTo>
                  <a:lnTo>
                    <a:pt x="851599" y="204990"/>
                  </a:lnTo>
                  <a:lnTo>
                    <a:pt x="851599" y="206324"/>
                  </a:lnTo>
                  <a:lnTo>
                    <a:pt x="851599" y="204990"/>
                  </a:lnTo>
                  <a:lnTo>
                    <a:pt x="851599" y="206324"/>
                  </a:lnTo>
                  <a:lnTo>
                    <a:pt x="851650" y="204990"/>
                  </a:lnTo>
                  <a:lnTo>
                    <a:pt x="851650" y="206324"/>
                  </a:lnTo>
                  <a:lnTo>
                    <a:pt x="851650" y="204990"/>
                  </a:lnTo>
                  <a:lnTo>
                    <a:pt x="851650" y="206324"/>
                  </a:lnTo>
                  <a:lnTo>
                    <a:pt x="851650" y="203594"/>
                  </a:lnTo>
                  <a:lnTo>
                    <a:pt x="851751" y="203594"/>
                  </a:lnTo>
                  <a:lnTo>
                    <a:pt x="851751" y="202260"/>
                  </a:lnTo>
                  <a:lnTo>
                    <a:pt x="851751" y="202959"/>
                  </a:lnTo>
                  <a:lnTo>
                    <a:pt x="851751" y="200876"/>
                  </a:lnTo>
                  <a:lnTo>
                    <a:pt x="851751" y="202260"/>
                  </a:lnTo>
                  <a:lnTo>
                    <a:pt x="851802" y="202260"/>
                  </a:lnTo>
                  <a:lnTo>
                    <a:pt x="851802" y="202959"/>
                  </a:lnTo>
                  <a:lnTo>
                    <a:pt x="851802" y="202260"/>
                  </a:lnTo>
                  <a:lnTo>
                    <a:pt x="851802" y="203594"/>
                  </a:lnTo>
                  <a:lnTo>
                    <a:pt x="851853" y="203594"/>
                  </a:lnTo>
                  <a:lnTo>
                    <a:pt x="851853" y="204292"/>
                  </a:lnTo>
                  <a:lnTo>
                    <a:pt x="851853" y="203594"/>
                  </a:lnTo>
                  <a:lnTo>
                    <a:pt x="851853" y="204990"/>
                  </a:lnTo>
                  <a:lnTo>
                    <a:pt x="851853" y="204292"/>
                  </a:lnTo>
                  <a:lnTo>
                    <a:pt x="851904" y="204292"/>
                  </a:lnTo>
                  <a:lnTo>
                    <a:pt x="851904" y="204990"/>
                  </a:lnTo>
                  <a:lnTo>
                    <a:pt x="851993" y="204990"/>
                  </a:lnTo>
                  <a:lnTo>
                    <a:pt x="851993" y="204292"/>
                  </a:lnTo>
                  <a:lnTo>
                    <a:pt x="851993" y="204990"/>
                  </a:lnTo>
                  <a:lnTo>
                    <a:pt x="851993" y="204292"/>
                  </a:lnTo>
                  <a:lnTo>
                    <a:pt x="851993" y="204990"/>
                  </a:lnTo>
                  <a:lnTo>
                    <a:pt x="852043" y="204990"/>
                  </a:lnTo>
                  <a:lnTo>
                    <a:pt x="852043" y="204292"/>
                  </a:lnTo>
                  <a:lnTo>
                    <a:pt x="852043" y="204990"/>
                  </a:lnTo>
                  <a:lnTo>
                    <a:pt x="852043" y="204292"/>
                  </a:lnTo>
                  <a:lnTo>
                    <a:pt x="852043" y="206324"/>
                  </a:lnTo>
                  <a:lnTo>
                    <a:pt x="852043" y="204990"/>
                  </a:lnTo>
                  <a:lnTo>
                    <a:pt x="852094" y="204990"/>
                  </a:lnTo>
                  <a:lnTo>
                    <a:pt x="852094" y="206324"/>
                  </a:lnTo>
                  <a:lnTo>
                    <a:pt x="852094" y="204990"/>
                  </a:lnTo>
                  <a:lnTo>
                    <a:pt x="852094" y="206324"/>
                  </a:lnTo>
                  <a:lnTo>
                    <a:pt x="852094" y="204990"/>
                  </a:lnTo>
                  <a:lnTo>
                    <a:pt x="852145" y="204990"/>
                  </a:lnTo>
                  <a:lnTo>
                    <a:pt x="852145" y="204292"/>
                  </a:lnTo>
                  <a:lnTo>
                    <a:pt x="852145" y="204990"/>
                  </a:lnTo>
                  <a:lnTo>
                    <a:pt x="852145" y="203594"/>
                  </a:lnTo>
                  <a:lnTo>
                    <a:pt x="852247" y="203594"/>
                  </a:lnTo>
                  <a:lnTo>
                    <a:pt x="852247" y="202260"/>
                  </a:lnTo>
                  <a:lnTo>
                    <a:pt x="852247" y="203594"/>
                  </a:lnTo>
                  <a:lnTo>
                    <a:pt x="852247" y="202959"/>
                  </a:lnTo>
                  <a:lnTo>
                    <a:pt x="852247" y="203594"/>
                  </a:lnTo>
                  <a:lnTo>
                    <a:pt x="852297" y="203594"/>
                  </a:lnTo>
                  <a:lnTo>
                    <a:pt x="852297" y="200876"/>
                  </a:lnTo>
                  <a:lnTo>
                    <a:pt x="852297" y="204990"/>
                  </a:lnTo>
                  <a:lnTo>
                    <a:pt x="852297" y="204292"/>
                  </a:lnTo>
                  <a:lnTo>
                    <a:pt x="852348" y="204292"/>
                  </a:lnTo>
                  <a:lnTo>
                    <a:pt x="852348" y="203594"/>
                  </a:lnTo>
                  <a:lnTo>
                    <a:pt x="852348" y="204990"/>
                  </a:lnTo>
                  <a:lnTo>
                    <a:pt x="852348" y="204292"/>
                  </a:lnTo>
                  <a:lnTo>
                    <a:pt x="852450" y="204292"/>
                  </a:lnTo>
                  <a:lnTo>
                    <a:pt x="852450" y="203594"/>
                  </a:lnTo>
                  <a:lnTo>
                    <a:pt x="852450" y="204292"/>
                  </a:lnTo>
                  <a:lnTo>
                    <a:pt x="852488" y="204292"/>
                  </a:lnTo>
                  <a:lnTo>
                    <a:pt x="852488" y="204990"/>
                  </a:lnTo>
                  <a:lnTo>
                    <a:pt x="852488" y="204292"/>
                  </a:lnTo>
                  <a:lnTo>
                    <a:pt x="852539" y="204990"/>
                  </a:lnTo>
                  <a:lnTo>
                    <a:pt x="852539" y="204292"/>
                  </a:lnTo>
                  <a:lnTo>
                    <a:pt x="852539" y="206324"/>
                  </a:lnTo>
                  <a:lnTo>
                    <a:pt x="852539" y="204292"/>
                  </a:lnTo>
                  <a:lnTo>
                    <a:pt x="852539" y="204990"/>
                  </a:lnTo>
                  <a:lnTo>
                    <a:pt x="852539" y="204292"/>
                  </a:lnTo>
                  <a:lnTo>
                    <a:pt x="852539" y="206324"/>
                  </a:lnTo>
                  <a:lnTo>
                    <a:pt x="852539" y="204990"/>
                  </a:lnTo>
                  <a:lnTo>
                    <a:pt x="852590" y="204990"/>
                  </a:lnTo>
                  <a:lnTo>
                    <a:pt x="852590" y="206324"/>
                  </a:lnTo>
                  <a:lnTo>
                    <a:pt x="852590" y="204292"/>
                  </a:lnTo>
                  <a:lnTo>
                    <a:pt x="852691" y="204292"/>
                  </a:lnTo>
                  <a:lnTo>
                    <a:pt x="852691" y="203594"/>
                  </a:lnTo>
                  <a:lnTo>
                    <a:pt x="852691" y="204292"/>
                  </a:lnTo>
                  <a:lnTo>
                    <a:pt x="852691" y="203594"/>
                  </a:lnTo>
                  <a:lnTo>
                    <a:pt x="852691" y="204292"/>
                  </a:lnTo>
                  <a:lnTo>
                    <a:pt x="852742" y="204292"/>
                  </a:lnTo>
                  <a:lnTo>
                    <a:pt x="852742" y="204990"/>
                  </a:lnTo>
                  <a:lnTo>
                    <a:pt x="852742" y="203594"/>
                  </a:lnTo>
                  <a:lnTo>
                    <a:pt x="852742" y="204292"/>
                  </a:lnTo>
                  <a:lnTo>
                    <a:pt x="852742" y="203594"/>
                  </a:lnTo>
                  <a:lnTo>
                    <a:pt x="852742" y="204990"/>
                  </a:lnTo>
                  <a:lnTo>
                    <a:pt x="852793" y="206324"/>
                  </a:lnTo>
                  <a:lnTo>
                    <a:pt x="852793" y="204990"/>
                  </a:lnTo>
                  <a:lnTo>
                    <a:pt x="852793" y="206324"/>
                  </a:lnTo>
                  <a:lnTo>
                    <a:pt x="852793" y="204990"/>
                  </a:lnTo>
                  <a:lnTo>
                    <a:pt x="852793" y="206324"/>
                  </a:lnTo>
                  <a:lnTo>
                    <a:pt x="852894" y="207022"/>
                  </a:lnTo>
                  <a:lnTo>
                    <a:pt x="852894" y="206324"/>
                  </a:lnTo>
                  <a:lnTo>
                    <a:pt x="852894" y="207022"/>
                  </a:lnTo>
                  <a:lnTo>
                    <a:pt x="852894" y="206324"/>
                  </a:lnTo>
                  <a:lnTo>
                    <a:pt x="852894" y="207022"/>
                  </a:lnTo>
                  <a:lnTo>
                    <a:pt x="852945" y="207022"/>
                  </a:lnTo>
                  <a:lnTo>
                    <a:pt x="852945" y="206324"/>
                  </a:lnTo>
                  <a:lnTo>
                    <a:pt x="852945" y="207022"/>
                  </a:lnTo>
                  <a:lnTo>
                    <a:pt x="852945" y="206324"/>
                  </a:lnTo>
                  <a:lnTo>
                    <a:pt x="852945" y="207022"/>
                  </a:lnTo>
                  <a:lnTo>
                    <a:pt x="852945" y="206324"/>
                  </a:lnTo>
                  <a:lnTo>
                    <a:pt x="852996" y="206324"/>
                  </a:lnTo>
                  <a:lnTo>
                    <a:pt x="852996" y="207022"/>
                  </a:lnTo>
                  <a:lnTo>
                    <a:pt x="852996" y="206324"/>
                  </a:lnTo>
                  <a:lnTo>
                    <a:pt x="853034" y="206324"/>
                  </a:lnTo>
                  <a:lnTo>
                    <a:pt x="853034" y="207022"/>
                  </a:lnTo>
                  <a:lnTo>
                    <a:pt x="853034" y="206324"/>
                  </a:lnTo>
                  <a:lnTo>
                    <a:pt x="853136" y="206324"/>
                  </a:lnTo>
                  <a:lnTo>
                    <a:pt x="853136" y="203594"/>
                  </a:lnTo>
                  <a:lnTo>
                    <a:pt x="853187" y="204292"/>
                  </a:lnTo>
                  <a:lnTo>
                    <a:pt x="853187" y="203594"/>
                  </a:lnTo>
                  <a:lnTo>
                    <a:pt x="853187" y="204292"/>
                  </a:lnTo>
                  <a:lnTo>
                    <a:pt x="853187" y="202959"/>
                  </a:lnTo>
                  <a:lnTo>
                    <a:pt x="853187" y="204292"/>
                  </a:lnTo>
                  <a:lnTo>
                    <a:pt x="853237" y="204292"/>
                  </a:lnTo>
                  <a:lnTo>
                    <a:pt x="853237" y="203594"/>
                  </a:lnTo>
                  <a:lnTo>
                    <a:pt x="853237" y="206324"/>
                  </a:lnTo>
                  <a:lnTo>
                    <a:pt x="853339" y="206324"/>
                  </a:lnTo>
                  <a:lnTo>
                    <a:pt x="853339" y="204990"/>
                  </a:lnTo>
                  <a:lnTo>
                    <a:pt x="853339" y="206324"/>
                  </a:lnTo>
                  <a:lnTo>
                    <a:pt x="853339" y="204990"/>
                  </a:lnTo>
                  <a:lnTo>
                    <a:pt x="853339" y="207022"/>
                  </a:lnTo>
                  <a:lnTo>
                    <a:pt x="853339" y="206324"/>
                  </a:lnTo>
                  <a:lnTo>
                    <a:pt x="853339" y="207022"/>
                  </a:lnTo>
                  <a:lnTo>
                    <a:pt x="853339" y="206324"/>
                  </a:lnTo>
                  <a:lnTo>
                    <a:pt x="853390" y="206324"/>
                  </a:lnTo>
                  <a:lnTo>
                    <a:pt x="853390" y="204990"/>
                  </a:lnTo>
                  <a:lnTo>
                    <a:pt x="853390" y="206324"/>
                  </a:lnTo>
                  <a:lnTo>
                    <a:pt x="853441" y="206324"/>
                  </a:lnTo>
                  <a:lnTo>
                    <a:pt x="853441" y="204990"/>
                  </a:lnTo>
                  <a:lnTo>
                    <a:pt x="853441" y="206324"/>
                  </a:lnTo>
                  <a:lnTo>
                    <a:pt x="853441" y="204990"/>
                  </a:lnTo>
                  <a:lnTo>
                    <a:pt x="853441" y="206324"/>
                  </a:lnTo>
                  <a:lnTo>
                    <a:pt x="853491" y="206324"/>
                  </a:lnTo>
                  <a:lnTo>
                    <a:pt x="853491" y="204990"/>
                  </a:lnTo>
                  <a:lnTo>
                    <a:pt x="853491" y="206324"/>
                  </a:lnTo>
                  <a:lnTo>
                    <a:pt x="853580" y="206324"/>
                  </a:lnTo>
                  <a:lnTo>
                    <a:pt x="853580" y="204990"/>
                  </a:lnTo>
                  <a:lnTo>
                    <a:pt x="853580" y="206324"/>
                  </a:lnTo>
                  <a:lnTo>
                    <a:pt x="853580" y="204990"/>
                  </a:lnTo>
                  <a:lnTo>
                    <a:pt x="853631" y="204990"/>
                  </a:lnTo>
                  <a:lnTo>
                    <a:pt x="853631" y="202959"/>
                  </a:lnTo>
                  <a:lnTo>
                    <a:pt x="853682" y="202959"/>
                  </a:lnTo>
                  <a:lnTo>
                    <a:pt x="853682" y="202260"/>
                  </a:lnTo>
                  <a:lnTo>
                    <a:pt x="853682" y="202959"/>
                  </a:lnTo>
                  <a:lnTo>
                    <a:pt x="853682" y="202260"/>
                  </a:lnTo>
                  <a:lnTo>
                    <a:pt x="853682" y="202959"/>
                  </a:lnTo>
                  <a:lnTo>
                    <a:pt x="853682" y="202260"/>
                  </a:lnTo>
                  <a:lnTo>
                    <a:pt x="853682" y="203594"/>
                  </a:lnTo>
                  <a:lnTo>
                    <a:pt x="853682" y="202959"/>
                  </a:lnTo>
                  <a:lnTo>
                    <a:pt x="853733" y="203594"/>
                  </a:lnTo>
                  <a:lnTo>
                    <a:pt x="853733" y="202959"/>
                  </a:lnTo>
                  <a:lnTo>
                    <a:pt x="853733" y="204292"/>
                  </a:lnTo>
                  <a:lnTo>
                    <a:pt x="853834" y="204292"/>
                  </a:lnTo>
                  <a:lnTo>
                    <a:pt x="853834" y="204990"/>
                  </a:lnTo>
                  <a:lnTo>
                    <a:pt x="853834" y="204292"/>
                  </a:lnTo>
                  <a:lnTo>
                    <a:pt x="853885" y="204292"/>
                  </a:lnTo>
                  <a:lnTo>
                    <a:pt x="853885" y="204990"/>
                  </a:lnTo>
                  <a:lnTo>
                    <a:pt x="853885" y="204292"/>
                  </a:lnTo>
                  <a:lnTo>
                    <a:pt x="853885" y="204990"/>
                  </a:lnTo>
                  <a:lnTo>
                    <a:pt x="853885" y="204292"/>
                  </a:lnTo>
                  <a:lnTo>
                    <a:pt x="853885" y="204990"/>
                  </a:lnTo>
                  <a:lnTo>
                    <a:pt x="853936" y="204990"/>
                  </a:lnTo>
                  <a:lnTo>
                    <a:pt x="853936" y="206324"/>
                  </a:lnTo>
                  <a:lnTo>
                    <a:pt x="853936" y="204990"/>
                  </a:lnTo>
                  <a:lnTo>
                    <a:pt x="853936" y="206324"/>
                  </a:lnTo>
                  <a:lnTo>
                    <a:pt x="853936" y="204990"/>
                  </a:lnTo>
                  <a:lnTo>
                    <a:pt x="853936" y="206324"/>
                  </a:lnTo>
                  <a:lnTo>
                    <a:pt x="854037" y="206324"/>
                  </a:lnTo>
                  <a:lnTo>
                    <a:pt x="854037" y="204990"/>
                  </a:lnTo>
                  <a:lnTo>
                    <a:pt x="854037" y="206324"/>
                  </a:lnTo>
                  <a:lnTo>
                    <a:pt x="854076" y="206324"/>
                  </a:lnTo>
                  <a:lnTo>
                    <a:pt x="854076" y="207022"/>
                  </a:lnTo>
                  <a:lnTo>
                    <a:pt x="854076" y="204292"/>
                  </a:lnTo>
                  <a:lnTo>
                    <a:pt x="854076" y="204990"/>
                  </a:lnTo>
                  <a:lnTo>
                    <a:pt x="854126" y="204990"/>
                  </a:lnTo>
                  <a:lnTo>
                    <a:pt x="854126" y="202260"/>
                  </a:lnTo>
                  <a:lnTo>
                    <a:pt x="854126" y="202959"/>
                  </a:lnTo>
                  <a:lnTo>
                    <a:pt x="854177" y="202959"/>
                  </a:lnTo>
                  <a:lnTo>
                    <a:pt x="854177" y="202260"/>
                  </a:lnTo>
                  <a:lnTo>
                    <a:pt x="854177" y="203594"/>
                  </a:lnTo>
                  <a:lnTo>
                    <a:pt x="854177" y="202959"/>
                  </a:lnTo>
                  <a:lnTo>
                    <a:pt x="854279" y="202959"/>
                  </a:lnTo>
                  <a:lnTo>
                    <a:pt x="854279" y="204292"/>
                  </a:lnTo>
                  <a:lnTo>
                    <a:pt x="854279" y="203594"/>
                  </a:lnTo>
                  <a:lnTo>
                    <a:pt x="854279" y="204292"/>
                  </a:lnTo>
                  <a:lnTo>
                    <a:pt x="854330" y="204292"/>
                  </a:lnTo>
                  <a:lnTo>
                    <a:pt x="854330" y="204990"/>
                  </a:lnTo>
                  <a:lnTo>
                    <a:pt x="854330" y="204292"/>
                  </a:lnTo>
                  <a:lnTo>
                    <a:pt x="854330" y="204990"/>
                  </a:lnTo>
                  <a:lnTo>
                    <a:pt x="854330" y="204292"/>
                  </a:lnTo>
                  <a:lnTo>
                    <a:pt x="854380" y="204292"/>
                  </a:lnTo>
                  <a:lnTo>
                    <a:pt x="854380" y="203594"/>
                  </a:lnTo>
                  <a:lnTo>
                    <a:pt x="854380" y="204292"/>
                  </a:lnTo>
                  <a:lnTo>
                    <a:pt x="854482" y="204292"/>
                  </a:lnTo>
                  <a:lnTo>
                    <a:pt x="854482" y="204990"/>
                  </a:lnTo>
                  <a:lnTo>
                    <a:pt x="854482" y="204292"/>
                  </a:lnTo>
                  <a:lnTo>
                    <a:pt x="854482" y="206324"/>
                  </a:lnTo>
                  <a:lnTo>
                    <a:pt x="854482" y="204990"/>
                  </a:lnTo>
                  <a:lnTo>
                    <a:pt x="854533" y="204990"/>
                  </a:lnTo>
                  <a:lnTo>
                    <a:pt x="854533" y="206324"/>
                  </a:lnTo>
                  <a:lnTo>
                    <a:pt x="854533" y="204990"/>
                  </a:lnTo>
                  <a:lnTo>
                    <a:pt x="854583" y="204990"/>
                  </a:lnTo>
                  <a:lnTo>
                    <a:pt x="854583" y="204292"/>
                  </a:lnTo>
                  <a:lnTo>
                    <a:pt x="854583" y="204990"/>
                  </a:lnTo>
                  <a:lnTo>
                    <a:pt x="854583" y="203594"/>
                  </a:lnTo>
                  <a:lnTo>
                    <a:pt x="854622" y="203594"/>
                  </a:lnTo>
                  <a:lnTo>
                    <a:pt x="854622" y="202260"/>
                  </a:lnTo>
                  <a:lnTo>
                    <a:pt x="854622" y="202959"/>
                  </a:lnTo>
                  <a:lnTo>
                    <a:pt x="854622" y="202260"/>
                  </a:lnTo>
                  <a:lnTo>
                    <a:pt x="854723" y="202260"/>
                  </a:lnTo>
                  <a:lnTo>
                    <a:pt x="854723" y="200876"/>
                  </a:lnTo>
                  <a:lnTo>
                    <a:pt x="854723" y="202260"/>
                  </a:lnTo>
                  <a:lnTo>
                    <a:pt x="854723" y="200876"/>
                  </a:lnTo>
                  <a:lnTo>
                    <a:pt x="854723" y="203594"/>
                  </a:lnTo>
                  <a:lnTo>
                    <a:pt x="854723" y="202260"/>
                  </a:lnTo>
                  <a:lnTo>
                    <a:pt x="854774" y="202260"/>
                  </a:lnTo>
                  <a:lnTo>
                    <a:pt x="854774" y="203594"/>
                  </a:lnTo>
                  <a:lnTo>
                    <a:pt x="854774" y="202959"/>
                  </a:lnTo>
                  <a:lnTo>
                    <a:pt x="854825" y="202959"/>
                  </a:lnTo>
                  <a:lnTo>
                    <a:pt x="854825" y="203594"/>
                  </a:lnTo>
                  <a:lnTo>
                    <a:pt x="854825" y="202959"/>
                  </a:lnTo>
                  <a:lnTo>
                    <a:pt x="854825" y="204292"/>
                  </a:lnTo>
                  <a:lnTo>
                    <a:pt x="854825" y="203594"/>
                  </a:lnTo>
                  <a:lnTo>
                    <a:pt x="854825" y="204292"/>
                  </a:lnTo>
                  <a:lnTo>
                    <a:pt x="854825" y="203594"/>
                  </a:lnTo>
                  <a:lnTo>
                    <a:pt x="854926" y="203594"/>
                  </a:lnTo>
                  <a:lnTo>
                    <a:pt x="854926" y="204292"/>
                  </a:lnTo>
                  <a:lnTo>
                    <a:pt x="854977" y="204292"/>
                  </a:lnTo>
                  <a:lnTo>
                    <a:pt x="854977" y="206324"/>
                  </a:lnTo>
                  <a:lnTo>
                    <a:pt x="855028" y="206324"/>
                  </a:lnTo>
                  <a:lnTo>
                    <a:pt x="855028" y="204990"/>
                  </a:lnTo>
                  <a:lnTo>
                    <a:pt x="855028" y="206324"/>
                  </a:lnTo>
                  <a:lnTo>
                    <a:pt x="855028" y="204292"/>
                  </a:lnTo>
                  <a:lnTo>
                    <a:pt x="855028" y="206324"/>
                  </a:lnTo>
                  <a:lnTo>
                    <a:pt x="855028" y="204990"/>
                  </a:lnTo>
                  <a:lnTo>
                    <a:pt x="855079" y="204990"/>
                  </a:lnTo>
                  <a:lnTo>
                    <a:pt x="855079" y="203594"/>
                  </a:lnTo>
                  <a:lnTo>
                    <a:pt x="855079" y="204292"/>
                  </a:lnTo>
                  <a:lnTo>
                    <a:pt x="855079" y="203594"/>
                  </a:lnTo>
                  <a:lnTo>
                    <a:pt x="855079" y="204292"/>
                  </a:lnTo>
                  <a:lnTo>
                    <a:pt x="855079" y="203594"/>
                  </a:lnTo>
                  <a:lnTo>
                    <a:pt x="855168" y="203594"/>
                  </a:lnTo>
                  <a:lnTo>
                    <a:pt x="855168" y="202959"/>
                  </a:lnTo>
                  <a:lnTo>
                    <a:pt x="855168" y="203594"/>
                  </a:lnTo>
                  <a:lnTo>
                    <a:pt x="855168" y="202959"/>
                  </a:lnTo>
                  <a:lnTo>
                    <a:pt x="855168" y="203594"/>
                  </a:lnTo>
                  <a:lnTo>
                    <a:pt x="855168" y="202260"/>
                  </a:lnTo>
                  <a:lnTo>
                    <a:pt x="855218" y="200876"/>
                  </a:lnTo>
                  <a:lnTo>
                    <a:pt x="855218" y="202959"/>
                  </a:lnTo>
                  <a:lnTo>
                    <a:pt x="855218" y="202260"/>
                  </a:lnTo>
                  <a:lnTo>
                    <a:pt x="855218" y="202959"/>
                  </a:lnTo>
                  <a:lnTo>
                    <a:pt x="855218" y="200876"/>
                  </a:lnTo>
                  <a:lnTo>
                    <a:pt x="855218" y="202260"/>
                  </a:lnTo>
                  <a:lnTo>
                    <a:pt x="855269" y="202260"/>
                  </a:lnTo>
                  <a:lnTo>
                    <a:pt x="855269" y="203594"/>
                  </a:lnTo>
                  <a:lnTo>
                    <a:pt x="855269" y="202260"/>
                  </a:lnTo>
                  <a:lnTo>
                    <a:pt x="855269" y="202959"/>
                  </a:lnTo>
                  <a:lnTo>
                    <a:pt x="855320" y="202959"/>
                  </a:lnTo>
                  <a:lnTo>
                    <a:pt x="855320" y="203594"/>
                  </a:lnTo>
                  <a:lnTo>
                    <a:pt x="855320" y="202959"/>
                  </a:lnTo>
                  <a:lnTo>
                    <a:pt x="855320" y="203594"/>
                  </a:lnTo>
                  <a:lnTo>
                    <a:pt x="855320" y="202260"/>
                  </a:lnTo>
                  <a:lnTo>
                    <a:pt x="855320" y="202959"/>
                  </a:lnTo>
                  <a:lnTo>
                    <a:pt x="855320" y="202260"/>
                  </a:lnTo>
                  <a:lnTo>
                    <a:pt x="855320" y="202959"/>
                  </a:lnTo>
                  <a:lnTo>
                    <a:pt x="855422" y="202959"/>
                  </a:lnTo>
                  <a:lnTo>
                    <a:pt x="855422" y="202260"/>
                  </a:lnTo>
                  <a:lnTo>
                    <a:pt x="855422" y="203594"/>
                  </a:lnTo>
                  <a:lnTo>
                    <a:pt x="855422" y="202959"/>
                  </a:lnTo>
                  <a:lnTo>
                    <a:pt x="855422" y="203594"/>
                  </a:lnTo>
                  <a:lnTo>
                    <a:pt x="855472" y="203594"/>
                  </a:lnTo>
                  <a:lnTo>
                    <a:pt x="855472" y="204292"/>
                  </a:lnTo>
                  <a:lnTo>
                    <a:pt x="855472" y="203594"/>
                  </a:lnTo>
                  <a:lnTo>
                    <a:pt x="855472" y="204292"/>
                  </a:lnTo>
                  <a:lnTo>
                    <a:pt x="855472" y="203594"/>
                  </a:lnTo>
                  <a:lnTo>
                    <a:pt x="855472" y="204292"/>
                  </a:lnTo>
                  <a:lnTo>
                    <a:pt x="855523" y="204292"/>
                  </a:lnTo>
                  <a:lnTo>
                    <a:pt x="855523" y="203594"/>
                  </a:lnTo>
                  <a:lnTo>
                    <a:pt x="855523" y="204292"/>
                  </a:lnTo>
                  <a:lnTo>
                    <a:pt x="855523" y="203594"/>
                  </a:lnTo>
                  <a:lnTo>
                    <a:pt x="855523" y="204292"/>
                  </a:lnTo>
                  <a:lnTo>
                    <a:pt x="855625" y="203594"/>
                  </a:lnTo>
                  <a:lnTo>
                    <a:pt x="855625" y="204292"/>
                  </a:lnTo>
                  <a:lnTo>
                    <a:pt x="855625" y="202959"/>
                  </a:lnTo>
                  <a:lnTo>
                    <a:pt x="855625" y="203594"/>
                  </a:lnTo>
                  <a:lnTo>
                    <a:pt x="855663" y="202959"/>
                  </a:lnTo>
                  <a:lnTo>
                    <a:pt x="855663" y="202260"/>
                  </a:lnTo>
                  <a:lnTo>
                    <a:pt x="855663" y="203594"/>
                  </a:lnTo>
                  <a:lnTo>
                    <a:pt x="855714" y="203594"/>
                  </a:lnTo>
                  <a:lnTo>
                    <a:pt x="855714" y="202959"/>
                  </a:lnTo>
                  <a:lnTo>
                    <a:pt x="855714" y="204990"/>
                  </a:lnTo>
                  <a:lnTo>
                    <a:pt x="855714" y="204292"/>
                  </a:lnTo>
                  <a:lnTo>
                    <a:pt x="855765" y="204292"/>
                  </a:lnTo>
                  <a:lnTo>
                    <a:pt x="855765" y="203594"/>
                  </a:lnTo>
                  <a:lnTo>
                    <a:pt x="855765" y="204292"/>
                  </a:lnTo>
                  <a:lnTo>
                    <a:pt x="855765" y="203594"/>
                  </a:lnTo>
                  <a:lnTo>
                    <a:pt x="855765" y="204292"/>
                  </a:lnTo>
                  <a:lnTo>
                    <a:pt x="855866" y="204292"/>
                  </a:lnTo>
                  <a:lnTo>
                    <a:pt x="855866" y="203594"/>
                  </a:lnTo>
                  <a:lnTo>
                    <a:pt x="855866" y="204292"/>
                  </a:lnTo>
                  <a:lnTo>
                    <a:pt x="855917" y="204292"/>
                  </a:lnTo>
                  <a:lnTo>
                    <a:pt x="855917" y="204990"/>
                  </a:lnTo>
                  <a:lnTo>
                    <a:pt x="855917" y="204292"/>
                  </a:lnTo>
                  <a:lnTo>
                    <a:pt x="855968" y="204292"/>
                  </a:lnTo>
                  <a:lnTo>
                    <a:pt x="855968" y="204990"/>
                  </a:lnTo>
                  <a:lnTo>
                    <a:pt x="855968" y="204292"/>
                  </a:lnTo>
                  <a:lnTo>
                    <a:pt x="855968" y="204990"/>
                  </a:lnTo>
                  <a:lnTo>
                    <a:pt x="856069" y="204990"/>
                  </a:lnTo>
                  <a:lnTo>
                    <a:pt x="856069" y="203594"/>
                  </a:lnTo>
                  <a:lnTo>
                    <a:pt x="856120" y="203594"/>
                  </a:lnTo>
                  <a:lnTo>
                    <a:pt x="856120" y="202959"/>
                  </a:lnTo>
                  <a:lnTo>
                    <a:pt x="856120" y="203594"/>
                  </a:lnTo>
                  <a:lnTo>
                    <a:pt x="856120" y="202959"/>
                  </a:lnTo>
                  <a:lnTo>
                    <a:pt x="856120" y="203594"/>
                  </a:lnTo>
                  <a:lnTo>
                    <a:pt x="856120" y="202959"/>
                  </a:lnTo>
                  <a:lnTo>
                    <a:pt x="856171" y="202959"/>
                  </a:lnTo>
                  <a:lnTo>
                    <a:pt x="856171" y="202260"/>
                  </a:lnTo>
                  <a:lnTo>
                    <a:pt x="856171" y="203594"/>
                  </a:lnTo>
                  <a:lnTo>
                    <a:pt x="856209" y="203594"/>
                  </a:lnTo>
                  <a:lnTo>
                    <a:pt x="856209" y="202959"/>
                  </a:lnTo>
                  <a:lnTo>
                    <a:pt x="856209" y="204990"/>
                  </a:lnTo>
                  <a:lnTo>
                    <a:pt x="856311" y="204292"/>
                  </a:lnTo>
                  <a:lnTo>
                    <a:pt x="856311" y="203594"/>
                  </a:lnTo>
                  <a:lnTo>
                    <a:pt x="856311" y="204990"/>
                  </a:lnTo>
                  <a:lnTo>
                    <a:pt x="856311" y="204292"/>
                  </a:lnTo>
                  <a:lnTo>
                    <a:pt x="856311" y="204990"/>
                  </a:lnTo>
                  <a:lnTo>
                    <a:pt x="856311" y="204292"/>
                  </a:lnTo>
                  <a:lnTo>
                    <a:pt x="856412" y="204292"/>
                  </a:lnTo>
                  <a:lnTo>
                    <a:pt x="856412" y="204990"/>
                  </a:lnTo>
                  <a:lnTo>
                    <a:pt x="856412" y="204292"/>
                  </a:lnTo>
                  <a:lnTo>
                    <a:pt x="856412" y="204990"/>
                  </a:lnTo>
                  <a:lnTo>
                    <a:pt x="856412" y="204292"/>
                  </a:lnTo>
                  <a:lnTo>
                    <a:pt x="856514" y="204990"/>
                  </a:lnTo>
                  <a:lnTo>
                    <a:pt x="856514" y="204292"/>
                  </a:lnTo>
                  <a:lnTo>
                    <a:pt x="856514" y="204990"/>
                  </a:lnTo>
                  <a:lnTo>
                    <a:pt x="856565" y="204990"/>
                  </a:lnTo>
                  <a:lnTo>
                    <a:pt x="856565" y="202959"/>
                  </a:lnTo>
                  <a:lnTo>
                    <a:pt x="856616" y="202959"/>
                  </a:lnTo>
                  <a:lnTo>
                    <a:pt x="856616" y="203594"/>
                  </a:lnTo>
                  <a:lnTo>
                    <a:pt x="856616" y="202260"/>
                  </a:lnTo>
                  <a:lnTo>
                    <a:pt x="856666" y="202260"/>
                  </a:lnTo>
                  <a:lnTo>
                    <a:pt x="856666" y="203594"/>
                  </a:lnTo>
                  <a:lnTo>
                    <a:pt x="856666" y="202260"/>
                  </a:lnTo>
                  <a:lnTo>
                    <a:pt x="856755" y="202959"/>
                  </a:lnTo>
                  <a:lnTo>
                    <a:pt x="856755" y="204990"/>
                  </a:lnTo>
                  <a:lnTo>
                    <a:pt x="856755" y="203594"/>
                  </a:lnTo>
                  <a:lnTo>
                    <a:pt x="856806" y="203594"/>
                  </a:lnTo>
                  <a:lnTo>
                    <a:pt x="856806" y="204990"/>
                  </a:lnTo>
                  <a:lnTo>
                    <a:pt x="856806" y="203594"/>
                  </a:lnTo>
                  <a:lnTo>
                    <a:pt x="856806" y="204292"/>
                  </a:lnTo>
                  <a:lnTo>
                    <a:pt x="856806" y="203594"/>
                  </a:lnTo>
                  <a:lnTo>
                    <a:pt x="856806" y="204292"/>
                  </a:lnTo>
                  <a:lnTo>
                    <a:pt x="856857" y="204292"/>
                  </a:lnTo>
                  <a:lnTo>
                    <a:pt x="856857" y="204990"/>
                  </a:lnTo>
                  <a:lnTo>
                    <a:pt x="856908" y="204990"/>
                  </a:lnTo>
                  <a:lnTo>
                    <a:pt x="856908" y="206324"/>
                  </a:lnTo>
                  <a:lnTo>
                    <a:pt x="856908" y="204990"/>
                  </a:lnTo>
                  <a:lnTo>
                    <a:pt x="856908" y="206324"/>
                  </a:lnTo>
                  <a:lnTo>
                    <a:pt x="856908" y="204990"/>
                  </a:lnTo>
                  <a:lnTo>
                    <a:pt x="856908" y="206324"/>
                  </a:lnTo>
                  <a:lnTo>
                    <a:pt x="857009" y="204990"/>
                  </a:lnTo>
                  <a:lnTo>
                    <a:pt x="857009" y="206324"/>
                  </a:lnTo>
                  <a:lnTo>
                    <a:pt x="857009" y="204990"/>
                  </a:lnTo>
                  <a:lnTo>
                    <a:pt x="857009" y="206324"/>
                  </a:lnTo>
                  <a:lnTo>
                    <a:pt x="857009" y="204990"/>
                  </a:lnTo>
                  <a:lnTo>
                    <a:pt x="857009" y="206324"/>
                  </a:lnTo>
                  <a:lnTo>
                    <a:pt x="857009" y="204990"/>
                  </a:lnTo>
                  <a:lnTo>
                    <a:pt x="857009" y="206324"/>
                  </a:lnTo>
                  <a:lnTo>
                    <a:pt x="857009" y="204990"/>
                  </a:lnTo>
                  <a:lnTo>
                    <a:pt x="857060" y="204292"/>
                  </a:lnTo>
                  <a:lnTo>
                    <a:pt x="857060" y="203594"/>
                  </a:lnTo>
                  <a:lnTo>
                    <a:pt x="857060" y="204292"/>
                  </a:lnTo>
                  <a:lnTo>
                    <a:pt x="857060" y="203594"/>
                  </a:lnTo>
                  <a:lnTo>
                    <a:pt x="857111" y="203594"/>
                  </a:lnTo>
                  <a:lnTo>
                    <a:pt x="857111" y="202260"/>
                  </a:lnTo>
                  <a:lnTo>
                    <a:pt x="857111" y="202959"/>
                  </a:lnTo>
                  <a:lnTo>
                    <a:pt x="857111" y="202260"/>
                  </a:lnTo>
                  <a:lnTo>
                    <a:pt x="857212" y="202260"/>
                  </a:lnTo>
                  <a:lnTo>
                    <a:pt x="857212" y="203594"/>
                  </a:lnTo>
                  <a:lnTo>
                    <a:pt x="857212" y="200876"/>
                  </a:lnTo>
                  <a:lnTo>
                    <a:pt x="857212" y="203594"/>
                  </a:lnTo>
                  <a:lnTo>
                    <a:pt x="857251" y="204292"/>
                  </a:lnTo>
                  <a:lnTo>
                    <a:pt x="857251" y="204990"/>
                  </a:lnTo>
                  <a:lnTo>
                    <a:pt x="857251" y="202959"/>
                  </a:lnTo>
                  <a:lnTo>
                    <a:pt x="857251" y="204292"/>
                  </a:lnTo>
                  <a:lnTo>
                    <a:pt x="857301" y="204292"/>
                  </a:lnTo>
                  <a:lnTo>
                    <a:pt x="857301" y="204990"/>
                  </a:lnTo>
                  <a:lnTo>
                    <a:pt x="857301" y="203594"/>
                  </a:lnTo>
                  <a:lnTo>
                    <a:pt x="857301" y="204292"/>
                  </a:lnTo>
                  <a:lnTo>
                    <a:pt x="857301" y="203594"/>
                  </a:lnTo>
                  <a:lnTo>
                    <a:pt x="857301" y="204292"/>
                  </a:lnTo>
                  <a:lnTo>
                    <a:pt x="857301" y="203594"/>
                  </a:lnTo>
                  <a:lnTo>
                    <a:pt x="857301" y="204292"/>
                  </a:lnTo>
                  <a:lnTo>
                    <a:pt x="857301" y="203594"/>
                  </a:lnTo>
                  <a:lnTo>
                    <a:pt x="857301" y="204292"/>
                  </a:lnTo>
                  <a:lnTo>
                    <a:pt x="857352" y="204990"/>
                  </a:lnTo>
                  <a:lnTo>
                    <a:pt x="857352" y="204292"/>
                  </a:lnTo>
                  <a:lnTo>
                    <a:pt x="857352" y="204990"/>
                  </a:lnTo>
                  <a:lnTo>
                    <a:pt x="857352" y="204292"/>
                  </a:lnTo>
                  <a:lnTo>
                    <a:pt x="857352" y="204990"/>
                  </a:lnTo>
                  <a:lnTo>
                    <a:pt x="857352" y="204292"/>
                  </a:lnTo>
                  <a:lnTo>
                    <a:pt x="857454" y="204990"/>
                  </a:lnTo>
                  <a:lnTo>
                    <a:pt x="857454" y="204292"/>
                  </a:lnTo>
                  <a:lnTo>
                    <a:pt x="857454" y="204990"/>
                  </a:lnTo>
                  <a:lnTo>
                    <a:pt x="857505" y="204990"/>
                  </a:lnTo>
                  <a:lnTo>
                    <a:pt x="857505" y="204292"/>
                  </a:lnTo>
                  <a:lnTo>
                    <a:pt x="857505" y="204990"/>
                  </a:lnTo>
                  <a:lnTo>
                    <a:pt x="857505" y="204292"/>
                  </a:lnTo>
                  <a:lnTo>
                    <a:pt x="857505" y="204990"/>
                  </a:lnTo>
                  <a:lnTo>
                    <a:pt x="857505" y="204292"/>
                  </a:lnTo>
                  <a:lnTo>
                    <a:pt x="857505" y="204990"/>
                  </a:lnTo>
                  <a:lnTo>
                    <a:pt x="857505" y="204292"/>
                  </a:lnTo>
                  <a:lnTo>
                    <a:pt x="857505" y="204990"/>
                  </a:lnTo>
                  <a:lnTo>
                    <a:pt x="857505" y="203594"/>
                  </a:lnTo>
                  <a:lnTo>
                    <a:pt x="857505" y="204292"/>
                  </a:lnTo>
                  <a:lnTo>
                    <a:pt x="857555" y="204292"/>
                  </a:lnTo>
                  <a:lnTo>
                    <a:pt x="857555" y="202959"/>
                  </a:lnTo>
                  <a:lnTo>
                    <a:pt x="857657" y="203594"/>
                  </a:lnTo>
                  <a:lnTo>
                    <a:pt x="857657" y="200876"/>
                  </a:lnTo>
                  <a:lnTo>
                    <a:pt x="857708" y="200876"/>
                  </a:lnTo>
                  <a:lnTo>
                    <a:pt x="857708" y="202959"/>
                  </a:lnTo>
                  <a:lnTo>
                    <a:pt x="857708" y="200228"/>
                  </a:lnTo>
                  <a:lnTo>
                    <a:pt x="857708" y="202959"/>
                  </a:lnTo>
                  <a:lnTo>
                    <a:pt x="857758" y="202959"/>
                  </a:lnTo>
                  <a:lnTo>
                    <a:pt x="857758" y="203594"/>
                  </a:lnTo>
                  <a:lnTo>
                    <a:pt x="857758" y="202260"/>
                  </a:lnTo>
                  <a:lnTo>
                    <a:pt x="857758" y="202959"/>
                  </a:lnTo>
                  <a:lnTo>
                    <a:pt x="857797" y="202959"/>
                  </a:lnTo>
                  <a:lnTo>
                    <a:pt x="857797" y="203594"/>
                  </a:lnTo>
                  <a:lnTo>
                    <a:pt x="857797" y="202260"/>
                  </a:lnTo>
                  <a:lnTo>
                    <a:pt x="857797" y="203594"/>
                  </a:lnTo>
                  <a:lnTo>
                    <a:pt x="857797" y="202959"/>
                  </a:lnTo>
                  <a:lnTo>
                    <a:pt x="857797" y="203594"/>
                  </a:lnTo>
                  <a:lnTo>
                    <a:pt x="857797" y="202959"/>
                  </a:lnTo>
                  <a:lnTo>
                    <a:pt x="857797" y="203594"/>
                  </a:lnTo>
                  <a:lnTo>
                    <a:pt x="857898" y="203594"/>
                  </a:lnTo>
                  <a:lnTo>
                    <a:pt x="857898" y="204292"/>
                  </a:lnTo>
                  <a:lnTo>
                    <a:pt x="857898" y="203594"/>
                  </a:lnTo>
                  <a:lnTo>
                    <a:pt x="857898" y="204990"/>
                  </a:lnTo>
                  <a:lnTo>
                    <a:pt x="857898" y="204292"/>
                  </a:lnTo>
                  <a:lnTo>
                    <a:pt x="857949" y="204292"/>
                  </a:lnTo>
                  <a:lnTo>
                    <a:pt x="857949" y="204990"/>
                  </a:lnTo>
                  <a:lnTo>
                    <a:pt x="857949" y="204292"/>
                  </a:lnTo>
                  <a:lnTo>
                    <a:pt x="858000" y="204292"/>
                  </a:lnTo>
                  <a:lnTo>
                    <a:pt x="858000" y="204990"/>
                  </a:lnTo>
                  <a:lnTo>
                    <a:pt x="858000" y="204292"/>
                  </a:lnTo>
                  <a:lnTo>
                    <a:pt x="858101" y="204292"/>
                  </a:lnTo>
                  <a:lnTo>
                    <a:pt x="858101" y="202959"/>
                  </a:lnTo>
                  <a:lnTo>
                    <a:pt x="858152" y="202959"/>
                  </a:lnTo>
                  <a:lnTo>
                    <a:pt x="858152" y="202260"/>
                  </a:lnTo>
                  <a:lnTo>
                    <a:pt x="858152" y="202959"/>
                  </a:lnTo>
                  <a:lnTo>
                    <a:pt x="858152" y="200876"/>
                  </a:lnTo>
                  <a:lnTo>
                    <a:pt x="858152" y="202959"/>
                  </a:lnTo>
                  <a:lnTo>
                    <a:pt x="858203" y="202959"/>
                  </a:lnTo>
                  <a:lnTo>
                    <a:pt x="858203" y="200228"/>
                  </a:lnTo>
                  <a:lnTo>
                    <a:pt x="858203" y="202959"/>
                  </a:lnTo>
                  <a:lnTo>
                    <a:pt x="858254" y="202959"/>
                  </a:lnTo>
                  <a:lnTo>
                    <a:pt x="858254" y="200876"/>
                  </a:lnTo>
                  <a:lnTo>
                    <a:pt x="858254" y="203594"/>
                  </a:lnTo>
                  <a:lnTo>
                    <a:pt x="858254" y="202959"/>
                  </a:lnTo>
                  <a:lnTo>
                    <a:pt x="858343" y="202959"/>
                  </a:lnTo>
                  <a:lnTo>
                    <a:pt x="858343" y="202260"/>
                  </a:lnTo>
                  <a:lnTo>
                    <a:pt x="858343" y="203594"/>
                  </a:lnTo>
                  <a:lnTo>
                    <a:pt x="858393" y="203594"/>
                  </a:lnTo>
                  <a:lnTo>
                    <a:pt x="858393" y="202959"/>
                  </a:lnTo>
                  <a:lnTo>
                    <a:pt x="858393" y="203594"/>
                  </a:lnTo>
                  <a:lnTo>
                    <a:pt x="858393" y="202959"/>
                  </a:lnTo>
                  <a:lnTo>
                    <a:pt x="858393" y="203594"/>
                  </a:lnTo>
                  <a:lnTo>
                    <a:pt x="858393" y="202959"/>
                  </a:lnTo>
                  <a:lnTo>
                    <a:pt x="858393" y="203594"/>
                  </a:lnTo>
                  <a:lnTo>
                    <a:pt x="858444" y="203594"/>
                  </a:lnTo>
                  <a:lnTo>
                    <a:pt x="858444" y="202959"/>
                  </a:lnTo>
                  <a:lnTo>
                    <a:pt x="858444" y="203594"/>
                  </a:lnTo>
                  <a:lnTo>
                    <a:pt x="858495" y="203594"/>
                  </a:lnTo>
                  <a:lnTo>
                    <a:pt x="858495" y="202959"/>
                  </a:lnTo>
                  <a:lnTo>
                    <a:pt x="858597" y="202959"/>
                  </a:lnTo>
                  <a:lnTo>
                    <a:pt x="858597" y="203594"/>
                  </a:lnTo>
                  <a:lnTo>
                    <a:pt x="858597" y="202959"/>
                  </a:lnTo>
                  <a:lnTo>
                    <a:pt x="858647" y="202959"/>
                  </a:lnTo>
                  <a:lnTo>
                    <a:pt x="858647" y="202260"/>
                  </a:lnTo>
                  <a:lnTo>
                    <a:pt x="858647" y="203594"/>
                  </a:lnTo>
                  <a:lnTo>
                    <a:pt x="858647" y="202260"/>
                  </a:lnTo>
                  <a:lnTo>
                    <a:pt x="858698" y="202260"/>
                  </a:lnTo>
                  <a:lnTo>
                    <a:pt x="858698" y="200876"/>
                  </a:lnTo>
                  <a:lnTo>
                    <a:pt x="858698" y="204990"/>
                  </a:lnTo>
                  <a:lnTo>
                    <a:pt x="858698" y="203594"/>
                  </a:lnTo>
                  <a:lnTo>
                    <a:pt x="858800" y="202959"/>
                  </a:lnTo>
                  <a:lnTo>
                    <a:pt x="858800" y="204292"/>
                  </a:lnTo>
                  <a:lnTo>
                    <a:pt x="858800" y="202959"/>
                  </a:lnTo>
                  <a:lnTo>
                    <a:pt x="858838" y="202959"/>
                  </a:lnTo>
                  <a:lnTo>
                    <a:pt x="858838" y="204292"/>
                  </a:lnTo>
                  <a:lnTo>
                    <a:pt x="858838" y="203594"/>
                  </a:lnTo>
                  <a:lnTo>
                    <a:pt x="858889" y="203594"/>
                  </a:lnTo>
                  <a:lnTo>
                    <a:pt x="858889" y="204292"/>
                  </a:lnTo>
                  <a:lnTo>
                    <a:pt x="858889" y="203594"/>
                  </a:lnTo>
                  <a:lnTo>
                    <a:pt x="858889" y="204292"/>
                  </a:lnTo>
                  <a:lnTo>
                    <a:pt x="858889" y="203594"/>
                  </a:lnTo>
                  <a:lnTo>
                    <a:pt x="858940" y="204292"/>
                  </a:lnTo>
                  <a:lnTo>
                    <a:pt x="859041" y="204990"/>
                  </a:lnTo>
                  <a:lnTo>
                    <a:pt x="859041" y="203594"/>
                  </a:lnTo>
                  <a:lnTo>
                    <a:pt x="859041" y="204292"/>
                  </a:lnTo>
                  <a:lnTo>
                    <a:pt x="859041" y="203594"/>
                  </a:lnTo>
                  <a:lnTo>
                    <a:pt x="859092" y="203594"/>
                  </a:lnTo>
                  <a:lnTo>
                    <a:pt x="859092" y="202959"/>
                  </a:lnTo>
                  <a:lnTo>
                    <a:pt x="859092" y="203594"/>
                  </a:lnTo>
                  <a:lnTo>
                    <a:pt x="859092" y="202260"/>
                  </a:lnTo>
                  <a:lnTo>
                    <a:pt x="859143" y="202260"/>
                  </a:lnTo>
                  <a:lnTo>
                    <a:pt x="859143" y="204292"/>
                  </a:lnTo>
                  <a:lnTo>
                    <a:pt x="859143" y="203594"/>
                  </a:lnTo>
                  <a:lnTo>
                    <a:pt x="859143" y="204292"/>
                  </a:lnTo>
                  <a:lnTo>
                    <a:pt x="859143" y="202260"/>
                  </a:lnTo>
                  <a:lnTo>
                    <a:pt x="859143" y="202959"/>
                  </a:lnTo>
                  <a:lnTo>
                    <a:pt x="859143" y="202260"/>
                  </a:lnTo>
                  <a:lnTo>
                    <a:pt x="859143" y="202959"/>
                  </a:lnTo>
                  <a:lnTo>
                    <a:pt x="859244" y="202959"/>
                  </a:lnTo>
                  <a:lnTo>
                    <a:pt x="859244" y="204990"/>
                  </a:lnTo>
                  <a:lnTo>
                    <a:pt x="859244" y="203594"/>
                  </a:lnTo>
                  <a:lnTo>
                    <a:pt x="859244" y="204292"/>
                  </a:lnTo>
                  <a:lnTo>
                    <a:pt x="859295" y="204292"/>
                  </a:lnTo>
                  <a:lnTo>
                    <a:pt x="859295" y="206324"/>
                  </a:lnTo>
                  <a:lnTo>
                    <a:pt x="859295" y="203594"/>
                  </a:lnTo>
                  <a:lnTo>
                    <a:pt x="859295" y="204990"/>
                  </a:lnTo>
                  <a:lnTo>
                    <a:pt x="859295" y="204292"/>
                  </a:lnTo>
                  <a:lnTo>
                    <a:pt x="859295" y="204990"/>
                  </a:lnTo>
                  <a:lnTo>
                    <a:pt x="859346" y="204990"/>
                  </a:lnTo>
                  <a:lnTo>
                    <a:pt x="859346" y="204292"/>
                  </a:lnTo>
                  <a:lnTo>
                    <a:pt x="859346" y="204990"/>
                  </a:lnTo>
                  <a:lnTo>
                    <a:pt x="859346" y="204292"/>
                  </a:lnTo>
                  <a:lnTo>
                    <a:pt x="859346" y="204990"/>
                  </a:lnTo>
                  <a:lnTo>
                    <a:pt x="859346" y="204292"/>
                  </a:lnTo>
                  <a:lnTo>
                    <a:pt x="859346" y="204990"/>
                  </a:lnTo>
                  <a:lnTo>
                    <a:pt x="859384" y="204990"/>
                  </a:lnTo>
                  <a:lnTo>
                    <a:pt x="859384" y="204292"/>
                  </a:lnTo>
                  <a:lnTo>
                    <a:pt x="859384" y="204990"/>
                  </a:lnTo>
                  <a:lnTo>
                    <a:pt x="859384" y="204292"/>
                  </a:lnTo>
                  <a:lnTo>
                    <a:pt x="859486" y="204292"/>
                  </a:lnTo>
                  <a:lnTo>
                    <a:pt x="859486" y="203594"/>
                  </a:lnTo>
                  <a:lnTo>
                    <a:pt x="859486" y="204292"/>
                  </a:lnTo>
                  <a:lnTo>
                    <a:pt x="859486" y="203594"/>
                  </a:lnTo>
                  <a:lnTo>
                    <a:pt x="859486" y="204292"/>
                  </a:lnTo>
                  <a:lnTo>
                    <a:pt x="859486" y="203594"/>
                  </a:lnTo>
                  <a:lnTo>
                    <a:pt x="859486" y="204292"/>
                  </a:lnTo>
                  <a:lnTo>
                    <a:pt x="859486" y="203594"/>
                  </a:lnTo>
                  <a:lnTo>
                    <a:pt x="859486" y="204292"/>
                  </a:lnTo>
                  <a:lnTo>
                    <a:pt x="859486" y="203594"/>
                  </a:lnTo>
                  <a:lnTo>
                    <a:pt x="859537" y="203594"/>
                  </a:lnTo>
                  <a:lnTo>
                    <a:pt x="859537" y="202959"/>
                  </a:lnTo>
                  <a:lnTo>
                    <a:pt x="859537" y="203594"/>
                  </a:lnTo>
                  <a:lnTo>
                    <a:pt x="859537" y="202959"/>
                  </a:lnTo>
                  <a:lnTo>
                    <a:pt x="859587" y="202959"/>
                  </a:lnTo>
                  <a:lnTo>
                    <a:pt x="859587" y="200228"/>
                  </a:lnTo>
                  <a:lnTo>
                    <a:pt x="859587" y="200876"/>
                  </a:lnTo>
                  <a:lnTo>
                    <a:pt x="859689" y="202260"/>
                  </a:lnTo>
                  <a:lnTo>
                    <a:pt x="859689" y="202959"/>
                  </a:lnTo>
                  <a:lnTo>
                    <a:pt x="859689" y="200876"/>
                  </a:lnTo>
                  <a:lnTo>
                    <a:pt x="859689" y="202959"/>
                  </a:lnTo>
                  <a:lnTo>
                    <a:pt x="859740" y="202959"/>
                  </a:lnTo>
                  <a:lnTo>
                    <a:pt x="859740" y="204292"/>
                  </a:lnTo>
                  <a:lnTo>
                    <a:pt x="859740" y="202959"/>
                  </a:lnTo>
                  <a:lnTo>
                    <a:pt x="859740" y="203594"/>
                  </a:lnTo>
                  <a:lnTo>
                    <a:pt x="859791" y="204292"/>
                  </a:lnTo>
                  <a:lnTo>
                    <a:pt x="859791" y="203594"/>
                  </a:lnTo>
                  <a:lnTo>
                    <a:pt x="859791" y="204292"/>
                  </a:lnTo>
                  <a:lnTo>
                    <a:pt x="859841" y="204990"/>
                  </a:lnTo>
                  <a:lnTo>
                    <a:pt x="859841" y="204292"/>
                  </a:lnTo>
                  <a:lnTo>
                    <a:pt x="859841" y="204990"/>
                  </a:lnTo>
                  <a:lnTo>
                    <a:pt x="859930" y="204990"/>
                  </a:lnTo>
                  <a:lnTo>
                    <a:pt x="859930" y="204292"/>
                  </a:lnTo>
                  <a:lnTo>
                    <a:pt x="859930" y="204990"/>
                  </a:lnTo>
                  <a:lnTo>
                    <a:pt x="859930" y="204292"/>
                  </a:lnTo>
                  <a:lnTo>
                    <a:pt x="859930" y="204990"/>
                  </a:lnTo>
                  <a:lnTo>
                    <a:pt x="859981" y="204990"/>
                  </a:lnTo>
                  <a:lnTo>
                    <a:pt x="859981" y="204292"/>
                  </a:lnTo>
                  <a:lnTo>
                    <a:pt x="859981" y="204990"/>
                  </a:lnTo>
                  <a:lnTo>
                    <a:pt x="859981" y="204292"/>
                  </a:lnTo>
                  <a:lnTo>
                    <a:pt x="859981" y="204990"/>
                  </a:lnTo>
                  <a:lnTo>
                    <a:pt x="859981" y="204292"/>
                  </a:lnTo>
                  <a:lnTo>
                    <a:pt x="859981" y="204990"/>
                  </a:lnTo>
                  <a:lnTo>
                    <a:pt x="859981" y="204292"/>
                  </a:lnTo>
                  <a:lnTo>
                    <a:pt x="859981" y="204990"/>
                  </a:lnTo>
                  <a:lnTo>
                    <a:pt x="859981" y="204292"/>
                  </a:lnTo>
                  <a:lnTo>
                    <a:pt x="860032" y="204292"/>
                  </a:lnTo>
                  <a:lnTo>
                    <a:pt x="860032" y="203594"/>
                  </a:lnTo>
                  <a:lnTo>
                    <a:pt x="860032" y="204292"/>
                  </a:lnTo>
                  <a:lnTo>
                    <a:pt x="860032" y="202959"/>
                  </a:lnTo>
                  <a:lnTo>
                    <a:pt x="860083" y="203594"/>
                  </a:lnTo>
                  <a:lnTo>
                    <a:pt x="860083" y="202260"/>
                  </a:lnTo>
                  <a:lnTo>
                    <a:pt x="860083" y="202959"/>
                  </a:lnTo>
                  <a:lnTo>
                    <a:pt x="860083" y="200876"/>
                  </a:lnTo>
                  <a:lnTo>
                    <a:pt x="860083" y="202959"/>
                  </a:lnTo>
                  <a:lnTo>
                    <a:pt x="860184" y="202959"/>
                  </a:lnTo>
                  <a:lnTo>
                    <a:pt x="860184" y="200876"/>
                  </a:lnTo>
                  <a:lnTo>
                    <a:pt x="860184" y="203594"/>
                  </a:lnTo>
                  <a:lnTo>
                    <a:pt x="860235" y="203594"/>
                  </a:lnTo>
                  <a:lnTo>
                    <a:pt x="860235" y="202959"/>
                  </a:lnTo>
                  <a:lnTo>
                    <a:pt x="860235" y="204292"/>
                  </a:lnTo>
                  <a:lnTo>
                    <a:pt x="860286" y="203594"/>
                  </a:lnTo>
                  <a:lnTo>
                    <a:pt x="860286" y="204990"/>
                  </a:lnTo>
                  <a:lnTo>
                    <a:pt x="860387" y="204292"/>
                  </a:lnTo>
                  <a:lnTo>
                    <a:pt x="860387" y="203594"/>
                  </a:lnTo>
                  <a:lnTo>
                    <a:pt x="860387" y="204292"/>
                  </a:lnTo>
                  <a:lnTo>
                    <a:pt x="860387" y="203594"/>
                  </a:lnTo>
                  <a:lnTo>
                    <a:pt x="860387" y="204990"/>
                  </a:lnTo>
                  <a:lnTo>
                    <a:pt x="860387" y="204292"/>
                  </a:lnTo>
                  <a:lnTo>
                    <a:pt x="860426" y="204292"/>
                  </a:lnTo>
                  <a:lnTo>
                    <a:pt x="860426" y="204990"/>
                  </a:lnTo>
                  <a:lnTo>
                    <a:pt x="860426" y="204292"/>
                  </a:lnTo>
                  <a:lnTo>
                    <a:pt x="860426" y="204990"/>
                  </a:lnTo>
                  <a:lnTo>
                    <a:pt x="860476" y="204990"/>
                  </a:lnTo>
                  <a:lnTo>
                    <a:pt x="860476" y="204292"/>
                  </a:lnTo>
                  <a:lnTo>
                    <a:pt x="860476" y="204990"/>
                  </a:lnTo>
                  <a:lnTo>
                    <a:pt x="860476" y="204292"/>
                  </a:lnTo>
                  <a:lnTo>
                    <a:pt x="860476" y="204990"/>
                  </a:lnTo>
                  <a:lnTo>
                    <a:pt x="860476" y="204292"/>
                  </a:lnTo>
                  <a:lnTo>
                    <a:pt x="860476" y="204990"/>
                  </a:lnTo>
                  <a:lnTo>
                    <a:pt x="860476" y="204292"/>
                  </a:lnTo>
                  <a:lnTo>
                    <a:pt x="860527" y="204292"/>
                  </a:lnTo>
                  <a:lnTo>
                    <a:pt x="860527" y="203594"/>
                  </a:lnTo>
                  <a:lnTo>
                    <a:pt x="860629" y="203594"/>
                  </a:lnTo>
                  <a:lnTo>
                    <a:pt x="860629" y="202260"/>
                  </a:lnTo>
                  <a:lnTo>
                    <a:pt x="860629" y="202959"/>
                  </a:lnTo>
                  <a:lnTo>
                    <a:pt x="860680" y="202959"/>
                  </a:lnTo>
                  <a:lnTo>
                    <a:pt x="860680" y="202260"/>
                  </a:lnTo>
                  <a:lnTo>
                    <a:pt x="860680" y="203594"/>
                  </a:lnTo>
                  <a:lnTo>
                    <a:pt x="860730" y="203594"/>
                  </a:lnTo>
                  <a:lnTo>
                    <a:pt x="860730" y="202959"/>
                  </a:lnTo>
                  <a:lnTo>
                    <a:pt x="860730" y="203594"/>
                  </a:lnTo>
                  <a:lnTo>
                    <a:pt x="860730" y="202959"/>
                  </a:lnTo>
                  <a:lnTo>
                    <a:pt x="860730" y="204292"/>
                  </a:lnTo>
                  <a:lnTo>
                    <a:pt x="860730" y="203594"/>
                  </a:lnTo>
                  <a:lnTo>
                    <a:pt x="860730" y="204292"/>
                  </a:lnTo>
                  <a:lnTo>
                    <a:pt x="860730" y="203594"/>
                  </a:lnTo>
                  <a:lnTo>
                    <a:pt x="860832" y="203594"/>
                  </a:lnTo>
                  <a:lnTo>
                    <a:pt x="860832" y="202959"/>
                  </a:lnTo>
                  <a:lnTo>
                    <a:pt x="860832" y="204292"/>
                  </a:lnTo>
                  <a:lnTo>
                    <a:pt x="860883" y="203594"/>
                  </a:lnTo>
                  <a:lnTo>
                    <a:pt x="860883" y="204292"/>
                  </a:lnTo>
                  <a:lnTo>
                    <a:pt x="860933" y="204292"/>
                  </a:lnTo>
                  <a:lnTo>
                    <a:pt x="860933" y="204990"/>
                  </a:lnTo>
                  <a:lnTo>
                    <a:pt x="860933" y="204292"/>
                  </a:lnTo>
                  <a:lnTo>
                    <a:pt x="860933" y="204990"/>
                  </a:lnTo>
                  <a:lnTo>
                    <a:pt x="860933" y="204292"/>
                  </a:lnTo>
                  <a:lnTo>
                    <a:pt x="860972" y="204292"/>
                  </a:lnTo>
                  <a:lnTo>
                    <a:pt x="860972" y="204990"/>
                  </a:lnTo>
                  <a:lnTo>
                    <a:pt x="860972" y="204292"/>
                  </a:lnTo>
                  <a:lnTo>
                    <a:pt x="860972" y="204990"/>
                  </a:lnTo>
                  <a:lnTo>
                    <a:pt x="860972" y="204292"/>
                  </a:lnTo>
                  <a:lnTo>
                    <a:pt x="861073" y="204292"/>
                  </a:lnTo>
                  <a:lnTo>
                    <a:pt x="861073" y="203594"/>
                  </a:lnTo>
                  <a:lnTo>
                    <a:pt x="861073" y="204292"/>
                  </a:lnTo>
                  <a:lnTo>
                    <a:pt x="861073" y="202959"/>
                  </a:lnTo>
                  <a:lnTo>
                    <a:pt x="861124" y="202959"/>
                  </a:lnTo>
                  <a:lnTo>
                    <a:pt x="861124" y="202260"/>
                  </a:lnTo>
                  <a:lnTo>
                    <a:pt x="861124" y="202959"/>
                  </a:lnTo>
                  <a:lnTo>
                    <a:pt x="861124" y="202260"/>
                  </a:lnTo>
                  <a:lnTo>
                    <a:pt x="861124" y="202959"/>
                  </a:lnTo>
                  <a:lnTo>
                    <a:pt x="861124" y="202260"/>
                  </a:lnTo>
                  <a:lnTo>
                    <a:pt x="861175" y="202260"/>
                  </a:lnTo>
                  <a:lnTo>
                    <a:pt x="861175" y="200876"/>
                  </a:lnTo>
                  <a:lnTo>
                    <a:pt x="861175" y="204292"/>
                  </a:lnTo>
                  <a:lnTo>
                    <a:pt x="861175" y="203594"/>
                  </a:lnTo>
                  <a:lnTo>
                    <a:pt x="861276" y="203594"/>
                  </a:lnTo>
                  <a:lnTo>
                    <a:pt x="861276" y="202959"/>
                  </a:lnTo>
                  <a:lnTo>
                    <a:pt x="861276" y="204292"/>
                  </a:lnTo>
                  <a:lnTo>
                    <a:pt x="861276" y="203594"/>
                  </a:lnTo>
                  <a:lnTo>
                    <a:pt x="861327" y="203594"/>
                  </a:lnTo>
                  <a:lnTo>
                    <a:pt x="861327" y="202959"/>
                  </a:lnTo>
                  <a:lnTo>
                    <a:pt x="861327" y="203594"/>
                  </a:lnTo>
                  <a:lnTo>
                    <a:pt x="861378" y="203594"/>
                  </a:lnTo>
                  <a:lnTo>
                    <a:pt x="861378" y="204292"/>
                  </a:lnTo>
                  <a:lnTo>
                    <a:pt x="861378" y="203594"/>
                  </a:lnTo>
                  <a:lnTo>
                    <a:pt x="861378" y="204292"/>
                  </a:lnTo>
                  <a:lnTo>
                    <a:pt x="861378" y="203594"/>
                  </a:lnTo>
                  <a:lnTo>
                    <a:pt x="861429" y="203594"/>
                  </a:lnTo>
                  <a:lnTo>
                    <a:pt x="861429" y="204292"/>
                  </a:lnTo>
                  <a:lnTo>
                    <a:pt x="861429" y="203594"/>
                  </a:lnTo>
                  <a:lnTo>
                    <a:pt x="861429" y="204292"/>
                  </a:lnTo>
                  <a:lnTo>
                    <a:pt x="861429" y="203594"/>
                  </a:lnTo>
                  <a:lnTo>
                    <a:pt x="861429" y="204292"/>
                  </a:lnTo>
                  <a:lnTo>
                    <a:pt x="861429" y="203594"/>
                  </a:lnTo>
                  <a:lnTo>
                    <a:pt x="861429" y="204292"/>
                  </a:lnTo>
                  <a:lnTo>
                    <a:pt x="861429" y="203594"/>
                  </a:lnTo>
                  <a:lnTo>
                    <a:pt x="861429" y="204292"/>
                  </a:lnTo>
                  <a:lnTo>
                    <a:pt x="861518" y="204292"/>
                  </a:lnTo>
                  <a:lnTo>
                    <a:pt x="861518" y="203594"/>
                  </a:lnTo>
                  <a:lnTo>
                    <a:pt x="861518" y="204292"/>
                  </a:lnTo>
                  <a:lnTo>
                    <a:pt x="861518" y="203594"/>
                  </a:lnTo>
                  <a:lnTo>
                    <a:pt x="861568" y="203594"/>
                  </a:lnTo>
                  <a:lnTo>
                    <a:pt x="861568" y="202959"/>
                  </a:lnTo>
                  <a:lnTo>
                    <a:pt x="861568" y="203594"/>
                  </a:lnTo>
                  <a:lnTo>
                    <a:pt x="861568" y="202959"/>
                  </a:lnTo>
                  <a:lnTo>
                    <a:pt x="861568" y="203594"/>
                  </a:lnTo>
                  <a:lnTo>
                    <a:pt x="861568" y="202959"/>
                  </a:lnTo>
                  <a:lnTo>
                    <a:pt x="861568" y="204292"/>
                  </a:lnTo>
                  <a:lnTo>
                    <a:pt x="861619" y="204292"/>
                  </a:lnTo>
                  <a:lnTo>
                    <a:pt x="861619" y="202959"/>
                  </a:lnTo>
                  <a:lnTo>
                    <a:pt x="861619" y="207022"/>
                  </a:lnTo>
                  <a:lnTo>
                    <a:pt x="861670" y="207022"/>
                  </a:lnTo>
                  <a:lnTo>
                    <a:pt x="861670" y="203594"/>
                  </a:lnTo>
                  <a:lnTo>
                    <a:pt x="861670" y="207022"/>
                  </a:lnTo>
                  <a:lnTo>
                    <a:pt x="861772" y="206324"/>
                  </a:lnTo>
                  <a:lnTo>
                    <a:pt x="861772" y="204990"/>
                  </a:lnTo>
                  <a:lnTo>
                    <a:pt x="861772" y="206324"/>
                  </a:lnTo>
                  <a:lnTo>
                    <a:pt x="861772" y="204990"/>
                  </a:lnTo>
                  <a:lnTo>
                    <a:pt x="861822" y="204990"/>
                  </a:lnTo>
                  <a:lnTo>
                    <a:pt x="861822" y="206324"/>
                  </a:lnTo>
                  <a:lnTo>
                    <a:pt x="861822" y="204292"/>
                  </a:lnTo>
                  <a:lnTo>
                    <a:pt x="861822" y="204990"/>
                  </a:lnTo>
                  <a:lnTo>
                    <a:pt x="861873" y="204990"/>
                  </a:lnTo>
                  <a:lnTo>
                    <a:pt x="861873" y="204292"/>
                  </a:lnTo>
                  <a:lnTo>
                    <a:pt x="861873" y="204990"/>
                  </a:lnTo>
                  <a:lnTo>
                    <a:pt x="861873" y="204292"/>
                  </a:lnTo>
                  <a:lnTo>
                    <a:pt x="861873" y="204990"/>
                  </a:lnTo>
                  <a:lnTo>
                    <a:pt x="861873" y="204292"/>
                  </a:lnTo>
                  <a:lnTo>
                    <a:pt x="861975" y="204292"/>
                  </a:lnTo>
                  <a:lnTo>
                    <a:pt x="861975" y="204990"/>
                  </a:lnTo>
                  <a:lnTo>
                    <a:pt x="861975" y="204292"/>
                  </a:lnTo>
                  <a:lnTo>
                    <a:pt x="862013" y="204292"/>
                  </a:lnTo>
                  <a:lnTo>
                    <a:pt x="862013" y="202959"/>
                  </a:lnTo>
                  <a:lnTo>
                    <a:pt x="862064" y="202959"/>
                  </a:lnTo>
                  <a:lnTo>
                    <a:pt x="862064" y="202260"/>
                  </a:lnTo>
                  <a:lnTo>
                    <a:pt x="862064" y="202959"/>
                  </a:lnTo>
                  <a:lnTo>
                    <a:pt x="862064" y="202260"/>
                  </a:lnTo>
                  <a:lnTo>
                    <a:pt x="862064" y="204292"/>
                  </a:lnTo>
                  <a:lnTo>
                    <a:pt x="862115" y="204292"/>
                  </a:lnTo>
                  <a:lnTo>
                    <a:pt x="862115" y="202959"/>
                  </a:lnTo>
                  <a:lnTo>
                    <a:pt x="862115" y="206324"/>
                  </a:lnTo>
                  <a:lnTo>
                    <a:pt x="862115" y="204990"/>
                  </a:lnTo>
                  <a:lnTo>
                    <a:pt x="862216" y="204292"/>
                  </a:lnTo>
                  <a:lnTo>
                    <a:pt x="862216" y="203594"/>
                  </a:lnTo>
                  <a:lnTo>
                    <a:pt x="862216" y="204990"/>
                  </a:lnTo>
                  <a:lnTo>
                    <a:pt x="862216" y="204292"/>
                  </a:lnTo>
                  <a:lnTo>
                    <a:pt x="862216" y="206324"/>
                  </a:lnTo>
                  <a:lnTo>
                    <a:pt x="862216" y="204292"/>
                  </a:lnTo>
                  <a:lnTo>
                    <a:pt x="862267" y="204292"/>
                  </a:lnTo>
                  <a:lnTo>
                    <a:pt x="862267" y="206324"/>
                  </a:lnTo>
                  <a:lnTo>
                    <a:pt x="862267" y="204990"/>
                  </a:lnTo>
                  <a:lnTo>
                    <a:pt x="862318" y="204990"/>
                  </a:lnTo>
                  <a:lnTo>
                    <a:pt x="862318" y="206324"/>
                  </a:lnTo>
                  <a:lnTo>
                    <a:pt x="862318" y="204990"/>
                  </a:lnTo>
                  <a:lnTo>
                    <a:pt x="862318" y="206324"/>
                  </a:lnTo>
                  <a:lnTo>
                    <a:pt x="862318" y="204990"/>
                  </a:lnTo>
                  <a:lnTo>
                    <a:pt x="862318" y="206324"/>
                  </a:lnTo>
                  <a:lnTo>
                    <a:pt x="862318" y="204990"/>
                  </a:lnTo>
                  <a:lnTo>
                    <a:pt x="862318" y="206324"/>
                  </a:lnTo>
                  <a:lnTo>
                    <a:pt x="862419" y="206324"/>
                  </a:lnTo>
                  <a:lnTo>
                    <a:pt x="862419" y="204990"/>
                  </a:lnTo>
                  <a:lnTo>
                    <a:pt x="862419" y="206324"/>
                  </a:lnTo>
                  <a:lnTo>
                    <a:pt x="862419" y="204990"/>
                  </a:lnTo>
                  <a:lnTo>
                    <a:pt x="862419" y="206324"/>
                  </a:lnTo>
                  <a:lnTo>
                    <a:pt x="862419" y="204990"/>
                  </a:lnTo>
                  <a:lnTo>
                    <a:pt x="862470" y="204990"/>
                  </a:lnTo>
                  <a:lnTo>
                    <a:pt x="862470" y="204292"/>
                  </a:lnTo>
                  <a:lnTo>
                    <a:pt x="862470" y="204990"/>
                  </a:lnTo>
                  <a:lnTo>
                    <a:pt x="862470" y="203594"/>
                  </a:lnTo>
                  <a:lnTo>
                    <a:pt x="862521" y="203594"/>
                  </a:lnTo>
                  <a:lnTo>
                    <a:pt x="862521" y="202959"/>
                  </a:lnTo>
                  <a:lnTo>
                    <a:pt x="862521" y="203594"/>
                  </a:lnTo>
                  <a:lnTo>
                    <a:pt x="862521" y="202959"/>
                  </a:lnTo>
                  <a:lnTo>
                    <a:pt x="862521" y="203594"/>
                  </a:lnTo>
                  <a:lnTo>
                    <a:pt x="862521" y="202260"/>
                  </a:lnTo>
                  <a:lnTo>
                    <a:pt x="862559" y="202260"/>
                  </a:lnTo>
                  <a:lnTo>
                    <a:pt x="862559" y="200876"/>
                  </a:lnTo>
                  <a:lnTo>
                    <a:pt x="862559" y="203594"/>
                  </a:lnTo>
                  <a:lnTo>
                    <a:pt x="862559" y="202260"/>
                  </a:lnTo>
                  <a:lnTo>
                    <a:pt x="862661" y="202260"/>
                  </a:lnTo>
                  <a:lnTo>
                    <a:pt x="862661" y="204292"/>
                  </a:lnTo>
                  <a:lnTo>
                    <a:pt x="862661" y="203594"/>
                  </a:lnTo>
                  <a:lnTo>
                    <a:pt x="862712" y="203594"/>
                  </a:lnTo>
                  <a:lnTo>
                    <a:pt x="862712" y="204990"/>
                  </a:lnTo>
                  <a:lnTo>
                    <a:pt x="862712" y="204292"/>
                  </a:lnTo>
                  <a:lnTo>
                    <a:pt x="862762" y="204292"/>
                  </a:lnTo>
                  <a:lnTo>
                    <a:pt x="862762" y="206324"/>
                  </a:lnTo>
                  <a:lnTo>
                    <a:pt x="862762" y="204292"/>
                  </a:lnTo>
                  <a:lnTo>
                    <a:pt x="862864" y="204990"/>
                  </a:lnTo>
                  <a:lnTo>
                    <a:pt x="862864" y="206324"/>
                  </a:lnTo>
                  <a:lnTo>
                    <a:pt x="862864" y="204990"/>
                  </a:lnTo>
                  <a:lnTo>
                    <a:pt x="862864" y="206324"/>
                  </a:lnTo>
                  <a:lnTo>
                    <a:pt x="862915" y="206324"/>
                  </a:lnTo>
                  <a:lnTo>
                    <a:pt x="862915" y="204990"/>
                  </a:lnTo>
                  <a:lnTo>
                    <a:pt x="862915" y="206324"/>
                  </a:lnTo>
                  <a:lnTo>
                    <a:pt x="862915" y="204990"/>
                  </a:lnTo>
                  <a:lnTo>
                    <a:pt x="862966" y="204990"/>
                  </a:lnTo>
                  <a:lnTo>
                    <a:pt x="862966" y="204292"/>
                  </a:lnTo>
                  <a:lnTo>
                    <a:pt x="863016" y="204292"/>
                  </a:lnTo>
                  <a:lnTo>
                    <a:pt x="863016" y="202959"/>
                  </a:lnTo>
                  <a:lnTo>
                    <a:pt x="863016" y="203594"/>
                  </a:lnTo>
                  <a:lnTo>
                    <a:pt x="863016" y="202260"/>
                  </a:lnTo>
                  <a:lnTo>
                    <a:pt x="863105" y="202260"/>
                  </a:lnTo>
                  <a:lnTo>
                    <a:pt x="863105" y="202959"/>
                  </a:lnTo>
                  <a:lnTo>
                    <a:pt x="863105" y="202260"/>
                  </a:lnTo>
                  <a:lnTo>
                    <a:pt x="863156" y="202260"/>
                  </a:lnTo>
                  <a:lnTo>
                    <a:pt x="863156" y="204292"/>
                  </a:lnTo>
                  <a:lnTo>
                    <a:pt x="863156" y="202959"/>
                  </a:lnTo>
                  <a:lnTo>
                    <a:pt x="863156" y="203594"/>
                  </a:lnTo>
                  <a:lnTo>
                    <a:pt x="863207" y="203594"/>
                  </a:lnTo>
                  <a:lnTo>
                    <a:pt x="863207" y="204292"/>
                  </a:lnTo>
                  <a:lnTo>
                    <a:pt x="863207" y="203594"/>
                  </a:lnTo>
                  <a:lnTo>
                    <a:pt x="863258" y="204292"/>
                  </a:lnTo>
                  <a:lnTo>
                    <a:pt x="863258" y="203594"/>
                  </a:lnTo>
                  <a:lnTo>
                    <a:pt x="863258" y="204292"/>
                  </a:lnTo>
                  <a:lnTo>
                    <a:pt x="863359" y="204990"/>
                  </a:lnTo>
                  <a:lnTo>
                    <a:pt x="863359" y="204292"/>
                  </a:lnTo>
                  <a:lnTo>
                    <a:pt x="863359" y="204990"/>
                  </a:lnTo>
                  <a:lnTo>
                    <a:pt x="863359" y="204292"/>
                  </a:lnTo>
                  <a:lnTo>
                    <a:pt x="863359" y="204990"/>
                  </a:lnTo>
                  <a:lnTo>
                    <a:pt x="863410" y="204990"/>
                  </a:lnTo>
                  <a:lnTo>
                    <a:pt x="863410" y="206324"/>
                  </a:lnTo>
                  <a:lnTo>
                    <a:pt x="863410" y="204990"/>
                  </a:lnTo>
                  <a:lnTo>
                    <a:pt x="863410" y="206324"/>
                  </a:lnTo>
                  <a:lnTo>
                    <a:pt x="863410" y="204990"/>
                  </a:lnTo>
                  <a:lnTo>
                    <a:pt x="863410" y="206324"/>
                  </a:lnTo>
                  <a:lnTo>
                    <a:pt x="863410" y="204990"/>
                  </a:lnTo>
                  <a:lnTo>
                    <a:pt x="863461" y="204990"/>
                  </a:lnTo>
                  <a:lnTo>
                    <a:pt x="863461" y="204292"/>
                  </a:lnTo>
                  <a:lnTo>
                    <a:pt x="863461" y="204990"/>
                  </a:lnTo>
                  <a:lnTo>
                    <a:pt x="863461" y="203594"/>
                  </a:lnTo>
                  <a:lnTo>
                    <a:pt x="863562" y="203594"/>
                  </a:lnTo>
                  <a:lnTo>
                    <a:pt x="863562" y="200876"/>
                  </a:lnTo>
                  <a:lnTo>
                    <a:pt x="863601" y="202260"/>
                  </a:lnTo>
                  <a:lnTo>
                    <a:pt x="863601" y="200876"/>
                  </a:lnTo>
                  <a:lnTo>
                    <a:pt x="863601" y="202959"/>
                  </a:lnTo>
                  <a:lnTo>
                    <a:pt x="863601" y="200876"/>
                  </a:lnTo>
                  <a:lnTo>
                    <a:pt x="863601" y="202260"/>
                  </a:lnTo>
                  <a:lnTo>
                    <a:pt x="863601" y="200876"/>
                  </a:lnTo>
                  <a:lnTo>
                    <a:pt x="863601" y="202959"/>
                  </a:lnTo>
                  <a:lnTo>
                    <a:pt x="863651" y="203594"/>
                  </a:lnTo>
                  <a:lnTo>
                    <a:pt x="863651" y="202959"/>
                  </a:lnTo>
                  <a:lnTo>
                    <a:pt x="863651" y="204292"/>
                  </a:lnTo>
                  <a:lnTo>
                    <a:pt x="863702" y="204292"/>
                  </a:lnTo>
                  <a:lnTo>
                    <a:pt x="863702" y="202959"/>
                  </a:lnTo>
                  <a:lnTo>
                    <a:pt x="863702" y="204292"/>
                  </a:lnTo>
                  <a:lnTo>
                    <a:pt x="863804" y="204292"/>
                  </a:lnTo>
                  <a:lnTo>
                    <a:pt x="863804" y="203594"/>
                  </a:lnTo>
                  <a:lnTo>
                    <a:pt x="863804" y="204292"/>
                  </a:lnTo>
                  <a:lnTo>
                    <a:pt x="863804" y="203594"/>
                  </a:lnTo>
                  <a:lnTo>
                    <a:pt x="863804" y="204292"/>
                  </a:lnTo>
                  <a:lnTo>
                    <a:pt x="863804" y="203594"/>
                  </a:lnTo>
                  <a:lnTo>
                    <a:pt x="863804" y="204292"/>
                  </a:lnTo>
                  <a:lnTo>
                    <a:pt x="863804" y="203594"/>
                  </a:lnTo>
                  <a:lnTo>
                    <a:pt x="863804" y="204292"/>
                  </a:lnTo>
                  <a:lnTo>
                    <a:pt x="863855" y="204292"/>
                  </a:lnTo>
                  <a:lnTo>
                    <a:pt x="863855" y="203594"/>
                  </a:lnTo>
                  <a:lnTo>
                    <a:pt x="863855" y="204990"/>
                  </a:lnTo>
                  <a:lnTo>
                    <a:pt x="863905" y="204990"/>
                  </a:lnTo>
                  <a:lnTo>
                    <a:pt x="863905" y="204292"/>
                  </a:lnTo>
                  <a:lnTo>
                    <a:pt x="863905" y="204990"/>
                  </a:lnTo>
                  <a:lnTo>
                    <a:pt x="863905" y="204292"/>
                  </a:lnTo>
                  <a:lnTo>
                    <a:pt x="864007" y="204292"/>
                  </a:lnTo>
                  <a:lnTo>
                    <a:pt x="864007" y="203594"/>
                  </a:lnTo>
                  <a:lnTo>
                    <a:pt x="864058" y="203594"/>
                  </a:lnTo>
                  <a:lnTo>
                    <a:pt x="864058" y="200876"/>
                  </a:lnTo>
                  <a:lnTo>
                    <a:pt x="864108" y="200876"/>
                  </a:lnTo>
                  <a:lnTo>
                    <a:pt x="864108" y="200228"/>
                  </a:lnTo>
                  <a:lnTo>
                    <a:pt x="864108" y="202260"/>
                  </a:lnTo>
                  <a:lnTo>
                    <a:pt x="864108" y="200228"/>
                  </a:lnTo>
                  <a:lnTo>
                    <a:pt x="864108" y="200876"/>
                  </a:lnTo>
                  <a:lnTo>
                    <a:pt x="864147" y="202260"/>
                  </a:lnTo>
                  <a:lnTo>
                    <a:pt x="864147" y="203594"/>
                  </a:lnTo>
                  <a:lnTo>
                    <a:pt x="864147" y="200876"/>
                  </a:lnTo>
                  <a:lnTo>
                    <a:pt x="864147" y="202959"/>
                  </a:lnTo>
                  <a:lnTo>
                    <a:pt x="864248" y="202959"/>
                  </a:lnTo>
                  <a:lnTo>
                    <a:pt x="864248" y="203594"/>
                  </a:lnTo>
                  <a:lnTo>
                    <a:pt x="864248" y="202959"/>
                  </a:lnTo>
                  <a:lnTo>
                    <a:pt x="864248" y="203594"/>
                  </a:lnTo>
                  <a:lnTo>
                    <a:pt x="864248" y="202959"/>
                  </a:lnTo>
                  <a:lnTo>
                    <a:pt x="864248" y="203594"/>
                  </a:lnTo>
                  <a:lnTo>
                    <a:pt x="864248" y="202260"/>
                  </a:lnTo>
                  <a:lnTo>
                    <a:pt x="864248" y="202959"/>
                  </a:lnTo>
                  <a:lnTo>
                    <a:pt x="864299" y="202959"/>
                  </a:lnTo>
                  <a:lnTo>
                    <a:pt x="864299" y="203594"/>
                  </a:lnTo>
                  <a:lnTo>
                    <a:pt x="864299" y="202959"/>
                  </a:lnTo>
                  <a:lnTo>
                    <a:pt x="864350" y="203594"/>
                  </a:lnTo>
                  <a:lnTo>
                    <a:pt x="864350" y="204292"/>
                  </a:lnTo>
                  <a:lnTo>
                    <a:pt x="864451" y="204292"/>
                  </a:lnTo>
                  <a:lnTo>
                    <a:pt x="864451" y="203594"/>
                  </a:lnTo>
                  <a:lnTo>
                    <a:pt x="864451" y="204292"/>
                  </a:lnTo>
                  <a:lnTo>
                    <a:pt x="864451" y="203594"/>
                  </a:lnTo>
                  <a:lnTo>
                    <a:pt x="864451" y="204292"/>
                  </a:lnTo>
                  <a:lnTo>
                    <a:pt x="864451" y="203594"/>
                  </a:lnTo>
                  <a:lnTo>
                    <a:pt x="864502" y="204292"/>
                  </a:lnTo>
                  <a:lnTo>
                    <a:pt x="864502" y="203594"/>
                  </a:lnTo>
                  <a:lnTo>
                    <a:pt x="864553" y="203594"/>
                  </a:lnTo>
                  <a:lnTo>
                    <a:pt x="864553" y="202260"/>
                  </a:lnTo>
                  <a:lnTo>
                    <a:pt x="864553" y="202959"/>
                  </a:lnTo>
                  <a:lnTo>
                    <a:pt x="864553" y="200876"/>
                  </a:lnTo>
                  <a:lnTo>
                    <a:pt x="864604" y="200876"/>
                  </a:lnTo>
                  <a:lnTo>
                    <a:pt x="864604" y="202959"/>
                  </a:lnTo>
                  <a:lnTo>
                    <a:pt x="864604" y="200228"/>
                  </a:lnTo>
                  <a:lnTo>
                    <a:pt x="864604" y="202959"/>
                  </a:lnTo>
                  <a:lnTo>
                    <a:pt x="864693" y="203594"/>
                  </a:lnTo>
                  <a:lnTo>
                    <a:pt x="864693" y="204292"/>
                  </a:lnTo>
                  <a:lnTo>
                    <a:pt x="864693" y="202260"/>
                  </a:lnTo>
                  <a:lnTo>
                    <a:pt x="864693" y="203594"/>
                  </a:lnTo>
                  <a:lnTo>
                    <a:pt x="864743" y="203594"/>
                  </a:lnTo>
                  <a:lnTo>
                    <a:pt x="864743" y="204292"/>
                  </a:lnTo>
                  <a:lnTo>
                    <a:pt x="864743" y="203594"/>
                  </a:lnTo>
                  <a:lnTo>
                    <a:pt x="864743" y="204292"/>
                  </a:lnTo>
                  <a:lnTo>
                    <a:pt x="864743" y="202959"/>
                  </a:lnTo>
                  <a:lnTo>
                    <a:pt x="864743" y="203594"/>
                  </a:lnTo>
                  <a:lnTo>
                    <a:pt x="864794" y="203594"/>
                  </a:lnTo>
                  <a:lnTo>
                    <a:pt x="864794" y="204292"/>
                  </a:lnTo>
                  <a:lnTo>
                    <a:pt x="864794" y="203594"/>
                  </a:lnTo>
                  <a:lnTo>
                    <a:pt x="864845" y="203594"/>
                  </a:lnTo>
                  <a:lnTo>
                    <a:pt x="864845" y="204292"/>
                  </a:lnTo>
                  <a:lnTo>
                    <a:pt x="864845" y="203594"/>
                  </a:lnTo>
                  <a:lnTo>
                    <a:pt x="864845" y="204292"/>
                  </a:lnTo>
                  <a:lnTo>
                    <a:pt x="864845" y="203594"/>
                  </a:lnTo>
                  <a:lnTo>
                    <a:pt x="864845" y="204292"/>
                  </a:lnTo>
                  <a:lnTo>
                    <a:pt x="864947" y="204292"/>
                  </a:lnTo>
                  <a:lnTo>
                    <a:pt x="864947" y="204990"/>
                  </a:lnTo>
                  <a:lnTo>
                    <a:pt x="864947" y="204292"/>
                  </a:lnTo>
                  <a:lnTo>
                    <a:pt x="864947" y="204990"/>
                  </a:lnTo>
                  <a:lnTo>
                    <a:pt x="864947" y="204292"/>
                  </a:lnTo>
                  <a:lnTo>
                    <a:pt x="864947" y="204990"/>
                  </a:lnTo>
                  <a:lnTo>
                    <a:pt x="864947" y="204292"/>
                  </a:lnTo>
                  <a:lnTo>
                    <a:pt x="864997" y="204292"/>
                  </a:lnTo>
                  <a:lnTo>
                    <a:pt x="864997" y="203594"/>
                  </a:lnTo>
                  <a:lnTo>
                    <a:pt x="865048" y="203594"/>
                  </a:lnTo>
                  <a:lnTo>
                    <a:pt x="865048" y="202260"/>
                  </a:lnTo>
                  <a:lnTo>
                    <a:pt x="865048" y="203594"/>
                  </a:lnTo>
                  <a:lnTo>
                    <a:pt x="865150" y="204292"/>
                  </a:lnTo>
                  <a:lnTo>
                    <a:pt x="865150" y="202959"/>
                  </a:lnTo>
                  <a:lnTo>
                    <a:pt x="865150" y="204990"/>
                  </a:lnTo>
                  <a:lnTo>
                    <a:pt x="865188" y="204990"/>
                  </a:lnTo>
                  <a:lnTo>
                    <a:pt x="865188" y="203594"/>
                  </a:lnTo>
                  <a:lnTo>
                    <a:pt x="865188" y="204990"/>
                  </a:lnTo>
                  <a:lnTo>
                    <a:pt x="865239" y="204292"/>
                  </a:lnTo>
                  <a:lnTo>
                    <a:pt x="865239" y="203594"/>
                  </a:lnTo>
                  <a:lnTo>
                    <a:pt x="865239" y="204292"/>
                  </a:lnTo>
                  <a:lnTo>
                    <a:pt x="865290" y="204292"/>
                  </a:lnTo>
                  <a:lnTo>
                    <a:pt x="865290" y="204990"/>
                  </a:lnTo>
                  <a:lnTo>
                    <a:pt x="865290" y="204292"/>
                  </a:lnTo>
                  <a:lnTo>
                    <a:pt x="865290" y="204990"/>
                  </a:lnTo>
                  <a:lnTo>
                    <a:pt x="865290" y="204292"/>
                  </a:lnTo>
                  <a:lnTo>
                    <a:pt x="865391" y="204990"/>
                  </a:lnTo>
                  <a:lnTo>
                    <a:pt x="865442" y="204990"/>
                  </a:lnTo>
                  <a:lnTo>
                    <a:pt x="865442" y="204292"/>
                  </a:lnTo>
                  <a:lnTo>
                    <a:pt x="865442" y="204990"/>
                  </a:lnTo>
                  <a:lnTo>
                    <a:pt x="865442" y="204292"/>
                  </a:lnTo>
                  <a:lnTo>
                    <a:pt x="865442" y="204990"/>
                  </a:lnTo>
                  <a:lnTo>
                    <a:pt x="865442" y="204292"/>
                  </a:lnTo>
                  <a:lnTo>
                    <a:pt x="865442" y="204990"/>
                  </a:lnTo>
                  <a:lnTo>
                    <a:pt x="865442" y="204292"/>
                  </a:lnTo>
                  <a:lnTo>
                    <a:pt x="865442" y="204990"/>
                  </a:lnTo>
                  <a:lnTo>
                    <a:pt x="865442" y="204292"/>
                  </a:lnTo>
                  <a:lnTo>
                    <a:pt x="865493" y="204292"/>
                  </a:lnTo>
                  <a:lnTo>
                    <a:pt x="865493" y="203594"/>
                  </a:lnTo>
                  <a:lnTo>
                    <a:pt x="865493" y="204292"/>
                  </a:lnTo>
                  <a:lnTo>
                    <a:pt x="865493" y="202959"/>
                  </a:lnTo>
                  <a:lnTo>
                    <a:pt x="865493" y="203594"/>
                  </a:lnTo>
                  <a:lnTo>
                    <a:pt x="865493" y="202959"/>
                  </a:lnTo>
                  <a:lnTo>
                    <a:pt x="865594" y="202959"/>
                  </a:lnTo>
                  <a:lnTo>
                    <a:pt x="865594" y="204990"/>
                  </a:lnTo>
                  <a:lnTo>
                    <a:pt x="865594" y="203594"/>
                  </a:lnTo>
                  <a:lnTo>
                    <a:pt x="865645" y="203594"/>
                  </a:lnTo>
                  <a:lnTo>
                    <a:pt x="865645" y="202959"/>
                  </a:lnTo>
                  <a:lnTo>
                    <a:pt x="865645" y="206324"/>
                  </a:lnTo>
                  <a:lnTo>
                    <a:pt x="865645" y="204990"/>
                  </a:lnTo>
                  <a:lnTo>
                    <a:pt x="865696" y="204990"/>
                  </a:lnTo>
                  <a:lnTo>
                    <a:pt x="865696" y="206324"/>
                  </a:lnTo>
                  <a:lnTo>
                    <a:pt x="865696" y="204990"/>
                  </a:lnTo>
                  <a:lnTo>
                    <a:pt x="865734" y="204990"/>
                  </a:lnTo>
                  <a:lnTo>
                    <a:pt x="865734" y="206324"/>
                  </a:lnTo>
                  <a:lnTo>
                    <a:pt x="865734" y="204990"/>
                  </a:lnTo>
                  <a:lnTo>
                    <a:pt x="865734" y="206324"/>
                  </a:lnTo>
                  <a:lnTo>
                    <a:pt x="865836" y="206324"/>
                  </a:lnTo>
                  <a:lnTo>
                    <a:pt x="865836" y="207022"/>
                  </a:lnTo>
                  <a:lnTo>
                    <a:pt x="865836" y="204990"/>
                  </a:lnTo>
                  <a:lnTo>
                    <a:pt x="865836" y="206324"/>
                  </a:lnTo>
                  <a:lnTo>
                    <a:pt x="865836" y="204990"/>
                  </a:lnTo>
                  <a:lnTo>
                    <a:pt x="865836" y="206324"/>
                  </a:lnTo>
                  <a:lnTo>
                    <a:pt x="865887" y="206324"/>
                  </a:lnTo>
                  <a:lnTo>
                    <a:pt x="865887" y="204990"/>
                  </a:lnTo>
                  <a:lnTo>
                    <a:pt x="865887" y="206324"/>
                  </a:lnTo>
                  <a:lnTo>
                    <a:pt x="865887" y="204990"/>
                  </a:lnTo>
                  <a:lnTo>
                    <a:pt x="865887" y="206324"/>
                  </a:lnTo>
                  <a:lnTo>
                    <a:pt x="865887" y="204990"/>
                  </a:lnTo>
                  <a:lnTo>
                    <a:pt x="865887" y="206324"/>
                  </a:lnTo>
                  <a:lnTo>
                    <a:pt x="865887" y="204990"/>
                  </a:lnTo>
                  <a:lnTo>
                    <a:pt x="865937" y="204990"/>
                  </a:lnTo>
                  <a:lnTo>
                    <a:pt x="865937" y="204292"/>
                  </a:lnTo>
                  <a:lnTo>
                    <a:pt x="865937" y="204990"/>
                  </a:lnTo>
                  <a:lnTo>
                    <a:pt x="865937" y="204292"/>
                  </a:lnTo>
                  <a:lnTo>
                    <a:pt x="866039" y="204292"/>
                  </a:lnTo>
                  <a:lnTo>
                    <a:pt x="866039" y="202959"/>
                  </a:lnTo>
                  <a:lnTo>
                    <a:pt x="866039" y="203594"/>
                  </a:lnTo>
                  <a:lnTo>
                    <a:pt x="866039" y="202959"/>
                  </a:lnTo>
                  <a:lnTo>
                    <a:pt x="866039" y="203594"/>
                  </a:lnTo>
                  <a:lnTo>
                    <a:pt x="866039" y="202959"/>
                  </a:lnTo>
                  <a:lnTo>
                    <a:pt x="866039" y="203594"/>
                  </a:lnTo>
                  <a:lnTo>
                    <a:pt x="866090" y="203594"/>
                  </a:lnTo>
                  <a:lnTo>
                    <a:pt x="866090" y="204990"/>
                  </a:lnTo>
                  <a:lnTo>
                    <a:pt x="866090" y="202959"/>
                  </a:lnTo>
                  <a:lnTo>
                    <a:pt x="866090" y="204990"/>
                  </a:lnTo>
                  <a:lnTo>
                    <a:pt x="866141" y="206324"/>
                  </a:lnTo>
                  <a:lnTo>
                    <a:pt x="866141" y="207022"/>
                  </a:lnTo>
                  <a:lnTo>
                    <a:pt x="866141" y="204292"/>
                  </a:lnTo>
                  <a:lnTo>
                    <a:pt x="866141" y="206324"/>
                  </a:lnTo>
                  <a:lnTo>
                    <a:pt x="866191" y="206324"/>
                  </a:lnTo>
                  <a:lnTo>
                    <a:pt x="866191" y="204990"/>
                  </a:lnTo>
                  <a:lnTo>
                    <a:pt x="866191" y="206324"/>
                  </a:lnTo>
                  <a:lnTo>
                    <a:pt x="866280" y="206324"/>
                  </a:lnTo>
                  <a:lnTo>
                    <a:pt x="866280" y="204990"/>
                  </a:lnTo>
                  <a:lnTo>
                    <a:pt x="866280" y="206324"/>
                  </a:lnTo>
                  <a:lnTo>
                    <a:pt x="866280" y="204990"/>
                  </a:lnTo>
                  <a:lnTo>
                    <a:pt x="866280" y="207022"/>
                  </a:lnTo>
                  <a:lnTo>
                    <a:pt x="866331" y="207022"/>
                  </a:lnTo>
                  <a:lnTo>
                    <a:pt x="866331" y="206324"/>
                  </a:lnTo>
                  <a:lnTo>
                    <a:pt x="866331" y="207022"/>
                  </a:lnTo>
                  <a:lnTo>
                    <a:pt x="866331" y="206324"/>
                  </a:lnTo>
                  <a:lnTo>
                    <a:pt x="866331" y="207022"/>
                  </a:lnTo>
                  <a:lnTo>
                    <a:pt x="866331" y="206324"/>
                  </a:lnTo>
                  <a:lnTo>
                    <a:pt x="866331" y="207022"/>
                  </a:lnTo>
                  <a:lnTo>
                    <a:pt x="866382" y="206324"/>
                  </a:lnTo>
                  <a:lnTo>
                    <a:pt x="866433" y="206324"/>
                  </a:lnTo>
                  <a:lnTo>
                    <a:pt x="866433" y="204990"/>
                  </a:lnTo>
                  <a:lnTo>
                    <a:pt x="866433" y="206324"/>
                  </a:lnTo>
                  <a:lnTo>
                    <a:pt x="866433" y="203594"/>
                  </a:lnTo>
                  <a:lnTo>
                    <a:pt x="866433" y="204292"/>
                  </a:lnTo>
                  <a:lnTo>
                    <a:pt x="866534" y="204292"/>
                  </a:lnTo>
                  <a:lnTo>
                    <a:pt x="866534" y="202260"/>
                  </a:lnTo>
                  <a:lnTo>
                    <a:pt x="866585" y="202260"/>
                  </a:lnTo>
                  <a:lnTo>
                    <a:pt x="866585" y="203594"/>
                  </a:lnTo>
                  <a:lnTo>
                    <a:pt x="866585" y="202260"/>
                  </a:lnTo>
                  <a:lnTo>
                    <a:pt x="866585" y="202959"/>
                  </a:lnTo>
                  <a:lnTo>
                    <a:pt x="866636" y="202959"/>
                  </a:lnTo>
                  <a:lnTo>
                    <a:pt x="866636" y="204292"/>
                  </a:lnTo>
                  <a:lnTo>
                    <a:pt x="866636" y="203594"/>
                  </a:lnTo>
                  <a:lnTo>
                    <a:pt x="866636" y="204292"/>
                  </a:lnTo>
                  <a:lnTo>
                    <a:pt x="866737" y="204990"/>
                  </a:lnTo>
                  <a:lnTo>
                    <a:pt x="866737" y="204292"/>
                  </a:lnTo>
                  <a:lnTo>
                    <a:pt x="866737" y="204990"/>
                  </a:lnTo>
                  <a:lnTo>
                    <a:pt x="866737" y="204292"/>
                  </a:lnTo>
                  <a:lnTo>
                    <a:pt x="866737" y="204990"/>
                  </a:lnTo>
                  <a:lnTo>
                    <a:pt x="866776" y="204990"/>
                  </a:lnTo>
                  <a:lnTo>
                    <a:pt x="866776" y="206324"/>
                  </a:lnTo>
                  <a:lnTo>
                    <a:pt x="866776" y="204990"/>
                  </a:lnTo>
                  <a:lnTo>
                    <a:pt x="866776" y="206324"/>
                  </a:lnTo>
                  <a:lnTo>
                    <a:pt x="866826" y="206324"/>
                  </a:lnTo>
                  <a:lnTo>
                    <a:pt x="866826" y="207022"/>
                  </a:lnTo>
                  <a:lnTo>
                    <a:pt x="866826" y="206324"/>
                  </a:lnTo>
                  <a:lnTo>
                    <a:pt x="866979" y="206324"/>
                  </a:lnTo>
                  <a:lnTo>
                    <a:pt x="866979" y="204990"/>
                  </a:lnTo>
                  <a:lnTo>
                    <a:pt x="866979" y="206324"/>
                  </a:lnTo>
                  <a:lnTo>
                    <a:pt x="866979" y="204292"/>
                  </a:lnTo>
                  <a:lnTo>
                    <a:pt x="866979" y="204990"/>
                  </a:lnTo>
                  <a:lnTo>
                    <a:pt x="866979" y="204292"/>
                  </a:lnTo>
                  <a:lnTo>
                    <a:pt x="866979" y="204990"/>
                  </a:lnTo>
                  <a:lnTo>
                    <a:pt x="866979" y="204292"/>
                  </a:lnTo>
                  <a:lnTo>
                    <a:pt x="867030" y="204292"/>
                  </a:lnTo>
                  <a:lnTo>
                    <a:pt x="867030" y="203594"/>
                  </a:lnTo>
                  <a:lnTo>
                    <a:pt x="867030" y="204292"/>
                  </a:lnTo>
                  <a:lnTo>
                    <a:pt x="867030" y="202959"/>
                  </a:lnTo>
                  <a:lnTo>
                    <a:pt x="867030" y="203594"/>
                  </a:lnTo>
                  <a:lnTo>
                    <a:pt x="867030" y="202959"/>
                  </a:lnTo>
                  <a:lnTo>
                    <a:pt x="867030" y="203594"/>
                  </a:lnTo>
                  <a:lnTo>
                    <a:pt x="867080" y="203594"/>
                  </a:lnTo>
                  <a:lnTo>
                    <a:pt x="867080" y="202260"/>
                  </a:lnTo>
                  <a:lnTo>
                    <a:pt x="867080" y="203594"/>
                  </a:lnTo>
                  <a:lnTo>
                    <a:pt x="867182" y="203594"/>
                  </a:lnTo>
                  <a:lnTo>
                    <a:pt x="867182" y="202959"/>
                  </a:lnTo>
                  <a:lnTo>
                    <a:pt x="867182" y="203594"/>
                  </a:lnTo>
                  <a:lnTo>
                    <a:pt x="867233" y="203594"/>
                  </a:lnTo>
                  <a:lnTo>
                    <a:pt x="867233" y="202959"/>
                  </a:lnTo>
                  <a:lnTo>
                    <a:pt x="867233" y="203594"/>
                  </a:lnTo>
                  <a:lnTo>
                    <a:pt x="867283" y="203594"/>
                  </a:lnTo>
                  <a:lnTo>
                    <a:pt x="867283" y="204990"/>
                  </a:lnTo>
                  <a:lnTo>
                    <a:pt x="867322" y="204990"/>
                  </a:lnTo>
                  <a:lnTo>
                    <a:pt x="867322" y="204292"/>
                  </a:lnTo>
                  <a:lnTo>
                    <a:pt x="867322" y="206324"/>
                  </a:lnTo>
                  <a:lnTo>
                    <a:pt x="867322" y="204990"/>
                  </a:lnTo>
                  <a:lnTo>
                    <a:pt x="867423" y="204990"/>
                  </a:lnTo>
                  <a:lnTo>
                    <a:pt x="867423" y="204292"/>
                  </a:lnTo>
                  <a:lnTo>
                    <a:pt x="867423" y="204990"/>
                  </a:lnTo>
                  <a:lnTo>
                    <a:pt x="867423" y="204292"/>
                  </a:lnTo>
                  <a:lnTo>
                    <a:pt x="867423" y="204990"/>
                  </a:lnTo>
                  <a:lnTo>
                    <a:pt x="867474" y="204990"/>
                  </a:lnTo>
                  <a:lnTo>
                    <a:pt x="867474" y="203594"/>
                  </a:lnTo>
                  <a:lnTo>
                    <a:pt x="867474" y="204292"/>
                  </a:lnTo>
                  <a:lnTo>
                    <a:pt x="867474" y="203594"/>
                  </a:lnTo>
                  <a:lnTo>
                    <a:pt x="867525" y="203594"/>
                  </a:lnTo>
                  <a:lnTo>
                    <a:pt x="867525" y="204990"/>
                  </a:lnTo>
                  <a:lnTo>
                    <a:pt x="867525" y="204292"/>
                  </a:lnTo>
                  <a:lnTo>
                    <a:pt x="867626" y="204292"/>
                  </a:lnTo>
                  <a:lnTo>
                    <a:pt x="867626" y="203594"/>
                  </a:lnTo>
                  <a:lnTo>
                    <a:pt x="867626" y="206324"/>
                  </a:lnTo>
                  <a:lnTo>
                    <a:pt x="867626" y="204292"/>
                  </a:lnTo>
                  <a:lnTo>
                    <a:pt x="867677" y="204292"/>
                  </a:lnTo>
                  <a:lnTo>
                    <a:pt x="867677" y="206324"/>
                  </a:lnTo>
                  <a:lnTo>
                    <a:pt x="867677" y="204990"/>
                  </a:lnTo>
                  <a:lnTo>
                    <a:pt x="867728" y="204990"/>
                  </a:lnTo>
                  <a:lnTo>
                    <a:pt x="867728" y="206324"/>
                  </a:lnTo>
                  <a:lnTo>
                    <a:pt x="867728" y="204990"/>
                  </a:lnTo>
                  <a:lnTo>
                    <a:pt x="867728" y="206324"/>
                  </a:lnTo>
                  <a:lnTo>
                    <a:pt x="867728" y="204990"/>
                  </a:lnTo>
                  <a:lnTo>
                    <a:pt x="867728" y="206324"/>
                  </a:lnTo>
                  <a:lnTo>
                    <a:pt x="867728" y="204990"/>
                  </a:lnTo>
                  <a:lnTo>
                    <a:pt x="867728" y="206324"/>
                  </a:lnTo>
                  <a:lnTo>
                    <a:pt x="867728" y="204990"/>
                  </a:lnTo>
                  <a:lnTo>
                    <a:pt x="867779" y="204990"/>
                  </a:lnTo>
                  <a:lnTo>
                    <a:pt x="867779" y="206324"/>
                  </a:lnTo>
                  <a:lnTo>
                    <a:pt x="867779" y="204990"/>
                  </a:lnTo>
                  <a:lnTo>
                    <a:pt x="867779" y="206324"/>
                  </a:lnTo>
                  <a:lnTo>
                    <a:pt x="867779" y="204990"/>
                  </a:lnTo>
                  <a:lnTo>
                    <a:pt x="867779" y="206324"/>
                  </a:lnTo>
                  <a:lnTo>
                    <a:pt x="867779" y="204990"/>
                  </a:lnTo>
                  <a:lnTo>
                    <a:pt x="867779" y="206324"/>
                  </a:lnTo>
                  <a:lnTo>
                    <a:pt x="867779" y="204990"/>
                  </a:lnTo>
                  <a:lnTo>
                    <a:pt x="867779" y="206324"/>
                  </a:lnTo>
                  <a:lnTo>
                    <a:pt x="867779" y="204990"/>
                  </a:lnTo>
                  <a:lnTo>
                    <a:pt x="867868" y="204990"/>
                  </a:lnTo>
                  <a:lnTo>
                    <a:pt x="867868" y="206324"/>
                  </a:lnTo>
                  <a:lnTo>
                    <a:pt x="867868" y="204990"/>
                  </a:lnTo>
                  <a:lnTo>
                    <a:pt x="867868" y="206324"/>
                  </a:lnTo>
                  <a:lnTo>
                    <a:pt x="867868" y="204990"/>
                  </a:lnTo>
                  <a:lnTo>
                    <a:pt x="867868" y="206324"/>
                  </a:lnTo>
                  <a:lnTo>
                    <a:pt x="867868" y="204292"/>
                  </a:lnTo>
                  <a:lnTo>
                    <a:pt x="867868" y="204990"/>
                  </a:lnTo>
                  <a:lnTo>
                    <a:pt x="867918" y="204990"/>
                  </a:lnTo>
                  <a:lnTo>
                    <a:pt x="867918" y="204292"/>
                  </a:lnTo>
                  <a:lnTo>
                    <a:pt x="867918" y="204990"/>
                  </a:lnTo>
                  <a:lnTo>
                    <a:pt x="867918" y="204292"/>
                  </a:lnTo>
                  <a:lnTo>
                    <a:pt x="867969" y="204292"/>
                  </a:lnTo>
                  <a:lnTo>
                    <a:pt x="867969" y="203594"/>
                  </a:lnTo>
                  <a:lnTo>
                    <a:pt x="867969" y="204292"/>
                  </a:lnTo>
                  <a:lnTo>
                    <a:pt x="867969" y="202959"/>
                  </a:lnTo>
                  <a:lnTo>
                    <a:pt x="867969" y="203594"/>
                  </a:lnTo>
                  <a:lnTo>
                    <a:pt x="867969" y="202959"/>
                  </a:lnTo>
                  <a:lnTo>
                    <a:pt x="867969" y="203594"/>
                  </a:lnTo>
                  <a:lnTo>
                    <a:pt x="867969" y="202959"/>
                  </a:lnTo>
                  <a:lnTo>
                    <a:pt x="868020" y="202959"/>
                  </a:lnTo>
                  <a:lnTo>
                    <a:pt x="868020" y="206324"/>
                  </a:lnTo>
                  <a:lnTo>
                    <a:pt x="868020" y="203594"/>
                  </a:lnTo>
                  <a:lnTo>
                    <a:pt x="868122" y="203594"/>
                  </a:lnTo>
                  <a:lnTo>
                    <a:pt x="868122" y="206324"/>
                  </a:lnTo>
                  <a:lnTo>
                    <a:pt x="868122" y="204292"/>
                  </a:lnTo>
                  <a:lnTo>
                    <a:pt x="868122" y="204990"/>
                  </a:lnTo>
                  <a:lnTo>
                    <a:pt x="868172" y="204990"/>
                  </a:lnTo>
                  <a:lnTo>
                    <a:pt x="868172" y="206324"/>
                  </a:lnTo>
                  <a:lnTo>
                    <a:pt x="868172" y="204292"/>
                  </a:lnTo>
                  <a:lnTo>
                    <a:pt x="868172" y="204990"/>
                  </a:lnTo>
                  <a:lnTo>
                    <a:pt x="868223" y="204990"/>
                  </a:lnTo>
                  <a:lnTo>
                    <a:pt x="868223" y="206324"/>
                  </a:lnTo>
                  <a:lnTo>
                    <a:pt x="868223" y="204292"/>
                  </a:lnTo>
                  <a:lnTo>
                    <a:pt x="868325" y="204990"/>
                  </a:lnTo>
                  <a:lnTo>
                    <a:pt x="868325" y="206324"/>
                  </a:lnTo>
                  <a:lnTo>
                    <a:pt x="868325" y="204990"/>
                  </a:lnTo>
                  <a:lnTo>
                    <a:pt x="868325" y="206324"/>
                  </a:lnTo>
                  <a:lnTo>
                    <a:pt x="868363" y="204990"/>
                  </a:lnTo>
                  <a:lnTo>
                    <a:pt x="868363" y="203594"/>
                  </a:lnTo>
                  <a:lnTo>
                    <a:pt x="868363" y="204292"/>
                  </a:lnTo>
                  <a:lnTo>
                    <a:pt x="868414" y="204292"/>
                  </a:lnTo>
                  <a:lnTo>
                    <a:pt x="868414" y="202959"/>
                  </a:lnTo>
                  <a:lnTo>
                    <a:pt x="868465" y="202959"/>
                  </a:lnTo>
                  <a:lnTo>
                    <a:pt x="868465" y="200876"/>
                  </a:lnTo>
                  <a:lnTo>
                    <a:pt x="868465" y="202260"/>
                  </a:lnTo>
                  <a:lnTo>
                    <a:pt x="868465" y="200876"/>
                  </a:lnTo>
                  <a:lnTo>
                    <a:pt x="868566" y="200876"/>
                  </a:lnTo>
                  <a:lnTo>
                    <a:pt x="868566" y="203594"/>
                  </a:lnTo>
                  <a:lnTo>
                    <a:pt x="868566" y="200876"/>
                  </a:lnTo>
                  <a:lnTo>
                    <a:pt x="868566" y="202959"/>
                  </a:lnTo>
                  <a:lnTo>
                    <a:pt x="868617" y="202959"/>
                  </a:lnTo>
                  <a:lnTo>
                    <a:pt x="868617" y="204292"/>
                  </a:lnTo>
                  <a:lnTo>
                    <a:pt x="868617" y="202959"/>
                  </a:lnTo>
                  <a:lnTo>
                    <a:pt x="868617" y="204292"/>
                  </a:lnTo>
                  <a:lnTo>
                    <a:pt x="868769" y="204292"/>
                  </a:lnTo>
                  <a:lnTo>
                    <a:pt x="868769" y="204990"/>
                  </a:lnTo>
                  <a:lnTo>
                    <a:pt x="868769" y="204292"/>
                  </a:lnTo>
                  <a:lnTo>
                    <a:pt x="868769" y="206324"/>
                  </a:lnTo>
                  <a:lnTo>
                    <a:pt x="868769" y="204990"/>
                  </a:lnTo>
                  <a:lnTo>
                    <a:pt x="868820" y="204990"/>
                  </a:lnTo>
                  <a:lnTo>
                    <a:pt x="868820" y="206324"/>
                  </a:lnTo>
                  <a:lnTo>
                    <a:pt x="868871" y="206324"/>
                  </a:lnTo>
                  <a:lnTo>
                    <a:pt x="868871" y="204990"/>
                  </a:lnTo>
                  <a:lnTo>
                    <a:pt x="868871" y="206324"/>
                  </a:lnTo>
                  <a:lnTo>
                    <a:pt x="868871" y="204990"/>
                  </a:lnTo>
                  <a:lnTo>
                    <a:pt x="868909" y="204990"/>
                  </a:lnTo>
                  <a:lnTo>
                    <a:pt x="868909" y="204292"/>
                  </a:lnTo>
                  <a:lnTo>
                    <a:pt x="868909" y="204990"/>
                  </a:lnTo>
                  <a:lnTo>
                    <a:pt x="868909" y="203594"/>
                  </a:lnTo>
                  <a:lnTo>
                    <a:pt x="869011" y="203594"/>
                  </a:lnTo>
                  <a:lnTo>
                    <a:pt x="869011" y="202260"/>
                  </a:lnTo>
                  <a:lnTo>
                    <a:pt x="869011" y="202959"/>
                  </a:lnTo>
                  <a:lnTo>
                    <a:pt x="869011" y="200876"/>
                  </a:lnTo>
                  <a:lnTo>
                    <a:pt x="869011" y="202959"/>
                  </a:lnTo>
                  <a:lnTo>
                    <a:pt x="869062" y="202959"/>
                  </a:lnTo>
                  <a:lnTo>
                    <a:pt x="869062" y="203594"/>
                  </a:lnTo>
                  <a:lnTo>
                    <a:pt x="869062" y="202959"/>
                  </a:lnTo>
                  <a:lnTo>
                    <a:pt x="869062" y="203594"/>
                  </a:lnTo>
                  <a:lnTo>
                    <a:pt x="869062" y="202260"/>
                  </a:lnTo>
                  <a:lnTo>
                    <a:pt x="869062" y="202959"/>
                  </a:lnTo>
                  <a:lnTo>
                    <a:pt x="869062" y="202260"/>
                  </a:lnTo>
                  <a:lnTo>
                    <a:pt x="869062" y="204292"/>
                  </a:lnTo>
                  <a:lnTo>
                    <a:pt x="869112" y="204292"/>
                  </a:lnTo>
                  <a:lnTo>
                    <a:pt x="869112" y="202959"/>
                  </a:lnTo>
                  <a:lnTo>
                    <a:pt x="869112" y="204292"/>
                  </a:lnTo>
                  <a:lnTo>
                    <a:pt x="869214" y="204292"/>
                  </a:lnTo>
                  <a:lnTo>
                    <a:pt x="869214" y="203594"/>
                  </a:lnTo>
                  <a:lnTo>
                    <a:pt x="869214" y="204292"/>
                  </a:lnTo>
                  <a:lnTo>
                    <a:pt x="869214" y="203594"/>
                  </a:lnTo>
                  <a:lnTo>
                    <a:pt x="869214" y="204990"/>
                  </a:lnTo>
                  <a:lnTo>
                    <a:pt x="869214" y="203594"/>
                  </a:lnTo>
                  <a:lnTo>
                    <a:pt x="869265" y="204292"/>
                  </a:lnTo>
                  <a:lnTo>
                    <a:pt x="869265" y="204990"/>
                  </a:lnTo>
                  <a:lnTo>
                    <a:pt x="869265" y="204292"/>
                  </a:lnTo>
                  <a:lnTo>
                    <a:pt x="869265" y="204990"/>
                  </a:lnTo>
                  <a:lnTo>
                    <a:pt x="869316" y="204990"/>
                  </a:lnTo>
                  <a:lnTo>
                    <a:pt x="869316" y="206324"/>
                  </a:lnTo>
                  <a:lnTo>
                    <a:pt x="869316" y="204990"/>
                  </a:lnTo>
                  <a:lnTo>
                    <a:pt x="869316" y="206324"/>
                  </a:lnTo>
                  <a:lnTo>
                    <a:pt x="869316" y="204990"/>
                  </a:lnTo>
                  <a:lnTo>
                    <a:pt x="869366" y="204990"/>
                  </a:lnTo>
                  <a:lnTo>
                    <a:pt x="869366" y="204292"/>
                  </a:lnTo>
                  <a:lnTo>
                    <a:pt x="869366" y="204990"/>
                  </a:lnTo>
                  <a:lnTo>
                    <a:pt x="869366" y="204292"/>
                  </a:lnTo>
                  <a:lnTo>
                    <a:pt x="869455" y="204292"/>
                  </a:lnTo>
                  <a:lnTo>
                    <a:pt x="869455" y="204990"/>
                  </a:lnTo>
                  <a:lnTo>
                    <a:pt x="869455" y="203594"/>
                  </a:lnTo>
                  <a:lnTo>
                    <a:pt x="869506" y="203594"/>
                  </a:lnTo>
                  <a:lnTo>
                    <a:pt x="869506" y="202959"/>
                  </a:lnTo>
                  <a:lnTo>
                    <a:pt x="869506" y="203594"/>
                  </a:lnTo>
                  <a:lnTo>
                    <a:pt x="869506" y="202260"/>
                  </a:lnTo>
                  <a:lnTo>
                    <a:pt x="869506" y="204292"/>
                  </a:lnTo>
                  <a:lnTo>
                    <a:pt x="869506" y="203594"/>
                  </a:lnTo>
                  <a:lnTo>
                    <a:pt x="869557" y="202959"/>
                  </a:lnTo>
                  <a:lnTo>
                    <a:pt x="869557" y="202260"/>
                  </a:lnTo>
                  <a:lnTo>
                    <a:pt x="869557" y="204990"/>
                  </a:lnTo>
                  <a:lnTo>
                    <a:pt x="869557" y="204292"/>
                  </a:lnTo>
                  <a:lnTo>
                    <a:pt x="869608" y="204292"/>
                  </a:lnTo>
                  <a:lnTo>
                    <a:pt x="869608" y="202959"/>
                  </a:lnTo>
                  <a:lnTo>
                    <a:pt x="869608" y="203594"/>
                  </a:lnTo>
                  <a:lnTo>
                    <a:pt x="869608" y="202959"/>
                  </a:lnTo>
                  <a:lnTo>
                    <a:pt x="869608" y="204990"/>
                  </a:lnTo>
                  <a:lnTo>
                    <a:pt x="869608" y="204292"/>
                  </a:lnTo>
                  <a:lnTo>
                    <a:pt x="869709" y="204292"/>
                  </a:lnTo>
                  <a:lnTo>
                    <a:pt x="869709" y="203594"/>
                  </a:lnTo>
                  <a:lnTo>
                    <a:pt x="869709" y="204292"/>
                  </a:lnTo>
                  <a:lnTo>
                    <a:pt x="869709" y="203594"/>
                  </a:lnTo>
                  <a:lnTo>
                    <a:pt x="869709" y="204990"/>
                  </a:lnTo>
                  <a:lnTo>
                    <a:pt x="869709" y="204292"/>
                  </a:lnTo>
                  <a:lnTo>
                    <a:pt x="869709" y="204990"/>
                  </a:lnTo>
                  <a:lnTo>
                    <a:pt x="869709" y="204292"/>
                  </a:lnTo>
                  <a:lnTo>
                    <a:pt x="869709" y="204990"/>
                  </a:lnTo>
                  <a:lnTo>
                    <a:pt x="869760" y="204990"/>
                  </a:lnTo>
                  <a:lnTo>
                    <a:pt x="869760" y="204292"/>
                  </a:lnTo>
                  <a:lnTo>
                    <a:pt x="869760" y="204990"/>
                  </a:lnTo>
                  <a:lnTo>
                    <a:pt x="869760" y="204292"/>
                  </a:lnTo>
                  <a:lnTo>
                    <a:pt x="869811" y="204292"/>
                  </a:lnTo>
                  <a:lnTo>
                    <a:pt x="869811" y="204990"/>
                  </a:lnTo>
                  <a:lnTo>
                    <a:pt x="869912" y="204990"/>
                  </a:lnTo>
                  <a:lnTo>
                    <a:pt x="869912" y="204292"/>
                  </a:lnTo>
                  <a:lnTo>
                    <a:pt x="869912" y="204990"/>
                  </a:lnTo>
                  <a:lnTo>
                    <a:pt x="869912" y="204292"/>
                  </a:lnTo>
                  <a:lnTo>
                    <a:pt x="869912" y="204990"/>
                  </a:lnTo>
                  <a:lnTo>
                    <a:pt x="869912" y="204292"/>
                  </a:lnTo>
                  <a:lnTo>
                    <a:pt x="869951" y="204292"/>
                  </a:lnTo>
                  <a:lnTo>
                    <a:pt x="869951" y="202959"/>
                  </a:lnTo>
                  <a:lnTo>
                    <a:pt x="870001" y="202959"/>
                  </a:lnTo>
                  <a:lnTo>
                    <a:pt x="870001" y="204292"/>
                  </a:lnTo>
                  <a:lnTo>
                    <a:pt x="870001" y="203594"/>
                  </a:lnTo>
                  <a:lnTo>
                    <a:pt x="870001" y="204292"/>
                  </a:lnTo>
                  <a:lnTo>
                    <a:pt x="870001" y="202260"/>
                  </a:lnTo>
                  <a:lnTo>
                    <a:pt x="870001" y="202959"/>
                  </a:lnTo>
                  <a:lnTo>
                    <a:pt x="870052" y="202959"/>
                  </a:lnTo>
                  <a:lnTo>
                    <a:pt x="870052" y="204990"/>
                  </a:lnTo>
                  <a:lnTo>
                    <a:pt x="870052" y="203594"/>
                  </a:lnTo>
                  <a:lnTo>
                    <a:pt x="870052" y="204292"/>
                  </a:lnTo>
                  <a:lnTo>
                    <a:pt x="870052" y="203594"/>
                  </a:lnTo>
                  <a:lnTo>
                    <a:pt x="870154" y="203594"/>
                  </a:lnTo>
                  <a:lnTo>
                    <a:pt x="870154" y="204990"/>
                  </a:lnTo>
                  <a:lnTo>
                    <a:pt x="870154" y="203594"/>
                  </a:lnTo>
                  <a:lnTo>
                    <a:pt x="870154" y="204292"/>
                  </a:lnTo>
                  <a:lnTo>
                    <a:pt x="870255" y="204292"/>
                  </a:lnTo>
                  <a:lnTo>
                    <a:pt x="870255" y="204990"/>
                  </a:lnTo>
                  <a:lnTo>
                    <a:pt x="870255" y="204292"/>
                  </a:lnTo>
                  <a:lnTo>
                    <a:pt x="870255" y="204990"/>
                  </a:lnTo>
                  <a:lnTo>
                    <a:pt x="870255" y="204292"/>
                  </a:lnTo>
                  <a:lnTo>
                    <a:pt x="870255" y="204990"/>
                  </a:lnTo>
                  <a:lnTo>
                    <a:pt x="870357" y="204990"/>
                  </a:lnTo>
                  <a:lnTo>
                    <a:pt x="870357" y="204292"/>
                  </a:lnTo>
                  <a:lnTo>
                    <a:pt x="870357" y="204990"/>
                  </a:lnTo>
                  <a:lnTo>
                    <a:pt x="870357" y="204292"/>
                  </a:lnTo>
                  <a:lnTo>
                    <a:pt x="870357" y="204990"/>
                  </a:lnTo>
                  <a:lnTo>
                    <a:pt x="870357" y="204292"/>
                  </a:lnTo>
                  <a:lnTo>
                    <a:pt x="870408" y="204292"/>
                  </a:lnTo>
                  <a:lnTo>
                    <a:pt x="870408" y="204990"/>
                  </a:lnTo>
                  <a:lnTo>
                    <a:pt x="870408" y="203594"/>
                  </a:lnTo>
                  <a:lnTo>
                    <a:pt x="870408" y="204292"/>
                  </a:lnTo>
                  <a:lnTo>
                    <a:pt x="870408" y="203594"/>
                  </a:lnTo>
                  <a:lnTo>
                    <a:pt x="870408" y="204292"/>
                  </a:lnTo>
                  <a:lnTo>
                    <a:pt x="870458" y="203594"/>
                  </a:lnTo>
                  <a:lnTo>
                    <a:pt x="870458" y="202959"/>
                  </a:lnTo>
                  <a:lnTo>
                    <a:pt x="870458" y="203594"/>
                  </a:lnTo>
                  <a:lnTo>
                    <a:pt x="870458" y="202959"/>
                  </a:lnTo>
                  <a:lnTo>
                    <a:pt x="870458" y="203594"/>
                  </a:lnTo>
                  <a:lnTo>
                    <a:pt x="870458" y="202959"/>
                  </a:lnTo>
                  <a:lnTo>
                    <a:pt x="870458" y="203594"/>
                  </a:lnTo>
                  <a:lnTo>
                    <a:pt x="870497" y="203594"/>
                  </a:lnTo>
                  <a:lnTo>
                    <a:pt x="870497" y="202959"/>
                  </a:lnTo>
                  <a:lnTo>
                    <a:pt x="870497" y="206324"/>
                  </a:lnTo>
                  <a:lnTo>
                    <a:pt x="870598" y="206324"/>
                  </a:lnTo>
                  <a:lnTo>
                    <a:pt x="870598" y="203594"/>
                  </a:lnTo>
                  <a:lnTo>
                    <a:pt x="870598" y="204990"/>
                  </a:lnTo>
                  <a:lnTo>
                    <a:pt x="870649" y="206324"/>
                  </a:lnTo>
                  <a:lnTo>
                    <a:pt x="870649" y="204292"/>
                  </a:lnTo>
                  <a:lnTo>
                    <a:pt x="870649" y="206324"/>
                  </a:lnTo>
                  <a:lnTo>
                    <a:pt x="870700" y="204990"/>
                  </a:lnTo>
                  <a:lnTo>
                    <a:pt x="870700" y="206324"/>
                  </a:lnTo>
                  <a:lnTo>
                    <a:pt x="870700" y="204990"/>
                  </a:lnTo>
                  <a:lnTo>
                    <a:pt x="870700" y="206324"/>
                  </a:lnTo>
                  <a:lnTo>
                    <a:pt x="870700" y="204990"/>
                  </a:lnTo>
                  <a:lnTo>
                    <a:pt x="870801" y="204990"/>
                  </a:lnTo>
                  <a:lnTo>
                    <a:pt x="870801" y="206324"/>
                  </a:lnTo>
                  <a:lnTo>
                    <a:pt x="870801" y="204990"/>
                  </a:lnTo>
                  <a:lnTo>
                    <a:pt x="870801" y="206324"/>
                  </a:lnTo>
                  <a:lnTo>
                    <a:pt x="870801" y="204990"/>
                  </a:lnTo>
                  <a:lnTo>
                    <a:pt x="870801" y="206324"/>
                  </a:lnTo>
                  <a:lnTo>
                    <a:pt x="870801" y="204990"/>
                  </a:lnTo>
                  <a:lnTo>
                    <a:pt x="870801" y="206324"/>
                  </a:lnTo>
                  <a:lnTo>
                    <a:pt x="870801" y="204990"/>
                  </a:lnTo>
                  <a:lnTo>
                    <a:pt x="870852" y="204990"/>
                  </a:lnTo>
                  <a:lnTo>
                    <a:pt x="870852" y="206324"/>
                  </a:lnTo>
                  <a:lnTo>
                    <a:pt x="870852" y="204292"/>
                  </a:lnTo>
                  <a:lnTo>
                    <a:pt x="870903" y="204292"/>
                  </a:lnTo>
                  <a:lnTo>
                    <a:pt x="870903" y="204990"/>
                  </a:lnTo>
                  <a:lnTo>
                    <a:pt x="870903" y="203594"/>
                  </a:lnTo>
                  <a:lnTo>
                    <a:pt x="870903" y="204292"/>
                  </a:lnTo>
                  <a:lnTo>
                    <a:pt x="870903" y="203594"/>
                  </a:lnTo>
                  <a:lnTo>
                    <a:pt x="870954" y="203594"/>
                  </a:lnTo>
                  <a:lnTo>
                    <a:pt x="870954" y="202260"/>
                  </a:lnTo>
                  <a:lnTo>
                    <a:pt x="870954" y="203594"/>
                  </a:lnTo>
                  <a:lnTo>
                    <a:pt x="871043" y="203594"/>
                  </a:lnTo>
                  <a:lnTo>
                    <a:pt x="871043" y="204292"/>
                  </a:lnTo>
                  <a:lnTo>
                    <a:pt x="871043" y="202959"/>
                  </a:lnTo>
                  <a:lnTo>
                    <a:pt x="871043" y="206324"/>
                  </a:lnTo>
                  <a:lnTo>
                    <a:pt x="871093" y="204990"/>
                  </a:lnTo>
                  <a:lnTo>
                    <a:pt x="871093" y="204292"/>
                  </a:lnTo>
                  <a:lnTo>
                    <a:pt x="871093" y="204990"/>
                  </a:lnTo>
                  <a:lnTo>
                    <a:pt x="871144" y="204990"/>
                  </a:lnTo>
                  <a:lnTo>
                    <a:pt x="871144" y="204292"/>
                  </a:lnTo>
                  <a:lnTo>
                    <a:pt x="871144" y="204990"/>
                  </a:lnTo>
                  <a:lnTo>
                    <a:pt x="871144" y="204292"/>
                  </a:lnTo>
                  <a:lnTo>
                    <a:pt x="871144" y="206324"/>
                  </a:lnTo>
                  <a:lnTo>
                    <a:pt x="871144" y="204990"/>
                  </a:lnTo>
                  <a:lnTo>
                    <a:pt x="871144" y="206324"/>
                  </a:lnTo>
                  <a:lnTo>
                    <a:pt x="871144" y="204990"/>
                  </a:lnTo>
                  <a:lnTo>
                    <a:pt x="871195" y="204990"/>
                  </a:lnTo>
                  <a:lnTo>
                    <a:pt x="871195" y="206324"/>
                  </a:lnTo>
                  <a:lnTo>
                    <a:pt x="871297" y="204990"/>
                  </a:lnTo>
                  <a:lnTo>
                    <a:pt x="871297" y="206324"/>
                  </a:lnTo>
                  <a:lnTo>
                    <a:pt x="871297" y="204990"/>
                  </a:lnTo>
                  <a:lnTo>
                    <a:pt x="871347" y="204990"/>
                  </a:lnTo>
                  <a:lnTo>
                    <a:pt x="871347" y="204292"/>
                  </a:lnTo>
                  <a:lnTo>
                    <a:pt x="871347" y="204990"/>
                  </a:lnTo>
                  <a:lnTo>
                    <a:pt x="871398" y="204292"/>
                  </a:lnTo>
                  <a:lnTo>
                    <a:pt x="871398" y="203594"/>
                  </a:lnTo>
                  <a:lnTo>
                    <a:pt x="871398" y="204292"/>
                  </a:lnTo>
                  <a:lnTo>
                    <a:pt x="871398" y="203594"/>
                  </a:lnTo>
                  <a:lnTo>
                    <a:pt x="871398" y="204292"/>
                  </a:lnTo>
                  <a:lnTo>
                    <a:pt x="871398" y="202959"/>
                  </a:lnTo>
                  <a:lnTo>
                    <a:pt x="871500" y="202260"/>
                  </a:lnTo>
                  <a:lnTo>
                    <a:pt x="871500" y="202959"/>
                  </a:lnTo>
                  <a:lnTo>
                    <a:pt x="871538" y="202959"/>
                  </a:lnTo>
                  <a:lnTo>
                    <a:pt x="871538" y="202260"/>
                  </a:lnTo>
                  <a:lnTo>
                    <a:pt x="871538" y="204292"/>
                  </a:lnTo>
                  <a:lnTo>
                    <a:pt x="871589" y="203594"/>
                  </a:lnTo>
                  <a:lnTo>
                    <a:pt x="871589" y="204292"/>
                  </a:lnTo>
                  <a:lnTo>
                    <a:pt x="871589" y="203594"/>
                  </a:lnTo>
                  <a:lnTo>
                    <a:pt x="871589" y="204990"/>
                  </a:lnTo>
                  <a:lnTo>
                    <a:pt x="871589" y="204292"/>
                  </a:lnTo>
                  <a:lnTo>
                    <a:pt x="871640" y="204292"/>
                  </a:lnTo>
                  <a:lnTo>
                    <a:pt x="871640" y="204990"/>
                  </a:lnTo>
                  <a:lnTo>
                    <a:pt x="871640" y="204292"/>
                  </a:lnTo>
                  <a:lnTo>
                    <a:pt x="871640" y="204990"/>
                  </a:lnTo>
                  <a:lnTo>
                    <a:pt x="871741" y="204990"/>
                  </a:lnTo>
                  <a:lnTo>
                    <a:pt x="871741" y="206324"/>
                  </a:lnTo>
                  <a:lnTo>
                    <a:pt x="871741" y="204292"/>
                  </a:lnTo>
                  <a:lnTo>
                    <a:pt x="871792" y="204292"/>
                  </a:lnTo>
                  <a:lnTo>
                    <a:pt x="871792" y="206324"/>
                  </a:lnTo>
                  <a:lnTo>
                    <a:pt x="871792" y="204990"/>
                  </a:lnTo>
                  <a:lnTo>
                    <a:pt x="871843" y="204990"/>
                  </a:lnTo>
                  <a:lnTo>
                    <a:pt x="871843" y="206324"/>
                  </a:lnTo>
                  <a:lnTo>
                    <a:pt x="871843" y="204292"/>
                  </a:lnTo>
                  <a:lnTo>
                    <a:pt x="871843" y="204990"/>
                  </a:lnTo>
                  <a:lnTo>
                    <a:pt x="871843" y="204292"/>
                  </a:lnTo>
                  <a:lnTo>
                    <a:pt x="871843" y="204990"/>
                  </a:lnTo>
                  <a:lnTo>
                    <a:pt x="871843" y="204292"/>
                  </a:lnTo>
                  <a:lnTo>
                    <a:pt x="871944" y="204292"/>
                  </a:lnTo>
                  <a:lnTo>
                    <a:pt x="871944" y="203594"/>
                  </a:lnTo>
                  <a:lnTo>
                    <a:pt x="871944" y="204292"/>
                  </a:lnTo>
                  <a:lnTo>
                    <a:pt x="871944" y="202959"/>
                  </a:lnTo>
                  <a:lnTo>
                    <a:pt x="871995" y="202260"/>
                  </a:lnTo>
                  <a:lnTo>
                    <a:pt x="871995" y="203594"/>
                  </a:lnTo>
                  <a:lnTo>
                    <a:pt x="871995" y="202260"/>
                  </a:lnTo>
                  <a:lnTo>
                    <a:pt x="872046" y="202260"/>
                  </a:lnTo>
                  <a:lnTo>
                    <a:pt x="872046" y="204990"/>
                  </a:lnTo>
                  <a:lnTo>
                    <a:pt x="872046" y="202959"/>
                  </a:lnTo>
                  <a:lnTo>
                    <a:pt x="872046" y="203594"/>
                  </a:lnTo>
                  <a:lnTo>
                    <a:pt x="872046" y="202959"/>
                  </a:lnTo>
                  <a:lnTo>
                    <a:pt x="872084" y="202959"/>
                  </a:lnTo>
                  <a:lnTo>
                    <a:pt x="872084" y="204990"/>
                  </a:lnTo>
                  <a:lnTo>
                    <a:pt x="872084" y="203594"/>
                  </a:lnTo>
                  <a:lnTo>
                    <a:pt x="872186" y="203594"/>
                  </a:lnTo>
                  <a:lnTo>
                    <a:pt x="872186" y="204292"/>
                  </a:lnTo>
                  <a:lnTo>
                    <a:pt x="872186" y="203594"/>
                  </a:lnTo>
                  <a:lnTo>
                    <a:pt x="872186" y="204990"/>
                  </a:lnTo>
                  <a:lnTo>
                    <a:pt x="872186" y="204292"/>
                  </a:lnTo>
                  <a:lnTo>
                    <a:pt x="872186" y="204990"/>
                  </a:lnTo>
                  <a:lnTo>
                    <a:pt x="872237" y="204990"/>
                  </a:lnTo>
                  <a:lnTo>
                    <a:pt x="872237" y="204292"/>
                  </a:lnTo>
                  <a:lnTo>
                    <a:pt x="872237" y="204990"/>
                  </a:lnTo>
                  <a:lnTo>
                    <a:pt x="872287" y="204990"/>
                  </a:lnTo>
                  <a:lnTo>
                    <a:pt x="872287" y="204292"/>
                  </a:lnTo>
                  <a:lnTo>
                    <a:pt x="872287" y="204990"/>
                  </a:lnTo>
                  <a:lnTo>
                    <a:pt x="872287" y="204292"/>
                  </a:lnTo>
                  <a:lnTo>
                    <a:pt x="872287" y="204990"/>
                  </a:lnTo>
                  <a:lnTo>
                    <a:pt x="872287" y="204292"/>
                  </a:lnTo>
                  <a:lnTo>
                    <a:pt x="872287" y="204990"/>
                  </a:lnTo>
                  <a:lnTo>
                    <a:pt x="872287" y="204292"/>
                  </a:lnTo>
                  <a:lnTo>
                    <a:pt x="872389" y="204292"/>
                  </a:lnTo>
                  <a:lnTo>
                    <a:pt x="872389" y="204990"/>
                  </a:lnTo>
                  <a:lnTo>
                    <a:pt x="872389" y="203594"/>
                  </a:lnTo>
                  <a:lnTo>
                    <a:pt x="872389" y="204292"/>
                  </a:lnTo>
                  <a:lnTo>
                    <a:pt x="872389" y="203594"/>
                  </a:lnTo>
                  <a:lnTo>
                    <a:pt x="872440" y="203594"/>
                  </a:lnTo>
                  <a:lnTo>
                    <a:pt x="872440" y="202959"/>
                  </a:lnTo>
                  <a:lnTo>
                    <a:pt x="872440" y="203594"/>
                  </a:lnTo>
                  <a:lnTo>
                    <a:pt x="872440" y="202260"/>
                  </a:lnTo>
                  <a:lnTo>
                    <a:pt x="872491" y="200876"/>
                  </a:lnTo>
                  <a:lnTo>
                    <a:pt x="872491" y="200228"/>
                  </a:lnTo>
                  <a:lnTo>
                    <a:pt x="872491" y="202260"/>
                  </a:lnTo>
                  <a:lnTo>
                    <a:pt x="872491" y="200876"/>
                  </a:lnTo>
                  <a:lnTo>
                    <a:pt x="872541" y="200876"/>
                  </a:lnTo>
                  <a:lnTo>
                    <a:pt x="872541" y="202260"/>
                  </a:lnTo>
                  <a:lnTo>
                    <a:pt x="872541" y="200876"/>
                  </a:lnTo>
                  <a:lnTo>
                    <a:pt x="872541" y="202959"/>
                  </a:lnTo>
                  <a:lnTo>
                    <a:pt x="872541" y="202260"/>
                  </a:lnTo>
                  <a:lnTo>
                    <a:pt x="872630" y="202260"/>
                  </a:lnTo>
                  <a:lnTo>
                    <a:pt x="872630" y="203594"/>
                  </a:lnTo>
                  <a:lnTo>
                    <a:pt x="872630" y="202959"/>
                  </a:lnTo>
                  <a:lnTo>
                    <a:pt x="872681" y="202959"/>
                  </a:lnTo>
                  <a:lnTo>
                    <a:pt x="872681" y="204292"/>
                  </a:lnTo>
                  <a:lnTo>
                    <a:pt x="872681" y="203594"/>
                  </a:lnTo>
                  <a:lnTo>
                    <a:pt x="872681" y="204292"/>
                  </a:lnTo>
                  <a:lnTo>
                    <a:pt x="872681" y="203594"/>
                  </a:lnTo>
                  <a:lnTo>
                    <a:pt x="872732" y="203594"/>
                  </a:lnTo>
                  <a:lnTo>
                    <a:pt x="872732" y="204990"/>
                  </a:lnTo>
                  <a:lnTo>
                    <a:pt x="872732" y="204292"/>
                  </a:lnTo>
                  <a:lnTo>
                    <a:pt x="872732" y="204990"/>
                  </a:lnTo>
                  <a:lnTo>
                    <a:pt x="872783" y="204990"/>
                  </a:lnTo>
                  <a:lnTo>
                    <a:pt x="872783" y="204292"/>
                  </a:lnTo>
                  <a:lnTo>
                    <a:pt x="872783" y="204990"/>
                  </a:lnTo>
                  <a:lnTo>
                    <a:pt x="872884" y="204990"/>
                  </a:lnTo>
                  <a:lnTo>
                    <a:pt x="872884" y="204292"/>
                  </a:lnTo>
                  <a:lnTo>
                    <a:pt x="872884" y="204990"/>
                  </a:lnTo>
                  <a:lnTo>
                    <a:pt x="872884" y="203594"/>
                  </a:lnTo>
                  <a:lnTo>
                    <a:pt x="872935" y="203594"/>
                  </a:lnTo>
                  <a:lnTo>
                    <a:pt x="872935" y="202260"/>
                  </a:lnTo>
                  <a:lnTo>
                    <a:pt x="872986" y="202260"/>
                  </a:lnTo>
                  <a:lnTo>
                    <a:pt x="872986" y="200876"/>
                  </a:lnTo>
                  <a:lnTo>
                    <a:pt x="872986" y="202260"/>
                  </a:lnTo>
                  <a:lnTo>
                    <a:pt x="872986" y="200228"/>
                  </a:lnTo>
                  <a:lnTo>
                    <a:pt x="872986" y="200876"/>
                  </a:lnTo>
                  <a:lnTo>
                    <a:pt x="872986" y="200228"/>
                  </a:lnTo>
                  <a:lnTo>
                    <a:pt x="872986" y="202260"/>
                  </a:lnTo>
                  <a:lnTo>
                    <a:pt x="873087" y="200876"/>
                  </a:lnTo>
                  <a:lnTo>
                    <a:pt x="873087" y="200228"/>
                  </a:lnTo>
                  <a:lnTo>
                    <a:pt x="873087" y="202959"/>
                  </a:lnTo>
                  <a:lnTo>
                    <a:pt x="873087" y="202260"/>
                  </a:lnTo>
                  <a:lnTo>
                    <a:pt x="873126" y="202959"/>
                  </a:lnTo>
                  <a:lnTo>
                    <a:pt x="873126" y="200876"/>
                  </a:lnTo>
                  <a:lnTo>
                    <a:pt x="873126" y="202959"/>
                  </a:lnTo>
                  <a:lnTo>
                    <a:pt x="873126" y="202260"/>
                  </a:lnTo>
                  <a:lnTo>
                    <a:pt x="873176" y="202260"/>
                  </a:lnTo>
                  <a:lnTo>
                    <a:pt x="873176" y="202959"/>
                  </a:lnTo>
                  <a:lnTo>
                    <a:pt x="873176" y="202260"/>
                  </a:lnTo>
                  <a:lnTo>
                    <a:pt x="873176" y="202959"/>
                  </a:lnTo>
                  <a:lnTo>
                    <a:pt x="873227" y="202260"/>
                  </a:lnTo>
                  <a:lnTo>
                    <a:pt x="873227" y="203594"/>
                  </a:lnTo>
                  <a:lnTo>
                    <a:pt x="873227" y="202959"/>
                  </a:lnTo>
                  <a:lnTo>
                    <a:pt x="873227" y="203594"/>
                  </a:lnTo>
                  <a:lnTo>
                    <a:pt x="873329" y="204292"/>
                  </a:lnTo>
                  <a:lnTo>
                    <a:pt x="873329" y="203594"/>
                  </a:lnTo>
                  <a:lnTo>
                    <a:pt x="873329" y="204292"/>
                  </a:lnTo>
                  <a:lnTo>
                    <a:pt x="873329" y="203594"/>
                  </a:lnTo>
                  <a:lnTo>
                    <a:pt x="873329" y="204292"/>
                  </a:lnTo>
                  <a:lnTo>
                    <a:pt x="873380" y="204292"/>
                  </a:lnTo>
                  <a:lnTo>
                    <a:pt x="873380" y="203594"/>
                  </a:lnTo>
                  <a:lnTo>
                    <a:pt x="873380" y="204292"/>
                  </a:lnTo>
                  <a:lnTo>
                    <a:pt x="873380" y="203594"/>
                  </a:lnTo>
                  <a:lnTo>
                    <a:pt x="873380" y="204292"/>
                  </a:lnTo>
                  <a:lnTo>
                    <a:pt x="873380" y="203594"/>
                  </a:lnTo>
                  <a:lnTo>
                    <a:pt x="873380" y="204292"/>
                  </a:lnTo>
                  <a:lnTo>
                    <a:pt x="873430" y="203594"/>
                  </a:lnTo>
                  <a:lnTo>
                    <a:pt x="873430" y="202959"/>
                  </a:lnTo>
                  <a:lnTo>
                    <a:pt x="873430" y="203594"/>
                  </a:lnTo>
                  <a:lnTo>
                    <a:pt x="873430" y="202959"/>
                  </a:lnTo>
                  <a:lnTo>
                    <a:pt x="873430" y="203594"/>
                  </a:lnTo>
                  <a:lnTo>
                    <a:pt x="873430" y="202959"/>
                  </a:lnTo>
                  <a:lnTo>
                    <a:pt x="873430" y="203594"/>
                  </a:lnTo>
                  <a:lnTo>
                    <a:pt x="873430" y="202959"/>
                  </a:lnTo>
                  <a:lnTo>
                    <a:pt x="873532" y="202959"/>
                  </a:lnTo>
                  <a:lnTo>
                    <a:pt x="873532" y="202260"/>
                  </a:lnTo>
                  <a:lnTo>
                    <a:pt x="873532" y="203594"/>
                  </a:lnTo>
                  <a:lnTo>
                    <a:pt x="873532" y="202959"/>
                  </a:lnTo>
                  <a:lnTo>
                    <a:pt x="873532" y="203594"/>
                  </a:lnTo>
                  <a:lnTo>
                    <a:pt x="873532" y="202260"/>
                  </a:lnTo>
                  <a:lnTo>
                    <a:pt x="873583" y="202260"/>
                  </a:lnTo>
                  <a:lnTo>
                    <a:pt x="873583" y="204292"/>
                  </a:lnTo>
                  <a:lnTo>
                    <a:pt x="873583" y="203594"/>
                  </a:lnTo>
                  <a:lnTo>
                    <a:pt x="873633" y="203594"/>
                  </a:lnTo>
                  <a:lnTo>
                    <a:pt x="873633" y="204292"/>
                  </a:lnTo>
                  <a:lnTo>
                    <a:pt x="873633" y="203594"/>
                  </a:lnTo>
                  <a:lnTo>
                    <a:pt x="873633" y="204292"/>
                  </a:lnTo>
                  <a:lnTo>
                    <a:pt x="873633" y="203594"/>
                  </a:lnTo>
                  <a:lnTo>
                    <a:pt x="873633" y="204292"/>
                  </a:lnTo>
                  <a:lnTo>
                    <a:pt x="873633" y="203594"/>
                  </a:lnTo>
                  <a:lnTo>
                    <a:pt x="873672" y="203594"/>
                  </a:lnTo>
                  <a:lnTo>
                    <a:pt x="873672" y="204292"/>
                  </a:lnTo>
                  <a:lnTo>
                    <a:pt x="873672" y="203594"/>
                  </a:lnTo>
                  <a:lnTo>
                    <a:pt x="873672" y="204292"/>
                  </a:lnTo>
                  <a:lnTo>
                    <a:pt x="873672" y="203594"/>
                  </a:lnTo>
                  <a:lnTo>
                    <a:pt x="873672" y="204292"/>
                  </a:lnTo>
                  <a:lnTo>
                    <a:pt x="873773" y="204292"/>
                  </a:lnTo>
                  <a:lnTo>
                    <a:pt x="873773" y="204990"/>
                  </a:lnTo>
                  <a:lnTo>
                    <a:pt x="873773" y="204292"/>
                  </a:lnTo>
                  <a:lnTo>
                    <a:pt x="873824" y="204292"/>
                  </a:lnTo>
                  <a:lnTo>
                    <a:pt x="873824" y="204990"/>
                  </a:lnTo>
                  <a:lnTo>
                    <a:pt x="873824" y="204292"/>
                  </a:lnTo>
                  <a:lnTo>
                    <a:pt x="873824" y="204990"/>
                  </a:lnTo>
                  <a:lnTo>
                    <a:pt x="873824" y="204292"/>
                  </a:lnTo>
                  <a:lnTo>
                    <a:pt x="873824" y="204990"/>
                  </a:lnTo>
                  <a:lnTo>
                    <a:pt x="873875" y="204292"/>
                  </a:lnTo>
                  <a:lnTo>
                    <a:pt x="873875" y="203594"/>
                  </a:lnTo>
                  <a:lnTo>
                    <a:pt x="873875" y="204292"/>
                  </a:lnTo>
                  <a:lnTo>
                    <a:pt x="873875" y="203594"/>
                  </a:lnTo>
                  <a:lnTo>
                    <a:pt x="873976" y="203594"/>
                  </a:lnTo>
                  <a:lnTo>
                    <a:pt x="873976" y="202260"/>
                  </a:lnTo>
                  <a:lnTo>
                    <a:pt x="873976" y="202959"/>
                  </a:lnTo>
                  <a:lnTo>
                    <a:pt x="873976" y="202260"/>
                  </a:lnTo>
                  <a:lnTo>
                    <a:pt x="873976" y="202959"/>
                  </a:lnTo>
                  <a:lnTo>
                    <a:pt x="874027" y="202959"/>
                  </a:lnTo>
                  <a:lnTo>
                    <a:pt x="874027" y="204292"/>
                  </a:lnTo>
                  <a:lnTo>
                    <a:pt x="874027" y="203594"/>
                  </a:lnTo>
                  <a:lnTo>
                    <a:pt x="874027" y="204292"/>
                  </a:lnTo>
                  <a:lnTo>
                    <a:pt x="874027" y="203594"/>
                  </a:lnTo>
                  <a:lnTo>
                    <a:pt x="874027" y="204292"/>
                  </a:lnTo>
                  <a:lnTo>
                    <a:pt x="874027" y="202959"/>
                  </a:lnTo>
                  <a:lnTo>
                    <a:pt x="874027" y="204292"/>
                  </a:lnTo>
                  <a:lnTo>
                    <a:pt x="874078" y="204990"/>
                  </a:lnTo>
                  <a:lnTo>
                    <a:pt x="874078" y="204292"/>
                  </a:lnTo>
                  <a:lnTo>
                    <a:pt x="874078" y="204990"/>
                  </a:lnTo>
                  <a:lnTo>
                    <a:pt x="874129" y="204990"/>
                  </a:lnTo>
                  <a:lnTo>
                    <a:pt x="874129" y="204292"/>
                  </a:lnTo>
                  <a:lnTo>
                    <a:pt x="874129" y="204990"/>
                  </a:lnTo>
                  <a:lnTo>
                    <a:pt x="874129" y="204292"/>
                  </a:lnTo>
                  <a:lnTo>
                    <a:pt x="874129" y="204990"/>
                  </a:lnTo>
                  <a:lnTo>
                    <a:pt x="874129" y="204292"/>
                  </a:lnTo>
                  <a:lnTo>
                    <a:pt x="874218" y="204292"/>
                  </a:lnTo>
                  <a:lnTo>
                    <a:pt x="874218" y="204990"/>
                  </a:lnTo>
                  <a:lnTo>
                    <a:pt x="874218" y="204292"/>
                  </a:lnTo>
                  <a:lnTo>
                    <a:pt x="874218" y="204990"/>
                  </a:lnTo>
                  <a:lnTo>
                    <a:pt x="874218" y="204292"/>
                  </a:lnTo>
                  <a:lnTo>
                    <a:pt x="874268" y="204292"/>
                  </a:lnTo>
                  <a:lnTo>
                    <a:pt x="874268" y="204990"/>
                  </a:lnTo>
                  <a:lnTo>
                    <a:pt x="874268" y="204292"/>
                  </a:lnTo>
                  <a:lnTo>
                    <a:pt x="874319" y="204292"/>
                  </a:lnTo>
                  <a:lnTo>
                    <a:pt x="874319" y="203594"/>
                  </a:lnTo>
                  <a:lnTo>
                    <a:pt x="874319" y="204292"/>
                  </a:lnTo>
                  <a:lnTo>
                    <a:pt x="874319" y="203594"/>
                  </a:lnTo>
                  <a:lnTo>
                    <a:pt x="874319" y="204292"/>
                  </a:lnTo>
                  <a:lnTo>
                    <a:pt x="874319" y="203594"/>
                  </a:lnTo>
                  <a:lnTo>
                    <a:pt x="874370" y="203594"/>
                  </a:lnTo>
                  <a:lnTo>
                    <a:pt x="874370" y="202959"/>
                  </a:lnTo>
                  <a:lnTo>
                    <a:pt x="874370" y="203594"/>
                  </a:lnTo>
                  <a:lnTo>
                    <a:pt x="874370" y="202959"/>
                  </a:lnTo>
                  <a:lnTo>
                    <a:pt x="874370" y="203594"/>
                  </a:lnTo>
                  <a:lnTo>
                    <a:pt x="874370" y="202260"/>
                  </a:lnTo>
                  <a:lnTo>
                    <a:pt x="874370" y="202959"/>
                  </a:lnTo>
                  <a:lnTo>
                    <a:pt x="874370" y="202260"/>
                  </a:lnTo>
                  <a:lnTo>
                    <a:pt x="874472" y="202260"/>
                  </a:lnTo>
                  <a:lnTo>
                    <a:pt x="874472" y="200876"/>
                  </a:lnTo>
                  <a:lnTo>
                    <a:pt x="874472" y="202959"/>
                  </a:lnTo>
                  <a:lnTo>
                    <a:pt x="874472" y="202260"/>
                  </a:lnTo>
                  <a:lnTo>
                    <a:pt x="874472" y="202959"/>
                  </a:lnTo>
                  <a:lnTo>
                    <a:pt x="874522" y="202959"/>
                  </a:lnTo>
                  <a:lnTo>
                    <a:pt x="874522" y="202260"/>
                  </a:lnTo>
                  <a:lnTo>
                    <a:pt x="874522" y="204990"/>
                  </a:lnTo>
                  <a:lnTo>
                    <a:pt x="874522" y="204292"/>
                  </a:lnTo>
                  <a:lnTo>
                    <a:pt x="874573" y="204292"/>
                  </a:lnTo>
                  <a:lnTo>
                    <a:pt x="874573" y="203594"/>
                  </a:lnTo>
                  <a:lnTo>
                    <a:pt x="874573" y="204990"/>
                  </a:lnTo>
                  <a:lnTo>
                    <a:pt x="874675" y="204292"/>
                  </a:lnTo>
                  <a:lnTo>
                    <a:pt x="874675" y="204990"/>
                  </a:lnTo>
                  <a:lnTo>
                    <a:pt x="874675" y="204292"/>
                  </a:lnTo>
                  <a:lnTo>
                    <a:pt x="874675" y="204990"/>
                  </a:lnTo>
                  <a:lnTo>
                    <a:pt x="874675" y="204292"/>
                  </a:lnTo>
                  <a:lnTo>
                    <a:pt x="874675" y="206324"/>
                  </a:lnTo>
                  <a:lnTo>
                    <a:pt x="874713" y="206324"/>
                  </a:lnTo>
                  <a:lnTo>
                    <a:pt x="874713" y="204990"/>
                  </a:lnTo>
                  <a:lnTo>
                    <a:pt x="874713" y="206324"/>
                  </a:lnTo>
                  <a:lnTo>
                    <a:pt x="874713" y="204990"/>
                  </a:lnTo>
                  <a:lnTo>
                    <a:pt x="874764" y="204990"/>
                  </a:lnTo>
                  <a:lnTo>
                    <a:pt x="874764" y="206324"/>
                  </a:lnTo>
                  <a:lnTo>
                    <a:pt x="874764" y="204990"/>
                  </a:lnTo>
                  <a:lnTo>
                    <a:pt x="874764" y="206324"/>
                  </a:lnTo>
                  <a:lnTo>
                    <a:pt x="874764" y="204990"/>
                  </a:lnTo>
                  <a:lnTo>
                    <a:pt x="874764" y="206324"/>
                  </a:lnTo>
                  <a:lnTo>
                    <a:pt x="874815" y="206324"/>
                  </a:lnTo>
                  <a:lnTo>
                    <a:pt x="874815" y="204990"/>
                  </a:lnTo>
                  <a:lnTo>
                    <a:pt x="874815" y="206324"/>
                  </a:lnTo>
                  <a:lnTo>
                    <a:pt x="874815" y="203594"/>
                  </a:lnTo>
                  <a:lnTo>
                    <a:pt x="874916" y="204292"/>
                  </a:lnTo>
                  <a:lnTo>
                    <a:pt x="874916" y="202959"/>
                  </a:lnTo>
                  <a:lnTo>
                    <a:pt x="874967" y="202959"/>
                  </a:lnTo>
                  <a:lnTo>
                    <a:pt x="874967" y="200876"/>
                  </a:lnTo>
                  <a:lnTo>
                    <a:pt x="874967" y="203594"/>
                  </a:lnTo>
                  <a:lnTo>
                    <a:pt x="874967" y="202959"/>
                  </a:lnTo>
                  <a:lnTo>
                    <a:pt x="875018" y="202959"/>
                  </a:lnTo>
                  <a:lnTo>
                    <a:pt x="875018" y="202260"/>
                  </a:lnTo>
                  <a:lnTo>
                    <a:pt x="875018" y="204292"/>
                  </a:lnTo>
                  <a:lnTo>
                    <a:pt x="875018" y="203594"/>
                  </a:lnTo>
                  <a:lnTo>
                    <a:pt x="875119" y="203594"/>
                  </a:lnTo>
                  <a:lnTo>
                    <a:pt x="875119" y="204990"/>
                  </a:lnTo>
                  <a:lnTo>
                    <a:pt x="875119" y="203594"/>
                  </a:lnTo>
                  <a:lnTo>
                    <a:pt x="875119" y="204292"/>
                  </a:lnTo>
                  <a:lnTo>
                    <a:pt x="875170" y="204292"/>
                  </a:lnTo>
                  <a:lnTo>
                    <a:pt x="875170" y="204990"/>
                  </a:lnTo>
                  <a:lnTo>
                    <a:pt x="875170" y="204292"/>
                  </a:lnTo>
                  <a:lnTo>
                    <a:pt x="875170" y="204990"/>
                  </a:lnTo>
                  <a:lnTo>
                    <a:pt x="875170" y="204292"/>
                  </a:lnTo>
                  <a:lnTo>
                    <a:pt x="875221" y="204990"/>
                  </a:lnTo>
                  <a:lnTo>
                    <a:pt x="875221" y="206324"/>
                  </a:lnTo>
                  <a:lnTo>
                    <a:pt x="875221" y="204990"/>
                  </a:lnTo>
                  <a:lnTo>
                    <a:pt x="875221" y="206324"/>
                  </a:lnTo>
                  <a:lnTo>
                    <a:pt x="875221" y="204990"/>
                  </a:lnTo>
                  <a:lnTo>
                    <a:pt x="875259" y="206324"/>
                  </a:lnTo>
                  <a:lnTo>
                    <a:pt x="875259" y="204990"/>
                  </a:lnTo>
                  <a:lnTo>
                    <a:pt x="875361" y="204990"/>
                  </a:lnTo>
                  <a:lnTo>
                    <a:pt x="875361" y="204292"/>
                  </a:lnTo>
                  <a:lnTo>
                    <a:pt x="875361" y="204990"/>
                  </a:lnTo>
                  <a:lnTo>
                    <a:pt x="875361" y="204292"/>
                  </a:lnTo>
                  <a:lnTo>
                    <a:pt x="875412" y="203594"/>
                  </a:lnTo>
                  <a:lnTo>
                    <a:pt x="875412" y="204292"/>
                  </a:lnTo>
                  <a:lnTo>
                    <a:pt x="875412" y="202260"/>
                  </a:lnTo>
                  <a:lnTo>
                    <a:pt x="875412" y="202959"/>
                  </a:lnTo>
                  <a:lnTo>
                    <a:pt x="875462" y="202959"/>
                  </a:lnTo>
                  <a:lnTo>
                    <a:pt x="875462" y="200876"/>
                  </a:lnTo>
                  <a:lnTo>
                    <a:pt x="875462" y="203594"/>
                  </a:lnTo>
                  <a:lnTo>
                    <a:pt x="875462" y="202959"/>
                  </a:lnTo>
                  <a:lnTo>
                    <a:pt x="875564" y="202260"/>
                  </a:lnTo>
                  <a:lnTo>
                    <a:pt x="875564" y="200876"/>
                  </a:lnTo>
                  <a:lnTo>
                    <a:pt x="875564" y="204292"/>
                  </a:lnTo>
                  <a:lnTo>
                    <a:pt x="875564" y="202959"/>
                  </a:lnTo>
                  <a:lnTo>
                    <a:pt x="875615" y="202959"/>
                  </a:lnTo>
                  <a:lnTo>
                    <a:pt x="875615" y="204292"/>
                  </a:lnTo>
                  <a:lnTo>
                    <a:pt x="875615" y="203594"/>
                  </a:lnTo>
                  <a:lnTo>
                    <a:pt x="875615" y="204292"/>
                  </a:lnTo>
                  <a:lnTo>
                    <a:pt x="875615" y="203594"/>
                  </a:lnTo>
                  <a:lnTo>
                    <a:pt x="875615" y="204292"/>
                  </a:lnTo>
                  <a:lnTo>
                    <a:pt x="875615" y="203594"/>
                  </a:lnTo>
                  <a:lnTo>
                    <a:pt x="875615" y="204292"/>
                  </a:lnTo>
                  <a:lnTo>
                    <a:pt x="875615" y="203594"/>
                  </a:lnTo>
                  <a:lnTo>
                    <a:pt x="875666" y="203594"/>
                  </a:lnTo>
                  <a:lnTo>
                    <a:pt x="875666" y="204292"/>
                  </a:lnTo>
                  <a:lnTo>
                    <a:pt x="875666" y="203594"/>
                  </a:lnTo>
                  <a:lnTo>
                    <a:pt x="875666" y="204990"/>
                  </a:lnTo>
                  <a:lnTo>
                    <a:pt x="875666" y="204292"/>
                  </a:lnTo>
                  <a:lnTo>
                    <a:pt x="875666" y="204990"/>
                  </a:lnTo>
                  <a:lnTo>
                    <a:pt x="875716" y="204990"/>
                  </a:lnTo>
                  <a:lnTo>
                    <a:pt x="875716" y="204292"/>
                  </a:lnTo>
                  <a:lnTo>
                    <a:pt x="875716" y="206324"/>
                  </a:lnTo>
                  <a:lnTo>
                    <a:pt x="875716" y="204990"/>
                  </a:lnTo>
                  <a:lnTo>
                    <a:pt x="875716" y="206324"/>
                  </a:lnTo>
                  <a:lnTo>
                    <a:pt x="875716" y="204990"/>
                  </a:lnTo>
                  <a:lnTo>
                    <a:pt x="875805" y="204990"/>
                  </a:lnTo>
                  <a:lnTo>
                    <a:pt x="875805" y="206324"/>
                  </a:lnTo>
                  <a:lnTo>
                    <a:pt x="875805" y="204990"/>
                  </a:lnTo>
                  <a:lnTo>
                    <a:pt x="875805" y="206324"/>
                  </a:lnTo>
                  <a:lnTo>
                    <a:pt x="875805" y="204990"/>
                  </a:lnTo>
                  <a:lnTo>
                    <a:pt x="875805" y="206324"/>
                  </a:lnTo>
                  <a:lnTo>
                    <a:pt x="875805" y="204990"/>
                  </a:lnTo>
                  <a:lnTo>
                    <a:pt x="875856" y="204990"/>
                  </a:lnTo>
                  <a:lnTo>
                    <a:pt x="875856" y="204292"/>
                  </a:lnTo>
                  <a:lnTo>
                    <a:pt x="875856" y="204990"/>
                  </a:lnTo>
                  <a:lnTo>
                    <a:pt x="875856" y="203594"/>
                  </a:lnTo>
                  <a:lnTo>
                    <a:pt x="875907" y="204292"/>
                  </a:lnTo>
                  <a:lnTo>
                    <a:pt x="875907" y="202959"/>
                  </a:lnTo>
                  <a:lnTo>
                    <a:pt x="875907" y="203594"/>
                  </a:lnTo>
                  <a:lnTo>
                    <a:pt x="875907" y="202260"/>
                  </a:lnTo>
                  <a:lnTo>
                    <a:pt x="875958" y="202260"/>
                  </a:lnTo>
                  <a:lnTo>
                    <a:pt x="875958" y="203594"/>
                  </a:lnTo>
                  <a:lnTo>
                    <a:pt x="875958" y="200876"/>
                  </a:lnTo>
                  <a:lnTo>
                    <a:pt x="875958" y="202260"/>
                  </a:lnTo>
                  <a:lnTo>
                    <a:pt x="876059" y="202260"/>
                  </a:lnTo>
                  <a:lnTo>
                    <a:pt x="876059" y="204292"/>
                  </a:lnTo>
                  <a:lnTo>
                    <a:pt x="876059" y="203594"/>
                  </a:lnTo>
                  <a:lnTo>
                    <a:pt x="876110" y="203594"/>
                  </a:lnTo>
                  <a:lnTo>
                    <a:pt x="876110" y="202959"/>
                  </a:lnTo>
                  <a:lnTo>
                    <a:pt x="876161" y="202959"/>
                  </a:lnTo>
                  <a:lnTo>
                    <a:pt x="876161" y="204292"/>
                  </a:lnTo>
                  <a:lnTo>
                    <a:pt x="876161" y="203594"/>
                  </a:lnTo>
                  <a:lnTo>
                    <a:pt x="876161" y="204292"/>
                  </a:lnTo>
                  <a:lnTo>
                    <a:pt x="876262" y="204990"/>
                  </a:lnTo>
                  <a:lnTo>
                    <a:pt x="876262" y="204292"/>
                  </a:lnTo>
                  <a:lnTo>
                    <a:pt x="876262" y="204990"/>
                  </a:lnTo>
                  <a:lnTo>
                    <a:pt x="876262" y="204292"/>
                  </a:lnTo>
                  <a:lnTo>
                    <a:pt x="876262" y="204990"/>
                  </a:lnTo>
                  <a:lnTo>
                    <a:pt x="876262" y="204292"/>
                  </a:lnTo>
                  <a:lnTo>
                    <a:pt x="876301" y="204990"/>
                  </a:lnTo>
                  <a:lnTo>
                    <a:pt x="876301" y="204292"/>
                  </a:lnTo>
                  <a:lnTo>
                    <a:pt x="876301" y="204990"/>
                  </a:lnTo>
                  <a:lnTo>
                    <a:pt x="876301" y="204292"/>
                  </a:lnTo>
                  <a:lnTo>
                    <a:pt x="876351" y="204292"/>
                  </a:lnTo>
                  <a:lnTo>
                    <a:pt x="876351" y="203594"/>
                  </a:lnTo>
                  <a:lnTo>
                    <a:pt x="876351" y="204292"/>
                  </a:lnTo>
                  <a:lnTo>
                    <a:pt x="876351" y="203594"/>
                  </a:lnTo>
                  <a:lnTo>
                    <a:pt x="876402" y="203594"/>
                  </a:lnTo>
                  <a:lnTo>
                    <a:pt x="876402" y="202959"/>
                  </a:lnTo>
                  <a:lnTo>
                    <a:pt x="876402" y="203594"/>
                  </a:lnTo>
                  <a:lnTo>
                    <a:pt x="876402" y="202959"/>
                  </a:lnTo>
                  <a:lnTo>
                    <a:pt x="876402" y="204292"/>
                  </a:lnTo>
                  <a:lnTo>
                    <a:pt x="876504" y="204292"/>
                  </a:lnTo>
                  <a:lnTo>
                    <a:pt x="876504" y="203594"/>
                  </a:lnTo>
                  <a:lnTo>
                    <a:pt x="876504" y="204292"/>
                  </a:lnTo>
                  <a:lnTo>
                    <a:pt x="876504" y="203594"/>
                  </a:lnTo>
                  <a:lnTo>
                    <a:pt x="876504" y="206324"/>
                  </a:lnTo>
                  <a:lnTo>
                    <a:pt x="876555" y="204990"/>
                  </a:lnTo>
                  <a:lnTo>
                    <a:pt x="876555" y="204292"/>
                  </a:lnTo>
                  <a:lnTo>
                    <a:pt x="876555" y="206324"/>
                  </a:lnTo>
                  <a:lnTo>
                    <a:pt x="876555" y="204990"/>
                  </a:lnTo>
                  <a:lnTo>
                    <a:pt x="876605" y="204990"/>
                  </a:lnTo>
                  <a:lnTo>
                    <a:pt x="876605" y="206324"/>
                  </a:lnTo>
                  <a:lnTo>
                    <a:pt x="876605" y="204292"/>
                  </a:lnTo>
                  <a:lnTo>
                    <a:pt x="876605" y="204990"/>
                  </a:lnTo>
                  <a:lnTo>
                    <a:pt x="876605" y="204292"/>
                  </a:lnTo>
                  <a:lnTo>
                    <a:pt x="876605" y="204990"/>
                  </a:lnTo>
                  <a:lnTo>
                    <a:pt x="876707" y="204990"/>
                  </a:lnTo>
                  <a:lnTo>
                    <a:pt x="876707" y="206324"/>
                  </a:lnTo>
                  <a:lnTo>
                    <a:pt x="876707" y="204990"/>
                  </a:lnTo>
                  <a:lnTo>
                    <a:pt x="876707" y="206324"/>
                  </a:lnTo>
                  <a:lnTo>
                    <a:pt x="876707" y="204990"/>
                  </a:lnTo>
                  <a:lnTo>
                    <a:pt x="876707" y="206324"/>
                  </a:lnTo>
                  <a:lnTo>
                    <a:pt x="876707" y="204990"/>
                  </a:lnTo>
                  <a:lnTo>
                    <a:pt x="876707" y="206324"/>
                  </a:lnTo>
                  <a:lnTo>
                    <a:pt x="876758" y="206324"/>
                  </a:lnTo>
                  <a:lnTo>
                    <a:pt x="876758" y="207022"/>
                  </a:lnTo>
                  <a:lnTo>
                    <a:pt x="876758" y="206324"/>
                  </a:lnTo>
                  <a:lnTo>
                    <a:pt x="876808" y="206324"/>
                  </a:lnTo>
                  <a:lnTo>
                    <a:pt x="876808" y="204990"/>
                  </a:lnTo>
                  <a:lnTo>
                    <a:pt x="876808" y="206324"/>
                  </a:lnTo>
                  <a:lnTo>
                    <a:pt x="876808" y="204990"/>
                  </a:lnTo>
                  <a:lnTo>
                    <a:pt x="876847" y="206324"/>
                  </a:lnTo>
                  <a:lnTo>
                    <a:pt x="876847" y="204292"/>
                  </a:lnTo>
                  <a:lnTo>
                    <a:pt x="876847" y="204990"/>
                  </a:lnTo>
                  <a:lnTo>
                    <a:pt x="876847" y="203594"/>
                  </a:lnTo>
                  <a:lnTo>
                    <a:pt x="876948" y="203594"/>
                  </a:lnTo>
                  <a:lnTo>
                    <a:pt x="876948" y="204292"/>
                  </a:lnTo>
                  <a:lnTo>
                    <a:pt x="876948" y="202959"/>
                  </a:lnTo>
                  <a:lnTo>
                    <a:pt x="876948" y="204990"/>
                  </a:lnTo>
                  <a:lnTo>
                    <a:pt x="876999" y="204990"/>
                  </a:lnTo>
                  <a:lnTo>
                    <a:pt x="876999" y="203594"/>
                  </a:lnTo>
                  <a:lnTo>
                    <a:pt x="876999" y="206324"/>
                  </a:lnTo>
                  <a:lnTo>
                    <a:pt x="877050" y="204990"/>
                  </a:lnTo>
                  <a:lnTo>
                    <a:pt x="877050" y="207022"/>
                  </a:lnTo>
                  <a:lnTo>
                    <a:pt x="877050" y="206324"/>
                  </a:lnTo>
                  <a:lnTo>
                    <a:pt x="877151" y="206324"/>
                  </a:lnTo>
                  <a:lnTo>
                    <a:pt x="877151" y="204990"/>
                  </a:lnTo>
                  <a:lnTo>
                    <a:pt x="877151" y="207022"/>
                  </a:lnTo>
                  <a:lnTo>
                    <a:pt x="877151" y="206324"/>
                  </a:lnTo>
                  <a:lnTo>
                    <a:pt x="877202" y="206324"/>
                  </a:lnTo>
                  <a:lnTo>
                    <a:pt x="877202" y="207022"/>
                  </a:lnTo>
                  <a:lnTo>
                    <a:pt x="877202" y="206324"/>
                  </a:lnTo>
                  <a:lnTo>
                    <a:pt x="877202" y="207022"/>
                  </a:lnTo>
                  <a:lnTo>
                    <a:pt x="877202" y="206324"/>
                  </a:lnTo>
                  <a:lnTo>
                    <a:pt x="877253" y="206324"/>
                  </a:lnTo>
                  <a:lnTo>
                    <a:pt x="877253" y="207022"/>
                  </a:lnTo>
                  <a:lnTo>
                    <a:pt x="877253" y="206324"/>
                  </a:lnTo>
                  <a:lnTo>
                    <a:pt x="877253" y="207022"/>
                  </a:lnTo>
                  <a:lnTo>
                    <a:pt x="877253" y="206324"/>
                  </a:lnTo>
                  <a:lnTo>
                    <a:pt x="877304" y="204990"/>
                  </a:lnTo>
                  <a:lnTo>
                    <a:pt x="877304" y="206324"/>
                  </a:lnTo>
                  <a:lnTo>
                    <a:pt x="877304" y="204990"/>
                  </a:lnTo>
                  <a:lnTo>
                    <a:pt x="877304" y="206324"/>
                  </a:lnTo>
                  <a:lnTo>
                    <a:pt x="877304" y="204990"/>
                  </a:lnTo>
                  <a:lnTo>
                    <a:pt x="877304" y="206324"/>
                  </a:lnTo>
                  <a:lnTo>
                    <a:pt x="877304" y="204292"/>
                  </a:lnTo>
                  <a:lnTo>
                    <a:pt x="877393" y="204292"/>
                  </a:lnTo>
                  <a:lnTo>
                    <a:pt x="877393" y="202959"/>
                  </a:lnTo>
                  <a:lnTo>
                    <a:pt x="877393" y="203594"/>
                  </a:lnTo>
                  <a:lnTo>
                    <a:pt x="877443" y="203594"/>
                  </a:lnTo>
                  <a:lnTo>
                    <a:pt x="877443" y="202959"/>
                  </a:lnTo>
                  <a:lnTo>
                    <a:pt x="877443" y="204292"/>
                  </a:lnTo>
                  <a:lnTo>
                    <a:pt x="877443" y="203594"/>
                  </a:lnTo>
                  <a:lnTo>
                    <a:pt x="877494" y="203594"/>
                  </a:lnTo>
                  <a:lnTo>
                    <a:pt x="877494" y="202959"/>
                  </a:lnTo>
                  <a:lnTo>
                    <a:pt x="877494" y="204990"/>
                  </a:lnTo>
                  <a:lnTo>
                    <a:pt x="877494" y="204292"/>
                  </a:lnTo>
                  <a:lnTo>
                    <a:pt x="877545" y="204292"/>
                  </a:lnTo>
                  <a:lnTo>
                    <a:pt x="877545" y="203594"/>
                  </a:lnTo>
                  <a:lnTo>
                    <a:pt x="877545" y="206324"/>
                  </a:lnTo>
                  <a:lnTo>
                    <a:pt x="877545" y="204990"/>
                  </a:lnTo>
                  <a:lnTo>
                    <a:pt x="877545" y="206324"/>
                  </a:lnTo>
                  <a:lnTo>
                    <a:pt x="877545" y="204292"/>
                  </a:lnTo>
                  <a:lnTo>
                    <a:pt x="877647" y="204990"/>
                  </a:lnTo>
                  <a:lnTo>
                    <a:pt x="877647" y="204292"/>
                  </a:lnTo>
                  <a:lnTo>
                    <a:pt x="877647" y="206324"/>
                  </a:lnTo>
                  <a:lnTo>
                    <a:pt x="877647" y="204990"/>
                  </a:lnTo>
                  <a:lnTo>
                    <a:pt x="877647" y="206324"/>
                  </a:lnTo>
                  <a:lnTo>
                    <a:pt x="877647" y="204990"/>
                  </a:lnTo>
                  <a:lnTo>
                    <a:pt x="877697" y="204990"/>
                  </a:lnTo>
                  <a:lnTo>
                    <a:pt x="877697" y="207022"/>
                  </a:lnTo>
                  <a:lnTo>
                    <a:pt x="877697" y="206324"/>
                  </a:lnTo>
                  <a:lnTo>
                    <a:pt x="877748" y="206324"/>
                  </a:lnTo>
                  <a:lnTo>
                    <a:pt x="877748" y="207022"/>
                  </a:lnTo>
                  <a:lnTo>
                    <a:pt x="877748" y="206324"/>
                  </a:lnTo>
                  <a:lnTo>
                    <a:pt x="877748" y="207022"/>
                  </a:lnTo>
                  <a:lnTo>
                    <a:pt x="877748" y="206324"/>
                  </a:lnTo>
                  <a:lnTo>
                    <a:pt x="877850" y="206324"/>
                  </a:lnTo>
                  <a:lnTo>
                    <a:pt x="877850" y="204990"/>
                  </a:lnTo>
                  <a:lnTo>
                    <a:pt x="877888" y="204990"/>
                  </a:lnTo>
                  <a:lnTo>
                    <a:pt x="877888" y="202959"/>
                  </a:lnTo>
                  <a:lnTo>
                    <a:pt x="877939" y="202959"/>
                  </a:lnTo>
                  <a:lnTo>
                    <a:pt x="877939" y="204292"/>
                  </a:lnTo>
                  <a:lnTo>
                    <a:pt x="877939" y="202959"/>
                  </a:lnTo>
                  <a:lnTo>
                    <a:pt x="877990" y="202959"/>
                  </a:lnTo>
                  <a:lnTo>
                    <a:pt x="877990" y="206324"/>
                  </a:lnTo>
                  <a:lnTo>
                    <a:pt x="877990" y="204990"/>
                  </a:lnTo>
                  <a:lnTo>
                    <a:pt x="877990" y="206324"/>
                  </a:lnTo>
                  <a:lnTo>
                    <a:pt x="877990" y="203594"/>
                  </a:lnTo>
                  <a:lnTo>
                    <a:pt x="877990" y="204292"/>
                  </a:lnTo>
                  <a:lnTo>
                    <a:pt x="878091" y="204292"/>
                  </a:lnTo>
                  <a:lnTo>
                    <a:pt x="878091" y="206324"/>
                  </a:lnTo>
                  <a:lnTo>
                    <a:pt x="878091" y="204990"/>
                  </a:lnTo>
                  <a:lnTo>
                    <a:pt x="878091" y="206324"/>
                  </a:lnTo>
                  <a:lnTo>
                    <a:pt x="878091" y="204990"/>
                  </a:lnTo>
                  <a:lnTo>
                    <a:pt x="878142" y="204990"/>
                  </a:lnTo>
                  <a:lnTo>
                    <a:pt x="878142" y="206324"/>
                  </a:lnTo>
                  <a:lnTo>
                    <a:pt x="878142" y="204990"/>
                  </a:lnTo>
                  <a:lnTo>
                    <a:pt x="878193" y="206324"/>
                  </a:lnTo>
                  <a:lnTo>
                    <a:pt x="878193" y="207022"/>
                  </a:lnTo>
                  <a:lnTo>
                    <a:pt x="878193" y="206324"/>
                  </a:lnTo>
                  <a:lnTo>
                    <a:pt x="878294" y="206324"/>
                  </a:lnTo>
                  <a:lnTo>
                    <a:pt x="878294" y="204990"/>
                  </a:lnTo>
                  <a:lnTo>
                    <a:pt x="878294" y="206324"/>
                  </a:lnTo>
                  <a:lnTo>
                    <a:pt x="878294" y="204990"/>
                  </a:lnTo>
                  <a:lnTo>
                    <a:pt x="878345" y="204990"/>
                  </a:lnTo>
                  <a:lnTo>
                    <a:pt x="878345" y="206324"/>
                  </a:lnTo>
                  <a:lnTo>
                    <a:pt x="878345" y="204990"/>
                  </a:lnTo>
                  <a:lnTo>
                    <a:pt x="878345" y="206324"/>
                  </a:lnTo>
                  <a:lnTo>
                    <a:pt x="878345" y="204292"/>
                  </a:lnTo>
                  <a:lnTo>
                    <a:pt x="878345" y="204990"/>
                  </a:lnTo>
                  <a:lnTo>
                    <a:pt x="878345" y="204292"/>
                  </a:lnTo>
                  <a:lnTo>
                    <a:pt x="878396" y="204292"/>
                  </a:lnTo>
                  <a:lnTo>
                    <a:pt x="878396" y="204990"/>
                  </a:lnTo>
                  <a:lnTo>
                    <a:pt x="878396" y="202959"/>
                  </a:lnTo>
                  <a:lnTo>
                    <a:pt x="878396" y="203594"/>
                  </a:lnTo>
                  <a:lnTo>
                    <a:pt x="878396" y="202959"/>
                  </a:lnTo>
                  <a:lnTo>
                    <a:pt x="878434" y="202959"/>
                  </a:lnTo>
                  <a:lnTo>
                    <a:pt x="878434" y="202260"/>
                  </a:lnTo>
                  <a:lnTo>
                    <a:pt x="878434" y="204292"/>
                  </a:lnTo>
                  <a:lnTo>
                    <a:pt x="878434" y="202260"/>
                  </a:lnTo>
                  <a:lnTo>
                    <a:pt x="878536" y="200876"/>
                  </a:lnTo>
                  <a:lnTo>
                    <a:pt x="878536" y="204292"/>
                  </a:lnTo>
                  <a:lnTo>
                    <a:pt x="878536" y="203594"/>
                  </a:lnTo>
                  <a:lnTo>
                    <a:pt x="878587" y="203594"/>
                  </a:lnTo>
                  <a:lnTo>
                    <a:pt x="878587" y="204990"/>
                  </a:lnTo>
                  <a:lnTo>
                    <a:pt x="878587" y="203594"/>
                  </a:lnTo>
                  <a:lnTo>
                    <a:pt x="878587" y="204292"/>
                  </a:lnTo>
                  <a:lnTo>
                    <a:pt x="878637" y="204292"/>
                  </a:lnTo>
                  <a:lnTo>
                    <a:pt x="878637" y="204990"/>
                  </a:lnTo>
                  <a:lnTo>
                    <a:pt x="878637" y="204292"/>
                  </a:lnTo>
                  <a:lnTo>
                    <a:pt x="878637" y="204990"/>
                  </a:lnTo>
                  <a:lnTo>
                    <a:pt x="878637" y="204292"/>
                  </a:lnTo>
                  <a:lnTo>
                    <a:pt x="878637" y="204990"/>
                  </a:lnTo>
                  <a:lnTo>
                    <a:pt x="878739" y="204990"/>
                  </a:lnTo>
                  <a:lnTo>
                    <a:pt x="878739" y="206324"/>
                  </a:lnTo>
                  <a:lnTo>
                    <a:pt x="878739" y="204990"/>
                  </a:lnTo>
                  <a:lnTo>
                    <a:pt x="878739" y="206324"/>
                  </a:lnTo>
                  <a:lnTo>
                    <a:pt x="878790" y="206324"/>
                  </a:lnTo>
                  <a:lnTo>
                    <a:pt x="878790" y="204990"/>
                  </a:lnTo>
                  <a:lnTo>
                    <a:pt x="878790" y="206324"/>
                  </a:lnTo>
                  <a:lnTo>
                    <a:pt x="878841" y="206324"/>
                  </a:lnTo>
                  <a:lnTo>
                    <a:pt x="878841" y="204990"/>
                  </a:lnTo>
                  <a:lnTo>
                    <a:pt x="878841" y="206324"/>
                  </a:lnTo>
                  <a:lnTo>
                    <a:pt x="878841" y="204292"/>
                  </a:lnTo>
                  <a:lnTo>
                    <a:pt x="878841" y="204990"/>
                  </a:lnTo>
                  <a:lnTo>
                    <a:pt x="878841" y="204292"/>
                  </a:lnTo>
                  <a:lnTo>
                    <a:pt x="878891" y="204292"/>
                  </a:lnTo>
                  <a:lnTo>
                    <a:pt x="878891" y="203594"/>
                  </a:lnTo>
                  <a:lnTo>
                    <a:pt x="878891" y="204292"/>
                  </a:lnTo>
                  <a:lnTo>
                    <a:pt x="878891" y="202260"/>
                  </a:lnTo>
                  <a:lnTo>
                    <a:pt x="878980" y="202260"/>
                  </a:lnTo>
                  <a:lnTo>
                    <a:pt x="878980" y="203594"/>
                  </a:lnTo>
                  <a:lnTo>
                    <a:pt x="878980" y="200876"/>
                  </a:lnTo>
                  <a:lnTo>
                    <a:pt x="879031" y="200876"/>
                  </a:lnTo>
                  <a:lnTo>
                    <a:pt x="879031" y="203594"/>
                  </a:lnTo>
                  <a:lnTo>
                    <a:pt x="879031" y="202959"/>
                  </a:lnTo>
                  <a:lnTo>
                    <a:pt x="879082" y="202959"/>
                  </a:lnTo>
                  <a:lnTo>
                    <a:pt x="879082" y="204292"/>
                  </a:lnTo>
                  <a:lnTo>
                    <a:pt x="879082" y="203594"/>
                  </a:lnTo>
                  <a:lnTo>
                    <a:pt x="879082" y="204292"/>
                  </a:lnTo>
                  <a:lnTo>
                    <a:pt x="879082" y="202959"/>
                  </a:lnTo>
                  <a:lnTo>
                    <a:pt x="879082" y="203594"/>
                  </a:lnTo>
                  <a:lnTo>
                    <a:pt x="879082" y="202959"/>
                  </a:lnTo>
                  <a:lnTo>
                    <a:pt x="879082" y="203594"/>
                  </a:lnTo>
                  <a:lnTo>
                    <a:pt x="879133" y="203594"/>
                  </a:lnTo>
                  <a:lnTo>
                    <a:pt x="879133" y="204292"/>
                  </a:lnTo>
                  <a:lnTo>
                    <a:pt x="879133" y="203594"/>
                  </a:lnTo>
                  <a:lnTo>
                    <a:pt x="879234" y="204292"/>
                  </a:lnTo>
                  <a:lnTo>
                    <a:pt x="879234" y="204990"/>
                  </a:lnTo>
                  <a:lnTo>
                    <a:pt x="879234" y="204292"/>
                  </a:lnTo>
                  <a:lnTo>
                    <a:pt x="879285" y="204292"/>
                  </a:lnTo>
                  <a:lnTo>
                    <a:pt x="879285" y="204990"/>
                  </a:lnTo>
                  <a:lnTo>
                    <a:pt x="879285" y="204292"/>
                  </a:lnTo>
                  <a:lnTo>
                    <a:pt x="879285" y="204990"/>
                  </a:lnTo>
                  <a:lnTo>
                    <a:pt x="879285" y="204292"/>
                  </a:lnTo>
                  <a:lnTo>
                    <a:pt x="879336" y="204292"/>
                  </a:lnTo>
                  <a:lnTo>
                    <a:pt x="879336" y="204990"/>
                  </a:lnTo>
                  <a:lnTo>
                    <a:pt x="879336" y="204292"/>
                  </a:lnTo>
                  <a:lnTo>
                    <a:pt x="879336" y="204990"/>
                  </a:lnTo>
                  <a:lnTo>
                    <a:pt x="879336" y="204292"/>
                  </a:lnTo>
                  <a:lnTo>
                    <a:pt x="879437" y="204292"/>
                  </a:lnTo>
                  <a:lnTo>
                    <a:pt x="879437" y="203594"/>
                  </a:lnTo>
                  <a:lnTo>
                    <a:pt x="879437" y="204292"/>
                  </a:lnTo>
                  <a:lnTo>
                    <a:pt x="879437" y="202959"/>
                  </a:lnTo>
                  <a:lnTo>
                    <a:pt x="879437" y="204292"/>
                  </a:lnTo>
                  <a:lnTo>
                    <a:pt x="879476" y="204292"/>
                  </a:lnTo>
                  <a:lnTo>
                    <a:pt x="879476" y="204990"/>
                  </a:lnTo>
                  <a:lnTo>
                    <a:pt x="879476" y="202959"/>
                  </a:lnTo>
                  <a:lnTo>
                    <a:pt x="879476" y="204990"/>
                  </a:lnTo>
                  <a:lnTo>
                    <a:pt x="879526" y="204990"/>
                  </a:lnTo>
                  <a:lnTo>
                    <a:pt x="879526" y="206324"/>
                  </a:lnTo>
                  <a:lnTo>
                    <a:pt x="879526" y="203594"/>
                  </a:lnTo>
                  <a:lnTo>
                    <a:pt x="879526" y="206324"/>
                  </a:lnTo>
                  <a:lnTo>
                    <a:pt x="879577" y="206324"/>
                  </a:lnTo>
                  <a:lnTo>
                    <a:pt x="879577" y="204292"/>
                  </a:lnTo>
                  <a:lnTo>
                    <a:pt x="879577" y="204990"/>
                  </a:lnTo>
                  <a:lnTo>
                    <a:pt x="879679" y="204990"/>
                  </a:lnTo>
                  <a:lnTo>
                    <a:pt x="879679" y="204292"/>
                  </a:lnTo>
                  <a:lnTo>
                    <a:pt x="879679" y="204990"/>
                  </a:lnTo>
                  <a:lnTo>
                    <a:pt x="879679" y="204292"/>
                  </a:lnTo>
                  <a:lnTo>
                    <a:pt x="879730" y="204292"/>
                  </a:lnTo>
                  <a:lnTo>
                    <a:pt x="879730" y="204990"/>
                  </a:lnTo>
                  <a:lnTo>
                    <a:pt x="879730" y="204292"/>
                  </a:lnTo>
                  <a:lnTo>
                    <a:pt x="879730" y="206324"/>
                  </a:lnTo>
                  <a:lnTo>
                    <a:pt x="879730" y="204990"/>
                  </a:lnTo>
                  <a:lnTo>
                    <a:pt x="879780" y="204990"/>
                  </a:lnTo>
                  <a:lnTo>
                    <a:pt x="879780" y="204292"/>
                  </a:lnTo>
                  <a:lnTo>
                    <a:pt x="879780" y="204990"/>
                  </a:lnTo>
                  <a:lnTo>
                    <a:pt x="879882" y="204990"/>
                  </a:lnTo>
                  <a:lnTo>
                    <a:pt x="879882" y="204292"/>
                  </a:lnTo>
                  <a:lnTo>
                    <a:pt x="879882" y="204990"/>
                  </a:lnTo>
                  <a:lnTo>
                    <a:pt x="879882" y="202959"/>
                  </a:lnTo>
                  <a:lnTo>
                    <a:pt x="879933" y="202959"/>
                  </a:lnTo>
                  <a:lnTo>
                    <a:pt x="879933" y="204292"/>
                  </a:lnTo>
                  <a:lnTo>
                    <a:pt x="879933" y="202959"/>
                  </a:lnTo>
                  <a:lnTo>
                    <a:pt x="879933" y="204990"/>
                  </a:lnTo>
                  <a:lnTo>
                    <a:pt x="879983" y="204292"/>
                  </a:lnTo>
                  <a:lnTo>
                    <a:pt x="879983" y="203594"/>
                  </a:lnTo>
                  <a:lnTo>
                    <a:pt x="879983" y="206324"/>
                  </a:lnTo>
                  <a:lnTo>
                    <a:pt x="879983" y="204292"/>
                  </a:lnTo>
                  <a:lnTo>
                    <a:pt x="880022" y="204990"/>
                  </a:lnTo>
                  <a:lnTo>
                    <a:pt x="880022" y="204292"/>
                  </a:lnTo>
                  <a:lnTo>
                    <a:pt x="880022" y="206324"/>
                  </a:lnTo>
                  <a:lnTo>
                    <a:pt x="880123" y="206324"/>
                  </a:lnTo>
                  <a:lnTo>
                    <a:pt x="880123" y="204990"/>
                  </a:lnTo>
                  <a:lnTo>
                    <a:pt x="880123" y="206324"/>
                  </a:lnTo>
                  <a:lnTo>
                    <a:pt x="880123" y="204990"/>
                  </a:lnTo>
                  <a:lnTo>
                    <a:pt x="880123" y="206324"/>
                  </a:lnTo>
                  <a:lnTo>
                    <a:pt x="880123" y="204990"/>
                  </a:lnTo>
                  <a:lnTo>
                    <a:pt x="880174" y="204990"/>
                  </a:lnTo>
                  <a:lnTo>
                    <a:pt x="880174" y="204292"/>
                  </a:lnTo>
                  <a:lnTo>
                    <a:pt x="880174" y="204990"/>
                  </a:lnTo>
                  <a:lnTo>
                    <a:pt x="880174" y="204292"/>
                  </a:lnTo>
                  <a:lnTo>
                    <a:pt x="880225" y="204990"/>
                  </a:lnTo>
                  <a:lnTo>
                    <a:pt x="880225" y="204292"/>
                  </a:lnTo>
                  <a:lnTo>
                    <a:pt x="880225" y="204990"/>
                  </a:lnTo>
                  <a:lnTo>
                    <a:pt x="880225" y="204292"/>
                  </a:lnTo>
                  <a:lnTo>
                    <a:pt x="880225" y="204990"/>
                  </a:lnTo>
                  <a:lnTo>
                    <a:pt x="880326" y="204990"/>
                  </a:lnTo>
                  <a:lnTo>
                    <a:pt x="880326" y="204292"/>
                  </a:lnTo>
                  <a:lnTo>
                    <a:pt x="880377" y="204292"/>
                  </a:lnTo>
                  <a:lnTo>
                    <a:pt x="880377" y="203594"/>
                  </a:lnTo>
                  <a:lnTo>
                    <a:pt x="880377" y="204292"/>
                  </a:lnTo>
                  <a:lnTo>
                    <a:pt x="880377" y="202260"/>
                  </a:lnTo>
                  <a:lnTo>
                    <a:pt x="880377" y="202959"/>
                  </a:lnTo>
                  <a:lnTo>
                    <a:pt x="880428" y="202260"/>
                  </a:lnTo>
                  <a:lnTo>
                    <a:pt x="880428" y="204292"/>
                  </a:lnTo>
                  <a:lnTo>
                    <a:pt x="880428" y="202959"/>
                  </a:lnTo>
                  <a:lnTo>
                    <a:pt x="880479" y="203594"/>
                  </a:lnTo>
                  <a:lnTo>
                    <a:pt x="880479" y="206324"/>
                  </a:lnTo>
                  <a:lnTo>
                    <a:pt x="880479" y="204292"/>
                  </a:lnTo>
                  <a:lnTo>
                    <a:pt x="880479" y="204990"/>
                  </a:lnTo>
                  <a:lnTo>
                    <a:pt x="880568" y="206324"/>
                  </a:lnTo>
                  <a:lnTo>
                    <a:pt x="880568" y="204990"/>
                  </a:lnTo>
                  <a:lnTo>
                    <a:pt x="880618" y="206324"/>
                  </a:lnTo>
                  <a:lnTo>
                    <a:pt x="880618" y="207022"/>
                  </a:lnTo>
                  <a:lnTo>
                    <a:pt x="880618" y="206324"/>
                  </a:lnTo>
                  <a:lnTo>
                    <a:pt x="880669" y="206324"/>
                  </a:lnTo>
                  <a:lnTo>
                    <a:pt x="880669" y="207022"/>
                  </a:lnTo>
                  <a:lnTo>
                    <a:pt x="880669" y="206324"/>
                  </a:lnTo>
                  <a:lnTo>
                    <a:pt x="880669" y="207022"/>
                  </a:lnTo>
                  <a:lnTo>
                    <a:pt x="880669" y="206324"/>
                  </a:lnTo>
                  <a:lnTo>
                    <a:pt x="880669" y="207022"/>
                  </a:lnTo>
                  <a:lnTo>
                    <a:pt x="880669" y="206324"/>
                  </a:lnTo>
                  <a:lnTo>
                    <a:pt x="880669" y="207022"/>
                  </a:lnTo>
                  <a:lnTo>
                    <a:pt x="880720" y="206324"/>
                  </a:lnTo>
                  <a:lnTo>
                    <a:pt x="880720" y="207022"/>
                  </a:lnTo>
                  <a:lnTo>
                    <a:pt x="880720" y="206324"/>
                  </a:lnTo>
                  <a:lnTo>
                    <a:pt x="880720" y="207022"/>
                  </a:lnTo>
                  <a:lnTo>
                    <a:pt x="880720" y="206324"/>
                  </a:lnTo>
                  <a:lnTo>
                    <a:pt x="880720" y="207022"/>
                  </a:lnTo>
                  <a:lnTo>
                    <a:pt x="880822" y="206324"/>
                  </a:lnTo>
                  <a:lnTo>
                    <a:pt x="880822" y="204990"/>
                  </a:lnTo>
                  <a:lnTo>
                    <a:pt x="880822" y="206324"/>
                  </a:lnTo>
                  <a:lnTo>
                    <a:pt x="880822" y="204292"/>
                  </a:lnTo>
                  <a:lnTo>
                    <a:pt x="880822" y="204990"/>
                  </a:lnTo>
                  <a:lnTo>
                    <a:pt x="880822" y="204292"/>
                  </a:lnTo>
                  <a:lnTo>
                    <a:pt x="880872" y="204292"/>
                  </a:lnTo>
                  <a:lnTo>
                    <a:pt x="880872" y="204990"/>
                  </a:lnTo>
                  <a:lnTo>
                    <a:pt x="880872" y="202959"/>
                  </a:lnTo>
                  <a:lnTo>
                    <a:pt x="880872" y="204292"/>
                  </a:lnTo>
                  <a:lnTo>
                    <a:pt x="880923" y="204292"/>
                  </a:lnTo>
                  <a:lnTo>
                    <a:pt x="880923" y="202959"/>
                  </a:lnTo>
                  <a:lnTo>
                    <a:pt x="880923" y="206324"/>
                  </a:lnTo>
                  <a:lnTo>
                    <a:pt x="880923" y="204990"/>
                  </a:lnTo>
                  <a:lnTo>
                    <a:pt x="881025" y="204990"/>
                  </a:lnTo>
                  <a:lnTo>
                    <a:pt x="881025" y="204292"/>
                  </a:lnTo>
                  <a:lnTo>
                    <a:pt x="881025" y="206324"/>
                  </a:lnTo>
                  <a:lnTo>
                    <a:pt x="881025" y="204990"/>
                  </a:lnTo>
                  <a:lnTo>
                    <a:pt x="881025" y="206324"/>
                  </a:lnTo>
                  <a:lnTo>
                    <a:pt x="881025" y="204990"/>
                  </a:lnTo>
                  <a:lnTo>
                    <a:pt x="881025" y="206324"/>
                  </a:lnTo>
                  <a:lnTo>
                    <a:pt x="881025" y="204990"/>
                  </a:lnTo>
                  <a:lnTo>
                    <a:pt x="881063" y="204990"/>
                  </a:lnTo>
                  <a:lnTo>
                    <a:pt x="881063" y="206324"/>
                  </a:lnTo>
                  <a:lnTo>
                    <a:pt x="881165" y="206324"/>
                  </a:lnTo>
                  <a:lnTo>
                    <a:pt x="881165" y="207022"/>
                  </a:lnTo>
                  <a:lnTo>
                    <a:pt x="881165" y="206324"/>
                  </a:lnTo>
                  <a:lnTo>
                    <a:pt x="881165" y="207022"/>
                  </a:lnTo>
                  <a:lnTo>
                    <a:pt x="881165" y="206324"/>
                  </a:lnTo>
                  <a:lnTo>
                    <a:pt x="881266" y="206324"/>
                  </a:lnTo>
                  <a:lnTo>
                    <a:pt x="881266" y="204990"/>
                  </a:lnTo>
                  <a:lnTo>
                    <a:pt x="881317" y="204990"/>
                  </a:lnTo>
                  <a:lnTo>
                    <a:pt x="881317" y="204292"/>
                  </a:lnTo>
                  <a:lnTo>
                    <a:pt x="881317" y="204990"/>
                  </a:lnTo>
                  <a:lnTo>
                    <a:pt x="881317" y="203594"/>
                  </a:lnTo>
                  <a:lnTo>
                    <a:pt x="881368" y="203594"/>
                  </a:lnTo>
                  <a:lnTo>
                    <a:pt x="881368" y="202260"/>
                  </a:lnTo>
                  <a:lnTo>
                    <a:pt x="881368" y="204292"/>
                  </a:lnTo>
                  <a:lnTo>
                    <a:pt x="881368" y="203594"/>
                  </a:lnTo>
                  <a:lnTo>
                    <a:pt x="881469" y="203594"/>
                  </a:lnTo>
                  <a:lnTo>
                    <a:pt x="881469" y="202260"/>
                  </a:lnTo>
                  <a:lnTo>
                    <a:pt x="881469" y="204990"/>
                  </a:lnTo>
                  <a:lnTo>
                    <a:pt x="881520" y="204292"/>
                  </a:lnTo>
                  <a:lnTo>
                    <a:pt x="881520" y="203594"/>
                  </a:lnTo>
                  <a:lnTo>
                    <a:pt x="881520" y="206324"/>
                  </a:lnTo>
                  <a:lnTo>
                    <a:pt x="881520" y="204990"/>
                  </a:lnTo>
                  <a:lnTo>
                    <a:pt x="881571" y="204990"/>
                  </a:lnTo>
                  <a:lnTo>
                    <a:pt x="881571" y="206324"/>
                  </a:lnTo>
                  <a:lnTo>
                    <a:pt x="881571" y="204990"/>
                  </a:lnTo>
                  <a:lnTo>
                    <a:pt x="881609" y="204292"/>
                  </a:lnTo>
                  <a:lnTo>
                    <a:pt x="881609" y="206324"/>
                  </a:lnTo>
                  <a:lnTo>
                    <a:pt x="881609" y="204990"/>
                  </a:lnTo>
                  <a:lnTo>
                    <a:pt x="881711" y="204990"/>
                  </a:lnTo>
                  <a:lnTo>
                    <a:pt x="881711" y="207022"/>
                  </a:lnTo>
                  <a:lnTo>
                    <a:pt x="881711" y="206324"/>
                  </a:lnTo>
                  <a:lnTo>
                    <a:pt x="881762" y="206324"/>
                  </a:lnTo>
                  <a:lnTo>
                    <a:pt x="881762" y="207022"/>
                  </a:lnTo>
                  <a:lnTo>
                    <a:pt x="881762" y="206324"/>
                  </a:lnTo>
                  <a:lnTo>
                    <a:pt x="881762" y="207022"/>
                  </a:lnTo>
                  <a:lnTo>
                    <a:pt x="881762" y="206324"/>
                  </a:lnTo>
                  <a:lnTo>
                    <a:pt x="881812" y="206324"/>
                  </a:lnTo>
                  <a:lnTo>
                    <a:pt x="881812" y="204292"/>
                  </a:lnTo>
                  <a:lnTo>
                    <a:pt x="881812" y="204990"/>
                  </a:lnTo>
                  <a:lnTo>
                    <a:pt x="881812" y="204292"/>
                  </a:lnTo>
                  <a:lnTo>
                    <a:pt x="881914" y="204292"/>
                  </a:lnTo>
                  <a:lnTo>
                    <a:pt x="881914" y="202959"/>
                  </a:lnTo>
                  <a:lnTo>
                    <a:pt x="881914" y="204292"/>
                  </a:lnTo>
                  <a:lnTo>
                    <a:pt x="881914" y="202959"/>
                  </a:lnTo>
                  <a:lnTo>
                    <a:pt x="881965" y="202959"/>
                  </a:lnTo>
                  <a:lnTo>
                    <a:pt x="881965" y="204990"/>
                  </a:lnTo>
                  <a:lnTo>
                    <a:pt x="881965" y="203594"/>
                  </a:lnTo>
                  <a:lnTo>
                    <a:pt x="881965" y="204292"/>
                  </a:lnTo>
                  <a:lnTo>
                    <a:pt x="881965" y="203594"/>
                  </a:lnTo>
                  <a:lnTo>
                    <a:pt x="882016" y="203594"/>
                  </a:lnTo>
                  <a:lnTo>
                    <a:pt x="882016" y="204990"/>
                  </a:lnTo>
                  <a:lnTo>
                    <a:pt x="882016" y="204292"/>
                  </a:lnTo>
                  <a:lnTo>
                    <a:pt x="882066" y="204292"/>
                  </a:lnTo>
                  <a:lnTo>
                    <a:pt x="882066" y="204990"/>
                  </a:lnTo>
                  <a:lnTo>
                    <a:pt x="882066" y="204292"/>
                  </a:lnTo>
                  <a:lnTo>
                    <a:pt x="882066" y="204990"/>
                  </a:lnTo>
                  <a:lnTo>
                    <a:pt x="882066" y="204292"/>
                  </a:lnTo>
                  <a:lnTo>
                    <a:pt x="882066" y="204990"/>
                  </a:lnTo>
                  <a:lnTo>
                    <a:pt x="882155" y="204990"/>
                  </a:lnTo>
                  <a:lnTo>
                    <a:pt x="882155" y="206324"/>
                  </a:lnTo>
                  <a:lnTo>
                    <a:pt x="882206" y="204990"/>
                  </a:lnTo>
                  <a:lnTo>
                    <a:pt x="882206" y="206324"/>
                  </a:lnTo>
                  <a:lnTo>
                    <a:pt x="882206" y="204990"/>
                  </a:lnTo>
                  <a:lnTo>
                    <a:pt x="882206" y="206324"/>
                  </a:lnTo>
                  <a:lnTo>
                    <a:pt x="882206" y="204990"/>
                  </a:lnTo>
                  <a:lnTo>
                    <a:pt x="882257" y="204990"/>
                  </a:lnTo>
                  <a:lnTo>
                    <a:pt x="882257" y="206324"/>
                  </a:lnTo>
                  <a:lnTo>
                    <a:pt x="882257" y="204292"/>
                  </a:lnTo>
                  <a:lnTo>
                    <a:pt x="882257" y="204990"/>
                  </a:lnTo>
                  <a:lnTo>
                    <a:pt x="882308" y="204990"/>
                  </a:lnTo>
                  <a:lnTo>
                    <a:pt x="882308" y="203594"/>
                  </a:lnTo>
                  <a:lnTo>
                    <a:pt x="882308" y="204292"/>
                  </a:lnTo>
                  <a:lnTo>
                    <a:pt x="882308" y="203594"/>
                  </a:lnTo>
                  <a:lnTo>
                    <a:pt x="882308" y="204292"/>
                  </a:lnTo>
                  <a:lnTo>
                    <a:pt x="882409" y="204292"/>
                  </a:lnTo>
                  <a:lnTo>
                    <a:pt x="882409" y="204990"/>
                  </a:lnTo>
                  <a:lnTo>
                    <a:pt x="882409" y="202959"/>
                  </a:lnTo>
                  <a:lnTo>
                    <a:pt x="882409" y="204990"/>
                  </a:lnTo>
                  <a:lnTo>
                    <a:pt x="882460" y="206324"/>
                  </a:lnTo>
                  <a:lnTo>
                    <a:pt x="882460" y="207022"/>
                  </a:lnTo>
                  <a:lnTo>
                    <a:pt x="882460" y="204292"/>
                  </a:lnTo>
                  <a:lnTo>
                    <a:pt x="882460" y="207022"/>
                  </a:lnTo>
                  <a:lnTo>
                    <a:pt x="882511" y="207022"/>
                  </a:lnTo>
                  <a:lnTo>
                    <a:pt x="882511" y="204990"/>
                  </a:lnTo>
                  <a:lnTo>
                    <a:pt x="882511" y="206324"/>
                  </a:lnTo>
                  <a:lnTo>
                    <a:pt x="882612" y="206324"/>
                  </a:lnTo>
                  <a:lnTo>
                    <a:pt x="882612" y="204990"/>
                  </a:lnTo>
                  <a:lnTo>
                    <a:pt x="882612" y="206324"/>
                  </a:lnTo>
                  <a:lnTo>
                    <a:pt x="882651" y="206324"/>
                  </a:lnTo>
                  <a:lnTo>
                    <a:pt x="882651" y="207022"/>
                  </a:lnTo>
                  <a:lnTo>
                    <a:pt x="882651" y="206324"/>
                  </a:lnTo>
                  <a:lnTo>
                    <a:pt x="882651" y="207022"/>
                  </a:lnTo>
                  <a:lnTo>
                    <a:pt x="882651" y="206324"/>
                  </a:lnTo>
                  <a:lnTo>
                    <a:pt x="882701" y="206324"/>
                  </a:lnTo>
                  <a:lnTo>
                    <a:pt x="882701" y="207022"/>
                  </a:lnTo>
                  <a:lnTo>
                    <a:pt x="882701" y="206324"/>
                  </a:lnTo>
                  <a:lnTo>
                    <a:pt x="882752" y="206324"/>
                  </a:lnTo>
                  <a:lnTo>
                    <a:pt x="882752" y="204292"/>
                  </a:lnTo>
                  <a:lnTo>
                    <a:pt x="882854" y="204292"/>
                  </a:lnTo>
                  <a:lnTo>
                    <a:pt x="882854" y="203594"/>
                  </a:lnTo>
                  <a:lnTo>
                    <a:pt x="882854" y="204292"/>
                  </a:lnTo>
                  <a:lnTo>
                    <a:pt x="882854" y="203594"/>
                  </a:lnTo>
                  <a:lnTo>
                    <a:pt x="882854" y="206324"/>
                  </a:lnTo>
                  <a:lnTo>
                    <a:pt x="882854" y="204990"/>
                  </a:lnTo>
                  <a:lnTo>
                    <a:pt x="882905" y="204990"/>
                  </a:lnTo>
                  <a:lnTo>
                    <a:pt x="882905" y="203594"/>
                  </a:lnTo>
                  <a:lnTo>
                    <a:pt x="882905" y="207022"/>
                  </a:lnTo>
                  <a:lnTo>
                    <a:pt x="882955" y="207022"/>
                  </a:lnTo>
                  <a:lnTo>
                    <a:pt x="882955" y="204292"/>
                  </a:lnTo>
                  <a:lnTo>
                    <a:pt x="882955" y="207022"/>
                  </a:lnTo>
                  <a:lnTo>
                    <a:pt x="882955" y="206324"/>
                  </a:lnTo>
                  <a:lnTo>
                    <a:pt x="883057" y="206324"/>
                  </a:lnTo>
                  <a:lnTo>
                    <a:pt x="883057" y="207022"/>
                  </a:lnTo>
                  <a:lnTo>
                    <a:pt x="883057" y="206324"/>
                  </a:lnTo>
                  <a:lnTo>
                    <a:pt x="883057" y="207022"/>
                  </a:lnTo>
                  <a:lnTo>
                    <a:pt x="883057" y="206324"/>
                  </a:lnTo>
                  <a:lnTo>
                    <a:pt x="883057" y="207022"/>
                  </a:lnTo>
                  <a:lnTo>
                    <a:pt x="883108" y="206324"/>
                  </a:lnTo>
                  <a:lnTo>
                    <a:pt x="883108" y="207022"/>
                  </a:lnTo>
                  <a:lnTo>
                    <a:pt x="883108" y="206324"/>
                  </a:lnTo>
                  <a:lnTo>
                    <a:pt x="883108" y="207022"/>
                  </a:lnTo>
                  <a:lnTo>
                    <a:pt x="883108" y="206324"/>
                  </a:lnTo>
                  <a:lnTo>
                    <a:pt x="883108" y="207022"/>
                  </a:lnTo>
                  <a:lnTo>
                    <a:pt x="883108" y="206324"/>
                  </a:lnTo>
                  <a:lnTo>
                    <a:pt x="883108" y="207022"/>
                  </a:lnTo>
                  <a:lnTo>
                    <a:pt x="883108" y="206324"/>
                  </a:lnTo>
                  <a:lnTo>
                    <a:pt x="883108" y="207022"/>
                  </a:lnTo>
                  <a:lnTo>
                    <a:pt x="883158" y="207022"/>
                  </a:lnTo>
                  <a:lnTo>
                    <a:pt x="883158" y="206324"/>
                  </a:lnTo>
                  <a:lnTo>
                    <a:pt x="883158" y="207022"/>
                  </a:lnTo>
                  <a:lnTo>
                    <a:pt x="883158" y="206324"/>
                  </a:lnTo>
                  <a:lnTo>
                    <a:pt x="883197" y="206324"/>
                  </a:lnTo>
                  <a:lnTo>
                    <a:pt x="883197" y="204990"/>
                  </a:lnTo>
                  <a:lnTo>
                    <a:pt x="883197" y="206324"/>
                  </a:lnTo>
                  <a:lnTo>
                    <a:pt x="883197" y="204990"/>
                  </a:lnTo>
                  <a:lnTo>
                    <a:pt x="883197" y="206324"/>
                  </a:lnTo>
                  <a:lnTo>
                    <a:pt x="883197" y="204990"/>
                  </a:lnTo>
                  <a:lnTo>
                    <a:pt x="883298" y="204990"/>
                  </a:lnTo>
                  <a:lnTo>
                    <a:pt x="883298" y="202959"/>
                  </a:lnTo>
                  <a:lnTo>
                    <a:pt x="883349" y="202959"/>
                  </a:lnTo>
                  <a:lnTo>
                    <a:pt x="883349" y="204990"/>
                  </a:lnTo>
                  <a:lnTo>
                    <a:pt x="883349" y="203594"/>
                  </a:lnTo>
                  <a:lnTo>
                    <a:pt x="883400" y="202959"/>
                  </a:lnTo>
                  <a:lnTo>
                    <a:pt x="883400" y="206324"/>
                  </a:lnTo>
                  <a:lnTo>
                    <a:pt x="883400" y="204292"/>
                  </a:lnTo>
                  <a:lnTo>
                    <a:pt x="883501" y="204292"/>
                  </a:lnTo>
                  <a:lnTo>
                    <a:pt x="883501" y="207022"/>
                  </a:lnTo>
                  <a:lnTo>
                    <a:pt x="883501" y="204292"/>
                  </a:lnTo>
                  <a:lnTo>
                    <a:pt x="883501" y="204990"/>
                  </a:lnTo>
                  <a:lnTo>
                    <a:pt x="883552" y="204990"/>
                  </a:lnTo>
                  <a:lnTo>
                    <a:pt x="883552" y="207022"/>
                  </a:lnTo>
                  <a:lnTo>
                    <a:pt x="883552" y="204990"/>
                  </a:lnTo>
                  <a:lnTo>
                    <a:pt x="883552" y="206324"/>
                  </a:lnTo>
                  <a:lnTo>
                    <a:pt x="883552" y="204990"/>
                  </a:lnTo>
                  <a:lnTo>
                    <a:pt x="883552" y="206324"/>
                  </a:lnTo>
                  <a:lnTo>
                    <a:pt x="883552" y="204990"/>
                  </a:lnTo>
                  <a:lnTo>
                    <a:pt x="883603" y="206324"/>
                  </a:lnTo>
                  <a:lnTo>
                    <a:pt x="883603" y="204990"/>
                  </a:lnTo>
                  <a:lnTo>
                    <a:pt x="883603" y="206324"/>
                  </a:lnTo>
                  <a:lnTo>
                    <a:pt x="883654" y="206324"/>
                  </a:lnTo>
                  <a:lnTo>
                    <a:pt x="883654" y="204990"/>
                  </a:lnTo>
                  <a:lnTo>
                    <a:pt x="883654" y="206324"/>
                  </a:lnTo>
                  <a:lnTo>
                    <a:pt x="883654" y="204990"/>
                  </a:lnTo>
                  <a:lnTo>
                    <a:pt x="883654" y="206324"/>
                  </a:lnTo>
                  <a:lnTo>
                    <a:pt x="883743" y="206324"/>
                  </a:lnTo>
                  <a:lnTo>
                    <a:pt x="883743" y="204990"/>
                  </a:lnTo>
                  <a:lnTo>
                    <a:pt x="883793" y="204292"/>
                  </a:lnTo>
                  <a:lnTo>
                    <a:pt x="883793" y="203594"/>
                  </a:lnTo>
                  <a:lnTo>
                    <a:pt x="883793" y="204292"/>
                  </a:lnTo>
                  <a:lnTo>
                    <a:pt x="883793" y="202959"/>
                  </a:lnTo>
                  <a:lnTo>
                    <a:pt x="883844" y="202959"/>
                  </a:lnTo>
                  <a:lnTo>
                    <a:pt x="883844" y="204292"/>
                  </a:lnTo>
                  <a:lnTo>
                    <a:pt x="883844" y="203594"/>
                  </a:lnTo>
                  <a:lnTo>
                    <a:pt x="883844" y="204292"/>
                  </a:lnTo>
                  <a:lnTo>
                    <a:pt x="883895" y="204990"/>
                  </a:lnTo>
                  <a:lnTo>
                    <a:pt x="883895" y="206324"/>
                  </a:lnTo>
                  <a:lnTo>
                    <a:pt x="883895" y="204990"/>
                  </a:lnTo>
                  <a:lnTo>
                    <a:pt x="883895" y="206324"/>
                  </a:lnTo>
                  <a:lnTo>
                    <a:pt x="883895" y="204292"/>
                  </a:lnTo>
                  <a:lnTo>
                    <a:pt x="883895" y="204990"/>
                  </a:lnTo>
                  <a:lnTo>
                    <a:pt x="883997" y="204990"/>
                  </a:lnTo>
                  <a:lnTo>
                    <a:pt x="883997" y="206324"/>
                  </a:lnTo>
                  <a:lnTo>
                    <a:pt x="883997" y="204990"/>
                  </a:lnTo>
                  <a:lnTo>
                    <a:pt x="883997" y="206324"/>
                  </a:lnTo>
                  <a:lnTo>
                    <a:pt x="883997" y="204990"/>
                  </a:lnTo>
                  <a:lnTo>
                    <a:pt x="884047" y="204990"/>
                  </a:lnTo>
                  <a:lnTo>
                    <a:pt x="884047" y="206324"/>
                  </a:lnTo>
                  <a:lnTo>
                    <a:pt x="884047" y="204990"/>
                  </a:lnTo>
                  <a:lnTo>
                    <a:pt x="884098" y="204990"/>
                  </a:lnTo>
                  <a:lnTo>
                    <a:pt x="884098" y="207022"/>
                  </a:lnTo>
                  <a:lnTo>
                    <a:pt x="884098" y="206324"/>
                  </a:lnTo>
                  <a:lnTo>
                    <a:pt x="884200" y="207022"/>
                  </a:lnTo>
                  <a:lnTo>
                    <a:pt x="884200" y="204990"/>
                  </a:lnTo>
                  <a:lnTo>
                    <a:pt x="884238" y="206324"/>
                  </a:lnTo>
                  <a:lnTo>
                    <a:pt x="884238" y="204990"/>
                  </a:lnTo>
                  <a:lnTo>
                    <a:pt x="884238" y="206324"/>
                  </a:lnTo>
                  <a:lnTo>
                    <a:pt x="884238" y="202959"/>
                  </a:lnTo>
                  <a:lnTo>
                    <a:pt x="884289" y="202959"/>
                  </a:lnTo>
                  <a:lnTo>
                    <a:pt x="884289" y="203594"/>
                  </a:lnTo>
                  <a:lnTo>
                    <a:pt x="884289" y="200876"/>
                  </a:lnTo>
                  <a:lnTo>
                    <a:pt x="884340" y="200876"/>
                  </a:lnTo>
                  <a:lnTo>
                    <a:pt x="884340" y="202959"/>
                  </a:lnTo>
                  <a:lnTo>
                    <a:pt x="884340" y="202260"/>
                  </a:lnTo>
                  <a:lnTo>
                    <a:pt x="884340" y="202959"/>
                  </a:lnTo>
                  <a:lnTo>
                    <a:pt x="884340" y="202260"/>
                  </a:lnTo>
                  <a:lnTo>
                    <a:pt x="884340" y="203594"/>
                  </a:lnTo>
                  <a:lnTo>
                    <a:pt x="884340" y="202260"/>
                  </a:lnTo>
                  <a:lnTo>
                    <a:pt x="884340" y="202959"/>
                  </a:lnTo>
                  <a:lnTo>
                    <a:pt x="884441" y="203594"/>
                  </a:lnTo>
                  <a:lnTo>
                    <a:pt x="884441" y="204990"/>
                  </a:lnTo>
                  <a:lnTo>
                    <a:pt x="884441" y="203594"/>
                  </a:lnTo>
                  <a:lnTo>
                    <a:pt x="884492" y="204292"/>
                  </a:lnTo>
                  <a:lnTo>
                    <a:pt x="884492" y="204990"/>
                  </a:lnTo>
                  <a:lnTo>
                    <a:pt x="884492" y="203594"/>
                  </a:lnTo>
                  <a:lnTo>
                    <a:pt x="884492" y="204292"/>
                  </a:lnTo>
                  <a:lnTo>
                    <a:pt x="884543" y="204292"/>
                  </a:lnTo>
                  <a:lnTo>
                    <a:pt x="884543" y="204990"/>
                  </a:lnTo>
                  <a:lnTo>
                    <a:pt x="884543" y="204292"/>
                  </a:lnTo>
                  <a:lnTo>
                    <a:pt x="884543" y="206324"/>
                  </a:lnTo>
                  <a:lnTo>
                    <a:pt x="884644" y="206324"/>
                  </a:lnTo>
                  <a:lnTo>
                    <a:pt x="884644" y="204990"/>
                  </a:lnTo>
                  <a:lnTo>
                    <a:pt x="884644" y="206324"/>
                  </a:lnTo>
                  <a:lnTo>
                    <a:pt x="884644" y="204990"/>
                  </a:lnTo>
                  <a:lnTo>
                    <a:pt x="884644" y="207022"/>
                  </a:lnTo>
                  <a:lnTo>
                    <a:pt x="884644" y="206324"/>
                  </a:lnTo>
                  <a:lnTo>
                    <a:pt x="884644" y="207022"/>
                  </a:lnTo>
                  <a:lnTo>
                    <a:pt x="884644" y="206324"/>
                  </a:lnTo>
                  <a:lnTo>
                    <a:pt x="884695" y="204990"/>
                  </a:lnTo>
                  <a:lnTo>
                    <a:pt x="884695" y="206324"/>
                  </a:lnTo>
                  <a:lnTo>
                    <a:pt x="884695" y="204990"/>
                  </a:lnTo>
                  <a:lnTo>
                    <a:pt x="884695" y="206324"/>
                  </a:lnTo>
                  <a:lnTo>
                    <a:pt x="884695" y="204990"/>
                  </a:lnTo>
                  <a:lnTo>
                    <a:pt x="884746" y="204292"/>
                  </a:lnTo>
                  <a:lnTo>
                    <a:pt x="884746" y="204990"/>
                  </a:lnTo>
                  <a:lnTo>
                    <a:pt x="884746" y="204292"/>
                  </a:lnTo>
                  <a:lnTo>
                    <a:pt x="884746" y="204990"/>
                  </a:lnTo>
                  <a:lnTo>
                    <a:pt x="884746" y="203594"/>
                  </a:lnTo>
                  <a:lnTo>
                    <a:pt x="884784" y="203594"/>
                  </a:lnTo>
                  <a:lnTo>
                    <a:pt x="884784" y="202260"/>
                  </a:lnTo>
                  <a:lnTo>
                    <a:pt x="884784" y="202959"/>
                  </a:lnTo>
                  <a:lnTo>
                    <a:pt x="884886" y="203594"/>
                  </a:lnTo>
                  <a:lnTo>
                    <a:pt x="884886" y="202260"/>
                  </a:lnTo>
                  <a:lnTo>
                    <a:pt x="884886" y="204990"/>
                  </a:lnTo>
                  <a:lnTo>
                    <a:pt x="884937" y="204292"/>
                  </a:lnTo>
                  <a:lnTo>
                    <a:pt x="884937" y="202959"/>
                  </a:lnTo>
                  <a:lnTo>
                    <a:pt x="884937" y="204292"/>
                  </a:lnTo>
                  <a:lnTo>
                    <a:pt x="884987" y="204292"/>
                  </a:lnTo>
                  <a:lnTo>
                    <a:pt x="884987" y="203594"/>
                  </a:lnTo>
                  <a:lnTo>
                    <a:pt x="884987" y="204292"/>
                  </a:lnTo>
                  <a:lnTo>
                    <a:pt x="884987" y="203594"/>
                  </a:lnTo>
                  <a:lnTo>
                    <a:pt x="884987" y="204292"/>
                  </a:lnTo>
                  <a:lnTo>
                    <a:pt x="885089" y="204292"/>
                  </a:lnTo>
                  <a:lnTo>
                    <a:pt x="885089" y="203594"/>
                  </a:lnTo>
                  <a:lnTo>
                    <a:pt x="885089" y="204292"/>
                  </a:lnTo>
                  <a:lnTo>
                    <a:pt x="885140" y="204292"/>
                  </a:lnTo>
                  <a:lnTo>
                    <a:pt x="885140" y="206324"/>
                  </a:lnTo>
                  <a:lnTo>
                    <a:pt x="885140" y="204292"/>
                  </a:lnTo>
                  <a:lnTo>
                    <a:pt x="885191" y="204990"/>
                  </a:lnTo>
                  <a:lnTo>
                    <a:pt x="885191" y="204292"/>
                  </a:lnTo>
                  <a:lnTo>
                    <a:pt x="885191" y="204990"/>
                  </a:lnTo>
                  <a:lnTo>
                    <a:pt x="885191" y="204292"/>
                  </a:lnTo>
                  <a:lnTo>
                    <a:pt x="885191" y="204990"/>
                  </a:lnTo>
                  <a:lnTo>
                    <a:pt x="885191" y="204292"/>
                  </a:lnTo>
                  <a:lnTo>
                    <a:pt x="885241" y="204292"/>
                  </a:lnTo>
                  <a:lnTo>
                    <a:pt x="885241" y="204990"/>
                  </a:lnTo>
                  <a:lnTo>
                    <a:pt x="885241" y="203594"/>
                  </a:lnTo>
                  <a:lnTo>
                    <a:pt x="885241" y="204292"/>
                  </a:lnTo>
                  <a:lnTo>
                    <a:pt x="885241" y="202959"/>
                  </a:lnTo>
                  <a:lnTo>
                    <a:pt x="885330" y="202959"/>
                  </a:lnTo>
                  <a:lnTo>
                    <a:pt x="885330" y="202260"/>
                  </a:lnTo>
                  <a:lnTo>
                    <a:pt x="885330" y="204292"/>
                  </a:lnTo>
                  <a:lnTo>
                    <a:pt x="885330" y="203594"/>
                  </a:lnTo>
                  <a:lnTo>
                    <a:pt x="885381" y="203594"/>
                  </a:lnTo>
                  <a:lnTo>
                    <a:pt x="885381" y="202959"/>
                  </a:lnTo>
                  <a:lnTo>
                    <a:pt x="885381" y="207022"/>
                  </a:lnTo>
                  <a:lnTo>
                    <a:pt x="885381" y="204990"/>
                  </a:lnTo>
                  <a:lnTo>
                    <a:pt x="885432" y="204292"/>
                  </a:lnTo>
                  <a:lnTo>
                    <a:pt x="885432" y="206324"/>
                  </a:lnTo>
                  <a:lnTo>
                    <a:pt x="885432" y="204990"/>
                  </a:lnTo>
                  <a:lnTo>
                    <a:pt x="885483" y="204990"/>
                  </a:lnTo>
                  <a:lnTo>
                    <a:pt x="885483" y="204292"/>
                  </a:lnTo>
                  <a:lnTo>
                    <a:pt x="885483" y="204990"/>
                  </a:lnTo>
                  <a:lnTo>
                    <a:pt x="885483" y="204292"/>
                  </a:lnTo>
                  <a:lnTo>
                    <a:pt x="885483" y="204990"/>
                  </a:lnTo>
                  <a:lnTo>
                    <a:pt x="885584" y="204292"/>
                  </a:lnTo>
                  <a:lnTo>
                    <a:pt x="885584" y="204990"/>
                  </a:lnTo>
                  <a:lnTo>
                    <a:pt x="885584" y="204292"/>
                  </a:lnTo>
                  <a:lnTo>
                    <a:pt x="885584" y="206324"/>
                  </a:lnTo>
                  <a:lnTo>
                    <a:pt x="885584" y="204990"/>
                  </a:lnTo>
                  <a:lnTo>
                    <a:pt x="885635" y="204990"/>
                  </a:lnTo>
                  <a:lnTo>
                    <a:pt x="885635" y="206324"/>
                  </a:lnTo>
                  <a:lnTo>
                    <a:pt x="885635" y="204990"/>
                  </a:lnTo>
                  <a:lnTo>
                    <a:pt x="885686" y="204990"/>
                  </a:lnTo>
                  <a:lnTo>
                    <a:pt x="885686" y="204292"/>
                  </a:lnTo>
                  <a:lnTo>
                    <a:pt x="885686" y="204990"/>
                  </a:lnTo>
                  <a:lnTo>
                    <a:pt x="885686" y="204292"/>
                  </a:lnTo>
                  <a:lnTo>
                    <a:pt x="885686" y="204990"/>
                  </a:lnTo>
                  <a:lnTo>
                    <a:pt x="885787" y="204292"/>
                  </a:lnTo>
                  <a:lnTo>
                    <a:pt x="885787" y="202959"/>
                  </a:lnTo>
                  <a:lnTo>
                    <a:pt x="885826" y="202959"/>
                  </a:lnTo>
                  <a:lnTo>
                    <a:pt x="885826" y="203594"/>
                  </a:lnTo>
                  <a:lnTo>
                    <a:pt x="885826" y="202959"/>
                  </a:lnTo>
                  <a:lnTo>
                    <a:pt x="885826" y="203594"/>
                  </a:lnTo>
                  <a:lnTo>
                    <a:pt x="885826" y="202959"/>
                  </a:lnTo>
                  <a:lnTo>
                    <a:pt x="885826" y="204990"/>
                  </a:lnTo>
                  <a:lnTo>
                    <a:pt x="885826" y="203594"/>
                  </a:lnTo>
                  <a:lnTo>
                    <a:pt x="885876" y="203594"/>
                  </a:lnTo>
                  <a:lnTo>
                    <a:pt x="885876" y="207022"/>
                  </a:lnTo>
                  <a:lnTo>
                    <a:pt x="885876" y="204292"/>
                  </a:lnTo>
                  <a:lnTo>
                    <a:pt x="885927" y="204292"/>
                  </a:lnTo>
                  <a:lnTo>
                    <a:pt x="885927" y="206324"/>
                  </a:lnTo>
                  <a:lnTo>
                    <a:pt x="885927" y="204292"/>
                  </a:lnTo>
                  <a:lnTo>
                    <a:pt x="886029" y="204292"/>
                  </a:lnTo>
                  <a:lnTo>
                    <a:pt x="886029" y="206324"/>
                  </a:lnTo>
                  <a:lnTo>
                    <a:pt x="886029" y="204990"/>
                  </a:lnTo>
                  <a:lnTo>
                    <a:pt x="886029" y="206324"/>
                  </a:lnTo>
                  <a:lnTo>
                    <a:pt x="886080" y="206324"/>
                  </a:lnTo>
                  <a:lnTo>
                    <a:pt x="886080" y="204990"/>
                  </a:lnTo>
                  <a:lnTo>
                    <a:pt x="886080" y="206324"/>
                  </a:lnTo>
                  <a:lnTo>
                    <a:pt x="886080" y="204990"/>
                  </a:lnTo>
                  <a:lnTo>
                    <a:pt x="886080" y="206324"/>
                  </a:lnTo>
                  <a:lnTo>
                    <a:pt x="886080" y="204990"/>
                  </a:lnTo>
                  <a:lnTo>
                    <a:pt x="886080" y="206324"/>
                  </a:lnTo>
                  <a:lnTo>
                    <a:pt x="886130" y="206324"/>
                  </a:lnTo>
                  <a:lnTo>
                    <a:pt x="886130" y="204990"/>
                  </a:lnTo>
                  <a:lnTo>
                    <a:pt x="886232" y="204990"/>
                  </a:lnTo>
                  <a:lnTo>
                    <a:pt x="886232" y="204292"/>
                  </a:lnTo>
                  <a:lnTo>
                    <a:pt x="886232" y="204990"/>
                  </a:lnTo>
                  <a:lnTo>
                    <a:pt x="886232" y="203594"/>
                  </a:lnTo>
                  <a:lnTo>
                    <a:pt x="886283" y="203594"/>
                  </a:lnTo>
                  <a:lnTo>
                    <a:pt x="886283" y="202260"/>
                  </a:lnTo>
                  <a:lnTo>
                    <a:pt x="886333" y="202260"/>
                  </a:lnTo>
                  <a:lnTo>
                    <a:pt x="886333" y="204292"/>
                  </a:lnTo>
                  <a:lnTo>
                    <a:pt x="886333" y="202260"/>
                  </a:lnTo>
                  <a:lnTo>
                    <a:pt x="886333" y="204292"/>
                  </a:lnTo>
                  <a:lnTo>
                    <a:pt x="886372" y="204292"/>
                  </a:lnTo>
                  <a:lnTo>
                    <a:pt x="886372" y="206324"/>
                  </a:lnTo>
                  <a:lnTo>
                    <a:pt x="886372" y="203594"/>
                  </a:lnTo>
                  <a:lnTo>
                    <a:pt x="886372" y="204990"/>
                  </a:lnTo>
                  <a:lnTo>
                    <a:pt x="886473" y="204990"/>
                  </a:lnTo>
                  <a:lnTo>
                    <a:pt x="886473" y="204292"/>
                  </a:lnTo>
                  <a:lnTo>
                    <a:pt x="886473" y="206324"/>
                  </a:lnTo>
                  <a:lnTo>
                    <a:pt x="886473" y="204990"/>
                  </a:lnTo>
                  <a:lnTo>
                    <a:pt x="886473" y="206324"/>
                  </a:lnTo>
                  <a:lnTo>
                    <a:pt x="886524" y="206324"/>
                  </a:lnTo>
                  <a:lnTo>
                    <a:pt x="886524" y="204990"/>
                  </a:lnTo>
                  <a:lnTo>
                    <a:pt x="886524" y="206324"/>
                  </a:lnTo>
                  <a:lnTo>
                    <a:pt x="886524" y="204990"/>
                  </a:lnTo>
                  <a:lnTo>
                    <a:pt x="886524" y="206324"/>
                  </a:lnTo>
                  <a:lnTo>
                    <a:pt x="886524" y="204990"/>
                  </a:lnTo>
                  <a:lnTo>
                    <a:pt x="886524" y="206324"/>
                  </a:lnTo>
                  <a:lnTo>
                    <a:pt x="886575" y="206324"/>
                  </a:lnTo>
                  <a:lnTo>
                    <a:pt x="886575" y="204990"/>
                  </a:lnTo>
                  <a:lnTo>
                    <a:pt x="886575" y="207022"/>
                  </a:lnTo>
                  <a:lnTo>
                    <a:pt x="886575" y="206324"/>
                  </a:lnTo>
                  <a:lnTo>
                    <a:pt x="886676" y="206324"/>
                  </a:lnTo>
                  <a:lnTo>
                    <a:pt x="886676" y="207022"/>
                  </a:lnTo>
                  <a:lnTo>
                    <a:pt x="886676" y="204990"/>
                  </a:lnTo>
                  <a:lnTo>
                    <a:pt x="886676" y="206324"/>
                  </a:lnTo>
                  <a:lnTo>
                    <a:pt x="886676" y="204990"/>
                  </a:lnTo>
                  <a:lnTo>
                    <a:pt x="886727" y="204990"/>
                  </a:lnTo>
                  <a:lnTo>
                    <a:pt x="886727" y="204292"/>
                  </a:lnTo>
                  <a:lnTo>
                    <a:pt x="886727" y="204990"/>
                  </a:lnTo>
                  <a:lnTo>
                    <a:pt x="886727" y="204292"/>
                  </a:lnTo>
                  <a:lnTo>
                    <a:pt x="886727" y="204990"/>
                  </a:lnTo>
                  <a:lnTo>
                    <a:pt x="886727" y="204292"/>
                  </a:lnTo>
                  <a:lnTo>
                    <a:pt x="886778" y="204292"/>
                  </a:lnTo>
                  <a:lnTo>
                    <a:pt x="886778" y="202260"/>
                  </a:lnTo>
                  <a:lnTo>
                    <a:pt x="886778" y="202959"/>
                  </a:lnTo>
                  <a:lnTo>
                    <a:pt x="886829" y="202959"/>
                  </a:lnTo>
                  <a:lnTo>
                    <a:pt x="886829" y="202260"/>
                  </a:lnTo>
                  <a:lnTo>
                    <a:pt x="886829" y="204292"/>
                  </a:lnTo>
                  <a:lnTo>
                    <a:pt x="886829" y="202959"/>
                  </a:lnTo>
                  <a:lnTo>
                    <a:pt x="886829" y="204292"/>
                  </a:lnTo>
                  <a:lnTo>
                    <a:pt x="886918" y="204292"/>
                  </a:lnTo>
                  <a:lnTo>
                    <a:pt x="886918" y="203594"/>
                  </a:lnTo>
                  <a:lnTo>
                    <a:pt x="886918" y="204292"/>
                  </a:lnTo>
                  <a:lnTo>
                    <a:pt x="886918" y="203594"/>
                  </a:lnTo>
                  <a:lnTo>
                    <a:pt x="886918" y="204292"/>
                  </a:lnTo>
                  <a:lnTo>
                    <a:pt x="886968" y="204292"/>
                  </a:lnTo>
                  <a:lnTo>
                    <a:pt x="886968" y="204990"/>
                  </a:lnTo>
                  <a:lnTo>
                    <a:pt x="887019" y="204990"/>
                  </a:lnTo>
                  <a:lnTo>
                    <a:pt x="887019" y="204292"/>
                  </a:lnTo>
                  <a:lnTo>
                    <a:pt x="887019" y="204990"/>
                  </a:lnTo>
                  <a:lnTo>
                    <a:pt x="887019" y="204292"/>
                  </a:lnTo>
                  <a:lnTo>
                    <a:pt x="887019" y="204990"/>
                  </a:lnTo>
                  <a:lnTo>
                    <a:pt x="887019" y="204292"/>
                  </a:lnTo>
                  <a:lnTo>
                    <a:pt x="887019" y="204990"/>
                  </a:lnTo>
                  <a:lnTo>
                    <a:pt x="887070" y="204990"/>
                  </a:lnTo>
                  <a:lnTo>
                    <a:pt x="887070" y="206324"/>
                  </a:lnTo>
                  <a:lnTo>
                    <a:pt x="887172" y="206324"/>
                  </a:lnTo>
                  <a:lnTo>
                    <a:pt x="887172" y="204990"/>
                  </a:lnTo>
                  <a:lnTo>
                    <a:pt x="887222" y="204990"/>
                  </a:lnTo>
                  <a:lnTo>
                    <a:pt x="887222" y="204292"/>
                  </a:lnTo>
                  <a:lnTo>
                    <a:pt x="887222" y="204990"/>
                  </a:lnTo>
                  <a:lnTo>
                    <a:pt x="887222" y="204292"/>
                  </a:lnTo>
                  <a:lnTo>
                    <a:pt x="887222" y="204990"/>
                  </a:lnTo>
                  <a:lnTo>
                    <a:pt x="887222" y="204292"/>
                  </a:lnTo>
                  <a:lnTo>
                    <a:pt x="887222" y="204990"/>
                  </a:lnTo>
                  <a:lnTo>
                    <a:pt x="887222" y="203594"/>
                  </a:lnTo>
                  <a:lnTo>
                    <a:pt x="887273" y="203594"/>
                  </a:lnTo>
                  <a:lnTo>
                    <a:pt x="887273" y="202260"/>
                  </a:lnTo>
                  <a:lnTo>
                    <a:pt x="887273" y="202959"/>
                  </a:lnTo>
                  <a:lnTo>
                    <a:pt x="887375" y="202959"/>
                  </a:lnTo>
                  <a:lnTo>
                    <a:pt x="887375" y="203594"/>
                  </a:lnTo>
                  <a:lnTo>
                    <a:pt x="887375" y="202260"/>
                  </a:lnTo>
                  <a:lnTo>
                    <a:pt x="887375" y="204292"/>
                  </a:lnTo>
                  <a:lnTo>
                    <a:pt x="887413" y="204292"/>
                  </a:lnTo>
                  <a:lnTo>
                    <a:pt x="887413" y="202959"/>
                  </a:lnTo>
                  <a:lnTo>
                    <a:pt x="887413" y="204292"/>
                  </a:lnTo>
                  <a:lnTo>
                    <a:pt x="887464" y="204292"/>
                  </a:lnTo>
                  <a:lnTo>
                    <a:pt x="887464" y="203594"/>
                  </a:lnTo>
                  <a:lnTo>
                    <a:pt x="887464" y="204990"/>
                  </a:lnTo>
                  <a:lnTo>
                    <a:pt x="887464" y="204292"/>
                  </a:lnTo>
                  <a:lnTo>
                    <a:pt x="887464" y="204990"/>
                  </a:lnTo>
                  <a:lnTo>
                    <a:pt x="887464" y="204292"/>
                  </a:lnTo>
                  <a:lnTo>
                    <a:pt x="887464" y="204990"/>
                  </a:lnTo>
                  <a:lnTo>
                    <a:pt x="887515" y="204990"/>
                  </a:lnTo>
                  <a:lnTo>
                    <a:pt x="887515" y="204292"/>
                  </a:lnTo>
                  <a:lnTo>
                    <a:pt x="887515" y="204990"/>
                  </a:lnTo>
                  <a:lnTo>
                    <a:pt x="887616" y="204990"/>
                  </a:lnTo>
                  <a:lnTo>
                    <a:pt x="887616" y="206324"/>
                  </a:lnTo>
                  <a:lnTo>
                    <a:pt x="887616" y="204990"/>
                  </a:lnTo>
                  <a:lnTo>
                    <a:pt x="887667" y="204990"/>
                  </a:lnTo>
                  <a:lnTo>
                    <a:pt x="887667" y="206324"/>
                  </a:lnTo>
                  <a:lnTo>
                    <a:pt x="887667" y="204292"/>
                  </a:lnTo>
                  <a:lnTo>
                    <a:pt x="887718" y="204292"/>
                  </a:lnTo>
                  <a:lnTo>
                    <a:pt x="887718" y="203594"/>
                  </a:lnTo>
                  <a:lnTo>
                    <a:pt x="887718" y="204292"/>
                  </a:lnTo>
                  <a:lnTo>
                    <a:pt x="887819" y="203594"/>
                  </a:lnTo>
                  <a:lnTo>
                    <a:pt x="887819" y="202959"/>
                  </a:lnTo>
                  <a:lnTo>
                    <a:pt x="887819" y="203594"/>
                  </a:lnTo>
                  <a:lnTo>
                    <a:pt x="887819" y="202959"/>
                  </a:lnTo>
                  <a:lnTo>
                    <a:pt x="887819" y="203594"/>
                  </a:lnTo>
                  <a:lnTo>
                    <a:pt x="887870" y="203594"/>
                  </a:lnTo>
                  <a:lnTo>
                    <a:pt x="887870" y="202260"/>
                  </a:lnTo>
                  <a:lnTo>
                    <a:pt x="887870" y="204990"/>
                  </a:lnTo>
                  <a:lnTo>
                    <a:pt x="887870" y="203594"/>
                  </a:lnTo>
                  <a:lnTo>
                    <a:pt x="887921" y="203594"/>
                  </a:lnTo>
                  <a:lnTo>
                    <a:pt x="887921" y="204292"/>
                  </a:lnTo>
                  <a:lnTo>
                    <a:pt x="887921" y="203594"/>
                  </a:lnTo>
                  <a:lnTo>
                    <a:pt x="887921" y="204292"/>
                  </a:lnTo>
                  <a:lnTo>
                    <a:pt x="887921" y="203594"/>
                  </a:lnTo>
                  <a:lnTo>
                    <a:pt x="887959" y="204292"/>
                  </a:lnTo>
                  <a:lnTo>
                    <a:pt x="887959" y="203594"/>
                  </a:lnTo>
                  <a:lnTo>
                    <a:pt x="887959" y="204292"/>
                  </a:lnTo>
                  <a:lnTo>
                    <a:pt x="887959" y="203594"/>
                  </a:lnTo>
                  <a:lnTo>
                    <a:pt x="887959" y="204292"/>
                  </a:lnTo>
                  <a:lnTo>
                    <a:pt x="887959" y="203594"/>
                  </a:lnTo>
                  <a:lnTo>
                    <a:pt x="887959" y="204292"/>
                  </a:lnTo>
                  <a:lnTo>
                    <a:pt x="888061" y="204292"/>
                  </a:lnTo>
                  <a:lnTo>
                    <a:pt x="888061" y="203594"/>
                  </a:lnTo>
                  <a:lnTo>
                    <a:pt x="888061" y="204292"/>
                  </a:lnTo>
                  <a:lnTo>
                    <a:pt x="888061" y="203594"/>
                  </a:lnTo>
                  <a:lnTo>
                    <a:pt x="888061" y="204292"/>
                  </a:lnTo>
                  <a:lnTo>
                    <a:pt x="888112" y="204292"/>
                  </a:lnTo>
                  <a:lnTo>
                    <a:pt x="888112" y="204990"/>
                  </a:lnTo>
                  <a:lnTo>
                    <a:pt x="888162" y="204990"/>
                  </a:lnTo>
                  <a:lnTo>
                    <a:pt x="888162" y="204292"/>
                  </a:lnTo>
                  <a:lnTo>
                    <a:pt x="888162" y="204990"/>
                  </a:lnTo>
                  <a:lnTo>
                    <a:pt x="888162" y="203594"/>
                  </a:lnTo>
                  <a:lnTo>
                    <a:pt x="888162" y="204292"/>
                  </a:lnTo>
                  <a:lnTo>
                    <a:pt x="888264" y="204292"/>
                  </a:lnTo>
                  <a:lnTo>
                    <a:pt x="888264" y="202959"/>
                  </a:lnTo>
                  <a:lnTo>
                    <a:pt x="888315" y="203594"/>
                  </a:lnTo>
                  <a:lnTo>
                    <a:pt x="888315" y="202959"/>
                  </a:lnTo>
                  <a:lnTo>
                    <a:pt x="888315" y="203594"/>
                  </a:lnTo>
                  <a:lnTo>
                    <a:pt x="888315" y="202959"/>
                  </a:lnTo>
                  <a:lnTo>
                    <a:pt x="888315" y="203594"/>
                  </a:lnTo>
                  <a:lnTo>
                    <a:pt x="888366" y="203594"/>
                  </a:lnTo>
                  <a:lnTo>
                    <a:pt x="888366" y="206324"/>
                  </a:lnTo>
                  <a:lnTo>
                    <a:pt x="888366" y="204292"/>
                  </a:lnTo>
                  <a:lnTo>
                    <a:pt x="888416" y="204292"/>
                  </a:lnTo>
                  <a:lnTo>
                    <a:pt x="888416" y="206324"/>
                  </a:lnTo>
                  <a:lnTo>
                    <a:pt x="888416" y="204292"/>
                  </a:lnTo>
                  <a:lnTo>
                    <a:pt x="888505" y="204990"/>
                  </a:lnTo>
                  <a:lnTo>
                    <a:pt x="888505" y="206324"/>
                  </a:lnTo>
                  <a:lnTo>
                    <a:pt x="888505" y="204990"/>
                  </a:lnTo>
                  <a:lnTo>
                    <a:pt x="888505" y="206324"/>
                  </a:lnTo>
                  <a:lnTo>
                    <a:pt x="888556" y="206324"/>
                  </a:lnTo>
                  <a:lnTo>
                    <a:pt x="888556" y="204990"/>
                  </a:lnTo>
                  <a:lnTo>
                    <a:pt x="888556" y="206324"/>
                  </a:lnTo>
                  <a:lnTo>
                    <a:pt x="888556" y="204990"/>
                  </a:lnTo>
                  <a:lnTo>
                    <a:pt x="888607" y="204990"/>
                  </a:lnTo>
                  <a:lnTo>
                    <a:pt x="888607" y="206324"/>
                  </a:lnTo>
                  <a:lnTo>
                    <a:pt x="888607" y="204990"/>
                  </a:lnTo>
                  <a:lnTo>
                    <a:pt x="888607" y="206324"/>
                  </a:lnTo>
                  <a:lnTo>
                    <a:pt x="888658" y="206324"/>
                  </a:lnTo>
                  <a:lnTo>
                    <a:pt x="888658" y="204292"/>
                  </a:lnTo>
                  <a:lnTo>
                    <a:pt x="888658" y="204990"/>
                  </a:lnTo>
                  <a:lnTo>
                    <a:pt x="888658" y="204292"/>
                  </a:lnTo>
                  <a:lnTo>
                    <a:pt x="888658" y="204990"/>
                  </a:lnTo>
                  <a:lnTo>
                    <a:pt x="888658" y="204292"/>
                  </a:lnTo>
                  <a:lnTo>
                    <a:pt x="888759" y="204292"/>
                  </a:lnTo>
                  <a:lnTo>
                    <a:pt x="888759" y="203594"/>
                  </a:lnTo>
                  <a:lnTo>
                    <a:pt x="888759" y="204292"/>
                  </a:lnTo>
                  <a:lnTo>
                    <a:pt x="888759" y="202959"/>
                  </a:lnTo>
                  <a:lnTo>
                    <a:pt x="888810" y="202959"/>
                  </a:lnTo>
                  <a:lnTo>
                    <a:pt x="888810" y="204990"/>
                  </a:lnTo>
                  <a:lnTo>
                    <a:pt x="888810" y="202959"/>
                  </a:lnTo>
                  <a:lnTo>
                    <a:pt x="888810" y="203594"/>
                  </a:lnTo>
                  <a:lnTo>
                    <a:pt x="888810" y="202959"/>
                  </a:lnTo>
                  <a:lnTo>
                    <a:pt x="888810" y="204292"/>
                  </a:lnTo>
                  <a:lnTo>
                    <a:pt x="888861" y="204990"/>
                  </a:lnTo>
                  <a:lnTo>
                    <a:pt x="888861" y="206324"/>
                  </a:lnTo>
                  <a:lnTo>
                    <a:pt x="888861" y="204292"/>
                  </a:lnTo>
                  <a:lnTo>
                    <a:pt x="888861" y="204990"/>
                  </a:lnTo>
                  <a:lnTo>
                    <a:pt x="888861" y="204292"/>
                  </a:lnTo>
                  <a:lnTo>
                    <a:pt x="888861" y="206324"/>
                  </a:lnTo>
                  <a:lnTo>
                    <a:pt x="888962" y="206324"/>
                  </a:lnTo>
                  <a:lnTo>
                    <a:pt x="888962" y="204292"/>
                  </a:lnTo>
                  <a:lnTo>
                    <a:pt x="888962" y="206324"/>
                  </a:lnTo>
                  <a:lnTo>
                    <a:pt x="889001" y="206324"/>
                  </a:lnTo>
                  <a:lnTo>
                    <a:pt x="889001" y="204990"/>
                  </a:lnTo>
                  <a:lnTo>
                    <a:pt x="889001" y="206324"/>
                  </a:lnTo>
                  <a:lnTo>
                    <a:pt x="889001" y="204990"/>
                  </a:lnTo>
                  <a:lnTo>
                    <a:pt x="889001" y="206324"/>
                  </a:lnTo>
                  <a:lnTo>
                    <a:pt x="889051" y="206324"/>
                  </a:lnTo>
                  <a:lnTo>
                    <a:pt x="889051" y="204990"/>
                  </a:lnTo>
                  <a:lnTo>
                    <a:pt x="889051" y="206324"/>
                  </a:lnTo>
                  <a:lnTo>
                    <a:pt x="889102" y="204990"/>
                  </a:lnTo>
                  <a:lnTo>
                    <a:pt x="889102" y="206324"/>
                  </a:lnTo>
                  <a:lnTo>
                    <a:pt x="889102" y="204990"/>
                  </a:lnTo>
                  <a:lnTo>
                    <a:pt x="889102" y="206324"/>
                  </a:lnTo>
                  <a:lnTo>
                    <a:pt x="889204" y="204990"/>
                  </a:lnTo>
                  <a:lnTo>
                    <a:pt x="889204" y="204292"/>
                  </a:lnTo>
                  <a:lnTo>
                    <a:pt x="889204" y="204990"/>
                  </a:lnTo>
                  <a:lnTo>
                    <a:pt x="889204" y="204292"/>
                  </a:lnTo>
                  <a:lnTo>
                    <a:pt x="889255" y="204292"/>
                  </a:lnTo>
                  <a:lnTo>
                    <a:pt x="889255" y="202260"/>
                  </a:lnTo>
                  <a:lnTo>
                    <a:pt x="889255" y="203594"/>
                  </a:lnTo>
                  <a:lnTo>
                    <a:pt x="889305" y="203594"/>
                  </a:lnTo>
                  <a:lnTo>
                    <a:pt x="889305" y="202959"/>
                  </a:lnTo>
                  <a:lnTo>
                    <a:pt x="889305" y="204990"/>
                  </a:lnTo>
                  <a:lnTo>
                    <a:pt x="889407" y="204990"/>
                  </a:lnTo>
                  <a:lnTo>
                    <a:pt x="889407" y="204292"/>
                  </a:lnTo>
                  <a:lnTo>
                    <a:pt x="889407" y="204990"/>
                  </a:lnTo>
                  <a:lnTo>
                    <a:pt x="889458" y="206324"/>
                  </a:lnTo>
                  <a:lnTo>
                    <a:pt x="889458" y="204292"/>
                  </a:lnTo>
                  <a:lnTo>
                    <a:pt x="889458" y="206324"/>
                  </a:lnTo>
                  <a:lnTo>
                    <a:pt x="889458" y="204990"/>
                  </a:lnTo>
                  <a:lnTo>
                    <a:pt x="889458" y="206324"/>
                  </a:lnTo>
                  <a:lnTo>
                    <a:pt x="889508" y="204990"/>
                  </a:lnTo>
                  <a:lnTo>
                    <a:pt x="889508" y="206324"/>
                  </a:lnTo>
                  <a:lnTo>
                    <a:pt x="889547" y="206324"/>
                  </a:lnTo>
                  <a:lnTo>
                    <a:pt x="889547" y="204990"/>
                  </a:lnTo>
                  <a:lnTo>
                    <a:pt x="889547" y="206324"/>
                  </a:lnTo>
                  <a:lnTo>
                    <a:pt x="889648" y="206324"/>
                  </a:lnTo>
                  <a:lnTo>
                    <a:pt x="889648" y="204990"/>
                  </a:lnTo>
                  <a:lnTo>
                    <a:pt x="889648" y="206324"/>
                  </a:lnTo>
                  <a:lnTo>
                    <a:pt x="889648" y="204990"/>
                  </a:lnTo>
                  <a:lnTo>
                    <a:pt x="889648" y="206324"/>
                  </a:lnTo>
                  <a:lnTo>
                    <a:pt x="889648" y="204990"/>
                  </a:lnTo>
                  <a:lnTo>
                    <a:pt x="889648" y="206324"/>
                  </a:lnTo>
                  <a:lnTo>
                    <a:pt x="889648" y="204990"/>
                  </a:lnTo>
                  <a:lnTo>
                    <a:pt x="889699" y="204990"/>
                  </a:lnTo>
                  <a:lnTo>
                    <a:pt x="889699" y="203594"/>
                  </a:lnTo>
                  <a:lnTo>
                    <a:pt x="889699" y="204292"/>
                  </a:lnTo>
                  <a:lnTo>
                    <a:pt x="889699" y="203594"/>
                  </a:lnTo>
                  <a:lnTo>
                    <a:pt x="889750" y="203594"/>
                  </a:lnTo>
                  <a:lnTo>
                    <a:pt x="889750" y="202260"/>
                  </a:lnTo>
                  <a:lnTo>
                    <a:pt x="889750" y="203594"/>
                  </a:lnTo>
                  <a:lnTo>
                    <a:pt x="889851" y="203594"/>
                  </a:lnTo>
                  <a:lnTo>
                    <a:pt x="889851" y="202959"/>
                  </a:lnTo>
                  <a:lnTo>
                    <a:pt x="889851" y="204990"/>
                  </a:lnTo>
                  <a:lnTo>
                    <a:pt x="889851" y="204292"/>
                  </a:lnTo>
                  <a:lnTo>
                    <a:pt x="889851" y="204990"/>
                  </a:lnTo>
                  <a:lnTo>
                    <a:pt x="889902" y="204990"/>
                  </a:lnTo>
                  <a:lnTo>
                    <a:pt x="889902" y="203594"/>
                  </a:lnTo>
                  <a:lnTo>
                    <a:pt x="889902" y="204990"/>
                  </a:lnTo>
                  <a:lnTo>
                    <a:pt x="889953" y="204990"/>
                  </a:lnTo>
                  <a:lnTo>
                    <a:pt x="889953" y="204292"/>
                  </a:lnTo>
                  <a:lnTo>
                    <a:pt x="889953" y="204990"/>
                  </a:lnTo>
                  <a:lnTo>
                    <a:pt x="889953" y="204292"/>
                  </a:lnTo>
                  <a:lnTo>
                    <a:pt x="889953" y="204990"/>
                  </a:lnTo>
                  <a:lnTo>
                    <a:pt x="890004" y="204292"/>
                  </a:lnTo>
                  <a:lnTo>
                    <a:pt x="890004" y="204990"/>
                  </a:lnTo>
                  <a:lnTo>
                    <a:pt x="890004" y="204292"/>
                  </a:lnTo>
                  <a:lnTo>
                    <a:pt x="890004" y="204990"/>
                  </a:lnTo>
                  <a:lnTo>
                    <a:pt x="890093" y="204990"/>
                  </a:lnTo>
                  <a:lnTo>
                    <a:pt x="890093" y="206324"/>
                  </a:lnTo>
                  <a:lnTo>
                    <a:pt x="890093" y="204292"/>
                  </a:lnTo>
                  <a:lnTo>
                    <a:pt x="890093" y="204990"/>
                  </a:lnTo>
                  <a:lnTo>
                    <a:pt x="890143" y="204990"/>
                  </a:lnTo>
                  <a:lnTo>
                    <a:pt x="890143" y="204292"/>
                  </a:lnTo>
                  <a:lnTo>
                    <a:pt x="890143" y="204990"/>
                  </a:lnTo>
                  <a:lnTo>
                    <a:pt x="890143" y="204292"/>
                  </a:lnTo>
                  <a:lnTo>
                    <a:pt x="890143" y="204990"/>
                  </a:lnTo>
                  <a:lnTo>
                    <a:pt x="890143" y="204292"/>
                  </a:lnTo>
                  <a:lnTo>
                    <a:pt x="890194" y="204292"/>
                  </a:lnTo>
                  <a:lnTo>
                    <a:pt x="890194" y="202959"/>
                  </a:lnTo>
                  <a:lnTo>
                    <a:pt x="890194" y="203594"/>
                  </a:lnTo>
                  <a:lnTo>
                    <a:pt x="890194" y="202260"/>
                  </a:lnTo>
                  <a:lnTo>
                    <a:pt x="890194" y="202959"/>
                  </a:lnTo>
                  <a:lnTo>
                    <a:pt x="890245" y="202260"/>
                  </a:lnTo>
                  <a:lnTo>
                    <a:pt x="890245" y="200876"/>
                  </a:lnTo>
                  <a:lnTo>
                    <a:pt x="890245" y="202260"/>
                  </a:lnTo>
                  <a:lnTo>
                    <a:pt x="890347" y="202959"/>
                  </a:lnTo>
                  <a:lnTo>
                    <a:pt x="890347" y="200228"/>
                  </a:lnTo>
                  <a:lnTo>
                    <a:pt x="890347" y="203594"/>
                  </a:lnTo>
                  <a:lnTo>
                    <a:pt x="890347" y="202959"/>
                  </a:lnTo>
                  <a:lnTo>
                    <a:pt x="890347" y="203594"/>
                  </a:lnTo>
                  <a:lnTo>
                    <a:pt x="890347" y="202959"/>
                  </a:lnTo>
                  <a:lnTo>
                    <a:pt x="890347" y="203594"/>
                  </a:lnTo>
                  <a:lnTo>
                    <a:pt x="890347" y="202959"/>
                  </a:lnTo>
                  <a:lnTo>
                    <a:pt x="890397" y="202959"/>
                  </a:lnTo>
                  <a:lnTo>
                    <a:pt x="890397" y="202260"/>
                  </a:lnTo>
                  <a:lnTo>
                    <a:pt x="890397" y="203594"/>
                  </a:lnTo>
                  <a:lnTo>
                    <a:pt x="890448" y="203594"/>
                  </a:lnTo>
                  <a:lnTo>
                    <a:pt x="890448" y="202959"/>
                  </a:lnTo>
                  <a:lnTo>
                    <a:pt x="890448" y="204292"/>
                  </a:lnTo>
                  <a:lnTo>
                    <a:pt x="890550" y="203594"/>
                  </a:lnTo>
                  <a:lnTo>
                    <a:pt x="890550" y="204292"/>
                  </a:lnTo>
                  <a:lnTo>
                    <a:pt x="890550" y="203594"/>
                  </a:lnTo>
                  <a:lnTo>
                    <a:pt x="890550" y="204292"/>
                  </a:lnTo>
                  <a:lnTo>
                    <a:pt x="890550" y="203594"/>
                  </a:lnTo>
                  <a:lnTo>
                    <a:pt x="890550" y="204990"/>
                  </a:lnTo>
                  <a:lnTo>
                    <a:pt x="890550" y="204292"/>
                  </a:lnTo>
                  <a:lnTo>
                    <a:pt x="890588" y="204990"/>
                  </a:lnTo>
                  <a:lnTo>
                    <a:pt x="890588" y="204292"/>
                  </a:lnTo>
                  <a:lnTo>
                    <a:pt x="890588" y="204990"/>
                  </a:lnTo>
                  <a:lnTo>
                    <a:pt x="890588" y="204292"/>
                  </a:lnTo>
                  <a:lnTo>
                    <a:pt x="890588" y="204990"/>
                  </a:lnTo>
                  <a:lnTo>
                    <a:pt x="890588" y="204292"/>
                  </a:lnTo>
                  <a:lnTo>
                    <a:pt x="890588" y="204990"/>
                  </a:lnTo>
                  <a:lnTo>
                    <a:pt x="890639" y="204990"/>
                  </a:lnTo>
                  <a:lnTo>
                    <a:pt x="890639" y="204292"/>
                  </a:lnTo>
                  <a:lnTo>
                    <a:pt x="890639" y="204990"/>
                  </a:lnTo>
                  <a:lnTo>
                    <a:pt x="890639" y="203594"/>
                  </a:lnTo>
                  <a:lnTo>
                    <a:pt x="890690" y="203594"/>
                  </a:lnTo>
                  <a:lnTo>
                    <a:pt x="890690" y="204292"/>
                  </a:lnTo>
                  <a:lnTo>
                    <a:pt x="890690" y="203594"/>
                  </a:lnTo>
                  <a:lnTo>
                    <a:pt x="890690" y="204292"/>
                  </a:lnTo>
                  <a:lnTo>
                    <a:pt x="890690" y="202959"/>
                  </a:lnTo>
                  <a:lnTo>
                    <a:pt x="890690" y="203594"/>
                  </a:lnTo>
                  <a:lnTo>
                    <a:pt x="890690" y="202260"/>
                  </a:lnTo>
                  <a:lnTo>
                    <a:pt x="890791" y="202260"/>
                  </a:lnTo>
                  <a:lnTo>
                    <a:pt x="890791" y="200876"/>
                  </a:lnTo>
                  <a:lnTo>
                    <a:pt x="890791" y="202260"/>
                  </a:lnTo>
                  <a:lnTo>
                    <a:pt x="890791" y="200228"/>
                  </a:lnTo>
                  <a:lnTo>
                    <a:pt x="890791" y="202959"/>
                  </a:lnTo>
                  <a:lnTo>
                    <a:pt x="890791" y="202260"/>
                  </a:lnTo>
                  <a:lnTo>
                    <a:pt x="890842" y="202260"/>
                  </a:lnTo>
                  <a:lnTo>
                    <a:pt x="890842" y="200228"/>
                  </a:lnTo>
                  <a:lnTo>
                    <a:pt x="890842" y="203594"/>
                  </a:lnTo>
                  <a:lnTo>
                    <a:pt x="890842" y="202260"/>
                  </a:lnTo>
                  <a:lnTo>
                    <a:pt x="890893" y="202260"/>
                  </a:lnTo>
                  <a:lnTo>
                    <a:pt x="890893" y="200876"/>
                  </a:lnTo>
                  <a:lnTo>
                    <a:pt x="890893" y="203594"/>
                  </a:lnTo>
                  <a:lnTo>
                    <a:pt x="890893" y="202959"/>
                  </a:lnTo>
                  <a:lnTo>
                    <a:pt x="890994" y="202260"/>
                  </a:lnTo>
                  <a:lnTo>
                    <a:pt x="890994" y="200876"/>
                  </a:lnTo>
                  <a:lnTo>
                    <a:pt x="890994" y="202959"/>
                  </a:lnTo>
                  <a:lnTo>
                    <a:pt x="890994" y="202260"/>
                  </a:lnTo>
                  <a:lnTo>
                    <a:pt x="890994" y="202959"/>
                  </a:lnTo>
                  <a:lnTo>
                    <a:pt x="891045" y="202959"/>
                  </a:lnTo>
                  <a:lnTo>
                    <a:pt x="891045" y="203594"/>
                  </a:lnTo>
                  <a:lnTo>
                    <a:pt x="891045" y="202959"/>
                  </a:lnTo>
                  <a:lnTo>
                    <a:pt x="891045" y="203594"/>
                  </a:lnTo>
                  <a:lnTo>
                    <a:pt x="891096" y="203594"/>
                  </a:lnTo>
                  <a:lnTo>
                    <a:pt x="891096" y="204292"/>
                  </a:lnTo>
                  <a:lnTo>
                    <a:pt x="891134" y="204292"/>
                  </a:lnTo>
                  <a:lnTo>
                    <a:pt x="891236" y="203594"/>
                  </a:lnTo>
                  <a:lnTo>
                    <a:pt x="891236" y="202959"/>
                  </a:lnTo>
                  <a:lnTo>
                    <a:pt x="891236" y="203594"/>
                  </a:lnTo>
                  <a:lnTo>
                    <a:pt x="891236" y="202260"/>
                  </a:lnTo>
                  <a:lnTo>
                    <a:pt x="891287" y="202260"/>
                  </a:lnTo>
                  <a:lnTo>
                    <a:pt x="891287" y="204292"/>
                  </a:lnTo>
                  <a:lnTo>
                    <a:pt x="891287" y="202260"/>
                  </a:lnTo>
                  <a:lnTo>
                    <a:pt x="891337" y="202260"/>
                  </a:lnTo>
                  <a:lnTo>
                    <a:pt x="891337" y="206324"/>
                  </a:lnTo>
                  <a:lnTo>
                    <a:pt x="891337" y="202959"/>
                  </a:lnTo>
                  <a:lnTo>
                    <a:pt x="891337" y="203594"/>
                  </a:lnTo>
                  <a:lnTo>
                    <a:pt x="891439" y="204292"/>
                  </a:lnTo>
                  <a:lnTo>
                    <a:pt x="891439" y="202959"/>
                  </a:lnTo>
                  <a:lnTo>
                    <a:pt x="891439" y="203594"/>
                  </a:lnTo>
                  <a:lnTo>
                    <a:pt x="891490" y="203594"/>
                  </a:lnTo>
                  <a:lnTo>
                    <a:pt x="891490" y="204292"/>
                  </a:lnTo>
                  <a:lnTo>
                    <a:pt x="891490" y="203594"/>
                  </a:lnTo>
                  <a:lnTo>
                    <a:pt x="891490" y="204292"/>
                  </a:lnTo>
                  <a:lnTo>
                    <a:pt x="891490" y="203594"/>
                  </a:lnTo>
                  <a:lnTo>
                    <a:pt x="891490" y="204292"/>
                  </a:lnTo>
                  <a:lnTo>
                    <a:pt x="891541" y="204292"/>
                  </a:lnTo>
                  <a:lnTo>
                    <a:pt x="891541" y="203594"/>
                  </a:lnTo>
                  <a:lnTo>
                    <a:pt x="891541" y="204990"/>
                  </a:lnTo>
                  <a:lnTo>
                    <a:pt x="891591" y="204990"/>
                  </a:lnTo>
                  <a:lnTo>
                    <a:pt x="891591" y="204292"/>
                  </a:lnTo>
                  <a:lnTo>
                    <a:pt x="891591" y="204990"/>
                  </a:lnTo>
                  <a:lnTo>
                    <a:pt x="891591" y="204292"/>
                  </a:lnTo>
                  <a:lnTo>
                    <a:pt x="891680" y="204292"/>
                  </a:lnTo>
                  <a:lnTo>
                    <a:pt x="891680" y="204990"/>
                  </a:lnTo>
                  <a:lnTo>
                    <a:pt x="891680" y="203594"/>
                  </a:lnTo>
                  <a:lnTo>
                    <a:pt x="891680" y="204292"/>
                  </a:lnTo>
                  <a:lnTo>
                    <a:pt x="891680" y="203594"/>
                  </a:lnTo>
                  <a:lnTo>
                    <a:pt x="891731" y="203594"/>
                  </a:lnTo>
                  <a:lnTo>
                    <a:pt x="891731" y="202260"/>
                  </a:lnTo>
                  <a:lnTo>
                    <a:pt x="891782" y="202959"/>
                  </a:lnTo>
                  <a:lnTo>
                    <a:pt x="891782" y="204292"/>
                  </a:lnTo>
                  <a:lnTo>
                    <a:pt x="891782" y="202260"/>
                  </a:lnTo>
                  <a:lnTo>
                    <a:pt x="891782" y="203594"/>
                  </a:lnTo>
                  <a:lnTo>
                    <a:pt x="891833" y="203594"/>
                  </a:lnTo>
                  <a:lnTo>
                    <a:pt x="891833" y="204990"/>
                  </a:lnTo>
                  <a:lnTo>
                    <a:pt x="891833" y="203594"/>
                  </a:lnTo>
                  <a:lnTo>
                    <a:pt x="891833" y="204990"/>
                  </a:lnTo>
                  <a:lnTo>
                    <a:pt x="891934" y="204990"/>
                  </a:lnTo>
                  <a:lnTo>
                    <a:pt x="891934" y="204292"/>
                  </a:lnTo>
                  <a:lnTo>
                    <a:pt x="891934" y="204990"/>
                  </a:lnTo>
                  <a:lnTo>
                    <a:pt x="891934" y="204292"/>
                  </a:lnTo>
                  <a:lnTo>
                    <a:pt x="891985" y="204292"/>
                  </a:lnTo>
                  <a:lnTo>
                    <a:pt x="891985" y="203594"/>
                  </a:lnTo>
                  <a:lnTo>
                    <a:pt x="891985" y="204990"/>
                  </a:lnTo>
                  <a:lnTo>
                    <a:pt x="891985" y="204292"/>
                  </a:lnTo>
                  <a:lnTo>
                    <a:pt x="892176" y="204292"/>
                  </a:lnTo>
                  <a:lnTo>
                    <a:pt x="892176" y="203594"/>
                  </a:lnTo>
                  <a:lnTo>
                    <a:pt x="892176" y="204292"/>
                  </a:lnTo>
                  <a:lnTo>
                    <a:pt x="892176" y="203594"/>
                  </a:lnTo>
                  <a:lnTo>
                    <a:pt x="892176" y="204292"/>
                  </a:lnTo>
                  <a:lnTo>
                    <a:pt x="892176" y="202959"/>
                  </a:lnTo>
                  <a:lnTo>
                    <a:pt x="892176" y="203594"/>
                  </a:lnTo>
                  <a:lnTo>
                    <a:pt x="892176" y="202959"/>
                  </a:lnTo>
                  <a:lnTo>
                    <a:pt x="892226" y="202260"/>
                  </a:lnTo>
                  <a:lnTo>
                    <a:pt x="892226" y="200876"/>
                  </a:lnTo>
                  <a:lnTo>
                    <a:pt x="892277" y="200876"/>
                  </a:lnTo>
                  <a:lnTo>
                    <a:pt x="892277" y="202959"/>
                  </a:lnTo>
                  <a:lnTo>
                    <a:pt x="892277" y="200876"/>
                  </a:lnTo>
                  <a:lnTo>
                    <a:pt x="892277" y="202959"/>
                  </a:lnTo>
                  <a:lnTo>
                    <a:pt x="892379" y="202959"/>
                  </a:lnTo>
                  <a:lnTo>
                    <a:pt x="892379" y="203594"/>
                  </a:lnTo>
                  <a:lnTo>
                    <a:pt x="892379" y="202959"/>
                  </a:lnTo>
                  <a:lnTo>
                    <a:pt x="892379" y="204292"/>
                  </a:lnTo>
                  <a:lnTo>
                    <a:pt x="892430" y="204292"/>
                  </a:lnTo>
                  <a:lnTo>
                    <a:pt x="892430" y="203594"/>
                  </a:lnTo>
                  <a:lnTo>
                    <a:pt x="892430" y="204292"/>
                  </a:lnTo>
                  <a:lnTo>
                    <a:pt x="892430" y="203594"/>
                  </a:lnTo>
                  <a:lnTo>
                    <a:pt x="892430" y="204292"/>
                  </a:lnTo>
                  <a:lnTo>
                    <a:pt x="892480" y="203594"/>
                  </a:lnTo>
                  <a:lnTo>
                    <a:pt x="892480" y="204990"/>
                  </a:lnTo>
                  <a:lnTo>
                    <a:pt x="892480" y="204292"/>
                  </a:lnTo>
                  <a:lnTo>
                    <a:pt x="892480" y="204990"/>
                  </a:lnTo>
                  <a:lnTo>
                    <a:pt x="892480" y="204292"/>
                  </a:lnTo>
                  <a:lnTo>
                    <a:pt x="892480" y="204990"/>
                  </a:lnTo>
                  <a:lnTo>
                    <a:pt x="892633" y="204990"/>
                  </a:lnTo>
                  <a:lnTo>
                    <a:pt x="892633" y="204292"/>
                  </a:lnTo>
                  <a:lnTo>
                    <a:pt x="892633" y="204990"/>
                  </a:lnTo>
                  <a:lnTo>
                    <a:pt x="892683" y="204990"/>
                  </a:lnTo>
                  <a:lnTo>
                    <a:pt x="892683" y="203594"/>
                  </a:lnTo>
                  <a:lnTo>
                    <a:pt x="892683" y="204292"/>
                  </a:lnTo>
                  <a:lnTo>
                    <a:pt x="892683" y="203594"/>
                  </a:lnTo>
                  <a:lnTo>
                    <a:pt x="892683" y="204292"/>
                  </a:lnTo>
                  <a:lnTo>
                    <a:pt x="892683" y="202959"/>
                  </a:lnTo>
                  <a:lnTo>
                    <a:pt x="892722" y="202959"/>
                  </a:lnTo>
                  <a:lnTo>
                    <a:pt x="892722" y="200876"/>
                  </a:lnTo>
                  <a:lnTo>
                    <a:pt x="892722" y="203594"/>
                  </a:lnTo>
                  <a:lnTo>
                    <a:pt x="892823" y="203594"/>
                  </a:lnTo>
                  <a:lnTo>
                    <a:pt x="892823" y="202260"/>
                  </a:lnTo>
                  <a:lnTo>
                    <a:pt x="892823" y="204292"/>
                  </a:lnTo>
                  <a:lnTo>
                    <a:pt x="892874" y="204292"/>
                  </a:lnTo>
                  <a:lnTo>
                    <a:pt x="892874" y="202959"/>
                  </a:lnTo>
                  <a:lnTo>
                    <a:pt x="892874" y="204292"/>
                  </a:lnTo>
                  <a:lnTo>
                    <a:pt x="892925" y="204292"/>
                  </a:lnTo>
                  <a:lnTo>
                    <a:pt x="892925" y="203594"/>
                  </a:lnTo>
                  <a:lnTo>
                    <a:pt x="892925" y="204292"/>
                  </a:lnTo>
                  <a:lnTo>
                    <a:pt x="892925" y="203594"/>
                  </a:lnTo>
                  <a:lnTo>
                    <a:pt x="893026" y="203594"/>
                  </a:lnTo>
                  <a:lnTo>
                    <a:pt x="893026" y="204292"/>
                  </a:lnTo>
                  <a:lnTo>
                    <a:pt x="893026" y="203594"/>
                  </a:lnTo>
                  <a:lnTo>
                    <a:pt x="893026" y="204292"/>
                  </a:lnTo>
                  <a:lnTo>
                    <a:pt x="893077" y="204292"/>
                  </a:lnTo>
                  <a:lnTo>
                    <a:pt x="893077" y="204990"/>
                  </a:lnTo>
                  <a:lnTo>
                    <a:pt x="893077" y="204292"/>
                  </a:lnTo>
                  <a:lnTo>
                    <a:pt x="893077" y="204990"/>
                  </a:lnTo>
                  <a:lnTo>
                    <a:pt x="893077" y="204292"/>
                  </a:lnTo>
                  <a:lnTo>
                    <a:pt x="893077" y="204990"/>
                  </a:lnTo>
                  <a:lnTo>
                    <a:pt x="893077" y="204292"/>
                  </a:lnTo>
                  <a:lnTo>
                    <a:pt x="893128" y="204292"/>
                  </a:lnTo>
                  <a:lnTo>
                    <a:pt x="893128" y="204990"/>
                  </a:lnTo>
                  <a:lnTo>
                    <a:pt x="893128" y="204292"/>
                  </a:lnTo>
                  <a:lnTo>
                    <a:pt x="893179" y="204292"/>
                  </a:lnTo>
                  <a:lnTo>
                    <a:pt x="893179" y="202260"/>
                  </a:lnTo>
                  <a:lnTo>
                    <a:pt x="893268" y="202260"/>
                  </a:lnTo>
                  <a:lnTo>
                    <a:pt x="893268" y="200876"/>
                  </a:lnTo>
                  <a:lnTo>
                    <a:pt x="893268" y="202959"/>
                  </a:lnTo>
                  <a:lnTo>
                    <a:pt x="893268" y="202260"/>
                  </a:lnTo>
                  <a:lnTo>
                    <a:pt x="893318" y="202260"/>
                  </a:lnTo>
                  <a:lnTo>
                    <a:pt x="893318" y="202959"/>
                  </a:lnTo>
                  <a:lnTo>
                    <a:pt x="893318" y="202260"/>
                  </a:lnTo>
                  <a:lnTo>
                    <a:pt x="893318" y="203594"/>
                  </a:lnTo>
                  <a:lnTo>
                    <a:pt x="893318" y="202959"/>
                  </a:lnTo>
                  <a:lnTo>
                    <a:pt x="893369" y="202959"/>
                  </a:lnTo>
                  <a:lnTo>
                    <a:pt x="893369" y="202260"/>
                  </a:lnTo>
                  <a:lnTo>
                    <a:pt x="893369" y="203594"/>
                  </a:lnTo>
                  <a:lnTo>
                    <a:pt x="893369" y="202959"/>
                  </a:lnTo>
                  <a:lnTo>
                    <a:pt x="893369" y="203594"/>
                  </a:lnTo>
                  <a:lnTo>
                    <a:pt x="893369" y="202959"/>
                  </a:lnTo>
                  <a:lnTo>
                    <a:pt x="893369" y="203594"/>
                  </a:lnTo>
                  <a:lnTo>
                    <a:pt x="893420" y="203594"/>
                  </a:lnTo>
                  <a:lnTo>
                    <a:pt x="893420" y="202959"/>
                  </a:lnTo>
                  <a:lnTo>
                    <a:pt x="893420" y="204292"/>
                  </a:lnTo>
                  <a:lnTo>
                    <a:pt x="893522" y="204292"/>
                  </a:lnTo>
                  <a:lnTo>
                    <a:pt x="893522" y="203594"/>
                  </a:lnTo>
                  <a:lnTo>
                    <a:pt x="893522" y="204292"/>
                  </a:lnTo>
                  <a:lnTo>
                    <a:pt x="893522" y="203594"/>
                  </a:lnTo>
                  <a:lnTo>
                    <a:pt x="893522" y="204292"/>
                  </a:lnTo>
                  <a:lnTo>
                    <a:pt x="893522" y="203594"/>
                  </a:lnTo>
                  <a:lnTo>
                    <a:pt x="893522" y="204292"/>
                  </a:lnTo>
                  <a:lnTo>
                    <a:pt x="893623" y="204292"/>
                  </a:lnTo>
                  <a:lnTo>
                    <a:pt x="893623" y="203594"/>
                  </a:lnTo>
                  <a:lnTo>
                    <a:pt x="893725" y="203594"/>
                  </a:lnTo>
                  <a:lnTo>
                    <a:pt x="893725" y="202959"/>
                  </a:lnTo>
                  <a:lnTo>
                    <a:pt x="893725" y="203594"/>
                  </a:lnTo>
                  <a:lnTo>
                    <a:pt x="893725" y="202959"/>
                  </a:lnTo>
                  <a:lnTo>
                    <a:pt x="893725" y="203594"/>
                  </a:lnTo>
                  <a:lnTo>
                    <a:pt x="893725" y="202260"/>
                  </a:lnTo>
                  <a:lnTo>
                    <a:pt x="893763" y="202260"/>
                  </a:lnTo>
                  <a:lnTo>
                    <a:pt x="893763" y="200876"/>
                  </a:lnTo>
                  <a:lnTo>
                    <a:pt x="893763" y="202260"/>
                  </a:lnTo>
                  <a:lnTo>
                    <a:pt x="893763" y="200876"/>
                  </a:lnTo>
                  <a:lnTo>
                    <a:pt x="893814" y="200876"/>
                  </a:lnTo>
                  <a:lnTo>
                    <a:pt x="893814" y="203594"/>
                  </a:lnTo>
                  <a:lnTo>
                    <a:pt x="893814" y="202260"/>
                  </a:lnTo>
                  <a:lnTo>
                    <a:pt x="893814" y="202959"/>
                  </a:lnTo>
                  <a:lnTo>
                    <a:pt x="893865" y="202260"/>
                  </a:lnTo>
                  <a:lnTo>
                    <a:pt x="893865" y="203594"/>
                  </a:lnTo>
                  <a:lnTo>
                    <a:pt x="893966" y="203594"/>
                  </a:lnTo>
                  <a:lnTo>
                    <a:pt x="893966" y="202959"/>
                  </a:lnTo>
                  <a:lnTo>
                    <a:pt x="893966" y="203594"/>
                  </a:lnTo>
                  <a:lnTo>
                    <a:pt x="894017" y="203594"/>
                  </a:lnTo>
                  <a:lnTo>
                    <a:pt x="894017" y="204292"/>
                  </a:lnTo>
                  <a:lnTo>
                    <a:pt x="894017" y="203594"/>
                  </a:lnTo>
                  <a:lnTo>
                    <a:pt x="894017" y="204292"/>
                  </a:lnTo>
                  <a:lnTo>
                    <a:pt x="894068" y="204292"/>
                  </a:lnTo>
                  <a:lnTo>
                    <a:pt x="894068" y="203594"/>
                  </a:lnTo>
                  <a:lnTo>
                    <a:pt x="894068" y="204292"/>
                  </a:lnTo>
                  <a:lnTo>
                    <a:pt x="894068" y="203594"/>
                  </a:lnTo>
                  <a:lnTo>
                    <a:pt x="894068" y="204292"/>
                  </a:lnTo>
                  <a:lnTo>
                    <a:pt x="894068" y="203594"/>
                  </a:lnTo>
                  <a:lnTo>
                    <a:pt x="894068" y="204292"/>
                  </a:lnTo>
                  <a:lnTo>
                    <a:pt x="894068" y="203594"/>
                  </a:lnTo>
                  <a:lnTo>
                    <a:pt x="894068" y="204292"/>
                  </a:lnTo>
                  <a:lnTo>
                    <a:pt x="894068" y="203594"/>
                  </a:lnTo>
                  <a:lnTo>
                    <a:pt x="894068" y="204292"/>
                  </a:lnTo>
                  <a:lnTo>
                    <a:pt x="894169" y="203594"/>
                  </a:lnTo>
                  <a:lnTo>
                    <a:pt x="894169" y="204292"/>
                  </a:lnTo>
                  <a:lnTo>
                    <a:pt x="894169" y="203594"/>
                  </a:lnTo>
                  <a:lnTo>
                    <a:pt x="894169" y="204292"/>
                  </a:lnTo>
                  <a:lnTo>
                    <a:pt x="894169" y="203594"/>
                  </a:lnTo>
                  <a:lnTo>
                    <a:pt x="894220" y="203594"/>
                  </a:lnTo>
                  <a:lnTo>
                    <a:pt x="894220" y="202260"/>
                  </a:lnTo>
                  <a:lnTo>
                    <a:pt x="894220" y="202959"/>
                  </a:lnTo>
                  <a:lnTo>
                    <a:pt x="894271" y="202959"/>
                  </a:lnTo>
                  <a:lnTo>
                    <a:pt x="894271" y="202260"/>
                  </a:lnTo>
                  <a:lnTo>
                    <a:pt x="894271" y="203594"/>
                  </a:lnTo>
                  <a:lnTo>
                    <a:pt x="894271" y="202260"/>
                  </a:lnTo>
                  <a:lnTo>
                    <a:pt x="894271" y="202959"/>
                  </a:lnTo>
                  <a:lnTo>
                    <a:pt x="894271" y="200876"/>
                  </a:lnTo>
                  <a:lnTo>
                    <a:pt x="894309" y="200876"/>
                  </a:lnTo>
                  <a:lnTo>
                    <a:pt x="894309" y="204292"/>
                  </a:lnTo>
                  <a:lnTo>
                    <a:pt x="894309" y="202959"/>
                  </a:lnTo>
                  <a:lnTo>
                    <a:pt x="894411" y="203594"/>
                  </a:lnTo>
                  <a:lnTo>
                    <a:pt x="894411" y="204292"/>
                  </a:lnTo>
                  <a:lnTo>
                    <a:pt x="894411" y="203594"/>
                  </a:lnTo>
                  <a:lnTo>
                    <a:pt x="894462" y="203594"/>
                  </a:lnTo>
                  <a:lnTo>
                    <a:pt x="894462" y="204292"/>
                  </a:lnTo>
                  <a:lnTo>
                    <a:pt x="894462" y="203594"/>
                  </a:lnTo>
                  <a:lnTo>
                    <a:pt x="894462" y="204292"/>
                  </a:lnTo>
                  <a:lnTo>
                    <a:pt x="894462" y="203594"/>
                  </a:lnTo>
                  <a:lnTo>
                    <a:pt x="894462" y="204292"/>
                  </a:lnTo>
                  <a:lnTo>
                    <a:pt x="894512" y="204292"/>
                  </a:lnTo>
                  <a:lnTo>
                    <a:pt x="894512" y="204990"/>
                  </a:lnTo>
                  <a:lnTo>
                    <a:pt x="894614" y="204292"/>
                  </a:lnTo>
                  <a:lnTo>
                    <a:pt x="894614" y="204990"/>
                  </a:lnTo>
                  <a:lnTo>
                    <a:pt x="894614" y="204292"/>
                  </a:lnTo>
                  <a:lnTo>
                    <a:pt x="894614" y="204990"/>
                  </a:lnTo>
                  <a:lnTo>
                    <a:pt x="894614" y="204292"/>
                  </a:lnTo>
                  <a:lnTo>
                    <a:pt x="894614" y="204990"/>
                  </a:lnTo>
                  <a:lnTo>
                    <a:pt x="894665" y="204990"/>
                  </a:lnTo>
                  <a:lnTo>
                    <a:pt x="894665" y="203594"/>
                  </a:lnTo>
                  <a:lnTo>
                    <a:pt x="894665" y="204292"/>
                  </a:lnTo>
                  <a:lnTo>
                    <a:pt x="894665" y="203594"/>
                  </a:lnTo>
                  <a:lnTo>
                    <a:pt x="894716" y="203594"/>
                  </a:lnTo>
                  <a:lnTo>
                    <a:pt x="894716" y="202959"/>
                  </a:lnTo>
                  <a:lnTo>
                    <a:pt x="894716" y="203594"/>
                  </a:lnTo>
                  <a:lnTo>
                    <a:pt x="894716" y="202959"/>
                  </a:lnTo>
                  <a:lnTo>
                    <a:pt x="894716" y="204292"/>
                  </a:lnTo>
                  <a:lnTo>
                    <a:pt x="894716" y="203594"/>
                  </a:lnTo>
                  <a:lnTo>
                    <a:pt x="894766" y="203594"/>
                  </a:lnTo>
                  <a:lnTo>
                    <a:pt x="894766" y="204292"/>
                  </a:lnTo>
                  <a:lnTo>
                    <a:pt x="894766" y="203594"/>
                  </a:lnTo>
                  <a:lnTo>
                    <a:pt x="894766" y="206324"/>
                  </a:lnTo>
                  <a:lnTo>
                    <a:pt x="894766" y="204990"/>
                  </a:lnTo>
                  <a:lnTo>
                    <a:pt x="894855" y="204990"/>
                  </a:lnTo>
                  <a:lnTo>
                    <a:pt x="894855" y="204292"/>
                  </a:lnTo>
                  <a:lnTo>
                    <a:pt x="894855" y="206324"/>
                  </a:lnTo>
                  <a:lnTo>
                    <a:pt x="894855" y="204990"/>
                  </a:lnTo>
                  <a:lnTo>
                    <a:pt x="894906" y="204990"/>
                  </a:lnTo>
                  <a:lnTo>
                    <a:pt x="894906" y="206324"/>
                  </a:lnTo>
                  <a:lnTo>
                    <a:pt x="894906" y="204990"/>
                  </a:lnTo>
                  <a:lnTo>
                    <a:pt x="894906" y="206324"/>
                  </a:lnTo>
                  <a:lnTo>
                    <a:pt x="894906" y="204990"/>
                  </a:lnTo>
                  <a:lnTo>
                    <a:pt x="894957" y="204990"/>
                  </a:lnTo>
                  <a:lnTo>
                    <a:pt x="894957" y="206324"/>
                  </a:lnTo>
                  <a:lnTo>
                    <a:pt x="894957" y="204292"/>
                  </a:lnTo>
                  <a:lnTo>
                    <a:pt x="894957" y="204990"/>
                  </a:lnTo>
                  <a:lnTo>
                    <a:pt x="895008" y="204990"/>
                  </a:lnTo>
                  <a:lnTo>
                    <a:pt x="895008" y="204292"/>
                  </a:lnTo>
                  <a:lnTo>
                    <a:pt x="895008" y="204990"/>
                  </a:lnTo>
                  <a:lnTo>
                    <a:pt x="895008" y="204292"/>
                  </a:lnTo>
                  <a:lnTo>
                    <a:pt x="895160" y="204292"/>
                  </a:lnTo>
                  <a:lnTo>
                    <a:pt x="895160" y="202260"/>
                  </a:lnTo>
                  <a:lnTo>
                    <a:pt x="895160" y="202959"/>
                  </a:lnTo>
                  <a:lnTo>
                    <a:pt x="895211" y="202959"/>
                  </a:lnTo>
                  <a:lnTo>
                    <a:pt x="895211" y="200876"/>
                  </a:lnTo>
                  <a:lnTo>
                    <a:pt x="895211" y="203594"/>
                  </a:lnTo>
                  <a:lnTo>
                    <a:pt x="895211" y="202260"/>
                  </a:lnTo>
                  <a:lnTo>
                    <a:pt x="895312" y="202260"/>
                  </a:lnTo>
                  <a:lnTo>
                    <a:pt x="895312" y="206324"/>
                  </a:lnTo>
                  <a:lnTo>
                    <a:pt x="895312" y="203594"/>
                  </a:lnTo>
                  <a:lnTo>
                    <a:pt x="895351" y="203594"/>
                  </a:lnTo>
                  <a:lnTo>
                    <a:pt x="895351" y="204990"/>
                  </a:lnTo>
                  <a:lnTo>
                    <a:pt x="895351" y="204292"/>
                  </a:lnTo>
                  <a:lnTo>
                    <a:pt x="895401" y="204292"/>
                  </a:lnTo>
                  <a:lnTo>
                    <a:pt x="895401" y="206324"/>
                  </a:lnTo>
                  <a:lnTo>
                    <a:pt x="895401" y="204990"/>
                  </a:lnTo>
                  <a:lnTo>
                    <a:pt x="895452" y="204990"/>
                  </a:lnTo>
                  <a:lnTo>
                    <a:pt x="895452" y="206324"/>
                  </a:lnTo>
                  <a:lnTo>
                    <a:pt x="895452" y="204990"/>
                  </a:lnTo>
                  <a:lnTo>
                    <a:pt x="895452" y="206324"/>
                  </a:lnTo>
                  <a:lnTo>
                    <a:pt x="895554" y="206324"/>
                  </a:lnTo>
                  <a:lnTo>
                    <a:pt x="895554" y="204990"/>
                  </a:lnTo>
                  <a:lnTo>
                    <a:pt x="895554" y="206324"/>
                  </a:lnTo>
                  <a:lnTo>
                    <a:pt x="895554" y="204990"/>
                  </a:lnTo>
                  <a:lnTo>
                    <a:pt x="895605" y="204990"/>
                  </a:lnTo>
                  <a:lnTo>
                    <a:pt x="895605" y="203594"/>
                  </a:lnTo>
                  <a:lnTo>
                    <a:pt x="895655" y="203594"/>
                  </a:lnTo>
                  <a:lnTo>
                    <a:pt x="895655" y="204292"/>
                  </a:lnTo>
                  <a:lnTo>
                    <a:pt x="895655" y="203594"/>
                  </a:lnTo>
                  <a:lnTo>
                    <a:pt x="895655" y="204292"/>
                  </a:lnTo>
                  <a:lnTo>
                    <a:pt x="895655" y="202260"/>
                  </a:lnTo>
                  <a:lnTo>
                    <a:pt x="895757" y="202260"/>
                  </a:lnTo>
                  <a:lnTo>
                    <a:pt x="895757" y="203594"/>
                  </a:lnTo>
                  <a:lnTo>
                    <a:pt x="895757" y="202260"/>
                  </a:lnTo>
                  <a:lnTo>
                    <a:pt x="895757" y="203594"/>
                  </a:lnTo>
                  <a:lnTo>
                    <a:pt x="895808" y="204292"/>
                  </a:lnTo>
                  <a:lnTo>
                    <a:pt x="895808" y="204990"/>
                  </a:lnTo>
                  <a:lnTo>
                    <a:pt x="895808" y="203594"/>
                  </a:lnTo>
                  <a:lnTo>
                    <a:pt x="895808" y="204990"/>
                  </a:lnTo>
                  <a:lnTo>
                    <a:pt x="895858" y="204990"/>
                  </a:lnTo>
                  <a:lnTo>
                    <a:pt x="895858" y="204292"/>
                  </a:lnTo>
                  <a:lnTo>
                    <a:pt x="895858" y="204990"/>
                  </a:lnTo>
                  <a:lnTo>
                    <a:pt x="895897" y="204990"/>
                  </a:lnTo>
                  <a:lnTo>
                    <a:pt x="895897" y="206324"/>
                  </a:lnTo>
                  <a:lnTo>
                    <a:pt x="895897" y="204990"/>
                  </a:lnTo>
                  <a:lnTo>
                    <a:pt x="895998" y="204990"/>
                  </a:lnTo>
                  <a:lnTo>
                    <a:pt x="895998" y="206324"/>
                  </a:lnTo>
                  <a:lnTo>
                    <a:pt x="896049" y="206324"/>
                  </a:lnTo>
                  <a:lnTo>
                    <a:pt x="896049" y="204990"/>
                  </a:lnTo>
                  <a:lnTo>
                    <a:pt x="896049" y="206324"/>
                  </a:lnTo>
                  <a:lnTo>
                    <a:pt x="896049" y="204990"/>
                  </a:lnTo>
                  <a:lnTo>
                    <a:pt x="896049" y="206324"/>
                  </a:lnTo>
                  <a:lnTo>
                    <a:pt x="896049" y="204292"/>
                  </a:lnTo>
                  <a:lnTo>
                    <a:pt x="896049" y="204990"/>
                  </a:lnTo>
                  <a:lnTo>
                    <a:pt x="896049" y="204292"/>
                  </a:lnTo>
                  <a:lnTo>
                    <a:pt x="896049" y="204990"/>
                  </a:lnTo>
                  <a:lnTo>
                    <a:pt x="896049" y="204292"/>
                  </a:lnTo>
                  <a:lnTo>
                    <a:pt x="896100" y="204292"/>
                  </a:lnTo>
                  <a:lnTo>
                    <a:pt x="896100" y="203594"/>
                  </a:lnTo>
                  <a:lnTo>
                    <a:pt x="896100" y="204292"/>
                  </a:lnTo>
                  <a:lnTo>
                    <a:pt x="896100" y="203594"/>
                  </a:lnTo>
                  <a:lnTo>
                    <a:pt x="896201" y="203594"/>
                  </a:lnTo>
                  <a:lnTo>
                    <a:pt x="896201" y="202959"/>
                  </a:lnTo>
                  <a:lnTo>
                    <a:pt x="896201" y="203594"/>
                  </a:lnTo>
                  <a:lnTo>
                    <a:pt x="896201" y="200876"/>
                  </a:lnTo>
                  <a:lnTo>
                    <a:pt x="896201" y="202260"/>
                  </a:lnTo>
                  <a:lnTo>
                    <a:pt x="896252" y="200876"/>
                  </a:lnTo>
                  <a:lnTo>
                    <a:pt x="896252" y="202959"/>
                  </a:lnTo>
                  <a:lnTo>
                    <a:pt x="896252" y="202260"/>
                  </a:lnTo>
                  <a:lnTo>
                    <a:pt x="896252" y="202959"/>
                  </a:lnTo>
                  <a:lnTo>
                    <a:pt x="896252" y="200876"/>
                  </a:lnTo>
                  <a:lnTo>
                    <a:pt x="896303" y="200876"/>
                  </a:lnTo>
                  <a:lnTo>
                    <a:pt x="896303" y="203594"/>
                  </a:lnTo>
                  <a:lnTo>
                    <a:pt x="896303" y="202959"/>
                  </a:lnTo>
                  <a:lnTo>
                    <a:pt x="896303" y="203594"/>
                  </a:lnTo>
                  <a:lnTo>
                    <a:pt x="896303" y="202959"/>
                  </a:lnTo>
                  <a:lnTo>
                    <a:pt x="896303" y="203594"/>
                  </a:lnTo>
                  <a:lnTo>
                    <a:pt x="896303" y="202959"/>
                  </a:lnTo>
                  <a:lnTo>
                    <a:pt x="896354" y="202959"/>
                  </a:lnTo>
                  <a:lnTo>
                    <a:pt x="896354" y="203594"/>
                  </a:lnTo>
                  <a:lnTo>
                    <a:pt x="896354" y="202959"/>
                  </a:lnTo>
                  <a:lnTo>
                    <a:pt x="896354" y="203594"/>
                  </a:lnTo>
                  <a:lnTo>
                    <a:pt x="896354" y="202959"/>
                  </a:lnTo>
                  <a:lnTo>
                    <a:pt x="896354" y="204292"/>
                  </a:lnTo>
                  <a:lnTo>
                    <a:pt x="896443" y="204292"/>
                  </a:lnTo>
                  <a:lnTo>
                    <a:pt x="896443" y="203594"/>
                  </a:lnTo>
                  <a:lnTo>
                    <a:pt x="896443" y="204990"/>
                  </a:lnTo>
                  <a:lnTo>
                    <a:pt x="896443" y="204292"/>
                  </a:lnTo>
                  <a:lnTo>
                    <a:pt x="896443" y="204990"/>
                  </a:lnTo>
                  <a:lnTo>
                    <a:pt x="896443" y="204292"/>
                  </a:lnTo>
                  <a:lnTo>
                    <a:pt x="896443" y="204990"/>
                  </a:lnTo>
                  <a:lnTo>
                    <a:pt x="896493" y="204292"/>
                  </a:lnTo>
                  <a:lnTo>
                    <a:pt x="896493" y="204990"/>
                  </a:lnTo>
                  <a:lnTo>
                    <a:pt x="896493" y="204292"/>
                  </a:lnTo>
                  <a:lnTo>
                    <a:pt x="896493" y="206324"/>
                  </a:lnTo>
                  <a:lnTo>
                    <a:pt x="896544" y="206324"/>
                  </a:lnTo>
                  <a:lnTo>
                    <a:pt x="896544" y="204990"/>
                  </a:lnTo>
                  <a:lnTo>
                    <a:pt x="896544" y="206324"/>
                  </a:lnTo>
                  <a:lnTo>
                    <a:pt x="896544" y="204990"/>
                  </a:lnTo>
                  <a:lnTo>
                    <a:pt x="896544" y="206324"/>
                  </a:lnTo>
                  <a:lnTo>
                    <a:pt x="896544" y="204990"/>
                  </a:lnTo>
                  <a:lnTo>
                    <a:pt x="896595" y="204990"/>
                  </a:lnTo>
                  <a:lnTo>
                    <a:pt x="896595" y="204292"/>
                  </a:lnTo>
                  <a:lnTo>
                    <a:pt x="896595" y="204990"/>
                  </a:lnTo>
                  <a:lnTo>
                    <a:pt x="896595" y="203594"/>
                  </a:lnTo>
                  <a:lnTo>
                    <a:pt x="896697" y="203594"/>
                  </a:lnTo>
                  <a:lnTo>
                    <a:pt x="896697" y="202260"/>
                  </a:lnTo>
                  <a:lnTo>
                    <a:pt x="896697" y="203594"/>
                  </a:lnTo>
                  <a:lnTo>
                    <a:pt x="896747" y="203594"/>
                  </a:lnTo>
                  <a:lnTo>
                    <a:pt x="896747" y="202260"/>
                  </a:lnTo>
                  <a:lnTo>
                    <a:pt x="896747" y="202959"/>
                  </a:lnTo>
                  <a:lnTo>
                    <a:pt x="896747" y="200876"/>
                  </a:lnTo>
                  <a:lnTo>
                    <a:pt x="896747" y="203594"/>
                  </a:lnTo>
                  <a:lnTo>
                    <a:pt x="896798" y="203594"/>
                  </a:lnTo>
                  <a:lnTo>
                    <a:pt x="896798" y="202959"/>
                  </a:lnTo>
                  <a:lnTo>
                    <a:pt x="896798" y="203594"/>
                  </a:lnTo>
                  <a:lnTo>
                    <a:pt x="896900" y="204292"/>
                  </a:lnTo>
                  <a:lnTo>
                    <a:pt x="896900" y="203594"/>
                  </a:lnTo>
                  <a:lnTo>
                    <a:pt x="896900" y="204292"/>
                  </a:lnTo>
                  <a:lnTo>
                    <a:pt x="896900" y="203594"/>
                  </a:lnTo>
                  <a:lnTo>
                    <a:pt x="896938" y="203594"/>
                  </a:lnTo>
                  <a:lnTo>
                    <a:pt x="896938" y="204292"/>
                  </a:lnTo>
                  <a:lnTo>
                    <a:pt x="896938" y="203594"/>
                  </a:lnTo>
                  <a:lnTo>
                    <a:pt x="896938" y="204292"/>
                  </a:lnTo>
                  <a:lnTo>
                    <a:pt x="896938" y="203594"/>
                  </a:lnTo>
                  <a:lnTo>
                    <a:pt x="896989" y="204292"/>
                  </a:lnTo>
                  <a:lnTo>
                    <a:pt x="896989" y="204990"/>
                  </a:lnTo>
                  <a:lnTo>
                    <a:pt x="896989" y="204292"/>
                  </a:lnTo>
                  <a:lnTo>
                    <a:pt x="897040" y="204292"/>
                  </a:lnTo>
                  <a:lnTo>
                    <a:pt x="897040" y="203594"/>
                  </a:lnTo>
                  <a:lnTo>
                    <a:pt x="897040" y="204292"/>
                  </a:lnTo>
                  <a:lnTo>
                    <a:pt x="897141" y="204292"/>
                  </a:lnTo>
                  <a:lnTo>
                    <a:pt x="897141" y="203594"/>
                  </a:lnTo>
                  <a:lnTo>
                    <a:pt x="897141" y="204292"/>
                  </a:lnTo>
                  <a:lnTo>
                    <a:pt x="897141" y="203594"/>
                  </a:lnTo>
                  <a:lnTo>
                    <a:pt x="897192" y="203594"/>
                  </a:lnTo>
                  <a:lnTo>
                    <a:pt x="897192" y="202959"/>
                  </a:lnTo>
                  <a:lnTo>
                    <a:pt x="897192" y="204990"/>
                  </a:lnTo>
                  <a:lnTo>
                    <a:pt x="897192" y="203594"/>
                  </a:lnTo>
                  <a:lnTo>
                    <a:pt x="897243" y="203594"/>
                  </a:lnTo>
                  <a:lnTo>
                    <a:pt x="897243" y="206324"/>
                  </a:lnTo>
                  <a:lnTo>
                    <a:pt x="897243" y="204990"/>
                  </a:lnTo>
                  <a:lnTo>
                    <a:pt x="897344" y="204990"/>
                  </a:lnTo>
                  <a:lnTo>
                    <a:pt x="897344" y="204292"/>
                  </a:lnTo>
                  <a:lnTo>
                    <a:pt x="897344" y="206324"/>
                  </a:lnTo>
                  <a:lnTo>
                    <a:pt x="897344" y="204990"/>
                  </a:lnTo>
                  <a:lnTo>
                    <a:pt x="897395" y="204990"/>
                  </a:lnTo>
                  <a:lnTo>
                    <a:pt x="897395" y="206324"/>
                  </a:lnTo>
                  <a:lnTo>
                    <a:pt x="897395" y="204990"/>
                  </a:lnTo>
                  <a:lnTo>
                    <a:pt x="897395" y="206324"/>
                  </a:lnTo>
                  <a:lnTo>
                    <a:pt x="897395" y="204990"/>
                  </a:lnTo>
                  <a:lnTo>
                    <a:pt x="897446" y="204990"/>
                  </a:lnTo>
                  <a:lnTo>
                    <a:pt x="897446" y="206324"/>
                  </a:lnTo>
                  <a:lnTo>
                    <a:pt x="897446" y="204990"/>
                  </a:lnTo>
                  <a:lnTo>
                    <a:pt x="897484" y="204990"/>
                  </a:lnTo>
                  <a:lnTo>
                    <a:pt x="897484" y="206324"/>
                  </a:lnTo>
                  <a:lnTo>
                    <a:pt x="897484" y="204990"/>
                  </a:lnTo>
                  <a:lnTo>
                    <a:pt x="897484" y="206324"/>
                  </a:lnTo>
                  <a:lnTo>
                    <a:pt x="897484" y="204990"/>
                  </a:lnTo>
                  <a:lnTo>
                    <a:pt x="897484" y="206324"/>
                  </a:lnTo>
                  <a:lnTo>
                    <a:pt x="897586" y="206324"/>
                  </a:lnTo>
                  <a:lnTo>
                    <a:pt x="897586" y="204292"/>
                  </a:lnTo>
                  <a:lnTo>
                    <a:pt x="897637" y="204292"/>
                  </a:lnTo>
                  <a:lnTo>
                    <a:pt x="897637" y="203594"/>
                  </a:lnTo>
                  <a:lnTo>
                    <a:pt x="897687" y="203594"/>
                  </a:lnTo>
                  <a:lnTo>
                    <a:pt x="897687" y="204990"/>
                  </a:lnTo>
                  <a:lnTo>
                    <a:pt x="897687" y="203594"/>
                  </a:lnTo>
                  <a:lnTo>
                    <a:pt x="897687" y="204990"/>
                  </a:lnTo>
                  <a:lnTo>
                    <a:pt x="897789" y="204990"/>
                  </a:lnTo>
                  <a:lnTo>
                    <a:pt x="897789" y="207022"/>
                  </a:lnTo>
                  <a:lnTo>
                    <a:pt x="897789" y="204990"/>
                  </a:lnTo>
                  <a:lnTo>
                    <a:pt x="897789" y="207022"/>
                  </a:lnTo>
                  <a:lnTo>
                    <a:pt x="897840" y="207022"/>
                  </a:lnTo>
                  <a:lnTo>
                    <a:pt x="897840" y="206324"/>
                  </a:lnTo>
                  <a:lnTo>
                    <a:pt x="897840" y="207022"/>
                  </a:lnTo>
                  <a:lnTo>
                    <a:pt x="897891" y="207022"/>
                  </a:lnTo>
                  <a:lnTo>
                    <a:pt x="897891" y="206324"/>
                  </a:lnTo>
                  <a:lnTo>
                    <a:pt x="897891" y="207022"/>
                  </a:lnTo>
                  <a:lnTo>
                    <a:pt x="897941" y="207022"/>
                  </a:lnTo>
                  <a:lnTo>
                    <a:pt x="897941" y="204990"/>
                  </a:lnTo>
                  <a:lnTo>
                    <a:pt x="897941" y="206324"/>
                  </a:lnTo>
                  <a:lnTo>
                    <a:pt x="897941" y="204990"/>
                  </a:lnTo>
                  <a:lnTo>
                    <a:pt x="898030" y="204990"/>
                  </a:lnTo>
                  <a:lnTo>
                    <a:pt x="898030" y="206324"/>
                  </a:lnTo>
                  <a:lnTo>
                    <a:pt x="898030" y="204990"/>
                  </a:lnTo>
                  <a:lnTo>
                    <a:pt x="898030" y="206324"/>
                  </a:lnTo>
                  <a:lnTo>
                    <a:pt x="898030" y="204990"/>
                  </a:lnTo>
                  <a:lnTo>
                    <a:pt x="898081" y="204990"/>
                  </a:lnTo>
                  <a:lnTo>
                    <a:pt x="898081" y="204292"/>
                  </a:lnTo>
                  <a:lnTo>
                    <a:pt x="898081" y="204990"/>
                  </a:lnTo>
                  <a:lnTo>
                    <a:pt x="898081" y="203594"/>
                  </a:lnTo>
                  <a:lnTo>
                    <a:pt x="898081" y="204292"/>
                  </a:lnTo>
                  <a:lnTo>
                    <a:pt x="898081" y="203594"/>
                  </a:lnTo>
                  <a:lnTo>
                    <a:pt x="898081" y="204292"/>
                  </a:lnTo>
                  <a:lnTo>
                    <a:pt x="898081" y="203594"/>
                  </a:lnTo>
                  <a:lnTo>
                    <a:pt x="898132" y="203594"/>
                  </a:lnTo>
                  <a:lnTo>
                    <a:pt x="898132" y="202959"/>
                  </a:lnTo>
                  <a:lnTo>
                    <a:pt x="898132" y="204292"/>
                  </a:lnTo>
                  <a:lnTo>
                    <a:pt x="898183" y="204292"/>
                  </a:lnTo>
                  <a:lnTo>
                    <a:pt x="898183" y="202959"/>
                  </a:lnTo>
                  <a:lnTo>
                    <a:pt x="898183" y="206324"/>
                  </a:lnTo>
                  <a:lnTo>
                    <a:pt x="898183" y="204990"/>
                  </a:lnTo>
                  <a:lnTo>
                    <a:pt x="898284" y="204990"/>
                  </a:lnTo>
                  <a:lnTo>
                    <a:pt x="898284" y="204292"/>
                  </a:lnTo>
                  <a:lnTo>
                    <a:pt x="898284" y="207022"/>
                  </a:lnTo>
                  <a:lnTo>
                    <a:pt x="898284" y="206324"/>
                  </a:lnTo>
                  <a:lnTo>
                    <a:pt x="898335" y="206324"/>
                  </a:lnTo>
                  <a:lnTo>
                    <a:pt x="898335" y="207022"/>
                  </a:lnTo>
                  <a:lnTo>
                    <a:pt x="898335" y="206324"/>
                  </a:lnTo>
                  <a:lnTo>
                    <a:pt x="898335" y="207022"/>
                  </a:lnTo>
                  <a:lnTo>
                    <a:pt x="898386" y="207022"/>
                  </a:lnTo>
                  <a:lnTo>
                    <a:pt x="898386" y="207721"/>
                  </a:lnTo>
                  <a:lnTo>
                    <a:pt x="898386" y="207022"/>
                  </a:lnTo>
                  <a:lnTo>
                    <a:pt x="898386" y="207721"/>
                  </a:lnTo>
                  <a:lnTo>
                    <a:pt x="898386" y="207022"/>
                  </a:lnTo>
                  <a:lnTo>
                    <a:pt x="898487" y="207022"/>
                  </a:lnTo>
                  <a:lnTo>
                    <a:pt x="898487" y="206324"/>
                  </a:lnTo>
                  <a:lnTo>
                    <a:pt x="898487" y="207022"/>
                  </a:lnTo>
                  <a:lnTo>
                    <a:pt x="898487" y="206324"/>
                  </a:lnTo>
                  <a:lnTo>
                    <a:pt x="898487" y="207022"/>
                  </a:lnTo>
                  <a:lnTo>
                    <a:pt x="898487" y="206324"/>
                  </a:lnTo>
                  <a:lnTo>
                    <a:pt x="898526" y="206324"/>
                  </a:lnTo>
                  <a:lnTo>
                    <a:pt x="898526" y="204990"/>
                  </a:lnTo>
                  <a:lnTo>
                    <a:pt x="898576" y="204990"/>
                  </a:lnTo>
                  <a:lnTo>
                    <a:pt x="898576" y="202959"/>
                  </a:lnTo>
                  <a:lnTo>
                    <a:pt x="898576" y="203594"/>
                  </a:lnTo>
                  <a:lnTo>
                    <a:pt x="898576" y="202959"/>
                  </a:lnTo>
                  <a:lnTo>
                    <a:pt x="898576" y="203594"/>
                  </a:lnTo>
                  <a:lnTo>
                    <a:pt x="898627" y="203594"/>
                  </a:lnTo>
                  <a:lnTo>
                    <a:pt x="898627" y="204292"/>
                  </a:lnTo>
                  <a:lnTo>
                    <a:pt x="898627" y="203594"/>
                  </a:lnTo>
                  <a:lnTo>
                    <a:pt x="898627" y="204990"/>
                  </a:lnTo>
                  <a:lnTo>
                    <a:pt x="898627" y="203594"/>
                  </a:lnTo>
                  <a:lnTo>
                    <a:pt x="898627" y="204292"/>
                  </a:lnTo>
                  <a:lnTo>
                    <a:pt x="898729" y="204292"/>
                  </a:lnTo>
                  <a:lnTo>
                    <a:pt x="898729" y="207022"/>
                  </a:lnTo>
                  <a:lnTo>
                    <a:pt x="898729" y="204292"/>
                  </a:lnTo>
                  <a:lnTo>
                    <a:pt x="898729" y="206324"/>
                  </a:lnTo>
                  <a:lnTo>
                    <a:pt x="898780" y="206324"/>
                  </a:lnTo>
                  <a:lnTo>
                    <a:pt x="898780" y="207022"/>
                  </a:lnTo>
                  <a:lnTo>
                    <a:pt x="898780" y="204990"/>
                  </a:lnTo>
                  <a:lnTo>
                    <a:pt x="898780" y="206324"/>
                  </a:lnTo>
                  <a:lnTo>
                    <a:pt x="898780" y="204990"/>
                  </a:lnTo>
                  <a:lnTo>
                    <a:pt x="898780" y="206324"/>
                  </a:lnTo>
                  <a:lnTo>
                    <a:pt x="898830" y="206324"/>
                  </a:lnTo>
                  <a:lnTo>
                    <a:pt x="898830" y="207022"/>
                  </a:lnTo>
                  <a:lnTo>
                    <a:pt x="898830" y="206324"/>
                  </a:lnTo>
                  <a:lnTo>
                    <a:pt x="898830" y="207022"/>
                  </a:lnTo>
                  <a:lnTo>
                    <a:pt x="898830" y="206324"/>
                  </a:lnTo>
                  <a:lnTo>
                    <a:pt x="898830" y="207022"/>
                  </a:lnTo>
                  <a:lnTo>
                    <a:pt x="898932" y="207022"/>
                  </a:lnTo>
                  <a:lnTo>
                    <a:pt x="898932" y="206324"/>
                  </a:lnTo>
                  <a:lnTo>
                    <a:pt x="898932" y="207022"/>
                  </a:lnTo>
                  <a:lnTo>
                    <a:pt x="898932" y="206324"/>
                  </a:lnTo>
                  <a:lnTo>
                    <a:pt x="898932" y="207022"/>
                  </a:lnTo>
                  <a:lnTo>
                    <a:pt x="898932" y="206324"/>
                  </a:lnTo>
                  <a:lnTo>
                    <a:pt x="898932" y="207022"/>
                  </a:lnTo>
                  <a:lnTo>
                    <a:pt x="898932" y="206324"/>
                  </a:lnTo>
                  <a:lnTo>
                    <a:pt x="898983" y="207022"/>
                  </a:lnTo>
                  <a:lnTo>
                    <a:pt x="898983" y="206324"/>
                  </a:lnTo>
                  <a:lnTo>
                    <a:pt x="899033" y="206324"/>
                  </a:lnTo>
                  <a:lnTo>
                    <a:pt x="899033" y="204292"/>
                  </a:lnTo>
                  <a:lnTo>
                    <a:pt x="899033" y="204990"/>
                  </a:lnTo>
                  <a:lnTo>
                    <a:pt x="899033" y="203594"/>
                  </a:lnTo>
                  <a:lnTo>
                    <a:pt x="899072" y="203594"/>
                  </a:lnTo>
                  <a:lnTo>
                    <a:pt x="899072" y="202959"/>
                  </a:lnTo>
                  <a:lnTo>
                    <a:pt x="899072" y="203594"/>
                  </a:lnTo>
                  <a:lnTo>
                    <a:pt x="899072" y="202260"/>
                  </a:lnTo>
                  <a:lnTo>
                    <a:pt x="899072" y="202959"/>
                  </a:lnTo>
                  <a:lnTo>
                    <a:pt x="899173" y="202959"/>
                  </a:lnTo>
                  <a:lnTo>
                    <a:pt x="899173" y="202260"/>
                  </a:lnTo>
                  <a:lnTo>
                    <a:pt x="899173" y="204990"/>
                  </a:lnTo>
                  <a:lnTo>
                    <a:pt x="899224" y="204990"/>
                  </a:lnTo>
                  <a:lnTo>
                    <a:pt x="899224" y="202959"/>
                  </a:lnTo>
                  <a:lnTo>
                    <a:pt x="899224" y="204990"/>
                  </a:lnTo>
                  <a:lnTo>
                    <a:pt x="899224" y="204292"/>
                  </a:lnTo>
                  <a:lnTo>
                    <a:pt x="899275" y="204292"/>
                  </a:lnTo>
                  <a:lnTo>
                    <a:pt x="899275" y="204990"/>
                  </a:lnTo>
                  <a:lnTo>
                    <a:pt x="899376" y="204990"/>
                  </a:lnTo>
                  <a:lnTo>
                    <a:pt x="899376" y="204292"/>
                  </a:lnTo>
                  <a:lnTo>
                    <a:pt x="899376" y="204990"/>
                  </a:lnTo>
                  <a:lnTo>
                    <a:pt x="899376" y="204292"/>
                  </a:lnTo>
                  <a:lnTo>
                    <a:pt x="899376" y="204990"/>
                  </a:lnTo>
                  <a:lnTo>
                    <a:pt x="899376" y="204292"/>
                  </a:lnTo>
                  <a:lnTo>
                    <a:pt x="899427" y="204990"/>
                  </a:lnTo>
                  <a:lnTo>
                    <a:pt x="899427" y="206324"/>
                  </a:lnTo>
                  <a:lnTo>
                    <a:pt x="899427" y="204990"/>
                  </a:lnTo>
                  <a:lnTo>
                    <a:pt x="899427" y="206324"/>
                  </a:lnTo>
                  <a:lnTo>
                    <a:pt x="899478" y="206324"/>
                  </a:lnTo>
                  <a:lnTo>
                    <a:pt x="899478" y="204990"/>
                  </a:lnTo>
                  <a:lnTo>
                    <a:pt x="899478" y="206324"/>
                  </a:lnTo>
                  <a:lnTo>
                    <a:pt x="899478" y="204990"/>
                  </a:lnTo>
                  <a:lnTo>
                    <a:pt x="899529" y="204292"/>
                  </a:lnTo>
                  <a:lnTo>
                    <a:pt x="899529" y="203594"/>
                  </a:lnTo>
                  <a:lnTo>
                    <a:pt x="899529" y="204292"/>
                  </a:lnTo>
                  <a:lnTo>
                    <a:pt x="899529" y="203594"/>
                  </a:lnTo>
                  <a:lnTo>
                    <a:pt x="899618" y="203594"/>
                  </a:lnTo>
                  <a:lnTo>
                    <a:pt x="899618" y="200876"/>
                  </a:lnTo>
                  <a:lnTo>
                    <a:pt x="899618" y="202959"/>
                  </a:lnTo>
                  <a:lnTo>
                    <a:pt x="899618" y="202260"/>
                  </a:lnTo>
                  <a:lnTo>
                    <a:pt x="899668" y="202260"/>
                  </a:lnTo>
                  <a:lnTo>
                    <a:pt x="899668" y="200876"/>
                  </a:lnTo>
                  <a:lnTo>
                    <a:pt x="899668" y="203594"/>
                  </a:lnTo>
                  <a:lnTo>
                    <a:pt x="899719" y="203594"/>
                  </a:lnTo>
                  <a:lnTo>
                    <a:pt x="899719" y="202959"/>
                  </a:lnTo>
                  <a:lnTo>
                    <a:pt x="899719" y="203594"/>
                  </a:lnTo>
                  <a:lnTo>
                    <a:pt x="899719" y="202959"/>
                  </a:lnTo>
                  <a:lnTo>
                    <a:pt x="899719" y="203594"/>
                  </a:lnTo>
                  <a:lnTo>
                    <a:pt x="899770" y="203594"/>
                  </a:lnTo>
                  <a:lnTo>
                    <a:pt x="899770" y="202959"/>
                  </a:lnTo>
                  <a:lnTo>
                    <a:pt x="899770" y="203594"/>
                  </a:lnTo>
                  <a:lnTo>
                    <a:pt x="899770" y="202959"/>
                  </a:lnTo>
                  <a:lnTo>
                    <a:pt x="899872" y="203594"/>
                  </a:lnTo>
                  <a:lnTo>
                    <a:pt x="899872" y="204292"/>
                  </a:lnTo>
                  <a:lnTo>
                    <a:pt x="899922" y="204292"/>
                  </a:lnTo>
                  <a:lnTo>
                    <a:pt x="899922" y="203594"/>
                  </a:lnTo>
                  <a:lnTo>
                    <a:pt x="899922" y="204292"/>
                  </a:lnTo>
                  <a:lnTo>
                    <a:pt x="899922" y="203594"/>
                  </a:lnTo>
                  <a:lnTo>
                    <a:pt x="899922" y="204292"/>
                  </a:lnTo>
                  <a:lnTo>
                    <a:pt x="899973" y="204292"/>
                  </a:lnTo>
                  <a:lnTo>
                    <a:pt x="899973" y="203594"/>
                  </a:lnTo>
                  <a:lnTo>
                    <a:pt x="899973" y="204292"/>
                  </a:lnTo>
                  <a:lnTo>
                    <a:pt x="900075" y="204292"/>
                  </a:lnTo>
                  <a:lnTo>
                    <a:pt x="900075" y="202260"/>
                  </a:lnTo>
                  <a:lnTo>
                    <a:pt x="900113" y="202260"/>
                  </a:lnTo>
                  <a:lnTo>
                    <a:pt x="900113" y="200876"/>
                  </a:lnTo>
                  <a:lnTo>
                    <a:pt x="900113" y="202959"/>
                  </a:lnTo>
                  <a:lnTo>
                    <a:pt x="900113" y="202260"/>
                  </a:lnTo>
                  <a:lnTo>
                    <a:pt x="900164" y="200876"/>
                  </a:lnTo>
                  <a:lnTo>
                    <a:pt x="900164" y="204990"/>
                  </a:lnTo>
                  <a:lnTo>
                    <a:pt x="900164" y="202959"/>
                  </a:lnTo>
                  <a:lnTo>
                    <a:pt x="900164" y="203594"/>
                  </a:lnTo>
                  <a:lnTo>
                    <a:pt x="900215" y="203594"/>
                  </a:lnTo>
                  <a:lnTo>
                    <a:pt x="900215" y="204990"/>
                  </a:lnTo>
                  <a:lnTo>
                    <a:pt x="900215" y="203594"/>
                  </a:lnTo>
                  <a:lnTo>
                    <a:pt x="900215" y="204292"/>
                  </a:lnTo>
                  <a:lnTo>
                    <a:pt x="900316" y="204292"/>
                  </a:lnTo>
                  <a:lnTo>
                    <a:pt x="900316" y="204990"/>
                  </a:lnTo>
                  <a:lnTo>
                    <a:pt x="900316" y="204292"/>
                  </a:lnTo>
                  <a:lnTo>
                    <a:pt x="900316" y="204990"/>
                  </a:lnTo>
                  <a:lnTo>
                    <a:pt x="900316" y="204292"/>
                  </a:lnTo>
                  <a:lnTo>
                    <a:pt x="900367" y="204292"/>
                  </a:lnTo>
                  <a:lnTo>
                    <a:pt x="900367" y="204990"/>
                  </a:lnTo>
                  <a:lnTo>
                    <a:pt x="900367" y="204292"/>
                  </a:lnTo>
                  <a:lnTo>
                    <a:pt x="900367" y="204990"/>
                  </a:lnTo>
                  <a:lnTo>
                    <a:pt x="900367" y="204292"/>
                  </a:lnTo>
                  <a:lnTo>
                    <a:pt x="900367" y="204990"/>
                  </a:lnTo>
                  <a:lnTo>
                    <a:pt x="900418" y="204990"/>
                  </a:lnTo>
                  <a:lnTo>
                    <a:pt x="900418" y="204292"/>
                  </a:lnTo>
                  <a:lnTo>
                    <a:pt x="900418" y="204990"/>
                  </a:lnTo>
                  <a:lnTo>
                    <a:pt x="900418" y="204292"/>
                  </a:lnTo>
                  <a:lnTo>
                    <a:pt x="900418" y="204990"/>
                  </a:lnTo>
                  <a:lnTo>
                    <a:pt x="900418" y="204292"/>
                  </a:lnTo>
                  <a:lnTo>
                    <a:pt x="900519" y="204990"/>
                  </a:lnTo>
                  <a:lnTo>
                    <a:pt x="900519" y="204292"/>
                  </a:lnTo>
                  <a:lnTo>
                    <a:pt x="900570" y="204292"/>
                  </a:lnTo>
                  <a:lnTo>
                    <a:pt x="900570" y="202260"/>
                  </a:lnTo>
                  <a:lnTo>
                    <a:pt x="900621" y="202260"/>
                  </a:lnTo>
                  <a:lnTo>
                    <a:pt x="900621" y="200876"/>
                  </a:lnTo>
                  <a:lnTo>
                    <a:pt x="900621" y="203594"/>
                  </a:lnTo>
                  <a:lnTo>
                    <a:pt x="900621" y="202959"/>
                  </a:lnTo>
                  <a:lnTo>
                    <a:pt x="900659" y="202959"/>
                  </a:lnTo>
                  <a:lnTo>
                    <a:pt x="900659" y="204990"/>
                  </a:lnTo>
                  <a:lnTo>
                    <a:pt x="900659" y="203594"/>
                  </a:lnTo>
                  <a:lnTo>
                    <a:pt x="900761" y="203594"/>
                  </a:lnTo>
                  <a:lnTo>
                    <a:pt x="900761" y="204292"/>
                  </a:lnTo>
                  <a:lnTo>
                    <a:pt x="900761" y="203594"/>
                  </a:lnTo>
                  <a:lnTo>
                    <a:pt x="900761" y="204292"/>
                  </a:lnTo>
                  <a:lnTo>
                    <a:pt x="900761" y="203594"/>
                  </a:lnTo>
                  <a:lnTo>
                    <a:pt x="900761" y="204292"/>
                  </a:lnTo>
                  <a:lnTo>
                    <a:pt x="900761" y="203594"/>
                  </a:lnTo>
                  <a:lnTo>
                    <a:pt x="900812" y="203594"/>
                  </a:lnTo>
                  <a:lnTo>
                    <a:pt x="900812" y="204990"/>
                  </a:lnTo>
                  <a:lnTo>
                    <a:pt x="900812" y="204292"/>
                  </a:lnTo>
                  <a:lnTo>
                    <a:pt x="900862" y="204292"/>
                  </a:lnTo>
                  <a:lnTo>
                    <a:pt x="900862" y="204990"/>
                  </a:lnTo>
                  <a:lnTo>
                    <a:pt x="900862" y="204292"/>
                  </a:lnTo>
                  <a:lnTo>
                    <a:pt x="900862" y="204990"/>
                  </a:lnTo>
                  <a:lnTo>
                    <a:pt x="900862" y="204292"/>
                  </a:lnTo>
                  <a:lnTo>
                    <a:pt x="900862" y="204990"/>
                  </a:lnTo>
                  <a:lnTo>
                    <a:pt x="900862" y="204292"/>
                  </a:lnTo>
                  <a:lnTo>
                    <a:pt x="900862" y="204990"/>
                  </a:lnTo>
                  <a:lnTo>
                    <a:pt x="900964" y="204990"/>
                  </a:lnTo>
                  <a:lnTo>
                    <a:pt x="900964" y="204292"/>
                  </a:lnTo>
                  <a:lnTo>
                    <a:pt x="900964" y="204990"/>
                  </a:lnTo>
                  <a:lnTo>
                    <a:pt x="900964" y="204292"/>
                  </a:lnTo>
                  <a:lnTo>
                    <a:pt x="900964" y="204990"/>
                  </a:lnTo>
                  <a:lnTo>
                    <a:pt x="900964" y="204292"/>
                  </a:lnTo>
                  <a:lnTo>
                    <a:pt x="900964" y="204990"/>
                  </a:lnTo>
                  <a:lnTo>
                    <a:pt x="901015" y="204990"/>
                  </a:lnTo>
                  <a:lnTo>
                    <a:pt x="901015" y="203594"/>
                  </a:lnTo>
                  <a:lnTo>
                    <a:pt x="901015" y="204292"/>
                  </a:lnTo>
                  <a:lnTo>
                    <a:pt x="901015" y="203594"/>
                  </a:lnTo>
                  <a:lnTo>
                    <a:pt x="901066" y="203594"/>
                  </a:lnTo>
                  <a:lnTo>
                    <a:pt x="901066" y="202959"/>
                  </a:lnTo>
                  <a:lnTo>
                    <a:pt x="901066" y="203594"/>
                  </a:lnTo>
                  <a:lnTo>
                    <a:pt x="901066" y="200876"/>
                  </a:lnTo>
                  <a:lnTo>
                    <a:pt x="901116" y="200876"/>
                  </a:lnTo>
                  <a:lnTo>
                    <a:pt x="901116" y="200228"/>
                  </a:lnTo>
                  <a:lnTo>
                    <a:pt x="901116" y="202260"/>
                  </a:lnTo>
                  <a:lnTo>
                    <a:pt x="901205" y="202260"/>
                  </a:lnTo>
                  <a:lnTo>
                    <a:pt x="901205" y="200228"/>
                  </a:lnTo>
                  <a:lnTo>
                    <a:pt x="901205" y="203594"/>
                  </a:lnTo>
                  <a:lnTo>
                    <a:pt x="901205" y="202959"/>
                  </a:lnTo>
                  <a:lnTo>
                    <a:pt x="901256" y="202260"/>
                  </a:lnTo>
                  <a:lnTo>
                    <a:pt x="901256" y="200876"/>
                  </a:lnTo>
                  <a:lnTo>
                    <a:pt x="901256" y="202959"/>
                  </a:lnTo>
                  <a:lnTo>
                    <a:pt x="901256" y="202260"/>
                  </a:lnTo>
                  <a:lnTo>
                    <a:pt x="901256" y="203594"/>
                  </a:lnTo>
                  <a:lnTo>
                    <a:pt x="901256" y="202959"/>
                  </a:lnTo>
                  <a:lnTo>
                    <a:pt x="901307" y="202260"/>
                  </a:lnTo>
                  <a:lnTo>
                    <a:pt x="901307" y="203594"/>
                  </a:lnTo>
                  <a:lnTo>
                    <a:pt x="901307" y="202959"/>
                  </a:lnTo>
                  <a:lnTo>
                    <a:pt x="901307" y="203594"/>
                  </a:lnTo>
                  <a:lnTo>
                    <a:pt x="901307" y="202959"/>
                  </a:lnTo>
                  <a:lnTo>
                    <a:pt x="901307" y="203594"/>
                  </a:lnTo>
                  <a:lnTo>
                    <a:pt x="901307" y="202959"/>
                  </a:lnTo>
                  <a:lnTo>
                    <a:pt x="901307" y="203594"/>
                  </a:lnTo>
                  <a:lnTo>
                    <a:pt x="901358" y="203594"/>
                  </a:lnTo>
                  <a:lnTo>
                    <a:pt x="901358" y="204292"/>
                  </a:lnTo>
                  <a:lnTo>
                    <a:pt x="901358" y="203594"/>
                  </a:lnTo>
                  <a:lnTo>
                    <a:pt x="901459" y="204292"/>
                  </a:lnTo>
                  <a:lnTo>
                    <a:pt x="901459" y="204990"/>
                  </a:lnTo>
                  <a:lnTo>
                    <a:pt x="901459" y="204292"/>
                  </a:lnTo>
                  <a:lnTo>
                    <a:pt x="901510" y="204292"/>
                  </a:lnTo>
                  <a:lnTo>
                    <a:pt x="901510" y="203594"/>
                  </a:lnTo>
                  <a:lnTo>
                    <a:pt x="901561" y="203594"/>
                  </a:lnTo>
                  <a:lnTo>
                    <a:pt x="901561" y="202959"/>
                  </a:lnTo>
                  <a:lnTo>
                    <a:pt x="901561" y="203594"/>
                  </a:lnTo>
                  <a:lnTo>
                    <a:pt x="901561" y="202959"/>
                  </a:lnTo>
                  <a:lnTo>
                    <a:pt x="901561" y="203594"/>
                  </a:lnTo>
                  <a:lnTo>
                    <a:pt x="901561" y="202260"/>
                  </a:lnTo>
                  <a:lnTo>
                    <a:pt x="901561" y="202959"/>
                  </a:lnTo>
                  <a:lnTo>
                    <a:pt x="901561" y="200876"/>
                  </a:lnTo>
                  <a:lnTo>
                    <a:pt x="901662" y="200876"/>
                  </a:lnTo>
                  <a:lnTo>
                    <a:pt x="901662" y="202260"/>
                  </a:lnTo>
                  <a:lnTo>
                    <a:pt x="901662" y="200228"/>
                  </a:lnTo>
                  <a:lnTo>
                    <a:pt x="901662" y="202959"/>
                  </a:lnTo>
                  <a:lnTo>
                    <a:pt x="901662" y="202260"/>
                  </a:lnTo>
                  <a:lnTo>
                    <a:pt x="901701" y="200876"/>
                  </a:lnTo>
                  <a:lnTo>
                    <a:pt x="901701" y="200228"/>
                  </a:lnTo>
                  <a:lnTo>
                    <a:pt x="901701" y="203594"/>
                  </a:lnTo>
                  <a:lnTo>
                    <a:pt x="901701" y="202260"/>
                  </a:lnTo>
                  <a:lnTo>
                    <a:pt x="901751" y="202260"/>
                  </a:lnTo>
                  <a:lnTo>
                    <a:pt x="901751" y="200876"/>
                  </a:lnTo>
                  <a:lnTo>
                    <a:pt x="901751" y="203594"/>
                  </a:lnTo>
                  <a:lnTo>
                    <a:pt x="901751" y="202260"/>
                  </a:lnTo>
                  <a:lnTo>
                    <a:pt x="901802" y="202260"/>
                  </a:lnTo>
                  <a:lnTo>
                    <a:pt x="901802" y="202959"/>
                  </a:lnTo>
                  <a:lnTo>
                    <a:pt x="901904" y="202959"/>
                  </a:lnTo>
                  <a:lnTo>
                    <a:pt x="901904" y="204292"/>
                  </a:lnTo>
                  <a:lnTo>
                    <a:pt x="901904" y="203594"/>
                  </a:lnTo>
                  <a:lnTo>
                    <a:pt x="901904" y="204292"/>
                  </a:lnTo>
                  <a:lnTo>
                    <a:pt x="901955" y="204292"/>
                  </a:lnTo>
                  <a:lnTo>
                    <a:pt x="901955" y="203594"/>
                  </a:lnTo>
                  <a:lnTo>
                    <a:pt x="901955" y="204292"/>
                  </a:lnTo>
                  <a:lnTo>
                    <a:pt x="902005" y="204292"/>
                  </a:lnTo>
                  <a:lnTo>
                    <a:pt x="902005" y="203594"/>
                  </a:lnTo>
                  <a:lnTo>
                    <a:pt x="902005" y="204292"/>
                  </a:lnTo>
                  <a:lnTo>
                    <a:pt x="902005" y="203594"/>
                  </a:lnTo>
                  <a:lnTo>
                    <a:pt x="902005" y="204292"/>
                  </a:lnTo>
                  <a:lnTo>
                    <a:pt x="902005" y="202959"/>
                  </a:lnTo>
                  <a:lnTo>
                    <a:pt x="902107" y="202959"/>
                  </a:lnTo>
                  <a:lnTo>
                    <a:pt x="902107" y="200876"/>
                  </a:lnTo>
                  <a:lnTo>
                    <a:pt x="902158" y="202260"/>
                  </a:lnTo>
                  <a:lnTo>
                    <a:pt x="902158" y="200228"/>
                  </a:lnTo>
                  <a:lnTo>
                    <a:pt x="902158" y="202260"/>
                  </a:lnTo>
                  <a:lnTo>
                    <a:pt x="902208" y="202260"/>
                  </a:lnTo>
                  <a:lnTo>
                    <a:pt x="902208" y="200876"/>
                  </a:lnTo>
                  <a:lnTo>
                    <a:pt x="902208" y="202959"/>
                  </a:lnTo>
                  <a:lnTo>
                    <a:pt x="902247" y="202260"/>
                  </a:lnTo>
                  <a:lnTo>
                    <a:pt x="902247" y="202959"/>
                  </a:lnTo>
                  <a:lnTo>
                    <a:pt x="902247" y="202260"/>
                  </a:lnTo>
                  <a:lnTo>
                    <a:pt x="902247" y="202959"/>
                  </a:lnTo>
                  <a:lnTo>
                    <a:pt x="902247" y="202260"/>
                  </a:lnTo>
                  <a:lnTo>
                    <a:pt x="902247" y="202959"/>
                  </a:lnTo>
                  <a:lnTo>
                    <a:pt x="902348" y="202959"/>
                  </a:lnTo>
                  <a:lnTo>
                    <a:pt x="902348" y="202260"/>
                  </a:lnTo>
                  <a:lnTo>
                    <a:pt x="902348" y="202959"/>
                  </a:lnTo>
                  <a:lnTo>
                    <a:pt x="902348" y="202260"/>
                  </a:lnTo>
                  <a:lnTo>
                    <a:pt x="902348" y="202959"/>
                  </a:lnTo>
                  <a:lnTo>
                    <a:pt x="902399" y="202959"/>
                  </a:lnTo>
                  <a:lnTo>
                    <a:pt x="902399" y="203594"/>
                  </a:lnTo>
                  <a:lnTo>
                    <a:pt x="902399" y="202959"/>
                  </a:lnTo>
                  <a:lnTo>
                    <a:pt x="902399" y="203594"/>
                  </a:lnTo>
                  <a:lnTo>
                    <a:pt x="902450" y="203594"/>
                  </a:lnTo>
                  <a:lnTo>
                    <a:pt x="902450" y="204292"/>
                  </a:lnTo>
                  <a:lnTo>
                    <a:pt x="902450" y="203594"/>
                  </a:lnTo>
                  <a:lnTo>
                    <a:pt x="902450" y="204292"/>
                  </a:lnTo>
                  <a:lnTo>
                    <a:pt x="902450" y="203594"/>
                  </a:lnTo>
                  <a:lnTo>
                    <a:pt x="902551" y="203594"/>
                  </a:lnTo>
                  <a:lnTo>
                    <a:pt x="902551" y="204292"/>
                  </a:lnTo>
                  <a:lnTo>
                    <a:pt x="902551" y="203594"/>
                  </a:lnTo>
                  <a:lnTo>
                    <a:pt x="902551" y="204292"/>
                  </a:lnTo>
                  <a:lnTo>
                    <a:pt x="902551" y="202959"/>
                  </a:lnTo>
                  <a:lnTo>
                    <a:pt x="902551" y="203594"/>
                  </a:lnTo>
                  <a:lnTo>
                    <a:pt x="902602" y="203594"/>
                  </a:lnTo>
                  <a:lnTo>
                    <a:pt x="902602" y="202959"/>
                  </a:lnTo>
                  <a:lnTo>
                    <a:pt x="902602" y="203594"/>
                  </a:lnTo>
                  <a:lnTo>
                    <a:pt x="902602" y="202260"/>
                  </a:lnTo>
                  <a:lnTo>
                    <a:pt x="902653" y="202260"/>
                  </a:lnTo>
                  <a:lnTo>
                    <a:pt x="902653" y="203594"/>
                  </a:lnTo>
                  <a:lnTo>
                    <a:pt x="902653" y="200876"/>
                  </a:lnTo>
                  <a:lnTo>
                    <a:pt x="902653" y="202260"/>
                  </a:lnTo>
                  <a:lnTo>
                    <a:pt x="902704" y="202959"/>
                  </a:lnTo>
                  <a:lnTo>
                    <a:pt x="902704" y="204292"/>
                  </a:lnTo>
                  <a:lnTo>
                    <a:pt x="902704" y="202260"/>
                  </a:lnTo>
                  <a:lnTo>
                    <a:pt x="902704" y="202959"/>
                  </a:lnTo>
                  <a:lnTo>
                    <a:pt x="902793" y="203594"/>
                  </a:lnTo>
                  <a:lnTo>
                    <a:pt x="902793" y="202959"/>
                  </a:lnTo>
                  <a:lnTo>
                    <a:pt x="902793" y="203594"/>
                  </a:lnTo>
                  <a:lnTo>
                    <a:pt x="902843" y="203594"/>
                  </a:lnTo>
                  <a:lnTo>
                    <a:pt x="902843" y="202959"/>
                  </a:lnTo>
                  <a:lnTo>
                    <a:pt x="902843" y="203594"/>
                  </a:lnTo>
                  <a:lnTo>
                    <a:pt x="902894" y="203594"/>
                  </a:lnTo>
                  <a:lnTo>
                    <a:pt x="902894" y="204292"/>
                  </a:lnTo>
                  <a:lnTo>
                    <a:pt x="902945" y="203594"/>
                  </a:lnTo>
                  <a:lnTo>
                    <a:pt x="902945" y="204292"/>
                  </a:lnTo>
                  <a:lnTo>
                    <a:pt x="902945" y="203594"/>
                  </a:lnTo>
                  <a:lnTo>
                    <a:pt x="902945" y="204292"/>
                  </a:lnTo>
                  <a:lnTo>
                    <a:pt x="902945" y="203594"/>
                  </a:lnTo>
                  <a:lnTo>
                    <a:pt x="902945" y="204292"/>
                  </a:lnTo>
                  <a:lnTo>
                    <a:pt x="902945" y="203594"/>
                  </a:lnTo>
                  <a:lnTo>
                    <a:pt x="903047" y="203594"/>
                  </a:lnTo>
                  <a:lnTo>
                    <a:pt x="903047" y="202959"/>
                  </a:lnTo>
                  <a:lnTo>
                    <a:pt x="903047" y="203594"/>
                  </a:lnTo>
                  <a:lnTo>
                    <a:pt x="903047" y="202959"/>
                  </a:lnTo>
                  <a:lnTo>
                    <a:pt x="903047" y="203594"/>
                  </a:lnTo>
                  <a:lnTo>
                    <a:pt x="903097" y="203594"/>
                  </a:lnTo>
                  <a:lnTo>
                    <a:pt x="903097" y="202260"/>
                  </a:lnTo>
                  <a:lnTo>
                    <a:pt x="903097" y="204292"/>
                  </a:lnTo>
                  <a:lnTo>
                    <a:pt x="903097" y="203594"/>
                  </a:lnTo>
                  <a:lnTo>
                    <a:pt x="903148" y="203594"/>
                  </a:lnTo>
                  <a:lnTo>
                    <a:pt x="903148" y="202959"/>
                  </a:lnTo>
                  <a:lnTo>
                    <a:pt x="903148" y="206324"/>
                  </a:lnTo>
                  <a:lnTo>
                    <a:pt x="903250" y="204990"/>
                  </a:lnTo>
                  <a:lnTo>
                    <a:pt x="903250" y="203594"/>
                  </a:lnTo>
                  <a:lnTo>
                    <a:pt x="903250" y="206324"/>
                  </a:lnTo>
                  <a:lnTo>
                    <a:pt x="903250" y="204990"/>
                  </a:lnTo>
                  <a:lnTo>
                    <a:pt x="903250" y="206324"/>
                  </a:lnTo>
                  <a:lnTo>
                    <a:pt x="903250" y="204990"/>
                  </a:lnTo>
                  <a:lnTo>
                    <a:pt x="903288" y="204990"/>
                  </a:lnTo>
                  <a:lnTo>
                    <a:pt x="903288" y="206324"/>
                  </a:lnTo>
                  <a:lnTo>
                    <a:pt x="903288" y="204990"/>
                  </a:lnTo>
                  <a:lnTo>
                    <a:pt x="903288" y="206324"/>
                  </a:lnTo>
                  <a:lnTo>
                    <a:pt x="903288" y="204990"/>
                  </a:lnTo>
                  <a:lnTo>
                    <a:pt x="903339" y="204990"/>
                  </a:lnTo>
                  <a:lnTo>
                    <a:pt x="903339" y="204292"/>
                  </a:lnTo>
                  <a:lnTo>
                    <a:pt x="903339" y="204990"/>
                  </a:lnTo>
                  <a:lnTo>
                    <a:pt x="903390" y="204990"/>
                  </a:lnTo>
                  <a:lnTo>
                    <a:pt x="903390" y="204292"/>
                  </a:lnTo>
                  <a:lnTo>
                    <a:pt x="903390" y="204990"/>
                  </a:lnTo>
                  <a:lnTo>
                    <a:pt x="903390" y="204292"/>
                  </a:lnTo>
                  <a:lnTo>
                    <a:pt x="903390" y="204990"/>
                  </a:lnTo>
                  <a:lnTo>
                    <a:pt x="903491" y="204990"/>
                  </a:lnTo>
                  <a:lnTo>
                    <a:pt x="903491" y="204292"/>
                  </a:lnTo>
                  <a:lnTo>
                    <a:pt x="903491" y="204990"/>
                  </a:lnTo>
                  <a:lnTo>
                    <a:pt x="903491" y="203594"/>
                  </a:lnTo>
                  <a:lnTo>
                    <a:pt x="903542" y="203594"/>
                  </a:lnTo>
                  <a:lnTo>
                    <a:pt x="903542" y="202959"/>
                  </a:lnTo>
                  <a:lnTo>
                    <a:pt x="903542" y="203594"/>
                  </a:lnTo>
                  <a:lnTo>
                    <a:pt x="903542" y="202260"/>
                  </a:lnTo>
                  <a:lnTo>
                    <a:pt x="903593" y="202260"/>
                  </a:lnTo>
                  <a:lnTo>
                    <a:pt x="903593" y="204292"/>
                  </a:lnTo>
                  <a:lnTo>
                    <a:pt x="903593" y="202959"/>
                  </a:lnTo>
                  <a:lnTo>
                    <a:pt x="903593" y="204292"/>
                  </a:lnTo>
                  <a:lnTo>
                    <a:pt x="903694" y="204292"/>
                  </a:lnTo>
                  <a:lnTo>
                    <a:pt x="903694" y="206324"/>
                  </a:lnTo>
                  <a:lnTo>
                    <a:pt x="903694" y="204292"/>
                  </a:lnTo>
                  <a:lnTo>
                    <a:pt x="903694" y="204990"/>
                  </a:lnTo>
                  <a:lnTo>
                    <a:pt x="903745" y="206324"/>
                  </a:lnTo>
                  <a:lnTo>
                    <a:pt x="903745" y="204990"/>
                  </a:lnTo>
                  <a:lnTo>
                    <a:pt x="903745" y="206324"/>
                  </a:lnTo>
                  <a:lnTo>
                    <a:pt x="903745" y="204990"/>
                  </a:lnTo>
                  <a:lnTo>
                    <a:pt x="903745" y="206324"/>
                  </a:lnTo>
                  <a:lnTo>
                    <a:pt x="903745" y="204990"/>
                  </a:lnTo>
                  <a:lnTo>
                    <a:pt x="903745" y="206324"/>
                  </a:lnTo>
                  <a:lnTo>
                    <a:pt x="903796" y="206324"/>
                  </a:lnTo>
                  <a:lnTo>
                    <a:pt x="903796" y="204990"/>
                  </a:lnTo>
                  <a:lnTo>
                    <a:pt x="903796" y="206324"/>
                  </a:lnTo>
                  <a:lnTo>
                    <a:pt x="903796" y="204990"/>
                  </a:lnTo>
                  <a:lnTo>
                    <a:pt x="903796" y="206324"/>
                  </a:lnTo>
                  <a:lnTo>
                    <a:pt x="903834" y="206324"/>
                  </a:lnTo>
                  <a:lnTo>
                    <a:pt x="903834" y="204990"/>
                  </a:lnTo>
                  <a:lnTo>
                    <a:pt x="903834" y="206324"/>
                  </a:lnTo>
                  <a:lnTo>
                    <a:pt x="903834" y="204990"/>
                  </a:lnTo>
                  <a:lnTo>
                    <a:pt x="903834" y="206324"/>
                  </a:lnTo>
                  <a:lnTo>
                    <a:pt x="903834" y="204990"/>
                  </a:lnTo>
                  <a:lnTo>
                    <a:pt x="903936" y="204990"/>
                  </a:lnTo>
                  <a:lnTo>
                    <a:pt x="903936" y="204292"/>
                  </a:lnTo>
                  <a:lnTo>
                    <a:pt x="903936" y="204990"/>
                  </a:lnTo>
                  <a:lnTo>
                    <a:pt x="903936" y="204292"/>
                  </a:lnTo>
                  <a:lnTo>
                    <a:pt x="903987" y="204292"/>
                  </a:lnTo>
                  <a:lnTo>
                    <a:pt x="903987" y="202959"/>
                  </a:lnTo>
                  <a:lnTo>
                    <a:pt x="904037" y="202959"/>
                  </a:lnTo>
                  <a:lnTo>
                    <a:pt x="904037" y="200876"/>
                  </a:lnTo>
                  <a:lnTo>
                    <a:pt x="904037" y="202260"/>
                  </a:lnTo>
                  <a:lnTo>
                    <a:pt x="904037" y="200876"/>
                  </a:lnTo>
                  <a:lnTo>
                    <a:pt x="904037" y="202260"/>
                  </a:lnTo>
                  <a:lnTo>
                    <a:pt x="904037" y="200876"/>
                  </a:lnTo>
                  <a:lnTo>
                    <a:pt x="904037" y="202260"/>
                  </a:lnTo>
                  <a:lnTo>
                    <a:pt x="904037" y="200876"/>
                  </a:lnTo>
                  <a:lnTo>
                    <a:pt x="904139" y="202260"/>
                  </a:lnTo>
                  <a:lnTo>
                    <a:pt x="904139" y="202959"/>
                  </a:lnTo>
                  <a:lnTo>
                    <a:pt x="904139" y="200876"/>
                  </a:lnTo>
                  <a:lnTo>
                    <a:pt x="904139" y="203594"/>
                  </a:lnTo>
                  <a:lnTo>
                    <a:pt x="904190" y="203594"/>
                  </a:lnTo>
                  <a:lnTo>
                    <a:pt x="904190" y="204292"/>
                  </a:lnTo>
                  <a:lnTo>
                    <a:pt x="904241" y="204292"/>
                  </a:lnTo>
                  <a:lnTo>
                    <a:pt x="904241" y="203594"/>
                  </a:lnTo>
                  <a:lnTo>
                    <a:pt x="904241" y="204990"/>
                  </a:lnTo>
                  <a:lnTo>
                    <a:pt x="904241" y="204292"/>
                  </a:lnTo>
                  <a:lnTo>
                    <a:pt x="904291" y="204292"/>
                  </a:lnTo>
                  <a:lnTo>
                    <a:pt x="904291" y="204990"/>
                  </a:lnTo>
                  <a:lnTo>
                    <a:pt x="904380" y="204990"/>
                  </a:lnTo>
                  <a:lnTo>
                    <a:pt x="904380" y="206324"/>
                  </a:lnTo>
                  <a:lnTo>
                    <a:pt x="904380" y="204990"/>
                  </a:lnTo>
                  <a:lnTo>
                    <a:pt x="904431" y="204990"/>
                  </a:lnTo>
                  <a:lnTo>
                    <a:pt x="904431" y="206324"/>
                  </a:lnTo>
                  <a:lnTo>
                    <a:pt x="904431" y="204292"/>
                  </a:lnTo>
                  <a:lnTo>
                    <a:pt x="904482" y="204292"/>
                  </a:lnTo>
                  <a:lnTo>
                    <a:pt x="904482" y="202959"/>
                  </a:lnTo>
                  <a:lnTo>
                    <a:pt x="904482" y="203594"/>
                  </a:lnTo>
                  <a:lnTo>
                    <a:pt x="904482" y="202959"/>
                  </a:lnTo>
                  <a:lnTo>
                    <a:pt x="904482" y="203594"/>
                  </a:lnTo>
                  <a:lnTo>
                    <a:pt x="904482" y="202959"/>
                  </a:lnTo>
                  <a:lnTo>
                    <a:pt x="904533" y="202959"/>
                  </a:lnTo>
                  <a:lnTo>
                    <a:pt x="904533" y="202260"/>
                  </a:lnTo>
                  <a:lnTo>
                    <a:pt x="904533" y="202959"/>
                  </a:lnTo>
                  <a:lnTo>
                    <a:pt x="904533" y="200876"/>
                  </a:lnTo>
                  <a:lnTo>
                    <a:pt x="904533" y="202959"/>
                  </a:lnTo>
                  <a:lnTo>
                    <a:pt x="904533" y="202260"/>
                  </a:lnTo>
                  <a:lnTo>
                    <a:pt x="904634" y="202260"/>
                  </a:lnTo>
                  <a:lnTo>
                    <a:pt x="904634" y="202959"/>
                  </a:lnTo>
                  <a:lnTo>
                    <a:pt x="904634" y="200876"/>
                  </a:lnTo>
                  <a:lnTo>
                    <a:pt x="904634" y="204292"/>
                  </a:lnTo>
                  <a:lnTo>
                    <a:pt x="904685" y="204292"/>
                  </a:lnTo>
                  <a:lnTo>
                    <a:pt x="904685" y="202959"/>
                  </a:lnTo>
                  <a:lnTo>
                    <a:pt x="904685" y="204292"/>
                  </a:lnTo>
                  <a:lnTo>
                    <a:pt x="904685" y="203594"/>
                  </a:lnTo>
                  <a:lnTo>
                    <a:pt x="904736" y="203594"/>
                  </a:lnTo>
                  <a:lnTo>
                    <a:pt x="904736" y="204292"/>
                  </a:lnTo>
                  <a:lnTo>
                    <a:pt x="904837" y="203594"/>
                  </a:lnTo>
                  <a:lnTo>
                    <a:pt x="904837" y="204990"/>
                  </a:lnTo>
                  <a:lnTo>
                    <a:pt x="904837" y="204292"/>
                  </a:lnTo>
                  <a:lnTo>
                    <a:pt x="904876" y="204292"/>
                  </a:lnTo>
                  <a:lnTo>
                    <a:pt x="904876" y="204990"/>
                  </a:lnTo>
                  <a:lnTo>
                    <a:pt x="904876" y="204292"/>
                  </a:lnTo>
                  <a:lnTo>
                    <a:pt x="904926" y="204292"/>
                  </a:lnTo>
                  <a:lnTo>
                    <a:pt x="904926" y="204990"/>
                  </a:lnTo>
                  <a:lnTo>
                    <a:pt x="904926" y="204292"/>
                  </a:lnTo>
                  <a:lnTo>
                    <a:pt x="904926" y="204990"/>
                  </a:lnTo>
                  <a:lnTo>
                    <a:pt x="904926" y="204292"/>
                  </a:lnTo>
                  <a:lnTo>
                    <a:pt x="904926" y="204990"/>
                  </a:lnTo>
                  <a:lnTo>
                    <a:pt x="904926" y="204292"/>
                  </a:lnTo>
                  <a:lnTo>
                    <a:pt x="904926" y="204990"/>
                  </a:lnTo>
                  <a:lnTo>
                    <a:pt x="904977" y="204990"/>
                  </a:lnTo>
                  <a:lnTo>
                    <a:pt x="904977" y="203594"/>
                  </a:lnTo>
                  <a:lnTo>
                    <a:pt x="904977" y="204292"/>
                  </a:lnTo>
                  <a:lnTo>
                    <a:pt x="904977" y="202959"/>
                  </a:lnTo>
                  <a:lnTo>
                    <a:pt x="904977" y="203594"/>
                  </a:lnTo>
                  <a:lnTo>
                    <a:pt x="904977" y="202260"/>
                  </a:lnTo>
                  <a:lnTo>
                    <a:pt x="905079" y="202260"/>
                  </a:lnTo>
                  <a:lnTo>
                    <a:pt x="905079" y="200876"/>
                  </a:lnTo>
                  <a:lnTo>
                    <a:pt x="905079" y="202260"/>
                  </a:lnTo>
                  <a:lnTo>
                    <a:pt x="905130" y="202260"/>
                  </a:lnTo>
                  <a:lnTo>
                    <a:pt x="905130" y="199530"/>
                  </a:lnTo>
                  <a:lnTo>
                    <a:pt x="905130" y="203594"/>
                  </a:lnTo>
                  <a:lnTo>
                    <a:pt x="905180" y="203594"/>
                  </a:lnTo>
                  <a:lnTo>
                    <a:pt x="905180" y="202260"/>
                  </a:lnTo>
                  <a:lnTo>
                    <a:pt x="905180" y="203594"/>
                  </a:lnTo>
                  <a:lnTo>
                    <a:pt x="905282" y="202959"/>
                  </a:lnTo>
                  <a:lnTo>
                    <a:pt x="905282" y="202260"/>
                  </a:lnTo>
                  <a:lnTo>
                    <a:pt x="905282" y="202959"/>
                  </a:lnTo>
                  <a:lnTo>
                    <a:pt x="905282" y="202260"/>
                  </a:lnTo>
                  <a:lnTo>
                    <a:pt x="905282" y="203594"/>
                  </a:lnTo>
                  <a:lnTo>
                    <a:pt x="905333" y="203594"/>
                  </a:lnTo>
                  <a:lnTo>
                    <a:pt x="905333" y="204292"/>
                  </a:lnTo>
                  <a:lnTo>
                    <a:pt x="905333" y="203594"/>
                  </a:lnTo>
                  <a:lnTo>
                    <a:pt x="905383" y="203594"/>
                  </a:lnTo>
                  <a:lnTo>
                    <a:pt x="905383" y="204292"/>
                  </a:lnTo>
                  <a:lnTo>
                    <a:pt x="905383" y="203594"/>
                  </a:lnTo>
                  <a:lnTo>
                    <a:pt x="905383" y="204292"/>
                  </a:lnTo>
                  <a:lnTo>
                    <a:pt x="905383" y="203594"/>
                  </a:lnTo>
                  <a:lnTo>
                    <a:pt x="905383" y="204292"/>
                  </a:lnTo>
                  <a:lnTo>
                    <a:pt x="905383" y="203594"/>
                  </a:lnTo>
                  <a:lnTo>
                    <a:pt x="905383" y="204292"/>
                  </a:lnTo>
                  <a:lnTo>
                    <a:pt x="905422" y="204292"/>
                  </a:lnTo>
                  <a:lnTo>
                    <a:pt x="905422" y="203594"/>
                  </a:lnTo>
                  <a:lnTo>
                    <a:pt x="905422" y="204292"/>
                  </a:lnTo>
                  <a:lnTo>
                    <a:pt x="905422" y="203594"/>
                  </a:lnTo>
                  <a:lnTo>
                    <a:pt x="905422" y="204292"/>
                  </a:lnTo>
                  <a:lnTo>
                    <a:pt x="905523" y="204292"/>
                  </a:lnTo>
                  <a:lnTo>
                    <a:pt x="905523" y="203594"/>
                  </a:lnTo>
                  <a:lnTo>
                    <a:pt x="905523" y="204292"/>
                  </a:lnTo>
                  <a:lnTo>
                    <a:pt x="905523" y="202959"/>
                  </a:lnTo>
                  <a:lnTo>
                    <a:pt x="905574" y="202959"/>
                  </a:lnTo>
                  <a:lnTo>
                    <a:pt x="905574" y="200876"/>
                  </a:lnTo>
                  <a:lnTo>
                    <a:pt x="905574" y="202260"/>
                  </a:lnTo>
                  <a:lnTo>
                    <a:pt x="905574" y="200228"/>
                  </a:lnTo>
                  <a:lnTo>
                    <a:pt x="905574" y="202260"/>
                  </a:lnTo>
                  <a:lnTo>
                    <a:pt x="905574" y="200876"/>
                  </a:lnTo>
                  <a:lnTo>
                    <a:pt x="905625" y="200876"/>
                  </a:lnTo>
                  <a:lnTo>
                    <a:pt x="905625" y="199530"/>
                  </a:lnTo>
                  <a:lnTo>
                    <a:pt x="905625" y="202260"/>
                  </a:lnTo>
                  <a:lnTo>
                    <a:pt x="905726" y="202260"/>
                  </a:lnTo>
                  <a:lnTo>
                    <a:pt x="905726" y="200876"/>
                  </a:lnTo>
                  <a:lnTo>
                    <a:pt x="905726" y="202959"/>
                  </a:lnTo>
                  <a:lnTo>
                    <a:pt x="905777" y="202260"/>
                  </a:lnTo>
                  <a:lnTo>
                    <a:pt x="905777" y="202959"/>
                  </a:lnTo>
                  <a:lnTo>
                    <a:pt x="905777" y="202260"/>
                  </a:lnTo>
                  <a:lnTo>
                    <a:pt x="905828" y="202260"/>
                  </a:lnTo>
                  <a:lnTo>
                    <a:pt x="905828" y="202959"/>
                  </a:lnTo>
                  <a:lnTo>
                    <a:pt x="905828" y="202260"/>
                  </a:lnTo>
                  <a:lnTo>
                    <a:pt x="905828" y="202959"/>
                  </a:lnTo>
                  <a:lnTo>
                    <a:pt x="905828" y="202260"/>
                  </a:lnTo>
                  <a:lnTo>
                    <a:pt x="905879" y="202260"/>
                  </a:lnTo>
                  <a:lnTo>
                    <a:pt x="905879" y="203594"/>
                  </a:lnTo>
                  <a:lnTo>
                    <a:pt x="905879" y="202959"/>
                  </a:lnTo>
                  <a:lnTo>
                    <a:pt x="905968" y="203594"/>
                  </a:lnTo>
                  <a:lnTo>
                    <a:pt x="905968" y="204292"/>
                  </a:lnTo>
                  <a:lnTo>
                    <a:pt x="905968" y="203594"/>
                  </a:lnTo>
                  <a:lnTo>
                    <a:pt x="905968" y="204292"/>
                  </a:lnTo>
                  <a:lnTo>
                    <a:pt x="905968" y="203594"/>
                  </a:lnTo>
                  <a:lnTo>
                    <a:pt x="906018" y="203594"/>
                  </a:lnTo>
                  <a:lnTo>
                    <a:pt x="906018" y="202959"/>
                  </a:lnTo>
                  <a:lnTo>
                    <a:pt x="906018" y="203594"/>
                  </a:lnTo>
                  <a:lnTo>
                    <a:pt x="906018" y="202959"/>
                  </a:lnTo>
                  <a:lnTo>
                    <a:pt x="906069" y="202959"/>
                  </a:lnTo>
                  <a:lnTo>
                    <a:pt x="906069" y="202260"/>
                  </a:lnTo>
                  <a:lnTo>
                    <a:pt x="906069" y="202959"/>
                  </a:lnTo>
                  <a:lnTo>
                    <a:pt x="906069" y="202260"/>
                  </a:lnTo>
                  <a:lnTo>
                    <a:pt x="906069" y="202959"/>
                  </a:lnTo>
                  <a:lnTo>
                    <a:pt x="906069" y="202260"/>
                  </a:lnTo>
                  <a:lnTo>
                    <a:pt x="906120" y="202260"/>
                  </a:lnTo>
                  <a:lnTo>
                    <a:pt x="906120" y="200876"/>
                  </a:lnTo>
                  <a:lnTo>
                    <a:pt x="906120" y="202260"/>
                  </a:lnTo>
                  <a:lnTo>
                    <a:pt x="906120" y="200876"/>
                  </a:lnTo>
                  <a:lnTo>
                    <a:pt x="906120" y="203594"/>
                  </a:lnTo>
                  <a:lnTo>
                    <a:pt x="906120" y="202959"/>
                  </a:lnTo>
                  <a:lnTo>
                    <a:pt x="906222" y="202959"/>
                  </a:lnTo>
                  <a:lnTo>
                    <a:pt x="906222" y="204292"/>
                  </a:lnTo>
                  <a:lnTo>
                    <a:pt x="906222" y="202959"/>
                  </a:lnTo>
                  <a:lnTo>
                    <a:pt x="906272" y="202959"/>
                  </a:lnTo>
                  <a:lnTo>
                    <a:pt x="906272" y="203594"/>
                  </a:lnTo>
                  <a:lnTo>
                    <a:pt x="906272" y="202959"/>
                  </a:lnTo>
                  <a:lnTo>
                    <a:pt x="906272" y="203594"/>
                  </a:lnTo>
                  <a:lnTo>
                    <a:pt x="906323" y="203594"/>
                  </a:lnTo>
                  <a:lnTo>
                    <a:pt x="906323" y="202959"/>
                  </a:lnTo>
                  <a:lnTo>
                    <a:pt x="906323" y="204292"/>
                  </a:lnTo>
                  <a:lnTo>
                    <a:pt x="906323" y="203594"/>
                  </a:lnTo>
                  <a:lnTo>
                    <a:pt x="906425" y="203594"/>
                  </a:lnTo>
                  <a:lnTo>
                    <a:pt x="906425" y="204292"/>
                  </a:lnTo>
                  <a:lnTo>
                    <a:pt x="906425" y="203594"/>
                  </a:lnTo>
                  <a:lnTo>
                    <a:pt x="906425" y="204292"/>
                  </a:lnTo>
                  <a:lnTo>
                    <a:pt x="906463" y="204292"/>
                  </a:lnTo>
                  <a:lnTo>
                    <a:pt x="906463" y="204990"/>
                  </a:lnTo>
                  <a:lnTo>
                    <a:pt x="906463" y="204292"/>
                  </a:lnTo>
                  <a:lnTo>
                    <a:pt x="906463" y="204990"/>
                  </a:lnTo>
                  <a:lnTo>
                    <a:pt x="906463" y="204292"/>
                  </a:lnTo>
                  <a:lnTo>
                    <a:pt x="906463" y="204990"/>
                  </a:lnTo>
                  <a:lnTo>
                    <a:pt x="906463" y="204292"/>
                  </a:lnTo>
                  <a:lnTo>
                    <a:pt x="906514" y="204292"/>
                  </a:lnTo>
                  <a:lnTo>
                    <a:pt x="906514" y="203594"/>
                  </a:lnTo>
                  <a:lnTo>
                    <a:pt x="906514" y="204292"/>
                  </a:lnTo>
                  <a:lnTo>
                    <a:pt x="906514" y="202959"/>
                  </a:lnTo>
                  <a:lnTo>
                    <a:pt x="906514" y="203594"/>
                  </a:lnTo>
                  <a:lnTo>
                    <a:pt x="906514" y="202959"/>
                  </a:lnTo>
                  <a:lnTo>
                    <a:pt x="906565" y="202959"/>
                  </a:lnTo>
                  <a:lnTo>
                    <a:pt x="906565" y="202260"/>
                  </a:lnTo>
                  <a:lnTo>
                    <a:pt x="906565" y="203594"/>
                  </a:lnTo>
                  <a:lnTo>
                    <a:pt x="906565" y="202959"/>
                  </a:lnTo>
                  <a:lnTo>
                    <a:pt x="906666" y="203594"/>
                  </a:lnTo>
                  <a:lnTo>
                    <a:pt x="906666" y="202959"/>
                  </a:lnTo>
                  <a:lnTo>
                    <a:pt x="906666" y="204990"/>
                  </a:lnTo>
                  <a:lnTo>
                    <a:pt x="906666" y="204292"/>
                  </a:lnTo>
                  <a:lnTo>
                    <a:pt x="906717" y="204292"/>
                  </a:lnTo>
                  <a:lnTo>
                    <a:pt x="906717" y="204990"/>
                  </a:lnTo>
                  <a:lnTo>
                    <a:pt x="906717" y="204292"/>
                  </a:lnTo>
                  <a:lnTo>
                    <a:pt x="906717" y="204990"/>
                  </a:lnTo>
                  <a:lnTo>
                    <a:pt x="906717" y="204292"/>
                  </a:lnTo>
                  <a:lnTo>
                    <a:pt x="906717" y="204990"/>
                  </a:lnTo>
                  <a:lnTo>
                    <a:pt x="906717" y="204292"/>
                  </a:lnTo>
                  <a:lnTo>
                    <a:pt x="906768" y="204292"/>
                  </a:lnTo>
                  <a:lnTo>
                    <a:pt x="906768" y="204990"/>
                  </a:lnTo>
                  <a:lnTo>
                    <a:pt x="906768" y="204292"/>
                  </a:lnTo>
                  <a:lnTo>
                    <a:pt x="906869" y="204292"/>
                  </a:lnTo>
                  <a:lnTo>
                    <a:pt x="906869" y="204990"/>
                  </a:lnTo>
                  <a:lnTo>
                    <a:pt x="906869" y="204292"/>
                  </a:lnTo>
                  <a:lnTo>
                    <a:pt x="906869" y="204990"/>
                  </a:lnTo>
                  <a:lnTo>
                    <a:pt x="906869" y="204292"/>
                  </a:lnTo>
                  <a:lnTo>
                    <a:pt x="906920" y="204292"/>
                  </a:lnTo>
                  <a:lnTo>
                    <a:pt x="906920" y="203594"/>
                  </a:lnTo>
                  <a:lnTo>
                    <a:pt x="906920" y="204990"/>
                  </a:lnTo>
                  <a:lnTo>
                    <a:pt x="906971" y="204990"/>
                  </a:lnTo>
                  <a:lnTo>
                    <a:pt x="906971" y="203594"/>
                  </a:lnTo>
                  <a:lnTo>
                    <a:pt x="907009" y="203594"/>
                  </a:lnTo>
                  <a:lnTo>
                    <a:pt x="907009" y="200876"/>
                  </a:lnTo>
                  <a:lnTo>
                    <a:pt x="907111" y="200876"/>
                  </a:lnTo>
                  <a:lnTo>
                    <a:pt x="907111" y="202260"/>
                  </a:lnTo>
                  <a:lnTo>
                    <a:pt x="907111" y="200876"/>
                  </a:lnTo>
                  <a:lnTo>
                    <a:pt x="907111" y="202959"/>
                  </a:lnTo>
                  <a:lnTo>
                    <a:pt x="907111" y="202260"/>
                  </a:lnTo>
                  <a:lnTo>
                    <a:pt x="907111" y="202959"/>
                  </a:lnTo>
                  <a:lnTo>
                    <a:pt x="907111" y="202260"/>
                  </a:lnTo>
                  <a:lnTo>
                    <a:pt x="907162" y="202260"/>
                  </a:lnTo>
                  <a:lnTo>
                    <a:pt x="907162" y="204292"/>
                  </a:lnTo>
                  <a:lnTo>
                    <a:pt x="907162" y="203594"/>
                  </a:lnTo>
                  <a:lnTo>
                    <a:pt x="907162" y="204292"/>
                  </a:lnTo>
                  <a:lnTo>
                    <a:pt x="907212" y="204292"/>
                  </a:lnTo>
                  <a:lnTo>
                    <a:pt x="907212" y="204990"/>
                  </a:lnTo>
                  <a:lnTo>
                    <a:pt x="907212" y="203594"/>
                  </a:lnTo>
                  <a:lnTo>
                    <a:pt x="907212" y="204292"/>
                  </a:lnTo>
                  <a:lnTo>
                    <a:pt x="907314" y="204292"/>
                  </a:lnTo>
                  <a:lnTo>
                    <a:pt x="907314" y="204990"/>
                  </a:lnTo>
                  <a:lnTo>
                    <a:pt x="907314" y="204292"/>
                  </a:lnTo>
                  <a:lnTo>
                    <a:pt x="907365" y="204990"/>
                  </a:lnTo>
                  <a:lnTo>
                    <a:pt x="907365" y="204292"/>
                  </a:lnTo>
                  <a:lnTo>
                    <a:pt x="907365" y="204990"/>
                  </a:lnTo>
                  <a:lnTo>
                    <a:pt x="907416" y="204990"/>
                  </a:lnTo>
                  <a:lnTo>
                    <a:pt x="907416" y="204292"/>
                  </a:lnTo>
                  <a:lnTo>
                    <a:pt x="907416" y="204990"/>
                  </a:lnTo>
                  <a:lnTo>
                    <a:pt x="907416" y="204292"/>
                  </a:lnTo>
                  <a:lnTo>
                    <a:pt x="907466" y="204292"/>
                  </a:lnTo>
                  <a:lnTo>
                    <a:pt x="907466" y="204990"/>
                  </a:lnTo>
                  <a:lnTo>
                    <a:pt x="907466" y="202959"/>
                  </a:lnTo>
                  <a:lnTo>
                    <a:pt x="907555" y="203594"/>
                  </a:lnTo>
                  <a:lnTo>
                    <a:pt x="907555" y="202260"/>
                  </a:lnTo>
                  <a:lnTo>
                    <a:pt x="907555" y="204990"/>
                  </a:lnTo>
                  <a:lnTo>
                    <a:pt x="907555" y="204292"/>
                  </a:lnTo>
                  <a:lnTo>
                    <a:pt x="907606" y="204292"/>
                  </a:lnTo>
                  <a:lnTo>
                    <a:pt x="907606" y="202959"/>
                  </a:lnTo>
                  <a:lnTo>
                    <a:pt x="907606" y="206324"/>
                  </a:lnTo>
                  <a:lnTo>
                    <a:pt x="907606" y="204292"/>
                  </a:lnTo>
                  <a:lnTo>
                    <a:pt x="907657" y="204292"/>
                  </a:lnTo>
                  <a:lnTo>
                    <a:pt x="907657" y="203594"/>
                  </a:lnTo>
                  <a:lnTo>
                    <a:pt x="907657" y="206324"/>
                  </a:lnTo>
                  <a:lnTo>
                    <a:pt x="907657" y="204990"/>
                  </a:lnTo>
                  <a:lnTo>
                    <a:pt x="907708" y="204990"/>
                  </a:lnTo>
                  <a:lnTo>
                    <a:pt x="907708" y="204292"/>
                  </a:lnTo>
                  <a:lnTo>
                    <a:pt x="907708" y="206324"/>
                  </a:lnTo>
                  <a:lnTo>
                    <a:pt x="907708" y="204990"/>
                  </a:lnTo>
                  <a:lnTo>
                    <a:pt x="907809" y="204990"/>
                  </a:lnTo>
                  <a:lnTo>
                    <a:pt x="907809" y="204292"/>
                  </a:lnTo>
                  <a:lnTo>
                    <a:pt x="907809" y="204990"/>
                  </a:lnTo>
                  <a:lnTo>
                    <a:pt x="907860" y="204990"/>
                  </a:lnTo>
                  <a:lnTo>
                    <a:pt x="907860" y="206324"/>
                  </a:lnTo>
                  <a:lnTo>
                    <a:pt x="907860" y="204990"/>
                  </a:lnTo>
                  <a:lnTo>
                    <a:pt x="907860" y="206324"/>
                  </a:lnTo>
                  <a:lnTo>
                    <a:pt x="907860" y="204990"/>
                  </a:lnTo>
                  <a:lnTo>
                    <a:pt x="907911" y="206324"/>
                  </a:lnTo>
                  <a:lnTo>
                    <a:pt x="907911" y="204990"/>
                  </a:lnTo>
                  <a:lnTo>
                    <a:pt x="907911" y="206324"/>
                  </a:lnTo>
                  <a:lnTo>
                    <a:pt x="907911" y="204292"/>
                  </a:lnTo>
                  <a:lnTo>
                    <a:pt x="907911" y="204990"/>
                  </a:lnTo>
                  <a:lnTo>
                    <a:pt x="908012" y="204990"/>
                  </a:lnTo>
                  <a:lnTo>
                    <a:pt x="908012" y="203594"/>
                  </a:lnTo>
                  <a:lnTo>
                    <a:pt x="908012" y="204292"/>
                  </a:lnTo>
                  <a:lnTo>
                    <a:pt x="908012" y="203594"/>
                  </a:lnTo>
                  <a:lnTo>
                    <a:pt x="908012" y="204292"/>
                  </a:lnTo>
                  <a:lnTo>
                    <a:pt x="908012" y="202959"/>
                  </a:lnTo>
                  <a:lnTo>
                    <a:pt x="908051" y="202959"/>
                  </a:lnTo>
                  <a:lnTo>
                    <a:pt x="908051" y="200876"/>
                  </a:lnTo>
                  <a:lnTo>
                    <a:pt x="908051" y="202260"/>
                  </a:lnTo>
                  <a:lnTo>
                    <a:pt x="908051" y="200876"/>
                  </a:lnTo>
                  <a:lnTo>
                    <a:pt x="908051" y="202260"/>
                  </a:lnTo>
                  <a:lnTo>
                    <a:pt x="908101" y="202260"/>
                  </a:lnTo>
                  <a:lnTo>
                    <a:pt x="908101" y="202959"/>
                  </a:lnTo>
                  <a:lnTo>
                    <a:pt x="908101" y="200876"/>
                  </a:lnTo>
                  <a:lnTo>
                    <a:pt x="908101" y="203594"/>
                  </a:lnTo>
                  <a:lnTo>
                    <a:pt x="908152" y="203594"/>
                  </a:lnTo>
                  <a:lnTo>
                    <a:pt x="908152" y="204292"/>
                  </a:lnTo>
                  <a:lnTo>
                    <a:pt x="908152" y="203594"/>
                  </a:lnTo>
                  <a:lnTo>
                    <a:pt x="908152" y="204292"/>
                  </a:lnTo>
                  <a:lnTo>
                    <a:pt x="908254" y="204292"/>
                  </a:lnTo>
                  <a:lnTo>
                    <a:pt x="908254" y="204990"/>
                  </a:lnTo>
                  <a:lnTo>
                    <a:pt x="908305" y="204292"/>
                  </a:lnTo>
                  <a:lnTo>
                    <a:pt x="908305" y="206324"/>
                  </a:lnTo>
                  <a:lnTo>
                    <a:pt x="908305" y="204990"/>
                  </a:lnTo>
                  <a:lnTo>
                    <a:pt x="908305" y="206324"/>
                  </a:lnTo>
                  <a:lnTo>
                    <a:pt x="908355" y="206324"/>
                  </a:lnTo>
                  <a:lnTo>
                    <a:pt x="908355" y="204990"/>
                  </a:lnTo>
                  <a:lnTo>
                    <a:pt x="908355" y="206324"/>
                  </a:lnTo>
                  <a:lnTo>
                    <a:pt x="908355" y="204990"/>
                  </a:lnTo>
                  <a:lnTo>
                    <a:pt x="908355" y="206324"/>
                  </a:lnTo>
                  <a:lnTo>
                    <a:pt x="908355" y="204990"/>
                  </a:lnTo>
                  <a:lnTo>
                    <a:pt x="908457" y="204990"/>
                  </a:lnTo>
                  <a:lnTo>
                    <a:pt x="908457" y="206324"/>
                  </a:lnTo>
                  <a:lnTo>
                    <a:pt x="908457" y="204990"/>
                  </a:lnTo>
                  <a:lnTo>
                    <a:pt x="908457" y="206324"/>
                  </a:lnTo>
                  <a:lnTo>
                    <a:pt x="908457" y="204990"/>
                  </a:lnTo>
                  <a:lnTo>
                    <a:pt x="908508" y="204990"/>
                  </a:lnTo>
                  <a:lnTo>
                    <a:pt x="908508" y="206324"/>
                  </a:lnTo>
                  <a:lnTo>
                    <a:pt x="908508" y="202959"/>
                  </a:lnTo>
                  <a:lnTo>
                    <a:pt x="908508" y="203594"/>
                  </a:lnTo>
                  <a:lnTo>
                    <a:pt x="908558" y="202959"/>
                  </a:lnTo>
                  <a:lnTo>
                    <a:pt x="908558" y="202260"/>
                  </a:lnTo>
                  <a:lnTo>
                    <a:pt x="908558" y="203594"/>
                  </a:lnTo>
                  <a:lnTo>
                    <a:pt x="908558" y="202959"/>
                  </a:lnTo>
                  <a:lnTo>
                    <a:pt x="908597" y="202959"/>
                  </a:lnTo>
                  <a:lnTo>
                    <a:pt x="908597" y="202260"/>
                  </a:lnTo>
                  <a:lnTo>
                    <a:pt x="908597" y="204292"/>
                  </a:lnTo>
                  <a:lnTo>
                    <a:pt x="908597" y="203594"/>
                  </a:lnTo>
                  <a:lnTo>
                    <a:pt x="908698" y="203594"/>
                  </a:lnTo>
                  <a:lnTo>
                    <a:pt x="908698" y="204292"/>
                  </a:lnTo>
                  <a:lnTo>
                    <a:pt x="908698" y="203594"/>
                  </a:lnTo>
                  <a:lnTo>
                    <a:pt x="908698" y="204292"/>
                  </a:lnTo>
                  <a:lnTo>
                    <a:pt x="908698" y="203594"/>
                  </a:lnTo>
                  <a:lnTo>
                    <a:pt x="908749" y="203594"/>
                  </a:lnTo>
                  <a:lnTo>
                    <a:pt x="908749" y="202959"/>
                  </a:lnTo>
                  <a:lnTo>
                    <a:pt x="908749" y="204292"/>
                  </a:lnTo>
                  <a:lnTo>
                    <a:pt x="908749" y="203594"/>
                  </a:lnTo>
                  <a:lnTo>
                    <a:pt x="908749" y="204292"/>
                  </a:lnTo>
                  <a:lnTo>
                    <a:pt x="908749" y="203594"/>
                  </a:lnTo>
                  <a:lnTo>
                    <a:pt x="908749" y="204292"/>
                  </a:lnTo>
                  <a:lnTo>
                    <a:pt x="908749" y="203594"/>
                  </a:lnTo>
                  <a:lnTo>
                    <a:pt x="908800" y="203594"/>
                  </a:lnTo>
                  <a:lnTo>
                    <a:pt x="908800" y="204292"/>
                  </a:lnTo>
                  <a:lnTo>
                    <a:pt x="908901" y="204292"/>
                  </a:lnTo>
                  <a:lnTo>
                    <a:pt x="908901" y="204990"/>
                  </a:lnTo>
                  <a:lnTo>
                    <a:pt x="908901" y="204292"/>
                  </a:lnTo>
                  <a:lnTo>
                    <a:pt x="908901" y="204990"/>
                  </a:lnTo>
                  <a:lnTo>
                    <a:pt x="908952" y="204990"/>
                  </a:lnTo>
                  <a:lnTo>
                    <a:pt x="908952" y="204292"/>
                  </a:lnTo>
                  <a:lnTo>
                    <a:pt x="909003" y="204292"/>
                  </a:lnTo>
                  <a:lnTo>
                    <a:pt x="909003" y="203594"/>
                  </a:lnTo>
                  <a:lnTo>
                    <a:pt x="909003" y="204292"/>
                  </a:lnTo>
                  <a:lnTo>
                    <a:pt x="909003" y="203594"/>
                  </a:lnTo>
                  <a:lnTo>
                    <a:pt x="909054" y="203594"/>
                  </a:lnTo>
                  <a:lnTo>
                    <a:pt x="909054" y="202260"/>
                  </a:lnTo>
                  <a:lnTo>
                    <a:pt x="909054" y="204292"/>
                  </a:lnTo>
                  <a:lnTo>
                    <a:pt x="909054" y="203594"/>
                  </a:lnTo>
                  <a:lnTo>
                    <a:pt x="909054" y="204292"/>
                  </a:lnTo>
                  <a:lnTo>
                    <a:pt x="909054" y="202959"/>
                  </a:lnTo>
                  <a:lnTo>
                    <a:pt x="909143" y="202959"/>
                  </a:lnTo>
                  <a:lnTo>
                    <a:pt x="909143" y="204990"/>
                  </a:lnTo>
                  <a:lnTo>
                    <a:pt x="909143" y="203594"/>
                  </a:lnTo>
                  <a:lnTo>
                    <a:pt x="909193" y="203594"/>
                  </a:lnTo>
                  <a:lnTo>
                    <a:pt x="909193" y="204292"/>
                  </a:lnTo>
                  <a:lnTo>
                    <a:pt x="909244" y="203594"/>
                  </a:lnTo>
                  <a:lnTo>
                    <a:pt x="909244" y="204990"/>
                  </a:lnTo>
                  <a:lnTo>
                    <a:pt x="909244" y="203594"/>
                  </a:lnTo>
                  <a:lnTo>
                    <a:pt x="909244" y="204292"/>
                  </a:lnTo>
                  <a:lnTo>
                    <a:pt x="909295" y="204292"/>
                  </a:lnTo>
                  <a:lnTo>
                    <a:pt x="909295" y="204990"/>
                  </a:lnTo>
                  <a:lnTo>
                    <a:pt x="909295" y="204292"/>
                  </a:lnTo>
                  <a:lnTo>
                    <a:pt x="909295" y="204990"/>
                  </a:lnTo>
                  <a:lnTo>
                    <a:pt x="909295" y="204292"/>
                  </a:lnTo>
                  <a:lnTo>
                    <a:pt x="909295" y="204990"/>
                  </a:lnTo>
                  <a:lnTo>
                    <a:pt x="909295" y="204292"/>
                  </a:lnTo>
                  <a:lnTo>
                    <a:pt x="909397" y="204292"/>
                  </a:lnTo>
                  <a:lnTo>
                    <a:pt x="909397" y="204990"/>
                  </a:lnTo>
                  <a:lnTo>
                    <a:pt x="909397" y="204292"/>
                  </a:lnTo>
                  <a:lnTo>
                    <a:pt x="909397" y="204990"/>
                  </a:lnTo>
                  <a:lnTo>
                    <a:pt x="909397" y="204292"/>
                  </a:lnTo>
                  <a:lnTo>
                    <a:pt x="909397" y="204990"/>
                  </a:lnTo>
                  <a:lnTo>
                    <a:pt x="909397" y="204292"/>
                  </a:lnTo>
                  <a:lnTo>
                    <a:pt x="909397" y="204990"/>
                  </a:lnTo>
                  <a:lnTo>
                    <a:pt x="909397" y="204292"/>
                  </a:lnTo>
                  <a:lnTo>
                    <a:pt x="909397" y="204990"/>
                  </a:lnTo>
                  <a:lnTo>
                    <a:pt x="909447" y="204990"/>
                  </a:lnTo>
                  <a:lnTo>
                    <a:pt x="909447" y="204292"/>
                  </a:lnTo>
                  <a:lnTo>
                    <a:pt x="909447" y="204990"/>
                  </a:lnTo>
                  <a:lnTo>
                    <a:pt x="909447" y="204292"/>
                  </a:lnTo>
                  <a:lnTo>
                    <a:pt x="909498" y="204292"/>
                  </a:lnTo>
                  <a:lnTo>
                    <a:pt x="909498" y="202959"/>
                  </a:lnTo>
                  <a:lnTo>
                    <a:pt x="909498" y="203594"/>
                  </a:lnTo>
                  <a:lnTo>
                    <a:pt x="909498" y="202959"/>
                  </a:lnTo>
                  <a:lnTo>
                    <a:pt x="909498" y="203594"/>
                  </a:lnTo>
                  <a:lnTo>
                    <a:pt x="909498" y="202260"/>
                  </a:lnTo>
                  <a:lnTo>
                    <a:pt x="909600" y="202260"/>
                  </a:lnTo>
                  <a:lnTo>
                    <a:pt x="909600" y="203594"/>
                  </a:lnTo>
                  <a:lnTo>
                    <a:pt x="909600" y="202959"/>
                  </a:lnTo>
                  <a:lnTo>
                    <a:pt x="909600" y="204292"/>
                  </a:lnTo>
                  <a:lnTo>
                    <a:pt x="909638" y="204292"/>
                  </a:lnTo>
                  <a:lnTo>
                    <a:pt x="909638" y="204990"/>
                  </a:lnTo>
                  <a:lnTo>
                    <a:pt x="909638" y="204292"/>
                  </a:lnTo>
                  <a:lnTo>
                    <a:pt x="909638" y="204990"/>
                  </a:lnTo>
                  <a:lnTo>
                    <a:pt x="909638" y="203594"/>
                  </a:lnTo>
                  <a:lnTo>
                    <a:pt x="909689" y="204292"/>
                  </a:lnTo>
                  <a:lnTo>
                    <a:pt x="909689" y="203594"/>
                  </a:lnTo>
                  <a:lnTo>
                    <a:pt x="909689" y="204292"/>
                  </a:lnTo>
                  <a:lnTo>
                    <a:pt x="909689" y="203594"/>
                  </a:lnTo>
                  <a:lnTo>
                    <a:pt x="909689" y="204292"/>
                  </a:lnTo>
                  <a:lnTo>
                    <a:pt x="909740" y="204292"/>
                  </a:lnTo>
                  <a:lnTo>
                    <a:pt x="909740" y="203594"/>
                  </a:lnTo>
                  <a:lnTo>
                    <a:pt x="909740" y="204292"/>
                  </a:lnTo>
                  <a:lnTo>
                    <a:pt x="909892" y="204292"/>
                  </a:lnTo>
                  <a:lnTo>
                    <a:pt x="909892" y="204990"/>
                  </a:lnTo>
                  <a:lnTo>
                    <a:pt x="909892" y="204292"/>
                  </a:lnTo>
                  <a:lnTo>
                    <a:pt x="909943" y="203594"/>
                  </a:lnTo>
                  <a:lnTo>
                    <a:pt x="909943" y="202959"/>
                  </a:lnTo>
                  <a:lnTo>
                    <a:pt x="909943" y="203594"/>
                  </a:lnTo>
                  <a:lnTo>
                    <a:pt x="909943" y="202260"/>
                  </a:lnTo>
                  <a:lnTo>
                    <a:pt x="909943" y="202959"/>
                  </a:lnTo>
                  <a:lnTo>
                    <a:pt x="910044" y="202260"/>
                  </a:lnTo>
                  <a:lnTo>
                    <a:pt x="910044" y="202959"/>
                  </a:lnTo>
                  <a:lnTo>
                    <a:pt x="910044" y="200876"/>
                  </a:lnTo>
                  <a:lnTo>
                    <a:pt x="910044" y="202260"/>
                  </a:lnTo>
                  <a:lnTo>
                    <a:pt x="910044" y="200876"/>
                  </a:lnTo>
                  <a:lnTo>
                    <a:pt x="910044" y="202260"/>
                  </a:lnTo>
                  <a:lnTo>
                    <a:pt x="910044" y="200876"/>
                  </a:lnTo>
                  <a:lnTo>
                    <a:pt x="910044" y="202260"/>
                  </a:lnTo>
                  <a:lnTo>
                    <a:pt x="910044" y="200876"/>
                  </a:lnTo>
                  <a:lnTo>
                    <a:pt x="910095" y="200876"/>
                  </a:lnTo>
                  <a:lnTo>
                    <a:pt x="910095" y="203594"/>
                  </a:lnTo>
                  <a:lnTo>
                    <a:pt x="910095" y="200876"/>
                  </a:lnTo>
                  <a:lnTo>
                    <a:pt x="910095" y="202959"/>
                  </a:lnTo>
                  <a:lnTo>
                    <a:pt x="910146" y="203594"/>
                  </a:lnTo>
                  <a:lnTo>
                    <a:pt x="910146" y="204292"/>
                  </a:lnTo>
                  <a:lnTo>
                    <a:pt x="910146" y="202959"/>
                  </a:lnTo>
                  <a:lnTo>
                    <a:pt x="910146" y="204292"/>
                  </a:lnTo>
                  <a:lnTo>
                    <a:pt x="910184" y="203594"/>
                  </a:lnTo>
                  <a:lnTo>
                    <a:pt x="910184" y="204292"/>
                  </a:lnTo>
                  <a:lnTo>
                    <a:pt x="910184" y="203594"/>
                  </a:lnTo>
                  <a:lnTo>
                    <a:pt x="910184" y="204292"/>
                  </a:lnTo>
                  <a:lnTo>
                    <a:pt x="910184" y="203594"/>
                  </a:lnTo>
                  <a:lnTo>
                    <a:pt x="910184" y="204292"/>
                  </a:lnTo>
                  <a:lnTo>
                    <a:pt x="910286" y="204292"/>
                  </a:lnTo>
                  <a:lnTo>
                    <a:pt x="910286" y="204990"/>
                  </a:lnTo>
                  <a:lnTo>
                    <a:pt x="910286" y="204292"/>
                  </a:lnTo>
                  <a:lnTo>
                    <a:pt x="910286" y="204990"/>
                  </a:lnTo>
                  <a:lnTo>
                    <a:pt x="910337" y="204990"/>
                  </a:lnTo>
                  <a:lnTo>
                    <a:pt x="910337" y="204292"/>
                  </a:lnTo>
                  <a:lnTo>
                    <a:pt x="910337" y="204990"/>
                  </a:lnTo>
                  <a:lnTo>
                    <a:pt x="910387" y="204990"/>
                  </a:lnTo>
                  <a:lnTo>
                    <a:pt x="910387" y="204292"/>
                  </a:lnTo>
                  <a:lnTo>
                    <a:pt x="910387" y="204990"/>
                  </a:lnTo>
                  <a:lnTo>
                    <a:pt x="910387" y="204292"/>
                  </a:lnTo>
                  <a:lnTo>
                    <a:pt x="910489" y="204292"/>
                  </a:lnTo>
                  <a:lnTo>
                    <a:pt x="910489" y="202959"/>
                  </a:lnTo>
                  <a:lnTo>
                    <a:pt x="910489" y="203594"/>
                  </a:lnTo>
                  <a:lnTo>
                    <a:pt x="910540" y="203594"/>
                  </a:lnTo>
                  <a:lnTo>
                    <a:pt x="910540" y="200876"/>
                  </a:lnTo>
                  <a:lnTo>
                    <a:pt x="910540" y="202260"/>
                  </a:lnTo>
                  <a:lnTo>
                    <a:pt x="910591" y="202260"/>
                  </a:lnTo>
                  <a:lnTo>
                    <a:pt x="910591" y="202959"/>
                  </a:lnTo>
                  <a:lnTo>
                    <a:pt x="910591" y="202260"/>
                  </a:lnTo>
                  <a:lnTo>
                    <a:pt x="910591" y="203594"/>
                  </a:lnTo>
                  <a:lnTo>
                    <a:pt x="910641" y="203594"/>
                  </a:lnTo>
                  <a:lnTo>
                    <a:pt x="910641" y="204292"/>
                  </a:lnTo>
                  <a:lnTo>
                    <a:pt x="910641" y="202959"/>
                  </a:lnTo>
                  <a:lnTo>
                    <a:pt x="910641" y="204292"/>
                  </a:lnTo>
                  <a:lnTo>
                    <a:pt x="910730" y="204292"/>
                  </a:lnTo>
                  <a:lnTo>
                    <a:pt x="910730" y="202959"/>
                  </a:lnTo>
                  <a:lnTo>
                    <a:pt x="910730" y="204292"/>
                  </a:lnTo>
                  <a:lnTo>
                    <a:pt x="910781" y="204292"/>
                  </a:lnTo>
                  <a:lnTo>
                    <a:pt x="910781" y="204990"/>
                  </a:lnTo>
                  <a:lnTo>
                    <a:pt x="910781" y="204292"/>
                  </a:lnTo>
                  <a:lnTo>
                    <a:pt x="910781" y="204990"/>
                  </a:lnTo>
                  <a:lnTo>
                    <a:pt x="910832" y="204990"/>
                  </a:lnTo>
                  <a:lnTo>
                    <a:pt x="910832" y="204292"/>
                  </a:lnTo>
                  <a:lnTo>
                    <a:pt x="910832" y="204990"/>
                  </a:lnTo>
                  <a:lnTo>
                    <a:pt x="910832" y="204292"/>
                  </a:lnTo>
                  <a:lnTo>
                    <a:pt x="910832" y="204990"/>
                  </a:lnTo>
                  <a:lnTo>
                    <a:pt x="910832" y="204292"/>
                  </a:lnTo>
                  <a:lnTo>
                    <a:pt x="910832" y="204990"/>
                  </a:lnTo>
                  <a:lnTo>
                    <a:pt x="910832" y="204292"/>
                  </a:lnTo>
                  <a:lnTo>
                    <a:pt x="910832" y="204990"/>
                  </a:lnTo>
                  <a:lnTo>
                    <a:pt x="910832" y="204292"/>
                  </a:lnTo>
                  <a:lnTo>
                    <a:pt x="910883" y="204292"/>
                  </a:lnTo>
                  <a:lnTo>
                    <a:pt x="910883" y="204990"/>
                  </a:lnTo>
                  <a:lnTo>
                    <a:pt x="910883" y="204292"/>
                  </a:lnTo>
                  <a:lnTo>
                    <a:pt x="910883" y="204990"/>
                  </a:lnTo>
                  <a:lnTo>
                    <a:pt x="910883" y="204292"/>
                  </a:lnTo>
                  <a:lnTo>
                    <a:pt x="910883" y="204990"/>
                  </a:lnTo>
                  <a:lnTo>
                    <a:pt x="910883" y="204292"/>
                  </a:lnTo>
                  <a:lnTo>
                    <a:pt x="910984" y="204292"/>
                  </a:lnTo>
                  <a:lnTo>
                    <a:pt x="910984" y="203594"/>
                  </a:lnTo>
                  <a:lnTo>
                    <a:pt x="910984" y="204292"/>
                  </a:lnTo>
                  <a:lnTo>
                    <a:pt x="910984" y="202959"/>
                  </a:lnTo>
                  <a:lnTo>
                    <a:pt x="910984" y="203594"/>
                  </a:lnTo>
                  <a:lnTo>
                    <a:pt x="910984" y="202959"/>
                  </a:lnTo>
                  <a:lnTo>
                    <a:pt x="911035" y="202959"/>
                  </a:lnTo>
                  <a:lnTo>
                    <a:pt x="911035" y="202260"/>
                  </a:lnTo>
                  <a:lnTo>
                    <a:pt x="911035" y="202959"/>
                  </a:lnTo>
                  <a:lnTo>
                    <a:pt x="911035" y="200228"/>
                  </a:lnTo>
                  <a:lnTo>
                    <a:pt x="911035" y="200876"/>
                  </a:lnTo>
                  <a:lnTo>
                    <a:pt x="911086" y="202260"/>
                  </a:lnTo>
                  <a:lnTo>
                    <a:pt x="911086" y="200876"/>
                  </a:lnTo>
                  <a:lnTo>
                    <a:pt x="911086" y="202959"/>
                  </a:lnTo>
                  <a:lnTo>
                    <a:pt x="911086" y="200876"/>
                  </a:lnTo>
                  <a:lnTo>
                    <a:pt x="911086" y="202959"/>
                  </a:lnTo>
                  <a:lnTo>
                    <a:pt x="911187" y="202959"/>
                  </a:lnTo>
                  <a:lnTo>
                    <a:pt x="911187" y="202260"/>
                  </a:lnTo>
                  <a:lnTo>
                    <a:pt x="911187" y="202959"/>
                  </a:lnTo>
                  <a:lnTo>
                    <a:pt x="911187" y="202260"/>
                  </a:lnTo>
                  <a:lnTo>
                    <a:pt x="911187" y="202959"/>
                  </a:lnTo>
                  <a:lnTo>
                    <a:pt x="911187" y="202260"/>
                  </a:lnTo>
                  <a:lnTo>
                    <a:pt x="911187" y="203594"/>
                  </a:lnTo>
                  <a:lnTo>
                    <a:pt x="911226" y="203594"/>
                  </a:lnTo>
                  <a:lnTo>
                    <a:pt x="911226" y="202959"/>
                  </a:lnTo>
                  <a:lnTo>
                    <a:pt x="911226" y="204292"/>
                  </a:lnTo>
                  <a:lnTo>
                    <a:pt x="911226" y="203594"/>
                  </a:lnTo>
                  <a:lnTo>
                    <a:pt x="911276" y="204292"/>
                  </a:lnTo>
                  <a:lnTo>
                    <a:pt x="911276" y="203594"/>
                  </a:lnTo>
                  <a:lnTo>
                    <a:pt x="911276" y="204292"/>
                  </a:lnTo>
                  <a:lnTo>
                    <a:pt x="911276" y="203594"/>
                  </a:lnTo>
                  <a:lnTo>
                    <a:pt x="911276" y="204292"/>
                  </a:lnTo>
                  <a:lnTo>
                    <a:pt x="911276" y="203594"/>
                  </a:lnTo>
                  <a:lnTo>
                    <a:pt x="911276" y="204292"/>
                  </a:lnTo>
                  <a:lnTo>
                    <a:pt x="911327" y="204292"/>
                  </a:lnTo>
                  <a:lnTo>
                    <a:pt x="911327" y="204990"/>
                  </a:lnTo>
                  <a:lnTo>
                    <a:pt x="911327" y="204292"/>
                  </a:lnTo>
                  <a:lnTo>
                    <a:pt x="911429" y="204292"/>
                  </a:lnTo>
                  <a:lnTo>
                    <a:pt x="911429" y="204990"/>
                  </a:lnTo>
                  <a:lnTo>
                    <a:pt x="911429" y="204292"/>
                  </a:lnTo>
                  <a:lnTo>
                    <a:pt x="911480" y="204292"/>
                  </a:lnTo>
                  <a:lnTo>
                    <a:pt x="911480" y="203594"/>
                  </a:lnTo>
                  <a:lnTo>
                    <a:pt x="911480" y="204292"/>
                  </a:lnTo>
                  <a:lnTo>
                    <a:pt x="911480" y="202959"/>
                  </a:lnTo>
                  <a:lnTo>
                    <a:pt x="911530" y="202959"/>
                  </a:lnTo>
                  <a:lnTo>
                    <a:pt x="911530" y="202260"/>
                  </a:lnTo>
                  <a:lnTo>
                    <a:pt x="911530" y="202959"/>
                  </a:lnTo>
                  <a:lnTo>
                    <a:pt x="911530" y="202260"/>
                  </a:lnTo>
                  <a:lnTo>
                    <a:pt x="911530" y="202959"/>
                  </a:lnTo>
                  <a:lnTo>
                    <a:pt x="911530" y="200876"/>
                  </a:lnTo>
                  <a:lnTo>
                    <a:pt x="911632" y="200876"/>
                  </a:lnTo>
                  <a:lnTo>
                    <a:pt x="911632" y="202260"/>
                  </a:lnTo>
                  <a:lnTo>
                    <a:pt x="911632" y="200876"/>
                  </a:lnTo>
                  <a:lnTo>
                    <a:pt x="911632" y="203594"/>
                  </a:lnTo>
                  <a:lnTo>
                    <a:pt x="911632" y="202959"/>
                  </a:lnTo>
                  <a:lnTo>
                    <a:pt x="911683" y="202959"/>
                  </a:lnTo>
                  <a:lnTo>
                    <a:pt x="911683" y="202260"/>
                  </a:lnTo>
                  <a:lnTo>
                    <a:pt x="911683" y="203594"/>
                  </a:lnTo>
                  <a:lnTo>
                    <a:pt x="911683" y="202959"/>
                  </a:lnTo>
                  <a:lnTo>
                    <a:pt x="911733" y="202959"/>
                  </a:lnTo>
                  <a:lnTo>
                    <a:pt x="911733" y="203594"/>
                  </a:lnTo>
                  <a:lnTo>
                    <a:pt x="911733" y="202959"/>
                  </a:lnTo>
                  <a:lnTo>
                    <a:pt x="911733" y="203594"/>
                  </a:lnTo>
                  <a:lnTo>
                    <a:pt x="911733" y="202959"/>
                  </a:lnTo>
                  <a:lnTo>
                    <a:pt x="911733" y="203594"/>
                  </a:lnTo>
                  <a:lnTo>
                    <a:pt x="911733" y="202959"/>
                  </a:lnTo>
                  <a:lnTo>
                    <a:pt x="911772" y="202959"/>
                  </a:lnTo>
                  <a:lnTo>
                    <a:pt x="911772" y="204292"/>
                  </a:lnTo>
                  <a:lnTo>
                    <a:pt x="911772" y="202959"/>
                  </a:lnTo>
                  <a:lnTo>
                    <a:pt x="911772" y="203594"/>
                  </a:lnTo>
                  <a:lnTo>
                    <a:pt x="911772" y="202959"/>
                  </a:lnTo>
                  <a:lnTo>
                    <a:pt x="911772" y="204292"/>
                  </a:lnTo>
                  <a:lnTo>
                    <a:pt x="911873" y="203594"/>
                  </a:lnTo>
                  <a:lnTo>
                    <a:pt x="911873" y="204292"/>
                  </a:lnTo>
                  <a:lnTo>
                    <a:pt x="911873" y="203594"/>
                  </a:lnTo>
                  <a:lnTo>
                    <a:pt x="911873" y="204292"/>
                  </a:lnTo>
                  <a:lnTo>
                    <a:pt x="911873" y="203594"/>
                  </a:lnTo>
                  <a:lnTo>
                    <a:pt x="911873" y="204292"/>
                  </a:lnTo>
                  <a:lnTo>
                    <a:pt x="911924" y="204292"/>
                  </a:lnTo>
                  <a:lnTo>
                    <a:pt x="911924" y="202959"/>
                  </a:lnTo>
                  <a:lnTo>
                    <a:pt x="911924" y="204292"/>
                  </a:lnTo>
                  <a:lnTo>
                    <a:pt x="911924" y="203594"/>
                  </a:lnTo>
                  <a:lnTo>
                    <a:pt x="911924" y="204292"/>
                  </a:lnTo>
                  <a:lnTo>
                    <a:pt x="911975" y="204292"/>
                  </a:lnTo>
                  <a:lnTo>
                    <a:pt x="911975" y="203594"/>
                  </a:lnTo>
                  <a:lnTo>
                    <a:pt x="911975" y="204292"/>
                  </a:lnTo>
                  <a:lnTo>
                    <a:pt x="911975" y="203594"/>
                  </a:lnTo>
                  <a:lnTo>
                    <a:pt x="911975" y="204292"/>
                  </a:lnTo>
                  <a:lnTo>
                    <a:pt x="911975" y="202959"/>
                  </a:lnTo>
                  <a:lnTo>
                    <a:pt x="911975" y="203594"/>
                  </a:lnTo>
                  <a:lnTo>
                    <a:pt x="911975" y="202959"/>
                  </a:lnTo>
                  <a:lnTo>
                    <a:pt x="911975" y="203594"/>
                  </a:lnTo>
                  <a:lnTo>
                    <a:pt x="912076" y="203594"/>
                  </a:lnTo>
                  <a:lnTo>
                    <a:pt x="912076" y="204990"/>
                  </a:lnTo>
                  <a:lnTo>
                    <a:pt x="912076" y="202959"/>
                  </a:lnTo>
                  <a:lnTo>
                    <a:pt x="912076" y="204292"/>
                  </a:lnTo>
                  <a:lnTo>
                    <a:pt x="912127" y="204990"/>
                  </a:lnTo>
                  <a:lnTo>
                    <a:pt x="912127" y="206324"/>
                  </a:lnTo>
                  <a:lnTo>
                    <a:pt x="912127" y="203594"/>
                  </a:lnTo>
                  <a:lnTo>
                    <a:pt x="912127" y="204990"/>
                  </a:lnTo>
                  <a:lnTo>
                    <a:pt x="912178" y="206324"/>
                  </a:lnTo>
                  <a:lnTo>
                    <a:pt x="912178" y="204292"/>
                  </a:lnTo>
                  <a:lnTo>
                    <a:pt x="912178" y="204990"/>
                  </a:lnTo>
                  <a:lnTo>
                    <a:pt x="912229" y="204990"/>
                  </a:lnTo>
                  <a:lnTo>
                    <a:pt x="912229" y="206324"/>
                  </a:lnTo>
                  <a:lnTo>
                    <a:pt x="912229" y="204990"/>
                  </a:lnTo>
                  <a:lnTo>
                    <a:pt x="912318" y="206324"/>
                  </a:lnTo>
                  <a:lnTo>
                    <a:pt x="912318" y="204292"/>
                  </a:lnTo>
                  <a:lnTo>
                    <a:pt x="912318" y="206324"/>
                  </a:lnTo>
                  <a:lnTo>
                    <a:pt x="912318" y="204990"/>
                  </a:lnTo>
                  <a:lnTo>
                    <a:pt x="912368" y="206324"/>
                  </a:lnTo>
                  <a:lnTo>
                    <a:pt x="912368" y="204292"/>
                  </a:lnTo>
                  <a:lnTo>
                    <a:pt x="912368" y="204990"/>
                  </a:lnTo>
                  <a:lnTo>
                    <a:pt x="912368" y="204292"/>
                  </a:lnTo>
                  <a:lnTo>
                    <a:pt x="912368" y="204990"/>
                  </a:lnTo>
                  <a:lnTo>
                    <a:pt x="912419" y="204292"/>
                  </a:lnTo>
                  <a:lnTo>
                    <a:pt x="912419" y="203594"/>
                  </a:lnTo>
                  <a:lnTo>
                    <a:pt x="912419" y="204292"/>
                  </a:lnTo>
                  <a:lnTo>
                    <a:pt x="912419" y="203594"/>
                  </a:lnTo>
                  <a:lnTo>
                    <a:pt x="912470" y="203594"/>
                  </a:lnTo>
                  <a:lnTo>
                    <a:pt x="912470" y="202959"/>
                  </a:lnTo>
                  <a:lnTo>
                    <a:pt x="912470" y="203594"/>
                  </a:lnTo>
                  <a:lnTo>
                    <a:pt x="912470" y="202959"/>
                  </a:lnTo>
                  <a:lnTo>
                    <a:pt x="912470" y="204990"/>
                  </a:lnTo>
                  <a:lnTo>
                    <a:pt x="912572" y="204292"/>
                  </a:lnTo>
                  <a:lnTo>
                    <a:pt x="912572" y="203594"/>
                  </a:lnTo>
                  <a:lnTo>
                    <a:pt x="912572" y="207022"/>
                  </a:lnTo>
                  <a:lnTo>
                    <a:pt x="912572" y="204990"/>
                  </a:lnTo>
                  <a:lnTo>
                    <a:pt x="912622" y="204990"/>
                  </a:lnTo>
                  <a:lnTo>
                    <a:pt x="912622" y="204292"/>
                  </a:lnTo>
                  <a:lnTo>
                    <a:pt x="912622" y="207022"/>
                  </a:lnTo>
                  <a:lnTo>
                    <a:pt x="912622" y="206324"/>
                  </a:lnTo>
                  <a:lnTo>
                    <a:pt x="912673" y="206324"/>
                  </a:lnTo>
                  <a:lnTo>
                    <a:pt x="912673" y="204990"/>
                  </a:lnTo>
                  <a:lnTo>
                    <a:pt x="912673" y="206324"/>
                  </a:lnTo>
                  <a:lnTo>
                    <a:pt x="912673" y="204990"/>
                  </a:lnTo>
                  <a:lnTo>
                    <a:pt x="912673" y="207022"/>
                  </a:lnTo>
                  <a:lnTo>
                    <a:pt x="912673" y="206324"/>
                  </a:lnTo>
                  <a:lnTo>
                    <a:pt x="912775" y="206324"/>
                  </a:lnTo>
                  <a:lnTo>
                    <a:pt x="912775" y="207022"/>
                  </a:lnTo>
                  <a:lnTo>
                    <a:pt x="912775" y="206324"/>
                  </a:lnTo>
                  <a:lnTo>
                    <a:pt x="912813" y="206324"/>
                  </a:lnTo>
                  <a:lnTo>
                    <a:pt x="912813" y="204990"/>
                  </a:lnTo>
                  <a:lnTo>
                    <a:pt x="912813" y="206324"/>
                  </a:lnTo>
                  <a:lnTo>
                    <a:pt x="912813" y="204990"/>
                  </a:lnTo>
                  <a:lnTo>
                    <a:pt x="912813" y="206324"/>
                  </a:lnTo>
                  <a:lnTo>
                    <a:pt x="912813" y="204990"/>
                  </a:lnTo>
                  <a:lnTo>
                    <a:pt x="912864" y="204990"/>
                  </a:lnTo>
                  <a:lnTo>
                    <a:pt x="912864" y="204292"/>
                  </a:lnTo>
                  <a:lnTo>
                    <a:pt x="912864" y="204990"/>
                  </a:lnTo>
                  <a:lnTo>
                    <a:pt x="912864" y="204292"/>
                  </a:lnTo>
                  <a:lnTo>
                    <a:pt x="912915" y="204292"/>
                  </a:lnTo>
                  <a:lnTo>
                    <a:pt x="912915" y="202260"/>
                  </a:lnTo>
                  <a:lnTo>
                    <a:pt x="913016" y="202260"/>
                  </a:lnTo>
                  <a:lnTo>
                    <a:pt x="913016" y="200876"/>
                  </a:lnTo>
                  <a:lnTo>
                    <a:pt x="913016" y="204292"/>
                  </a:lnTo>
                  <a:lnTo>
                    <a:pt x="913016" y="202959"/>
                  </a:lnTo>
                  <a:lnTo>
                    <a:pt x="913067" y="202260"/>
                  </a:lnTo>
                  <a:lnTo>
                    <a:pt x="913067" y="204292"/>
                  </a:lnTo>
                  <a:lnTo>
                    <a:pt x="913067" y="202959"/>
                  </a:lnTo>
                  <a:lnTo>
                    <a:pt x="913118" y="202959"/>
                  </a:lnTo>
                  <a:lnTo>
                    <a:pt x="913118" y="204990"/>
                  </a:lnTo>
                  <a:lnTo>
                    <a:pt x="913118" y="204292"/>
                  </a:lnTo>
                  <a:lnTo>
                    <a:pt x="913118" y="204990"/>
                  </a:lnTo>
                  <a:lnTo>
                    <a:pt x="913118" y="204292"/>
                  </a:lnTo>
                  <a:lnTo>
                    <a:pt x="913219" y="204292"/>
                  </a:lnTo>
                  <a:lnTo>
                    <a:pt x="913219" y="206324"/>
                  </a:lnTo>
                  <a:lnTo>
                    <a:pt x="913219" y="204990"/>
                  </a:lnTo>
                  <a:lnTo>
                    <a:pt x="913270" y="204990"/>
                  </a:lnTo>
                  <a:lnTo>
                    <a:pt x="913270" y="206324"/>
                  </a:lnTo>
                  <a:lnTo>
                    <a:pt x="913270" y="204990"/>
                  </a:lnTo>
                  <a:lnTo>
                    <a:pt x="913270" y="206324"/>
                  </a:lnTo>
                  <a:lnTo>
                    <a:pt x="913270" y="204990"/>
                  </a:lnTo>
                  <a:lnTo>
                    <a:pt x="913321" y="204990"/>
                  </a:lnTo>
                  <a:lnTo>
                    <a:pt x="913321" y="206324"/>
                  </a:lnTo>
                  <a:lnTo>
                    <a:pt x="913321" y="204990"/>
                  </a:lnTo>
                  <a:lnTo>
                    <a:pt x="913321" y="206324"/>
                  </a:lnTo>
                  <a:lnTo>
                    <a:pt x="913321" y="204990"/>
                  </a:lnTo>
                  <a:lnTo>
                    <a:pt x="913321" y="206324"/>
                  </a:lnTo>
                  <a:lnTo>
                    <a:pt x="913321" y="204990"/>
                  </a:lnTo>
                  <a:lnTo>
                    <a:pt x="913321" y="206324"/>
                  </a:lnTo>
                  <a:lnTo>
                    <a:pt x="913359" y="206324"/>
                  </a:lnTo>
                  <a:lnTo>
                    <a:pt x="913359" y="204292"/>
                  </a:lnTo>
                  <a:lnTo>
                    <a:pt x="913461" y="204292"/>
                  </a:lnTo>
                  <a:lnTo>
                    <a:pt x="913461" y="202959"/>
                  </a:lnTo>
                  <a:lnTo>
                    <a:pt x="913512" y="202959"/>
                  </a:lnTo>
                  <a:lnTo>
                    <a:pt x="913512" y="204292"/>
                  </a:lnTo>
                  <a:lnTo>
                    <a:pt x="913512" y="202959"/>
                  </a:lnTo>
                  <a:lnTo>
                    <a:pt x="913512" y="203594"/>
                  </a:lnTo>
                  <a:lnTo>
                    <a:pt x="913562" y="204292"/>
                  </a:lnTo>
                  <a:lnTo>
                    <a:pt x="913562" y="206324"/>
                  </a:lnTo>
                  <a:lnTo>
                    <a:pt x="913562" y="203594"/>
                  </a:lnTo>
                  <a:lnTo>
                    <a:pt x="913562" y="204292"/>
                  </a:lnTo>
                  <a:lnTo>
                    <a:pt x="913664" y="204292"/>
                  </a:lnTo>
                  <a:lnTo>
                    <a:pt x="913664" y="204990"/>
                  </a:lnTo>
                  <a:lnTo>
                    <a:pt x="913664" y="204292"/>
                  </a:lnTo>
                  <a:lnTo>
                    <a:pt x="913664" y="204990"/>
                  </a:lnTo>
                  <a:lnTo>
                    <a:pt x="913715" y="204990"/>
                  </a:lnTo>
                  <a:lnTo>
                    <a:pt x="913715" y="206324"/>
                  </a:lnTo>
                  <a:lnTo>
                    <a:pt x="913715" y="204990"/>
                  </a:lnTo>
                  <a:lnTo>
                    <a:pt x="913766" y="206324"/>
                  </a:lnTo>
                  <a:lnTo>
                    <a:pt x="913766" y="204990"/>
                  </a:lnTo>
                  <a:lnTo>
                    <a:pt x="913766" y="206324"/>
                  </a:lnTo>
                  <a:lnTo>
                    <a:pt x="913766" y="204990"/>
                  </a:lnTo>
                  <a:lnTo>
                    <a:pt x="913766" y="206324"/>
                  </a:lnTo>
                  <a:lnTo>
                    <a:pt x="913816" y="204990"/>
                  </a:lnTo>
                  <a:lnTo>
                    <a:pt x="913816" y="204292"/>
                  </a:lnTo>
                  <a:lnTo>
                    <a:pt x="913816" y="204990"/>
                  </a:lnTo>
                  <a:lnTo>
                    <a:pt x="913816" y="204292"/>
                  </a:lnTo>
                  <a:lnTo>
                    <a:pt x="913816" y="204990"/>
                  </a:lnTo>
                  <a:lnTo>
                    <a:pt x="913816" y="204292"/>
                  </a:lnTo>
                  <a:lnTo>
                    <a:pt x="913816" y="204990"/>
                  </a:lnTo>
                  <a:lnTo>
                    <a:pt x="913905" y="204990"/>
                  </a:lnTo>
                  <a:lnTo>
                    <a:pt x="913905" y="204292"/>
                  </a:lnTo>
                  <a:lnTo>
                    <a:pt x="913956" y="204292"/>
                  </a:lnTo>
                  <a:lnTo>
                    <a:pt x="913956" y="202260"/>
                  </a:lnTo>
                  <a:lnTo>
                    <a:pt x="914007" y="202260"/>
                  </a:lnTo>
                  <a:lnTo>
                    <a:pt x="914007" y="203594"/>
                  </a:lnTo>
                  <a:lnTo>
                    <a:pt x="914007" y="202959"/>
                  </a:lnTo>
                  <a:lnTo>
                    <a:pt x="914007" y="203594"/>
                  </a:lnTo>
                  <a:lnTo>
                    <a:pt x="914007" y="200876"/>
                  </a:lnTo>
                  <a:lnTo>
                    <a:pt x="914007" y="202959"/>
                  </a:lnTo>
                  <a:lnTo>
                    <a:pt x="914058" y="202959"/>
                  </a:lnTo>
                  <a:lnTo>
                    <a:pt x="914058" y="204292"/>
                  </a:lnTo>
                  <a:lnTo>
                    <a:pt x="914058" y="202959"/>
                  </a:lnTo>
                  <a:lnTo>
                    <a:pt x="914058" y="204292"/>
                  </a:lnTo>
                  <a:lnTo>
                    <a:pt x="914159" y="204292"/>
                  </a:lnTo>
                  <a:lnTo>
                    <a:pt x="914159" y="203594"/>
                  </a:lnTo>
                  <a:lnTo>
                    <a:pt x="914159" y="204292"/>
                  </a:lnTo>
                  <a:lnTo>
                    <a:pt x="914210" y="204990"/>
                  </a:lnTo>
                  <a:lnTo>
                    <a:pt x="914210" y="204292"/>
                  </a:lnTo>
                  <a:lnTo>
                    <a:pt x="914210" y="204990"/>
                  </a:lnTo>
                  <a:lnTo>
                    <a:pt x="914210" y="204292"/>
                  </a:lnTo>
                  <a:lnTo>
                    <a:pt x="914210" y="204990"/>
                  </a:lnTo>
                  <a:lnTo>
                    <a:pt x="914261" y="204990"/>
                  </a:lnTo>
                  <a:lnTo>
                    <a:pt x="914261" y="206324"/>
                  </a:lnTo>
                  <a:lnTo>
                    <a:pt x="914261" y="204990"/>
                  </a:lnTo>
                  <a:lnTo>
                    <a:pt x="914261" y="206324"/>
                  </a:lnTo>
                  <a:lnTo>
                    <a:pt x="914261" y="204990"/>
                  </a:lnTo>
                  <a:lnTo>
                    <a:pt x="914261" y="206324"/>
                  </a:lnTo>
                  <a:lnTo>
                    <a:pt x="914362" y="206324"/>
                  </a:lnTo>
                  <a:lnTo>
                    <a:pt x="914362" y="204990"/>
                  </a:lnTo>
                  <a:lnTo>
                    <a:pt x="914362" y="206324"/>
                  </a:lnTo>
                  <a:lnTo>
                    <a:pt x="914362" y="204990"/>
                  </a:lnTo>
                  <a:lnTo>
                    <a:pt x="914362" y="206324"/>
                  </a:lnTo>
                  <a:lnTo>
                    <a:pt x="914362" y="204990"/>
                  </a:lnTo>
                  <a:lnTo>
                    <a:pt x="914401" y="204990"/>
                  </a:lnTo>
                  <a:lnTo>
                    <a:pt x="914401" y="204292"/>
                  </a:lnTo>
                  <a:lnTo>
                    <a:pt x="914451" y="204292"/>
                  </a:lnTo>
                  <a:lnTo>
                    <a:pt x="914451" y="202959"/>
                  </a:lnTo>
                  <a:lnTo>
                    <a:pt x="914451" y="203594"/>
                  </a:lnTo>
                  <a:lnTo>
                    <a:pt x="914451" y="200876"/>
                  </a:lnTo>
                  <a:lnTo>
                    <a:pt x="914502" y="202260"/>
                  </a:lnTo>
                  <a:lnTo>
                    <a:pt x="914502" y="202959"/>
                  </a:lnTo>
                  <a:lnTo>
                    <a:pt x="914502" y="202260"/>
                  </a:lnTo>
                  <a:lnTo>
                    <a:pt x="914502" y="202959"/>
                  </a:lnTo>
                  <a:lnTo>
                    <a:pt x="914604" y="202959"/>
                  </a:lnTo>
                  <a:lnTo>
                    <a:pt x="914604" y="203594"/>
                  </a:lnTo>
                  <a:lnTo>
                    <a:pt x="914604" y="202959"/>
                  </a:lnTo>
                  <a:lnTo>
                    <a:pt x="914604" y="203594"/>
                  </a:lnTo>
                  <a:lnTo>
                    <a:pt x="914604" y="202959"/>
                  </a:lnTo>
                  <a:lnTo>
                    <a:pt x="914604" y="203594"/>
                  </a:lnTo>
                  <a:lnTo>
                    <a:pt x="914655" y="203594"/>
                  </a:lnTo>
                  <a:lnTo>
                    <a:pt x="914655" y="204292"/>
                  </a:lnTo>
                  <a:lnTo>
                    <a:pt x="914655" y="202959"/>
                  </a:lnTo>
                  <a:lnTo>
                    <a:pt x="914655" y="203594"/>
                  </a:lnTo>
                  <a:lnTo>
                    <a:pt x="914705" y="203594"/>
                  </a:lnTo>
                  <a:lnTo>
                    <a:pt x="914705" y="204292"/>
                  </a:lnTo>
                  <a:lnTo>
                    <a:pt x="914705" y="203594"/>
                  </a:lnTo>
                  <a:lnTo>
                    <a:pt x="914705" y="204292"/>
                  </a:lnTo>
                  <a:lnTo>
                    <a:pt x="914807" y="204292"/>
                  </a:lnTo>
                  <a:lnTo>
                    <a:pt x="914807" y="204990"/>
                  </a:lnTo>
                  <a:lnTo>
                    <a:pt x="914807" y="204292"/>
                  </a:lnTo>
                  <a:lnTo>
                    <a:pt x="914858" y="204292"/>
                  </a:lnTo>
                  <a:lnTo>
                    <a:pt x="914858" y="204990"/>
                  </a:lnTo>
                  <a:lnTo>
                    <a:pt x="914858" y="204292"/>
                  </a:lnTo>
                  <a:lnTo>
                    <a:pt x="914858" y="204990"/>
                  </a:lnTo>
                  <a:lnTo>
                    <a:pt x="914908" y="204990"/>
                  </a:lnTo>
                  <a:lnTo>
                    <a:pt x="914908" y="204292"/>
                  </a:lnTo>
                  <a:lnTo>
                    <a:pt x="914908" y="204990"/>
                  </a:lnTo>
                  <a:lnTo>
                    <a:pt x="914908" y="203594"/>
                  </a:lnTo>
                  <a:lnTo>
                    <a:pt x="914947" y="203594"/>
                  </a:lnTo>
                  <a:lnTo>
                    <a:pt x="914947" y="202959"/>
                  </a:lnTo>
                  <a:lnTo>
                    <a:pt x="914947" y="203594"/>
                  </a:lnTo>
                  <a:lnTo>
                    <a:pt x="914947" y="200876"/>
                  </a:lnTo>
                  <a:lnTo>
                    <a:pt x="915048" y="200876"/>
                  </a:lnTo>
                  <a:lnTo>
                    <a:pt x="915048" y="202959"/>
                  </a:lnTo>
                  <a:lnTo>
                    <a:pt x="915048" y="200876"/>
                  </a:lnTo>
                  <a:lnTo>
                    <a:pt x="915099" y="200876"/>
                  </a:lnTo>
                  <a:lnTo>
                    <a:pt x="915099" y="203594"/>
                  </a:lnTo>
                  <a:lnTo>
                    <a:pt x="915099" y="202260"/>
                  </a:lnTo>
                  <a:lnTo>
                    <a:pt x="915150" y="202260"/>
                  </a:lnTo>
                  <a:lnTo>
                    <a:pt x="915150" y="203594"/>
                  </a:lnTo>
                  <a:lnTo>
                    <a:pt x="915150" y="202260"/>
                  </a:lnTo>
                  <a:lnTo>
                    <a:pt x="915150" y="202959"/>
                  </a:lnTo>
                  <a:lnTo>
                    <a:pt x="915251" y="202959"/>
                  </a:lnTo>
                  <a:lnTo>
                    <a:pt x="915251" y="203594"/>
                  </a:lnTo>
                  <a:lnTo>
                    <a:pt x="915251" y="202959"/>
                  </a:lnTo>
                  <a:lnTo>
                    <a:pt x="915251" y="203594"/>
                  </a:lnTo>
                  <a:lnTo>
                    <a:pt x="915251" y="202959"/>
                  </a:lnTo>
                  <a:lnTo>
                    <a:pt x="915251" y="204292"/>
                  </a:lnTo>
                  <a:lnTo>
                    <a:pt x="915302" y="204292"/>
                  </a:lnTo>
                  <a:lnTo>
                    <a:pt x="915302" y="204990"/>
                  </a:lnTo>
                  <a:lnTo>
                    <a:pt x="915302" y="203594"/>
                  </a:lnTo>
                  <a:lnTo>
                    <a:pt x="915302" y="204990"/>
                  </a:lnTo>
                  <a:lnTo>
                    <a:pt x="915302" y="204292"/>
                  </a:lnTo>
                  <a:lnTo>
                    <a:pt x="915353" y="204292"/>
                  </a:lnTo>
                  <a:lnTo>
                    <a:pt x="915353" y="204990"/>
                  </a:lnTo>
                  <a:lnTo>
                    <a:pt x="915353" y="204292"/>
                  </a:lnTo>
                  <a:lnTo>
                    <a:pt x="915353" y="204990"/>
                  </a:lnTo>
                  <a:lnTo>
                    <a:pt x="915353" y="204292"/>
                  </a:lnTo>
                  <a:lnTo>
                    <a:pt x="915353" y="204990"/>
                  </a:lnTo>
                  <a:lnTo>
                    <a:pt x="915404" y="204990"/>
                  </a:lnTo>
                  <a:lnTo>
                    <a:pt x="915404" y="204292"/>
                  </a:lnTo>
                  <a:lnTo>
                    <a:pt x="915493" y="204292"/>
                  </a:lnTo>
                  <a:lnTo>
                    <a:pt x="915493" y="202260"/>
                  </a:lnTo>
                  <a:lnTo>
                    <a:pt x="915493" y="202959"/>
                  </a:lnTo>
                  <a:lnTo>
                    <a:pt x="915543" y="202260"/>
                  </a:lnTo>
                  <a:lnTo>
                    <a:pt x="915543" y="202959"/>
                  </a:lnTo>
                  <a:lnTo>
                    <a:pt x="915543" y="202260"/>
                  </a:lnTo>
                  <a:lnTo>
                    <a:pt x="915543" y="202959"/>
                  </a:lnTo>
                  <a:lnTo>
                    <a:pt x="915543" y="202260"/>
                  </a:lnTo>
                  <a:lnTo>
                    <a:pt x="915594" y="202260"/>
                  </a:lnTo>
                  <a:lnTo>
                    <a:pt x="915594" y="204292"/>
                  </a:lnTo>
                  <a:lnTo>
                    <a:pt x="915594" y="202959"/>
                  </a:lnTo>
                  <a:lnTo>
                    <a:pt x="915594" y="203594"/>
                  </a:lnTo>
                  <a:lnTo>
                    <a:pt x="915645" y="202959"/>
                  </a:lnTo>
                  <a:lnTo>
                    <a:pt x="915645" y="204292"/>
                  </a:lnTo>
                  <a:lnTo>
                    <a:pt x="915645" y="203594"/>
                  </a:lnTo>
                  <a:lnTo>
                    <a:pt x="915645" y="204292"/>
                  </a:lnTo>
                  <a:lnTo>
                    <a:pt x="915645" y="202959"/>
                  </a:lnTo>
                  <a:lnTo>
                    <a:pt x="915645" y="203594"/>
                  </a:lnTo>
                  <a:lnTo>
                    <a:pt x="915645" y="202959"/>
                  </a:lnTo>
                  <a:lnTo>
                    <a:pt x="915645" y="203594"/>
                  </a:lnTo>
                  <a:lnTo>
                    <a:pt x="915747" y="203594"/>
                  </a:lnTo>
                  <a:lnTo>
                    <a:pt x="915747" y="202959"/>
                  </a:lnTo>
                  <a:lnTo>
                    <a:pt x="915747" y="204292"/>
                  </a:lnTo>
                  <a:lnTo>
                    <a:pt x="915747" y="203594"/>
                  </a:lnTo>
                  <a:lnTo>
                    <a:pt x="915797" y="203594"/>
                  </a:lnTo>
                  <a:lnTo>
                    <a:pt x="915797" y="204292"/>
                  </a:lnTo>
                  <a:lnTo>
                    <a:pt x="915848" y="204292"/>
                  </a:lnTo>
                  <a:lnTo>
                    <a:pt x="915848" y="203594"/>
                  </a:lnTo>
                  <a:lnTo>
                    <a:pt x="915848" y="204292"/>
                  </a:lnTo>
                  <a:lnTo>
                    <a:pt x="915848" y="203594"/>
                  </a:lnTo>
                  <a:lnTo>
                    <a:pt x="915848" y="204292"/>
                  </a:lnTo>
                  <a:lnTo>
                    <a:pt x="915950" y="204292"/>
                  </a:lnTo>
                  <a:lnTo>
                    <a:pt x="915950" y="203594"/>
                  </a:lnTo>
                  <a:lnTo>
                    <a:pt x="915950" y="204292"/>
                  </a:lnTo>
                  <a:lnTo>
                    <a:pt x="915950" y="203594"/>
                  </a:lnTo>
                  <a:lnTo>
                    <a:pt x="915988" y="203594"/>
                  </a:lnTo>
                  <a:lnTo>
                    <a:pt x="915988" y="202959"/>
                  </a:lnTo>
                  <a:lnTo>
                    <a:pt x="915988" y="203594"/>
                  </a:lnTo>
                  <a:lnTo>
                    <a:pt x="915988" y="202959"/>
                  </a:lnTo>
                  <a:lnTo>
                    <a:pt x="915988" y="203594"/>
                  </a:lnTo>
                  <a:lnTo>
                    <a:pt x="915988" y="202260"/>
                  </a:lnTo>
                  <a:lnTo>
                    <a:pt x="915988" y="204292"/>
                  </a:lnTo>
                  <a:lnTo>
                    <a:pt x="916039" y="204292"/>
                  </a:lnTo>
                  <a:lnTo>
                    <a:pt x="916039" y="202959"/>
                  </a:lnTo>
                  <a:lnTo>
                    <a:pt x="916039" y="206324"/>
                  </a:lnTo>
                  <a:lnTo>
                    <a:pt x="916090" y="206324"/>
                  </a:lnTo>
                  <a:lnTo>
                    <a:pt x="916090" y="203594"/>
                  </a:lnTo>
                  <a:lnTo>
                    <a:pt x="916090" y="206324"/>
                  </a:lnTo>
                  <a:lnTo>
                    <a:pt x="916191" y="204990"/>
                  </a:lnTo>
                  <a:lnTo>
                    <a:pt x="916191" y="204292"/>
                  </a:lnTo>
                  <a:lnTo>
                    <a:pt x="916191" y="206324"/>
                  </a:lnTo>
                  <a:lnTo>
                    <a:pt x="916242" y="204990"/>
                  </a:lnTo>
                  <a:lnTo>
                    <a:pt x="916242" y="204292"/>
                  </a:lnTo>
                  <a:lnTo>
                    <a:pt x="916242" y="204990"/>
                  </a:lnTo>
                  <a:lnTo>
                    <a:pt x="916293" y="204990"/>
                  </a:lnTo>
                  <a:lnTo>
                    <a:pt x="916293" y="206324"/>
                  </a:lnTo>
                  <a:lnTo>
                    <a:pt x="916293" y="204990"/>
                  </a:lnTo>
                  <a:lnTo>
                    <a:pt x="916394" y="204990"/>
                  </a:lnTo>
                  <a:lnTo>
                    <a:pt x="916394" y="204292"/>
                  </a:lnTo>
                  <a:lnTo>
                    <a:pt x="916445" y="204292"/>
                  </a:lnTo>
                  <a:lnTo>
                    <a:pt x="916445" y="202959"/>
                  </a:lnTo>
                  <a:lnTo>
                    <a:pt x="916445" y="203594"/>
                  </a:lnTo>
                  <a:lnTo>
                    <a:pt x="916496" y="202959"/>
                  </a:lnTo>
                  <a:lnTo>
                    <a:pt x="916496" y="202260"/>
                  </a:lnTo>
                  <a:lnTo>
                    <a:pt x="916496" y="204990"/>
                  </a:lnTo>
                  <a:lnTo>
                    <a:pt x="916496" y="203594"/>
                  </a:lnTo>
                  <a:lnTo>
                    <a:pt x="916534" y="203594"/>
                  </a:lnTo>
                  <a:lnTo>
                    <a:pt x="916534" y="202959"/>
                  </a:lnTo>
                  <a:lnTo>
                    <a:pt x="916534" y="206324"/>
                  </a:lnTo>
                  <a:lnTo>
                    <a:pt x="916534" y="204292"/>
                  </a:lnTo>
                  <a:lnTo>
                    <a:pt x="916636" y="204292"/>
                  </a:lnTo>
                  <a:lnTo>
                    <a:pt x="916636" y="206324"/>
                  </a:lnTo>
                  <a:lnTo>
                    <a:pt x="916636" y="204990"/>
                  </a:lnTo>
                  <a:lnTo>
                    <a:pt x="916687" y="204990"/>
                  </a:lnTo>
                  <a:lnTo>
                    <a:pt x="916687" y="206324"/>
                  </a:lnTo>
                  <a:lnTo>
                    <a:pt x="916687" y="204990"/>
                  </a:lnTo>
                  <a:lnTo>
                    <a:pt x="916687" y="206324"/>
                  </a:lnTo>
                  <a:lnTo>
                    <a:pt x="916687" y="204990"/>
                  </a:lnTo>
                  <a:lnTo>
                    <a:pt x="916737" y="206324"/>
                  </a:lnTo>
                  <a:lnTo>
                    <a:pt x="916737" y="204990"/>
                  </a:lnTo>
                  <a:lnTo>
                    <a:pt x="916737" y="206324"/>
                  </a:lnTo>
                  <a:lnTo>
                    <a:pt x="916737" y="204990"/>
                  </a:lnTo>
                  <a:lnTo>
                    <a:pt x="916839" y="206324"/>
                  </a:lnTo>
                  <a:lnTo>
                    <a:pt x="916839" y="204990"/>
                  </a:lnTo>
                  <a:lnTo>
                    <a:pt x="916839" y="206324"/>
                  </a:lnTo>
                  <a:lnTo>
                    <a:pt x="916839" y="204990"/>
                  </a:lnTo>
                  <a:lnTo>
                    <a:pt x="916839" y="206324"/>
                  </a:lnTo>
                  <a:lnTo>
                    <a:pt x="916839" y="204990"/>
                  </a:lnTo>
                  <a:lnTo>
                    <a:pt x="916890" y="204292"/>
                  </a:lnTo>
                  <a:lnTo>
                    <a:pt x="916890" y="204990"/>
                  </a:lnTo>
                  <a:lnTo>
                    <a:pt x="916890" y="203594"/>
                  </a:lnTo>
                  <a:lnTo>
                    <a:pt x="916890" y="204292"/>
                  </a:lnTo>
                  <a:lnTo>
                    <a:pt x="916941" y="203594"/>
                  </a:lnTo>
                  <a:lnTo>
                    <a:pt x="916941" y="204292"/>
                  </a:lnTo>
                  <a:lnTo>
                    <a:pt x="916941" y="202260"/>
                  </a:lnTo>
                  <a:lnTo>
                    <a:pt x="916991" y="202260"/>
                  </a:lnTo>
                  <a:lnTo>
                    <a:pt x="916991" y="200876"/>
                  </a:lnTo>
                  <a:lnTo>
                    <a:pt x="916991" y="203594"/>
                  </a:lnTo>
                  <a:lnTo>
                    <a:pt x="916991" y="202260"/>
                  </a:lnTo>
                  <a:lnTo>
                    <a:pt x="917080" y="202260"/>
                  </a:lnTo>
                  <a:lnTo>
                    <a:pt x="917080" y="204990"/>
                  </a:lnTo>
                  <a:lnTo>
                    <a:pt x="917080" y="203594"/>
                  </a:lnTo>
                  <a:lnTo>
                    <a:pt x="917131" y="202959"/>
                  </a:lnTo>
                  <a:lnTo>
                    <a:pt x="917131" y="204292"/>
                  </a:lnTo>
                  <a:lnTo>
                    <a:pt x="917182" y="204292"/>
                  </a:lnTo>
                  <a:lnTo>
                    <a:pt x="917182" y="204990"/>
                  </a:lnTo>
                  <a:lnTo>
                    <a:pt x="917182" y="204292"/>
                  </a:lnTo>
                  <a:lnTo>
                    <a:pt x="917182" y="206324"/>
                  </a:lnTo>
                  <a:lnTo>
                    <a:pt x="917233" y="204990"/>
                  </a:lnTo>
                  <a:lnTo>
                    <a:pt x="917233" y="206324"/>
                  </a:lnTo>
                  <a:lnTo>
                    <a:pt x="917233" y="204990"/>
                  </a:lnTo>
                  <a:lnTo>
                    <a:pt x="917233" y="206324"/>
                  </a:lnTo>
                  <a:lnTo>
                    <a:pt x="917334" y="206324"/>
                  </a:lnTo>
                  <a:lnTo>
                    <a:pt x="917334" y="204990"/>
                  </a:lnTo>
                  <a:lnTo>
                    <a:pt x="917334" y="206324"/>
                  </a:lnTo>
                  <a:lnTo>
                    <a:pt x="917334" y="204990"/>
                  </a:lnTo>
                  <a:lnTo>
                    <a:pt x="917334" y="206324"/>
                  </a:lnTo>
                  <a:lnTo>
                    <a:pt x="917334" y="204990"/>
                  </a:lnTo>
                  <a:lnTo>
                    <a:pt x="917385" y="204990"/>
                  </a:lnTo>
                  <a:lnTo>
                    <a:pt x="917385" y="204292"/>
                  </a:lnTo>
                  <a:lnTo>
                    <a:pt x="917385" y="204990"/>
                  </a:lnTo>
                  <a:lnTo>
                    <a:pt x="917385" y="204292"/>
                  </a:lnTo>
                  <a:lnTo>
                    <a:pt x="917436" y="204292"/>
                  </a:lnTo>
                  <a:lnTo>
                    <a:pt x="917436" y="202260"/>
                  </a:lnTo>
                  <a:lnTo>
                    <a:pt x="917537" y="202260"/>
                  </a:lnTo>
                  <a:lnTo>
                    <a:pt x="917537" y="202959"/>
                  </a:lnTo>
                  <a:lnTo>
                    <a:pt x="917537" y="202260"/>
                  </a:lnTo>
                  <a:lnTo>
                    <a:pt x="917537" y="202959"/>
                  </a:lnTo>
                  <a:lnTo>
                    <a:pt x="917576" y="203594"/>
                  </a:lnTo>
                  <a:lnTo>
                    <a:pt x="917576" y="204292"/>
                  </a:lnTo>
                  <a:lnTo>
                    <a:pt x="917576" y="202959"/>
                  </a:lnTo>
                  <a:lnTo>
                    <a:pt x="917576" y="203594"/>
                  </a:lnTo>
                  <a:lnTo>
                    <a:pt x="917576" y="202959"/>
                  </a:lnTo>
                  <a:lnTo>
                    <a:pt x="917576" y="203594"/>
                  </a:lnTo>
                  <a:lnTo>
                    <a:pt x="917626" y="203594"/>
                  </a:lnTo>
                  <a:lnTo>
                    <a:pt x="917626" y="204292"/>
                  </a:lnTo>
                  <a:lnTo>
                    <a:pt x="917626" y="203594"/>
                  </a:lnTo>
                  <a:lnTo>
                    <a:pt x="917626" y="204292"/>
                  </a:lnTo>
                  <a:lnTo>
                    <a:pt x="917677" y="204292"/>
                  </a:lnTo>
                  <a:lnTo>
                    <a:pt x="917677" y="203594"/>
                  </a:lnTo>
                  <a:lnTo>
                    <a:pt x="917677" y="204292"/>
                  </a:lnTo>
                  <a:lnTo>
                    <a:pt x="917677" y="203594"/>
                  </a:lnTo>
                  <a:lnTo>
                    <a:pt x="917677" y="204292"/>
                  </a:lnTo>
                  <a:lnTo>
                    <a:pt x="917677" y="203594"/>
                  </a:lnTo>
                  <a:lnTo>
                    <a:pt x="917677" y="204292"/>
                  </a:lnTo>
                  <a:lnTo>
                    <a:pt x="917779" y="204292"/>
                  </a:lnTo>
                  <a:lnTo>
                    <a:pt x="917779" y="204990"/>
                  </a:lnTo>
                  <a:lnTo>
                    <a:pt x="917830" y="204990"/>
                  </a:lnTo>
                  <a:lnTo>
                    <a:pt x="917830" y="204292"/>
                  </a:lnTo>
                  <a:lnTo>
                    <a:pt x="917830" y="204990"/>
                  </a:lnTo>
                  <a:lnTo>
                    <a:pt x="917830" y="204292"/>
                  </a:lnTo>
                  <a:lnTo>
                    <a:pt x="917880" y="204292"/>
                  </a:lnTo>
                  <a:lnTo>
                    <a:pt x="917880" y="203594"/>
                  </a:lnTo>
                  <a:lnTo>
                    <a:pt x="917880" y="204292"/>
                  </a:lnTo>
                  <a:lnTo>
                    <a:pt x="917880" y="203594"/>
                  </a:lnTo>
                  <a:lnTo>
                    <a:pt x="917982" y="203594"/>
                  </a:lnTo>
                  <a:lnTo>
                    <a:pt x="917982" y="202959"/>
                  </a:lnTo>
                  <a:lnTo>
                    <a:pt x="917982" y="204990"/>
                  </a:lnTo>
                  <a:lnTo>
                    <a:pt x="917982" y="203594"/>
                  </a:lnTo>
                  <a:lnTo>
                    <a:pt x="918033" y="203594"/>
                  </a:lnTo>
                  <a:lnTo>
                    <a:pt x="918033" y="202959"/>
                  </a:lnTo>
                  <a:lnTo>
                    <a:pt x="918033" y="207022"/>
                  </a:lnTo>
                  <a:lnTo>
                    <a:pt x="918033" y="206324"/>
                  </a:lnTo>
                  <a:lnTo>
                    <a:pt x="918033" y="207022"/>
                  </a:lnTo>
                  <a:lnTo>
                    <a:pt x="918033" y="204990"/>
                  </a:lnTo>
                  <a:lnTo>
                    <a:pt x="918083" y="204990"/>
                  </a:lnTo>
                  <a:lnTo>
                    <a:pt x="918083" y="206324"/>
                  </a:lnTo>
                  <a:lnTo>
                    <a:pt x="918083" y="204292"/>
                  </a:lnTo>
                  <a:lnTo>
                    <a:pt x="918083" y="204990"/>
                  </a:lnTo>
                  <a:lnTo>
                    <a:pt x="918083" y="204292"/>
                  </a:lnTo>
                  <a:lnTo>
                    <a:pt x="918122" y="204990"/>
                  </a:lnTo>
                  <a:lnTo>
                    <a:pt x="918122" y="206324"/>
                  </a:lnTo>
                  <a:lnTo>
                    <a:pt x="918122" y="204990"/>
                  </a:lnTo>
                  <a:lnTo>
                    <a:pt x="918122" y="206324"/>
                  </a:lnTo>
                  <a:lnTo>
                    <a:pt x="918122" y="204990"/>
                  </a:lnTo>
                  <a:lnTo>
                    <a:pt x="918122" y="206324"/>
                  </a:lnTo>
                  <a:lnTo>
                    <a:pt x="918122" y="204990"/>
                  </a:lnTo>
                  <a:lnTo>
                    <a:pt x="918223" y="204990"/>
                  </a:lnTo>
                  <a:lnTo>
                    <a:pt x="918223" y="206324"/>
                  </a:lnTo>
                  <a:lnTo>
                    <a:pt x="918223" y="204990"/>
                  </a:lnTo>
                  <a:lnTo>
                    <a:pt x="918223" y="206324"/>
                  </a:lnTo>
                  <a:lnTo>
                    <a:pt x="918223" y="204990"/>
                  </a:lnTo>
                  <a:lnTo>
                    <a:pt x="918223" y="206324"/>
                  </a:lnTo>
                  <a:lnTo>
                    <a:pt x="918274" y="206324"/>
                  </a:lnTo>
                  <a:lnTo>
                    <a:pt x="918274" y="204990"/>
                  </a:lnTo>
                  <a:lnTo>
                    <a:pt x="918274" y="206324"/>
                  </a:lnTo>
                  <a:lnTo>
                    <a:pt x="918274" y="204990"/>
                  </a:lnTo>
                  <a:lnTo>
                    <a:pt x="918325" y="204990"/>
                  </a:lnTo>
                  <a:lnTo>
                    <a:pt x="918325" y="206324"/>
                  </a:lnTo>
                  <a:lnTo>
                    <a:pt x="918325" y="204292"/>
                  </a:lnTo>
                  <a:lnTo>
                    <a:pt x="918325" y="204990"/>
                  </a:lnTo>
                  <a:lnTo>
                    <a:pt x="918325" y="204292"/>
                  </a:lnTo>
                  <a:lnTo>
                    <a:pt x="918426" y="204990"/>
                  </a:lnTo>
                  <a:lnTo>
                    <a:pt x="918426" y="203594"/>
                  </a:lnTo>
                  <a:lnTo>
                    <a:pt x="918426" y="204292"/>
                  </a:lnTo>
                  <a:lnTo>
                    <a:pt x="918426" y="203594"/>
                  </a:lnTo>
                  <a:lnTo>
                    <a:pt x="918426" y="204292"/>
                  </a:lnTo>
                  <a:lnTo>
                    <a:pt x="918477" y="204990"/>
                  </a:lnTo>
                  <a:lnTo>
                    <a:pt x="918477" y="207022"/>
                  </a:lnTo>
                  <a:lnTo>
                    <a:pt x="918477" y="203594"/>
                  </a:lnTo>
                  <a:lnTo>
                    <a:pt x="918477" y="207721"/>
                  </a:lnTo>
                  <a:lnTo>
                    <a:pt x="918528" y="207721"/>
                  </a:lnTo>
                  <a:lnTo>
                    <a:pt x="918528" y="206324"/>
                  </a:lnTo>
                  <a:lnTo>
                    <a:pt x="918528" y="207721"/>
                  </a:lnTo>
                  <a:lnTo>
                    <a:pt x="918528" y="207022"/>
                  </a:lnTo>
                  <a:lnTo>
                    <a:pt x="918528" y="207721"/>
                  </a:lnTo>
                  <a:lnTo>
                    <a:pt x="918579" y="207721"/>
                  </a:lnTo>
                  <a:lnTo>
                    <a:pt x="918579" y="206324"/>
                  </a:lnTo>
                  <a:lnTo>
                    <a:pt x="918579" y="207022"/>
                  </a:lnTo>
                  <a:lnTo>
                    <a:pt x="918668" y="207022"/>
                  </a:lnTo>
                  <a:lnTo>
                    <a:pt x="918668" y="206324"/>
                  </a:lnTo>
                  <a:lnTo>
                    <a:pt x="918668" y="207022"/>
                  </a:lnTo>
                  <a:lnTo>
                    <a:pt x="918668" y="206324"/>
                  </a:lnTo>
                  <a:lnTo>
                    <a:pt x="918668" y="207022"/>
                  </a:lnTo>
                  <a:lnTo>
                    <a:pt x="918718" y="207022"/>
                  </a:lnTo>
                  <a:lnTo>
                    <a:pt x="918718" y="206324"/>
                  </a:lnTo>
                  <a:lnTo>
                    <a:pt x="918718" y="207022"/>
                  </a:lnTo>
                  <a:lnTo>
                    <a:pt x="918718" y="206324"/>
                  </a:lnTo>
                  <a:lnTo>
                    <a:pt x="918718" y="207022"/>
                  </a:lnTo>
                  <a:lnTo>
                    <a:pt x="918718" y="206324"/>
                  </a:lnTo>
                  <a:lnTo>
                    <a:pt x="918769" y="206324"/>
                  </a:lnTo>
                  <a:lnTo>
                    <a:pt x="918769" y="204990"/>
                  </a:lnTo>
                  <a:lnTo>
                    <a:pt x="918820" y="204990"/>
                  </a:lnTo>
                  <a:lnTo>
                    <a:pt x="918820" y="204292"/>
                  </a:lnTo>
                  <a:lnTo>
                    <a:pt x="918820" y="204990"/>
                  </a:lnTo>
                  <a:lnTo>
                    <a:pt x="918820" y="204292"/>
                  </a:lnTo>
                  <a:lnTo>
                    <a:pt x="918820" y="204990"/>
                  </a:lnTo>
                  <a:lnTo>
                    <a:pt x="918820" y="203594"/>
                  </a:lnTo>
                  <a:lnTo>
                    <a:pt x="918820" y="204292"/>
                  </a:lnTo>
                  <a:lnTo>
                    <a:pt x="918820" y="203594"/>
                  </a:lnTo>
                  <a:lnTo>
                    <a:pt x="918820" y="204292"/>
                  </a:lnTo>
                  <a:lnTo>
                    <a:pt x="918820" y="203594"/>
                  </a:lnTo>
                  <a:lnTo>
                    <a:pt x="918922" y="202959"/>
                  </a:lnTo>
                  <a:lnTo>
                    <a:pt x="918922" y="203594"/>
                  </a:lnTo>
                  <a:lnTo>
                    <a:pt x="918922" y="200876"/>
                  </a:lnTo>
                  <a:lnTo>
                    <a:pt x="918922" y="202260"/>
                  </a:lnTo>
                  <a:lnTo>
                    <a:pt x="918922" y="200876"/>
                  </a:lnTo>
                  <a:lnTo>
                    <a:pt x="918922" y="203594"/>
                  </a:lnTo>
                  <a:lnTo>
                    <a:pt x="918972" y="203594"/>
                  </a:lnTo>
                  <a:lnTo>
                    <a:pt x="918972" y="202260"/>
                  </a:lnTo>
                  <a:lnTo>
                    <a:pt x="918972" y="204990"/>
                  </a:lnTo>
                  <a:lnTo>
                    <a:pt x="918972" y="204292"/>
                  </a:lnTo>
                  <a:lnTo>
                    <a:pt x="918972" y="204990"/>
                  </a:lnTo>
                  <a:lnTo>
                    <a:pt x="919023" y="204292"/>
                  </a:lnTo>
                  <a:lnTo>
                    <a:pt x="919023" y="203594"/>
                  </a:lnTo>
                  <a:lnTo>
                    <a:pt x="919023" y="206324"/>
                  </a:lnTo>
                  <a:lnTo>
                    <a:pt x="919023" y="204990"/>
                  </a:lnTo>
                  <a:lnTo>
                    <a:pt x="919023" y="206324"/>
                  </a:lnTo>
                  <a:lnTo>
                    <a:pt x="919125" y="204990"/>
                  </a:lnTo>
                  <a:lnTo>
                    <a:pt x="919125" y="204292"/>
                  </a:lnTo>
                  <a:lnTo>
                    <a:pt x="919125" y="204990"/>
                  </a:lnTo>
                  <a:lnTo>
                    <a:pt x="919163" y="204990"/>
                  </a:lnTo>
                  <a:lnTo>
                    <a:pt x="919163" y="206324"/>
                  </a:lnTo>
                  <a:lnTo>
                    <a:pt x="919163" y="204990"/>
                  </a:lnTo>
                  <a:lnTo>
                    <a:pt x="919163" y="206324"/>
                  </a:lnTo>
                  <a:lnTo>
                    <a:pt x="919163" y="204990"/>
                  </a:lnTo>
                  <a:lnTo>
                    <a:pt x="919214" y="204990"/>
                  </a:lnTo>
                  <a:lnTo>
                    <a:pt x="919214" y="206324"/>
                  </a:lnTo>
                  <a:lnTo>
                    <a:pt x="919265" y="206324"/>
                  </a:lnTo>
                  <a:lnTo>
                    <a:pt x="919265" y="204990"/>
                  </a:lnTo>
                  <a:lnTo>
                    <a:pt x="919265" y="206324"/>
                  </a:lnTo>
                  <a:lnTo>
                    <a:pt x="919265" y="204990"/>
                  </a:lnTo>
                  <a:lnTo>
                    <a:pt x="919265" y="206324"/>
                  </a:lnTo>
                  <a:lnTo>
                    <a:pt x="919265" y="204292"/>
                  </a:lnTo>
                  <a:lnTo>
                    <a:pt x="919265" y="204990"/>
                  </a:lnTo>
                  <a:lnTo>
                    <a:pt x="919366" y="204990"/>
                  </a:lnTo>
                  <a:lnTo>
                    <a:pt x="919366" y="202959"/>
                  </a:lnTo>
                  <a:lnTo>
                    <a:pt x="919417" y="202959"/>
                  </a:lnTo>
                  <a:lnTo>
                    <a:pt x="919417" y="202260"/>
                  </a:lnTo>
                  <a:lnTo>
                    <a:pt x="919417" y="202959"/>
                  </a:lnTo>
                  <a:lnTo>
                    <a:pt x="919468" y="202959"/>
                  </a:lnTo>
                  <a:lnTo>
                    <a:pt x="919468" y="202260"/>
                  </a:lnTo>
                  <a:lnTo>
                    <a:pt x="919468" y="204292"/>
                  </a:lnTo>
                  <a:lnTo>
                    <a:pt x="919468" y="203594"/>
                  </a:lnTo>
                  <a:lnTo>
                    <a:pt x="919569" y="203594"/>
                  </a:lnTo>
                  <a:lnTo>
                    <a:pt x="919569" y="202959"/>
                  </a:lnTo>
                  <a:lnTo>
                    <a:pt x="919569" y="204292"/>
                  </a:lnTo>
                  <a:lnTo>
                    <a:pt x="919569" y="203594"/>
                  </a:lnTo>
                  <a:lnTo>
                    <a:pt x="919569" y="204292"/>
                  </a:lnTo>
                  <a:lnTo>
                    <a:pt x="919620" y="204292"/>
                  </a:lnTo>
                  <a:lnTo>
                    <a:pt x="919620" y="203594"/>
                  </a:lnTo>
                  <a:lnTo>
                    <a:pt x="919620" y="204990"/>
                  </a:lnTo>
                  <a:lnTo>
                    <a:pt x="919620" y="203594"/>
                  </a:lnTo>
                  <a:lnTo>
                    <a:pt x="919671" y="203594"/>
                  </a:lnTo>
                  <a:lnTo>
                    <a:pt x="919671" y="206324"/>
                  </a:lnTo>
                  <a:lnTo>
                    <a:pt x="919709" y="204990"/>
                  </a:lnTo>
                  <a:lnTo>
                    <a:pt x="919709" y="206324"/>
                  </a:lnTo>
                  <a:lnTo>
                    <a:pt x="919709" y="204990"/>
                  </a:lnTo>
                  <a:lnTo>
                    <a:pt x="919709" y="206324"/>
                  </a:lnTo>
                  <a:lnTo>
                    <a:pt x="919709" y="204990"/>
                  </a:lnTo>
                  <a:lnTo>
                    <a:pt x="919811" y="206324"/>
                  </a:lnTo>
                  <a:lnTo>
                    <a:pt x="919811" y="204990"/>
                  </a:lnTo>
                  <a:lnTo>
                    <a:pt x="919811" y="206324"/>
                  </a:lnTo>
                  <a:lnTo>
                    <a:pt x="919811" y="204990"/>
                  </a:lnTo>
                  <a:lnTo>
                    <a:pt x="919811" y="206324"/>
                  </a:lnTo>
                  <a:lnTo>
                    <a:pt x="919811" y="204990"/>
                  </a:lnTo>
                  <a:lnTo>
                    <a:pt x="919862" y="204990"/>
                  </a:lnTo>
                  <a:lnTo>
                    <a:pt x="919862" y="203594"/>
                  </a:lnTo>
                  <a:lnTo>
                    <a:pt x="919862" y="204292"/>
                  </a:lnTo>
                  <a:lnTo>
                    <a:pt x="919862" y="203594"/>
                  </a:lnTo>
                  <a:lnTo>
                    <a:pt x="919912" y="203594"/>
                  </a:lnTo>
                  <a:lnTo>
                    <a:pt x="919912" y="200876"/>
                  </a:lnTo>
                  <a:lnTo>
                    <a:pt x="919912" y="202959"/>
                  </a:lnTo>
                  <a:lnTo>
                    <a:pt x="920014" y="202959"/>
                  </a:lnTo>
                  <a:lnTo>
                    <a:pt x="920014" y="203594"/>
                  </a:lnTo>
                  <a:lnTo>
                    <a:pt x="920014" y="200228"/>
                  </a:lnTo>
                  <a:lnTo>
                    <a:pt x="920014" y="203594"/>
                  </a:lnTo>
                  <a:lnTo>
                    <a:pt x="920065" y="203594"/>
                  </a:lnTo>
                  <a:lnTo>
                    <a:pt x="920065" y="204292"/>
                  </a:lnTo>
                  <a:lnTo>
                    <a:pt x="920065" y="202959"/>
                  </a:lnTo>
                  <a:lnTo>
                    <a:pt x="920065" y="204292"/>
                  </a:lnTo>
                  <a:lnTo>
                    <a:pt x="920116" y="204292"/>
                  </a:lnTo>
                  <a:lnTo>
                    <a:pt x="920116" y="202959"/>
                  </a:lnTo>
                  <a:lnTo>
                    <a:pt x="920116" y="204292"/>
                  </a:lnTo>
                  <a:lnTo>
                    <a:pt x="920166" y="204292"/>
                  </a:lnTo>
                  <a:lnTo>
                    <a:pt x="920166" y="206324"/>
                  </a:lnTo>
                  <a:lnTo>
                    <a:pt x="920255" y="206324"/>
                  </a:lnTo>
                  <a:lnTo>
                    <a:pt x="920255" y="204990"/>
                  </a:lnTo>
                  <a:lnTo>
                    <a:pt x="920255" y="206324"/>
                  </a:lnTo>
                  <a:lnTo>
                    <a:pt x="920255" y="204990"/>
                  </a:lnTo>
                  <a:lnTo>
                    <a:pt x="920255" y="206324"/>
                  </a:lnTo>
                  <a:lnTo>
                    <a:pt x="920255" y="204990"/>
                  </a:lnTo>
                  <a:lnTo>
                    <a:pt x="920306" y="206324"/>
                  </a:lnTo>
                  <a:lnTo>
                    <a:pt x="920306" y="204990"/>
                  </a:lnTo>
                  <a:lnTo>
                    <a:pt x="920306" y="206324"/>
                  </a:lnTo>
                  <a:lnTo>
                    <a:pt x="920306" y="204990"/>
                  </a:lnTo>
                  <a:lnTo>
                    <a:pt x="920306" y="206324"/>
                  </a:lnTo>
                  <a:lnTo>
                    <a:pt x="920306" y="204990"/>
                  </a:lnTo>
                  <a:lnTo>
                    <a:pt x="920306" y="206324"/>
                  </a:lnTo>
                  <a:lnTo>
                    <a:pt x="920306" y="204990"/>
                  </a:lnTo>
                  <a:lnTo>
                    <a:pt x="920306" y="206324"/>
                  </a:lnTo>
                  <a:lnTo>
                    <a:pt x="920306" y="204990"/>
                  </a:lnTo>
                  <a:lnTo>
                    <a:pt x="920357" y="204990"/>
                  </a:lnTo>
                  <a:lnTo>
                    <a:pt x="920357" y="204292"/>
                  </a:lnTo>
                  <a:lnTo>
                    <a:pt x="920357" y="204990"/>
                  </a:lnTo>
                  <a:lnTo>
                    <a:pt x="920357" y="204292"/>
                  </a:lnTo>
                  <a:lnTo>
                    <a:pt x="920408" y="203594"/>
                  </a:lnTo>
                  <a:lnTo>
                    <a:pt x="920408" y="202260"/>
                  </a:lnTo>
                  <a:lnTo>
                    <a:pt x="920408" y="204292"/>
                  </a:lnTo>
                  <a:lnTo>
                    <a:pt x="920509" y="203594"/>
                  </a:lnTo>
                  <a:lnTo>
                    <a:pt x="920509" y="202260"/>
                  </a:lnTo>
                  <a:lnTo>
                    <a:pt x="920509" y="204292"/>
                  </a:lnTo>
                  <a:lnTo>
                    <a:pt x="920560" y="204292"/>
                  </a:lnTo>
                  <a:lnTo>
                    <a:pt x="920560" y="202959"/>
                  </a:lnTo>
                  <a:lnTo>
                    <a:pt x="920560" y="203594"/>
                  </a:lnTo>
                  <a:lnTo>
                    <a:pt x="920611" y="203594"/>
                  </a:lnTo>
                  <a:lnTo>
                    <a:pt x="920611" y="202959"/>
                  </a:lnTo>
                  <a:lnTo>
                    <a:pt x="920611" y="204292"/>
                  </a:lnTo>
                  <a:lnTo>
                    <a:pt x="920611" y="203594"/>
                  </a:lnTo>
                  <a:lnTo>
                    <a:pt x="920712" y="203594"/>
                  </a:lnTo>
                  <a:lnTo>
                    <a:pt x="920712" y="204292"/>
                  </a:lnTo>
                  <a:lnTo>
                    <a:pt x="920712" y="203594"/>
                  </a:lnTo>
                  <a:lnTo>
                    <a:pt x="920712" y="204292"/>
                  </a:lnTo>
                  <a:lnTo>
                    <a:pt x="920852" y="204292"/>
                  </a:lnTo>
                  <a:lnTo>
                    <a:pt x="920852" y="203594"/>
                  </a:lnTo>
                  <a:lnTo>
                    <a:pt x="920954" y="203594"/>
                  </a:lnTo>
                  <a:lnTo>
                    <a:pt x="920954" y="202959"/>
                  </a:lnTo>
                  <a:lnTo>
                    <a:pt x="920954" y="204292"/>
                  </a:lnTo>
                  <a:lnTo>
                    <a:pt x="920954" y="203594"/>
                  </a:lnTo>
                  <a:lnTo>
                    <a:pt x="920954" y="204292"/>
                  </a:lnTo>
                  <a:lnTo>
                    <a:pt x="920954" y="203594"/>
                  </a:lnTo>
                  <a:lnTo>
                    <a:pt x="921005" y="203594"/>
                  </a:lnTo>
                  <a:lnTo>
                    <a:pt x="921005" y="206324"/>
                  </a:lnTo>
                  <a:lnTo>
                    <a:pt x="921005" y="204292"/>
                  </a:lnTo>
                  <a:lnTo>
                    <a:pt x="921005" y="204990"/>
                  </a:lnTo>
                  <a:lnTo>
                    <a:pt x="921055" y="204990"/>
                  </a:lnTo>
                  <a:lnTo>
                    <a:pt x="921055" y="206324"/>
                  </a:lnTo>
                  <a:lnTo>
                    <a:pt x="921055" y="204292"/>
                  </a:lnTo>
                  <a:lnTo>
                    <a:pt x="921055" y="204990"/>
                  </a:lnTo>
                  <a:lnTo>
                    <a:pt x="921157" y="204990"/>
                  </a:lnTo>
                  <a:lnTo>
                    <a:pt x="921157" y="204292"/>
                  </a:lnTo>
                  <a:lnTo>
                    <a:pt x="921157" y="204990"/>
                  </a:lnTo>
                  <a:lnTo>
                    <a:pt x="921258" y="204990"/>
                  </a:lnTo>
                  <a:lnTo>
                    <a:pt x="921297" y="204292"/>
                  </a:lnTo>
                  <a:lnTo>
                    <a:pt x="921297" y="204990"/>
                  </a:lnTo>
                  <a:lnTo>
                    <a:pt x="921297" y="204292"/>
                  </a:lnTo>
                  <a:lnTo>
                    <a:pt x="921297" y="204990"/>
                  </a:lnTo>
                  <a:lnTo>
                    <a:pt x="921297" y="204292"/>
                  </a:lnTo>
                  <a:lnTo>
                    <a:pt x="921398" y="204292"/>
                  </a:lnTo>
                  <a:lnTo>
                    <a:pt x="921398" y="202959"/>
                  </a:lnTo>
                  <a:lnTo>
                    <a:pt x="921398" y="203594"/>
                  </a:lnTo>
                  <a:lnTo>
                    <a:pt x="921449" y="203594"/>
                  </a:lnTo>
                  <a:lnTo>
                    <a:pt x="921449" y="202959"/>
                  </a:lnTo>
                  <a:lnTo>
                    <a:pt x="921449" y="203594"/>
                  </a:lnTo>
                  <a:lnTo>
                    <a:pt x="921449" y="202959"/>
                  </a:lnTo>
                  <a:lnTo>
                    <a:pt x="921449" y="204292"/>
                  </a:lnTo>
                  <a:lnTo>
                    <a:pt x="921449" y="203594"/>
                  </a:lnTo>
                  <a:lnTo>
                    <a:pt x="921500" y="203594"/>
                  </a:lnTo>
                  <a:lnTo>
                    <a:pt x="921500" y="206324"/>
                  </a:lnTo>
                  <a:lnTo>
                    <a:pt x="921500" y="204292"/>
                  </a:lnTo>
                  <a:lnTo>
                    <a:pt x="921601" y="204292"/>
                  </a:lnTo>
                  <a:lnTo>
                    <a:pt x="921601" y="206324"/>
                  </a:lnTo>
                  <a:lnTo>
                    <a:pt x="921601" y="204990"/>
                  </a:lnTo>
                  <a:lnTo>
                    <a:pt x="921601" y="206324"/>
                  </a:lnTo>
                  <a:lnTo>
                    <a:pt x="921652" y="204990"/>
                  </a:lnTo>
                  <a:lnTo>
                    <a:pt x="921652" y="206324"/>
                  </a:lnTo>
                  <a:lnTo>
                    <a:pt x="921652" y="204990"/>
                  </a:lnTo>
                  <a:lnTo>
                    <a:pt x="921652" y="206324"/>
                  </a:lnTo>
                  <a:lnTo>
                    <a:pt x="921652" y="204990"/>
                  </a:lnTo>
                  <a:lnTo>
                    <a:pt x="921703" y="204990"/>
                  </a:lnTo>
                  <a:lnTo>
                    <a:pt x="921703" y="206324"/>
                  </a:lnTo>
                  <a:lnTo>
                    <a:pt x="921703" y="204990"/>
                  </a:lnTo>
                  <a:lnTo>
                    <a:pt x="921703" y="206324"/>
                  </a:lnTo>
                  <a:lnTo>
                    <a:pt x="921703" y="204990"/>
                  </a:lnTo>
                  <a:lnTo>
                    <a:pt x="921703" y="206324"/>
                  </a:lnTo>
                  <a:lnTo>
                    <a:pt x="921703" y="204990"/>
                  </a:lnTo>
                  <a:lnTo>
                    <a:pt x="921754" y="204990"/>
                  </a:lnTo>
                  <a:lnTo>
                    <a:pt x="921754" y="206324"/>
                  </a:lnTo>
                  <a:lnTo>
                    <a:pt x="921754" y="204990"/>
                  </a:lnTo>
                  <a:lnTo>
                    <a:pt x="921754" y="206324"/>
                  </a:lnTo>
                  <a:lnTo>
                    <a:pt x="921754" y="204990"/>
                  </a:lnTo>
                  <a:lnTo>
                    <a:pt x="921754" y="206324"/>
                  </a:lnTo>
                  <a:lnTo>
                    <a:pt x="921754" y="204990"/>
                  </a:lnTo>
                  <a:lnTo>
                    <a:pt x="921754" y="206324"/>
                  </a:lnTo>
                  <a:lnTo>
                    <a:pt x="921754" y="204990"/>
                  </a:lnTo>
                  <a:lnTo>
                    <a:pt x="921843" y="204990"/>
                  </a:lnTo>
                  <a:lnTo>
                    <a:pt x="921843" y="204292"/>
                  </a:lnTo>
                  <a:lnTo>
                    <a:pt x="921843" y="204990"/>
                  </a:lnTo>
                  <a:lnTo>
                    <a:pt x="921843" y="204292"/>
                  </a:lnTo>
                  <a:lnTo>
                    <a:pt x="921843" y="204990"/>
                  </a:lnTo>
                  <a:lnTo>
                    <a:pt x="921843" y="203594"/>
                  </a:lnTo>
                  <a:lnTo>
                    <a:pt x="921893" y="203594"/>
                  </a:lnTo>
                  <a:lnTo>
                    <a:pt x="921893" y="202260"/>
                  </a:lnTo>
                  <a:lnTo>
                    <a:pt x="921893" y="202959"/>
                  </a:lnTo>
                  <a:lnTo>
                    <a:pt x="921893" y="202260"/>
                  </a:lnTo>
                  <a:lnTo>
                    <a:pt x="921893" y="203594"/>
                  </a:lnTo>
                  <a:lnTo>
                    <a:pt x="921944" y="203594"/>
                  </a:lnTo>
                  <a:lnTo>
                    <a:pt x="921944" y="204292"/>
                  </a:lnTo>
                  <a:lnTo>
                    <a:pt x="921944" y="202959"/>
                  </a:lnTo>
                  <a:lnTo>
                    <a:pt x="921944" y="204990"/>
                  </a:lnTo>
                  <a:lnTo>
                    <a:pt x="921995" y="204990"/>
                  </a:lnTo>
                  <a:lnTo>
                    <a:pt x="921995" y="204292"/>
                  </a:lnTo>
                  <a:lnTo>
                    <a:pt x="921995" y="204990"/>
                  </a:lnTo>
                  <a:lnTo>
                    <a:pt x="922097" y="204990"/>
                  </a:lnTo>
                  <a:lnTo>
                    <a:pt x="922097" y="206324"/>
                  </a:lnTo>
                  <a:lnTo>
                    <a:pt x="922097" y="204990"/>
                  </a:lnTo>
                  <a:lnTo>
                    <a:pt x="922097" y="206324"/>
                  </a:lnTo>
                  <a:lnTo>
                    <a:pt x="922147" y="204990"/>
                  </a:lnTo>
                  <a:lnTo>
                    <a:pt x="922147" y="206324"/>
                  </a:lnTo>
                  <a:lnTo>
                    <a:pt x="922147" y="204990"/>
                  </a:lnTo>
                  <a:lnTo>
                    <a:pt x="922147" y="206324"/>
                  </a:lnTo>
                  <a:lnTo>
                    <a:pt x="922300" y="206324"/>
                  </a:lnTo>
                  <a:lnTo>
                    <a:pt x="922300" y="204990"/>
                  </a:lnTo>
                  <a:lnTo>
                    <a:pt x="922338" y="204990"/>
                  </a:lnTo>
                  <a:lnTo>
                    <a:pt x="922338" y="204292"/>
                  </a:lnTo>
                  <a:lnTo>
                    <a:pt x="922338" y="204990"/>
                  </a:lnTo>
                  <a:lnTo>
                    <a:pt x="922338" y="202959"/>
                  </a:lnTo>
                  <a:lnTo>
                    <a:pt x="922389" y="202959"/>
                  </a:lnTo>
                  <a:lnTo>
                    <a:pt x="922389" y="203594"/>
                  </a:lnTo>
                  <a:lnTo>
                    <a:pt x="922389" y="202260"/>
                  </a:lnTo>
                  <a:lnTo>
                    <a:pt x="922389" y="203594"/>
                  </a:lnTo>
                  <a:lnTo>
                    <a:pt x="922440" y="203594"/>
                  </a:lnTo>
                  <a:lnTo>
                    <a:pt x="922440" y="202959"/>
                  </a:lnTo>
                  <a:lnTo>
                    <a:pt x="922440" y="204292"/>
                  </a:lnTo>
                  <a:lnTo>
                    <a:pt x="922541" y="204292"/>
                  </a:lnTo>
                  <a:lnTo>
                    <a:pt x="922541" y="203594"/>
                  </a:lnTo>
                  <a:lnTo>
                    <a:pt x="922541" y="204990"/>
                  </a:lnTo>
                  <a:lnTo>
                    <a:pt x="922541" y="204292"/>
                  </a:lnTo>
                  <a:lnTo>
                    <a:pt x="922592" y="204292"/>
                  </a:lnTo>
                  <a:lnTo>
                    <a:pt x="922592" y="204990"/>
                  </a:lnTo>
                  <a:lnTo>
                    <a:pt x="922592" y="204292"/>
                  </a:lnTo>
                  <a:lnTo>
                    <a:pt x="922592" y="204990"/>
                  </a:lnTo>
                  <a:lnTo>
                    <a:pt x="922592" y="204292"/>
                  </a:lnTo>
                  <a:lnTo>
                    <a:pt x="922592" y="204990"/>
                  </a:lnTo>
                  <a:lnTo>
                    <a:pt x="922643" y="204990"/>
                  </a:lnTo>
                  <a:lnTo>
                    <a:pt x="922643" y="204292"/>
                  </a:lnTo>
                  <a:lnTo>
                    <a:pt x="922643" y="206324"/>
                  </a:lnTo>
                  <a:lnTo>
                    <a:pt x="922643" y="204990"/>
                  </a:lnTo>
                  <a:lnTo>
                    <a:pt x="922744" y="204990"/>
                  </a:lnTo>
                  <a:lnTo>
                    <a:pt x="922744" y="206324"/>
                  </a:lnTo>
                  <a:lnTo>
                    <a:pt x="922744" y="204990"/>
                  </a:lnTo>
                  <a:lnTo>
                    <a:pt x="922744" y="206324"/>
                  </a:lnTo>
                  <a:lnTo>
                    <a:pt x="922795" y="204990"/>
                  </a:lnTo>
                  <a:lnTo>
                    <a:pt x="922795" y="206324"/>
                  </a:lnTo>
                  <a:lnTo>
                    <a:pt x="922795" y="204990"/>
                  </a:lnTo>
                  <a:lnTo>
                    <a:pt x="922846" y="204990"/>
                  </a:lnTo>
                  <a:lnTo>
                    <a:pt x="922846" y="204292"/>
                  </a:lnTo>
                  <a:lnTo>
                    <a:pt x="922846" y="204990"/>
                  </a:lnTo>
                  <a:lnTo>
                    <a:pt x="922846" y="203594"/>
                  </a:lnTo>
                  <a:lnTo>
                    <a:pt x="922884" y="202959"/>
                  </a:lnTo>
                  <a:lnTo>
                    <a:pt x="922884" y="202260"/>
                  </a:lnTo>
                  <a:lnTo>
                    <a:pt x="922884" y="204292"/>
                  </a:lnTo>
                  <a:lnTo>
                    <a:pt x="922884" y="202959"/>
                  </a:lnTo>
                  <a:lnTo>
                    <a:pt x="922986" y="202959"/>
                  </a:lnTo>
                  <a:lnTo>
                    <a:pt x="922986" y="202260"/>
                  </a:lnTo>
                  <a:lnTo>
                    <a:pt x="922986" y="204990"/>
                  </a:lnTo>
                  <a:lnTo>
                    <a:pt x="922986" y="203594"/>
                  </a:lnTo>
                  <a:lnTo>
                    <a:pt x="923037" y="203594"/>
                  </a:lnTo>
                  <a:lnTo>
                    <a:pt x="923037" y="204292"/>
                  </a:lnTo>
                  <a:lnTo>
                    <a:pt x="923037" y="203594"/>
                  </a:lnTo>
                  <a:lnTo>
                    <a:pt x="923037" y="204990"/>
                  </a:lnTo>
                  <a:lnTo>
                    <a:pt x="923037" y="204292"/>
                  </a:lnTo>
                  <a:lnTo>
                    <a:pt x="923087" y="204990"/>
                  </a:lnTo>
                  <a:lnTo>
                    <a:pt x="923087" y="204292"/>
                  </a:lnTo>
                  <a:lnTo>
                    <a:pt x="923087" y="204990"/>
                  </a:lnTo>
                  <a:lnTo>
                    <a:pt x="923087" y="204292"/>
                  </a:lnTo>
                  <a:lnTo>
                    <a:pt x="923189" y="204292"/>
                  </a:lnTo>
                  <a:lnTo>
                    <a:pt x="923189" y="204990"/>
                  </a:lnTo>
                  <a:lnTo>
                    <a:pt x="923240" y="204990"/>
                  </a:lnTo>
                  <a:lnTo>
                    <a:pt x="923240" y="206324"/>
                  </a:lnTo>
                  <a:lnTo>
                    <a:pt x="923240" y="204990"/>
                  </a:lnTo>
                  <a:lnTo>
                    <a:pt x="923240" y="206324"/>
                  </a:lnTo>
                  <a:lnTo>
                    <a:pt x="923291" y="204990"/>
                  </a:lnTo>
                  <a:lnTo>
                    <a:pt x="923291" y="206324"/>
                  </a:lnTo>
                  <a:lnTo>
                    <a:pt x="923291" y="204292"/>
                  </a:lnTo>
                  <a:lnTo>
                    <a:pt x="923291" y="204990"/>
                  </a:lnTo>
                  <a:lnTo>
                    <a:pt x="923341" y="204292"/>
                  </a:lnTo>
                  <a:lnTo>
                    <a:pt x="923341" y="202959"/>
                  </a:lnTo>
                  <a:lnTo>
                    <a:pt x="923430" y="202260"/>
                  </a:lnTo>
                  <a:lnTo>
                    <a:pt x="923430" y="204292"/>
                  </a:lnTo>
                  <a:lnTo>
                    <a:pt x="923430" y="202260"/>
                  </a:lnTo>
                  <a:lnTo>
                    <a:pt x="923430" y="203594"/>
                  </a:lnTo>
                  <a:lnTo>
                    <a:pt x="923481" y="204292"/>
                  </a:lnTo>
                  <a:lnTo>
                    <a:pt x="923481" y="206324"/>
                  </a:lnTo>
                  <a:lnTo>
                    <a:pt x="923481" y="202959"/>
                  </a:lnTo>
                  <a:lnTo>
                    <a:pt x="923481" y="204292"/>
                  </a:lnTo>
                  <a:lnTo>
                    <a:pt x="923532" y="204292"/>
                  </a:lnTo>
                  <a:lnTo>
                    <a:pt x="923532" y="204990"/>
                  </a:lnTo>
                  <a:lnTo>
                    <a:pt x="923532" y="203594"/>
                  </a:lnTo>
                  <a:lnTo>
                    <a:pt x="923532" y="204990"/>
                  </a:lnTo>
                  <a:lnTo>
                    <a:pt x="923583" y="204990"/>
                  </a:lnTo>
                  <a:lnTo>
                    <a:pt x="923583" y="204292"/>
                  </a:lnTo>
                  <a:lnTo>
                    <a:pt x="923583" y="204990"/>
                  </a:lnTo>
                  <a:lnTo>
                    <a:pt x="923583" y="204292"/>
                  </a:lnTo>
                  <a:lnTo>
                    <a:pt x="923583" y="204990"/>
                  </a:lnTo>
                  <a:lnTo>
                    <a:pt x="923583" y="204292"/>
                  </a:lnTo>
                  <a:lnTo>
                    <a:pt x="923583" y="204990"/>
                  </a:lnTo>
                  <a:lnTo>
                    <a:pt x="923684" y="204990"/>
                  </a:lnTo>
                  <a:lnTo>
                    <a:pt x="923684" y="204292"/>
                  </a:lnTo>
                  <a:lnTo>
                    <a:pt x="923684" y="204990"/>
                  </a:lnTo>
                  <a:lnTo>
                    <a:pt x="923735" y="204990"/>
                  </a:lnTo>
                  <a:lnTo>
                    <a:pt x="923735" y="204292"/>
                  </a:lnTo>
                  <a:lnTo>
                    <a:pt x="923735" y="204990"/>
                  </a:lnTo>
                  <a:lnTo>
                    <a:pt x="923735" y="204292"/>
                  </a:lnTo>
                  <a:lnTo>
                    <a:pt x="923735" y="204990"/>
                  </a:lnTo>
                  <a:lnTo>
                    <a:pt x="923735" y="204292"/>
                  </a:lnTo>
                  <a:lnTo>
                    <a:pt x="923786" y="204292"/>
                  </a:lnTo>
                  <a:lnTo>
                    <a:pt x="923786" y="204990"/>
                  </a:lnTo>
                  <a:lnTo>
                    <a:pt x="923786" y="203594"/>
                  </a:lnTo>
                  <a:lnTo>
                    <a:pt x="923887" y="203594"/>
                  </a:lnTo>
                  <a:lnTo>
                    <a:pt x="923887" y="204292"/>
                  </a:lnTo>
                  <a:lnTo>
                    <a:pt x="923887" y="202959"/>
                  </a:lnTo>
                  <a:lnTo>
                    <a:pt x="923887" y="203594"/>
                  </a:lnTo>
                  <a:lnTo>
                    <a:pt x="923887" y="202959"/>
                  </a:lnTo>
                  <a:lnTo>
                    <a:pt x="923887" y="203594"/>
                  </a:lnTo>
                  <a:lnTo>
                    <a:pt x="923926" y="203594"/>
                  </a:lnTo>
                  <a:lnTo>
                    <a:pt x="923926" y="204292"/>
                  </a:lnTo>
                  <a:lnTo>
                    <a:pt x="923926" y="202260"/>
                  </a:lnTo>
                  <a:lnTo>
                    <a:pt x="923926" y="206324"/>
                  </a:lnTo>
                  <a:lnTo>
                    <a:pt x="923926" y="204990"/>
                  </a:lnTo>
                  <a:lnTo>
                    <a:pt x="923926" y="206324"/>
                  </a:lnTo>
                  <a:lnTo>
                    <a:pt x="923926" y="204990"/>
                  </a:lnTo>
                  <a:lnTo>
                    <a:pt x="923976" y="204990"/>
                  </a:lnTo>
                  <a:lnTo>
                    <a:pt x="923976" y="203594"/>
                  </a:lnTo>
                  <a:lnTo>
                    <a:pt x="923976" y="206324"/>
                  </a:lnTo>
                  <a:lnTo>
                    <a:pt x="924027" y="206324"/>
                  </a:lnTo>
                  <a:lnTo>
                    <a:pt x="924027" y="204292"/>
                  </a:lnTo>
                  <a:lnTo>
                    <a:pt x="924027" y="206324"/>
                  </a:lnTo>
                  <a:lnTo>
                    <a:pt x="924027" y="204990"/>
                  </a:lnTo>
                  <a:lnTo>
                    <a:pt x="924027" y="206324"/>
                  </a:lnTo>
                  <a:lnTo>
                    <a:pt x="924027" y="204990"/>
                  </a:lnTo>
                  <a:lnTo>
                    <a:pt x="924129" y="204990"/>
                  </a:lnTo>
                  <a:lnTo>
                    <a:pt x="924129" y="206324"/>
                  </a:lnTo>
                  <a:lnTo>
                    <a:pt x="924129" y="204990"/>
                  </a:lnTo>
                  <a:lnTo>
                    <a:pt x="924180" y="204292"/>
                  </a:lnTo>
                  <a:lnTo>
                    <a:pt x="924180" y="206324"/>
                  </a:lnTo>
                  <a:lnTo>
                    <a:pt x="924180" y="204990"/>
                  </a:lnTo>
                  <a:lnTo>
                    <a:pt x="924230" y="204990"/>
                  </a:lnTo>
                  <a:lnTo>
                    <a:pt x="924230" y="206324"/>
                  </a:lnTo>
                  <a:lnTo>
                    <a:pt x="924230" y="204292"/>
                  </a:lnTo>
                  <a:lnTo>
                    <a:pt x="924332" y="204292"/>
                  </a:lnTo>
                  <a:lnTo>
                    <a:pt x="924332" y="203594"/>
                  </a:lnTo>
                  <a:lnTo>
                    <a:pt x="924332" y="204292"/>
                  </a:lnTo>
                  <a:lnTo>
                    <a:pt x="924332" y="203594"/>
                  </a:lnTo>
                  <a:lnTo>
                    <a:pt x="924383" y="203594"/>
                  </a:lnTo>
                  <a:lnTo>
                    <a:pt x="924383" y="202959"/>
                  </a:lnTo>
                  <a:lnTo>
                    <a:pt x="924383" y="204292"/>
                  </a:lnTo>
                  <a:lnTo>
                    <a:pt x="924433" y="203594"/>
                  </a:lnTo>
                  <a:lnTo>
                    <a:pt x="924433" y="202959"/>
                  </a:lnTo>
                  <a:lnTo>
                    <a:pt x="924433" y="207022"/>
                  </a:lnTo>
                  <a:lnTo>
                    <a:pt x="924433" y="204292"/>
                  </a:lnTo>
                  <a:lnTo>
                    <a:pt x="924472" y="204292"/>
                  </a:lnTo>
                  <a:lnTo>
                    <a:pt x="924472" y="203594"/>
                  </a:lnTo>
                  <a:lnTo>
                    <a:pt x="924472" y="206324"/>
                  </a:lnTo>
                  <a:lnTo>
                    <a:pt x="924472" y="204990"/>
                  </a:lnTo>
                  <a:lnTo>
                    <a:pt x="924472" y="206324"/>
                  </a:lnTo>
                  <a:lnTo>
                    <a:pt x="924472" y="204990"/>
                  </a:lnTo>
                  <a:lnTo>
                    <a:pt x="924573" y="204990"/>
                  </a:lnTo>
                  <a:lnTo>
                    <a:pt x="924573" y="204292"/>
                  </a:lnTo>
                  <a:lnTo>
                    <a:pt x="924573" y="206324"/>
                  </a:lnTo>
                  <a:lnTo>
                    <a:pt x="924573" y="204990"/>
                  </a:lnTo>
                  <a:lnTo>
                    <a:pt x="924573" y="206324"/>
                  </a:lnTo>
                  <a:lnTo>
                    <a:pt x="924624" y="206324"/>
                  </a:lnTo>
                  <a:lnTo>
                    <a:pt x="924624" y="204990"/>
                  </a:lnTo>
                  <a:lnTo>
                    <a:pt x="924624" y="206324"/>
                  </a:lnTo>
                  <a:lnTo>
                    <a:pt x="924624" y="204990"/>
                  </a:lnTo>
                  <a:lnTo>
                    <a:pt x="924675" y="204990"/>
                  </a:lnTo>
                  <a:lnTo>
                    <a:pt x="924675" y="206324"/>
                  </a:lnTo>
                  <a:lnTo>
                    <a:pt x="924675" y="204990"/>
                  </a:lnTo>
                  <a:lnTo>
                    <a:pt x="924776" y="204990"/>
                  </a:lnTo>
                  <a:lnTo>
                    <a:pt x="924776" y="206324"/>
                  </a:lnTo>
                  <a:lnTo>
                    <a:pt x="924776" y="203594"/>
                  </a:lnTo>
                  <a:lnTo>
                    <a:pt x="924776" y="204292"/>
                  </a:lnTo>
                  <a:lnTo>
                    <a:pt x="924827" y="204292"/>
                  </a:lnTo>
                  <a:lnTo>
                    <a:pt x="924827" y="202260"/>
                  </a:lnTo>
                  <a:lnTo>
                    <a:pt x="924827" y="202959"/>
                  </a:lnTo>
                  <a:lnTo>
                    <a:pt x="924827" y="202260"/>
                  </a:lnTo>
                  <a:lnTo>
                    <a:pt x="924827" y="202959"/>
                  </a:lnTo>
                  <a:lnTo>
                    <a:pt x="924878" y="202260"/>
                  </a:lnTo>
                  <a:lnTo>
                    <a:pt x="924878" y="203594"/>
                  </a:lnTo>
                  <a:lnTo>
                    <a:pt x="924878" y="202260"/>
                  </a:lnTo>
                  <a:lnTo>
                    <a:pt x="924929" y="202959"/>
                  </a:lnTo>
                  <a:lnTo>
                    <a:pt x="924929" y="204990"/>
                  </a:lnTo>
                  <a:lnTo>
                    <a:pt x="924929" y="204292"/>
                  </a:lnTo>
                  <a:lnTo>
                    <a:pt x="924929" y="204990"/>
                  </a:lnTo>
                  <a:lnTo>
                    <a:pt x="924929" y="203594"/>
                  </a:lnTo>
                  <a:lnTo>
                    <a:pt x="925018" y="204292"/>
                  </a:lnTo>
                  <a:lnTo>
                    <a:pt x="925018" y="204990"/>
                  </a:lnTo>
                  <a:lnTo>
                    <a:pt x="925018" y="204292"/>
                  </a:lnTo>
                  <a:lnTo>
                    <a:pt x="925018" y="204990"/>
                  </a:lnTo>
                  <a:lnTo>
                    <a:pt x="925018" y="204292"/>
                  </a:lnTo>
                  <a:lnTo>
                    <a:pt x="925018" y="204990"/>
                  </a:lnTo>
                  <a:lnTo>
                    <a:pt x="925068" y="204990"/>
                  </a:lnTo>
                  <a:lnTo>
                    <a:pt x="925068" y="206324"/>
                  </a:lnTo>
                  <a:lnTo>
                    <a:pt x="925068" y="204990"/>
                  </a:lnTo>
                  <a:lnTo>
                    <a:pt x="925068" y="206324"/>
                  </a:lnTo>
                  <a:lnTo>
                    <a:pt x="925170" y="206324"/>
                  </a:lnTo>
                  <a:lnTo>
                    <a:pt x="925170" y="207022"/>
                  </a:lnTo>
                  <a:lnTo>
                    <a:pt x="925170" y="204990"/>
                  </a:lnTo>
                  <a:lnTo>
                    <a:pt x="925170" y="206324"/>
                  </a:lnTo>
                  <a:lnTo>
                    <a:pt x="925272" y="204990"/>
                  </a:lnTo>
                  <a:lnTo>
                    <a:pt x="925272" y="206324"/>
                  </a:lnTo>
                  <a:lnTo>
                    <a:pt x="925272" y="204292"/>
                  </a:lnTo>
                  <a:lnTo>
                    <a:pt x="925272" y="204990"/>
                  </a:lnTo>
                  <a:lnTo>
                    <a:pt x="925272" y="204292"/>
                  </a:lnTo>
                  <a:lnTo>
                    <a:pt x="925272" y="204990"/>
                  </a:lnTo>
                  <a:lnTo>
                    <a:pt x="925272" y="204292"/>
                  </a:lnTo>
                  <a:lnTo>
                    <a:pt x="925322" y="204292"/>
                  </a:lnTo>
                  <a:lnTo>
                    <a:pt x="925322" y="202959"/>
                  </a:lnTo>
                  <a:lnTo>
                    <a:pt x="925322" y="203594"/>
                  </a:lnTo>
                  <a:lnTo>
                    <a:pt x="925322" y="202959"/>
                  </a:lnTo>
                  <a:lnTo>
                    <a:pt x="925322" y="203594"/>
                  </a:lnTo>
                  <a:lnTo>
                    <a:pt x="925322" y="202959"/>
                  </a:lnTo>
                  <a:lnTo>
                    <a:pt x="925373" y="203594"/>
                  </a:lnTo>
                  <a:lnTo>
                    <a:pt x="925373" y="204292"/>
                  </a:lnTo>
                  <a:lnTo>
                    <a:pt x="925373" y="202959"/>
                  </a:lnTo>
                  <a:lnTo>
                    <a:pt x="925373" y="204292"/>
                  </a:lnTo>
                  <a:lnTo>
                    <a:pt x="925475" y="204292"/>
                  </a:lnTo>
                  <a:lnTo>
                    <a:pt x="925475" y="204990"/>
                  </a:lnTo>
                  <a:lnTo>
                    <a:pt x="925475" y="203594"/>
                  </a:lnTo>
                  <a:lnTo>
                    <a:pt x="925475" y="204990"/>
                  </a:lnTo>
                  <a:lnTo>
                    <a:pt x="925513" y="204990"/>
                  </a:lnTo>
                  <a:lnTo>
                    <a:pt x="925513" y="206324"/>
                  </a:lnTo>
                  <a:lnTo>
                    <a:pt x="925513" y="204292"/>
                  </a:lnTo>
                  <a:lnTo>
                    <a:pt x="925513" y="204990"/>
                  </a:lnTo>
                  <a:lnTo>
                    <a:pt x="925564" y="204990"/>
                  </a:lnTo>
                  <a:lnTo>
                    <a:pt x="925564" y="206324"/>
                  </a:lnTo>
                  <a:lnTo>
                    <a:pt x="925564" y="204990"/>
                  </a:lnTo>
                  <a:lnTo>
                    <a:pt x="925564" y="206324"/>
                  </a:lnTo>
                  <a:lnTo>
                    <a:pt x="925615" y="206324"/>
                  </a:lnTo>
                  <a:lnTo>
                    <a:pt x="925615" y="204990"/>
                  </a:lnTo>
                  <a:lnTo>
                    <a:pt x="925615" y="206324"/>
                  </a:lnTo>
                  <a:lnTo>
                    <a:pt x="925716" y="204990"/>
                  </a:lnTo>
                  <a:lnTo>
                    <a:pt x="925716" y="206324"/>
                  </a:lnTo>
                  <a:lnTo>
                    <a:pt x="925716" y="204990"/>
                  </a:lnTo>
                  <a:lnTo>
                    <a:pt x="925767" y="204990"/>
                  </a:lnTo>
                  <a:lnTo>
                    <a:pt x="925767" y="204292"/>
                  </a:lnTo>
                  <a:lnTo>
                    <a:pt x="925767" y="204990"/>
                  </a:lnTo>
                  <a:lnTo>
                    <a:pt x="925767" y="204292"/>
                  </a:lnTo>
                  <a:lnTo>
                    <a:pt x="925818" y="203594"/>
                  </a:lnTo>
                  <a:lnTo>
                    <a:pt x="925818" y="202260"/>
                  </a:lnTo>
                  <a:lnTo>
                    <a:pt x="925919" y="200876"/>
                  </a:lnTo>
                  <a:lnTo>
                    <a:pt x="925919" y="203594"/>
                  </a:lnTo>
                  <a:lnTo>
                    <a:pt x="925919" y="202260"/>
                  </a:lnTo>
                  <a:lnTo>
                    <a:pt x="925919" y="202959"/>
                  </a:lnTo>
                  <a:lnTo>
                    <a:pt x="925919" y="202260"/>
                  </a:lnTo>
                  <a:lnTo>
                    <a:pt x="925970" y="202260"/>
                  </a:lnTo>
                  <a:lnTo>
                    <a:pt x="925970" y="204292"/>
                  </a:lnTo>
                  <a:lnTo>
                    <a:pt x="925970" y="203594"/>
                  </a:lnTo>
                  <a:lnTo>
                    <a:pt x="925970" y="204292"/>
                  </a:lnTo>
                  <a:lnTo>
                    <a:pt x="925970" y="203594"/>
                  </a:lnTo>
                  <a:lnTo>
                    <a:pt x="925970" y="204292"/>
                  </a:lnTo>
                  <a:lnTo>
                    <a:pt x="926021" y="204292"/>
                  </a:lnTo>
                  <a:lnTo>
                    <a:pt x="926021" y="204990"/>
                  </a:lnTo>
                  <a:lnTo>
                    <a:pt x="926021" y="204292"/>
                  </a:lnTo>
                  <a:lnTo>
                    <a:pt x="926021" y="204990"/>
                  </a:lnTo>
                  <a:lnTo>
                    <a:pt x="926021" y="204292"/>
                  </a:lnTo>
                  <a:lnTo>
                    <a:pt x="926059" y="204292"/>
                  </a:lnTo>
                  <a:lnTo>
                    <a:pt x="926059" y="206324"/>
                  </a:lnTo>
                  <a:lnTo>
                    <a:pt x="926161" y="206324"/>
                  </a:lnTo>
                  <a:lnTo>
                    <a:pt x="926161" y="204990"/>
                  </a:lnTo>
                  <a:lnTo>
                    <a:pt x="926161" y="206324"/>
                  </a:lnTo>
                  <a:lnTo>
                    <a:pt x="926161" y="204990"/>
                  </a:lnTo>
                  <a:lnTo>
                    <a:pt x="926161" y="206324"/>
                  </a:lnTo>
                  <a:lnTo>
                    <a:pt x="926161" y="204990"/>
                  </a:lnTo>
                  <a:lnTo>
                    <a:pt x="926161" y="206324"/>
                  </a:lnTo>
                  <a:lnTo>
                    <a:pt x="926212" y="206324"/>
                  </a:lnTo>
                  <a:lnTo>
                    <a:pt x="926212" y="204990"/>
                  </a:lnTo>
                  <a:lnTo>
                    <a:pt x="926212" y="206324"/>
                  </a:lnTo>
                  <a:lnTo>
                    <a:pt x="926262" y="206324"/>
                  </a:lnTo>
                  <a:lnTo>
                    <a:pt x="926262" y="204990"/>
                  </a:lnTo>
                  <a:lnTo>
                    <a:pt x="926262" y="206324"/>
                  </a:lnTo>
                  <a:lnTo>
                    <a:pt x="926262" y="204292"/>
                  </a:lnTo>
                  <a:lnTo>
                    <a:pt x="926262" y="204990"/>
                  </a:lnTo>
                  <a:lnTo>
                    <a:pt x="926262" y="204292"/>
                  </a:lnTo>
                  <a:lnTo>
                    <a:pt x="926262" y="204990"/>
                  </a:lnTo>
                  <a:lnTo>
                    <a:pt x="926262" y="204292"/>
                  </a:lnTo>
                  <a:lnTo>
                    <a:pt x="926364" y="204292"/>
                  </a:lnTo>
                  <a:lnTo>
                    <a:pt x="926364" y="203594"/>
                  </a:lnTo>
                  <a:lnTo>
                    <a:pt x="926364" y="204292"/>
                  </a:lnTo>
                  <a:lnTo>
                    <a:pt x="926364" y="202260"/>
                  </a:lnTo>
                  <a:lnTo>
                    <a:pt x="926364" y="202959"/>
                  </a:lnTo>
                  <a:lnTo>
                    <a:pt x="926415" y="202959"/>
                  </a:lnTo>
                  <a:lnTo>
                    <a:pt x="926415" y="203594"/>
                  </a:lnTo>
                  <a:lnTo>
                    <a:pt x="926415" y="200876"/>
                  </a:lnTo>
                  <a:lnTo>
                    <a:pt x="926415" y="202959"/>
                  </a:lnTo>
                  <a:lnTo>
                    <a:pt x="926466" y="203594"/>
                  </a:lnTo>
                  <a:lnTo>
                    <a:pt x="926466" y="204292"/>
                  </a:lnTo>
                  <a:lnTo>
                    <a:pt x="926466" y="202959"/>
                  </a:lnTo>
                  <a:lnTo>
                    <a:pt x="926466" y="203594"/>
                  </a:lnTo>
                  <a:lnTo>
                    <a:pt x="926516" y="203594"/>
                  </a:lnTo>
                  <a:lnTo>
                    <a:pt x="926516" y="204292"/>
                  </a:lnTo>
                  <a:lnTo>
                    <a:pt x="926516" y="202959"/>
                  </a:lnTo>
                  <a:lnTo>
                    <a:pt x="926516" y="203594"/>
                  </a:lnTo>
                  <a:lnTo>
                    <a:pt x="926605" y="203594"/>
                  </a:lnTo>
                  <a:lnTo>
                    <a:pt x="926605" y="204292"/>
                  </a:lnTo>
                  <a:lnTo>
                    <a:pt x="926605" y="203594"/>
                  </a:lnTo>
                  <a:lnTo>
                    <a:pt x="926605" y="204292"/>
                  </a:lnTo>
                  <a:lnTo>
                    <a:pt x="926656" y="204990"/>
                  </a:lnTo>
                  <a:lnTo>
                    <a:pt x="926656" y="204292"/>
                  </a:lnTo>
                  <a:lnTo>
                    <a:pt x="926656" y="204990"/>
                  </a:lnTo>
                  <a:lnTo>
                    <a:pt x="926656" y="204292"/>
                  </a:lnTo>
                  <a:lnTo>
                    <a:pt x="926656" y="204990"/>
                  </a:lnTo>
                  <a:lnTo>
                    <a:pt x="926656" y="204292"/>
                  </a:lnTo>
                  <a:lnTo>
                    <a:pt x="926656" y="204990"/>
                  </a:lnTo>
                  <a:lnTo>
                    <a:pt x="926656" y="204292"/>
                  </a:lnTo>
                  <a:lnTo>
                    <a:pt x="926656" y="204990"/>
                  </a:lnTo>
                  <a:lnTo>
                    <a:pt x="926707" y="204990"/>
                  </a:lnTo>
                  <a:lnTo>
                    <a:pt x="926707" y="206324"/>
                  </a:lnTo>
                  <a:lnTo>
                    <a:pt x="926758" y="204990"/>
                  </a:lnTo>
                  <a:lnTo>
                    <a:pt x="926758" y="204292"/>
                  </a:lnTo>
                  <a:lnTo>
                    <a:pt x="926758" y="204990"/>
                  </a:lnTo>
                  <a:lnTo>
                    <a:pt x="926758" y="204292"/>
                  </a:lnTo>
                  <a:lnTo>
                    <a:pt x="926758" y="204990"/>
                  </a:lnTo>
                  <a:lnTo>
                    <a:pt x="926758" y="203594"/>
                  </a:lnTo>
                  <a:lnTo>
                    <a:pt x="926859" y="203594"/>
                  </a:lnTo>
                  <a:lnTo>
                    <a:pt x="926859" y="204990"/>
                  </a:lnTo>
                  <a:lnTo>
                    <a:pt x="926859" y="204292"/>
                  </a:lnTo>
                  <a:lnTo>
                    <a:pt x="926859" y="204990"/>
                  </a:lnTo>
                  <a:lnTo>
                    <a:pt x="926859" y="204292"/>
                  </a:lnTo>
                  <a:lnTo>
                    <a:pt x="926910" y="204292"/>
                  </a:lnTo>
                  <a:lnTo>
                    <a:pt x="926910" y="207022"/>
                  </a:lnTo>
                  <a:lnTo>
                    <a:pt x="926910" y="204990"/>
                  </a:lnTo>
                  <a:lnTo>
                    <a:pt x="926961" y="206324"/>
                  </a:lnTo>
                  <a:lnTo>
                    <a:pt x="926961" y="207022"/>
                  </a:lnTo>
                  <a:lnTo>
                    <a:pt x="926961" y="204990"/>
                  </a:lnTo>
                  <a:lnTo>
                    <a:pt x="927062" y="204990"/>
                  </a:lnTo>
                  <a:lnTo>
                    <a:pt x="927062" y="207022"/>
                  </a:lnTo>
                  <a:lnTo>
                    <a:pt x="927062" y="206324"/>
                  </a:lnTo>
                  <a:lnTo>
                    <a:pt x="927101" y="206324"/>
                  </a:lnTo>
                  <a:lnTo>
                    <a:pt x="927101" y="204990"/>
                  </a:lnTo>
                  <a:lnTo>
                    <a:pt x="927101" y="206324"/>
                  </a:lnTo>
                  <a:lnTo>
                    <a:pt x="927101" y="204990"/>
                  </a:lnTo>
                  <a:lnTo>
                    <a:pt x="927151" y="204990"/>
                  </a:lnTo>
                  <a:lnTo>
                    <a:pt x="927151" y="206324"/>
                  </a:lnTo>
                  <a:lnTo>
                    <a:pt x="927151" y="204990"/>
                  </a:lnTo>
                  <a:lnTo>
                    <a:pt x="927151" y="206324"/>
                  </a:lnTo>
                  <a:lnTo>
                    <a:pt x="927151" y="204990"/>
                  </a:lnTo>
                  <a:lnTo>
                    <a:pt x="927202" y="204990"/>
                  </a:lnTo>
                  <a:lnTo>
                    <a:pt x="927202" y="204292"/>
                  </a:lnTo>
                  <a:lnTo>
                    <a:pt x="927304" y="204292"/>
                  </a:lnTo>
                  <a:lnTo>
                    <a:pt x="927304" y="203594"/>
                  </a:lnTo>
                  <a:lnTo>
                    <a:pt x="927304" y="204292"/>
                  </a:lnTo>
                  <a:lnTo>
                    <a:pt x="927304" y="203594"/>
                  </a:lnTo>
                  <a:lnTo>
                    <a:pt x="927355" y="204292"/>
                  </a:lnTo>
                  <a:lnTo>
                    <a:pt x="927355" y="204990"/>
                  </a:lnTo>
                  <a:lnTo>
                    <a:pt x="927355" y="204292"/>
                  </a:lnTo>
                  <a:lnTo>
                    <a:pt x="927355" y="206324"/>
                  </a:lnTo>
                  <a:lnTo>
                    <a:pt x="927405" y="206324"/>
                  </a:lnTo>
                  <a:lnTo>
                    <a:pt x="927405" y="207022"/>
                  </a:lnTo>
                  <a:lnTo>
                    <a:pt x="927405" y="206324"/>
                  </a:lnTo>
                  <a:lnTo>
                    <a:pt x="927405" y="207022"/>
                  </a:lnTo>
                  <a:lnTo>
                    <a:pt x="927507" y="206324"/>
                  </a:lnTo>
                  <a:lnTo>
                    <a:pt x="927507" y="207022"/>
                  </a:lnTo>
                  <a:lnTo>
                    <a:pt x="927507" y="206324"/>
                  </a:lnTo>
                  <a:lnTo>
                    <a:pt x="927507" y="207022"/>
                  </a:lnTo>
                  <a:lnTo>
                    <a:pt x="927507" y="206324"/>
                  </a:lnTo>
                  <a:lnTo>
                    <a:pt x="927608" y="206324"/>
                  </a:lnTo>
                  <a:lnTo>
                    <a:pt x="927608" y="207022"/>
                  </a:lnTo>
                  <a:lnTo>
                    <a:pt x="927608" y="206324"/>
                  </a:lnTo>
                  <a:lnTo>
                    <a:pt x="927608" y="207022"/>
                  </a:lnTo>
                  <a:lnTo>
                    <a:pt x="927608" y="206324"/>
                  </a:lnTo>
                  <a:lnTo>
                    <a:pt x="927608" y="207022"/>
                  </a:lnTo>
                  <a:lnTo>
                    <a:pt x="927608" y="206324"/>
                  </a:lnTo>
                  <a:lnTo>
                    <a:pt x="927647" y="206324"/>
                  </a:lnTo>
                  <a:lnTo>
                    <a:pt x="927647" y="204990"/>
                  </a:lnTo>
                  <a:lnTo>
                    <a:pt x="927647" y="206324"/>
                  </a:lnTo>
                  <a:lnTo>
                    <a:pt x="927647" y="204292"/>
                  </a:lnTo>
                  <a:lnTo>
                    <a:pt x="927748" y="204292"/>
                  </a:lnTo>
                  <a:lnTo>
                    <a:pt x="927748" y="204990"/>
                  </a:lnTo>
                  <a:lnTo>
                    <a:pt x="927748" y="203594"/>
                  </a:lnTo>
                  <a:lnTo>
                    <a:pt x="927799" y="203594"/>
                  </a:lnTo>
                  <a:lnTo>
                    <a:pt x="927799" y="202260"/>
                  </a:lnTo>
                  <a:lnTo>
                    <a:pt x="927799" y="203594"/>
                  </a:lnTo>
                  <a:lnTo>
                    <a:pt x="927850" y="203594"/>
                  </a:lnTo>
                  <a:lnTo>
                    <a:pt x="927850" y="204292"/>
                  </a:lnTo>
                  <a:lnTo>
                    <a:pt x="927850" y="202260"/>
                  </a:lnTo>
                  <a:lnTo>
                    <a:pt x="927850" y="206324"/>
                  </a:lnTo>
                  <a:lnTo>
                    <a:pt x="927850" y="204990"/>
                  </a:lnTo>
                  <a:lnTo>
                    <a:pt x="927951" y="204990"/>
                  </a:lnTo>
                  <a:lnTo>
                    <a:pt x="927951" y="204292"/>
                  </a:lnTo>
                  <a:lnTo>
                    <a:pt x="927951" y="206324"/>
                  </a:lnTo>
                  <a:lnTo>
                    <a:pt x="927951" y="204990"/>
                  </a:lnTo>
                  <a:lnTo>
                    <a:pt x="927951" y="206324"/>
                  </a:lnTo>
                  <a:lnTo>
                    <a:pt x="927951" y="204990"/>
                  </a:lnTo>
                  <a:lnTo>
                    <a:pt x="928002" y="204990"/>
                  </a:lnTo>
                  <a:lnTo>
                    <a:pt x="928002" y="206324"/>
                  </a:lnTo>
                  <a:lnTo>
                    <a:pt x="928002" y="204990"/>
                  </a:lnTo>
                  <a:lnTo>
                    <a:pt x="928002" y="206324"/>
                  </a:lnTo>
                  <a:lnTo>
                    <a:pt x="928053" y="206324"/>
                  </a:lnTo>
                  <a:lnTo>
                    <a:pt x="928053" y="204990"/>
                  </a:lnTo>
                  <a:lnTo>
                    <a:pt x="928053" y="207022"/>
                  </a:lnTo>
                  <a:lnTo>
                    <a:pt x="928053" y="206324"/>
                  </a:lnTo>
                  <a:lnTo>
                    <a:pt x="928104" y="206324"/>
                  </a:lnTo>
                  <a:lnTo>
                    <a:pt x="928104" y="207022"/>
                  </a:lnTo>
                  <a:lnTo>
                    <a:pt x="928104" y="206324"/>
                  </a:lnTo>
                  <a:lnTo>
                    <a:pt x="928104" y="207022"/>
                  </a:lnTo>
                  <a:lnTo>
                    <a:pt x="928104" y="206324"/>
                  </a:lnTo>
                  <a:lnTo>
                    <a:pt x="928104" y="207022"/>
                  </a:lnTo>
                  <a:lnTo>
                    <a:pt x="928193" y="207022"/>
                  </a:lnTo>
                  <a:lnTo>
                    <a:pt x="928193" y="206324"/>
                  </a:lnTo>
                  <a:lnTo>
                    <a:pt x="928193" y="207022"/>
                  </a:lnTo>
                  <a:lnTo>
                    <a:pt x="928193" y="204292"/>
                  </a:lnTo>
                  <a:lnTo>
                    <a:pt x="928193" y="204990"/>
                  </a:lnTo>
                  <a:lnTo>
                    <a:pt x="928243" y="204292"/>
                  </a:lnTo>
                  <a:lnTo>
                    <a:pt x="928243" y="204990"/>
                  </a:lnTo>
                  <a:lnTo>
                    <a:pt x="928243" y="203594"/>
                  </a:lnTo>
                  <a:lnTo>
                    <a:pt x="928243" y="204292"/>
                  </a:lnTo>
                  <a:lnTo>
                    <a:pt x="928243" y="202959"/>
                  </a:lnTo>
                  <a:lnTo>
                    <a:pt x="928243" y="203594"/>
                  </a:lnTo>
                  <a:lnTo>
                    <a:pt x="928294" y="203594"/>
                  </a:lnTo>
                  <a:lnTo>
                    <a:pt x="928294" y="202260"/>
                  </a:lnTo>
                  <a:lnTo>
                    <a:pt x="928294" y="202959"/>
                  </a:lnTo>
                  <a:lnTo>
                    <a:pt x="928294" y="202260"/>
                  </a:lnTo>
                  <a:lnTo>
                    <a:pt x="928294" y="202959"/>
                  </a:lnTo>
                  <a:lnTo>
                    <a:pt x="928345" y="202959"/>
                  </a:lnTo>
                  <a:lnTo>
                    <a:pt x="928345" y="202260"/>
                  </a:lnTo>
                  <a:lnTo>
                    <a:pt x="928345" y="203594"/>
                  </a:lnTo>
                  <a:lnTo>
                    <a:pt x="928447" y="203594"/>
                  </a:lnTo>
                  <a:lnTo>
                    <a:pt x="928447" y="202959"/>
                  </a:lnTo>
                  <a:lnTo>
                    <a:pt x="928447" y="203594"/>
                  </a:lnTo>
                  <a:lnTo>
                    <a:pt x="928447" y="202959"/>
                  </a:lnTo>
                  <a:lnTo>
                    <a:pt x="928447" y="204292"/>
                  </a:lnTo>
                  <a:lnTo>
                    <a:pt x="928447" y="203594"/>
                  </a:lnTo>
                  <a:lnTo>
                    <a:pt x="928447" y="204292"/>
                  </a:lnTo>
                  <a:lnTo>
                    <a:pt x="928497" y="203594"/>
                  </a:lnTo>
                  <a:lnTo>
                    <a:pt x="928497" y="204292"/>
                  </a:lnTo>
                  <a:lnTo>
                    <a:pt x="928497" y="203594"/>
                  </a:lnTo>
                  <a:lnTo>
                    <a:pt x="928497" y="204292"/>
                  </a:lnTo>
                  <a:lnTo>
                    <a:pt x="928548" y="204292"/>
                  </a:lnTo>
                  <a:lnTo>
                    <a:pt x="928548" y="204990"/>
                  </a:lnTo>
                  <a:lnTo>
                    <a:pt x="928548" y="204292"/>
                  </a:lnTo>
                  <a:lnTo>
                    <a:pt x="928548" y="204990"/>
                  </a:lnTo>
                  <a:lnTo>
                    <a:pt x="928548" y="204292"/>
                  </a:lnTo>
                  <a:lnTo>
                    <a:pt x="928650" y="204292"/>
                  </a:lnTo>
                  <a:lnTo>
                    <a:pt x="928650" y="206324"/>
                  </a:lnTo>
                  <a:lnTo>
                    <a:pt x="928650" y="204990"/>
                  </a:lnTo>
                  <a:lnTo>
                    <a:pt x="928688" y="204990"/>
                  </a:lnTo>
                  <a:lnTo>
                    <a:pt x="928688" y="204292"/>
                  </a:lnTo>
                  <a:lnTo>
                    <a:pt x="928688" y="204990"/>
                  </a:lnTo>
                  <a:lnTo>
                    <a:pt x="928688" y="204292"/>
                  </a:lnTo>
                  <a:lnTo>
                    <a:pt x="928688" y="204990"/>
                  </a:lnTo>
                  <a:lnTo>
                    <a:pt x="928688" y="203594"/>
                  </a:lnTo>
                  <a:lnTo>
                    <a:pt x="928739" y="203594"/>
                  </a:lnTo>
                  <a:lnTo>
                    <a:pt x="928739" y="204292"/>
                  </a:lnTo>
                  <a:lnTo>
                    <a:pt x="928739" y="202959"/>
                  </a:lnTo>
                  <a:lnTo>
                    <a:pt x="928739" y="203594"/>
                  </a:lnTo>
                  <a:lnTo>
                    <a:pt x="928739" y="202959"/>
                  </a:lnTo>
                  <a:lnTo>
                    <a:pt x="928790" y="202959"/>
                  </a:lnTo>
                  <a:lnTo>
                    <a:pt x="928790" y="200876"/>
                  </a:lnTo>
                  <a:lnTo>
                    <a:pt x="928790" y="202260"/>
                  </a:lnTo>
                  <a:lnTo>
                    <a:pt x="928790" y="200876"/>
                  </a:lnTo>
                  <a:lnTo>
                    <a:pt x="928790" y="202959"/>
                  </a:lnTo>
                  <a:lnTo>
                    <a:pt x="928891" y="202959"/>
                  </a:lnTo>
                  <a:lnTo>
                    <a:pt x="928891" y="200876"/>
                  </a:lnTo>
                  <a:lnTo>
                    <a:pt x="928891" y="203594"/>
                  </a:lnTo>
                  <a:lnTo>
                    <a:pt x="928891" y="202959"/>
                  </a:lnTo>
                  <a:lnTo>
                    <a:pt x="928891" y="203594"/>
                  </a:lnTo>
                  <a:lnTo>
                    <a:pt x="928891" y="202959"/>
                  </a:lnTo>
                  <a:lnTo>
                    <a:pt x="928942" y="202959"/>
                  </a:lnTo>
                  <a:lnTo>
                    <a:pt x="928942" y="202260"/>
                  </a:lnTo>
                  <a:lnTo>
                    <a:pt x="928942" y="203594"/>
                  </a:lnTo>
                  <a:lnTo>
                    <a:pt x="928942" y="202959"/>
                  </a:lnTo>
                  <a:lnTo>
                    <a:pt x="928993" y="202959"/>
                  </a:lnTo>
                  <a:lnTo>
                    <a:pt x="928993" y="202260"/>
                  </a:lnTo>
                  <a:lnTo>
                    <a:pt x="928993" y="203594"/>
                  </a:lnTo>
                  <a:lnTo>
                    <a:pt x="929094" y="202959"/>
                  </a:lnTo>
                  <a:lnTo>
                    <a:pt x="929094" y="204292"/>
                  </a:lnTo>
                  <a:lnTo>
                    <a:pt x="929094" y="203594"/>
                  </a:lnTo>
                  <a:lnTo>
                    <a:pt x="929094" y="204292"/>
                  </a:lnTo>
                  <a:lnTo>
                    <a:pt x="929145" y="204292"/>
                  </a:lnTo>
                  <a:lnTo>
                    <a:pt x="929145" y="204990"/>
                  </a:lnTo>
                  <a:lnTo>
                    <a:pt x="929145" y="204292"/>
                  </a:lnTo>
                  <a:lnTo>
                    <a:pt x="929145" y="206324"/>
                  </a:lnTo>
                  <a:lnTo>
                    <a:pt x="929145" y="204292"/>
                  </a:lnTo>
                  <a:lnTo>
                    <a:pt x="929145" y="204990"/>
                  </a:lnTo>
                  <a:lnTo>
                    <a:pt x="929196" y="204990"/>
                  </a:lnTo>
                  <a:lnTo>
                    <a:pt x="929196" y="204292"/>
                  </a:lnTo>
                  <a:lnTo>
                    <a:pt x="929196" y="204990"/>
                  </a:lnTo>
                  <a:lnTo>
                    <a:pt x="929196" y="204292"/>
                  </a:lnTo>
                  <a:lnTo>
                    <a:pt x="929196" y="204990"/>
                  </a:lnTo>
                  <a:lnTo>
                    <a:pt x="929196" y="203594"/>
                  </a:lnTo>
                  <a:lnTo>
                    <a:pt x="929234" y="204292"/>
                  </a:lnTo>
                  <a:lnTo>
                    <a:pt x="929234" y="202260"/>
                  </a:lnTo>
                  <a:lnTo>
                    <a:pt x="929336" y="202260"/>
                  </a:lnTo>
                  <a:lnTo>
                    <a:pt x="929336" y="202959"/>
                  </a:lnTo>
                  <a:lnTo>
                    <a:pt x="929336" y="200876"/>
                  </a:lnTo>
                  <a:lnTo>
                    <a:pt x="929387" y="200876"/>
                  </a:lnTo>
                  <a:lnTo>
                    <a:pt x="929387" y="202260"/>
                  </a:lnTo>
                  <a:lnTo>
                    <a:pt x="929387" y="200876"/>
                  </a:lnTo>
                  <a:lnTo>
                    <a:pt x="929387" y="203594"/>
                  </a:lnTo>
                  <a:lnTo>
                    <a:pt x="929387" y="202959"/>
                  </a:lnTo>
                  <a:lnTo>
                    <a:pt x="929437" y="202260"/>
                  </a:lnTo>
                  <a:lnTo>
                    <a:pt x="929437" y="203594"/>
                  </a:lnTo>
                  <a:lnTo>
                    <a:pt x="929437" y="202959"/>
                  </a:lnTo>
                  <a:lnTo>
                    <a:pt x="929539" y="202959"/>
                  </a:lnTo>
                  <a:lnTo>
                    <a:pt x="929539" y="202260"/>
                  </a:lnTo>
                  <a:lnTo>
                    <a:pt x="929539" y="203594"/>
                  </a:lnTo>
                  <a:lnTo>
                    <a:pt x="929539" y="202959"/>
                  </a:lnTo>
                  <a:lnTo>
                    <a:pt x="929539" y="203594"/>
                  </a:lnTo>
                  <a:lnTo>
                    <a:pt x="929539" y="202959"/>
                  </a:lnTo>
                  <a:lnTo>
                    <a:pt x="929539" y="203594"/>
                  </a:lnTo>
                  <a:lnTo>
                    <a:pt x="929590" y="202959"/>
                  </a:lnTo>
                  <a:lnTo>
                    <a:pt x="929590" y="203594"/>
                  </a:lnTo>
                  <a:lnTo>
                    <a:pt x="929590" y="202959"/>
                  </a:lnTo>
                  <a:lnTo>
                    <a:pt x="929590" y="203594"/>
                  </a:lnTo>
                  <a:lnTo>
                    <a:pt x="929641" y="203594"/>
                  </a:lnTo>
                  <a:lnTo>
                    <a:pt x="929641" y="204292"/>
                  </a:lnTo>
                  <a:lnTo>
                    <a:pt x="929641" y="203594"/>
                  </a:lnTo>
                  <a:lnTo>
                    <a:pt x="929641" y="204292"/>
                  </a:lnTo>
                  <a:lnTo>
                    <a:pt x="929641" y="203594"/>
                  </a:lnTo>
                  <a:lnTo>
                    <a:pt x="929641" y="204292"/>
                  </a:lnTo>
                  <a:lnTo>
                    <a:pt x="929691" y="204292"/>
                  </a:lnTo>
                  <a:lnTo>
                    <a:pt x="929691" y="203594"/>
                  </a:lnTo>
                  <a:lnTo>
                    <a:pt x="929691" y="204292"/>
                  </a:lnTo>
                  <a:lnTo>
                    <a:pt x="929691" y="203594"/>
                  </a:lnTo>
                  <a:lnTo>
                    <a:pt x="929780" y="203594"/>
                  </a:lnTo>
                  <a:lnTo>
                    <a:pt x="929780" y="202260"/>
                  </a:lnTo>
                  <a:lnTo>
                    <a:pt x="929831" y="202260"/>
                  </a:lnTo>
                  <a:lnTo>
                    <a:pt x="929831" y="202959"/>
                  </a:lnTo>
                  <a:lnTo>
                    <a:pt x="929831" y="202260"/>
                  </a:lnTo>
                  <a:lnTo>
                    <a:pt x="929831" y="202959"/>
                  </a:lnTo>
                  <a:lnTo>
                    <a:pt x="929831" y="202260"/>
                  </a:lnTo>
                  <a:lnTo>
                    <a:pt x="929831" y="202959"/>
                  </a:lnTo>
                  <a:lnTo>
                    <a:pt x="929882" y="202959"/>
                  </a:lnTo>
                  <a:lnTo>
                    <a:pt x="929882" y="202260"/>
                  </a:lnTo>
                  <a:lnTo>
                    <a:pt x="929882" y="204292"/>
                  </a:lnTo>
                  <a:lnTo>
                    <a:pt x="929882" y="203594"/>
                  </a:lnTo>
                  <a:lnTo>
                    <a:pt x="929882" y="204292"/>
                  </a:lnTo>
                  <a:lnTo>
                    <a:pt x="929882" y="202959"/>
                  </a:lnTo>
                  <a:lnTo>
                    <a:pt x="929933" y="202959"/>
                  </a:lnTo>
                  <a:lnTo>
                    <a:pt x="929933" y="203594"/>
                  </a:lnTo>
                  <a:lnTo>
                    <a:pt x="929933" y="202959"/>
                  </a:lnTo>
                  <a:lnTo>
                    <a:pt x="929933" y="204292"/>
                  </a:lnTo>
                  <a:lnTo>
                    <a:pt x="929933" y="203594"/>
                  </a:lnTo>
                  <a:lnTo>
                    <a:pt x="930034" y="203594"/>
                  </a:lnTo>
                  <a:lnTo>
                    <a:pt x="930034" y="204292"/>
                  </a:lnTo>
                  <a:lnTo>
                    <a:pt x="930034" y="203594"/>
                  </a:lnTo>
                  <a:lnTo>
                    <a:pt x="930034" y="204292"/>
                  </a:lnTo>
                  <a:lnTo>
                    <a:pt x="930034" y="203594"/>
                  </a:lnTo>
                  <a:lnTo>
                    <a:pt x="930085" y="204292"/>
                  </a:lnTo>
                  <a:lnTo>
                    <a:pt x="930085" y="204990"/>
                  </a:lnTo>
                  <a:lnTo>
                    <a:pt x="930136" y="204990"/>
                  </a:lnTo>
                  <a:lnTo>
                    <a:pt x="930136" y="204292"/>
                  </a:lnTo>
                  <a:lnTo>
                    <a:pt x="930136" y="204990"/>
                  </a:lnTo>
                  <a:lnTo>
                    <a:pt x="930136" y="204292"/>
                  </a:lnTo>
                  <a:lnTo>
                    <a:pt x="930136" y="204990"/>
                  </a:lnTo>
                  <a:lnTo>
                    <a:pt x="930136" y="204292"/>
                  </a:lnTo>
                  <a:lnTo>
                    <a:pt x="930237" y="204292"/>
                  </a:lnTo>
                  <a:lnTo>
                    <a:pt x="930237" y="204990"/>
                  </a:lnTo>
                  <a:lnTo>
                    <a:pt x="930237" y="204292"/>
                  </a:lnTo>
                  <a:lnTo>
                    <a:pt x="930276" y="203594"/>
                  </a:lnTo>
                  <a:lnTo>
                    <a:pt x="930276" y="202959"/>
                  </a:lnTo>
                  <a:lnTo>
                    <a:pt x="930326" y="202260"/>
                  </a:lnTo>
                  <a:lnTo>
                    <a:pt x="930326" y="204292"/>
                  </a:lnTo>
                  <a:lnTo>
                    <a:pt x="930326" y="202959"/>
                  </a:lnTo>
                  <a:lnTo>
                    <a:pt x="930377" y="203594"/>
                  </a:lnTo>
                  <a:lnTo>
                    <a:pt x="930377" y="204990"/>
                  </a:lnTo>
                  <a:lnTo>
                    <a:pt x="930377" y="204292"/>
                  </a:lnTo>
                  <a:lnTo>
                    <a:pt x="930479" y="204292"/>
                  </a:lnTo>
                  <a:lnTo>
                    <a:pt x="930479" y="204990"/>
                  </a:lnTo>
                  <a:lnTo>
                    <a:pt x="930479" y="204292"/>
                  </a:lnTo>
                  <a:lnTo>
                    <a:pt x="930479" y="204990"/>
                  </a:lnTo>
                  <a:lnTo>
                    <a:pt x="930479" y="204292"/>
                  </a:lnTo>
                  <a:lnTo>
                    <a:pt x="930479" y="204990"/>
                  </a:lnTo>
                  <a:lnTo>
                    <a:pt x="930530" y="204990"/>
                  </a:lnTo>
                  <a:lnTo>
                    <a:pt x="930530" y="204292"/>
                  </a:lnTo>
                  <a:lnTo>
                    <a:pt x="930530" y="204990"/>
                  </a:lnTo>
                  <a:lnTo>
                    <a:pt x="930530" y="204292"/>
                  </a:lnTo>
                  <a:lnTo>
                    <a:pt x="930580" y="204292"/>
                  </a:lnTo>
                  <a:lnTo>
                    <a:pt x="930580" y="204990"/>
                  </a:lnTo>
                  <a:lnTo>
                    <a:pt x="930580" y="204292"/>
                  </a:lnTo>
                  <a:lnTo>
                    <a:pt x="930580" y="204990"/>
                  </a:lnTo>
                  <a:lnTo>
                    <a:pt x="930580" y="204292"/>
                  </a:lnTo>
                  <a:lnTo>
                    <a:pt x="930580" y="204990"/>
                  </a:lnTo>
                  <a:lnTo>
                    <a:pt x="930580" y="204292"/>
                  </a:lnTo>
                  <a:lnTo>
                    <a:pt x="930682" y="204292"/>
                  </a:lnTo>
                  <a:lnTo>
                    <a:pt x="930682" y="204990"/>
                  </a:lnTo>
                  <a:lnTo>
                    <a:pt x="930682" y="204292"/>
                  </a:lnTo>
                  <a:lnTo>
                    <a:pt x="930682" y="204990"/>
                  </a:lnTo>
                  <a:lnTo>
                    <a:pt x="930682" y="204292"/>
                  </a:lnTo>
                  <a:lnTo>
                    <a:pt x="930733" y="204292"/>
                  </a:lnTo>
                  <a:lnTo>
                    <a:pt x="930733" y="202959"/>
                  </a:lnTo>
                  <a:lnTo>
                    <a:pt x="930733" y="203594"/>
                  </a:lnTo>
                  <a:lnTo>
                    <a:pt x="930733" y="202959"/>
                  </a:lnTo>
                  <a:lnTo>
                    <a:pt x="930783" y="203594"/>
                  </a:lnTo>
                  <a:lnTo>
                    <a:pt x="930783" y="202260"/>
                  </a:lnTo>
                  <a:lnTo>
                    <a:pt x="930783" y="202959"/>
                  </a:lnTo>
                  <a:lnTo>
                    <a:pt x="930783" y="202260"/>
                  </a:lnTo>
                  <a:lnTo>
                    <a:pt x="930783" y="202959"/>
                  </a:lnTo>
                  <a:lnTo>
                    <a:pt x="930783" y="200876"/>
                  </a:lnTo>
                  <a:lnTo>
                    <a:pt x="930822" y="200876"/>
                  </a:lnTo>
                  <a:lnTo>
                    <a:pt x="930822" y="203594"/>
                  </a:lnTo>
                  <a:lnTo>
                    <a:pt x="930822" y="202260"/>
                  </a:lnTo>
                  <a:lnTo>
                    <a:pt x="930822" y="203594"/>
                  </a:lnTo>
                  <a:lnTo>
                    <a:pt x="930923" y="204292"/>
                  </a:lnTo>
                  <a:lnTo>
                    <a:pt x="930923" y="203594"/>
                  </a:lnTo>
                  <a:lnTo>
                    <a:pt x="930923" y="204292"/>
                  </a:lnTo>
                  <a:lnTo>
                    <a:pt x="930974" y="204292"/>
                  </a:lnTo>
                  <a:lnTo>
                    <a:pt x="930974" y="204990"/>
                  </a:lnTo>
                  <a:lnTo>
                    <a:pt x="930974" y="204292"/>
                  </a:lnTo>
                  <a:lnTo>
                    <a:pt x="931025" y="204292"/>
                  </a:lnTo>
                  <a:lnTo>
                    <a:pt x="931025" y="204990"/>
                  </a:lnTo>
                  <a:lnTo>
                    <a:pt x="931025" y="204292"/>
                  </a:lnTo>
                  <a:lnTo>
                    <a:pt x="931025" y="204990"/>
                  </a:lnTo>
                  <a:lnTo>
                    <a:pt x="931126" y="204990"/>
                  </a:lnTo>
                  <a:lnTo>
                    <a:pt x="931126" y="204292"/>
                  </a:lnTo>
                  <a:lnTo>
                    <a:pt x="931126" y="206324"/>
                  </a:lnTo>
                  <a:lnTo>
                    <a:pt x="931126" y="204990"/>
                  </a:lnTo>
                  <a:lnTo>
                    <a:pt x="931126" y="206324"/>
                  </a:lnTo>
                  <a:lnTo>
                    <a:pt x="931126" y="204990"/>
                  </a:lnTo>
                  <a:lnTo>
                    <a:pt x="931177" y="204990"/>
                  </a:lnTo>
                  <a:lnTo>
                    <a:pt x="931177" y="206324"/>
                  </a:lnTo>
                  <a:lnTo>
                    <a:pt x="931177" y="204990"/>
                  </a:lnTo>
                  <a:lnTo>
                    <a:pt x="931228" y="204292"/>
                  </a:lnTo>
                  <a:lnTo>
                    <a:pt x="931228" y="203594"/>
                  </a:lnTo>
                  <a:lnTo>
                    <a:pt x="931228" y="204292"/>
                  </a:lnTo>
                  <a:lnTo>
                    <a:pt x="931228" y="203594"/>
                  </a:lnTo>
                  <a:lnTo>
                    <a:pt x="931279" y="203594"/>
                  </a:lnTo>
                  <a:lnTo>
                    <a:pt x="931279" y="202959"/>
                  </a:lnTo>
                  <a:lnTo>
                    <a:pt x="931279" y="204292"/>
                  </a:lnTo>
                  <a:lnTo>
                    <a:pt x="931279" y="203594"/>
                  </a:lnTo>
                  <a:lnTo>
                    <a:pt x="931368" y="202959"/>
                  </a:lnTo>
                  <a:lnTo>
                    <a:pt x="931368" y="204990"/>
                  </a:lnTo>
                  <a:lnTo>
                    <a:pt x="931368" y="204292"/>
                  </a:lnTo>
                  <a:lnTo>
                    <a:pt x="931368" y="204990"/>
                  </a:lnTo>
                  <a:lnTo>
                    <a:pt x="931368" y="204292"/>
                  </a:lnTo>
                  <a:lnTo>
                    <a:pt x="931418" y="204292"/>
                  </a:lnTo>
                  <a:lnTo>
                    <a:pt x="931418" y="203594"/>
                  </a:lnTo>
                  <a:lnTo>
                    <a:pt x="931418" y="206324"/>
                  </a:lnTo>
                  <a:lnTo>
                    <a:pt x="931418" y="204292"/>
                  </a:lnTo>
                  <a:lnTo>
                    <a:pt x="931469" y="204292"/>
                  </a:lnTo>
                  <a:lnTo>
                    <a:pt x="931469" y="206324"/>
                  </a:lnTo>
                  <a:lnTo>
                    <a:pt x="931469" y="204990"/>
                  </a:lnTo>
                  <a:lnTo>
                    <a:pt x="931622" y="204990"/>
                  </a:lnTo>
                  <a:lnTo>
                    <a:pt x="931622" y="206324"/>
                  </a:lnTo>
                  <a:lnTo>
                    <a:pt x="931622" y="204292"/>
                  </a:lnTo>
                  <a:lnTo>
                    <a:pt x="931622" y="204990"/>
                  </a:lnTo>
                  <a:lnTo>
                    <a:pt x="931672" y="206324"/>
                  </a:lnTo>
                  <a:lnTo>
                    <a:pt x="931672" y="203594"/>
                  </a:lnTo>
                  <a:lnTo>
                    <a:pt x="931672" y="204292"/>
                  </a:lnTo>
                  <a:lnTo>
                    <a:pt x="931672" y="203594"/>
                  </a:lnTo>
                  <a:lnTo>
                    <a:pt x="931672" y="204292"/>
                  </a:lnTo>
                  <a:lnTo>
                    <a:pt x="931672" y="203594"/>
                  </a:lnTo>
                  <a:lnTo>
                    <a:pt x="931723" y="203594"/>
                  </a:lnTo>
                  <a:lnTo>
                    <a:pt x="931723" y="204292"/>
                  </a:lnTo>
                  <a:lnTo>
                    <a:pt x="931723" y="202260"/>
                  </a:lnTo>
                  <a:lnTo>
                    <a:pt x="931723" y="202959"/>
                  </a:lnTo>
                  <a:lnTo>
                    <a:pt x="931825" y="202959"/>
                  </a:lnTo>
                  <a:lnTo>
                    <a:pt x="931825" y="200876"/>
                  </a:lnTo>
                  <a:lnTo>
                    <a:pt x="931825" y="203594"/>
                  </a:lnTo>
                  <a:lnTo>
                    <a:pt x="931825" y="202959"/>
                  </a:lnTo>
                  <a:lnTo>
                    <a:pt x="931825" y="203594"/>
                  </a:lnTo>
                  <a:lnTo>
                    <a:pt x="931825" y="202260"/>
                  </a:lnTo>
                  <a:lnTo>
                    <a:pt x="931863" y="202959"/>
                  </a:lnTo>
                  <a:lnTo>
                    <a:pt x="931863" y="204292"/>
                  </a:lnTo>
                  <a:lnTo>
                    <a:pt x="931914" y="204292"/>
                  </a:lnTo>
                  <a:lnTo>
                    <a:pt x="931914" y="204990"/>
                  </a:lnTo>
                  <a:lnTo>
                    <a:pt x="931914" y="203594"/>
                  </a:lnTo>
                  <a:lnTo>
                    <a:pt x="931914" y="204292"/>
                  </a:lnTo>
                  <a:lnTo>
                    <a:pt x="931965" y="204292"/>
                  </a:lnTo>
                  <a:lnTo>
                    <a:pt x="931965" y="204990"/>
                  </a:lnTo>
                  <a:lnTo>
                    <a:pt x="932066" y="204990"/>
                  </a:lnTo>
                  <a:lnTo>
                    <a:pt x="932066" y="206324"/>
                  </a:lnTo>
                  <a:lnTo>
                    <a:pt x="932066" y="204990"/>
                  </a:lnTo>
                  <a:lnTo>
                    <a:pt x="932066" y="206324"/>
                  </a:lnTo>
                  <a:lnTo>
                    <a:pt x="932066" y="204990"/>
                  </a:lnTo>
                  <a:lnTo>
                    <a:pt x="932066" y="206324"/>
                  </a:lnTo>
                  <a:lnTo>
                    <a:pt x="932117" y="206324"/>
                  </a:lnTo>
                  <a:lnTo>
                    <a:pt x="932117" y="204990"/>
                  </a:lnTo>
                  <a:lnTo>
                    <a:pt x="932117" y="206324"/>
                  </a:lnTo>
                  <a:lnTo>
                    <a:pt x="932117" y="204990"/>
                  </a:lnTo>
                  <a:lnTo>
                    <a:pt x="932168" y="206324"/>
                  </a:lnTo>
                  <a:lnTo>
                    <a:pt x="932168" y="204292"/>
                  </a:lnTo>
                  <a:lnTo>
                    <a:pt x="932269" y="203594"/>
                  </a:lnTo>
                  <a:lnTo>
                    <a:pt x="932269" y="204292"/>
                  </a:lnTo>
                  <a:lnTo>
                    <a:pt x="932269" y="203594"/>
                  </a:lnTo>
                  <a:lnTo>
                    <a:pt x="932269" y="204292"/>
                  </a:lnTo>
                  <a:lnTo>
                    <a:pt x="932269" y="203594"/>
                  </a:lnTo>
                  <a:lnTo>
                    <a:pt x="932269" y="204292"/>
                  </a:lnTo>
                  <a:lnTo>
                    <a:pt x="932269" y="202260"/>
                  </a:lnTo>
                  <a:lnTo>
                    <a:pt x="932269" y="202959"/>
                  </a:lnTo>
                  <a:lnTo>
                    <a:pt x="932320" y="202260"/>
                  </a:lnTo>
                  <a:lnTo>
                    <a:pt x="932320" y="202959"/>
                  </a:lnTo>
                  <a:lnTo>
                    <a:pt x="932320" y="200876"/>
                  </a:lnTo>
                  <a:lnTo>
                    <a:pt x="932371" y="200876"/>
                  </a:lnTo>
                  <a:lnTo>
                    <a:pt x="932371" y="203594"/>
                  </a:lnTo>
                  <a:lnTo>
                    <a:pt x="932371" y="202959"/>
                  </a:lnTo>
                  <a:lnTo>
                    <a:pt x="932371" y="203594"/>
                  </a:lnTo>
                  <a:lnTo>
                    <a:pt x="932371" y="202260"/>
                  </a:lnTo>
                  <a:lnTo>
                    <a:pt x="932409" y="202260"/>
                  </a:lnTo>
                  <a:lnTo>
                    <a:pt x="932409" y="203594"/>
                  </a:lnTo>
                  <a:lnTo>
                    <a:pt x="932409" y="202959"/>
                  </a:lnTo>
                  <a:lnTo>
                    <a:pt x="932409" y="203594"/>
                  </a:lnTo>
                  <a:lnTo>
                    <a:pt x="932409" y="202959"/>
                  </a:lnTo>
                  <a:lnTo>
                    <a:pt x="932511" y="202959"/>
                  </a:lnTo>
                  <a:lnTo>
                    <a:pt x="932511" y="203594"/>
                  </a:lnTo>
                  <a:lnTo>
                    <a:pt x="932511" y="202959"/>
                  </a:lnTo>
                  <a:lnTo>
                    <a:pt x="932511" y="203594"/>
                  </a:lnTo>
                  <a:lnTo>
                    <a:pt x="932562" y="204292"/>
                  </a:lnTo>
                  <a:lnTo>
                    <a:pt x="932562" y="203594"/>
                  </a:lnTo>
                  <a:lnTo>
                    <a:pt x="932562" y="204292"/>
                  </a:lnTo>
                  <a:lnTo>
                    <a:pt x="932562" y="203594"/>
                  </a:lnTo>
                  <a:lnTo>
                    <a:pt x="932562" y="204292"/>
                  </a:lnTo>
                  <a:lnTo>
                    <a:pt x="932612" y="204292"/>
                  </a:lnTo>
                  <a:lnTo>
                    <a:pt x="932612" y="204990"/>
                  </a:lnTo>
                  <a:lnTo>
                    <a:pt x="932612" y="204292"/>
                  </a:lnTo>
                  <a:lnTo>
                    <a:pt x="932612" y="204990"/>
                  </a:lnTo>
                  <a:lnTo>
                    <a:pt x="932612" y="204292"/>
                  </a:lnTo>
                  <a:lnTo>
                    <a:pt x="932612" y="204990"/>
                  </a:lnTo>
                  <a:lnTo>
                    <a:pt x="932714" y="204990"/>
                  </a:lnTo>
                  <a:lnTo>
                    <a:pt x="932714" y="204292"/>
                  </a:lnTo>
                  <a:lnTo>
                    <a:pt x="932714" y="204990"/>
                  </a:lnTo>
                  <a:lnTo>
                    <a:pt x="932714" y="204292"/>
                  </a:lnTo>
                  <a:lnTo>
                    <a:pt x="932714" y="204990"/>
                  </a:lnTo>
                  <a:lnTo>
                    <a:pt x="932714" y="204292"/>
                  </a:lnTo>
                  <a:lnTo>
                    <a:pt x="932765" y="204292"/>
                  </a:lnTo>
                  <a:lnTo>
                    <a:pt x="932765" y="202959"/>
                  </a:lnTo>
                  <a:lnTo>
                    <a:pt x="932816" y="203594"/>
                  </a:lnTo>
                  <a:lnTo>
                    <a:pt x="932816" y="204292"/>
                  </a:lnTo>
                  <a:lnTo>
                    <a:pt x="932816" y="202959"/>
                  </a:lnTo>
                  <a:lnTo>
                    <a:pt x="932816" y="206324"/>
                  </a:lnTo>
                  <a:lnTo>
                    <a:pt x="932866" y="206324"/>
                  </a:lnTo>
                  <a:lnTo>
                    <a:pt x="932866" y="203594"/>
                  </a:lnTo>
                  <a:lnTo>
                    <a:pt x="932866" y="206324"/>
                  </a:lnTo>
                  <a:lnTo>
                    <a:pt x="932955" y="206324"/>
                  </a:lnTo>
                  <a:lnTo>
                    <a:pt x="932955" y="204292"/>
                  </a:lnTo>
                  <a:lnTo>
                    <a:pt x="932955" y="206324"/>
                  </a:lnTo>
                  <a:lnTo>
                    <a:pt x="932955" y="204990"/>
                  </a:lnTo>
                  <a:lnTo>
                    <a:pt x="933006" y="204990"/>
                  </a:lnTo>
                  <a:lnTo>
                    <a:pt x="933006" y="206324"/>
                  </a:lnTo>
                  <a:lnTo>
                    <a:pt x="933006" y="204990"/>
                  </a:lnTo>
                  <a:lnTo>
                    <a:pt x="933057" y="204990"/>
                  </a:lnTo>
                  <a:lnTo>
                    <a:pt x="933057" y="206324"/>
                  </a:lnTo>
                  <a:lnTo>
                    <a:pt x="933057" y="204990"/>
                  </a:lnTo>
                  <a:lnTo>
                    <a:pt x="933057" y="206324"/>
                  </a:lnTo>
                  <a:lnTo>
                    <a:pt x="933057" y="204990"/>
                  </a:lnTo>
                  <a:lnTo>
                    <a:pt x="933057" y="206324"/>
                  </a:lnTo>
                  <a:lnTo>
                    <a:pt x="933057" y="204990"/>
                  </a:lnTo>
                  <a:lnTo>
                    <a:pt x="933108" y="204990"/>
                  </a:lnTo>
                  <a:lnTo>
                    <a:pt x="933108" y="206324"/>
                  </a:lnTo>
                  <a:lnTo>
                    <a:pt x="933108" y="204990"/>
                  </a:lnTo>
                  <a:lnTo>
                    <a:pt x="933108" y="206324"/>
                  </a:lnTo>
                  <a:lnTo>
                    <a:pt x="933108" y="204990"/>
                  </a:lnTo>
                  <a:lnTo>
                    <a:pt x="933108" y="206324"/>
                  </a:lnTo>
                  <a:lnTo>
                    <a:pt x="933108" y="204990"/>
                  </a:lnTo>
                  <a:lnTo>
                    <a:pt x="933108" y="206324"/>
                  </a:lnTo>
                  <a:lnTo>
                    <a:pt x="933209" y="204990"/>
                  </a:lnTo>
                  <a:lnTo>
                    <a:pt x="933209" y="204292"/>
                  </a:lnTo>
                  <a:lnTo>
                    <a:pt x="933209" y="204990"/>
                  </a:lnTo>
                  <a:lnTo>
                    <a:pt x="933209" y="204292"/>
                  </a:lnTo>
                  <a:lnTo>
                    <a:pt x="933260" y="204292"/>
                  </a:lnTo>
                  <a:lnTo>
                    <a:pt x="933260" y="203594"/>
                  </a:lnTo>
                  <a:lnTo>
                    <a:pt x="933260" y="204292"/>
                  </a:lnTo>
                  <a:lnTo>
                    <a:pt x="933260" y="203594"/>
                  </a:lnTo>
                  <a:lnTo>
                    <a:pt x="933260" y="204292"/>
                  </a:lnTo>
                  <a:lnTo>
                    <a:pt x="933260" y="202959"/>
                  </a:lnTo>
                  <a:lnTo>
                    <a:pt x="933260" y="206324"/>
                  </a:lnTo>
                  <a:lnTo>
                    <a:pt x="933311" y="204990"/>
                  </a:lnTo>
                  <a:lnTo>
                    <a:pt x="933311" y="203594"/>
                  </a:lnTo>
                  <a:lnTo>
                    <a:pt x="933311" y="207022"/>
                  </a:lnTo>
                  <a:lnTo>
                    <a:pt x="933311" y="206324"/>
                  </a:lnTo>
                  <a:lnTo>
                    <a:pt x="933412" y="206324"/>
                  </a:lnTo>
                  <a:lnTo>
                    <a:pt x="933412" y="204990"/>
                  </a:lnTo>
                  <a:lnTo>
                    <a:pt x="933412" y="207022"/>
                  </a:lnTo>
                  <a:lnTo>
                    <a:pt x="933412" y="206324"/>
                  </a:lnTo>
                  <a:lnTo>
                    <a:pt x="933451" y="206324"/>
                  </a:lnTo>
                  <a:lnTo>
                    <a:pt x="933451" y="204990"/>
                  </a:lnTo>
                  <a:lnTo>
                    <a:pt x="933451" y="206324"/>
                  </a:lnTo>
                  <a:lnTo>
                    <a:pt x="933501" y="206324"/>
                  </a:lnTo>
                  <a:lnTo>
                    <a:pt x="933501" y="207022"/>
                  </a:lnTo>
                  <a:lnTo>
                    <a:pt x="933501" y="206324"/>
                  </a:lnTo>
                  <a:lnTo>
                    <a:pt x="933501" y="207022"/>
                  </a:lnTo>
                  <a:lnTo>
                    <a:pt x="933501" y="206324"/>
                  </a:lnTo>
                  <a:lnTo>
                    <a:pt x="933552" y="206324"/>
                  </a:lnTo>
                  <a:lnTo>
                    <a:pt x="933552" y="204990"/>
                  </a:lnTo>
                  <a:lnTo>
                    <a:pt x="933552" y="206324"/>
                  </a:lnTo>
                  <a:lnTo>
                    <a:pt x="933552" y="204990"/>
                  </a:lnTo>
                  <a:lnTo>
                    <a:pt x="933654" y="204990"/>
                  </a:lnTo>
                  <a:lnTo>
                    <a:pt x="933654" y="206324"/>
                  </a:lnTo>
                  <a:lnTo>
                    <a:pt x="933654" y="204292"/>
                  </a:lnTo>
                  <a:lnTo>
                    <a:pt x="933705" y="204292"/>
                  </a:lnTo>
                  <a:lnTo>
                    <a:pt x="933705" y="202959"/>
                  </a:lnTo>
                  <a:lnTo>
                    <a:pt x="933705" y="203594"/>
                  </a:lnTo>
                  <a:lnTo>
                    <a:pt x="933705" y="202959"/>
                  </a:lnTo>
                  <a:lnTo>
                    <a:pt x="933705" y="203594"/>
                  </a:lnTo>
                  <a:lnTo>
                    <a:pt x="933755" y="202959"/>
                  </a:lnTo>
                  <a:lnTo>
                    <a:pt x="933755" y="203594"/>
                  </a:lnTo>
                  <a:lnTo>
                    <a:pt x="933755" y="202959"/>
                  </a:lnTo>
                  <a:lnTo>
                    <a:pt x="933755" y="204990"/>
                  </a:lnTo>
                  <a:lnTo>
                    <a:pt x="933755" y="203594"/>
                  </a:lnTo>
                  <a:lnTo>
                    <a:pt x="933857" y="203594"/>
                  </a:lnTo>
                  <a:lnTo>
                    <a:pt x="933857" y="207022"/>
                  </a:lnTo>
                  <a:lnTo>
                    <a:pt x="933857" y="204292"/>
                  </a:lnTo>
                  <a:lnTo>
                    <a:pt x="933857" y="204990"/>
                  </a:lnTo>
                  <a:lnTo>
                    <a:pt x="933908" y="204990"/>
                  </a:lnTo>
                  <a:lnTo>
                    <a:pt x="933908" y="207022"/>
                  </a:lnTo>
                  <a:lnTo>
                    <a:pt x="933908" y="204990"/>
                  </a:lnTo>
                  <a:lnTo>
                    <a:pt x="933908" y="206324"/>
                  </a:lnTo>
                  <a:lnTo>
                    <a:pt x="933958" y="206324"/>
                  </a:lnTo>
                  <a:lnTo>
                    <a:pt x="933958" y="207022"/>
                  </a:lnTo>
                  <a:lnTo>
                    <a:pt x="933997" y="207022"/>
                  </a:lnTo>
                  <a:lnTo>
                    <a:pt x="933997" y="206324"/>
                  </a:lnTo>
                  <a:lnTo>
                    <a:pt x="933997" y="207022"/>
                  </a:lnTo>
                  <a:lnTo>
                    <a:pt x="933997" y="206324"/>
                  </a:lnTo>
                  <a:lnTo>
                    <a:pt x="933997" y="207022"/>
                  </a:lnTo>
                  <a:lnTo>
                    <a:pt x="934098" y="207022"/>
                  </a:lnTo>
                  <a:lnTo>
                    <a:pt x="934098" y="206324"/>
                  </a:lnTo>
                  <a:lnTo>
                    <a:pt x="934098" y="207022"/>
                  </a:lnTo>
                  <a:lnTo>
                    <a:pt x="934098" y="204990"/>
                  </a:lnTo>
                  <a:lnTo>
                    <a:pt x="934098" y="207022"/>
                  </a:lnTo>
                  <a:lnTo>
                    <a:pt x="934098" y="206324"/>
                  </a:lnTo>
                  <a:lnTo>
                    <a:pt x="934149" y="206324"/>
                  </a:lnTo>
                  <a:lnTo>
                    <a:pt x="934149" y="204292"/>
                  </a:lnTo>
                  <a:lnTo>
                    <a:pt x="934200" y="204292"/>
                  </a:lnTo>
                  <a:lnTo>
                    <a:pt x="934200" y="203594"/>
                  </a:lnTo>
                  <a:lnTo>
                    <a:pt x="934200" y="204292"/>
                  </a:lnTo>
                  <a:lnTo>
                    <a:pt x="934200" y="202959"/>
                  </a:lnTo>
                  <a:lnTo>
                    <a:pt x="934301" y="203594"/>
                  </a:lnTo>
                  <a:lnTo>
                    <a:pt x="934301" y="204292"/>
                  </a:lnTo>
                  <a:lnTo>
                    <a:pt x="934301" y="202959"/>
                  </a:lnTo>
                  <a:lnTo>
                    <a:pt x="934301" y="204292"/>
                  </a:lnTo>
                  <a:lnTo>
                    <a:pt x="934352" y="204990"/>
                  </a:lnTo>
                  <a:lnTo>
                    <a:pt x="934352" y="206324"/>
                  </a:lnTo>
                  <a:lnTo>
                    <a:pt x="934352" y="204292"/>
                  </a:lnTo>
                  <a:lnTo>
                    <a:pt x="934352" y="204990"/>
                  </a:lnTo>
                  <a:lnTo>
                    <a:pt x="934403" y="206324"/>
                  </a:lnTo>
                  <a:lnTo>
                    <a:pt x="934403" y="204990"/>
                  </a:lnTo>
                  <a:lnTo>
                    <a:pt x="934403" y="206324"/>
                  </a:lnTo>
                  <a:lnTo>
                    <a:pt x="934403" y="204990"/>
                  </a:lnTo>
                  <a:lnTo>
                    <a:pt x="934403" y="206324"/>
                  </a:lnTo>
                  <a:lnTo>
                    <a:pt x="934403" y="204990"/>
                  </a:lnTo>
                  <a:lnTo>
                    <a:pt x="934403" y="207022"/>
                  </a:lnTo>
                  <a:lnTo>
                    <a:pt x="934454" y="206324"/>
                  </a:lnTo>
                  <a:lnTo>
                    <a:pt x="934543" y="206324"/>
                  </a:lnTo>
                  <a:lnTo>
                    <a:pt x="934543" y="207022"/>
                  </a:lnTo>
                  <a:lnTo>
                    <a:pt x="934543" y="206324"/>
                  </a:lnTo>
                  <a:lnTo>
                    <a:pt x="934543" y="207022"/>
                  </a:lnTo>
                  <a:lnTo>
                    <a:pt x="934593" y="207022"/>
                  </a:lnTo>
                  <a:lnTo>
                    <a:pt x="934593" y="204990"/>
                  </a:lnTo>
                  <a:lnTo>
                    <a:pt x="934593" y="206324"/>
                  </a:lnTo>
                  <a:lnTo>
                    <a:pt x="934644" y="206324"/>
                  </a:lnTo>
                  <a:lnTo>
                    <a:pt x="934644" y="204990"/>
                  </a:lnTo>
                  <a:lnTo>
                    <a:pt x="934644" y="206324"/>
                  </a:lnTo>
                  <a:lnTo>
                    <a:pt x="934644" y="203594"/>
                  </a:lnTo>
                  <a:lnTo>
                    <a:pt x="934695" y="204292"/>
                  </a:lnTo>
                  <a:lnTo>
                    <a:pt x="934695" y="202959"/>
                  </a:lnTo>
                  <a:lnTo>
                    <a:pt x="934695" y="204292"/>
                  </a:lnTo>
                  <a:lnTo>
                    <a:pt x="934797" y="204292"/>
                  </a:lnTo>
                  <a:lnTo>
                    <a:pt x="934797" y="203594"/>
                  </a:lnTo>
                  <a:lnTo>
                    <a:pt x="934797" y="204292"/>
                  </a:lnTo>
                  <a:lnTo>
                    <a:pt x="934797" y="202959"/>
                  </a:lnTo>
                  <a:lnTo>
                    <a:pt x="934797" y="204990"/>
                  </a:lnTo>
                  <a:lnTo>
                    <a:pt x="934797" y="204292"/>
                  </a:lnTo>
                  <a:lnTo>
                    <a:pt x="934847" y="204990"/>
                  </a:lnTo>
                  <a:lnTo>
                    <a:pt x="934847" y="204292"/>
                  </a:lnTo>
                  <a:lnTo>
                    <a:pt x="934847" y="204990"/>
                  </a:lnTo>
                  <a:lnTo>
                    <a:pt x="934898" y="204990"/>
                  </a:lnTo>
                  <a:lnTo>
                    <a:pt x="934898" y="206324"/>
                  </a:lnTo>
                  <a:lnTo>
                    <a:pt x="934898" y="204990"/>
                  </a:lnTo>
                  <a:lnTo>
                    <a:pt x="934898" y="206324"/>
                  </a:lnTo>
                  <a:lnTo>
                    <a:pt x="934898" y="204990"/>
                  </a:lnTo>
                  <a:lnTo>
                    <a:pt x="934898" y="206324"/>
                  </a:lnTo>
                  <a:lnTo>
                    <a:pt x="935000" y="206324"/>
                  </a:lnTo>
                  <a:lnTo>
                    <a:pt x="935000" y="204990"/>
                  </a:lnTo>
                  <a:lnTo>
                    <a:pt x="935000" y="206324"/>
                  </a:lnTo>
                  <a:lnTo>
                    <a:pt x="935000" y="204990"/>
                  </a:lnTo>
                  <a:lnTo>
                    <a:pt x="935000" y="206324"/>
                  </a:lnTo>
                  <a:lnTo>
                    <a:pt x="935089" y="206324"/>
                  </a:lnTo>
                  <a:lnTo>
                    <a:pt x="935089" y="204990"/>
                  </a:lnTo>
                  <a:lnTo>
                    <a:pt x="935089" y="206324"/>
                  </a:lnTo>
                  <a:lnTo>
                    <a:pt x="935089" y="204990"/>
                  </a:lnTo>
                  <a:lnTo>
                    <a:pt x="935089" y="206324"/>
                  </a:lnTo>
                  <a:lnTo>
                    <a:pt x="935089" y="204990"/>
                  </a:lnTo>
                  <a:lnTo>
                    <a:pt x="935140" y="204990"/>
                  </a:lnTo>
                  <a:lnTo>
                    <a:pt x="935140" y="204292"/>
                  </a:lnTo>
                  <a:lnTo>
                    <a:pt x="935140" y="204990"/>
                  </a:lnTo>
                  <a:lnTo>
                    <a:pt x="935140" y="204292"/>
                  </a:lnTo>
                  <a:lnTo>
                    <a:pt x="935140" y="204990"/>
                  </a:lnTo>
                  <a:lnTo>
                    <a:pt x="935140" y="203594"/>
                  </a:lnTo>
                  <a:lnTo>
                    <a:pt x="935241" y="203594"/>
                  </a:lnTo>
                  <a:lnTo>
                    <a:pt x="935241" y="202959"/>
                  </a:lnTo>
                  <a:lnTo>
                    <a:pt x="935241" y="203594"/>
                  </a:lnTo>
                  <a:lnTo>
                    <a:pt x="935241" y="202959"/>
                  </a:lnTo>
                  <a:lnTo>
                    <a:pt x="935292" y="202959"/>
                  </a:lnTo>
                  <a:lnTo>
                    <a:pt x="935292" y="204990"/>
                  </a:lnTo>
                  <a:lnTo>
                    <a:pt x="935292" y="203594"/>
                  </a:lnTo>
                  <a:lnTo>
                    <a:pt x="935343" y="203594"/>
                  </a:lnTo>
                  <a:lnTo>
                    <a:pt x="935343" y="204990"/>
                  </a:lnTo>
                  <a:lnTo>
                    <a:pt x="935343" y="204292"/>
                  </a:lnTo>
                  <a:lnTo>
                    <a:pt x="935444" y="204292"/>
                  </a:lnTo>
                  <a:lnTo>
                    <a:pt x="935444" y="204990"/>
                  </a:lnTo>
                  <a:lnTo>
                    <a:pt x="935444" y="204292"/>
                  </a:lnTo>
                  <a:lnTo>
                    <a:pt x="935444" y="204990"/>
                  </a:lnTo>
                  <a:lnTo>
                    <a:pt x="935444" y="204292"/>
                  </a:lnTo>
                  <a:lnTo>
                    <a:pt x="935444" y="204990"/>
                  </a:lnTo>
                  <a:lnTo>
                    <a:pt x="935444" y="204292"/>
                  </a:lnTo>
                  <a:lnTo>
                    <a:pt x="935495" y="204292"/>
                  </a:lnTo>
                  <a:lnTo>
                    <a:pt x="935495" y="204990"/>
                  </a:lnTo>
                  <a:lnTo>
                    <a:pt x="935546" y="204990"/>
                  </a:lnTo>
                  <a:lnTo>
                    <a:pt x="935546" y="206324"/>
                  </a:lnTo>
                  <a:lnTo>
                    <a:pt x="935546" y="204990"/>
                  </a:lnTo>
                  <a:lnTo>
                    <a:pt x="935584" y="204990"/>
                  </a:lnTo>
                  <a:lnTo>
                    <a:pt x="935584" y="204292"/>
                  </a:lnTo>
                  <a:lnTo>
                    <a:pt x="935686" y="204292"/>
                  </a:lnTo>
                  <a:lnTo>
                    <a:pt x="935686" y="203594"/>
                  </a:lnTo>
                  <a:lnTo>
                    <a:pt x="935686" y="204292"/>
                  </a:lnTo>
                  <a:lnTo>
                    <a:pt x="935686" y="203594"/>
                  </a:lnTo>
                  <a:lnTo>
                    <a:pt x="935686" y="204292"/>
                  </a:lnTo>
                  <a:lnTo>
                    <a:pt x="935686" y="202959"/>
                  </a:lnTo>
                  <a:lnTo>
                    <a:pt x="935737" y="203594"/>
                  </a:lnTo>
                  <a:lnTo>
                    <a:pt x="935737" y="204990"/>
                  </a:lnTo>
                  <a:lnTo>
                    <a:pt x="935737" y="202959"/>
                  </a:lnTo>
                  <a:lnTo>
                    <a:pt x="935737" y="203594"/>
                  </a:lnTo>
                  <a:lnTo>
                    <a:pt x="935787" y="204292"/>
                  </a:lnTo>
                  <a:lnTo>
                    <a:pt x="935787" y="204990"/>
                  </a:lnTo>
                  <a:lnTo>
                    <a:pt x="935787" y="204292"/>
                  </a:lnTo>
                  <a:lnTo>
                    <a:pt x="935889" y="204990"/>
                  </a:lnTo>
                  <a:lnTo>
                    <a:pt x="935889" y="204292"/>
                  </a:lnTo>
                  <a:lnTo>
                    <a:pt x="935889" y="204990"/>
                  </a:lnTo>
                  <a:lnTo>
                    <a:pt x="935889" y="204292"/>
                  </a:lnTo>
                  <a:lnTo>
                    <a:pt x="935889" y="204990"/>
                  </a:lnTo>
                  <a:lnTo>
                    <a:pt x="935940" y="206324"/>
                  </a:lnTo>
                  <a:lnTo>
                    <a:pt x="935940" y="204990"/>
                  </a:lnTo>
                  <a:lnTo>
                    <a:pt x="935991" y="204990"/>
                  </a:lnTo>
                  <a:lnTo>
                    <a:pt x="935991" y="206324"/>
                  </a:lnTo>
                  <a:lnTo>
                    <a:pt x="935991" y="204990"/>
                  </a:lnTo>
                  <a:lnTo>
                    <a:pt x="935991" y="206324"/>
                  </a:lnTo>
                  <a:lnTo>
                    <a:pt x="935991" y="204990"/>
                  </a:lnTo>
                  <a:lnTo>
                    <a:pt x="935991" y="206324"/>
                  </a:lnTo>
                  <a:lnTo>
                    <a:pt x="935991" y="204990"/>
                  </a:lnTo>
                  <a:lnTo>
                    <a:pt x="936041" y="204990"/>
                  </a:lnTo>
                  <a:lnTo>
                    <a:pt x="936041" y="206324"/>
                  </a:lnTo>
                  <a:lnTo>
                    <a:pt x="936041" y="204990"/>
                  </a:lnTo>
                  <a:lnTo>
                    <a:pt x="936041" y="206324"/>
                  </a:lnTo>
                  <a:lnTo>
                    <a:pt x="936041" y="204990"/>
                  </a:lnTo>
                  <a:lnTo>
                    <a:pt x="936041" y="206324"/>
                  </a:lnTo>
                  <a:lnTo>
                    <a:pt x="936130" y="206324"/>
                  </a:lnTo>
                  <a:lnTo>
                    <a:pt x="936130" y="204292"/>
                  </a:lnTo>
                  <a:lnTo>
                    <a:pt x="936130" y="204990"/>
                  </a:lnTo>
                  <a:lnTo>
                    <a:pt x="936130" y="204292"/>
                  </a:lnTo>
                  <a:lnTo>
                    <a:pt x="936181" y="204292"/>
                  </a:lnTo>
                  <a:lnTo>
                    <a:pt x="936181" y="202260"/>
                  </a:lnTo>
                  <a:lnTo>
                    <a:pt x="936181" y="202959"/>
                  </a:lnTo>
                  <a:lnTo>
                    <a:pt x="936232" y="202959"/>
                  </a:lnTo>
                  <a:lnTo>
                    <a:pt x="936232" y="203594"/>
                  </a:lnTo>
                  <a:lnTo>
                    <a:pt x="936232" y="202260"/>
                  </a:lnTo>
                  <a:lnTo>
                    <a:pt x="936232" y="204292"/>
                  </a:lnTo>
                  <a:lnTo>
                    <a:pt x="936283" y="204990"/>
                  </a:lnTo>
                  <a:lnTo>
                    <a:pt x="936283" y="206324"/>
                  </a:lnTo>
                  <a:lnTo>
                    <a:pt x="936283" y="203594"/>
                  </a:lnTo>
                  <a:lnTo>
                    <a:pt x="936283" y="204990"/>
                  </a:lnTo>
                  <a:lnTo>
                    <a:pt x="936384" y="204990"/>
                  </a:lnTo>
                  <a:lnTo>
                    <a:pt x="936384" y="204292"/>
                  </a:lnTo>
                  <a:lnTo>
                    <a:pt x="936384" y="204990"/>
                  </a:lnTo>
                  <a:lnTo>
                    <a:pt x="936384" y="203594"/>
                  </a:lnTo>
                  <a:lnTo>
                    <a:pt x="936384" y="204990"/>
                  </a:lnTo>
                  <a:lnTo>
                    <a:pt x="936435" y="204990"/>
                  </a:lnTo>
                  <a:lnTo>
                    <a:pt x="936435" y="204292"/>
                  </a:lnTo>
                  <a:lnTo>
                    <a:pt x="936435" y="206324"/>
                  </a:lnTo>
                  <a:lnTo>
                    <a:pt x="936435" y="204990"/>
                  </a:lnTo>
                  <a:lnTo>
                    <a:pt x="936486" y="204990"/>
                  </a:lnTo>
                  <a:lnTo>
                    <a:pt x="936486" y="204292"/>
                  </a:lnTo>
                  <a:lnTo>
                    <a:pt x="936587" y="204292"/>
                  </a:lnTo>
                  <a:lnTo>
                    <a:pt x="936587" y="206324"/>
                  </a:lnTo>
                  <a:lnTo>
                    <a:pt x="936587" y="204292"/>
                  </a:lnTo>
                  <a:lnTo>
                    <a:pt x="936587" y="204990"/>
                  </a:lnTo>
                  <a:lnTo>
                    <a:pt x="936626" y="204292"/>
                  </a:lnTo>
                  <a:lnTo>
                    <a:pt x="936626" y="203594"/>
                  </a:lnTo>
                  <a:lnTo>
                    <a:pt x="936626" y="204292"/>
                  </a:lnTo>
                  <a:lnTo>
                    <a:pt x="936626" y="203594"/>
                  </a:lnTo>
                  <a:lnTo>
                    <a:pt x="936626" y="204292"/>
                  </a:lnTo>
                  <a:lnTo>
                    <a:pt x="936626" y="202959"/>
                  </a:lnTo>
                  <a:lnTo>
                    <a:pt x="936676" y="202959"/>
                  </a:lnTo>
                  <a:lnTo>
                    <a:pt x="936676" y="200876"/>
                  </a:lnTo>
                  <a:lnTo>
                    <a:pt x="936676" y="202959"/>
                  </a:lnTo>
                  <a:lnTo>
                    <a:pt x="936727" y="202959"/>
                  </a:lnTo>
                  <a:lnTo>
                    <a:pt x="936727" y="202260"/>
                  </a:lnTo>
                  <a:lnTo>
                    <a:pt x="936727" y="202959"/>
                  </a:lnTo>
                  <a:lnTo>
                    <a:pt x="936727" y="200876"/>
                  </a:lnTo>
                  <a:lnTo>
                    <a:pt x="936727" y="204990"/>
                  </a:lnTo>
                  <a:lnTo>
                    <a:pt x="936829" y="204990"/>
                  </a:lnTo>
                  <a:lnTo>
                    <a:pt x="936829" y="202959"/>
                  </a:lnTo>
                  <a:lnTo>
                    <a:pt x="936829" y="204990"/>
                  </a:lnTo>
                  <a:lnTo>
                    <a:pt x="936829" y="204292"/>
                  </a:lnTo>
                  <a:lnTo>
                    <a:pt x="936880" y="204990"/>
                  </a:lnTo>
                  <a:lnTo>
                    <a:pt x="936880" y="203594"/>
                  </a:lnTo>
                  <a:lnTo>
                    <a:pt x="936880" y="204990"/>
                  </a:lnTo>
                  <a:lnTo>
                    <a:pt x="936930" y="204990"/>
                  </a:lnTo>
                  <a:lnTo>
                    <a:pt x="936930" y="204292"/>
                  </a:lnTo>
                  <a:lnTo>
                    <a:pt x="936930" y="204990"/>
                  </a:lnTo>
                  <a:lnTo>
                    <a:pt x="936930" y="204292"/>
                  </a:lnTo>
                  <a:lnTo>
                    <a:pt x="936930" y="204990"/>
                  </a:lnTo>
                  <a:lnTo>
                    <a:pt x="937032" y="204990"/>
                  </a:lnTo>
                  <a:lnTo>
                    <a:pt x="937032" y="204292"/>
                  </a:lnTo>
                  <a:lnTo>
                    <a:pt x="937032" y="204990"/>
                  </a:lnTo>
                  <a:lnTo>
                    <a:pt x="937083" y="204990"/>
                  </a:lnTo>
                  <a:lnTo>
                    <a:pt x="937083" y="204292"/>
                  </a:lnTo>
                  <a:lnTo>
                    <a:pt x="937083" y="204990"/>
                  </a:lnTo>
                  <a:lnTo>
                    <a:pt x="937083" y="204292"/>
                  </a:lnTo>
                  <a:lnTo>
                    <a:pt x="937083" y="204990"/>
                  </a:lnTo>
                  <a:lnTo>
                    <a:pt x="937083" y="204292"/>
                  </a:lnTo>
                  <a:lnTo>
                    <a:pt x="937083" y="204990"/>
                  </a:lnTo>
                  <a:lnTo>
                    <a:pt x="937083" y="204292"/>
                  </a:lnTo>
                  <a:lnTo>
                    <a:pt x="937083" y="204990"/>
                  </a:lnTo>
                  <a:lnTo>
                    <a:pt x="937133" y="204292"/>
                  </a:lnTo>
                  <a:lnTo>
                    <a:pt x="937133" y="203594"/>
                  </a:lnTo>
                  <a:lnTo>
                    <a:pt x="937172" y="202959"/>
                  </a:lnTo>
                  <a:lnTo>
                    <a:pt x="937172" y="203594"/>
                  </a:lnTo>
                  <a:lnTo>
                    <a:pt x="937172" y="202260"/>
                  </a:lnTo>
                  <a:lnTo>
                    <a:pt x="937172" y="202959"/>
                  </a:lnTo>
                  <a:lnTo>
                    <a:pt x="937273" y="202959"/>
                  </a:lnTo>
                  <a:lnTo>
                    <a:pt x="937273" y="200876"/>
                  </a:lnTo>
                  <a:lnTo>
                    <a:pt x="937273" y="204292"/>
                  </a:lnTo>
                  <a:lnTo>
                    <a:pt x="937273" y="203594"/>
                  </a:lnTo>
                  <a:lnTo>
                    <a:pt x="937324" y="203594"/>
                  </a:lnTo>
                  <a:lnTo>
                    <a:pt x="937324" y="202959"/>
                  </a:lnTo>
                  <a:lnTo>
                    <a:pt x="937324" y="203594"/>
                  </a:lnTo>
                  <a:lnTo>
                    <a:pt x="937324" y="202959"/>
                  </a:lnTo>
                  <a:lnTo>
                    <a:pt x="937324" y="204292"/>
                  </a:lnTo>
                  <a:lnTo>
                    <a:pt x="937324" y="203594"/>
                  </a:lnTo>
                  <a:lnTo>
                    <a:pt x="937375" y="203594"/>
                  </a:lnTo>
                  <a:lnTo>
                    <a:pt x="937375" y="204292"/>
                  </a:lnTo>
                  <a:lnTo>
                    <a:pt x="937375" y="203594"/>
                  </a:lnTo>
                  <a:lnTo>
                    <a:pt x="937375" y="204292"/>
                  </a:lnTo>
                  <a:lnTo>
                    <a:pt x="937476" y="204292"/>
                  </a:lnTo>
                  <a:lnTo>
                    <a:pt x="937476" y="203594"/>
                  </a:lnTo>
                  <a:lnTo>
                    <a:pt x="937476" y="204292"/>
                  </a:lnTo>
                  <a:lnTo>
                    <a:pt x="937527" y="204292"/>
                  </a:lnTo>
                  <a:lnTo>
                    <a:pt x="937527" y="204990"/>
                  </a:lnTo>
                  <a:lnTo>
                    <a:pt x="937527" y="204292"/>
                  </a:lnTo>
                  <a:lnTo>
                    <a:pt x="937527" y="204990"/>
                  </a:lnTo>
                  <a:lnTo>
                    <a:pt x="937527" y="204292"/>
                  </a:lnTo>
                  <a:lnTo>
                    <a:pt x="937527" y="204990"/>
                  </a:lnTo>
                  <a:lnTo>
                    <a:pt x="937527" y="204292"/>
                  </a:lnTo>
                  <a:lnTo>
                    <a:pt x="937578" y="204292"/>
                  </a:lnTo>
                  <a:lnTo>
                    <a:pt x="937578" y="204990"/>
                  </a:lnTo>
                  <a:lnTo>
                    <a:pt x="937578" y="204292"/>
                  </a:lnTo>
                  <a:lnTo>
                    <a:pt x="937578" y="204990"/>
                  </a:lnTo>
                  <a:lnTo>
                    <a:pt x="937578" y="204292"/>
                  </a:lnTo>
                  <a:lnTo>
                    <a:pt x="937578" y="204990"/>
                  </a:lnTo>
                  <a:lnTo>
                    <a:pt x="937578" y="204292"/>
                  </a:lnTo>
                  <a:lnTo>
                    <a:pt x="937629" y="204292"/>
                  </a:lnTo>
                  <a:lnTo>
                    <a:pt x="937629" y="202959"/>
                  </a:lnTo>
                  <a:lnTo>
                    <a:pt x="937629" y="203594"/>
                  </a:lnTo>
                  <a:lnTo>
                    <a:pt x="937629" y="202959"/>
                  </a:lnTo>
                  <a:lnTo>
                    <a:pt x="937629" y="203594"/>
                  </a:lnTo>
                  <a:lnTo>
                    <a:pt x="937629" y="202959"/>
                  </a:lnTo>
                  <a:lnTo>
                    <a:pt x="937718" y="203594"/>
                  </a:lnTo>
                  <a:lnTo>
                    <a:pt x="937718" y="200876"/>
                  </a:lnTo>
                  <a:lnTo>
                    <a:pt x="937718" y="202260"/>
                  </a:lnTo>
                  <a:lnTo>
                    <a:pt x="937718" y="199530"/>
                  </a:lnTo>
                  <a:lnTo>
                    <a:pt x="937718" y="200228"/>
                  </a:lnTo>
                  <a:lnTo>
                    <a:pt x="937768" y="200228"/>
                  </a:lnTo>
                  <a:lnTo>
                    <a:pt x="937768" y="202959"/>
                  </a:lnTo>
                  <a:lnTo>
                    <a:pt x="937768" y="199530"/>
                  </a:lnTo>
                  <a:lnTo>
                    <a:pt x="937768" y="200876"/>
                  </a:lnTo>
                  <a:lnTo>
                    <a:pt x="937819" y="202260"/>
                  </a:lnTo>
                  <a:lnTo>
                    <a:pt x="937819" y="203594"/>
                  </a:lnTo>
                  <a:lnTo>
                    <a:pt x="937819" y="202260"/>
                  </a:lnTo>
                  <a:lnTo>
                    <a:pt x="937819" y="202959"/>
                  </a:lnTo>
                  <a:lnTo>
                    <a:pt x="937870" y="202959"/>
                  </a:lnTo>
                  <a:lnTo>
                    <a:pt x="937870" y="203594"/>
                  </a:lnTo>
                  <a:lnTo>
                    <a:pt x="937870" y="202959"/>
                  </a:lnTo>
                  <a:lnTo>
                    <a:pt x="937870" y="203594"/>
                  </a:lnTo>
                  <a:lnTo>
                    <a:pt x="937870" y="202959"/>
                  </a:lnTo>
                  <a:lnTo>
                    <a:pt x="937870" y="203594"/>
                  </a:lnTo>
                  <a:lnTo>
                    <a:pt x="937972" y="204292"/>
                  </a:lnTo>
                  <a:lnTo>
                    <a:pt x="937972" y="203594"/>
                  </a:lnTo>
                  <a:lnTo>
                    <a:pt x="937972" y="204292"/>
                  </a:lnTo>
                  <a:lnTo>
                    <a:pt x="938022" y="204292"/>
                  </a:lnTo>
                  <a:lnTo>
                    <a:pt x="938022" y="203594"/>
                  </a:lnTo>
                  <a:lnTo>
                    <a:pt x="938022" y="204292"/>
                  </a:lnTo>
                  <a:lnTo>
                    <a:pt x="938022" y="203594"/>
                  </a:lnTo>
                  <a:lnTo>
                    <a:pt x="938022" y="204990"/>
                  </a:lnTo>
                  <a:lnTo>
                    <a:pt x="938073" y="204990"/>
                  </a:lnTo>
                  <a:lnTo>
                    <a:pt x="938073" y="204292"/>
                  </a:lnTo>
                  <a:lnTo>
                    <a:pt x="938073" y="204990"/>
                  </a:lnTo>
                  <a:lnTo>
                    <a:pt x="938175" y="204292"/>
                  </a:lnTo>
                  <a:lnTo>
                    <a:pt x="938175" y="203594"/>
                  </a:lnTo>
                  <a:lnTo>
                    <a:pt x="938213" y="202959"/>
                  </a:lnTo>
                  <a:lnTo>
                    <a:pt x="938213" y="203594"/>
                  </a:lnTo>
                  <a:lnTo>
                    <a:pt x="938213" y="200876"/>
                  </a:lnTo>
                  <a:lnTo>
                    <a:pt x="938213" y="202260"/>
                  </a:lnTo>
                  <a:lnTo>
                    <a:pt x="938264" y="202260"/>
                  </a:lnTo>
                  <a:lnTo>
                    <a:pt x="938264" y="202959"/>
                  </a:lnTo>
                  <a:lnTo>
                    <a:pt x="938264" y="200876"/>
                  </a:lnTo>
                  <a:lnTo>
                    <a:pt x="938264" y="203594"/>
                  </a:lnTo>
                  <a:lnTo>
                    <a:pt x="938315" y="203594"/>
                  </a:lnTo>
                  <a:lnTo>
                    <a:pt x="938315" y="202260"/>
                  </a:lnTo>
                  <a:lnTo>
                    <a:pt x="938315" y="202959"/>
                  </a:lnTo>
                  <a:lnTo>
                    <a:pt x="938416" y="203594"/>
                  </a:lnTo>
                  <a:lnTo>
                    <a:pt x="938416" y="202959"/>
                  </a:lnTo>
                  <a:lnTo>
                    <a:pt x="938416" y="203594"/>
                  </a:lnTo>
                  <a:lnTo>
                    <a:pt x="938416" y="202260"/>
                  </a:lnTo>
                  <a:lnTo>
                    <a:pt x="938416" y="203594"/>
                  </a:lnTo>
                  <a:lnTo>
                    <a:pt x="938416" y="202959"/>
                  </a:lnTo>
                  <a:lnTo>
                    <a:pt x="938416" y="203594"/>
                  </a:lnTo>
                  <a:lnTo>
                    <a:pt x="938416" y="202959"/>
                  </a:lnTo>
                  <a:lnTo>
                    <a:pt x="938467" y="202959"/>
                  </a:lnTo>
                  <a:lnTo>
                    <a:pt x="938467" y="202260"/>
                  </a:lnTo>
                  <a:lnTo>
                    <a:pt x="938467" y="203594"/>
                  </a:lnTo>
                  <a:lnTo>
                    <a:pt x="938467" y="202959"/>
                  </a:lnTo>
                  <a:lnTo>
                    <a:pt x="938467" y="203594"/>
                  </a:lnTo>
                  <a:lnTo>
                    <a:pt x="938518" y="203594"/>
                  </a:lnTo>
                  <a:lnTo>
                    <a:pt x="938518" y="204292"/>
                  </a:lnTo>
                  <a:lnTo>
                    <a:pt x="938619" y="204292"/>
                  </a:lnTo>
                  <a:lnTo>
                    <a:pt x="938619" y="203594"/>
                  </a:lnTo>
                  <a:lnTo>
                    <a:pt x="938619" y="204292"/>
                  </a:lnTo>
                  <a:lnTo>
                    <a:pt x="938619" y="203594"/>
                  </a:lnTo>
                  <a:lnTo>
                    <a:pt x="938619" y="204292"/>
                  </a:lnTo>
                  <a:lnTo>
                    <a:pt x="938619" y="203594"/>
                  </a:lnTo>
                  <a:lnTo>
                    <a:pt x="938670" y="203594"/>
                  </a:lnTo>
                  <a:lnTo>
                    <a:pt x="938670" y="204292"/>
                  </a:lnTo>
                  <a:lnTo>
                    <a:pt x="938670" y="203594"/>
                  </a:lnTo>
                  <a:lnTo>
                    <a:pt x="938670" y="204292"/>
                  </a:lnTo>
                  <a:lnTo>
                    <a:pt x="938721" y="204990"/>
                  </a:lnTo>
                  <a:lnTo>
                    <a:pt x="938721" y="203594"/>
                  </a:lnTo>
                  <a:lnTo>
                    <a:pt x="938721" y="207022"/>
                  </a:lnTo>
                  <a:lnTo>
                    <a:pt x="938759" y="207022"/>
                  </a:lnTo>
                  <a:lnTo>
                    <a:pt x="938759" y="207721"/>
                  </a:lnTo>
                  <a:lnTo>
                    <a:pt x="938759" y="204990"/>
                  </a:lnTo>
                  <a:lnTo>
                    <a:pt x="938759" y="207721"/>
                  </a:lnTo>
                  <a:lnTo>
                    <a:pt x="938861" y="207721"/>
                  </a:lnTo>
                  <a:lnTo>
                    <a:pt x="938861" y="204990"/>
                  </a:lnTo>
                  <a:lnTo>
                    <a:pt x="938861" y="206324"/>
                  </a:lnTo>
                  <a:lnTo>
                    <a:pt x="938861" y="204990"/>
                  </a:lnTo>
                  <a:lnTo>
                    <a:pt x="938861" y="206324"/>
                  </a:lnTo>
                  <a:lnTo>
                    <a:pt x="938861" y="204990"/>
                  </a:lnTo>
                  <a:lnTo>
                    <a:pt x="938861" y="206324"/>
                  </a:lnTo>
                  <a:lnTo>
                    <a:pt x="938912" y="206324"/>
                  </a:lnTo>
                  <a:lnTo>
                    <a:pt x="938912" y="204990"/>
                  </a:lnTo>
                  <a:lnTo>
                    <a:pt x="938912" y="206324"/>
                  </a:lnTo>
                  <a:lnTo>
                    <a:pt x="938912" y="204990"/>
                  </a:lnTo>
                  <a:lnTo>
                    <a:pt x="938962" y="204990"/>
                  </a:lnTo>
                  <a:lnTo>
                    <a:pt x="938962" y="206324"/>
                  </a:lnTo>
                  <a:lnTo>
                    <a:pt x="938962" y="204292"/>
                  </a:lnTo>
                  <a:lnTo>
                    <a:pt x="938962" y="204990"/>
                  </a:lnTo>
                  <a:lnTo>
                    <a:pt x="939064" y="206324"/>
                  </a:lnTo>
                  <a:lnTo>
                    <a:pt x="939064" y="204292"/>
                  </a:lnTo>
                  <a:lnTo>
                    <a:pt x="939064" y="204990"/>
                  </a:lnTo>
                  <a:lnTo>
                    <a:pt x="939064" y="204292"/>
                  </a:lnTo>
                  <a:lnTo>
                    <a:pt x="939064" y="204990"/>
                  </a:lnTo>
                  <a:lnTo>
                    <a:pt x="939115" y="204292"/>
                  </a:lnTo>
                  <a:lnTo>
                    <a:pt x="939115" y="202959"/>
                  </a:lnTo>
                  <a:lnTo>
                    <a:pt x="939166" y="202959"/>
                  </a:lnTo>
                  <a:lnTo>
                    <a:pt x="939166" y="204990"/>
                  </a:lnTo>
                  <a:lnTo>
                    <a:pt x="939166" y="204292"/>
                  </a:lnTo>
                  <a:lnTo>
                    <a:pt x="939216" y="204292"/>
                  </a:lnTo>
                  <a:lnTo>
                    <a:pt x="939216" y="203594"/>
                  </a:lnTo>
                  <a:lnTo>
                    <a:pt x="939216" y="207022"/>
                  </a:lnTo>
                  <a:lnTo>
                    <a:pt x="939216" y="206324"/>
                  </a:lnTo>
                  <a:lnTo>
                    <a:pt x="939305" y="206324"/>
                  </a:lnTo>
                  <a:lnTo>
                    <a:pt x="939305" y="204990"/>
                  </a:lnTo>
                  <a:lnTo>
                    <a:pt x="939305" y="207721"/>
                  </a:lnTo>
                  <a:lnTo>
                    <a:pt x="939305" y="206324"/>
                  </a:lnTo>
                  <a:lnTo>
                    <a:pt x="939356" y="206324"/>
                  </a:lnTo>
                  <a:lnTo>
                    <a:pt x="939356" y="207022"/>
                  </a:lnTo>
                  <a:lnTo>
                    <a:pt x="939356" y="206324"/>
                  </a:lnTo>
                  <a:lnTo>
                    <a:pt x="939407" y="206324"/>
                  </a:lnTo>
                  <a:lnTo>
                    <a:pt x="939407" y="207022"/>
                  </a:lnTo>
                  <a:lnTo>
                    <a:pt x="939458" y="207022"/>
                  </a:lnTo>
                  <a:lnTo>
                    <a:pt x="939458" y="206324"/>
                  </a:lnTo>
                  <a:lnTo>
                    <a:pt x="939458" y="207022"/>
                  </a:lnTo>
                  <a:lnTo>
                    <a:pt x="939458" y="206324"/>
                  </a:lnTo>
                  <a:lnTo>
                    <a:pt x="939458" y="207022"/>
                  </a:lnTo>
                  <a:lnTo>
                    <a:pt x="939458" y="206324"/>
                  </a:lnTo>
                  <a:lnTo>
                    <a:pt x="939458" y="207022"/>
                  </a:lnTo>
                  <a:lnTo>
                    <a:pt x="939458" y="206324"/>
                  </a:lnTo>
                  <a:lnTo>
                    <a:pt x="939559" y="206324"/>
                  </a:lnTo>
                  <a:lnTo>
                    <a:pt x="939559" y="204990"/>
                  </a:lnTo>
                  <a:lnTo>
                    <a:pt x="939559" y="206324"/>
                  </a:lnTo>
                  <a:lnTo>
                    <a:pt x="939559" y="204990"/>
                  </a:lnTo>
                  <a:lnTo>
                    <a:pt x="939559" y="206324"/>
                  </a:lnTo>
                  <a:lnTo>
                    <a:pt x="939559" y="204990"/>
                  </a:lnTo>
                  <a:lnTo>
                    <a:pt x="939559" y="206324"/>
                  </a:lnTo>
                  <a:lnTo>
                    <a:pt x="939559" y="204292"/>
                  </a:lnTo>
                  <a:lnTo>
                    <a:pt x="939559" y="204990"/>
                  </a:lnTo>
                  <a:lnTo>
                    <a:pt x="939610" y="204990"/>
                  </a:lnTo>
                  <a:lnTo>
                    <a:pt x="939610" y="202260"/>
                  </a:lnTo>
                  <a:lnTo>
                    <a:pt x="939610" y="202959"/>
                  </a:lnTo>
                  <a:lnTo>
                    <a:pt x="939610" y="202260"/>
                  </a:lnTo>
                  <a:lnTo>
                    <a:pt x="939661" y="202959"/>
                  </a:lnTo>
                  <a:lnTo>
                    <a:pt x="939661" y="202260"/>
                  </a:lnTo>
                  <a:lnTo>
                    <a:pt x="939661" y="203594"/>
                  </a:lnTo>
                  <a:lnTo>
                    <a:pt x="939661" y="202959"/>
                  </a:lnTo>
                  <a:lnTo>
                    <a:pt x="939762" y="202959"/>
                  </a:lnTo>
                  <a:lnTo>
                    <a:pt x="939762" y="206324"/>
                  </a:lnTo>
                  <a:lnTo>
                    <a:pt x="939762" y="204292"/>
                  </a:lnTo>
                  <a:lnTo>
                    <a:pt x="939801" y="204990"/>
                  </a:lnTo>
                  <a:lnTo>
                    <a:pt x="939801" y="207022"/>
                  </a:lnTo>
                  <a:lnTo>
                    <a:pt x="939801" y="204990"/>
                  </a:lnTo>
                  <a:lnTo>
                    <a:pt x="939801" y="206324"/>
                  </a:lnTo>
                  <a:lnTo>
                    <a:pt x="939851" y="204990"/>
                  </a:lnTo>
                  <a:lnTo>
                    <a:pt x="939851" y="207022"/>
                  </a:lnTo>
                  <a:lnTo>
                    <a:pt x="939851" y="204990"/>
                  </a:lnTo>
                  <a:lnTo>
                    <a:pt x="939851" y="206324"/>
                  </a:lnTo>
                  <a:lnTo>
                    <a:pt x="939902" y="206324"/>
                  </a:lnTo>
                  <a:lnTo>
                    <a:pt x="939902" y="207022"/>
                  </a:lnTo>
                  <a:lnTo>
                    <a:pt x="939902" y="206324"/>
                  </a:lnTo>
                  <a:lnTo>
                    <a:pt x="939902" y="207022"/>
                  </a:lnTo>
                  <a:lnTo>
                    <a:pt x="939902" y="206324"/>
                  </a:lnTo>
                  <a:lnTo>
                    <a:pt x="939902" y="207022"/>
                  </a:lnTo>
                  <a:lnTo>
                    <a:pt x="940004" y="206324"/>
                  </a:lnTo>
                  <a:lnTo>
                    <a:pt x="940004" y="207022"/>
                  </a:lnTo>
                  <a:lnTo>
                    <a:pt x="940004" y="206324"/>
                  </a:lnTo>
                  <a:lnTo>
                    <a:pt x="940004" y="207022"/>
                  </a:lnTo>
                  <a:lnTo>
                    <a:pt x="940004" y="206324"/>
                  </a:lnTo>
                  <a:lnTo>
                    <a:pt x="940004" y="207022"/>
                  </a:lnTo>
                  <a:lnTo>
                    <a:pt x="940055" y="206324"/>
                  </a:lnTo>
                  <a:lnTo>
                    <a:pt x="940055" y="204990"/>
                  </a:lnTo>
                  <a:lnTo>
                    <a:pt x="940055" y="206324"/>
                  </a:lnTo>
                  <a:lnTo>
                    <a:pt x="940055" y="204990"/>
                  </a:lnTo>
                  <a:lnTo>
                    <a:pt x="940055" y="206324"/>
                  </a:lnTo>
                  <a:lnTo>
                    <a:pt x="940055" y="204292"/>
                  </a:lnTo>
                  <a:lnTo>
                    <a:pt x="940105" y="204292"/>
                  </a:lnTo>
                  <a:lnTo>
                    <a:pt x="940105" y="203594"/>
                  </a:lnTo>
                  <a:lnTo>
                    <a:pt x="940105" y="204292"/>
                  </a:lnTo>
                  <a:lnTo>
                    <a:pt x="940105" y="202959"/>
                  </a:lnTo>
                  <a:lnTo>
                    <a:pt x="940207" y="202959"/>
                  </a:lnTo>
                  <a:lnTo>
                    <a:pt x="940207" y="203594"/>
                  </a:lnTo>
                  <a:lnTo>
                    <a:pt x="940207" y="202959"/>
                  </a:lnTo>
                  <a:lnTo>
                    <a:pt x="940207" y="204292"/>
                  </a:lnTo>
                  <a:lnTo>
                    <a:pt x="940258" y="204990"/>
                  </a:lnTo>
                  <a:lnTo>
                    <a:pt x="940258" y="203594"/>
                  </a:lnTo>
                  <a:lnTo>
                    <a:pt x="940258" y="204990"/>
                  </a:lnTo>
                  <a:lnTo>
                    <a:pt x="940308" y="204990"/>
                  </a:lnTo>
                  <a:lnTo>
                    <a:pt x="940308" y="204292"/>
                  </a:lnTo>
                  <a:lnTo>
                    <a:pt x="940308" y="204990"/>
                  </a:lnTo>
                  <a:lnTo>
                    <a:pt x="940347" y="204990"/>
                  </a:lnTo>
                  <a:lnTo>
                    <a:pt x="940347" y="204292"/>
                  </a:lnTo>
                  <a:lnTo>
                    <a:pt x="940347" y="206324"/>
                  </a:lnTo>
                  <a:lnTo>
                    <a:pt x="940347" y="204990"/>
                  </a:lnTo>
                  <a:lnTo>
                    <a:pt x="940448" y="206324"/>
                  </a:lnTo>
                  <a:lnTo>
                    <a:pt x="940448" y="204990"/>
                  </a:lnTo>
                  <a:lnTo>
                    <a:pt x="940448" y="206324"/>
                  </a:lnTo>
                  <a:lnTo>
                    <a:pt x="940499" y="206324"/>
                  </a:lnTo>
                  <a:lnTo>
                    <a:pt x="940499" y="204990"/>
                  </a:lnTo>
                  <a:lnTo>
                    <a:pt x="940550" y="204292"/>
                  </a:lnTo>
                  <a:lnTo>
                    <a:pt x="940550" y="204990"/>
                  </a:lnTo>
                  <a:lnTo>
                    <a:pt x="940550" y="203594"/>
                  </a:lnTo>
                  <a:lnTo>
                    <a:pt x="940550" y="204292"/>
                  </a:lnTo>
                  <a:lnTo>
                    <a:pt x="940550" y="203594"/>
                  </a:lnTo>
                  <a:lnTo>
                    <a:pt x="940651" y="203594"/>
                  </a:lnTo>
                  <a:lnTo>
                    <a:pt x="940651" y="202260"/>
                  </a:lnTo>
                  <a:lnTo>
                    <a:pt x="940651" y="202959"/>
                  </a:lnTo>
                  <a:lnTo>
                    <a:pt x="940702" y="202959"/>
                  </a:lnTo>
                  <a:lnTo>
                    <a:pt x="940702" y="203594"/>
                  </a:lnTo>
                  <a:lnTo>
                    <a:pt x="940702" y="202260"/>
                  </a:lnTo>
                  <a:lnTo>
                    <a:pt x="940702" y="202959"/>
                  </a:lnTo>
                  <a:lnTo>
                    <a:pt x="940702" y="202260"/>
                  </a:lnTo>
                  <a:lnTo>
                    <a:pt x="940702" y="203594"/>
                  </a:lnTo>
                  <a:lnTo>
                    <a:pt x="940753" y="204292"/>
                  </a:lnTo>
                  <a:lnTo>
                    <a:pt x="940753" y="202959"/>
                  </a:lnTo>
                  <a:lnTo>
                    <a:pt x="940753" y="204292"/>
                  </a:lnTo>
                  <a:lnTo>
                    <a:pt x="940804" y="204292"/>
                  </a:lnTo>
                  <a:lnTo>
                    <a:pt x="940804" y="203594"/>
                  </a:lnTo>
                  <a:lnTo>
                    <a:pt x="940804" y="204292"/>
                  </a:lnTo>
                  <a:lnTo>
                    <a:pt x="940804" y="203594"/>
                  </a:lnTo>
                  <a:lnTo>
                    <a:pt x="940804" y="204292"/>
                  </a:lnTo>
                  <a:lnTo>
                    <a:pt x="940893" y="204292"/>
                  </a:lnTo>
                  <a:lnTo>
                    <a:pt x="940893" y="203594"/>
                  </a:lnTo>
                  <a:lnTo>
                    <a:pt x="940893" y="204990"/>
                  </a:lnTo>
                  <a:lnTo>
                    <a:pt x="940893" y="204292"/>
                  </a:lnTo>
                  <a:lnTo>
                    <a:pt x="940893" y="204990"/>
                  </a:lnTo>
                  <a:lnTo>
                    <a:pt x="940943" y="204292"/>
                  </a:lnTo>
                  <a:lnTo>
                    <a:pt x="940943" y="206324"/>
                  </a:lnTo>
                  <a:lnTo>
                    <a:pt x="940943" y="204990"/>
                  </a:lnTo>
                  <a:lnTo>
                    <a:pt x="940943" y="206324"/>
                  </a:lnTo>
                  <a:lnTo>
                    <a:pt x="940943" y="204990"/>
                  </a:lnTo>
                  <a:lnTo>
                    <a:pt x="940994" y="204990"/>
                  </a:lnTo>
                  <a:lnTo>
                    <a:pt x="940994" y="204292"/>
                  </a:lnTo>
                  <a:lnTo>
                    <a:pt x="940994" y="204990"/>
                  </a:lnTo>
                  <a:lnTo>
                    <a:pt x="940994" y="204292"/>
                  </a:lnTo>
                  <a:lnTo>
                    <a:pt x="940994" y="204990"/>
                  </a:lnTo>
                  <a:lnTo>
                    <a:pt x="940994" y="204292"/>
                  </a:lnTo>
                  <a:lnTo>
                    <a:pt x="941045" y="204292"/>
                  </a:lnTo>
                  <a:lnTo>
                    <a:pt x="941045" y="203594"/>
                  </a:lnTo>
                  <a:lnTo>
                    <a:pt x="941045" y="204292"/>
                  </a:lnTo>
                  <a:lnTo>
                    <a:pt x="941045" y="203594"/>
                  </a:lnTo>
                  <a:lnTo>
                    <a:pt x="941045" y="204292"/>
                  </a:lnTo>
                  <a:lnTo>
                    <a:pt x="941045" y="202959"/>
                  </a:lnTo>
                  <a:lnTo>
                    <a:pt x="941147" y="202959"/>
                  </a:lnTo>
                  <a:lnTo>
                    <a:pt x="941147" y="200876"/>
                  </a:lnTo>
                  <a:lnTo>
                    <a:pt x="941147" y="202959"/>
                  </a:lnTo>
                  <a:lnTo>
                    <a:pt x="941197" y="202959"/>
                  </a:lnTo>
                  <a:lnTo>
                    <a:pt x="941197" y="202260"/>
                  </a:lnTo>
                  <a:lnTo>
                    <a:pt x="941197" y="202959"/>
                  </a:lnTo>
                  <a:lnTo>
                    <a:pt x="941197" y="200228"/>
                  </a:lnTo>
                  <a:lnTo>
                    <a:pt x="941197" y="203594"/>
                  </a:lnTo>
                  <a:lnTo>
                    <a:pt x="941248" y="203594"/>
                  </a:lnTo>
                  <a:lnTo>
                    <a:pt x="941248" y="202260"/>
                  </a:lnTo>
                  <a:lnTo>
                    <a:pt x="941248" y="203594"/>
                  </a:lnTo>
                  <a:lnTo>
                    <a:pt x="941248" y="202959"/>
                  </a:lnTo>
                  <a:lnTo>
                    <a:pt x="941350" y="202959"/>
                  </a:lnTo>
                  <a:lnTo>
                    <a:pt x="941350" y="202260"/>
                  </a:lnTo>
                  <a:lnTo>
                    <a:pt x="941350" y="202959"/>
                  </a:lnTo>
                  <a:lnTo>
                    <a:pt x="941350" y="202260"/>
                  </a:lnTo>
                  <a:lnTo>
                    <a:pt x="941350" y="203594"/>
                  </a:lnTo>
                  <a:lnTo>
                    <a:pt x="941388" y="202959"/>
                  </a:lnTo>
                  <a:lnTo>
                    <a:pt x="941388" y="203594"/>
                  </a:lnTo>
                  <a:lnTo>
                    <a:pt x="941388" y="202959"/>
                  </a:lnTo>
                  <a:lnTo>
                    <a:pt x="941388" y="203594"/>
                  </a:lnTo>
                  <a:lnTo>
                    <a:pt x="941439" y="203594"/>
                  </a:lnTo>
                  <a:lnTo>
                    <a:pt x="941439" y="204292"/>
                  </a:lnTo>
                  <a:lnTo>
                    <a:pt x="941439" y="203594"/>
                  </a:lnTo>
                  <a:lnTo>
                    <a:pt x="941439" y="204292"/>
                  </a:lnTo>
                  <a:lnTo>
                    <a:pt x="941439" y="203594"/>
                  </a:lnTo>
                  <a:lnTo>
                    <a:pt x="941439" y="204292"/>
                  </a:lnTo>
                  <a:lnTo>
                    <a:pt x="941439" y="203594"/>
                  </a:lnTo>
                  <a:lnTo>
                    <a:pt x="941490" y="204292"/>
                  </a:lnTo>
                  <a:lnTo>
                    <a:pt x="941490" y="203594"/>
                  </a:lnTo>
                  <a:lnTo>
                    <a:pt x="941490" y="204292"/>
                  </a:lnTo>
                  <a:lnTo>
                    <a:pt x="941490" y="203594"/>
                  </a:lnTo>
                  <a:lnTo>
                    <a:pt x="941490" y="204292"/>
                  </a:lnTo>
                  <a:lnTo>
                    <a:pt x="941490" y="203594"/>
                  </a:lnTo>
                  <a:lnTo>
                    <a:pt x="941591" y="203594"/>
                  </a:lnTo>
                  <a:lnTo>
                    <a:pt x="941591" y="202260"/>
                  </a:lnTo>
                  <a:lnTo>
                    <a:pt x="941642" y="202260"/>
                  </a:lnTo>
                  <a:lnTo>
                    <a:pt x="941642" y="200876"/>
                  </a:lnTo>
                  <a:lnTo>
                    <a:pt x="941642" y="202959"/>
                  </a:lnTo>
                  <a:lnTo>
                    <a:pt x="941642" y="200876"/>
                  </a:lnTo>
                  <a:lnTo>
                    <a:pt x="941642" y="203594"/>
                  </a:lnTo>
                  <a:lnTo>
                    <a:pt x="941642" y="202959"/>
                  </a:lnTo>
                  <a:lnTo>
                    <a:pt x="941693" y="202959"/>
                  </a:lnTo>
                  <a:lnTo>
                    <a:pt x="941693" y="202260"/>
                  </a:lnTo>
                  <a:lnTo>
                    <a:pt x="941693" y="202959"/>
                  </a:lnTo>
                  <a:lnTo>
                    <a:pt x="941693" y="202260"/>
                  </a:lnTo>
                  <a:lnTo>
                    <a:pt x="941693" y="204292"/>
                  </a:lnTo>
                  <a:lnTo>
                    <a:pt x="941693" y="203594"/>
                  </a:lnTo>
                  <a:lnTo>
                    <a:pt x="941794" y="202959"/>
                  </a:lnTo>
                  <a:lnTo>
                    <a:pt x="941794" y="203594"/>
                  </a:lnTo>
                  <a:lnTo>
                    <a:pt x="941896" y="203594"/>
                  </a:lnTo>
                  <a:lnTo>
                    <a:pt x="941896" y="204292"/>
                  </a:lnTo>
                  <a:lnTo>
                    <a:pt x="941896" y="203594"/>
                  </a:lnTo>
                  <a:lnTo>
                    <a:pt x="941896" y="204292"/>
                  </a:lnTo>
                  <a:lnTo>
                    <a:pt x="941896" y="203594"/>
                  </a:lnTo>
                  <a:lnTo>
                    <a:pt x="941896" y="204990"/>
                  </a:lnTo>
                  <a:lnTo>
                    <a:pt x="941896" y="204292"/>
                  </a:lnTo>
                  <a:lnTo>
                    <a:pt x="941896" y="204990"/>
                  </a:lnTo>
                  <a:lnTo>
                    <a:pt x="941896" y="204292"/>
                  </a:lnTo>
                  <a:lnTo>
                    <a:pt x="941896" y="204990"/>
                  </a:lnTo>
                  <a:lnTo>
                    <a:pt x="941934" y="204292"/>
                  </a:lnTo>
                  <a:lnTo>
                    <a:pt x="941934" y="204990"/>
                  </a:lnTo>
                  <a:lnTo>
                    <a:pt x="941934" y="204292"/>
                  </a:lnTo>
                  <a:lnTo>
                    <a:pt x="942036" y="204292"/>
                  </a:lnTo>
                  <a:lnTo>
                    <a:pt x="942036" y="203594"/>
                  </a:lnTo>
                  <a:lnTo>
                    <a:pt x="942036" y="204292"/>
                  </a:lnTo>
                  <a:lnTo>
                    <a:pt x="942087" y="204292"/>
                  </a:lnTo>
                  <a:lnTo>
                    <a:pt x="942087" y="203594"/>
                  </a:lnTo>
                  <a:lnTo>
                    <a:pt x="942087" y="204292"/>
                  </a:lnTo>
                  <a:lnTo>
                    <a:pt x="942087" y="202959"/>
                  </a:lnTo>
                  <a:lnTo>
                    <a:pt x="942087" y="203594"/>
                  </a:lnTo>
                  <a:lnTo>
                    <a:pt x="942087" y="202959"/>
                  </a:lnTo>
                  <a:lnTo>
                    <a:pt x="942087" y="203594"/>
                  </a:lnTo>
                  <a:lnTo>
                    <a:pt x="942087" y="202959"/>
                  </a:lnTo>
                  <a:lnTo>
                    <a:pt x="942137" y="202959"/>
                  </a:lnTo>
                  <a:lnTo>
                    <a:pt x="942137" y="202260"/>
                  </a:lnTo>
                  <a:lnTo>
                    <a:pt x="942137" y="203594"/>
                  </a:lnTo>
                  <a:lnTo>
                    <a:pt x="942239" y="202959"/>
                  </a:lnTo>
                  <a:lnTo>
                    <a:pt x="942239" y="206324"/>
                  </a:lnTo>
                  <a:lnTo>
                    <a:pt x="942239" y="203594"/>
                  </a:lnTo>
                  <a:lnTo>
                    <a:pt x="942239" y="204292"/>
                  </a:lnTo>
                  <a:lnTo>
                    <a:pt x="942239" y="203594"/>
                  </a:lnTo>
                  <a:lnTo>
                    <a:pt x="942239" y="204292"/>
                  </a:lnTo>
                  <a:lnTo>
                    <a:pt x="942290" y="204292"/>
                  </a:lnTo>
                  <a:lnTo>
                    <a:pt x="942290" y="204990"/>
                  </a:lnTo>
                  <a:lnTo>
                    <a:pt x="942290" y="203594"/>
                  </a:lnTo>
                  <a:lnTo>
                    <a:pt x="942290" y="204292"/>
                  </a:lnTo>
                  <a:lnTo>
                    <a:pt x="942290" y="203594"/>
                  </a:lnTo>
                  <a:lnTo>
                    <a:pt x="942290" y="204292"/>
                  </a:lnTo>
                  <a:lnTo>
                    <a:pt x="942290" y="203594"/>
                  </a:lnTo>
                  <a:lnTo>
                    <a:pt x="942290" y="204292"/>
                  </a:lnTo>
                  <a:lnTo>
                    <a:pt x="942341" y="204990"/>
                  </a:lnTo>
                  <a:lnTo>
                    <a:pt x="942341" y="204292"/>
                  </a:lnTo>
                  <a:lnTo>
                    <a:pt x="942391" y="204292"/>
                  </a:lnTo>
                  <a:lnTo>
                    <a:pt x="942391" y="204990"/>
                  </a:lnTo>
                  <a:lnTo>
                    <a:pt x="942480" y="204990"/>
                  </a:lnTo>
                  <a:lnTo>
                    <a:pt x="942480" y="204292"/>
                  </a:lnTo>
                  <a:lnTo>
                    <a:pt x="942480" y="204990"/>
                  </a:lnTo>
                  <a:lnTo>
                    <a:pt x="942480" y="203594"/>
                  </a:lnTo>
                  <a:lnTo>
                    <a:pt x="942480" y="204292"/>
                  </a:lnTo>
                  <a:lnTo>
                    <a:pt x="942531" y="204292"/>
                  </a:lnTo>
                  <a:lnTo>
                    <a:pt x="942531" y="202959"/>
                  </a:lnTo>
                  <a:lnTo>
                    <a:pt x="942531" y="203594"/>
                  </a:lnTo>
                  <a:lnTo>
                    <a:pt x="942531" y="202959"/>
                  </a:lnTo>
                  <a:lnTo>
                    <a:pt x="942531" y="203594"/>
                  </a:lnTo>
                  <a:lnTo>
                    <a:pt x="942531" y="202959"/>
                  </a:lnTo>
                  <a:lnTo>
                    <a:pt x="942582" y="202959"/>
                  </a:lnTo>
                  <a:lnTo>
                    <a:pt x="942582" y="200876"/>
                  </a:lnTo>
                  <a:lnTo>
                    <a:pt x="942582" y="202260"/>
                  </a:lnTo>
                  <a:lnTo>
                    <a:pt x="942582" y="200876"/>
                  </a:lnTo>
                  <a:lnTo>
                    <a:pt x="942582" y="202260"/>
                  </a:lnTo>
                  <a:lnTo>
                    <a:pt x="942582" y="200876"/>
                  </a:lnTo>
                  <a:lnTo>
                    <a:pt x="942633" y="200228"/>
                  </a:lnTo>
                  <a:lnTo>
                    <a:pt x="942633" y="202959"/>
                  </a:lnTo>
                  <a:lnTo>
                    <a:pt x="942633" y="202260"/>
                  </a:lnTo>
                  <a:lnTo>
                    <a:pt x="942633" y="202959"/>
                  </a:lnTo>
                  <a:lnTo>
                    <a:pt x="942633" y="202260"/>
                  </a:lnTo>
                  <a:lnTo>
                    <a:pt x="942633" y="202959"/>
                  </a:lnTo>
                  <a:lnTo>
                    <a:pt x="942633" y="202260"/>
                  </a:lnTo>
                  <a:lnTo>
                    <a:pt x="942734" y="202260"/>
                  </a:lnTo>
                  <a:lnTo>
                    <a:pt x="942734" y="203594"/>
                  </a:lnTo>
                  <a:lnTo>
                    <a:pt x="942734" y="202959"/>
                  </a:lnTo>
                  <a:lnTo>
                    <a:pt x="942734" y="203594"/>
                  </a:lnTo>
                  <a:lnTo>
                    <a:pt x="942734" y="202959"/>
                  </a:lnTo>
                  <a:lnTo>
                    <a:pt x="942785" y="202959"/>
                  </a:lnTo>
                  <a:lnTo>
                    <a:pt x="942785" y="204292"/>
                  </a:lnTo>
                  <a:lnTo>
                    <a:pt x="942785" y="203594"/>
                  </a:lnTo>
                  <a:lnTo>
                    <a:pt x="942785" y="204292"/>
                  </a:lnTo>
                  <a:lnTo>
                    <a:pt x="942785" y="203594"/>
                  </a:lnTo>
                  <a:lnTo>
                    <a:pt x="942836" y="203594"/>
                  </a:lnTo>
                  <a:lnTo>
                    <a:pt x="942836" y="204292"/>
                  </a:lnTo>
                  <a:lnTo>
                    <a:pt x="942836" y="203594"/>
                  </a:lnTo>
                  <a:lnTo>
                    <a:pt x="942836" y="204292"/>
                  </a:lnTo>
                  <a:lnTo>
                    <a:pt x="942836" y="203594"/>
                  </a:lnTo>
                  <a:lnTo>
                    <a:pt x="942836" y="204990"/>
                  </a:lnTo>
                  <a:lnTo>
                    <a:pt x="942836" y="204292"/>
                  </a:lnTo>
                  <a:lnTo>
                    <a:pt x="942937" y="204292"/>
                  </a:lnTo>
                  <a:lnTo>
                    <a:pt x="942937" y="204990"/>
                  </a:lnTo>
                  <a:lnTo>
                    <a:pt x="942937" y="204292"/>
                  </a:lnTo>
                  <a:lnTo>
                    <a:pt x="942976" y="204292"/>
                  </a:lnTo>
                  <a:lnTo>
                    <a:pt x="942976" y="203594"/>
                  </a:lnTo>
                  <a:lnTo>
                    <a:pt x="943026" y="204292"/>
                  </a:lnTo>
                  <a:lnTo>
                    <a:pt x="943026" y="203594"/>
                  </a:lnTo>
                  <a:lnTo>
                    <a:pt x="943026" y="204292"/>
                  </a:lnTo>
                  <a:lnTo>
                    <a:pt x="943026" y="203594"/>
                  </a:lnTo>
                  <a:lnTo>
                    <a:pt x="943026" y="204292"/>
                  </a:lnTo>
                  <a:lnTo>
                    <a:pt x="943026" y="202959"/>
                  </a:lnTo>
                  <a:lnTo>
                    <a:pt x="943077" y="202959"/>
                  </a:lnTo>
                  <a:lnTo>
                    <a:pt x="943077" y="202260"/>
                  </a:lnTo>
                  <a:lnTo>
                    <a:pt x="943077" y="202959"/>
                  </a:lnTo>
                  <a:lnTo>
                    <a:pt x="943077" y="200876"/>
                  </a:lnTo>
                  <a:lnTo>
                    <a:pt x="943179" y="200876"/>
                  </a:lnTo>
                  <a:lnTo>
                    <a:pt x="943179" y="202959"/>
                  </a:lnTo>
                  <a:lnTo>
                    <a:pt x="943179" y="200876"/>
                  </a:lnTo>
                  <a:lnTo>
                    <a:pt x="943230" y="202260"/>
                  </a:lnTo>
                  <a:lnTo>
                    <a:pt x="943230" y="203594"/>
                  </a:lnTo>
                  <a:lnTo>
                    <a:pt x="943230" y="202260"/>
                  </a:lnTo>
                  <a:lnTo>
                    <a:pt x="943280" y="202260"/>
                  </a:lnTo>
                  <a:lnTo>
                    <a:pt x="943280" y="203594"/>
                  </a:lnTo>
                  <a:lnTo>
                    <a:pt x="943280" y="202959"/>
                  </a:lnTo>
                  <a:lnTo>
                    <a:pt x="943280" y="203594"/>
                  </a:lnTo>
                  <a:lnTo>
                    <a:pt x="943280" y="202959"/>
                  </a:lnTo>
                  <a:lnTo>
                    <a:pt x="943280" y="203594"/>
                  </a:lnTo>
                  <a:lnTo>
                    <a:pt x="943382" y="203594"/>
                  </a:lnTo>
                  <a:lnTo>
                    <a:pt x="943382" y="204292"/>
                  </a:lnTo>
                  <a:lnTo>
                    <a:pt x="943382" y="203594"/>
                  </a:lnTo>
                  <a:lnTo>
                    <a:pt x="943382" y="204292"/>
                  </a:lnTo>
                  <a:lnTo>
                    <a:pt x="943382" y="203594"/>
                  </a:lnTo>
                  <a:lnTo>
                    <a:pt x="943433" y="203594"/>
                  </a:lnTo>
                  <a:lnTo>
                    <a:pt x="943433" y="204990"/>
                  </a:lnTo>
                  <a:lnTo>
                    <a:pt x="943483" y="204292"/>
                  </a:lnTo>
                  <a:lnTo>
                    <a:pt x="943483" y="203594"/>
                  </a:lnTo>
                  <a:lnTo>
                    <a:pt x="943483" y="204292"/>
                  </a:lnTo>
                  <a:lnTo>
                    <a:pt x="943483" y="203594"/>
                  </a:lnTo>
                  <a:lnTo>
                    <a:pt x="943522" y="203594"/>
                  </a:lnTo>
                  <a:lnTo>
                    <a:pt x="943522" y="202959"/>
                  </a:lnTo>
                  <a:lnTo>
                    <a:pt x="943522" y="203594"/>
                  </a:lnTo>
                  <a:lnTo>
                    <a:pt x="943522" y="202260"/>
                  </a:lnTo>
                  <a:lnTo>
                    <a:pt x="943522" y="202959"/>
                  </a:lnTo>
                  <a:lnTo>
                    <a:pt x="943522" y="202260"/>
                  </a:lnTo>
                  <a:lnTo>
                    <a:pt x="943623" y="202260"/>
                  </a:lnTo>
                  <a:lnTo>
                    <a:pt x="943623" y="203594"/>
                  </a:lnTo>
                  <a:lnTo>
                    <a:pt x="943623" y="200228"/>
                  </a:lnTo>
                  <a:lnTo>
                    <a:pt x="943674" y="200228"/>
                  </a:lnTo>
                  <a:lnTo>
                    <a:pt x="943674" y="202260"/>
                  </a:lnTo>
                  <a:lnTo>
                    <a:pt x="943674" y="200876"/>
                  </a:lnTo>
                  <a:lnTo>
                    <a:pt x="943674" y="202959"/>
                  </a:lnTo>
                  <a:lnTo>
                    <a:pt x="943725" y="202959"/>
                  </a:lnTo>
                  <a:lnTo>
                    <a:pt x="943725" y="202260"/>
                  </a:lnTo>
                  <a:lnTo>
                    <a:pt x="943725" y="202959"/>
                  </a:lnTo>
                  <a:lnTo>
                    <a:pt x="943725" y="202260"/>
                  </a:lnTo>
                  <a:lnTo>
                    <a:pt x="943725" y="202959"/>
                  </a:lnTo>
                  <a:lnTo>
                    <a:pt x="943826" y="202959"/>
                  </a:lnTo>
                  <a:lnTo>
                    <a:pt x="943826" y="203594"/>
                  </a:lnTo>
                  <a:lnTo>
                    <a:pt x="943877" y="203594"/>
                  </a:lnTo>
                  <a:lnTo>
                    <a:pt x="943877" y="204292"/>
                  </a:lnTo>
                  <a:lnTo>
                    <a:pt x="943928" y="204292"/>
                  </a:lnTo>
                  <a:lnTo>
                    <a:pt x="943928" y="203594"/>
                  </a:lnTo>
                  <a:lnTo>
                    <a:pt x="943928" y="204292"/>
                  </a:lnTo>
                  <a:lnTo>
                    <a:pt x="943979" y="203594"/>
                  </a:lnTo>
                  <a:lnTo>
                    <a:pt x="943979" y="204292"/>
                  </a:lnTo>
                  <a:lnTo>
                    <a:pt x="943979" y="203594"/>
                  </a:lnTo>
                  <a:lnTo>
                    <a:pt x="944068" y="203594"/>
                  </a:lnTo>
                  <a:lnTo>
                    <a:pt x="944068" y="202959"/>
                  </a:lnTo>
                  <a:lnTo>
                    <a:pt x="944118" y="202959"/>
                  </a:lnTo>
                  <a:lnTo>
                    <a:pt x="944118" y="200876"/>
                  </a:lnTo>
                  <a:lnTo>
                    <a:pt x="944118" y="202959"/>
                  </a:lnTo>
                  <a:lnTo>
                    <a:pt x="944169" y="202959"/>
                  </a:lnTo>
                  <a:lnTo>
                    <a:pt x="944169" y="200876"/>
                  </a:lnTo>
                  <a:lnTo>
                    <a:pt x="944169" y="202260"/>
                  </a:lnTo>
                  <a:lnTo>
                    <a:pt x="944169" y="200876"/>
                  </a:lnTo>
                  <a:lnTo>
                    <a:pt x="944169" y="203594"/>
                  </a:lnTo>
                  <a:lnTo>
                    <a:pt x="944169" y="202959"/>
                  </a:lnTo>
                  <a:lnTo>
                    <a:pt x="944220" y="202959"/>
                  </a:lnTo>
                  <a:lnTo>
                    <a:pt x="944220" y="202260"/>
                  </a:lnTo>
                  <a:lnTo>
                    <a:pt x="944220" y="202959"/>
                  </a:lnTo>
                  <a:lnTo>
                    <a:pt x="944322" y="202959"/>
                  </a:lnTo>
                  <a:lnTo>
                    <a:pt x="944322" y="203594"/>
                  </a:lnTo>
                  <a:lnTo>
                    <a:pt x="944322" y="202959"/>
                  </a:lnTo>
                  <a:lnTo>
                    <a:pt x="944322" y="203594"/>
                  </a:lnTo>
                  <a:lnTo>
                    <a:pt x="944322" y="202959"/>
                  </a:lnTo>
                  <a:lnTo>
                    <a:pt x="944372" y="203594"/>
                  </a:lnTo>
                  <a:lnTo>
                    <a:pt x="944372" y="202959"/>
                  </a:lnTo>
                  <a:lnTo>
                    <a:pt x="944372" y="203594"/>
                  </a:lnTo>
                  <a:lnTo>
                    <a:pt x="944372" y="202959"/>
                  </a:lnTo>
                  <a:lnTo>
                    <a:pt x="944372" y="203594"/>
                  </a:lnTo>
                  <a:lnTo>
                    <a:pt x="944372" y="202959"/>
                  </a:lnTo>
                  <a:lnTo>
                    <a:pt x="944372" y="203594"/>
                  </a:lnTo>
                  <a:lnTo>
                    <a:pt x="944372" y="202959"/>
                  </a:lnTo>
                  <a:lnTo>
                    <a:pt x="944372" y="203594"/>
                  </a:lnTo>
                  <a:lnTo>
                    <a:pt x="944372" y="202260"/>
                  </a:lnTo>
                  <a:lnTo>
                    <a:pt x="944372" y="202959"/>
                  </a:lnTo>
                  <a:lnTo>
                    <a:pt x="944423" y="202959"/>
                  </a:lnTo>
                  <a:lnTo>
                    <a:pt x="944423" y="203594"/>
                  </a:lnTo>
                  <a:lnTo>
                    <a:pt x="944423" y="202959"/>
                  </a:lnTo>
                  <a:lnTo>
                    <a:pt x="944423" y="203594"/>
                  </a:lnTo>
                  <a:lnTo>
                    <a:pt x="944423" y="202959"/>
                  </a:lnTo>
                  <a:lnTo>
                    <a:pt x="944423" y="203594"/>
                  </a:lnTo>
                  <a:lnTo>
                    <a:pt x="944563" y="203594"/>
                  </a:lnTo>
                  <a:lnTo>
                    <a:pt x="944563" y="202260"/>
                  </a:lnTo>
                  <a:lnTo>
                    <a:pt x="944563" y="202959"/>
                  </a:lnTo>
                  <a:lnTo>
                    <a:pt x="944563" y="202260"/>
                  </a:lnTo>
                  <a:lnTo>
                    <a:pt x="944563" y="202959"/>
                  </a:lnTo>
                  <a:lnTo>
                    <a:pt x="944614" y="202260"/>
                  </a:lnTo>
                  <a:lnTo>
                    <a:pt x="944614" y="203594"/>
                  </a:lnTo>
                  <a:lnTo>
                    <a:pt x="944614" y="202959"/>
                  </a:lnTo>
                  <a:lnTo>
                    <a:pt x="944665" y="203594"/>
                  </a:lnTo>
                  <a:lnTo>
                    <a:pt x="944665" y="204990"/>
                  </a:lnTo>
                  <a:lnTo>
                    <a:pt x="944665" y="204292"/>
                  </a:lnTo>
                  <a:lnTo>
                    <a:pt x="944665" y="204990"/>
                  </a:lnTo>
                  <a:lnTo>
                    <a:pt x="944665" y="204292"/>
                  </a:lnTo>
                  <a:lnTo>
                    <a:pt x="944766" y="204292"/>
                  </a:lnTo>
                  <a:lnTo>
                    <a:pt x="944766" y="204990"/>
                  </a:lnTo>
                  <a:lnTo>
                    <a:pt x="944766" y="204292"/>
                  </a:lnTo>
                  <a:lnTo>
                    <a:pt x="944766" y="204990"/>
                  </a:lnTo>
                  <a:lnTo>
                    <a:pt x="944766" y="204292"/>
                  </a:lnTo>
                  <a:lnTo>
                    <a:pt x="944766" y="204990"/>
                  </a:lnTo>
                  <a:lnTo>
                    <a:pt x="944766" y="204292"/>
                  </a:lnTo>
                  <a:lnTo>
                    <a:pt x="944817" y="204990"/>
                  </a:lnTo>
                  <a:lnTo>
                    <a:pt x="944817" y="204292"/>
                  </a:lnTo>
                  <a:lnTo>
                    <a:pt x="944817" y="204990"/>
                  </a:lnTo>
                  <a:lnTo>
                    <a:pt x="944868" y="204990"/>
                  </a:lnTo>
                  <a:lnTo>
                    <a:pt x="944969" y="204292"/>
                  </a:lnTo>
                  <a:lnTo>
                    <a:pt x="945020" y="203594"/>
                  </a:lnTo>
                  <a:lnTo>
                    <a:pt x="945071" y="203594"/>
                  </a:lnTo>
                  <a:lnTo>
                    <a:pt x="945071" y="202260"/>
                  </a:lnTo>
                  <a:lnTo>
                    <a:pt x="945071" y="203594"/>
                  </a:lnTo>
                  <a:lnTo>
                    <a:pt x="945109" y="203594"/>
                  </a:lnTo>
                  <a:lnTo>
                    <a:pt x="945109" y="202959"/>
                  </a:lnTo>
                  <a:lnTo>
                    <a:pt x="945109" y="203594"/>
                  </a:lnTo>
                  <a:lnTo>
                    <a:pt x="945109" y="202959"/>
                  </a:lnTo>
                  <a:lnTo>
                    <a:pt x="945109" y="204990"/>
                  </a:lnTo>
                  <a:lnTo>
                    <a:pt x="945211" y="204990"/>
                  </a:lnTo>
                  <a:lnTo>
                    <a:pt x="945211" y="203594"/>
                  </a:lnTo>
                  <a:lnTo>
                    <a:pt x="945211" y="204990"/>
                  </a:lnTo>
                  <a:lnTo>
                    <a:pt x="945262" y="204990"/>
                  </a:lnTo>
                  <a:lnTo>
                    <a:pt x="945262" y="204292"/>
                  </a:lnTo>
                  <a:lnTo>
                    <a:pt x="945262" y="204990"/>
                  </a:lnTo>
                  <a:lnTo>
                    <a:pt x="945262" y="204292"/>
                  </a:lnTo>
                  <a:lnTo>
                    <a:pt x="945262" y="204990"/>
                  </a:lnTo>
                  <a:lnTo>
                    <a:pt x="945312" y="204990"/>
                  </a:lnTo>
                  <a:lnTo>
                    <a:pt x="945312" y="204292"/>
                  </a:lnTo>
                  <a:lnTo>
                    <a:pt x="945312" y="204990"/>
                  </a:lnTo>
                  <a:lnTo>
                    <a:pt x="945414" y="204990"/>
                  </a:lnTo>
                  <a:lnTo>
                    <a:pt x="945414" y="203594"/>
                  </a:lnTo>
                  <a:lnTo>
                    <a:pt x="945414" y="204292"/>
                  </a:lnTo>
                  <a:lnTo>
                    <a:pt x="945465" y="204292"/>
                  </a:lnTo>
                  <a:lnTo>
                    <a:pt x="945465" y="203594"/>
                  </a:lnTo>
                  <a:lnTo>
                    <a:pt x="945465" y="204292"/>
                  </a:lnTo>
                  <a:lnTo>
                    <a:pt x="945465" y="203594"/>
                  </a:lnTo>
                  <a:lnTo>
                    <a:pt x="945465" y="204292"/>
                  </a:lnTo>
                  <a:lnTo>
                    <a:pt x="945465" y="203594"/>
                  </a:lnTo>
                  <a:lnTo>
                    <a:pt x="945516" y="203594"/>
                  </a:lnTo>
                  <a:lnTo>
                    <a:pt x="945516" y="202959"/>
                  </a:lnTo>
                  <a:lnTo>
                    <a:pt x="945516" y="203594"/>
                  </a:lnTo>
                  <a:lnTo>
                    <a:pt x="945516" y="202260"/>
                  </a:lnTo>
                  <a:lnTo>
                    <a:pt x="945566" y="202260"/>
                  </a:lnTo>
                  <a:lnTo>
                    <a:pt x="945566" y="200876"/>
                  </a:lnTo>
                  <a:lnTo>
                    <a:pt x="945566" y="203594"/>
                  </a:lnTo>
                  <a:lnTo>
                    <a:pt x="945566" y="202260"/>
                  </a:lnTo>
                  <a:lnTo>
                    <a:pt x="945655" y="202260"/>
                  </a:lnTo>
                  <a:lnTo>
                    <a:pt x="945655" y="204292"/>
                  </a:lnTo>
                  <a:lnTo>
                    <a:pt x="945655" y="203594"/>
                  </a:lnTo>
                  <a:lnTo>
                    <a:pt x="945706" y="203594"/>
                  </a:lnTo>
                  <a:lnTo>
                    <a:pt x="945706" y="204990"/>
                  </a:lnTo>
                  <a:lnTo>
                    <a:pt x="945706" y="204292"/>
                  </a:lnTo>
                  <a:lnTo>
                    <a:pt x="945757" y="204292"/>
                  </a:lnTo>
                  <a:lnTo>
                    <a:pt x="945757" y="206324"/>
                  </a:lnTo>
                  <a:lnTo>
                    <a:pt x="945808" y="206324"/>
                  </a:lnTo>
                  <a:lnTo>
                    <a:pt x="945808" y="204990"/>
                  </a:lnTo>
                  <a:lnTo>
                    <a:pt x="945909" y="206324"/>
                  </a:lnTo>
                  <a:lnTo>
                    <a:pt x="945909" y="204990"/>
                  </a:lnTo>
                  <a:lnTo>
                    <a:pt x="945909" y="206324"/>
                  </a:lnTo>
                  <a:lnTo>
                    <a:pt x="945909" y="204990"/>
                  </a:lnTo>
                  <a:lnTo>
                    <a:pt x="945909" y="206324"/>
                  </a:lnTo>
                  <a:lnTo>
                    <a:pt x="945960" y="204990"/>
                  </a:lnTo>
                  <a:lnTo>
                    <a:pt x="945960" y="204292"/>
                  </a:lnTo>
                  <a:lnTo>
                    <a:pt x="945960" y="204990"/>
                  </a:lnTo>
                  <a:lnTo>
                    <a:pt x="945960" y="204292"/>
                  </a:lnTo>
                  <a:lnTo>
                    <a:pt x="945960" y="204990"/>
                  </a:lnTo>
                  <a:lnTo>
                    <a:pt x="945960" y="204292"/>
                  </a:lnTo>
                  <a:lnTo>
                    <a:pt x="946011" y="204292"/>
                  </a:lnTo>
                  <a:lnTo>
                    <a:pt x="946011" y="202959"/>
                  </a:lnTo>
                  <a:lnTo>
                    <a:pt x="946011" y="203594"/>
                  </a:lnTo>
                  <a:lnTo>
                    <a:pt x="946011" y="202260"/>
                  </a:lnTo>
                  <a:lnTo>
                    <a:pt x="946112" y="202260"/>
                  </a:lnTo>
                  <a:lnTo>
                    <a:pt x="946112" y="202959"/>
                  </a:lnTo>
                  <a:lnTo>
                    <a:pt x="946112" y="202260"/>
                  </a:lnTo>
                  <a:lnTo>
                    <a:pt x="946151" y="202260"/>
                  </a:lnTo>
                  <a:lnTo>
                    <a:pt x="946151" y="204292"/>
                  </a:lnTo>
                  <a:lnTo>
                    <a:pt x="946151" y="203594"/>
                  </a:lnTo>
                  <a:lnTo>
                    <a:pt x="946201" y="203594"/>
                  </a:lnTo>
                  <a:lnTo>
                    <a:pt x="946201" y="204292"/>
                  </a:lnTo>
                  <a:lnTo>
                    <a:pt x="946252" y="204292"/>
                  </a:lnTo>
                  <a:lnTo>
                    <a:pt x="946252" y="204990"/>
                  </a:lnTo>
                  <a:lnTo>
                    <a:pt x="946252" y="204292"/>
                  </a:lnTo>
                  <a:lnTo>
                    <a:pt x="946252" y="204990"/>
                  </a:lnTo>
                  <a:lnTo>
                    <a:pt x="946354" y="204990"/>
                  </a:lnTo>
                  <a:lnTo>
                    <a:pt x="946354" y="204292"/>
                  </a:lnTo>
                  <a:lnTo>
                    <a:pt x="946354" y="204990"/>
                  </a:lnTo>
                  <a:lnTo>
                    <a:pt x="946354" y="204292"/>
                  </a:lnTo>
                  <a:lnTo>
                    <a:pt x="946354" y="204990"/>
                  </a:lnTo>
                  <a:lnTo>
                    <a:pt x="946354" y="204292"/>
                  </a:lnTo>
                  <a:lnTo>
                    <a:pt x="946405" y="204292"/>
                  </a:lnTo>
                  <a:lnTo>
                    <a:pt x="946405" y="204990"/>
                  </a:lnTo>
                  <a:lnTo>
                    <a:pt x="946405" y="204292"/>
                  </a:lnTo>
                  <a:lnTo>
                    <a:pt x="946405" y="204990"/>
                  </a:lnTo>
                  <a:lnTo>
                    <a:pt x="946405" y="204292"/>
                  </a:lnTo>
                  <a:lnTo>
                    <a:pt x="946405" y="204990"/>
                  </a:lnTo>
                  <a:lnTo>
                    <a:pt x="946455" y="204990"/>
                  </a:lnTo>
                  <a:lnTo>
                    <a:pt x="946455" y="204292"/>
                  </a:lnTo>
                  <a:lnTo>
                    <a:pt x="946455" y="204990"/>
                  </a:lnTo>
                  <a:lnTo>
                    <a:pt x="946455" y="204292"/>
                  </a:lnTo>
                  <a:lnTo>
                    <a:pt x="946455" y="204990"/>
                  </a:lnTo>
                  <a:lnTo>
                    <a:pt x="946455" y="204292"/>
                  </a:lnTo>
                  <a:lnTo>
                    <a:pt x="946557" y="204292"/>
                  </a:lnTo>
                  <a:lnTo>
                    <a:pt x="946557" y="203594"/>
                  </a:lnTo>
                  <a:lnTo>
                    <a:pt x="946557" y="204292"/>
                  </a:lnTo>
                  <a:lnTo>
                    <a:pt x="946557" y="200876"/>
                  </a:lnTo>
                  <a:lnTo>
                    <a:pt x="946557" y="202260"/>
                  </a:lnTo>
                  <a:lnTo>
                    <a:pt x="946557" y="200876"/>
                  </a:lnTo>
                  <a:lnTo>
                    <a:pt x="946608" y="200876"/>
                  </a:lnTo>
                  <a:lnTo>
                    <a:pt x="946608" y="200228"/>
                  </a:lnTo>
                  <a:lnTo>
                    <a:pt x="946608" y="202260"/>
                  </a:lnTo>
                  <a:lnTo>
                    <a:pt x="946608" y="200876"/>
                  </a:lnTo>
                  <a:lnTo>
                    <a:pt x="946658" y="200228"/>
                  </a:lnTo>
                  <a:lnTo>
                    <a:pt x="946658" y="199530"/>
                  </a:lnTo>
                  <a:lnTo>
                    <a:pt x="946658" y="203594"/>
                  </a:lnTo>
                  <a:lnTo>
                    <a:pt x="946658" y="202260"/>
                  </a:lnTo>
                  <a:lnTo>
                    <a:pt x="946697" y="200876"/>
                  </a:lnTo>
                  <a:lnTo>
                    <a:pt x="946697" y="203594"/>
                  </a:lnTo>
                  <a:lnTo>
                    <a:pt x="946697" y="202260"/>
                  </a:lnTo>
                  <a:lnTo>
                    <a:pt x="946798" y="202959"/>
                  </a:lnTo>
                  <a:lnTo>
                    <a:pt x="946798" y="203594"/>
                  </a:lnTo>
                  <a:lnTo>
                    <a:pt x="946849" y="203594"/>
                  </a:lnTo>
                  <a:lnTo>
                    <a:pt x="946849" y="204292"/>
                  </a:lnTo>
                  <a:lnTo>
                    <a:pt x="946900" y="204292"/>
                  </a:lnTo>
                  <a:lnTo>
                    <a:pt x="946900" y="204990"/>
                  </a:lnTo>
                  <a:lnTo>
                    <a:pt x="946900" y="204292"/>
                  </a:lnTo>
                  <a:lnTo>
                    <a:pt x="946900" y="204990"/>
                  </a:lnTo>
                  <a:lnTo>
                    <a:pt x="946900" y="204292"/>
                  </a:lnTo>
                  <a:lnTo>
                    <a:pt x="946900" y="204990"/>
                  </a:lnTo>
                  <a:lnTo>
                    <a:pt x="946900" y="204292"/>
                  </a:lnTo>
                  <a:lnTo>
                    <a:pt x="946900" y="204990"/>
                  </a:lnTo>
                  <a:lnTo>
                    <a:pt x="947001" y="204990"/>
                  </a:lnTo>
                  <a:lnTo>
                    <a:pt x="947001" y="204292"/>
                  </a:lnTo>
                  <a:lnTo>
                    <a:pt x="947052" y="203594"/>
                  </a:lnTo>
                  <a:lnTo>
                    <a:pt x="947052" y="204292"/>
                  </a:lnTo>
                  <a:lnTo>
                    <a:pt x="947052" y="202260"/>
                  </a:lnTo>
                  <a:lnTo>
                    <a:pt x="947052" y="202959"/>
                  </a:lnTo>
                  <a:lnTo>
                    <a:pt x="947052" y="202260"/>
                  </a:lnTo>
                  <a:lnTo>
                    <a:pt x="947103" y="202260"/>
                  </a:lnTo>
                  <a:lnTo>
                    <a:pt x="947103" y="200228"/>
                  </a:lnTo>
                  <a:lnTo>
                    <a:pt x="947103" y="200876"/>
                  </a:lnTo>
                  <a:lnTo>
                    <a:pt x="947103" y="199530"/>
                  </a:lnTo>
                  <a:lnTo>
                    <a:pt x="947154" y="199530"/>
                  </a:lnTo>
                  <a:lnTo>
                    <a:pt x="947154" y="202260"/>
                  </a:lnTo>
                  <a:lnTo>
                    <a:pt x="947154" y="200876"/>
                  </a:lnTo>
                  <a:lnTo>
                    <a:pt x="947154" y="202260"/>
                  </a:lnTo>
                  <a:lnTo>
                    <a:pt x="947154" y="200876"/>
                  </a:lnTo>
                  <a:lnTo>
                    <a:pt x="947243" y="200228"/>
                  </a:lnTo>
                  <a:lnTo>
                    <a:pt x="947243" y="202959"/>
                  </a:lnTo>
                  <a:lnTo>
                    <a:pt x="947243" y="200876"/>
                  </a:lnTo>
                  <a:lnTo>
                    <a:pt x="947293" y="200876"/>
                  </a:lnTo>
                  <a:lnTo>
                    <a:pt x="947293" y="200228"/>
                  </a:lnTo>
                  <a:lnTo>
                    <a:pt x="947293" y="202260"/>
                  </a:lnTo>
                  <a:lnTo>
                    <a:pt x="947344" y="202260"/>
                  </a:lnTo>
                  <a:lnTo>
                    <a:pt x="947344" y="202959"/>
                  </a:lnTo>
                  <a:lnTo>
                    <a:pt x="947344" y="202260"/>
                  </a:lnTo>
                  <a:lnTo>
                    <a:pt x="947344" y="202959"/>
                  </a:lnTo>
                  <a:lnTo>
                    <a:pt x="947395" y="202959"/>
                  </a:lnTo>
                  <a:lnTo>
                    <a:pt x="947395" y="204292"/>
                  </a:lnTo>
                  <a:lnTo>
                    <a:pt x="947395" y="203594"/>
                  </a:lnTo>
                  <a:lnTo>
                    <a:pt x="947395" y="204292"/>
                  </a:lnTo>
                  <a:lnTo>
                    <a:pt x="947497" y="204292"/>
                  </a:lnTo>
                  <a:lnTo>
                    <a:pt x="947497" y="203594"/>
                  </a:lnTo>
                  <a:lnTo>
                    <a:pt x="947497" y="204292"/>
                  </a:lnTo>
                  <a:lnTo>
                    <a:pt x="947497" y="203594"/>
                  </a:lnTo>
                  <a:lnTo>
                    <a:pt x="947547" y="203594"/>
                  </a:lnTo>
                  <a:lnTo>
                    <a:pt x="947547" y="202959"/>
                  </a:lnTo>
                  <a:lnTo>
                    <a:pt x="947547" y="203594"/>
                  </a:lnTo>
                  <a:lnTo>
                    <a:pt x="947547" y="202959"/>
                  </a:lnTo>
                  <a:lnTo>
                    <a:pt x="947547" y="203594"/>
                  </a:lnTo>
                  <a:lnTo>
                    <a:pt x="947547" y="202260"/>
                  </a:lnTo>
                  <a:lnTo>
                    <a:pt x="947547" y="202959"/>
                  </a:lnTo>
                  <a:lnTo>
                    <a:pt x="947547" y="200876"/>
                  </a:lnTo>
                  <a:lnTo>
                    <a:pt x="947598" y="200876"/>
                  </a:lnTo>
                  <a:lnTo>
                    <a:pt x="947598" y="202260"/>
                  </a:lnTo>
                  <a:lnTo>
                    <a:pt x="947598" y="200876"/>
                  </a:lnTo>
                  <a:lnTo>
                    <a:pt x="947700" y="200876"/>
                  </a:lnTo>
                  <a:lnTo>
                    <a:pt x="947700" y="203594"/>
                  </a:lnTo>
                  <a:lnTo>
                    <a:pt x="947700" y="202959"/>
                  </a:lnTo>
                  <a:lnTo>
                    <a:pt x="947700" y="203594"/>
                  </a:lnTo>
                  <a:lnTo>
                    <a:pt x="947700" y="202260"/>
                  </a:lnTo>
                  <a:lnTo>
                    <a:pt x="947700" y="202959"/>
                  </a:lnTo>
                  <a:lnTo>
                    <a:pt x="947738" y="202959"/>
                  </a:lnTo>
                  <a:lnTo>
                    <a:pt x="947738" y="203594"/>
                  </a:lnTo>
                  <a:lnTo>
                    <a:pt x="947738" y="202959"/>
                  </a:lnTo>
                  <a:lnTo>
                    <a:pt x="947738" y="203594"/>
                  </a:lnTo>
                  <a:lnTo>
                    <a:pt x="947738" y="202260"/>
                  </a:lnTo>
                  <a:lnTo>
                    <a:pt x="947789" y="202260"/>
                  </a:lnTo>
                  <a:lnTo>
                    <a:pt x="947789" y="202959"/>
                  </a:lnTo>
                  <a:lnTo>
                    <a:pt x="947789" y="202260"/>
                  </a:lnTo>
                  <a:lnTo>
                    <a:pt x="947789" y="202959"/>
                  </a:lnTo>
                  <a:lnTo>
                    <a:pt x="947840" y="202959"/>
                  </a:lnTo>
                  <a:lnTo>
                    <a:pt x="947840" y="203594"/>
                  </a:lnTo>
                  <a:lnTo>
                    <a:pt x="947840" y="202959"/>
                  </a:lnTo>
                  <a:lnTo>
                    <a:pt x="947840" y="203594"/>
                  </a:lnTo>
                  <a:lnTo>
                    <a:pt x="947941" y="203594"/>
                  </a:lnTo>
                  <a:lnTo>
                    <a:pt x="947941" y="204292"/>
                  </a:lnTo>
                  <a:lnTo>
                    <a:pt x="947941" y="203594"/>
                  </a:lnTo>
                  <a:lnTo>
                    <a:pt x="947941" y="204292"/>
                  </a:lnTo>
                  <a:lnTo>
                    <a:pt x="947992" y="204292"/>
                  </a:lnTo>
                  <a:lnTo>
                    <a:pt x="947992" y="203594"/>
                  </a:lnTo>
                  <a:lnTo>
                    <a:pt x="948043" y="203594"/>
                  </a:lnTo>
                  <a:lnTo>
                    <a:pt x="948043" y="202260"/>
                  </a:lnTo>
                  <a:lnTo>
                    <a:pt x="948144" y="202260"/>
                  </a:lnTo>
                  <a:lnTo>
                    <a:pt x="948144" y="202959"/>
                  </a:lnTo>
                  <a:lnTo>
                    <a:pt x="948195" y="202959"/>
                  </a:lnTo>
                  <a:lnTo>
                    <a:pt x="948195" y="204292"/>
                  </a:lnTo>
                  <a:lnTo>
                    <a:pt x="948195" y="203594"/>
                  </a:lnTo>
                  <a:lnTo>
                    <a:pt x="948195" y="204292"/>
                  </a:lnTo>
                  <a:lnTo>
                    <a:pt x="948246" y="204292"/>
                  </a:lnTo>
                  <a:lnTo>
                    <a:pt x="948246" y="203594"/>
                  </a:lnTo>
                  <a:lnTo>
                    <a:pt x="948284" y="203594"/>
                  </a:lnTo>
                  <a:lnTo>
                    <a:pt x="948284" y="204292"/>
                  </a:lnTo>
                  <a:lnTo>
                    <a:pt x="948284" y="202959"/>
                  </a:lnTo>
                  <a:lnTo>
                    <a:pt x="948284" y="203594"/>
                  </a:lnTo>
                  <a:lnTo>
                    <a:pt x="948386" y="202959"/>
                  </a:lnTo>
                  <a:lnTo>
                    <a:pt x="948386" y="203594"/>
                  </a:lnTo>
                  <a:lnTo>
                    <a:pt x="948437" y="203594"/>
                  </a:lnTo>
                  <a:lnTo>
                    <a:pt x="948437" y="204292"/>
                  </a:lnTo>
                  <a:lnTo>
                    <a:pt x="948437" y="203594"/>
                  </a:lnTo>
                  <a:lnTo>
                    <a:pt x="948487" y="203594"/>
                  </a:lnTo>
                  <a:lnTo>
                    <a:pt x="948487" y="202959"/>
                  </a:lnTo>
                  <a:lnTo>
                    <a:pt x="948487" y="203594"/>
                  </a:lnTo>
                  <a:lnTo>
                    <a:pt x="948487" y="202959"/>
                  </a:lnTo>
                  <a:lnTo>
                    <a:pt x="948487" y="203594"/>
                  </a:lnTo>
                  <a:lnTo>
                    <a:pt x="948487" y="202260"/>
                  </a:lnTo>
                  <a:lnTo>
                    <a:pt x="948589" y="202260"/>
                  </a:lnTo>
                  <a:lnTo>
                    <a:pt x="948589" y="200876"/>
                  </a:lnTo>
                  <a:lnTo>
                    <a:pt x="948589" y="202260"/>
                  </a:lnTo>
                  <a:lnTo>
                    <a:pt x="948640" y="202260"/>
                  </a:lnTo>
                  <a:lnTo>
                    <a:pt x="948640" y="202959"/>
                  </a:lnTo>
                  <a:lnTo>
                    <a:pt x="948640" y="202260"/>
                  </a:lnTo>
                  <a:lnTo>
                    <a:pt x="948640" y="202959"/>
                  </a:lnTo>
                  <a:lnTo>
                    <a:pt x="948640" y="202260"/>
                  </a:lnTo>
                  <a:lnTo>
                    <a:pt x="948640" y="204292"/>
                  </a:lnTo>
                  <a:lnTo>
                    <a:pt x="948691" y="204292"/>
                  </a:lnTo>
                  <a:lnTo>
                    <a:pt x="948691" y="202959"/>
                  </a:lnTo>
                  <a:lnTo>
                    <a:pt x="948691" y="204292"/>
                  </a:lnTo>
                  <a:lnTo>
                    <a:pt x="948691" y="203594"/>
                  </a:lnTo>
                  <a:lnTo>
                    <a:pt x="948691" y="204292"/>
                  </a:lnTo>
                  <a:lnTo>
                    <a:pt x="948741" y="204292"/>
                  </a:lnTo>
                  <a:lnTo>
                    <a:pt x="948741" y="203594"/>
                  </a:lnTo>
                  <a:lnTo>
                    <a:pt x="948741" y="204292"/>
                  </a:lnTo>
                  <a:lnTo>
                    <a:pt x="948741" y="203594"/>
                  </a:lnTo>
                  <a:lnTo>
                    <a:pt x="948741" y="204292"/>
                  </a:lnTo>
                  <a:lnTo>
                    <a:pt x="948830" y="204292"/>
                  </a:lnTo>
                  <a:lnTo>
                    <a:pt x="948830" y="203594"/>
                  </a:lnTo>
                  <a:lnTo>
                    <a:pt x="948830" y="204292"/>
                  </a:lnTo>
                  <a:lnTo>
                    <a:pt x="948881" y="204292"/>
                  </a:lnTo>
                  <a:lnTo>
                    <a:pt x="948881" y="204990"/>
                  </a:lnTo>
                  <a:lnTo>
                    <a:pt x="948881" y="204292"/>
                  </a:lnTo>
                  <a:lnTo>
                    <a:pt x="948881" y="204990"/>
                  </a:lnTo>
                  <a:lnTo>
                    <a:pt x="948881" y="204292"/>
                  </a:lnTo>
                  <a:lnTo>
                    <a:pt x="948881" y="204990"/>
                  </a:lnTo>
                  <a:lnTo>
                    <a:pt x="948881" y="204292"/>
                  </a:lnTo>
                  <a:lnTo>
                    <a:pt x="948881" y="204990"/>
                  </a:lnTo>
                  <a:lnTo>
                    <a:pt x="948881" y="204292"/>
                  </a:lnTo>
                  <a:lnTo>
                    <a:pt x="948932" y="204292"/>
                  </a:lnTo>
                  <a:lnTo>
                    <a:pt x="948932" y="204990"/>
                  </a:lnTo>
                  <a:lnTo>
                    <a:pt x="948932" y="203594"/>
                  </a:lnTo>
                  <a:lnTo>
                    <a:pt x="948932" y="204292"/>
                  </a:lnTo>
                  <a:lnTo>
                    <a:pt x="948983" y="203594"/>
                  </a:lnTo>
                  <a:lnTo>
                    <a:pt x="948983" y="202959"/>
                  </a:lnTo>
                  <a:lnTo>
                    <a:pt x="948983" y="203594"/>
                  </a:lnTo>
                  <a:lnTo>
                    <a:pt x="948983" y="202959"/>
                  </a:lnTo>
                  <a:lnTo>
                    <a:pt x="948983" y="203594"/>
                  </a:lnTo>
                  <a:lnTo>
                    <a:pt x="948983" y="202260"/>
                  </a:lnTo>
                  <a:lnTo>
                    <a:pt x="948983" y="202959"/>
                  </a:lnTo>
                  <a:lnTo>
                    <a:pt x="948983" y="202260"/>
                  </a:lnTo>
                  <a:lnTo>
                    <a:pt x="949084" y="202260"/>
                  </a:lnTo>
                  <a:lnTo>
                    <a:pt x="949084" y="200876"/>
                  </a:lnTo>
                  <a:lnTo>
                    <a:pt x="949084" y="204292"/>
                  </a:lnTo>
                  <a:lnTo>
                    <a:pt x="949084" y="202959"/>
                  </a:lnTo>
                  <a:lnTo>
                    <a:pt x="949135" y="202959"/>
                  </a:lnTo>
                  <a:lnTo>
                    <a:pt x="949135" y="202260"/>
                  </a:lnTo>
                  <a:lnTo>
                    <a:pt x="949135" y="206324"/>
                  </a:lnTo>
                  <a:lnTo>
                    <a:pt x="949135" y="203594"/>
                  </a:lnTo>
                  <a:lnTo>
                    <a:pt x="949135" y="204292"/>
                  </a:lnTo>
                  <a:lnTo>
                    <a:pt x="949135" y="203594"/>
                  </a:lnTo>
                  <a:lnTo>
                    <a:pt x="949186" y="203594"/>
                  </a:lnTo>
                  <a:lnTo>
                    <a:pt x="949186" y="206324"/>
                  </a:lnTo>
                  <a:lnTo>
                    <a:pt x="949186" y="204292"/>
                  </a:lnTo>
                  <a:lnTo>
                    <a:pt x="949287" y="203594"/>
                  </a:lnTo>
                  <a:lnTo>
                    <a:pt x="949287" y="204292"/>
                  </a:lnTo>
                  <a:lnTo>
                    <a:pt x="949287" y="203594"/>
                  </a:lnTo>
                  <a:lnTo>
                    <a:pt x="949287" y="204292"/>
                  </a:lnTo>
                  <a:lnTo>
                    <a:pt x="949326" y="204292"/>
                  </a:lnTo>
                  <a:lnTo>
                    <a:pt x="949326" y="204990"/>
                  </a:lnTo>
                  <a:lnTo>
                    <a:pt x="949326" y="204292"/>
                  </a:lnTo>
                  <a:lnTo>
                    <a:pt x="949326" y="204990"/>
                  </a:lnTo>
                  <a:lnTo>
                    <a:pt x="949326" y="204292"/>
                  </a:lnTo>
                  <a:lnTo>
                    <a:pt x="949376" y="204292"/>
                  </a:lnTo>
                  <a:lnTo>
                    <a:pt x="949376" y="204990"/>
                  </a:lnTo>
                  <a:lnTo>
                    <a:pt x="949376" y="204292"/>
                  </a:lnTo>
                  <a:lnTo>
                    <a:pt x="949376" y="204990"/>
                  </a:lnTo>
                  <a:lnTo>
                    <a:pt x="949376" y="204292"/>
                  </a:lnTo>
                  <a:lnTo>
                    <a:pt x="949427" y="204292"/>
                  </a:lnTo>
                  <a:lnTo>
                    <a:pt x="949427" y="204990"/>
                  </a:lnTo>
                  <a:lnTo>
                    <a:pt x="949427" y="202959"/>
                  </a:lnTo>
                  <a:lnTo>
                    <a:pt x="949529" y="203594"/>
                  </a:lnTo>
                  <a:lnTo>
                    <a:pt x="949529" y="202959"/>
                  </a:lnTo>
                  <a:lnTo>
                    <a:pt x="949529" y="203594"/>
                  </a:lnTo>
                  <a:lnTo>
                    <a:pt x="949529" y="202260"/>
                  </a:lnTo>
                  <a:lnTo>
                    <a:pt x="949529" y="202959"/>
                  </a:lnTo>
                  <a:lnTo>
                    <a:pt x="949529" y="200876"/>
                  </a:lnTo>
                  <a:lnTo>
                    <a:pt x="949580" y="200876"/>
                  </a:lnTo>
                  <a:lnTo>
                    <a:pt x="949580" y="202959"/>
                  </a:lnTo>
                  <a:lnTo>
                    <a:pt x="949580" y="200876"/>
                  </a:lnTo>
                  <a:lnTo>
                    <a:pt x="949630" y="200876"/>
                  </a:lnTo>
                  <a:lnTo>
                    <a:pt x="949630" y="203594"/>
                  </a:lnTo>
                  <a:lnTo>
                    <a:pt x="949630" y="202959"/>
                  </a:lnTo>
                  <a:lnTo>
                    <a:pt x="949630" y="203594"/>
                  </a:lnTo>
                  <a:lnTo>
                    <a:pt x="949630" y="202959"/>
                  </a:lnTo>
                  <a:lnTo>
                    <a:pt x="949732" y="202959"/>
                  </a:lnTo>
                  <a:lnTo>
                    <a:pt x="949732" y="204292"/>
                  </a:lnTo>
                  <a:lnTo>
                    <a:pt x="949732" y="202959"/>
                  </a:lnTo>
                  <a:lnTo>
                    <a:pt x="949732" y="203594"/>
                  </a:lnTo>
                  <a:lnTo>
                    <a:pt x="949783" y="203594"/>
                  </a:lnTo>
                  <a:lnTo>
                    <a:pt x="949783" y="204292"/>
                  </a:lnTo>
                  <a:lnTo>
                    <a:pt x="949783" y="203594"/>
                  </a:lnTo>
                  <a:lnTo>
                    <a:pt x="949783" y="204292"/>
                  </a:lnTo>
                  <a:lnTo>
                    <a:pt x="949833" y="204292"/>
                  </a:lnTo>
                  <a:lnTo>
                    <a:pt x="949833" y="204990"/>
                  </a:lnTo>
                  <a:lnTo>
                    <a:pt x="949973" y="204990"/>
                  </a:lnTo>
                  <a:lnTo>
                    <a:pt x="949973" y="204292"/>
                  </a:lnTo>
                  <a:lnTo>
                    <a:pt x="949973" y="204990"/>
                  </a:lnTo>
                  <a:lnTo>
                    <a:pt x="949973" y="202959"/>
                  </a:lnTo>
                  <a:lnTo>
                    <a:pt x="950024" y="202959"/>
                  </a:lnTo>
                  <a:lnTo>
                    <a:pt x="950024" y="200876"/>
                  </a:lnTo>
                  <a:lnTo>
                    <a:pt x="950075" y="200876"/>
                  </a:lnTo>
                  <a:lnTo>
                    <a:pt x="950075" y="198831"/>
                  </a:lnTo>
                  <a:lnTo>
                    <a:pt x="950176" y="198831"/>
                  </a:lnTo>
                  <a:lnTo>
                    <a:pt x="950176" y="196799"/>
                  </a:lnTo>
                  <a:lnTo>
                    <a:pt x="950176" y="197447"/>
                  </a:lnTo>
                  <a:lnTo>
                    <a:pt x="950176" y="196799"/>
                  </a:lnTo>
                  <a:lnTo>
                    <a:pt x="950227" y="196799"/>
                  </a:lnTo>
                  <a:lnTo>
                    <a:pt x="950227" y="196113"/>
                  </a:lnTo>
                  <a:lnTo>
                    <a:pt x="950227" y="198831"/>
                  </a:lnTo>
                  <a:lnTo>
                    <a:pt x="950227" y="197447"/>
                  </a:lnTo>
                  <a:lnTo>
                    <a:pt x="950278" y="197447"/>
                  </a:lnTo>
                  <a:lnTo>
                    <a:pt x="950278" y="200228"/>
                  </a:lnTo>
                  <a:lnTo>
                    <a:pt x="950278" y="199530"/>
                  </a:lnTo>
                  <a:lnTo>
                    <a:pt x="950278" y="200228"/>
                  </a:lnTo>
                  <a:lnTo>
                    <a:pt x="950329" y="200228"/>
                  </a:lnTo>
                  <a:lnTo>
                    <a:pt x="950329" y="202959"/>
                  </a:lnTo>
                  <a:lnTo>
                    <a:pt x="950418" y="202959"/>
                  </a:lnTo>
                  <a:lnTo>
                    <a:pt x="950418" y="202260"/>
                  </a:lnTo>
                  <a:lnTo>
                    <a:pt x="950418" y="203594"/>
                  </a:lnTo>
                  <a:lnTo>
                    <a:pt x="950468" y="203594"/>
                  </a:lnTo>
                  <a:lnTo>
                    <a:pt x="950468" y="204292"/>
                  </a:lnTo>
                  <a:lnTo>
                    <a:pt x="950468" y="203594"/>
                  </a:lnTo>
                  <a:lnTo>
                    <a:pt x="950468" y="204292"/>
                  </a:lnTo>
                  <a:lnTo>
                    <a:pt x="950468" y="203594"/>
                  </a:lnTo>
                  <a:lnTo>
                    <a:pt x="950468" y="204292"/>
                  </a:lnTo>
                  <a:lnTo>
                    <a:pt x="950468" y="203594"/>
                  </a:lnTo>
                  <a:lnTo>
                    <a:pt x="950468" y="204292"/>
                  </a:lnTo>
                  <a:lnTo>
                    <a:pt x="950519" y="204292"/>
                  </a:lnTo>
                  <a:lnTo>
                    <a:pt x="950519" y="203594"/>
                  </a:lnTo>
                  <a:lnTo>
                    <a:pt x="950570" y="203594"/>
                  </a:lnTo>
                  <a:lnTo>
                    <a:pt x="950570" y="202260"/>
                  </a:lnTo>
                  <a:lnTo>
                    <a:pt x="950570" y="202959"/>
                  </a:lnTo>
                  <a:lnTo>
                    <a:pt x="950570" y="202260"/>
                  </a:lnTo>
                  <a:lnTo>
                    <a:pt x="950570" y="202959"/>
                  </a:lnTo>
                  <a:lnTo>
                    <a:pt x="950570" y="200876"/>
                  </a:lnTo>
                  <a:lnTo>
                    <a:pt x="950672" y="200876"/>
                  </a:lnTo>
                  <a:lnTo>
                    <a:pt x="950672" y="198831"/>
                  </a:lnTo>
                  <a:lnTo>
                    <a:pt x="950672" y="199530"/>
                  </a:lnTo>
                  <a:lnTo>
                    <a:pt x="950672" y="198831"/>
                  </a:lnTo>
                  <a:lnTo>
                    <a:pt x="950672" y="199530"/>
                  </a:lnTo>
                  <a:lnTo>
                    <a:pt x="950672" y="196113"/>
                  </a:lnTo>
                  <a:lnTo>
                    <a:pt x="950722" y="196113"/>
                  </a:lnTo>
                  <a:lnTo>
                    <a:pt x="950722" y="194716"/>
                  </a:lnTo>
                  <a:lnTo>
                    <a:pt x="950722" y="195415"/>
                  </a:lnTo>
                  <a:lnTo>
                    <a:pt x="950722" y="194716"/>
                  </a:lnTo>
                  <a:lnTo>
                    <a:pt x="950722" y="196113"/>
                  </a:lnTo>
                  <a:lnTo>
                    <a:pt x="950722" y="195415"/>
                  </a:lnTo>
                  <a:lnTo>
                    <a:pt x="950773" y="195415"/>
                  </a:lnTo>
                  <a:lnTo>
                    <a:pt x="950773" y="194716"/>
                  </a:lnTo>
                  <a:lnTo>
                    <a:pt x="950773" y="198831"/>
                  </a:lnTo>
                  <a:lnTo>
                    <a:pt x="950773" y="197447"/>
                  </a:lnTo>
                  <a:lnTo>
                    <a:pt x="950875" y="197447"/>
                  </a:lnTo>
                  <a:lnTo>
                    <a:pt x="950875" y="199530"/>
                  </a:lnTo>
                  <a:lnTo>
                    <a:pt x="950913" y="199530"/>
                  </a:lnTo>
                  <a:lnTo>
                    <a:pt x="950913" y="200876"/>
                  </a:lnTo>
                  <a:lnTo>
                    <a:pt x="950913" y="200228"/>
                  </a:lnTo>
                  <a:lnTo>
                    <a:pt x="950913" y="200876"/>
                  </a:lnTo>
                  <a:lnTo>
                    <a:pt x="950964" y="202260"/>
                  </a:lnTo>
                  <a:lnTo>
                    <a:pt x="950964" y="202959"/>
                  </a:lnTo>
                  <a:lnTo>
                    <a:pt x="950964" y="202260"/>
                  </a:lnTo>
                  <a:lnTo>
                    <a:pt x="950964" y="203594"/>
                  </a:lnTo>
                  <a:lnTo>
                    <a:pt x="950964" y="202959"/>
                  </a:lnTo>
                  <a:lnTo>
                    <a:pt x="950964" y="203594"/>
                  </a:lnTo>
                  <a:lnTo>
                    <a:pt x="951015" y="203594"/>
                  </a:lnTo>
                  <a:lnTo>
                    <a:pt x="951015" y="204990"/>
                  </a:lnTo>
                  <a:lnTo>
                    <a:pt x="951015" y="204292"/>
                  </a:lnTo>
                  <a:lnTo>
                    <a:pt x="951116" y="204292"/>
                  </a:lnTo>
                  <a:lnTo>
                    <a:pt x="951116" y="204990"/>
                  </a:lnTo>
                  <a:lnTo>
                    <a:pt x="951116" y="203594"/>
                  </a:lnTo>
                  <a:lnTo>
                    <a:pt x="951167" y="203594"/>
                  </a:lnTo>
                  <a:lnTo>
                    <a:pt x="951167" y="200228"/>
                  </a:lnTo>
                  <a:lnTo>
                    <a:pt x="951218" y="200876"/>
                  </a:lnTo>
                  <a:lnTo>
                    <a:pt x="951218" y="200228"/>
                  </a:lnTo>
                  <a:lnTo>
                    <a:pt x="951218" y="200876"/>
                  </a:lnTo>
                  <a:lnTo>
                    <a:pt x="951218" y="199530"/>
                  </a:lnTo>
                  <a:lnTo>
                    <a:pt x="951319" y="199530"/>
                  </a:lnTo>
                  <a:lnTo>
                    <a:pt x="951319" y="198831"/>
                  </a:lnTo>
                  <a:lnTo>
                    <a:pt x="951319" y="200876"/>
                  </a:lnTo>
                  <a:lnTo>
                    <a:pt x="951319" y="199530"/>
                  </a:lnTo>
                  <a:lnTo>
                    <a:pt x="951370" y="199530"/>
                  </a:lnTo>
                  <a:lnTo>
                    <a:pt x="951370" y="200228"/>
                  </a:lnTo>
                  <a:lnTo>
                    <a:pt x="951370" y="199530"/>
                  </a:lnTo>
                  <a:lnTo>
                    <a:pt x="951421" y="200228"/>
                  </a:lnTo>
                  <a:lnTo>
                    <a:pt x="951421" y="199530"/>
                  </a:lnTo>
                  <a:lnTo>
                    <a:pt x="951421" y="200876"/>
                  </a:lnTo>
                  <a:lnTo>
                    <a:pt x="951459" y="200876"/>
                  </a:lnTo>
                  <a:lnTo>
                    <a:pt x="951459" y="200228"/>
                  </a:lnTo>
                  <a:lnTo>
                    <a:pt x="951459" y="202959"/>
                  </a:lnTo>
                  <a:lnTo>
                    <a:pt x="951561" y="202959"/>
                  </a:lnTo>
                  <a:lnTo>
                    <a:pt x="951561" y="204292"/>
                  </a:lnTo>
                  <a:lnTo>
                    <a:pt x="951561" y="203594"/>
                  </a:lnTo>
                  <a:lnTo>
                    <a:pt x="951561" y="204292"/>
                  </a:lnTo>
                  <a:lnTo>
                    <a:pt x="951561" y="203594"/>
                  </a:lnTo>
                  <a:lnTo>
                    <a:pt x="951561" y="204292"/>
                  </a:lnTo>
                  <a:lnTo>
                    <a:pt x="951612" y="204292"/>
                  </a:lnTo>
                  <a:lnTo>
                    <a:pt x="951612" y="203594"/>
                  </a:lnTo>
                  <a:lnTo>
                    <a:pt x="951612" y="204292"/>
                  </a:lnTo>
                  <a:lnTo>
                    <a:pt x="951612" y="203594"/>
                  </a:lnTo>
                  <a:lnTo>
                    <a:pt x="951612" y="204292"/>
                  </a:lnTo>
                  <a:lnTo>
                    <a:pt x="951662" y="204292"/>
                  </a:lnTo>
                  <a:lnTo>
                    <a:pt x="951662" y="202260"/>
                  </a:lnTo>
                  <a:lnTo>
                    <a:pt x="951764" y="202260"/>
                  </a:lnTo>
                  <a:lnTo>
                    <a:pt x="951764" y="200876"/>
                  </a:lnTo>
                  <a:lnTo>
                    <a:pt x="951764" y="202959"/>
                  </a:lnTo>
                  <a:lnTo>
                    <a:pt x="951764" y="202260"/>
                  </a:lnTo>
                  <a:lnTo>
                    <a:pt x="951815" y="202260"/>
                  </a:lnTo>
                  <a:lnTo>
                    <a:pt x="951815" y="204292"/>
                  </a:lnTo>
                  <a:lnTo>
                    <a:pt x="951815" y="202959"/>
                  </a:lnTo>
                  <a:lnTo>
                    <a:pt x="951866" y="202959"/>
                  </a:lnTo>
                  <a:lnTo>
                    <a:pt x="951866" y="203594"/>
                  </a:lnTo>
                  <a:lnTo>
                    <a:pt x="951866" y="202260"/>
                  </a:lnTo>
                  <a:lnTo>
                    <a:pt x="951866" y="202959"/>
                  </a:lnTo>
                  <a:lnTo>
                    <a:pt x="951916" y="202959"/>
                  </a:lnTo>
                  <a:lnTo>
                    <a:pt x="951916" y="202260"/>
                  </a:lnTo>
                  <a:lnTo>
                    <a:pt x="951916" y="202959"/>
                  </a:lnTo>
                  <a:lnTo>
                    <a:pt x="952005" y="202959"/>
                  </a:lnTo>
                  <a:lnTo>
                    <a:pt x="952005" y="203594"/>
                  </a:lnTo>
                  <a:lnTo>
                    <a:pt x="952056" y="203594"/>
                  </a:lnTo>
                  <a:lnTo>
                    <a:pt x="952056" y="204292"/>
                  </a:lnTo>
                  <a:lnTo>
                    <a:pt x="952056" y="202959"/>
                  </a:lnTo>
                  <a:lnTo>
                    <a:pt x="952056" y="204292"/>
                  </a:lnTo>
                  <a:lnTo>
                    <a:pt x="952056" y="203594"/>
                  </a:lnTo>
                  <a:lnTo>
                    <a:pt x="952107" y="203594"/>
                  </a:lnTo>
                  <a:lnTo>
                    <a:pt x="952107" y="202959"/>
                  </a:lnTo>
                  <a:lnTo>
                    <a:pt x="952107" y="203594"/>
                  </a:lnTo>
                  <a:lnTo>
                    <a:pt x="952158" y="203594"/>
                  </a:lnTo>
                  <a:lnTo>
                    <a:pt x="952158" y="202260"/>
                  </a:lnTo>
                  <a:lnTo>
                    <a:pt x="952158" y="202959"/>
                  </a:lnTo>
                  <a:lnTo>
                    <a:pt x="952158" y="202260"/>
                  </a:lnTo>
                  <a:lnTo>
                    <a:pt x="952259" y="202959"/>
                  </a:lnTo>
                  <a:lnTo>
                    <a:pt x="952259" y="204292"/>
                  </a:lnTo>
                  <a:lnTo>
                    <a:pt x="952259" y="202959"/>
                  </a:lnTo>
                  <a:lnTo>
                    <a:pt x="952259" y="204292"/>
                  </a:lnTo>
                  <a:lnTo>
                    <a:pt x="952310" y="204990"/>
                  </a:lnTo>
                  <a:lnTo>
                    <a:pt x="952310" y="203594"/>
                  </a:lnTo>
                  <a:lnTo>
                    <a:pt x="952310" y="204990"/>
                  </a:lnTo>
                  <a:lnTo>
                    <a:pt x="952361" y="204990"/>
                  </a:lnTo>
                  <a:lnTo>
                    <a:pt x="952361" y="203594"/>
                  </a:lnTo>
                  <a:lnTo>
                    <a:pt x="952361" y="204292"/>
                  </a:lnTo>
                  <a:lnTo>
                    <a:pt x="952462" y="204292"/>
                  </a:lnTo>
                  <a:lnTo>
                    <a:pt x="952462" y="203594"/>
                  </a:lnTo>
                  <a:lnTo>
                    <a:pt x="952462" y="204292"/>
                  </a:lnTo>
                  <a:lnTo>
                    <a:pt x="952462" y="203594"/>
                  </a:lnTo>
                  <a:lnTo>
                    <a:pt x="952462" y="204292"/>
                  </a:lnTo>
                  <a:lnTo>
                    <a:pt x="952462" y="203594"/>
                  </a:lnTo>
                  <a:lnTo>
                    <a:pt x="952462" y="204292"/>
                  </a:lnTo>
                  <a:lnTo>
                    <a:pt x="952501" y="204292"/>
                  </a:lnTo>
                  <a:lnTo>
                    <a:pt x="952501" y="204990"/>
                  </a:lnTo>
                  <a:lnTo>
                    <a:pt x="952501" y="204292"/>
                  </a:lnTo>
                  <a:lnTo>
                    <a:pt x="952501" y="204990"/>
                  </a:lnTo>
                  <a:lnTo>
                    <a:pt x="952501" y="204292"/>
                  </a:lnTo>
                  <a:lnTo>
                    <a:pt x="952501" y="204990"/>
                  </a:lnTo>
                  <a:lnTo>
                    <a:pt x="952551" y="204990"/>
                  </a:lnTo>
                  <a:lnTo>
                    <a:pt x="952551" y="203594"/>
                  </a:lnTo>
                  <a:lnTo>
                    <a:pt x="952551" y="204292"/>
                  </a:lnTo>
                  <a:lnTo>
                    <a:pt x="952602" y="204292"/>
                  </a:lnTo>
                  <a:lnTo>
                    <a:pt x="952602" y="202959"/>
                  </a:lnTo>
                  <a:lnTo>
                    <a:pt x="952602" y="203594"/>
                  </a:lnTo>
                  <a:lnTo>
                    <a:pt x="952704" y="203594"/>
                  </a:lnTo>
                  <a:lnTo>
                    <a:pt x="952704" y="202260"/>
                  </a:lnTo>
                  <a:lnTo>
                    <a:pt x="952704" y="203594"/>
                  </a:lnTo>
                  <a:lnTo>
                    <a:pt x="952755" y="203594"/>
                  </a:lnTo>
                  <a:lnTo>
                    <a:pt x="952755" y="202959"/>
                  </a:lnTo>
                  <a:lnTo>
                    <a:pt x="952755" y="206324"/>
                  </a:lnTo>
                  <a:lnTo>
                    <a:pt x="952805" y="204990"/>
                  </a:lnTo>
                  <a:lnTo>
                    <a:pt x="952805" y="204292"/>
                  </a:lnTo>
                  <a:lnTo>
                    <a:pt x="952805" y="206324"/>
                  </a:lnTo>
                  <a:lnTo>
                    <a:pt x="952907" y="206324"/>
                  </a:lnTo>
                  <a:lnTo>
                    <a:pt x="952907" y="204990"/>
                  </a:lnTo>
                  <a:lnTo>
                    <a:pt x="952907" y="206324"/>
                  </a:lnTo>
                  <a:lnTo>
                    <a:pt x="952958" y="206324"/>
                  </a:lnTo>
                  <a:lnTo>
                    <a:pt x="952958" y="204990"/>
                  </a:lnTo>
                  <a:lnTo>
                    <a:pt x="952958" y="207022"/>
                  </a:lnTo>
                  <a:lnTo>
                    <a:pt x="952958" y="206324"/>
                  </a:lnTo>
                  <a:lnTo>
                    <a:pt x="952958" y="207022"/>
                  </a:lnTo>
                  <a:lnTo>
                    <a:pt x="952958" y="206324"/>
                  </a:lnTo>
                  <a:lnTo>
                    <a:pt x="953008" y="206324"/>
                  </a:lnTo>
                  <a:lnTo>
                    <a:pt x="953008" y="207022"/>
                  </a:lnTo>
                  <a:lnTo>
                    <a:pt x="953008" y="204990"/>
                  </a:lnTo>
                  <a:lnTo>
                    <a:pt x="953008" y="207022"/>
                  </a:lnTo>
                  <a:lnTo>
                    <a:pt x="953047" y="206324"/>
                  </a:lnTo>
                  <a:lnTo>
                    <a:pt x="953047" y="204990"/>
                  </a:lnTo>
                  <a:lnTo>
                    <a:pt x="953047" y="206324"/>
                  </a:lnTo>
                  <a:lnTo>
                    <a:pt x="953047" y="204990"/>
                  </a:lnTo>
                  <a:lnTo>
                    <a:pt x="953047" y="206324"/>
                  </a:lnTo>
                  <a:lnTo>
                    <a:pt x="953047" y="204292"/>
                  </a:lnTo>
                  <a:lnTo>
                    <a:pt x="953148" y="204292"/>
                  </a:lnTo>
                  <a:lnTo>
                    <a:pt x="953148" y="206324"/>
                  </a:lnTo>
                  <a:lnTo>
                    <a:pt x="953148" y="204990"/>
                  </a:lnTo>
                  <a:lnTo>
                    <a:pt x="953199" y="206324"/>
                  </a:lnTo>
                  <a:lnTo>
                    <a:pt x="953199" y="209753"/>
                  </a:lnTo>
                  <a:lnTo>
                    <a:pt x="953199" y="207721"/>
                  </a:lnTo>
                  <a:lnTo>
                    <a:pt x="953199" y="209753"/>
                  </a:lnTo>
                  <a:lnTo>
                    <a:pt x="953250" y="209753"/>
                  </a:lnTo>
                  <a:lnTo>
                    <a:pt x="953250" y="210451"/>
                  </a:lnTo>
                  <a:lnTo>
                    <a:pt x="953250" y="208407"/>
                  </a:lnTo>
                  <a:lnTo>
                    <a:pt x="953351" y="209753"/>
                  </a:lnTo>
                  <a:lnTo>
                    <a:pt x="953351" y="208407"/>
                  </a:lnTo>
                  <a:lnTo>
                    <a:pt x="953402" y="208407"/>
                  </a:lnTo>
                  <a:lnTo>
                    <a:pt x="953402" y="207022"/>
                  </a:lnTo>
                  <a:lnTo>
                    <a:pt x="953453" y="207022"/>
                  </a:lnTo>
                  <a:lnTo>
                    <a:pt x="953453" y="207721"/>
                  </a:lnTo>
                  <a:lnTo>
                    <a:pt x="953453" y="207022"/>
                  </a:lnTo>
                  <a:lnTo>
                    <a:pt x="953453" y="207721"/>
                  </a:lnTo>
                  <a:lnTo>
                    <a:pt x="953453" y="207022"/>
                  </a:lnTo>
                  <a:lnTo>
                    <a:pt x="953504" y="207022"/>
                  </a:lnTo>
                  <a:lnTo>
                    <a:pt x="953504" y="207721"/>
                  </a:lnTo>
                  <a:lnTo>
                    <a:pt x="953504" y="207022"/>
                  </a:lnTo>
                  <a:lnTo>
                    <a:pt x="953504" y="209753"/>
                  </a:lnTo>
                  <a:lnTo>
                    <a:pt x="953504" y="207721"/>
                  </a:lnTo>
                  <a:lnTo>
                    <a:pt x="953593" y="207721"/>
                  </a:lnTo>
                  <a:lnTo>
                    <a:pt x="953593" y="207022"/>
                  </a:lnTo>
                  <a:lnTo>
                    <a:pt x="953593" y="211137"/>
                  </a:lnTo>
                  <a:lnTo>
                    <a:pt x="953593" y="209753"/>
                  </a:lnTo>
                  <a:lnTo>
                    <a:pt x="953593" y="210451"/>
                  </a:lnTo>
                  <a:lnTo>
                    <a:pt x="953643" y="210451"/>
                  </a:lnTo>
                  <a:lnTo>
                    <a:pt x="953643" y="209753"/>
                  </a:lnTo>
                  <a:lnTo>
                    <a:pt x="953643" y="211785"/>
                  </a:lnTo>
                  <a:lnTo>
                    <a:pt x="953643" y="210451"/>
                  </a:lnTo>
                  <a:lnTo>
                    <a:pt x="953694" y="211137"/>
                  </a:lnTo>
                  <a:lnTo>
                    <a:pt x="953694" y="211785"/>
                  </a:lnTo>
                  <a:lnTo>
                    <a:pt x="953694" y="211137"/>
                  </a:lnTo>
                  <a:lnTo>
                    <a:pt x="953694" y="211785"/>
                  </a:lnTo>
                  <a:lnTo>
                    <a:pt x="953694" y="211137"/>
                  </a:lnTo>
                  <a:lnTo>
                    <a:pt x="953745" y="211137"/>
                  </a:lnTo>
                  <a:lnTo>
                    <a:pt x="953745" y="211785"/>
                  </a:lnTo>
                  <a:lnTo>
                    <a:pt x="953745" y="211137"/>
                  </a:lnTo>
                  <a:lnTo>
                    <a:pt x="953745" y="211785"/>
                  </a:lnTo>
                  <a:lnTo>
                    <a:pt x="953745" y="211137"/>
                  </a:lnTo>
                  <a:lnTo>
                    <a:pt x="953847" y="211137"/>
                  </a:lnTo>
                  <a:lnTo>
                    <a:pt x="953847" y="209753"/>
                  </a:lnTo>
                  <a:lnTo>
                    <a:pt x="953847" y="210451"/>
                  </a:lnTo>
                  <a:lnTo>
                    <a:pt x="953897" y="210451"/>
                  </a:lnTo>
                  <a:lnTo>
                    <a:pt x="953897" y="207721"/>
                  </a:lnTo>
                  <a:lnTo>
                    <a:pt x="953948" y="207721"/>
                  </a:lnTo>
                  <a:lnTo>
                    <a:pt x="953948" y="208407"/>
                  </a:lnTo>
                  <a:lnTo>
                    <a:pt x="953948" y="207022"/>
                  </a:lnTo>
                  <a:lnTo>
                    <a:pt x="954050" y="207721"/>
                  </a:lnTo>
                  <a:lnTo>
                    <a:pt x="954050" y="208407"/>
                  </a:lnTo>
                  <a:lnTo>
                    <a:pt x="954050" y="206324"/>
                  </a:lnTo>
                  <a:lnTo>
                    <a:pt x="954050" y="208407"/>
                  </a:lnTo>
                  <a:lnTo>
                    <a:pt x="954088" y="208407"/>
                  </a:lnTo>
                  <a:lnTo>
                    <a:pt x="954088" y="209753"/>
                  </a:lnTo>
                  <a:lnTo>
                    <a:pt x="954088" y="207721"/>
                  </a:lnTo>
                  <a:lnTo>
                    <a:pt x="954088" y="209753"/>
                  </a:lnTo>
                  <a:lnTo>
                    <a:pt x="954139" y="209753"/>
                  </a:lnTo>
                  <a:lnTo>
                    <a:pt x="954139" y="208407"/>
                  </a:lnTo>
                  <a:lnTo>
                    <a:pt x="954139" y="209753"/>
                  </a:lnTo>
                  <a:lnTo>
                    <a:pt x="954139" y="208407"/>
                  </a:lnTo>
                  <a:lnTo>
                    <a:pt x="954139" y="209753"/>
                  </a:lnTo>
                  <a:lnTo>
                    <a:pt x="954139" y="208407"/>
                  </a:lnTo>
                  <a:lnTo>
                    <a:pt x="954139" y="210451"/>
                  </a:lnTo>
                  <a:lnTo>
                    <a:pt x="954190" y="210451"/>
                  </a:lnTo>
                  <a:lnTo>
                    <a:pt x="954190" y="209753"/>
                  </a:lnTo>
                  <a:lnTo>
                    <a:pt x="954190" y="210451"/>
                  </a:lnTo>
                  <a:lnTo>
                    <a:pt x="954190" y="209753"/>
                  </a:lnTo>
                  <a:lnTo>
                    <a:pt x="954190" y="210451"/>
                  </a:lnTo>
                  <a:lnTo>
                    <a:pt x="954190" y="209753"/>
                  </a:lnTo>
                  <a:lnTo>
                    <a:pt x="954190" y="211137"/>
                  </a:lnTo>
                  <a:lnTo>
                    <a:pt x="954190" y="210451"/>
                  </a:lnTo>
                  <a:lnTo>
                    <a:pt x="954190" y="211137"/>
                  </a:lnTo>
                  <a:lnTo>
                    <a:pt x="954291" y="210451"/>
                  </a:lnTo>
                  <a:lnTo>
                    <a:pt x="954291" y="209753"/>
                  </a:lnTo>
                  <a:lnTo>
                    <a:pt x="954291" y="210451"/>
                  </a:lnTo>
                  <a:lnTo>
                    <a:pt x="954291" y="209753"/>
                  </a:lnTo>
                  <a:lnTo>
                    <a:pt x="954291" y="210451"/>
                  </a:lnTo>
                  <a:lnTo>
                    <a:pt x="954291" y="209753"/>
                  </a:lnTo>
                  <a:lnTo>
                    <a:pt x="954291" y="210451"/>
                  </a:lnTo>
                  <a:lnTo>
                    <a:pt x="954342" y="210451"/>
                  </a:lnTo>
                  <a:lnTo>
                    <a:pt x="954342" y="209753"/>
                  </a:lnTo>
                  <a:lnTo>
                    <a:pt x="954393" y="209753"/>
                  </a:lnTo>
                  <a:lnTo>
                    <a:pt x="954393" y="207721"/>
                  </a:lnTo>
                  <a:lnTo>
                    <a:pt x="954494" y="207022"/>
                  </a:lnTo>
                  <a:lnTo>
                    <a:pt x="954494" y="206324"/>
                  </a:lnTo>
                  <a:lnTo>
                    <a:pt x="954494" y="207721"/>
                  </a:lnTo>
                  <a:lnTo>
                    <a:pt x="954494" y="207022"/>
                  </a:lnTo>
                  <a:lnTo>
                    <a:pt x="954545" y="207721"/>
                  </a:lnTo>
                  <a:lnTo>
                    <a:pt x="954545" y="206324"/>
                  </a:lnTo>
                  <a:lnTo>
                    <a:pt x="954545" y="208407"/>
                  </a:lnTo>
                  <a:lnTo>
                    <a:pt x="954545" y="207721"/>
                  </a:lnTo>
                  <a:lnTo>
                    <a:pt x="954596" y="207022"/>
                  </a:lnTo>
                  <a:lnTo>
                    <a:pt x="954596" y="206324"/>
                  </a:lnTo>
                  <a:lnTo>
                    <a:pt x="954596" y="208407"/>
                  </a:lnTo>
                  <a:lnTo>
                    <a:pt x="954634" y="208407"/>
                  </a:lnTo>
                  <a:lnTo>
                    <a:pt x="954634" y="207721"/>
                  </a:lnTo>
                  <a:lnTo>
                    <a:pt x="954634" y="208407"/>
                  </a:lnTo>
                  <a:lnTo>
                    <a:pt x="954634" y="207721"/>
                  </a:lnTo>
                  <a:lnTo>
                    <a:pt x="954634" y="208407"/>
                  </a:lnTo>
                  <a:lnTo>
                    <a:pt x="954736" y="208407"/>
                  </a:lnTo>
                  <a:lnTo>
                    <a:pt x="954736" y="207721"/>
                  </a:lnTo>
                  <a:lnTo>
                    <a:pt x="954736" y="208407"/>
                  </a:lnTo>
                  <a:lnTo>
                    <a:pt x="954787" y="208407"/>
                  </a:lnTo>
                  <a:lnTo>
                    <a:pt x="954787" y="207721"/>
                  </a:lnTo>
                  <a:lnTo>
                    <a:pt x="954787" y="208407"/>
                  </a:lnTo>
                  <a:lnTo>
                    <a:pt x="954787" y="207721"/>
                  </a:lnTo>
                  <a:lnTo>
                    <a:pt x="954787" y="208407"/>
                  </a:lnTo>
                  <a:lnTo>
                    <a:pt x="954837" y="207721"/>
                  </a:lnTo>
                  <a:lnTo>
                    <a:pt x="954837" y="208407"/>
                  </a:lnTo>
                  <a:lnTo>
                    <a:pt x="954837" y="207721"/>
                  </a:lnTo>
                  <a:lnTo>
                    <a:pt x="954939" y="207721"/>
                  </a:lnTo>
                  <a:lnTo>
                    <a:pt x="954939" y="207022"/>
                  </a:lnTo>
                  <a:lnTo>
                    <a:pt x="954939" y="207721"/>
                  </a:lnTo>
                  <a:lnTo>
                    <a:pt x="954939" y="204990"/>
                  </a:lnTo>
                  <a:lnTo>
                    <a:pt x="954990" y="206324"/>
                  </a:lnTo>
                  <a:lnTo>
                    <a:pt x="954990" y="204990"/>
                  </a:lnTo>
                  <a:lnTo>
                    <a:pt x="954990" y="207022"/>
                  </a:lnTo>
                  <a:lnTo>
                    <a:pt x="954990" y="206324"/>
                  </a:lnTo>
                  <a:lnTo>
                    <a:pt x="954990" y="207022"/>
                  </a:lnTo>
                  <a:lnTo>
                    <a:pt x="954990" y="204990"/>
                  </a:lnTo>
                  <a:lnTo>
                    <a:pt x="955041" y="204990"/>
                  </a:lnTo>
                  <a:lnTo>
                    <a:pt x="955041" y="204292"/>
                  </a:lnTo>
                  <a:lnTo>
                    <a:pt x="955041" y="207721"/>
                  </a:lnTo>
                  <a:lnTo>
                    <a:pt x="955041" y="204990"/>
                  </a:lnTo>
                  <a:lnTo>
                    <a:pt x="955091" y="204990"/>
                  </a:lnTo>
                  <a:lnTo>
                    <a:pt x="955091" y="207022"/>
                  </a:lnTo>
                  <a:lnTo>
                    <a:pt x="955091" y="206324"/>
                  </a:lnTo>
                  <a:lnTo>
                    <a:pt x="955091" y="207022"/>
                  </a:lnTo>
                  <a:lnTo>
                    <a:pt x="955091" y="206324"/>
                  </a:lnTo>
                  <a:lnTo>
                    <a:pt x="955180" y="206324"/>
                  </a:lnTo>
                  <a:lnTo>
                    <a:pt x="955180" y="207721"/>
                  </a:lnTo>
                  <a:lnTo>
                    <a:pt x="955180" y="207022"/>
                  </a:lnTo>
                  <a:lnTo>
                    <a:pt x="955180" y="207721"/>
                  </a:lnTo>
                  <a:lnTo>
                    <a:pt x="955180" y="207022"/>
                  </a:lnTo>
                  <a:lnTo>
                    <a:pt x="955231" y="207022"/>
                  </a:lnTo>
                  <a:lnTo>
                    <a:pt x="955231" y="207721"/>
                  </a:lnTo>
                  <a:lnTo>
                    <a:pt x="955231" y="207022"/>
                  </a:lnTo>
                  <a:lnTo>
                    <a:pt x="955231" y="207721"/>
                  </a:lnTo>
                  <a:lnTo>
                    <a:pt x="955231" y="207022"/>
                  </a:lnTo>
                  <a:lnTo>
                    <a:pt x="955282" y="207022"/>
                  </a:lnTo>
                  <a:lnTo>
                    <a:pt x="955282" y="207721"/>
                  </a:lnTo>
                  <a:lnTo>
                    <a:pt x="955282" y="207022"/>
                  </a:lnTo>
                  <a:lnTo>
                    <a:pt x="955282" y="207721"/>
                  </a:lnTo>
                  <a:lnTo>
                    <a:pt x="955282" y="207022"/>
                  </a:lnTo>
                  <a:lnTo>
                    <a:pt x="955282" y="207721"/>
                  </a:lnTo>
                  <a:lnTo>
                    <a:pt x="955282" y="207022"/>
                  </a:lnTo>
                  <a:lnTo>
                    <a:pt x="955282" y="207721"/>
                  </a:lnTo>
                  <a:lnTo>
                    <a:pt x="955333" y="207022"/>
                  </a:lnTo>
                  <a:lnTo>
                    <a:pt x="955333" y="207721"/>
                  </a:lnTo>
                  <a:lnTo>
                    <a:pt x="955333" y="206324"/>
                  </a:lnTo>
                  <a:lnTo>
                    <a:pt x="955333" y="207022"/>
                  </a:lnTo>
                  <a:lnTo>
                    <a:pt x="955434" y="207022"/>
                  </a:lnTo>
                  <a:lnTo>
                    <a:pt x="955434" y="204292"/>
                  </a:lnTo>
                  <a:lnTo>
                    <a:pt x="955485" y="204292"/>
                  </a:lnTo>
                  <a:lnTo>
                    <a:pt x="955485" y="202959"/>
                  </a:lnTo>
                  <a:lnTo>
                    <a:pt x="955485" y="204292"/>
                  </a:lnTo>
                  <a:lnTo>
                    <a:pt x="955485" y="203594"/>
                  </a:lnTo>
                  <a:lnTo>
                    <a:pt x="955536" y="203594"/>
                  </a:lnTo>
                  <a:lnTo>
                    <a:pt x="955536" y="204292"/>
                  </a:lnTo>
                  <a:lnTo>
                    <a:pt x="955536" y="202959"/>
                  </a:lnTo>
                  <a:lnTo>
                    <a:pt x="955536" y="204990"/>
                  </a:lnTo>
                  <a:lnTo>
                    <a:pt x="955536" y="204292"/>
                  </a:lnTo>
                  <a:lnTo>
                    <a:pt x="955637" y="204292"/>
                  </a:lnTo>
                  <a:lnTo>
                    <a:pt x="955637" y="204990"/>
                  </a:lnTo>
                  <a:lnTo>
                    <a:pt x="955637" y="204292"/>
                  </a:lnTo>
                  <a:lnTo>
                    <a:pt x="955637" y="206324"/>
                  </a:lnTo>
                  <a:lnTo>
                    <a:pt x="955637" y="204990"/>
                  </a:lnTo>
                  <a:lnTo>
                    <a:pt x="955676" y="204990"/>
                  </a:lnTo>
                  <a:lnTo>
                    <a:pt x="955676" y="207022"/>
                  </a:lnTo>
                  <a:lnTo>
                    <a:pt x="955726" y="207022"/>
                  </a:lnTo>
                  <a:lnTo>
                    <a:pt x="955726" y="204990"/>
                  </a:lnTo>
                  <a:lnTo>
                    <a:pt x="955726" y="206324"/>
                  </a:lnTo>
                  <a:lnTo>
                    <a:pt x="955777" y="206324"/>
                  </a:lnTo>
                  <a:lnTo>
                    <a:pt x="955777" y="207022"/>
                  </a:lnTo>
                  <a:lnTo>
                    <a:pt x="955777" y="206324"/>
                  </a:lnTo>
                  <a:lnTo>
                    <a:pt x="955777" y="207022"/>
                  </a:lnTo>
                  <a:lnTo>
                    <a:pt x="955777" y="206324"/>
                  </a:lnTo>
                  <a:lnTo>
                    <a:pt x="955777" y="207022"/>
                  </a:lnTo>
                  <a:lnTo>
                    <a:pt x="955777" y="206324"/>
                  </a:lnTo>
                  <a:lnTo>
                    <a:pt x="955777" y="207022"/>
                  </a:lnTo>
                  <a:lnTo>
                    <a:pt x="955879" y="207022"/>
                  </a:lnTo>
                  <a:lnTo>
                    <a:pt x="955879" y="206324"/>
                  </a:lnTo>
                  <a:lnTo>
                    <a:pt x="955930" y="206324"/>
                  </a:lnTo>
                  <a:lnTo>
                    <a:pt x="955930" y="207022"/>
                  </a:lnTo>
                  <a:lnTo>
                    <a:pt x="955930" y="204990"/>
                  </a:lnTo>
                  <a:lnTo>
                    <a:pt x="955930" y="206324"/>
                  </a:lnTo>
                  <a:lnTo>
                    <a:pt x="955930" y="204292"/>
                  </a:lnTo>
                  <a:lnTo>
                    <a:pt x="955980" y="204292"/>
                  </a:lnTo>
                  <a:lnTo>
                    <a:pt x="955980" y="202260"/>
                  </a:lnTo>
                  <a:lnTo>
                    <a:pt x="955980" y="203594"/>
                  </a:lnTo>
                  <a:lnTo>
                    <a:pt x="955980" y="202959"/>
                  </a:lnTo>
                  <a:lnTo>
                    <a:pt x="955980" y="203594"/>
                  </a:lnTo>
                  <a:lnTo>
                    <a:pt x="956082" y="203594"/>
                  </a:lnTo>
                  <a:lnTo>
                    <a:pt x="956082" y="202260"/>
                  </a:lnTo>
                  <a:lnTo>
                    <a:pt x="956082" y="202959"/>
                  </a:lnTo>
                  <a:lnTo>
                    <a:pt x="956082" y="202260"/>
                  </a:lnTo>
                  <a:lnTo>
                    <a:pt x="956082" y="204990"/>
                  </a:lnTo>
                  <a:lnTo>
                    <a:pt x="956082" y="204292"/>
                  </a:lnTo>
                  <a:lnTo>
                    <a:pt x="956133" y="204292"/>
                  </a:lnTo>
                  <a:lnTo>
                    <a:pt x="956133" y="203594"/>
                  </a:lnTo>
                  <a:lnTo>
                    <a:pt x="956133" y="204990"/>
                  </a:lnTo>
                  <a:lnTo>
                    <a:pt x="956133" y="203594"/>
                  </a:lnTo>
                  <a:lnTo>
                    <a:pt x="956183" y="203594"/>
                  </a:lnTo>
                  <a:lnTo>
                    <a:pt x="956183" y="204292"/>
                  </a:lnTo>
                  <a:lnTo>
                    <a:pt x="956183" y="203594"/>
                  </a:lnTo>
                  <a:lnTo>
                    <a:pt x="956222" y="204292"/>
                  </a:lnTo>
                  <a:lnTo>
                    <a:pt x="956222" y="204990"/>
                  </a:lnTo>
                  <a:lnTo>
                    <a:pt x="956222" y="204292"/>
                  </a:lnTo>
                  <a:lnTo>
                    <a:pt x="956323" y="204990"/>
                  </a:lnTo>
                  <a:lnTo>
                    <a:pt x="956323" y="206324"/>
                  </a:lnTo>
                  <a:lnTo>
                    <a:pt x="956374" y="206324"/>
                  </a:lnTo>
                  <a:lnTo>
                    <a:pt x="956374" y="204990"/>
                  </a:lnTo>
                  <a:lnTo>
                    <a:pt x="956374" y="206324"/>
                  </a:lnTo>
                  <a:lnTo>
                    <a:pt x="956374" y="204990"/>
                  </a:lnTo>
                  <a:lnTo>
                    <a:pt x="956425" y="204990"/>
                  </a:lnTo>
                  <a:lnTo>
                    <a:pt x="956425" y="203594"/>
                  </a:lnTo>
                  <a:lnTo>
                    <a:pt x="956526" y="203594"/>
                  </a:lnTo>
                  <a:lnTo>
                    <a:pt x="956526" y="204990"/>
                  </a:lnTo>
                  <a:lnTo>
                    <a:pt x="956526" y="203594"/>
                  </a:lnTo>
                  <a:lnTo>
                    <a:pt x="956526" y="204990"/>
                  </a:lnTo>
                  <a:lnTo>
                    <a:pt x="956577" y="204990"/>
                  </a:lnTo>
                  <a:lnTo>
                    <a:pt x="956577" y="207022"/>
                  </a:lnTo>
                  <a:lnTo>
                    <a:pt x="956577" y="204990"/>
                  </a:lnTo>
                  <a:lnTo>
                    <a:pt x="956577" y="206324"/>
                  </a:lnTo>
                  <a:lnTo>
                    <a:pt x="956628" y="206324"/>
                  </a:lnTo>
                  <a:lnTo>
                    <a:pt x="956628" y="207022"/>
                  </a:lnTo>
                  <a:lnTo>
                    <a:pt x="956628" y="204990"/>
                  </a:lnTo>
                  <a:lnTo>
                    <a:pt x="956628" y="206324"/>
                  </a:lnTo>
                  <a:lnTo>
                    <a:pt x="956679" y="206324"/>
                  </a:lnTo>
                  <a:lnTo>
                    <a:pt x="956679" y="204990"/>
                  </a:lnTo>
                  <a:lnTo>
                    <a:pt x="956679" y="206324"/>
                  </a:lnTo>
                  <a:lnTo>
                    <a:pt x="956679" y="204990"/>
                  </a:lnTo>
                  <a:lnTo>
                    <a:pt x="956768" y="204990"/>
                  </a:lnTo>
                  <a:lnTo>
                    <a:pt x="956768" y="206324"/>
                  </a:lnTo>
                  <a:lnTo>
                    <a:pt x="956768" y="204990"/>
                  </a:lnTo>
                  <a:lnTo>
                    <a:pt x="956768" y="206324"/>
                  </a:lnTo>
                  <a:lnTo>
                    <a:pt x="956768" y="204990"/>
                  </a:lnTo>
                  <a:lnTo>
                    <a:pt x="956818" y="204990"/>
                  </a:lnTo>
                  <a:lnTo>
                    <a:pt x="956818" y="206324"/>
                  </a:lnTo>
                  <a:lnTo>
                    <a:pt x="956818" y="204292"/>
                  </a:lnTo>
                  <a:lnTo>
                    <a:pt x="956818" y="206324"/>
                  </a:lnTo>
                  <a:lnTo>
                    <a:pt x="956818" y="204990"/>
                  </a:lnTo>
                  <a:lnTo>
                    <a:pt x="956869" y="204990"/>
                  </a:lnTo>
                  <a:lnTo>
                    <a:pt x="956869" y="204292"/>
                  </a:lnTo>
                  <a:lnTo>
                    <a:pt x="956869" y="204990"/>
                  </a:lnTo>
                  <a:lnTo>
                    <a:pt x="956920" y="204990"/>
                  </a:lnTo>
                  <a:lnTo>
                    <a:pt x="956920" y="202959"/>
                  </a:lnTo>
                  <a:lnTo>
                    <a:pt x="956920" y="203594"/>
                  </a:lnTo>
                  <a:lnTo>
                    <a:pt x="956920" y="202959"/>
                  </a:lnTo>
                  <a:lnTo>
                    <a:pt x="956920" y="203594"/>
                  </a:lnTo>
                  <a:lnTo>
                    <a:pt x="957022" y="203594"/>
                  </a:lnTo>
                  <a:lnTo>
                    <a:pt x="957022" y="204292"/>
                  </a:lnTo>
                  <a:lnTo>
                    <a:pt x="957022" y="203594"/>
                  </a:lnTo>
                  <a:lnTo>
                    <a:pt x="957022" y="204292"/>
                  </a:lnTo>
                  <a:lnTo>
                    <a:pt x="957022" y="203594"/>
                  </a:lnTo>
                  <a:lnTo>
                    <a:pt x="957022" y="204990"/>
                  </a:lnTo>
                  <a:lnTo>
                    <a:pt x="957072" y="204990"/>
                  </a:lnTo>
                  <a:lnTo>
                    <a:pt x="957072" y="206324"/>
                  </a:lnTo>
                  <a:lnTo>
                    <a:pt x="957072" y="204292"/>
                  </a:lnTo>
                  <a:lnTo>
                    <a:pt x="957072" y="206324"/>
                  </a:lnTo>
                  <a:lnTo>
                    <a:pt x="957072" y="204990"/>
                  </a:lnTo>
                  <a:lnTo>
                    <a:pt x="957123" y="206324"/>
                  </a:lnTo>
                  <a:lnTo>
                    <a:pt x="957123" y="204990"/>
                  </a:lnTo>
                  <a:lnTo>
                    <a:pt x="957123" y="206324"/>
                  </a:lnTo>
                  <a:lnTo>
                    <a:pt x="957123" y="204990"/>
                  </a:lnTo>
                  <a:lnTo>
                    <a:pt x="957225" y="204990"/>
                  </a:lnTo>
                  <a:lnTo>
                    <a:pt x="957225" y="206324"/>
                  </a:lnTo>
                  <a:lnTo>
                    <a:pt x="957225" y="204990"/>
                  </a:lnTo>
                  <a:lnTo>
                    <a:pt x="957263" y="204990"/>
                  </a:lnTo>
                  <a:lnTo>
                    <a:pt x="957263" y="206324"/>
                  </a:lnTo>
                  <a:lnTo>
                    <a:pt x="957263" y="204990"/>
                  </a:lnTo>
                  <a:lnTo>
                    <a:pt x="957263" y="206324"/>
                  </a:lnTo>
                  <a:lnTo>
                    <a:pt x="957263" y="204990"/>
                  </a:lnTo>
                  <a:lnTo>
                    <a:pt x="957314" y="204990"/>
                  </a:lnTo>
                  <a:lnTo>
                    <a:pt x="957314" y="204292"/>
                  </a:lnTo>
                  <a:lnTo>
                    <a:pt x="957314" y="204990"/>
                  </a:lnTo>
                  <a:lnTo>
                    <a:pt x="957365" y="204990"/>
                  </a:lnTo>
                  <a:lnTo>
                    <a:pt x="957365" y="204292"/>
                  </a:lnTo>
                  <a:lnTo>
                    <a:pt x="957365" y="204990"/>
                  </a:lnTo>
                  <a:lnTo>
                    <a:pt x="957365" y="203594"/>
                  </a:lnTo>
                  <a:lnTo>
                    <a:pt x="957365" y="204292"/>
                  </a:lnTo>
                  <a:lnTo>
                    <a:pt x="957365" y="202959"/>
                  </a:lnTo>
                  <a:lnTo>
                    <a:pt x="957466" y="202959"/>
                  </a:lnTo>
                  <a:lnTo>
                    <a:pt x="957466" y="200876"/>
                  </a:lnTo>
                  <a:lnTo>
                    <a:pt x="957517" y="202260"/>
                  </a:lnTo>
                  <a:lnTo>
                    <a:pt x="957517" y="203594"/>
                  </a:lnTo>
                  <a:lnTo>
                    <a:pt x="957517" y="202959"/>
                  </a:lnTo>
                  <a:lnTo>
                    <a:pt x="957517" y="203594"/>
                  </a:lnTo>
                  <a:lnTo>
                    <a:pt x="957517" y="200876"/>
                  </a:lnTo>
                  <a:lnTo>
                    <a:pt x="957517" y="204292"/>
                  </a:lnTo>
                  <a:lnTo>
                    <a:pt x="957568" y="204292"/>
                  </a:lnTo>
                  <a:lnTo>
                    <a:pt x="957568" y="203594"/>
                  </a:lnTo>
                  <a:lnTo>
                    <a:pt x="957568" y="204990"/>
                  </a:lnTo>
                  <a:lnTo>
                    <a:pt x="957669" y="204990"/>
                  </a:lnTo>
                  <a:lnTo>
                    <a:pt x="957669" y="204292"/>
                  </a:lnTo>
                  <a:lnTo>
                    <a:pt x="957669" y="204990"/>
                  </a:lnTo>
                  <a:lnTo>
                    <a:pt x="957669" y="204292"/>
                  </a:lnTo>
                  <a:lnTo>
                    <a:pt x="957669" y="204990"/>
                  </a:lnTo>
                  <a:lnTo>
                    <a:pt x="957720" y="204990"/>
                  </a:lnTo>
                  <a:lnTo>
                    <a:pt x="957720" y="204292"/>
                  </a:lnTo>
                  <a:lnTo>
                    <a:pt x="957720" y="206324"/>
                  </a:lnTo>
                  <a:lnTo>
                    <a:pt x="957720" y="204990"/>
                  </a:lnTo>
                  <a:lnTo>
                    <a:pt x="957771" y="204990"/>
                  </a:lnTo>
                  <a:lnTo>
                    <a:pt x="957771" y="206324"/>
                  </a:lnTo>
                  <a:lnTo>
                    <a:pt x="957771" y="204990"/>
                  </a:lnTo>
                  <a:lnTo>
                    <a:pt x="957771" y="206324"/>
                  </a:lnTo>
                  <a:lnTo>
                    <a:pt x="957809" y="206324"/>
                  </a:lnTo>
                  <a:lnTo>
                    <a:pt x="957809" y="204990"/>
                  </a:lnTo>
                  <a:lnTo>
                    <a:pt x="957809" y="207022"/>
                  </a:lnTo>
                  <a:lnTo>
                    <a:pt x="957809" y="204990"/>
                  </a:lnTo>
                  <a:lnTo>
                    <a:pt x="957911" y="204990"/>
                  </a:lnTo>
                  <a:lnTo>
                    <a:pt x="957911" y="203594"/>
                  </a:lnTo>
                  <a:lnTo>
                    <a:pt x="957962" y="203594"/>
                  </a:lnTo>
                  <a:lnTo>
                    <a:pt x="957962" y="202959"/>
                  </a:lnTo>
                  <a:lnTo>
                    <a:pt x="957962" y="203594"/>
                  </a:lnTo>
                  <a:lnTo>
                    <a:pt x="957962" y="202959"/>
                  </a:lnTo>
                  <a:lnTo>
                    <a:pt x="957962" y="203594"/>
                  </a:lnTo>
                  <a:lnTo>
                    <a:pt x="957962" y="202959"/>
                  </a:lnTo>
                  <a:lnTo>
                    <a:pt x="957962" y="203594"/>
                  </a:lnTo>
                  <a:lnTo>
                    <a:pt x="958012" y="203594"/>
                  </a:lnTo>
                  <a:lnTo>
                    <a:pt x="958012" y="202959"/>
                  </a:lnTo>
                  <a:lnTo>
                    <a:pt x="958012" y="204990"/>
                  </a:lnTo>
                  <a:lnTo>
                    <a:pt x="958012" y="204292"/>
                  </a:lnTo>
                  <a:lnTo>
                    <a:pt x="958114" y="204292"/>
                  </a:lnTo>
                  <a:lnTo>
                    <a:pt x="958114" y="203594"/>
                  </a:lnTo>
                  <a:lnTo>
                    <a:pt x="958114" y="204990"/>
                  </a:lnTo>
                  <a:lnTo>
                    <a:pt x="958114" y="204292"/>
                  </a:lnTo>
                  <a:lnTo>
                    <a:pt x="958114" y="204990"/>
                  </a:lnTo>
                  <a:lnTo>
                    <a:pt x="958165" y="204292"/>
                  </a:lnTo>
                  <a:lnTo>
                    <a:pt x="958165" y="204990"/>
                  </a:lnTo>
                  <a:lnTo>
                    <a:pt x="958165" y="204292"/>
                  </a:lnTo>
                  <a:lnTo>
                    <a:pt x="958165" y="204990"/>
                  </a:lnTo>
                  <a:lnTo>
                    <a:pt x="958165" y="204292"/>
                  </a:lnTo>
                  <a:lnTo>
                    <a:pt x="958165" y="204990"/>
                  </a:lnTo>
                  <a:lnTo>
                    <a:pt x="958216" y="204990"/>
                  </a:lnTo>
                  <a:lnTo>
                    <a:pt x="958216" y="204292"/>
                  </a:lnTo>
                  <a:lnTo>
                    <a:pt x="958216" y="204990"/>
                  </a:lnTo>
                  <a:lnTo>
                    <a:pt x="958216" y="204292"/>
                  </a:lnTo>
                  <a:lnTo>
                    <a:pt x="958216" y="206324"/>
                  </a:lnTo>
                  <a:lnTo>
                    <a:pt x="958216" y="204990"/>
                  </a:lnTo>
                  <a:lnTo>
                    <a:pt x="958216" y="206324"/>
                  </a:lnTo>
                  <a:lnTo>
                    <a:pt x="958216" y="204990"/>
                  </a:lnTo>
                  <a:lnTo>
                    <a:pt x="958216" y="206324"/>
                  </a:lnTo>
                  <a:lnTo>
                    <a:pt x="958216" y="204990"/>
                  </a:lnTo>
                  <a:lnTo>
                    <a:pt x="958216" y="206324"/>
                  </a:lnTo>
                  <a:lnTo>
                    <a:pt x="958216" y="204990"/>
                  </a:lnTo>
                  <a:lnTo>
                    <a:pt x="958266" y="206324"/>
                  </a:lnTo>
                  <a:lnTo>
                    <a:pt x="958266" y="207022"/>
                  </a:lnTo>
                  <a:lnTo>
                    <a:pt x="958266" y="206324"/>
                  </a:lnTo>
                  <a:lnTo>
                    <a:pt x="958266" y="207022"/>
                  </a:lnTo>
                  <a:lnTo>
                    <a:pt x="958266" y="206324"/>
                  </a:lnTo>
                  <a:lnTo>
                    <a:pt x="958266" y="207022"/>
                  </a:lnTo>
                  <a:lnTo>
                    <a:pt x="958266" y="206324"/>
                  </a:lnTo>
                  <a:lnTo>
                    <a:pt x="958355" y="206324"/>
                  </a:lnTo>
                  <a:lnTo>
                    <a:pt x="958355" y="207022"/>
                  </a:lnTo>
                  <a:lnTo>
                    <a:pt x="958355" y="206324"/>
                  </a:lnTo>
                  <a:lnTo>
                    <a:pt x="958355" y="207022"/>
                  </a:lnTo>
                  <a:lnTo>
                    <a:pt x="958355" y="206324"/>
                  </a:lnTo>
                  <a:lnTo>
                    <a:pt x="958355" y="207022"/>
                  </a:lnTo>
                  <a:lnTo>
                    <a:pt x="958355" y="206324"/>
                  </a:lnTo>
                  <a:lnTo>
                    <a:pt x="958355" y="207022"/>
                  </a:lnTo>
                  <a:lnTo>
                    <a:pt x="958355" y="204990"/>
                  </a:lnTo>
                  <a:lnTo>
                    <a:pt x="958406" y="206324"/>
                  </a:lnTo>
                  <a:lnTo>
                    <a:pt x="958406" y="203594"/>
                  </a:lnTo>
                  <a:lnTo>
                    <a:pt x="958406" y="204292"/>
                  </a:lnTo>
                  <a:lnTo>
                    <a:pt x="958406" y="203594"/>
                  </a:lnTo>
                  <a:lnTo>
                    <a:pt x="958457" y="203594"/>
                  </a:lnTo>
                  <a:lnTo>
                    <a:pt x="958457" y="202959"/>
                  </a:lnTo>
                  <a:lnTo>
                    <a:pt x="958457" y="204292"/>
                  </a:lnTo>
                  <a:lnTo>
                    <a:pt x="958508" y="204292"/>
                  </a:lnTo>
                  <a:lnTo>
                    <a:pt x="958508" y="202959"/>
                  </a:lnTo>
                  <a:lnTo>
                    <a:pt x="958508" y="206324"/>
                  </a:lnTo>
                  <a:lnTo>
                    <a:pt x="958508" y="204990"/>
                  </a:lnTo>
                  <a:lnTo>
                    <a:pt x="958508" y="206324"/>
                  </a:lnTo>
                  <a:lnTo>
                    <a:pt x="958508" y="204990"/>
                  </a:lnTo>
                  <a:lnTo>
                    <a:pt x="958609" y="204990"/>
                  </a:lnTo>
                  <a:lnTo>
                    <a:pt x="958609" y="206324"/>
                  </a:lnTo>
                  <a:lnTo>
                    <a:pt x="958609" y="204990"/>
                  </a:lnTo>
                  <a:lnTo>
                    <a:pt x="958660" y="204292"/>
                  </a:lnTo>
                  <a:lnTo>
                    <a:pt x="958660" y="206324"/>
                  </a:lnTo>
                  <a:lnTo>
                    <a:pt x="958660" y="204990"/>
                  </a:lnTo>
                  <a:lnTo>
                    <a:pt x="958660" y="206324"/>
                  </a:lnTo>
                  <a:lnTo>
                    <a:pt x="958660" y="204990"/>
                  </a:lnTo>
                  <a:lnTo>
                    <a:pt x="958711" y="204990"/>
                  </a:lnTo>
                  <a:lnTo>
                    <a:pt x="958711" y="206324"/>
                  </a:lnTo>
                  <a:lnTo>
                    <a:pt x="958812" y="206324"/>
                  </a:lnTo>
                  <a:lnTo>
                    <a:pt x="958812" y="207022"/>
                  </a:lnTo>
                  <a:lnTo>
                    <a:pt x="958812" y="206324"/>
                  </a:lnTo>
                  <a:lnTo>
                    <a:pt x="958812" y="207022"/>
                  </a:lnTo>
                  <a:lnTo>
                    <a:pt x="958812" y="206324"/>
                  </a:lnTo>
                  <a:lnTo>
                    <a:pt x="958851" y="206324"/>
                  </a:lnTo>
                  <a:lnTo>
                    <a:pt x="958851" y="207022"/>
                  </a:lnTo>
                  <a:lnTo>
                    <a:pt x="958851" y="204990"/>
                  </a:lnTo>
                  <a:lnTo>
                    <a:pt x="958851" y="206324"/>
                  </a:lnTo>
                  <a:lnTo>
                    <a:pt x="958851" y="204990"/>
                  </a:lnTo>
                  <a:lnTo>
                    <a:pt x="958851" y="206324"/>
                  </a:lnTo>
                  <a:lnTo>
                    <a:pt x="958851" y="204990"/>
                  </a:lnTo>
                  <a:lnTo>
                    <a:pt x="958901" y="204990"/>
                  </a:lnTo>
                  <a:lnTo>
                    <a:pt x="958901" y="202959"/>
                  </a:lnTo>
                  <a:lnTo>
                    <a:pt x="958901" y="203594"/>
                  </a:lnTo>
                  <a:lnTo>
                    <a:pt x="958952" y="202959"/>
                  </a:lnTo>
                  <a:lnTo>
                    <a:pt x="958952" y="204292"/>
                  </a:lnTo>
                  <a:lnTo>
                    <a:pt x="958952" y="202959"/>
                  </a:lnTo>
                  <a:lnTo>
                    <a:pt x="958952" y="203594"/>
                  </a:lnTo>
                  <a:lnTo>
                    <a:pt x="959054" y="203594"/>
                  </a:lnTo>
                  <a:lnTo>
                    <a:pt x="959054" y="204990"/>
                  </a:lnTo>
                  <a:lnTo>
                    <a:pt x="959054" y="203594"/>
                  </a:lnTo>
                  <a:lnTo>
                    <a:pt x="959105" y="203594"/>
                  </a:lnTo>
                  <a:lnTo>
                    <a:pt x="959105" y="204990"/>
                  </a:lnTo>
                  <a:lnTo>
                    <a:pt x="959105" y="204292"/>
                  </a:lnTo>
                  <a:lnTo>
                    <a:pt x="959155" y="204292"/>
                  </a:lnTo>
                  <a:lnTo>
                    <a:pt x="959257" y="204990"/>
                  </a:lnTo>
                  <a:lnTo>
                    <a:pt x="959257" y="204292"/>
                  </a:lnTo>
                  <a:lnTo>
                    <a:pt x="959257" y="204990"/>
                  </a:lnTo>
                  <a:lnTo>
                    <a:pt x="959308" y="204990"/>
                  </a:lnTo>
                  <a:lnTo>
                    <a:pt x="959308" y="206324"/>
                  </a:lnTo>
                  <a:lnTo>
                    <a:pt x="959308" y="204990"/>
                  </a:lnTo>
                  <a:lnTo>
                    <a:pt x="959308" y="206324"/>
                  </a:lnTo>
                  <a:lnTo>
                    <a:pt x="959308" y="204292"/>
                  </a:lnTo>
                  <a:lnTo>
                    <a:pt x="959308" y="204990"/>
                  </a:lnTo>
                  <a:lnTo>
                    <a:pt x="959358" y="204990"/>
                  </a:lnTo>
                  <a:lnTo>
                    <a:pt x="959358" y="204292"/>
                  </a:lnTo>
                  <a:lnTo>
                    <a:pt x="959397" y="204292"/>
                  </a:lnTo>
                  <a:lnTo>
                    <a:pt x="959397" y="202959"/>
                  </a:lnTo>
                  <a:lnTo>
                    <a:pt x="959397" y="203594"/>
                  </a:lnTo>
                  <a:lnTo>
                    <a:pt x="959498" y="203594"/>
                  </a:lnTo>
                  <a:lnTo>
                    <a:pt x="959498" y="204292"/>
                  </a:lnTo>
                  <a:lnTo>
                    <a:pt x="959498" y="203594"/>
                  </a:lnTo>
                  <a:lnTo>
                    <a:pt x="959498" y="204292"/>
                  </a:lnTo>
                  <a:lnTo>
                    <a:pt x="959498" y="203594"/>
                  </a:lnTo>
                  <a:lnTo>
                    <a:pt x="959549" y="203594"/>
                  </a:lnTo>
                  <a:lnTo>
                    <a:pt x="959549" y="206324"/>
                  </a:lnTo>
                  <a:lnTo>
                    <a:pt x="959549" y="204990"/>
                  </a:lnTo>
                  <a:lnTo>
                    <a:pt x="959549" y="206324"/>
                  </a:lnTo>
                  <a:lnTo>
                    <a:pt x="959549" y="204292"/>
                  </a:lnTo>
                  <a:lnTo>
                    <a:pt x="959549" y="204990"/>
                  </a:lnTo>
                  <a:lnTo>
                    <a:pt x="959549" y="204292"/>
                  </a:lnTo>
                  <a:lnTo>
                    <a:pt x="959600" y="204292"/>
                  </a:lnTo>
                  <a:lnTo>
                    <a:pt x="959600" y="204990"/>
                  </a:lnTo>
                  <a:lnTo>
                    <a:pt x="959600" y="204292"/>
                  </a:lnTo>
                  <a:lnTo>
                    <a:pt x="959600" y="204990"/>
                  </a:lnTo>
                  <a:lnTo>
                    <a:pt x="959701" y="204292"/>
                  </a:lnTo>
                  <a:lnTo>
                    <a:pt x="959701" y="204990"/>
                  </a:lnTo>
                  <a:lnTo>
                    <a:pt x="959701" y="204292"/>
                  </a:lnTo>
                  <a:lnTo>
                    <a:pt x="959701" y="204990"/>
                  </a:lnTo>
                  <a:lnTo>
                    <a:pt x="959752" y="204990"/>
                  </a:lnTo>
                  <a:lnTo>
                    <a:pt x="959752" y="206324"/>
                  </a:lnTo>
                  <a:lnTo>
                    <a:pt x="959752" y="204990"/>
                  </a:lnTo>
                  <a:lnTo>
                    <a:pt x="959752" y="206324"/>
                  </a:lnTo>
                  <a:lnTo>
                    <a:pt x="959803" y="207022"/>
                  </a:lnTo>
                  <a:lnTo>
                    <a:pt x="959803" y="204990"/>
                  </a:lnTo>
                  <a:lnTo>
                    <a:pt x="959803" y="206324"/>
                  </a:lnTo>
                  <a:lnTo>
                    <a:pt x="959803" y="204990"/>
                  </a:lnTo>
                  <a:lnTo>
                    <a:pt x="959803" y="206324"/>
                  </a:lnTo>
                  <a:lnTo>
                    <a:pt x="959803" y="204990"/>
                  </a:lnTo>
                  <a:lnTo>
                    <a:pt x="959854" y="204990"/>
                  </a:lnTo>
                  <a:lnTo>
                    <a:pt x="959854" y="204292"/>
                  </a:lnTo>
                  <a:lnTo>
                    <a:pt x="959854" y="204990"/>
                  </a:lnTo>
                  <a:lnTo>
                    <a:pt x="959854" y="204292"/>
                  </a:lnTo>
                  <a:lnTo>
                    <a:pt x="959854" y="204990"/>
                  </a:lnTo>
                  <a:lnTo>
                    <a:pt x="959854" y="204292"/>
                  </a:lnTo>
                  <a:lnTo>
                    <a:pt x="959854" y="204990"/>
                  </a:lnTo>
                  <a:lnTo>
                    <a:pt x="959854" y="204292"/>
                  </a:lnTo>
                  <a:lnTo>
                    <a:pt x="959943" y="203594"/>
                  </a:lnTo>
                  <a:lnTo>
                    <a:pt x="959943" y="204292"/>
                  </a:lnTo>
                  <a:lnTo>
                    <a:pt x="959943" y="203594"/>
                  </a:lnTo>
                  <a:lnTo>
                    <a:pt x="959943" y="204292"/>
                  </a:lnTo>
                  <a:lnTo>
                    <a:pt x="959943" y="202959"/>
                  </a:lnTo>
                  <a:lnTo>
                    <a:pt x="959993" y="202959"/>
                  </a:lnTo>
                  <a:lnTo>
                    <a:pt x="959993" y="204990"/>
                  </a:lnTo>
                  <a:lnTo>
                    <a:pt x="959993" y="202959"/>
                  </a:lnTo>
                  <a:lnTo>
                    <a:pt x="959993" y="204292"/>
                  </a:lnTo>
                  <a:lnTo>
                    <a:pt x="960044" y="204292"/>
                  </a:lnTo>
                  <a:lnTo>
                    <a:pt x="960044" y="206324"/>
                  </a:lnTo>
                  <a:lnTo>
                    <a:pt x="960044" y="204292"/>
                  </a:lnTo>
                  <a:lnTo>
                    <a:pt x="960095" y="204990"/>
                  </a:lnTo>
                  <a:lnTo>
                    <a:pt x="960095" y="204292"/>
                  </a:lnTo>
                  <a:lnTo>
                    <a:pt x="960197" y="204990"/>
                  </a:lnTo>
                  <a:lnTo>
                    <a:pt x="960197" y="204292"/>
                  </a:lnTo>
                  <a:lnTo>
                    <a:pt x="960197" y="206324"/>
                  </a:lnTo>
                  <a:lnTo>
                    <a:pt x="960197" y="204990"/>
                  </a:lnTo>
                  <a:lnTo>
                    <a:pt x="960197" y="206324"/>
                  </a:lnTo>
                  <a:lnTo>
                    <a:pt x="960197" y="204990"/>
                  </a:lnTo>
                  <a:lnTo>
                    <a:pt x="960247" y="206324"/>
                  </a:lnTo>
                  <a:lnTo>
                    <a:pt x="960247" y="204990"/>
                  </a:lnTo>
                  <a:lnTo>
                    <a:pt x="960247" y="206324"/>
                  </a:lnTo>
                  <a:lnTo>
                    <a:pt x="960247" y="204990"/>
                  </a:lnTo>
                  <a:lnTo>
                    <a:pt x="960298" y="204990"/>
                  </a:lnTo>
                  <a:lnTo>
                    <a:pt x="960298" y="204292"/>
                  </a:lnTo>
                  <a:lnTo>
                    <a:pt x="960298" y="204990"/>
                  </a:lnTo>
                  <a:lnTo>
                    <a:pt x="960298" y="204292"/>
                  </a:lnTo>
                  <a:lnTo>
                    <a:pt x="960298" y="204990"/>
                  </a:lnTo>
                  <a:lnTo>
                    <a:pt x="960298" y="204292"/>
                  </a:lnTo>
                  <a:lnTo>
                    <a:pt x="960400" y="204292"/>
                  </a:lnTo>
                  <a:lnTo>
                    <a:pt x="960400" y="204990"/>
                  </a:lnTo>
                  <a:lnTo>
                    <a:pt x="960400" y="203594"/>
                  </a:lnTo>
                  <a:lnTo>
                    <a:pt x="960438" y="203594"/>
                  </a:lnTo>
                  <a:lnTo>
                    <a:pt x="960438" y="204292"/>
                  </a:lnTo>
                  <a:lnTo>
                    <a:pt x="960438" y="202959"/>
                  </a:lnTo>
                  <a:lnTo>
                    <a:pt x="960438" y="204292"/>
                  </a:lnTo>
                  <a:lnTo>
                    <a:pt x="960489" y="204292"/>
                  </a:lnTo>
                  <a:lnTo>
                    <a:pt x="960489" y="203594"/>
                  </a:lnTo>
                  <a:lnTo>
                    <a:pt x="960489" y="204292"/>
                  </a:lnTo>
                  <a:lnTo>
                    <a:pt x="960489" y="203594"/>
                  </a:lnTo>
                  <a:lnTo>
                    <a:pt x="960489" y="206324"/>
                  </a:lnTo>
                  <a:lnTo>
                    <a:pt x="960489" y="204990"/>
                  </a:lnTo>
                  <a:lnTo>
                    <a:pt x="960489" y="206324"/>
                  </a:lnTo>
                  <a:lnTo>
                    <a:pt x="960540" y="204990"/>
                  </a:lnTo>
                  <a:lnTo>
                    <a:pt x="960540" y="204292"/>
                  </a:lnTo>
                  <a:lnTo>
                    <a:pt x="960540" y="204990"/>
                  </a:lnTo>
                  <a:lnTo>
                    <a:pt x="960641" y="204990"/>
                  </a:lnTo>
                  <a:lnTo>
                    <a:pt x="960641" y="204292"/>
                  </a:lnTo>
                  <a:lnTo>
                    <a:pt x="960641" y="206324"/>
                  </a:lnTo>
                  <a:lnTo>
                    <a:pt x="960641" y="204990"/>
                  </a:lnTo>
                  <a:lnTo>
                    <a:pt x="960641" y="206324"/>
                  </a:lnTo>
                  <a:lnTo>
                    <a:pt x="960692" y="206324"/>
                  </a:lnTo>
                  <a:lnTo>
                    <a:pt x="960692" y="207022"/>
                  </a:lnTo>
                  <a:lnTo>
                    <a:pt x="960692" y="206324"/>
                  </a:lnTo>
                  <a:lnTo>
                    <a:pt x="960743" y="206324"/>
                  </a:lnTo>
                  <a:lnTo>
                    <a:pt x="960743" y="207022"/>
                  </a:lnTo>
                  <a:lnTo>
                    <a:pt x="960743" y="204990"/>
                  </a:lnTo>
                  <a:lnTo>
                    <a:pt x="960844" y="204990"/>
                  </a:lnTo>
                  <a:lnTo>
                    <a:pt x="960844" y="204292"/>
                  </a:lnTo>
                  <a:lnTo>
                    <a:pt x="960895" y="204292"/>
                  </a:lnTo>
                  <a:lnTo>
                    <a:pt x="960895" y="203594"/>
                  </a:lnTo>
                  <a:lnTo>
                    <a:pt x="960895" y="204292"/>
                  </a:lnTo>
                  <a:lnTo>
                    <a:pt x="960946" y="203594"/>
                  </a:lnTo>
                  <a:lnTo>
                    <a:pt x="960946" y="202959"/>
                  </a:lnTo>
                  <a:lnTo>
                    <a:pt x="960946" y="204292"/>
                  </a:lnTo>
                  <a:lnTo>
                    <a:pt x="960984" y="203594"/>
                  </a:lnTo>
                  <a:lnTo>
                    <a:pt x="960984" y="202260"/>
                  </a:lnTo>
                  <a:lnTo>
                    <a:pt x="960984" y="206324"/>
                  </a:lnTo>
                  <a:lnTo>
                    <a:pt x="960984" y="204292"/>
                  </a:lnTo>
                  <a:lnTo>
                    <a:pt x="961086" y="204292"/>
                  </a:lnTo>
                  <a:lnTo>
                    <a:pt x="961086" y="203594"/>
                  </a:lnTo>
                  <a:lnTo>
                    <a:pt x="961086" y="204292"/>
                  </a:lnTo>
                  <a:lnTo>
                    <a:pt x="961086" y="203594"/>
                  </a:lnTo>
                  <a:lnTo>
                    <a:pt x="961086" y="204990"/>
                  </a:lnTo>
                  <a:lnTo>
                    <a:pt x="961086" y="204292"/>
                  </a:lnTo>
                  <a:lnTo>
                    <a:pt x="961137" y="204292"/>
                  </a:lnTo>
                  <a:lnTo>
                    <a:pt x="961137" y="204990"/>
                  </a:lnTo>
                  <a:lnTo>
                    <a:pt x="961137" y="204292"/>
                  </a:lnTo>
                  <a:lnTo>
                    <a:pt x="961137" y="206324"/>
                  </a:lnTo>
                  <a:lnTo>
                    <a:pt x="961137" y="204292"/>
                  </a:lnTo>
                  <a:lnTo>
                    <a:pt x="961137" y="204990"/>
                  </a:lnTo>
                  <a:lnTo>
                    <a:pt x="961187" y="204990"/>
                  </a:lnTo>
                  <a:lnTo>
                    <a:pt x="961187" y="206324"/>
                  </a:lnTo>
                  <a:lnTo>
                    <a:pt x="961187" y="204990"/>
                  </a:lnTo>
                  <a:lnTo>
                    <a:pt x="961187" y="206324"/>
                  </a:lnTo>
                  <a:lnTo>
                    <a:pt x="961187" y="204990"/>
                  </a:lnTo>
                  <a:lnTo>
                    <a:pt x="961187" y="206324"/>
                  </a:lnTo>
                  <a:lnTo>
                    <a:pt x="961187" y="204990"/>
                  </a:lnTo>
                  <a:lnTo>
                    <a:pt x="961289" y="204990"/>
                  </a:lnTo>
                  <a:lnTo>
                    <a:pt x="961289" y="206324"/>
                  </a:lnTo>
                  <a:lnTo>
                    <a:pt x="961289" y="204990"/>
                  </a:lnTo>
                  <a:lnTo>
                    <a:pt x="961289" y="206324"/>
                  </a:lnTo>
                  <a:lnTo>
                    <a:pt x="961340" y="204990"/>
                  </a:lnTo>
                  <a:lnTo>
                    <a:pt x="961340" y="206324"/>
                  </a:lnTo>
                  <a:lnTo>
                    <a:pt x="961340" y="204292"/>
                  </a:lnTo>
                  <a:lnTo>
                    <a:pt x="961340" y="204990"/>
                  </a:lnTo>
                  <a:lnTo>
                    <a:pt x="961340" y="204292"/>
                  </a:lnTo>
                  <a:lnTo>
                    <a:pt x="961391" y="204292"/>
                  </a:lnTo>
                  <a:lnTo>
                    <a:pt x="961391" y="203594"/>
                  </a:lnTo>
                  <a:lnTo>
                    <a:pt x="961391" y="204292"/>
                  </a:lnTo>
                  <a:lnTo>
                    <a:pt x="961391" y="202959"/>
                  </a:lnTo>
                  <a:lnTo>
                    <a:pt x="961441" y="202959"/>
                  </a:lnTo>
                  <a:lnTo>
                    <a:pt x="961441" y="200228"/>
                  </a:lnTo>
                  <a:lnTo>
                    <a:pt x="961441" y="202260"/>
                  </a:lnTo>
                  <a:lnTo>
                    <a:pt x="961530" y="202260"/>
                  </a:lnTo>
                  <a:lnTo>
                    <a:pt x="961530" y="202959"/>
                  </a:lnTo>
                  <a:lnTo>
                    <a:pt x="961530" y="200228"/>
                  </a:lnTo>
                  <a:lnTo>
                    <a:pt x="961530" y="203594"/>
                  </a:lnTo>
                  <a:lnTo>
                    <a:pt x="961581" y="203594"/>
                  </a:lnTo>
                  <a:lnTo>
                    <a:pt x="961581" y="202260"/>
                  </a:lnTo>
                  <a:lnTo>
                    <a:pt x="961581" y="203594"/>
                  </a:lnTo>
                  <a:lnTo>
                    <a:pt x="961632" y="203594"/>
                  </a:lnTo>
                  <a:lnTo>
                    <a:pt x="961632" y="202959"/>
                  </a:lnTo>
                  <a:lnTo>
                    <a:pt x="961632" y="204990"/>
                  </a:lnTo>
                  <a:lnTo>
                    <a:pt x="961632" y="204292"/>
                  </a:lnTo>
                  <a:lnTo>
                    <a:pt x="961632" y="204990"/>
                  </a:lnTo>
                  <a:lnTo>
                    <a:pt x="961632" y="204292"/>
                  </a:lnTo>
                  <a:lnTo>
                    <a:pt x="961683" y="204292"/>
                  </a:lnTo>
                  <a:lnTo>
                    <a:pt x="961683" y="204990"/>
                  </a:lnTo>
                  <a:lnTo>
                    <a:pt x="961784" y="204990"/>
                  </a:lnTo>
                  <a:lnTo>
                    <a:pt x="961784" y="206324"/>
                  </a:lnTo>
                  <a:lnTo>
                    <a:pt x="961784" y="204292"/>
                  </a:lnTo>
                  <a:lnTo>
                    <a:pt x="961835" y="204990"/>
                  </a:lnTo>
                  <a:lnTo>
                    <a:pt x="961835" y="204292"/>
                  </a:lnTo>
                  <a:lnTo>
                    <a:pt x="961835" y="204990"/>
                  </a:lnTo>
                  <a:lnTo>
                    <a:pt x="961835" y="204292"/>
                  </a:lnTo>
                  <a:lnTo>
                    <a:pt x="961886" y="204292"/>
                  </a:lnTo>
                  <a:lnTo>
                    <a:pt x="961886" y="204990"/>
                  </a:lnTo>
                  <a:lnTo>
                    <a:pt x="961886" y="203594"/>
                  </a:lnTo>
                  <a:lnTo>
                    <a:pt x="961987" y="203594"/>
                  </a:lnTo>
                  <a:lnTo>
                    <a:pt x="961987" y="200876"/>
                  </a:lnTo>
                  <a:lnTo>
                    <a:pt x="961987" y="202959"/>
                  </a:lnTo>
                  <a:lnTo>
                    <a:pt x="962026" y="202959"/>
                  </a:lnTo>
                  <a:lnTo>
                    <a:pt x="962026" y="200228"/>
                  </a:lnTo>
                  <a:lnTo>
                    <a:pt x="962026" y="203594"/>
                  </a:lnTo>
                  <a:lnTo>
                    <a:pt x="962076" y="202959"/>
                  </a:lnTo>
                  <a:lnTo>
                    <a:pt x="962076" y="202260"/>
                  </a:lnTo>
                  <a:lnTo>
                    <a:pt x="962076" y="202959"/>
                  </a:lnTo>
                  <a:lnTo>
                    <a:pt x="962127" y="202959"/>
                  </a:lnTo>
                  <a:lnTo>
                    <a:pt x="962127" y="203594"/>
                  </a:lnTo>
                  <a:lnTo>
                    <a:pt x="962127" y="202959"/>
                  </a:lnTo>
                  <a:lnTo>
                    <a:pt x="962229" y="202959"/>
                  </a:lnTo>
                  <a:lnTo>
                    <a:pt x="962229" y="203594"/>
                  </a:lnTo>
                  <a:lnTo>
                    <a:pt x="962229" y="202959"/>
                  </a:lnTo>
                  <a:lnTo>
                    <a:pt x="962229" y="203594"/>
                  </a:lnTo>
                  <a:lnTo>
                    <a:pt x="962280" y="203594"/>
                  </a:lnTo>
                  <a:lnTo>
                    <a:pt x="962280" y="204292"/>
                  </a:lnTo>
                  <a:lnTo>
                    <a:pt x="962280" y="203594"/>
                  </a:lnTo>
                  <a:lnTo>
                    <a:pt x="962280" y="204292"/>
                  </a:lnTo>
                  <a:lnTo>
                    <a:pt x="962330" y="204292"/>
                  </a:lnTo>
                  <a:lnTo>
                    <a:pt x="962330" y="204990"/>
                  </a:lnTo>
                  <a:lnTo>
                    <a:pt x="962432" y="204292"/>
                  </a:lnTo>
                  <a:lnTo>
                    <a:pt x="962432" y="203594"/>
                  </a:lnTo>
                  <a:lnTo>
                    <a:pt x="962483" y="203594"/>
                  </a:lnTo>
                  <a:lnTo>
                    <a:pt x="962483" y="202959"/>
                  </a:lnTo>
                  <a:lnTo>
                    <a:pt x="962483" y="203594"/>
                  </a:lnTo>
                  <a:lnTo>
                    <a:pt x="962483" y="202959"/>
                  </a:lnTo>
                  <a:lnTo>
                    <a:pt x="962483" y="204292"/>
                  </a:lnTo>
                  <a:lnTo>
                    <a:pt x="962483" y="203594"/>
                  </a:lnTo>
                  <a:lnTo>
                    <a:pt x="962483" y="204292"/>
                  </a:lnTo>
                  <a:lnTo>
                    <a:pt x="962483" y="202959"/>
                  </a:lnTo>
                  <a:lnTo>
                    <a:pt x="962533" y="203594"/>
                  </a:lnTo>
                  <a:lnTo>
                    <a:pt x="962533" y="204990"/>
                  </a:lnTo>
                  <a:lnTo>
                    <a:pt x="962533" y="204292"/>
                  </a:lnTo>
                  <a:lnTo>
                    <a:pt x="962572" y="204990"/>
                  </a:lnTo>
                  <a:lnTo>
                    <a:pt x="962572" y="206324"/>
                  </a:lnTo>
                  <a:lnTo>
                    <a:pt x="962572" y="204990"/>
                  </a:lnTo>
                  <a:lnTo>
                    <a:pt x="962673" y="204990"/>
                  </a:lnTo>
                  <a:lnTo>
                    <a:pt x="962724" y="204292"/>
                  </a:lnTo>
                  <a:lnTo>
                    <a:pt x="962724" y="204990"/>
                  </a:lnTo>
                  <a:lnTo>
                    <a:pt x="962724" y="204292"/>
                  </a:lnTo>
                  <a:lnTo>
                    <a:pt x="962724" y="204990"/>
                  </a:lnTo>
                  <a:lnTo>
                    <a:pt x="962775" y="204990"/>
                  </a:lnTo>
                  <a:lnTo>
                    <a:pt x="962775" y="204292"/>
                  </a:lnTo>
                  <a:lnTo>
                    <a:pt x="962775" y="204990"/>
                  </a:lnTo>
                  <a:lnTo>
                    <a:pt x="962775" y="204292"/>
                  </a:lnTo>
                  <a:lnTo>
                    <a:pt x="962775" y="204990"/>
                  </a:lnTo>
                  <a:lnTo>
                    <a:pt x="962876" y="204292"/>
                  </a:lnTo>
                  <a:lnTo>
                    <a:pt x="962876" y="203594"/>
                  </a:lnTo>
                  <a:lnTo>
                    <a:pt x="962927" y="203594"/>
                  </a:lnTo>
                  <a:lnTo>
                    <a:pt x="962927" y="204292"/>
                  </a:lnTo>
                  <a:lnTo>
                    <a:pt x="962927" y="202959"/>
                  </a:lnTo>
                  <a:lnTo>
                    <a:pt x="962978" y="202959"/>
                  </a:lnTo>
                  <a:lnTo>
                    <a:pt x="962978" y="204292"/>
                  </a:lnTo>
                  <a:lnTo>
                    <a:pt x="962978" y="202959"/>
                  </a:lnTo>
                  <a:lnTo>
                    <a:pt x="962978" y="204292"/>
                  </a:lnTo>
                  <a:lnTo>
                    <a:pt x="963029" y="204990"/>
                  </a:lnTo>
                  <a:lnTo>
                    <a:pt x="963029" y="206324"/>
                  </a:lnTo>
                  <a:lnTo>
                    <a:pt x="963029" y="204292"/>
                  </a:lnTo>
                  <a:lnTo>
                    <a:pt x="963029" y="204990"/>
                  </a:lnTo>
                  <a:lnTo>
                    <a:pt x="963118" y="204990"/>
                  </a:lnTo>
                  <a:lnTo>
                    <a:pt x="963118" y="206324"/>
                  </a:lnTo>
                  <a:lnTo>
                    <a:pt x="963118" y="204990"/>
                  </a:lnTo>
                  <a:lnTo>
                    <a:pt x="963118" y="206324"/>
                  </a:lnTo>
                  <a:lnTo>
                    <a:pt x="963168" y="206324"/>
                  </a:lnTo>
                  <a:lnTo>
                    <a:pt x="963168" y="204292"/>
                  </a:lnTo>
                  <a:lnTo>
                    <a:pt x="963168" y="204990"/>
                  </a:lnTo>
                  <a:lnTo>
                    <a:pt x="963168" y="204292"/>
                  </a:lnTo>
                  <a:lnTo>
                    <a:pt x="963168" y="204990"/>
                  </a:lnTo>
                  <a:lnTo>
                    <a:pt x="963219" y="204990"/>
                  </a:lnTo>
                  <a:lnTo>
                    <a:pt x="963219" y="204292"/>
                  </a:lnTo>
                  <a:lnTo>
                    <a:pt x="963219" y="204990"/>
                  </a:lnTo>
                  <a:lnTo>
                    <a:pt x="963219" y="204292"/>
                  </a:lnTo>
                  <a:lnTo>
                    <a:pt x="963270" y="204292"/>
                  </a:lnTo>
                  <a:lnTo>
                    <a:pt x="963270" y="204990"/>
                  </a:lnTo>
                  <a:lnTo>
                    <a:pt x="963270" y="204292"/>
                  </a:lnTo>
                  <a:lnTo>
                    <a:pt x="963270" y="204990"/>
                  </a:lnTo>
                  <a:lnTo>
                    <a:pt x="963270" y="204292"/>
                  </a:lnTo>
                  <a:lnTo>
                    <a:pt x="963270" y="204990"/>
                  </a:lnTo>
                  <a:lnTo>
                    <a:pt x="963270" y="204292"/>
                  </a:lnTo>
                  <a:lnTo>
                    <a:pt x="963270" y="204990"/>
                  </a:lnTo>
                  <a:lnTo>
                    <a:pt x="963270" y="204292"/>
                  </a:lnTo>
                  <a:lnTo>
                    <a:pt x="963372" y="203594"/>
                  </a:lnTo>
                  <a:lnTo>
                    <a:pt x="963372" y="204292"/>
                  </a:lnTo>
                  <a:lnTo>
                    <a:pt x="963372" y="203594"/>
                  </a:lnTo>
                  <a:lnTo>
                    <a:pt x="963422" y="202959"/>
                  </a:lnTo>
                  <a:lnTo>
                    <a:pt x="963422" y="202260"/>
                  </a:lnTo>
                  <a:lnTo>
                    <a:pt x="963422" y="202959"/>
                  </a:lnTo>
                  <a:lnTo>
                    <a:pt x="963422" y="202260"/>
                  </a:lnTo>
                  <a:lnTo>
                    <a:pt x="963422" y="202959"/>
                  </a:lnTo>
                  <a:lnTo>
                    <a:pt x="963473" y="202959"/>
                  </a:lnTo>
                  <a:lnTo>
                    <a:pt x="963473" y="202260"/>
                  </a:lnTo>
                  <a:lnTo>
                    <a:pt x="963473" y="204990"/>
                  </a:lnTo>
                  <a:lnTo>
                    <a:pt x="963575" y="204292"/>
                  </a:lnTo>
                  <a:lnTo>
                    <a:pt x="963575" y="204990"/>
                  </a:lnTo>
                  <a:lnTo>
                    <a:pt x="963575" y="204292"/>
                  </a:lnTo>
                  <a:lnTo>
                    <a:pt x="963575" y="204990"/>
                  </a:lnTo>
                  <a:lnTo>
                    <a:pt x="963613" y="204990"/>
                  </a:lnTo>
                  <a:lnTo>
                    <a:pt x="963613" y="204292"/>
                  </a:lnTo>
                  <a:lnTo>
                    <a:pt x="963613" y="206324"/>
                  </a:lnTo>
                  <a:lnTo>
                    <a:pt x="963664" y="206324"/>
                  </a:lnTo>
                  <a:lnTo>
                    <a:pt x="963664" y="204990"/>
                  </a:lnTo>
                  <a:lnTo>
                    <a:pt x="963664" y="206324"/>
                  </a:lnTo>
                  <a:lnTo>
                    <a:pt x="963715" y="206324"/>
                  </a:lnTo>
                  <a:lnTo>
                    <a:pt x="963715" y="204990"/>
                  </a:lnTo>
                  <a:lnTo>
                    <a:pt x="963715" y="206324"/>
                  </a:lnTo>
                  <a:lnTo>
                    <a:pt x="963715" y="204990"/>
                  </a:lnTo>
                  <a:lnTo>
                    <a:pt x="963715" y="206324"/>
                  </a:lnTo>
                  <a:lnTo>
                    <a:pt x="963715" y="204990"/>
                  </a:lnTo>
                  <a:lnTo>
                    <a:pt x="963715" y="207022"/>
                  </a:lnTo>
                  <a:lnTo>
                    <a:pt x="963816" y="207022"/>
                  </a:lnTo>
                  <a:lnTo>
                    <a:pt x="963816" y="207721"/>
                  </a:lnTo>
                  <a:lnTo>
                    <a:pt x="963816" y="204990"/>
                  </a:lnTo>
                  <a:lnTo>
                    <a:pt x="963816" y="206324"/>
                  </a:lnTo>
                  <a:lnTo>
                    <a:pt x="963816" y="204990"/>
                  </a:lnTo>
                  <a:lnTo>
                    <a:pt x="963816" y="206324"/>
                  </a:lnTo>
                  <a:lnTo>
                    <a:pt x="963816" y="204990"/>
                  </a:lnTo>
                  <a:lnTo>
                    <a:pt x="963816" y="206324"/>
                  </a:lnTo>
                  <a:lnTo>
                    <a:pt x="963867" y="206324"/>
                  </a:lnTo>
                  <a:lnTo>
                    <a:pt x="963867" y="203594"/>
                  </a:lnTo>
                  <a:lnTo>
                    <a:pt x="963918" y="203594"/>
                  </a:lnTo>
                  <a:lnTo>
                    <a:pt x="963918" y="202959"/>
                  </a:lnTo>
                  <a:lnTo>
                    <a:pt x="963918" y="203594"/>
                  </a:lnTo>
                  <a:lnTo>
                    <a:pt x="964019" y="203594"/>
                  </a:lnTo>
                  <a:lnTo>
                    <a:pt x="964019" y="202959"/>
                  </a:lnTo>
                  <a:lnTo>
                    <a:pt x="964019" y="204990"/>
                  </a:lnTo>
                  <a:lnTo>
                    <a:pt x="964019" y="204292"/>
                  </a:lnTo>
                  <a:lnTo>
                    <a:pt x="964070" y="204292"/>
                  </a:lnTo>
                  <a:lnTo>
                    <a:pt x="964070" y="206324"/>
                  </a:lnTo>
                  <a:lnTo>
                    <a:pt x="964070" y="204990"/>
                  </a:lnTo>
                  <a:lnTo>
                    <a:pt x="964070" y="206324"/>
                  </a:lnTo>
                  <a:lnTo>
                    <a:pt x="964070" y="204292"/>
                  </a:lnTo>
                  <a:lnTo>
                    <a:pt x="964070" y="204990"/>
                  </a:lnTo>
                  <a:lnTo>
                    <a:pt x="964121" y="204990"/>
                  </a:lnTo>
                  <a:lnTo>
                    <a:pt x="964121" y="206324"/>
                  </a:lnTo>
                  <a:lnTo>
                    <a:pt x="964159" y="206324"/>
                  </a:lnTo>
                  <a:lnTo>
                    <a:pt x="964159" y="204990"/>
                  </a:lnTo>
                  <a:lnTo>
                    <a:pt x="964159" y="206324"/>
                  </a:lnTo>
                  <a:lnTo>
                    <a:pt x="964159" y="204990"/>
                  </a:lnTo>
                  <a:lnTo>
                    <a:pt x="964159" y="206324"/>
                  </a:lnTo>
                  <a:lnTo>
                    <a:pt x="964159" y="204990"/>
                  </a:lnTo>
                  <a:lnTo>
                    <a:pt x="964159" y="206324"/>
                  </a:lnTo>
                  <a:lnTo>
                    <a:pt x="964159" y="204990"/>
                  </a:lnTo>
                  <a:lnTo>
                    <a:pt x="964159" y="206324"/>
                  </a:lnTo>
                  <a:lnTo>
                    <a:pt x="964261" y="206324"/>
                  </a:lnTo>
                  <a:lnTo>
                    <a:pt x="964261" y="204990"/>
                  </a:lnTo>
                  <a:lnTo>
                    <a:pt x="964261" y="206324"/>
                  </a:lnTo>
                  <a:lnTo>
                    <a:pt x="964312" y="206324"/>
                  </a:lnTo>
                  <a:lnTo>
                    <a:pt x="964312" y="207022"/>
                  </a:lnTo>
                  <a:lnTo>
                    <a:pt x="964312" y="206324"/>
                  </a:lnTo>
                  <a:lnTo>
                    <a:pt x="964312" y="207022"/>
                  </a:lnTo>
                  <a:lnTo>
                    <a:pt x="964312" y="204990"/>
                  </a:lnTo>
                  <a:lnTo>
                    <a:pt x="964362" y="204990"/>
                  </a:lnTo>
                  <a:lnTo>
                    <a:pt x="964362" y="203594"/>
                  </a:lnTo>
                  <a:lnTo>
                    <a:pt x="964362" y="204292"/>
                  </a:lnTo>
                  <a:lnTo>
                    <a:pt x="964362" y="202959"/>
                  </a:lnTo>
                  <a:lnTo>
                    <a:pt x="964362" y="203594"/>
                  </a:lnTo>
                  <a:lnTo>
                    <a:pt x="964464" y="203594"/>
                  </a:lnTo>
                  <a:lnTo>
                    <a:pt x="964464" y="204292"/>
                  </a:lnTo>
                  <a:lnTo>
                    <a:pt x="964464" y="202959"/>
                  </a:lnTo>
                  <a:lnTo>
                    <a:pt x="964464" y="204292"/>
                  </a:lnTo>
                  <a:lnTo>
                    <a:pt x="964515" y="204990"/>
                  </a:lnTo>
                  <a:lnTo>
                    <a:pt x="964515" y="206324"/>
                  </a:lnTo>
                  <a:lnTo>
                    <a:pt x="964515" y="204292"/>
                  </a:lnTo>
                  <a:lnTo>
                    <a:pt x="964515" y="204990"/>
                  </a:lnTo>
                  <a:lnTo>
                    <a:pt x="964515" y="204292"/>
                  </a:lnTo>
                  <a:lnTo>
                    <a:pt x="964515" y="206324"/>
                  </a:lnTo>
                  <a:lnTo>
                    <a:pt x="964566" y="206324"/>
                  </a:lnTo>
                  <a:lnTo>
                    <a:pt x="964566" y="204990"/>
                  </a:lnTo>
                  <a:lnTo>
                    <a:pt x="964566" y="206324"/>
                  </a:lnTo>
                  <a:lnTo>
                    <a:pt x="964566" y="204990"/>
                  </a:lnTo>
                  <a:lnTo>
                    <a:pt x="964566" y="206324"/>
                  </a:lnTo>
                  <a:lnTo>
                    <a:pt x="964616" y="204990"/>
                  </a:lnTo>
                  <a:lnTo>
                    <a:pt x="964616" y="206324"/>
                  </a:lnTo>
                  <a:lnTo>
                    <a:pt x="964616" y="204990"/>
                  </a:lnTo>
                  <a:lnTo>
                    <a:pt x="964616" y="206324"/>
                  </a:lnTo>
                  <a:lnTo>
                    <a:pt x="964616" y="204990"/>
                  </a:lnTo>
                  <a:lnTo>
                    <a:pt x="964616" y="206324"/>
                  </a:lnTo>
                  <a:lnTo>
                    <a:pt x="964616" y="204990"/>
                  </a:lnTo>
                  <a:lnTo>
                    <a:pt x="964705" y="206324"/>
                  </a:lnTo>
                  <a:lnTo>
                    <a:pt x="964705" y="204990"/>
                  </a:lnTo>
                  <a:lnTo>
                    <a:pt x="964705" y="206324"/>
                  </a:lnTo>
                  <a:lnTo>
                    <a:pt x="964756" y="204990"/>
                  </a:lnTo>
                  <a:lnTo>
                    <a:pt x="964756" y="207022"/>
                  </a:lnTo>
                  <a:lnTo>
                    <a:pt x="964756" y="206324"/>
                  </a:lnTo>
                  <a:lnTo>
                    <a:pt x="964756" y="207022"/>
                  </a:lnTo>
                  <a:lnTo>
                    <a:pt x="964756" y="206324"/>
                  </a:lnTo>
                  <a:lnTo>
                    <a:pt x="964807" y="206324"/>
                  </a:lnTo>
                  <a:lnTo>
                    <a:pt x="964807" y="203594"/>
                  </a:lnTo>
                  <a:lnTo>
                    <a:pt x="964858" y="203594"/>
                  </a:lnTo>
                  <a:lnTo>
                    <a:pt x="964858" y="202959"/>
                  </a:lnTo>
                  <a:lnTo>
                    <a:pt x="964858" y="203594"/>
                  </a:lnTo>
                  <a:lnTo>
                    <a:pt x="964959" y="203594"/>
                  </a:lnTo>
                  <a:lnTo>
                    <a:pt x="964959" y="202260"/>
                  </a:lnTo>
                  <a:lnTo>
                    <a:pt x="964959" y="202959"/>
                  </a:lnTo>
                  <a:lnTo>
                    <a:pt x="964959" y="202260"/>
                  </a:lnTo>
                  <a:lnTo>
                    <a:pt x="964959" y="204990"/>
                  </a:lnTo>
                  <a:lnTo>
                    <a:pt x="964959" y="204292"/>
                  </a:lnTo>
                  <a:lnTo>
                    <a:pt x="965010" y="204292"/>
                  </a:lnTo>
                  <a:lnTo>
                    <a:pt x="965010" y="206324"/>
                  </a:lnTo>
                  <a:lnTo>
                    <a:pt x="965061" y="204990"/>
                  </a:lnTo>
                  <a:lnTo>
                    <a:pt x="965061" y="206324"/>
                  </a:lnTo>
                  <a:lnTo>
                    <a:pt x="965061" y="204990"/>
                  </a:lnTo>
                  <a:lnTo>
                    <a:pt x="965162" y="204292"/>
                  </a:lnTo>
                  <a:lnTo>
                    <a:pt x="965162" y="204990"/>
                  </a:lnTo>
                  <a:lnTo>
                    <a:pt x="965162" y="204292"/>
                  </a:lnTo>
                  <a:lnTo>
                    <a:pt x="965201" y="204990"/>
                  </a:lnTo>
                  <a:lnTo>
                    <a:pt x="965251" y="204990"/>
                  </a:lnTo>
                  <a:lnTo>
                    <a:pt x="965251" y="206324"/>
                  </a:lnTo>
                  <a:lnTo>
                    <a:pt x="965251" y="204990"/>
                  </a:lnTo>
                  <a:lnTo>
                    <a:pt x="965302" y="204990"/>
                  </a:lnTo>
                  <a:lnTo>
                    <a:pt x="965302" y="204292"/>
                  </a:lnTo>
                  <a:lnTo>
                    <a:pt x="965302" y="204990"/>
                  </a:lnTo>
                  <a:lnTo>
                    <a:pt x="965302" y="203594"/>
                  </a:lnTo>
                  <a:lnTo>
                    <a:pt x="965302" y="204292"/>
                  </a:lnTo>
                  <a:lnTo>
                    <a:pt x="965302" y="203594"/>
                  </a:lnTo>
                  <a:lnTo>
                    <a:pt x="965404" y="203594"/>
                  </a:lnTo>
                  <a:lnTo>
                    <a:pt x="965404" y="202959"/>
                  </a:lnTo>
                  <a:lnTo>
                    <a:pt x="965404" y="204292"/>
                  </a:lnTo>
                  <a:lnTo>
                    <a:pt x="965404" y="202959"/>
                  </a:lnTo>
                  <a:lnTo>
                    <a:pt x="965455" y="203594"/>
                  </a:lnTo>
                  <a:lnTo>
                    <a:pt x="965455" y="206324"/>
                  </a:lnTo>
                  <a:lnTo>
                    <a:pt x="965455" y="204292"/>
                  </a:lnTo>
                  <a:lnTo>
                    <a:pt x="965505" y="204292"/>
                  </a:lnTo>
                  <a:lnTo>
                    <a:pt x="965505" y="206324"/>
                  </a:lnTo>
                  <a:lnTo>
                    <a:pt x="965505" y="204990"/>
                  </a:lnTo>
                  <a:lnTo>
                    <a:pt x="965607" y="204990"/>
                  </a:lnTo>
                  <a:lnTo>
                    <a:pt x="965607" y="206324"/>
                  </a:lnTo>
                  <a:lnTo>
                    <a:pt x="965607" y="204990"/>
                  </a:lnTo>
                  <a:lnTo>
                    <a:pt x="965658" y="204990"/>
                  </a:lnTo>
                  <a:lnTo>
                    <a:pt x="965658" y="206324"/>
                  </a:lnTo>
                  <a:lnTo>
                    <a:pt x="965658" y="204990"/>
                  </a:lnTo>
                  <a:lnTo>
                    <a:pt x="965658" y="206324"/>
                  </a:lnTo>
                  <a:lnTo>
                    <a:pt x="965658" y="204292"/>
                  </a:lnTo>
                  <a:lnTo>
                    <a:pt x="965658" y="206324"/>
                  </a:lnTo>
                  <a:lnTo>
                    <a:pt x="965658" y="204990"/>
                  </a:lnTo>
                  <a:lnTo>
                    <a:pt x="965708" y="206324"/>
                  </a:lnTo>
                  <a:lnTo>
                    <a:pt x="965708" y="204990"/>
                  </a:lnTo>
                  <a:lnTo>
                    <a:pt x="965708" y="206324"/>
                  </a:lnTo>
                  <a:lnTo>
                    <a:pt x="965708" y="204990"/>
                  </a:lnTo>
                  <a:lnTo>
                    <a:pt x="965708" y="206324"/>
                  </a:lnTo>
                  <a:lnTo>
                    <a:pt x="965708" y="204990"/>
                  </a:lnTo>
                  <a:lnTo>
                    <a:pt x="965708" y="206324"/>
                  </a:lnTo>
                  <a:lnTo>
                    <a:pt x="965708" y="204990"/>
                  </a:lnTo>
                  <a:lnTo>
                    <a:pt x="965747" y="204990"/>
                  </a:lnTo>
                  <a:lnTo>
                    <a:pt x="965747" y="206324"/>
                  </a:lnTo>
                  <a:lnTo>
                    <a:pt x="965747" y="204990"/>
                  </a:lnTo>
                  <a:lnTo>
                    <a:pt x="965747" y="206324"/>
                  </a:lnTo>
                  <a:lnTo>
                    <a:pt x="965747" y="204990"/>
                  </a:lnTo>
                  <a:lnTo>
                    <a:pt x="965747" y="206324"/>
                  </a:lnTo>
                  <a:lnTo>
                    <a:pt x="965747" y="204292"/>
                  </a:lnTo>
                  <a:lnTo>
                    <a:pt x="965747" y="204990"/>
                  </a:lnTo>
                  <a:lnTo>
                    <a:pt x="965747" y="204292"/>
                  </a:lnTo>
                  <a:lnTo>
                    <a:pt x="965848" y="204292"/>
                  </a:lnTo>
                  <a:lnTo>
                    <a:pt x="965848" y="202260"/>
                  </a:lnTo>
                  <a:lnTo>
                    <a:pt x="965899" y="202260"/>
                  </a:lnTo>
                  <a:lnTo>
                    <a:pt x="965899" y="204292"/>
                  </a:lnTo>
                  <a:lnTo>
                    <a:pt x="965899" y="202959"/>
                  </a:lnTo>
                  <a:lnTo>
                    <a:pt x="965899" y="203594"/>
                  </a:lnTo>
                  <a:lnTo>
                    <a:pt x="965950" y="203594"/>
                  </a:lnTo>
                  <a:lnTo>
                    <a:pt x="965950" y="204990"/>
                  </a:lnTo>
                  <a:lnTo>
                    <a:pt x="965950" y="204292"/>
                  </a:lnTo>
                  <a:lnTo>
                    <a:pt x="965950" y="204990"/>
                  </a:lnTo>
                  <a:lnTo>
                    <a:pt x="966051" y="204990"/>
                  </a:lnTo>
                  <a:lnTo>
                    <a:pt x="966051" y="206324"/>
                  </a:lnTo>
                  <a:lnTo>
                    <a:pt x="966051" y="204990"/>
                  </a:lnTo>
                  <a:lnTo>
                    <a:pt x="966051" y="206324"/>
                  </a:lnTo>
                  <a:lnTo>
                    <a:pt x="966051" y="204990"/>
                  </a:lnTo>
                  <a:lnTo>
                    <a:pt x="966102" y="206324"/>
                  </a:lnTo>
                  <a:lnTo>
                    <a:pt x="966102" y="204292"/>
                  </a:lnTo>
                  <a:lnTo>
                    <a:pt x="966102" y="204990"/>
                  </a:lnTo>
                  <a:lnTo>
                    <a:pt x="966153" y="204990"/>
                  </a:lnTo>
                  <a:lnTo>
                    <a:pt x="966153" y="204292"/>
                  </a:lnTo>
                  <a:lnTo>
                    <a:pt x="966153" y="204990"/>
                  </a:lnTo>
                  <a:lnTo>
                    <a:pt x="966153" y="204292"/>
                  </a:lnTo>
                  <a:lnTo>
                    <a:pt x="966153" y="204990"/>
                  </a:lnTo>
                  <a:lnTo>
                    <a:pt x="966204" y="204990"/>
                  </a:lnTo>
                  <a:lnTo>
                    <a:pt x="966204" y="206324"/>
                  </a:lnTo>
                  <a:lnTo>
                    <a:pt x="966204" y="204990"/>
                  </a:lnTo>
                  <a:lnTo>
                    <a:pt x="966204" y="206324"/>
                  </a:lnTo>
                  <a:lnTo>
                    <a:pt x="966204" y="204990"/>
                  </a:lnTo>
                  <a:lnTo>
                    <a:pt x="966204" y="206324"/>
                  </a:lnTo>
                  <a:lnTo>
                    <a:pt x="966204" y="204292"/>
                  </a:lnTo>
                  <a:lnTo>
                    <a:pt x="966204" y="204990"/>
                  </a:lnTo>
                  <a:lnTo>
                    <a:pt x="966293" y="206324"/>
                  </a:lnTo>
                  <a:lnTo>
                    <a:pt x="966293" y="204292"/>
                  </a:lnTo>
                  <a:lnTo>
                    <a:pt x="966293" y="204990"/>
                  </a:lnTo>
                  <a:lnTo>
                    <a:pt x="966293" y="203594"/>
                  </a:lnTo>
                  <a:lnTo>
                    <a:pt x="966343" y="203594"/>
                  </a:lnTo>
                  <a:lnTo>
                    <a:pt x="966343" y="202260"/>
                  </a:lnTo>
                  <a:lnTo>
                    <a:pt x="966343" y="203594"/>
                  </a:lnTo>
                  <a:lnTo>
                    <a:pt x="966394" y="203594"/>
                  </a:lnTo>
                  <a:lnTo>
                    <a:pt x="966394" y="204292"/>
                  </a:lnTo>
                  <a:lnTo>
                    <a:pt x="966394" y="202959"/>
                  </a:lnTo>
                  <a:lnTo>
                    <a:pt x="966394" y="204990"/>
                  </a:lnTo>
                  <a:lnTo>
                    <a:pt x="966445" y="204990"/>
                  </a:lnTo>
                  <a:lnTo>
                    <a:pt x="966445" y="204292"/>
                  </a:lnTo>
                  <a:lnTo>
                    <a:pt x="966445" y="206324"/>
                  </a:lnTo>
                  <a:lnTo>
                    <a:pt x="966445" y="204990"/>
                  </a:lnTo>
                  <a:lnTo>
                    <a:pt x="966445" y="206324"/>
                  </a:lnTo>
                  <a:lnTo>
                    <a:pt x="966445" y="204990"/>
                  </a:lnTo>
                  <a:lnTo>
                    <a:pt x="966547" y="204990"/>
                  </a:lnTo>
                  <a:lnTo>
                    <a:pt x="966547" y="206324"/>
                  </a:lnTo>
                  <a:lnTo>
                    <a:pt x="966547" y="204990"/>
                  </a:lnTo>
                  <a:lnTo>
                    <a:pt x="966597" y="204990"/>
                  </a:lnTo>
                  <a:lnTo>
                    <a:pt x="966597" y="206324"/>
                  </a:lnTo>
                  <a:lnTo>
                    <a:pt x="966597" y="204990"/>
                  </a:lnTo>
                  <a:lnTo>
                    <a:pt x="966597" y="206324"/>
                  </a:lnTo>
                  <a:lnTo>
                    <a:pt x="966597" y="204990"/>
                  </a:lnTo>
                  <a:lnTo>
                    <a:pt x="966597" y="206324"/>
                  </a:lnTo>
                  <a:lnTo>
                    <a:pt x="966648" y="206324"/>
                  </a:lnTo>
                  <a:lnTo>
                    <a:pt x="966648" y="204990"/>
                  </a:lnTo>
                  <a:lnTo>
                    <a:pt x="966648" y="207022"/>
                  </a:lnTo>
                  <a:lnTo>
                    <a:pt x="966648" y="206324"/>
                  </a:lnTo>
                  <a:lnTo>
                    <a:pt x="966750" y="206324"/>
                  </a:lnTo>
                  <a:lnTo>
                    <a:pt x="966750" y="207022"/>
                  </a:lnTo>
                  <a:lnTo>
                    <a:pt x="966750" y="204990"/>
                  </a:lnTo>
                  <a:lnTo>
                    <a:pt x="966750" y="206324"/>
                  </a:lnTo>
                  <a:lnTo>
                    <a:pt x="966750" y="204990"/>
                  </a:lnTo>
                  <a:lnTo>
                    <a:pt x="966750" y="206324"/>
                  </a:lnTo>
                  <a:lnTo>
                    <a:pt x="966788" y="206324"/>
                  </a:lnTo>
                  <a:lnTo>
                    <a:pt x="966788" y="204292"/>
                  </a:lnTo>
                  <a:lnTo>
                    <a:pt x="966788" y="204990"/>
                  </a:lnTo>
                  <a:lnTo>
                    <a:pt x="966788" y="204292"/>
                  </a:lnTo>
                  <a:lnTo>
                    <a:pt x="966839" y="203594"/>
                  </a:lnTo>
                  <a:lnTo>
                    <a:pt x="966839" y="202959"/>
                  </a:lnTo>
                  <a:lnTo>
                    <a:pt x="966839" y="203594"/>
                  </a:lnTo>
                  <a:lnTo>
                    <a:pt x="966839" y="202260"/>
                  </a:lnTo>
                  <a:lnTo>
                    <a:pt x="966839" y="203594"/>
                  </a:lnTo>
                  <a:lnTo>
                    <a:pt x="966890" y="203594"/>
                  </a:lnTo>
                  <a:lnTo>
                    <a:pt x="966890" y="206324"/>
                  </a:lnTo>
                  <a:lnTo>
                    <a:pt x="966890" y="204990"/>
                  </a:lnTo>
                  <a:lnTo>
                    <a:pt x="966991" y="204292"/>
                  </a:lnTo>
                  <a:lnTo>
                    <a:pt x="966991" y="206324"/>
                  </a:lnTo>
                  <a:lnTo>
                    <a:pt x="966991" y="204990"/>
                  </a:lnTo>
                  <a:lnTo>
                    <a:pt x="967042" y="204292"/>
                  </a:lnTo>
                  <a:lnTo>
                    <a:pt x="967042" y="206324"/>
                  </a:lnTo>
                  <a:lnTo>
                    <a:pt x="967042" y="204990"/>
                  </a:lnTo>
                  <a:lnTo>
                    <a:pt x="967042" y="206324"/>
                  </a:lnTo>
                  <a:lnTo>
                    <a:pt x="967042" y="204990"/>
                  </a:lnTo>
                  <a:lnTo>
                    <a:pt x="967093" y="204990"/>
                  </a:lnTo>
                  <a:lnTo>
                    <a:pt x="967093" y="206324"/>
                  </a:lnTo>
                  <a:lnTo>
                    <a:pt x="967093" y="204990"/>
                  </a:lnTo>
                  <a:lnTo>
                    <a:pt x="967194" y="204990"/>
                  </a:lnTo>
                  <a:lnTo>
                    <a:pt x="967194" y="206324"/>
                  </a:lnTo>
                  <a:lnTo>
                    <a:pt x="967245" y="206324"/>
                  </a:lnTo>
                  <a:lnTo>
                    <a:pt x="967245" y="204990"/>
                  </a:lnTo>
                  <a:lnTo>
                    <a:pt x="967245" y="206324"/>
                  </a:lnTo>
                  <a:lnTo>
                    <a:pt x="967245" y="204990"/>
                  </a:lnTo>
                  <a:lnTo>
                    <a:pt x="967296" y="204990"/>
                  </a:lnTo>
                  <a:lnTo>
                    <a:pt x="967296" y="204292"/>
                  </a:lnTo>
                  <a:lnTo>
                    <a:pt x="967296" y="204990"/>
                  </a:lnTo>
                  <a:lnTo>
                    <a:pt x="967296" y="203594"/>
                  </a:lnTo>
                  <a:lnTo>
                    <a:pt x="967334" y="203594"/>
                  </a:lnTo>
                  <a:lnTo>
                    <a:pt x="967334" y="202260"/>
                  </a:lnTo>
                  <a:lnTo>
                    <a:pt x="967334" y="202959"/>
                  </a:lnTo>
                  <a:lnTo>
                    <a:pt x="967334" y="200876"/>
                  </a:lnTo>
                  <a:lnTo>
                    <a:pt x="967334" y="203594"/>
                  </a:lnTo>
                  <a:lnTo>
                    <a:pt x="967436" y="203594"/>
                  </a:lnTo>
                  <a:lnTo>
                    <a:pt x="967436" y="200876"/>
                  </a:lnTo>
                  <a:lnTo>
                    <a:pt x="967436" y="204292"/>
                  </a:lnTo>
                  <a:lnTo>
                    <a:pt x="967487" y="204292"/>
                  </a:lnTo>
                  <a:lnTo>
                    <a:pt x="967487" y="202959"/>
                  </a:lnTo>
                  <a:lnTo>
                    <a:pt x="967487" y="203594"/>
                  </a:lnTo>
                  <a:lnTo>
                    <a:pt x="967487" y="202959"/>
                  </a:lnTo>
                  <a:lnTo>
                    <a:pt x="967487" y="204990"/>
                  </a:lnTo>
                  <a:lnTo>
                    <a:pt x="967537" y="204990"/>
                  </a:lnTo>
                  <a:lnTo>
                    <a:pt x="967537" y="204292"/>
                  </a:lnTo>
                  <a:lnTo>
                    <a:pt x="967537" y="204990"/>
                  </a:lnTo>
                  <a:lnTo>
                    <a:pt x="967537" y="204292"/>
                  </a:lnTo>
                  <a:lnTo>
                    <a:pt x="967537" y="204990"/>
                  </a:lnTo>
                  <a:lnTo>
                    <a:pt x="967537" y="204292"/>
                  </a:lnTo>
                  <a:lnTo>
                    <a:pt x="967537" y="204990"/>
                  </a:lnTo>
                  <a:lnTo>
                    <a:pt x="967537" y="204292"/>
                  </a:lnTo>
                  <a:lnTo>
                    <a:pt x="967537" y="204990"/>
                  </a:lnTo>
                  <a:lnTo>
                    <a:pt x="967639" y="204990"/>
                  </a:lnTo>
                  <a:lnTo>
                    <a:pt x="967639" y="204292"/>
                  </a:lnTo>
                  <a:lnTo>
                    <a:pt x="967639" y="206324"/>
                  </a:lnTo>
                  <a:lnTo>
                    <a:pt x="967639" y="204990"/>
                  </a:lnTo>
                  <a:lnTo>
                    <a:pt x="967690" y="204990"/>
                  </a:lnTo>
                  <a:lnTo>
                    <a:pt x="967690" y="206324"/>
                  </a:lnTo>
                  <a:lnTo>
                    <a:pt x="967690" y="204990"/>
                  </a:lnTo>
                  <a:lnTo>
                    <a:pt x="967690" y="206324"/>
                  </a:lnTo>
                  <a:lnTo>
                    <a:pt x="967741" y="206324"/>
                  </a:lnTo>
                  <a:lnTo>
                    <a:pt x="967741" y="204990"/>
                  </a:lnTo>
                  <a:lnTo>
                    <a:pt x="967741" y="206324"/>
                  </a:lnTo>
                  <a:lnTo>
                    <a:pt x="967741" y="204990"/>
                  </a:lnTo>
                  <a:lnTo>
                    <a:pt x="967741" y="206324"/>
                  </a:lnTo>
                  <a:lnTo>
                    <a:pt x="967741" y="204990"/>
                  </a:lnTo>
                  <a:lnTo>
                    <a:pt x="967791" y="204990"/>
                  </a:lnTo>
                  <a:lnTo>
                    <a:pt x="967791" y="203594"/>
                  </a:lnTo>
                  <a:lnTo>
                    <a:pt x="967791" y="204292"/>
                  </a:lnTo>
                  <a:lnTo>
                    <a:pt x="967791" y="202959"/>
                  </a:lnTo>
                  <a:lnTo>
                    <a:pt x="967791" y="203594"/>
                  </a:lnTo>
                  <a:lnTo>
                    <a:pt x="967880" y="202959"/>
                  </a:lnTo>
                  <a:lnTo>
                    <a:pt x="967880" y="200876"/>
                  </a:lnTo>
                  <a:lnTo>
                    <a:pt x="967880" y="202959"/>
                  </a:lnTo>
                  <a:lnTo>
                    <a:pt x="967931" y="203594"/>
                  </a:lnTo>
                  <a:lnTo>
                    <a:pt x="967931" y="200876"/>
                  </a:lnTo>
                  <a:lnTo>
                    <a:pt x="967931" y="204292"/>
                  </a:lnTo>
                  <a:lnTo>
                    <a:pt x="967982" y="203594"/>
                  </a:lnTo>
                  <a:lnTo>
                    <a:pt x="967982" y="202260"/>
                  </a:lnTo>
                  <a:lnTo>
                    <a:pt x="967982" y="202959"/>
                  </a:lnTo>
                  <a:lnTo>
                    <a:pt x="967982" y="202260"/>
                  </a:lnTo>
                  <a:lnTo>
                    <a:pt x="967982" y="204292"/>
                  </a:lnTo>
                  <a:lnTo>
                    <a:pt x="967982" y="203594"/>
                  </a:lnTo>
                  <a:lnTo>
                    <a:pt x="968033" y="203594"/>
                  </a:lnTo>
                  <a:lnTo>
                    <a:pt x="968033" y="202959"/>
                  </a:lnTo>
                  <a:lnTo>
                    <a:pt x="968033" y="203594"/>
                  </a:lnTo>
                  <a:lnTo>
                    <a:pt x="968033" y="202959"/>
                  </a:lnTo>
                  <a:lnTo>
                    <a:pt x="968033" y="203594"/>
                  </a:lnTo>
                  <a:lnTo>
                    <a:pt x="968033" y="202959"/>
                  </a:lnTo>
                  <a:lnTo>
                    <a:pt x="968134" y="202959"/>
                  </a:lnTo>
                  <a:lnTo>
                    <a:pt x="968134" y="203594"/>
                  </a:lnTo>
                  <a:lnTo>
                    <a:pt x="968134" y="202959"/>
                  </a:lnTo>
                  <a:lnTo>
                    <a:pt x="968134" y="204292"/>
                  </a:lnTo>
                  <a:lnTo>
                    <a:pt x="968134" y="203594"/>
                  </a:lnTo>
                  <a:lnTo>
                    <a:pt x="968134" y="204292"/>
                  </a:lnTo>
                  <a:lnTo>
                    <a:pt x="968185" y="204292"/>
                  </a:lnTo>
                  <a:lnTo>
                    <a:pt x="968185" y="204990"/>
                  </a:lnTo>
                  <a:lnTo>
                    <a:pt x="968185" y="204292"/>
                  </a:lnTo>
                  <a:lnTo>
                    <a:pt x="968185" y="204990"/>
                  </a:lnTo>
                  <a:lnTo>
                    <a:pt x="968236" y="204990"/>
                  </a:lnTo>
                  <a:lnTo>
                    <a:pt x="968236" y="204292"/>
                  </a:lnTo>
                  <a:lnTo>
                    <a:pt x="968236" y="204990"/>
                  </a:lnTo>
                  <a:lnTo>
                    <a:pt x="968236" y="204292"/>
                  </a:lnTo>
                  <a:lnTo>
                    <a:pt x="968337" y="204292"/>
                  </a:lnTo>
                  <a:lnTo>
                    <a:pt x="968337" y="202959"/>
                  </a:lnTo>
                  <a:lnTo>
                    <a:pt x="968337" y="204292"/>
                  </a:lnTo>
                  <a:lnTo>
                    <a:pt x="968337" y="203594"/>
                  </a:lnTo>
                  <a:lnTo>
                    <a:pt x="968376" y="204292"/>
                  </a:lnTo>
                  <a:lnTo>
                    <a:pt x="968376" y="202260"/>
                  </a:lnTo>
                  <a:lnTo>
                    <a:pt x="968376" y="204990"/>
                  </a:lnTo>
                  <a:lnTo>
                    <a:pt x="968376" y="202959"/>
                  </a:lnTo>
                  <a:lnTo>
                    <a:pt x="968426" y="202959"/>
                  </a:lnTo>
                  <a:lnTo>
                    <a:pt x="968426" y="206324"/>
                  </a:lnTo>
                  <a:lnTo>
                    <a:pt x="968426" y="204990"/>
                  </a:lnTo>
                  <a:lnTo>
                    <a:pt x="968426" y="206324"/>
                  </a:lnTo>
                  <a:lnTo>
                    <a:pt x="968426" y="204292"/>
                  </a:lnTo>
                  <a:lnTo>
                    <a:pt x="968477" y="204292"/>
                  </a:lnTo>
                  <a:lnTo>
                    <a:pt x="968477" y="203594"/>
                  </a:lnTo>
                  <a:lnTo>
                    <a:pt x="968477" y="204990"/>
                  </a:lnTo>
                  <a:lnTo>
                    <a:pt x="968477" y="204292"/>
                  </a:lnTo>
                  <a:lnTo>
                    <a:pt x="968477" y="204990"/>
                  </a:lnTo>
                  <a:lnTo>
                    <a:pt x="968477" y="204292"/>
                  </a:lnTo>
                  <a:lnTo>
                    <a:pt x="968579" y="204292"/>
                  </a:lnTo>
                  <a:lnTo>
                    <a:pt x="968579" y="204990"/>
                  </a:lnTo>
                  <a:lnTo>
                    <a:pt x="968579" y="204292"/>
                  </a:lnTo>
                  <a:lnTo>
                    <a:pt x="968579" y="204990"/>
                  </a:lnTo>
                  <a:lnTo>
                    <a:pt x="968579" y="204292"/>
                  </a:lnTo>
                  <a:lnTo>
                    <a:pt x="968630" y="204292"/>
                  </a:lnTo>
                  <a:lnTo>
                    <a:pt x="968630" y="204990"/>
                  </a:lnTo>
                  <a:lnTo>
                    <a:pt x="968630" y="204292"/>
                  </a:lnTo>
                  <a:lnTo>
                    <a:pt x="968630" y="204990"/>
                  </a:lnTo>
                  <a:lnTo>
                    <a:pt x="968630" y="204292"/>
                  </a:lnTo>
                  <a:lnTo>
                    <a:pt x="968630" y="204990"/>
                  </a:lnTo>
                  <a:lnTo>
                    <a:pt x="968630" y="204292"/>
                  </a:lnTo>
                  <a:lnTo>
                    <a:pt x="968630" y="204990"/>
                  </a:lnTo>
                  <a:lnTo>
                    <a:pt x="968630" y="204292"/>
                  </a:lnTo>
                  <a:lnTo>
                    <a:pt x="968680" y="204990"/>
                  </a:lnTo>
                  <a:lnTo>
                    <a:pt x="968680" y="204292"/>
                  </a:lnTo>
                  <a:lnTo>
                    <a:pt x="968680" y="204990"/>
                  </a:lnTo>
                  <a:lnTo>
                    <a:pt x="968782" y="204990"/>
                  </a:lnTo>
                  <a:lnTo>
                    <a:pt x="968782" y="203594"/>
                  </a:lnTo>
                  <a:lnTo>
                    <a:pt x="968782" y="204292"/>
                  </a:lnTo>
                  <a:lnTo>
                    <a:pt x="968782" y="203594"/>
                  </a:lnTo>
                  <a:lnTo>
                    <a:pt x="968833" y="203594"/>
                  </a:lnTo>
                  <a:lnTo>
                    <a:pt x="968833" y="202260"/>
                  </a:lnTo>
                  <a:lnTo>
                    <a:pt x="968883" y="200876"/>
                  </a:lnTo>
                  <a:lnTo>
                    <a:pt x="968883" y="204292"/>
                  </a:lnTo>
                  <a:lnTo>
                    <a:pt x="968883" y="202959"/>
                  </a:lnTo>
                  <a:lnTo>
                    <a:pt x="968922" y="202959"/>
                  </a:lnTo>
                  <a:lnTo>
                    <a:pt x="968922" y="206324"/>
                  </a:lnTo>
                  <a:lnTo>
                    <a:pt x="968922" y="203594"/>
                  </a:lnTo>
                  <a:lnTo>
                    <a:pt x="968922" y="204292"/>
                  </a:lnTo>
                  <a:lnTo>
                    <a:pt x="968922" y="203594"/>
                  </a:lnTo>
                  <a:lnTo>
                    <a:pt x="968922" y="204292"/>
                  </a:lnTo>
                  <a:lnTo>
                    <a:pt x="969023" y="204292"/>
                  </a:lnTo>
                  <a:lnTo>
                    <a:pt x="969023" y="204990"/>
                  </a:lnTo>
                  <a:lnTo>
                    <a:pt x="969023" y="204292"/>
                  </a:lnTo>
                  <a:lnTo>
                    <a:pt x="969074" y="204990"/>
                  </a:lnTo>
                  <a:lnTo>
                    <a:pt x="969074" y="204292"/>
                  </a:lnTo>
                  <a:lnTo>
                    <a:pt x="969074" y="204990"/>
                  </a:lnTo>
                  <a:lnTo>
                    <a:pt x="969125" y="204990"/>
                  </a:lnTo>
                  <a:lnTo>
                    <a:pt x="969125" y="204292"/>
                  </a:lnTo>
                  <a:lnTo>
                    <a:pt x="969125" y="204990"/>
                  </a:lnTo>
                  <a:lnTo>
                    <a:pt x="969125" y="204292"/>
                  </a:lnTo>
                  <a:lnTo>
                    <a:pt x="969226" y="204292"/>
                  </a:lnTo>
                  <a:lnTo>
                    <a:pt x="969226" y="203594"/>
                  </a:lnTo>
                  <a:lnTo>
                    <a:pt x="969226" y="204292"/>
                  </a:lnTo>
                  <a:lnTo>
                    <a:pt x="969226" y="203594"/>
                  </a:lnTo>
                  <a:lnTo>
                    <a:pt x="969226" y="204292"/>
                  </a:lnTo>
                  <a:lnTo>
                    <a:pt x="969277" y="204292"/>
                  </a:lnTo>
                  <a:lnTo>
                    <a:pt x="969277" y="202959"/>
                  </a:lnTo>
                  <a:lnTo>
                    <a:pt x="969328" y="202959"/>
                  </a:lnTo>
                  <a:lnTo>
                    <a:pt x="969328" y="202260"/>
                  </a:lnTo>
                  <a:lnTo>
                    <a:pt x="969328" y="202959"/>
                  </a:lnTo>
                  <a:lnTo>
                    <a:pt x="969328" y="200876"/>
                  </a:lnTo>
                  <a:lnTo>
                    <a:pt x="969328" y="202260"/>
                  </a:lnTo>
                  <a:lnTo>
                    <a:pt x="969379" y="202260"/>
                  </a:lnTo>
                  <a:lnTo>
                    <a:pt x="969379" y="203594"/>
                  </a:lnTo>
                  <a:lnTo>
                    <a:pt x="969379" y="200876"/>
                  </a:lnTo>
                  <a:lnTo>
                    <a:pt x="969379" y="202260"/>
                  </a:lnTo>
                  <a:lnTo>
                    <a:pt x="969379" y="200876"/>
                  </a:lnTo>
                  <a:lnTo>
                    <a:pt x="969379" y="204990"/>
                  </a:lnTo>
                  <a:lnTo>
                    <a:pt x="969468" y="204990"/>
                  </a:lnTo>
                  <a:lnTo>
                    <a:pt x="969468" y="202959"/>
                  </a:lnTo>
                  <a:lnTo>
                    <a:pt x="969468" y="204292"/>
                  </a:lnTo>
                  <a:lnTo>
                    <a:pt x="969518" y="204990"/>
                  </a:lnTo>
                  <a:lnTo>
                    <a:pt x="969518" y="203594"/>
                  </a:lnTo>
                  <a:lnTo>
                    <a:pt x="969518" y="204292"/>
                  </a:lnTo>
                  <a:lnTo>
                    <a:pt x="969518" y="203594"/>
                  </a:lnTo>
                  <a:lnTo>
                    <a:pt x="969518" y="204990"/>
                  </a:lnTo>
                  <a:lnTo>
                    <a:pt x="969569" y="204990"/>
                  </a:lnTo>
                  <a:lnTo>
                    <a:pt x="969569" y="204292"/>
                  </a:lnTo>
                  <a:lnTo>
                    <a:pt x="969569" y="206324"/>
                  </a:lnTo>
                  <a:lnTo>
                    <a:pt x="969620" y="204990"/>
                  </a:lnTo>
                  <a:lnTo>
                    <a:pt x="969620" y="206324"/>
                  </a:lnTo>
                  <a:lnTo>
                    <a:pt x="969620" y="204990"/>
                  </a:lnTo>
                  <a:lnTo>
                    <a:pt x="969620" y="206324"/>
                  </a:lnTo>
                  <a:lnTo>
                    <a:pt x="969722" y="206324"/>
                  </a:lnTo>
                  <a:lnTo>
                    <a:pt x="969722" y="204990"/>
                  </a:lnTo>
                  <a:lnTo>
                    <a:pt x="969722" y="206324"/>
                  </a:lnTo>
                  <a:lnTo>
                    <a:pt x="969722" y="204292"/>
                  </a:lnTo>
                  <a:lnTo>
                    <a:pt x="969722" y="204990"/>
                  </a:lnTo>
                  <a:lnTo>
                    <a:pt x="969722" y="204292"/>
                  </a:lnTo>
                  <a:lnTo>
                    <a:pt x="969722" y="204990"/>
                  </a:lnTo>
                  <a:lnTo>
                    <a:pt x="969772" y="204292"/>
                  </a:lnTo>
                  <a:lnTo>
                    <a:pt x="969772" y="203594"/>
                  </a:lnTo>
                  <a:lnTo>
                    <a:pt x="969823" y="203594"/>
                  </a:lnTo>
                  <a:lnTo>
                    <a:pt x="969823" y="200876"/>
                  </a:lnTo>
                  <a:lnTo>
                    <a:pt x="969823" y="204292"/>
                  </a:lnTo>
                  <a:lnTo>
                    <a:pt x="969823" y="203594"/>
                  </a:lnTo>
                  <a:lnTo>
                    <a:pt x="969925" y="203594"/>
                  </a:lnTo>
                  <a:lnTo>
                    <a:pt x="969925" y="202959"/>
                  </a:lnTo>
                  <a:lnTo>
                    <a:pt x="969925" y="204990"/>
                  </a:lnTo>
                  <a:lnTo>
                    <a:pt x="969925" y="204292"/>
                  </a:lnTo>
                  <a:lnTo>
                    <a:pt x="969963" y="204292"/>
                  </a:lnTo>
                  <a:lnTo>
                    <a:pt x="969963" y="203594"/>
                  </a:lnTo>
                  <a:lnTo>
                    <a:pt x="969963" y="204990"/>
                  </a:lnTo>
                  <a:lnTo>
                    <a:pt x="969963" y="204292"/>
                  </a:lnTo>
                  <a:lnTo>
                    <a:pt x="970014" y="204292"/>
                  </a:lnTo>
                  <a:lnTo>
                    <a:pt x="970014" y="204990"/>
                  </a:lnTo>
                  <a:lnTo>
                    <a:pt x="970065" y="204990"/>
                  </a:lnTo>
                  <a:lnTo>
                    <a:pt x="970065" y="206324"/>
                  </a:lnTo>
                  <a:lnTo>
                    <a:pt x="970065" y="204990"/>
                  </a:lnTo>
                  <a:lnTo>
                    <a:pt x="970065" y="206324"/>
                  </a:lnTo>
                  <a:lnTo>
                    <a:pt x="970065" y="204990"/>
                  </a:lnTo>
                  <a:lnTo>
                    <a:pt x="970065" y="206324"/>
                  </a:lnTo>
                  <a:lnTo>
                    <a:pt x="970065" y="204990"/>
                  </a:lnTo>
                  <a:lnTo>
                    <a:pt x="970166" y="204990"/>
                  </a:lnTo>
                  <a:lnTo>
                    <a:pt x="970166" y="206324"/>
                  </a:lnTo>
                  <a:lnTo>
                    <a:pt x="970166" y="204990"/>
                  </a:lnTo>
                  <a:lnTo>
                    <a:pt x="970166" y="206324"/>
                  </a:lnTo>
                  <a:lnTo>
                    <a:pt x="970166" y="204990"/>
                  </a:lnTo>
                  <a:lnTo>
                    <a:pt x="970166" y="206324"/>
                  </a:lnTo>
                  <a:lnTo>
                    <a:pt x="970217" y="206324"/>
                  </a:lnTo>
                  <a:lnTo>
                    <a:pt x="970217" y="204292"/>
                  </a:lnTo>
                  <a:lnTo>
                    <a:pt x="970217" y="204990"/>
                  </a:lnTo>
                  <a:lnTo>
                    <a:pt x="970217" y="204292"/>
                  </a:lnTo>
                  <a:lnTo>
                    <a:pt x="970268" y="204292"/>
                  </a:lnTo>
                  <a:lnTo>
                    <a:pt x="970268" y="203594"/>
                  </a:lnTo>
                  <a:lnTo>
                    <a:pt x="970268" y="204292"/>
                  </a:lnTo>
                  <a:lnTo>
                    <a:pt x="970268" y="203594"/>
                  </a:lnTo>
                  <a:lnTo>
                    <a:pt x="970268" y="204292"/>
                  </a:lnTo>
                  <a:lnTo>
                    <a:pt x="970268" y="202959"/>
                  </a:lnTo>
                  <a:lnTo>
                    <a:pt x="970369" y="203594"/>
                  </a:lnTo>
                  <a:lnTo>
                    <a:pt x="970369" y="202260"/>
                  </a:lnTo>
                  <a:lnTo>
                    <a:pt x="970369" y="203594"/>
                  </a:lnTo>
                  <a:lnTo>
                    <a:pt x="970369" y="202959"/>
                  </a:lnTo>
                  <a:lnTo>
                    <a:pt x="970369" y="203594"/>
                  </a:lnTo>
                  <a:lnTo>
                    <a:pt x="970420" y="203594"/>
                  </a:lnTo>
                  <a:lnTo>
                    <a:pt x="970420" y="202959"/>
                  </a:lnTo>
                  <a:lnTo>
                    <a:pt x="970420" y="204990"/>
                  </a:lnTo>
                  <a:lnTo>
                    <a:pt x="970420" y="203594"/>
                  </a:lnTo>
                  <a:lnTo>
                    <a:pt x="970471" y="203594"/>
                  </a:lnTo>
                  <a:lnTo>
                    <a:pt x="970471" y="204292"/>
                  </a:lnTo>
                  <a:lnTo>
                    <a:pt x="970509" y="203594"/>
                  </a:lnTo>
                  <a:lnTo>
                    <a:pt x="970509" y="204990"/>
                  </a:lnTo>
                  <a:lnTo>
                    <a:pt x="970509" y="204292"/>
                  </a:lnTo>
                  <a:lnTo>
                    <a:pt x="970509" y="206324"/>
                  </a:lnTo>
                  <a:lnTo>
                    <a:pt x="970611" y="206324"/>
                  </a:lnTo>
                  <a:lnTo>
                    <a:pt x="970611" y="204990"/>
                  </a:lnTo>
                  <a:lnTo>
                    <a:pt x="970611" y="206324"/>
                  </a:lnTo>
                  <a:lnTo>
                    <a:pt x="970611" y="204990"/>
                  </a:lnTo>
                  <a:lnTo>
                    <a:pt x="970662" y="204990"/>
                  </a:lnTo>
                  <a:lnTo>
                    <a:pt x="970662" y="206324"/>
                  </a:lnTo>
                  <a:lnTo>
                    <a:pt x="970662" y="204990"/>
                  </a:lnTo>
                  <a:lnTo>
                    <a:pt x="970662" y="206324"/>
                  </a:lnTo>
                  <a:lnTo>
                    <a:pt x="970662" y="204990"/>
                  </a:lnTo>
                  <a:lnTo>
                    <a:pt x="970712" y="204990"/>
                  </a:lnTo>
                  <a:lnTo>
                    <a:pt x="970712" y="204292"/>
                  </a:lnTo>
                  <a:lnTo>
                    <a:pt x="970712" y="204990"/>
                  </a:lnTo>
                  <a:lnTo>
                    <a:pt x="970712" y="204292"/>
                  </a:lnTo>
                  <a:lnTo>
                    <a:pt x="970712" y="204990"/>
                  </a:lnTo>
                  <a:lnTo>
                    <a:pt x="970712" y="203594"/>
                  </a:lnTo>
                  <a:lnTo>
                    <a:pt x="970712" y="204292"/>
                  </a:lnTo>
                  <a:lnTo>
                    <a:pt x="970814" y="204292"/>
                  </a:lnTo>
                  <a:lnTo>
                    <a:pt x="970814" y="202959"/>
                  </a:lnTo>
                  <a:lnTo>
                    <a:pt x="970865" y="202959"/>
                  </a:lnTo>
                  <a:lnTo>
                    <a:pt x="970865" y="202260"/>
                  </a:lnTo>
                  <a:lnTo>
                    <a:pt x="970865" y="202959"/>
                  </a:lnTo>
                  <a:lnTo>
                    <a:pt x="970865" y="202260"/>
                  </a:lnTo>
                  <a:lnTo>
                    <a:pt x="970916" y="202260"/>
                  </a:lnTo>
                  <a:lnTo>
                    <a:pt x="970916" y="204292"/>
                  </a:lnTo>
                  <a:lnTo>
                    <a:pt x="970916" y="202959"/>
                  </a:lnTo>
                  <a:lnTo>
                    <a:pt x="970916" y="203594"/>
                  </a:lnTo>
                  <a:lnTo>
                    <a:pt x="970916" y="202959"/>
                  </a:lnTo>
                  <a:lnTo>
                    <a:pt x="970966" y="202959"/>
                  </a:lnTo>
                  <a:lnTo>
                    <a:pt x="970966" y="203594"/>
                  </a:lnTo>
                  <a:lnTo>
                    <a:pt x="971055" y="203594"/>
                  </a:lnTo>
                  <a:lnTo>
                    <a:pt x="971055" y="204292"/>
                  </a:lnTo>
                  <a:lnTo>
                    <a:pt x="971106" y="204292"/>
                  </a:lnTo>
                  <a:lnTo>
                    <a:pt x="971106" y="204990"/>
                  </a:lnTo>
                  <a:lnTo>
                    <a:pt x="971157" y="204292"/>
                  </a:lnTo>
                  <a:lnTo>
                    <a:pt x="971157" y="204990"/>
                  </a:lnTo>
                  <a:lnTo>
                    <a:pt x="971157" y="204292"/>
                  </a:lnTo>
                  <a:lnTo>
                    <a:pt x="971157" y="204990"/>
                  </a:lnTo>
                  <a:lnTo>
                    <a:pt x="971157" y="204292"/>
                  </a:lnTo>
                  <a:lnTo>
                    <a:pt x="971157" y="204990"/>
                  </a:lnTo>
                  <a:lnTo>
                    <a:pt x="971157" y="204292"/>
                  </a:lnTo>
                  <a:lnTo>
                    <a:pt x="971208" y="204990"/>
                  </a:lnTo>
                  <a:lnTo>
                    <a:pt x="971208" y="204292"/>
                  </a:lnTo>
                  <a:lnTo>
                    <a:pt x="971208" y="204990"/>
                  </a:lnTo>
                  <a:lnTo>
                    <a:pt x="971208" y="203594"/>
                  </a:lnTo>
                  <a:lnTo>
                    <a:pt x="971309" y="203594"/>
                  </a:lnTo>
                  <a:lnTo>
                    <a:pt x="971309" y="202959"/>
                  </a:lnTo>
                  <a:lnTo>
                    <a:pt x="971309" y="203594"/>
                  </a:lnTo>
                  <a:lnTo>
                    <a:pt x="971309" y="202959"/>
                  </a:lnTo>
                  <a:lnTo>
                    <a:pt x="971309" y="204292"/>
                  </a:lnTo>
                  <a:lnTo>
                    <a:pt x="971360" y="204292"/>
                  </a:lnTo>
                  <a:lnTo>
                    <a:pt x="971360" y="202959"/>
                  </a:lnTo>
                  <a:lnTo>
                    <a:pt x="971360" y="204990"/>
                  </a:lnTo>
                  <a:lnTo>
                    <a:pt x="971411" y="206324"/>
                  </a:lnTo>
                  <a:lnTo>
                    <a:pt x="971411" y="203594"/>
                  </a:lnTo>
                  <a:lnTo>
                    <a:pt x="971411" y="204990"/>
                  </a:lnTo>
                  <a:lnTo>
                    <a:pt x="971512" y="204990"/>
                  </a:lnTo>
                  <a:lnTo>
                    <a:pt x="971512" y="204292"/>
                  </a:lnTo>
                  <a:lnTo>
                    <a:pt x="971512" y="204990"/>
                  </a:lnTo>
                  <a:lnTo>
                    <a:pt x="971512" y="204292"/>
                  </a:lnTo>
                  <a:lnTo>
                    <a:pt x="971512" y="204990"/>
                  </a:lnTo>
                  <a:lnTo>
                    <a:pt x="971551" y="204990"/>
                  </a:lnTo>
                  <a:lnTo>
                    <a:pt x="971551" y="204292"/>
                  </a:lnTo>
                  <a:lnTo>
                    <a:pt x="971551" y="206324"/>
                  </a:lnTo>
                  <a:lnTo>
                    <a:pt x="971551" y="204990"/>
                  </a:lnTo>
                  <a:lnTo>
                    <a:pt x="971601" y="204292"/>
                  </a:lnTo>
                  <a:lnTo>
                    <a:pt x="971601" y="206324"/>
                  </a:lnTo>
                  <a:lnTo>
                    <a:pt x="971601" y="204990"/>
                  </a:lnTo>
                  <a:lnTo>
                    <a:pt x="971601" y="206324"/>
                  </a:lnTo>
                  <a:lnTo>
                    <a:pt x="971601" y="204990"/>
                  </a:lnTo>
                  <a:lnTo>
                    <a:pt x="971601" y="206324"/>
                  </a:lnTo>
                  <a:lnTo>
                    <a:pt x="971601" y="204990"/>
                  </a:lnTo>
                  <a:lnTo>
                    <a:pt x="971652" y="204990"/>
                  </a:lnTo>
                  <a:lnTo>
                    <a:pt x="971652" y="206324"/>
                  </a:lnTo>
                  <a:lnTo>
                    <a:pt x="971652" y="204990"/>
                  </a:lnTo>
                  <a:lnTo>
                    <a:pt x="971652" y="206324"/>
                  </a:lnTo>
                  <a:lnTo>
                    <a:pt x="971652" y="204292"/>
                  </a:lnTo>
                  <a:lnTo>
                    <a:pt x="971652" y="204990"/>
                  </a:lnTo>
                  <a:lnTo>
                    <a:pt x="971754" y="204990"/>
                  </a:lnTo>
                  <a:lnTo>
                    <a:pt x="971754" y="204292"/>
                  </a:lnTo>
                  <a:lnTo>
                    <a:pt x="971754" y="204990"/>
                  </a:lnTo>
                  <a:lnTo>
                    <a:pt x="971754" y="203594"/>
                  </a:lnTo>
                  <a:lnTo>
                    <a:pt x="971805" y="203594"/>
                  </a:lnTo>
                  <a:lnTo>
                    <a:pt x="971805" y="202959"/>
                  </a:lnTo>
                  <a:lnTo>
                    <a:pt x="971805" y="203594"/>
                  </a:lnTo>
                  <a:lnTo>
                    <a:pt x="971805" y="202959"/>
                  </a:lnTo>
                  <a:lnTo>
                    <a:pt x="971805" y="204990"/>
                  </a:lnTo>
                  <a:lnTo>
                    <a:pt x="971805" y="204292"/>
                  </a:lnTo>
                  <a:lnTo>
                    <a:pt x="971855" y="204292"/>
                  </a:lnTo>
                  <a:lnTo>
                    <a:pt x="971855" y="203594"/>
                  </a:lnTo>
                  <a:lnTo>
                    <a:pt x="971855" y="206324"/>
                  </a:lnTo>
                  <a:lnTo>
                    <a:pt x="971855" y="204990"/>
                  </a:lnTo>
                  <a:lnTo>
                    <a:pt x="971957" y="204990"/>
                  </a:lnTo>
                  <a:lnTo>
                    <a:pt x="971957" y="206324"/>
                  </a:lnTo>
                  <a:lnTo>
                    <a:pt x="971957" y="204990"/>
                  </a:lnTo>
                  <a:lnTo>
                    <a:pt x="971957" y="206324"/>
                  </a:lnTo>
                  <a:lnTo>
                    <a:pt x="972008" y="206324"/>
                  </a:lnTo>
                  <a:lnTo>
                    <a:pt x="972008" y="204990"/>
                  </a:lnTo>
                  <a:lnTo>
                    <a:pt x="972008" y="206324"/>
                  </a:lnTo>
                  <a:lnTo>
                    <a:pt x="972008" y="204990"/>
                  </a:lnTo>
                  <a:lnTo>
                    <a:pt x="972008" y="206324"/>
                  </a:lnTo>
                  <a:lnTo>
                    <a:pt x="972058" y="206324"/>
                  </a:lnTo>
                  <a:lnTo>
                    <a:pt x="972058" y="207022"/>
                  </a:lnTo>
                  <a:lnTo>
                    <a:pt x="972058" y="206324"/>
                  </a:lnTo>
                  <a:lnTo>
                    <a:pt x="972058" y="207022"/>
                  </a:lnTo>
                  <a:lnTo>
                    <a:pt x="972058" y="206324"/>
                  </a:lnTo>
                  <a:lnTo>
                    <a:pt x="972058" y="207022"/>
                  </a:lnTo>
                  <a:lnTo>
                    <a:pt x="972097" y="207022"/>
                  </a:lnTo>
                  <a:lnTo>
                    <a:pt x="972097" y="204990"/>
                  </a:lnTo>
                  <a:lnTo>
                    <a:pt x="972097" y="206324"/>
                  </a:lnTo>
                  <a:lnTo>
                    <a:pt x="972198" y="206324"/>
                  </a:lnTo>
                  <a:lnTo>
                    <a:pt x="972198" y="204990"/>
                  </a:lnTo>
                  <a:lnTo>
                    <a:pt x="972198" y="206324"/>
                  </a:lnTo>
                  <a:lnTo>
                    <a:pt x="972198" y="204990"/>
                  </a:lnTo>
                  <a:lnTo>
                    <a:pt x="972198" y="206324"/>
                  </a:lnTo>
                  <a:lnTo>
                    <a:pt x="972198" y="204990"/>
                  </a:lnTo>
                  <a:lnTo>
                    <a:pt x="972249" y="204990"/>
                  </a:lnTo>
                  <a:lnTo>
                    <a:pt x="972249" y="202959"/>
                  </a:lnTo>
                  <a:lnTo>
                    <a:pt x="972249" y="203594"/>
                  </a:lnTo>
                  <a:lnTo>
                    <a:pt x="972300" y="203594"/>
                  </a:lnTo>
                  <a:lnTo>
                    <a:pt x="972300" y="204990"/>
                  </a:lnTo>
                  <a:lnTo>
                    <a:pt x="972300" y="203594"/>
                  </a:lnTo>
                  <a:lnTo>
                    <a:pt x="972401" y="203594"/>
                  </a:lnTo>
                  <a:lnTo>
                    <a:pt x="972401" y="207022"/>
                  </a:lnTo>
                  <a:lnTo>
                    <a:pt x="972401" y="204292"/>
                  </a:lnTo>
                  <a:lnTo>
                    <a:pt x="972401" y="206324"/>
                  </a:lnTo>
                  <a:lnTo>
                    <a:pt x="972452" y="206324"/>
                  </a:lnTo>
                  <a:lnTo>
                    <a:pt x="972452" y="207022"/>
                  </a:lnTo>
                  <a:lnTo>
                    <a:pt x="972452" y="206324"/>
                  </a:lnTo>
                  <a:lnTo>
                    <a:pt x="972503" y="206324"/>
                  </a:lnTo>
                  <a:lnTo>
                    <a:pt x="972503" y="207022"/>
                  </a:lnTo>
                  <a:lnTo>
                    <a:pt x="972503" y="206324"/>
                  </a:lnTo>
                  <a:lnTo>
                    <a:pt x="972503" y="207022"/>
                  </a:lnTo>
                  <a:lnTo>
                    <a:pt x="972554" y="207022"/>
                  </a:lnTo>
                  <a:lnTo>
                    <a:pt x="972554" y="206324"/>
                  </a:lnTo>
                  <a:lnTo>
                    <a:pt x="972554" y="207022"/>
                  </a:lnTo>
                  <a:lnTo>
                    <a:pt x="972554" y="206324"/>
                  </a:lnTo>
                  <a:lnTo>
                    <a:pt x="972554" y="207022"/>
                  </a:lnTo>
                  <a:lnTo>
                    <a:pt x="972554" y="206324"/>
                  </a:lnTo>
                  <a:lnTo>
                    <a:pt x="972554" y="207022"/>
                  </a:lnTo>
                  <a:lnTo>
                    <a:pt x="972554" y="206324"/>
                  </a:lnTo>
                  <a:lnTo>
                    <a:pt x="972643" y="207022"/>
                  </a:lnTo>
                  <a:lnTo>
                    <a:pt x="972643" y="204990"/>
                  </a:lnTo>
                  <a:lnTo>
                    <a:pt x="972643" y="206324"/>
                  </a:lnTo>
                  <a:lnTo>
                    <a:pt x="972643" y="204990"/>
                  </a:lnTo>
                  <a:lnTo>
                    <a:pt x="972643" y="206324"/>
                  </a:lnTo>
                  <a:lnTo>
                    <a:pt x="972693" y="204990"/>
                  </a:lnTo>
                  <a:lnTo>
                    <a:pt x="972693" y="206324"/>
                  </a:lnTo>
                  <a:lnTo>
                    <a:pt x="972693" y="204292"/>
                  </a:lnTo>
                  <a:lnTo>
                    <a:pt x="972693" y="204990"/>
                  </a:lnTo>
                  <a:lnTo>
                    <a:pt x="972693" y="204292"/>
                  </a:lnTo>
                  <a:lnTo>
                    <a:pt x="972744" y="204292"/>
                  </a:lnTo>
                  <a:lnTo>
                    <a:pt x="972744" y="203594"/>
                  </a:lnTo>
                  <a:lnTo>
                    <a:pt x="972744" y="204292"/>
                  </a:lnTo>
                  <a:lnTo>
                    <a:pt x="972744" y="202959"/>
                  </a:lnTo>
                  <a:lnTo>
                    <a:pt x="972744" y="203594"/>
                  </a:lnTo>
                  <a:lnTo>
                    <a:pt x="972795" y="203594"/>
                  </a:lnTo>
                  <a:lnTo>
                    <a:pt x="972795" y="204292"/>
                  </a:lnTo>
                  <a:lnTo>
                    <a:pt x="972795" y="202959"/>
                  </a:lnTo>
                  <a:lnTo>
                    <a:pt x="972795" y="204292"/>
                  </a:lnTo>
                  <a:lnTo>
                    <a:pt x="972897" y="204990"/>
                  </a:lnTo>
                  <a:lnTo>
                    <a:pt x="972897" y="204292"/>
                  </a:lnTo>
                  <a:lnTo>
                    <a:pt x="972897" y="204990"/>
                  </a:lnTo>
                  <a:lnTo>
                    <a:pt x="972947" y="204990"/>
                  </a:lnTo>
                  <a:lnTo>
                    <a:pt x="972947" y="206324"/>
                  </a:lnTo>
                  <a:lnTo>
                    <a:pt x="972947" y="204292"/>
                  </a:lnTo>
                  <a:lnTo>
                    <a:pt x="972947" y="206324"/>
                  </a:lnTo>
                  <a:lnTo>
                    <a:pt x="972998" y="206324"/>
                  </a:lnTo>
                  <a:lnTo>
                    <a:pt x="972998" y="204990"/>
                  </a:lnTo>
                  <a:lnTo>
                    <a:pt x="972998" y="206324"/>
                  </a:lnTo>
                  <a:lnTo>
                    <a:pt x="972998" y="204990"/>
                  </a:lnTo>
                  <a:lnTo>
                    <a:pt x="972998" y="206324"/>
                  </a:lnTo>
                  <a:lnTo>
                    <a:pt x="973100" y="206324"/>
                  </a:lnTo>
                  <a:lnTo>
                    <a:pt x="973100" y="204990"/>
                  </a:lnTo>
                  <a:lnTo>
                    <a:pt x="973100" y="207022"/>
                  </a:lnTo>
                  <a:lnTo>
                    <a:pt x="973100" y="206324"/>
                  </a:lnTo>
                  <a:lnTo>
                    <a:pt x="973138" y="207022"/>
                  </a:lnTo>
                  <a:lnTo>
                    <a:pt x="973138" y="204990"/>
                  </a:lnTo>
                  <a:lnTo>
                    <a:pt x="973189" y="204990"/>
                  </a:lnTo>
                  <a:lnTo>
                    <a:pt x="973189" y="203594"/>
                  </a:lnTo>
                  <a:lnTo>
                    <a:pt x="973189" y="204292"/>
                  </a:lnTo>
                  <a:lnTo>
                    <a:pt x="973189" y="203594"/>
                  </a:lnTo>
                  <a:lnTo>
                    <a:pt x="973240" y="203594"/>
                  </a:lnTo>
                  <a:lnTo>
                    <a:pt x="973240" y="202260"/>
                  </a:lnTo>
                  <a:lnTo>
                    <a:pt x="973240" y="202959"/>
                  </a:lnTo>
                  <a:lnTo>
                    <a:pt x="973240" y="202260"/>
                  </a:lnTo>
                  <a:lnTo>
                    <a:pt x="973240" y="202959"/>
                  </a:lnTo>
                  <a:lnTo>
                    <a:pt x="973240" y="202260"/>
                  </a:lnTo>
                  <a:lnTo>
                    <a:pt x="973341" y="202260"/>
                  </a:lnTo>
                  <a:lnTo>
                    <a:pt x="973341" y="203594"/>
                  </a:lnTo>
                  <a:lnTo>
                    <a:pt x="973341" y="202260"/>
                  </a:lnTo>
                  <a:lnTo>
                    <a:pt x="973341" y="203594"/>
                  </a:lnTo>
                  <a:lnTo>
                    <a:pt x="973392" y="203594"/>
                  </a:lnTo>
                  <a:lnTo>
                    <a:pt x="973392" y="204292"/>
                  </a:lnTo>
                  <a:lnTo>
                    <a:pt x="973392" y="202959"/>
                  </a:lnTo>
                  <a:lnTo>
                    <a:pt x="973392" y="204292"/>
                  </a:lnTo>
                  <a:lnTo>
                    <a:pt x="973392" y="203594"/>
                  </a:lnTo>
                  <a:lnTo>
                    <a:pt x="973392" y="204292"/>
                  </a:lnTo>
                  <a:lnTo>
                    <a:pt x="973443" y="204292"/>
                  </a:lnTo>
                  <a:lnTo>
                    <a:pt x="973443" y="204990"/>
                  </a:lnTo>
                  <a:lnTo>
                    <a:pt x="973443" y="204292"/>
                  </a:lnTo>
                  <a:lnTo>
                    <a:pt x="973443" y="204990"/>
                  </a:lnTo>
                  <a:lnTo>
                    <a:pt x="973544" y="204990"/>
                  </a:lnTo>
                  <a:lnTo>
                    <a:pt x="973544" y="204292"/>
                  </a:lnTo>
                  <a:lnTo>
                    <a:pt x="973544" y="204990"/>
                  </a:lnTo>
                  <a:lnTo>
                    <a:pt x="973544" y="204292"/>
                  </a:lnTo>
                  <a:lnTo>
                    <a:pt x="973544" y="204990"/>
                  </a:lnTo>
                  <a:lnTo>
                    <a:pt x="973595" y="206324"/>
                  </a:lnTo>
                  <a:lnTo>
                    <a:pt x="973595" y="204292"/>
                  </a:lnTo>
                  <a:lnTo>
                    <a:pt x="973595" y="204990"/>
                  </a:lnTo>
                  <a:lnTo>
                    <a:pt x="973646" y="204990"/>
                  </a:lnTo>
                  <a:lnTo>
                    <a:pt x="973646" y="206324"/>
                  </a:lnTo>
                  <a:lnTo>
                    <a:pt x="973646" y="204990"/>
                  </a:lnTo>
                  <a:lnTo>
                    <a:pt x="973684" y="206324"/>
                  </a:lnTo>
                  <a:lnTo>
                    <a:pt x="973684" y="204292"/>
                  </a:lnTo>
                  <a:lnTo>
                    <a:pt x="973786" y="203594"/>
                  </a:lnTo>
                  <a:lnTo>
                    <a:pt x="973786" y="202959"/>
                  </a:lnTo>
                  <a:lnTo>
                    <a:pt x="973786" y="203594"/>
                  </a:lnTo>
                  <a:lnTo>
                    <a:pt x="973786" y="202959"/>
                  </a:lnTo>
                  <a:lnTo>
                    <a:pt x="973837" y="202959"/>
                  </a:lnTo>
                  <a:lnTo>
                    <a:pt x="973837" y="202260"/>
                  </a:lnTo>
                  <a:lnTo>
                    <a:pt x="973837" y="204292"/>
                  </a:lnTo>
                  <a:lnTo>
                    <a:pt x="973887" y="203594"/>
                  </a:lnTo>
                  <a:lnTo>
                    <a:pt x="973887" y="202959"/>
                  </a:lnTo>
                  <a:lnTo>
                    <a:pt x="973887" y="204292"/>
                  </a:lnTo>
                  <a:lnTo>
                    <a:pt x="973989" y="204292"/>
                  </a:lnTo>
                  <a:lnTo>
                    <a:pt x="973989" y="203594"/>
                  </a:lnTo>
                  <a:lnTo>
                    <a:pt x="973989" y="204990"/>
                  </a:lnTo>
                  <a:lnTo>
                    <a:pt x="973989" y="204292"/>
                  </a:lnTo>
                  <a:lnTo>
                    <a:pt x="974040" y="204292"/>
                  </a:lnTo>
                  <a:lnTo>
                    <a:pt x="974040" y="203594"/>
                  </a:lnTo>
                  <a:lnTo>
                    <a:pt x="974040" y="204292"/>
                  </a:lnTo>
                  <a:lnTo>
                    <a:pt x="974091" y="204292"/>
                  </a:lnTo>
                  <a:lnTo>
                    <a:pt x="974091" y="204990"/>
                  </a:lnTo>
                  <a:lnTo>
                    <a:pt x="974091" y="204292"/>
                  </a:lnTo>
                  <a:lnTo>
                    <a:pt x="974091" y="204990"/>
                  </a:lnTo>
                  <a:lnTo>
                    <a:pt x="974091" y="204292"/>
                  </a:lnTo>
                  <a:lnTo>
                    <a:pt x="974141" y="204292"/>
                  </a:lnTo>
                  <a:lnTo>
                    <a:pt x="974141" y="204990"/>
                  </a:lnTo>
                  <a:lnTo>
                    <a:pt x="974141" y="204292"/>
                  </a:lnTo>
                  <a:lnTo>
                    <a:pt x="974141" y="204990"/>
                  </a:lnTo>
                  <a:lnTo>
                    <a:pt x="974141" y="204292"/>
                  </a:lnTo>
                  <a:lnTo>
                    <a:pt x="974230" y="204292"/>
                  </a:lnTo>
                  <a:lnTo>
                    <a:pt x="974230" y="203594"/>
                  </a:lnTo>
                  <a:lnTo>
                    <a:pt x="974230" y="204292"/>
                  </a:lnTo>
                  <a:lnTo>
                    <a:pt x="974230" y="203594"/>
                  </a:lnTo>
                  <a:lnTo>
                    <a:pt x="974281" y="202959"/>
                  </a:lnTo>
                  <a:lnTo>
                    <a:pt x="974281" y="204990"/>
                  </a:lnTo>
                  <a:lnTo>
                    <a:pt x="974281" y="202959"/>
                  </a:lnTo>
                  <a:lnTo>
                    <a:pt x="974281" y="203594"/>
                  </a:lnTo>
                  <a:lnTo>
                    <a:pt x="974332" y="203594"/>
                  </a:lnTo>
                  <a:lnTo>
                    <a:pt x="974332" y="206324"/>
                  </a:lnTo>
                  <a:lnTo>
                    <a:pt x="974332" y="204292"/>
                  </a:lnTo>
                  <a:lnTo>
                    <a:pt x="974332" y="204990"/>
                  </a:lnTo>
                  <a:lnTo>
                    <a:pt x="974383" y="204990"/>
                  </a:lnTo>
                  <a:lnTo>
                    <a:pt x="974383" y="206324"/>
                  </a:lnTo>
                  <a:lnTo>
                    <a:pt x="974383" y="204990"/>
                  </a:lnTo>
                  <a:lnTo>
                    <a:pt x="974383" y="206324"/>
                  </a:lnTo>
                  <a:lnTo>
                    <a:pt x="974383" y="204990"/>
                  </a:lnTo>
                  <a:lnTo>
                    <a:pt x="974484" y="204990"/>
                  </a:lnTo>
                  <a:lnTo>
                    <a:pt x="974484" y="206324"/>
                  </a:lnTo>
                  <a:lnTo>
                    <a:pt x="974484" y="204990"/>
                  </a:lnTo>
                  <a:lnTo>
                    <a:pt x="974484" y="206324"/>
                  </a:lnTo>
                  <a:lnTo>
                    <a:pt x="974484" y="204990"/>
                  </a:lnTo>
                  <a:lnTo>
                    <a:pt x="974484" y="206324"/>
                  </a:lnTo>
                  <a:lnTo>
                    <a:pt x="974535" y="204990"/>
                  </a:lnTo>
                  <a:lnTo>
                    <a:pt x="974535" y="206324"/>
                  </a:lnTo>
                  <a:lnTo>
                    <a:pt x="974535" y="204990"/>
                  </a:lnTo>
                  <a:lnTo>
                    <a:pt x="974535" y="206324"/>
                  </a:lnTo>
                  <a:lnTo>
                    <a:pt x="974535" y="204990"/>
                  </a:lnTo>
                  <a:lnTo>
                    <a:pt x="974535" y="206324"/>
                  </a:lnTo>
                  <a:lnTo>
                    <a:pt x="974586" y="206324"/>
                  </a:lnTo>
                  <a:lnTo>
                    <a:pt x="974586" y="204292"/>
                  </a:lnTo>
                  <a:lnTo>
                    <a:pt x="974586" y="204990"/>
                  </a:lnTo>
                  <a:lnTo>
                    <a:pt x="974687" y="206324"/>
                  </a:lnTo>
                  <a:lnTo>
                    <a:pt x="974687" y="204292"/>
                  </a:lnTo>
                  <a:lnTo>
                    <a:pt x="974687" y="204990"/>
                  </a:lnTo>
                  <a:lnTo>
                    <a:pt x="974726" y="204292"/>
                  </a:lnTo>
                  <a:lnTo>
                    <a:pt x="974726" y="204990"/>
                  </a:lnTo>
                  <a:lnTo>
                    <a:pt x="974726" y="202959"/>
                  </a:lnTo>
                  <a:lnTo>
                    <a:pt x="974726" y="203594"/>
                  </a:lnTo>
                  <a:lnTo>
                    <a:pt x="974776" y="203594"/>
                  </a:lnTo>
                  <a:lnTo>
                    <a:pt x="974776" y="204990"/>
                  </a:lnTo>
                  <a:lnTo>
                    <a:pt x="974776" y="202959"/>
                  </a:lnTo>
                  <a:lnTo>
                    <a:pt x="974776" y="204292"/>
                  </a:lnTo>
                  <a:lnTo>
                    <a:pt x="974827" y="204292"/>
                  </a:lnTo>
                  <a:lnTo>
                    <a:pt x="974827" y="207022"/>
                  </a:lnTo>
                  <a:lnTo>
                    <a:pt x="974827" y="204292"/>
                  </a:lnTo>
                  <a:lnTo>
                    <a:pt x="974827" y="204990"/>
                  </a:lnTo>
                  <a:lnTo>
                    <a:pt x="974929" y="204990"/>
                  </a:lnTo>
                  <a:lnTo>
                    <a:pt x="974929" y="206324"/>
                  </a:lnTo>
                  <a:lnTo>
                    <a:pt x="974980" y="206324"/>
                  </a:lnTo>
                  <a:lnTo>
                    <a:pt x="974980" y="204990"/>
                  </a:lnTo>
                  <a:lnTo>
                    <a:pt x="974980" y="207022"/>
                  </a:lnTo>
                  <a:lnTo>
                    <a:pt x="974980" y="204990"/>
                  </a:lnTo>
                  <a:lnTo>
                    <a:pt x="975030" y="204990"/>
                  </a:lnTo>
                  <a:lnTo>
                    <a:pt x="975030" y="206324"/>
                  </a:lnTo>
                  <a:lnTo>
                    <a:pt x="975030" y="204990"/>
                  </a:lnTo>
                  <a:lnTo>
                    <a:pt x="975030" y="206324"/>
                  </a:lnTo>
                  <a:lnTo>
                    <a:pt x="975030" y="204990"/>
                  </a:lnTo>
                  <a:lnTo>
                    <a:pt x="975030" y="206324"/>
                  </a:lnTo>
                  <a:lnTo>
                    <a:pt x="975030" y="204990"/>
                  </a:lnTo>
                  <a:lnTo>
                    <a:pt x="975030" y="206324"/>
                  </a:lnTo>
                  <a:lnTo>
                    <a:pt x="975132" y="206324"/>
                  </a:lnTo>
                  <a:lnTo>
                    <a:pt x="975132" y="204990"/>
                  </a:lnTo>
                  <a:lnTo>
                    <a:pt x="975132" y="206324"/>
                  </a:lnTo>
                  <a:lnTo>
                    <a:pt x="975132" y="204292"/>
                  </a:lnTo>
                  <a:lnTo>
                    <a:pt x="975132" y="204990"/>
                  </a:lnTo>
                  <a:lnTo>
                    <a:pt x="975183" y="204990"/>
                  </a:lnTo>
                  <a:lnTo>
                    <a:pt x="975183" y="204292"/>
                  </a:lnTo>
                  <a:lnTo>
                    <a:pt x="975183" y="204990"/>
                  </a:lnTo>
                  <a:lnTo>
                    <a:pt x="975183" y="203594"/>
                  </a:lnTo>
                  <a:lnTo>
                    <a:pt x="975183" y="204292"/>
                  </a:lnTo>
                  <a:lnTo>
                    <a:pt x="975183" y="203594"/>
                  </a:lnTo>
                  <a:lnTo>
                    <a:pt x="975183" y="204292"/>
                  </a:lnTo>
                  <a:lnTo>
                    <a:pt x="975183" y="203594"/>
                  </a:lnTo>
                  <a:lnTo>
                    <a:pt x="975183" y="204292"/>
                  </a:lnTo>
                  <a:lnTo>
                    <a:pt x="975233" y="204292"/>
                  </a:lnTo>
                  <a:lnTo>
                    <a:pt x="975233" y="202260"/>
                  </a:lnTo>
                  <a:lnTo>
                    <a:pt x="975233" y="202959"/>
                  </a:lnTo>
                  <a:lnTo>
                    <a:pt x="975233" y="200876"/>
                  </a:lnTo>
                  <a:lnTo>
                    <a:pt x="975233" y="202260"/>
                  </a:lnTo>
                  <a:lnTo>
                    <a:pt x="975272" y="202959"/>
                  </a:lnTo>
                  <a:lnTo>
                    <a:pt x="975272" y="203594"/>
                  </a:lnTo>
                  <a:lnTo>
                    <a:pt x="975272" y="202260"/>
                  </a:lnTo>
                  <a:lnTo>
                    <a:pt x="975272" y="202959"/>
                  </a:lnTo>
                  <a:lnTo>
                    <a:pt x="975272" y="202260"/>
                  </a:lnTo>
                  <a:lnTo>
                    <a:pt x="975272" y="204990"/>
                  </a:lnTo>
                  <a:lnTo>
                    <a:pt x="975373" y="204990"/>
                  </a:lnTo>
                  <a:lnTo>
                    <a:pt x="975373" y="203594"/>
                  </a:lnTo>
                  <a:lnTo>
                    <a:pt x="975373" y="204292"/>
                  </a:lnTo>
                  <a:lnTo>
                    <a:pt x="975424" y="204292"/>
                  </a:lnTo>
                  <a:lnTo>
                    <a:pt x="975424" y="206324"/>
                  </a:lnTo>
                  <a:lnTo>
                    <a:pt x="975424" y="204292"/>
                  </a:lnTo>
                  <a:lnTo>
                    <a:pt x="975424" y="204990"/>
                  </a:lnTo>
                  <a:lnTo>
                    <a:pt x="975424" y="204292"/>
                  </a:lnTo>
                  <a:lnTo>
                    <a:pt x="975424" y="206324"/>
                  </a:lnTo>
                  <a:lnTo>
                    <a:pt x="975475" y="206324"/>
                  </a:lnTo>
                  <a:lnTo>
                    <a:pt x="975475" y="204990"/>
                  </a:lnTo>
                  <a:lnTo>
                    <a:pt x="975475" y="206324"/>
                  </a:lnTo>
                  <a:lnTo>
                    <a:pt x="975627" y="206324"/>
                  </a:lnTo>
                  <a:lnTo>
                    <a:pt x="975627" y="204990"/>
                  </a:lnTo>
                  <a:lnTo>
                    <a:pt x="975627" y="206324"/>
                  </a:lnTo>
                  <a:lnTo>
                    <a:pt x="975627" y="204990"/>
                  </a:lnTo>
                  <a:lnTo>
                    <a:pt x="975627" y="206324"/>
                  </a:lnTo>
                  <a:lnTo>
                    <a:pt x="975627" y="204990"/>
                  </a:lnTo>
                  <a:lnTo>
                    <a:pt x="975678" y="204990"/>
                  </a:lnTo>
                  <a:lnTo>
                    <a:pt x="975678" y="204292"/>
                  </a:lnTo>
                  <a:lnTo>
                    <a:pt x="975678" y="204990"/>
                  </a:lnTo>
                  <a:lnTo>
                    <a:pt x="975678" y="204292"/>
                  </a:lnTo>
                  <a:lnTo>
                    <a:pt x="975729" y="204292"/>
                  </a:lnTo>
                  <a:lnTo>
                    <a:pt x="975729" y="202260"/>
                  </a:lnTo>
                  <a:lnTo>
                    <a:pt x="975729" y="202959"/>
                  </a:lnTo>
                  <a:lnTo>
                    <a:pt x="975818" y="202959"/>
                  </a:lnTo>
                  <a:lnTo>
                    <a:pt x="975818" y="203594"/>
                  </a:lnTo>
                  <a:lnTo>
                    <a:pt x="975818" y="202260"/>
                  </a:lnTo>
                  <a:lnTo>
                    <a:pt x="975818" y="204990"/>
                  </a:lnTo>
                  <a:lnTo>
                    <a:pt x="975868" y="204292"/>
                  </a:lnTo>
                  <a:lnTo>
                    <a:pt x="975868" y="203594"/>
                  </a:lnTo>
                  <a:lnTo>
                    <a:pt x="975868" y="204990"/>
                  </a:lnTo>
                  <a:lnTo>
                    <a:pt x="975868" y="204292"/>
                  </a:lnTo>
                  <a:lnTo>
                    <a:pt x="975919" y="204292"/>
                  </a:lnTo>
                  <a:lnTo>
                    <a:pt x="975919" y="203594"/>
                  </a:lnTo>
                  <a:lnTo>
                    <a:pt x="975919" y="204990"/>
                  </a:lnTo>
                  <a:lnTo>
                    <a:pt x="975919" y="204292"/>
                  </a:lnTo>
                  <a:lnTo>
                    <a:pt x="975919" y="204990"/>
                  </a:lnTo>
                  <a:lnTo>
                    <a:pt x="975919" y="204292"/>
                  </a:lnTo>
                  <a:lnTo>
                    <a:pt x="975970" y="204292"/>
                  </a:lnTo>
                  <a:lnTo>
                    <a:pt x="975970" y="204990"/>
                  </a:lnTo>
                  <a:lnTo>
                    <a:pt x="975970" y="204292"/>
                  </a:lnTo>
                  <a:lnTo>
                    <a:pt x="975970" y="204990"/>
                  </a:lnTo>
                  <a:lnTo>
                    <a:pt x="976072" y="204990"/>
                  </a:lnTo>
                  <a:lnTo>
                    <a:pt x="976072" y="206324"/>
                  </a:lnTo>
                  <a:lnTo>
                    <a:pt x="976072" y="204990"/>
                  </a:lnTo>
                  <a:lnTo>
                    <a:pt x="976072" y="206324"/>
                  </a:lnTo>
                  <a:lnTo>
                    <a:pt x="976122" y="206324"/>
                  </a:lnTo>
                  <a:lnTo>
                    <a:pt x="976122" y="204990"/>
                  </a:lnTo>
                  <a:lnTo>
                    <a:pt x="976122" y="206324"/>
                  </a:lnTo>
                  <a:lnTo>
                    <a:pt x="976122" y="204990"/>
                  </a:lnTo>
                  <a:lnTo>
                    <a:pt x="976122" y="206324"/>
                  </a:lnTo>
                  <a:lnTo>
                    <a:pt x="976122" y="204990"/>
                  </a:lnTo>
                  <a:lnTo>
                    <a:pt x="976173" y="204990"/>
                  </a:lnTo>
                  <a:lnTo>
                    <a:pt x="976173" y="202959"/>
                  </a:lnTo>
                  <a:lnTo>
                    <a:pt x="976275" y="202959"/>
                  </a:lnTo>
                  <a:lnTo>
                    <a:pt x="976275" y="200876"/>
                  </a:lnTo>
                  <a:lnTo>
                    <a:pt x="976275" y="202260"/>
                  </a:lnTo>
                  <a:lnTo>
                    <a:pt x="976313" y="202260"/>
                  </a:lnTo>
                  <a:lnTo>
                    <a:pt x="976313" y="203594"/>
                  </a:lnTo>
                  <a:lnTo>
                    <a:pt x="976364" y="203594"/>
                  </a:lnTo>
                  <a:lnTo>
                    <a:pt x="976364" y="202959"/>
                  </a:lnTo>
                  <a:lnTo>
                    <a:pt x="976364" y="203594"/>
                  </a:lnTo>
                  <a:lnTo>
                    <a:pt x="976415" y="203594"/>
                  </a:lnTo>
                  <a:lnTo>
                    <a:pt x="976415" y="202959"/>
                  </a:lnTo>
                  <a:lnTo>
                    <a:pt x="976415" y="203594"/>
                  </a:lnTo>
                  <a:lnTo>
                    <a:pt x="976415" y="202959"/>
                  </a:lnTo>
                  <a:lnTo>
                    <a:pt x="976415" y="203594"/>
                  </a:lnTo>
                  <a:lnTo>
                    <a:pt x="976516" y="203594"/>
                  </a:lnTo>
                  <a:lnTo>
                    <a:pt x="976516" y="204292"/>
                  </a:lnTo>
                  <a:lnTo>
                    <a:pt x="976516" y="203594"/>
                  </a:lnTo>
                  <a:lnTo>
                    <a:pt x="976516" y="204292"/>
                  </a:lnTo>
                  <a:lnTo>
                    <a:pt x="976516" y="203594"/>
                  </a:lnTo>
                  <a:lnTo>
                    <a:pt x="976516" y="204292"/>
                  </a:lnTo>
                  <a:lnTo>
                    <a:pt x="976567" y="204292"/>
                  </a:lnTo>
                  <a:lnTo>
                    <a:pt x="976567" y="204990"/>
                  </a:lnTo>
                  <a:lnTo>
                    <a:pt x="976567" y="204292"/>
                  </a:lnTo>
                  <a:lnTo>
                    <a:pt x="976618" y="204292"/>
                  </a:lnTo>
                  <a:lnTo>
                    <a:pt x="976618" y="204990"/>
                  </a:lnTo>
                  <a:lnTo>
                    <a:pt x="976618" y="204292"/>
                  </a:lnTo>
                  <a:lnTo>
                    <a:pt x="976618" y="204990"/>
                  </a:lnTo>
                  <a:lnTo>
                    <a:pt x="976618" y="204292"/>
                  </a:lnTo>
                  <a:lnTo>
                    <a:pt x="976618" y="204990"/>
                  </a:lnTo>
                  <a:lnTo>
                    <a:pt x="976719" y="204990"/>
                  </a:lnTo>
                  <a:lnTo>
                    <a:pt x="976719" y="203594"/>
                  </a:lnTo>
                  <a:lnTo>
                    <a:pt x="976719" y="204292"/>
                  </a:lnTo>
                  <a:lnTo>
                    <a:pt x="976719" y="202959"/>
                  </a:lnTo>
                  <a:lnTo>
                    <a:pt x="976770" y="202959"/>
                  </a:lnTo>
                  <a:lnTo>
                    <a:pt x="976770" y="203594"/>
                  </a:lnTo>
                  <a:lnTo>
                    <a:pt x="976770" y="200876"/>
                  </a:lnTo>
                  <a:lnTo>
                    <a:pt x="976770" y="202959"/>
                  </a:lnTo>
                  <a:lnTo>
                    <a:pt x="976821" y="202959"/>
                  </a:lnTo>
                  <a:lnTo>
                    <a:pt x="976821" y="200876"/>
                  </a:lnTo>
                  <a:lnTo>
                    <a:pt x="976821" y="204292"/>
                  </a:lnTo>
                  <a:lnTo>
                    <a:pt x="976821" y="203594"/>
                  </a:lnTo>
                  <a:lnTo>
                    <a:pt x="976821" y="204292"/>
                  </a:lnTo>
                  <a:lnTo>
                    <a:pt x="976821" y="203594"/>
                  </a:lnTo>
                  <a:lnTo>
                    <a:pt x="976859" y="203594"/>
                  </a:lnTo>
                  <a:lnTo>
                    <a:pt x="976859" y="202260"/>
                  </a:lnTo>
                  <a:lnTo>
                    <a:pt x="976859" y="204292"/>
                  </a:lnTo>
                  <a:lnTo>
                    <a:pt x="976859" y="202959"/>
                  </a:lnTo>
                  <a:lnTo>
                    <a:pt x="976961" y="202959"/>
                  </a:lnTo>
                  <a:lnTo>
                    <a:pt x="976961" y="203594"/>
                  </a:lnTo>
                  <a:lnTo>
                    <a:pt x="976961" y="202959"/>
                  </a:lnTo>
                  <a:lnTo>
                    <a:pt x="976961" y="203594"/>
                  </a:lnTo>
                  <a:lnTo>
                    <a:pt x="976961" y="202959"/>
                  </a:lnTo>
                  <a:lnTo>
                    <a:pt x="976961" y="203594"/>
                  </a:lnTo>
                  <a:lnTo>
                    <a:pt x="977012" y="203594"/>
                  </a:lnTo>
                  <a:lnTo>
                    <a:pt x="977012" y="202959"/>
                  </a:lnTo>
                  <a:lnTo>
                    <a:pt x="977012" y="203594"/>
                  </a:lnTo>
                  <a:lnTo>
                    <a:pt x="977012" y="202959"/>
                  </a:lnTo>
                  <a:lnTo>
                    <a:pt x="977012" y="203594"/>
                  </a:lnTo>
                  <a:lnTo>
                    <a:pt x="977062" y="203594"/>
                  </a:lnTo>
                  <a:lnTo>
                    <a:pt x="977062" y="204292"/>
                  </a:lnTo>
                  <a:lnTo>
                    <a:pt x="977062" y="203594"/>
                  </a:lnTo>
                  <a:lnTo>
                    <a:pt x="977062" y="204990"/>
                  </a:lnTo>
                  <a:lnTo>
                    <a:pt x="977062" y="204292"/>
                  </a:lnTo>
                  <a:lnTo>
                    <a:pt x="977062" y="204990"/>
                  </a:lnTo>
                  <a:lnTo>
                    <a:pt x="977164" y="204292"/>
                  </a:lnTo>
                  <a:lnTo>
                    <a:pt x="977164" y="204990"/>
                  </a:lnTo>
                  <a:lnTo>
                    <a:pt x="977164" y="203594"/>
                  </a:lnTo>
                  <a:lnTo>
                    <a:pt x="977164" y="204292"/>
                  </a:lnTo>
                  <a:lnTo>
                    <a:pt x="977215" y="204292"/>
                  </a:lnTo>
                  <a:lnTo>
                    <a:pt x="977215" y="202959"/>
                  </a:lnTo>
                  <a:lnTo>
                    <a:pt x="977215" y="203594"/>
                  </a:lnTo>
                  <a:lnTo>
                    <a:pt x="977215" y="202959"/>
                  </a:lnTo>
                  <a:lnTo>
                    <a:pt x="977215" y="203594"/>
                  </a:lnTo>
                  <a:lnTo>
                    <a:pt x="977266" y="203594"/>
                  </a:lnTo>
                  <a:lnTo>
                    <a:pt x="977266" y="204292"/>
                  </a:lnTo>
                  <a:lnTo>
                    <a:pt x="977266" y="202959"/>
                  </a:lnTo>
                  <a:lnTo>
                    <a:pt x="977266" y="203594"/>
                  </a:lnTo>
                  <a:lnTo>
                    <a:pt x="977266" y="202959"/>
                  </a:lnTo>
                  <a:lnTo>
                    <a:pt x="977266" y="203594"/>
                  </a:lnTo>
                  <a:lnTo>
                    <a:pt x="977266" y="202959"/>
                  </a:lnTo>
                  <a:lnTo>
                    <a:pt x="977316" y="203594"/>
                  </a:lnTo>
                  <a:lnTo>
                    <a:pt x="977316" y="204990"/>
                  </a:lnTo>
                  <a:lnTo>
                    <a:pt x="977316" y="204292"/>
                  </a:lnTo>
                  <a:lnTo>
                    <a:pt x="977316" y="204990"/>
                  </a:lnTo>
                  <a:lnTo>
                    <a:pt x="977405" y="204990"/>
                  </a:lnTo>
                  <a:lnTo>
                    <a:pt x="977405" y="204292"/>
                  </a:lnTo>
                  <a:lnTo>
                    <a:pt x="977405" y="204990"/>
                  </a:lnTo>
                  <a:lnTo>
                    <a:pt x="977456" y="204990"/>
                  </a:lnTo>
                  <a:lnTo>
                    <a:pt x="977456" y="204292"/>
                  </a:lnTo>
                  <a:lnTo>
                    <a:pt x="977456" y="204990"/>
                  </a:lnTo>
                  <a:lnTo>
                    <a:pt x="977456" y="204292"/>
                  </a:lnTo>
                  <a:lnTo>
                    <a:pt x="977456" y="204990"/>
                  </a:lnTo>
                  <a:lnTo>
                    <a:pt x="977507" y="204990"/>
                  </a:lnTo>
                  <a:lnTo>
                    <a:pt x="977507" y="204292"/>
                  </a:lnTo>
                  <a:lnTo>
                    <a:pt x="977507" y="204990"/>
                  </a:lnTo>
                  <a:lnTo>
                    <a:pt x="977507" y="204292"/>
                  </a:lnTo>
                  <a:lnTo>
                    <a:pt x="977507" y="204990"/>
                  </a:lnTo>
                  <a:lnTo>
                    <a:pt x="977507" y="204292"/>
                  </a:lnTo>
                  <a:lnTo>
                    <a:pt x="977558" y="204292"/>
                  </a:lnTo>
                  <a:lnTo>
                    <a:pt x="977558" y="204990"/>
                  </a:lnTo>
                  <a:lnTo>
                    <a:pt x="977558" y="204292"/>
                  </a:lnTo>
                  <a:lnTo>
                    <a:pt x="977558" y="204990"/>
                  </a:lnTo>
                  <a:lnTo>
                    <a:pt x="977659" y="204292"/>
                  </a:lnTo>
                  <a:lnTo>
                    <a:pt x="977659" y="204990"/>
                  </a:lnTo>
                  <a:lnTo>
                    <a:pt x="977659" y="203594"/>
                  </a:lnTo>
                  <a:lnTo>
                    <a:pt x="977659" y="204292"/>
                  </a:lnTo>
                  <a:lnTo>
                    <a:pt x="977659" y="203594"/>
                  </a:lnTo>
                  <a:lnTo>
                    <a:pt x="977659" y="204292"/>
                  </a:lnTo>
                  <a:lnTo>
                    <a:pt x="977659" y="203594"/>
                  </a:lnTo>
                  <a:lnTo>
                    <a:pt x="977710" y="203594"/>
                  </a:lnTo>
                  <a:lnTo>
                    <a:pt x="977710" y="202959"/>
                  </a:lnTo>
                  <a:lnTo>
                    <a:pt x="977710" y="203594"/>
                  </a:lnTo>
                  <a:lnTo>
                    <a:pt x="977710" y="202959"/>
                  </a:lnTo>
                  <a:lnTo>
                    <a:pt x="977710" y="203594"/>
                  </a:lnTo>
                  <a:lnTo>
                    <a:pt x="977761" y="203594"/>
                  </a:lnTo>
                  <a:lnTo>
                    <a:pt x="977761" y="204990"/>
                  </a:lnTo>
                  <a:lnTo>
                    <a:pt x="977862" y="204990"/>
                  </a:lnTo>
                  <a:lnTo>
                    <a:pt x="977862" y="206324"/>
                  </a:lnTo>
                  <a:lnTo>
                    <a:pt x="977862" y="204990"/>
                  </a:lnTo>
                  <a:lnTo>
                    <a:pt x="977862" y="206324"/>
                  </a:lnTo>
                  <a:lnTo>
                    <a:pt x="977901" y="206324"/>
                  </a:lnTo>
                  <a:lnTo>
                    <a:pt x="977901" y="204990"/>
                  </a:lnTo>
                  <a:lnTo>
                    <a:pt x="977901" y="206324"/>
                  </a:lnTo>
                  <a:lnTo>
                    <a:pt x="977901" y="204990"/>
                  </a:lnTo>
                  <a:lnTo>
                    <a:pt x="977901" y="206324"/>
                  </a:lnTo>
                  <a:lnTo>
                    <a:pt x="977901" y="204990"/>
                  </a:lnTo>
                  <a:lnTo>
                    <a:pt x="977901" y="206324"/>
                  </a:lnTo>
                  <a:lnTo>
                    <a:pt x="977901" y="204990"/>
                  </a:lnTo>
                  <a:lnTo>
                    <a:pt x="977951" y="204990"/>
                  </a:lnTo>
                  <a:lnTo>
                    <a:pt x="977951" y="206324"/>
                  </a:lnTo>
                  <a:lnTo>
                    <a:pt x="977951" y="204990"/>
                  </a:lnTo>
                  <a:lnTo>
                    <a:pt x="977951" y="206324"/>
                  </a:lnTo>
                  <a:lnTo>
                    <a:pt x="978002" y="206324"/>
                  </a:lnTo>
                  <a:lnTo>
                    <a:pt x="978002" y="204990"/>
                  </a:lnTo>
                  <a:lnTo>
                    <a:pt x="978002" y="206324"/>
                  </a:lnTo>
                  <a:lnTo>
                    <a:pt x="978002" y="204990"/>
                  </a:lnTo>
                  <a:lnTo>
                    <a:pt x="978002" y="206324"/>
                  </a:lnTo>
                  <a:lnTo>
                    <a:pt x="978002" y="204990"/>
                  </a:lnTo>
                  <a:lnTo>
                    <a:pt x="978002" y="206324"/>
                  </a:lnTo>
                  <a:lnTo>
                    <a:pt x="978104" y="204990"/>
                  </a:lnTo>
                  <a:lnTo>
                    <a:pt x="978104" y="206324"/>
                  </a:lnTo>
                  <a:lnTo>
                    <a:pt x="978104" y="204292"/>
                  </a:lnTo>
                  <a:lnTo>
                    <a:pt x="978155" y="204990"/>
                  </a:lnTo>
                  <a:lnTo>
                    <a:pt x="978155" y="203594"/>
                  </a:lnTo>
                  <a:lnTo>
                    <a:pt x="978155" y="204292"/>
                  </a:lnTo>
                  <a:lnTo>
                    <a:pt x="978155" y="202959"/>
                  </a:lnTo>
                  <a:lnTo>
                    <a:pt x="978205" y="202959"/>
                  </a:lnTo>
                  <a:lnTo>
                    <a:pt x="978205" y="202260"/>
                  </a:lnTo>
                  <a:lnTo>
                    <a:pt x="978205" y="202959"/>
                  </a:lnTo>
                  <a:lnTo>
                    <a:pt x="978205" y="202260"/>
                  </a:lnTo>
                  <a:lnTo>
                    <a:pt x="978205" y="202959"/>
                  </a:lnTo>
                  <a:lnTo>
                    <a:pt x="978307" y="202959"/>
                  </a:lnTo>
                  <a:lnTo>
                    <a:pt x="978307" y="203594"/>
                  </a:lnTo>
                  <a:lnTo>
                    <a:pt x="978307" y="202959"/>
                  </a:lnTo>
                  <a:lnTo>
                    <a:pt x="978307" y="203594"/>
                  </a:lnTo>
                  <a:lnTo>
                    <a:pt x="978307" y="202959"/>
                  </a:lnTo>
                  <a:lnTo>
                    <a:pt x="978307" y="204990"/>
                  </a:lnTo>
                  <a:lnTo>
                    <a:pt x="978358" y="204292"/>
                  </a:lnTo>
                  <a:lnTo>
                    <a:pt x="978358" y="204990"/>
                  </a:lnTo>
                  <a:lnTo>
                    <a:pt x="978358" y="204292"/>
                  </a:lnTo>
                  <a:lnTo>
                    <a:pt x="978358" y="206324"/>
                  </a:lnTo>
                  <a:lnTo>
                    <a:pt x="978358" y="204990"/>
                  </a:lnTo>
                  <a:lnTo>
                    <a:pt x="978447" y="204990"/>
                  </a:lnTo>
                  <a:lnTo>
                    <a:pt x="978447" y="206324"/>
                  </a:lnTo>
                  <a:lnTo>
                    <a:pt x="978447" y="204990"/>
                  </a:lnTo>
                  <a:lnTo>
                    <a:pt x="978447" y="206324"/>
                  </a:lnTo>
                  <a:lnTo>
                    <a:pt x="978548" y="206324"/>
                  </a:lnTo>
                  <a:lnTo>
                    <a:pt x="978548" y="207022"/>
                  </a:lnTo>
                  <a:lnTo>
                    <a:pt x="978548" y="206324"/>
                  </a:lnTo>
                  <a:lnTo>
                    <a:pt x="978548" y="207022"/>
                  </a:lnTo>
                  <a:lnTo>
                    <a:pt x="978548" y="206324"/>
                  </a:lnTo>
                  <a:lnTo>
                    <a:pt x="978548" y="207022"/>
                  </a:lnTo>
                  <a:lnTo>
                    <a:pt x="978599" y="206324"/>
                  </a:lnTo>
                  <a:lnTo>
                    <a:pt x="978599" y="207022"/>
                  </a:lnTo>
                  <a:lnTo>
                    <a:pt x="978599" y="204990"/>
                  </a:lnTo>
                  <a:lnTo>
                    <a:pt x="978599" y="206324"/>
                  </a:lnTo>
                  <a:lnTo>
                    <a:pt x="978650" y="204990"/>
                  </a:lnTo>
                  <a:lnTo>
                    <a:pt x="978650" y="203594"/>
                  </a:lnTo>
                  <a:lnTo>
                    <a:pt x="978650" y="204292"/>
                  </a:lnTo>
                  <a:lnTo>
                    <a:pt x="978650" y="202959"/>
                  </a:lnTo>
                  <a:lnTo>
                    <a:pt x="978751" y="203594"/>
                  </a:lnTo>
                  <a:lnTo>
                    <a:pt x="978751" y="204292"/>
                  </a:lnTo>
                  <a:lnTo>
                    <a:pt x="978751" y="203594"/>
                  </a:lnTo>
                  <a:lnTo>
                    <a:pt x="978802" y="203594"/>
                  </a:lnTo>
                  <a:lnTo>
                    <a:pt x="978802" y="204990"/>
                  </a:lnTo>
                  <a:lnTo>
                    <a:pt x="978802" y="204292"/>
                  </a:lnTo>
                  <a:lnTo>
                    <a:pt x="978802" y="204990"/>
                  </a:lnTo>
                  <a:lnTo>
                    <a:pt x="978853" y="204990"/>
                  </a:lnTo>
                  <a:lnTo>
                    <a:pt x="978853" y="206324"/>
                  </a:lnTo>
                  <a:lnTo>
                    <a:pt x="978853" y="204292"/>
                  </a:lnTo>
                  <a:lnTo>
                    <a:pt x="978853" y="204990"/>
                  </a:lnTo>
                  <a:lnTo>
                    <a:pt x="978853" y="204292"/>
                  </a:lnTo>
                  <a:lnTo>
                    <a:pt x="978904" y="204292"/>
                  </a:lnTo>
                  <a:lnTo>
                    <a:pt x="978904" y="204990"/>
                  </a:lnTo>
                  <a:lnTo>
                    <a:pt x="978904" y="204292"/>
                  </a:lnTo>
                  <a:lnTo>
                    <a:pt x="978904" y="206324"/>
                  </a:lnTo>
                  <a:lnTo>
                    <a:pt x="978904" y="204990"/>
                  </a:lnTo>
                  <a:lnTo>
                    <a:pt x="978993" y="204990"/>
                  </a:lnTo>
                  <a:lnTo>
                    <a:pt x="978993" y="206324"/>
                  </a:lnTo>
                  <a:lnTo>
                    <a:pt x="978993" y="204990"/>
                  </a:lnTo>
                  <a:lnTo>
                    <a:pt x="978993" y="206324"/>
                  </a:lnTo>
                  <a:lnTo>
                    <a:pt x="978993" y="204990"/>
                  </a:lnTo>
                  <a:lnTo>
                    <a:pt x="978993" y="206324"/>
                  </a:lnTo>
                  <a:lnTo>
                    <a:pt x="979043" y="206324"/>
                  </a:lnTo>
                  <a:lnTo>
                    <a:pt x="979043" y="204990"/>
                  </a:lnTo>
                  <a:lnTo>
                    <a:pt x="979043" y="206324"/>
                  </a:lnTo>
                  <a:lnTo>
                    <a:pt x="979094" y="206324"/>
                  </a:lnTo>
                  <a:lnTo>
                    <a:pt x="979094" y="204990"/>
                  </a:lnTo>
                  <a:lnTo>
                    <a:pt x="979094" y="206324"/>
                  </a:lnTo>
                  <a:lnTo>
                    <a:pt x="979094" y="203594"/>
                  </a:lnTo>
                  <a:lnTo>
                    <a:pt x="979145" y="203594"/>
                  </a:lnTo>
                  <a:lnTo>
                    <a:pt x="979145" y="202260"/>
                  </a:lnTo>
                  <a:lnTo>
                    <a:pt x="979247" y="202260"/>
                  </a:lnTo>
                  <a:lnTo>
                    <a:pt x="979247" y="200876"/>
                  </a:lnTo>
                  <a:lnTo>
                    <a:pt x="979247" y="203594"/>
                  </a:lnTo>
                  <a:lnTo>
                    <a:pt x="979247" y="202260"/>
                  </a:lnTo>
                  <a:lnTo>
                    <a:pt x="979297" y="200876"/>
                  </a:lnTo>
                  <a:lnTo>
                    <a:pt x="979297" y="204292"/>
                  </a:lnTo>
                  <a:lnTo>
                    <a:pt x="979297" y="202959"/>
                  </a:lnTo>
                  <a:lnTo>
                    <a:pt x="979297" y="203594"/>
                  </a:lnTo>
                  <a:lnTo>
                    <a:pt x="979297" y="202959"/>
                  </a:lnTo>
                  <a:lnTo>
                    <a:pt x="979348" y="203594"/>
                  </a:lnTo>
                  <a:lnTo>
                    <a:pt x="979348" y="204990"/>
                  </a:lnTo>
                  <a:lnTo>
                    <a:pt x="979348" y="203594"/>
                  </a:lnTo>
                  <a:lnTo>
                    <a:pt x="979348" y="204292"/>
                  </a:lnTo>
                  <a:lnTo>
                    <a:pt x="979450" y="204292"/>
                  </a:lnTo>
                  <a:lnTo>
                    <a:pt x="979488" y="204990"/>
                  </a:lnTo>
                  <a:lnTo>
                    <a:pt x="979488" y="206324"/>
                  </a:lnTo>
                  <a:lnTo>
                    <a:pt x="979539" y="204990"/>
                  </a:lnTo>
                  <a:lnTo>
                    <a:pt x="979539" y="206324"/>
                  </a:lnTo>
                  <a:lnTo>
                    <a:pt x="979539" y="204990"/>
                  </a:lnTo>
                  <a:lnTo>
                    <a:pt x="979539" y="206324"/>
                  </a:lnTo>
                  <a:lnTo>
                    <a:pt x="979539" y="204990"/>
                  </a:lnTo>
                  <a:lnTo>
                    <a:pt x="979539" y="206324"/>
                  </a:lnTo>
                  <a:lnTo>
                    <a:pt x="979539" y="204990"/>
                  </a:lnTo>
                  <a:lnTo>
                    <a:pt x="979590" y="204990"/>
                  </a:lnTo>
                  <a:lnTo>
                    <a:pt x="979590" y="203594"/>
                  </a:lnTo>
                  <a:lnTo>
                    <a:pt x="979590" y="204292"/>
                  </a:lnTo>
                  <a:lnTo>
                    <a:pt x="979590" y="203594"/>
                  </a:lnTo>
                  <a:lnTo>
                    <a:pt x="979590" y="204292"/>
                  </a:lnTo>
                  <a:lnTo>
                    <a:pt x="979590" y="203594"/>
                  </a:lnTo>
                  <a:lnTo>
                    <a:pt x="979691" y="203594"/>
                  </a:lnTo>
                  <a:lnTo>
                    <a:pt x="979691" y="202959"/>
                  </a:lnTo>
                  <a:lnTo>
                    <a:pt x="979691" y="203594"/>
                  </a:lnTo>
                  <a:lnTo>
                    <a:pt x="979691" y="202260"/>
                  </a:lnTo>
                  <a:lnTo>
                    <a:pt x="979742" y="202260"/>
                  </a:lnTo>
                  <a:lnTo>
                    <a:pt x="979742" y="202959"/>
                  </a:lnTo>
                  <a:lnTo>
                    <a:pt x="979742" y="202260"/>
                  </a:lnTo>
                  <a:lnTo>
                    <a:pt x="979742" y="203594"/>
                  </a:lnTo>
                  <a:lnTo>
                    <a:pt x="979793" y="203594"/>
                  </a:lnTo>
                  <a:lnTo>
                    <a:pt x="979793" y="204292"/>
                  </a:lnTo>
                  <a:lnTo>
                    <a:pt x="979793" y="202959"/>
                  </a:lnTo>
                  <a:lnTo>
                    <a:pt x="979793" y="203594"/>
                  </a:lnTo>
                  <a:lnTo>
                    <a:pt x="979894" y="203594"/>
                  </a:lnTo>
                  <a:lnTo>
                    <a:pt x="979894" y="202959"/>
                  </a:lnTo>
                  <a:lnTo>
                    <a:pt x="979894" y="203594"/>
                  </a:lnTo>
                  <a:lnTo>
                    <a:pt x="979894" y="202959"/>
                  </a:lnTo>
                  <a:lnTo>
                    <a:pt x="979894" y="203594"/>
                  </a:lnTo>
                  <a:lnTo>
                    <a:pt x="979945" y="203594"/>
                  </a:lnTo>
                  <a:lnTo>
                    <a:pt x="979945" y="202959"/>
                  </a:lnTo>
                  <a:lnTo>
                    <a:pt x="979945" y="204292"/>
                  </a:lnTo>
                  <a:lnTo>
                    <a:pt x="979945" y="203594"/>
                  </a:lnTo>
                  <a:lnTo>
                    <a:pt x="979996" y="204292"/>
                  </a:lnTo>
                  <a:lnTo>
                    <a:pt x="979996" y="204990"/>
                  </a:lnTo>
                  <a:lnTo>
                    <a:pt x="979996" y="204292"/>
                  </a:lnTo>
                  <a:lnTo>
                    <a:pt x="980034" y="204292"/>
                  </a:lnTo>
                  <a:lnTo>
                    <a:pt x="980034" y="204990"/>
                  </a:lnTo>
                  <a:lnTo>
                    <a:pt x="980034" y="204292"/>
                  </a:lnTo>
                  <a:lnTo>
                    <a:pt x="980136" y="204292"/>
                  </a:lnTo>
                  <a:lnTo>
                    <a:pt x="980136" y="204990"/>
                  </a:lnTo>
                  <a:lnTo>
                    <a:pt x="980136" y="203594"/>
                  </a:lnTo>
                  <a:lnTo>
                    <a:pt x="980187" y="204292"/>
                  </a:lnTo>
                  <a:lnTo>
                    <a:pt x="980187" y="202959"/>
                  </a:lnTo>
                  <a:lnTo>
                    <a:pt x="980187" y="203594"/>
                  </a:lnTo>
                  <a:lnTo>
                    <a:pt x="980187" y="202959"/>
                  </a:lnTo>
                  <a:lnTo>
                    <a:pt x="980187" y="203594"/>
                  </a:lnTo>
                  <a:lnTo>
                    <a:pt x="980187" y="202959"/>
                  </a:lnTo>
                  <a:lnTo>
                    <a:pt x="980187" y="203594"/>
                  </a:lnTo>
                  <a:lnTo>
                    <a:pt x="980187" y="202959"/>
                  </a:lnTo>
                  <a:lnTo>
                    <a:pt x="980187" y="204292"/>
                  </a:lnTo>
                  <a:lnTo>
                    <a:pt x="980237" y="203594"/>
                  </a:lnTo>
                  <a:lnTo>
                    <a:pt x="980237" y="202959"/>
                  </a:lnTo>
                  <a:lnTo>
                    <a:pt x="980237" y="204990"/>
                  </a:lnTo>
                  <a:lnTo>
                    <a:pt x="980237" y="204292"/>
                  </a:lnTo>
                  <a:lnTo>
                    <a:pt x="980237" y="204990"/>
                  </a:lnTo>
                  <a:lnTo>
                    <a:pt x="980237" y="204292"/>
                  </a:lnTo>
                  <a:lnTo>
                    <a:pt x="980339" y="204292"/>
                  </a:lnTo>
                  <a:lnTo>
                    <a:pt x="980339" y="203594"/>
                  </a:lnTo>
                  <a:lnTo>
                    <a:pt x="980339" y="204990"/>
                  </a:lnTo>
                  <a:lnTo>
                    <a:pt x="980339" y="204292"/>
                  </a:lnTo>
                  <a:lnTo>
                    <a:pt x="980339" y="204990"/>
                  </a:lnTo>
                  <a:lnTo>
                    <a:pt x="980390" y="204292"/>
                  </a:lnTo>
                  <a:lnTo>
                    <a:pt x="980390" y="204990"/>
                  </a:lnTo>
                  <a:lnTo>
                    <a:pt x="980390" y="204292"/>
                  </a:lnTo>
                  <a:lnTo>
                    <a:pt x="980390" y="204990"/>
                  </a:lnTo>
                  <a:lnTo>
                    <a:pt x="980441" y="204990"/>
                  </a:lnTo>
                  <a:lnTo>
                    <a:pt x="980441" y="204292"/>
                  </a:lnTo>
                  <a:lnTo>
                    <a:pt x="980441" y="204990"/>
                  </a:lnTo>
                  <a:lnTo>
                    <a:pt x="980491" y="204990"/>
                  </a:lnTo>
                  <a:lnTo>
                    <a:pt x="980491" y="206324"/>
                  </a:lnTo>
                  <a:lnTo>
                    <a:pt x="980491" y="204990"/>
                  </a:lnTo>
                  <a:lnTo>
                    <a:pt x="980491" y="206324"/>
                  </a:lnTo>
                  <a:lnTo>
                    <a:pt x="980491" y="204990"/>
                  </a:lnTo>
                  <a:lnTo>
                    <a:pt x="980580" y="204990"/>
                  </a:lnTo>
                  <a:lnTo>
                    <a:pt x="980580" y="204292"/>
                  </a:lnTo>
                  <a:lnTo>
                    <a:pt x="980580" y="204990"/>
                  </a:lnTo>
                  <a:lnTo>
                    <a:pt x="980580" y="204292"/>
                  </a:lnTo>
                  <a:lnTo>
                    <a:pt x="980631" y="204292"/>
                  </a:lnTo>
                  <a:lnTo>
                    <a:pt x="980631" y="203594"/>
                  </a:lnTo>
                  <a:lnTo>
                    <a:pt x="980631" y="204292"/>
                  </a:lnTo>
                  <a:lnTo>
                    <a:pt x="980631" y="202959"/>
                  </a:lnTo>
                  <a:lnTo>
                    <a:pt x="980682" y="203594"/>
                  </a:lnTo>
                  <a:lnTo>
                    <a:pt x="980682" y="202959"/>
                  </a:lnTo>
                  <a:lnTo>
                    <a:pt x="980682" y="204292"/>
                  </a:lnTo>
                  <a:lnTo>
                    <a:pt x="980733" y="204292"/>
                  </a:lnTo>
                  <a:lnTo>
                    <a:pt x="980733" y="202959"/>
                  </a:lnTo>
                  <a:lnTo>
                    <a:pt x="980733" y="206324"/>
                  </a:lnTo>
                  <a:lnTo>
                    <a:pt x="980733" y="204990"/>
                  </a:lnTo>
                  <a:lnTo>
                    <a:pt x="980834" y="204292"/>
                  </a:lnTo>
                  <a:lnTo>
                    <a:pt x="980834" y="204990"/>
                  </a:lnTo>
                  <a:lnTo>
                    <a:pt x="980834" y="204292"/>
                  </a:lnTo>
                  <a:lnTo>
                    <a:pt x="980885" y="204292"/>
                  </a:lnTo>
                  <a:lnTo>
                    <a:pt x="980885" y="204990"/>
                  </a:lnTo>
                  <a:lnTo>
                    <a:pt x="980885" y="204292"/>
                  </a:lnTo>
                  <a:lnTo>
                    <a:pt x="980885" y="204990"/>
                  </a:lnTo>
                  <a:lnTo>
                    <a:pt x="980885" y="204292"/>
                  </a:lnTo>
                  <a:lnTo>
                    <a:pt x="980885" y="204990"/>
                  </a:lnTo>
                  <a:lnTo>
                    <a:pt x="980885" y="204292"/>
                  </a:lnTo>
                  <a:lnTo>
                    <a:pt x="980885" y="204990"/>
                  </a:lnTo>
                  <a:lnTo>
                    <a:pt x="980885" y="203594"/>
                  </a:lnTo>
                  <a:lnTo>
                    <a:pt x="980936" y="204292"/>
                  </a:lnTo>
                  <a:lnTo>
                    <a:pt x="980936" y="204990"/>
                  </a:lnTo>
                  <a:lnTo>
                    <a:pt x="980936" y="204292"/>
                  </a:lnTo>
                  <a:lnTo>
                    <a:pt x="980936" y="204990"/>
                  </a:lnTo>
                  <a:lnTo>
                    <a:pt x="981037" y="204990"/>
                  </a:lnTo>
                  <a:lnTo>
                    <a:pt x="981037" y="206324"/>
                  </a:lnTo>
                  <a:lnTo>
                    <a:pt x="981037" y="204292"/>
                  </a:lnTo>
                  <a:lnTo>
                    <a:pt x="981037" y="204990"/>
                  </a:lnTo>
                  <a:lnTo>
                    <a:pt x="981037" y="204292"/>
                  </a:lnTo>
                  <a:lnTo>
                    <a:pt x="981076" y="204292"/>
                  </a:lnTo>
                  <a:lnTo>
                    <a:pt x="981076" y="203594"/>
                  </a:lnTo>
                  <a:lnTo>
                    <a:pt x="981076" y="204292"/>
                  </a:lnTo>
                  <a:lnTo>
                    <a:pt x="981076" y="203594"/>
                  </a:lnTo>
                  <a:lnTo>
                    <a:pt x="981076" y="204292"/>
                  </a:lnTo>
                  <a:lnTo>
                    <a:pt x="981126" y="204292"/>
                  </a:lnTo>
                  <a:lnTo>
                    <a:pt x="981126" y="202260"/>
                  </a:lnTo>
                  <a:lnTo>
                    <a:pt x="981126" y="202959"/>
                  </a:lnTo>
                  <a:lnTo>
                    <a:pt x="981177" y="202959"/>
                  </a:lnTo>
                  <a:lnTo>
                    <a:pt x="981177" y="204292"/>
                  </a:lnTo>
                  <a:lnTo>
                    <a:pt x="981177" y="203594"/>
                  </a:lnTo>
                  <a:lnTo>
                    <a:pt x="981177" y="204292"/>
                  </a:lnTo>
                  <a:lnTo>
                    <a:pt x="981177" y="202959"/>
                  </a:lnTo>
                  <a:lnTo>
                    <a:pt x="981177" y="204292"/>
                  </a:lnTo>
                  <a:lnTo>
                    <a:pt x="981279" y="204990"/>
                  </a:lnTo>
                  <a:lnTo>
                    <a:pt x="981279" y="206324"/>
                  </a:lnTo>
                  <a:lnTo>
                    <a:pt x="981279" y="204292"/>
                  </a:lnTo>
                  <a:lnTo>
                    <a:pt x="981279" y="206324"/>
                  </a:lnTo>
                  <a:lnTo>
                    <a:pt x="981330" y="204990"/>
                  </a:lnTo>
                  <a:lnTo>
                    <a:pt x="981330" y="206324"/>
                  </a:lnTo>
                  <a:lnTo>
                    <a:pt x="981330" y="204990"/>
                  </a:lnTo>
                  <a:lnTo>
                    <a:pt x="981330" y="206324"/>
                  </a:lnTo>
                  <a:lnTo>
                    <a:pt x="981330" y="204990"/>
                  </a:lnTo>
                  <a:lnTo>
                    <a:pt x="981330" y="207022"/>
                  </a:lnTo>
                  <a:lnTo>
                    <a:pt x="981380" y="207022"/>
                  </a:lnTo>
                  <a:lnTo>
                    <a:pt x="981380" y="204990"/>
                  </a:lnTo>
                  <a:lnTo>
                    <a:pt x="981380" y="206324"/>
                  </a:lnTo>
                  <a:lnTo>
                    <a:pt x="981482" y="206324"/>
                  </a:lnTo>
                  <a:lnTo>
                    <a:pt x="981482" y="204990"/>
                  </a:lnTo>
                  <a:lnTo>
                    <a:pt x="981482" y="207022"/>
                  </a:lnTo>
                  <a:lnTo>
                    <a:pt x="981482" y="206324"/>
                  </a:lnTo>
                  <a:lnTo>
                    <a:pt x="981533" y="206324"/>
                  </a:lnTo>
                  <a:lnTo>
                    <a:pt x="981533" y="204292"/>
                  </a:lnTo>
                  <a:lnTo>
                    <a:pt x="981533" y="204990"/>
                  </a:lnTo>
                  <a:lnTo>
                    <a:pt x="981533" y="204292"/>
                  </a:lnTo>
                  <a:lnTo>
                    <a:pt x="981583" y="204990"/>
                  </a:lnTo>
                  <a:lnTo>
                    <a:pt x="981583" y="204292"/>
                  </a:lnTo>
                  <a:lnTo>
                    <a:pt x="981583" y="204990"/>
                  </a:lnTo>
                  <a:lnTo>
                    <a:pt x="981583" y="203594"/>
                  </a:lnTo>
                  <a:lnTo>
                    <a:pt x="981622" y="203594"/>
                  </a:lnTo>
                  <a:lnTo>
                    <a:pt x="981622" y="202260"/>
                  </a:lnTo>
                  <a:lnTo>
                    <a:pt x="981622" y="204292"/>
                  </a:lnTo>
                  <a:lnTo>
                    <a:pt x="981723" y="204292"/>
                  </a:lnTo>
                  <a:lnTo>
                    <a:pt x="981723" y="202959"/>
                  </a:lnTo>
                  <a:lnTo>
                    <a:pt x="981723" y="204990"/>
                  </a:lnTo>
                  <a:lnTo>
                    <a:pt x="981723" y="204292"/>
                  </a:lnTo>
                  <a:lnTo>
                    <a:pt x="981723" y="204990"/>
                  </a:lnTo>
                  <a:lnTo>
                    <a:pt x="981774" y="204990"/>
                  </a:lnTo>
                  <a:lnTo>
                    <a:pt x="981774" y="203594"/>
                  </a:lnTo>
                  <a:lnTo>
                    <a:pt x="981774" y="204990"/>
                  </a:lnTo>
                  <a:lnTo>
                    <a:pt x="981825" y="204990"/>
                  </a:lnTo>
                  <a:lnTo>
                    <a:pt x="981825" y="204292"/>
                  </a:lnTo>
                  <a:lnTo>
                    <a:pt x="981825" y="204990"/>
                  </a:lnTo>
                  <a:lnTo>
                    <a:pt x="981825" y="204292"/>
                  </a:lnTo>
                  <a:lnTo>
                    <a:pt x="981825" y="204990"/>
                  </a:lnTo>
                  <a:lnTo>
                    <a:pt x="981926" y="204990"/>
                  </a:lnTo>
                  <a:lnTo>
                    <a:pt x="981926" y="206324"/>
                  </a:lnTo>
                  <a:lnTo>
                    <a:pt x="981926" y="204990"/>
                  </a:lnTo>
                  <a:lnTo>
                    <a:pt x="981926" y="206324"/>
                  </a:lnTo>
                  <a:lnTo>
                    <a:pt x="981926" y="204990"/>
                  </a:lnTo>
                  <a:lnTo>
                    <a:pt x="981977" y="204990"/>
                  </a:lnTo>
                  <a:lnTo>
                    <a:pt x="981977" y="206324"/>
                  </a:lnTo>
                  <a:lnTo>
                    <a:pt x="981977" y="204990"/>
                  </a:lnTo>
                  <a:lnTo>
                    <a:pt x="981977" y="206324"/>
                  </a:lnTo>
                  <a:lnTo>
                    <a:pt x="981977" y="204990"/>
                  </a:lnTo>
                  <a:lnTo>
                    <a:pt x="981977" y="206324"/>
                  </a:lnTo>
                  <a:lnTo>
                    <a:pt x="981977" y="204990"/>
                  </a:lnTo>
                  <a:lnTo>
                    <a:pt x="982028" y="204990"/>
                  </a:lnTo>
                  <a:lnTo>
                    <a:pt x="982028" y="204292"/>
                  </a:lnTo>
                  <a:lnTo>
                    <a:pt x="982028" y="204990"/>
                  </a:lnTo>
                  <a:lnTo>
                    <a:pt x="982028" y="204292"/>
                  </a:lnTo>
                  <a:lnTo>
                    <a:pt x="982028" y="204990"/>
                  </a:lnTo>
                  <a:lnTo>
                    <a:pt x="982028" y="204292"/>
                  </a:lnTo>
                  <a:lnTo>
                    <a:pt x="982079" y="204292"/>
                  </a:lnTo>
                  <a:lnTo>
                    <a:pt x="982079" y="202959"/>
                  </a:lnTo>
                  <a:lnTo>
                    <a:pt x="982168" y="202959"/>
                  </a:lnTo>
                  <a:lnTo>
                    <a:pt x="982168" y="200228"/>
                  </a:lnTo>
                  <a:lnTo>
                    <a:pt x="982168" y="202959"/>
                  </a:lnTo>
                  <a:lnTo>
                    <a:pt x="982218" y="202959"/>
                  </a:lnTo>
                  <a:lnTo>
                    <a:pt x="982218" y="200228"/>
                  </a:lnTo>
                  <a:lnTo>
                    <a:pt x="982218" y="203594"/>
                  </a:lnTo>
                  <a:lnTo>
                    <a:pt x="982269" y="203594"/>
                  </a:lnTo>
                  <a:lnTo>
                    <a:pt x="982269" y="202959"/>
                  </a:lnTo>
                  <a:lnTo>
                    <a:pt x="982269" y="204292"/>
                  </a:lnTo>
                  <a:lnTo>
                    <a:pt x="982320" y="203594"/>
                  </a:lnTo>
                  <a:lnTo>
                    <a:pt x="982320" y="202959"/>
                  </a:lnTo>
                  <a:lnTo>
                    <a:pt x="982320" y="204990"/>
                  </a:lnTo>
                  <a:lnTo>
                    <a:pt x="982320" y="204292"/>
                  </a:lnTo>
                  <a:lnTo>
                    <a:pt x="982422" y="204292"/>
                  </a:lnTo>
                  <a:lnTo>
                    <a:pt x="982422" y="206324"/>
                  </a:lnTo>
                  <a:lnTo>
                    <a:pt x="982422" y="204292"/>
                  </a:lnTo>
                  <a:lnTo>
                    <a:pt x="982472" y="204292"/>
                  </a:lnTo>
                  <a:lnTo>
                    <a:pt x="982472" y="206324"/>
                  </a:lnTo>
                  <a:lnTo>
                    <a:pt x="982472" y="204292"/>
                  </a:lnTo>
                  <a:lnTo>
                    <a:pt x="982472" y="204990"/>
                  </a:lnTo>
                  <a:lnTo>
                    <a:pt x="982523" y="204292"/>
                  </a:lnTo>
                  <a:lnTo>
                    <a:pt x="982523" y="204990"/>
                  </a:lnTo>
                  <a:lnTo>
                    <a:pt x="982523" y="204292"/>
                  </a:lnTo>
                  <a:lnTo>
                    <a:pt x="982523" y="204990"/>
                  </a:lnTo>
                  <a:lnTo>
                    <a:pt x="982523" y="204292"/>
                  </a:lnTo>
                  <a:lnTo>
                    <a:pt x="982625" y="204292"/>
                  </a:lnTo>
                  <a:lnTo>
                    <a:pt x="982625" y="203594"/>
                  </a:lnTo>
                  <a:lnTo>
                    <a:pt x="982663" y="202959"/>
                  </a:lnTo>
                  <a:lnTo>
                    <a:pt x="982663" y="200876"/>
                  </a:lnTo>
                  <a:lnTo>
                    <a:pt x="982663" y="203594"/>
                  </a:lnTo>
                  <a:lnTo>
                    <a:pt x="982663" y="202959"/>
                  </a:lnTo>
                  <a:lnTo>
                    <a:pt x="982714" y="202260"/>
                  </a:lnTo>
                  <a:lnTo>
                    <a:pt x="982714" y="200876"/>
                  </a:lnTo>
                  <a:lnTo>
                    <a:pt x="982714" y="203594"/>
                  </a:lnTo>
                  <a:lnTo>
                    <a:pt x="982714" y="202959"/>
                  </a:lnTo>
                  <a:lnTo>
                    <a:pt x="982765" y="202959"/>
                  </a:lnTo>
                  <a:lnTo>
                    <a:pt x="982765" y="202260"/>
                  </a:lnTo>
                  <a:lnTo>
                    <a:pt x="982765" y="203594"/>
                  </a:lnTo>
                  <a:lnTo>
                    <a:pt x="982765" y="202959"/>
                  </a:lnTo>
                  <a:lnTo>
                    <a:pt x="982765" y="203594"/>
                  </a:lnTo>
                  <a:lnTo>
                    <a:pt x="982765" y="202959"/>
                  </a:lnTo>
                  <a:lnTo>
                    <a:pt x="982866" y="202959"/>
                  </a:lnTo>
                  <a:lnTo>
                    <a:pt x="982866" y="204292"/>
                  </a:lnTo>
                  <a:lnTo>
                    <a:pt x="982866" y="202959"/>
                  </a:lnTo>
                  <a:lnTo>
                    <a:pt x="982917" y="202959"/>
                  </a:lnTo>
                  <a:lnTo>
                    <a:pt x="982917" y="204292"/>
                  </a:lnTo>
                  <a:lnTo>
                    <a:pt x="982917" y="203594"/>
                  </a:lnTo>
                  <a:lnTo>
                    <a:pt x="982917" y="204292"/>
                  </a:lnTo>
                  <a:lnTo>
                    <a:pt x="982917" y="203594"/>
                  </a:lnTo>
                  <a:lnTo>
                    <a:pt x="982917" y="204292"/>
                  </a:lnTo>
                  <a:lnTo>
                    <a:pt x="982968" y="204990"/>
                  </a:lnTo>
                  <a:lnTo>
                    <a:pt x="982968" y="204292"/>
                  </a:lnTo>
                  <a:lnTo>
                    <a:pt x="982968" y="204990"/>
                  </a:lnTo>
                  <a:lnTo>
                    <a:pt x="982968" y="204292"/>
                  </a:lnTo>
                  <a:lnTo>
                    <a:pt x="983069" y="204292"/>
                  </a:lnTo>
                  <a:lnTo>
                    <a:pt x="983069" y="204990"/>
                  </a:lnTo>
                  <a:lnTo>
                    <a:pt x="983069" y="203594"/>
                  </a:lnTo>
                  <a:lnTo>
                    <a:pt x="983069" y="204292"/>
                  </a:lnTo>
                  <a:lnTo>
                    <a:pt x="983120" y="204292"/>
                  </a:lnTo>
                  <a:lnTo>
                    <a:pt x="983120" y="202959"/>
                  </a:lnTo>
                  <a:lnTo>
                    <a:pt x="983120" y="203594"/>
                  </a:lnTo>
                  <a:lnTo>
                    <a:pt x="983120" y="202959"/>
                  </a:lnTo>
                  <a:lnTo>
                    <a:pt x="983120" y="203594"/>
                  </a:lnTo>
                  <a:lnTo>
                    <a:pt x="983120" y="202959"/>
                  </a:lnTo>
                  <a:lnTo>
                    <a:pt x="983171" y="202959"/>
                  </a:lnTo>
                  <a:lnTo>
                    <a:pt x="983171" y="204292"/>
                  </a:lnTo>
                  <a:lnTo>
                    <a:pt x="983171" y="202959"/>
                  </a:lnTo>
                  <a:lnTo>
                    <a:pt x="983209" y="203594"/>
                  </a:lnTo>
                  <a:lnTo>
                    <a:pt x="983209" y="206324"/>
                  </a:lnTo>
                  <a:lnTo>
                    <a:pt x="983209" y="203594"/>
                  </a:lnTo>
                  <a:lnTo>
                    <a:pt x="983209" y="204292"/>
                  </a:lnTo>
                  <a:lnTo>
                    <a:pt x="983311" y="204292"/>
                  </a:lnTo>
                  <a:lnTo>
                    <a:pt x="983311" y="204990"/>
                  </a:lnTo>
                  <a:lnTo>
                    <a:pt x="983311" y="204292"/>
                  </a:lnTo>
                  <a:lnTo>
                    <a:pt x="983311" y="204990"/>
                  </a:lnTo>
                  <a:lnTo>
                    <a:pt x="983311" y="204292"/>
                  </a:lnTo>
                  <a:lnTo>
                    <a:pt x="983311" y="204990"/>
                  </a:lnTo>
                  <a:lnTo>
                    <a:pt x="983311" y="204292"/>
                  </a:lnTo>
                  <a:lnTo>
                    <a:pt x="983311" y="204990"/>
                  </a:lnTo>
                  <a:lnTo>
                    <a:pt x="983311" y="204292"/>
                  </a:lnTo>
                  <a:lnTo>
                    <a:pt x="983311" y="204990"/>
                  </a:lnTo>
                  <a:lnTo>
                    <a:pt x="983362" y="204990"/>
                  </a:lnTo>
                  <a:lnTo>
                    <a:pt x="983362" y="204292"/>
                  </a:lnTo>
                  <a:lnTo>
                    <a:pt x="983362" y="204990"/>
                  </a:lnTo>
                  <a:lnTo>
                    <a:pt x="983412" y="204990"/>
                  </a:lnTo>
                  <a:lnTo>
                    <a:pt x="983412" y="204292"/>
                  </a:lnTo>
                  <a:lnTo>
                    <a:pt x="983412" y="204990"/>
                  </a:lnTo>
                  <a:lnTo>
                    <a:pt x="983412" y="204292"/>
                  </a:lnTo>
                  <a:lnTo>
                    <a:pt x="983412" y="204990"/>
                  </a:lnTo>
                  <a:lnTo>
                    <a:pt x="983514" y="204990"/>
                  </a:lnTo>
                  <a:lnTo>
                    <a:pt x="983514" y="204292"/>
                  </a:lnTo>
                  <a:lnTo>
                    <a:pt x="983514" y="204990"/>
                  </a:lnTo>
                  <a:lnTo>
                    <a:pt x="983514" y="204292"/>
                  </a:lnTo>
                  <a:lnTo>
                    <a:pt x="983514" y="204990"/>
                  </a:lnTo>
                  <a:lnTo>
                    <a:pt x="983514" y="204292"/>
                  </a:lnTo>
                  <a:lnTo>
                    <a:pt x="983514" y="204990"/>
                  </a:lnTo>
                  <a:lnTo>
                    <a:pt x="983514" y="204292"/>
                  </a:lnTo>
                  <a:lnTo>
                    <a:pt x="983616" y="204292"/>
                  </a:lnTo>
                  <a:lnTo>
                    <a:pt x="983616" y="202959"/>
                  </a:lnTo>
                  <a:lnTo>
                    <a:pt x="983616" y="204292"/>
                  </a:lnTo>
                  <a:lnTo>
                    <a:pt x="983666" y="204990"/>
                  </a:lnTo>
                  <a:lnTo>
                    <a:pt x="983666" y="203594"/>
                  </a:lnTo>
                  <a:lnTo>
                    <a:pt x="983666" y="207022"/>
                  </a:lnTo>
                  <a:lnTo>
                    <a:pt x="983755" y="206324"/>
                  </a:lnTo>
                  <a:lnTo>
                    <a:pt x="983755" y="204292"/>
                  </a:lnTo>
                  <a:lnTo>
                    <a:pt x="983755" y="206324"/>
                  </a:lnTo>
                  <a:lnTo>
                    <a:pt x="983806" y="206324"/>
                  </a:lnTo>
                  <a:lnTo>
                    <a:pt x="983806" y="204990"/>
                  </a:lnTo>
                  <a:lnTo>
                    <a:pt x="983806" y="207022"/>
                  </a:lnTo>
                  <a:lnTo>
                    <a:pt x="983806" y="206324"/>
                  </a:lnTo>
                  <a:lnTo>
                    <a:pt x="983857" y="206324"/>
                  </a:lnTo>
                  <a:lnTo>
                    <a:pt x="983857" y="204990"/>
                  </a:lnTo>
                  <a:lnTo>
                    <a:pt x="983857" y="206324"/>
                  </a:lnTo>
                  <a:lnTo>
                    <a:pt x="983908" y="206324"/>
                  </a:lnTo>
                  <a:lnTo>
                    <a:pt x="983908" y="204990"/>
                  </a:lnTo>
                  <a:lnTo>
                    <a:pt x="983908" y="206324"/>
                  </a:lnTo>
                  <a:lnTo>
                    <a:pt x="983908" y="204292"/>
                  </a:lnTo>
                  <a:lnTo>
                    <a:pt x="984009" y="204990"/>
                  </a:lnTo>
                  <a:lnTo>
                    <a:pt x="984009" y="204292"/>
                  </a:lnTo>
                  <a:lnTo>
                    <a:pt x="984009" y="204990"/>
                  </a:lnTo>
                  <a:lnTo>
                    <a:pt x="984009" y="204292"/>
                  </a:lnTo>
                  <a:lnTo>
                    <a:pt x="984009" y="204990"/>
                  </a:lnTo>
                  <a:lnTo>
                    <a:pt x="984009" y="204292"/>
                  </a:lnTo>
                  <a:lnTo>
                    <a:pt x="984060" y="204292"/>
                  </a:lnTo>
                  <a:lnTo>
                    <a:pt x="984060" y="203594"/>
                  </a:lnTo>
                  <a:lnTo>
                    <a:pt x="984060" y="204292"/>
                  </a:lnTo>
                  <a:lnTo>
                    <a:pt x="984060" y="202959"/>
                  </a:lnTo>
                  <a:lnTo>
                    <a:pt x="984111" y="202959"/>
                  </a:lnTo>
                  <a:lnTo>
                    <a:pt x="984111" y="200876"/>
                  </a:lnTo>
                  <a:lnTo>
                    <a:pt x="984111" y="202959"/>
                  </a:lnTo>
                  <a:lnTo>
                    <a:pt x="984212" y="202959"/>
                  </a:lnTo>
                  <a:lnTo>
                    <a:pt x="984212" y="200228"/>
                  </a:lnTo>
                  <a:lnTo>
                    <a:pt x="984212" y="203594"/>
                  </a:lnTo>
                  <a:lnTo>
                    <a:pt x="984251" y="203594"/>
                  </a:lnTo>
                  <a:lnTo>
                    <a:pt x="984251" y="202260"/>
                  </a:lnTo>
                  <a:lnTo>
                    <a:pt x="984251" y="203594"/>
                  </a:lnTo>
                  <a:lnTo>
                    <a:pt x="984251" y="202959"/>
                  </a:lnTo>
                  <a:lnTo>
                    <a:pt x="984251" y="204292"/>
                  </a:lnTo>
                  <a:lnTo>
                    <a:pt x="984301" y="204292"/>
                  </a:lnTo>
                  <a:lnTo>
                    <a:pt x="984301" y="203594"/>
                  </a:lnTo>
                  <a:lnTo>
                    <a:pt x="984301" y="204292"/>
                  </a:lnTo>
                  <a:lnTo>
                    <a:pt x="984301" y="203594"/>
                  </a:lnTo>
                  <a:lnTo>
                    <a:pt x="984301" y="204990"/>
                  </a:lnTo>
                  <a:lnTo>
                    <a:pt x="984301" y="204292"/>
                  </a:lnTo>
                  <a:lnTo>
                    <a:pt x="984352" y="204292"/>
                  </a:lnTo>
                  <a:lnTo>
                    <a:pt x="984352" y="204990"/>
                  </a:lnTo>
                  <a:lnTo>
                    <a:pt x="984352" y="204292"/>
                  </a:lnTo>
                  <a:lnTo>
                    <a:pt x="984352" y="204990"/>
                  </a:lnTo>
                  <a:lnTo>
                    <a:pt x="984352" y="204292"/>
                  </a:lnTo>
                  <a:lnTo>
                    <a:pt x="984454" y="204292"/>
                  </a:lnTo>
                  <a:lnTo>
                    <a:pt x="984454" y="204990"/>
                  </a:lnTo>
                  <a:lnTo>
                    <a:pt x="984454" y="204292"/>
                  </a:lnTo>
                  <a:lnTo>
                    <a:pt x="984454" y="204990"/>
                  </a:lnTo>
                  <a:lnTo>
                    <a:pt x="984454" y="204292"/>
                  </a:lnTo>
                  <a:lnTo>
                    <a:pt x="984505" y="204990"/>
                  </a:lnTo>
                  <a:lnTo>
                    <a:pt x="984505" y="204292"/>
                  </a:lnTo>
                  <a:lnTo>
                    <a:pt x="984505" y="204990"/>
                  </a:lnTo>
                  <a:lnTo>
                    <a:pt x="984505" y="204292"/>
                  </a:lnTo>
                  <a:lnTo>
                    <a:pt x="984555" y="204292"/>
                  </a:lnTo>
                  <a:lnTo>
                    <a:pt x="984555" y="202959"/>
                  </a:lnTo>
                  <a:lnTo>
                    <a:pt x="984657" y="202959"/>
                  </a:lnTo>
                  <a:lnTo>
                    <a:pt x="984657" y="202260"/>
                  </a:lnTo>
                  <a:lnTo>
                    <a:pt x="984657" y="202959"/>
                  </a:lnTo>
                  <a:lnTo>
                    <a:pt x="984657" y="202260"/>
                  </a:lnTo>
                  <a:lnTo>
                    <a:pt x="984657" y="202959"/>
                  </a:lnTo>
                  <a:lnTo>
                    <a:pt x="984657" y="202260"/>
                  </a:lnTo>
                  <a:lnTo>
                    <a:pt x="984708" y="202260"/>
                  </a:lnTo>
                  <a:lnTo>
                    <a:pt x="984708" y="200876"/>
                  </a:lnTo>
                  <a:lnTo>
                    <a:pt x="984708" y="202260"/>
                  </a:lnTo>
                  <a:lnTo>
                    <a:pt x="984708" y="200876"/>
                  </a:lnTo>
                  <a:lnTo>
                    <a:pt x="984708" y="203594"/>
                  </a:lnTo>
                  <a:lnTo>
                    <a:pt x="984708" y="202959"/>
                  </a:lnTo>
                  <a:lnTo>
                    <a:pt x="984758" y="202959"/>
                  </a:lnTo>
                  <a:lnTo>
                    <a:pt x="984758" y="203594"/>
                  </a:lnTo>
                  <a:lnTo>
                    <a:pt x="984758" y="202959"/>
                  </a:lnTo>
                  <a:lnTo>
                    <a:pt x="984797" y="202959"/>
                  </a:lnTo>
                  <a:lnTo>
                    <a:pt x="984797" y="204292"/>
                  </a:lnTo>
                  <a:lnTo>
                    <a:pt x="984797" y="203594"/>
                  </a:lnTo>
                  <a:lnTo>
                    <a:pt x="984797" y="204292"/>
                  </a:lnTo>
                  <a:lnTo>
                    <a:pt x="984898" y="203594"/>
                  </a:lnTo>
                  <a:lnTo>
                    <a:pt x="984898" y="204292"/>
                  </a:lnTo>
                  <a:lnTo>
                    <a:pt x="984898" y="203594"/>
                  </a:lnTo>
                  <a:lnTo>
                    <a:pt x="984898" y="204292"/>
                  </a:lnTo>
                  <a:lnTo>
                    <a:pt x="984898" y="203594"/>
                  </a:lnTo>
                  <a:lnTo>
                    <a:pt x="984898" y="204292"/>
                  </a:lnTo>
                  <a:lnTo>
                    <a:pt x="984898" y="203594"/>
                  </a:lnTo>
                  <a:lnTo>
                    <a:pt x="984949" y="203594"/>
                  </a:lnTo>
                  <a:lnTo>
                    <a:pt x="984949" y="204292"/>
                  </a:lnTo>
                  <a:lnTo>
                    <a:pt x="984949" y="203594"/>
                  </a:lnTo>
                  <a:lnTo>
                    <a:pt x="984949" y="204292"/>
                  </a:lnTo>
                  <a:lnTo>
                    <a:pt x="984949" y="203594"/>
                  </a:lnTo>
                  <a:lnTo>
                    <a:pt x="984949" y="204292"/>
                  </a:lnTo>
                  <a:lnTo>
                    <a:pt x="985000" y="204292"/>
                  </a:lnTo>
                  <a:lnTo>
                    <a:pt x="985000" y="203594"/>
                  </a:lnTo>
                  <a:lnTo>
                    <a:pt x="985000" y="204292"/>
                  </a:lnTo>
                  <a:lnTo>
                    <a:pt x="985000" y="203594"/>
                  </a:lnTo>
                  <a:lnTo>
                    <a:pt x="985101" y="203594"/>
                  </a:lnTo>
                  <a:lnTo>
                    <a:pt x="985101" y="202959"/>
                  </a:lnTo>
                  <a:lnTo>
                    <a:pt x="985101" y="203594"/>
                  </a:lnTo>
                  <a:lnTo>
                    <a:pt x="985101" y="202260"/>
                  </a:lnTo>
                  <a:lnTo>
                    <a:pt x="985101" y="202959"/>
                  </a:lnTo>
                  <a:lnTo>
                    <a:pt x="985101" y="202260"/>
                  </a:lnTo>
                  <a:lnTo>
                    <a:pt x="985101" y="202959"/>
                  </a:lnTo>
                  <a:lnTo>
                    <a:pt x="985101" y="202260"/>
                  </a:lnTo>
                  <a:lnTo>
                    <a:pt x="985152" y="202260"/>
                  </a:lnTo>
                  <a:lnTo>
                    <a:pt x="985152" y="200876"/>
                  </a:lnTo>
                  <a:lnTo>
                    <a:pt x="985152" y="203594"/>
                  </a:lnTo>
                  <a:lnTo>
                    <a:pt x="985152" y="200876"/>
                  </a:lnTo>
                  <a:lnTo>
                    <a:pt x="985152" y="202260"/>
                  </a:lnTo>
                  <a:lnTo>
                    <a:pt x="985203" y="202260"/>
                  </a:lnTo>
                  <a:lnTo>
                    <a:pt x="985203" y="204292"/>
                  </a:lnTo>
                  <a:lnTo>
                    <a:pt x="985203" y="202959"/>
                  </a:lnTo>
                  <a:lnTo>
                    <a:pt x="985254" y="202959"/>
                  </a:lnTo>
                  <a:lnTo>
                    <a:pt x="985254" y="204292"/>
                  </a:lnTo>
                  <a:lnTo>
                    <a:pt x="985254" y="202959"/>
                  </a:lnTo>
                  <a:lnTo>
                    <a:pt x="985254" y="203594"/>
                  </a:lnTo>
                  <a:lnTo>
                    <a:pt x="985343" y="203594"/>
                  </a:lnTo>
                  <a:lnTo>
                    <a:pt x="985343" y="204292"/>
                  </a:lnTo>
                  <a:lnTo>
                    <a:pt x="985343" y="203594"/>
                  </a:lnTo>
                  <a:lnTo>
                    <a:pt x="985343" y="204292"/>
                  </a:lnTo>
                  <a:lnTo>
                    <a:pt x="985343" y="203594"/>
                  </a:lnTo>
                  <a:lnTo>
                    <a:pt x="985393" y="204292"/>
                  </a:lnTo>
                  <a:lnTo>
                    <a:pt x="985393" y="204990"/>
                  </a:lnTo>
                  <a:lnTo>
                    <a:pt x="985393" y="203594"/>
                  </a:lnTo>
                  <a:lnTo>
                    <a:pt x="985393" y="204292"/>
                  </a:lnTo>
                  <a:lnTo>
                    <a:pt x="985393" y="203594"/>
                  </a:lnTo>
                  <a:lnTo>
                    <a:pt x="985393" y="204292"/>
                  </a:lnTo>
                  <a:lnTo>
                    <a:pt x="985444" y="204292"/>
                  </a:lnTo>
                  <a:lnTo>
                    <a:pt x="985444" y="203594"/>
                  </a:lnTo>
                  <a:lnTo>
                    <a:pt x="985444" y="204292"/>
                  </a:lnTo>
                  <a:lnTo>
                    <a:pt x="985444" y="203594"/>
                  </a:lnTo>
                  <a:lnTo>
                    <a:pt x="985444" y="204292"/>
                  </a:lnTo>
                  <a:lnTo>
                    <a:pt x="985495" y="204292"/>
                  </a:lnTo>
                  <a:lnTo>
                    <a:pt x="985495" y="202959"/>
                  </a:lnTo>
                  <a:lnTo>
                    <a:pt x="985495" y="203594"/>
                  </a:lnTo>
                  <a:lnTo>
                    <a:pt x="985495" y="202959"/>
                  </a:lnTo>
                  <a:lnTo>
                    <a:pt x="985597" y="202959"/>
                  </a:lnTo>
                  <a:lnTo>
                    <a:pt x="985597" y="200876"/>
                  </a:lnTo>
                  <a:lnTo>
                    <a:pt x="985647" y="202260"/>
                  </a:lnTo>
                  <a:lnTo>
                    <a:pt x="985647" y="202959"/>
                  </a:lnTo>
                  <a:lnTo>
                    <a:pt x="985647" y="200228"/>
                  </a:lnTo>
                  <a:lnTo>
                    <a:pt x="985647" y="203594"/>
                  </a:lnTo>
                  <a:lnTo>
                    <a:pt x="985698" y="203594"/>
                  </a:lnTo>
                  <a:lnTo>
                    <a:pt x="985698" y="204292"/>
                  </a:lnTo>
                  <a:lnTo>
                    <a:pt x="985698" y="202260"/>
                  </a:lnTo>
                  <a:lnTo>
                    <a:pt x="985698" y="203594"/>
                  </a:lnTo>
                  <a:lnTo>
                    <a:pt x="985800" y="203594"/>
                  </a:lnTo>
                  <a:lnTo>
                    <a:pt x="985800" y="202959"/>
                  </a:lnTo>
                  <a:lnTo>
                    <a:pt x="985800" y="203594"/>
                  </a:lnTo>
                  <a:lnTo>
                    <a:pt x="985800" y="202959"/>
                  </a:lnTo>
                  <a:lnTo>
                    <a:pt x="985800" y="203594"/>
                  </a:lnTo>
                  <a:lnTo>
                    <a:pt x="985838" y="203594"/>
                  </a:lnTo>
                  <a:lnTo>
                    <a:pt x="985838" y="204292"/>
                  </a:lnTo>
                  <a:lnTo>
                    <a:pt x="985838" y="202959"/>
                  </a:lnTo>
                  <a:lnTo>
                    <a:pt x="985838" y="203594"/>
                  </a:lnTo>
                  <a:lnTo>
                    <a:pt x="985889" y="203594"/>
                  </a:lnTo>
                  <a:lnTo>
                    <a:pt x="985889" y="202959"/>
                  </a:lnTo>
                  <a:lnTo>
                    <a:pt x="985889" y="203594"/>
                  </a:lnTo>
                  <a:lnTo>
                    <a:pt x="985889" y="202959"/>
                  </a:lnTo>
                  <a:lnTo>
                    <a:pt x="985889" y="203594"/>
                  </a:lnTo>
                  <a:lnTo>
                    <a:pt x="986041" y="203594"/>
                  </a:lnTo>
                  <a:lnTo>
                    <a:pt x="986041" y="202959"/>
                  </a:lnTo>
                  <a:lnTo>
                    <a:pt x="986041" y="203594"/>
                  </a:lnTo>
                  <a:lnTo>
                    <a:pt x="986041" y="202260"/>
                  </a:lnTo>
                  <a:lnTo>
                    <a:pt x="986041" y="202959"/>
                  </a:lnTo>
                  <a:lnTo>
                    <a:pt x="986041" y="202260"/>
                  </a:lnTo>
                  <a:lnTo>
                    <a:pt x="986092" y="202260"/>
                  </a:lnTo>
                  <a:lnTo>
                    <a:pt x="986092" y="200876"/>
                  </a:lnTo>
                  <a:lnTo>
                    <a:pt x="986092" y="202959"/>
                  </a:lnTo>
                  <a:lnTo>
                    <a:pt x="986092" y="202260"/>
                  </a:lnTo>
                  <a:lnTo>
                    <a:pt x="986143" y="202260"/>
                  </a:lnTo>
                  <a:lnTo>
                    <a:pt x="986143" y="200876"/>
                  </a:lnTo>
                  <a:lnTo>
                    <a:pt x="986143" y="203594"/>
                  </a:lnTo>
                  <a:lnTo>
                    <a:pt x="986143" y="202959"/>
                  </a:lnTo>
                  <a:lnTo>
                    <a:pt x="986143" y="203594"/>
                  </a:lnTo>
                  <a:lnTo>
                    <a:pt x="986244" y="203594"/>
                  </a:lnTo>
                  <a:lnTo>
                    <a:pt x="986244" y="202959"/>
                  </a:lnTo>
                  <a:lnTo>
                    <a:pt x="986244" y="204292"/>
                  </a:lnTo>
                  <a:lnTo>
                    <a:pt x="986295" y="204292"/>
                  </a:lnTo>
                  <a:lnTo>
                    <a:pt x="986295" y="203594"/>
                  </a:lnTo>
                  <a:lnTo>
                    <a:pt x="986295" y="204292"/>
                  </a:lnTo>
                  <a:lnTo>
                    <a:pt x="986295" y="203594"/>
                  </a:lnTo>
                  <a:lnTo>
                    <a:pt x="986346" y="204292"/>
                  </a:lnTo>
                  <a:lnTo>
                    <a:pt x="986346" y="203594"/>
                  </a:lnTo>
                  <a:lnTo>
                    <a:pt x="986346" y="204292"/>
                  </a:lnTo>
                  <a:lnTo>
                    <a:pt x="986346" y="203594"/>
                  </a:lnTo>
                  <a:lnTo>
                    <a:pt x="986384" y="204292"/>
                  </a:lnTo>
                  <a:lnTo>
                    <a:pt x="986384" y="203594"/>
                  </a:lnTo>
                  <a:lnTo>
                    <a:pt x="986384" y="204292"/>
                  </a:lnTo>
                  <a:lnTo>
                    <a:pt x="986384" y="203594"/>
                  </a:lnTo>
                  <a:lnTo>
                    <a:pt x="986384" y="204292"/>
                  </a:lnTo>
                  <a:lnTo>
                    <a:pt x="986486" y="204292"/>
                  </a:lnTo>
                  <a:lnTo>
                    <a:pt x="986486" y="203594"/>
                  </a:lnTo>
                  <a:lnTo>
                    <a:pt x="986537" y="203594"/>
                  </a:lnTo>
                  <a:lnTo>
                    <a:pt x="986537" y="204292"/>
                  </a:lnTo>
                  <a:lnTo>
                    <a:pt x="986537" y="203594"/>
                  </a:lnTo>
                  <a:lnTo>
                    <a:pt x="986537" y="204292"/>
                  </a:lnTo>
                  <a:lnTo>
                    <a:pt x="986537" y="202260"/>
                  </a:lnTo>
                  <a:lnTo>
                    <a:pt x="986587" y="202260"/>
                  </a:lnTo>
                  <a:lnTo>
                    <a:pt x="986587" y="200876"/>
                  </a:lnTo>
                  <a:lnTo>
                    <a:pt x="986587" y="202260"/>
                  </a:lnTo>
                  <a:lnTo>
                    <a:pt x="986587" y="200228"/>
                  </a:lnTo>
                  <a:lnTo>
                    <a:pt x="986587" y="202959"/>
                  </a:lnTo>
                  <a:lnTo>
                    <a:pt x="986689" y="202959"/>
                  </a:lnTo>
                  <a:lnTo>
                    <a:pt x="986689" y="200228"/>
                  </a:lnTo>
                  <a:lnTo>
                    <a:pt x="986689" y="204292"/>
                  </a:lnTo>
                  <a:lnTo>
                    <a:pt x="986689" y="203594"/>
                  </a:lnTo>
                  <a:lnTo>
                    <a:pt x="986740" y="202959"/>
                  </a:lnTo>
                  <a:lnTo>
                    <a:pt x="986740" y="204292"/>
                  </a:lnTo>
                  <a:lnTo>
                    <a:pt x="986740" y="203594"/>
                  </a:lnTo>
                  <a:lnTo>
                    <a:pt x="986791" y="203594"/>
                  </a:lnTo>
                  <a:lnTo>
                    <a:pt x="986791" y="202959"/>
                  </a:lnTo>
                  <a:lnTo>
                    <a:pt x="986791" y="204292"/>
                  </a:lnTo>
                  <a:lnTo>
                    <a:pt x="986791" y="203594"/>
                  </a:lnTo>
                  <a:lnTo>
                    <a:pt x="986841" y="203594"/>
                  </a:lnTo>
                  <a:lnTo>
                    <a:pt x="986841" y="204292"/>
                  </a:lnTo>
                  <a:lnTo>
                    <a:pt x="986841" y="203594"/>
                  </a:lnTo>
                  <a:lnTo>
                    <a:pt x="986841" y="204292"/>
                  </a:lnTo>
                  <a:lnTo>
                    <a:pt x="986930" y="204292"/>
                  </a:lnTo>
                  <a:lnTo>
                    <a:pt x="986930" y="203594"/>
                  </a:lnTo>
                  <a:lnTo>
                    <a:pt x="986930" y="204292"/>
                  </a:lnTo>
                  <a:lnTo>
                    <a:pt x="986930" y="203594"/>
                  </a:lnTo>
                  <a:lnTo>
                    <a:pt x="986930" y="204292"/>
                  </a:lnTo>
                  <a:lnTo>
                    <a:pt x="986930" y="203594"/>
                  </a:lnTo>
                  <a:lnTo>
                    <a:pt x="986981" y="203594"/>
                  </a:lnTo>
                  <a:lnTo>
                    <a:pt x="986981" y="204292"/>
                  </a:lnTo>
                  <a:lnTo>
                    <a:pt x="986981" y="203594"/>
                  </a:lnTo>
                  <a:lnTo>
                    <a:pt x="986981" y="204292"/>
                  </a:lnTo>
                  <a:lnTo>
                    <a:pt x="986981" y="203594"/>
                  </a:lnTo>
                  <a:lnTo>
                    <a:pt x="986981" y="204292"/>
                  </a:lnTo>
                  <a:lnTo>
                    <a:pt x="986981" y="202959"/>
                  </a:lnTo>
                  <a:lnTo>
                    <a:pt x="986981" y="203594"/>
                  </a:lnTo>
                  <a:lnTo>
                    <a:pt x="986981" y="202959"/>
                  </a:lnTo>
                  <a:lnTo>
                    <a:pt x="987032" y="202959"/>
                  </a:lnTo>
                  <a:lnTo>
                    <a:pt x="987032" y="200876"/>
                  </a:lnTo>
                  <a:lnTo>
                    <a:pt x="987083" y="200876"/>
                  </a:lnTo>
                  <a:lnTo>
                    <a:pt x="987083" y="200228"/>
                  </a:lnTo>
                  <a:lnTo>
                    <a:pt x="987083" y="202959"/>
                  </a:lnTo>
                  <a:lnTo>
                    <a:pt x="987083" y="200876"/>
                  </a:lnTo>
                  <a:lnTo>
                    <a:pt x="987184" y="200876"/>
                  </a:lnTo>
                  <a:lnTo>
                    <a:pt x="987184" y="200228"/>
                  </a:lnTo>
                  <a:lnTo>
                    <a:pt x="987184" y="204292"/>
                  </a:lnTo>
                  <a:lnTo>
                    <a:pt x="987184" y="202260"/>
                  </a:lnTo>
                  <a:lnTo>
                    <a:pt x="987235" y="202260"/>
                  </a:lnTo>
                  <a:lnTo>
                    <a:pt x="987235" y="204292"/>
                  </a:lnTo>
                  <a:lnTo>
                    <a:pt x="987235" y="202959"/>
                  </a:lnTo>
                  <a:lnTo>
                    <a:pt x="987286" y="202959"/>
                  </a:lnTo>
                  <a:lnTo>
                    <a:pt x="987286" y="203594"/>
                  </a:lnTo>
                  <a:lnTo>
                    <a:pt x="987286" y="202959"/>
                  </a:lnTo>
                  <a:lnTo>
                    <a:pt x="987286" y="203594"/>
                  </a:lnTo>
                  <a:lnTo>
                    <a:pt x="987286" y="202959"/>
                  </a:lnTo>
                  <a:lnTo>
                    <a:pt x="987286" y="203594"/>
                  </a:lnTo>
                  <a:lnTo>
                    <a:pt x="987387" y="203594"/>
                  </a:lnTo>
                  <a:lnTo>
                    <a:pt x="987387" y="204292"/>
                  </a:lnTo>
                  <a:lnTo>
                    <a:pt x="987387" y="203594"/>
                  </a:lnTo>
                  <a:lnTo>
                    <a:pt x="987387" y="204292"/>
                  </a:lnTo>
                  <a:lnTo>
                    <a:pt x="987387" y="203594"/>
                  </a:lnTo>
                  <a:lnTo>
                    <a:pt x="987387" y="204292"/>
                  </a:lnTo>
                  <a:lnTo>
                    <a:pt x="987387" y="203594"/>
                  </a:lnTo>
                  <a:lnTo>
                    <a:pt x="987426" y="203594"/>
                  </a:lnTo>
                  <a:lnTo>
                    <a:pt x="987426" y="204292"/>
                  </a:lnTo>
                  <a:lnTo>
                    <a:pt x="987476" y="204292"/>
                  </a:lnTo>
                  <a:lnTo>
                    <a:pt x="987476" y="203594"/>
                  </a:lnTo>
                  <a:lnTo>
                    <a:pt x="987527" y="203594"/>
                  </a:lnTo>
                  <a:lnTo>
                    <a:pt x="987527" y="200876"/>
                  </a:lnTo>
                  <a:lnTo>
                    <a:pt x="987629" y="200876"/>
                  </a:lnTo>
                  <a:lnTo>
                    <a:pt x="987629" y="200228"/>
                  </a:lnTo>
                  <a:lnTo>
                    <a:pt x="987629" y="202959"/>
                  </a:lnTo>
                  <a:lnTo>
                    <a:pt x="987629" y="200876"/>
                  </a:lnTo>
                  <a:lnTo>
                    <a:pt x="987629" y="202260"/>
                  </a:lnTo>
                  <a:lnTo>
                    <a:pt x="987680" y="202260"/>
                  </a:lnTo>
                  <a:lnTo>
                    <a:pt x="987680" y="204292"/>
                  </a:lnTo>
                  <a:lnTo>
                    <a:pt x="987680" y="203594"/>
                  </a:lnTo>
                  <a:lnTo>
                    <a:pt x="987680" y="204292"/>
                  </a:lnTo>
                  <a:lnTo>
                    <a:pt x="987680" y="202959"/>
                  </a:lnTo>
                  <a:lnTo>
                    <a:pt x="987730" y="202959"/>
                  </a:lnTo>
                  <a:lnTo>
                    <a:pt x="987730" y="204292"/>
                  </a:lnTo>
                  <a:lnTo>
                    <a:pt x="987730" y="203594"/>
                  </a:lnTo>
                  <a:lnTo>
                    <a:pt x="987730" y="204292"/>
                  </a:lnTo>
                  <a:lnTo>
                    <a:pt x="987730" y="203594"/>
                  </a:lnTo>
                  <a:lnTo>
                    <a:pt x="987730" y="204292"/>
                  </a:lnTo>
                  <a:lnTo>
                    <a:pt x="987730" y="203594"/>
                  </a:lnTo>
                  <a:lnTo>
                    <a:pt x="987832" y="203594"/>
                  </a:lnTo>
                  <a:lnTo>
                    <a:pt x="987832" y="204292"/>
                  </a:lnTo>
                  <a:lnTo>
                    <a:pt x="987832" y="203594"/>
                  </a:lnTo>
                  <a:lnTo>
                    <a:pt x="987883" y="203594"/>
                  </a:lnTo>
                  <a:lnTo>
                    <a:pt x="987883" y="204990"/>
                  </a:lnTo>
                  <a:lnTo>
                    <a:pt x="987883" y="204292"/>
                  </a:lnTo>
                  <a:lnTo>
                    <a:pt x="987933" y="204292"/>
                  </a:lnTo>
                  <a:lnTo>
                    <a:pt x="987933" y="203594"/>
                  </a:lnTo>
                  <a:lnTo>
                    <a:pt x="987933" y="204292"/>
                  </a:lnTo>
                  <a:lnTo>
                    <a:pt x="987972" y="204292"/>
                  </a:lnTo>
                  <a:lnTo>
                    <a:pt x="987972" y="202959"/>
                  </a:lnTo>
                  <a:lnTo>
                    <a:pt x="987972" y="203594"/>
                  </a:lnTo>
                  <a:lnTo>
                    <a:pt x="988073" y="203594"/>
                  </a:lnTo>
                  <a:lnTo>
                    <a:pt x="988073" y="202260"/>
                  </a:lnTo>
                  <a:lnTo>
                    <a:pt x="988073" y="202959"/>
                  </a:lnTo>
                  <a:lnTo>
                    <a:pt x="988073" y="200228"/>
                  </a:lnTo>
                  <a:lnTo>
                    <a:pt x="988124" y="200228"/>
                  </a:lnTo>
                  <a:lnTo>
                    <a:pt x="988124" y="202260"/>
                  </a:lnTo>
                  <a:lnTo>
                    <a:pt x="988124" y="200228"/>
                  </a:lnTo>
                  <a:lnTo>
                    <a:pt x="988175" y="200228"/>
                  </a:lnTo>
                  <a:lnTo>
                    <a:pt x="988175" y="203594"/>
                  </a:lnTo>
                  <a:lnTo>
                    <a:pt x="988175" y="202260"/>
                  </a:lnTo>
                  <a:lnTo>
                    <a:pt x="988276" y="202260"/>
                  </a:lnTo>
                  <a:lnTo>
                    <a:pt x="988276" y="203594"/>
                  </a:lnTo>
                  <a:lnTo>
                    <a:pt x="988276" y="202260"/>
                  </a:lnTo>
                  <a:lnTo>
                    <a:pt x="988276" y="202959"/>
                  </a:lnTo>
                  <a:lnTo>
                    <a:pt x="988327" y="202959"/>
                  </a:lnTo>
                  <a:lnTo>
                    <a:pt x="988327" y="203594"/>
                  </a:lnTo>
                  <a:lnTo>
                    <a:pt x="988327" y="202959"/>
                  </a:lnTo>
                  <a:lnTo>
                    <a:pt x="988327" y="203594"/>
                  </a:lnTo>
                  <a:lnTo>
                    <a:pt x="988378" y="203594"/>
                  </a:lnTo>
                  <a:lnTo>
                    <a:pt x="988378" y="204292"/>
                  </a:lnTo>
                  <a:lnTo>
                    <a:pt x="988378" y="203594"/>
                  </a:lnTo>
                  <a:lnTo>
                    <a:pt x="988378" y="204990"/>
                  </a:lnTo>
                  <a:lnTo>
                    <a:pt x="988378" y="204292"/>
                  </a:lnTo>
                  <a:lnTo>
                    <a:pt x="988429" y="204292"/>
                  </a:lnTo>
                  <a:lnTo>
                    <a:pt x="988429" y="204990"/>
                  </a:lnTo>
                  <a:lnTo>
                    <a:pt x="988429" y="203594"/>
                  </a:lnTo>
                  <a:lnTo>
                    <a:pt x="988429" y="204292"/>
                  </a:lnTo>
                  <a:lnTo>
                    <a:pt x="988518" y="204292"/>
                  </a:lnTo>
                  <a:lnTo>
                    <a:pt x="988518" y="202959"/>
                  </a:lnTo>
                  <a:lnTo>
                    <a:pt x="988518" y="203594"/>
                  </a:lnTo>
                  <a:lnTo>
                    <a:pt x="988518" y="202959"/>
                  </a:lnTo>
                  <a:lnTo>
                    <a:pt x="988568" y="202959"/>
                  </a:lnTo>
                  <a:lnTo>
                    <a:pt x="988568" y="200876"/>
                  </a:lnTo>
                  <a:lnTo>
                    <a:pt x="988568" y="202260"/>
                  </a:lnTo>
                  <a:lnTo>
                    <a:pt x="988568" y="200876"/>
                  </a:lnTo>
                  <a:lnTo>
                    <a:pt x="988619" y="200876"/>
                  </a:lnTo>
                  <a:lnTo>
                    <a:pt x="988619" y="199530"/>
                  </a:lnTo>
                  <a:lnTo>
                    <a:pt x="988619" y="200228"/>
                  </a:lnTo>
                  <a:lnTo>
                    <a:pt x="988619" y="199530"/>
                  </a:lnTo>
                  <a:lnTo>
                    <a:pt x="988619" y="200876"/>
                  </a:lnTo>
                  <a:lnTo>
                    <a:pt x="988619" y="199530"/>
                  </a:lnTo>
                  <a:lnTo>
                    <a:pt x="988670" y="199530"/>
                  </a:lnTo>
                  <a:lnTo>
                    <a:pt x="988670" y="198831"/>
                  </a:lnTo>
                  <a:lnTo>
                    <a:pt x="988670" y="202260"/>
                  </a:lnTo>
                  <a:lnTo>
                    <a:pt x="988670" y="200876"/>
                  </a:lnTo>
                  <a:lnTo>
                    <a:pt x="988772" y="200228"/>
                  </a:lnTo>
                  <a:lnTo>
                    <a:pt x="988772" y="202260"/>
                  </a:lnTo>
                  <a:lnTo>
                    <a:pt x="988772" y="200876"/>
                  </a:lnTo>
                  <a:lnTo>
                    <a:pt x="988772" y="202260"/>
                  </a:lnTo>
                  <a:lnTo>
                    <a:pt x="988822" y="200876"/>
                  </a:lnTo>
                  <a:lnTo>
                    <a:pt x="988822" y="202959"/>
                  </a:lnTo>
                  <a:lnTo>
                    <a:pt x="988873" y="202959"/>
                  </a:lnTo>
                  <a:lnTo>
                    <a:pt x="988873" y="203594"/>
                  </a:lnTo>
                  <a:lnTo>
                    <a:pt x="988873" y="202959"/>
                  </a:lnTo>
                  <a:lnTo>
                    <a:pt x="988873" y="203594"/>
                  </a:lnTo>
                  <a:lnTo>
                    <a:pt x="988975" y="203594"/>
                  </a:lnTo>
                  <a:lnTo>
                    <a:pt x="988975" y="204292"/>
                  </a:lnTo>
                  <a:lnTo>
                    <a:pt x="988975" y="203594"/>
                  </a:lnTo>
                  <a:lnTo>
                    <a:pt x="988975" y="204292"/>
                  </a:lnTo>
                  <a:lnTo>
                    <a:pt x="988975" y="203594"/>
                  </a:lnTo>
                  <a:lnTo>
                    <a:pt x="988975" y="204292"/>
                  </a:lnTo>
                  <a:lnTo>
                    <a:pt x="988975" y="203594"/>
                  </a:lnTo>
                  <a:lnTo>
                    <a:pt x="989013" y="204292"/>
                  </a:lnTo>
                  <a:lnTo>
                    <a:pt x="989013" y="202959"/>
                  </a:lnTo>
                  <a:lnTo>
                    <a:pt x="989064" y="202959"/>
                  </a:lnTo>
                  <a:lnTo>
                    <a:pt x="989064" y="202260"/>
                  </a:lnTo>
                  <a:lnTo>
                    <a:pt x="989064" y="202959"/>
                  </a:lnTo>
                  <a:lnTo>
                    <a:pt x="989064" y="202260"/>
                  </a:lnTo>
                  <a:lnTo>
                    <a:pt x="989064" y="202959"/>
                  </a:lnTo>
                  <a:lnTo>
                    <a:pt x="989115" y="202959"/>
                  </a:lnTo>
                  <a:lnTo>
                    <a:pt x="989115" y="203594"/>
                  </a:lnTo>
                  <a:lnTo>
                    <a:pt x="989115" y="202959"/>
                  </a:lnTo>
                  <a:lnTo>
                    <a:pt x="989115" y="203594"/>
                  </a:lnTo>
                  <a:lnTo>
                    <a:pt x="989115" y="200876"/>
                  </a:lnTo>
                  <a:lnTo>
                    <a:pt x="989115" y="203594"/>
                  </a:lnTo>
                  <a:lnTo>
                    <a:pt x="989216" y="203594"/>
                  </a:lnTo>
                  <a:lnTo>
                    <a:pt x="989216" y="204292"/>
                  </a:lnTo>
                  <a:lnTo>
                    <a:pt x="989216" y="202959"/>
                  </a:lnTo>
                  <a:lnTo>
                    <a:pt x="989216" y="203594"/>
                  </a:lnTo>
                  <a:lnTo>
                    <a:pt x="989267" y="203594"/>
                  </a:lnTo>
                  <a:lnTo>
                    <a:pt x="989267" y="202959"/>
                  </a:lnTo>
                  <a:lnTo>
                    <a:pt x="989267" y="203594"/>
                  </a:lnTo>
                  <a:lnTo>
                    <a:pt x="989318" y="203594"/>
                  </a:lnTo>
                  <a:lnTo>
                    <a:pt x="989318" y="204292"/>
                  </a:lnTo>
                  <a:lnTo>
                    <a:pt x="989419" y="203594"/>
                  </a:lnTo>
                  <a:lnTo>
                    <a:pt x="989419" y="204292"/>
                  </a:lnTo>
                  <a:lnTo>
                    <a:pt x="989419" y="203594"/>
                  </a:lnTo>
                  <a:lnTo>
                    <a:pt x="989419" y="204292"/>
                  </a:lnTo>
                  <a:lnTo>
                    <a:pt x="989419" y="203594"/>
                  </a:lnTo>
                  <a:lnTo>
                    <a:pt x="989419" y="204292"/>
                  </a:lnTo>
                  <a:lnTo>
                    <a:pt x="989419" y="203594"/>
                  </a:lnTo>
                  <a:lnTo>
                    <a:pt x="989470" y="203594"/>
                  </a:lnTo>
                  <a:lnTo>
                    <a:pt x="989470" y="204990"/>
                  </a:lnTo>
                  <a:lnTo>
                    <a:pt x="989470" y="204292"/>
                  </a:lnTo>
                  <a:lnTo>
                    <a:pt x="989521" y="203594"/>
                  </a:lnTo>
                  <a:lnTo>
                    <a:pt x="989521" y="204292"/>
                  </a:lnTo>
                  <a:lnTo>
                    <a:pt x="989521" y="202959"/>
                  </a:lnTo>
                  <a:lnTo>
                    <a:pt x="989559" y="202260"/>
                  </a:lnTo>
                  <a:lnTo>
                    <a:pt x="989559" y="202959"/>
                  </a:lnTo>
                  <a:lnTo>
                    <a:pt x="989559" y="202260"/>
                  </a:lnTo>
                  <a:lnTo>
                    <a:pt x="989559" y="202959"/>
                  </a:lnTo>
                  <a:lnTo>
                    <a:pt x="989559" y="202260"/>
                  </a:lnTo>
                  <a:lnTo>
                    <a:pt x="989559" y="204292"/>
                  </a:lnTo>
                  <a:lnTo>
                    <a:pt x="989559" y="203594"/>
                  </a:lnTo>
                  <a:lnTo>
                    <a:pt x="989661" y="203594"/>
                  </a:lnTo>
                  <a:lnTo>
                    <a:pt x="989661" y="204292"/>
                  </a:lnTo>
                  <a:lnTo>
                    <a:pt x="989661" y="203594"/>
                  </a:lnTo>
                  <a:lnTo>
                    <a:pt x="989661" y="206324"/>
                  </a:lnTo>
                  <a:lnTo>
                    <a:pt x="989661" y="204292"/>
                  </a:lnTo>
                  <a:lnTo>
                    <a:pt x="989712" y="204292"/>
                  </a:lnTo>
                  <a:lnTo>
                    <a:pt x="989712" y="204990"/>
                  </a:lnTo>
                  <a:lnTo>
                    <a:pt x="989712" y="204292"/>
                  </a:lnTo>
                  <a:lnTo>
                    <a:pt x="989712" y="204990"/>
                  </a:lnTo>
                  <a:lnTo>
                    <a:pt x="989712" y="204292"/>
                  </a:lnTo>
                  <a:lnTo>
                    <a:pt x="989762" y="204292"/>
                  </a:lnTo>
                  <a:lnTo>
                    <a:pt x="989762" y="204990"/>
                  </a:lnTo>
                  <a:lnTo>
                    <a:pt x="989762" y="204292"/>
                  </a:lnTo>
                  <a:lnTo>
                    <a:pt x="989762" y="204990"/>
                  </a:lnTo>
                  <a:lnTo>
                    <a:pt x="989762" y="204292"/>
                  </a:lnTo>
                  <a:lnTo>
                    <a:pt x="989864" y="204990"/>
                  </a:lnTo>
                  <a:lnTo>
                    <a:pt x="989864" y="204292"/>
                  </a:lnTo>
                  <a:lnTo>
                    <a:pt x="989864" y="204990"/>
                  </a:lnTo>
                  <a:lnTo>
                    <a:pt x="989864" y="204292"/>
                  </a:lnTo>
                  <a:lnTo>
                    <a:pt x="989864" y="204990"/>
                  </a:lnTo>
                  <a:lnTo>
                    <a:pt x="989915" y="204292"/>
                  </a:lnTo>
                  <a:lnTo>
                    <a:pt x="989915" y="204990"/>
                  </a:lnTo>
                  <a:lnTo>
                    <a:pt x="989915" y="203594"/>
                  </a:lnTo>
                  <a:lnTo>
                    <a:pt x="989915" y="204292"/>
                  </a:lnTo>
                  <a:lnTo>
                    <a:pt x="989966" y="204292"/>
                  </a:lnTo>
                  <a:lnTo>
                    <a:pt x="989966" y="202959"/>
                  </a:lnTo>
                  <a:lnTo>
                    <a:pt x="989966" y="203594"/>
                  </a:lnTo>
                  <a:lnTo>
                    <a:pt x="989966" y="202959"/>
                  </a:lnTo>
                  <a:lnTo>
                    <a:pt x="990016" y="202260"/>
                  </a:lnTo>
                  <a:lnTo>
                    <a:pt x="990016" y="202959"/>
                  </a:lnTo>
                  <a:lnTo>
                    <a:pt x="990016" y="202260"/>
                  </a:lnTo>
                  <a:lnTo>
                    <a:pt x="990016" y="202959"/>
                  </a:lnTo>
                  <a:lnTo>
                    <a:pt x="990016" y="200876"/>
                  </a:lnTo>
                  <a:lnTo>
                    <a:pt x="990105" y="200876"/>
                  </a:lnTo>
                  <a:lnTo>
                    <a:pt x="990105" y="200228"/>
                  </a:lnTo>
                  <a:lnTo>
                    <a:pt x="990105" y="203594"/>
                  </a:lnTo>
                  <a:lnTo>
                    <a:pt x="990105" y="202260"/>
                  </a:lnTo>
                  <a:lnTo>
                    <a:pt x="990105" y="202959"/>
                  </a:lnTo>
                  <a:lnTo>
                    <a:pt x="990105" y="202260"/>
                  </a:lnTo>
                  <a:lnTo>
                    <a:pt x="990156" y="202959"/>
                  </a:lnTo>
                  <a:lnTo>
                    <a:pt x="990156" y="204990"/>
                  </a:lnTo>
                  <a:lnTo>
                    <a:pt x="990156" y="203594"/>
                  </a:lnTo>
                  <a:lnTo>
                    <a:pt x="990207" y="204292"/>
                  </a:lnTo>
                  <a:lnTo>
                    <a:pt x="990207" y="203594"/>
                  </a:lnTo>
                  <a:lnTo>
                    <a:pt x="990207" y="204292"/>
                  </a:lnTo>
                  <a:lnTo>
                    <a:pt x="990258" y="204292"/>
                  </a:lnTo>
                  <a:lnTo>
                    <a:pt x="990258" y="204990"/>
                  </a:lnTo>
                  <a:lnTo>
                    <a:pt x="990258" y="204292"/>
                  </a:lnTo>
                  <a:lnTo>
                    <a:pt x="990258" y="204990"/>
                  </a:lnTo>
                  <a:lnTo>
                    <a:pt x="990359" y="204990"/>
                  </a:lnTo>
                  <a:lnTo>
                    <a:pt x="990359" y="206324"/>
                  </a:lnTo>
                  <a:lnTo>
                    <a:pt x="990359" y="204990"/>
                  </a:lnTo>
                  <a:lnTo>
                    <a:pt x="990410" y="204990"/>
                  </a:lnTo>
                  <a:lnTo>
                    <a:pt x="990410" y="204292"/>
                  </a:lnTo>
                  <a:lnTo>
                    <a:pt x="990410" y="204990"/>
                  </a:lnTo>
                  <a:lnTo>
                    <a:pt x="990410" y="204292"/>
                  </a:lnTo>
                  <a:lnTo>
                    <a:pt x="990410" y="204990"/>
                  </a:lnTo>
                  <a:lnTo>
                    <a:pt x="990410" y="204292"/>
                  </a:lnTo>
                  <a:lnTo>
                    <a:pt x="990410" y="204990"/>
                  </a:lnTo>
                  <a:lnTo>
                    <a:pt x="990461" y="204990"/>
                  </a:lnTo>
                  <a:lnTo>
                    <a:pt x="990461" y="203594"/>
                  </a:lnTo>
                  <a:lnTo>
                    <a:pt x="990461" y="204292"/>
                  </a:lnTo>
                  <a:lnTo>
                    <a:pt x="990461" y="202959"/>
                  </a:lnTo>
                  <a:lnTo>
                    <a:pt x="990461" y="203594"/>
                  </a:lnTo>
                  <a:lnTo>
                    <a:pt x="990461" y="202959"/>
                  </a:lnTo>
                  <a:lnTo>
                    <a:pt x="990562" y="202959"/>
                  </a:lnTo>
                  <a:lnTo>
                    <a:pt x="990562" y="200876"/>
                  </a:lnTo>
                  <a:lnTo>
                    <a:pt x="990562" y="202260"/>
                  </a:lnTo>
                  <a:lnTo>
                    <a:pt x="990562" y="200228"/>
                  </a:lnTo>
                  <a:lnTo>
                    <a:pt x="990601" y="200228"/>
                  </a:lnTo>
                  <a:lnTo>
                    <a:pt x="990601" y="202260"/>
                  </a:lnTo>
                  <a:lnTo>
                    <a:pt x="990601" y="200876"/>
                  </a:lnTo>
                  <a:lnTo>
                    <a:pt x="990601" y="202260"/>
                  </a:lnTo>
                  <a:lnTo>
                    <a:pt x="990651" y="202260"/>
                  </a:lnTo>
                  <a:lnTo>
                    <a:pt x="990651" y="203594"/>
                  </a:lnTo>
                  <a:lnTo>
                    <a:pt x="990651" y="202260"/>
                  </a:lnTo>
                  <a:lnTo>
                    <a:pt x="990651" y="202959"/>
                  </a:lnTo>
                  <a:lnTo>
                    <a:pt x="990651" y="202260"/>
                  </a:lnTo>
                  <a:lnTo>
                    <a:pt x="990651" y="202959"/>
                  </a:lnTo>
                  <a:lnTo>
                    <a:pt x="990702" y="202959"/>
                  </a:lnTo>
                  <a:lnTo>
                    <a:pt x="990702" y="203594"/>
                  </a:lnTo>
                  <a:lnTo>
                    <a:pt x="990702" y="202959"/>
                  </a:lnTo>
                  <a:lnTo>
                    <a:pt x="990702" y="203594"/>
                  </a:lnTo>
                  <a:lnTo>
                    <a:pt x="990702" y="202959"/>
                  </a:lnTo>
                  <a:lnTo>
                    <a:pt x="990702" y="203594"/>
                  </a:lnTo>
                  <a:lnTo>
                    <a:pt x="990804" y="203594"/>
                  </a:lnTo>
                  <a:lnTo>
                    <a:pt x="990804" y="204292"/>
                  </a:lnTo>
                  <a:lnTo>
                    <a:pt x="990855" y="204292"/>
                  </a:lnTo>
                  <a:lnTo>
                    <a:pt x="990855" y="204990"/>
                  </a:lnTo>
                  <a:lnTo>
                    <a:pt x="990855" y="204292"/>
                  </a:lnTo>
                  <a:lnTo>
                    <a:pt x="990855" y="204990"/>
                  </a:lnTo>
                  <a:lnTo>
                    <a:pt x="990855" y="204292"/>
                  </a:lnTo>
                  <a:lnTo>
                    <a:pt x="990855" y="204990"/>
                  </a:lnTo>
                  <a:lnTo>
                    <a:pt x="990855" y="204292"/>
                  </a:lnTo>
                  <a:lnTo>
                    <a:pt x="990855" y="204990"/>
                  </a:lnTo>
                  <a:lnTo>
                    <a:pt x="990855" y="204292"/>
                  </a:lnTo>
                  <a:lnTo>
                    <a:pt x="990905" y="204292"/>
                  </a:lnTo>
                  <a:lnTo>
                    <a:pt x="990905" y="203594"/>
                  </a:lnTo>
                  <a:lnTo>
                    <a:pt x="990905" y="204292"/>
                  </a:lnTo>
                  <a:lnTo>
                    <a:pt x="991007" y="204292"/>
                  </a:lnTo>
                  <a:lnTo>
                    <a:pt x="991007" y="203594"/>
                  </a:lnTo>
                  <a:lnTo>
                    <a:pt x="991007" y="204292"/>
                  </a:lnTo>
                  <a:lnTo>
                    <a:pt x="991007" y="202959"/>
                  </a:lnTo>
                  <a:lnTo>
                    <a:pt x="991058" y="202959"/>
                  </a:lnTo>
                  <a:lnTo>
                    <a:pt x="991058" y="202260"/>
                  </a:lnTo>
                  <a:lnTo>
                    <a:pt x="991058" y="202959"/>
                  </a:lnTo>
                  <a:lnTo>
                    <a:pt x="991058" y="200228"/>
                  </a:lnTo>
                  <a:lnTo>
                    <a:pt x="991108" y="200228"/>
                  </a:lnTo>
                  <a:lnTo>
                    <a:pt x="991108" y="202260"/>
                  </a:lnTo>
                  <a:lnTo>
                    <a:pt x="991108" y="200228"/>
                  </a:lnTo>
                  <a:lnTo>
                    <a:pt x="991147" y="200228"/>
                  </a:lnTo>
                  <a:lnTo>
                    <a:pt x="991147" y="202959"/>
                  </a:lnTo>
                  <a:lnTo>
                    <a:pt x="991147" y="200876"/>
                  </a:lnTo>
                  <a:lnTo>
                    <a:pt x="991147" y="202260"/>
                  </a:lnTo>
                  <a:lnTo>
                    <a:pt x="991248" y="202260"/>
                  </a:lnTo>
                  <a:lnTo>
                    <a:pt x="991248" y="202959"/>
                  </a:lnTo>
                  <a:lnTo>
                    <a:pt x="991248" y="202260"/>
                  </a:lnTo>
                  <a:lnTo>
                    <a:pt x="991248" y="202959"/>
                  </a:lnTo>
                  <a:lnTo>
                    <a:pt x="991299" y="202959"/>
                  </a:lnTo>
                  <a:lnTo>
                    <a:pt x="991299" y="203594"/>
                  </a:lnTo>
                  <a:lnTo>
                    <a:pt x="991299" y="202959"/>
                  </a:lnTo>
                  <a:lnTo>
                    <a:pt x="991299" y="203594"/>
                  </a:lnTo>
                  <a:lnTo>
                    <a:pt x="991299" y="202959"/>
                  </a:lnTo>
                  <a:lnTo>
                    <a:pt x="991350" y="203594"/>
                  </a:lnTo>
                  <a:lnTo>
                    <a:pt x="991350" y="202959"/>
                  </a:lnTo>
                  <a:lnTo>
                    <a:pt x="991350" y="204292"/>
                  </a:lnTo>
                  <a:lnTo>
                    <a:pt x="991350" y="203594"/>
                  </a:lnTo>
                  <a:lnTo>
                    <a:pt x="991350" y="204292"/>
                  </a:lnTo>
                  <a:lnTo>
                    <a:pt x="991451" y="204292"/>
                  </a:lnTo>
                  <a:lnTo>
                    <a:pt x="991451" y="203594"/>
                  </a:lnTo>
                  <a:lnTo>
                    <a:pt x="991451" y="204292"/>
                  </a:lnTo>
                  <a:lnTo>
                    <a:pt x="991451" y="203594"/>
                  </a:lnTo>
                  <a:lnTo>
                    <a:pt x="991502" y="203594"/>
                  </a:lnTo>
                  <a:lnTo>
                    <a:pt x="991502" y="204292"/>
                  </a:lnTo>
                  <a:lnTo>
                    <a:pt x="991502" y="203594"/>
                  </a:lnTo>
                  <a:lnTo>
                    <a:pt x="991502" y="204292"/>
                  </a:lnTo>
                  <a:lnTo>
                    <a:pt x="991502" y="202959"/>
                  </a:lnTo>
                  <a:lnTo>
                    <a:pt x="991553" y="202959"/>
                  </a:lnTo>
                  <a:lnTo>
                    <a:pt x="991553" y="202260"/>
                  </a:lnTo>
                  <a:lnTo>
                    <a:pt x="991553" y="202959"/>
                  </a:lnTo>
                  <a:lnTo>
                    <a:pt x="991553" y="200876"/>
                  </a:lnTo>
                  <a:lnTo>
                    <a:pt x="991604" y="200876"/>
                  </a:lnTo>
                  <a:lnTo>
                    <a:pt x="991604" y="202260"/>
                  </a:lnTo>
                  <a:lnTo>
                    <a:pt x="991604" y="200228"/>
                  </a:lnTo>
                  <a:lnTo>
                    <a:pt x="991604" y="202260"/>
                  </a:lnTo>
                  <a:lnTo>
                    <a:pt x="991693" y="202260"/>
                  </a:lnTo>
                  <a:lnTo>
                    <a:pt x="991693" y="202959"/>
                  </a:lnTo>
                  <a:lnTo>
                    <a:pt x="991693" y="202260"/>
                  </a:lnTo>
                  <a:lnTo>
                    <a:pt x="991693" y="202959"/>
                  </a:lnTo>
                  <a:lnTo>
                    <a:pt x="991693" y="200876"/>
                  </a:lnTo>
                  <a:lnTo>
                    <a:pt x="991693" y="202959"/>
                  </a:lnTo>
                  <a:lnTo>
                    <a:pt x="991693" y="202260"/>
                  </a:lnTo>
                  <a:lnTo>
                    <a:pt x="991743" y="202260"/>
                  </a:lnTo>
                  <a:lnTo>
                    <a:pt x="991743" y="200876"/>
                  </a:lnTo>
                  <a:lnTo>
                    <a:pt x="991743" y="202959"/>
                  </a:lnTo>
                  <a:lnTo>
                    <a:pt x="991743" y="202260"/>
                  </a:lnTo>
                  <a:lnTo>
                    <a:pt x="991794" y="202959"/>
                  </a:lnTo>
                  <a:lnTo>
                    <a:pt x="991794" y="202260"/>
                  </a:lnTo>
                  <a:lnTo>
                    <a:pt x="991794" y="202959"/>
                  </a:lnTo>
                  <a:lnTo>
                    <a:pt x="991794" y="202260"/>
                  </a:lnTo>
                  <a:lnTo>
                    <a:pt x="991794" y="202959"/>
                  </a:lnTo>
                  <a:lnTo>
                    <a:pt x="991794" y="202260"/>
                  </a:lnTo>
                  <a:lnTo>
                    <a:pt x="991794" y="203594"/>
                  </a:lnTo>
                  <a:lnTo>
                    <a:pt x="991845" y="202959"/>
                  </a:lnTo>
                  <a:lnTo>
                    <a:pt x="991845" y="203594"/>
                  </a:lnTo>
                  <a:lnTo>
                    <a:pt x="991845" y="202959"/>
                  </a:lnTo>
                  <a:lnTo>
                    <a:pt x="991845" y="204292"/>
                  </a:lnTo>
                  <a:lnTo>
                    <a:pt x="991845" y="203594"/>
                  </a:lnTo>
                  <a:lnTo>
                    <a:pt x="991845" y="204292"/>
                  </a:lnTo>
                  <a:lnTo>
                    <a:pt x="991845" y="203594"/>
                  </a:lnTo>
                  <a:lnTo>
                    <a:pt x="991947" y="203594"/>
                  </a:lnTo>
                  <a:lnTo>
                    <a:pt x="991947" y="202959"/>
                  </a:lnTo>
                  <a:lnTo>
                    <a:pt x="991947" y="203594"/>
                  </a:lnTo>
                  <a:lnTo>
                    <a:pt x="991947" y="202959"/>
                  </a:lnTo>
                  <a:lnTo>
                    <a:pt x="991947" y="203594"/>
                  </a:lnTo>
                  <a:lnTo>
                    <a:pt x="991947" y="202959"/>
                  </a:lnTo>
                  <a:lnTo>
                    <a:pt x="991997" y="202959"/>
                  </a:lnTo>
                  <a:lnTo>
                    <a:pt x="991997" y="203594"/>
                  </a:lnTo>
                  <a:lnTo>
                    <a:pt x="991997" y="202959"/>
                  </a:lnTo>
                  <a:lnTo>
                    <a:pt x="992048" y="202959"/>
                  </a:lnTo>
                  <a:lnTo>
                    <a:pt x="992048" y="202260"/>
                  </a:lnTo>
                  <a:lnTo>
                    <a:pt x="992048" y="203594"/>
                  </a:lnTo>
                  <a:lnTo>
                    <a:pt x="992048" y="202959"/>
                  </a:lnTo>
                  <a:lnTo>
                    <a:pt x="992150" y="202959"/>
                  </a:lnTo>
                  <a:lnTo>
                    <a:pt x="992150" y="202260"/>
                  </a:lnTo>
                  <a:lnTo>
                    <a:pt x="992150" y="204990"/>
                  </a:lnTo>
                  <a:lnTo>
                    <a:pt x="992150" y="203594"/>
                  </a:lnTo>
                  <a:lnTo>
                    <a:pt x="992150" y="204292"/>
                  </a:lnTo>
                  <a:lnTo>
                    <a:pt x="992150" y="203594"/>
                  </a:lnTo>
                  <a:lnTo>
                    <a:pt x="992188" y="203594"/>
                  </a:lnTo>
                  <a:lnTo>
                    <a:pt x="992188" y="202959"/>
                  </a:lnTo>
                  <a:lnTo>
                    <a:pt x="992188" y="204990"/>
                  </a:lnTo>
                  <a:lnTo>
                    <a:pt x="992188" y="203594"/>
                  </a:lnTo>
                  <a:lnTo>
                    <a:pt x="992239" y="203594"/>
                  </a:lnTo>
                  <a:lnTo>
                    <a:pt x="992239" y="204990"/>
                  </a:lnTo>
                  <a:lnTo>
                    <a:pt x="992239" y="203594"/>
                  </a:lnTo>
                  <a:lnTo>
                    <a:pt x="992290" y="203594"/>
                  </a:lnTo>
                  <a:lnTo>
                    <a:pt x="992290" y="204292"/>
                  </a:lnTo>
                  <a:lnTo>
                    <a:pt x="992290" y="203594"/>
                  </a:lnTo>
                  <a:lnTo>
                    <a:pt x="992391" y="203594"/>
                  </a:lnTo>
                  <a:lnTo>
                    <a:pt x="992391" y="204292"/>
                  </a:lnTo>
                  <a:lnTo>
                    <a:pt x="992391" y="203594"/>
                  </a:lnTo>
                  <a:lnTo>
                    <a:pt x="992442" y="204292"/>
                  </a:lnTo>
                  <a:lnTo>
                    <a:pt x="992442" y="203594"/>
                  </a:lnTo>
                  <a:lnTo>
                    <a:pt x="992442" y="204292"/>
                  </a:lnTo>
                  <a:lnTo>
                    <a:pt x="992442" y="203594"/>
                  </a:lnTo>
                  <a:lnTo>
                    <a:pt x="992493" y="202959"/>
                  </a:lnTo>
                  <a:lnTo>
                    <a:pt x="992493" y="203594"/>
                  </a:lnTo>
                  <a:lnTo>
                    <a:pt x="992493" y="202260"/>
                  </a:lnTo>
                  <a:lnTo>
                    <a:pt x="992594" y="202260"/>
                  </a:lnTo>
                  <a:lnTo>
                    <a:pt x="992594" y="200876"/>
                  </a:lnTo>
                  <a:lnTo>
                    <a:pt x="992594" y="203594"/>
                  </a:lnTo>
                  <a:lnTo>
                    <a:pt x="992594" y="200876"/>
                  </a:lnTo>
                  <a:lnTo>
                    <a:pt x="992645" y="200876"/>
                  </a:lnTo>
                  <a:lnTo>
                    <a:pt x="992645" y="204292"/>
                  </a:lnTo>
                  <a:lnTo>
                    <a:pt x="992645" y="203594"/>
                  </a:lnTo>
                  <a:lnTo>
                    <a:pt x="992696" y="203594"/>
                  </a:lnTo>
                  <a:lnTo>
                    <a:pt x="992696" y="204292"/>
                  </a:lnTo>
                  <a:lnTo>
                    <a:pt x="992696" y="203594"/>
                  </a:lnTo>
                  <a:lnTo>
                    <a:pt x="992696" y="204292"/>
                  </a:lnTo>
                  <a:lnTo>
                    <a:pt x="992696" y="203594"/>
                  </a:lnTo>
                  <a:lnTo>
                    <a:pt x="992734" y="204292"/>
                  </a:lnTo>
                  <a:lnTo>
                    <a:pt x="992734" y="204990"/>
                  </a:lnTo>
                  <a:lnTo>
                    <a:pt x="992734" y="204292"/>
                  </a:lnTo>
                  <a:lnTo>
                    <a:pt x="992734" y="204990"/>
                  </a:lnTo>
                  <a:lnTo>
                    <a:pt x="992836" y="204292"/>
                  </a:lnTo>
                  <a:lnTo>
                    <a:pt x="992836" y="204990"/>
                  </a:lnTo>
                  <a:lnTo>
                    <a:pt x="992836" y="204292"/>
                  </a:lnTo>
                  <a:lnTo>
                    <a:pt x="992836" y="204990"/>
                  </a:lnTo>
                  <a:lnTo>
                    <a:pt x="992836" y="204292"/>
                  </a:lnTo>
                  <a:lnTo>
                    <a:pt x="992887" y="204292"/>
                  </a:lnTo>
                  <a:lnTo>
                    <a:pt x="992887" y="203594"/>
                  </a:lnTo>
                  <a:lnTo>
                    <a:pt x="992887" y="204292"/>
                  </a:lnTo>
                  <a:lnTo>
                    <a:pt x="992937" y="204292"/>
                  </a:lnTo>
                  <a:lnTo>
                    <a:pt x="992937" y="202959"/>
                  </a:lnTo>
                  <a:lnTo>
                    <a:pt x="993039" y="202959"/>
                  </a:lnTo>
                  <a:lnTo>
                    <a:pt x="993039" y="200876"/>
                  </a:lnTo>
                  <a:lnTo>
                    <a:pt x="993090" y="202260"/>
                  </a:lnTo>
                  <a:lnTo>
                    <a:pt x="993090" y="202959"/>
                  </a:lnTo>
                  <a:lnTo>
                    <a:pt x="993090" y="200228"/>
                  </a:lnTo>
                  <a:lnTo>
                    <a:pt x="993090" y="202959"/>
                  </a:lnTo>
                  <a:lnTo>
                    <a:pt x="993141" y="203594"/>
                  </a:lnTo>
                  <a:lnTo>
                    <a:pt x="993141" y="204292"/>
                  </a:lnTo>
                  <a:lnTo>
                    <a:pt x="993141" y="202959"/>
                  </a:lnTo>
                  <a:lnTo>
                    <a:pt x="993141" y="204292"/>
                  </a:lnTo>
                  <a:lnTo>
                    <a:pt x="993280" y="204292"/>
                  </a:lnTo>
                  <a:lnTo>
                    <a:pt x="993280" y="204990"/>
                  </a:lnTo>
                  <a:lnTo>
                    <a:pt x="993280" y="204292"/>
                  </a:lnTo>
                  <a:lnTo>
                    <a:pt x="993280" y="204990"/>
                  </a:lnTo>
                  <a:lnTo>
                    <a:pt x="993280" y="204292"/>
                  </a:lnTo>
                  <a:lnTo>
                    <a:pt x="993331" y="204292"/>
                  </a:lnTo>
                  <a:lnTo>
                    <a:pt x="993331" y="204990"/>
                  </a:lnTo>
                  <a:lnTo>
                    <a:pt x="993331" y="204292"/>
                  </a:lnTo>
                  <a:lnTo>
                    <a:pt x="993331" y="204990"/>
                  </a:lnTo>
                  <a:lnTo>
                    <a:pt x="993382" y="204990"/>
                  </a:lnTo>
                  <a:lnTo>
                    <a:pt x="993382" y="204292"/>
                  </a:lnTo>
                  <a:lnTo>
                    <a:pt x="993382" y="204990"/>
                  </a:lnTo>
                  <a:lnTo>
                    <a:pt x="993382" y="204292"/>
                  </a:lnTo>
                  <a:lnTo>
                    <a:pt x="993382" y="204990"/>
                  </a:lnTo>
                  <a:lnTo>
                    <a:pt x="993382" y="204292"/>
                  </a:lnTo>
                  <a:lnTo>
                    <a:pt x="993433" y="204292"/>
                  </a:lnTo>
                  <a:lnTo>
                    <a:pt x="993433" y="203594"/>
                  </a:lnTo>
                  <a:lnTo>
                    <a:pt x="993433" y="204292"/>
                  </a:lnTo>
                  <a:lnTo>
                    <a:pt x="993433" y="203594"/>
                  </a:lnTo>
                  <a:lnTo>
                    <a:pt x="993534" y="202959"/>
                  </a:lnTo>
                  <a:lnTo>
                    <a:pt x="993534" y="200876"/>
                  </a:lnTo>
                  <a:lnTo>
                    <a:pt x="993534" y="203594"/>
                  </a:lnTo>
                  <a:lnTo>
                    <a:pt x="993534" y="202959"/>
                  </a:lnTo>
                  <a:lnTo>
                    <a:pt x="993585" y="202959"/>
                  </a:lnTo>
                  <a:lnTo>
                    <a:pt x="993585" y="200876"/>
                  </a:lnTo>
                  <a:lnTo>
                    <a:pt x="993585" y="204292"/>
                  </a:lnTo>
                  <a:lnTo>
                    <a:pt x="993585" y="203594"/>
                  </a:lnTo>
                  <a:lnTo>
                    <a:pt x="993636" y="202959"/>
                  </a:lnTo>
                  <a:lnTo>
                    <a:pt x="993636" y="203594"/>
                  </a:lnTo>
                  <a:lnTo>
                    <a:pt x="993636" y="202959"/>
                  </a:lnTo>
                  <a:lnTo>
                    <a:pt x="993636" y="204292"/>
                  </a:lnTo>
                  <a:lnTo>
                    <a:pt x="993737" y="204292"/>
                  </a:lnTo>
                  <a:lnTo>
                    <a:pt x="993737" y="203594"/>
                  </a:lnTo>
                  <a:lnTo>
                    <a:pt x="993737" y="204292"/>
                  </a:lnTo>
                  <a:lnTo>
                    <a:pt x="993776" y="203594"/>
                  </a:lnTo>
                  <a:lnTo>
                    <a:pt x="993776" y="204292"/>
                  </a:lnTo>
                  <a:lnTo>
                    <a:pt x="993776" y="203594"/>
                  </a:lnTo>
                  <a:lnTo>
                    <a:pt x="993826" y="204292"/>
                  </a:lnTo>
                  <a:lnTo>
                    <a:pt x="993826" y="203594"/>
                  </a:lnTo>
                  <a:lnTo>
                    <a:pt x="993826" y="204990"/>
                  </a:lnTo>
                  <a:lnTo>
                    <a:pt x="993826" y="203594"/>
                  </a:lnTo>
                  <a:lnTo>
                    <a:pt x="993826" y="204292"/>
                  </a:lnTo>
                  <a:lnTo>
                    <a:pt x="993877" y="204292"/>
                  </a:lnTo>
                  <a:lnTo>
                    <a:pt x="993877" y="204990"/>
                  </a:lnTo>
                  <a:lnTo>
                    <a:pt x="993877" y="204292"/>
                  </a:lnTo>
                  <a:lnTo>
                    <a:pt x="993877" y="204990"/>
                  </a:lnTo>
                  <a:lnTo>
                    <a:pt x="993877" y="203594"/>
                  </a:lnTo>
                  <a:lnTo>
                    <a:pt x="993877" y="204292"/>
                  </a:lnTo>
                  <a:lnTo>
                    <a:pt x="993877" y="203594"/>
                  </a:lnTo>
                  <a:lnTo>
                    <a:pt x="993979" y="203594"/>
                  </a:lnTo>
                  <a:lnTo>
                    <a:pt x="993979" y="202260"/>
                  </a:lnTo>
                  <a:lnTo>
                    <a:pt x="993979" y="202959"/>
                  </a:lnTo>
                  <a:lnTo>
                    <a:pt x="993979" y="200876"/>
                  </a:lnTo>
                  <a:lnTo>
                    <a:pt x="994030" y="202260"/>
                  </a:lnTo>
                  <a:lnTo>
                    <a:pt x="994030" y="200228"/>
                  </a:lnTo>
                  <a:lnTo>
                    <a:pt x="994030" y="200876"/>
                  </a:lnTo>
                  <a:lnTo>
                    <a:pt x="994030" y="199530"/>
                  </a:lnTo>
                  <a:lnTo>
                    <a:pt x="994080" y="198831"/>
                  </a:lnTo>
                  <a:lnTo>
                    <a:pt x="994080" y="196799"/>
                  </a:lnTo>
                  <a:lnTo>
                    <a:pt x="994080" y="197447"/>
                  </a:lnTo>
                  <a:lnTo>
                    <a:pt x="994080" y="196113"/>
                  </a:lnTo>
                  <a:lnTo>
                    <a:pt x="994080" y="196799"/>
                  </a:lnTo>
                  <a:lnTo>
                    <a:pt x="994182" y="196799"/>
                  </a:lnTo>
                  <a:lnTo>
                    <a:pt x="994182" y="197447"/>
                  </a:lnTo>
                  <a:lnTo>
                    <a:pt x="994182" y="196799"/>
                  </a:lnTo>
                  <a:lnTo>
                    <a:pt x="994182" y="199530"/>
                  </a:lnTo>
                  <a:lnTo>
                    <a:pt x="994233" y="199530"/>
                  </a:lnTo>
                  <a:lnTo>
                    <a:pt x="994233" y="198831"/>
                  </a:lnTo>
                  <a:lnTo>
                    <a:pt x="994233" y="200228"/>
                  </a:lnTo>
                  <a:lnTo>
                    <a:pt x="994233" y="199530"/>
                  </a:lnTo>
                  <a:lnTo>
                    <a:pt x="994283" y="199530"/>
                  </a:lnTo>
                  <a:lnTo>
                    <a:pt x="994283" y="200876"/>
                  </a:lnTo>
                  <a:lnTo>
                    <a:pt x="994283" y="200228"/>
                  </a:lnTo>
                  <a:lnTo>
                    <a:pt x="994322" y="200228"/>
                  </a:lnTo>
                  <a:lnTo>
                    <a:pt x="994322" y="202959"/>
                  </a:lnTo>
                  <a:lnTo>
                    <a:pt x="994423" y="202959"/>
                  </a:lnTo>
                  <a:lnTo>
                    <a:pt x="994423" y="204292"/>
                  </a:lnTo>
                  <a:lnTo>
                    <a:pt x="994423" y="203594"/>
                  </a:lnTo>
                  <a:lnTo>
                    <a:pt x="994474" y="203594"/>
                  </a:lnTo>
                  <a:lnTo>
                    <a:pt x="994474" y="202959"/>
                  </a:lnTo>
                  <a:lnTo>
                    <a:pt x="994474" y="203594"/>
                  </a:lnTo>
                  <a:lnTo>
                    <a:pt x="994474" y="202959"/>
                  </a:lnTo>
                  <a:lnTo>
                    <a:pt x="994474" y="203594"/>
                  </a:lnTo>
                  <a:lnTo>
                    <a:pt x="994474" y="202959"/>
                  </a:lnTo>
                  <a:lnTo>
                    <a:pt x="994474" y="203594"/>
                  </a:lnTo>
                  <a:lnTo>
                    <a:pt x="994474" y="202959"/>
                  </a:lnTo>
                  <a:lnTo>
                    <a:pt x="994525" y="202959"/>
                  </a:lnTo>
                  <a:lnTo>
                    <a:pt x="994525" y="202260"/>
                  </a:lnTo>
                  <a:lnTo>
                    <a:pt x="994525" y="202959"/>
                  </a:lnTo>
                  <a:lnTo>
                    <a:pt x="994525" y="200228"/>
                  </a:lnTo>
                  <a:lnTo>
                    <a:pt x="994626" y="200228"/>
                  </a:lnTo>
                  <a:lnTo>
                    <a:pt x="994626" y="200876"/>
                  </a:lnTo>
                  <a:lnTo>
                    <a:pt x="994626" y="197447"/>
                  </a:lnTo>
                  <a:lnTo>
                    <a:pt x="994677" y="196799"/>
                  </a:lnTo>
                  <a:lnTo>
                    <a:pt x="994677" y="193383"/>
                  </a:lnTo>
                  <a:lnTo>
                    <a:pt x="994728" y="193383"/>
                  </a:lnTo>
                  <a:lnTo>
                    <a:pt x="994728" y="194716"/>
                  </a:lnTo>
                  <a:lnTo>
                    <a:pt x="994728" y="192684"/>
                  </a:lnTo>
                  <a:lnTo>
                    <a:pt x="994728" y="193383"/>
                  </a:lnTo>
                  <a:lnTo>
                    <a:pt x="994779" y="194716"/>
                  </a:lnTo>
                  <a:lnTo>
                    <a:pt x="994779" y="196113"/>
                  </a:lnTo>
                  <a:lnTo>
                    <a:pt x="994779" y="194716"/>
                  </a:lnTo>
                  <a:lnTo>
                    <a:pt x="994779" y="196113"/>
                  </a:lnTo>
                  <a:lnTo>
                    <a:pt x="994868" y="196113"/>
                  </a:lnTo>
                  <a:lnTo>
                    <a:pt x="994868" y="196799"/>
                  </a:lnTo>
                  <a:lnTo>
                    <a:pt x="994868" y="196113"/>
                  </a:lnTo>
                  <a:lnTo>
                    <a:pt x="994868" y="199530"/>
                  </a:lnTo>
                  <a:lnTo>
                    <a:pt x="994918" y="198831"/>
                  </a:lnTo>
                  <a:lnTo>
                    <a:pt x="994918" y="202260"/>
                  </a:lnTo>
                  <a:lnTo>
                    <a:pt x="994969" y="202260"/>
                  </a:lnTo>
                  <a:lnTo>
                    <a:pt x="994969" y="203594"/>
                  </a:lnTo>
                  <a:lnTo>
                    <a:pt x="994969" y="202959"/>
                  </a:lnTo>
                  <a:lnTo>
                    <a:pt x="994969" y="203594"/>
                  </a:lnTo>
                  <a:lnTo>
                    <a:pt x="995122" y="203594"/>
                  </a:lnTo>
                  <a:lnTo>
                    <a:pt x="995122" y="202959"/>
                  </a:lnTo>
                  <a:lnTo>
                    <a:pt x="995122" y="203594"/>
                  </a:lnTo>
                  <a:lnTo>
                    <a:pt x="995122" y="202260"/>
                  </a:lnTo>
                  <a:lnTo>
                    <a:pt x="995122" y="202959"/>
                  </a:lnTo>
                  <a:lnTo>
                    <a:pt x="995122" y="202260"/>
                  </a:lnTo>
                  <a:lnTo>
                    <a:pt x="995122" y="202959"/>
                  </a:lnTo>
                  <a:lnTo>
                    <a:pt x="995122" y="202260"/>
                  </a:lnTo>
                  <a:lnTo>
                    <a:pt x="995172" y="202260"/>
                  </a:lnTo>
                  <a:lnTo>
                    <a:pt x="995172" y="200228"/>
                  </a:lnTo>
                  <a:lnTo>
                    <a:pt x="995172" y="200876"/>
                  </a:lnTo>
                  <a:lnTo>
                    <a:pt x="995172" y="200228"/>
                  </a:lnTo>
                  <a:lnTo>
                    <a:pt x="995223" y="200228"/>
                  </a:lnTo>
                  <a:lnTo>
                    <a:pt x="995223" y="198831"/>
                  </a:lnTo>
                  <a:lnTo>
                    <a:pt x="995223" y="200876"/>
                  </a:lnTo>
                  <a:lnTo>
                    <a:pt x="995223" y="199530"/>
                  </a:lnTo>
                  <a:lnTo>
                    <a:pt x="995325" y="199530"/>
                  </a:lnTo>
                  <a:lnTo>
                    <a:pt x="995325" y="198831"/>
                  </a:lnTo>
                  <a:lnTo>
                    <a:pt x="995325" y="200228"/>
                  </a:lnTo>
                  <a:lnTo>
                    <a:pt x="995325" y="199530"/>
                  </a:lnTo>
                  <a:lnTo>
                    <a:pt x="995363" y="199530"/>
                  </a:lnTo>
                  <a:lnTo>
                    <a:pt x="995363" y="198831"/>
                  </a:lnTo>
                  <a:lnTo>
                    <a:pt x="995363" y="200228"/>
                  </a:lnTo>
                  <a:lnTo>
                    <a:pt x="995363" y="199530"/>
                  </a:lnTo>
                  <a:lnTo>
                    <a:pt x="995363" y="200228"/>
                  </a:lnTo>
                  <a:lnTo>
                    <a:pt x="995414" y="200228"/>
                  </a:lnTo>
                  <a:lnTo>
                    <a:pt x="995414" y="202260"/>
                  </a:lnTo>
                  <a:lnTo>
                    <a:pt x="995414" y="200876"/>
                  </a:lnTo>
                  <a:lnTo>
                    <a:pt x="995414" y="202260"/>
                  </a:lnTo>
                  <a:lnTo>
                    <a:pt x="995465" y="200876"/>
                  </a:lnTo>
                  <a:lnTo>
                    <a:pt x="995465" y="203594"/>
                  </a:lnTo>
                  <a:lnTo>
                    <a:pt x="995566" y="203594"/>
                  </a:lnTo>
                  <a:lnTo>
                    <a:pt x="995566" y="204292"/>
                  </a:lnTo>
                  <a:lnTo>
                    <a:pt x="995617" y="203594"/>
                  </a:lnTo>
                  <a:lnTo>
                    <a:pt x="995617" y="204292"/>
                  </a:lnTo>
                  <a:lnTo>
                    <a:pt x="995617" y="202959"/>
                  </a:lnTo>
                  <a:lnTo>
                    <a:pt x="995617" y="203594"/>
                  </a:lnTo>
                  <a:lnTo>
                    <a:pt x="995668" y="203594"/>
                  </a:lnTo>
                  <a:lnTo>
                    <a:pt x="995668" y="202959"/>
                  </a:lnTo>
                  <a:lnTo>
                    <a:pt x="995668" y="204990"/>
                  </a:lnTo>
                  <a:lnTo>
                    <a:pt x="995668" y="203594"/>
                  </a:lnTo>
                  <a:lnTo>
                    <a:pt x="995769" y="203594"/>
                  </a:lnTo>
                  <a:lnTo>
                    <a:pt x="995769" y="202959"/>
                  </a:lnTo>
                  <a:lnTo>
                    <a:pt x="995769" y="204990"/>
                  </a:lnTo>
                  <a:lnTo>
                    <a:pt x="995769" y="204292"/>
                  </a:lnTo>
                  <a:lnTo>
                    <a:pt x="995769" y="204990"/>
                  </a:lnTo>
                  <a:lnTo>
                    <a:pt x="995769" y="203594"/>
                  </a:lnTo>
                  <a:lnTo>
                    <a:pt x="995820" y="203594"/>
                  </a:lnTo>
                  <a:lnTo>
                    <a:pt x="995820" y="204292"/>
                  </a:lnTo>
                  <a:lnTo>
                    <a:pt x="995820" y="203594"/>
                  </a:lnTo>
                  <a:lnTo>
                    <a:pt x="995871" y="203594"/>
                  </a:lnTo>
                  <a:lnTo>
                    <a:pt x="995871" y="202959"/>
                  </a:lnTo>
                  <a:lnTo>
                    <a:pt x="995871" y="203594"/>
                  </a:lnTo>
                  <a:lnTo>
                    <a:pt x="995909" y="203594"/>
                  </a:lnTo>
                  <a:lnTo>
                    <a:pt x="995909" y="202959"/>
                  </a:lnTo>
                  <a:lnTo>
                    <a:pt x="995909" y="203594"/>
                  </a:lnTo>
                  <a:lnTo>
                    <a:pt x="995909" y="202959"/>
                  </a:lnTo>
                  <a:lnTo>
                    <a:pt x="995909" y="203594"/>
                  </a:lnTo>
                  <a:lnTo>
                    <a:pt x="995909" y="202959"/>
                  </a:lnTo>
                  <a:lnTo>
                    <a:pt x="996011" y="202959"/>
                  </a:lnTo>
                  <a:lnTo>
                    <a:pt x="996011" y="203594"/>
                  </a:lnTo>
                  <a:lnTo>
                    <a:pt x="996011" y="202959"/>
                  </a:lnTo>
                  <a:lnTo>
                    <a:pt x="996011" y="203594"/>
                  </a:lnTo>
                  <a:lnTo>
                    <a:pt x="996011" y="202959"/>
                  </a:lnTo>
                  <a:lnTo>
                    <a:pt x="996062" y="203594"/>
                  </a:lnTo>
                  <a:lnTo>
                    <a:pt x="996062" y="202959"/>
                  </a:lnTo>
                  <a:lnTo>
                    <a:pt x="996062" y="203594"/>
                  </a:lnTo>
                  <a:lnTo>
                    <a:pt x="996062" y="202959"/>
                  </a:lnTo>
                  <a:lnTo>
                    <a:pt x="996062" y="203594"/>
                  </a:lnTo>
                  <a:lnTo>
                    <a:pt x="996112" y="202959"/>
                  </a:lnTo>
                  <a:lnTo>
                    <a:pt x="996112" y="203594"/>
                  </a:lnTo>
                  <a:lnTo>
                    <a:pt x="996112" y="202959"/>
                  </a:lnTo>
                  <a:lnTo>
                    <a:pt x="996112" y="203594"/>
                  </a:lnTo>
                  <a:lnTo>
                    <a:pt x="996112" y="202959"/>
                  </a:lnTo>
                  <a:lnTo>
                    <a:pt x="996112" y="203594"/>
                  </a:lnTo>
                  <a:lnTo>
                    <a:pt x="996112" y="202959"/>
                  </a:lnTo>
                  <a:lnTo>
                    <a:pt x="996214" y="203594"/>
                  </a:lnTo>
                  <a:lnTo>
                    <a:pt x="996214" y="204292"/>
                  </a:lnTo>
                  <a:lnTo>
                    <a:pt x="996214" y="203594"/>
                  </a:lnTo>
                  <a:lnTo>
                    <a:pt x="996214" y="204990"/>
                  </a:lnTo>
                  <a:lnTo>
                    <a:pt x="996265" y="204990"/>
                  </a:lnTo>
                  <a:lnTo>
                    <a:pt x="996265" y="207022"/>
                  </a:lnTo>
                  <a:lnTo>
                    <a:pt x="996265" y="206324"/>
                  </a:lnTo>
                  <a:lnTo>
                    <a:pt x="996265" y="207022"/>
                  </a:lnTo>
                  <a:lnTo>
                    <a:pt x="996265" y="204990"/>
                  </a:lnTo>
                  <a:lnTo>
                    <a:pt x="996265" y="206324"/>
                  </a:lnTo>
                  <a:lnTo>
                    <a:pt x="996316" y="206324"/>
                  </a:lnTo>
                  <a:lnTo>
                    <a:pt x="996366" y="207022"/>
                  </a:lnTo>
                  <a:lnTo>
                    <a:pt x="996366" y="204990"/>
                  </a:lnTo>
                  <a:lnTo>
                    <a:pt x="996366" y="206324"/>
                  </a:lnTo>
                  <a:lnTo>
                    <a:pt x="996455" y="206324"/>
                  </a:lnTo>
                  <a:lnTo>
                    <a:pt x="996455" y="204990"/>
                  </a:lnTo>
                  <a:lnTo>
                    <a:pt x="996455" y="206324"/>
                  </a:lnTo>
                  <a:lnTo>
                    <a:pt x="996455" y="204990"/>
                  </a:lnTo>
                  <a:lnTo>
                    <a:pt x="996506" y="204990"/>
                  </a:lnTo>
                  <a:lnTo>
                    <a:pt x="996506" y="206324"/>
                  </a:lnTo>
                  <a:lnTo>
                    <a:pt x="996506" y="204292"/>
                  </a:lnTo>
                  <a:lnTo>
                    <a:pt x="996506" y="204990"/>
                  </a:lnTo>
                  <a:lnTo>
                    <a:pt x="996557" y="204292"/>
                  </a:lnTo>
                  <a:lnTo>
                    <a:pt x="996557" y="207721"/>
                  </a:lnTo>
                  <a:lnTo>
                    <a:pt x="996557" y="206324"/>
                  </a:lnTo>
                  <a:lnTo>
                    <a:pt x="996608" y="206324"/>
                  </a:lnTo>
                  <a:lnTo>
                    <a:pt x="996608" y="209753"/>
                  </a:lnTo>
                  <a:lnTo>
                    <a:pt x="996608" y="207721"/>
                  </a:lnTo>
                  <a:lnTo>
                    <a:pt x="996608" y="209753"/>
                  </a:lnTo>
                  <a:lnTo>
                    <a:pt x="996709" y="209753"/>
                  </a:lnTo>
                  <a:lnTo>
                    <a:pt x="996709" y="210451"/>
                  </a:lnTo>
                  <a:lnTo>
                    <a:pt x="996709" y="208407"/>
                  </a:lnTo>
                  <a:lnTo>
                    <a:pt x="996760" y="209753"/>
                  </a:lnTo>
                  <a:lnTo>
                    <a:pt x="996760" y="210451"/>
                  </a:lnTo>
                  <a:lnTo>
                    <a:pt x="996760" y="209753"/>
                  </a:lnTo>
                  <a:lnTo>
                    <a:pt x="996760" y="210451"/>
                  </a:lnTo>
                  <a:lnTo>
                    <a:pt x="996760" y="209753"/>
                  </a:lnTo>
                  <a:lnTo>
                    <a:pt x="996811" y="210451"/>
                  </a:lnTo>
                  <a:lnTo>
                    <a:pt x="996811" y="209753"/>
                  </a:lnTo>
                  <a:lnTo>
                    <a:pt x="996811" y="210451"/>
                  </a:lnTo>
                  <a:lnTo>
                    <a:pt x="996811" y="209753"/>
                  </a:lnTo>
                  <a:lnTo>
                    <a:pt x="996811" y="210451"/>
                  </a:lnTo>
                  <a:lnTo>
                    <a:pt x="996811" y="209753"/>
                  </a:lnTo>
                  <a:lnTo>
                    <a:pt x="996912" y="209753"/>
                  </a:lnTo>
                  <a:lnTo>
                    <a:pt x="996912" y="208407"/>
                  </a:lnTo>
                  <a:lnTo>
                    <a:pt x="996912" y="209753"/>
                  </a:lnTo>
                  <a:lnTo>
                    <a:pt x="996912" y="207721"/>
                  </a:lnTo>
                  <a:lnTo>
                    <a:pt x="996912" y="208407"/>
                  </a:lnTo>
                  <a:lnTo>
                    <a:pt x="996912" y="207721"/>
                  </a:lnTo>
                  <a:lnTo>
                    <a:pt x="996951" y="207721"/>
                  </a:lnTo>
                  <a:lnTo>
                    <a:pt x="996951" y="206324"/>
                  </a:lnTo>
                  <a:lnTo>
                    <a:pt x="996951" y="207022"/>
                  </a:lnTo>
                  <a:lnTo>
                    <a:pt x="996951" y="204990"/>
                  </a:lnTo>
                  <a:lnTo>
                    <a:pt x="997001" y="204990"/>
                  </a:lnTo>
                  <a:lnTo>
                    <a:pt x="997001" y="203594"/>
                  </a:lnTo>
                  <a:lnTo>
                    <a:pt x="997052" y="203594"/>
                  </a:lnTo>
                  <a:lnTo>
                    <a:pt x="997052" y="202959"/>
                  </a:lnTo>
                  <a:lnTo>
                    <a:pt x="997052" y="204292"/>
                  </a:lnTo>
                  <a:lnTo>
                    <a:pt x="997052" y="203594"/>
                  </a:lnTo>
                  <a:lnTo>
                    <a:pt x="997052" y="204292"/>
                  </a:lnTo>
                  <a:lnTo>
                    <a:pt x="997052" y="203594"/>
                  </a:lnTo>
                  <a:lnTo>
                    <a:pt x="997154" y="203594"/>
                  </a:lnTo>
                  <a:lnTo>
                    <a:pt x="997154" y="207022"/>
                  </a:lnTo>
                  <a:lnTo>
                    <a:pt x="997154" y="206324"/>
                  </a:lnTo>
                  <a:lnTo>
                    <a:pt x="997205" y="206324"/>
                  </a:lnTo>
                  <a:lnTo>
                    <a:pt x="997205" y="207022"/>
                  </a:lnTo>
                  <a:lnTo>
                    <a:pt x="997255" y="207022"/>
                  </a:lnTo>
                  <a:lnTo>
                    <a:pt x="997255" y="208407"/>
                  </a:lnTo>
                  <a:lnTo>
                    <a:pt x="997357" y="208407"/>
                  </a:lnTo>
                  <a:lnTo>
                    <a:pt x="997357" y="209753"/>
                  </a:lnTo>
                  <a:lnTo>
                    <a:pt x="997357" y="208407"/>
                  </a:lnTo>
                  <a:lnTo>
                    <a:pt x="997357" y="209753"/>
                  </a:lnTo>
                  <a:lnTo>
                    <a:pt x="997357" y="208407"/>
                  </a:lnTo>
                  <a:lnTo>
                    <a:pt x="997357" y="209753"/>
                  </a:lnTo>
                  <a:lnTo>
                    <a:pt x="997408" y="208407"/>
                  </a:lnTo>
                  <a:lnTo>
                    <a:pt x="997408" y="209753"/>
                  </a:lnTo>
                  <a:lnTo>
                    <a:pt x="997408" y="207721"/>
                  </a:lnTo>
                  <a:lnTo>
                    <a:pt x="997408" y="209753"/>
                  </a:lnTo>
                  <a:lnTo>
                    <a:pt x="997408" y="208407"/>
                  </a:lnTo>
                  <a:lnTo>
                    <a:pt x="997458" y="208407"/>
                  </a:lnTo>
                  <a:lnTo>
                    <a:pt x="997458" y="207721"/>
                  </a:lnTo>
                  <a:lnTo>
                    <a:pt x="997458" y="209753"/>
                  </a:lnTo>
                  <a:lnTo>
                    <a:pt x="997458" y="208407"/>
                  </a:lnTo>
                  <a:lnTo>
                    <a:pt x="997497" y="208407"/>
                  </a:lnTo>
                  <a:lnTo>
                    <a:pt x="997497" y="207721"/>
                  </a:lnTo>
                  <a:lnTo>
                    <a:pt x="997497" y="211137"/>
                  </a:lnTo>
                  <a:lnTo>
                    <a:pt x="997497" y="210451"/>
                  </a:lnTo>
                  <a:lnTo>
                    <a:pt x="997598" y="210451"/>
                  </a:lnTo>
                  <a:lnTo>
                    <a:pt x="997598" y="209753"/>
                  </a:lnTo>
                  <a:lnTo>
                    <a:pt x="997598" y="211137"/>
                  </a:lnTo>
                  <a:lnTo>
                    <a:pt x="997598" y="209753"/>
                  </a:lnTo>
                  <a:lnTo>
                    <a:pt x="997649" y="209753"/>
                  </a:lnTo>
                  <a:lnTo>
                    <a:pt x="997649" y="210451"/>
                  </a:lnTo>
                  <a:lnTo>
                    <a:pt x="997649" y="209753"/>
                  </a:lnTo>
                  <a:lnTo>
                    <a:pt x="997649" y="210451"/>
                  </a:lnTo>
                  <a:lnTo>
                    <a:pt x="997649" y="208407"/>
                  </a:lnTo>
                  <a:lnTo>
                    <a:pt x="997649" y="209753"/>
                  </a:lnTo>
                  <a:lnTo>
                    <a:pt x="997700" y="209753"/>
                  </a:lnTo>
                  <a:lnTo>
                    <a:pt x="997700" y="208407"/>
                  </a:lnTo>
                  <a:lnTo>
                    <a:pt x="997801" y="208407"/>
                  </a:lnTo>
                  <a:lnTo>
                    <a:pt x="997801" y="207721"/>
                  </a:lnTo>
                  <a:lnTo>
                    <a:pt x="997852" y="207721"/>
                  </a:lnTo>
                  <a:lnTo>
                    <a:pt x="997852" y="208407"/>
                  </a:lnTo>
                  <a:lnTo>
                    <a:pt x="997852" y="207022"/>
                  </a:lnTo>
                  <a:lnTo>
                    <a:pt x="997852" y="207721"/>
                  </a:lnTo>
                  <a:lnTo>
                    <a:pt x="997852" y="207022"/>
                  </a:lnTo>
                  <a:lnTo>
                    <a:pt x="997903" y="207022"/>
                  </a:lnTo>
                  <a:lnTo>
                    <a:pt x="997903" y="204990"/>
                  </a:lnTo>
                  <a:lnTo>
                    <a:pt x="997954" y="204990"/>
                  </a:lnTo>
                  <a:lnTo>
                    <a:pt x="997954" y="207721"/>
                  </a:lnTo>
                  <a:lnTo>
                    <a:pt x="997954" y="206324"/>
                  </a:lnTo>
                  <a:lnTo>
                    <a:pt x="997954" y="207721"/>
                  </a:lnTo>
                  <a:lnTo>
                    <a:pt x="998043" y="208407"/>
                  </a:lnTo>
                  <a:lnTo>
                    <a:pt x="998043" y="209753"/>
                  </a:lnTo>
                  <a:lnTo>
                    <a:pt x="998043" y="208407"/>
                  </a:lnTo>
                  <a:lnTo>
                    <a:pt x="998043" y="209753"/>
                  </a:lnTo>
                  <a:lnTo>
                    <a:pt x="998043" y="208407"/>
                  </a:lnTo>
                  <a:lnTo>
                    <a:pt x="998043" y="210451"/>
                  </a:lnTo>
                  <a:lnTo>
                    <a:pt x="998043" y="209753"/>
                  </a:lnTo>
                  <a:lnTo>
                    <a:pt x="998093" y="210451"/>
                  </a:lnTo>
                  <a:lnTo>
                    <a:pt x="998093" y="209753"/>
                  </a:lnTo>
                  <a:lnTo>
                    <a:pt x="998093" y="210451"/>
                  </a:lnTo>
                  <a:lnTo>
                    <a:pt x="998093" y="209753"/>
                  </a:lnTo>
                  <a:lnTo>
                    <a:pt x="998093" y="210451"/>
                  </a:lnTo>
                  <a:lnTo>
                    <a:pt x="998144" y="209753"/>
                  </a:lnTo>
                  <a:lnTo>
                    <a:pt x="998144" y="210451"/>
                  </a:lnTo>
                  <a:lnTo>
                    <a:pt x="998144" y="209753"/>
                  </a:lnTo>
                  <a:lnTo>
                    <a:pt x="998144" y="210451"/>
                  </a:lnTo>
                  <a:lnTo>
                    <a:pt x="998144" y="209753"/>
                  </a:lnTo>
                  <a:lnTo>
                    <a:pt x="998144" y="210451"/>
                  </a:lnTo>
                  <a:lnTo>
                    <a:pt x="998195" y="210451"/>
                  </a:lnTo>
                  <a:lnTo>
                    <a:pt x="998195" y="209753"/>
                  </a:lnTo>
                  <a:lnTo>
                    <a:pt x="998195" y="210451"/>
                  </a:lnTo>
                  <a:lnTo>
                    <a:pt x="998195" y="209753"/>
                  </a:lnTo>
                  <a:lnTo>
                    <a:pt x="998195" y="210451"/>
                  </a:lnTo>
                  <a:lnTo>
                    <a:pt x="998195" y="209753"/>
                  </a:lnTo>
                  <a:lnTo>
                    <a:pt x="998297" y="209753"/>
                  </a:lnTo>
                  <a:lnTo>
                    <a:pt x="998297" y="208407"/>
                  </a:lnTo>
                  <a:lnTo>
                    <a:pt x="998297" y="209753"/>
                  </a:lnTo>
                  <a:lnTo>
                    <a:pt x="998297" y="207721"/>
                  </a:lnTo>
                  <a:lnTo>
                    <a:pt x="998347" y="207721"/>
                  </a:lnTo>
                  <a:lnTo>
                    <a:pt x="998347" y="207022"/>
                  </a:lnTo>
                  <a:lnTo>
                    <a:pt x="998347" y="207721"/>
                  </a:lnTo>
                  <a:lnTo>
                    <a:pt x="998347" y="206324"/>
                  </a:lnTo>
                  <a:lnTo>
                    <a:pt x="998398" y="204990"/>
                  </a:lnTo>
                  <a:lnTo>
                    <a:pt x="998398" y="204292"/>
                  </a:lnTo>
                  <a:lnTo>
                    <a:pt x="998398" y="204990"/>
                  </a:lnTo>
                  <a:lnTo>
                    <a:pt x="998398" y="203594"/>
                  </a:lnTo>
                  <a:lnTo>
                    <a:pt x="998398" y="204990"/>
                  </a:lnTo>
                  <a:lnTo>
                    <a:pt x="998500" y="206324"/>
                  </a:lnTo>
                  <a:lnTo>
                    <a:pt x="998500" y="204292"/>
                  </a:lnTo>
                  <a:lnTo>
                    <a:pt x="998500" y="207721"/>
                  </a:lnTo>
                  <a:lnTo>
                    <a:pt x="998538" y="207721"/>
                  </a:lnTo>
                  <a:lnTo>
                    <a:pt x="998538" y="207022"/>
                  </a:lnTo>
                  <a:lnTo>
                    <a:pt x="998538" y="207721"/>
                  </a:lnTo>
                  <a:lnTo>
                    <a:pt x="998538" y="207022"/>
                  </a:lnTo>
                  <a:lnTo>
                    <a:pt x="998538" y="207721"/>
                  </a:lnTo>
                  <a:lnTo>
                    <a:pt x="998538" y="207022"/>
                  </a:lnTo>
                  <a:lnTo>
                    <a:pt x="998538" y="207721"/>
                  </a:lnTo>
                  <a:lnTo>
                    <a:pt x="998589" y="207721"/>
                  </a:lnTo>
                  <a:lnTo>
                    <a:pt x="998589" y="208407"/>
                  </a:lnTo>
                  <a:lnTo>
                    <a:pt x="998640" y="207721"/>
                  </a:lnTo>
                  <a:lnTo>
                    <a:pt x="998640" y="208407"/>
                  </a:lnTo>
                  <a:lnTo>
                    <a:pt x="998640" y="207721"/>
                  </a:lnTo>
                  <a:lnTo>
                    <a:pt x="998640" y="208407"/>
                  </a:lnTo>
                  <a:lnTo>
                    <a:pt x="998640" y="207721"/>
                  </a:lnTo>
                  <a:lnTo>
                    <a:pt x="998640" y="208407"/>
                  </a:lnTo>
                  <a:lnTo>
                    <a:pt x="998640" y="207721"/>
                  </a:lnTo>
                  <a:lnTo>
                    <a:pt x="998741" y="208407"/>
                  </a:lnTo>
                  <a:lnTo>
                    <a:pt x="998741" y="207721"/>
                  </a:lnTo>
                  <a:lnTo>
                    <a:pt x="998741" y="208407"/>
                  </a:lnTo>
                  <a:lnTo>
                    <a:pt x="998741" y="207721"/>
                  </a:lnTo>
                  <a:lnTo>
                    <a:pt x="998741" y="208407"/>
                  </a:lnTo>
                  <a:lnTo>
                    <a:pt x="998792" y="208407"/>
                  </a:lnTo>
                  <a:lnTo>
                    <a:pt x="998792" y="207721"/>
                  </a:lnTo>
                  <a:lnTo>
                    <a:pt x="998792" y="208407"/>
                  </a:lnTo>
                  <a:lnTo>
                    <a:pt x="998792" y="207721"/>
                  </a:lnTo>
                  <a:lnTo>
                    <a:pt x="998792" y="208407"/>
                  </a:lnTo>
                  <a:lnTo>
                    <a:pt x="998792" y="207022"/>
                  </a:lnTo>
                  <a:lnTo>
                    <a:pt x="998843" y="207022"/>
                  </a:lnTo>
                  <a:lnTo>
                    <a:pt x="998843" y="207721"/>
                  </a:lnTo>
                  <a:lnTo>
                    <a:pt x="998843" y="204292"/>
                  </a:lnTo>
                  <a:lnTo>
                    <a:pt x="998944" y="204292"/>
                  </a:lnTo>
                  <a:lnTo>
                    <a:pt x="998944" y="203594"/>
                  </a:lnTo>
                  <a:lnTo>
                    <a:pt x="998944" y="204990"/>
                  </a:lnTo>
                  <a:lnTo>
                    <a:pt x="998944" y="204292"/>
                  </a:lnTo>
                  <a:lnTo>
                    <a:pt x="998995" y="204292"/>
                  </a:lnTo>
                  <a:lnTo>
                    <a:pt x="998995" y="203594"/>
                  </a:lnTo>
                  <a:lnTo>
                    <a:pt x="998995" y="206324"/>
                  </a:lnTo>
                  <a:lnTo>
                    <a:pt x="998995" y="204990"/>
                  </a:lnTo>
                  <a:lnTo>
                    <a:pt x="998995" y="206324"/>
                  </a:lnTo>
                  <a:lnTo>
                    <a:pt x="999046" y="204990"/>
                  </a:lnTo>
                  <a:lnTo>
                    <a:pt x="999046" y="206324"/>
                  </a:lnTo>
                  <a:lnTo>
                    <a:pt x="999084" y="206324"/>
                  </a:lnTo>
                  <a:lnTo>
                    <a:pt x="999084" y="207022"/>
                  </a:lnTo>
                  <a:lnTo>
                    <a:pt x="999084" y="206324"/>
                  </a:lnTo>
                  <a:lnTo>
                    <a:pt x="999186" y="206324"/>
                  </a:lnTo>
                  <a:lnTo>
                    <a:pt x="999186" y="207721"/>
                  </a:lnTo>
                  <a:lnTo>
                    <a:pt x="999186" y="207022"/>
                  </a:lnTo>
                  <a:lnTo>
                    <a:pt x="999237" y="207022"/>
                  </a:lnTo>
                  <a:lnTo>
                    <a:pt x="999237" y="207721"/>
                  </a:lnTo>
                  <a:lnTo>
                    <a:pt x="999237" y="207022"/>
                  </a:lnTo>
                  <a:lnTo>
                    <a:pt x="999237" y="207721"/>
                  </a:lnTo>
                  <a:lnTo>
                    <a:pt x="999287" y="207022"/>
                  </a:lnTo>
                  <a:lnTo>
                    <a:pt x="999287" y="207721"/>
                  </a:lnTo>
                  <a:lnTo>
                    <a:pt x="999287" y="206324"/>
                  </a:lnTo>
                  <a:lnTo>
                    <a:pt x="999287" y="207022"/>
                  </a:lnTo>
                  <a:lnTo>
                    <a:pt x="999389" y="207022"/>
                  </a:lnTo>
                  <a:lnTo>
                    <a:pt x="999389" y="204292"/>
                  </a:lnTo>
                  <a:lnTo>
                    <a:pt x="999440" y="203594"/>
                  </a:lnTo>
                  <a:lnTo>
                    <a:pt x="999440" y="202959"/>
                  </a:lnTo>
                  <a:lnTo>
                    <a:pt x="999440" y="204990"/>
                  </a:lnTo>
                  <a:lnTo>
                    <a:pt x="999440" y="203594"/>
                  </a:lnTo>
                  <a:lnTo>
                    <a:pt x="999491" y="203594"/>
                  </a:lnTo>
                  <a:lnTo>
                    <a:pt x="999491" y="206324"/>
                  </a:lnTo>
                  <a:lnTo>
                    <a:pt x="999491" y="204990"/>
                  </a:lnTo>
                  <a:lnTo>
                    <a:pt x="999541" y="204990"/>
                  </a:lnTo>
                  <a:lnTo>
                    <a:pt x="999630" y="204292"/>
                  </a:lnTo>
                  <a:lnTo>
                    <a:pt x="999630" y="204990"/>
                  </a:lnTo>
                  <a:lnTo>
                    <a:pt x="999630" y="204292"/>
                  </a:lnTo>
                  <a:lnTo>
                    <a:pt x="999630" y="206324"/>
                  </a:lnTo>
                  <a:lnTo>
                    <a:pt x="999783" y="206324"/>
                  </a:lnTo>
                  <a:lnTo>
                    <a:pt x="999783" y="204292"/>
                  </a:lnTo>
                  <a:lnTo>
                    <a:pt x="999783" y="204990"/>
                  </a:lnTo>
                  <a:lnTo>
                    <a:pt x="999783" y="204292"/>
                  </a:lnTo>
                  <a:lnTo>
                    <a:pt x="999884" y="204292"/>
                  </a:lnTo>
                  <a:lnTo>
                    <a:pt x="999884" y="204990"/>
                  </a:lnTo>
                  <a:lnTo>
                    <a:pt x="999884" y="203594"/>
                  </a:lnTo>
                  <a:lnTo>
                    <a:pt x="999884" y="204292"/>
                  </a:lnTo>
                  <a:lnTo>
                    <a:pt x="999884" y="203594"/>
                  </a:lnTo>
                  <a:lnTo>
                    <a:pt x="999935" y="203594"/>
                  </a:lnTo>
                  <a:lnTo>
                    <a:pt x="999935" y="202260"/>
                  </a:lnTo>
                  <a:lnTo>
                    <a:pt x="999935" y="203594"/>
                  </a:lnTo>
                  <a:lnTo>
                    <a:pt x="999986" y="202959"/>
                  </a:lnTo>
                  <a:lnTo>
                    <a:pt x="999986" y="200876"/>
                  </a:lnTo>
                  <a:lnTo>
                    <a:pt x="999986" y="204292"/>
                  </a:lnTo>
                  <a:lnTo>
                    <a:pt x="999986" y="203594"/>
                  </a:lnTo>
                  <a:lnTo>
                    <a:pt x="1000087" y="203594"/>
                  </a:lnTo>
                  <a:lnTo>
                    <a:pt x="1000087" y="202959"/>
                  </a:lnTo>
                  <a:lnTo>
                    <a:pt x="1000087" y="204292"/>
                  </a:lnTo>
                  <a:lnTo>
                    <a:pt x="1000087" y="203594"/>
                  </a:lnTo>
                  <a:lnTo>
                    <a:pt x="1000126" y="203594"/>
                  </a:lnTo>
                  <a:lnTo>
                    <a:pt x="1000126" y="202959"/>
                  </a:lnTo>
                  <a:lnTo>
                    <a:pt x="1000126" y="203594"/>
                  </a:lnTo>
                  <a:lnTo>
                    <a:pt x="1000126" y="202959"/>
                  </a:lnTo>
                  <a:lnTo>
                    <a:pt x="1000126" y="204990"/>
                  </a:lnTo>
                  <a:lnTo>
                    <a:pt x="1000126" y="204292"/>
                  </a:lnTo>
                  <a:lnTo>
                    <a:pt x="1000176" y="204292"/>
                  </a:lnTo>
                  <a:lnTo>
                    <a:pt x="1000176" y="206324"/>
                  </a:lnTo>
                  <a:lnTo>
                    <a:pt x="1000176" y="204990"/>
                  </a:lnTo>
                  <a:lnTo>
                    <a:pt x="1000227" y="204990"/>
                  </a:lnTo>
                  <a:lnTo>
                    <a:pt x="1000227" y="206324"/>
                  </a:lnTo>
                  <a:lnTo>
                    <a:pt x="1000227" y="204990"/>
                  </a:lnTo>
                  <a:lnTo>
                    <a:pt x="1000227" y="206324"/>
                  </a:lnTo>
                  <a:lnTo>
                    <a:pt x="1000227" y="204990"/>
                  </a:lnTo>
                  <a:lnTo>
                    <a:pt x="1000329" y="204990"/>
                  </a:lnTo>
                  <a:lnTo>
                    <a:pt x="1000329" y="206324"/>
                  </a:lnTo>
                  <a:lnTo>
                    <a:pt x="1000329" y="204292"/>
                  </a:lnTo>
                  <a:lnTo>
                    <a:pt x="1000329" y="204990"/>
                  </a:lnTo>
                  <a:lnTo>
                    <a:pt x="1000329" y="204292"/>
                  </a:lnTo>
                  <a:lnTo>
                    <a:pt x="1000380" y="204990"/>
                  </a:lnTo>
                  <a:lnTo>
                    <a:pt x="1000380" y="202959"/>
                  </a:lnTo>
                  <a:lnTo>
                    <a:pt x="1000380" y="203594"/>
                  </a:lnTo>
                  <a:lnTo>
                    <a:pt x="1000380" y="202959"/>
                  </a:lnTo>
                  <a:lnTo>
                    <a:pt x="1000430" y="202959"/>
                  </a:lnTo>
                  <a:lnTo>
                    <a:pt x="1000430" y="202260"/>
                  </a:lnTo>
                  <a:lnTo>
                    <a:pt x="1000430" y="202959"/>
                  </a:lnTo>
                  <a:lnTo>
                    <a:pt x="1000430" y="200228"/>
                  </a:lnTo>
                  <a:lnTo>
                    <a:pt x="1000430" y="200876"/>
                  </a:lnTo>
                  <a:lnTo>
                    <a:pt x="1000532" y="200876"/>
                  </a:lnTo>
                  <a:lnTo>
                    <a:pt x="1000532" y="199530"/>
                  </a:lnTo>
                  <a:lnTo>
                    <a:pt x="1000532" y="202959"/>
                  </a:lnTo>
                  <a:lnTo>
                    <a:pt x="1000583" y="202260"/>
                  </a:lnTo>
                  <a:lnTo>
                    <a:pt x="1000583" y="200876"/>
                  </a:lnTo>
                  <a:lnTo>
                    <a:pt x="1000583" y="202260"/>
                  </a:lnTo>
                  <a:lnTo>
                    <a:pt x="1000583" y="200876"/>
                  </a:lnTo>
                  <a:lnTo>
                    <a:pt x="1000583" y="202260"/>
                  </a:lnTo>
                  <a:lnTo>
                    <a:pt x="1000633" y="202260"/>
                  </a:lnTo>
                  <a:lnTo>
                    <a:pt x="1000633" y="202959"/>
                  </a:lnTo>
                  <a:lnTo>
                    <a:pt x="1000633" y="202260"/>
                  </a:lnTo>
                  <a:lnTo>
                    <a:pt x="1000633" y="202959"/>
                  </a:lnTo>
                  <a:lnTo>
                    <a:pt x="1000672" y="202959"/>
                  </a:lnTo>
                  <a:lnTo>
                    <a:pt x="1000672" y="203594"/>
                  </a:lnTo>
                  <a:lnTo>
                    <a:pt x="1000773" y="203594"/>
                  </a:lnTo>
                  <a:lnTo>
                    <a:pt x="1000773" y="204292"/>
                  </a:lnTo>
                  <a:lnTo>
                    <a:pt x="1000773" y="203594"/>
                  </a:lnTo>
                  <a:lnTo>
                    <a:pt x="1000773" y="204990"/>
                  </a:lnTo>
                  <a:lnTo>
                    <a:pt x="1000824" y="204292"/>
                  </a:lnTo>
                  <a:lnTo>
                    <a:pt x="1000824" y="204990"/>
                  </a:lnTo>
                  <a:lnTo>
                    <a:pt x="1000824" y="204292"/>
                  </a:lnTo>
                  <a:lnTo>
                    <a:pt x="1000824" y="204990"/>
                  </a:lnTo>
                  <a:lnTo>
                    <a:pt x="1000824" y="204292"/>
                  </a:lnTo>
                  <a:lnTo>
                    <a:pt x="1000875" y="204292"/>
                  </a:lnTo>
                  <a:lnTo>
                    <a:pt x="1000875" y="203594"/>
                  </a:lnTo>
                  <a:lnTo>
                    <a:pt x="1000976" y="203594"/>
                  </a:lnTo>
                  <a:lnTo>
                    <a:pt x="1000976" y="202959"/>
                  </a:lnTo>
                  <a:lnTo>
                    <a:pt x="1000976" y="203594"/>
                  </a:lnTo>
                  <a:lnTo>
                    <a:pt x="1001027" y="203594"/>
                  </a:lnTo>
                  <a:lnTo>
                    <a:pt x="1001027" y="202260"/>
                  </a:lnTo>
                  <a:lnTo>
                    <a:pt x="1001027" y="204292"/>
                  </a:lnTo>
                  <a:lnTo>
                    <a:pt x="1001027" y="203594"/>
                  </a:lnTo>
                  <a:lnTo>
                    <a:pt x="1001078" y="203594"/>
                  </a:lnTo>
                  <a:lnTo>
                    <a:pt x="1001078" y="202959"/>
                  </a:lnTo>
                  <a:lnTo>
                    <a:pt x="1001078" y="204292"/>
                  </a:lnTo>
                  <a:lnTo>
                    <a:pt x="1001078" y="203594"/>
                  </a:lnTo>
                  <a:lnTo>
                    <a:pt x="1001129" y="203594"/>
                  </a:lnTo>
                  <a:lnTo>
                    <a:pt x="1001129" y="204292"/>
                  </a:lnTo>
                  <a:lnTo>
                    <a:pt x="1001129" y="203594"/>
                  </a:lnTo>
                  <a:lnTo>
                    <a:pt x="1001218" y="204292"/>
                  </a:lnTo>
                  <a:lnTo>
                    <a:pt x="1001218" y="204990"/>
                  </a:lnTo>
                  <a:lnTo>
                    <a:pt x="1001218" y="204292"/>
                  </a:lnTo>
                  <a:lnTo>
                    <a:pt x="1001218" y="204990"/>
                  </a:lnTo>
                  <a:lnTo>
                    <a:pt x="1001218" y="204292"/>
                  </a:lnTo>
                  <a:lnTo>
                    <a:pt x="1001218" y="204990"/>
                  </a:lnTo>
                  <a:lnTo>
                    <a:pt x="1001218" y="204292"/>
                  </a:lnTo>
                  <a:lnTo>
                    <a:pt x="1001218" y="204990"/>
                  </a:lnTo>
                  <a:lnTo>
                    <a:pt x="1001268" y="204990"/>
                  </a:lnTo>
                  <a:lnTo>
                    <a:pt x="1001268" y="204292"/>
                  </a:lnTo>
                  <a:lnTo>
                    <a:pt x="1001268" y="204990"/>
                  </a:lnTo>
                  <a:lnTo>
                    <a:pt x="1001268" y="204292"/>
                  </a:lnTo>
                  <a:lnTo>
                    <a:pt x="1001268" y="204990"/>
                  </a:lnTo>
                  <a:lnTo>
                    <a:pt x="1001268" y="204292"/>
                  </a:lnTo>
                  <a:lnTo>
                    <a:pt x="1001268" y="204990"/>
                  </a:lnTo>
                  <a:lnTo>
                    <a:pt x="1001319" y="204990"/>
                  </a:lnTo>
                  <a:lnTo>
                    <a:pt x="1001319" y="204292"/>
                  </a:lnTo>
                  <a:lnTo>
                    <a:pt x="1001319" y="204990"/>
                  </a:lnTo>
                  <a:lnTo>
                    <a:pt x="1001319" y="204292"/>
                  </a:lnTo>
                  <a:lnTo>
                    <a:pt x="1001319" y="204990"/>
                  </a:lnTo>
                  <a:lnTo>
                    <a:pt x="1001370" y="204990"/>
                  </a:lnTo>
                  <a:lnTo>
                    <a:pt x="1001370" y="203594"/>
                  </a:lnTo>
                  <a:lnTo>
                    <a:pt x="1001472" y="203594"/>
                  </a:lnTo>
                  <a:lnTo>
                    <a:pt x="1001472" y="202959"/>
                  </a:lnTo>
                  <a:lnTo>
                    <a:pt x="1001472" y="204990"/>
                  </a:lnTo>
                  <a:lnTo>
                    <a:pt x="1001472" y="203594"/>
                  </a:lnTo>
                  <a:lnTo>
                    <a:pt x="1001522" y="203594"/>
                  </a:lnTo>
                  <a:lnTo>
                    <a:pt x="1001522" y="202959"/>
                  </a:lnTo>
                  <a:lnTo>
                    <a:pt x="1001522" y="206324"/>
                  </a:lnTo>
                  <a:lnTo>
                    <a:pt x="1001522" y="204990"/>
                  </a:lnTo>
                  <a:lnTo>
                    <a:pt x="1001573" y="204292"/>
                  </a:lnTo>
                  <a:lnTo>
                    <a:pt x="1001573" y="203594"/>
                  </a:lnTo>
                  <a:lnTo>
                    <a:pt x="1001573" y="204990"/>
                  </a:lnTo>
                  <a:lnTo>
                    <a:pt x="1001573" y="204292"/>
                  </a:lnTo>
                  <a:lnTo>
                    <a:pt x="1001573" y="204990"/>
                  </a:lnTo>
                  <a:lnTo>
                    <a:pt x="1001573" y="204292"/>
                  </a:lnTo>
                  <a:lnTo>
                    <a:pt x="1001573" y="204990"/>
                  </a:lnTo>
                  <a:lnTo>
                    <a:pt x="1001573" y="204292"/>
                  </a:lnTo>
                  <a:lnTo>
                    <a:pt x="1001675" y="204292"/>
                  </a:lnTo>
                  <a:lnTo>
                    <a:pt x="1001675" y="204990"/>
                  </a:lnTo>
                  <a:lnTo>
                    <a:pt x="1001675" y="204292"/>
                  </a:lnTo>
                  <a:lnTo>
                    <a:pt x="1001675" y="204990"/>
                  </a:lnTo>
                  <a:lnTo>
                    <a:pt x="1001675" y="204292"/>
                  </a:lnTo>
                  <a:lnTo>
                    <a:pt x="1001713" y="204292"/>
                  </a:lnTo>
                  <a:lnTo>
                    <a:pt x="1001713" y="204990"/>
                  </a:lnTo>
                  <a:lnTo>
                    <a:pt x="1001713" y="204292"/>
                  </a:lnTo>
                  <a:lnTo>
                    <a:pt x="1001815" y="204292"/>
                  </a:lnTo>
                  <a:lnTo>
                    <a:pt x="1001815" y="203594"/>
                  </a:lnTo>
                  <a:lnTo>
                    <a:pt x="1001815" y="204292"/>
                  </a:lnTo>
                  <a:lnTo>
                    <a:pt x="1001815" y="203594"/>
                  </a:lnTo>
                  <a:lnTo>
                    <a:pt x="1001916" y="203594"/>
                  </a:lnTo>
                  <a:lnTo>
                    <a:pt x="1001916" y="202959"/>
                  </a:lnTo>
                  <a:lnTo>
                    <a:pt x="1001967" y="202959"/>
                  </a:lnTo>
                  <a:lnTo>
                    <a:pt x="1001967" y="203594"/>
                  </a:lnTo>
                  <a:lnTo>
                    <a:pt x="1001967" y="202959"/>
                  </a:lnTo>
                  <a:lnTo>
                    <a:pt x="1002018" y="203594"/>
                  </a:lnTo>
                  <a:lnTo>
                    <a:pt x="1002018" y="204990"/>
                  </a:lnTo>
                  <a:lnTo>
                    <a:pt x="1002018" y="204292"/>
                  </a:lnTo>
                  <a:lnTo>
                    <a:pt x="1002119" y="204292"/>
                  </a:lnTo>
                  <a:lnTo>
                    <a:pt x="1002119" y="204990"/>
                  </a:lnTo>
                  <a:lnTo>
                    <a:pt x="1002119" y="204292"/>
                  </a:lnTo>
                  <a:lnTo>
                    <a:pt x="1002119" y="204990"/>
                  </a:lnTo>
                  <a:lnTo>
                    <a:pt x="1002119" y="204292"/>
                  </a:lnTo>
                  <a:lnTo>
                    <a:pt x="1002119" y="204990"/>
                  </a:lnTo>
                  <a:lnTo>
                    <a:pt x="1002259" y="204990"/>
                  </a:lnTo>
                  <a:lnTo>
                    <a:pt x="1002259" y="204292"/>
                  </a:lnTo>
                  <a:lnTo>
                    <a:pt x="1002259" y="204990"/>
                  </a:lnTo>
                  <a:lnTo>
                    <a:pt x="1002361" y="204990"/>
                  </a:lnTo>
                  <a:lnTo>
                    <a:pt x="1002361" y="204292"/>
                  </a:lnTo>
                  <a:lnTo>
                    <a:pt x="1002361" y="204990"/>
                  </a:lnTo>
                  <a:lnTo>
                    <a:pt x="1002361" y="202959"/>
                  </a:lnTo>
                  <a:lnTo>
                    <a:pt x="1002412" y="202959"/>
                  </a:lnTo>
                  <a:lnTo>
                    <a:pt x="1002412" y="204292"/>
                  </a:lnTo>
                  <a:lnTo>
                    <a:pt x="1002462" y="203594"/>
                  </a:lnTo>
                  <a:lnTo>
                    <a:pt x="1002462" y="206324"/>
                  </a:lnTo>
                  <a:lnTo>
                    <a:pt x="1002462" y="204990"/>
                  </a:lnTo>
                  <a:lnTo>
                    <a:pt x="1002564" y="204292"/>
                  </a:lnTo>
                  <a:lnTo>
                    <a:pt x="1002564" y="203594"/>
                  </a:lnTo>
                  <a:lnTo>
                    <a:pt x="1002564" y="204292"/>
                  </a:lnTo>
                  <a:lnTo>
                    <a:pt x="1002564" y="203594"/>
                  </a:lnTo>
                  <a:lnTo>
                    <a:pt x="1002564" y="206324"/>
                  </a:lnTo>
                  <a:lnTo>
                    <a:pt x="1002564" y="204990"/>
                  </a:lnTo>
                  <a:lnTo>
                    <a:pt x="1002615" y="204990"/>
                  </a:lnTo>
                  <a:lnTo>
                    <a:pt x="1002615" y="206324"/>
                  </a:lnTo>
                  <a:lnTo>
                    <a:pt x="1002615" y="204990"/>
                  </a:lnTo>
                  <a:lnTo>
                    <a:pt x="1002666" y="204990"/>
                  </a:lnTo>
                  <a:lnTo>
                    <a:pt x="1002666" y="206324"/>
                  </a:lnTo>
                  <a:lnTo>
                    <a:pt x="1002666" y="204990"/>
                  </a:lnTo>
                  <a:lnTo>
                    <a:pt x="1002666" y="206324"/>
                  </a:lnTo>
                  <a:lnTo>
                    <a:pt x="1002666" y="204990"/>
                  </a:lnTo>
                  <a:lnTo>
                    <a:pt x="1002716" y="204990"/>
                  </a:lnTo>
                  <a:lnTo>
                    <a:pt x="1002716" y="206324"/>
                  </a:lnTo>
                  <a:lnTo>
                    <a:pt x="1002716" y="204990"/>
                  </a:lnTo>
                  <a:lnTo>
                    <a:pt x="1002805" y="204990"/>
                  </a:lnTo>
                  <a:lnTo>
                    <a:pt x="1002805" y="204292"/>
                  </a:lnTo>
                  <a:lnTo>
                    <a:pt x="1002805" y="204990"/>
                  </a:lnTo>
                  <a:lnTo>
                    <a:pt x="1002805" y="204292"/>
                  </a:lnTo>
                  <a:lnTo>
                    <a:pt x="1002856" y="204292"/>
                  </a:lnTo>
                  <a:lnTo>
                    <a:pt x="1002856" y="202959"/>
                  </a:lnTo>
                  <a:lnTo>
                    <a:pt x="1002907" y="202959"/>
                  </a:lnTo>
                  <a:lnTo>
                    <a:pt x="1002907" y="200876"/>
                  </a:lnTo>
                  <a:lnTo>
                    <a:pt x="1002907" y="202260"/>
                  </a:lnTo>
                  <a:lnTo>
                    <a:pt x="1002958" y="202260"/>
                  </a:lnTo>
                  <a:lnTo>
                    <a:pt x="1002958" y="203594"/>
                  </a:lnTo>
                  <a:lnTo>
                    <a:pt x="1003059" y="202959"/>
                  </a:lnTo>
                  <a:lnTo>
                    <a:pt x="1003059" y="204292"/>
                  </a:lnTo>
                  <a:lnTo>
                    <a:pt x="1003059" y="203594"/>
                  </a:lnTo>
                  <a:lnTo>
                    <a:pt x="1003110" y="203594"/>
                  </a:lnTo>
                  <a:lnTo>
                    <a:pt x="1003110" y="204990"/>
                  </a:lnTo>
                  <a:lnTo>
                    <a:pt x="1003110" y="204292"/>
                  </a:lnTo>
                  <a:lnTo>
                    <a:pt x="1003110" y="204990"/>
                  </a:lnTo>
                  <a:lnTo>
                    <a:pt x="1003110" y="204292"/>
                  </a:lnTo>
                  <a:lnTo>
                    <a:pt x="1003110" y="204990"/>
                  </a:lnTo>
                  <a:lnTo>
                    <a:pt x="1003110" y="204292"/>
                  </a:lnTo>
                  <a:lnTo>
                    <a:pt x="1003161" y="204292"/>
                  </a:lnTo>
                  <a:lnTo>
                    <a:pt x="1003161" y="204990"/>
                  </a:lnTo>
                  <a:lnTo>
                    <a:pt x="1003161" y="204292"/>
                  </a:lnTo>
                  <a:lnTo>
                    <a:pt x="1003161" y="204990"/>
                  </a:lnTo>
                  <a:lnTo>
                    <a:pt x="1003262" y="204990"/>
                  </a:lnTo>
                  <a:lnTo>
                    <a:pt x="1003262" y="206324"/>
                  </a:lnTo>
                  <a:lnTo>
                    <a:pt x="1003262" y="204990"/>
                  </a:lnTo>
                  <a:lnTo>
                    <a:pt x="1003262" y="206324"/>
                  </a:lnTo>
                  <a:lnTo>
                    <a:pt x="1003262" y="204990"/>
                  </a:lnTo>
                  <a:lnTo>
                    <a:pt x="1003301" y="206324"/>
                  </a:lnTo>
                  <a:lnTo>
                    <a:pt x="1003301" y="204292"/>
                  </a:lnTo>
                  <a:lnTo>
                    <a:pt x="1003351" y="204292"/>
                  </a:lnTo>
                  <a:lnTo>
                    <a:pt x="1003351" y="202959"/>
                  </a:lnTo>
                  <a:lnTo>
                    <a:pt x="1003402" y="202959"/>
                  </a:lnTo>
                  <a:lnTo>
                    <a:pt x="1003402" y="202260"/>
                  </a:lnTo>
                  <a:lnTo>
                    <a:pt x="1003402" y="202959"/>
                  </a:lnTo>
                  <a:lnTo>
                    <a:pt x="1003504" y="202260"/>
                  </a:lnTo>
                  <a:lnTo>
                    <a:pt x="1003504" y="200876"/>
                  </a:lnTo>
                  <a:lnTo>
                    <a:pt x="1003504" y="203594"/>
                  </a:lnTo>
                  <a:lnTo>
                    <a:pt x="1003504" y="202959"/>
                  </a:lnTo>
                  <a:lnTo>
                    <a:pt x="1003555" y="202959"/>
                  </a:lnTo>
                  <a:lnTo>
                    <a:pt x="1003555" y="203594"/>
                  </a:lnTo>
                  <a:lnTo>
                    <a:pt x="1003555" y="202959"/>
                  </a:lnTo>
                  <a:lnTo>
                    <a:pt x="1003555" y="203594"/>
                  </a:lnTo>
                  <a:lnTo>
                    <a:pt x="1003605" y="203594"/>
                  </a:lnTo>
                  <a:lnTo>
                    <a:pt x="1003605" y="202959"/>
                  </a:lnTo>
                  <a:lnTo>
                    <a:pt x="1003605" y="203594"/>
                  </a:lnTo>
                  <a:lnTo>
                    <a:pt x="1003605" y="202959"/>
                  </a:lnTo>
                  <a:lnTo>
                    <a:pt x="1003605" y="203594"/>
                  </a:lnTo>
                  <a:lnTo>
                    <a:pt x="1003707" y="203594"/>
                  </a:lnTo>
                  <a:lnTo>
                    <a:pt x="1003707" y="204292"/>
                  </a:lnTo>
                  <a:lnTo>
                    <a:pt x="1003707" y="203594"/>
                  </a:lnTo>
                  <a:lnTo>
                    <a:pt x="1003707" y="204292"/>
                  </a:lnTo>
                  <a:lnTo>
                    <a:pt x="1003758" y="204292"/>
                  </a:lnTo>
                  <a:lnTo>
                    <a:pt x="1003758" y="204990"/>
                  </a:lnTo>
                  <a:lnTo>
                    <a:pt x="1003758" y="204292"/>
                  </a:lnTo>
                  <a:lnTo>
                    <a:pt x="1003758" y="204990"/>
                  </a:lnTo>
                  <a:lnTo>
                    <a:pt x="1003758" y="204292"/>
                  </a:lnTo>
                  <a:lnTo>
                    <a:pt x="1003758" y="204990"/>
                  </a:lnTo>
                  <a:lnTo>
                    <a:pt x="1003758" y="203594"/>
                  </a:lnTo>
                  <a:lnTo>
                    <a:pt x="1003758" y="204292"/>
                  </a:lnTo>
                  <a:lnTo>
                    <a:pt x="1003808" y="204292"/>
                  </a:lnTo>
                  <a:lnTo>
                    <a:pt x="1003808" y="204990"/>
                  </a:lnTo>
                  <a:lnTo>
                    <a:pt x="1003808" y="204292"/>
                  </a:lnTo>
                  <a:lnTo>
                    <a:pt x="1003808" y="204990"/>
                  </a:lnTo>
                  <a:lnTo>
                    <a:pt x="1003808" y="204292"/>
                  </a:lnTo>
                  <a:lnTo>
                    <a:pt x="1003847" y="204292"/>
                  </a:lnTo>
                  <a:lnTo>
                    <a:pt x="1003847" y="202959"/>
                  </a:lnTo>
                  <a:lnTo>
                    <a:pt x="1003948" y="202959"/>
                  </a:lnTo>
                  <a:lnTo>
                    <a:pt x="1003948" y="204990"/>
                  </a:lnTo>
                  <a:lnTo>
                    <a:pt x="1003948" y="202959"/>
                  </a:lnTo>
                  <a:lnTo>
                    <a:pt x="1003948" y="203594"/>
                  </a:lnTo>
                  <a:lnTo>
                    <a:pt x="1003999" y="204292"/>
                  </a:lnTo>
                  <a:lnTo>
                    <a:pt x="1003999" y="207022"/>
                  </a:lnTo>
                  <a:lnTo>
                    <a:pt x="1003999" y="203594"/>
                  </a:lnTo>
                  <a:lnTo>
                    <a:pt x="1003999" y="204990"/>
                  </a:lnTo>
                  <a:lnTo>
                    <a:pt x="1004050" y="204990"/>
                  </a:lnTo>
                  <a:lnTo>
                    <a:pt x="1004050" y="206324"/>
                  </a:lnTo>
                  <a:lnTo>
                    <a:pt x="1004050" y="204292"/>
                  </a:lnTo>
                  <a:lnTo>
                    <a:pt x="1004151" y="204990"/>
                  </a:lnTo>
                  <a:lnTo>
                    <a:pt x="1004151" y="204292"/>
                  </a:lnTo>
                  <a:lnTo>
                    <a:pt x="1004151" y="204990"/>
                  </a:lnTo>
                  <a:lnTo>
                    <a:pt x="1004151" y="204292"/>
                  </a:lnTo>
                  <a:lnTo>
                    <a:pt x="1004202" y="204292"/>
                  </a:lnTo>
                  <a:lnTo>
                    <a:pt x="1004202" y="204990"/>
                  </a:lnTo>
                  <a:lnTo>
                    <a:pt x="1004202" y="204292"/>
                  </a:lnTo>
                  <a:lnTo>
                    <a:pt x="1004202" y="206324"/>
                  </a:lnTo>
                  <a:lnTo>
                    <a:pt x="1004202" y="204990"/>
                  </a:lnTo>
                  <a:lnTo>
                    <a:pt x="1004253" y="204990"/>
                  </a:lnTo>
                  <a:lnTo>
                    <a:pt x="1004253" y="206324"/>
                  </a:lnTo>
                  <a:lnTo>
                    <a:pt x="1004253" y="204990"/>
                  </a:lnTo>
                  <a:lnTo>
                    <a:pt x="1004253" y="206324"/>
                  </a:lnTo>
                  <a:lnTo>
                    <a:pt x="1004253" y="204990"/>
                  </a:lnTo>
                  <a:lnTo>
                    <a:pt x="1004253" y="206324"/>
                  </a:lnTo>
                  <a:lnTo>
                    <a:pt x="1004253" y="204990"/>
                  </a:lnTo>
                  <a:lnTo>
                    <a:pt x="1004304" y="204990"/>
                  </a:lnTo>
                  <a:lnTo>
                    <a:pt x="1004304" y="204292"/>
                  </a:lnTo>
                  <a:lnTo>
                    <a:pt x="1004393" y="204292"/>
                  </a:lnTo>
                  <a:lnTo>
                    <a:pt x="1004393" y="202260"/>
                  </a:lnTo>
                  <a:lnTo>
                    <a:pt x="1004393" y="202959"/>
                  </a:lnTo>
                  <a:lnTo>
                    <a:pt x="1004443" y="202959"/>
                  </a:lnTo>
                  <a:lnTo>
                    <a:pt x="1004443" y="204990"/>
                  </a:lnTo>
                  <a:lnTo>
                    <a:pt x="1004494" y="204990"/>
                  </a:lnTo>
                  <a:lnTo>
                    <a:pt x="1004494" y="206324"/>
                  </a:lnTo>
                  <a:lnTo>
                    <a:pt x="1004494" y="204292"/>
                  </a:lnTo>
                  <a:lnTo>
                    <a:pt x="1004494" y="204990"/>
                  </a:lnTo>
                  <a:lnTo>
                    <a:pt x="1004545" y="206324"/>
                  </a:lnTo>
                  <a:lnTo>
                    <a:pt x="1004545" y="204292"/>
                  </a:lnTo>
                  <a:lnTo>
                    <a:pt x="1004545" y="204990"/>
                  </a:lnTo>
                  <a:lnTo>
                    <a:pt x="1004647" y="204990"/>
                  </a:lnTo>
                  <a:lnTo>
                    <a:pt x="1004647" y="204292"/>
                  </a:lnTo>
                  <a:lnTo>
                    <a:pt x="1004647" y="206324"/>
                  </a:lnTo>
                  <a:lnTo>
                    <a:pt x="1004647" y="204990"/>
                  </a:lnTo>
                  <a:lnTo>
                    <a:pt x="1004647" y="206324"/>
                  </a:lnTo>
                  <a:lnTo>
                    <a:pt x="1004697" y="206324"/>
                  </a:lnTo>
                  <a:lnTo>
                    <a:pt x="1004697" y="204990"/>
                  </a:lnTo>
                  <a:lnTo>
                    <a:pt x="1004697" y="206324"/>
                  </a:lnTo>
                  <a:lnTo>
                    <a:pt x="1004697" y="204990"/>
                  </a:lnTo>
                  <a:lnTo>
                    <a:pt x="1004748" y="204990"/>
                  </a:lnTo>
                  <a:lnTo>
                    <a:pt x="1004748" y="204292"/>
                  </a:lnTo>
                  <a:lnTo>
                    <a:pt x="1004748" y="204990"/>
                  </a:lnTo>
                  <a:lnTo>
                    <a:pt x="1004748" y="204292"/>
                  </a:lnTo>
                  <a:lnTo>
                    <a:pt x="1004748" y="204990"/>
                  </a:lnTo>
                  <a:lnTo>
                    <a:pt x="1004748" y="204292"/>
                  </a:lnTo>
                  <a:lnTo>
                    <a:pt x="1004850" y="204292"/>
                  </a:lnTo>
                  <a:lnTo>
                    <a:pt x="1004850" y="203594"/>
                  </a:lnTo>
                  <a:lnTo>
                    <a:pt x="1004850" y="204292"/>
                  </a:lnTo>
                  <a:lnTo>
                    <a:pt x="1004850" y="202959"/>
                  </a:lnTo>
                  <a:lnTo>
                    <a:pt x="1004888" y="202959"/>
                  </a:lnTo>
                  <a:lnTo>
                    <a:pt x="1004888" y="202260"/>
                  </a:lnTo>
                  <a:lnTo>
                    <a:pt x="1004888" y="203594"/>
                  </a:lnTo>
                  <a:lnTo>
                    <a:pt x="1004888" y="202959"/>
                  </a:lnTo>
                  <a:lnTo>
                    <a:pt x="1004888" y="203594"/>
                  </a:lnTo>
                  <a:lnTo>
                    <a:pt x="1004939" y="203594"/>
                  </a:lnTo>
                  <a:lnTo>
                    <a:pt x="1004939" y="202260"/>
                  </a:lnTo>
                  <a:lnTo>
                    <a:pt x="1004939" y="204990"/>
                  </a:lnTo>
                  <a:lnTo>
                    <a:pt x="1004939" y="204292"/>
                  </a:lnTo>
                  <a:lnTo>
                    <a:pt x="1004990" y="204292"/>
                  </a:lnTo>
                  <a:lnTo>
                    <a:pt x="1004990" y="203594"/>
                  </a:lnTo>
                  <a:lnTo>
                    <a:pt x="1004990" y="204990"/>
                  </a:lnTo>
                  <a:lnTo>
                    <a:pt x="1005091" y="204292"/>
                  </a:lnTo>
                  <a:lnTo>
                    <a:pt x="1005091" y="203594"/>
                  </a:lnTo>
                  <a:lnTo>
                    <a:pt x="1005091" y="204990"/>
                  </a:lnTo>
                  <a:lnTo>
                    <a:pt x="1005142" y="204292"/>
                  </a:lnTo>
                  <a:lnTo>
                    <a:pt x="1005142" y="204990"/>
                  </a:lnTo>
                  <a:lnTo>
                    <a:pt x="1005142" y="204292"/>
                  </a:lnTo>
                  <a:lnTo>
                    <a:pt x="1005142" y="204990"/>
                  </a:lnTo>
                  <a:lnTo>
                    <a:pt x="1005142" y="204292"/>
                  </a:lnTo>
                  <a:lnTo>
                    <a:pt x="1005142" y="204990"/>
                  </a:lnTo>
                  <a:lnTo>
                    <a:pt x="1005193" y="204990"/>
                  </a:lnTo>
                  <a:lnTo>
                    <a:pt x="1005193" y="206324"/>
                  </a:lnTo>
                  <a:lnTo>
                    <a:pt x="1005193" y="204990"/>
                  </a:lnTo>
                  <a:lnTo>
                    <a:pt x="1005294" y="204990"/>
                  </a:lnTo>
                  <a:lnTo>
                    <a:pt x="1005294" y="204292"/>
                  </a:lnTo>
                  <a:lnTo>
                    <a:pt x="1005345" y="204292"/>
                  </a:lnTo>
                  <a:lnTo>
                    <a:pt x="1005345" y="202959"/>
                  </a:lnTo>
                  <a:lnTo>
                    <a:pt x="1005345" y="203594"/>
                  </a:lnTo>
                  <a:lnTo>
                    <a:pt x="1005345" y="202959"/>
                  </a:lnTo>
                  <a:lnTo>
                    <a:pt x="1005396" y="202260"/>
                  </a:lnTo>
                  <a:lnTo>
                    <a:pt x="1005396" y="200228"/>
                  </a:lnTo>
                  <a:lnTo>
                    <a:pt x="1005396" y="202959"/>
                  </a:lnTo>
                  <a:lnTo>
                    <a:pt x="1005396" y="202260"/>
                  </a:lnTo>
                  <a:lnTo>
                    <a:pt x="1005434" y="202260"/>
                  </a:lnTo>
                  <a:lnTo>
                    <a:pt x="1005434" y="200876"/>
                  </a:lnTo>
                  <a:lnTo>
                    <a:pt x="1005434" y="204292"/>
                  </a:lnTo>
                  <a:lnTo>
                    <a:pt x="1005434" y="203594"/>
                  </a:lnTo>
                  <a:lnTo>
                    <a:pt x="1005536" y="203594"/>
                  </a:lnTo>
                  <a:lnTo>
                    <a:pt x="1005536" y="202959"/>
                  </a:lnTo>
                  <a:lnTo>
                    <a:pt x="1005536" y="204292"/>
                  </a:lnTo>
                  <a:lnTo>
                    <a:pt x="1005536" y="203594"/>
                  </a:lnTo>
                  <a:lnTo>
                    <a:pt x="1005536" y="204292"/>
                  </a:lnTo>
                  <a:lnTo>
                    <a:pt x="1005536" y="203594"/>
                  </a:lnTo>
                  <a:lnTo>
                    <a:pt x="1005587" y="203594"/>
                  </a:lnTo>
                  <a:lnTo>
                    <a:pt x="1005587" y="204292"/>
                  </a:lnTo>
                  <a:lnTo>
                    <a:pt x="1005587" y="203594"/>
                  </a:lnTo>
                  <a:lnTo>
                    <a:pt x="1005587" y="204292"/>
                  </a:lnTo>
                  <a:lnTo>
                    <a:pt x="1005587" y="203594"/>
                  </a:lnTo>
                  <a:lnTo>
                    <a:pt x="1005637" y="203594"/>
                  </a:lnTo>
                  <a:lnTo>
                    <a:pt x="1005637" y="204292"/>
                  </a:lnTo>
                  <a:lnTo>
                    <a:pt x="1005637" y="203594"/>
                  </a:lnTo>
                  <a:lnTo>
                    <a:pt x="1005637" y="204292"/>
                  </a:lnTo>
                  <a:lnTo>
                    <a:pt x="1005790" y="204292"/>
                  </a:lnTo>
                  <a:lnTo>
                    <a:pt x="1005790" y="204990"/>
                  </a:lnTo>
                  <a:lnTo>
                    <a:pt x="1005790" y="203594"/>
                  </a:lnTo>
                  <a:lnTo>
                    <a:pt x="1005841" y="203594"/>
                  </a:lnTo>
                  <a:lnTo>
                    <a:pt x="1005841" y="202959"/>
                  </a:lnTo>
                  <a:lnTo>
                    <a:pt x="1005841" y="203594"/>
                  </a:lnTo>
                  <a:lnTo>
                    <a:pt x="1005841" y="202959"/>
                  </a:lnTo>
                  <a:lnTo>
                    <a:pt x="1005841" y="203594"/>
                  </a:lnTo>
                  <a:lnTo>
                    <a:pt x="1005841" y="202959"/>
                  </a:lnTo>
                  <a:lnTo>
                    <a:pt x="1005841" y="203594"/>
                  </a:lnTo>
                  <a:lnTo>
                    <a:pt x="1005841" y="200876"/>
                  </a:lnTo>
                  <a:lnTo>
                    <a:pt x="1005891" y="202260"/>
                  </a:lnTo>
                  <a:lnTo>
                    <a:pt x="1005891" y="199530"/>
                  </a:lnTo>
                  <a:lnTo>
                    <a:pt x="1005891" y="202260"/>
                  </a:lnTo>
                  <a:lnTo>
                    <a:pt x="1005891" y="200876"/>
                  </a:lnTo>
                  <a:lnTo>
                    <a:pt x="1005891" y="202260"/>
                  </a:lnTo>
                  <a:lnTo>
                    <a:pt x="1005980" y="202260"/>
                  </a:lnTo>
                  <a:lnTo>
                    <a:pt x="1005980" y="200228"/>
                  </a:lnTo>
                  <a:lnTo>
                    <a:pt x="1005980" y="203594"/>
                  </a:lnTo>
                  <a:lnTo>
                    <a:pt x="1005980" y="202959"/>
                  </a:lnTo>
                  <a:lnTo>
                    <a:pt x="1005980" y="203594"/>
                  </a:lnTo>
                  <a:lnTo>
                    <a:pt x="1005980" y="202959"/>
                  </a:lnTo>
                  <a:lnTo>
                    <a:pt x="1006031" y="202959"/>
                  </a:lnTo>
                  <a:lnTo>
                    <a:pt x="1006031" y="202260"/>
                  </a:lnTo>
                  <a:lnTo>
                    <a:pt x="1006031" y="203594"/>
                  </a:lnTo>
                  <a:lnTo>
                    <a:pt x="1006031" y="202959"/>
                  </a:lnTo>
                  <a:lnTo>
                    <a:pt x="1006082" y="202959"/>
                  </a:lnTo>
                  <a:lnTo>
                    <a:pt x="1006082" y="203594"/>
                  </a:lnTo>
                  <a:lnTo>
                    <a:pt x="1006082" y="202959"/>
                  </a:lnTo>
                  <a:lnTo>
                    <a:pt x="1006082" y="203594"/>
                  </a:lnTo>
                  <a:lnTo>
                    <a:pt x="1006082" y="202959"/>
                  </a:lnTo>
                  <a:lnTo>
                    <a:pt x="1006133" y="203594"/>
                  </a:lnTo>
                  <a:lnTo>
                    <a:pt x="1006133" y="204292"/>
                  </a:lnTo>
                  <a:lnTo>
                    <a:pt x="1006133" y="203594"/>
                  </a:lnTo>
                  <a:lnTo>
                    <a:pt x="1006133" y="204292"/>
                  </a:lnTo>
                  <a:lnTo>
                    <a:pt x="1006133" y="203594"/>
                  </a:lnTo>
                  <a:lnTo>
                    <a:pt x="1006133" y="204292"/>
                  </a:lnTo>
                  <a:lnTo>
                    <a:pt x="1006234" y="204292"/>
                  </a:lnTo>
                  <a:lnTo>
                    <a:pt x="1006234" y="203594"/>
                  </a:lnTo>
                  <a:lnTo>
                    <a:pt x="1006234" y="204292"/>
                  </a:lnTo>
                  <a:lnTo>
                    <a:pt x="1006285" y="203594"/>
                  </a:lnTo>
                  <a:lnTo>
                    <a:pt x="1006285" y="204292"/>
                  </a:lnTo>
                  <a:lnTo>
                    <a:pt x="1006285" y="203594"/>
                  </a:lnTo>
                  <a:lnTo>
                    <a:pt x="1006285" y="204292"/>
                  </a:lnTo>
                  <a:lnTo>
                    <a:pt x="1006285" y="202959"/>
                  </a:lnTo>
                  <a:lnTo>
                    <a:pt x="1006285" y="203594"/>
                  </a:lnTo>
                  <a:lnTo>
                    <a:pt x="1006285" y="202959"/>
                  </a:lnTo>
                  <a:lnTo>
                    <a:pt x="1006336" y="202959"/>
                  </a:lnTo>
                  <a:lnTo>
                    <a:pt x="1006336" y="202260"/>
                  </a:lnTo>
                  <a:lnTo>
                    <a:pt x="1006336" y="202959"/>
                  </a:lnTo>
                  <a:lnTo>
                    <a:pt x="1006336" y="200876"/>
                  </a:lnTo>
                  <a:lnTo>
                    <a:pt x="1006437" y="200876"/>
                  </a:lnTo>
                  <a:lnTo>
                    <a:pt x="1006437" y="200228"/>
                  </a:lnTo>
                  <a:lnTo>
                    <a:pt x="1006437" y="202260"/>
                  </a:lnTo>
                  <a:lnTo>
                    <a:pt x="1006437" y="200228"/>
                  </a:lnTo>
                  <a:lnTo>
                    <a:pt x="1006476" y="200228"/>
                  </a:lnTo>
                  <a:lnTo>
                    <a:pt x="1006476" y="199530"/>
                  </a:lnTo>
                  <a:lnTo>
                    <a:pt x="1006476" y="202959"/>
                  </a:lnTo>
                  <a:lnTo>
                    <a:pt x="1006476" y="200876"/>
                  </a:lnTo>
                  <a:lnTo>
                    <a:pt x="1006526" y="200876"/>
                  </a:lnTo>
                  <a:lnTo>
                    <a:pt x="1006526" y="202959"/>
                  </a:lnTo>
                  <a:lnTo>
                    <a:pt x="1006526" y="202260"/>
                  </a:lnTo>
                  <a:lnTo>
                    <a:pt x="1006577" y="202260"/>
                  </a:lnTo>
                  <a:lnTo>
                    <a:pt x="1006577" y="202959"/>
                  </a:lnTo>
                  <a:lnTo>
                    <a:pt x="1006577" y="202260"/>
                  </a:lnTo>
                  <a:lnTo>
                    <a:pt x="1006577" y="202959"/>
                  </a:lnTo>
                  <a:lnTo>
                    <a:pt x="1006577" y="202260"/>
                  </a:lnTo>
                  <a:lnTo>
                    <a:pt x="1006577" y="202959"/>
                  </a:lnTo>
                  <a:lnTo>
                    <a:pt x="1006679" y="202959"/>
                  </a:lnTo>
                  <a:lnTo>
                    <a:pt x="1006679" y="202260"/>
                  </a:lnTo>
                  <a:lnTo>
                    <a:pt x="1006679" y="203594"/>
                  </a:lnTo>
                  <a:lnTo>
                    <a:pt x="1006730" y="203594"/>
                  </a:lnTo>
                  <a:lnTo>
                    <a:pt x="1006730" y="202959"/>
                  </a:lnTo>
                  <a:lnTo>
                    <a:pt x="1006730" y="204292"/>
                  </a:lnTo>
                  <a:lnTo>
                    <a:pt x="1006730" y="203594"/>
                  </a:lnTo>
                  <a:lnTo>
                    <a:pt x="1006780" y="203594"/>
                  </a:lnTo>
                  <a:lnTo>
                    <a:pt x="1006780" y="202959"/>
                  </a:lnTo>
                  <a:lnTo>
                    <a:pt x="1006780" y="203594"/>
                  </a:lnTo>
                  <a:lnTo>
                    <a:pt x="1006780" y="202959"/>
                  </a:lnTo>
                  <a:lnTo>
                    <a:pt x="1006780" y="203594"/>
                  </a:lnTo>
                  <a:lnTo>
                    <a:pt x="1006780" y="202959"/>
                  </a:lnTo>
                  <a:lnTo>
                    <a:pt x="1006882" y="202959"/>
                  </a:lnTo>
                  <a:lnTo>
                    <a:pt x="1006882" y="202260"/>
                  </a:lnTo>
                  <a:lnTo>
                    <a:pt x="1006882" y="202959"/>
                  </a:lnTo>
                  <a:lnTo>
                    <a:pt x="1006882" y="202260"/>
                  </a:lnTo>
                  <a:lnTo>
                    <a:pt x="1006882" y="202959"/>
                  </a:lnTo>
                  <a:lnTo>
                    <a:pt x="1006933" y="202959"/>
                  </a:lnTo>
                  <a:lnTo>
                    <a:pt x="1006933" y="200876"/>
                  </a:lnTo>
                  <a:lnTo>
                    <a:pt x="1006933" y="203594"/>
                  </a:lnTo>
                  <a:lnTo>
                    <a:pt x="1006983" y="204292"/>
                  </a:lnTo>
                  <a:lnTo>
                    <a:pt x="1006983" y="204990"/>
                  </a:lnTo>
                  <a:lnTo>
                    <a:pt x="1006983" y="203594"/>
                  </a:lnTo>
                  <a:lnTo>
                    <a:pt x="1006983" y="204292"/>
                  </a:lnTo>
                  <a:lnTo>
                    <a:pt x="1006983" y="203594"/>
                  </a:lnTo>
                  <a:lnTo>
                    <a:pt x="1006983" y="204292"/>
                  </a:lnTo>
                  <a:lnTo>
                    <a:pt x="1007022" y="204292"/>
                  </a:lnTo>
                  <a:lnTo>
                    <a:pt x="1007022" y="203594"/>
                  </a:lnTo>
                  <a:lnTo>
                    <a:pt x="1007022" y="204292"/>
                  </a:lnTo>
                  <a:lnTo>
                    <a:pt x="1007123" y="204292"/>
                  </a:lnTo>
                  <a:lnTo>
                    <a:pt x="1007123" y="203594"/>
                  </a:lnTo>
                  <a:lnTo>
                    <a:pt x="1007123" y="204292"/>
                  </a:lnTo>
                  <a:lnTo>
                    <a:pt x="1007123" y="203594"/>
                  </a:lnTo>
                  <a:lnTo>
                    <a:pt x="1007123" y="204292"/>
                  </a:lnTo>
                  <a:lnTo>
                    <a:pt x="1007174" y="203594"/>
                  </a:lnTo>
                  <a:lnTo>
                    <a:pt x="1007174" y="204990"/>
                  </a:lnTo>
                  <a:lnTo>
                    <a:pt x="1007225" y="204990"/>
                  </a:lnTo>
                  <a:lnTo>
                    <a:pt x="1007225" y="204292"/>
                  </a:lnTo>
                  <a:lnTo>
                    <a:pt x="1007225" y="204990"/>
                  </a:lnTo>
                  <a:lnTo>
                    <a:pt x="1007225" y="204292"/>
                  </a:lnTo>
                  <a:lnTo>
                    <a:pt x="1007326" y="204292"/>
                  </a:lnTo>
                  <a:lnTo>
                    <a:pt x="1007326" y="203594"/>
                  </a:lnTo>
                  <a:lnTo>
                    <a:pt x="1007377" y="203594"/>
                  </a:lnTo>
                  <a:lnTo>
                    <a:pt x="1007377" y="202260"/>
                  </a:lnTo>
                  <a:lnTo>
                    <a:pt x="1007377" y="202959"/>
                  </a:lnTo>
                  <a:lnTo>
                    <a:pt x="1007377" y="202260"/>
                  </a:lnTo>
                  <a:lnTo>
                    <a:pt x="1007377" y="202959"/>
                  </a:lnTo>
                  <a:lnTo>
                    <a:pt x="1007428" y="203594"/>
                  </a:lnTo>
                  <a:lnTo>
                    <a:pt x="1007428" y="202959"/>
                  </a:lnTo>
                  <a:lnTo>
                    <a:pt x="1007428" y="204990"/>
                  </a:lnTo>
                  <a:lnTo>
                    <a:pt x="1007479" y="204990"/>
                  </a:lnTo>
                  <a:lnTo>
                    <a:pt x="1007479" y="203594"/>
                  </a:lnTo>
                  <a:lnTo>
                    <a:pt x="1007479" y="206324"/>
                  </a:lnTo>
                  <a:lnTo>
                    <a:pt x="1007479" y="204990"/>
                  </a:lnTo>
                  <a:lnTo>
                    <a:pt x="1007568" y="204990"/>
                  </a:lnTo>
                  <a:lnTo>
                    <a:pt x="1007568" y="204292"/>
                  </a:lnTo>
                  <a:lnTo>
                    <a:pt x="1007568" y="204990"/>
                  </a:lnTo>
                  <a:lnTo>
                    <a:pt x="1007618" y="204990"/>
                  </a:lnTo>
                  <a:lnTo>
                    <a:pt x="1007618" y="204292"/>
                  </a:lnTo>
                  <a:lnTo>
                    <a:pt x="1007669" y="204292"/>
                  </a:lnTo>
                  <a:lnTo>
                    <a:pt x="1007669" y="204990"/>
                  </a:lnTo>
                  <a:lnTo>
                    <a:pt x="1007669" y="204292"/>
                  </a:lnTo>
                  <a:lnTo>
                    <a:pt x="1007669" y="204990"/>
                  </a:lnTo>
                  <a:lnTo>
                    <a:pt x="1007669" y="204292"/>
                  </a:lnTo>
                  <a:lnTo>
                    <a:pt x="1007669" y="204990"/>
                  </a:lnTo>
                  <a:lnTo>
                    <a:pt x="1007669" y="204292"/>
                  </a:lnTo>
                  <a:lnTo>
                    <a:pt x="1007720" y="204292"/>
                  </a:lnTo>
                  <a:lnTo>
                    <a:pt x="1007720" y="203594"/>
                  </a:lnTo>
                  <a:lnTo>
                    <a:pt x="1007720" y="204292"/>
                  </a:lnTo>
                  <a:lnTo>
                    <a:pt x="1007720" y="203594"/>
                  </a:lnTo>
                  <a:lnTo>
                    <a:pt x="1007822" y="204292"/>
                  </a:lnTo>
                  <a:lnTo>
                    <a:pt x="1007822" y="202260"/>
                  </a:lnTo>
                  <a:lnTo>
                    <a:pt x="1007872" y="202260"/>
                  </a:lnTo>
                  <a:lnTo>
                    <a:pt x="1007872" y="200876"/>
                  </a:lnTo>
                  <a:lnTo>
                    <a:pt x="1007872" y="203594"/>
                  </a:lnTo>
                  <a:lnTo>
                    <a:pt x="1007872" y="202959"/>
                  </a:lnTo>
                  <a:lnTo>
                    <a:pt x="1007923" y="202959"/>
                  </a:lnTo>
                  <a:lnTo>
                    <a:pt x="1007923" y="202260"/>
                  </a:lnTo>
                  <a:lnTo>
                    <a:pt x="1007923" y="204990"/>
                  </a:lnTo>
                  <a:lnTo>
                    <a:pt x="1007923" y="203594"/>
                  </a:lnTo>
                  <a:lnTo>
                    <a:pt x="1008025" y="203594"/>
                  </a:lnTo>
                  <a:lnTo>
                    <a:pt x="1008025" y="206324"/>
                  </a:lnTo>
                  <a:lnTo>
                    <a:pt x="1008025" y="204292"/>
                  </a:lnTo>
                  <a:lnTo>
                    <a:pt x="1008063" y="204292"/>
                  </a:lnTo>
                  <a:lnTo>
                    <a:pt x="1008063" y="204990"/>
                  </a:lnTo>
                  <a:lnTo>
                    <a:pt x="1008063" y="204292"/>
                  </a:lnTo>
                  <a:lnTo>
                    <a:pt x="1008114" y="204990"/>
                  </a:lnTo>
                  <a:lnTo>
                    <a:pt x="1008165" y="204990"/>
                  </a:lnTo>
                  <a:lnTo>
                    <a:pt x="1008165" y="204292"/>
                  </a:lnTo>
                  <a:lnTo>
                    <a:pt x="1008165" y="204990"/>
                  </a:lnTo>
                  <a:lnTo>
                    <a:pt x="1008266" y="204990"/>
                  </a:lnTo>
                  <a:lnTo>
                    <a:pt x="1008266" y="204292"/>
                  </a:lnTo>
                  <a:lnTo>
                    <a:pt x="1008266" y="204990"/>
                  </a:lnTo>
                  <a:lnTo>
                    <a:pt x="1008266" y="204292"/>
                  </a:lnTo>
                  <a:lnTo>
                    <a:pt x="1008317" y="203594"/>
                  </a:lnTo>
                  <a:lnTo>
                    <a:pt x="1008317" y="202959"/>
                  </a:lnTo>
                  <a:lnTo>
                    <a:pt x="1008317" y="203594"/>
                  </a:lnTo>
                  <a:lnTo>
                    <a:pt x="1008317" y="202260"/>
                  </a:lnTo>
                  <a:lnTo>
                    <a:pt x="1008368" y="202260"/>
                  </a:lnTo>
                  <a:lnTo>
                    <a:pt x="1008368" y="200876"/>
                  </a:lnTo>
                  <a:lnTo>
                    <a:pt x="1008368" y="203594"/>
                  </a:lnTo>
                  <a:lnTo>
                    <a:pt x="1008368" y="202260"/>
                  </a:lnTo>
                  <a:lnTo>
                    <a:pt x="1008469" y="202260"/>
                  </a:lnTo>
                  <a:lnTo>
                    <a:pt x="1008469" y="204292"/>
                  </a:lnTo>
                  <a:lnTo>
                    <a:pt x="1008469" y="203594"/>
                  </a:lnTo>
                  <a:lnTo>
                    <a:pt x="1008469" y="204292"/>
                  </a:lnTo>
                  <a:lnTo>
                    <a:pt x="1008469" y="202959"/>
                  </a:lnTo>
                  <a:lnTo>
                    <a:pt x="1008469" y="203594"/>
                  </a:lnTo>
                  <a:lnTo>
                    <a:pt x="1008520" y="203594"/>
                  </a:lnTo>
                  <a:lnTo>
                    <a:pt x="1008520" y="204292"/>
                  </a:lnTo>
                  <a:lnTo>
                    <a:pt x="1008520" y="203594"/>
                  </a:lnTo>
                  <a:lnTo>
                    <a:pt x="1008571" y="204292"/>
                  </a:lnTo>
                  <a:lnTo>
                    <a:pt x="1008571" y="204990"/>
                  </a:lnTo>
                  <a:lnTo>
                    <a:pt x="1008609" y="204990"/>
                  </a:lnTo>
                  <a:lnTo>
                    <a:pt x="1008609" y="206324"/>
                  </a:lnTo>
                  <a:lnTo>
                    <a:pt x="1008609" y="204292"/>
                  </a:lnTo>
                  <a:lnTo>
                    <a:pt x="1008609" y="204990"/>
                  </a:lnTo>
                  <a:lnTo>
                    <a:pt x="1008711" y="204990"/>
                  </a:lnTo>
                  <a:lnTo>
                    <a:pt x="1008711" y="204292"/>
                  </a:lnTo>
                  <a:lnTo>
                    <a:pt x="1008711" y="204990"/>
                  </a:lnTo>
                  <a:lnTo>
                    <a:pt x="1008711" y="204292"/>
                  </a:lnTo>
                  <a:lnTo>
                    <a:pt x="1008711" y="204990"/>
                  </a:lnTo>
                  <a:lnTo>
                    <a:pt x="1008762" y="204990"/>
                  </a:lnTo>
                  <a:lnTo>
                    <a:pt x="1008762" y="203594"/>
                  </a:lnTo>
                  <a:lnTo>
                    <a:pt x="1008762" y="204292"/>
                  </a:lnTo>
                  <a:lnTo>
                    <a:pt x="1008762" y="203594"/>
                  </a:lnTo>
                  <a:lnTo>
                    <a:pt x="1008762" y="204292"/>
                  </a:lnTo>
                  <a:lnTo>
                    <a:pt x="1008762" y="203594"/>
                  </a:lnTo>
                  <a:lnTo>
                    <a:pt x="1008812" y="203594"/>
                  </a:lnTo>
                  <a:lnTo>
                    <a:pt x="1008812" y="202959"/>
                  </a:lnTo>
                  <a:lnTo>
                    <a:pt x="1008812" y="203594"/>
                  </a:lnTo>
                  <a:lnTo>
                    <a:pt x="1008812" y="200876"/>
                  </a:lnTo>
                  <a:lnTo>
                    <a:pt x="1008914" y="202260"/>
                  </a:lnTo>
                  <a:lnTo>
                    <a:pt x="1008914" y="203594"/>
                  </a:lnTo>
                  <a:lnTo>
                    <a:pt x="1008914" y="202260"/>
                  </a:lnTo>
                  <a:lnTo>
                    <a:pt x="1008914" y="202959"/>
                  </a:lnTo>
                  <a:lnTo>
                    <a:pt x="1008965" y="203594"/>
                  </a:lnTo>
                  <a:lnTo>
                    <a:pt x="1008965" y="204292"/>
                  </a:lnTo>
                  <a:lnTo>
                    <a:pt x="1008965" y="202959"/>
                  </a:lnTo>
                  <a:lnTo>
                    <a:pt x="1008965" y="204292"/>
                  </a:lnTo>
                  <a:lnTo>
                    <a:pt x="1009016" y="204292"/>
                  </a:lnTo>
                  <a:lnTo>
                    <a:pt x="1009016" y="203594"/>
                  </a:lnTo>
                  <a:lnTo>
                    <a:pt x="1009016" y="204292"/>
                  </a:lnTo>
                  <a:lnTo>
                    <a:pt x="1009016" y="203594"/>
                  </a:lnTo>
                  <a:lnTo>
                    <a:pt x="1009016" y="204292"/>
                  </a:lnTo>
                  <a:lnTo>
                    <a:pt x="1009016" y="203594"/>
                  </a:lnTo>
                  <a:lnTo>
                    <a:pt x="1009016" y="204292"/>
                  </a:lnTo>
                  <a:lnTo>
                    <a:pt x="1009066" y="204292"/>
                  </a:lnTo>
                  <a:lnTo>
                    <a:pt x="1009066" y="203594"/>
                  </a:lnTo>
                  <a:lnTo>
                    <a:pt x="1009066" y="204990"/>
                  </a:lnTo>
                  <a:lnTo>
                    <a:pt x="1009066" y="204292"/>
                  </a:lnTo>
                  <a:lnTo>
                    <a:pt x="1009155" y="204292"/>
                  </a:lnTo>
                  <a:lnTo>
                    <a:pt x="1009155" y="204990"/>
                  </a:lnTo>
                  <a:lnTo>
                    <a:pt x="1009206" y="204292"/>
                  </a:lnTo>
                  <a:lnTo>
                    <a:pt x="1009206" y="204990"/>
                  </a:lnTo>
                  <a:lnTo>
                    <a:pt x="1009206" y="204292"/>
                  </a:lnTo>
                  <a:lnTo>
                    <a:pt x="1009206" y="204990"/>
                  </a:lnTo>
                  <a:lnTo>
                    <a:pt x="1009206" y="204292"/>
                  </a:lnTo>
                  <a:lnTo>
                    <a:pt x="1009206" y="204990"/>
                  </a:lnTo>
                  <a:lnTo>
                    <a:pt x="1009206" y="204292"/>
                  </a:lnTo>
                  <a:lnTo>
                    <a:pt x="1009257" y="204292"/>
                  </a:lnTo>
                  <a:lnTo>
                    <a:pt x="1009257" y="204990"/>
                  </a:lnTo>
                  <a:lnTo>
                    <a:pt x="1009257" y="203594"/>
                  </a:lnTo>
                  <a:lnTo>
                    <a:pt x="1009257" y="204292"/>
                  </a:lnTo>
                  <a:lnTo>
                    <a:pt x="1009257" y="203594"/>
                  </a:lnTo>
                  <a:lnTo>
                    <a:pt x="1009257" y="204292"/>
                  </a:lnTo>
                  <a:lnTo>
                    <a:pt x="1009257" y="203594"/>
                  </a:lnTo>
                  <a:lnTo>
                    <a:pt x="1009308" y="203594"/>
                  </a:lnTo>
                  <a:lnTo>
                    <a:pt x="1009308" y="200876"/>
                  </a:lnTo>
                  <a:lnTo>
                    <a:pt x="1009409" y="202260"/>
                  </a:lnTo>
                  <a:lnTo>
                    <a:pt x="1009409" y="202959"/>
                  </a:lnTo>
                  <a:lnTo>
                    <a:pt x="1009409" y="200228"/>
                  </a:lnTo>
                  <a:lnTo>
                    <a:pt x="1009409" y="203594"/>
                  </a:lnTo>
                  <a:lnTo>
                    <a:pt x="1009460" y="203594"/>
                  </a:lnTo>
                  <a:lnTo>
                    <a:pt x="1009460" y="204292"/>
                  </a:lnTo>
                  <a:lnTo>
                    <a:pt x="1009460" y="202260"/>
                  </a:lnTo>
                  <a:lnTo>
                    <a:pt x="1009460" y="203594"/>
                  </a:lnTo>
                  <a:lnTo>
                    <a:pt x="1009511" y="203594"/>
                  </a:lnTo>
                  <a:lnTo>
                    <a:pt x="1009511" y="202959"/>
                  </a:lnTo>
                  <a:lnTo>
                    <a:pt x="1009511" y="203594"/>
                  </a:lnTo>
                  <a:lnTo>
                    <a:pt x="1009612" y="203594"/>
                  </a:lnTo>
                  <a:lnTo>
                    <a:pt x="1009612" y="202959"/>
                  </a:lnTo>
                  <a:lnTo>
                    <a:pt x="1009612" y="203594"/>
                  </a:lnTo>
                  <a:lnTo>
                    <a:pt x="1009612" y="202959"/>
                  </a:lnTo>
                  <a:lnTo>
                    <a:pt x="1009612" y="203594"/>
                  </a:lnTo>
                  <a:lnTo>
                    <a:pt x="1009612" y="202959"/>
                  </a:lnTo>
                  <a:lnTo>
                    <a:pt x="1009612" y="204292"/>
                  </a:lnTo>
                  <a:lnTo>
                    <a:pt x="1009651" y="204292"/>
                  </a:lnTo>
                  <a:lnTo>
                    <a:pt x="1009651" y="203594"/>
                  </a:lnTo>
                  <a:lnTo>
                    <a:pt x="1009651" y="204292"/>
                  </a:lnTo>
                  <a:lnTo>
                    <a:pt x="1009651" y="203594"/>
                  </a:lnTo>
                  <a:lnTo>
                    <a:pt x="1009651" y="204292"/>
                  </a:lnTo>
                  <a:lnTo>
                    <a:pt x="1009701" y="203594"/>
                  </a:lnTo>
                  <a:lnTo>
                    <a:pt x="1009701" y="204292"/>
                  </a:lnTo>
                  <a:lnTo>
                    <a:pt x="1009701" y="203594"/>
                  </a:lnTo>
                  <a:lnTo>
                    <a:pt x="1009701" y="204292"/>
                  </a:lnTo>
                  <a:lnTo>
                    <a:pt x="1009752" y="204292"/>
                  </a:lnTo>
                  <a:lnTo>
                    <a:pt x="1009752" y="203594"/>
                  </a:lnTo>
                  <a:lnTo>
                    <a:pt x="1009752" y="204292"/>
                  </a:lnTo>
                  <a:lnTo>
                    <a:pt x="1009752" y="202959"/>
                  </a:lnTo>
                  <a:lnTo>
                    <a:pt x="1009752" y="203594"/>
                  </a:lnTo>
                  <a:lnTo>
                    <a:pt x="1009752" y="202959"/>
                  </a:lnTo>
                  <a:lnTo>
                    <a:pt x="1009854" y="202959"/>
                  </a:lnTo>
                  <a:lnTo>
                    <a:pt x="1009854" y="202260"/>
                  </a:lnTo>
                  <a:lnTo>
                    <a:pt x="1009854" y="204292"/>
                  </a:lnTo>
                  <a:lnTo>
                    <a:pt x="1009854" y="202959"/>
                  </a:lnTo>
                  <a:lnTo>
                    <a:pt x="1009905" y="203594"/>
                  </a:lnTo>
                  <a:lnTo>
                    <a:pt x="1009905" y="204990"/>
                  </a:lnTo>
                  <a:lnTo>
                    <a:pt x="1009905" y="204292"/>
                  </a:lnTo>
                  <a:lnTo>
                    <a:pt x="1009905" y="204990"/>
                  </a:lnTo>
                  <a:lnTo>
                    <a:pt x="1009955" y="204990"/>
                  </a:lnTo>
                  <a:lnTo>
                    <a:pt x="1009955" y="204292"/>
                  </a:lnTo>
                  <a:lnTo>
                    <a:pt x="1009955" y="204990"/>
                  </a:lnTo>
                  <a:lnTo>
                    <a:pt x="1009955" y="204292"/>
                  </a:lnTo>
                  <a:lnTo>
                    <a:pt x="1009955" y="204990"/>
                  </a:lnTo>
                  <a:lnTo>
                    <a:pt x="1010057" y="204990"/>
                  </a:lnTo>
                  <a:lnTo>
                    <a:pt x="1010057" y="204292"/>
                  </a:lnTo>
                  <a:lnTo>
                    <a:pt x="1010057" y="204990"/>
                  </a:lnTo>
                  <a:lnTo>
                    <a:pt x="1010057" y="204292"/>
                  </a:lnTo>
                  <a:lnTo>
                    <a:pt x="1010057" y="204990"/>
                  </a:lnTo>
                  <a:lnTo>
                    <a:pt x="1010108" y="204990"/>
                  </a:lnTo>
                  <a:lnTo>
                    <a:pt x="1010108" y="203594"/>
                  </a:lnTo>
                  <a:lnTo>
                    <a:pt x="1010108" y="204990"/>
                  </a:lnTo>
                  <a:lnTo>
                    <a:pt x="1010108" y="204292"/>
                  </a:lnTo>
                  <a:lnTo>
                    <a:pt x="1010108" y="204990"/>
                  </a:lnTo>
                  <a:lnTo>
                    <a:pt x="1010158" y="204990"/>
                  </a:lnTo>
                  <a:lnTo>
                    <a:pt x="1010158" y="204292"/>
                  </a:lnTo>
                  <a:lnTo>
                    <a:pt x="1010158" y="204990"/>
                  </a:lnTo>
                  <a:lnTo>
                    <a:pt x="1010158" y="204292"/>
                  </a:lnTo>
                  <a:lnTo>
                    <a:pt x="1010158" y="204990"/>
                  </a:lnTo>
                  <a:lnTo>
                    <a:pt x="1010197" y="204990"/>
                  </a:lnTo>
                  <a:lnTo>
                    <a:pt x="1010197" y="203594"/>
                  </a:lnTo>
                  <a:lnTo>
                    <a:pt x="1010298" y="203594"/>
                  </a:lnTo>
                  <a:lnTo>
                    <a:pt x="1010298" y="204292"/>
                  </a:lnTo>
                  <a:lnTo>
                    <a:pt x="1010298" y="202959"/>
                  </a:lnTo>
                  <a:lnTo>
                    <a:pt x="1010298" y="203594"/>
                  </a:lnTo>
                  <a:lnTo>
                    <a:pt x="1010298" y="202260"/>
                  </a:lnTo>
                  <a:lnTo>
                    <a:pt x="1010349" y="202260"/>
                  </a:lnTo>
                  <a:lnTo>
                    <a:pt x="1010349" y="200876"/>
                  </a:lnTo>
                  <a:lnTo>
                    <a:pt x="1010349" y="203594"/>
                  </a:lnTo>
                  <a:lnTo>
                    <a:pt x="1010349" y="202959"/>
                  </a:lnTo>
                  <a:lnTo>
                    <a:pt x="1010400" y="203594"/>
                  </a:lnTo>
                  <a:lnTo>
                    <a:pt x="1010400" y="204292"/>
                  </a:lnTo>
                  <a:lnTo>
                    <a:pt x="1010501" y="204292"/>
                  </a:lnTo>
                  <a:lnTo>
                    <a:pt x="1010501" y="204990"/>
                  </a:lnTo>
                  <a:lnTo>
                    <a:pt x="1010501" y="204292"/>
                  </a:lnTo>
                  <a:lnTo>
                    <a:pt x="1010501" y="204990"/>
                  </a:lnTo>
                  <a:lnTo>
                    <a:pt x="1010501" y="204292"/>
                  </a:lnTo>
                  <a:lnTo>
                    <a:pt x="1010552" y="204990"/>
                  </a:lnTo>
                  <a:lnTo>
                    <a:pt x="1010552" y="204292"/>
                  </a:lnTo>
                  <a:lnTo>
                    <a:pt x="1010552" y="204990"/>
                  </a:lnTo>
                  <a:lnTo>
                    <a:pt x="1010552" y="204292"/>
                  </a:lnTo>
                  <a:lnTo>
                    <a:pt x="1010552" y="204990"/>
                  </a:lnTo>
                  <a:lnTo>
                    <a:pt x="1010552" y="204292"/>
                  </a:lnTo>
                  <a:lnTo>
                    <a:pt x="1010603" y="204292"/>
                  </a:lnTo>
                  <a:lnTo>
                    <a:pt x="1010603" y="204990"/>
                  </a:lnTo>
                  <a:lnTo>
                    <a:pt x="1010603" y="204292"/>
                  </a:lnTo>
                  <a:lnTo>
                    <a:pt x="1010603" y="204990"/>
                  </a:lnTo>
                  <a:lnTo>
                    <a:pt x="1010603" y="204292"/>
                  </a:lnTo>
                  <a:lnTo>
                    <a:pt x="1010743" y="204292"/>
                  </a:lnTo>
                  <a:lnTo>
                    <a:pt x="1010743" y="202959"/>
                  </a:lnTo>
                  <a:lnTo>
                    <a:pt x="1010793" y="202959"/>
                  </a:lnTo>
                  <a:lnTo>
                    <a:pt x="1010793" y="200228"/>
                  </a:lnTo>
                  <a:lnTo>
                    <a:pt x="1010844" y="200228"/>
                  </a:lnTo>
                  <a:lnTo>
                    <a:pt x="1010844" y="202260"/>
                  </a:lnTo>
                  <a:lnTo>
                    <a:pt x="1010844" y="200876"/>
                  </a:lnTo>
                  <a:lnTo>
                    <a:pt x="1010844" y="202959"/>
                  </a:lnTo>
                  <a:lnTo>
                    <a:pt x="1010895" y="202959"/>
                  </a:lnTo>
                  <a:lnTo>
                    <a:pt x="1010895" y="203594"/>
                  </a:lnTo>
                  <a:lnTo>
                    <a:pt x="1010895" y="202959"/>
                  </a:lnTo>
                  <a:lnTo>
                    <a:pt x="1010895" y="203594"/>
                  </a:lnTo>
                  <a:lnTo>
                    <a:pt x="1010997" y="203594"/>
                  </a:lnTo>
                  <a:lnTo>
                    <a:pt x="1010997" y="204292"/>
                  </a:lnTo>
                  <a:lnTo>
                    <a:pt x="1010997" y="203594"/>
                  </a:lnTo>
                  <a:lnTo>
                    <a:pt x="1010997" y="204292"/>
                  </a:lnTo>
                  <a:lnTo>
                    <a:pt x="1011047" y="204292"/>
                  </a:lnTo>
                  <a:lnTo>
                    <a:pt x="1011047" y="204990"/>
                  </a:lnTo>
                  <a:lnTo>
                    <a:pt x="1011047" y="204292"/>
                  </a:lnTo>
                  <a:lnTo>
                    <a:pt x="1011047" y="204990"/>
                  </a:lnTo>
                  <a:lnTo>
                    <a:pt x="1011047" y="204292"/>
                  </a:lnTo>
                  <a:lnTo>
                    <a:pt x="1011047" y="204990"/>
                  </a:lnTo>
                  <a:lnTo>
                    <a:pt x="1011047" y="204292"/>
                  </a:lnTo>
                  <a:lnTo>
                    <a:pt x="1011098" y="204292"/>
                  </a:lnTo>
                  <a:lnTo>
                    <a:pt x="1011098" y="204990"/>
                  </a:lnTo>
                  <a:lnTo>
                    <a:pt x="1011098" y="204292"/>
                  </a:lnTo>
                  <a:lnTo>
                    <a:pt x="1011098" y="204990"/>
                  </a:lnTo>
                  <a:lnTo>
                    <a:pt x="1011098" y="204292"/>
                  </a:lnTo>
                  <a:lnTo>
                    <a:pt x="1011098" y="206324"/>
                  </a:lnTo>
                  <a:lnTo>
                    <a:pt x="1011200" y="206324"/>
                  </a:lnTo>
                  <a:lnTo>
                    <a:pt x="1011200" y="204292"/>
                  </a:lnTo>
                  <a:lnTo>
                    <a:pt x="1011200" y="204990"/>
                  </a:lnTo>
                  <a:lnTo>
                    <a:pt x="1011238" y="204990"/>
                  </a:lnTo>
                  <a:lnTo>
                    <a:pt x="1011238" y="203594"/>
                  </a:lnTo>
                  <a:lnTo>
                    <a:pt x="1011238" y="204292"/>
                  </a:lnTo>
                  <a:lnTo>
                    <a:pt x="1011238" y="203594"/>
                  </a:lnTo>
                  <a:lnTo>
                    <a:pt x="1011289" y="202959"/>
                  </a:lnTo>
                  <a:lnTo>
                    <a:pt x="1011289" y="200876"/>
                  </a:lnTo>
                  <a:lnTo>
                    <a:pt x="1011340" y="200876"/>
                  </a:lnTo>
                  <a:lnTo>
                    <a:pt x="1011340" y="202959"/>
                  </a:lnTo>
                  <a:lnTo>
                    <a:pt x="1011340" y="200876"/>
                  </a:lnTo>
                  <a:lnTo>
                    <a:pt x="1011340" y="202260"/>
                  </a:lnTo>
                  <a:lnTo>
                    <a:pt x="1011441" y="202959"/>
                  </a:lnTo>
                  <a:lnTo>
                    <a:pt x="1011441" y="204292"/>
                  </a:lnTo>
                  <a:lnTo>
                    <a:pt x="1011441" y="203594"/>
                  </a:lnTo>
                  <a:lnTo>
                    <a:pt x="1011441" y="204292"/>
                  </a:lnTo>
                  <a:lnTo>
                    <a:pt x="1011441" y="202959"/>
                  </a:lnTo>
                  <a:lnTo>
                    <a:pt x="1011492" y="203594"/>
                  </a:lnTo>
                  <a:lnTo>
                    <a:pt x="1011492" y="202959"/>
                  </a:lnTo>
                  <a:lnTo>
                    <a:pt x="1011492" y="203594"/>
                  </a:lnTo>
                  <a:lnTo>
                    <a:pt x="1011492" y="202959"/>
                  </a:lnTo>
                  <a:lnTo>
                    <a:pt x="1011492" y="204292"/>
                  </a:lnTo>
                  <a:lnTo>
                    <a:pt x="1011543" y="204292"/>
                  </a:lnTo>
                  <a:lnTo>
                    <a:pt x="1011543" y="203594"/>
                  </a:lnTo>
                  <a:lnTo>
                    <a:pt x="1011543" y="204292"/>
                  </a:lnTo>
                  <a:lnTo>
                    <a:pt x="1011543" y="203594"/>
                  </a:lnTo>
                  <a:lnTo>
                    <a:pt x="1011543" y="204990"/>
                  </a:lnTo>
                  <a:lnTo>
                    <a:pt x="1011644" y="204990"/>
                  </a:lnTo>
                  <a:lnTo>
                    <a:pt x="1011644" y="204292"/>
                  </a:lnTo>
                  <a:lnTo>
                    <a:pt x="1011644" y="204990"/>
                  </a:lnTo>
                  <a:lnTo>
                    <a:pt x="1011644" y="204292"/>
                  </a:lnTo>
                  <a:lnTo>
                    <a:pt x="1011644" y="204990"/>
                  </a:lnTo>
                  <a:lnTo>
                    <a:pt x="1011644" y="204292"/>
                  </a:lnTo>
                  <a:lnTo>
                    <a:pt x="1011644" y="206324"/>
                  </a:lnTo>
                  <a:lnTo>
                    <a:pt x="1011644" y="204990"/>
                  </a:lnTo>
                  <a:lnTo>
                    <a:pt x="1011695" y="204990"/>
                  </a:lnTo>
                  <a:lnTo>
                    <a:pt x="1011695" y="204292"/>
                  </a:lnTo>
                  <a:lnTo>
                    <a:pt x="1011695" y="204990"/>
                  </a:lnTo>
                  <a:lnTo>
                    <a:pt x="1011695" y="204292"/>
                  </a:lnTo>
                  <a:lnTo>
                    <a:pt x="1011695" y="204990"/>
                  </a:lnTo>
                  <a:lnTo>
                    <a:pt x="1011695" y="204292"/>
                  </a:lnTo>
                  <a:lnTo>
                    <a:pt x="1011695" y="204990"/>
                  </a:lnTo>
                  <a:lnTo>
                    <a:pt x="1011695" y="204292"/>
                  </a:lnTo>
                  <a:lnTo>
                    <a:pt x="1011695" y="204990"/>
                  </a:lnTo>
                  <a:lnTo>
                    <a:pt x="1011695" y="204292"/>
                  </a:lnTo>
                  <a:lnTo>
                    <a:pt x="1011695" y="204990"/>
                  </a:lnTo>
                  <a:lnTo>
                    <a:pt x="1011695" y="204292"/>
                  </a:lnTo>
                  <a:lnTo>
                    <a:pt x="1011746" y="204292"/>
                  </a:lnTo>
                  <a:lnTo>
                    <a:pt x="1011746" y="203594"/>
                  </a:lnTo>
                  <a:lnTo>
                    <a:pt x="1011746" y="204292"/>
                  </a:lnTo>
                  <a:lnTo>
                    <a:pt x="1011746" y="202959"/>
                  </a:lnTo>
                  <a:lnTo>
                    <a:pt x="1011784" y="203594"/>
                  </a:lnTo>
                  <a:lnTo>
                    <a:pt x="1011784" y="200228"/>
                  </a:lnTo>
                  <a:lnTo>
                    <a:pt x="1011886" y="200228"/>
                  </a:lnTo>
                  <a:lnTo>
                    <a:pt x="1011886" y="202260"/>
                  </a:lnTo>
                  <a:lnTo>
                    <a:pt x="1011886" y="200228"/>
                  </a:lnTo>
                  <a:lnTo>
                    <a:pt x="1011886" y="202260"/>
                  </a:lnTo>
                  <a:lnTo>
                    <a:pt x="1011937" y="202260"/>
                  </a:lnTo>
                  <a:lnTo>
                    <a:pt x="1011937" y="203594"/>
                  </a:lnTo>
                  <a:lnTo>
                    <a:pt x="1011937" y="200876"/>
                  </a:lnTo>
                  <a:lnTo>
                    <a:pt x="1011937" y="202260"/>
                  </a:lnTo>
                  <a:lnTo>
                    <a:pt x="1011987" y="202959"/>
                  </a:lnTo>
                  <a:lnTo>
                    <a:pt x="1011987" y="203594"/>
                  </a:lnTo>
                  <a:lnTo>
                    <a:pt x="1011987" y="202260"/>
                  </a:lnTo>
                  <a:lnTo>
                    <a:pt x="1011987" y="203594"/>
                  </a:lnTo>
                  <a:lnTo>
                    <a:pt x="1011987" y="202959"/>
                  </a:lnTo>
                  <a:lnTo>
                    <a:pt x="1012089" y="202959"/>
                  </a:lnTo>
                  <a:lnTo>
                    <a:pt x="1012089" y="203594"/>
                  </a:lnTo>
                  <a:lnTo>
                    <a:pt x="1012089" y="202959"/>
                  </a:lnTo>
                  <a:lnTo>
                    <a:pt x="1012089" y="204292"/>
                  </a:lnTo>
                  <a:lnTo>
                    <a:pt x="1012140" y="204292"/>
                  </a:lnTo>
                  <a:lnTo>
                    <a:pt x="1012140" y="203594"/>
                  </a:lnTo>
                  <a:lnTo>
                    <a:pt x="1012140" y="204292"/>
                  </a:lnTo>
                  <a:lnTo>
                    <a:pt x="1012140" y="203594"/>
                  </a:lnTo>
                  <a:lnTo>
                    <a:pt x="1012140" y="204292"/>
                  </a:lnTo>
                  <a:lnTo>
                    <a:pt x="1012191" y="204292"/>
                  </a:lnTo>
                  <a:lnTo>
                    <a:pt x="1012191" y="203594"/>
                  </a:lnTo>
                  <a:lnTo>
                    <a:pt x="1012191" y="204292"/>
                  </a:lnTo>
                  <a:lnTo>
                    <a:pt x="1012241" y="204292"/>
                  </a:lnTo>
                  <a:lnTo>
                    <a:pt x="1012241" y="203594"/>
                  </a:lnTo>
                  <a:lnTo>
                    <a:pt x="1012241" y="204292"/>
                  </a:lnTo>
                  <a:lnTo>
                    <a:pt x="1012241" y="202959"/>
                  </a:lnTo>
                  <a:lnTo>
                    <a:pt x="1012330" y="202959"/>
                  </a:lnTo>
                  <a:lnTo>
                    <a:pt x="1012330" y="200876"/>
                  </a:lnTo>
                  <a:lnTo>
                    <a:pt x="1012381" y="202260"/>
                  </a:lnTo>
                  <a:lnTo>
                    <a:pt x="1012381" y="200228"/>
                  </a:lnTo>
                  <a:lnTo>
                    <a:pt x="1012381" y="200876"/>
                  </a:lnTo>
                  <a:lnTo>
                    <a:pt x="1012381" y="200228"/>
                  </a:lnTo>
                  <a:lnTo>
                    <a:pt x="1012381" y="202959"/>
                  </a:lnTo>
                  <a:lnTo>
                    <a:pt x="1012432" y="203594"/>
                  </a:lnTo>
                  <a:lnTo>
                    <a:pt x="1012432" y="202260"/>
                  </a:lnTo>
                  <a:lnTo>
                    <a:pt x="1012432" y="202959"/>
                  </a:lnTo>
                  <a:lnTo>
                    <a:pt x="1012483" y="202959"/>
                  </a:lnTo>
                  <a:lnTo>
                    <a:pt x="1012483" y="202260"/>
                  </a:lnTo>
                  <a:lnTo>
                    <a:pt x="1012483" y="202959"/>
                  </a:lnTo>
                  <a:lnTo>
                    <a:pt x="1012483" y="202260"/>
                  </a:lnTo>
                  <a:lnTo>
                    <a:pt x="1012483" y="202959"/>
                  </a:lnTo>
                  <a:lnTo>
                    <a:pt x="1012584" y="202959"/>
                  </a:lnTo>
                  <a:lnTo>
                    <a:pt x="1012584" y="202260"/>
                  </a:lnTo>
                  <a:lnTo>
                    <a:pt x="1012584" y="202959"/>
                  </a:lnTo>
                  <a:lnTo>
                    <a:pt x="1012635" y="202959"/>
                  </a:lnTo>
                  <a:lnTo>
                    <a:pt x="1012635" y="203594"/>
                  </a:lnTo>
                  <a:lnTo>
                    <a:pt x="1012635" y="202959"/>
                  </a:lnTo>
                  <a:lnTo>
                    <a:pt x="1012635" y="203594"/>
                  </a:lnTo>
                  <a:lnTo>
                    <a:pt x="1012635" y="202959"/>
                  </a:lnTo>
                  <a:lnTo>
                    <a:pt x="1012635" y="204292"/>
                  </a:lnTo>
                  <a:lnTo>
                    <a:pt x="1012635" y="203594"/>
                  </a:lnTo>
                  <a:lnTo>
                    <a:pt x="1012635" y="204292"/>
                  </a:lnTo>
                  <a:lnTo>
                    <a:pt x="1012686" y="203594"/>
                  </a:lnTo>
                  <a:lnTo>
                    <a:pt x="1012686" y="204292"/>
                  </a:lnTo>
                  <a:lnTo>
                    <a:pt x="1012686" y="203594"/>
                  </a:lnTo>
                  <a:lnTo>
                    <a:pt x="1012787" y="203594"/>
                  </a:lnTo>
                  <a:lnTo>
                    <a:pt x="1012787" y="202959"/>
                  </a:lnTo>
                  <a:lnTo>
                    <a:pt x="1012787" y="203594"/>
                  </a:lnTo>
                  <a:lnTo>
                    <a:pt x="1012787" y="202959"/>
                  </a:lnTo>
                  <a:lnTo>
                    <a:pt x="1012826" y="202959"/>
                  </a:lnTo>
                  <a:lnTo>
                    <a:pt x="1012826" y="202260"/>
                  </a:lnTo>
                  <a:lnTo>
                    <a:pt x="1012826" y="203594"/>
                  </a:lnTo>
                  <a:lnTo>
                    <a:pt x="1012826" y="202959"/>
                  </a:lnTo>
                  <a:lnTo>
                    <a:pt x="1012876" y="202959"/>
                  </a:lnTo>
                  <a:lnTo>
                    <a:pt x="1012876" y="202260"/>
                  </a:lnTo>
                  <a:lnTo>
                    <a:pt x="1012876" y="202959"/>
                  </a:lnTo>
                  <a:lnTo>
                    <a:pt x="1012876" y="202260"/>
                  </a:lnTo>
                  <a:lnTo>
                    <a:pt x="1012876" y="204292"/>
                  </a:lnTo>
                  <a:lnTo>
                    <a:pt x="1012927" y="204292"/>
                  </a:lnTo>
                  <a:lnTo>
                    <a:pt x="1012927" y="202959"/>
                  </a:lnTo>
                  <a:lnTo>
                    <a:pt x="1012927" y="204292"/>
                  </a:lnTo>
                  <a:lnTo>
                    <a:pt x="1012927" y="203594"/>
                  </a:lnTo>
                  <a:lnTo>
                    <a:pt x="1012927" y="204292"/>
                  </a:lnTo>
                  <a:lnTo>
                    <a:pt x="1012927" y="203594"/>
                  </a:lnTo>
                  <a:lnTo>
                    <a:pt x="1013029" y="203594"/>
                  </a:lnTo>
                  <a:lnTo>
                    <a:pt x="1013029" y="204292"/>
                  </a:lnTo>
                  <a:lnTo>
                    <a:pt x="1013029" y="203594"/>
                  </a:lnTo>
                  <a:lnTo>
                    <a:pt x="1013029" y="204292"/>
                  </a:lnTo>
                  <a:lnTo>
                    <a:pt x="1013080" y="204292"/>
                  </a:lnTo>
                  <a:lnTo>
                    <a:pt x="1013080" y="203594"/>
                  </a:lnTo>
                  <a:lnTo>
                    <a:pt x="1013080" y="204292"/>
                  </a:lnTo>
                  <a:lnTo>
                    <a:pt x="1013130" y="204292"/>
                  </a:lnTo>
                  <a:lnTo>
                    <a:pt x="1013130" y="204990"/>
                  </a:lnTo>
                  <a:lnTo>
                    <a:pt x="1013130" y="204292"/>
                  </a:lnTo>
                  <a:lnTo>
                    <a:pt x="1013232" y="204292"/>
                  </a:lnTo>
                  <a:lnTo>
                    <a:pt x="1013232" y="204990"/>
                  </a:lnTo>
                  <a:lnTo>
                    <a:pt x="1013232" y="203594"/>
                  </a:lnTo>
                  <a:lnTo>
                    <a:pt x="1013232" y="204292"/>
                  </a:lnTo>
                  <a:lnTo>
                    <a:pt x="1013232" y="203594"/>
                  </a:lnTo>
                  <a:lnTo>
                    <a:pt x="1013283" y="203594"/>
                  </a:lnTo>
                  <a:lnTo>
                    <a:pt x="1013283" y="204292"/>
                  </a:lnTo>
                  <a:lnTo>
                    <a:pt x="1013283" y="203594"/>
                  </a:lnTo>
                  <a:lnTo>
                    <a:pt x="1013283" y="204292"/>
                  </a:lnTo>
                  <a:lnTo>
                    <a:pt x="1013283" y="203594"/>
                  </a:lnTo>
                  <a:lnTo>
                    <a:pt x="1013333" y="203594"/>
                  </a:lnTo>
                  <a:lnTo>
                    <a:pt x="1013333" y="202959"/>
                  </a:lnTo>
                  <a:lnTo>
                    <a:pt x="1013333" y="204292"/>
                  </a:lnTo>
                  <a:lnTo>
                    <a:pt x="1013333" y="203594"/>
                  </a:lnTo>
                  <a:lnTo>
                    <a:pt x="1013333" y="204292"/>
                  </a:lnTo>
                  <a:lnTo>
                    <a:pt x="1013333" y="202959"/>
                  </a:lnTo>
                  <a:lnTo>
                    <a:pt x="1013372" y="202959"/>
                  </a:lnTo>
                  <a:lnTo>
                    <a:pt x="1013372" y="206324"/>
                  </a:lnTo>
                  <a:lnTo>
                    <a:pt x="1013372" y="204292"/>
                  </a:lnTo>
                  <a:lnTo>
                    <a:pt x="1013473" y="204292"/>
                  </a:lnTo>
                  <a:lnTo>
                    <a:pt x="1013473" y="203594"/>
                  </a:lnTo>
                  <a:lnTo>
                    <a:pt x="1013473" y="206324"/>
                  </a:lnTo>
                  <a:lnTo>
                    <a:pt x="1013473" y="204292"/>
                  </a:lnTo>
                  <a:lnTo>
                    <a:pt x="1013524" y="204292"/>
                  </a:lnTo>
                  <a:lnTo>
                    <a:pt x="1013524" y="204990"/>
                  </a:lnTo>
                  <a:lnTo>
                    <a:pt x="1013524" y="204292"/>
                  </a:lnTo>
                  <a:lnTo>
                    <a:pt x="1013524" y="204990"/>
                  </a:lnTo>
                  <a:lnTo>
                    <a:pt x="1013575" y="204990"/>
                  </a:lnTo>
                  <a:lnTo>
                    <a:pt x="1013575" y="206324"/>
                  </a:lnTo>
                  <a:lnTo>
                    <a:pt x="1013575" y="204990"/>
                  </a:lnTo>
                  <a:lnTo>
                    <a:pt x="1013575" y="206324"/>
                  </a:lnTo>
                  <a:lnTo>
                    <a:pt x="1013575" y="204292"/>
                  </a:lnTo>
                  <a:lnTo>
                    <a:pt x="1013575" y="204990"/>
                  </a:lnTo>
                  <a:lnTo>
                    <a:pt x="1013575" y="204292"/>
                  </a:lnTo>
                  <a:lnTo>
                    <a:pt x="1013575" y="204990"/>
                  </a:lnTo>
                  <a:lnTo>
                    <a:pt x="1013676" y="204990"/>
                  </a:lnTo>
                  <a:lnTo>
                    <a:pt x="1013676" y="204292"/>
                  </a:lnTo>
                  <a:lnTo>
                    <a:pt x="1013676" y="204990"/>
                  </a:lnTo>
                  <a:lnTo>
                    <a:pt x="1013727" y="204990"/>
                  </a:lnTo>
                  <a:lnTo>
                    <a:pt x="1013727" y="203594"/>
                  </a:lnTo>
                  <a:lnTo>
                    <a:pt x="1013778" y="202959"/>
                  </a:lnTo>
                  <a:lnTo>
                    <a:pt x="1013778" y="203594"/>
                  </a:lnTo>
                  <a:lnTo>
                    <a:pt x="1013778" y="200876"/>
                  </a:lnTo>
                  <a:lnTo>
                    <a:pt x="1013829" y="202260"/>
                  </a:lnTo>
                  <a:lnTo>
                    <a:pt x="1013829" y="204292"/>
                  </a:lnTo>
                  <a:lnTo>
                    <a:pt x="1013829" y="200876"/>
                  </a:lnTo>
                  <a:lnTo>
                    <a:pt x="1013829" y="202959"/>
                  </a:lnTo>
                  <a:lnTo>
                    <a:pt x="1013918" y="203594"/>
                  </a:lnTo>
                  <a:lnTo>
                    <a:pt x="1013918" y="204990"/>
                  </a:lnTo>
                  <a:lnTo>
                    <a:pt x="1013918" y="203594"/>
                  </a:lnTo>
                  <a:lnTo>
                    <a:pt x="1013918" y="204292"/>
                  </a:lnTo>
                  <a:lnTo>
                    <a:pt x="1013968" y="204292"/>
                  </a:lnTo>
                  <a:lnTo>
                    <a:pt x="1013968" y="206324"/>
                  </a:lnTo>
                  <a:lnTo>
                    <a:pt x="1013968" y="204292"/>
                  </a:lnTo>
                  <a:lnTo>
                    <a:pt x="1013968" y="204990"/>
                  </a:lnTo>
                  <a:lnTo>
                    <a:pt x="1013968" y="204292"/>
                  </a:lnTo>
                  <a:lnTo>
                    <a:pt x="1013968" y="204990"/>
                  </a:lnTo>
                  <a:lnTo>
                    <a:pt x="1014019" y="204990"/>
                  </a:lnTo>
                  <a:lnTo>
                    <a:pt x="1014019" y="206324"/>
                  </a:lnTo>
                  <a:lnTo>
                    <a:pt x="1014019" y="204990"/>
                  </a:lnTo>
                  <a:lnTo>
                    <a:pt x="1014019" y="206324"/>
                  </a:lnTo>
                  <a:lnTo>
                    <a:pt x="1014019" y="204990"/>
                  </a:lnTo>
                  <a:lnTo>
                    <a:pt x="1014019" y="206324"/>
                  </a:lnTo>
                  <a:lnTo>
                    <a:pt x="1014019" y="204990"/>
                  </a:lnTo>
                  <a:lnTo>
                    <a:pt x="1014019" y="206324"/>
                  </a:lnTo>
                  <a:lnTo>
                    <a:pt x="1014019" y="204990"/>
                  </a:lnTo>
                  <a:lnTo>
                    <a:pt x="1014019" y="206324"/>
                  </a:lnTo>
                  <a:lnTo>
                    <a:pt x="1014070" y="206324"/>
                  </a:lnTo>
                  <a:lnTo>
                    <a:pt x="1014070" y="204990"/>
                  </a:lnTo>
                  <a:lnTo>
                    <a:pt x="1014070" y="206324"/>
                  </a:lnTo>
                  <a:lnTo>
                    <a:pt x="1014070" y="204990"/>
                  </a:lnTo>
                  <a:lnTo>
                    <a:pt x="1014070" y="206324"/>
                  </a:lnTo>
                  <a:lnTo>
                    <a:pt x="1014172" y="204990"/>
                  </a:lnTo>
                  <a:lnTo>
                    <a:pt x="1014172" y="206324"/>
                  </a:lnTo>
                  <a:lnTo>
                    <a:pt x="1014172" y="204990"/>
                  </a:lnTo>
                  <a:lnTo>
                    <a:pt x="1014172" y="206324"/>
                  </a:lnTo>
                  <a:lnTo>
                    <a:pt x="1014172" y="204990"/>
                  </a:lnTo>
                  <a:lnTo>
                    <a:pt x="1014172" y="206324"/>
                  </a:lnTo>
                  <a:lnTo>
                    <a:pt x="1014172" y="204990"/>
                  </a:lnTo>
                  <a:lnTo>
                    <a:pt x="1014222" y="204292"/>
                  </a:lnTo>
                  <a:lnTo>
                    <a:pt x="1014222" y="204990"/>
                  </a:lnTo>
                  <a:lnTo>
                    <a:pt x="1014222" y="203594"/>
                  </a:lnTo>
                  <a:lnTo>
                    <a:pt x="1014222" y="204990"/>
                  </a:lnTo>
                  <a:lnTo>
                    <a:pt x="1014273" y="206324"/>
                  </a:lnTo>
                  <a:lnTo>
                    <a:pt x="1014273" y="207022"/>
                  </a:lnTo>
                  <a:lnTo>
                    <a:pt x="1014273" y="204990"/>
                  </a:lnTo>
                  <a:lnTo>
                    <a:pt x="1014273" y="207721"/>
                  </a:lnTo>
                  <a:lnTo>
                    <a:pt x="1014375" y="208407"/>
                  </a:lnTo>
                  <a:lnTo>
                    <a:pt x="1014375" y="206324"/>
                  </a:lnTo>
                  <a:lnTo>
                    <a:pt x="1014375" y="207721"/>
                  </a:lnTo>
                  <a:lnTo>
                    <a:pt x="1014413" y="207721"/>
                  </a:lnTo>
                  <a:lnTo>
                    <a:pt x="1014413" y="207022"/>
                  </a:lnTo>
                  <a:lnTo>
                    <a:pt x="1014413" y="207721"/>
                  </a:lnTo>
                  <a:lnTo>
                    <a:pt x="1014413" y="207022"/>
                  </a:lnTo>
                  <a:lnTo>
                    <a:pt x="1014413" y="207721"/>
                  </a:lnTo>
                  <a:lnTo>
                    <a:pt x="1014464" y="207721"/>
                  </a:lnTo>
                  <a:lnTo>
                    <a:pt x="1014464" y="208407"/>
                  </a:lnTo>
                  <a:lnTo>
                    <a:pt x="1014464" y="207022"/>
                  </a:lnTo>
                  <a:lnTo>
                    <a:pt x="1014464" y="207721"/>
                  </a:lnTo>
                  <a:lnTo>
                    <a:pt x="1014515" y="207721"/>
                  </a:lnTo>
                  <a:lnTo>
                    <a:pt x="1014515" y="207022"/>
                  </a:lnTo>
                  <a:lnTo>
                    <a:pt x="1014515" y="207721"/>
                  </a:lnTo>
                  <a:lnTo>
                    <a:pt x="1014515" y="207022"/>
                  </a:lnTo>
                  <a:lnTo>
                    <a:pt x="1014616" y="207022"/>
                  </a:lnTo>
                  <a:lnTo>
                    <a:pt x="1014616" y="206324"/>
                  </a:lnTo>
                  <a:lnTo>
                    <a:pt x="1014616" y="207022"/>
                  </a:lnTo>
                  <a:lnTo>
                    <a:pt x="1014616" y="204990"/>
                  </a:lnTo>
                  <a:lnTo>
                    <a:pt x="1014667" y="206324"/>
                  </a:lnTo>
                  <a:lnTo>
                    <a:pt x="1014667" y="204292"/>
                  </a:lnTo>
                  <a:lnTo>
                    <a:pt x="1014718" y="204292"/>
                  </a:lnTo>
                  <a:lnTo>
                    <a:pt x="1014718" y="202260"/>
                  </a:lnTo>
                  <a:lnTo>
                    <a:pt x="1014819" y="202260"/>
                  </a:lnTo>
                  <a:lnTo>
                    <a:pt x="1014819" y="204292"/>
                  </a:lnTo>
                  <a:lnTo>
                    <a:pt x="1014819" y="202260"/>
                  </a:lnTo>
                  <a:lnTo>
                    <a:pt x="1014819" y="204292"/>
                  </a:lnTo>
                  <a:lnTo>
                    <a:pt x="1014870" y="204990"/>
                  </a:lnTo>
                  <a:lnTo>
                    <a:pt x="1014870" y="206324"/>
                  </a:lnTo>
                  <a:lnTo>
                    <a:pt x="1014870" y="202959"/>
                  </a:lnTo>
                  <a:lnTo>
                    <a:pt x="1014870" y="206324"/>
                  </a:lnTo>
                  <a:lnTo>
                    <a:pt x="1014921" y="206324"/>
                  </a:lnTo>
                  <a:lnTo>
                    <a:pt x="1014921" y="204990"/>
                  </a:lnTo>
                  <a:lnTo>
                    <a:pt x="1014921" y="206324"/>
                  </a:lnTo>
                  <a:lnTo>
                    <a:pt x="1014959" y="206324"/>
                  </a:lnTo>
                  <a:lnTo>
                    <a:pt x="1014959" y="207022"/>
                  </a:lnTo>
                  <a:lnTo>
                    <a:pt x="1014959" y="206324"/>
                  </a:lnTo>
                  <a:lnTo>
                    <a:pt x="1014959" y="207022"/>
                  </a:lnTo>
                  <a:lnTo>
                    <a:pt x="1014959" y="206324"/>
                  </a:lnTo>
                  <a:lnTo>
                    <a:pt x="1014959" y="207022"/>
                  </a:lnTo>
                  <a:lnTo>
                    <a:pt x="1014959" y="206324"/>
                  </a:lnTo>
                  <a:lnTo>
                    <a:pt x="1014959" y="207022"/>
                  </a:lnTo>
                  <a:lnTo>
                    <a:pt x="1014959" y="206324"/>
                  </a:lnTo>
                  <a:lnTo>
                    <a:pt x="1014959" y="207022"/>
                  </a:lnTo>
                  <a:lnTo>
                    <a:pt x="1015061" y="207022"/>
                  </a:lnTo>
                  <a:lnTo>
                    <a:pt x="1015061" y="207721"/>
                  </a:lnTo>
                  <a:lnTo>
                    <a:pt x="1015061" y="207022"/>
                  </a:lnTo>
                  <a:lnTo>
                    <a:pt x="1015061" y="207721"/>
                  </a:lnTo>
                  <a:lnTo>
                    <a:pt x="1015061" y="207022"/>
                  </a:lnTo>
                  <a:lnTo>
                    <a:pt x="1015112" y="207022"/>
                  </a:lnTo>
                  <a:lnTo>
                    <a:pt x="1015112" y="207721"/>
                  </a:lnTo>
                  <a:lnTo>
                    <a:pt x="1015112" y="206324"/>
                  </a:lnTo>
                  <a:lnTo>
                    <a:pt x="1015112" y="207022"/>
                  </a:lnTo>
                  <a:lnTo>
                    <a:pt x="1015112" y="206324"/>
                  </a:lnTo>
                  <a:lnTo>
                    <a:pt x="1015112" y="207022"/>
                  </a:lnTo>
                  <a:lnTo>
                    <a:pt x="1015112" y="206324"/>
                  </a:lnTo>
                  <a:lnTo>
                    <a:pt x="1015162" y="206324"/>
                  </a:lnTo>
                  <a:lnTo>
                    <a:pt x="1015162" y="204292"/>
                  </a:lnTo>
                  <a:lnTo>
                    <a:pt x="1015264" y="204292"/>
                  </a:lnTo>
                  <a:lnTo>
                    <a:pt x="1015264" y="202959"/>
                  </a:lnTo>
                  <a:lnTo>
                    <a:pt x="1015264" y="204292"/>
                  </a:lnTo>
                  <a:lnTo>
                    <a:pt x="1015264" y="203594"/>
                  </a:lnTo>
                  <a:lnTo>
                    <a:pt x="1015315" y="203594"/>
                  </a:lnTo>
                  <a:lnTo>
                    <a:pt x="1015315" y="202959"/>
                  </a:lnTo>
                  <a:lnTo>
                    <a:pt x="1015315" y="206324"/>
                  </a:lnTo>
                  <a:lnTo>
                    <a:pt x="1015315" y="204990"/>
                  </a:lnTo>
                  <a:lnTo>
                    <a:pt x="1015366" y="204292"/>
                  </a:lnTo>
                  <a:lnTo>
                    <a:pt x="1015366" y="203594"/>
                  </a:lnTo>
                  <a:lnTo>
                    <a:pt x="1015366" y="204292"/>
                  </a:lnTo>
                  <a:lnTo>
                    <a:pt x="1015416" y="204292"/>
                  </a:lnTo>
                  <a:lnTo>
                    <a:pt x="1015416" y="204990"/>
                  </a:lnTo>
                  <a:lnTo>
                    <a:pt x="1015416" y="204292"/>
                  </a:lnTo>
                  <a:lnTo>
                    <a:pt x="1015505" y="204292"/>
                  </a:lnTo>
                  <a:lnTo>
                    <a:pt x="1015505" y="204990"/>
                  </a:lnTo>
                  <a:lnTo>
                    <a:pt x="1015505" y="204292"/>
                  </a:lnTo>
                  <a:lnTo>
                    <a:pt x="1015505" y="204990"/>
                  </a:lnTo>
                  <a:lnTo>
                    <a:pt x="1015505" y="204292"/>
                  </a:lnTo>
                  <a:lnTo>
                    <a:pt x="1015505" y="204990"/>
                  </a:lnTo>
                  <a:lnTo>
                    <a:pt x="1015556" y="204990"/>
                  </a:lnTo>
                  <a:lnTo>
                    <a:pt x="1015556" y="206324"/>
                  </a:lnTo>
                  <a:lnTo>
                    <a:pt x="1015556" y="204990"/>
                  </a:lnTo>
                  <a:lnTo>
                    <a:pt x="1015607" y="204990"/>
                  </a:lnTo>
                  <a:lnTo>
                    <a:pt x="1015658" y="204292"/>
                  </a:lnTo>
                  <a:lnTo>
                    <a:pt x="1015658" y="204990"/>
                  </a:lnTo>
                  <a:lnTo>
                    <a:pt x="1015658" y="203594"/>
                  </a:lnTo>
                  <a:lnTo>
                    <a:pt x="1015658" y="204292"/>
                  </a:lnTo>
                  <a:lnTo>
                    <a:pt x="1015658" y="203594"/>
                  </a:lnTo>
                  <a:lnTo>
                    <a:pt x="1015759" y="203594"/>
                  </a:lnTo>
                  <a:lnTo>
                    <a:pt x="1015759" y="202959"/>
                  </a:lnTo>
                  <a:lnTo>
                    <a:pt x="1015759" y="204990"/>
                  </a:lnTo>
                  <a:lnTo>
                    <a:pt x="1015759" y="202959"/>
                  </a:lnTo>
                  <a:lnTo>
                    <a:pt x="1015759" y="203594"/>
                  </a:lnTo>
                  <a:lnTo>
                    <a:pt x="1015810" y="202959"/>
                  </a:lnTo>
                  <a:lnTo>
                    <a:pt x="1015810" y="206324"/>
                  </a:lnTo>
                  <a:lnTo>
                    <a:pt x="1015810" y="204990"/>
                  </a:lnTo>
                  <a:lnTo>
                    <a:pt x="1015861" y="204292"/>
                  </a:lnTo>
                  <a:lnTo>
                    <a:pt x="1015861" y="203594"/>
                  </a:lnTo>
                  <a:lnTo>
                    <a:pt x="1015861" y="204990"/>
                  </a:lnTo>
                  <a:lnTo>
                    <a:pt x="1015861" y="204292"/>
                  </a:lnTo>
                  <a:lnTo>
                    <a:pt x="1015861" y="204990"/>
                  </a:lnTo>
                  <a:lnTo>
                    <a:pt x="1016001" y="204990"/>
                  </a:lnTo>
                  <a:lnTo>
                    <a:pt x="1016001" y="206324"/>
                  </a:lnTo>
                  <a:lnTo>
                    <a:pt x="1016001" y="204990"/>
                  </a:lnTo>
                  <a:lnTo>
                    <a:pt x="1016001" y="206324"/>
                  </a:lnTo>
                  <a:lnTo>
                    <a:pt x="1016001" y="204990"/>
                  </a:lnTo>
                  <a:lnTo>
                    <a:pt x="1016001" y="206324"/>
                  </a:lnTo>
                  <a:lnTo>
                    <a:pt x="1016051" y="206324"/>
                  </a:lnTo>
                  <a:lnTo>
                    <a:pt x="1016051" y="204990"/>
                  </a:lnTo>
                  <a:lnTo>
                    <a:pt x="1016051" y="206324"/>
                  </a:lnTo>
                  <a:lnTo>
                    <a:pt x="1016051" y="204990"/>
                  </a:lnTo>
                  <a:lnTo>
                    <a:pt x="1016051" y="207022"/>
                  </a:lnTo>
                  <a:lnTo>
                    <a:pt x="1016102" y="206324"/>
                  </a:lnTo>
                  <a:lnTo>
                    <a:pt x="1016102" y="204990"/>
                  </a:lnTo>
                  <a:lnTo>
                    <a:pt x="1016102" y="206324"/>
                  </a:lnTo>
                  <a:lnTo>
                    <a:pt x="1016102" y="204292"/>
                  </a:lnTo>
                  <a:lnTo>
                    <a:pt x="1016102" y="204990"/>
                  </a:lnTo>
                  <a:lnTo>
                    <a:pt x="1016204" y="204990"/>
                  </a:lnTo>
                  <a:lnTo>
                    <a:pt x="1016204" y="203594"/>
                  </a:lnTo>
                  <a:lnTo>
                    <a:pt x="1016204" y="204292"/>
                  </a:lnTo>
                  <a:lnTo>
                    <a:pt x="1016204" y="203594"/>
                  </a:lnTo>
                  <a:lnTo>
                    <a:pt x="1016255" y="203594"/>
                  </a:lnTo>
                  <a:lnTo>
                    <a:pt x="1016255" y="202959"/>
                  </a:lnTo>
                  <a:lnTo>
                    <a:pt x="1016255" y="204990"/>
                  </a:lnTo>
                  <a:lnTo>
                    <a:pt x="1016255" y="203594"/>
                  </a:lnTo>
                  <a:lnTo>
                    <a:pt x="1016305" y="203594"/>
                  </a:lnTo>
                  <a:lnTo>
                    <a:pt x="1016305" y="206324"/>
                  </a:lnTo>
                  <a:lnTo>
                    <a:pt x="1016305" y="204292"/>
                  </a:lnTo>
                  <a:lnTo>
                    <a:pt x="1016407" y="204292"/>
                  </a:lnTo>
                  <a:lnTo>
                    <a:pt x="1016407" y="206324"/>
                  </a:lnTo>
                  <a:lnTo>
                    <a:pt x="1016407" y="204292"/>
                  </a:lnTo>
                  <a:lnTo>
                    <a:pt x="1016407" y="204990"/>
                  </a:lnTo>
                  <a:lnTo>
                    <a:pt x="1016458" y="204990"/>
                  </a:lnTo>
                  <a:lnTo>
                    <a:pt x="1016458" y="206324"/>
                  </a:lnTo>
                  <a:lnTo>
                    <a:pt x="1016458" y="204292"/>
                  </a:lnTo>
                  <a:lnTo>
                    <a:pt x="1016458" y="204990"/>
                  </a:lnTo>
                  <a:lnTo>
                    <a:pt x="1016458" y="204292"/>
                  </a:lnTo>
                  <a:lnTo>
                    <a:pt x="1016458" y="204990"/>
                  </a:lnTo>
                  <a:lnTo>
                    <a:pt x="1016458" y="204292"/>
                  </a:lnTo>
                  <a:lnTo>
                    <a:pt x="1016458" y="204990"/>
                  </a:lnTo>
                  <a:lnTo>
                    <a:pt x="1016547" y="204990"/>
                  </a:lnTo>
                  <a:lnTo>
                    <a:pt x="1016547" y="206324"/>
                  </a:lnTo>
                  <a:lnTo>
                    <a:pt x="1016547" y="204990"/>
                  </a:lnTo>
                  <a:lnTo>
                    <a:pt x="1016547" y="206324"/>
                  </a:lnTo>
                  <a:lnTo>
                    <a:pt x="1016547" y="204292"/>
                  </a:lnTo>
                  <a:lnTo>
                    <a:pt x="1016547" y="204990"/>
                  </a:lnTo>
                  <a:lnTo>
                    <a:pt x="1016648" y="204292"/>
                  </a:lnTo>
                  <a:lnTo>
                    <a:pt x="1016648" y="204990"/>
                  </a:lnTo>
                  <a:lnTo>
                    <a:pt x="1016648" y="204292"/>
                  </a:lnTo>
                  <a:lnTo>
                    <a:pt x="1016648" y="204990"/>
                  </a:lnTo>
                  <a:lnTo>
                    <a:pt x="1016648" y="204292"/>
                  </a:lnTo>
                  <a:lnTo>
                    <a:pt x="1016648" y="204990"/>
                  </a:lnTo>
                  <a:lnTo>
                    <a:pt x="1016648" y="203594"/>
                  </a:lnTo>
                  <a:lnTo>
                    <a:pt x="1016699" y="203594"/>
                  </a:lnTo>
                  <a:lnTo>
                    <a:pt x="1016699" y="204292"/>
                  </a:lnTo>
                  <a:lnTo>
                    <a:pt x="1016699" y="202260"/>
                  </a:lnTo>
                  <a:lnTo>
                    <a:pt x="1016699" y="202959"/>
                  </a:lnTo>
                  <a:lnTo>
                    <a:pt x="1016699" y="202260"/>
                  </a:lnTo>
                  <a:lnTo>
                    <a:pt x="1016699" y="202959"/>
                  </a:lnTo>
                  <a:lnTo>
                    <a:pt x="1016750" y="202959"/>
                  </a:lnTo>
                  <a:lnTo>
                    <a:pt x="1016750" y="204292"/>
                  </a:lnTo>
                  <a:lnTo>
                    <a:pt x="1016750" y="202260"/>
                  </a:lnTo>
                  <a:lnTo>
                    <a:pt x="1016750" y="204990"/>
                  </a:lnTo>
                  <a:lnTo>
                    <a:pt x="1016851" y="204990"/>
                  </a:lnTo>
                  <a:lnTo>
                    <a:pt x="1016851" y="206324"/>
                  </a:lnTo>
                  <a:lnTo>
                    <a:pt x="1016851" y="203594"/>
                  </a:lnTo>
                  <a:lnTo>
                    <a:pt x="1016851" y="204990"/>
                  </a:lnTo>
                  <a:lnTo>
                    <a:pt x="1016902" y="204990"/>
                  </a:lnTo>
                  <a:lnTo>
                    <a:pt x="1016902" y="204292"/>
                  </a:lnTo>
                  <a:lnTo>
                    <a:pt x="1016902" y="204990"/>
                  </a:lnTo>
                  <a:lnTo>
                    <a:pt x="1016902" y="204292"/>
                  </a:lnTo>
                  <a:lnTo>
                    <a:pt x="1016902" y="204990"/>
                  </a:lnTo>
                  <a:lnTo>
                    <a:pt x="1016953" y="204990"/>
                  </a:lnTo>
                  <a:lnTo>
                    <a:pt x="1016953" y="206324"/>
                  </a:lnTo>
                  <a:lnTo>
                    <a:pt x="1016953" y="204990"/>
                  </a:lnTo>
                  <a:lnTo>
                    <a:pt x="1016953" y="206324"/>
                  </a:lnTo>
                  <a:lnTo>
                    <a:pt x="1016953" y="204990"/>
                  </a:lnTo>
                  <a:lnTo>
                    <a:pt x="1016953" y="206324"/>
                  </a:lnTo>
                  <a:lnTo>
                    <a:pt x="1017004" y="206324"/>
                  </a:lnTo>
                  <a:lnTo>
                    <a:pt x="1017004" y="204990"/>
                  </a:lnTo>
                  <a:lnTo>
                    <a:pt x="1017004" y="206324"/>
                  </a:lnTo>
                  <a:lnTo>
                    <a:pt x="1017004" y="204990"/>
                  </a:lnTo>
                  <a:lnTo>
                    <a:pt x="1017004" y="206324"/>
                  </a:lnTo>
                  <a:lnTo>
                    <a:pt x="1017004" y="204990"/>
                  </a:lnTo>
                  <a:lnTo>
                    <a:pt x="1017004" y="206324"/>
                  </a:lnTo>
                  <a:lnTo>
                    <a:pt x="1017004" y="204990"/>
                  </a:lnTo>
                  <a:lnTo>
                    <a:pt x="1017093" y="204990"/>
                  </a:lnTo>
                  <a:lnTo>
                    <a:pt x="1017093" y="204292"/>
                  </a:lnTo>
                  <a:lnTo>
                    <a:pt x="1017093" y="204990"/>
                  </a:lnTo>
                  <a:lnTo>
                    <a:pt x="1017093" y="204292"/>
                  </a:lnTo>
                  <a:lnTo>
                    <a:pt x="1017093" y="204990"/>
                  </a:lnTo>
                  <a:lnTo>
                    <a:pt x="1017093" y="204292"/>
                  </a:lnTo>
                  <a:lnTo>
                    <a:pt x="1017144" y="204292"/>
                  </a:lnTo>
                  <a:lnTo>
                    <a:pt x="1017144" y="203594"/>
                  </a:lnTo>
                  <a:lnTo>
                    <a:pt x="1017144" y="204292"/>
                  </a:lnTo>
                  <a:lnTo>
                    <a:pt x="1017144" y="202959"/>
                  </a:lnTo>
                  <a:lnTo>
                    <a:pt x="1017194" y="202959"/>
                  </a:lnTo>
                  <a:lnTo>
                    <a:pt x="1017194" y="200228"/>
                  </a:lnTo>
                  <a:lnTo>
                    <a:pt x="1017194" y="200876"/>
                  </a:lnTo>
                  <a:lnTo>
                    <a:pt x="1017194" y="200228"/>
                  </a:lnTo>
                  <a:lnTo>
                    <a:pt x="1017245" y="200228"/>
                  </a:lnTo>
                  <a:lnTo>
                    <a:pt x="1017245" y="199530"/>
                  </a:lnTo>
                  <a:lnTo>
                    <a:pt x="1017245" y="202260"/>
                  </a:lnTo>
                  <a:lnTo>
                    <a:pt x="1017245" y="200228"/>
                  </a:lnTo>
                  <a:lnTo>
                    <a:pt x="1017347" y="200228"/>
                  </a:lnTo>
                  <a:lnTo>
                    <a:pt x="1017347" y="199530"/>
                  </a:lnTo>
                  <a:lnTo>
                    <a:pt x="1017347" y="202959"/>
                  </a:lnTo>
                  <a:lnTo>
                    <a:pt x="1017347" y="200876"/>
                  </a:lnTo>
                  <a:lnTo>
                    <a:pt x="1017397" y="200876"/>
                  </a:lnTo>
                  <a:lnTo>
                    <a:pt x="1017397" y="202959"/>
                  </a:lnTo>
                  <a:lnTo>
                    <a:pt x="1017448" y="202959"/>
                  </a:lnTo>
                  <a:lnTo>
                    <a:pt x="1017448" y="203594"/>
                  </a:lnTo>
                  <a:lnTo>
                    <a:pt x="1017448" y="202959"/>
                  </a:lnTo>
                  <a:lnTo>
                    <a:pt x="1017448" y="203594"/>
                  </a:lnTo>
                  <a:lnTo>
                    <a:pt x="1017448" y="202959"/>
                  </a:lnTo>
                  <a:lnTo>
                    <a:pt x="1017448" y="203594"/>
                  </a:lnTo>
                  <a:lnTo>
                    <a:pt x="1017550" y="203594"/>
                  </a:lnTo>
                  <a:lnTo>
                    <a:pt x="1017550" y="204292"/>
                  </a:lnTo>
                  <a:lnTo>
                    <a:pt x="1017550" y="203594"/>
                  </a:lnTo>
                  <a:lnTo>
                    <a:pt x="1017550" y="204990"/>
                  </a:lnTo>
                  <a:lnTo>
                    <a:pt x="1017588" y="204990"/>
                  </a:lnTo>
                  <a:lnTo>
                    <a:pt x="1017588" y="204292"/>
                  </a:lnTo>
                  <a:lnTo>
                    <a:pt x="1017588" y="204990"/>
                  </a:lnTo>
                  <a:lnTo>
                    <a:pt x="1017588" y="204292"/>
                  </a:lnTo>
                  <a:lnTo>
                    <a:pt x="1017588" y="204990"/>
                  </a:lnTo>
                  <a:lnTo>
                    <a:pt x="1017588" y="204292"/>
                  </a:lnTo>
                  <a:lnTo>
                    <a:pt x="1017588" y="204990"/>
                  </a:lnTo>
                  <a:lnTo>
                    <a:pt x="1017639" y="204292"/>
                  </a:lnTo>
                  <a:lnTo>
                    <a:pt x="1017690" y="204292"/>
                  </a:lnTo>
                  <a:lnTo>
                    <a:pt x="1017690" y="203594"/>
                  </a:lnTo>
                  <a:lnTo>
                    <a:pt x="1017690" y="204292"/>
                  </a:lnTo>
                  <a:lnTo>
                    <a:pt x="1017690" y="203594"/>
                  </a:lnTo>
                  <a:lnTo>
                    <a:pt x="1017690" y="204292"/>
                  </a:lnTo>
                  <a:lnTo>
                    <a:pt x="1017690" y="202959"/>
                  </a:lnTo>
                  <a:lnTo>
                    <a:pt x="1017690" y="203594"/>
                  </a:lnTo>
                  <a:lnTo>
                    <a:pt x="1017690" y="200876"/>
                  </a:lnTo>
                  <a:lnTo>
                    <a:pt x="1017791" y="200876"/>
                  </a:lnTo>
                  <a:lnTo>
                    <a:pt x="1017791" y="200228"/>
                  </a:lnTo>
                  <a:lnTo>
                    <a:pt x="1017791" y="202260"/>
                  </a:lnTo>
                  <a:lnTo>
                    <a:pt x="1017791" y="200228"/>
                  </a:lnTo>
                  <a:lnTo>
                    <a:pt x="1017842" y="200228"/>
                  </a:lnTo>
                  <a:lnTo>
                    <a:pt x="1017842" y="203594"/>
                  </a:lnTo>
                  <a:lnTo>
                    <a:pt x="1017842" y="202959"/>
                  </a:lnTo>
                  <a:lnTo>
                    <a:pt x="1017842" y="203594"/>
                  </a:lnTo>
                  <a:lnTo>
                    <a:pt x="1017842" y="202260"/>
                  </a:lnTo>
                  <a:lnTo>
                    <a:pt x="1017893" y="202260"/>
                  </a:lnTo>
                  <a:lnTo>
                    <a:pt x="1017893" y="200876"/>
                  </a:lnTo>
                  <a:lnTo>
                    <a:pt x="1017893" y="203594"/>
                  </a:lnTo>
                  <a:lnTo>
                    <a:pt x="1017893" y="202260"/>
                  </a:lnTo>
                  <a:lnTo>
                    <a:pt x="1017994" y="202959"/>
                  </a:lnTo>
                  <a:lnTo>
                    <a:pt x="1017994" y="203594"/>
                  </a:lnTo>
                  <a:lnTo>
                    <a:pt x="1017994" y="202959"/>
                  </a:lnTo>
                  <a:lnTo>
                    <a:pt x="1017994" y="203594"/>
                  </a:lnTo>
                  <a:lnTo>
                    <a:pt x="1017994" y="202959"/>
                  </a:lnTo>
                  <a:lnTo>
                    <a:pt x="1018045" y="203594"/>
                  </a:lnTo>
                  <a:lnTo>
                    <a:pt x="1018045" y="204292"/>
                  </a:lnTo>
                  <a:lnTo>
                    <a:pt x="1018045" y="203594"/>
                  </a:lnTo>
                  <a:lnTo>
                    <a:pt x="1018045" y="204292"/>
                  </a:lnTo>
                  <a:lnTo>
                    <a:pt x="1018096" y="204292"/>
                  </a:lnTo>
                  <a:lnTo>
                    <a:pt x="1018096" y="204990"/>
                  </a:lnTo>
                  <a:lnTo>
                    <a:pt x="1018096" y="204292"/>
                  </a:lnTo>
                  <a:lnTo>
                    <a:pt x="1018096" y="204990"/>
                  </a:lnTo>
                  <a:lnTo>
                    <a:pt x="1018096" y="204292"/>
                  </a:lnTo>
                  <a:lnTo>
                    <a:pt x="1018096" y="204990"/>
                  </a:lnTo>
                  <a:lnTo>
                    <a:pt x="1018096" y="204292"/>
                  </a:lnTo>
                  <a:lnTo>
                    <a:pt x="1018134" y="204292"/>
                  </a:lnTo>
                  <a:lnTo>
                    <a:pt x="1018134" y="203594"/>
                  </a:lnTo>
                  <a:lnTo>
                    <a:pt x="1018134" y="204292"/>
                  </a:lnTo>
                  <a:lnTo>
                    <a:pt x="1018134" y="203594"/>
                  </a:lnTo>
                  <a:lnTo>
                    <a:pt x="1018236" y="203594"/>
                  </a:lnTo>
                  <a:lnTo>
                    <a:pt x="1018236" y="202959"/>
                  </a:lnTo>
                  <a:lnTo>
                    <a:pt x="1018236" y="203594"/>
                  </a:lnTo>
                  <a:lnTo>
                    <a:pt x="1018236" y="202959"/>
                  </a:lnTo>
                  <a:lnTo>
                    <a:pt x="1018287" y="202959"/>
                  </a:lnTo>
                  <a:lnTo>
                    <a:pt x="1018287" y="202260"/>
                  </a:lnTo>
                  <a:lnTo>
                    <a:pt x="1018287" y="204990"/>
                  </a:lnTo>
                  <a:lnTo>
                    <a:pt x="1018287" y="204292"/>
                  </a:lnTo>
                  <a:lnTo>
                    <a:pt x="1018337" y="204990"/>
                  </a:lnTo>
                  <a:lnTo>
                    <a:pt x="1018337" y="202959"/>
                  </a:lnTo>
                  <a:lnTo>
                    <a:pt x="1018337" y="204292"/>
                  </a:lnTo>
                  <a:lnTo>
                    <a:pt x="1018337" y="203594"/>
                  </a:lnTo>
                  <a:lnTo>
                    <a:pt x="1018337" y="204292"/>
                  </a:lnTo>
                  <a:lnTo>
                    <a:pt x="1018439" y="204292"/>
                  </a:lnTo>
                  <a:lnTo>
                    <a:pt x="1018439" y="203594"/>
                  </a:lnTo>
                  <a:lnTo>
                    <a:pt x="1018439" y="204292"/>
                  </a:lnTo>
                  <a:lnTo>
                    <a:pt x="1018439" y="203594"/>
                  </a:lnTo>
                  <a:lnTo>
                    <a:pt x="1018439" y="204292"/>
                  </a:lnTo>
                  <a:lnTo>
                    <a:pt x="1018490" y="203594"/>
                  </a:lnTo>
                  <a:lnTo>
                    <a:pt x="1018490" y="204292"/>
                  </a:lnTo>
                  <a:lnTo>
                    <a:pt x="1018490" y="202959"/>
                  </a:lnTo>
                  <a:lnTo>
                    <a:pt x="1018490" y="203594"/>
                  </a:lnTo>
                  <a:lnTo>
                    <a:pt x="1018540" y="203594"/>
                  </a:lnTo>
                  <a:lnTo>
                    <a:pt x="1018540" y="204292"/>
                  </a:lnTo>
                  <a:lnTo>
                    <a:pt x="1018540" y="203594"/>
                  </a:lnTo>
                  <a:lnTo>
                    <a:pt x="1018540" y="204292"/>
                  </a:lnTo>
                  <a:lnTo>
                    <a:pt x="1018591" y="204292"/>
                  </a:lnTo>
                  <a:lnTo>
                    <a:pt x="1018591" y="203594"/>
                  </a:lnTo>
                  <a:lnTo>
                    <a:pt x="1018591" y="204292"/>
                  </a:lnTo>
                  <a:lnTo>
                    <a:pt x="1018591" y="203594"/>
                  </a:lnTo>
                  <a:lnTo>
                    <a:pt x="1018591" y="204990"/>
                  </a:lnTo>
                  <a:lnTo>
                    <a:pt x="1018591" y="203594"/>
                  </a:lnTo>
                  <a:lnTo>
                    <a:pt x="1018591" y="204292"/>
                  </a:lnTo>
                  <a:lnTo>
                    <a:pt x="1018680" y="204292"/>
                  </a:lnTo>
                  <a:lnTo>
                    <a:pt x="1018680" y="203594"/>
                  </a:lnTo>
                  <a:lnTo>
                    <a:pt x="1018680" y="204292"/>
                  </a:lnTo>
                  <a:lnTo>
                    <a:pt x="1018680" y="203594"/>
                  </a:lnTo>
                  <a:lnTo>
                    <a:pt x="1018680" y="204292"/>
                  </a:lnTo>
                  <a:lnTo>
                    <a:pt x="1018680" y="203594"/>
                  </a:lnTo>
                  <a:lnTo>
                    <a:pt x="1018731" y="203594"/>
                  </a:lnTo>
                  <a:lnTo>
                    <a:pt x="1018731" y="202959"/>
                  </a:lnTo>
                  <a:lnTo>
                    <a:pt x="1018731" y="203594"/>
                  </a:lnTo>
                  <a:lnTo>
                    <a:pt x="1018782" y="203594"/>
                  </a:lnTo>
                  <a:lnTo>
                    <a:pt x="1018782" y="202959"/>
                  </a:lnTo>
                  <a:lnTo>
                    <a:pt x="1018782" y="206324"/>
                  </a:lnTo>
                  <a:lnTo>
                    <a:pt x="1018782" y="204292"/>
                  </a:lnTo>
                  <a:lnTo>
                    <a:pt x="1018833" y="204292"/>
                  </a:lnTo>
                  <a:lnTo>
                    <a:pt x="1018833" y="206324"/>
                  </a:lnTo>
                  <a:lnTo>
                    <a:pt x="1018833" y="204292"/>
                  </a:lnTo>
                  <a:lnTo>
                    <a:pt x="1018934" y="204292"/>
                  </a:lnTo>
                  <a:lnTo>
                    <a:pt x="1018934" y="204990"/>
                  </a:lnTo>
                  <a:lnTo>
                    <a:pt x="1018934" y="204292"/>
                  </a:lnTo>
                  <a:lnTo>
                    <a:pt x="1018934" y="206324"/>
                  </a:lnTo>
                  <a:lnTo>
                    <a:pt x="1018934" y="204990"/>
                  </a:lnTo>
                  <a:lnTo>
                    <a:pt x="1018934" y="206324"/>
                  </a:lnTo>
                  <a:lnTo>
                    <a:pt x="1018985" y="204990"/>
                  </a:lnTo>
                  <a:lnTo>
                    <a:pt x="1018985" y="204292"/>
                  </a:lnTo>
                  <a:lnTo>
                    <a:pt x="1018985" y="206324"/>
                  </a:lnTo>
                  <a:lnTo>
                    <a:pt x="1018985" y="204990"/>
                  </a:lnTo>
                  <a:lnTo>
                    <a:pt x="1019036" y="204990"/>
                  </a:lnTo>
                  <a:lnTo>
                    <a:pt x="1019036" y="206324"/>
                  </a:lnTo>
                  <a:lnTo>
                    <a:pt x="1019036" y="204990"/>
                  </a:lnTo>
                  <a:lnTo>
                    <a:pt x="1019036" y="206324"/>
                  </a:lnTo>
                  <a:lnTo>
                    <a:pt x="1019036" y="204990"/>
                  </a:lnTo>
                  <a:lnTo>
                    <a:pt x="1019036" y="206324"/>
                  </a:lnTo>
                  <a:lnTo>
                    <a:pt x="1019036" y="204990"/>
                  </a:lnTo>
                  <a:lnTo>
                    <a:pt x="1019036" y="206324"/>
                  </a:lnTo>
                  <a:lnTo>
                    <a:pt x="1019036" y="204990"/>
                  </a:lnTo>
                  <a:lnTo>
                    <a:pt x="1019036" y="206324"/>
                  </a:lnTo>
                  <a:lnTo>
                    <a:pt x="1019137" y="206324"/>
                  </a:lnTo>
                  <a:lnTo>
                    <a:pt x="1019137" y="204292"/>
                  </a:lnTo>
                  <a:lnTo>
                    <a:pt x="1019175" y="204292"/>
                  </a:lnTo>
                  <a:lnTo>
                    <a:pt x="1019175" y="202959"/>
                  </a:lnTo>
                  <a:lnTo>
                    <a:pt x="1019175" y="203594"/>
                  </a:lnTo>
                  <a:lnTo>
                    <a:pt x="1019175" y="202959"/>
                  </a:lnTo>
                  <a:lnTo>
                    <a:pt x="1019226" y="202959"/>
                  </a:lnTo>
                  <a:lnTo>
                    <a:pt x="1019226" y="204990"/>
                  </a:lnTo>
                  <a:lnTo>
                    <a:pt x="1019226" y="204292"/>
                  </a:lnTo>
                  <a:lnTo>
                    <a:pt x="1019226" y="204990"/>
                  </a:lnTo>
                  <a:lnTo>
                    <a:pt x="1019277" y="204990"/>
                  </a:lnTo>
                  <a:lnTo>
                    <a:pt x="1019277" y="207022"/>
                  </a:lnTo>
                  <a:lnTo>
                    <a:pt x="1019277" y="204990"/>
                  </a:lnTo>
                  <a:lnTo>
                    <a:pt x="1019277" y="207022"/>
                  </a:lnTo>
                  <a:lnTo>
                    <a:pt x="1019379" y="207022"/>
                  </a:lnTo>
                  <a:lnTo>
                    <a:pt x="1019379" y="206324"/>
                  </a:lnTo>
                  <a:lnTo>
                    <a:pt x="1019379" y="207022"/>
                  </a:lnTo>
                  <a:lnTo>
                    <a:pt x="1019379" y="206324"/>
                  </a:lnTo>
                  <a:lnTo>
                    <a:pt x="1019379" y="207022"/>
                  </a:lnTo>
                  <a:lnTo>
                    <a:pt x="1019430" y="207022"/>
                  </a:lnTo>
                  <a:lnTo>
                    <a:pt x="1019430" y="206324"/>
                  </a:lnTo>
                  <a:lnTo>
                    <a:pt x="1019480" y="207022"/>
                  </a:lnTo>
                  <a:lnTo>
                    <a:pt x="1019480" y="206324"/>
                  </a:lnTo>
                  <a:lnTo>
                    <a:pt x="1019480" y="207022"/>
                  </a:lnTo>
                  <a:lnTo>
                    <a:pt x="1019480" y="206324"/>
                  </a:lnTo>
                  <a:lnTo>
                    <a:pt x="1019582" y="206324"/>
                  </a:lnTo>
                  <a:lnTo>
                    <a:pt x="1019582" y="204990"/>
                  </a:lnTo>
                  <a:lnTo>
                    <a:pt x="1019582" y="206324"/>
                  </a:lnTo>
                  <a:lnTo>
                    <a:pt x="1019582" y="204990"/>
                  </a:lnTo>
                  <a:lnTo>
                    <a:pt x="1019633" y="204990"/>
                  </a:lnTo>
                  <a:lnTo>
                    <a:pt x="1019633" y="206324"/>
                  </a:lnTo>
                  <a:lnTo>
                    <a:pt x="1019633" y="203594"/>
                  </a:lnTo>
                  <a:lnTo>
                    <a:pt x="1019684" y="203594"/>
                  </a:lnTo>
                  <a:lnTo>
                    <a:pt x="1019684" y="202959"/>
                  </a:lnTo>
                  <a:lnTo>
                    <a:pt x="1019684" y="203594"/>
                  </a:lnTo>
                  <a:lnTo>
                    <a:pt x="1019684" y="202260"/>
                  </a:lnTo>
                  <a:lnTo>
                    <a:pt x="1019684" y="204292"/>
                  </a:lnTo>
                  <a:lnTo>
                    <a:pt x="1019722" y="204292"/>
                  </a:lnTo>
                  <a:lnTo>
                    <a:pt x="1019722" y="203594"/>
                  </a:lnTo>
                  <a:lnTo>
                    <a:pt x="1019722" y="204292"/>
                  </a:lnTo>
                  <a:lnTo>
                    <a:pt x="1019722" y="203594"/>
                  </a:lnTo>
                  <a:lnTo>
                    <a:pt x="1019722" y="204990"/>
                  </a:lnTo>
                  <a:lnTo>
                    <a:pt x="1019823" y="204990"/>
                  </a:lnTo>
                  <a:lnTo>
                    <a:pt x="1019823" y="204292"/>
                  </a:lnTo>
                  <a:lnTo>
                    <a:pt x="1019823" y="206324"/>
                  </a:lnTo>
                  <a:lnTo>
                    <a:pt x="1019823" y="204990"/>
                  </a:lnTo>
                  <a:lnTo>
                    <a:pt x="1019823" y="206324"/>
                  </a:lnTo>
                  <a:lnTo>
                    <a:pt x="1019874" y="204990"/>
                  </a:lnTo>
                  <a:lnTo>
                    <a:pt x="1019874" y="206324"/>
                  </a:lnTo>
                  <a:lnTo>
                    <a:pt x="1019874" y="204990"/>
                  </a:lnTo>
                  <a:lnTo>
                    <a:pt x="1019874" y="206324"/>
                  </a:lnTo>
                  <a:lnTo>
                    <a:pt x="1019925" y="204990"/>
                  </a:lnTo>
                  <a:lnTo>
                    <a:pt x="1019925" y="206324"/>
                  </a:lnTo>
                  <a:lnTo>
                    <a:pt x="1020026" y="206324"/>
                  </a:lnTo>
                  <a:lnTo>
                    <a:pt x="1020026" y="207022"/>
                  </a:lnTo>
                  <a:lnTo>
                    <a:pt x="1020026" y="206324"/>
                  </a:lnTo>
                  <a:lnTo>
                    <a:pt x="1020077" y="206324"/>
                  </a:lnTo>
                  <a:lnTo>
                    <a:pt x="1020077" y="204990"/>
                  </a:lnTo>
                  <a:lnTo>
                    <a:pt x="1020128" y="204990"/>
                  </a:lnTo>
                  <a:lnTo>
                    <a:pt x="1020128" y="202959"/>
                  </a:lnTo>
                  <a:lnTo>
                    <a:pt x="1020179" y="202959"/>
                  </a:lnTo>
                  <a:lnTo>
                    <a:pt x="1020179" y="203594"/>
                  </a:lnTo>
                  <a:lnTo>
                    <a:pt x="1020179" y="202260"/>
                  </a:lnTo>
                  <a:lnTo>
                    <a:pt x="1020179" y="203594"/>
                  </a:lnTo>
                  <a:lnTo>
                    <a:pt x="1020179" y="202959"/>
                  </a:lnTo>
                  <a:lnTo>
                    <a:pt x="1020268" y="202959"/>
                  </a:lnTo>
                  <a:lnTo>
                    <a:pt x="1020268" y="203594"/>
                  </a:lnTo>
                  <a:lnTo>
                    <a:pt x="1020268" y="202959"/>
                  </a:lnTo>
                  <a:lnTo>
                    <a:pt x="1020268" y="204990"/>
                  </a:lnTo>
                  <a:lnTo>
                    <a:pt x="1020319" y="204990"/>
                  </a:lnTo>
                  <a:lnTo>
                    <a:pt x="1020319" y="204292"/>
                  </a:lnTo>
                  <a:lnTo>
                    <a:pt x="1020319" y="204990"/>
                  </a:lnTo>
                  <a:lnTo>
                    <a:pt x="1020319" y="204292"/>
                  </a:lnTo>
                  <a:lnTo>
                    <a:pt x="1020319" y="204990"/>
                  </a:lnTo>
                  <a:lnTo>
                    <a:pt x="1020369" y="204990"/>
                  </a:lnTo>
                  <a:lnTo>
                    <a:pt x="1020369" y="204292"/>
                  </a:lnTo>
                  <a:lnTo>
                    <a:pt x="1020369" y="204990"/>
                  </a:lnTo>
                  <a:lnTo>
                    <a:pt x="1020420" y="204990"/>
                  </a:lnTo>
                  <a:lnTo>
                    <a:pt x="1020420" y="206324"/>
                  </a:lnTo>
                  <a:lnTo>
                    <a:pt x="1020420" y="204990"/>
                  </a:lnTo>
                  <a:lnTo>
                    <a:pt x="1020420" y="206324"/>
                  </a:lnTo>
                  <a:lnTo>
                    <a:pt x="1020420" y="204990"/>
                  </a:lnTo>
                  <a:lnTo>
                    <a:pt x="1020420" y="206324"/>
                  </a:lnTo>
                  <a:lnTo>
                    <a:pt x="1020420" y="204990"/>
                  </a:lnTo>
                  <a:lnTo>
                    <a:pt x="1020420" y="206324"/>
                  </a:lnTo>
                  <a:lnTo>
                    <a:pt x="1020420" y="204990"/>
                  </a:lnTo>
                  <a:lnTo>
                    <a:pt x="1020420" y="206324"/>
                  </a:lnTo>
                  <a:lnTo>
                    <a:pt x="1020522" y="204990"/>
                  </a:lnTo>
                  <a:lnTo>
                    <a:pt x="1020522" y="206324"/>
                  </a:lnTo>
                  <a:lnTo>
                    <a:pt x="1020522" y="204990"/>
                  </a:lnTo>
                  <a:lnTo>
                    <a:pt x="1020522" y="206324"/>
                  </a:lnTo>
                  <a:lnTo>
                    <a:pt x="1020522" y="204990"/>
                  </a:lnTo>
                  <a:lnTo>
                    <a:pt x="1020572" y="204990"/>
                  </a:lnTo>
                  <a:lnTo>
                    <a:pt x="1020572" y="206324"/>
                  </a:lnTo>
                  <a:lnTo>
                    <a:pt x="1020572" y="204990"/>
                  </a:lnTo>
                  <a:lnTo>
                    <a:pt x="1020572" y="206324"/>
                  </a:lnTo>
                  <a:lnTo>
                    <a:pt x="1020572" y="204990"/>
                  </a:lnTo>
                  <a:lnTo>
                    <a:pt x="1020572" y="206324"/>
                  </a:lnTo>
                  <a:lnTo>
                    <a:pt x="1020572" y="204990"/>
                  </a:lnTo>
                  <a:lnTo>
                    <a:pt x="1020623" y="204292"/>
                  </a:lnTo>
                  <a:lnTo>
                    <a:pt x="1020623" y="202959"/>
                  </a:lnTo>
                  <a:lnTo>
                    <a:pt x="1020623" y="203594"/>
                  </a:lnTo>
                  <a:lnTo>
                    <a:pt x="1020623" y="202959"/>
                  </a:lnTo>
                  <a:lnTo>
                    <a:pt x="1020725" y="202959"/>
                  </a:lnTo>
                  <a:lnTo>
                    <a:pt x="1020725" y="200876"/>
                  </a:lnTo>
                  <a:lnTo>
                    <a:pt x="1020725" y="202959"/>
                  </a:lnTo>
                  <a:lnTo>
                    <a:pt x="1020725" y="202260"/>
                  </a:lnTo>
                  <a:lnTo>
                    <a:pt x="1020763" y="202260"/>
                  </a:lnTo>
                  <a:lnTo>
                    <a:pt x="1020763" y="200876"/>
                  </a:lnTo>
                  <a:lnTo>
                    <a:pt x="1020763" y="204292"/>
                  </a:lnTo>
                  <a:lnTo>
                    <a:pt x="1020763" y="203594"/>
                  </a:lnTo>
                  <a:lnTo>
                    <a:pt x="1020814" y="203594"/>
                  </a:lnTo>
                  <a:lnTo>
                    <a:pt x="1020814" y="202959"/>
                  </a:lnTo>
                  <a:lnTo>
                    <a:pt x="1020814" y="204292"/>
                  </a:lnTo>
                  <a:lnTo>
                    <a:pt x="1020814" y="203594"/>
                  </a:lnTo>
                  <a:lnTo>
                    <a:pt x="1020865" y="203594"/>
                  </a:lnTo>
                  <a:lnTo>
                    <a:pt x="1020865" y="202959"/>
                  </a:lnTo>
                  <a:lnTo>
                    <a:pt x="1020865" y="203594"/>
                  </a:lnTo>
                  <a:lnTo>
                    <a:pt x="1020865" y="202959"/>
                  </a:lnTo>
                  <a:lnTo>
                    <a:pt x="1020865" y="204292"/>
                  </a:lnTo>
                  <a:lnTo>
                    <a:pt x="1020865" y="203594"/>
                  </a:lnTo>
                  <a:lnTo>
                    <a:pt x="1020966" y="204292"/>
                  </a:lnTo>
                  <a:lnTo>
                    <a:pt x="1020966" y="204990"/>
                  </a:lnTo>
                  <a:lnTo>
                    <a:pt x="1021017" y="204990"/>
                  </a:lnTo>
                  <a:lnTo>
                    <a:pt x="1021017" y="206324"/>
                  </a:lnTo>
                  <a:lnTo>
                    <a:pt x="1021017" y="204990"/>
                  </a:lnTo>
                  <a:lnTo>
                    <a:pt x="1021017" y="206324"/>
                  </a:lnTo>
                  <a:lnTo>
                    <a:pt x="1021068" y="206324"/>
                  </a:lnTo>
                  <a:lnTo>
                    <a:pt x="1021068" y="204990"/>
                  </a:lnTo>
                  <a:lnTo>
                    <a:pt x="1021068" y="206324"/>
                  </a:lnTo>
                  <a:lnTo>
                    <a:pt x="1021068" y="204990"/>
                  </a:lnTo>
                  <a:lnTo>
                    <a:pt x="1021169" y="204292"/>
                  </a:lnTo>
                  <a:lnTo>
                    <a:pt x="1021169" y="204990"/>
                  </a:lnTo>
                  <a:lnTo>
                    <a:pt x="1021169" y="204292"/>
                  </a:lnTo>
                  <a:lnTo>
                    <a:pt x="1021169" y="204990"/>
                  </a:lnTo>
                  <a:lnTo>
                    <a:pt x="1021169" y="202959"/>
                  </a:lnTo>
                  <a:lnTo>
                    <a:pt x="1021220" y="202959"/>
                  </a:lnTo>
                  <a:lnTo>
                    <a:pt x="1021220" y="202260"/>
                  </a:lnTo>
                  <a:lnTo>
                    <a:pt x="1021220" y="202959"/>
                  </a:lnTo>
                  <a:lnTo>
                    <a:pt x="1021220" y="200876"/>
                  </a:lnTo>
                  <a:lnTo>
                    <a:pt x="1021220" y="202260"/>
                  </a:lnTo>
                  <a:lnTo>
                    <a:pt x="1021271" y="202260"/>
                  </a:lnTo>
                  <a:lnTo>
                    <a:pt x="1021271" y="202959"/>
                  </a:lnTo>
                  <a:lnTo>
                    <a:pt x="1021271" y="200876"/>
                  </a:lnTo>
                  <a:lnTo>
                    <a:pt x="1021271" y="202260"/>
                  </a:lnTo>
                  <a:lnTo>
                    <a:pt x="1021271" y="200876"/>
                  </a:lnTo>
                  <a:lnTo>
                    <a:pt x="1021271" y="202959"/>
                  </a:lnTo>
                  <a:lnTo>
                    <a:pt x="1021309" y="202959"/>
                  </a:lnTo>
                  <a:lnTo>
                    <a:pt x="1021309" y="202260"/>
                  </a:lnTo>
                  <a:lnTo>
                    <a:pt x="1021309" y="203594"/>
                  </a:lnTo>
                  <a:lnTo>
                    <a:pt x="1021309" y="202959"/>
                  </a:lnTo>
                  <a:lnTo>
                    <a:pt x="1021411" y="202959"/>
                  </a:lnTo>
                  <a:lnTo>
                    <a:pt x="1021411" y="202260"/>
                  </a:lnTo>
                  <a:lnTo>
                    <a:pt x="1021411" y="202959"/>
                  </a:lnTo>
                  <a:lnTo>
                    <a:pt x="1021462" y="202959"/>
                  </a:lnTo>
                  <a:lnTo>
                    <a:pt x="1021462" y="204292"/>
                  </a:lnTo>
                  <a:lnTo>
                    <a:pt x="1021462" y="203594"/>
                  </a:lnTo>
                  <a:lnTo>
                    <a:pt x="1021512" y="203594"/>
                  </a:lnTo>
                  <a:lnTo>
                    <a:pt x="1021512" y="204292"/>
                  </a:lnTo>
                  <a:lnTo>
                    <a:pt x="1021614" y="204292"/>
                  </a:lnTo>
                  <a:lnTo>
                    <a:pt x="1021614" y="204990"/>
                  </a:lnTo>
                  <a:lnTo>
                    <a:pt x="1021614" y="204292"/>
                  </a:lnTo>
                  <a:lnTo>
                    <a:pt x="1021614" y="204990"/>
                  </a:lnTo>
                  <a:lnTo>
                    <a:pt x="1021614" y="204292"/>
                  </a:lnTo>
                  <a:lnTo>
                    <a:pt x="1021614" y="204990"/>
                  </a:lnTo>
                  <a:lnTo>
                    <a:pt x="1021614" y="204292"/>
                  </a:lnTo>
                  <a:lnTo>
                    <a:pt x="1021614" y="204990"/>
                  </a:lnTo>
                  <a:lnTo>
                    <a:pt x="1021665" y="204990"/>
                  </a:lnTo>
                  <a:lnTo>
                    <a:pt x="1021665" y="203594"/>
                  </a:lnTo>
                  <a:lnTo>
                    <a:pt x="1021665" y="204292"/>
                  </a:lnTo>
                  <a:lnTo>
                    <a:pt x="1021665" y="203594"/>
                  </a:lnTo>
                  <a:lnTo>
                    <a:pt x="1021715" y="203594"/>
                  </a:lnTo>
                  <a:lnTo>
                    <a:pt x="1021715" y="202959"/>
                  </a:lnTo>
                  <a:lnTo>
                    <a:pt x="1021715" y="203594"/>
                  </a:lnTo>
                  <a:lnTo>
                    <a:pt x="1021715" y="202959"/>
                  </a:lnTo>
                  <a:lnTo>
                    <a:pt x="1021715" y="204990"/>
                  </a:lnTo>
                  <a:lnTo>
                    <a:pt x="1021715" y="203594"/>
                  </a:lnTo>
                  <a:lnTo>
                    <a:pt x="1021715" y="204292"/>
                  </a:lnTo>
                  <a:lnTo>
                    <a:pt x="1021715" y="203594"/>
                  </a:lnTo>
                  <a:lnTo>
                    <a:pt x="1021766" y="203594"/>
                  </a:lnTo>
                  <a:lnTo>
                    <a:pt x="1021766" y="207022"/>
                  </a:lnTo>
                  <a:lnTo>
                    <a:pt x="1021766" y="204292"/>
                  </a:lnTo>
                  <a:lnTo>
                    <a:pt x="1021855" y="204292"/>
                  </a:lnTo>
                  <a:lnTo>
                    <a:pt x="1021855" y="206324"/>
                  </a:lnTo>
                  <a:lnTo>
                    <a:pt x="1021855" y="204292"/>
                  </a:lnTo>
                  <a:lnTo>
                    <a:pt x="1021855" y="204990"/>
                  </a:lnTo>
                  <a:lnTo>
                    <a:pt x="1021855" y="204292"/>
                  </a:lnTo>
                  <a:lnTo>
                    <a:pt x="1021855" y="204990"/>
                  </a:lnTo>
                  <a:lnTo>
                    <a:pt x="1021906" y="204990"/>
                  </a:lnTo>
                  <a:lnTo>
                    <a:pt x="1021906" y="203594"/>
                  </a:lnTo>
                  <a:lnTo>
                    <a:pt x="1021906" y="204990"/>
                  </a:lnTo>
                  <a:lnTo>
                    <a:pt x="1021957" y="204990"/>
                  </a:lnTo>
                  <a:lnTo>
                    <a:pt x="1021957" y="204292"/>
                  </a:lnTo>
                  <a:lnTo>
                    <a:pt x="1021957" y="204990"/>
                  </a:lnTo>
                  <a:lnTo>
                    <a:pt x="1021957" y="204292"/>
                  </a:lnTo>
                  <a:lnTo>
                    <a:pt x="1021957" y="204990"/>
                  </a:lnTo>
                  <a:lnTo>
                    <a:pt x="1021957" y="204292"/>
                  </a:lnTo>
                  <a:lnTo>
                    <a:pt x="1021957" y="204990"/>
                  </a:lnTo>
                  <a:lnTo>
                    <a:pt x="1021957" y="204292"/>
                  </a:lnTo>
                  <a:lnTo>
                    <a:pt x="1021957" y="204990"/>
                  </a:lnTo>
                  <a:lnTo>
                    <a:pt x="1022008" y="204990"/>
                  </a:lnTo>
                  <a:lnTo>
                    <a:pt x="1022008" y="204292"/>
                  </a:lnTo>
                  <a:lnTo>
                    <a:pt x="1022008" y="204990"/>
                  </a:lnTo>
                  <a:lnTo>
                    <a:pt x="1022109" y="204990"/>
                  </a:lnTo>
                  <a:lnTo>
                    <a:pt x="1022109" y="204292"/>
                  </a:lnTo>
                  <a:lnTo>
                    <a:pt x="1022109" y="204990"/>
                  </a:lnTo>
                  <a:lnTo>
                    <a:pt x="1022109" y="203594"/>
                  </a:lnTo>
                  <a:lnTo>
                    <a:pt x="1022109" y="204292"/>
                  </a:lnTo>
                  <a:lnTo>
                    <a:pt x="1022160" y="203594"/>
                  </a:lnTo>
                  <a:lnTo>
                    <a:pt x="1022160" y="202260"/>
                  </a:lnTo>
                  <a:lnTo>
                    <a:pt x="1022160" y="202959"/>
                  </a:lnTo>
                  <a:lnTo>
                    <a:pt x="1022160" y="202260"/>
                  </a:lnTo>
                  <a:lnTo>
                    <a:pt x="1022211" y="202260"/>
                  </a:lnTo>
                  <a:lnTo>
                    <a:pt x="1022211" y="200876"/>
                  </a:lnTo>
                  <a:lnTo>
                    <a:pt x="1022211" y="203594"/>
                  </a:lnTo>
                  <a:lnTo>
                    <a:pt x="1022211" y="202260"/>
                  </a:lnTo>
                  <a:lnTo>
                    <a:pt x="1022312" y="202260"/>
                  </a:lnTo>
                  <a:lnTo>
                    <a:pt x="1022312" y="204292"/>
                  </a:lnTo>
                  <a:lnTo>
                    <a:pt x="1022312" y="202959"/>
                  </a:lnTo>
                  <a:lnTo>
                    <a:pt x="1022350" y="202959"/>
                  </a:lnTo>
                  <a:lnTo>
                    <a:pt x="1022350" y="204292"/>
                  </a:lnTo>
                  <a:lnTo>
                    <a:pt x="1022350" y="203594"/>
                  </a:lnTo>
                  <a:lnTo>
                    <a:pt x="1022401" y="202959"/>
                  </a:lnTo>
                  <a:lnTo>
                    <a:pt x="1022401" y="204292"/>
                  </a:lnTo>
                  <a:lnTo>
                    <a:pt x="1022401" y="203594"/>
                  </a:lnTo>
                  <a:lnTo>
                    <a:pt x="1022401" y="204292"/>
                  </a:lnTo>
                  <a:lnTo>
                    <a:pt x="1022452" y="204292"/>
                  </a:lnTo>
                  <a:lnTo>
                    <a:pt x="1022452" y="203594"/>
                  </a:lnTo>
                  <a:lnTo>
                    <a:pt x="1022452" y="204292"/>
                  </a:lnTo>
                  <a:lnTo>
                    <a:pt x="1022554" y="203594"/>
                  </a:lnTo>
                  <a:lnTo>
                    <a:pt x="1022554" y="204292"/>
                  </a:lnTo>
                  <a:lnTo>
                    <a:pt x="1022554" y="203594"/>
                  </a:lnTo>
                  <a:lnTo>
                    <a:pt x="1022554" y="204292"/>
                  </a:lnTo>
                  <a:lnTo>
                    <a:pt x="1022554" y="203594"/>
                  </a:lnTo>
                  <a:lnTo>
                    <a:pt x="1022605" y="203594"/>
                  </a:lnTo>
                  <a:lnTo>
                    <a:pt x="1022605" y="202959"/>
                  </a:lnTo>
                  <a:lnTo>
                    <a:pt x="1022605" y="203594"/>
                  </a:lnTo>
                  <a:lnTo>
                    <a:pt x="1022655" y="203594"/>
                  </a:lnTo>
                  <a:lnTo>
                    <a:pt x="1022655" y="200228"/>
                  </a:lnTo>
                  <a:lnTo>
                    <a:pt x="1022757" y="200228"/>
                  </a:lnTo>
                  <a:lnTo>
                    <a:pt x="1022757" y="202260"/>
                  </a:lnTo>
                  <a:lnTo>
                    <a:pt x="1022757" y="200876"/>
                  </a:lnTo>
                  <a:lnTo>
                    <a:pt x="1022757" y="202260"/>
                  </a:lnTo>
                  <a:lnTo>
                    <a:pt x="1022808" y="202260"/>
                  </a:lnTo>
                  <a:lnTo>
                    <a:pt x="1022808" y="200228"/>
                  </a:lnTo>
                  <a:lnTo>
                    <a:pt x="1022808" y="202959"/>
                  </a:lnTo>
                  <a:lnTo>
                    <a:pt x="1022808" y="202260"/>
                  </a:lnTo>
                  <a:lnTo>
                    <a:pt x="1022808" y="202959"/>
                  </a:lnTo>
                  <a:lnTo>
                    <a:pt x="1022859" y="202959"/>
                  </a:lnTo>
                  <a:lnTo>
                    <a:pt x="1022859" y="202260"/>
                  </a:lnTo>
                  <a:lnTo>
                    <a:pt x="1022859" y="202959"/>
                  </a:lnTo>
                  <a:lnTo>
                    <a:pt x="1022859" y="202260"/>
                  </a:lnTo>
                  <a:lnTo>
                    <a:pt x="1022859" y="203594"/>
                  </a:lnTo>
                  <a:lnTo>
                    <a:pt x="1022859" y="202959"/>
                  </a:lnTo>
                  <a:lnTo>
                    <a:pt x="1022897" y="202959"/>
                  </a:lnTo>
                  <a:lnTo>
                    <a:pt x="1022897" y="204292"/>
                  </a:lnTo>
                  <a:lnTo>
                    <a:pt x="1022998" y="204292"/>
                  </a:lnTo>
                  <a:lnTo>
                    <a:pt x="1022998" y="203594"/>
                  </a:lnTo>
                  <a:lnTo>
                    <a:pt x="1022998" y="204292"/>
                  </a:lnTo>
                  <a:lnTo>
                    <a:pt x="1022998" y="203594"/>
                  </a:lnTo>
                  <a:lnTo>
                    <a:pt x="1022998" y="204990"/>
                  </a:lnTo>
                  <a:lnTo>
                    <a:pt x="1022998" y="204292"/>
                  </a:lnTo>
                  <a:lnTo>
                    <a:pt x="1023049" y="204292"/>
                  </a:lnTo>
                  <a:lnTo>
                    <a:pt x="1023049" y="204990"/>
                  </a:lnTo>
                  <a:lnTo>
                    <a:pt x="1023049" y="204292"/>
                  </a:lnTo>
                  <a:lnTo>
                    <a:pt x="1023100" y="204292"/>
                  </a:lnTo>
                  <a:lnTo>
                    <a:pt x="1023100" y="204990"/>
                  </a:lnTo>
                  <a:lnTo>
                    <a:pt x="1023100" y="203594"/>
                  </a:lnTo>
                  <a:lnTo>
                    <a:pt x="1023201" y="203594"/>
                  </a:lnTo>
                  <a:lnTo>
                    <a:pt x="1023201" y="202959"/>
                  </a:lnTo>
                  <a:lnTo>
                    <a:pt x="1023201" y="203594"/>
                  </a:lnTo>
                  <a:lnTo>
                    <a:pt x="1023201" y="202260"/>
                  </a:lnTo>
                  <a:lnTo>
                    <a:pt x="1023201" y="202959"/>
                  </a:lnTo>
                  <a:lnTo>
                    <a:pt x="1023201" y="202260"/>
                  </a:lnTo>
                  <a:lnTo>
                    <a:pt x="1023252" y="202260"/>
                  </a:lnTo>
                  <a:lnTo>
                    <a:pt x="1023252" y="200876"/>
                  </a:lnTo>
                  <a:lnTo>
                    <a:pt x="1023252" y="202959"/>
                  </a:lnTo>
                  <a:lnTo>
                    <a:pt x="1023252" y="200876"/>
                  </a:lnTo>
                  <a:lnTo>
                    <a:pt x="1023252" y="202260"/>
                  </a:lnTo>
                  <a:lnTo>
                    <a:pt x="1023303" y="202260"/>
                  </a:lnTo>
                  <a:lnTo>
                    <a:pt x="1023303" y="203594"/>
                  </a:lnTo>
                  <a:lnTo>
                    <a:pt x="1023303" y="202959"/>
                  </a:lnTo>
                  <a:lnTo>
                    <a:pt x="1023354" y="202959"/>
                  </a:lnTo>
                  <a:lnTo>
                    <a:pt x="1023354" y="204292"/>
                  </a:lnTo>
                  <a:lnTo>
                    <a:pt x="1023354" y="203594"/>
                  </a:lnTo>
                  <a:lnTo>
                    <a:pt x="1023354" y="204292"/>
                  </a:lnTo>
                  <a:lnTo>
                    <a:pt x="1023354" y="202959"/>
                  </a:lnTo>
                  <a:lnTo>
                    <a:pt x="1023354" y="203594"/>
                  </a:lnTo>
                  <a:lnTo>
                    <a:pt x="1023443" y="203594"/>
                  </a:lnTo>
                  <a:lnTo>
                    <a:pt x="1023443" y="204292"/>
                  </a:lnTo>
                  <a:lnTo>
                    <a:pt x="1023443" y="203594"/>
                  </a:lnTo>
                  <a:lnTo>
                    <a:pt x="1023443" y="204292"/>
                  </a:lnTo>
                  <a:lnTo>
                    <a:pt x="1023443" y="203594"/>
                  </a:lnTo>
                  <a:lnTo>
                    <a:pt x="1023443" y="204292"/>
                  </a:lnTo>
                  <a:lnTo>
                    <a:pt x="1023443" y="203594"/>
                  </a:lnTo>
                  <a:lnTo>
                    <a:pt x="1023443" y="204292"/>
                  </a:lnTo>
                  <a:lnTo>
                    <a:pt x="1023494" y="204990"/>
                  </a:lnTo>
                  <a:lnTo>
                    <a:pt x="1023494" y="204292"/>
                  </a:lnTo>
                  <a:lnTo>
                    <a:pt x="1023494" y="204990"/>
                  </a:lnTo>
                  <a:lnTo>
                    <a:pt x="1023494" y="204292"/>
                  </a:lnTo>
                  <a:lnTo>
                    <a:pt x="1023544" y="204292"/>
                  </a:lnTo>
                  <a:lnTo>
                    <a:pt x="1023544" y="203594"/>
                  </a:lnTo>
                  <a:lnTo>
                    <a:pt x="1023544" y="204292"/>
                  </a:lnTo>
                  <a:lnTo>
                    <a:pt x="1023595" y="204990"/>
                  </a:lnTo>
                  <a:lnTo>
                    <a:pt x="1023595" y="203594"/>
                  </a:lnTo>
                  <a:lnTo>
                    <a:pt x="1023697" y="203594"/>
                  </a:lnTo>
                  <a:lnTo>
                    <a:pt x="1023697" y="200876"/>
                  </a:lnTo>
                  <a:lnTo>
                    <a:pt x="1023697" y="202959"/>
                  </a:lnTo>
                  <a:lnTo>
                    <a:pt x="1023747" y="202959"/>
                  </a:lnTo>
                  <a:lnTo>
                    <a:pt x="1023747" y="204292"/>
                  </a:lnTo>
                  <a:lnTo>
                    <a:pt x="1023747" y="203594"/>
                  </a:lnTo>
                  <a:lnTo>
                    <a:pt x="1023747" y="204292"/>
                  </a:lnTo>
                  <a:lnTo>
                    <a:pt x="1023747" y="202260"/>
                  </a:lnTo>
                  <a:lnTo>
                    <a:pt x="1023747" y="206324"/>
                  </a:lnTo>
                  <a:lnTo>
                    <a:pt x="1023798" y="204990"/>
                  </a:lnTo>
                  <a:lnTo>
                    <a:pt x="1023798" y="203594"/>
                  </a:lnTo>
                  <a:lnTo>
                    <a:pt x="1023798" y="204990"/>
                  </a:lnTo>
                  <a:lnTo>
                    <a:pt x="1023900" y="204990"/>
                  </a:lnTo>
                  <a:lnTo>
                    <a:pt x="1023900" y="203594"/>
                  </a:lnTo>
                  <a:lnTo>
                    <a:pt x="1023900" y="204990"/>
                  </a:lnTo>
                  <a:lnTo>
                    <a:pt x="1023900" y="204292"/>
                  </a:lnTo>
                  <a:lnTo>
                    <a:pt x="1023900" y="204990"/>
                  </a:lnTo>
                  <a:lnTo>
                    <a:pt x="1023938" y="204990"/>
                  </a:lnTo>
                  <a:lnTo>
                    <a:pt x="1023938" y="204292"/>
                  </a:lnTo>
                  <a:lnTo>
                    <a:pt x="1023938" y="204990"/>
                  </a:lnTo>
                  <a:lnTo>
                    <a:pt x="1023989" y="204990"/>
                  </a:lnTo>
                  <a:lnTo>
                    <a:pt x="1023989" y="204292"/>
                  </a:lnTo>
                  <a:lnTo>
                    <a:pt x="1023989" y="204990"/>
                  </a:lnTo>
                  <a:lnTo>
                    <a:pt x="1023989" y="204292"/>
                  </a:lnTo>
                  <a:lnTo>
                    <a:pt x="1023989" y="204990"/>
                  </a:lnTo>
                  <a:lnTo>
                    <a:pt x="1023989" y="204292"/>
                  </a:lnTo>
                  <a:lnTo>
                    <a:pt x="1024040" y="204990"/>
                  </a:lnTo>
                  <a:lnTo>
                    <a:pt x="1024040" y="204292"/>
                  </a:lnTo>
                  <a:lnTo>
                    <a:pt x="1024040" y="204990"/>
                  </a:lnTo>
                  <a:lnTo>
                    <a:pt x="1024040" y="204292"/>
                  </a:lnTo>
                  <a:lnTo>
                    <a:pt x="1024040" y="204990"/>
                  </a:lnTo>
                  <a:lnTo>
                    <a:pt x="1024040" y="204292"/>
                  </a:lnTo>
                  <a:lnTo>
                    <a:pt x="1024040" y="204990"/>
                  </a:lnTo>
                  <a:lnTo>
                    <a:pt x="1024040" y="204292"/>
                  </a:lnTo>
                  <a:lnTo>
                    <a:pt x="1024040" y="204990"/>
                  </a:lnTo>
                  <a:lnTo>
                    <a:pt x="1024040" y="204292"/>
                  </a:lnTo>
                  <a:lnTo>
                    <a:pt x="1024141" y="204292"/>
                  </a:lnTo>
                  <a:lnTo>
                    <a:pt x="1024141" y="202959"/>
                  </a:lnTo>
                  <a:lnTo>
                    <a:pt x="1024141" y="203594"/>
                  </a:lnTo>
                  <a:lnTo>
                    <a:pt x="1024192" y="203594"/>
                  </a:lnTo>
                  <a:lnTo>
                    <a:pt x="1024192" y="202260"/>
                  </a:lnTo>
                  <a:lnTo>
                    <a:pt x="1024192" y="202959"/>
                  </a:lnTo>
                  <a:lnTo>
                    <a:pt x="1024192" y="202260"/>
                  </a:lnTo>
                  <a:lnTo>
                    <a:pt x="1024192" y="202959"/>
                  </a:lnTo>
                  <a:lnTo>
                    <a:pt x="1024192" y="202260"/>
                  </a:lnTo>
                  <a:lnTo>
                    <a:pt x="1024243" y="202260"/>
                  </a:lnTo>
                  <a:lnTo>
                    <a:pt x="1024243" y="200876"/>
                  </a:lnTo>
                  <a:lnTo>
                    <a:pt x="1024243" y="204990"/>
                  </a:lnTo>
                  <a:lnTo>
                    <a:pt x="1024243" y="203594"/>
                  </a:lnTo>
                  <a:lnTo>
                    <a:pt x="1024344" y="203594"/>
                  </a:lnTo>
                  <a:lnTo>
                    <a:pt x="1024344" y="202260"/>
                  </a:lnTo>
                  <a:lnTo>
                    <a:pt x="1024344" y="204292"/>
                  </a:lnTo>
                  <a:lnTo>
                    <a:pt x="1024395" y="203594"/>
                  </a:lnTo>
                  <a:lnTo>
                    <a:pt x="1024395" y="204292"/>
                  </a:lnTo>
                  <a:lnTo>
                    <a:pt x="1024446" y="204292"/>
                  </a:lnTo>
                  <a:lnTo>
                    <a:pt x="1024446" y="203594"/>
                  </a:lnTo>
                  <a:lnTo>
                    <a:pt x="1024446" y="204292"/>
                  </a:lnTo>
                  <a:lnTo>
                    <a:pt x="1024484" y="204292"/>
                  </a:lnTo>
                  <a:lnTo>
                    <a:pt x="1024484" y="204990"/>
                  </a:lnTo>
                  <a:lnTo>
                    <a:pt x="1024484" y="204292"/>
                  </a:lnTo>
                  <a:lnTo>
                    <a:pt x="1024484" y="204990"/>
                  </a:lnTo>
                  <a:lnTo>
                    <a:pt x="1024484" y="203594"/>
                  </a:lnTo>
                  <a:lnTo>
                    <a:pt x="1024484" y="204292"/>
                  </a:lnTo>
                  <a:lnTo>
                    <a:pt x="1024484" y="203594"/>
                  </a:lnTo>
                  <a:lnTo>
                    <a:pt x="1024484" y="204292"/>
                  </a:lnTo>
                  <a:lnTo>
                    <a:pt x="1024586" y="204292"/>
                  </a:lnTo>
                  <a:lnTo>
                    <a:pt x="1024586" y="204990"/>
                  </a:lnTo>
                  <a:lnTo>
                    <a:pt x="1024586" y="203594"/>
                  </a:lnTo>
                  <a:lnTo>
                    <a:pt x="1024586" y="204292"/>
                  </a:lnTo>
                  <a:lnTo>
                    <a:pt x="1024637" y="204292"/>
                  </a:lnTo>
                  <a:lnTo>
                    <a:pt x="1024637" y="202959"/>
                  </a:lnTo>
                  <a:lnTo>
                    <a:pt x="1024687" y="202959"/>
                  </a:lnTo>
                  <a:lnTo>
                    <a:pt x="1024687" y="204292"/>
                  </a:lnTo>
                  <a:lnTo>
                    <a:pt x="1024687" y="202260"/>
                  </a:lnTo>
                  <a:lnTo>
                    <a:pt x="1024789" y="202959"/>
                  </a:lnTo>
                  <a:lnTo>
                    <a:pt x="1024789" y="206324"/>
                  </a:lnTo>
                  <a:lnTo>
                    <a:pt x="1024789" y="203594"/>
                  </a:lnTo>
                  <a:lnTo>
                    <a:pt x="1024789" y="204292"/>
                  </a:lnTo>
                  <a:lnTo>
                    <a:pt x="1024840" y="204292"/>
                  </a:lnTo>
                  <a:lnTo>
                    <a:pt x="1024840" y="206324"/>
                  </a:lnTo>
                  <a:lnTo>
                    <a:pt x="1024840" y="204292"/>
                  </a:lnTo>
                  <a:lnTo>
                    <a:pt x="1024840" y="204990"/>
                  </a:lnTo>
                  <a:lnTo>
                    <a:pt x="1024840" y="204292"/>
                  </a:lnTo>
                  <a:lnTo>
                    <a:pt x="1024840" y="204990"/>
                  </a:lnTo>
                  <a:lnTo>
                    <a:pt x="1024890" y="204990"/>
                  </a:lnTo>
                  <a:lnTo>
                    <a:pt x="1024890" y="206324"/>
                  </a:lnTo>
                  <a:lnTo>
                    <a:pt x="1024890" y="204990"/>
                  </a:lnTo>
                  <a:lnTo>
                    <a:pt x="1024890" y="206324"/>
                  </a:lnTo>
                  <a:lnTo>
                    <a:pt x="1024941" y="206324"/>
                  </a:lnTo>
                  <a:lnTo>
                    <a:pt x="1024941" y="204990"/>
                  </a:lnTo>
                  <a:lnTo>
                    <a:pt x="1024941" y="206324"/>
                  </a:lnTo>
                  <a:lnTo>
                    <a:pt x="1024941" y="204990"/>
                  </a:lnTo>
                  <a:lnTo>
                    <a:pt x="1024941" y="206324"/>
                  </a:lnTo>
                  <a:lnTo>
                    <a:pt x="1024941" y="204292"/>
                  </a:lnTo>
                  <a:lnTo>
                    <a:pt x="1024941" y="206324"/>
                  </a:lnTo>
                  <a:lnTo>
                    <a:pt x="1024941" y="204990"/>
                  </a:lnTo>
                  <a:lnTo>
                    <a:pt x="1024941" y="206324"/>
                  </a:lnTo>
                  <a:lnTo>
                    <a:pt x="1024941" y="204990"/>
                  </a:lnTo>
                  <a:lnTo>
                    <a:pt x="1025030" y="204990"/>
                  </a:lnTo>
                  <a:lnTo>
                    <a:pt x="1025030" y="206324"/>
                  </a:lnTo>
                  <a:lnTo>
                    <a:pt x="1025030" y="204990"/>
                  </a:lnTo>
                  <a:lnTo>
                    <a:pt x="1025030" y="206324"/>
                  </a:lnTo>
                  <a:lnTo>
                    <a:pt x="1025030" y="204990"/>
                  </a:lnTo>
                  <a:lnTo>
                    <a:pt x="1025081" y="204990"/>
                  </a:lnTo>
                  <a:lnTo>
                    <a:pt x="1025081" y="206324"/>
                  </a:lnTo>
                  <a:lnTo>
                    <a:pt x="1025081" y="204292"/>
                  </a:lnTo>
                  <a:lnTo>
                    <a:pt x="1025132" y="204292"/>
                  </a:lnTo>
                  <a:lnTo>
                    <a:pt x="1025132" y="203594"/>
                  </a:lnTo>
                  <a:lnTo>
                    <a:pt x="1025132" y="204292"/>
                  </a:lnTo>
                  <a:lnTo>
                    <a:pt x="1025132" y="202959"/>
                  </a:lnTo>
                  <a:lnTo>
                    <a:pt x="1025132" y="204292"/>
                  </a:lnTo>
                  <a:lnTo>
                    <a:pt x="1025183" y="204292"/>
                  </a:lnTo>
                  <a:lnTo>
                    <a:pt x="1025183" y="203594"/>
                  </a:lnTo>
                  <a:lnTo>
                    <a:pt x="1025183" y="204292"/>
                  </a:lnTo>
                  <a:lnTo>
                    <a:pt x="1025183" y="203594"/>
                  </a:lnTo>
                  <a:lnTo>
                    <a:pt x="1025183" y="206324"/>
                  </a:lnTo>
                  <a:lnTo>
                    <a:pt x="1025284" y="206324"/>
                  </a:lnTo>
                  <a:lnTo>
                    <a:pt x="1025284" y="204292"/>
                  </a:lnTo>
                  <a:lnTo>
                    <a:pt x="1025284" y="207022"/>
                  </a:lnTo>
                  <a:lnTo>
                    <a:pt x="1025284" y="206324"/>
                  </a:lnTo>
                  <a:lnTo>
                    <a:pt x="1025335" y="206324"/>
                  </a:lnTo>
                  <a:lnTo>
                    <a:pt x="1025335" y="204990"/>
                  </a:lnTo>
                  <a:lnTo>
                    <a:pt x="1025335" y="206324"/>
                  </a:lnTo>
                  <a:lnTo>
                    <a:pt x="1025335" y="204990"/>
                  </a:lnTo>
                  <a:lnTo>
                    <a:pt x="1025335" y="206324"/>
                  </a:lnTo>
                  <a:lnTo>
                    <a:pt x="1025386" y="206324"/>
                  </a:lnTo>
                  <a:lnTo>
                    <a:pt x="1025386" y="207022"/>
                  </a:lnTo>
                  <a:lnTo>
                    <a:pt x="1025487" y="207022"/>
                  </a:lnTo>
                  <a:lnTo>
                    <a:pt x="1025487" y="206324"/>
                  </a:lnTo>
                  <a:lnTo>
                    <a:pt x="1025487" y="207022"/>
                  </a:lnTo>
                  <a:lnTo>
                    <a:pt x="1025487" y="206324"/>
                  </a:lnTo>
                  <a:lnTo>
                    <a:pt x="1025525" y="206324"/>
                  </a:lnTo>
                  <a:lnTo>
                    <a:pt x="1025525" y="204990"/>
                  </a:lnTo>
                  <a:lnTo>
                    <a:pt x="1025525" y="206324"/>
                  </a:lnTo>
                  <a:lnTo>
                    <a:pt x="1025525" y="204990"/>
                  </a:lnTo>
                  <a:lnTo>
                    <a:pt x="1025576" y="204990"/>
                  </a:lnTo>
                  <a:lnTo>
                    <a:pt x="1025576" y="203594"/>
                  </a:lnTo>
                  <a:lnTo>
                    <a:pt x="1025627" y="202959"/>
                  </a:lnTo>
                  <a:lnTo>
                    <a:pt x="1025627" y="203594"/>
                  </a:lnTo>
                  <a:lnTo>
                    <a:pt x="1025627" y="202959"/>
                  </a:lnTo>
                  <a:lnTo>
                    <a:pt x="1025627" y="204990"/>
                  </a:lnTo>
                  <a:lnTo>
                    <a:pt x="1025627" y="204292"/>
                  </a:lnTo>
                  <a:lnTo>
                    <a:pt x="1025729" y="204292"/>
                  </a:lnTo>
                  <a:lnTo>
                    <a:pt x="1025729" y="203594"/>
                  </a:lnTo>
                  <a:lnTo>
                    <a:pt x="1025729" y="206324"/>
                  </a:lnTo>
                  <a:lnTo>
                    <a:pt x="1025780" y="206324"/>
                  </a:lnTo>
                  <a:lnTo>
                    <a:pt x="1025780" y="204990"/>
                  </a:lnTo>
                  <a:lnTo>
                    <a:pt x="1025780" y="207022"/>
                  </a:lnTo>
                  <a:lnTo>
                    <a:pt x="1025780" y="206324"/>
                  </a:lnTo>
                  <a:lnTo>
                    <a:pt x="1025780" y="207022"/>
                  </a:lnTo>
                  <a:lnTo>
                    <a:pt x="1025780" y="206324"/>
                  </a:lnTo>
                  <a:lnTo>
                    <a:pt x="1025830" y="206324"/>
                  </a:lnTo>
                  <a:lnTo>
                    <a:pt x="1025830" y="207022"/>
                  </a:lnTo>
                  <a:lnTo>
                    <a:pt x="1025830" y="206324"/>
                  </a:lnTo>
                  <a:lnTo>
                    <a:pt x="1025830" y="207022"/>
                  </a:lnTo>
                  <a:lnTo>
                    <a:pt x="1025830" y="206324"/>
                  </a:lnTo>
                  <a:lnTo>
                    <a:pt x="1025830" y="207022"/>
                  </a:lnTo>
                  <a:lnTo>
                    <a:pt x="1025932" y="207022"/>
                  </a:lnTo>
                  <a:lnTo>
                    <a:pt x="1025932" y="206324"/>
                  </a:lnTo>
                  <a:lnTo>
                    <a:pt x="1025932" y="207022"/>
                  </a:lnTo>
                  <a:lnTo>
                    <a:pt x="1025983" y="207022"/>
                  </a:lnTo>
                  <a:lnTo>
                    <a:pt x="1025983" y="206324"/>
                  </a:lnTo>
                  <a:lnTo>
                    <a:pt x="1025983" y="207022"/>
                  </a:lnTo>
                  <a:lnTo>
                    <a:pt x="1025983" y="206324"/>
                  </a:lnTo>
                  <a:lnTo>
                    <a:pt x="1025983" y="207022"/>
                  </a:lnTo>
                  <a:lnTo>
                    <a:pt x="1025983" y="206324"/>
                  </a:lnTo>
                  <a:lnTo>
                    <a:pt x="1025983" y="207022"/>
                  </a:lnTo>
                  <a:lnTo>
                    <a:pt x="1026034" y="207022"/>
                  </a:lnTo>
                  <a:lnTo>
                    <a:pt x="1026034" y="206324"/>
                  </a:lnTo>
                  <a:lnTo>
                    <a:pt x="1026034" y="207022"/>
                  </a:lnTo>
                  <a:lnTo>
                    <a:pt x="1026034" y="204990"/>
                  </a:lnTo>
                  <a:lnTo>
                    <a:pt x="1026072" y="204990"/>
                  </a:lnTo>
                  <a:lnTo>
                    <a:pt x="1026072" y="202959"/>
                  </a:lnTo>
                  <a:lnTo>
                    <a:pt x="1026173" y="202959"/>
                  </a:lnTo>
                  <a:lnTo>
                    <a:pt x="1026173" y="204292"/>
                  </a:lnTo>
                  <a:lnTo>
                    <a:pt x="1026173" y="202959"/>
                  </a:lnTo>
                  <a:lnTo>
                    <a:pt x="1026224" y="202959"/>
                  </a:lnTo>
                  <a:lnTo>
                    <a:pt x="1026224" y="202260"/>
                  </a:lnTo>
                  <a:lnTo>
                    <a:pt x="1026224" y="206324"/>
                  </a:lnTo>
                  <a:lnTo>
                    <a:pt x="1026224" y="203594"/>
                  </a:lnTo>
                  <a:lnTo>
                    <a:pt x="1026275" y="203594"/>
                  </a:lnTo>
                  <a:lnTo>
                    <a:pt x="1026275" y="206324"/>
                  </a:lnTo>
                  <a:lnTo>
                    <a:pt x="1026275" y="203594"/>
                  </a:lnTo>
                  <a:lnTo>
                    <a:pt x="1026275" y="204292"/>
                  </a:lnTo>
                  <a:lnTo>
                    <a:pt x="1026376" y="204292"/>
                  </a:lnTo>
                  <a:lnTo>
                    <a:pt x="1026376" y="206324"/>
                  </a:lnTo>
                  <a:lnTo>
                    <a:pt x="1026376" y="204990"/>
                  </a:lnTo>
                  <a:lnTo>
                    <a:pt x="1026376" y="206324"/>
                  </a:lnTo>
                  <a:lnTo>
                    <a:pt x="1026376" y="204990"/>
                  </a:lnTo>
                  <a:lnTo>
                    <a:pt x="1026427" y="206324"/>
                  </a:lnTo>
                  <a:lnTo>
                    <a:pt x="1026427" y="207022"/>
                  </a:lnTo>
                  <a:lnTo>
                    <a:pt x="1026427" y="204990"/>
                  </a:lnTo>
                  <a:lnTo>
                    <a:pt x="1026427" y="206324"/>
                  </a:lnTo>
                  <a:lnTo>
                    <a:pt x="1026427" y="204990"/>
                  </a:lnTo>
                  <a:lnTo>
                    <a:pt x="1026427" y="206324"/>
                  </a:lnTo>
                  <a:lnTo>
                    <a:pt x="1026427" y="204990"/>
                  </a:lnTo>
                  <a:lnTo>
                    <a:pt x="1026427" y="206324"/>
                  </a:lnTo>
                  <a:lnTo>
                    <a:pt x="1026427" y="204990"/>
                  </a:lnTo>
                  <a:lnTo>
                    <a:pt x="1026478" y="206324"/>
                  </a:lnTo>
                  <a:lnTo>
                    <a:pt x="1026478" y="204990"/>
                  </a:lnTo>
                  <a:lnTo>
                    <a:pt x="1026478" y="207022"/>
                  </a:lnTo>
                  <a:lnTo>
                    <a:pt x="1026478" y="206324"/>
                  </a:lnTo>
                  <a:lnTo>
                    <a:pt x="1026529" y="206324"/>
                  </a:lnTo>
                  <a:lnTo>
                    <a:pt x="1026529" y="204292"/>
                  </a:lnTo>
                  <a:lnTo>
                    <a:pt x="1026618" y="204292"/>
                  </a:lnTo>
                  <a:lnTo>
                    <a:pt x="1026618" y="204990"/>
                  </a:lnTo>
                  <a:lnTo>
                    <a:pt x="1026618" y="202959"/>
                  </a:lnTo>
                  <a:lnTo>
                    <a:pt x="1026669" y="202959"/>
                  </a:lnTo>
                  <a:lnTo>
                    <a:pt x="1026669" y="200876"/>
                  </a:lnTo>
                  <a:lnTo>
                    <a:pt x="1026669" y="202260"/>
                  </a:lnTo>
                  <a:lnTo>
                    <a:pt x="1026669" y="199530"/>
                  </a:lnTo>
                  <a:lnTo>
                    <a:pt x="1026719" y="199530"/>
                  </a:lnTo>
                  <a:lnTo>
                    <a:pt x="1026719" y="200876"/>
                  </a:lnTo>
                  <a:lnTo>
                    <a:pt x="1026719" y="199530"/>
                  </a:lnTo>
                  <a:lnTo>
                    <a:pt x="1026719" y="202260"/>
                  </a:lnTo>
                  <a:lnTo>
                    <a:pt x="1026770" y="202959"/>
                  </a:lnTo>
                  <a:lnTo>
                    <a:pt x="1026770" y="200876"/>
                  </a:lnTo>
                  <a:lnTo>
                    <a:pt x="1026770" y="202959"/>
                  </a:lnTo>
                  <a:lnTo>
                    <a:pt x="1026872" y="202959"/>
                  </a:lnTo>
                  <a:lnTo>
                    <a:pt x="1026872" y="203594"/>
                  </a:lnTo>
                  <a:lnTo>
                    <a:pt x="1026922" y="203594"/>
                  </a:lnTo>
                  <a:lnTo>
                    <a:pt x="1026922" y="204292"/>
                  </a:lnTo>
                  <a:lnTo>
                    <a:pt x="1026922" y="203594"/>
                  </a:lnTo>
                  <a:lnTo>
                    <a:pt x="1026922" y="204292"/>
                  </a:lnTo>
                  <a:lnTo>
                    <a:pt x="1026922" y="203594"/>
                  </a:lnTo>
                  <a:lnTo>
                    <a:pt x="1026922" y="204292"/>
                  </a:lnTo>
                  <a:lnTo>
                    <a:pt x="1026922" y="203594"/>
                  </a:lnTo>
                  <a:lnTo>
                    <a:pt x="1026922" y="204990"/>
                  </a:lnTo>
                  <a:lnTo>
                    <a:pt x="1026922" y="204292"/>
                  </a:lnTo>
                  <a:lnTo>
                    <a:pt x="1026973" y="204292"/>
                  </a:lnTo>
                  <a:lnTo>
                    <a:pt x="1026973" y="206324"/>
                  </a:lnTo>
                  <a:lnTo>
                    <a:pt x="1026973" y="204990"/>
                  </a:lnTo>
                  <a:lnTo>
                    <a:pt x="1026973" y="206324"/>
                  </a:lnTo>
                  <a:lnTo>
                    <a:pt x="1027075" y="206324"/>
                  </a:lnTo>
                  <a:lnTo>
                    <a:pt x="1027075" y="204990"/>
                  </a:lnTo>
                  <a:lnTo>
                    <a:pt x="1027113" y="204990"/>
                  </a:lnTo>
                  <a:lnTo>
                    <a:pt x="1027113" y="204292"/>
                  </a:lnTo>
                  <a:lnTo>
                    <a:pt x="1027113" y="204990"/>
                  </a:lnTo>
                  <a:lnTo>
                    <a:pt x="1027113" y="203594"/>
                  </a:lnTo>
                  <a:lnTo>
                    <a:pt x="1027164" y="203594"/>
                  </a:lnTo>
                  <a:lnTo>
                    <a:pt x="1027164" y="200876"/>
                  </a:lnTo>
                  <a:lnTo>
                    <a:pt x="1027164" y="202260"/>
                  </a:lnTo>
                  <a:lnTo>
                    <a:pt x="1027215" y="202959"/>
                  </a:lnTo>
                  <a:lnTo>
                    <a:pt x="1027215" y="200228"/>
                  </a:lnTo>
                  <a:lnTo>
                    <a:pt x="1027215" y="202959"/>
                  </a:lnTo>
                  <a:lnTo>
                    <a:pt x="1027316" y="202959"/>
                  </a:lnTo>
                  <a:lnTo>
                    <a:pt x="1027316" y="202260"/>
                  </a:lnTo>
                  <a:lnTo>
                    <a:pt x="1027316" y="202959"/>
                  </a:lnTo>
                  <a:lnTo>
                    <a:pt x="1027367" y="202959"/>
                  </a:lnTo>
                  <a:lnTo>
                    <a:pt x="1027367" y="202260"/>
                  </a:lnTo>
                  <a:lnTo>
                    <a:pt x="1027367" y="203594"/>
                  </a:lnTo>
                  <a:lnTo>
                    <a:pt x="1027367" y="202959"/>
                  </a:lnTo>
                  <a:lnTo>
                    <a:pt x="1027418" y="202959"/>
                  </a:lnTo>
                  <a:lnTo>
                    <a:pt x="1027418" y="204292"/>
                  </a:lnTo>
                  <a:lnTo>
                    <a:pt x="1027418" y="203594"/>
                  </a:lnTo>
                  <a:lnTo>
                    <a:pt x="1027519" y="203594"/>
                  </a:lnTo>
                  <a:lnTo>
                    <a:pt x="1027519" y="204292"/>
                  </a:lnTo>
                  <a:lnTo>
                    <a:pt x="1027519" y="203594"/>
                  </a:lnTo>
                  <a:lnTo>
                    <a:pt x="1027519" y="204292"/>
                  </a:lnTo>
                  <a:lnTo>
                    <a:pt x="1027519" y="203594"/>
                  </a:lnTo>
                  <a:lnTo>
                    <a:pt x="1027519" y="204990"/>
                  </a:lnTo>
                  <a:lnTo>
                    <a:pt x="1027519" y="204292"/>
                  </a:lnTo>
                  <a:lnTo>
                    <a:pt x="1027570" y="204292"/>
                  </a:lnTo>
                  <a:lnTo>
                    <a:pt x="1027570" y="204990"/>
                  </a:lnTo>
                  <a:lnTo>
                    <a:pt x="1027570" y="204292"/>
                  </a:lnTo>
                  <a:lnTo>
                    <a:pt x="1027570" y="204990"/>
                  </a:lnTo>
                  <a:lnTo>
                    <a:pt x="1027570" y="204292"/>
                  </a:lnTo>
                  <a:lnTo>
                    <a:pt x="1027621" y="204292"/>
                  </a:lnTo>
                  <a:lnTo>
                    <a:pt x="1027621" y="203594"/>
                  </a:lnTo>
                  <a:lnTo>
                    <a:pt x="1027621" y="204292"/>
                  </a:lnTo>
                  <a:lnTo>
                    <a:pt x="1027659" y="204292"/>
                  </a:lnTo>
                  <a:lnTo>
                    <a:pt x="1027659" y="203594"/>
                  </a:lnTo>
                  <a:lnTo>
                    <a:pt x="1027659" y="204990"/>
                  </a:lnTo>
                  <a:lnTo>
                    <a:pt x="1027659" y="203594"/>
                  </a:lnTo>
                  <a:lnTo>
                    <a:pt x="1027761" y="203594"/>
                  </a:lnTo>
                  <a:lnTo>
                    <a:pt x="1027761" y="206324"/>
                  </a:lnTo>
                  <a:lnTo>
                    <a:pt x="1027761" y="204990"/>
                  </a:lnTo>
                  <a:lnTo>
                    <a:pt x="1027812" y="204292"/>
                  </a:lnTo>
                  <a:lnTo>
                    <a:pt x="1027812" y="206324"/>
                  </a:lnTo>
                  <a:lnTo>
                    <a:pt x="1027812" y="204990"/>
                  </a:lnTo>
                  <a:lnTo>
                    <a:pt x="1027812" y="206324"/>
                  </a:lnTo>
                  <a:lnTo>
                    <a:pt x="1027812" y="204292"/>
                  </a:lnTo>
                  <a:lnTo>
                    <a:pt x="1027862" y="204292"/>
                  </a:lnTo>
                  <a:lnTo>
                    <a:pt x="1027862" y="204990"/>
                  </a:lnTo>
                  <a:lnTo>
                    <a:pt x="1027862" y="204292"/>
                  </a:lnTo>
                  <a:lnTo>
                    <a:pt x="1027862" y="204990"/>
                  </a:lnTo>
                  <a:lnTo>
                    <a:pt x="1027862" y="204292"/>
                  </a:lnTo>
                  <a:lnTo>
                    <a:pt x="1027862" y="204990"/>
                  </a:lnTo>
                  <a:lnTo>
                    <a:pt x="1027862" y="204292"/>
                  </a:lnTo>
                  <a:lnTo>
                    <a:pt x="1027862" y="204990"/>
                  </a:lnTo>
                  <a:lnTo>
                    <a:pt x="1027862" y="204292"/>
                  </a:lnTo>
                  <a:lnTo>
                    <a:pt x="1027964" y="204292"/>
                  </a:lnTo>
                  <a:lnTo>
                    <a:pt x="1027964" y="204990"/>
                  </a:lnTo>
                  <a:lnTo>
                    <a:pt x="1027964" y="204292"/>
                  </a:lnTo>
                  <a:lnTo>
                    <a:pt x="1027964" y="204990"/>
                  </a:lnTo>
                  <a:lnTo>
                    <a:pt x="1027964" y="204292"/>
                  </a:lnTo>
                  <a:lnTo>
                    <a:pt x="1027964" y="204990"/>
                  </a:lnTo>
                  <a:lnTo>
                    <a:pt x="1027964" y="204292"/>
                  </a:lnTo>
                  <a:lnTo>
                    <a:pt x="1027964" y="204990"/>
                  </a:lnTo>
                  <a:lnTo>
                    <a:pt x="1027964" y="204292"/>
                  </a:lnTo>
                  <a:lnTo>
                    <a:pt x="1028015" y="204292"/>
                  </a:lnTo>
                  <a:lnTo>
                    <a:pt x="1028015" y="204990"/>
                  </a:lnTo>
                  <a:lnTo>
                    <a:pt x="1028015" y="204292"/>
                  </a:lnTo>
                  <a:lnTo>
                    <a:pt x="1028015" y="204990"/>
                  </a:lnTo>
                  <a:lnTo>
                    <a:pt x="1028065" y="204292"/>
                  </a:lnTo>
                  <a:lnTo>
                    <a:pt x="1028065" y="204990"/>
                  </a:lnTo>
                  <a:lnTo>
                    <a:pt x="1028065" y="203594"/>
                  </a:lnTo>
                  <a:lnTo>
                    <a:pt x="1028065" y="204292"/>
                  </a:lnTo>
                  <a:lnTo>
                    <a:pt x="1028116" y="203594"/>
                  </a:lnTo>
                  <a:lnTo>
                    <a:pt x="1028116" y="204292"/>
                  </a:lnTo>
                  <a:lnTo>
                    <a:pt x="1028116" y="203594"/>
                  </a:lnTo>
                  <a:lnTo>
                    <a:pt x="1028116" y="204292"/>
                  </a:lnTo>
                  <a:lnTo>
                    <a:pt x="1028116" y="202959"/>
                  </a:lnTo>
                  <a:lnTo>
                    <a:pt x="1028205" y="202959"/>
                  </a:lnTo>
                  <a:lnTo>
                    <a:pt x="1028205" y="202260"/>
                  </a:lnTo>
                  <a:lnTo>
                    <a:pt x="1028205" y="204990"/>
                  </a:lnTo>
                  <a:lnTo>
                    <a:pt x="1028205" y="202260"/>
                  </a:lnTo>
                  <a:lnTo>
                    <a:pt x="1028256" y="202959"/>
                  </a:lnTo>
                  <a:lnTo>
                    <a:pt x="1028256" y="206324"/>
                  </a:lnTo>
                  <a:lnTo>
                    <a:pt x="1028256" y="204292"/>
                  </a:lnTo>
                  <a:lnTo>
                    <a:pt x="1028307" y="204292"/>
                  </a:lnTo>
                  <a:lnTo>
                    <a:pt x="1028307" y="206324"/>
                  </a:lnTo>
                  <a:lnTo>
                    <a:pt x="1028307" y="204990"/>
                  </a:lnTo>
                  <a:lnTo>
                    <a:pt x="1028358" y="204990"/>
                  </a:lnTo>
                  <a:lnTo>
                    <a:pt x="1028358" y="206324"/>
                  </a:lnTo>
                  <a:lnTo>
                    <a:pt x="1028459" y="206324"/>
                  </a:lnTo>
                  <a:lnTo>
                    <a:pt x="1028459" y="204990"/>
                  </a:lnTo>
                  <a:lnTo>
                    <a:pt x="1028459" y="206324"/>
                  </a:lnTo>
                  <a:lnTo>
                    <a:pt x="1028459" y="204990"/>
                  </a:lnTo>
                  <a:lnTo>
                    <a:pt x="1028459" y="206324"/>
                  </a:lnTo>
                  <a:lnTo>
                    <a:pt x="1028510" y="204990"/>
                  </a:lnTo>
                  <a:lnTo>
                    <a:pt x="1028510" y="206324"/>
                  </a:lnTo>
                  <a:lnTo>
                    <a:pt x="1028510" y="204292"/>
                  </a:lnTo>
                  <a:lnTo>
                    <a:pt x="1028510" y="204990"/>
                  </a:lnTo>
                  <a:lnTo>
                    <a:pt x="1028561" y="204990"/>
                  </a:lnTo>
                  <a:lnTo>
                    <a:pt x="1028561" y="203594"/>
                  </a:lnTo>
                  <a:lnTo>
                    <a:pt x="1028561" y="204292"/>
                  </a:lnTo>
                  <a:lnTo>
                    <a:pt x="1028561" y="203594"/>
                  </a:lnTo>
                  <a:lnTo>
                    <a:pt x="1028662" y="203594"/>
                  </a:lnTo>
                  <a:lnTo>
                    <a:pt x="1028662" y="202959"/>
                  </a:lnTo>
                  <a:lnTo>
                    <a:pt x="1028662" y="203594"/>
                  </a:lnTo>
                  <a:lnTo>
                    <a:pt x="1028662" y="202260"/>
                  </a:lnTo>
                  <a:lnTo>
                    <a:pt x="1028700" y="202959"/>
                  </a:lnTo>
                  <a:lnTo>
                    <a:pt x="1028700" y="204292"/>
                  </a:lnTo>
                  <a:lnTo>
                    <a:pt x="1028700" y="202260"/>
                  </a:lnTo>
                  <a:lnTo>
                    <a:pt x="1028700" y="204990"/>
                  </a:lnTo>
                  <a:lnTo>
                    <a:pt x="1028751" y="204990"/>
                  </a:lnTo>
                  <a:lnTo>
                    <a:pt x="1028751" y="206324"/>
                  </a:lnTo>
                  <a:lnTo>
                    <a:pt x="1028751" y="204292"/>
                  </a:lnTo>
                  <a:lnTo>
                    <a:pt x="1028751" y="206324"/>
                  </a:lnTo>
                  <a:lnTo>
                    <a:pt x="1028802" y="206324"/>
                  </a:lnTo>
                  <a:lnTo>
                    <a:pt x="1028802" y="204990"/>
                  </a:lnTo>
                  <a:lnTo>
                    <a:pt x="1028802" y="206324"/>
                  </a:lnTo>
                  <a:lnTo>
                    <a:pt x="1028802" y="204990"/>
                  </a:lnTo>
                  <a:lnTo>
                    <a:pt x="1028802" y="206324"/>
                  </a:lnTo>
                  <a:lnTo>
                    <a:pt x="1028904" y="206324"/>
                  </a:lnTo>
                  <a:lnTo>
                    <a:pt x="1028904" y="207022"/>
                  </a:lnTo>
                  <a:lnTo>
                    <a:pt x="1028904" y="204990"/>
                  </a:lnTo>
                  <a:lnTo>
                    <a:pt x="1028904" y="207022"/>
                  </a:lnTo>
                  <a:lnTo>
                    <a:pt x="1028904" y="206324"/>
                  </a:lnTo>
                  <a:lnTo>
                    <a:pt x="1028955" y="207022"/>
                  </a:lnTo>
                  <a:lnTo>
                    <a:pt x="1028955" y="206324"/>
                  </a:lnTo>
                  <a:lnTo>
                    <a:pt x="1028955" y="207022"/>
                  </a:lnTo>
                  <a:lnTo>
                    <a:pt x="1028955" y="206324"/>
                  </a:lnTo>
                  <a:lnTo>
                    <a:pt x="1028955" y="207022"/>
                  </a:lnTo>
                  <a:lnTo>
                    <a:pt x="1029005" y="206324"/>
                  </a:lnTo>
                  <a:lnTo>
                    <a:pt x="1029005" y="207022"/>
                  </a:lnTo>
                  <a:lnTo>
                    <a:pt x="1029005" y="206324"/>
                  </a:lnTo>
                  <a:lnTo>
                    <a:pt x="1029005" y="207022"/>
                  </a:lnTo>
                  <a:lnTo>
                    <a:pt x="1029005" y="206324"/>
                  </a:lnTo>
                  <a:lnTo>
                    <a:pt x="1029107" y="206324"/>
                  </a:lnTo>
                  <a:lnTo>
                    <a:pt x="1029107" y="207022"/>
                  </a:lnTo>
                  <a:lnTo>
                    <a:pt x="1029107" y="204292"/>
                  </a:lnTo>
                  <a:lnTo>
                    <a:pt x="1029158" y="204292"/>
                  </a:lnTo>
                  <a:lnTo>
                    <a:pt x="1029158" y="202959"/>
                  </a:lnTo>
                  <a:lnTo>
                    <a:pt x="1029158" y="204990"/>
                  </a:lnTo>
                  <a:lnTo>
                    <a:pt x="1029209" y="204990"/>
                  </a:lnTo>
                  <a:lnTo>
                    <a:pt x="1029209" y="202959"/>
                  </a:lnTo>
                  <a:lnTo>
                    <a:pt x="1029209" y="206324"/>
                  </a:lnTo>
                  <a:lnTo>
                    <a:pt x="1029247" y="206324"/>
                  </a:lnTo>
                  <a:lnTo>
                    <a:pt x="1029247" y="203594"/>
                  </a:lnTo>
                  <a:lnTo>
                    <a:pt x="1029247" y="206324"/>
                  </a:lnTo>
                  <a:lnTo>
                    <a:pt x="1029247" y="204990"/>
                  </a:lnTo>
                  <a:lnTo>
                    <a:pt x="1029348" y="204990"/>
                  </a:lnTo>
                  <a:lnTo>
                    <a:pt x="1029348" y="204292"/>
                  </a:lnTo>
                  <a:lnTo>
                    <a:pt x="1029348" y="206324"/>
                  </a:lnTo>
                  <a:lnTo>
                    <a:pt x="1029348" y="204990"/>
                  </a:lnTo>
                  <a:lnTo>
                    <a:pt x="1029348" y="206324"/>
                  </a:lnTo>
                  <a:lnTo>
                    <a:pt x="1029348" y="204990"/>
                  </a:lnTo>
                  <a:lnTo>
                    <a:pt x="1029399" y="204990"/>
                  </a:lnTo>
                  <a:lnTo>
                    <a:pt x="1029399" y="206324"/>
                  </a:lnTo>
                  <a:lnTo>
                    <a:pt x="1029450" y="207022"/>
                  </a:lnTo>
                  <a:lnTo>
                    <a:pt x="1029450" y="206324"/>
                  </a:lnTo>
                  <a:lnTo>
                    <a:pt x="1029450" y="207022"/>
                  </a:lnTo>
                  <a:lnTo>
                    <a:pt x="1029450" y="206324"/>
                  </a:lnTo>
                  <a:lnTo>
                    <a:pt x="1029551" y="206324"/>
                  </a:lnTo>
                  <a:lnTo>
                    <a:pt x="1029551" y="207022"/>
                  </a:lnTo>
                  <a:lnTo>
                    <a:pt x="1029551" y="204990"/>
                  </a:lnTo>
                  <a:lnTo>
                    <a:pt x="1029602" y="204990"/>
                  </a:lnTo>
                  <a:lnTo>
                    <a:pt x="1029602" y="204292"/>
                  </a:lnTo>
                  <a:lnTo>
                    <a:pt x="1029602" y="204990"/>
                  </a:lnTo>
                  <a:lnTo>
                    <a:pt x="1029602" y="203594"/>
                  </a:lnTo>
                  <a:lnTo>
                    <a:pt x="1029653" y="203594"/>
                  </a:lnTo>
                  <a:lnTo>
                    <a:pt x="1029653" y="202959"/>
                  </a:lnTo>
                  <a:lnTo>
                    <a:pt x="1029653" y="204990"/>
                  </a:lnTo>
                  <a:lnTo>
                    <a:pt x="1029653" y="203594"/>
                  </a:lnTo>
                  <a:lnTo>
                    <a:pt x="1029704" y="203594"/>
                  </a:lnTo>
                  <a:lnTo>
                    <a:pt x="1029704" y="202959"/>
                  </a:lnTo>
                  <a:lnTo>
                    <a:pt x="1029704" y="206324"/>
                  </a:lnTo>
                  <a:lnTo>
                    <a:pt x="1029704" y="204292"/>
                  </a:lnTo>
                  <a:lnTo>
                    <a:pt x="1029793" y="204292"/>
                  </a:lnTo>
                  <a:lnTo>
                    <a:pt x="1029793" y="206324"/>
                  </a:lnTo>
                  <a:lnTo>
                    <a:pt x="1029793" y="204990"/>
                  </a:lnTo>
                  <a:lnTo>
                    <a:pt x="1029793" y="206324"/>
                  </a:lnTo>
                  <a:lnTo>
                    <a:pt x="1029793" y="204292"/>
                  </a:lnTo>
                  <a:lnTo>
                    <a:pt x="1029844" y="204292"/>
                  </a:lnTo>
                  <a:lnTo>
                    <a:pt x="1029844" y="204990"/>
                  </a:lnTo>
                  <a:lnTo>
                    <a:pt x="1029844" y="204292"/>
                  </a:lnTo>
                  <a:lnTo>
                    <a:pt x="1029844" y="204990"/>
                  </a:lnTo>
                  <a:lnTo>
                    <a:pt x="1029844" y="204292"/>
                  </a:lnTo>
                  <a:lnTo>
                    <a:pt x="1029844" y="204990"/>
                  </a:lnTo>
                  <a:lnTo>
                    <a:pt x="1029894" y="204990"/>
                  </a:lnTo>
                  <a:lnTo>
                    <a:pt x="1029894" y="206324"/>
                  </a:lnTo>
                  <a:lnTo>
                    <a:pt x="1029894" y="204990"/>
                  </a:lnTo>
                  <a:lnTo>
                    <a:pt x="1029894" y="206324"/>
                  </a:lnTo>
                  <a:lnTo>
                    <a:pt x="1029945" y="204990"/>
                  </a:lnTo>
                  <a:lnTo>
                    <a:pt x="1029945" y="206324"/>
                  </a:lnTo>
                  <a:lnTo>
                    <a:pt x="1029945" y="204990"/>
                  </a:lnTo>
                  <a:lnTo>
                    <a:pt x="1029945" y="206324"/>
                  </a:lnTo>
                  <a:lnTo>
                    <a:pt x="1029945" y="204292"/>
                  </a:lnTo>
                  <a:lnTo>
                    <a:pt x="1029945" y="204990"/>
                  </a:lnTo>
                  <a:lnTo>
                    <a:pt x="1030047" y="204990"/>
                  </a:lnTo>
                  <a:lnTo>
                    <a:pt x="1030047" y="206324"/>
                  </a:lnTo>
                  <a:lnTo>
                    <a:pt x="1030047" y="204292"/>
                  </a:lnTo>
                  <a:lnTo>
                    <a:pt x="1030047" y="206324"/>
                  </a:lnTo>
                  <a:lnTo>
                    <a:pt x="1030047" y="204292"/>
                  </a:lnTo>
                  <a:lnTo>
                    <a:pt x="1030097" y="204292"/>
                  </a:lnTo>
                  <a:lnTo>
                    <a:pt x="1030097" y="203594"/>
                  </a:lnTo>
                  <a:lnTo>
                    <a:pt x="1030097" y="204292"/>
                  </a:lnTo>
                  <a:lnTo>
                    <a:pt x="1030097" y="203594"/>
                  </a:lnTo>
                  <a:lnTo>
                    <a:pt x="1030097" y="204292"/>
                  </a:lnTo>
                  <a:lnTo>
                    <a:pt x="1030097" y="202260"/>
                  </a:lnTo>
                  <a:lnTo>
                    <a:pt x="1030148" y="202260"/>
                  </a:lnTo>
                  <a:lnTo>
                    <a:pt x="1030148" y="204292"/>
                  </a:lnTo>
                  <a:lnTo>
                    <a:pt x="1030148" y="202260"/>
                  </a:lnTo>
                  <a:lnTo>
                    <a:pt x="1030250" y="202260"/>
                  </a:lnTo>
                  <a:lnTo>
                    <a:pt x="1030250" y="204990"/>
                  </a:lnTo>
                  <a:lnTo>
                    <a:pt x="1030250" y="202959"/>
                  </a:lnTo>
                  <a:lnTo>
                    <a:pt x="1030250" y="203594"/>
                  </a:lnTo>
                  <a:lnTo>
                    <a:pt x="1030288" y="203594"/>
                  </a:lnTo>
                  <a:lnTo>
                    <a:pt x="1030288" y="204292"/>
                  </a:lnTo>
                  <a:lnTo>
                    <a:pt x="1030288" y="203594"/>
                  </a:lnTo>
                  <a:lnTo>
                    <a:pt x="1030288" y="204292"/>
                  </a:lnTo>
                  <a:lnTo>
                    <a:pt x="1030288" y="202959"/>
                  </a:lnTo>
                  <a:lnTo>
                    <a:pt x="1030288" y="203594"/>
                  </a:lnTo>
                  <a:lnTo>
                    <a:pt x="1030339" y="203594"/>
                  </a:lnTo>
                  <a:lnTo>
                    <a:pt x="1030339" y="204990"/>
                  </a:lnTo>
                  <a:lnTo>
                    <a:pt x="1030339" y="203594"/>
                  </a:lnTo>
                  <a:lnTo>
                    <a:pt x="1030339" y="204292"/>
                  </a:lnTo>
                  <a:lnTo>
                    <a:pt x="1030339" y="203594"/>
                  </a:lnTo>
                  <a:lnTo>
                    <a:pt x="1030339" y="204292"/>
                  </a:lnTo>
                  <a:lnTo>
                    <a:pt x="1030339" y="203594"/>
                  </a:lnTo>
                  <a:lnTo>
                    <a:pt x="1030339" y="204292"/>
                  </a:lnTo>
                  <a:lnTo>
                    <a:pt x="1030339" y="203594"/>
                  </a:lnTo>
                  <a:lnTo>
                    <a:pt x="1030390" y="204292"/>
                  </a:lnTo>
                  <a:lnTo>
                    <a:pt x="1030390" y="204990"/>
                  </a:lnTo>
                  <a:lnTo>
                    <a:pt x="1030390" y="204292"/>
                  </a:lnTo>
                  <a:lnTo>
                    <a:pt x="1030390" y="204990"/>
                  </a:lnTo>
                  <a:lnTo>
                    <a:pt x="1030491" y="204990"/>
                  </a:lnTo>
                  <a:lnTo>
                    <a:pt x="1030491" y="204292"/>
                  </a:lnTo>
                  <a:lnTo>
                    <a:pt x="1030491" y="204990"/>
                  </a:lnTo>
                  <a:lnTo>
                    <a:pt x="1030491" y="204292"/>
                  </a:lnTo>
                  <a:lnTo>
                    <a:pt x="1030491" y="204990"/>
                  </a:lnTo>
                  <a:lnTo>
                    <a:pt x="1030491" y="204292"/>
                  </a:lnTo>
                  <a:lnTo>
                    <a:pt x="1030542" y="204990"/>
                  </a:lnTo>
                  <a:lnTo>
                    <a:pt x="1030542" y="204292"/>
                  </a:lnTo>
                  <a:lnTo>
                    <a:pt x="1030542" y="204990"/>
                  </a:lnTo>
                  <a:lnTo>
                    <a:pt x="1030542" y="204292"/>
                  </a:lnTo>
                  <a:lnTo>
                    <a:pt x="1030542" y="204990"/>
                  </a:lnTo>
                  <a:lnTo>
                    <a:pt x="1030542" y="203594"/>
                  </a:lnTo>
                  <a:lnTo>
                    <a:pt x="1030593" y="204292"/>
                  </a:lnTo>
                  <a:lnTo>
                    <a:pt x="1030593" y="202260"/>
                  </a:lnTo>
                  <a:lnTo>
                    <a:pt x="1030694" y="202959"/>
                  </a:lnTo>
                  <a:lnTo>
                    <a:pt x="1030694" y="204292"/>
                  </a:lnTo>
                  <a:lnTo>
                    <a:pt x="1030694" y="202260"/>
                  </a:lnTo>
                  <a:lnTo>
                    <a:pt x="1030694" y="203594"/>
                  </a:lnTo>
                  <a:lnTo>
                    <a:pt x="1030745" y="204292"/>
                  </a:lnTo>
                  <a:lnTo>
                    <a:pt x="1030745" y="206324"/>
                  </a:lnTo>
                  <a:lnTo>
                    <a:pt x="1030745" y="203594"/>
                  </a:lnTo>
                  <a:lnTo>
                    <a:pt x="1030745" y="204990"/>
                  </a:lnTo>
                  <a:lnTo>
                    <a:pt x="1030796" y="204990"/>
                  </a:lnTo>
                  <a:lnTo>
                    <a:pt x="1030796" y="204292"/>
                  </a:lnTo>
                  <a:lnTo>
                    <a:pt x="1030796" y="204990"/>
                  </a:lnTo>
                  <a:lnTo>
                    <a:pt x="1030834" y="204990"/>
                  </a:lnTo>
                  <a:lnTo>
                    <a:pt x="1030834" y="206324"/>
                  </a:lnTo>
                  <a:lnTo>
                    <a:pt x="1030834" y="204990"/>
                  </a:lnTo>
                  <a:lnTo>
                    <a:pt x="1030834" y="206324"/>
                  </a:lnTo>
                  <a:lnTo>
                    <a:pt x="1030834" y="204990"/>
                  </a:lnTo>
                  <a:lnTo>
                    <a:pt x="1030834" y="206324"/>
                  </a:lnTo>
                  <a:lnTo>
                    <a:pt x="1030936" y="204990"/>
                  </a:lnTo>
                  <a:lnTo>
                    <a:pt x="1030936" y="206324"/>
                  </a:lnTo>
                  <a:lnTo>
                    <a:pt x="1030987" y="206324"/>
                  </a:lnTo>
                  <a:lnTo>
                    <a:pt x="1030987" y="204990"/>
                  </a:lnTo>
                  <a:lnTo>
                    <a:pt x="1030987" y="207022"/>
                  </a:lnTo>
                  <a:lnTo>
                    <a:pt x="1030987" y="204990"/>
                  </a:lnTo>
                  <a:lnTo>
                    <a:pt x="1030987" y="206324"/>
                  </a:lnTo>
                  <a:lnTo>
                    <a:pt x="1030987" y="204990"/>
                  </a:lnTo>
                  <a:lnTo>
                    <a:pt x="1030987" y="206324"/>
                  </a:lnTo>
                  <a:lnTo>
                    <a:pt x="1031037" y="204990"/>
                  </a:lnTo>
                  <a:lnTo>
                    <a:pt x="1031037" y="206324"/>
                  </a:lnTo>
                  <a:lnTo>
                    <a:pt x="1031037" y="204292"/>
                  </a:lnTo>
                  <a:lnTo>
                    <a:pt x="1031037" y="204990"/>
                  </a:lnTo>
                  <a:lnTo>
                    <a:pt x="1031037" y="204292"/>
                  </a:lnTo>
                  <a:lnTo>
                    <a:pt x="1031037" y="204990"/>
                  </a:lnTo>
                  <a:lnTo>
                    <a:pt x="1031139" y="204990"/>
                  </a:lnTo>
                  <a:lnTo>
                    <a:pt x="1031139" y="203594"/>
                  </a:lnTo>
                  <a:lnTo>
                    <a:pt x="1031139" y="206324"/>
                  </a:lnTo>
                  <a:lnTo>
                    <a:pt x="1031190" y="204990"/>
                  </a:lnTo>
                  <a:lnTo>
                    <a:pt x="1031190" y="204292"/>
                  </a:lnTo>
                  <a:lnTo>
                    <a:pt x="1031190" y="207022"/>
                  </a:lnTo>
                  <a:lnTo>
                    <a:pt x="1031240" y="207022"/>
                  </a:lnTo>
                  <a:lnTo>
                    <a:pt x="1031240" y="204990"/>
                  </a:lnTo>
                  <a:lnTo>
                    <a:pt x="1031240" y="207022"/>
                  </a:lnTo>
                  <a:lnTo>
                    <a:pt x="1031240" y="206324"/>
                  </a:lnTo>
                  <a:lnTo>
                    <a:pt x="1031291" y="206324"/>
                  </a:lnTo>
                  <a:lnTo>
                    <a:pt x="1031291" y="207022"/>
                  </a:lnTo>
                  <a:lnTo>
                    <a:pt x="1031291" y="206324"/>
                  </a:lnTo>
                  <a:lnTo>
                    <a:pt x="1031380" y="206324"/>
                  </a:lnTo>
                  <a:lnTo>
                    <a:pt x="1031380" y="207022"/>
                  </a:lnTo>
                  <a:lnTo>
                    <a:pt x="1031380" y="206324"/>
                  </a:lnTo>
                  <a:lnTo>
                    <a:pt x="1031431" y="206324"/>
                  </a:lnTo>
                  <a:lnTo>
                    <a:pt x="1031431" y="207022"/>
                  </a:lnTo>
                  <a:lnTo>
                    <a:pt x="1031431" y="206324"/>
                  </a:lnTo>
                  <a:lnTo>
                    <a:pt x="1031431" y="207022"/>
                  </a:lnTo>
                  <a:lnTo>
                    <a:pt x="1031431" y="206324"/>
                  </a:lnTo>
                  <a:lnTo>
                    <a:pt x="1031431" y="207022"/>
                  </a:lnTo>
                  <a:lnTo>
                    <a:pt x="1031431" y="206324"/>
                  </a:lnTo>
                  <a:lnTo>
                    <a:pt x="1031482" y="207022"/>
                  </a:lnTo>
                  <a:lnTo>
                    <a:pt x="1031482" y="204990"/>
                  </a:lnTo>
                  <a:lnTo>
                    <a:pt x="1031482" y="206324"/>
                  </a:lnTo>
                  <a:lnTo>
                    <a:pt x="1031482" y="204990"/>
                  </a:lnTo>
                  <a:lnTo>
                    <a:pt x="1031482" y="206324"/>
                  </a:lnTo>
                  <a:lnTo>
                    <a:pt x="1031482" y="204292"/>
                  </a:lnTo>
                  <a:lnTo>
                    <a:pt x="1031533" y="204292"/>
                  </a:lnTo>
                  <a:lnTo>
                    <a:pt x="1031533" y="204990"/>
                  </a:lnTo>
                  <a:lnTo>
                    <a:pt x="1031533" y="203594"/>
                  </a:lnTo>
                  <a:lnTo>
                    <a:pt x="1031533" y="204292"/>
                  </a:lnTo>
                  <a:lnTo>
                    <a:pt x="1031634" y="204292"/>
                  </a:lnTo>
                  <a:lnTo>
                    <a:pt x="1031634" y="202959"/>
                  </a:lnTo>
                  <a:lnTo>
                    <a:pt x="1031634" y="204990"/>
                  </a:lnTo>
                  <a:lnTo>
                    <a:pt x="1031634" y="204292"/>
                  </a:lnTo>
                  <a:lnTo>
                    <a:pt x="1031685" y="203594"/>
                  </a:lnTo>
                  <a:lnTo>
                    <a:pt x="1031685" y="204292"/>
                  </a:lnTo>
                  <a:lnTo>
                    <a:pt x="1031685" y="203594"/>
                  </a:lnTo>
                  <a:lnTo>
                    <a:pt x="1031685" y="207022"/>
                  </a:lnTo>
                  <a:lnTo>
                    <a:pt x="1031685" y="204990"/>
                  </a:lnTo>
                  <a:lnTo>
                    <a:pt x="1031736" y="204990"/>
                  </a:lnTo>
                  <a:lnTo>
                    <a:pt x="1031736" y="207022"/>
                  </a:lnTo>
                  <a:lnTo>
                    <a:pt x="1031736" y="204990"/>
                  </a:lnTo>
                  <a:lnTo>
                    <a:pt x="1031837" y="204990"/>
                  </a:lnTo>
                  <a:lnTo>
                    <a:pt x="1031837" y="207022"/>
                  </a:lnTo>
                  <a:lnTo>
                    <a:pt x="1031837" y="206324"/>
                  </a:lnTo>
                  <a:lnTo>
                    <a:pt x="1031837" y="207022"/>
                  </a:lnTo>
                  <a:lnTo>
                    <a:pt x="1031837" y="206324"/>
                  </a:lnTo>
                  <a:lnTo>
                    <a:pt x="1031837" y="207022"/>
                  </a:lnTo>
                  <a:lnTo>
                    <a:pt x="1031875" y="206324"/>
                  </a:lnTo>
                  <a:lnTo>
                    <a:pt x="1031875" y="207022"/>
                  </a:lnTo>
                  <a:lnTo>
                    <a:pt x="1031875" y="206324"/>
                  </a:lnTo>
                  <a:lnTo>
                    <a:pt x="1031875" y="207022"/>
                  </a:lnTo>
                  <a:lnTo>
                    <a:pt x="1031875" y="206324"/>
                  </a:lnTo>
                  <a:lnTo>
                    <a:pt x="1031875" y="207022"/>
                  </a:lnTo>
                  <a:lnTo>
                    <a:pt x="1031875" y="206324"/>
                  </a:lnTo>
                  <a:lnTo>
                    <a:pt x="1031875" y="207022"/>
                  </a:lnTo>
                  <a:lnTo>
                    <a:pt x="1031926" y="207022"/>
                  </a:lnTo>
                  <a:lnTo>
                    <a:pt x="1031926" y="206324"/>
                  </a:lnTo>
                  <a:lnTo>
                    <a:pt x="1031926" y="207022"/>
                  </a:lnTo>
                  <a:lnTo>
                    <a:pt x="1031926" y="206324"/>
                  </a:lnTo>
                  <a:lnTo>
                    <a:pt x="1031926" y="207022"/>
                  </a:lnTo>
                  <a:lnTo>
                    <a:pt x="1031926" y="206324"/>
                  </a:lnTo>
                  <a:lnTo>
                    <a:pt x="1031926" y="207022"/>
                  </a:lnTo>
                  <a:lnTo>
                    <a:pt x="1031926" y="206324"/>
                  </a:lnTo>
                  <a:lnTo>
                    <a:pt x="1031926" y="207022"/>
                  </a:lnTo>
                  <a:lnTo>
                    <a:pt x="1031977" y="207022"/>
                  </a:lnTo>
                  <a:lnTo>
                    <a:pt x="1031977" y="206324"/>
                  </a:lnTo>
                  <a:lnTo>
                    <a:pt x="1031977" y="207022"/>
                  </a:lnTo>
                  <a:lnTo>
                    <a:pt x="1031977" y="204990"/>
                  </a:lnTo>
                  <a:lnTo>
                    <a:pt x="1031977" y="206324"/>
                  </a:lnTo>
                  <a:lnTo>
                    <a:pt x="1031977" y="204990"/>
                  </a:lnTo>
                  <a:lnTo>
                    <a:pt x="1032079" y="204990"/>
                  </a:lnTo>
                  <a:lnTo>
                    <a:pt x="1032079" y="204292"/>
                  </a:lnTo>
                  <a:lnTo>
                    <a:pt x="1032079" y="207721"/>
                  </a:lnTo>
                  <a:lnTo>
                    <a:pt x="1032079" y="206324"/>
                  </a:lnTo>
                  <a:lnTo>
                    <a:pt x="1032130" y="204990"/>
                  </a:lnTo>
                  <a:lnTo>
                    <a:pt x="1032130" y="208407"/>
                  </a:lnTo>
                  <a:lnTo>
                    <a:pt x="1032130" y="206324"/>
                  </a:lnTo>
                  <a:lnTo>
                    <a:pt x="1032180" y="206324"/>
                  </a:lnTo>
                  <a:lnTo>
                    <a:pt x="1032180" y="208407"/>
                  </a:lnTo>
                  <a:lnTo>
                    <a:pt x="1032180" y="207022"/>
                  </a:lnTo>
                  <a:lnTo>
                    <a:pt x="1032282" y="207022"/>
                  </a:lnTo>
                  <a:lnTo>
                    <a:pt x="1032282" y="207721"/>
                  </a:lnTo>
                  <a:lnTo>
                    <a:pt x="1032282" y="207022"/>
                  </a:lnTo>
                  <a:lnTo>
                    <a:pt x="1032282" y="207721"/>
                  </a:lnTo>
                  <a:lnTo>
                    <a:pt x="1032282" y="207022"/>
                  </a:lnTo>
                  <a:lnTo>
                    <a:pt x="1032333" y="207022"/>
                  </a:lnTo>
                  <a:lnTo>
                    <a:pt x="1032333" y="207721"/>
                  </a:lnTo>
                  <a:lnTo>
                    <a:pt x="1032333" y="206324"/>
                  </a:lnTo>
                  <a:lnTo>
                    <a:pt x="1032333" y="207022"/>
                  </a:lnTo>
                  <a:lnTo>
                    <a:pt x="1032333" y="206324"/>
                  </a:lnTo>
                  <a:lnTo>
                    <a:pt x="1032384" y="206324"/>
                  </a:lnTo>
                  <a:lnTo>
                    <a:pt x="1032384" y="207022"/>
                  </a:lnTo>
                  <a:lnTo>
                    <a:pt x="1032384" y="206324"/>
                  </a:lnTo>
                  <a:lnTo>
                    <a:pt x="1032422" y="206324"/>
                  </a:lnTo>
                  <a:lnTo>
                    <a:pt x="1032422" y="204990"/>
                  </a:lnTo>
                  <a:lnTo>
                    <a:pt x="1032523" y="204990"/>
                  </a:lnTo>
                  <a:lnTo>
                    <a:pt x="1032523" y="203594"/>
                  </a:lnTo>
                  <a:lnTo>
                    <a:pt x="1032523" y="204292"/>
                  </a:lnTo>
                  <a:lnTo>
                    <a:pt x="1032523" y="202959"/>
                  </a:lnTo>
                  <a:lnTo>
                    <a:pt x="1032523" y="203594"/>
                  </a:lnTo>
                  <a:lnTo>
                    <a:pt x="1032574" y="203594"/>
                  </a:lnTo>
                  <a:lnTo>
                    <a:pt x="1032574" y="202260"/>
                  </a:lnTo>
                  <a:lnTo>
                    <a:pt x="1032574" y="204292"/>
                  </a:lnTo>
                  <a:lnTo>
                    <a:pt x="1032574" y="202959"/>
                  </a:lnTo>
                  <a:lnTo>
                    <a:pt x="1032574" y="203594"/>
                  </a:lnTo>
                  <a:lnTo>
                    <a:pt x="1032625" y="203594"/>
                  </a:lnTo>
                  <a:lnTo>
                    <a:pt x="1032625" y="202959"/>
                  </a:lnTo>
                  <a:lnTo>
                    <a:pt x="1032625" y="206324"/>
                  </a:lnTo>
                  <a:lnTo>
                    <a:pt x="1032625" y="203594"/>
                  </a:lnTo>
                  <a:lnTo>
                    <a:pt x="1032726" y="204292"/>
                  </a:lnTo>
                  <a:lnTo>
                    <a:pt x="1032726" y="203594"/>
                  </a:lnTo>
                  <a:lnTo>
                    <a:pt x="1032726" y="206324"/>
                  </a:lnTo>
                  <a:lnTo>
                    <a:pt x="1032726" y="204990"/>
                  </a:lnTo>
                  <a:lnTo>
                    <a:pt x="1032777" y="204990"/>
                  </a:lnTo>
                  <a:lnTo>
                    <a:pt x="1032777" y="207022"/>
                  </a:lnTo>
                  <a:lnTo>
                    <a:pt x="1032777" y="206324"/>
                  </a:lnTo>
                  <a:lnTo>
                    <a:pt x="1032777" y="207022"/>
                  </a:lnTo>
                  <a:lnTo>
                    <a:pt x="1032777" y="206324"/>
                  </a:lnTo>
                  <a:lnTo>
                    <a:pt x="1032828" y="206324"/>
                  </a:lnTo>
                  <a:lnTo>
                    <a:pt x="1032828" y="207721"/>
                  </a:lnTo>
                  <a:lnTo>
                    <a:pt x="1032828" y="207022"/>
                  </a:lnTo>
                  <a:lnTo>
                    <a:pt x="1032879" y="207022"/>
                  </a:lnTo>
                  <a:lnTo>
                    <a:pt x="1032879" y="206324"/>
                  </a:lnTo>
                  <a:lnTo>
                    <a:pt x="1032879" y="207022"/>
                  </a:lnTo>
                  <a:lnTo>
                    <a:pt x="1032968" y="206324"/>
                  </a:lnTo>
                  <a:lnTo>
                    <a:pt x="1032968" y="207022"/>
                  </a:lnTo>
                  <a:lnTo>
                    <a:pt x="1032968" y="204990"/>
                  </a:lnTo>
                  <a:lnTo>
                    <a:pt x="1032968" y="206324"/>
                  </a:lnTo>
                  <a:lnTo>
                    <a:pt x="1032968" y="204990"/>
                  </a:lnTo>
                  <a:lnTo>
                    <a:pt x="1033019" y="204292"/>
                  </a:lnTo>
                  <a:lnTo>
                    <a:pt x="1033019" y="202959"/>
                  </a:lnTo>
                  <a:lnTo>
                    <a:pt x="1033019" y="203594"/>
                  </a:lnTo>
                  <a:lnTo>
                    <a:pt x="1033069" y="203594"/>
                  </a:lnTo>
                  <a:lnTo>
                    <a:pt x="1033069" y="204292"/>
                  </a:lnTo>
                  <a:lnTo>
                    <a:pt x="1033069" y="203594"/>
                  </a:lnTo>
                  <a:lnTo>
                    <a:pt x="1033069" y="204990"/>
                  </a:lnTo>
                  <a:lnTo>
                    <a:pt x="1033120" y="204990"/>
                  </a:lnTo>
                  <a:lnTo>
                    <a:pt x="1033120" y="206324"/>
                  </a:lnTo>
                  <a:lnTo>
                    <a:pt x="1033120" y="204292"/>
                  </a:lnTo>
                  <a:lnTo>
                    <a:pt x="1033120" y="206324"/>
                  </a:lnTo>
                  <a:lnTo>
                    <a:pt x="1033222" y="206324"/>
                  </a:lnTo>
                  <a:lnTo>
                    <a:pt x="1033222" y="204990"/>
                  </a:lnTo>
                  <a:lnTo>
                    <a:pt x="1033222" y="206324"/>
                  </a:lnTo>
                  <a:lnTo>
                    <a:pt x="1033222" y="204990"/>
                  </a:lnTo>
                  <a:lnTo>
                    <a:pt x="1033222" y="206324"/>
                  </a:lnTo>
                  <a:lnTo>
                    <a:pt x="1033222" y="204990"/>
                  </a:lnTo>
                  <a:lnTo>
                    <a:pt x="1033272" y="206324"/>
                  </a:lnTo>
                  <a:lnTo>
                    <a:pt x="1033272" y="204990"/>
                  </a:lnTo>
                  <a:lnTo>
                    <a:pt x="1033272" y="206324"/>
                  </a:lnTo>
                  <a:lnTo>
                    <a:pt x="1033272" y="204990"/>
                  </a:lnTo>
                  <a:lnTo>
                    <a:pt x="1033323" y="206324"/>
                  </a:lnTo>
                  <a:lnTo>
                    <a:pt x="1033323" y="204990"/>
                  </a:lnTo>
                  <a:lnTo>
                    <a:pt x="1033323" y="207022"/>
                  </a:lnTo>
                  <a:lnTo>
                    <a:pt x="1033323" y="206324"/>
                  </a:lnTo>
                  <a:lnTo>
                    <a:pt x="1033323" y="207022"/>
                  </a:lnTo>
                  <a:lnTo>
                    <a:pt x="1033323" y="206324"/>
                  </a:lnTo>
                  <a:lnTo>
                    <a:pt x="1033425" y="206324"/>
                  </a:lnTo>
                  <a:lnTo>
                    <a:pt x="1033425" y="207022"/>
                  </a:lnTo>
                  <a:lnTo>
                    <a:pt x="1033425" y="206324"/>
                  </a:lnTo>
                  <a:lnTo>
                    <a:pt x="1033463" y="206324"/>
                  </a:lnTo>
                  <a:lnTo>
                    <a:pt x="1033463" y="204990"/>
                  </a:lnTo>
                  <a:lnTo>
                    <a:pt x="1033463" y="206324"/>
                  </a:lnTo>
                  <a:lnTo>
                    <a:pt x="1033463" y="204292"/>
                  </a:lnTo>
                  <a:lnTo>
                    <a:pt x="1033514" y="204292"/>
                  </a:lnTo>
                  <a:lnTo>
                    <a:pt x="1033514" y="203594"/>
                  </a:lnTo>
                  <a:lnTo>
                    <a:pt x="1033514" y="204990"/>
                  </a:lnTo>
                  <a:lnTo>
                    <a:pt x="1033565" y="204292"/>
                  </a:lnTo>
                  <a:lnTo>
                    <a:pt x="1033565" y="203594"/>
                  </a:lnTo>
                  <a:lnTo>
                    <a:pt x="1033565" y="206324"/>
                  </a:lnTo>
                  <a:lnTo>
                    <a:pt x="1033666" y="206324"/>
                  </a:lnTo>
                  <a:lnTo>
                    <a:pt x="1033666" y="204292"/>
                  </a:lnTo>
                  <a:lnTo>
                    <a:pt x="1033666" y="204990"/>
                  </a:lnTo>
                  <a:lnTo>
                    <a:pt x="1033666" y="204292"/>
                  </a:lnTo>
                  <a:lnTo>
                    <a:pt x="1033666" y="206324"/>
                  </a:lnTo>
                  <a:lnTo>
                    <a:pt x="1033717" y="206324"/>
                  </a:lnTo>
                  <a:lnTo>
                    <a:pt x="1033717" y="204990"/>
                  </a:lnTo>
                  <a:lnTo>
                    <a:pt x="1033717" y="207022"/>
                  </a:lnTo>
                  <a:lnTo>
                    <a:pt x="1033717" y="206324"/>
                  </a:lnTo>
                  <a:lnTo>
                    <a:pt x="1033768" y="206324"/>
                  </a:lnTo>
                  <a:lnTo>
                    <a:pt x="1033869" y="207022"/>
                  </a:lnTo>
                  <a:lnTo>
                    <a:pt x="1033869" y="206324"/>
                  </a:lnTo>
                  <a:lnTo>
                    <a:pt x="1033869" y="207022"/>
                  </a:lnTo>
                  <a:lnTo>
                    <a:pt x="1033869" y="206324"/>
                  </a:lnTo>
                  <a:lnTo>
                    <a:pt x="1033920" y="206324"/>
                  </a:lnTo>
                  <a:lnTo>
                    <a:pt x="1033920" y="204990"/>
                  </a:lnTo>
                  <a:lnTo>
                    <a:pt x="1033920" y="207022"/>
                  </a:lnTo>
                  <a:lnTo>
                    <a:pt x="1033920" y="206324"/>
                  </a:lnTo>
                  <a:lnTo>
                    <a:pt x="1033920" y="207022"/>
                  </a:lnTo>
                  <a:lnTo>
                    <a:pt x="1033920" y="204990"/>
                  </a:lnTo>
                  <a:lnTo>
                    <a:pt x="1033920" y="206324"/>
                  </a:lnTo>
                  <a:lnTo>
                    <a:pt x="1033971" y="204990"/>
                  </a:lnTo>
                  <a:lnTo>
                    <a:pt x="1033971" y="206324"/>
                  </a:lnTo>
                  <a:lnTo>
                    <a:pt x="1033971" y="204990"/>
                  </a:lnTo>
                  <a:lnTo>
                    <a:pt x="1033971" y="206324"/>
                  </a:lnTo>
                  <a:lnTo>
                    <a:pt x="1033971" y="203594"/>
                  </a:lnTo>
                  <a:lnTo>
                    <a:pt x="1034009" y="203594"/>
                  </a:lnTo>
                  <a:lnTo>
                    <a:pt x="1034009" y="204990"/>
                  </a:lnTo>
                  <a:lnTo>
                    <a:pt x="1034009" y="204292"/>
                  </a:lnTo>
                  <a:lnTo>
                    <a:pt x="1034009" y="204990"/>
                  </a:lnTo>
                  <a:lnTo>
                    <a:pt x="1034009" y="204292"/>
                  </a:lnTo>
                  <a:lnTo>
                    <a:pt x="1034111" y="204292"/>
                  </a:lnTo>
                  <a:lnTo>
                    <a:pt x="1034111" y="207022"/>
                  </a:lnTo>
                  <a:lnTo>
                    <a:pt x="1034111" y="206324"/>
                  </a:lnTo>
                  <a:lnTo>
                    <a:pt x="1034111" y="207022"/>
                  </a:lnTo>
                  <a:lnTo>
                    <a:pt x="1034111" y="204990"/>
                  </a:lnTo>
                  <a:lnTo>
                    <a:pt x="1034162" y="206324"/>
                  </a:lnTo>
                  <a:lnTo>
                    <a:pt x="1034162" y="204990"/>
                  </a:lnTo>
                  <a:lnTo>
                    <a:pt x="1034162" y="207022"/>
                  </a:lnTo>
                  <a:lnTo>
                    <a:pt x="1034162" y="206324"/>
                  </a:lnTo>
                  <a:lnTo>
                    <a:pt x="1034212" y="206324"/>
                  </a:lnTo>
                  <a:lnTo>
                    <a:pt x="1034212" y="204990"/>
                  </a:lnTo>
                  <a:lnTo>
                    <a:pt x="1034212" y="206324"/>
                  </a:lnTo>
                  <a:lnTo>
                    <a:pt x="1034314" y="204990"/>
                  </a:lnTo>
                  <a:lnTo>
                    <a:pt x="1034314" y="206324"/>
                  </a:lnTo>
                  <a:lnTo>
                    <a:pt x="1034314" y="204990"/>
                  </a:lnTo>
                  <a:lnTo>
                    <a:pt x="1034314" y="206324"/>
                  </a:lnTo>
                  <a:lnTo>
                    <a:pt x="1034314" y="204990"/>
                  </a:lnTo>
                  <a:lnTo>
                    <a:pt x="1034314" y="206324"/>
                  </a:lnTo>
                  <a:lnTo>
                    <a:pt x="1034314" y="204990"/>
                  </a:lnTo>
                  <a:lnTo>
                    <a:pt x="1034314" y="206324"/>
                  </a:lnTo>
                  <a:lnTo>
                    <a:pt x="1034365" y="206324"/>
                  </a:lnTo>
                  <a:lnTo>
                    <a:pt x="1034365" y="204990"/>
                  </a:lnTo>
                  <a:lnTo>
                    <a:pt x="1034365" y="206324"/>
                  </a:lnTo>
                  <a:lnTo>
                    <a:pt x="1034365" y="204292"/>
                  </a:lnTo>
                  <a:lnTo>
                    <a:pt x="1034415" y="204292"/>
                  </a:lnTo>
                  <a:lnTo>
                    <a:pt x="1034415" y="203594"/>
                  </a:lnTo>
                  <a:lnTo>
                    <a:pt x="1034415" y="204292"/>
                  </a:lnTo>
                  <a:lnTo>
                    <a:pt x="1034415" y="203594"/>
                  </a:lnTo>
                  <a:lnTo>
                    <a:pt x="1034415" y="204292"/>
                  </a:lnTo>
                  <a:lnTo>
                    <a:pt x="1034415" y="203594"/>
                  </a:lnTo>
                  <a:lnTo>
                    <a:pt x="1034466" y="203594"/>
                  </a:lnTo>
                  <a:lnTo>
                    <a:pt x="1034466" y="202959"/>
                  </a:lnTo>
                  <a:lnTo>
                    <a:pt x="1034466" y="203594"/>
                  </a:lnTo>
                  <a:lnTo>
                    <a:pt x="1034466" y="202260"/>
                  </a:lnTo>
                  <a:lnTo>
                    <a:pt x="1034555" y="202260"/>
                  </a:lnTo>
                  <a:lnTo>
                    <a:pt x="1034555" y="202959"/>
                  </a:lnTo>
                  <a:lnTo>
                    <a:pt x="1034555" y="202260"/>
                  </a:lnTo>
                  <a:lnTo>
                    <a:pt x="1034606" y="202959"/>
                  </a:lnTo>
                  <a:lnTo>
                    <a:pt x="1034606" y="204990"/>
                  </a:lnTo>
                  <a:lnTo>
                    <a:pt x="1034606" y="203594"/>
                  </a:lnTo>
                  <a:lnTo>
                    <a:pt x="1034606" y="204292"/>
                  </a:lnTo>
                  <a:lnTo>
                    <a:pt x="1034657" y="204292"/>
                  </a:lnTo>
                  <a:lnTo>
                    <a:pt x="1034657" y="204990"/>
                  </a:lnTo>
                  <a:lnTo>
                    <a:pt x="1034657" y="204292"/>
                  </a:lnTo>
                  <a:lnTo>
                    <a:pt x="1034708" y="204292"/>
                  </a:lnTo>
                  <a:lnTo>
                    <a:pt x="1034708" y="204990"/>
                  </a:lnTo>
                  <a:lnTo>
                    <a:pt x="1034708" y="204292"/>
                  </a:lnTo>
                  <a:lnTo>
                    <a:pt x="1034708" y="206324"/>
                  </a:lnTo>
                  <a:lnTo>
                    <a:pt x="1034809" y="206324"/>
                  </a:lnTo>
                  <a:lnTo>
                    <a:pt x="1034809" y="204990"/>
                  </a:lnTo>
                  <a:lnTo>
                    <a:pt x="1034809" y="206324"/>
                  </a:lnTo>
                  <a:lnTo>
                    <a:pt x="1034809" y="204990"/>
                  </a:lnTo>
                  <a:lnTo>
                    <a:pt x="1034809" y="206324"/>
                  </a:lnTo>
                  <a:lnTo>
                    <a:pt x="1034860" y="206324"/>
                  </a:lnTo>
                  <a:lnTo>
                    <a:pt x="1034860" y="204990"/>
                  </a:lnTo>
                  <a:lnTo>
                    <a:pt x="1034860" y="206324"/>
                  </a:lnTo>
                  <a:lnTo>
                    <a:pt x="1034860" y="204990"/>
                  </a:lnTo>
                  <a:lnTo>
                    <a:pt x="1034860" y="206324"/>
                  </a:lnTo>
                  <a:lnTo>
                    <a:pt x="1034860" y="204990"/>
                  </a:lnTo>
                  <a:lnTo>
                    <a:pt x="1034860" y="206324"/>
                  </a:lnTo>
                  <a:lnTo>
                    <a:pt x="1034911" y="204990"/>
                  </a:lnTo>
                  <a:lnTo>
                    <a:pt x="1034911" y="203594"/>
                  </a:lnTo>
                  <a:lnTo>
                    <a:pt x="1034911" y="204292"/>
                  </a:lnTo>
                  <a:lnTo>
                    <a:pt x="1034911" y="203594"/>
                  </a:lnTo>
                  <a:lnTo>
                    <a:pt x="1035012" y="203594"/>
                  </a:lnTo>
                  <a:lnTo>
                    <a:pt x="1035012" y="202959"/>
                  </a:lnTo>
                  <a:lnTo>
                    <a:pt x="1035012" y="203594"/>
                  </a:lnTo>
                  <a:lnTo>
                    <a:pt x="1035012" y="200876"/>
                  </a:lnTo>
                  <a:lnTo>
                    <a:pt x="1035050" y="200876"/>
                  </a:lnTo>
                  <a:lnTo>
                    <a:pt x="1035050" y="199530"/>
                  </a:lnTo>
                  <a:lnTo>
                    <a:pt x="1035050" y="200228"/>
                  </a:lnTo>
                  <a:lnTo>
                    <a:pt x="1035050" y="199530"/>
                  </a:lnTo>
                  <a:lnTo>
                    <a:pt x="1035050" y="200876"/>
                  </a:lnTo>
                  <a:lnTo>
                    <a:pt x="1035050" y="200228"/>
                  </a:lnTo>
                  <a:lnTo>
                    <a:pt x="1035050" y="200876"/>
                  </a:lnTo>
                  <a:lnTo>
                    <a:pt x="1035050" y="200228"/>
                  </a:lnTo>
                  <a:lnTo>
                    <a:pt x="1035101" y="200228"/>
                  </a:lnTo>
                  <a:lnTo>
                    <a:pt x="1035101" y="200876"/>
                  </a:lnTo>
                  <a:lnTo>
                    <a:pt x="1035101" y="200228"/>
                  </a:lnTo>
                  <a:lnTo>
                    <a:pt x="1035101" y="202260"/>
                  </a:lnTo>
                  <a:lnTo>
                    <a:pt x="1035152" y="202260"/>
                  </a:lnTo>
                  <a:lnTo>
                    <a:pt x="1035152" y="200876"/>
                  </a:lnTo>
                  <a:lnTo>
                    <a:pt x="1035152" y="202959"/>
                  </a:lnTo>
                  <a:lnTo>
                    <a:pt x="1035152" y="202260"/>
                  </a:lnTo>
                  <a:lnTo>
                    <a:pt x="1035152" y="202959"/>
                  </a:lnTo>
                  <a:lnTo>
                    <a:pt x="1035254" y="202959"/>
                  </a:lnTo>
                  <a:lnTo>
                    <a:pt x="1035254" y="202260"/>
                  </a:lnTo>
                  <a:lnTo>
                    <a:pt x="1035254" y="203594"/>
                  </a:lnTo>
                  <a:lnTo>
                    <a:pt x="1035254" y="202959"/>
                  </a:lnTo>
                  <a:lnTo>
                    <a:pt x="1035254" y="203594"/>
                  </a:lnTo>
                  <a:lnTo>
                    <a:pt x="1035305" y="203594"/>
                  </a:lnTo>
                  <a:lnTo>
                    <a:pt x="1035305" y="204292"/>
                  </a:lnTo>
                  <a:lnTo>
                    <a:pt x="1035305" y="203594"/>
                  </a:lnTo>
                  <a:lnTo>
                    <a:pt x="1035305" y="204292"/>
                  </a:lnTo>
                  <a:lnTo>
                    <a:pt x="1035457" y="204292"/>
                  </a:lnTo>
                  <a:lnTo>
                    <a:pt x="1035457" y="203594"/>
                  </a:lnTo>
                  <a:lnTo>
                    <a:pt x="1035457" y="204292"/>
                  </a:lnTo>
                  <a:lnTo>
                    <a:pt x="1035508" y="204292"/>
                  </a:lnTo>
                  <a:lnTo>
                    <a:pt x="1035508" y="200876"/>
                  </a:lnTo>
                  <a:lnTo>
                    <a:pt x="1035559" y="200876"/>
                  </a:lnTo>
                  <a:lnTo>
                    <a:pt x="1035559" y="200228"/>
                  </a:lnTo>
                  <a:lnTo>
                    <a:pt x="1035559" y="200876"/>
                  </a:lnTo>
                  <a:lnTo>
                    <a:pt x="1035559" y="199530"/>
                  </a:lnTo>
                  <a:lnTo>
                    <a:pt x="1035559" y="200228"/>
                  </a:lnTo>
                  <a:lnTo>
                    <a:pt x="1035597" y="200228"/>
                  </a:lnTo>
                  <a:lnTo>
                    <a:pt x="1035597" y="199530"/>
                  </a:lnTo>
                  <a:lnTo>
                    <a:pt x="1035597" y="200228"/>
                  </a:lnTo>
                  <a:lnTo>
                    <a:pt x="1035597" y="199530"/>
                  </a:lnTo>
                  <a:lnTo>
                    <a:pt x="1035597" y="202260"/>
                  </a:lnTo>
                  <a:lnTo>
                    <a:pt x="1035698" y="202260"/>
                  </a:lnTo>
                  <a:lnTo>
                    <a:pt x="1035698" y="200228"/>
                  </a:lnTo>
                  <a:lnTo>
                    <a:pt x="1035698" y="202260"/>
                  </a:lnTo>
                  <a:lnTo>
                    <a:pt x="1035749" y="202260"/>
                  </a:lnTo>
                  <a:lnTo>
                    <a:pt x="1035749" y="200876"/>
                  </a:lnTo>
                  <a:lnTo>
                    <a:pt x="1035749" y="202959"/>
                  </a:lnTo>
                  <a:lnTo>
                    <a:pt x="1035749" y="202260"/>
                  </a:lnTo>
                  <a:lnTo>
                    <a:pt x="1035749" y="202959"/>
                  </a:lnTo>
                  <a:lnTo>
                    <a:pt x="1035800" y="202959"/>
                  </a:lnTo>
                  <a:lnTo>
                    <a:pt x="1035800" y="203594"/>
                  </a:lnTo>
                  <a:lnTo>
                    <a:pt x="1035800" y="202959"/>
                  </a:lnTo>
                  <a:lnTo>
                    <a:pt x="1035800" y="204292"/>
                  </a:lnTo>
                  <a:lnTo>
                    <a:pt x="1035800" y="203594"/>
                  </a:lnTo>
                  <a:lnTo>
                    <a:pt x="1035901" y="203594"/>
                  </a:lnTo>
                  <a:lnTo>
                    <a:pt x="1035901" y="204292"/>
                  </a:lnTo>
                  <a:lnTo>
                    <a:pt x="1035901" y="203594"/>
                  </a:lnTo>
                  <a:lnTo>
                    <a:pt x="1035901" y="204990"/>
                  </a:lnTo>
                  <a:lnTo>
                    <a:pt x="1035952" y="204990"/>
                  </a:lnTo>
                  <a:lnTo>
                    <a:pt x="1035952" y="203594"/>
                  </a:lnTo>
                  <a:lnTo>
                    <a:pt x="1036003" y="203594"/>
                  </a:lnTo>
                  <a:lnTo>
                    <a:pt x="1036003" y="202260"/>
                  </a:lnTo>
                  <a:lnTo>
                    <a:pt x="1036003" y="202959"/>
                  </a:lnTo>
                  <a:lnTo>
                    <a:pt x="1036003" y="202260"/>
                  </a:lnTo>
                  <a:lnTo>
                    <a:pt x="1036054" y="202959"/>
                  </a:lnTo>
                  <a:lnTo>
                    <a:pt x="1036054" y="200228"/>
                  </a:lnTo>
                  <a:lnTo>
                    <a:pt x="1036054" y="202260"/>
                  </a:lnTo>
                  <a:lnTo>
                    <a:pt x="1036143" y="200876"/>
                  </a:lnTo>
                  <a:lnTo>
                    <a:pt x="1036143" y="198831"/>
                  </a:lnTo>
                  <a:lnTo>
                    <a:pt x="1036143" y="202959"/>
                  </a:lnTo>
                  <a:lnTo>
                    <a:pt x="1036143" y="202260"/>
                  </a:lnTo>
                  <a:lnTo>
                    <a:pt x="1036194" y="202260"/>
                  </a:lnTo>
                  <a:lnTo>
                    <a:pt x="1036194" y="200228"/>
                  </a:lnTo>
                  <a:lnTo>
                    <a:pt x="1036194" y="202260"/>
                  </a:lnTo>
                  <a:lnTo>
                    <a:pt x="1036244" y="200876"/>
                  </a:lnTo>
                  <a:lnTo>
                    <a:pt x="1036244" y="202260"/>
                  </a:lnTo>
                  <a:lnTo>
                    <a:pt x="1036295" y="202260"/>
                  </a:lnTo>
                  <a:lnTo>
                    <a:pt x="1036295" y="202959"/>
                  </a:lnTo>
                  <a:lnTo>
                    <a:pt x="1036397" y="202959"/>
                  </a:lnTo>
                  <a:lnTo>
                    <a:pt x="1036397" y="203594"/>
                  </a:lnTo>
                  <a:lnTo>
                    <a:pt x="1036397" y="202959"/>
                  </a:lnTo>
                  <a:lnTo>
                    <a:pt x="1036397" y="203594"/>
                  </a:lnTo>
                  <a:lnTo>
                    <a:pt x="1036447" y="203594"/>
                  </a:lnTo>
                  <a:lnTo>
                    <a:pt x="1036447" y="204292"/>
                  </a:lnTo>
                  <a:lnTo>
                    <a:pt x="1036447" y="203594"/>
                  </a:lnTo>
                  <a:lnTo>
                    <a:pt x="1036447" y="204292"/>
                  </a:lnTo>
                  <a:lnTo>
                    <a:pt x="1036447" y="203594"/>
                  </a:lnTo>
                  <a:lnTo>
                    <a:pt x="1036447" y="204292"/>
                  </a:lnTo>
                  <a:lnTo>
                    <a:pt x="1036447" y="203594"/>
                  </a:lnTo>
                  <a:lnTo>
                    <a:pt x="1036498" y="203594"/>
                  </a:lnTo>
                  <a:lnTo>
                    <a:pt x="1036498" y="204292"/>
                  </a:lnTo>
                  <a:lnTo>
                    <a:pt x="1036498" y="202959"/>
                  </a:lnTo>
                  <a:lnTo>
                    <a:pt x="1036600" y="202959"/>
                  </a:lnTo>
                  <a:lnTo>
                    <a:pt x="1036600" y="203594"/>
                  </a:lnTo>
                  <a:lnTo>
                    <a:pt x="1036600" y="202260"/>
                  </a:lnTo>
                  <a:lnTo>
                    <a:pt x="1036600" y="203594"/>
                  </a:lnTo>
                  <a:lnTo>
                    <a:pt x="1036600" y="202959"/>
                  </a:lnTo>
                  <a:lnTo>
                    <a:pt x="1036638" y="202959"/>
                  </a:lnTo>
                  <a:lnTo>
                    <a:pt x="1036638" y="202260"/>
                  </a:lnTo>
                  <a:lnTo>
                    <a:pt x="1036638" y="204292"/>
                  </a:lnTo>
                  <a:lnTo>
                    <a:pt x="1036638" y="203594"/>
                  </a:lnTo>
                  <a:lnTo>
                    <a:pt x="1036689" y="203594"/>
                  </a:lnTo>
                  <a:lnTo>
                    <a:pt x="1036689" y="202959"/>
                  </a:lnTo>
                  <a:lnTo>
                    <a:pt x="1036689" y="203594"/>
                  </a:lnTo>
                  <a:lnTo>
                    <a:pt x="1036740" y="203594"/>
                  </a:lnTo>
                  <a:lnTo>
                    <a:pt x="1036740" y="204292"/>
                  </a:lnTo>
                  <a:lnTo>
                    <a:pt x="1036740" y="202959"/>
                  </a:lnTo>
                  <a:lnTo>
                    <a:pt x="1036841" y="202959"/>
                  </a:lnTo>
                  <a:lnTo>
                    <a:pt x="1036841" y="204292"/>
                  </a:lnTo>
                  <a:lnTo>
                    <a:pt x="1036841" y="203594"/>
                  </a:lnTo>
                  <a:lnTo>
                    <a:pt x="1036892" y="204292"/>
                  </a:lnTo>
                  <a:lnTo>
                    <a:pt x="1036892" y="203594"/>
                  </a:lnTo>
                  <a:lnTo>
                    <a:pt x="1036892" y="204292"/>
                  </a:lnTo>
                  <a:lnTo>
                    <a:pt x="1036892" y="203594"/>
                  </a:lnTo>
                  <a:lnTo>
                    <a:pt x="1036892" y="204292"/>
                  </a:lnTo>
                  <a:lnTo>
                    <a:pt x="1036943" y="204292"/>
                  </a:lnTo>
                  <a:lnTo>
                    <a:pt x="1036943" y="203594"/>
                  </a:lnTo>
                  <a:lnTo>
                    <a:pt x="1036943" y="204292"/>
                  </a:lnTo>
                  <a:lnTo>
                    <a:pt x="1036943" y="203594"/>
                  </a:lnTo>
                  <a:lnTo>
                    <a:pt x="1037044" y="203594"/>
                  </a:lnTo>
                  <a:lnTo>
                    <a:pt x="1037044" y="202959"/>
                  </a:lnTo>
                  <a:lnTo>
                    <a:pt x="1037095" y="202959"/>
                  </a:lnTo>
                  <a:lnTo>
                    <a:pt x="1037095" y="202260"/>
                  </a:lnTo>
                  <a:lnTo>
                    <a:pt x="1037095" y="204292"/>
                  </a:lnTo>
                  <a:lnTo>
                    <a:pt x="1037095" y="203594"/>
                  </a:lnTo>
                  <a:lnTo>
                    <a:pt x="1037146" y="203594"/>
                  </a:lnTo>
                  <a:lnTo>
                    <a:pt x="1037146" y="206324"/>
                  </a:lnTo>
                  <a:lnTo>
                    <a:pt x="1037146" y="204292"/>
                  </a:lnTo>
                  <a:lnTo>
                    <a:pt x="1037184" y="204990"/>
                  </a:lnTo>
                  <a:lnTo>
                    <a:pt x="1037184" y="206324"/>
                  </a:lnTo>
                  <a:lnTo>
                    <a:pt x="1037184" y="204990"/>
                  </a:lnTo>
                  <a:lnTo>
                    <a:pt x="1037337" y="204990"/>
                  </a:lnTo>
                  <a:lnTo>
                    <a:pt x="1037337" y="204292"/>
                  </a:lnTo>
                  <a:lnTo>
                    <a:pt x="1037387" y="204292"/>
                  </a:lnTo>
                  <a:lnTo>
                    <a:pt x="1037387" y="204990"/>
                  </a:lnTo>
                  <a:lnTo>
                    <a:pt x="1037387" y="204292"/>
                  </a:lnTo>
                  <a:lnTo>
                    <a:pt x="1037489" y="204292"/>
                  </a:lnTo>
                  <a:lnTo>
                    <a:pt x="1037489" y="203594"/>
                  </a:lnTo>
                  <a:lnTo>
                    <a:pt x="1037489" y="204292"/>
                  </a:lnTo>
                  <a:lnTo>
                    <a:pt x="1037540" y="203594"/>
                  </a:lnTo>
                  <a:lnTo>
                    <a:pt x="1037540" y="202260"/>
                  </a:lnTo>
                  <a:lnTo>
                    <a:pt x="1037540" y="202959"/>
                  </a:lnTo>
                  <a:lnTo>
                    <a:pt x="1037540" y="202260"/>
                  </a:lnTo>
                  <a:lnTo>
                    <a:pt x="1037540" y="202959"/>
                  </a:lnTo>
                  <a:lnTo>
                    <a:pt x="1037540" y="202260"/>
                  </a:lnTo>
                  <a:lnTo>
                    <a:pt x="1037590" y="202260"/>
                  </a:lnTo>
                  <a:lnTo>
                    <a:pt x="1037590" y="203594"/>
                  </a:lnTo>
                  <a:lnTo>
                    <a:pt x="1037590" y="202959"/>
                  </a:lnTo>
                  <a:lnTo>
                    <a:pt x="1037590" y="204292"/>
                  </a:lnTo>
                  <a:lnTo>
                    <a:pt x="1037641" y="204292"/>
                  </a:lnTo>
                  <a:lnTo>
                    <a:pt x="1037641" y="204990"/>
                  </a:lnTo>
                  <a:lnTo>
                    <a:pt x="1037641" y="204292"/>
                  </a:lnTo>
                  <a:lnTo>
                    <a:pt x="1037641" y="204990"/>
                  </a:lnTo>
                  <a:lnTo>
                    <a:pt x="1037730" y="204990"/>
                  </a:lnTo>
                  <a:lnTo>
                    <a:pt x="1037730" y="206324"/>
                  </a:lnTo>
                  <a:lnTo>
                    <a:pt x="1037781" y="206324"/>
                  </a:lnTo>
                  <a:lnTo>
                    <a:pt x="1037781" y="204990"/>
                  </a:lnTo>
                  <a:lnTo>
                    <a:pt x="1037781" y="206324"/>
                  </a:lnTo>
                  <a:lnTo>
                    <a:pt x="1037832" y="204990"/>
                  </a:lnTo>
                  <a:lnTo>
                    <a:pt x="1037832" y="206324"/>
                  </a:lnTo>
                  <a:lnTo>
                    <a:pt x="1037832" y="204990"/>
                  </a:lnTo>
                  <a:lnTo>
                    <a:pt x="1037832" y="206324"/>
                  </a:lnTo>
                  <a:lnTo>
                    <a:pt x="1037883" y="206324"/>
                  </a:lnTo>
                  <a:lnTo>
                    <a:pt x="1037883" y="204990"/>
                  </a:lnTo>
                  <a:lnTo>
                    <a:pt x="1037883" y="206324"/>
                  </a:lnTo>
                  <a:lnTo>
                    <a:pt x="1037883" y="204292"/>
                  </a:lnTo>
                  <a:lnTo>
                    <a:pt x="1037883" y="204990"/>
                  </a:lnTo>
                  <a:lnTo>
                    <a:pt x="1037984" y="204990"/>
                  </a:lnTo>
                  <a:lnTo>
                    <a:pt x="1037984" y="202959"/>
                  </a:lnTo>
                  <a:lnTo>
                    <a:pt x="1038035" y="202959"/>
                  </a:lnTo>
                  <a:lnTo>
                    <a:pt x="1038035" y="203594"/>
                  </a:lnTo>
                  <a:lnTo>
                    <a:pt x="1038035" y="202959"/>
                  </a:lnTo>
                  <a:lnTo>
                    <a:pt x="1038035" y="204292"/>
                  </a:lnTo>
                  <a:lnTo>
                    <a:pt x="1038035" y="203594"/>
                  </a:lnTo>
                  <a:lnTo>
                    <a:pt x="1038086" y="202959"/>
                  </a:lnTo>
                  <a:lnTo>
                    <a:pt x="1038086" y="206324"/>
                  </a:lnTo>
                  <a:lnTo>
                    <a:pt x="1038086" y="204292"/>
                  </a:lnTo>
                  <a:lnTo>
                    <a:pt x="1038086" y="204990"/>
                  </a:lnTo>
                  <a:lnTo>
                    <a:pt x="1038187" y="204292"/>
                  </a:lnTo>
                  <a:lnTo>
                    <a:pt x="1038187" y="206324"/>
                  </a:lnTo>
                  <a:lnTo>
                    <a:pt x="1038187" y="204292"/>
                  </a:lnTo>
                  <a:lnTo>
                    <a:pt x="1038225" y="204990"/>
                  </a:lnTo>
                  <a:lnTo>
                    <a:pt x="1038225" y="204292"/>
                  </a:lnTo>
                  <a:lnTo>
                    <a:pt x="1038225" y="206324"/>
                  </a:lnTo>
                  <a:lnTo>
                    <a:pt x="1038225" y="204990"/>
                  </a:lnTo>
                  <a:lnTo>
                    <a:pt x="1038225" y="206324"/>
                  </a:lnTo>
                  <a:lnTo>
                    <a:pt x="1038327" y="206324"/>
                  </a:lnTo>
                  <a:lnTo>
                    <a:pt x="1038327" y="204990"/>
                  </a:lnTo>
                  <a:lnTo>
                    <a:pt x="1038327" y="206324"/>
                  </a:lnTo>
                  <a:lnTo>
                    <a:pt x="1038327" y="204990"/>
                  </a:lnTo>
                  <a:lnTo>
                    <a:pt x="1038327" y="206324"/>
                  </a:lnTo>
                  <a:lnTo>
                    <a:pt x="1038327" y="204990"/>
                  </a:lnTo>
                  <a:lnTo>
                    <a:pt x="1038429" y="204990"/>
                  </a:lnTo>
                  <a:lnTo>
                    <a:pt x="1038429" y="204292"/>
                  </a:lnTo>
                  <a:lnTo>
                    <a:pt x="1038429" y="204990"/>
                  </a:lnTo>
                  <a:lnTo>
                    <a:pt x="1038429" y="204292"/>
                  </a:lnTo>
                  <a:lnTo>
                    <a:pt x="1038429" y="204990"/>
                  </a:lnTo>
                  <a:lnTo>
                    <a:pt x="1038480" y="204292"/>
                  </a:lnTo>
                  <a:lnTo>
                    <a:pt x="1038480" y="203594"/>
                  </a:lnTo>
                  <a:lnTo>
                    <a:pt x="1038480" y="204292"/>
                  </a:lnTo>
                  <a:lnTo>
                    <a:pt x="1038480" y="202959"/>
                  </a:lnTo>
                  <a:lnTo>
                    <a:pt x="1038530" y="202959"/>
                  </a:lnTo>
                  <a:lnTo>
                    <a:pt x="1038530" y="202260"/>
                  </a:lnTo>
                  <a:lnTo>
                    <a:pt x="1038530" y="202959"/>
                  </a:lnTo>
                  <a:lnTo>
                    <a:pt x="1038530" y="200876"/>
                  </a:lnTo>
                  <a:lnTo>
                    <a:pt x="1038530" y="203594"/>
                  </a:lnTo>
                  <a:lnTo>
                    <a:pt x="1038530" y="202959"/>
                  </a:lnTo>
                  <a:lnTo>
                    <a:pt x="1038632" y="202959"/>
                  </a:lnTo>
                  <a:lnTo>
                    <a:pt x="1038632" y="200876"/>
                  </a:lnTo>
                  <a:lnTo>
                    <a:pt x="1038632" y="204292"/>
                  </a:lnTo>
                  <a:lnTo>
                    <a:pt x="1038632" y="203594"/>
                  </a:lnTo>
                  <a:lnTo>
                    <a:pt x="1038683" y="203594"/>
                  </a:lnTo>
                  <a:lnTo>
                    <a:pt x="1038683" y="202959"/>
                  </a:lnTo>
                  <a:lnTo>
                    <a:pt x="1038683" y="204292"/>
                  </a:lnTo>
                  <a:lnTo>
                    <a:pt x="1038734" y="204292"/>
                  </a:lnTo>
                  <a:lnTo>
                    <a:pt x="1038734" y="203594"/>
                  </a:lnTo>
                  <a:lnTo>
                    <a:pt x="1038734" y="204292"/>
                  </a:lnTo>
                  <a:lnTo>
                    <a:pt x="1038734" y="203594"/>
                  </a:lnTo>
                  <a:lnTo>
                    <a:pt x="1038734" y="204990"/>
                  </a:lnTo>
                  <a:lnTo>
                    <a:pt x="1038772" y="204292"/>
                  </a:lnTo>
                  <a:lnTo>
                    <a:pt x="1038772" y="204990"/>
                  </a:lnTo>
                  <a:lnTo>
                    <a:pt x="1038873" y="204990"/>
                  </a:lnTo>
                  <a:lnTo>
                    <a:pt x="1038873" y="207022"/>
                  </a:lnTo>
                  <a:lnTo>
                    <a:pt x="1038873" y="204990"/>
                  </a:lnTo>
                  <a:lnTo>
                    <a:pt x="1038873" y="206324"/>
                  </a:lnTo>
                  <a:lnTo>
                    <a:pt x="1038924" y="204990"/>
                  </a:lnTo>
                  <a:lnTo>
                    <a:pt x="1038924" y="206324"/>
                  </a:lnTo>
                  <a:lnTo>
                    <a:pt x="1038924" y="204990"/>
                  </a:lnTo>
                  <a:lnTo>
                    <a:pt x="1038924" y="206324"/>
                  </a:lnTo>
                  <a:lnTo>
                    <a:pt x="1038924" y="204292"/>
                  </a:lnTo>
                  <a:lnTo>
                    <a:pt x="1038975" y="204292"/>
                  </a:lnTo>
                  <a:lnTo>
                    <a:pt x="1038975" y="202959"/>
                  </a:lnTo>
                  <a:lnTo>
                    <a:pt x="1038975" y="203594"/>
                  </a:lnTo>
                  <a:lnTo>
                    <a:pt x="1039076" y="203594"/>
                  </a:lnTo>
                  <a:lnTo>
                    <a:pt x="1039076" y="200876"/>
                  </a:lnTo>
                  <a:lnTo>
                    <a:pt x="1039076" y="202959"/>
                  </a:lnTo>
                  <a:lnTo>
                    <a:pt x="1039076" y="202260"/>
                  </a:lnTo>
                  <a:lnTo>
                    <a:pt x="1039127" y="202260"/>
                  </a:lnTo>
                  <a:lnTo>
                    <a:pt x="1039127" y="200228"/>
                  </a:lnTo>
                  <a:lnTo>
                    <a:pt x="1039127" y="203594"/>
                  </a:lnTo>
                  <a:lnTo>
                    <a:pt x="1039127" y="202959"/>
                  </a:lnTo>
                  <a:lnTo>
                    <a:pt x="1039178" y="202959"/>
                  </a:lnTo>
                  <a:lnTo>
                    <a:pt x="1039178" y="202260"/>
                  </a:lnTo>
                  <a:lnTo>
                    <a:pt x="1039178" y="203594"/>
                  </a:lnTo>
                  <a:lnTo>
                    <a:pt x="1039178" y="202959"/>
                  </a:lnTo>
                  <a:lnTo>
                    <a:pt x="1039229" y="202959"/>
                  </a:lnTo>
                  <a:lnTo>
                    <a:pt x="1039229" y="203594"/>
                  </a:lnTo>
                  <a:lnTo>
                    <a:pt x="1039229" y="202959"/>
                  </a:lnTo>
                  <a:lnTo>
                    <a:pt x="1039229" y="203594"/>
                  </a:lnTo>
                  <a:lnTo>
                    <a:pt x="1039318" y="203594"/>
                  </a:lnTo>
                  <a:lnTo>
                    <a:pt x="1039318" y="204292"/>
                  </a:lnTo>
                  <a:lnTo>
                    <a:pt x="1039318" y="203594"/>
                  </a:lnTo>
                  <a:lnTo>
                    <a:pt x="1039318" y="204292"/>
                  </a:lnTo>
                  <a:lnTo>
                    <a:pt x="1039369" y="204292"/>
                  </a:lnTo>
                  <a:lnTo>
                    <a:pt x="1039369" y="204990"/>
                  </a:lnTo>
                  <a:lnTo>
                    <a:pt x="1039369" y="204292"/>
                  </a:lnTo>
                  <a:lnTo>
                    <a:pt x="1039369" y="204990"/>
                  </a:lnTo>
                  <a:lnTo>
                    <a:pt x="1039419" y="204990"/>
                  </a:lnTo>
                  <a:lnTo>
                    <a:pt x="1039419" y="204292"/>
                  </a:lnTo>
                  <a:lnTo>
                    <a:pt x="1039419" y="204990"/>
                  </a:lnTo>
                  <a:lnTo>
                    <a:pt x="1039419" y="204292"/>
                  </a:lnTo>
                  <a:lnTo>
                    <a:pt x="1039470" y="204292"/>
                  </a:lnTo>
                  <a:lnTo>
                    <a:pt x="1039470" y="203594"/>
                  </a:lnTo>
                  <a:lnTo>
                    <a:pt x="1039470" y="204292"/>
                  </a:lnTo>
                  <a:lnTo>
                    <a:pt x="1039470" y="202959"/>
                  </a:lnTo>
                  <a:lnTo>
                    <a:pt x="1039572" y="202959"/>
                  </a:lnTo>
                  <a:lnTo>
                    <a:pt x="1039572" y="204292"/>
                  </a:lnTo>
                  <a:lnTo>
                    <a:pt x="1039572" y="202260"/>
                  </a:lnTo>
                  <a:lnTo>
                    <a:pt x="1039572" y="202959"/>
                  </a:lnTo>
                  <a:lnTo>
                    <a:pt x="1039622" y="202959"/>
                  </a:lnTo>
                  <a:lnTo>
                    <a:pt x="1039622" y="204990"/>
                  </a:lnTo>
                  <a:lnTo>
                    <a:pt x="1039622" y="204292"/>
                  </a:lnTo>
                  <a:lnTo>
                    <a:pt x="1039673" y="204292"/>
                  </a:lnTo>
                  <a:lnTo>
                    <a:pt x="1039673" y="206324"/>
                  </a:lnTo>
                  <a:lnTo>
                    <a:pt x="1039673" y="204292"/>
                  </a:lnTo>
                  <a:lnTo>
                    <a:pt x="1039775" y="204292"/>
                  </a:lnTo>
                  <a:lnTo>
                    <a:pt x="1039775" y="204990"/>
                  </a:lnTo>
                  <a:lnTo>
                    <a:pt x="1039775" y="204292"/>
                  </a:lnTo>
                  <a:lnTo>
                    <a:pt x="1039775" y="204990"/>
                  </a:lnTo>
                  <a:lnTo>
                    <a:pt x="1039775" y="204292"/>
                  </a:lnTo>
                  <a:lnTo>
                    <a:pt x="1039775" y="204990"/>
                  </a:lnTo>
                  <a:lnTo>
                    <a:pt x="1039775" y="204292"/>
                  </a:lnTo>
                  <a:lnTo>
                    <a:pt x="1039775" y="204990"/>
                  </a:lnTo>
                  <a:lnTo>
                    <a:pt x="1039775" y="204292"/>
                  </a:lnTo>
                  <a:lnTo>
                    <a:pt x="1039813" y="204292"/>
                  </a:lnTo>
                  <a:lnTo>
                    <a:pt x="1039813" y="204990"/>
                  </a:lnTo>
                  <a:lnTo>
                    <a:pt x="1039915" y="204990"/>
                  </a:lnTo>
                  <a:lnTo>
                    <a:pt x="1039915" y="204292"/>
                  </a:lnTo>
                  <a:lnTo>
                    <a:pt x="1040016" y="204292"/>
                  </a:lnTo>
                  <a:lnTo>
                    <a:pt x="1040016" y="203594"/>
                  </a:lnTo>
                  <a:lnTo>
                    <a:pt x="1040016" y="204292"/>
                  </a:lnTo>
                  <a:lnTo>
                    <a:pt x="1040016" y="202260"/>
                  </a:lnTo>
                  <a:lnTo>
                    <a:pt x="1040067" y="202959"/>
                  </a:lnTo>
                  <a:lnTo>
                    <a:pt x="1040067" y="204990"/>
                  </a:lnTo>
                  <a:lnTo>
                    <a:pt x="1040067" y="202260"/>
                  </a:lnTo>
                  <a:lnTo>
                    <a:pt x="1040067" y="204292"/>
                  </a:lnTo>
                  <a:lnTo>
                    <a:pt x="1040118" y="204292"/>
                  </a:lnTo>
                  <a:lnTo>
                    <a:pt x="1040118" y="206324"/>
                  </a:lnTo>
                  <a:lnTo>
                    <a:pt x="1040118" y="203594"/>
                  </a:lnTo>
                  <a:lnTo>
                    <a:pt x="1040118" y="204292"/>
                  </a:lnTo>
                  <a:lnTo>
                    <a:pt x="1040118" y="203594"/>
                  </a:lnTo>
                  <a:lnTo>
                    <a:pt x="1040118" y="204990"/>
                  </a:lnTo>
                  <a:lnTo>
                    <a:pt x="1040219" y="204990"/>
                  </a:lnTo>
                  <a:lnTo>
                    <a:pt x="1040219" y="206324"/>
                  </a:lnTo>
                  <a:lnTo>
                    <a:pt x="1040219" y="204292"/>
                  </a:lnTo>
                  <a:lnTo>
                    <a:pt x="1040219" y="204990"/>
                  </a:lnTo>
                  <a:lnTo>
                    <a:pt x="1040270" y="204990"/>
                  </a:lnTo>
                  <a:lnTo>
                    <a:pt x="1040270" y="204292"/>
                  </a:lnTo>
                  <a:lnTo>
                    <a:pt x="1040270" y="206324"/>
                  </a:lnTo>
                  <a:lnTo>
                    <a:pt x="1040270" y="204990"/>
                  </a:lnTo>
                  <a:lnTo>
                    <a:pt x="1040321" y="204990"/>
                  </a:lnTo>
                  <a:lnTo>
                    <a:pt x="1040321" y="204292"/>
                  </a:lnTo>
                  <a:lnTo>
                    <a:pt x="1040321" y="204990"/>
                  </a:lnTo>
                  <a:lnTo>
                    <a:pt x="1040321" y="204292"/>
                  </a:lnTo>
                  <a:lnTo>
                    <a:pt x="1040321" y="204990"/>
                  </a:lnTo>
                  <a:lnTo>
                    <a:pt x="1040359" y="204292"/>
                  </a:lnTo>
                  <a:lnTo>
                    <a:pt x="1040359" y="204990"/>
                  </a:lnTo>
                  <a:lnTo>
                    <a:pt x="1040359" y="204292"/>
                  </a:lnTo>
                  <a:lnTo>
                    <a:pt x="1040461" y="204292"/>
                  </a:lnTo>
                  <a:lnTo>
                    <a:pt x="1040461" y="203594"/>
                  </a:lnTo>
                  <a:lnTo>
                    <a:pt x="1040512" y="202959"/>
                  </a:lnTo>
                  <a:lnTo>
                    <a:pt x="1040512" y="203594"/>
                  </a:lnTo>
                  <a:lnTo>
                    <a:pt x="1040512" y="200876"/>
                  </a:lnTo>
                  <a:lnTo>
                    <a:pt x="1040512" y="202959"/>
                  </a:lnTo>
                  <a:lnTo>
                    <a:pt x="1040562" y="202959"/>
                  </a:lnTo>
                  <a:lnTo>
                    <a:pt x="1040562" y="203594"/>
                  </a:lnTo>
                  <a:lnTo>
                    <a:pt x="1040562" y="202260"/>
                  </a:lnTo>
                  <a:lnTo>
                    <a:pt x="1040562" y="204292"/>
                  </a:lnTo>
                  <a:lnTo>
                    <a:pt x="1040664" y="204990"/>
                  </a:lnTo>
                  <a:lnTo>
                    <a:pt x="1040664" y="203594"/>
                  </a:lnTo>
                  <a:lnTo>
                    <a:pt x="1040664" y="204990"/>
                  </a:lnTo>
                  <a:lnTo>
                    <a:pt x="1040715" y="204990"/>
                  </a:lnTo>
                  <a:lnTo>
                    <a:pt x="1040715" y="204292"/>
                  </a:lnTo>
                  <a:lnTo>
                    <a:pt x="1040715" y="204990"/>
                  </a:lnTo>
                  <a:lnTo>
                    <a:pt x="1040715" y="204292"/>
                  </a:lnTo>
                  <a:lnTo>
                    <a:pt x="1040715" y="204990"/>
                  </a:lnTo>
                  <a:lnTo>
                    <a:pt x="1040765" y="204990"/>
                  </a:lnTo>
                  <a:lnTo>
                    <a:pt x="1040765" y="206324"/>
                  </a:lnTo>
                  <a:lnTo>
                    <a:pt x="1040816" y="206324"/>
                  </a:lnTo>
                  <a:lnTo>
                    <a:pt x="1040816" y="204990"/>
                  </a:lnTo>
                  <a:lnTo>
                    <a:pt x="1040816" y="206324"/>
                  </a:lnTo>
                  <a:lnTo>
                    <a:pt x="1040905" y="206324"/>
                  </a:lnTo>
                  <a:lnTo>
                    <a:pt x="1040905" y="204990"/>
                  </a:lnTo>
                  <a:lnTo>
                    <a:pt x="1040905" y="206324"/>
                  </a:lnTo>
                  <a:lnTo>
                    <a:pt x="1040905" y="204990"/>
                  </a:lnTo>
                  <a:lnTo>
                    <a:pt x="1040956" y="204990"/>
                  </a:lnTo>
                  <a:lnTo>
                    <a:pt x="1040956" y="204292"/>
                  </a:lnTo>
                  <a:lnTo>
                    <a:pt x="1040956" y="204990"/>
                  </a:lnTo>
                  <a:lnTo>
                    <a:pt x="1040956" y="203594"/>
                  </a:lnTo>
                  <a:lnTo>
                    <a:pt x="1040956" y="204292"/>
                  </a:lnTo>
                  <a:lnTo>
                    <a:pt x="1040956" y="203594"/>
                  </a:lnTo>
                  <a:lnTo>
                    <a:pt x="1040956" y="204292"/>
                  </a:lnTo>
                  <a:lnTo>
                    <a:pt x="1041007" y="204292"/>
                  </a:lnTo>
                  <a:lnTo>
                    <a:pt x="1041007" y="202260"/>
                  </a:lnTo>
                  <a:lnTo>
                    <a:pt x="1041007" y="202959"/>
                  </a:lnTo>
                  <a:lnTo>
                    <a:pt x="1041007" y="202260"/>
                  </a:lnTo>
                  <a:lnTo>
                    <a:pt x="1041007" y="202959"/>
                  </a:lnTo>
                  <a:lnTo>
                    <a:pt x="1041007" y="202260"/>
                  </a:lnTo>
                  <a:lnTo>
                    <a:pt x="1041007" y="203594"/>
                  </a:lnTo>
                  <a:lnTo>
                    <a:pt x="1041058" y="202959"/>
                  </a:lnTo>
                  <a:lnTo>
                    <a:pt x="1041058" y="203594"/>
                  </a:lnTo>
                  <a:lnTo>
                    <a:pt x="1041058" y="202260"/>
                  </a:lnTo>
                  <a:lnTo>
                    <a:pt x="1041058" y="204990"/>
                  </a:lnTo>
                  <a:lnTo>
                    <a:pt x="1041159" y="204990"/>
                  </a:lnTo>
                  <a:lnTo>
                    <a:pt x="1041159" y="203594"/>
                  </a:lnTo>
                  <a:lnTo>
                    <a:pt x="1041159" y="204990"/>
                  </a:lnTo>
                  <a:lnTo>
                    <a:pt x="1041159" y="204292"/>
                  </a:lnTo>
                  <a:lnTo>
                    <a:pt x="1041210" y="204292"/>
                  </a:lnTo>
                  <a:lnTo>
                    <a:pt x="1041210" y="203594"/>
                  </a:lnTo>
                  <a:lnTo>
                    <a:pt x="1041210" y="204292"/>
                  </a:lnTo>
                  <a:lnTo>
                    <a:pt x="1041210" y="203594"/>
                  </a:lnTo>
                  <a:lnTo>
                    <a:pt x="1041210" y="204990"/>
                  </a:lnTo>
                  <a:lnTo>
                    <a:pt x="1041210" y="204292"/>
                  </a:lnTo>
                  <a:lnTo>
                    <a:pt x="1041261" y="204292"/>
                  </a:lnTo>
                  <a:lnTo>
                    <a:pt x="1041261" y="204990"/>
                  </a:lnTo>
                  <a:lnTo>
                    <a:pt x="1041362" y="204990"/>
                  </a:lnTo>
                  <a:lnTo>
                    <a:pt x="1041362" y="206324"/>
                  </a:lnTo>
                  <a:lnTo>
                    <a:pt x="1041362" y="204990"/>
                  </a:lnTo>
                  <a:lnTo>
                    <a:pt x="1041362" y="206324"/>
                  </a:lnTo>
                  <a:lnTo>
                    <a:pt x="1041362" y="204990"/>
                  </a:lnTo>
                  <a:lnTo>
                    <a:pt x="1041400" y="206324"/>
                  </a:lnTo>
                  <a:lnTo>
                    <a:pt x="1041400" y="204990"/>
                  </a:lnTo>
                  <a:lnTo>
                    <a:pt x="1041451" y="204292"/>
                  </a:lnTo>
                  <a:lnTo>
                    <a:pt x="1041451" y="204990"/>
                  </a:lnTo>
                  <a:lnTo>
                    <a:pt x="1041451" y="203594"/>
                  </a:lnTo>
                  <a:lnTo>
                    <a:pt x="1041451" y="204292"/>
                  </a:lnTo>
                  <a:lnTo>
                    <a:pt x="1041502" y="203594"/>
                  </a:lnTo>
                  <a:lnTo>
                    <a:pt x="1041502" y="202959"/>
                  </a:lnTo>
                  <a:lnTo>
                    <a:pt x="1041502" y="204292"/>
                  </a:lnTo>
                  <a:lnTo>
                    <a:pt x="1041502" y="203594"/>
                  </a:lnTo>
                  <a:lnTo>
                    <a:pt x="1041604" y="203594"/>
                  </a:lnTo>
                  <a:lnTo>
                    <a:pt x="1041604" y="204990"/>
                  </a:lnTo>
                  <a:lnTo>
                    <a:pt x="1041655" y="204292"/>
                  </a:lnTo>
                  <a:lnTo>
                    <a:pt x="1041655" y="204990"/>
                  </a:lnTo>
                  <a:lnTo>
                    <a:pt x="1041655" y="204292"/>
                  </a:lnTo>
                  <a:lnTo>
                    <a:pt x="1041655" y="204990"/>
                  </a:lnTo>
                  <a:lnTo>
                    <a:pt x="1041655" y="204292"/>
                  </a:lnTo>
                  <a:lnTo>
                    <a:pt x="1041655" y="204990"/>
                  </a:lnTo>
                  <a:lnTo>
                    <a:pt x="1041705" y="204990"/>
                  </a:lnTo>
                  <a:lnTo>
                    <a:pt x="1041705" y="204292"/>
                  </a:lnTo>
                  <a:lnTo>
                    <a:pt x="1041705" y="204990"/>
                  </a:lnTo>
                  <a:lnTo>
                    <a:pt x="1041807" y="204990"/>
                  </a:lnTo>
                  <a:lnTo>
                    <a:pt x="1041807" y="206324"/>
                  </a:lnTo>
                  <a:lnTo>
                    <a:pt x="1041807" y="204990"/>
                  </a:lnTo>
                  <a:lnTo>
                    <a:pt x="1041807" y="206324"/>
                  </a:lnTo>
                  <a:lnTo>
                    <a:pt x="1041858" y="206324"/>
                  </a:lnTo>
                  <a:lnTo>
                    <a:pt x="1041858" y="204990"/>
                  </a:lnTo>
                  <a:lnTo>
                    <a:pt x="1041909" y="204990"/>
                  </a:lnTo>
                  <a:lnTo>
                    <a:pt x="1041909" y="206324"/>
                  </a:lnTo>
                  <a:lnTo>
                    <a:pt x="1041909" y="203594"/>
                  </a:lnTo>
                  <a:lnTo>
                    <a:pt x="1041947" y="203594"/>
                  </a:lnTo>
                  <a:lnTo>
                    <a:pt x="1041947" y="202959"/>
                  </a:lnTo>
                  <a:lnTo>
                    <a:pt x="1041947" y="203594"/>
                  </a:lnTo>
                  <a:lnTo>
                    <a:pt x="1041947" y="202959"/>
                  </a:lnTo>
                  <a:lnTo>
                    <a:pt x="1041947" y="203594"/>
                  </a:lnTo>
                  <a:lnTo>
                    <a:pt x="1042048" y="203594"/>
                  </a:lnTo>
                  <a:lnTo>
                    <a:pt x="1042048" y="204292"/>
                  </a:lnTo>
                  <a:lnTo>
                    <a:pt x="1042048" y="203594"/>
                  </a:lnTo>
                  <a:lnTo>
                    <a:pt x="1042048" y="204990"/>
                  </a:lnTo>
                  <a:lnTo>
                    <a:pt x="1042099" y="204990"/>
                  </a:lnTo>
                  <a:lnTo>
                    <a:pt x="1042099" y="204292"/>
                  </a:lnTo>
                  <a:lnTo>
                    <a:pt x="1042099" y="204990"/>
                  </a:lnTo>
                  <a:lnTo>
                    <a:pt x="1042099" y="204292"/>
                  </a:lnTo>
                  <a:lnTo>
                    <a:pt x="1042099" y="206324"/>
                  </a:lnTo>
                  <a:lnTo>
                    <a:pt x="1042099" y="204990"/>
                  </a:lnTo>
                  <a:lnTo>
                    <a:pt x="1042150" y="204990"/>
                  </a:lnTo>
                  <a:lnTo>
                    <a:pt x="1042150" y="204292"/>
                  </a:lnTo>
                  <a:lnTo>
                    <a:pt x="1042150" y="204990"/>
                  </a:lnTo>
                  <a:lnTo>
                    <a:pt x="1042251" y="204990"/>
                  </a:lnTo>
                  <a:lnTo>
                    <a:pt x="1042251" y="204292"/>
                  </a:lnTo>
                  <a:lnTo>
                    <a:pt x="1042251" y="204990"/>
                  </a:lnTo>
                  <a:lnTo>
                    <a:pt x="1042251" y="204292"/>
                  </a:lnTo>
                  <a:lnTo>
                    <a:pt x="1042251" y="204990"/>
                  </a:lnTo>
                  <a:lnTo>
                    <a:pt x="1042302" y="204990"/>
                  </a:lnTo>
                  <a:lnTo>
                    <a:pt x="1042302" y="206324"/>
                  </a:lnTo>
                  <a:lnTo>
                    <a:pt x="1042302" y="204990"/>
                  </a:lnTo>
                  <a:lnTo>
                    <a:pt x="1042353" y="204990"/>
                  </a:lnTo>
                  <a:lnTo>
                    <a:pt x="1042353" y="204292"/>
                  </a:lnTo>
                  <a:lnTo>
                    <a:pt x="1042404" y="204990"/>
                  </a:lnTo>
                  <a:lnTo>
                    <a:pt x="1042404" y="203594"/>
                  </a:lnTo>
                  <a:lnTo>
                    <a:pt x="1042404" y="204292"/>
                  </a:lnTo>
                  <a:lnTo>
                    <a:pt x="1042404" y="203594"/>
                  </a:lnTo>
                  <a:lnTo>
                    <a:pt x="1042493" y="203594"/>
                  </a:lnTo>
                  <a:lnTo>
                    <a:pt x="1042493" y="204990"/>
                  </a:lnTo>
                  <a:lnTo>
                    <a:pt x="1042493" y="204292"/>
                  </a:lnTo>
                  <a:lnTo>
                    <a:pt x="1042493" y="204990"/>
                  </a:lnTo>
                  <a:lnTo>
                    <a:pt x="1042493" y="203594"/>
                  </a:lnTo>
                  <a:lnTo>
                    <a:pt x="1042544" y="203594"/>
                  </a:lnTo>
                  <a:lnTo>
                    <a:pt x="1042544" y="207022"/>
                  </a:lnTo>
                  <a:lnTo>
                    <a:pt x="1042544" y="204990"/>
                  </a:lnTo>
                  <a:lnTo>
                    <a:pt x="1042594" y="206324"/>
                  </a:lnTo>
                  <a:lnTo>
                    <a:pt x="1042594" y="207022"/>
                  </a:lnTo>
                  <a:lnTo>
                    <a:pt x="1042594" y="206324"/>
                  </a:lnTo>
                  <a:lnTo>
                    <a:pt x="1042645" y="206324"/>
                  </a:lnTo>
                  <a:lnTo>
                    <a:pt x="1042645" y="207022"/>
                  </a:lnTo>
                  <a:lnTo>
                    <a:pt x="1042645" y="206324"/>
                  </a:lnTo>
                  <a:lnTo>
                    <a:pt x="1042747" y="206324"/>
                  </a:lnTo>
                  <a:lnTo>
                    <a:pt x="1042747" y="207022"/>
                  </a:lnTo>
                  <a:lnTo>
                    <a:pt x="1042797" y="207022"/>
                  </a:lnTo>
                  <a:lnTo>
                    <a:pt x="1042797" y="206324"/>
                  </a:lnTo>
                  <a:lnTo>
                    <a:pt x="1042797" y="207022"/>
                  </a:lnTo>
                  <a:lnTo>
                    <a:pt x="1042797" y="206324"/>
                  </a:lnTo>
                  <a:lnTo>
                    <a:pt x="1042797" y="207022"/>
                  </a:lnTo>
                  <a:lnTo>
                    <a:pt x="1042797" y="206324"/>
                  </a:lnTo>
                  <a:lnTo>
                    <a:pt x="1042797" y="207022"/>
                  </a:lnTo>
                  <a:lnTo>
                    <a:pt x="1042848" y="207022"/>
                  </a:lnTo>
                  <a:lnTo>
                    <a:pt x="1042848" y="204292"/>
                  </a:lnTo>
                  <a:lnTo>
                    <a:pt x="1042950" y="204990"/>
                  </a:lnTo>
                  <a:lnTo>
                    <a:pt x="1042950" y="203594"/>
                  </a:lnTo>
                  <a:lnTo>
                    <a:pt x="1042950" y="204292"/>
                  </a:lnTo>
                  <a:lnTo>
                    <a:pt x="1042988" y="204990"/>
                  </a:lnTo>
                  <a:lnTo>
                    <a:pt x="1042988" y="203594"/>
                  </a:lnTo>
                  <a:lnTo>
                    <a:pt x="1042988" y="207022"/>
                  </a:lnTo>
                  <a:lnTo>
                    <a:pt x="1043039" y="207022"/>
                  </a:lnTo>
                  <a:lnTo>
                    <a:pt x="1043039" y="207721"/>
                  </a:lnTo>
                  <a:lnTo>
                    <a:pt x="1043039" y="204990"/>
                  </a:lnTo>
                  <a:lnTo>
                    <a:pt x="1043039" y="206324"/>
                  </a:lnTo>
                  <a:lnTo>
                    <a:pt x="1043039" y="204990"/>
                  </a:lnTo>
                  <a:lnTo>
                    <a:pt x="1043039" y="207721"/>
                  </a:lnTo>
                  <a:lnTo>
                    <a:pt x="1043039" y="207022"/>
                  </a:lnTo>
                  <a:lnTo>
                    <a:pt x="1043039" y="207721"/>
                  </a:lnTo>
                  <a:lnTo>
                    <a:pt x="1043090" y="207022"/>
                  </a:lnTo>
                  <a:lnTo>
                    <a:pt x="1043090" y="207721"/>
                  </a:lnTo>
                  <a:lnTo>
                    <a:pt x="1043090" y="206324"/>
                  </a:lnTo>
                  <a:lnTo>
                    <a:pt x="1043090" y="207022"/>
                  </a:lnTo>
                  <a:lnTo>
                    <a:pt x="1043090" y="206324"/>
                  </a:lnTo>
                  <a:lnTo>
                    <a:pt x="1043090" y="207022"/>
                  </a:lnTo>
                  <a:lnTo>
                    <a:pt x="1043090" y="206324"/>
                  </a:lnTo>
                  <a:lnTo>
                    <a:pt x="1043090" y="207022"/>
                  </a:lnTo>
                  <a:lnTo>
                    <a:pt x="1043191" y="207022"/>
                  </a:lnTo>
                  <a:lnTo>
                    <a:pt x="1043191" y="206324"/>
                  </a:lnTo>
                  <a:lnTo>
                    <a:pt x="1043191" y="207022"/>
                  </a:lnTo>
                  <a:lnTo>
                    <a:pt x="1043191" y="206324"/>
                  </a:lnTo>
                  <a:lnTo>
                    <a:pt x="1043191" y="207022"/>
                  </a:lnTo>
                  <a:lnTo>
                    <a:pt x="1043191" y="206324"/>
                  </a:lnTo>
                  <a:lnTo>
                    <a:pt x="1043242" y="206324"/>
                  </a:lnTo>
                  <a:lnTo>
                    <a:pt x="1043242" y="207022"/>
                  </a:lnTo>
                  <a:lnTo>
                    <a:pt x="1043242" y="206324"/>
                  </a:lnTo>
                  <a:lnTo>
                    <a:pt x="1043242" y="207022"/>
                  </a:lnTo>
                  <a:lnTo>
                    <a:pt x="1043293" y="207022"/>
                  </a:lnTo>
                  <a:lnTo>
                    <a:pt x="1043293" y="206324"/>
                  </a:lnTo>
                  <a:lnTo>
                    <a:pt x="1043293" y="207022"/>
                  </a:lnTo>
                  <a:lnTo>
                    <a:pt x="1043293" y="206324"/>
                  </a:lnTo>
                  <a:lnTo>
                    <a:pt x="1043293" y="207022"/>
                  </a:lnTo>
                  <a:lnTo>
                    <a:pt x="1043293" y="206324"/>
                  </a:lnTo>
                  <a:lnTo>
                    <a:pt x="1043293" y="207022"/>
                  </a:lnTo>
                  <a:lnTo>
                    <a:pt x="1043293" y="206324"/>
                  </a:lnTo>
                  <a:lnTo>
                    <a:pt x="1043293" y="207022"/>
                  </a:lnTo>
                  <a:lnTo>
                    <a:pt x="1043293" y="204990"/>
                  </a:lnTo>
                  <a:lnTo>
                    <a:pt x="1043293" y="206324"/>
                  </a:lnTo>
                  <a:lnTo>
                    <a:pt x="1043293" y="204990"/>
                  </a:lnTo>
                  <a:lnTo>
                    <a:pt x="1043394" y="204990"/>
                  </a:lnTo>
                  <a:lnTo>
                    <a:pt x="1043394" y="203594"/>
                  </a:lnTo>
                  <a:lnTo>
                    <a:pt x="1043445" y="203594"/>
                  </a:lnTo>
                  <a:lnTo>
                    <a:pt x="1043445" y="202959"/>
                  </a:lnTo>
                  <a:lnTo>
                    <a:pt x="1043445" y="204292"/>
                  </a:lnTo>
                  <a:lnTo>
                    <a:pt x="1043445" y="203594"/>
                  </a:lnTo>
                  <a:lnTo>
                    <a:pt x="1043496" y="203594"/>
                  </a:lnTo>
                  <a:lnTo>
                    <a:pt x="1043496" y="202959"/>
                  </a:lnTo>
                  <a:lnTo>
                    <a:pt x="1043496" y="206324"/>
                  </a:lnTo>
                  <a:lnTo>
                    <a:pt x="1043496" y="204292"/>
                  </a:lnTo>
                  <a:lnTo>
                    <a:pt x="1043534" y="204292"/>
                  </a:lnTo>
                  <a:lnTo>
                    <a:pt x="1043534" y="206324"/>
                  </a:lnTo>
                  <a:lnTo>
                    <a:pt x="1043534" y="204990"/>
                  </a:lnTo>
                  <a:lnTo>
                    <a:pt x="1043636" y="204990"/>
                  </a:lnTo>
                  <a:lnTo>
                    <a:pt x="1043636" y="206324"/>
                  </a:lnTo>
                  <a:lnTo>
                    <a:pt x="1043687" y="206324"/>
                  </a:lnTo>
                  <a:lnTo>
                    <a:pt x="1043687" y="207022"/>
                  </a:lnTo>
                  <a:lnTo>
                    <a:pt x="1043687" y="206324"/>
                  </a:lnTo>
                  <a:lnTo>
                    <a:pt x="1043687" y="207022"/>
                  </a:lnTo>
                  <a:lnTo>
                    <a:pt x="1043687" y="206324"/>
                  </a:lnTo>
                  <a:lnTo>
                    <a:pt x="1043737" y="206324"/>
                  </a:lnTo>
                  <a:lnTo>
                    <a:pt x="1043737" y="207022"/>
                  </a:lnTo>
                  <a:lnTo>
                    <a:pt x="1043737" y="206324"/>
                  </a:lnTo>
                  <a:lnTo>
                    <a:pt x="1043839" y="207022"/>
                  </a:lnTo>
                  <a:lnTo>
                    <a:pt x="1043839" y="206324"/>
                  </a:lnTo>
                  <a:lnTo>
                    <a:pt x="1043839" y="207022"/>
                  </a:lnTo>
                  <a:lnTo>
                    <a:pt x="1043839" y="204990"/>
                  </a:lnTo>
                  <a:lnTo>
                    <a:pt x="1043839" y="206324"/>
                  </a:lnTo>
                  <a:lnTo>
                    <a:pt x="1043839" y="204990"/>
                  </a:lnTo>
                  <a:lnTo>
                    <a:pt x="1043890" y="204990"/>
                  </a:lnTo>
                  <a:lnTo>
                    <a:pt x="1043890" y="204292"/>
                  </a:lnTo>
                  <a:lnTo>
                    <a:pt x="1043890" y="204990"/>
                  </a:lnTo>
                  <a:lnTo>
                    <a:pt x="1043890" y="203594"/>
                  </a:lnTo>
                  <a:lnTo>
                    <a:pt x="1043940" y="202959"/>
                  </a:lnTo>
                  <a:lnTo>
                    <a:pt x="1043940" y="204990"/>
                  </a:lnTo>
                  <a:lnTo>
                    <a:pt x="1043940" y="202959"/>
                  </a:lnTo>
                  <a:lnTo>
                    <a:pt x="1043940" y="203594"/>
                  </a:lnTo>
                  <a:lnTo>
                    <a:pt x="1043940" y="202959"/>
                  </a:lnTo>
                  <a:lnTo>
                    <a:pt x="1043991" y="202959"/>
                  </a:lnTo>
                  <a:lnTo>
                    <a:pt x="1043991" y="207022"/>
                  </a:lnTo>
                  <a:lnTo>
                    <a:pt x="1043991" y="204292"/>
                  </a:lnTo>
                  <a:lnTo>
                    <a:pt x="1044080" y="204292"/>
                  </a:lnTo>
                  <a:lnTo>
                    <a:pt x="1044080" y="206324"/>
                  </a:lnTo>
                  <a:lnTo>
                    <a:pt x="1044080" y="204990"/>
                  </a:lnTo>
                  <a:lnTo>
                    <a:pt x="1044080" y="206324"/>
                  </a:lnTo>
                  <a:lnTo>
                    <a:pt x="1044080" y="204292"/>
                  </a:lnTo>
                  <a:lnTo>
                    <a:pt x="1044080" y="206324"/>
                  </a:lnTo>
                  <a:lnTo>
                    <a:pt x="1044080" y="204990"/>
                  </a:lnTo>
                  <a:lnTo>
                    <a:pt x="1044080" y="206324"/>
                  </a:lnTo>
                  <a:lnTo>
                    <a:pt x="1044131" y="206324"/>
                  </a:lnTo>
                  <a:lnTo>
                    <a:pt x="1044131" y="204990"/>
                  </a:lnTo>
                  <a:lnTo>
                    <a:pt x="1044131" y="206324"/>
                  </a:lnTo>
                  <a:lnTo>
                    <a:pt x="1044131" y="204990"/>
                  </a:lnTo>
                  <a:lnTo>
                    <a:pt x="1044131" y="206324"/>
                  </a:lnTo>
                  <a:lnTo>
                    <a:pt x="1044182" y="206324"/>
                  </a:lnTo>
                  <a:lnTo>
                    <a:pt x="1044182" y="204990"/>
                  </a:lnTo>
                  <a:lnTo>
                    <a:pt x="1044182" y="206324"/>
                  </a:lnTo>
                  <a:lnTo>
                    <a:pt x="1044182" y="204990"/>
                  </a:lnTo>
                  <a:lnTo>
                    <a:pt x="1044182" y="206324"/>
                  </a:lnTo>
                  <a:lnTo>
                    <a:pt x="1044182" y="204990"/>
                  </a:lnTo>
                  <a:lnTo>
                    <a:pt x="1044182" y="207022"/>
                  </a:lnTo>
                  <a:lnTo>
                    <a:pt x="1044233" y="207022"/>
                  </a:lnTo>
                  <a:lnTo>
                    <a:pt x="1044233" y="206324"/>
                  </a:lnTo>
                  <a:lnTo>
                    <a:pt x="1044233" y="207022"/>
                  </a:lnTo>
                  <a:lnTo>
                    <a:pt x="1044233" y="206324"/>
                  </a:lnTo>
                  <a:lnTo>
                    <a:pt x="1044233" y="207022"/>
                  </a:lnTo>
                  <a:lnTo>
                    <a:pt x="1044233" y="206324"/>
                  </a:lnTo>
                  <a:lnTo>
                    <a:pt x="1044233" y="207022"/>
                  </a:lnTo>
                  <a:lnTo>
                    <a:pt x="1044233" y="206324"/>
                  </a:lnTo>
                  <a:lnTo>
                    <a:pt x="1044334" y="206324"/>
                  </a:lnTo>
                  <a:lnTo>
                    <a:pt x="1044334" y="204292"/>
                  </a:lnTo>
                  <a:lnTo>
                    <a:pt x="1044385" y="204292"/>
                  </a:lnTo>
                  <a:lnTo>
                    <a:pt x="1044385" y="202260"/>
                  </a:lnTo>
                  <a:lnTo>
                    <a:pt x="1044385" y="202959"/>
                  </a:lnTo>
                  <a:lnTo>
                    <a:pt x="1044436" y="202959"/>
                  </a:lnTo>
                  <a:lnTo>
                    <a:pt x="1044436" y="200876"/>
                  </a:lnTo>
                  <a:lnTo>
                    <a:pt x="1044436" y="202959"/>
                  </a:lnTo>
                  <a:lnTo>
                    <a:pt x="1044436" y="202260"/>
                  </a:lnTo>
                  <a:lnTo>
                    <a:pt x="1044436" y="203594"/>
                  </a:lnTo>
                  <a:lnTo>
                    <a:pt x="1044436" y="202260"/>
                  </a:lnTo>
                  <a:lnTo>
                    <a:pt x="1044436" y="202959"/>
                  </a:lnTo>
                  <a:lnTo>
                    <a:pt x="1044537" y="202959"/>
                  </a:lnTo>
                  <a:lnTo>
                    <a:pt x="1044537" y="202260"/>
                  </a:lnTo>
                  <a:lnTo>
                    <a:pt x="1044537" y="204292"/>
                  </a:lnTo>
                  <a:lnTo>
                    <a:pt x="1044537" y="203594"/>
                  </a:lnTo>
                  <a:lnTo>
                    <a:pt x="1044537" y="204292"/>
                  </a:lnTo>
                  <a:lnTo>
                    <a:pt x="1044537" y="203594"/>
                  </a:lnTo>
                  <a:lnTo>
                    <a:pt x="1044575" y="203594"/>
                  </a:lnTo>
                  <a:lnTo>
                    <a:pt x="1044575" y="204292"/>
                  </a:lnTo>
                  <a:lnTo>
                    <a:pt x="1044575" y="203594"/>
                  </a:lnTo>
                  <a:lnTo>
                    <a:pt x="1044626" y="203594"/>
                  </a:lnTo>
                  <a:lnTo>
                    <a:pt x="1044626" y="204990"/>
                  </a:lnTo>
                  <a:lnTo>
                    <a:pt x="1044626" y="204292"/>
                  </a:lnTo>
                  <a:lnTo>
                    <a:pt x="1044677" y="204292"/>
                  </a:lnTo>
                  <a:lnTo>
                    <a:pt x="1044677" y="206324"/>
                  </a:lnTo>
                  <a:lnTo>
                    <a:pt x="1044677" y="204990"/>
                  </a:lnTo>
                  <a:lnTo>
                    <a:pt x="1044677" y="206324"/>
                  </a:lnTo>
                  <a:lnTo>
                    <a:pt x="1044779" y="207022"/>
                  </a:lnTo>
                  <a:lnTo>
                    <a:pt x="1044779" y="206324"/>
                  </a:lnTo>
                  <a:lnTo>
                    <a:pt x="1044779" y="207022"/>
                  </a:lnTo>
                  <a:lnTo>
                    <a:pt x="1044779" y="206324"/>
                  </a:lnTo>
                  <a:lnTo>
                    <a:pt x="1044830" y="206324"/>
                  </a:lnTo>
                  <a:lnTo>
                    <a:pt x="1044830" y="204292"/>
                  </a:lnTo>
                  <a:lnTo>
                    <a:pt x="1044830" y="204990"/>
                  </a:lnTo>
                  <a:lnTo>
                    <a:pt x="1044830" y="204292"/>
                  </a:lnTo>
                  <a:lnTo>
                    <a:pt x="1044830" y="204990"/>
                  </a:lnTo>
                  <a:lnTo>
                    <a:pt x="1044880" y="204990"/>
                  </a:lnTo>
                  <a:lnTo>
                    <a:pt x="1044880" y="203594"/>
                  </a:lnTo>
                  <a:lnTo>
                    <a:pt x="1044880" y="204292"/>
                  </a:lnTo>
                  <a:lnTo>
                    <a:pt x="1044880" y="203594"/>
                  </a:lnTo>
                  <a:lnTo>
                    <a:pt x="1044880" y="204292"/>
                  </a:lnTo>
                  <a:lnTo>
                    <a:pt x="1044880" y="202959"/>
                  </a:lnTo>
                  <a:lnTo>
                    <a:pt x="1044982" y="202959"/>
                  </a:lnTo>
                  <a:lnTo>
                    <a:pt x="1044982" y="203594"/>
                  </a:lnTo>
                  <a:lnTo>
                    <a:pt x="1044982" y="202959"/>
                  </a:lnTo>
                  <a:lnTo>
                    <a:pt x="1044982" y="203594"/>
                  </a:lnTo>
                  <a:lnTo>
                    <a:pt x="1044982" y="202959"/>
                  </a:lnTo>
                  <a:lnTo>
                    <a:pt x="1045033" y="202260"/>
                  </a:lnTo>
                  <a:lnTo>
                    <a:pt x="1045033" y="204292"/>
                  </a:lnTo>
                  <a:lnTo>
                    <a:pt x="1045033" y="202959"/>
                  </a:lnTo>
                  <a:lnTo>
                    <a:pt x="1045033" y="203594"/>
                  </a:lnTo>
                  <a:lnTo>
                    <a:pt x="1045033" y="202959"/>
                  </a:lnTo>
                  <a:lnTo>
                    <a:pt x="1045084" y="202959"/>
                  </a:lnTo>
                  <a:lnTo>
                    <a:pt x="1045084" y="203594"/>
                  </a:lnTo>
                  <a:lnTo>
                    <a:pt x="1045084" y="202959"/>
                  </a:lnTo>
                  <a:lnTo>
                    <a:pt x="1045084" y="203594"/>
                  </a:lnTo>
                  <a:lnTo>
                    <a:pt x="1045122" y="203594"/>
                  </a:lnTo>
                  <a:lnTo>
                    <a:pt x="1045122" y="204292"/>
                  </a:lnTo>
                  <a:lnTo>
                    <a:pt x="1045122" y="203594"/>
                  </a:lnTo>
                  <a:lnTo>
                    <a:pt x="1045122" y="204292"/>
                  </a:lnTo>
                  <a:lnTo>
                    <a:pt x="1045122" y="203594"/>
                  </a:lnTo>
                  <a:lnTo>
                    <a:pt x="1045122" y="204292"/>
                  </a:lnTo>
                  <a:lnTo>
                    <a:pt x="1045223" y="204292"/>
                  </a:lnTo>
                  <a:lnTo>
                    <a:pt x="1045223" y="204990"/>
                  </a:lnTo>
                  <a:lnTo>
                    <a:pt x="1045223" y="204292"/>
                  </a:lnTo>
                  <a:lnTo>
                    <a:pt x="1045223" y="204990"/>
                  </a:lnTo>
                  <a:lnTo>
                    <a:pt x="1045223" y="204292"/>
                  </a:lnTo>
                  <a:lnTo>
                    <a:pt x="1045223" y="204990"/>
                  </a:lnTo>
                  <a:lnTo>
                    <a:pt x="1045274" y="204990"/>
                  </a:lnTo>
                  <a:lnTo>
                    <a:pt x="1045274" y="204292"/>
                  </a:lnTo>
                  <a:lnTo>
                    <a:pt x="1045274" y="204990"/>
                  </a:lnTo>
                  <a:lnTo>
                    <a:pt x="1045274" y="204292"/>
                  </a:lnTo>
                  <a:lnTo>
                    <a:pt x="1045274" y="204990"/>
                  </a:lnTo>
                  <a:lnTo>
                    <a:pt x="1045325" y="204990"/>
                  </a:lnTo>
                  <a:lnTo>
                    <a:pt x="1045325" y="204292"/>
                  </a:lnTo>
                  <a:lnTo>
                    <a:pt x="1045325" y="204990"/>
                  </a:lnTo>
                  <a:lnTo>
                    <a:pt x="1045325" y="204292"/>
                  </a:lnTo>
                  <a:lnTo>
                    <a:pt x="1045325" y="204990"/>
                  </a:lnTo>
                  <a:lnTo>
                    <a:pt x="1045325" y="204292"/>
                  </a:lnTo>
                  <a:lnTo>
                    <a:pt x="1045426" y="204292"/>
                  </a:lnTo>
                  <a:lnTo>
                    <a:pt x="1045426" y="203594"/>
                  </a:lnTo>
                  <a:lnTo>
                    <a:pt x="1045426" y="204292"/>
                  </a:lnTo>
                  <a:lnTo>
                    <a:pt x="1045426" y="202959"/>
                  </a:lnTo>
                  <a:lnTo>
                    <a:pt x="1045426" y="204292"/>
                  </a:lnTo>
                  <a:lnTo>
                    <a:pt x="1045477" y="204292"/>
                  </a:lnTo>
                  <a:lnTo>
                    <a:pt x="1045477" y="204990"/>
                  </a:lnTo>
                  <a:lnTo>
                    <a:pt x="1045477" y="203594"/>
                  </a:lnTo>
                  <a:lnTo>
                    <a:pt x="1045477" y="207022"/>
                  </a:lnTo>
                  <a:lnTo>
                    <a:pt x="1045528" y="207022"/>
                  </a:lnTo>
                  <a:lnTo>
                    <a:pt x="1045528" y="204292"/>
                  </a:lnTo>
                  <a:lnTo>
                    <a:pt x="1045528" y="206324"/>
                  </a:lnTo>
                  <a:lnTo>
                    <a:pt x="1045579" y="206324"/>
                  </a:lnTo>
                  <a:lnTo>
                    <a:pt x="1045579" y="204292"/>
                  </a:lnTo>
                  <a:lnTo>
                    <a:pt x="1045579" y="206324"/>
                  </a:lnTo>
                  <a:lnTo>
                    <a:pt x="1045668" y="204990"/>
                  </a:lnTo>
                  <a:lnTo>
                    <a:pt x="1045668" y="206324"/>
                  </a:lnTo>
                  <a:lnTo>
                    <a:pt x="1045719" y="204990"/>
                  </a:lnTo>
                  <a:lnTo>
                    <a:pt x="1045719" y="206324"/>
                  </a:lnTo>
                  <a:lnTo>
                    <a:pt x="1045719" y="204990"/>
                  </a:lnTo>
                  <a:lnTo>
                    <a:pt x="1045769" y="204990"/>
                  </a:lnTo>
                  <a:lnTo>
                    <a:pt x="1045769" y="206324"/>
                  </a:lnTo>
                  <a:lnTo>
                    <a:pt x="1045769" y="204990"/>
                  </a:lnTo>
                  <a:lnTo>
                    <a:pt x="1045769" y="206324"/>
                  </a:lnTo>
                  <a:lnTo>
                    <a:pt x="1045769" y="204990"/>
                  </a:lnTo>
                  <a:lnTo>
                    <a:pt x="1045820" y="204990"/>
                  </a:lnTo>
                  <a:lnTo>
                    <a:pt x="1045820" y="203594"/>
                  </a:lnTo>
                  <a:lnTo>
                    <a:pt x="1045820" y="204292"/>
                  </a:lnTo>
                  <a:lnTo>
                    <a:pt x="1045820" y="203594"/>
                  </a:lnTo>
                  <a:lnTo>
                    <a:pt x="1045922" y="203594"/>
                  </a:lnTo>
                  <a:lnTo>
                    <a:pt x="1045922" y="202959"/>
                  </a:lnTo>
                  <a:lnTo>
                    <a:pt x="1045922" y="204990"/>
                  </a:lnTo>
                  <a:lnTo>
                    <a:pt x="1045922" y="204292"/>
                  </a:lnTo>
                  <a:lnTo>
                    <a:pt x="1045972" y="204292"/>
                  </a:lnTo>
                  <a:lnTo>
                    <a:pt x="1045972" y="202959"/>
                  </a:lnTo>
                  <a:lnTo>
                    <a:pt x="1045972" y="206324"/>
                  </a:lnTo>
                  <a:lnTo>
                    <a:pt x="1045972" y="204990"/>
                  </a:lnTo>
                  <a:lnTo>
                    <a:pt x="1046023" y="204292"/>
                  </a:lnTo>
                  <a:lnTo>
                    <a:pt x="1046023" y="204990"/>
                  </a:lnTo>
                  <a:lnTo>
                    <a:pt x="1046023" y="204292"/>
                  </a:lnTo>
                  <a:lnTo>
                    <a:pt x="1046125" y="204292"/>
                  </a:lnTo>
                  <a:lnTo>
                    <a:pt x="1046125" y="206324"/>
                  </a:lnTo>
                  <a:lnTo>
                    <a:pt x="1046125" y="204292"/>
                  </a:lnTo>
                  <a:lnTo>
                    <a:pt x="1046125" y="204990"/>
                  </a:lnTo>
                  <a:lnTo>
                    <a:pt x="1046214" y="204990"/>
                  </a:lnTo>
                  <a:lnTo>
                    <a:pt x="1046214" y="204292"/>
                  </a:lnTo>
                  <a:lnTo>
                    <a:pt x="1046214" y="204990"/>
                  </a:lnTo>
                  <a:lnTo>
                    <a:pt x="1046214" y="204292"/>
                  </a:lnTo>
                  <a:lnTo>
                    <a:pt x="1046265" y="204292"/>
                  </a:lnTo>
                  <a:lnTo>
                    <a:pt x="1046265" y="203594"/>
                  </a:lnTo>
                  <a:lnTo>
                    <a:pt x="1046265" y="204292"/>
                  </a:lnTo>
                  <a:lnTo>
                    <a:pt x="1046265" y="202959"/>
                  </a:lnTo>
                  <a:lnTo>
                    <a:pt x="1046366" y="202959"/>
                  </a:lnTo>
                  <a:lnTo>
                    <a:pt x="1046366" y="202260"/>
                  </a:lnTo>
                  <a:lnTo>
                    <a:pt x="1046366" y="202959"/>
                  </a:lnTo>
                  <a:lnTo>
                    <a:pt x="1046366" y="202260"/>
                  </a:lnTo>
                  <a:lnTo>
                    <a:pt x="1046417" y="202260"/>
                  </a:lnTo>
                  <a:lnTo>
                    <a:pt x="1046417" y="200876"/>
                  </a:lnTo>
                  <a:lnTo>
                    <a:pt x="1046417" y="202260"/>
                  </a:lnTo>
                  <a:lnTo>
                    <a:pt x="1046417" y="200876"/>
                  </a:lnTo>
                  <a:lnTo>
                    <a:pt x="1046417" y="203594"/>
                  </a:lnTo>
                  <a:lnTo>
                    <a:pt x="1046417" y="202260"/>
                  </a:lnTo>
                  <a:lnTo>
                    <a:pt x="1046468" y="202260"/>
                  </a:lnTo>
                  <a:lnTo>
                    <a:pt x="1046468" y="204292"/>
                  </a:lnTo>
                  <a:lnTo>
                    <a:pt x="1046468" y="203594"/>
                  </a:lnTo>
                  <a:lnTo>
                    <a:pt x="1046569" y="203594"/>
                  </a:lnTo>
                  <a:lnTo>
                    <a:pt x="1046569" y="204292"/>
                  </a:lnTo>
                  <a:lnTo>
                    <a:pt x="1046569" y="203594"/>
                  </a:lnTo>
                  <a:lnTo>
                    <a:pt x="1046569" y="204990"/>
                  </a:lnTo>
                  <a:lnTo>
                    <a:pt x="1046569" y="204292"/>
                  </a:lnTo>
                  <a:lnTo>
                    <a:pt x="1046569" y="204990"/>
                  </a:lnTo>
                  <a:lnTo>
                    <a:pt x="1046569" y="204292"/>
                  </a:lnTo>
                  <a:lnTo>
                    <a:pt x="1046569" y="204990"/>
                  </a:lnTo>
                  <a:lnTo>
                    <a:pt x="1046569" y="204292"/>
                  </a:lnTo>
                  <a:lnTo>
                    <a:pt x="1046620" y="204990"/>
                  </a:lnTo>
                  <a:lnTo>
                    <a:pt x="1046620" y="204292"/>
                  </a:lnTo>
                  <a:lnTo>
                    <a:pt x="1046620" y="204990"/>
                  </a:lnTo>
                  <a:lnTo>
                    <a:pt x="1046671" y="204990"/>
                  </a:lnTo>
                  <a:lnTo>
                    <a:pt x="1046671" y="206324"/>
                  </a:lnTo>
                  <a:lnTo>
                    <a:pt x="1046671" y="204990"/>
                  </a:lnTo>
                  <a:lnTo>
                    <a:pt x="1046671" y="206324"/>
                  </a:lnTo>
                  <a:lnTo>
                    <a:pt x="1046709" y="204990"/>
                  </a:lnTo>
                  <a:lnTo>
                    <a:pt x="1046709" y="206324"/>
                  </a:lnTo>
                  <a:lnTo>
                    <a:pt x="1046709" y="204990"/>
                  </a:lnTo>
                  <a:lnTo>
                    <a:pt x="1046709" y="206324"/>
                  </a:lnTo>
                  <a:lnTo>
                    <a:pt x="1046709" y="204990"/>
                  </a:lnTo>
                  <a:lnTo>
                    <a:pt x="1046811" y="204292"/>
                  </a:lnTo>
                  <a:lnTo>
                    <a:pt x="1046811" y="206324"/>
                  </a:lnTo>
                  <a:lnTo>
                    <a:pt x="1046811" y="204292"/>
                  </a:lnTo>
                  <a:lnTo>
                    <a:pt x="1046862" y="204292"/>
                  </a:lnTo>
                  <a:lnTo>
                    <a:pt x="1046862" y="203594"/>
                  </a:lnTo>
                  <a:lnTo>
                    <a:pt x="1046862" y="204292"/>
                  </a:lnTo>
                  <a:lnTo>
                    <a:pt x="1046862" y="202959"/>
                  </a:lnTo>
                  <a:lnTo>
                    <a:pt x="1046862" y="204990"/>
                  </a:lnTo>
                  <a:lnTo>
                    <a:pt x="1046912" y="204990"/>
                  </a:lnTo>
                  <a:lnTo>
                    <a:pt x="1046912" y="203594"/>
                  </a:lnTo>
                  <a:lnTo>
                    <a:pt x="1046912" y="206324"/>
                  </a:lnTo>
                  <a:lnTo>
                    <a:pt x="1046912" y="204990"/>
                  </a:lnTo>
                  <a:lnTo>
                    <a:pt x="1047014" y="204990"/>
                  </a:lnTo>
                  <a:lnTo>
                    <a:pt x="1047014" y="206324"/>
                  </a:lnTo>
                  <a:lnTo>
                    <a:pt x="1047014" y="204990"/>
                  </a:lnTo>
                  <a:lnTo>
                    <a:pt x="1047065" y="206324"/>
                  </a:lnTo>
                  <a:lnTo>
                    <a:pt x="1047065" y="204990"/>
                  </a:lnTo>
                  <a:lnTo>
                    <a:pt x="1047065" y="206324"/>
                  </a:lnTo>
                  <a:lnTo>
                    <a:pt x="1047065" y="204990"/>
                  </a:lnTo>
                  <a:lnTo>
                    <a:pt x="1047065" y="206324"/>
                  </a:lnTo>
                  <a:lnTo>
                    <a:pt x="1047115" y="206324"/>
                  </a:lnTo>
                  <a:lnTo>
                    <a:pt x="1047115" y="207022"/>
                  </a:lnTo>
                  <a:lnTo>
                    <a:pt x="1047115" y="206324"/>
                  </a:lnTo>
                  <a:lnTo>
                    <a:pt x="1047115" y="207022"/>
                  </a:lnTo>
                  <a:lnTo>
                    <a:pt x="1047166" y="206324"/>
                  </a:lnTo>
                  <a:lnTo>
                    <a:pt x="1047166" y="207022"/>
                  </a:lnTo>
                  <a:lnTo>
                    <a:pt x="1047166" y="204990"/>
                  </a:lnTo>
                  <a:lnTo>
                    <a:pt x="1047255" y="204990"/>
                  </a:lnTo>
                  <a:lnTo>
                    <a:pt x="1047255" y="204292"/>
                  </a:lnTo>
                  <a:lnTo>
                    <a:pt x="1047255" y="204990"/>
                  </a:lnTo>
                  <a:lnTo>
                    <a:pt x="1047255" y="204292"/>
                  </a:lnTo>
                  <a:lnTo>
                    <a:pt x="1047255" y="204990"/>
                  </a:lnTo>
                  <a:lnTo>
                    <a:pt x="1047255" y="204292"/>
                  </a:lnTo>
                  <a:lnTo>
                    <a:pt x="1047255" y="204990"/>
                  </a:lnTo>
                  <a:lnTo>
                    <a:pt x="1047255" y="204292"/>
                  </a:lnTo>
                  <a:lnTo>
                    <a:pt x="1047306" y="204292"/>
                  </a:lnTo>
                  <a:lnTo>
                    <a:pt x="1047306" y="203594"/>
                  </a:lnTo>
                  <a:lnTo>
                    <a:pt x="1047306" y="204292"/>
                  </a:lnTo>
                  <a:lnTo>
                    <a:pt x="1047306" y="203594"/>
                  </a:lnTo>
                  <a:lnTo>
                    <a:pt x="1047306" y="204292"/>
                  </a:lnTo>
                  <a:lnTo>
                    <a:pt x="1047306" y="202959"/>
                  </a:lnTo>
                  <a:lnTo>
                    <a:pt x="1047357" y="202959"/>
                  </a:lnTo>
                  <a:lnTo>
                    <a:pt x="1047357" y="202260"/>
                  </a:lnTo>
                  <a:lnTo>
                    <a:pt x="1047357" y="203594"/>
                  </a:lnTo>
                  <a:lnTo>
                    <a:pt x="1047357" y="202959"/>
                  </a:lnTo>
                  <a:lnTo>
                    <a:pt x="1047408" y="202959"/>
                  </a:lnTo>
                  <a:lnTo>
                    <a:pt x="1047408" y="206324"/>
                  </a:lnTo>
                  <a:lnTo>
                    <a:pt x="1047408" y="203594"/>
                  </a:lnTo>
                  <a:lnTo>
                    <a:pt x="1047509" y="203594"/>
                  </a:lnTo>
                  <a:lnTo>
                    <a:pt x="1047509" y="204990"/>
                  </a:lnTo>
                  <a:lnTo>
                    <a:pt x="1047509" y="204292"/>
                  </a:lnTo>
                  <a:lnTo>
                    <a:pt x="1047560" y="204292"/>
                  </a:lnTo>
                  <a:lnTo>
                    <a:pt x="1047560" y="206324"/>
                  </a:lnTo>
                  <a:lnTo>
                    <a:pt x="1047560" y="204990"/>
                  </a:lnTo>
                  <a:lnTo>
                    <a:pt x="1047560" y="206324"/>
                  </a:lnTo>
                  <a:lnTo>
                    <a:pt x="1047560" y="204990"/>
                  </a:lnTo>
                  <a:lnTo>
                    <a:pt x="1047611" y="204990"/>
                  </a:lnTo>
                  <a:lnTo>
                    <a:pt x="1047611" y="206324"/>
                  </a:lnTo>
                  <a:lnTo>
                    <a:pt x="1047611" y="204990"/>
                  </a:lnTo>
                  <a:lnTo>
                    <a:pt x="1047611" y="206324"/>
                  </a:lnTo>
                  <a:lnTo>
                    <a:pt x="1047712" y="206324"/>
                  </a:lnTo>
                  <a:lnTo>
                    <a:pt x="1047712" y="204990"/>
                  </a:lnTo>
                  <a:lnTo>
                    <a:pt x="1047712" y="206324"/>
                  </a:lnTo>
                  <a:lnTo>
                    <a:pt x="1047712" y="204990"/>
                  </a:lnTo>
                  <a:lnTo>
                    <a:pt x="1047750" y="204990"/>
                  </a:lnTo>
                  <a:lnTo>
                    <a:pt x="1047750" y="204292"/>
                  </a:lnTo>
                  <a:lnTo>
                    <a:pt x="1047750" y="204990"/>
                  </a:lnTo>
                  <a:lnTo>
                    <a:pt x="1047750" y="204292"/>
                  </a:lnTo>
                  <a:lnTo>
                    <a:pt x="1047750" y="204990"/>
                  </a:lnTo>
                  <a:lnTo>
                    <a:pt x="1047750" y="204292"/>
                  </a:lnTo>
                  <a:lnTo>
                    <a:pt x="1047801" y="204292"/>
                  </a:lnTo>
                  <a:lnTo>
                    <a:pt x="1047801" y="203594"/>
                  </a:lnTo>
                  <a:lnTo>
                    <a:pt x="1047801" y="204292"/>
                  </a:lnTo>
                  <a:lnTo>
                    <a:pt x="1047801" y="202260"/>
                  </a:lnTo>
                  <a:lnTo>
                    <a:pt x="1047852" y="200876"/>
                  </a:lnTo>
                  <a:lnTo>
                    <a:pt x="1047852" y="202959"/>
                  </a:lnTo>
                  <a:lnTo>
                    <a:pt x="1047852" y="200876"/>
                  </a:lnTo>
                  <a:lnTo>
                    <a:pt x="1047954" y="200876"/>
                  </a:lnTo>
                  <a:lnTo>
                    <a:pt x="1047954" y="204292"/>
                  </a:lnTo>
                  <a:lnTo>
                    <a:pt x="1047954" y="202260"/>
                  </a:lnTo>
                  <a:lnTo>
                    <a:pt x="1047954" y="202959"/>
                  </a:lnTo>
                  <a:lnTo>
                    <a:pt x="1048005" y="202959"/>
                  </a:lnTo>
                  <a:lnTo>
                    <a:pt x="1048005" y="204292"/>
                  </a:lnTo>
                  <a:lnTo>
                    <a:pt x="1048005" y="203594"/>
                  </a:lnTo>
                  <a:lnTo>
                    <a:pt x="1048055" y="203594"/>
                  </a:lnTo>
                  <a:lnTo>
                    <a:pt x="1048055" y="204292"/>
                  </a:lnTo>
                  <a:lnTo>
                    <a:pt x="1048055" y="203594"/>
                  </a:lnTo>
                  <a:lnTo>
                    <a:pt x="1048055" y="204292"/>
                  </a:lnTo>
                  <a:lnTo>
                    <a:pt x="1048157" y="204292"/>
                  </a:lnTo>
                  <a:lnTo>
                    <a:pt x="1048157" y="204990"/>
                  </a:lnTo>
                  <a:lnTo>
                    <a:pt x="1048208" y="204990"/>
                  </a:lnTo>
                  <a:lnTo>
                    <a:pt x="1048208" y="204292"/>
                  </a:lnTo>
                  <a:lnTo>
                    <a:pt x="1048259" y="204292"/>
                  </a:lnTo>
                  <a:lnTo>
                    <a:pt x="1048259" y="203594"/>
                  </a:lnTo>
                  <a:lnTo>
                    <a:pt x="1048259" y="204292"/>
                  </a:lnTo>
                  <a:lnTo>
                    <a:pt x="1048259" y="203594"/>
                  </a:lnTo>
                  <a:lnTo>
                    <a:pt x="1048259" y="204292"/>
                  </a:lnTo>
                  <a:lnTo>
                    <a:pt x="1048259" y="203594"/>
                  </a:lnTo>
                  <a:lnTo>
                    <a:pt x="1048297" y="203594"/>
                  </a:lnTo>
                  <a:lnTo>
                    <a:pt x="1048297" y="202959"/>
                  </a:lnTo>
                  <a:lnTo>
                    <a:pt x="1048297" y="203594"/>
                  </a:lnTo>
                  <a:lnTo>
                    <a:pt x="1048297" y="202260"/>
                  </a:lnTo>
                  <a:lnTo>
                    <a:pt x="1048297" y="202959"/>
                  </a:lnTo>
                  <a:lnTo>
                    <a:pt x="1048398" y="202959"/>
                  </a:lnTo>
                  <a:lnTo>
                    <a:pt x="1048398" y="203594"/>
                  </a:lnTo>
                  <a:lnTo>
                    <a:pt x="1048398" y="202260"/>
                  </a:lnTo>
                  <a:lnTo>
                    <a:pt x="1048398" y="204292"/>
                  </a:lnTo>
                  <a:lnTo>
                    <a:pt x="1048449" y="204292"/>
                  </a:lnTo>
                  <a:lnTo>
                    <a:pt x="1048449" y="203594"/>
                  </a:lnTo>
                  <a:lnTo>
                    <a:pt x="1048449" y="204292"/>
                  </a:lnTo>
                  <a:lnTo>
                    <a:pt x="1048449" y="202959"/>
                  </a:lnTo>
                  <a:lnTo>
                    <a:pt x="1048449" y="203594"/>
                  </a:lnTo>
                  <a:lnTo>
                    <a:pt x="1048500" y="203594"/>
                  </a:lnTo>
                  <a:lnTo>
                    <a:pt x="1048500" y="204292"/>
                  </a:lnTo>
                  <a:lnTo>
                    <a:pt x="1048500" y="203594"/>
                  </a:lnTo>
                  <a:lnTo>
                    <a:pt x="1048500" y="204292"/>
                  </a:lnTo>
                  <a:lnTo>
                    <a:pt x="1048500" y="203594"/>
                  </a:lnTo>
                  <a:lnTo>
                    <a:pt x="1048500" y="204990"/>
                  </a:lnTo>
                  <a:lnTo>
                    <a:pt x="1048601" y="204990"/>
                  </a:lnTo>
                  <a:lnTo>
                    <a:pt x="1048601" y="204292"/>
                  </a:lnTo>
                  <a:lnTo>
                    <a:pt x="1048601" y="204990"/>
                  </a:lnTo>
                  <a:lnTo>
                    <a:pt x="1048601" y="204292"/>
                  </a:lnTo>
                  <a:lnTo>
                    <a:pt x="1048601" y="204990"/>
                  </a:lnTo>
                  <a:lnTo>
                    <a:pt x="1048601" y="204292"/>
                  </a:lnTo>
                  <a:lnTo>
                    <a:pt x="1048601" y="204990"/>
                  </a:lnTo>
                  <a:lnTo>
                    <a:pt x="1048652" y="204990"/>
                  </a:lnTo>
                  <a:lnTo>
                    <a:pt x="1048652" y="204292"/>
                  </a:lnTo>
                  <a:lnTo>
                    <a:pt x="1048652" y="204990"/>
                  </a:lnTo>
                  <a:lnTo>
                    <a:pt x="1048652" y="204292"/>
                  </a:lnTo>
                  <a:lnTo>
                    <a:pt x="1048703" y="204292"/>
                  </a:lnTo>
                  <a:lnTo>
                    <a:pt x="1048703" y="204990"/>
                  </a:lnTo>
                  <a:lnTo>
                    <a:pt x="1048703" y="204292"/>
                  </a:lnTo>
                  <a:lnTo>
                    <a:pt x="1048754" y="204292"/>
                  </a:lnTo>
                  <a:lnTo>
                    <a:pt x="1048754" y="204990"/>
                  </a:lnTo>
                  <a:lnTo>
                    <a:pt x="1048754" y="203594"/>
                  </a:lnTo>
                  <a:lnTo>
                    <a:pt x="1048754" y="204292"/>
                  </a:lnTo>
                  <a:lnTo>
                    <a:pt x="1048754" y="203594"/>
                  </a:lnTo>
                  <a:lnTo>
                    <a:pt x="1048843" y="203594"/>
                  </a:lnTo>
                  <a:lnTo>
                    <a:pt x="1048843" y="202959"/>
                  </a:lnTo>
                  <a:lnTo>
                    <a:pt x="1048843" y="203594"/>
                  </a:lnTo>
                  <a:lnTo>
                    <a:pt x="1048843" y="202260"/>
                  </a:lnTo>
                  <a:lnTo>
                    <a:pt x="1048843" y="204292"/>
                  </a:lnTo>
                  <a:lnTo>
                    <a:pt x="1048843" y="203594"/>
                  </a:lnTo>
                  <a:lnTo>
                    <a:pt x="1048894" y="203594"/>
                  </a:lnTo>
                  <a:lnTo>
                    <a:pt x="1048894" y="202959"/>
                  </a:lnTo>
                  <a:lnTo>
                    <a:pt x="1048894" y="204990"/>
                  </a:lnTo>
                  <a:lnTo>
                    <a:pt x="1048894" y="204292"/>
                  </a:lnTo>
                  <a:lnTo>
                    <a:pt x="1048944" y="203594"/>
                  </a:lnTo>
                  <a:lnTo>
                    <a:pt x="1048944" y="204990"/>
                  </a:lnTo>
                  <a:lnTo>
                    <a:pt x="1048944" y="204292"/>
                  </a:lnTo>
                  <a:lnTo>
                    <a:pt x="1048944" y="204990"/>
                  </a:lnTo>
                  <a:lnTo>
                    <a:pt x="1048944" y="204292"/>
                  </a:lnTo>
                  <a:lnTo>
                    <a:pt x="1048944" y="204990"/>
                  </a:lnTo>
                  <a:lnTo>
                    <a:pt x="1048944" y="203594"/>
                  </a:lnTo>
                  <a:lnTo>
                    <a:pt x="1048995" y="204292"/>
                  </a:lnTo>
                  <a:lnTo>
                    <a:pt x="1048995" y="204990"/>
                  </a:lnTo>
                  <a:lnTo>
                    <a:pt x="1048995" y="204292"/>
                  </a:lnTo>
                  <a:lnTo>
                    <a:pt x="1049097" y="204990"/>
                  </a:lnTo>
                  <a:lnTo>
                    <a:pt x="1049097" y="204292"/>
                  </a:lnTo>
                  <a:lnTo>
                    <a:pt x="1049097" y="204990"/>
                  </a:lnTo>
                  <a:lnTo>
                    <a:pt x="1049097" y="204292"/>
                  </a:lnTo>
                  <a:lnTo>
                    <a:pt x="1049097" y="204990"/>
                  </a:lnTo>
                  <a:lnTo>
                    <a:pt x="1049097" y="204292"/>
                  </a:lnTo>
                  <a:lnTo>
                    <a:pt x="1049097" y="204990"/>
                  </a:lnTo>
                  <a:lnTo>
                    <a:pt x="1049097" y="204292"/>
                  </a:lnTo>
                  <a:lnTo>
                    <a:pt x="1049097" y="204990"/>
                  </a:lnTo>
                  <a:lnTo>
                    <a:pt x="1049097" y="204292"/>
                  </a:lnTo>
                  <a:lnTo>
                    <a:pt x="1049097" y="204990"/>
                  </a:lnTo>
                  <a:lnTo>
                    <a:pt x="1049147" y="204990"/>
                  </a:lnTo>
                  <a:lnTo>
                    <a:pt x="1049147" y="204292"/>
                  </a:lnTo>
                  <a:lnTo>
                    <a:pt x="1049147" y="204990"/>
                  </a:lnTo>
                  <a:lnTo>
                    <a:pt x="1049147" y="204292"/>
                  </a:lnTo>
                  <a:lnTo>
                    <a:pt x="1049198" y="204292"/>
                  </a:lnTo>
                  <a:lnTo>
                    <a:pt x="1049198" y="204990"/>
                  </a:lnTo>
                  <a:lnTo>
                    <a:pt x="1049198" y="204292"/>
                  </a:lnTo>
                  <a:lnTo>
                    <a:pt x="1049300" y="204292"/>
                  </a:lnTo>
                  <a:lnTo>
                    <a:pt x="1049300" y="202959"/>
                  </a:lnTo>
                  <a:lnTo>
                    <a:pt x="1049300" y="203594"/>
                  </a:lnTo>
                  <a:lnTo>
                    <a:pt x="1049300" y="202959"/>
                  </a:lnTo>
                  <a:lnTo>
                    <a:pt x="1049300" y="203594"/>
                  </a:lnTo>
                  <a:lnTo>
                    <a:pt x="1049300" y="202260"/>
                  </a:lnTo>
                  <a:lnTo>
                    <a:pt x="1049338" y="202260"/>
                  </a:lnTo>
                  <a:lnTo>
                    <a:pt x="1049338" y="202959"/>
                  </a:lnTo>
                  <a:lnTo>
                    <a:pt x="1049338" y="200228"/>
                  </a:lnTo>
                  <a:lnTo>
                    <a:pt x="1049338" y="202959"/>
                  </a:lnTo>
                  <a:lnTo>
                    <a:pt x="1049338" y="202260"/>
                  </a:lnTo>
                  <a:lnTo>
                    <a:pt x="1049389" y="202260"/>
                  </a:lnTo>
                  <a:lnTo>
                    <a:pt x="1049389" y="200876"/>
                  </a:lnTo>
                  <a:lnTo>
                    <a:pt x="1049389" y="202260"/>
                  </a:lnTo>
                  <a:lnTo>
                    <a:pt x="1049389" y="200876"/>
                  </a:lnTo>
                  <a:lnTo>
                    <a:pt x="1049389" y="203594"/>
                  </a:lnTo>
                  <a:lnTo>
                    <a:pt x="1049389" y="202959"/>
                  </a:lnTo>
                  <a:lnTo>
                    <a:pt x="1049440" y="203594"/>
                  </a:lnTo>
                  <a:lnTo>
                    <a:pt x="1049440" y="202959"/>
                  </a:lnTo>
                  <a:lnTo>
                    <a:pt x="1049440" y="203594"/>
                  </a:lnTo>
                  <a:lnTo>
                    <a:pt x="1049541" y="203594"/>
                  </a:lnTo>
                  <a:lnTo>
                    <a:pt x="1049541" y="204292"/>
                  </a:lnTo>
                  <a:lnTo>
                    <a:pt x="1049541" y="203594"/>
                  </a:lnTo>
                  <a:lnTo>
                    <a:pt x="1049541" y="204292"/>
                  </a:lnTo>
                  <a:lnTo>
                    <a:pt x="1049592" y="204292"/>
                  </a:lnTo>
                  <a:lnTo>
                    <a:pt x="1049592" y="203594"/>
                  </a:lnTo>
                  <a:lnTo>
                    <a:pt x="1049592" y="204990"/>
                  </a:lnTo>
                  <a:lnTo>
                    <a:pt x="1049592" y="204292"/>
                  </a:lnTo>
                  <a:lnTo>
                    <a:pt x="1049592" y="204990"/>
                  </a:lnTo>
                  <a:lnTo>
                    <a:pt x="1049592" y="204292"/>
                  </a:lnTo>
                  <a:lnTo>
                    <a:pt x="1049643" y="204292"/>
                  </a:lnTo>
                  <a:lnTo>
                    <a:pt x="1049643" y="204990"/>
                  </a:lnTo>
                  <a:lnTo>
                    <a:pt x="1049643" y="204292"/>
                  </a:lnTo>
                  <a:lnTo>
                    <a:pt x="1049643" y="204990"/>
                  </a:lnTo>
                  <a:lnTo>
                    <a:pt x="1049643" y="204292"/>
                  </a:lnTo>
                  <a:lnTo>
                    <a:pt x="1049744" y="204292"/>
                  </a:lnTo>
                  <a:lnTo>
                    <a:pt x="1049744" y="203594"/>
                  </a:lnTo>
                  <a:lnTo>
                    <a:pt x="1049744" y="204292"/>
                  </a:lnTo>
                  <a:lnTo>
                    <a:pt x="1049744" y="203594"/>
                  </a:lnTo>
                  <a:lnTo>
                    <a:pt x="1049744" y="204292"/>
                  </a:lnTo>
                  <a:lnTo>
                    <a:pt x="1049744" y="203594"/>
                  </a:lnTo>
                  <a:lnTo>
                    <a:pt x="1049795" y="203594"/>
                  </a:lnTo>
                  <a:lnTo>
                    <a:pt x="1049795" y="204292"/>
                  </a:lnTo>
                  <a:lnTo>
                    <a:pt x="1049795" y="202959"/>
                  </a:lnTo>
                  <a:lnTo>
                    <a:pt x="1049846" y="202959"/>
                  </a:lnTo>
                  <a:lnTo>
                    <a:pt x="1049846" y="199530"/>
                  </a:lnTo>
                  <a:lnTo>
                    <a:pt x="1049846" y="202260"/>
                  </a:lnTo>
                  <a:lnTo>
                    <a:pt x="1049884" y="202260"/>
                  </a:lnTo>
                  <a:lnTo>
                    <a:pt x="1049884" y="200228"/>
                  </a:lnTo>
                  <a:lnTo>
                    <a:pt x="1049884" y="200876"/>
                  </a:lnTo>
                  <a:lnTo>
                    <a:pt x="1049884" y="200228"/>
                  </a:lnTo>
                  <a:lnTo>
                    <a:pt x="1049884" y="203594"/>
                  </a:lnTo>
                  <a:lnTo>
                    <a:pt x="1049986" y="202959"/>
                  </a:lnTo>
                  <a:lnTo>
                    <a:pt x="1049986" y="202260"/>
                  </a:lnTo>
                  <a:lnTo>
                    <a:pt x="1049986" y="203594"/>
                  </a:lnTo>
                  <a:lnTo>
                    <a:pt x="1050037" y="203594"/>
                  </a:lnTo>
                  <a:lnTo>
                    <a:pt x="1050037" y="202959"/>
                  </a:lnTo>
                  <a:lnTo>
                    <a:pt x="1050037" y="203594"/>
                  </a:lnTo>
                  <a:lnTo>
                    <a:pt x="1050087" y="203594"/>
                  </a:lnTo>
                  <a:lnTo>
                    <a:pt x="1050087" y="202959"/>
                  </a:lnTo>
                  <a:lnTo>
                    <a:pt x="1050087" y="203594"/>
                  </a:lnTo>
                  <a:lnTo>
                    <a:pt x="1050087" y="202959"/>
                  </a:lnTo>
                  <a:lnTo>
                    <a:pt x="1050087" y="203594"/>
                  </a:lnTo>
                  <a:lnTo>
                    <a:pt x="1050189" y="204292"/>
                  </a:lnTo>
                  <a:lnTo>
                    <a:pt x="1050189" y="203594"/>
                  </a:lnTo>
                  <a:lnTo>
                    <a:pt x="1050189" y="204292"/>
                  </a:lnTo>
                  <a:lnTo>
                    <a:pt x="1050240" y="204292"/>
                  </a:lnTo>
                  <a:lnTo>
                    <a:pt x="1050240" y="203594"/>
                  </a:lnTo>
                  <a:lnTo>
                    <a:pt x="1050290" y="204292"/>
                  </a:lnTo>
                  <a:lnTo>
                    <a:pt x="1050290" y="202959"/>
                  </a:lnTo>
                  <a:lnTo>
                    <a:pt x="1050290" y="203594"/>
                  </a:lnTo>
                  <a:lnTo>
                    <a:pt x="1050290" y="202260"/>
                  </a:lnTo>
                  <a:lnTo>
                    <a:pt x="1050341" y="202260"/>
                  </a:lnTo>
                  <a:lnTo>
                    <a:pt x="1050341" y="199530"/>
                  </a:lnTo>
                  <a:lnTo>
                    <a:pt x="1050341" y="200876"/>
                  </a:lnTo>
                  <a:lnTo>
                    <a:pt x="1050430" y="202260"/>
                  </a:lnTo>
                  <a:lnTo>
                    <a:pt x="1050430" y="200228"/>
                  </a:lnTo>
                  <a:lnTo>
                    <a:pt x="1050430" y="202959"/>
                  </a:lnTo>
                  <a:lnTo>
                    <a:pt x="1050430" y="202260"/>
                  </a:lnTo>
                  <a:lnTo>
                    <a:pt x="1050481" y="202959"/>
                  </a:lnTo>
                  <a:lnTo>
                    <a:pt x="1050481" y="200876"/>
                  </a:lnTo>
                  <a:lnTo>
                    <a:pt x="1050481" y="203594"/>
                  </a:lnTo>
                  <a:lnTo>
                    <a:pt x="1050532" y="203594"/>
                  </a:lnTo>
                  <a:lnTo>
                    <a:pt x="1050532" y="202260"/>
                  </a:lnTo>
                  <a:lnTo>
                    <a:pt x="1050532" y="203594"/>
                  </a:lnTo>
                  <a:lnTo>
                    <a:pt x="1050532" y="202959"/>
                  </a:lnTo>
                  <a:lnTo>
                    <a:pt x="1050532" y="203594"/>
                  </a:lnTo>
                  <a:lnTo>
                    <a:pt x="1050532" y="202959"/>
                  </a:lnTo>
                  <a:lnTo>
                    <a:pt x="1050583" y="203594"/>
                  </a:lnTo>
                  <a:lnTo>
                    <a:pt x="1050583" y="202959"/>
                  </a:lnTo>
                  <a:lnTo>
                    <a:pt x="1050583" y="204292"/>
                  </a:lnTo>
                  <a:lnTo>
                    <a:pt x="1050583" y="202959"/>
                  </a:lnTo>
                  <a:lnTo>
                    <a:pt x="1050684" y="203594"/>
                  </a:lnTo>
                  <a:lnTo>
                    <a:pt x="1050684" y="204292"/>
                  </a:lnTo>
                  <a:lnTo>
                    <a:pt x="1050684" y="203594"/>
                  </a:lnTo>
                  <a:lnTo>
                    <a:pt x="1050684" y="204292"/>
                  </a:lnTo>
                  <a:lnTo>
                    <a:pt x="1050735" y="204292"/>
                  </a:lnTo>
                  <a:lnTo>
                    <a:pt x="1050735" y="203594"/>
                  </a:lnTo>
                  <a:lnTo>
                    <a:pt x="1050735" y="204292"/>
                  </a:lnTo>
                  <a:lnTo>
                    <a:pt x="1050735" y="203594"/>
                  </a:lnTo>
                  <a:lnTo>
                    <a:pt x="1050786" y="204292"/>
                  </a:lnTo>
                  <a:lnTo>
                    <a:pt x="1050786" y="203594"/>
                  </a:lnTo>
                  <a:lnTo>
                    <a:pt x="1050786" y="204292"/>
                  </a:lnTo>
                  <a:lnTo>
                    <a:pt x="1050786" y="202959"/>
                  </a:lnTo>
                  <a:lnTo>
                    <a:pt x="1050786" y="203594"/>
                  </a:lnTo>
                  <a:lnTo>
                    <a:pt x="1050786" y="202959"/>
                  </a:lnTo>
                  <a:lnTo>
                    <a:pt x="1050786" y="203594"/>
                  </a:lnTo>
                  <a:lnTo>
                    <a:pt x="1050786" y="202260"/>
                  </a:lnTo>
                  <a:lnTo>
                    <a:pt x="1050887" y="202260"/>
                  </a:lnTo>
                  <a:lnTo>
                    <a:pt x="1050887" y="200228"/>
                  </a:lnTo>
                  <a:lnTo>
                    <a:pt x="1050887" y="202260"/>
                  </a:lnTo>
                  <a:lnTo>
                    <a:pt x="1050925" y="200876"/>
                  </a:lnTo>
                  <a:lnTo>
                    <a:pt x="1050925" y="200228"/>
                  </a:lnTo>
                  <a:lnTo>
                    <a:pt x="1050925" y="202959"/>
                  </a:lnTo>
                  <a:lnTo>
                    <a:pt x="1050925" y="202260"/>
                  </a:lnTo>
                  <a:lnTo>
                    <a:pt x="1050976" y="202260"/>
                  </a:lnTo>
                  <a:lnTo>
                    <a:pt x="1050976" y="203594"/>
                  </a:lnTo>
                  <a:lnTo>
                    <a:pt x="1050976" y="202260"/>
                  </a:lnTo>
                  <a:lnTo>
                    <a:pt x="1051027" y="202260"/>
                  </a:lnTo>
                  <a:lnTo>
                    <a:pt x="1051027" y="203594"/>
                  </a:lnTo>
                  <a:lnTo>
                    <a:pt x="1051027" y="202959"/>
                  </a:lnTo>
                  <a:lnTo>
                    <a:pt x="1051129" y="202260"/>
                  </a:lnTo>
                  <a:lnTo>
                    <a:pt x="1051129" y="202959"/>
                  </a:lnTo>
                  <a:lnTo>
                    <a:pt x="1051129" y="202260"/>
                  </a:lnTo>
                  <a:lnTo>
                    <a:pt x="1051129" y="203594"/>
                  </a:lnTo>
                  <a:lnTo>
                    <a:pt x="1051180" y="203594"/>
                  </a:lnTo>
                  <a:lnTo>
                    <a:pt x="1051180" y="204292"/>
                  </a:lnTo>
                  <a:lnTo>
                    <a:pt x="1051180" y="203594"/>
                  </a:lnTo>
                  <a:lnTo>
                    <a:pt x="1051180" y="204292"/>
                  </a:lnTo>
                  <a:lnTo>
                    <a:pt x="1051230" y="203594"/>
                  </a:lnTo>
                  <a:lnTo>
                    <a:pt x="1051230" y="204292"/>
                  </a:lnTo>
                  <a:lnTo>
                    <a:pt x="1051230" y="203594"/>
                  </a:lnTo>
                  <a:lnTo>
                    <a:pt x="1051230" y="204292"/>
                  </a:lnTo>
                  <a:lnTo>
                    <a:pt x="1051230" y="203594"/>
                  </a:lnTo>
                  <a:lnTo>
                    <a:pt x="1051332" y="203594"/>
                  </a:lnTo>
                  <a:lnTo>
                    <a:pt x="1051332" y="200876"/>
                  </a:lnTo>
                  <a:lnTo>
                    <a:pt x="1051332" y="202260"/>
                  </a:lnTo>
                  <a:lnTo>
                    <a:pt x="1051383" y="202260"/>
                  </a:lnTo>
                  <a:lnTo>
                    <a:pt x="1051383" y="204292"/>
                  </a:lnTo>
                  <a:lnTo>
                    <a:pt x="1051383" y="202260"/>
                  </a:lnTo>
                  <a:lnTo>
                    <a:pt x="1051383" y="203594"/>
                  </a:lnTo>
                  <a:lnTo>
                    <a:pt x="1051434" y="204292"/>
                  </a:lnTo>
                  <a:lnTo>
                    <a:pt x="1051434" y="206324"/>
                  </a:lnTo>
                  <a:lnTo>
                    <a:pt x="1051434" y="203594"/>
                  </a:lnTo>
                  <a:lnTo>
                    <a:pt x="1051434" y="204990"/>
                  </a:lnTo>
                  <a:lnTo>
                    <a:pt x="1051472" y="204990"/>
                  </a:lnTo>
                  <a:lnTo>
                    <a:pt x="1051472" y="203594"/>
                  </a:lnTo>
                  <a:lnTo>
                    <a:pt x="1051472" y="204990"/>
                  </a:lnTo>
                  <a:lnTo>
                    <a:pt x="1051472" y="204292"/>
                  </a:lnTo>
                  <a:lnTo>
                    <a:pt x="1051573" y="204292"/>
                  </a:lnTo>
                  <a:lnTo>
                    <a:pt x="1051573" y="204990"/>
                  </a:lnTo>
                  <a:lnTo>
                    <a:pt x="1051573" y="204292"/>
                  </a:lnTo>
                  <a:lnTo>
                    <a:pt x="1051573" y="204990"/>
                  </a:lnTo>
                  <a:lnTo>
                    <a:pt x="1051573" y="203594"/>
                  </a:lnTo>
                  <a:lnTo>
                    <a:pt x="1051573" y="204292"/>
                  </a:lnTo>
                  <a:lnTo>
                    <a:pt x="1051776" y="204292"/>
                  </a:lnTo>
                  <a:lnTo>
                    <a:pt x="1051776" y="202959"/>
                  </a:lnTo>
                  <a:lnTo>
                    <a:pt x="1051776" y="203594"/>
                  </a:lnTo>
                  <a:lnTo>
                    <a:pt x="1051776" y="202959"/>
                  </a:lnTo>
                  <a:lnTo>
                    <a:pt x="1051776" y="203594"/>
                  </a:lnTo>
                  <a:lnTo>
                    <a:pt x="1051776" y="202959"/>
                  </a:lnTo>
                  <a:lnTo>
                    <a:pt x="1051827" y="202959"/>
                  </a:lnTo>
                  <a:lnTo>
                    <a:pt x="1051827" y="202260"/>
                  </a:lnTo>
                  <a:lnTo>
                    <a:pt x="1051827" y="204292"/>
                  </a:lnTo>
                  <a:lnTo>
                    <a:pt x="1051878" y="203594"/>
                  </a:lnTo>
                  <a:lnTo>
                    <a:pt x="1051878" y="202260"/>
                  </a:lnTo>
                  <a:lnTo>
                    <a:pt x="1051878" y="206324"/>
                  </a:lnTo>
                  <a:lnTo>
                    <a:pt x="1051878" y="204990"/>
                  </a:lnTo>
                  <a:lnTo>
                    <a:pt x="1051929" y="204990"/>
                  </a:lnTo>
                  <a:lnTo>
                    <a:pt x="1051929" y="204292"/>
                  </a:lnTo>
                  <a:lnTo>
                    <a:pt x="1051929" y="206324"/>
                  </a:lnTo>
                  <a:lnTo>
                    <a:pt x="1051929" y="204990"/>
                  </a:lnTo>
                  <a:lnTo>
                    <a:pt x="1052069" y="204990"/>
                  </a:lnTo>
                  <a:lnTo>
                    <a:pt x="1052069" y="204292"/>
                  </a:lnTo>
                  <a:lnTo>
                    <a:pt x="1052069" y="204990"/>
                  </a:lnTo>
                  <a:lnTo>
                    <a:pt x="1052069" y="204292"/>
                  </a:lnTo>
                  <a:lnTo>
                    <a:pt x="1052170" y="204292"/>
                  </a:lnTo>
                  <a:lnTo>
                    <a:pt x="1052170" y="203594"/>
                  </a:lnTo>
                  <a:lnTo>
                    <a:pt x="1052272" y="202959"/>
                  </a:lnTo>
                  <a:lnTo>
                    <a:pt x="1052272" y="203594"/>
                  </a:lnTo>
                  <a:lnTo>
                    <a:pt x="1052272" y="200228"/>
                  </a:lnTo>
                  <a:lnTo>
                    <a:pt x="1052322" y="200228"/>
                  </a:lnTo>
                  <a:lnTo>
                    <a:pt x="1052322" y="200876"/>
                  </a:lnTo>
                  <a:lnTo>
                    <a:pt x="1052322" y="200228"/>
                  </a:lnTo>
                  <a:lnTo>
                    <a:pt x="1052322" y="202959"/>
                  </a:lnTo>
                  <a:lnTo>
                    <a:pt x="1052322" y="200228"/>
                  </a:lnTo>
                  <a:lnTo>
                    <a:pt x="1052373" y="200228"/>
                  </a:lnTo>
                  <a:lnTo>
                    <a:pt x="1052373" y="204292"/>
                  </a:lnTo>
                  <a:lnTo>
                    <a:pt x="1052373" y="203594"/>
                  </a:lnTo>
                  <a:lnTo>
                    <a:pt x="1052373" y="204292"/>
                  </a:lnTo>
                  <a:lnTo>
                    <a:pt x="1052373" y="202959"/>
                  </a:lnTo>
                  <a:lnTo>
                    <a:pt x="1052475" y="202959"/>
                  </a:lnTo>
                  <a:lnTo>
                    <a:pt x="1052475" y="204292"/>
                  </a:lnTo>
                  <a:lnTo>
                    <a:pt x="1052475" y="203594"/>
                  </a:lnTo>
                  <a:lnTo>
                    <a:pt x="1052513" y="203594"/>
                  </a:lnTo>
                  <a:lnTo>
                    <a:pt x="1052513" y="204990"/>
                  </a:lnTo>
                  <a:lnTo>
                    <a:pt x="1052513" y="204292"/>
                  </a:lnTo>
                  <a:lnTo>
                    <a:pt x="1052564" y="204292"/>
                  </a:lnTo>
                  <a:lnTo>
                    <a:pt x="1052564" y="204990"/>
                  </a:lnTo>
                  <a:lnTo>
                    <a:pt x="1052564" y="204292"/>
                  </a:lnTo>
                  <a:lnTo>
                    <a:pt x="1052564" y="204990"/>
                  </a:lnTo>
                  <a:lnTo>
                    <a:pt x="1052564" y="204292"/>
                  </a:lnTo>
                  <a:lnTo>
                    <a:pt x="1052564" y="204990"/>
                  </a:lnTo>
                  <a:lnTo>
                    <a:pt x="1052564" y="204292"/>
                  </a:lnTo>
                  <a:lnTo>
                    <a:pt x="1052564" y="204990"/>
                  </a:lnTo>
                  <a:lnTo>
                    <a:pt x="1052716" y="204990"/>
                  </a:lnTo>
                  <a:lnTo>
                    <a:pt x="1052716" y="203594"/>
                  </a:lnTo>
                  <a:lnTo>
                    <a:pt x="1052767" y="203594"/>
                  </a:lnTo>
                  <a:lnTo>
                    <a:pt x="1052767" y="200876"/>
                  </a:lnTo>
                  <a:lnTo>
                    <a:pt x="1052818" y="200876"/>
                  </a:lnTo>
                  <a:lnTo>
                    <a:pt x="1052818" y="202959"/>
                  </a:lnTo>
                  <a:lnTo>
                    <a:pt x="1052818" y="200876"/>
                  </a:lnTo>
                  <a:lnTo>
                    <a:pt x="1052818" y="202260"/>
                  </a:lnTo>
                  <a:lnTo>
                    <a:pt x="1052919" y="202959"/>
                  </a:lnTo>
                  <a:lnTo>
                    <a:pt x="1052919" y="204292"/>
                  </a:lnTo>
                  <a:lnTo>
                    <a:pt x="1052919" y="202959"/>
                  </a:lnTo>
                  <a:lnTo>
                    <a:pt x="1052919" y="203594"/>
                  </a:lnTo>
                  <a:lnTo>
                    <a:pt x="1052970" y="203594"/>
                  </a:lnTo>
                  <a:lnTo>
                    <a:pt x="1052970" y="204292"/>
                  </a:lnTo>
                  <a:lnTo>
                    <a:pt x="1052970" y="203594"/>
                  </a:lnTo>
                  <a:lnTo>
                    <a:pt x="1053021" y="204292"/>
                  </a:lnTo>
                  <a:lnTo>
                    <a:pt x="1053021" y="203594"/>
                  </a:lnTo>
                  <a:lnTo>
                    <a:pt x="1053021" y="204292"/>
                  </a:lnTo>
                  <a:lnTo>
                    <a:pt x="1053021" y="203594"/>
                  </a:lnTo>
                  <a:lnTo>
                    <a:pt x="1053021" y="204292"/>
                  </a:lnTo>
                  <a:lnTo>
                    <a:pt x="1053021" y="203594"/>
                  </a:lnTo>
                  <a:lnTo>
                    <a:pt x="1053021" y="204292"/>
                  </a:lnTo>
                  <a:lnTo>
                    <a:pt x="1053059" y="204292"/>
                  </a:lnTo>
                  <a:lnTo>
                    <a:pt x="1053059" y="204990"/>
                  </a:lnTo>
                  <a:lnTo>
                    <a:pt x="1053059" y="204292"/>
                  </a:lnTo>
                  <a:lnTo>
                    <a:pt x="1053059" y="204990"/>
                  </a:lnTo>
                  <a:lnTo>
                    <a:pt x="1053059" y="204292"/>
                  </a:lnTo>
                  <a:lnTo>
                    <a:pt x="1053059" y="204990"/>
                  </a:lnTo>
                  <a:lnTo>
                    <a:pt x="1053161" y="204292"/>
                  </a:lnTo>
                  <a:lnTo>
                    <a:pt x="1053161" y="204990"/>
                  </a:lnTo>
                  <a:lnTo>
                    <a:pt x="1053161" y="204292"/>
                  </a:lnTo>
                  <a:lnTo>
                    <a:pt x="1053161" y="204990"/>
                  </a:lnTo>
                  <a:lnTo>
                    <a:pt x="1053161" y="204292"/>
                  </a:lnTo>
                  <a:lnTo>
                    <a:pt x="1053212" y="204292"/>
                  </a:lnTo>
                  <a:lnTo>
                    <a:pt x="1053212" y="203594"/>
                  </a:lnTo>
                  <a:lnTo>
                    <a:pt x="1053212" y="204292"/>
                  </a:lnTo>
                  <a:lnTo>
                    <a:pt x="1053212" y="203594"/>
                  </a:lnTo>
                  <a:lnTo>
                    <a:pt x="1053262" y="202959"/>
                  </a:lnTo>
                  <a:lnTo>
                    <a:pt x="1053262" y="200228"/>
                  </a:lnTo>
                  <a:lnTo>
                    <a:pt x="1053364" y="200228"/>
                  </a:lnTo>
                  <a:lnTo>
                    <a:pt x="1053364" y="202260"/>
                  </a:lnTo>
                  <a:lnTo>
                    <a:pt x="1053364" y="200876"/>
                  </a:lnTo>
                  <a:lnTo>
                    <a:pt x="1053364" y="202260"/>
                  </a:lnTo>
                  <a:lnTo>
                    <a:pt x="1053364" y="200228"/>
                  </a:lnTo>
                  <a:lnTo>
                    <a:pt x="1053364" y="200876"/>
                  </a:lnTo>
                  <a:lnTo>
                    <a:pt x="1053364" y="200228"/>
                  </a:lnTo>
                  <a:lnTo>
                    <a:pt x="1053364" y="200876"/>
                  </a:lnTo>
                  <a:lnTo>
                    <a:pt x="1053364" y="200228"/>
                  </a:lnTo>
                  <a:lnTo>
                    <a:pt x="1053415" y="200876"/>
                  </a:lnTo>
                  <a:lnTo>
                    <a:pt x="1053415" y="203594"/>
                  </a:lnTo>
                  <a:lnTo>
                    <a:pt x="1053415" y="202260"/>
                  </a:lnTo>
                  <a:lnTo>
                    <a:pt x="1053415" y="202959"/>
                  </a:lnTo>
                  <a:lnTo>
                    <a:pt x="1053415" y="202260"/>
                  </a:lnTo>
                  <a:lnTo>
                    <a:pt x="1053415" y="202959"/>
                  </a:lnTo>
                  <a:lnTo>
                    <a:pt x="1053465" y="202959"/>
                  </a:lnTo>
                  <a:lnTo>
                    <a:pt x="1053465" y="203594"/>
                  </a:lnTo>
                  <a:lnTo>
                    <a:pt x="1053465" y="202260"/>
                  </a:lnTo>
                  <a:lnTo>
                    <a:pt x="1053465" y="202959"/>
                  </a:lnTo>
                  <a:lnTo>
                    <a:pt x="1053516" y="203594"/>
                  </a:lnTo>
                  <a:lnTo>
                    <a:pt x="1053516" y="202959"/>
                  </a:lnTo>
                  <a:lnTo>
                    <a:pt x="1053516" y="203594"/>
                  </a:lnTo>
                  <a:lnTo>
                    <a:pt x="1053516" y="202959"/>
                  </a:lnTo>
                  <a:lnTo>
                    <a:pt x="1053516" y="204292"/>
                  </a:lnTo>
                  <a:lnTo>
                    <a:pt x="1053605" y="204292"/>
                  </a:lnTo>
                  <a:lnTo>
                    <a:pt x="1053605" y="204990"/>
                  </a:lnTo>
                  <a:lnTo>
                    <a:pt x="1053605" y="204292"/>
                  </a:lnTo>
                  <a:lnTo>
                    <a:pt x="1053605" y="204990"/>
                  </a:lnTo>
                  <a:lnTo>
                    <a:pt x="1053656" y="204990"/>
                  </a:lnTo>
                  <a:lnTo>
                    <a:pt x="1053656" y="204292"/>
                  </a:lnTo>
                  <a:lnTo>
                    <a:pt x="1053707" y="204292"/>
                  </a:lnTo>
                  <a:lnTo>
                    <a:pt x="1053707" y="202959"/>
                  </a:lnTo>
                  <a:lnTo>
                    <a:pt x="1053758" y="202959"/>
                  </a:lnTo>
                  <a:lnTo>
                    <a:pt x="1053758" y="202260"/>
                  </a:lnTo>
                  <a:lnTo>
                    <a:pt x="1053758" y="202959"/>
                  </a:lnTo>
                  <a:lnTo>
                    <a:pt x="1053758" y="202260"/>
                  </a:lnTo>
                  <a:lnTo>
                    <a:pt x="1053758" y="202959"/>
                  </a:lnTo>
                  <a:lnTo>
                    <a:pt x="1053758" y="200876"/>
                  </a:lnTo>
                  <a:lnTo>
                    <a:pt x="1053758" y="202959"/>
                  </a:lnTo>
                  <a:lnTo>
                    <a:pt x="1053859" y="202959"/>
                  </a:lnTo>
                  <a:lnTo>
                    <a:pt x="1053859" y="200876"/>
                  </a:lnTo>
                  <a:lnTo>
                    <a:pt x="1053859" y="204292"/>
                  </a:lnTo>
                  <a:lnTo>
                    <a:pt x="1053910" y="204292"/>
                  </a:lnTo>
                  <a:lnTo>
                    <a:pt x="1053910" y="202260"/>
                  </a:lnTo>
                  <a:lnTo>
                    <a:pt x="1053910" y="203594"/>
                  </a:lnTo>
                  <a:lnTo>
                    <a:pt x="1053961" y="203594"/>
                  </a:lnTo>
                  <a:lnTo>
                    <a:pt x="1053961" y="202260"/>
                  </a:lnTo>
                  <a:lnTo>
                    <a:pt x="1053961" y="202959"/>
                  </a:lnTo>
                  <a:lnTo>
                    <a:pt x="1054062" y="202959"/>
                  </a:lnTo>
                  <a:lnTo>
                    <a:pt x="1054062" y="202260"/>
                  </a:lnTo>
                  <a:lnTo>
                    <a:pt x="1054062" y="203594"/>
                  </a:lnTo>
                  <a:lnTo>
                    <a:pt x="1054100" y="203594"/>
                  </a:lnTo>
                  <a:lnTo>
                    <a:pt x="1054100" y="204292"/>
                  </a:lnTo>
                  <a:lnTo>
                    <a:pt x="1054100" y="203594"/>
                  </a:lnTo>
                  <a:lnTo>
                    <a:pt x="1054100" y="204292"/>
                  </a:lnTo>
                  <a:lnTo>
                    <a:pt x="1054151" y="204292"/>
                  </a:lnTo>
                  <a:lnTo>
                    <a:pt x="1054151" y="203594"/>
                  </a:lnTo>
                  <a:lnTo>
                    <a:pt x="1054151" y="204292"/>
                  </a:lnTo>
                  <a:lnTo>
                    <a:pt x="1054151" y="203594"/>
                  </a:lnTo>
                  <a:lnTo>
                    <a:pt x="1054202" y="203594"/>
                  </a:lnTo>
                  <a:lnTo>
                    <a:pt x="1054202" y="202959"/>
                  </a:lnTo>
                  <a:lnTo>
                    <a:pt x="1054202" y="203594"/>
                  </a:lnTo>
                  <a:lnTo>
                    <a:pt x="1054202" y="202959"/>
                  </a:lnTo>
                  <a:lnTo>
                    <a:pt x="1054304" y="202959"/>
                  </a:lnTo>
                  <a:lnTo>
                    <a:pt x="1054304" y="202260"/>
                  </a:lnTo>
                  <a:lnTo>
                    <a:pt x="1054304" y="203594"/>
                  </a:lnTo>
                  <a:lnTo>
                    <a:pt x="1054304" y="202959"/>
                  </a:lnTo>
                  <a:lnTo>
                    <a:pt x="1054355" y="202959"/>
                  </a:lnTo>
                  <a:lnTo>
                    <a:pt x="1054355" y="204990"/>
                  </a:lnTo>
                  <a:lnTo>
                    <a:pt x="1054355" y="204292"/>
                  </a:lnTo>
                  <a:lnTo>
                    <a:pt x="1054405" y="204292"/>
                  </a:lnTo>
                  <a:lnTo>
                    <a:pt x="1054405" y="203594"/>
                  </a:lnTo>
                  <a:lnTo>
                    <a:pt x="1054405" y="204292"/>
                  </a:lnTo>
                  <a:lnTo>
                    <a:pt x="1054405" y="203594"/>
                  </a:lnTo>
                  <a:lnTo>
                    <a:pt x="1054405" y="204292"/>
                  </a:lnTo>
                  <a:lnTo>
                    <a:pt x="1054507" y="204292"/>
                  </a:lnTo>
                  <a:lnTo>
                    <a:pt x="1054507" y="203594"/>
                  </a:lnTo>
                  <a:lnTo>
                    <a:pt x="1054507" y="204292"/>
                  </a:lnTo>
                  <a:lnTo>
                    <a:pt x="1054507" y="203594"/>
                  </a:lnTo>
                  <a:lnTo>
                    <a:pt x="1054507" y="204292"/>
                  </a:lnTo>
                  <a:lnTo>
                    <a:pt x="1054507" y="203594"/>
                  </a:lnTo>
                  <a:lnTo>
                    <a:pt x="1054507" y="204292"/>
                  </a:lnTo>
                  <a:lnTo>
                    <a:pt x="1054558" y="204292"/>
                  </a:lnTo>
                  <a:lnTo>
                    <a:pt x="1054558" y="204990"/>
                  </a:lnTo>
                  <a:lnTo>
                    <a:pt x="1054558" y="204292"/>
                  </a:lnTo>
                  <a:lnTo>
                    <a:pt x="1054558" y="204990"/>
                  </a:lnTo>
                  <a:lnTo>
                    <a:pt x="1054609" y="204990"/>
                  </a:lnTo>
                  <a:lnTo>
                    <a:pt x="1054609" y="204292"/>
                  </a:lnTo>
                  <a:lnTo>
                    <a:pt x="1054609" y="204990"/>
                  </a:lnTo>
                  <a:lnTo>
                    <a:pt x="1054609" y="204292"/>
                  </a:lnTo>
                  <a:lnTo>
                    <a:pt x="1054609" y="204990"/>
                  </a:lnTo>
                  <a:lnTo>
                    <a:pt x="1054647" y="204990"/>
                  </a:lnTo>
                  <a:lnTo>
                    <a:pt x="1054647" y="204292"/>
                  </a:lnTo>
                  <a:lnTo>
                    <a:pt x="1054647" y="204990"/>
                  </a:lnTo>
                  <a:lnTo>
                    <a:pt x="1054647" y="203594"/>
                  </a:lnTo>
                  <a:lnTo>
                    <a:pt x="1054748" y="203594"/>
                  </a:lnTo>
                  <a:lnTo>
                    <a:pt x="1054748" y="204292"/>
                  </a:lnTo>
                  <a:lnTo>
                    <a:pt x="1054748" y="202260"/>
                  </a:lnTo>
                  <a:lnTo>
                    <a:pt x="1054748" y="202959"/>
                  </a:lnTo>
                  <a:lnTo>
                    <a:pt x="1054799" y="202959"/>
                  </a:lnTo>
                  <a:lnTo>
                    <a:pt x="1054799" y="202260"/>
                  </a:lnTo>
                  <a:lnTo>
                    <a:pt x="1054799" y="203594"/>
                  </a:lnTo>
                  <a:lnTo>
                    <a:pt x="1054799" y="202959"/>
                  </a:lnTo>
                  <a:lnTo>
                    <a:pt x="1054799" y="203594"/>
                  </a:lnTo>
                  <a:lnTo>
                    <a:pt x="1054850" y="202959"/>
                  </a:lnTo>
                  <a:lnTo>
                    <a:pt x="1054850" y="204990"/>
                  </a:lnTo>
                  <a:lnTo>
                    <a:pt x="1054850" y="204292"/>
                  </a:lnTo>
                  <a:lnTo>
                    <a:pt x="1054850" y="204990"/>
                  </a:lnTo>
                  <a:lnTo>
                    <a:pt x="1054850" y="204292"/>
                  </a:lnTo>
                  <a:lnTo>
                    <a:pt x="1054951" y="204292"/>
                  </a:lnTo>
                  <a:lnTo>
                    <a:pt x="1054951" y="204990"/>
                  </a:lnTo>
                  <a:lnTo>
                    <a:pt x="1054951" y="204292"/>
                  </a:lnTo>
                  <a:lnTo>
                    <a:pt x="1054951" y="204990"/>
                  </a:lnTo>
                  <a:lnTo>
                    <a:pt x="1055002" y="204292"/>
                  </a:lnTo>
                  <a:lnTo>
                    <a:pt x="1055053" y="204990"/>
                  </a:lnTo>
                  <a:lnTo>
                    <a:pt x="1055053" y="204292"/>
                  </a:lnTo>
                  <a:lnTo>
                    <a:pt x="1055053" y="204990"/>
                  </a:lnTo>
                  <a:lnTo>
                    <a:pt x="1055053" y="204292"/>
                  </a:lnTo>
                  <a:lnTo>
                    <a:pt x="1055053" y="204990"/>
                  </a:lnTo>
                  <a:lnTo>
                    <a:pt x="1055053" y="204292"/>
                  </a:lnTo>
                  <a:lnTo>
                    <a:pt x="1055053" y="204990"/>
                  </a:lnTo>
                  <a:lnTo>
                    <a:pt x="1055104" y="204990"/>
                  </a:lnTo>
                  <a:lnTo>
                    <a:pt x="1055104" y="203594"/>
                  </a:lnTo>
                  <a:lnTo>
                    <a:pt x="1055104" y="204292"/>
                  </a:lnTo>
                  <a:lnTo>
                    <a:pt x="1055104" y="203594"/>
                  </a:lnTo>
                  <a:lnTo>
                    <a:pt x="1055193" y="203594"/>
                  </a:lnTo>
                  <a:lnTo>
                    <a:pt x="1055193" y="202959"/>
                  </a:lnTo>
                  <a:lnTo>
                    <a:pt x="1055193" y="203594"/>
                  </a:lnTo>
                  <a:lnTo>
                    <a:pt x="1055193" y="202959"/>
                  </a:lnTo>
                  <a:lnTo>
                    <a:pt x="1055244" y="202959"/>
                  </a:lnTo>
                  <a:lnTo>
                    <a:pt x="1055244" y="202260"/>
                  </a:lnTo>
                  <a:lnTo>
                    <a:pt x="1055244" y="202959"/>
                  </a:lnTo>
                  <a:lnTo>
                    <a:pt x="1055244" y="200228"/>
                  </a:lnTo>
                  <a:lnTo>
                    <a:pt x="1055244" y="200876"/>
                  </a:lnTo>
                  <a:lnTo>
                    <a:pt x="1055294" y="200876"/>
                  </a:lnTo>
                  <a:lnTo>
                    <a:pt x="1055294" y="200228"/>
                  </a:lnTo>
                  <a:lnTo>
                    <a:pt x="1055294" y="202260"/>
                  </a:lnTo>
                  <a:lnTo>
                    <a:pt x="1055294" y="200876"/>
                  </a:lnTo>
                  <a:lnTo>
                    <a:pt x="1055345" y="200876"/>
                  </a:lnTo>
                  <a:lnTo>
                    <a:pt x="1055345" y="200228"/>
                  </a:lnTo>
                  <a:lnTo>
                    <a:pt x="1055345" y="203594"/>
                  </a:lnTo>
                  <a:lnTo>
                    <a:pt x="1055345" y="202260"/>
                  </a:lnTo>
                  <a:lnTo>
                    <a:pt x="1055447" y="202260"/>
                  </a:lnTo>
                  <a:lnTo>
                    <a:pt x="1055447" y="203594"/>
                  </a:lnTo>
                  <a:lnTo>
                    <a:pt x="1055447" y="202959"/>
                  </a:lnTo>
                  <a:lnTo>
                    <a:pt x="1055497" y="202959"/>
                  </a:lnTo>
                  <a:lnTo>
                    <a:pt x="1055497" y="204292"/>
                  </a:lnTo>
                  <a:lnTo>
                    <a:pt x="1055548" y="204292"/>
                  </a:lnTo>
                  <a:lnTo>
                    <a:pt x="1055548" y="204990"/>
                  </a:lnTo>
                  <a:lnTo>
                    <a:pt x="1055548" y="204292"/>
                  </a:lnTo>
                  <a:lnTo>
                    <a:pt x="1055548" y="204990"/>
                  </a:lnTo>
                  <a:lnTo>
                    <a:pt x="1055548" y="204292"/>
                  </a:lnTo>
                  <a:lnTo>
                    <a:pt x="1055650" y="204292"/>
                  </a:lnTo>
                  <a:lnTo>
                    <a:pt x="1055650" y="204990"/>
                  </a:lnTo>
                  <a:lnTo>
                    <a:pt x="1055650" y="204292"/>
                  </a:lnTo>
                  <a:lnTo>
                    <a:pt x="1055650" y="204990"/>
                  </a:lnTo>
                  <a:lnTo>
                    <a:pt x="1055650" y="204292"/>
                  </a:lnTo>
                  <a:lnTo>
                    <a:pt x="1055650" y="204990"/>
                  </a:lnTo>
                  <a:lnTo>
                    <a:pt x="1055650" y="203594"/>
                  </a:lnTo>
                  <a:lnTo>
                    <a:pt x="1055688" y="203594"/>
                  </a:lnTo>
                  <a:lnTo>
                    <a:pt x="1055688" y="204292"/>
                  </a:lnTo>
                  <a:lnTo>
                    <a:pt x="1055688" y="202959"/>
                  </a:lnTo>
                  <a:lnTo>
                    <a:pt x="1055688" y="203594"/>
                  </a:lnTo>
                  <a:lnTo>
                    <a:pt x="1055688" y="202959"/>
                  </a:lnTo>
                  <a:lnTo>
                    <a:pt x="1055739" y="202959"/>
                  </a:lnTo>
                  <a:lnTo>
                    <a:pt x="1055739" y="200228"/>
                  </a:lnTo>
                  <a:lnTo>
                    <a:pt x="1055790" y="200228"/>
                  </a:lnTo>
                  <a:lnTo>
                    <a:pt x="1055790" y="199530"/>
                  </a:lnTo>
                  <a:lnTo>
                    <a:pt x="1055790" y="202260"/>
                  </a:lnTo>
                  <a:lnTo>
                    <a:pt x="1055790" y="200228"/>
                  </a:lnTo>
                  <a:lnTo>
                    <a:pt x="1055891" y="200228"/>
                  </a:lnTo>
                  <a:lnTo>
                    <a:pt x="1055891" y="199530"/>
                  </a:lnTo>
                  <a:lnTo>
                    <a:pt x="1055891" y="202959"/>
                  </a:lnTo>
                  <a:lnTo>
                    <a:pt x="1055891" y="200228"/>
                  </a:lnTo>
                  <a:lnTo>
                    <a:pt x="1055942" y="200876"/>
                  </a:lnTo>
                  <a:lnTo>
                    <a:pt x="1055942" y="202959"/>
                  </a:lnTo>
                  <a:lnTo>
                    <a:pt x="1055942" y="202260"/>
                  </a:lnTo>
                  <a:lnTo>
                    <a:pt x="1055993" y="200876"/>
                  </a:lnTo>
                  <a:lnTo>
                    <a:pt x="1055993" y="202959"/>
                  </a:lnTo>
                  <a:lnTo>
                    <a:pt x="1056094" y="202959"/>
                  </a:lnTo>
                  <a:lnTo>
                    <a:pt x="1056094" y="203594"/>
                  </a:lnTo>
                  <a:lnTo>
                    <a:pt x="1056094" y="202959"/>
                  </a:lnTo>
                  <a:lnTo>
                    <a:pt x="1056094" y="204292"/>
                  </a:lnTo>
                  <a:lnTo>
                    <a:pt x="1056094" y="203594"/>
                  </a:lnTo>
                  <a:lnTo>
                    <a:pt x="1056145" y="203594"/>
                  </a:lnTo>
                  <a:lnTo>
                    <a:pt x="1056145" y="204292"/>
                  </a:lnTo>
                  <a:lnTo>
                    <a:pt x="1056145" y="203594"/>
                  </a:lnTo>
                  <a:lnTo>
                    <a:pt x="1056145" y="204292"/>
                  </a:lnTo>
                  <a:lnTo>
                    <a:pt x="1056145" y="202959"/>
                  </a:lnTo>
                  <a:lnTo>
                    <a:pt x="1056145" y="203594"/>
                  </a:lnTo>
                  <a:lnTo>
                    <a:pt x="1056196" y="203594"/>
                  </a:lnTo>
                  <a:lnTo>
                    <a:pt x="1056196" y="204292"/>
                  </a:lnTo>
                  <a:lnTo>
                    <a:pt x="1056196" y="202959"/>
                  </a:lnTo>
                  <a:lnTo>
                    <a:pt x="1056234" y="202959"/>
                  </a:lnTo>
                  <a:lnTo>
                    <a:pt x="1056234" y="200876"/>
                  </a:lnTo>
                  <a:lnTo>
                    <a:pt x="1056336" y="200876"/>
                  </a:lnTo>
                  <a:lnTo>
                    <a:pt x="1056336" y="200228"/>
                  </a:lnTo>
                  <a:lnTo>
                    <a:pt x="1056336" y="202959"/>
                  </a:lnTo>
                  <a:lnTo>
                    <a:pt x="1056336" y="200876"/>
                  </a:lnTo>
                  <a:lnTo>
                    <a:pt x="1056387" y="200876"/>
                  </a:lnTo>
                  <a:lnTo>
                    <a:pt x="1056387" y="203594"/>
                  </a:lnTo>
                  <a:lnTo>
                    <a:pt x="1056387" y="202260"/>
                  </a:lnTo>
                  <a:lnTo>
                    <a:pt x="1056387" y="202959"/>
                  </a:lnTo>
                  <a:lnTo>
                    <a:pt x="1056387" y="202260"/>
                  </a:lnTo>
                  <a:lnTo>
                    <a:pt x="1056437" y="202260"/>
                  </a:lnTo>
                  <a:lnTo>
                    <a:pt x="1056437" y="202959"/>
                  </a:lnTo>
                  <a:lnTo>
                    <a:pt x="1056437" y="202260"/>
                  </a:lnTo>
                  <a:lnTo>
                    <a:pt x="1056437" y="202959"/>
                  </a:lnTo>
                  <a:lnTo>
                    <a:pt x="1056539" y="202959"/>
                  </a:lnTo>
                  <a:lnTo>
                    <a:pt x="1056539" y="203594"/>
                  </a:lnTo>
                  <a:lnTo>
                    <a:pt x="1056539" y="202959"/>
                  </a:lnTo>
                  <a:lnTo>
                    <a:pt x="1056539" y="203594"/>
                  </a:lnTo>
                  <a:lnTo>
                    <a:pt x="1056539" y="202959"/>
                  </a:lnTo>
                  <a:lnTo>
                    <a:pt x="1056539" y="203594"/>
                  </a:lnTo>
                  <a:lnTo>
                    <a:pt x="1056539" y="202959"/>
                  </a:lnTo>
                  <a:lnTo>
                    <a:pt x="1056539" y="203594"/>
                  </a:lnTo>
                  <a:lnTo>
                    <a:pt x="1056539" y="202959"/>
                  </a:lnTo>
                  <a:lnTo>
                    <a:pt x="1056539" y="203594"/>
                  </a:lnTo>
                  <a:lnTo>
                    <a:pt x="1056590" y="203594"/>
                  </a:lnTo>
                  <a:lnTo>
                    <a:pt x="1056590" y="204292"/>
                  </a:lnTo>
                  <a:lnTo>
                    <a:pt x="1056590" y="203594"/>
                  </a:lnTo>
                  <a:lnTo>
                    <a:pt x="1056590" y="204292"/>
                  </a:lnTo>
                  <a:lnTo>
                    <a:pt x="1056640" y="204292"/>
                  </a:lnTo>
                  <a:lnTo>
                    <a:pt x="1056640" y="203594"/>
                  </a:lnTo>
                  <a:lnTo>
                    <a:pt x="1056691" y="203594"/>
                  </a:lnTo>
                  <a:lnTo>
                    <a:pt x="1056691" y="202959"/>
                  </a:lnTo>
                  <a:lnTo>
                    <a:pt x="1056780" y="203594"/>
                  </a:lnTo>
                  <a:lnTo>
                    <a:pt x="1056780" y="202959"/>
                  </a:lnTo>
                  <a:lnTo>
                    <a:pt x="1056780" y="203594"/>
                  </a:lnTo>
                  <a:lnTo>
                    <a:pt x="1056780" y="200876"/>
                  </a:lnTo>
                  <a:lnTo>
                    <a:pt x="1056780" y="202260"/>
                  </a:lnTo>
                  <a:lnTo>
                    <a:pt x="1056780" y="200876"/>
                  </a:lnTo>
                  <a:lnTo>
                    <a:pt x="1056780" y="202260"/>
                  </a:lnTo>
                  <a:lnTo>
                    <a:pt x="1056831" y="202959"/>
                  </a:lnTo>
                  <a:lnTo>
                    <a:pt x="1056831" y="202260"/>
                  </a:lnTo>
                  <a:lnTo>
                    <a:pt x="1056831" y="202959"/>
                  </a:lnTo>
                  <a:lnTo>
                    <a:pt x="1056831" y="202260"/>
                  </a:lnTo>
                  <a:lnTo>
                    <a:pt x="1056831" y="202959"/>
                  </a:lnTo>
                  <a:lnTo>
                    <a:pt x="1056831" y="200876"/>
                  </a:lnTo>
                  <a:lnTo>
                    <a:pt x="1056831" y="203594"/>
                  </a:lnTo>
                  <a:lnTo>
                    <a:pt x="1056882" y="203594"/>
                  </a:lnTo>
                  <a:lnTo>
                    <a:pt x="1056882" y="202260"/>
                  </a:lnTo>
                  <a:lnTo>
                    <a:pt x="1056882" y="203594"/>
                  </a:lnTo>
                  <a:lnTo>
                    <a:pt x="1056933" y="203594"/>
                  </a:lnTo>
                  <a:lnTo>
                    <a:pt x="1056933" y="202959"/>
                  </a:lnTo>
                  <a:lnTo>
                    <a:pt x="1056933" y="203594"/>
                  </a:lnTo>
                  <a:lnTo>
                    <a:pt x="1057034" y="202959"/>
                  </a:lnTo>
                  <a:lnTo>
                    <a:pt x="1057034" y="203594"/>
                  </a:lnTo>
                  <a:lnTo>
                    <a:pt x="1057034" y="202959"/>
                  </a:lnTo>
                  <a:lnTo>
                    <a:pt x="1057034" y="203594"/>
                  </a:lnTo>
                  <a:lnTo>
                    <a:pt x="1057034" y="202959"/>
                  </a:lnTo>
                  <a:lnTo>
                    <a:pt x="1057034" y="203594"/>
                  </a:lnTo>
                  <a:lnTo>
                    <a:pt x="1057085" y="203594"/>
                  </a:lnTo>
                  <a:lnTo>
                    <a:pt x="1057085" y="202959"/>
                  </a:lnTo>
                  <a:lnTo>
                    <a:pt x="1057085" y="203594"/>
                  </a:lnTo>
                  <a:lnTo>
                    <a:pt x="1057085" y="202959"/>
                  </a:lnTo>
                  <a:lnTo>
                    <a:pt x="1057085" y="203594"/>
                  </a:lnTo>
                  <a:lnTo>
                    <a:pt x="1057085" y="202959"/>
                  </a:lnTo>
                  <a:lnTo>
                    <a:pt x="1057085" y="203594"/>
                  </a:lnTo>
                  <a:lnTo>
                    <a:pt x="1057085" y="202959"/>
                  </a:lnTo>
                  <a:lnTo>
                    <a:pt x="1057085" y="203594"/>
                  </a:lnTo>
                  <a:lnTo>
                    <a:pt x="1057085" y="202959"/>
                  </a:lnTo>
                  <a:lnTo>
                    <a:pt x="1057085" y="203594"/>
                  </a:lnTo>
                  <a:lnTo>
                    <a:pt x="1057085" y="202959"/>
                  </a:lnTo>
                  <a:lnTo>
                    <a:pt x="1057136" y="202959"/>
                  </a:lnTo>
                  <a:lnTo>
                    <a:pt x="1057136" y="203594"/>
                  </a:lnTo>
                  <a:lnTo>
                    <a:pt x="1057136" y="202959"/>
                  </a:lnTo>
                  <a:lnTo>
                    <a:pt x="1057136" y="203594"/>
                  </a:lnTo>
                  <a:lnTo>
                    <a:pt x="1057237" y="203594"/>
                  </a:lnTo>
                  <a:lnTo>
                    <a:pt x="1057237" y="202959"/>
                  </a:lnTo>
                  <a:lnTo>
                    <a:pt x="1057237" y="203594"/>
                  </a:lnTo>
                  <a:lnTo>
                    <a:pt x="1057237" y="202260"/>
                  </a:lnTo>
                  <a:lnTo>
                    <a:pt x="1057275" y="202260"/>
                  </a:lnTo>
                  <a:lnTo>
                    <a:pt x="1057275" y="203594"/>
                  </a:lnTo>
                  <a:lnTo>
                    <a:pt x="1057326" y="202959"/>
                  </a:lnTo>
                  <a:lnTo>
                    <a:pt x="1057326" y="202260"/>
                  </a:lnTo>
                  <a:lnTo>
                    <a:pt x="1057326" y="204292"/>
                  </a:lnTo>
                  <a:lnTo>
                    <a:pt x="1057326" y="203594"/>
                  </a:lnTo>
                  <a:lnTo>
                    <a:pt x="1057377" y="203594"/>
                  </a:lnTo>
                  <a:lnTo>
                    <a:pt x="1057377" y="202959"/>
                  </a:lnTo>
                  <a:lnTo>
                    <a:pt x="1057377" y="204292"/>
                  </a:lnTo>
                  <a:lnTo>
                    <a:pt x="1057377" y="203594"/>
                  </a:lnTo>
                  <a:lnTo>
                    <a:pt x="1057479" y="204292"/>
                  </a:lnTo>
                  <a:lnTo>
                    <a:pt x="1057479" y="204990"/>
                  </a:lnTo>
                  <a:lnTo>
                    <a:pt x="1057479" y="204292"/>
                  </a:lnTo>
                  <a:lnTo>
                    <a:pt x="1057479" y="204990"/>
                  </a:lnTo>
                  <a:lnTo>
                    <a:pt x="1057479" y="204292"/>
                  </a:lnTo>
                  <a:lnTo>
                    <a:pt x="1057530" y="204292"/>
                  </a:lnTo>
                  <a:lnTo>
                    <a:pt x="1057530" y="204990"/>
                  </a:lnTo>
                  <a:lnTo>
                    <a:pt x="1057530" y="204292"/>
                  </a:lnTo>
                  <a:lnTo>
                    <a:pt x="1057580" y="204292"/>
                  </a:lnTo>
                  <a:lnTo>
                    <a:pt x="1057580" y="204990"/>
                  </a:lnTo>
                  <a:lnTo>
                    <a:pt x="1057580" y="203594"/>
                  </a:lnTo>
                  <a:lnTo>
                    <a:pt x="1057580" y="204292"/>
                  </a:lnTo>
                  <a:lnTo>
                    <a:pt x="1057580" y="203594"/>
                  </a:lnTo>
                  <a:lnTo>
                    <a:pt x="1057580" y="204292"/>
                  </a:lnTo>
                  <a:lnTo>
                    <a:pt x="1057682" y="204292"/>
                  </a:lnTo>
                  <a:lnTo>
                    <a:pt x="1057682" y="203594"/>
                  </a:lnTo>
                  <a:lnTo>
                    <a:pt x="1057682" y="204292"/>
                  </a:lnTo>
                  <a:lnTo>
                    <a:pt x="1057682" y="203594"/>
                  </a:lnTo>
                  <a:lnTo>
                    <a:pt x="1057682" y="204292"/>
                  </a:lnTo>
                  <a:lnTo>
                    <a:pt x="1057733" y="204292"/>
                  </a:lnTo>
                  <a:lnTo>
                    <a:pt x="1057733" y="202260"/>
                  </a:lnTo>
                  <a:lnTo>
                    <a:pt x="1057784" y="200876"/>
                  </a:lnTo>
                  <a:lnTo>
                    <a:pt x="1057784" y="203594"/>
                  </a:lnTo>
                  <a:lnTo>
                    <a:pt x="1057784" y="202260"/>
                  </a:lnTo>
                  <a:lnTo>
                    <a:pt x="1057822" y="202260"/>
                  </a:lnTo>
                  <a:lnTo>
                    <a:pt x="1057822" y="204292"/>
                  </a:lnTo>
                  <a:lnTo>
                    <a:pt x="1057822" y="202959"/>
                  </a:lnTo>
                  <a:lnTo>
                    <a:pt x="1057822" y="203594"/>
                  </a:lnTo>
                  <a:lnTo>
                    <a:pt x="1057923" y="203594"/>
                  </a:lnTo>
                  <a:lnTo>
                    <a:pt x="1057923" y="204990"/>
                  </a:lnTo>
                  <a:lnTo>
                    <a:pt x="1057923" y="203594"/>
                  </a:lnTo>
                  <a:lnTo>
                    <a:pt x="1057923" y="204292"/>
                  </a:lnTo>
                  <a:lnTo>
                    <a:pt x="1057974" y="204292"/>
                  </a:lnTo>
                  <a:lnTo>
                    <a:pt x="1057974" y="204990"/>
                  </a:lnTo>
                  <a:lnTo>
                    <a:pt x="1057974" y="204292"/>
                  </a:lnTo>
                  <a:lnTo>
                    <a:pt x="1057974" y="204990"/>
                  </a:lnTo>
                  <a:lnTo>
                    <a:pt x="1057974" y="204292"/>
                  </a:lnTo>
                  <a:lnTo>
                    <a:pt x="1058025" y="204292"/>
                  </a:lnTo>
                  <a:lnTo>
                    <a:pt x="1058025" y="204990"/>
                  </a:lnTo>
                  <a:lnTo>
                    <a:pt x="1058025" y="204292"/>
                  </a:lnTo>
                  <a:lnTo>
                    <a:pt x="1058025" y="204990"/>
                  </a:lnTo>
                  <a:lnTo>
                    <a:pt x="1058025" y="204292"/>
                  </a:lnTo>
                  <a:lnTo>
                    <a:pt x="1058126" y="204292"/>
                  </a:lnTo>
                  <a:lnTo>
                    <a:pt x="1058126" y="203594"/>
                  </a:lnTo>
                  <a:lnTo>
                    <a:pt x="1058126" y="204292"/>
                  </a:lnTo>
                  <a:lnTo>
                    <a:pt x="1058126" y="203594"/>
                  </a:lnTo>
                  <a:lnTo>
                    <a:pt x="1058126" y="204292"/>
                  </a:lnTo>
                  <a:lnTo>
                    <a:pt x="1058126" y="203594"/>
                  </a:lnTo>
                  <a:lnTo>
                    <a:pt x="1058177" y="203594"/>
                  </a:lnTo>
                  <a:lnTo>
                    <a:pt x="1058177" y="204292"/>
                  </a:lnTo>
                  <a:lnTo>
                    <a:pt x="1058177" y="202959"/>
                  </a:lnTo>
                  <a:lnTo>
                    <a:pt x="1058177" y="203594"/>
                  </a:lnTo>
                  <a:lnTo>
                    <a:pt x="1058177" y="202959"/>
                  </a:lnTo>
                  <a:lnTo>
                    <a:pt x="1058228" y="202959"/>
                  </a:lnTo>
                  <a:lnTo>
                    <a:pt x="1058228" y="200876"/>
                  </a:lnTo>
                  <a:lnTo>
                    <a:pt x="1058228" y="202260"/>
                  </a:lnTo>
                  <a:lnTo>
                    <a:pt x="1058228" y="200228"/>
                  </a:lnTo>
                  <a:lnTo>
                    <a:pt x="1058279" y="200876"/>
                  </a:lnTo>
                  <a:lnTo>
                    <a:pt x="1058279" y="202959"/>
                  </a:lnTo>
                  <a:lnTo>
                    <a:pt x="1058279" y="200228"/>
                  </a:lnTo>
                  <a:lnTo>
                    <a:pt x="1058279" y="202959"/>
                  </a:lnTo>
                  <a:lnTo>
                    <a:pt x="1058368" y="202959"/>
                  </a:lnTo>
                  <a:lnTo>
                    <a:pt x="1058368" y="204292"/>
                  </a:lnTo>
                  <a:lnTo>
                    <a:pt x="1058368" y="202260"/>
                  </a:lnTo>
                  <a:lnTo>
                    <a:pt x="1058368" y="204292"/>
                  </a:lnTo>
                  <a:lnTo>
                    <a:pt x="1058419" y="204292"/>
                  </a:lnTo>
                  <a:lnTo>
                    <a:pt x="1058419" y="202959"/>
                  </a:lnTo>
                  <a:lnTo>
                    <a:pt x="1058419" y="204292"/>
                  </a:lnTo>
                  <a:lnTo>
                    <a:pt x="1058469" y="204990"/>
                  </a:lnTo>
                  <a:lnTo>
                    <a:pt x="1058469" y="204292"/>
                  </a:lnTo>
                  <a:lnTo>
                    <a:pt x="1058520" y="204990"/>
                  </a:lnTo>
                  <a:lnTo>
                    <a:pt x="1058520" y="204292"/>
                  </a:lnTo>
                  <a:lnTo>
                    <a:pt x="1058520" y="204990"/>
                  </a:lnTo>
                  <a:lnTo>
                    <a:pt x="1058520" y="204292"/>
                  </a:lnTo>
                  <a:lnTo>
                    <a:pt x="1058520" y="204990"/>
                  </a:lnTo>
                  <a:lnTo>
                    <a:pt x="1058622" y="204990"/>
                  </a:lnTo>
                  <a:lnTo>
                    <a:pt x="1058622" y="204292"/>
                  </a:lnTo>
                  <a:lnTo>
                    <a:pt x="1058672" y="204292"/>
                  </a:lnTo>
                  <a:lnTo>
                    <a:pt x="1058672" y="203594"/>
                  </a:lnTo>
                  <a:lnTo>
                    <a:pt x="1058672" y="204292"/>
                  </a:lnTo>
                  <a:lnTo>
                    <a:pt x="1058672" y="202959"/>
                  </a:lnTo>
                  <a:lnTo>
                    <a:pt x="1058723" y="202959"/>
                  </a:lnTo>
                  <a:lnTo>
                    <a:pt x="1058723" y="202260"/>
                  </a:lnTo>
                  <a:lnTo>
                    <a:pt x="1058723" y="202959"/>
                  </a:lnTo>
                  <a:lnTo>
                    <a:pt x="1058723" y="200228"/>
                  </a:lnTo>
                  <a:lnTo>
                    <a:pt x="1058723" y="202959"/>
                  </a:lnTo>
                  <a:lnTo>
                    <a:pt x="1058825" y="202959"/>
                  </a:lnTo>
                  <a:lnTo>
                    <a:pt x="1058825" y="200228"/>
                  </a:lnTo>
                  <a:lnTo>
                    <a:pt x="1058825" y="204292"/>
                  </a:lnTo>
                  <a:lnTo>
                    <a:pt x="1058825" y="203594"/>
                  </a:lnTo>
                  <a:lnTo>
                    <a:pt x="1058863" y="202959"/>
                  </a:lnTo>
                  <a:lnTo>
                    <a:pt x="1058863" y="202260"/>
                  </a:lnTo>
                  <a:lnTo>
                    <a:pt x="1058863" y="204292"/>
                  </a:lnTo>
                  <a:lnTo>
                    <a:pt x="1058863" y="203594"/>
                  </a:lnTo>
                  <a:lnTo>
                    <a:pt x="1058863" y="204292"/>
                  </a:lnTo>
                  <a:lnTo>
                    <a:pt x="1058863" y="203594"/>
                  </a:lnTo>
                  <a:lnTo>
                    <a:pt x="1058914" y="203594"/>
                  </a:lnTo>
                  <a:lnTo>
                    <a:pt x="1058914" y="202959"/>
                  </a:lnTo>
                  <a:lnTo>
                    <a:pt x="1058914" y="204292"/>
                  </a:lnTo>
                  <a:lnTo>
                    <a:pt x="1058914" y="203594"/>
                  </a:lnTo>
                  <a:lnTo>
                    <a:pt x="1058914" y="204292"/>
                  </a:lnTo>
                  <a:lnTo>
                    <a:pt x="1058914" y="203594"/>
                  </a:lnTo>
                  <a:lnTo>
                    <a:pt x="1058914" y="204292"/>
                  </a:lnTo>
                  <a:lnTo>
                    <a:pt x="1058914" y="203594"/>
                  </a:lnTo>
                  <a:lnTo>
                    <a:pt x="1058965" y="203594"/>
                  </a:lnTo>
                  <a:lnTo>
                    <a:pt x="1058965" y="204292"/>
                  </a:lnTo>
                  <a:lnTo>
                    <a:pt x="1058965" y="203594"/>
                  </a:lnTo>
                  <a:lnTo>
                    <a:pt x="1058965" y="204292"/>
                  </a:lnTo>
                  <a:lnTo>
                    <a:pt x="1059066" y="203594"/>
                  </a:lnTo>
                  <a:lnTo>
                    <a:pt x="1059066" y="204292"/>
                  </a:lnTo>
                  <a:lnTo>
                    <a:pt x="1059066" y="203594"/>
                  </a:lnTo>
                  <a:lnTo>
                    <a:pt x="1059117" y="204292"/>
                  </a:lnTo>
                  <a:lnTo>
                    <a:pt x="1059117" y="203594"/>
                  </a:lnTo>
                  <a:lnTo>
                    <a:pt x="1059117" y="204292"/>
                  </a:lnTo>
                  <a:lnTo>
                    <a:pt x="1059117" y="202959"/>
                  </a:lnTo>
                  <a:lnTo>
                    <a:pt x="1059117" y="203594"/>
                  </a:lnTo>
                  <a:lnTo>
                    <a:pt x="1059117" y="202959"/>
                  </a:lnTo>
                  <a:lnTo>
                    <a:pt x="1059168" y="202959"/>
                  </a:lnTo>
                  <a:lnTo>
                    <a:pt x="1059168" y="203594"/>
                  </a:lnTo>
                  <a:lnTo>
                    <a:pt x="1059168" y="202260"/>
                  </a:lnTo>
                  <a:lnTo>
                    <a:pt x="1059269" y="202260"/>
                  </a:lnTo>
                  <a:lnTo>
                    <a:pt x="1059269" y="199530"/>
                  </a:lnTo>
                  <a:lnTo>
                    <a:pt x="1059269" y="200228"/>
                  </a:lnTo>
                  <a:lnTo>
                    <a:pt x="1059269" y="198831"/>
                  </a:lnTo>
                  <a:lnTo>
                    <a:pt x="1059269" y="200228"/>
                  </a:lnTo>
                  <a:lnTo>
                    <a:pt x="1059320" y="200876"/>
                  </a:lnTo>
                  <a:lnTo>
                    <a:pt x="1059320" y="198831"/>
                  </a:lnTo>
                  <a:lnTo>
                    <a:pt x="1059320" y="202959"/>
                  </a:lnTo>
                  <a:lnTo>
                    <a:pt x="1059371" y="202260"/>
                  </a:lnTo>
                  <a:lnTo>
                    <a:pt x="1059371" y="200876"/>
                  </a:lnTo>
                  <a:lnTo>
                    <a:pt x="1059371" y="202260"/>
                  </a:lnTo>
                  <a:lnTo>
                    <a:pt x="1059409" y="202260"/>
                  </a:lnTo>
                  <a:lnTo>
                    <a:pt x="1059409" y="202959"/>
                  </a:lnTo>
                  <a:lnTo>
                    <a:pt x="1059511" y="202260"/>
                  </a:lnTo>
                  <a:lnTo>
                    <a:pt x="1059511" y="202959"/>
                  </a:lnTo>
                  <a:lnTo>
                    <a:pt x="1059562" y="202959"/>
                  </a:lnTo>
                  <a:lnTo>
                    <a:pt x="1059562" y="203594"/>
                  </a:lnTo>
                  <a:lnTo>
                    <a:pt x="1059562" y="202959"/>
                  </a:lnTo>
                  <a:lnTo>
                    <a:pt x="1059562" y="204292"/>
                  </a:lnTo>
                  <a:lnTo>
                    <a:pt x="1059562" y="203594"/>
                  </a:lnTo>
                  <a:lnTo>
                    <a:pt x="1059562" y="204292"/>
                  </a:lnTo>
                  <a:lnTo>
                    <a:pt x="1059612" y="203594"/>
                  </a:lnTo>
                  <a:lnTo>
                    <a:pt x="1059612" y="204292"/>
                  </a:lnTo>
                  <a:lnTo>
                    <a:pt x="1059612" y="203594"/>
                  </a:lnTo>
                  <a:lnTo>
                    <a:pt x="1059612" y="204292"/>
                  </a:lnTo>
                  <a:lnTo>
                    <a:pt x="1059612" y="203594"/>
                  </a:lnTo>
                  <a:lnTo>
                    <a:pt x="1059714" y="203594"/>
                  </a:lnTo>
                  <a:lnTo>
                    <a:pt x="1059714" y="200876"/>
                  </a:lnTo>
                  <a:lnTo>
                    <a:pt x="1059765" y="200228"/>
                  </a:lnTo>
                  <a:lnTo>
                    <a:pt x="1059765" y="200876"/>
                  </a:lnTo>
                  <a:lnTo>
                    <a:pt x="1059765" y="198831"/>
                  </a:lnTo>
                  <a:lnTo>
                    <a:pt x="1059815" y="198831"/>
                  </a:lnTo>
                  <a:lnTo>
                    <a:pt x="1059815" y="199530"/>
                  </a:lnTo>
                  <a:lnTo>
                    <a:pt x="1059815" y="198831"/>
                  </a:lnTo>
                  <a:lnTo>
                    <a:pt x="1059815" y="199530"/>
                  </a:lnTo>
                  <a:lnTo>
                    <a:pt x="1059815" y="197447"/>
                  </a:lnTo>
                  <a:lnTo>
                    <a:pt x="1059815" y="198831"/>
                  </a:lnTo>
                  <a:lnTo>
                    <a:pt x="1059866" y="199530"/>
                  </a:lnTo>
                  <a:lnTo>
                    <a:pt x="1059866" y="200228"/>
                  </a:lnTo>
                  <a:lnTo>
                    <a:pt x="1059866" y="199530"/>
                  </a:lnTo>
                  <a:lnTo>
                    <a:pt x="1059866" y="200228"/>
                  </a:lnTo>
                  <a:lnTo>
                    <a:pt x="1059955" y="200228"/>
                  </a:lnTo>
                  <a:lnTo>
                    <a:pt x="1059955" y="200876"/>
                  </a:lnTo>
                  <a:lnTo>
                    <a:pt x="1059955" y="199530"/>
                  </a:lnTo>
                  <a:lnTo>
                    <a:pt x="1059955" y="200876"/>
                  </a:lnTo>
                  <a:lnTo>
                    <a:pt x="1060006" y="200876"/>
                  </a:lnTo>
                  <a:lnTo>
                    <a:pt x="1060006" y="202260"/>
                  </a:lnTo>
                  <a:lnTo>
                    <a:pt x="1060057" y="202260"/>
                  </a:lnTo>
                  <a:lnTo>
                    <a:pt x="1060057" y="203594"/>
                  </a:lnTo>
                  <a:lnTo>
                    <a:pt x="1060057" y="202959"/>
                  </a:lnTo>
                  <a:lnTo>
                    <a:pt x="1060108" y="202959"/>
                  </a:lnTo>
                  <a:lnTo>
                    <a:pt x="1060108" y="204292"/>
                  </a:lnTo>
                  <a:lnTo>
                    <a:pt x="1060108" y="203594"/>
                  </a:lnTo>
                  <a:lnTo>
                    <a:pt x="1060209" y="203594"/>
                  </a:lnTo>
                  <a:lnTo>
                    <a:pt x="1060209" y="202959"/>
                  </a:lnTo>
                  <a:lnTo>
                    <a:pt x="1060209" y="203594"/>
                  </a:lnTo>
                  <a:lnTo>
                    <a:pt x="1060209" y="202260"/>
                  </a:lnTo>
                  <a:lnTo>
                    <a:pt x="1060260" y="202260"/>
                  </a:lnTo>
                  <a:lnTo>
                    <a:pt x="1060260" y="200876"/>
                  </a:lnTo>
                  <a:lnTo>
                    <a:pt x="1060260" y="202260"/>
                  </a:lnTo>
                  <a:lnTo>
                    <a:pt x="1060311" y="202260"/>
                  </a:lnTo>
                  <a:lnTo>
                    <a:pt x="1060311" y="200876"/>
                  </a:lnTo>
                  <a:lnTo>
                    <a:pt x="1060311" y="202959"/>
                  </a:lnTo>
                  <a:lnTo>
                    <a:pt x="1060311" y="200228"/>
                  </a:lnTo>
                  <a:lnTo>
                    <a:pt x="1060311" y="203594"/>
                  </a:lnTo>
                  <a:lnTo>
                    <a:pt x="1060412" y="202959"/>
                  </a:lnTo>
                  <a:lnTo>
                    <a:pt x="1060412" y="202260"/>
                  </a:lnTo>
                  <a:lnTo>
                    <a:pt x="1060412" y="203594"/>
                  </a:lnTo>
                  <a:lnTo>
                    <a:pt x="1060450" y="202959"/>
                  </a:lnTo>
                  <a:lnTo>
                    <a:pt x="1060450" y="202260"/>
                  </a:lnTo>
                  <a:lnTo>
                    <a:pt x="1060450" y="202959"/>
                  </a:lnTo>
                  <a:lnTo>
                    <a:pt x="1060450" y="202260"/>
                  </a:lnTo>
                  <a:lnTo>
                    <a:pt x="1060450" y="202959"/>
                  </a:lnTo>
                  <a:lnTo>
                    <a:pt x="1060501" y="202260"/>
                  </a:lnTo>
                  <a:lnTo>
                    <a:pt x="1060501" y="202959"/>
                  </a:lnTo>
                  <a:lnTo>
                    <a:pt x="1060501" y="202260"/>
                  </a:lnTo>
                  <a:lnTo>
                    <a:pt x="1060501" y="202959"/>
                  </a:lnTo>
                  <a:lnTo>
                    <a:pt x="1060552" y="202959"/>
                  </a:lnTo>
                  <a:lnTo>
                    <a:pt x="1060552" y="204292"/>
                  </a:lnTo>
                  <a:lnTo>
                    <a:pt x="1060552" y="203594"/>
                  </a:lnTo>
                  <a:lnTo>
                    <a:pt x="1060552" y="204292"/>
                  </a:lnTo>
                  <a:lnTo>
                    <a:pt x="1060552" y="203594"/>
                  </a:lnTo>
                  <a:lnTo>
                    <a:pt x="1060552" y="204292"/>
                  </a:lnTo>
                  <a:lnTo>
                    <a:pt x="1060552" y="203594"/>
                  </a:lnTo>
                  <a:lnTo>
                    <a:pt x="1060654" y="203594"/>
                  </a:lnTo>
                  <a:lnTo>
                    <a:pt x="1060654" y="204292"/>
                  </a:lnTo>
                  <a:lnTo>
                    <a:pt x="1060654" y="203594"/>
                  </a:lnTo>
                  <a:lnTo>
                    <a:pt x="1060705" y="203594"/>
                  </a:lnTo>
                  <a:lnTo>
                    <a:pt x="1060705" y="202959"/>
                  </a:lnTo>
                  <a:lnTo>
                    <a:pt x="1060705" y="203594"/>
                  </a:lnTo>
                  <a:lnTo>
                    <a:pt x="1060705" y="202260"/>
                  </a:lnTo>
                  <a:lnTo>
                    <a:pt x="1060755" y="200876"/>
                  </a:lnTo>
                  <a:lnTo>
                    <a:pt x="1060755" y="203594"/>
                  </a:lnTo>
                  <a:lnTo>
                    <a:pt x="1060755" y="202260"/>
                  </a:lnTo>
                  <a:lnTo>
                    <a:pt x="1060755" y="202959"/>
                  </a:lnTo>
                  <a:lnTo>
                    <a:pt x="1060857" y="202959"/>
                  </a:lnTo>
                  <a:lnTo>
                    <a:pt x="1060857" y="204990"/>
                  </a:lnTo>
                  <a:lnTo>
                    <a:pt x="1060857" y="203594"/>
                  </a:lnTo>
                  <a:lnTo>
                    <a:pt x="1060908" y="204292"/>
                  </a:lnTo>
                  <a:lnTo>
                    <a:pt x="1060908" y="203594"/>
                  </a:lnTo>
                  <a:lnTo>
                    <a:pt x="1060908" y="204990"/>
                  </a:lnTo>
                  <a:lnTo>
                    <a:pt x="1060908" y="203594"/>
                  </a:lnTo>
                  <a:lnTo>
                    <a:pt x="1060959" y="203594"/>
                  </a:lnTo>
                  <a:lnTo>
                    <a:pt x="1060959" y="204292"/>
                  </a:lnTo>
                  <a:lnTo>
                    <a:pt x="1060959" y="203594"/>
                  </a:lnTo>
                  <a:lnTo>
                    <a:pt x="1060959" y="204292"/>
                  </a:lnTo>
                  <a:lnTo>
                    <a:pt x="1060959" y="203594"/>
                  </a:lnTo>
                  <a:lnTo>
                    <a:pt x="1060959" y="204292"/>
                  </a:lnTo>
                  <a:lnTo>
                    <a:pt x="1060997" y="203594"/>
                  </a:lnTo>
                  <a:lnTo>
                    <a:pt x="1060997" y="204292"/>
                  </a:lnTo>
                  <a:lnTo>
                    <a:pt x="1060997" y="203594"/>
                  </a:lnTo>
                  <a:lnTo>
                    <a:pt x="1060997" y="204292"/>
                  </a:lnTo>
                  <a:lnTo>
                    <a:pt x="1061098" y="204292"/>
                  </a:lnTo>
                  <a:lnTo>
                    <a:pt x="1061098" y="203594"/>
                  </a:lnTo>
                  <a:lnTo>
                    <a:pt x="1061149" y="203594"/>
                  </a:lnTo>
                  <a:lnTo>
                    <a:pt x="1061149" y="202959"/>
                  </a:lnTo>
                  <a:lnTo>
                    <a:pt x="1061149" y="203594"/>
                  </a:lnTo>
                  <a:lnTo>
                    <a:pt x="1061149" y="202260"/>
                  </a:lnTo>
                  <a:lnTo>
                    <a:pt x="1061200" y="202260"/>
                  </a:lnTo>
                  <a:lnTo>
                    <a:pt x="1061200" y="202959"/>
                  </a:lnTo>
                  <a:lnTo>
                    <a:pt x="1061200" y="200228"/>
                  </a:lnTo>
                  <a:lnTo>
                    <a:pt x="1061200" y="200876"/>
                  </a:lnTo>
                  <a:lnTo>
                    <a:pt x="1061301" y="202260"/>
                  </a:lnTo>
                  <a:lnTo>
                    <a:pt x="1061301" y="203594"/>
                  </a:lnTo>
                  <a:lnTo>
                    <a:pt x="1061301" y="202260"/>
                  </a:lnTo>
                  <a:lnTo>
                    <a:pt x="1061301" y="204292"/>
                  </a:lnTo>
                  <a:lnTo>
                    <a:pt x="1061352" y="204292"/>
                  </a:lnTo>
                  <a:lnTo>
                    <a:pt x="1061352" y="204990"/>
                  </a:lnTo>
                  <a:lnTo>
                    <a:pt x="1061352" y="203594"/>
                  </a:lnTo>
                  <a:lnTo>
                    <a:pt x="1061352" y="204990"/>
                  </a:lnTo>
                  <a:lnTo>
                    <a:pt x="1061403" y="204990"/>
                  </a:lnTo>
                  <a:lnTo>
                    <a:pt x="1061403" y="204292"/>
                  </a:lnTo>
                  <a:lnTo>
                    <a:pt x="1061403" y="204990"/>
                  </a:lnTo>
                  <a:lnTo>
                    <a:pt x="1061403" y="204292"/>
                  </a:lnTo>
                  <a:lnTo>
                    <a:pt x="1061403" y="204990"/>
                  </a:lnTo>
                  <a:lnTo>
                    <a:pt x="1061454" y="204990"/>
                  </a:lnTo>
                  <a:lnTo>
                    <a:pt x="1061454" y="204292"/>
                  </a:lnTo>
                  <a:lnTo>
                    <a:pt x="1061454" y="204990"/>
                  </a:lnTo>
                  <a:lnTo>
                    <a:pt x="1061454" y="204292"/>
                  </a:lnTo>
                  <a:lnTo>
                    <a:pt x="1061454" y="204990"/>
                  </a:lnTo>
                  <a:lnTo>
                    <a:pt x="1061454" y="204292"/>
                  </a:lnTo>
                  <a:lnTo>
                    <a:pt x="1061454" y="204990"/>
                  </a:lnTo>
                  <a:lnTo>
                    <a:pt x="1061543" y="204990"/>
                  </a:lnTo>
                  <a:lnTo>
                    <a:pt x="1061543" y="204292"/>
                  </a:lnTo>
                  <a:lnTo>
                    <a:pt x="1061543" y="204990"/>
                  </a:lnTo>
                  <a:lnTo>
                    <a:pt x="1061543" y="204292"/>
                  </a:lnTo>
                  <a:lnTo>
                    <a:pt x="1061543" y="204990"/>
                  </a:lnTo>
                  <a:lnTo>
                    <a:pt x="1061594" y="204990"/>
                  </a:lnTo>
                  <a:lnTo>
                    <a:pt x="1061594" y="204292"/>
                  </a:lnTo>
                  <a:lnTo>
                    <a:pt x="1061644" y="203594"/>
                  </a:lnTo>
                  <a:lnTo>
                    <a:pt x="1061644" y="204292"/>
                  </a:lnTo>
                  <a:lnTo>
                    <a:pt x="1061644" y="202959"/>
                  </a:lnTo>
                  <a:lnTo>
                    <a:pt x="1061644" y="203594"/>
                  </a:lnTo>
                  <a:lnTo>
                    <a:pt x="1061644" y="202959"/>
                  </a:lnTo>
                  <a:lnTo>
                    <a:pt x="1061695" y="202959"/>
                  </a:lnTo>
                  <a:lnTo>
                    <a:pt x="1061695" y="202260"/>
                  </a:lnTo>
                  <a:lnTo>
                    <a:pt x="1061695" y="202959"/>
                  </a:lnTo>
                  <a:lnTo>
                    <a:pt x="1061695" y="200876"/>
                  </a:lnTo>
                  <a:lnTo>
                    <a:pt x="1061695" y="203594"/>
                  </a:lnTo>
                  <a:lnTo>
                    <a:pt x="1061797" y="203594"/>
                  </a:lnTo>
                  <a:lnTo>
                    <a:pt x="1061797" y="202260"/>
                  </a:lnTo>
                  <a:lnTo>
                    <a:pt x="1061797" y="204990"/>
                  </a:lnTo>
                  <a:lnTo>
                    <a:pt x="1061847" y="204292"/>
                  </a:lnTo>
                  <a:lnTo>
                    <a:pt x="1061847" y="202959"/>
                  </a:lnTo>
                  <a:lnTo>
                    <a:pt x="1061847" y="204292"/>
                  </a:lnTo>
                  <a:lnTo>
                    <a:pt x="1061898" y="204292"/>
                  </a:lnTo>
                  <a:lnTo>
                    <a:pt x="1061898" y="203594"/>
                  </a:lnTo>
                  <a:lnTo>
                    <a:pt x="1061898" y="204292"/>
                  </a:lnTo>
                  <a:lnTo>
                    <a:pt x="1061898" y="203594"/>
                  </a:lnTo>
                  <a:lnTo>
                    <a:pt x="1061898" y="204292"/>
                  </a:lnTo>
                  <a:lnTo>
                    <a:pt x="1062000" y="204292"/>
                  </a:lnTo>
                  <a:lnTo>
                    <a:pt x="1062000" y="204990"/>
                  </a:lnTo>
                  <a:lnTo>
                    <a:pt x="1062000" y="204292"/>
                  </a:lnTo>
                  <a:lnTo>
                    <a:pt x="1062000" y="204990"/>
                  </a:lnTo>
                  <a:lnTo>
                    <a:pt x="1062038" y="204990"/>
                  </a:lnTo>
                  <a:lnTo>
                    <a:pt x="1062038" y="206324"/>
                  </a:lnTo>
                  <a:lnTo>
                    <a:pt x="1062038" y="204990"/>
                  </a:lnTo>
                  <a:lnTo>
                    <a:pt x="1062038" y="206324"/>
                  </a:lnTo>
                  <a:lnTo>
                    <a:pt x="1062038" y="204292"/>
                  </a:lnTo>
                  <a:lnTo>
                    <a:pt x="1062089" y="204990"/>
                  </a:lnTo>
                  <a:lnTo>
                    <a:pt x="1062089" y="206324"/>
                  </a:lnTo>
                  <a:lnTo>
                    <a:pt x="1062089" y="203594"/>
                  </a:lnTo>
                  <a:lnTo>
                    <a:pt x="1062140" y="202959"/>
                  </a:lnTo>
                  <a:lnTo>
                    <a:pt x="1062140" y="203594"/>
                  </a:lnTo>
                  <a:lnTo>
                    <a:pt x="1062140" y="202959"/>
                  </a:lnTo>
                  <a:lnTo>
                    <a:pt x="1062140" y="203594"/>
                  </a:lnTo>
                  <a:lnTo>
                    <a:pt x="1062140" y="202260"/>
                  </a:lnTo>
                  <a:lnTo>
                    <a:pt x="1062241" y="202260"/>
                  </a:lnTo>
                  <a:lnTo>
                    <a:pt x="1062241" y="200228"/>
                  </a:lnTo>
                  <a:lnTo>
                    <a:pt x="1062241" y="202959"/>
                  </a:lnTo>
                  <a:lnTo>
                    <a:pt x="1062292" y="202260"/>
                  </a:lnTo>
                  <a:lnTo>
                    <a:pt x="1062292" y="200876"/>
                  </a:lnTo>
                  <a:lnTo>
                    <a:pt x="1062292" y="204292"/>
                  </a:lnTo>
                  <a:lnTo>
                    <a:pt x="1062343" y="203594"/>
                  </a:lnTo>
                  <a:lnTo>
                    <a:pt x="1062343" y="202959"/>
                  </a:lnTo>
                  <a:lnTo>
                    <a:pt x="1062343" y="203594"/>
                  </a:lnTo>
                  <a:lnTo>
                    <a:pt x="1062343" y="202959"/>
                  </a:lnTo>
                  <a:lnTo>
                    <a:pt x="1062343" y="203594"/>
                  </a:lnTo>
                  <a:lnTo>
                    <a:pt x="1062444" y="203594"/>
                  </a:lnTo>
                  <a:lnTo>
                    <a:pt x="1062444" y="202959"/>
                  </a:lnTo>
                  <a:lnTo>
                    <a:pt x="1062444" y="203594"/>
                  </a:lnTo>
                  <a:lnTo>
                    <a:pt x="1062495" y="203594"/>
                  </a:lnTo>
                  <a:lnTo>
                    <a:pt x="1062495" y="204292"/>
                  </a:lnTo>
                  <a:lnTo>
                    <a:pt x="1062495" y="203594"/>
                  </a:lnTo>
                  <a:lnTo>
                    <a:pt x="1062495" y="204990"/>
                  </a:lnTo>
                  <a:lnTo>
                    <a:pt x="1062546" y="204292"/>
                  </a:lnTo>
                  <a:lnTo>
                    <a:pt x="1062546" y="206324"/>
                  </a:lnTo>
                  <a:lnTo>
                    <a:pt x="1062546" y="204990"/>
                  </a:lnTo>
                  <a:lnTo>
                    <a:pt x="1062546" y="206324"/>
                  </a:lnTo>
                  <a:lnTo>
                    <a:pt x="1062546" y="204990"/>
                  </a:lnTo>
                  <a:lnTo>
                    <a:pt x="1062546" y="206324"/>
                  </a:lnTo>
                  <a:lnTo>
                    <a:pt x="1062584" y="206324"/>
                  </a:lnTo>
                  <a:lnTo>
                    <a:pt x="1062584" y="204292"/>
                  </a:lnTo>
                  <a:lnTo>
                    <a:pt x="1062686" y="204292"/>
                  </a:lnTo>
                  <a:lnTo>
                    <a:pt x="1062686" y="203594"/>
                  </a:lnTo>
                  <a:lnTo>
                    <a:pt x="1062686" y="204292"/>
                  </a:lnTo>
                  <a:lnTo>
                    <a:pt x="1062686" y="203594"/>
                  </a:lnTo>
                  <a:lnTo>
                    <a:pt x="1062686" y="204292"/>
                  </a:lnTo>
                  <a:lnTo>
                    <a:pt x="1062686" y="203594"/>
                  </a:lnTo>
                  <a:lnTo>
                    <a:pt x="1062686" y="204292"/>
                  </a:lnTo>
                  <a:lnTo>
                    <a:pt x="1062686" y="202959"/>
                  </a:lnTo>
                  <a:lnTo>
                    <a:pt x="1062686" y="203594"/>
                  </a:lnTo>
                  <a:lnTo>
                    <a:pt x="1062686" y="202959"/>
                  </a:lnTo>
                  <a:lnTo>
                    <a:pt x="1062686" y="203594"/>
                  </a:lnTo>
                  <a:lnTo>
                    <a:pt x="1062686" y="202959"/>
                  </a:lnTo>
                  <a:lnTo>
                    <a:pt x="1062737" y="202959"/>
                  </a:lnTo>
                  <a:lnTo>
                    <a:pt x="1062737" y="202260"/>
                  </a:lnTo>
                  <a:lnTo>
                    <a:pt x="1062737" y="203594"/>
                  </a:lnTo>
                  <a:lnTo>
                    <a:pt x="1062737" y="202260"/>
                  </a:lnTo>
                  <a:lnTo>
                    <a:pt x="1062737" y="202959"/>
                  </a:lnTo>
                  <a:lnTo>
                    <a:pt x="1062787" y="202959"/>
                  </a:lnTo>
                  <a:lnTo>
                    <a:pt x="1062787" y="204990"/>
                  </a:lnTo>
                  <a:lnTo>
                    <a:pt x="1062787" y="203594"/>
                  </a:lnTo>
                  <a:lnTo>
                    <a:pt x="1062889" y="204292"/>
                  </a:lnTo>
                  <a:lnTo>
                    <a:pt x="1062889" y="203594"/>
                  </a:lnTo>
                  <a:lnTo>
                    <a:pt x="1062940" y="203594"/>
                  </a:lnTo>
                  <a:lnTo>
                    <a:pt x="1062940" y="204292"/>
                  </a:lnTo>
                  <a:lnTo>
                    <a:pt x="1062940" y="203594"/>
                  </a:lnTo>
                  <a:lnTo>
                    <a:pt x="1062940" y="204292"/>
                  </a:lnTo>
                  <a:lnTo>
                    <a:pt x="1062990" y="204292"/>
                  </a:lnTo>
                  <a:lnTo>
                    <a:pt x="1062990" y="204990"/>
                  </a:lnTo>
                  <a:lnTo>
                    <a:pt x="1062990" y="204292"/>
                  </a:lnTo>
                  <a:lnTo>
                    <a:pt x="1062990" y="204990"/>
                  </a:lnTo>
                  <a:lnTo>
                    <a:pt x="1062990" y="204292"/>
                  </a:lnTo>
                  <a:lnTo>
                    <a:pt x="1062990" y="204990"/>
                  </a:lnTo>
                  <a:lnTo>
                    <a:pt x="1062990" y="204292"/>
                  </a:lnTo>
                  <a:lnTo>
                    <a:pt x="1063041" y="204292"/>
                  </a:lnTo>
                  <a:lnTo>
                    <a:pt x="1063041" y="204990"/>
                  </a:lnTo>
                  <a:lnTo>
                    <a:pt x="1063041" y="204292"/>
                  </a:lnTo>
                  <a:lnTo>
                    <a:pt x="1063130" y="204292"/>
                  </a:lnTo>
                  <a:lnTo>
                    <a:pt x="1063130" y="203594"/>
                  </a:lnTo>
                  <a:lnTo>
                    <a:pt x="1063130" y="204292"/>
                  </a:lnTo>
                  <a:lnTo>
                    <a:pt x="1063130" y="202959"/>
                  </a:lnTo>
                  <a:lnTo>
                    <a:pt x="1063181" y="202959"/>
                  </a:lnTo>
                  <a:lnTo>
                    <a:pt x="1063181" y="204990"/>
                  </a:lnTo>
                  <a:lnTo>
                    <a:pt x="1063181" y="204292"/>
                  </a:lnTo>
                  <a:lnTo>
                    <a:pt x="1063232" y="204292"/>
                  </a:lnTo>
                  <a:lnTo>
                    <a:pt x="1063232" y="207721"/>
                  </a:lnTo>
                  <a:lnTo>
                    <a:pt x="1063232" y="206324"/>
                  </a:lnTo>
                  <a:lnTo>
                    <a:pt x="1063283" y="206324"/>
                  </a:lnTo>
                  <a:lnTo>
                    <a:pt x="1063283" y="208407"/>
                  </a:lnTo>
                  <a:lnTo>
                    <a:pt x="1063283" y="206324"/>
                  </a:lnTo>
                  <a:lnTo>
                    <a:pt x="1063283" y="207022"/>
                  </a:lnTo>
                  <a:lnTo>
                    <a:pt x="1063384" y="207022"/>
                  </a:lnTo>
                  <a:lnTo>
                    <a:pt x="1063384" y="206324"/>
                  </a:lnTo>
                  <a:lnTo>
                    <a:pt x="1063435" y="207022"/>
                  </a:lnTo>
                  <a:lnTo>
                    <a:pt x="1063435" y="204990"/>
                  </a:lnTo>
                  <a:lnTo>
                    <a:pt x="1063435" y="206324"/>
                  </a:lnTo>
                  <a:lnTo>
                    <a:pt x="1063486" y="206324"/>
                  </a:lnTo>
                  <a:lnTo>
                    <a:pt x="1063486" y="204990"/>
                  </a:lnTo>
                  <a:lnTo>
                    <a:pt x="1063486" y="206324"/>
                  </a:lnTo>
                  <a:lnTo>
                    <a:pt x="1063486" y="204990"/>
                  </a:lnTo>
                  <a:lnTo>
                    <a:pt x="1063486" y="206324"/>
                  </a:lnTo>
                  <a:lnTo>
                    <a:pt x="1063486" y="204990"/>
                  </a:lnTo>
                  <a:lnTo>
                    <a:pt x="1063486" y="206324"/>
                  </a:lnTo>
                  <a:lnTo>
                    <a:pt x="1063486" y="204990"/>
                  </a:lnTo>
                  <a:lnTo>
                    <a:pt x="1063587" y="204990"/>
                  </a:lnTo>
                  <a:lnTo>
                    <a:pt x="1063587" y="204292"/>
                  </a:lnTo>
                  <a:lnTo>
                    <a:pt x="1063587" y="204990"/>
                  </a:lnTo>
                  <a:lnTo>
                    <a:pt x="1063587" y="203594"/>
                  </a:lnTo>
                  <a:lnTo>
                    <a:pt x="1063625" y="203594"/>
                  </a:lnTo>
                  <a:lnTo>
                    <a:pt x="1063625" y="200876"/>
                  </a:lnTo>
                  <a:lnTo>
                    <a:pt x="1063676" y="200876"/>
                  </a:lnTo>
                  <a:lnTo>
                    <a:pt x="1063676" y="203594"/>
                  </a:lnTo>
                  <a:lnTo>
                    <a:pt x="1063676" y="202959"/>
                  </a:lnTo>
                  <a:lnTo>
                    <a:pt x="1063676" y="203594"/>
                  </a:lnTo>
                  <a:lnTo>
                    <a:pt x="1063676" y="202959"/>
                  </a:lnTo>
                  <a:lnTo>
                    <a:pt x="1063676" y="203594"/>
                  </a:lnTo>
                  <a:lnTo>
                    <a:pt x="1063727" y="203594"/>
                  </a:lnTo>
                  <a:lnTo>
                    <a:pt x="1063727" y="204990"/>
                  </a:lnTo>
                  <a:lnTo>
                    <a:pt x="1063727" y="204292"/>
                  </a:lnTo>
                  <a:lnTo>
                    <a:pt x="1063829" y="204292"/>
                  </a:lnTo>
                  <a:lnTo>
                    <a:pt x="1063829" y="204990"/>
                  </a:lnTo>
                  <a:lnTo>
                    <a:pt x="1063829" y="204292"/>
                  </a:lnTo>
                  <a:lnTo>
                    <a:pt x="1063829" y="204990"/>
                  </a:lnTo>
                  <a:lnTo>
                    <a:pt x="1063829" y="204292"/>
                  </a:lnTo>
                  <a:lnTo>
                    <a:pt x="1063829" y="204990"/>
                  </a:lnTo>
                  <a:lnTo>
                    <a:pt x="1063880" y="204292"/>
                  </a:lnTo>
                  <a:lnTo>
                    <a:pt x="1063880" y="204990"/>
                  </a:lnTo>
                  <a:lnTo>
                    <a:pt x="1063880" y="204292"/>
                  </a:lnTo>
                  <a:lnTo>
                    <a:pt x="1063880" y="206324"/>
                  </a:lnTo>
                  <a:lnTo>
                    <a:pt x="1063880" y="204990"/>
                  </a:lnTo>
                  <a:lnTo>
                    <a:pt x="1063930" y="204292"/>
                  </a:lnTo>
                  <a:lnTo>
                    <a:pt x="1063930" y="206324"/>
                  </a:lnTo>
                  <a:lnTo>
                    <a:pt x="1063930" y="204990"/>
                  </a:lnTo>
                  <a:lnTo>
                    <a:pt x="1063930" y="206324"/>
                  </a:lnTo>
                  <a:lnTo>
                    <a:pt x="1064032" y="206324"/>
                  </a:lnTo>
                  <a:lnTo>
                    <a:pt x="1064032" y="204292"/>
                  </a:lnTo>
                  <a:lnTo>
                    <a:pt x="1064032" y="204990"/>
                  </a:lnTo>
                  <a:lnTo>
                    <a:pt x="1064032" y="204292"/>
                  </a:lnTo>
                  <a:lnTo>
                    <a:pt x="1064083" y="204292"/>
                  </a:lnTo>
                  <a:lnTo>
                    <a:pt x="1064083" y="202959"/>
                  </a:lnTo>
                  <a:lnTo>
                    <a:pt x="1064083" y="203594"/>
                  </a:lnTo>
                  <a:lnTo>
                    <a:pt x="1064083" y="202260"/>
                  </a:lnTo>
                  <a:lnTo>
                    <a:pt x="1064134" y="202260"/>
                  </a:lnTo>
                  <a:lnTo>
                    <a:pt x="1064134" y="200876"/>
                  </a:lnTo>
                  <a:lnTo>
                    <a:pt x="1064134" y="202260"/>
                  </a:lnTo>
                  <a:lnTo>
                    <a:pt x="1064134" y="200228"/>
                  </a:lnTo>
                  <a:lnTo>
                    <a:pt x="1064134" y="202959"/>
                  </a:lnTo>
                  <a:lnTo>
                    <a:pt x="1064172" y="202959"/>
                  </a:lnTo>
                  <a:lnTo>
                    <a:pt x="1064172" y="200876"/>
                  </a:lnTo>
                  <a:lnTo>
                    <a:pt x="1064172" y="204990"/>
                  </a:lnTo>
                  <a:lnTo>
                    <a:pt x="1064172" y="203594"/>
                  </a:lnTo>
                  <a:lnTo>
                    <a:pt x="1064273" y="203594"/>
                  </a:lnTo>
                  <a:lnTo>
                    <a:pt x="1064273" y="202959"/>
                  </a:lnTo>
                  <a:lnTo>
                    <a:pt x="1064273" y="204292"/>
                  </a:lnTo>
                  <a:lnTo>
                    <a:pt x="1064324" y="204292"/>
                  </a:lnTo>
                  <a:lnTo>
                    <a:pt x="1064324" y="203594"/>
                  </a:lnTo>
                  <a:lnTo>
                    <a:pt x="1064324" y="204990"/>
                  </a:lnTo>
                  <a:lnTo>
                    <a:pt x="1064324" y="204292"/>
                  </a:lnTo>
                  <a:lnTo>
                    <a:pt x="1064324" y="204990"/>
                  </a:lnTo>
                  <a:lnTo>
                    <a:pt x="1064324" y="204292"/>
                  </a:lnTo>
                  <a:lnTo>
                    <a:pt x="1064324" y="204990"/>
                  </a:lnTo>
                  <a:lnTo>
                    <a:pt x="1064324" y="204292"/>
                  </a:lnTo>
                  <a:lnTo>
                    <a:pt x="1064375" y="204292"/>
                  </a:lnTo>
                  <a:lnTo>
                    <a:pt x="1064375" y="206324"/>
                  </a:lnTo>
                  <a:lnTo>
                    <a:pt x="1064375" y="204292"/>
                  </a:lnTo>
                  <a:lnTo>
                    <a:pt x="1064375" y="204990"/>
                  </a:lnTo>
                  <a:lnTo>
                    <a:pt x="1064476" y="204990"/>
                  </a:lnTo>
                  <a:lnTo>
                    <a:pt x="1064476" y="206324"/>
                  </a:lnTo>
                  <a:lnTo>
                    <a:pt x="1064476" y="204990"/>
                  </a:lnTo>
                  <a:lnTo>
                    <a:pt x="1064476" y="206324"/>
                  </a:lnTo>
                  <a:lnTo>
                    <a:pt x="1064476" y="204990"/>
                  </a:lnTo>
                  <a:lnTo>
                    <a:pt x="1064476" y="206324"/>
                  </a:lnTo>
                  <a:lnTo>
                    <a:pt x="1064476" y="204990"/>
                  </a:lnTo>
                  <a:lnTo>
                    <a:pt x="1064476" y="206324"/>
                  </a:lnTo>
                  <a:lnTo>
                    <a:pt x="1064476" y="204990"/>
                  </a:lnTo>
                  <a:lnTo>
                    <a:pt x="1064476" y="206324"/>
                  </a:lnTo>
                  <a:lnTo>
                    <a:pt x="1064527" y="204990"/>
                  </a:lnTo>
                  <a:lnTo>
                    <a:pt x="1064527" y="206324"/>
                  </a:lnTo>
                  <a:lnTo>
                    <a:pt x="1064527" y="204990"/>
                  </a:lnTo>
                  <a:lnTo>
                    <a:pt x="1064527" y="206324"/>
                  </a:lnTo>
                  <a:lnTo>
                    <a:pt x="1064527" y="204292"/>
                  </a:lnTo>
                  <a:lnTo>
                    <a:pt x="1064527" y="204990"/>
                  </a:lnTo>
                  <a:lnTo>
                    <a:pt x="1064527" y="204292"/>
                  </a:lnTo>
                  <a:lnTo>
                    <a:pt x="1064578" y="204292"/>
                  </a:lnTo>
                  <a:lnTo>
                    <a:pt x="1064578" y="203594"/>
                  </a:lnTo>
                  <a:lnTo>
                    <a:pt x="1064578" y="204292"/>
                  </a:lnTo>
                  <a:lnTo>
                    <a:pt x="1064578" y="202959"/>
                  </a:lnTo>
                  <a:lnTo>
                    <a:pt x="1064629" y="202959"/>
                  </a:lnTo>
                  <a:lnTo>
                    <a:pt x="1064629" y="200228"/>
                  </a:lnTo>
                  <a:lnTo>
                    <a:pt x="1064629" y="202260"/>
                  </a:lnTo>
                  <a:lnTo>
                    <a:pt x="1064718" y="202260"/>
                  </a:lnTo>
                  <a:lnTo>
                    <a:pt x="1064718" y="200876"/>
                  </a:lnTo>
                  <a:lnTo>
                    <a:pt x="1064718" y="203594"/>
                  </a:lnTo>
                  <a:lnTo>
                    <a:pt x="1064718" y="202959"/>
                  </a:lnTo>
                  <a:lnTo>
                    <a:pt x="1064769" y="202959"/>
                  </a:lnTo>
                  <a:lnTo>
                    <a:pt x="1064769" y="202260"/>
                  </a:lnTo>
                  <a:lnTo>
                    <a:pt x="1064769" y="202959"/>
                  </a:lnTo>
                  <a:lnTo>
                    <a:pt x="1064769" y="202260"/>
                  </a:lnTo>
                  <a:lnTo>
                    <a:pt x="1064769" y="202959"/>
                  </a:lnTo>
                  <a:lnTo>
                    <a:pt x="1064769" y="202260"/>
                  </a:lnTo>
                  <a:lnTo>
                    <a:pt x="1064819" y="202260"/>
                  </a:lnTo>
                  <a:lnTo>
                    <a:pt x="1064819" y="203594"/>
                  </a:lnTo>
                  <a:lnTo>
                    <a:pt x="1064819" y="202959"/>
                  </a:lnTo>
                  <a:lnTo>
                    <a:pt x="1064819" y="203594"/>
                  </a:lnTo>
                  <a:lnTo>
                    <a:pt x="1064819" y="202959"/>
                  </a:lnTo>
                  <a:lnTo>
                    <a:pt x="1064819" y="203594"/>
                  </a:lnTo>
                  <a:lnTo>
                    <a:pt x="1064819" y="202959"/>
                  </a:lnTo>
                  <a:lnTo>
                    <a:pt x="1064819" y="203594"/>
                  </a:lnTo>
                  <a:lnTo>
                    <a:pt x="1064819" y="202959"/>
                  </a:lnTo>
                  <a:lnTo>
                    <a:pt x="1064870" y="203594"/>
                  </a:lnTo>
                  <a:lnTo>
                    <a:pt x="1064870" y="204292"/>
                  </a:lnTo>
                  <a:lnTo>
                    <a:pt x="1064870" y="203594"/>
                  </a:lnTo>
                  <a:lnTo>
                    <a:pt x="1064972" y="204292"/>
                  </a:lnTo>
                  <a:lnTo>
                    <a:pt x="1064972" y="204990"/>
                  </a:lnTo>
                  <a:lnTo>
                    <a:pt x="1064972" y="204292"/>
                  </a:lnTo>
                  <a:lnTo>
                    <a:pt x="1064972" y="204990"/>
                  </a:lnTo>
                  <a:lnTo>
                    <a:pt x="1065022" y="204990"/>
                  </a:lnTo>
                  <a:lnTo>
                    <a:pt x="1065022" y="204292"/>
                  </a:lnTo>
                  <a:lnTo>
                    <a:pt x="1065022" y="204990"/>
                  </a:lnTo>
                  <a:lnTo>
                    <a:pt x="1065022" y="203594"/>
                  </a:lnTo>
                  <a:lnTo>
                    <a:pt x="1065073" y="203594"/>
                  </a:lnTo>
                  <a:lnTo>
                    <a:pt x="1065073" y="202959"/>
                  </a:lnTo>
                  <a:lnTo>
                    <a:pt x="1065073" y="203594"/>
                  </a:lnTo>
                  <a:lnTo>
                    <a:pt x="1065073" y="202959"/>
                  </a:lnTo>
                  <a:lnTo>
                    <a:pt x="1065073" y="203594"/>
                  </a:lnTo>
                  <a:lnTo>
                    <a:pt x="1065073" y="202260"/>
                  </a:lnTo>
                  <a:lnTo>
                    <a:pt x="1065175" y="202260"/>
                  </a:lnTo>
                  <a:lnTo>
                    <a:pt x="1065175" y="200228"/>
                  </a:lnTo>
                  <a:lnTo>
                    <a:pt x="1065175" y="202260"/>
                  </a:lnTo>
                  <a:lnTo>
                    <a:pt x="1065213" y="202260"/>
                  </a:lnTo>
                  <a:lnTo>
                    <a:pt x="1065213" y="200228"/>
                  </a:lnTo>
                  <a:lnTo>
                    <a:pt x="1065213" y="202959"/>
                  </a:lnTo>
                  <a:lnTo>
                    <a:pt x="1065264" y="202959"/>
                  </a:lnTo>
                  <a:lnTo>
                    <a:pt x="1065264" y="202260"/>
                  </a:lnTo>
                  <a:lnTo>
                    <a:pt x="1065264" y="202959"/>
                  </a:lnTo>
                  <a:lnTo>
                    <a:pt x="1065315" y="202959"/>
                  </a:lnTo>
                  <a:lnTo>
                    <a:pt x="1065315" y="202260"/>
                  </a:lnTo>
                  <a:lnTo>
                    <a:pt x="1065315" y="203594"/>
                  </a:lnTo>
                  <a:lnTo>
                    <a:pt x="1065315" y="202959"/>
                  </a:lnTo>
                  <a:lnTo>
                    <a:pt x="1065416" y="202959"/>
                  </a:lnTo>
                  <a:lnTo>
                    <a:pt x="1065416" y="204292"/>
                  </a:lnTo>
                  <a:lnTo>
                    <a:pt x="1065416" y="203594"/>
                  </a:lnTo>
                  <a:lnTo>
                    <a:pt x="1065416" y="204292"/>
                  </a:lnTo>
                  <a:lnTo>
                    <a:pt x="1065416" y="203594"/>
                  </a:lnTo>
                  <a:lnTo>
                    <a:pt x="1065416" y="204292"/>
                  </a:lnTo>
                  <a:lnTo>
                    <a:pt x="1065467" y="203594"/>
                  </a:lnTo>
                  <a:lnTo>
                    <a:pt x="1065467" y="204292"/>
                  </a:lnTo>
                  <a:lnTo>
                    <a:pt x="1065518" y="203594"/>
                  </a:lnTo>
                  <a:lnTo>
                    <a:pt x="1065518" y="204292"/>
                  </a:lnTo>
                  <a:lnTo>
                    <a:pt x="1065518" y="203594"/>
                  </a:lnTo>
                  <a:lnTo>
                    <a:pt x="1065619" y="203594"/>
                  </a:lnTo>
                  <a:lnTo>
                    <a:pt x="1065619" y="202260"/>
                  </a:lnTo>
                  <a:lnTo>
                    <a:pt x="1065619" y="202959"/>
                  </a:lnTo>
                  <a:lnTo>
                    <a:pt x="1065670" y="202260"/>
                  </a:lnTo>
                  <a:lnTo>
                    <a:pt x="1065670" y="202959"/>
                  </a:lnTo>
                  <a:lnTo>
                    <a:pt x="1065670" y="200876"/>
                  </a:lnTo>
                  <a:lnTo>
                    <a:pt x="1065670" y="202260"/>
                  </a:lnTo>
                  <a:lnTo>
                    <a:pt x="1065670" y="200876"/>
                  </a:lnTo>
                  <a:lnTo>
                    <a:pt x="1065670" y="202260"/>
                  </a:lnTo>
                  <a:lnTo>
                    <a:pt x="1065670" y="200876"/>
                  </a:lnTo>
                  <a:lnTo>
                    <a:pt x="1065721" y="200876"/>
                  </a:lnTo>
                  <a:lnTo>
                    <a:pt x="1065721" y="200228"/>
                  </a:lnTo>
                  <a:lnTo>
                    <a:pt x="1065721" y="202959"/>
                  </a:lnTo>
                  <a:lnTo>
                    <a:pt x="1065721" y="202260"/>
                  </a:lnTo>
                  <a:lnTo>
                    <a:pt x="1065721" y="202959"/>
                  </a:lnTo>
                  <a:lnTo>
                    <a:pt x="1065759" y="202260"/>
                  </a:lnTo>
                  <a:lnTo>
                    <a:pt x="1065759" y="200228"/>
                  </a:lnTo>
                  <a:lnTo>
                    <a:pt x="1065759" y="202260"/>
                  </a:lnTo>
                  <a:lnTo>
                    <a:pt x="1065759" y="200876"/>
                  </a:lnTo>
                  <a:lnTo>
                    <a:pt x="1065861" y="200876"/>
                  </a:lnTo>
                  <a:lnTo>
                    <a:pt x="1065861" y="202260"/>
                  </a:lnTo>
                  <a:lnTo>
                    <a:pt x="1065912" y="200876"/>
                  </a:lnTo>
                  <a:lnTo>
                    <a:pt x="1065912" y="202959"/>
                  </a:lnTo>
                  <a:lnTo>
                    <a:pt x="1066064" y="202959"/>
                  </a:lnTo>
                  <a:lnTo>
                    <a:pt x="1066064" y="202260"/>
                  </a:lnTo>
                  <a:lnTo>
                    <a:pt x="1066064" y="202959"/>
                  </a:lnTo>
                  <a:lnTo>
                    <a:pt x="1066064" y="202260"/>
                  </a:lnTo>
                  <a:lnTo>
                    <a:pt x="1066064" y="202959"/>
                  </a:lnTo>
                  <a:lnTo>
                    <a:pt x="1066115" y="202959"/>
                  </a:lnTo>
                  <a:lnTo>
                    <a:pt x="1066115" y="202260"/>
                  </a:lnTo>
                  <a:lnTo>
                    <a:pt x="1066115" y="203594"/>
                  </a:lnTo>
                  <a:lnTo>
                    <a:pt x="1066115" y="202260"/>
                  </a:lnTo>
                  <a:lnTo>
                    <a:pt x="1066115" y="202959"/>
                  </a:lnTo>
                  <a:lnTo>
                    <a:pt x="1066115" y="200876"/>
                  </a:lnTo>
                  <a:lnTo>
                    <a:pt x="1066115" y="202260"/>
                  </a:lnTo>
                  <a:lnTo>
                    <a:pt x="1066165" y="202260"/>
                  </a:lnTo>
                  <a:lnTo>
                    <a:pt x="1066165" y="200228"/>
                  </a:lnTo>
                  <a:lnTo>
                    <a:pt x="1066165" y="202260"/>
                  </a:lnTo>
                  <a:lnTo>
                    <a:pt x="1066165" y="200876"/>
                  </a:lnTo>
                  <a:lnTo>
                    <a:pt x="1066216" y="200876"/>
                  </a:lnTo>
                  <a:lnTo>
                    <a:pt x="1066216" y="200228"/>
                  </a:lnTo>
                  <a:lnTo>
                    <a:pt x="1066216" y="202959"/>
                  </a:lnTo>
                  <a:lnTo>
                    <a:pt x="1066216" y="202260"/>
                  </a:lnTo>
                  <a:lnTo>
                    <a:pt x="1066305" y="202260"/>
                  </a:lnTo>
                  <a:lnTo>
                    <a:pt x="1066305" y="200876"/>
                  </a:lnTo>
                  <a:lnTo>
                    <a:pt x="1066305" y="202959"/>
                  </a:lnTo>
                  <a:lnTo>
                    <a:pt x="1066305" y="202260"/>
                  </a:lnTo>
                  <a:lnTo>
                    <a:pt x="1066305" y="202959"/>
                  </a:lnTo>
                  <a:lnTo>
                    <a:pt x="1066305" y="202260"/>
                  </a:lnTo>
                  <a:lnTo>
                    <a:pt x="1066305" y="202959"/>
                  </a:lnTo>
                  <a:lnTo>
                    <a:pt x="1066356" y="202260"/>
                  </a:lnTo>
                  <a:lnTo>
                    <a:pt x="1066356" y="203594"/>
                  </a:lnTo>
                  <a:lnTo>
                    <a:pt x="1066356" y="202959"/>
                  </a:lnTo>
                  <a:lnTo>
                    <a:pt x="1066407" y="202959"/>
                  </a:lnTo>
                  <a:lnTo>
                    <a:pt x="1066407" y="203594"/>
                  </a:lnTo>
                  <a:lnTo>
                    <a:pt x="1066458" y="203594"/>
                  </a:lnTo>
                  <a:lnTo>
                    <a:pt x="1066458" y="202959"/>
                  </a:lnTo>
                  <a:lnTo>
                    <a:pt x="1066458" y="203594"/>
                  </a:lnTo>
                  <a:lnTo>
                    <a:pt x="1066458" y="202959"/>
                  </a:lnTo>
                  <a:lnTo>
                    <a:pt x="1066458" y="203594"/>
                  </a:lnTo>
                  <a:lnTo>
                    <a:pt x="1066458" y="202959"/>
                  </a:lnTo>
                  <a:lnTo>
                    <a:pt x="1066458" y="203594"/>
                  </a:lnTo>
                  <a:lnTo>
                    <a:pt x="1066559" y="203594"/>
                  </a:lnTo>
                  <a:lnTo>
                    <a:pt x="1066559" y="202959"/>
                  </a:lnTo>
                  <a:lnTo>
                    <a:pt x="1066559" y="203594"/>
                  </a:lnTo>
                  <a:lnTo>
                    <a:pt x="1066559" y="202959"/>
                  </a:lnTo>
                  <a:lnTo>
                    <a:pt x="1066559" y="203594"/>
                  </a:lnTo>
                  <a:lnTo>
                    <a:pt x="1066559" y="202959"/>
                  </a:lnTo>
                  <a:lnTo>
                    <a:pt x="1066559" y="203594"/>
                  </a:lnTo>
                  <a:lnTo>
                    <a:pt x="1066559" y="202959"/>
                  </a:lnTo>
                  <a:lnTo>
                    <a:pt x="1066559" y="203594"/>
                  </a:lnTo>
                  <a:lnTo>
                    <a:pt x="1066559" y="202959"/>
                  </a:lnTo>
                  <a:lnTo>
                    <a:pt x="1066610" y="202959"/>
                  </a:lnTo>
                  <a:lnTo>
                    <a:pt x="1066610" y="202260"/>
                  </a:lnTo>
                  <a:lnTo>
                    <a:pt x="1066610" y="202959"/>
                  </a:lnTo>
                  <a:lnTo>
                    <a:pt x="1066610" y="202260"/>
                  </a:lnTo>
                  <a:lnTo>
                    <a:pt x="1066661" y="202260"/>
                  </a:lnTo>
                  <a:lnTo>
                    <a:pt x="1066661" y="200228"/>
                  </a:lnTo>
                  <a:lnTo>
                    <a:pt x="1066661" y="202959"/>
                  </a:lnTo>
                  <a:lnTo>
                    <a:pt x="1066661" y="202260"/>
                  </a:lnTo>
                  <a:lnTo>
                    <a:pt x="1066762" y="202260"/>
                  </a:lnTo>
                  <a:lnTo>
                    <a:pt x="1066762" y="200876"/>
                  </a:lnTo>
                  <a:lnTo>
                    <a:pt x="1066762" y="203594"/>
                  </a:lnTo>
                  <a:lnTo>
                    <a:pt x="1066762" y="202260"/>
                  </a:lnTo>
                  <a:lnTo>
                    <a:pt x="1066800" y="202260"/>
                  </a:lnTo>
                  <a:lnTo>
                    <a:pt x="1066800" y="203594"/>
                  </a:lnTo>
                  <a:lnTo>
                    <a:pt x="1066800" y="202959"/>
                  </a:lnTo>
                  <a:lnTo>
                    <a:pt x="1066800" y="203594"/>
                  </a:lnTo>
                  <a:lnTo>
                    <a:pt x="1066800" y="202959"/>
                  </a:lnTo>
                  <a:lnTo>
                    <a:pt x="1066851" y="202959"/>
                  </a:lnTo>
                  <a:lnTo>
                    <a:pt x="1066851" y="203594"/>
                  </a:lnTo>
                  <a:lnTo>
                    <a:pt x="1066851" y="202959"/>
                  </a:lnTo>
                  <a:lnTo>
                    <a:pt x="1066851" y="203594"/>
                  </a:lnTo>
                  <a:lnTo>
                    <a:pt x="1066851" y="202959"/>
                  </a:lnTo>
                  <a:lnTo>
                    <a:pt x="1066902" y="202959"/>
                  </a:lnTo>
                  <a:lnTo>
                    <a:pt x="1066902" y="203594"/>
                  </a:lnTo>
                  <a:lnTo>
                    <a:pt x="1066902" y="202959"/>
                  </a:lnTo>
                  <a:lnTo>
                    <a:pt x="1066902" y="203594"/>
                  </a:lnTo>
                  <a:lnTo>
                    <a:pt x="1066902" y="202959"/>
                  </a:lnTo>
                  <a:lnTo>
                    <a:pt x="1066902" y="203594"/>
                  </a:lnTo>
                  <a:lnTo>
                    <a:pt x="1066902" y="202959"/>
                  </a:lnTo>
                  <a:lnTo>
                    <a:pt x="1067004" y="203594"/>
                  </a:lnTo>
                  <a:lnTo>
                    <a:pt x="1067004" y="202959"/>
                  </a:lnTo>
                  <a:lnTo>
                    <a:pt x="1067004" y="203594"/>
                  </a:lnTo>
                  <a:lnTo>
                    <a:pt x="1067004" y="202959"/>
                  </a:lnTo>
                  <a:lnTo>
                    <a:pt x="1067055" y="202959"/>
                  </a:lnTo>
                  <a:lnTo>
                    <a:pt x="1067055" y="202260"/>
                  </a:lnTo>
                  <a:lnTo>
                    <a:pt x="1067055" y="202959"/>
                  </a:lnTo>
                  <a:lnTo>
                    <a:pt x="1067055" y="202260"/>
                  </a:lnTo>
                  <a:lnTo>
                    <a:pt x="1067105" y="202959"/>
                  </a:lnTo>
                  <a:lnTo>
                    <a:pt x="1067105" y="202260"/>
                  </a:lnTo>
                  <a:lnTo>
                    <a:pt x="1067105" y="202959"/>
                  </a:lnTo>
                  <a:lnTo>
                    <a:pt x="1067105" y="199530"/>
                  </a:lnTo>
                  <a:lnTo>
                    <a:pt x="1067207" y="199530"/>
                  </a:lnTo>
                  <a:lnTo>
                    <a:pt x="1067207" y="202260"/>
                  </a:lnTo>
                  <a:lnTo>
                    <a:pt x="1067207" y="200876"/>
                  </a:lnTo>
                  <a:lnTo>
                    <a:pt x="1067207" y="202260"/>
                  </a:lnTo>
                  <a:lnTo>
                    <a:pt x="1067207" y="200228"/>
                  </a:lnTo>
                  <a:lnTo>
                    <a:pt x="1067258" y="200876"/>
                  </a:lnTo>
                  <a:lnTo>
                    <a:pt x="1067258" y="203594"/>
                  </a:lnTo>
                  <a:lnTo>
                    <a:pt x="1067258" y="200876"/>
                  </a:lnTo>
                  <a:lnTo>
                    <a:pt x="1067258" y="202260"/>
                  </a:lnTo>
                  <a:lnTo>
                    <a:pt x="1067309" y="202260"/>
                  </a:lnTo>
                  <a:lnTo>
                    <a:pt x="1067309" y="203594"/>
                  </a:lnTo>
                  <a:lnTo>
                    <a:pt x="1067309" y="202959"/>
                  </a:lnTo>
                  <a:lnTo>
                    <a:pt x="1067309" y="203594"/>
                  </a:lnTo>
                  <a:lnTo>
                    <a:pt x="1067309" y="202959"/>
                  </a:lnTo>
                  <a:lnTo>
                    <a:pt x="1067309" y="203594"/>
                  </a:lnTo>
                  <a:lnTo>
                    <a:pt x="1067347" y="203594"/>
                  </a:lnTo>
                  <a:lnTo>
                    <a:pt x="1067347" y="204292"/>
                  </a:lnTo>
                  <a:lnTo>
                    <a:pt x="1067347" y="202959"/>
                  </a:lnTo>
                  <a:lnTo>
                    <a:pt x="1067347" y="203594"/>
                  </a:lnTo>
                  <a:lnTo>
                    <a:pt x="1067347" y="202959"/>
                  </a:lnTo>
                  <a:lnTo>
                    <a:pt x="1067448" y="203594"/>
                  </a:lnTo>
                  <a:lnTo>
                    <a:pt x="1067448" y="202959"/>
                  </a:lnTo>
                  <a:lnTo>
                    <a:pt x="1067448" y="203594"/>
                  </a:lnTo>
                  <a:lnTo>
                    <a:pt x="1067448" y="202959"/>
                  </a:lnTo>
                  <a:lnTo>
                    <a:pt x="1067448" y="203594"/>
                  </a:lnTo>
                  <a:lnTo>
                    <a:pt x="1067448" y="202959"/>
                  </a:lnTo>
                  <a:lnTo>
                    <a:pt x="1067448" y="203594"/>
                  </a:lnTo>
                  <a:lnTo>
                    <a:pt x="1067448" y="202959"/>
                  </a:lnTo>
                  <a:lnTo>
                    <a:pt x="1067448" y="203594"/>
                  </a:lnTo>
                  <a:lnTo>
                    <a:pt x="1067448" y="202959"/>
                  </a:lnTo>
                  <a:lnTo>
                    <a:pt x="1067448" y="203594"/>
                  </a:lnTo>
                  <a:lnTo>
                    <a:pt x="1067499" y="203594"/>
                  </a:lnTo>
                  <a:lnTo>
                    <a:pt x="1067499" y="202959"/>
                  </a:lnTo>
                  <a:lnTo>
                    <a:pt x="1067499" y="203594"/>
                  </a:lnTo>
                  <a:lnTo>
                    <a:pt x="1067499" y="202959"/>
                  </a:lnTo>
                  <a:lnTo>
                    <a:pt x="1067550" y="202959"/>
                  </a:lnTo>
                  <a:lnTo>
                    <a:pt x="1067550" y="202260"/>
                  </a:lnTo>
                  <a:lnTo>
                    <a:pt x="1067550" y="202959"/>
                  </a:lnTo>
                  <a:lnTo>
                    <a:pt x="1067550" y="202260"/>
                  </a:lnTo>
                  <a:lnTo>
                    <a:pt x="1067651" y="202260"/>
                  </a:lnTo>
                  <a:lnTo>
                    <a:pt x="1067651" y="200876"/>
                  </a:lnTo>
                  <a:lnTo>
                    <a:pt x="1067651" y="202959"/>
                  </a:lnTo>
                  <a:lnTo>
                    <a:pt x="1067702" y="202959"/>
                  </a:lnTo>
                  <a:lnTo>
                    <a:pt x="1067702" y="200876"/>
                  </a:lnTo>
                  <a:lnTo>
                    <a:pt x="1067702" y="203594"/>
                  </a:lnTo>
                  <a:lnTo>
                    <a:pt x="1067753" y="203594"/>
                  </a:lnTo>
                  <a:lnTo>
                    <a:pt x="1067753" y="202959"/>
                  </a:lnTo>
                  <a:lnTo>
                    <a:pt x="1067753" y="204292"/>
                  </a:lnTo>
                  <a:lnTo>
                    <a:pt x="1067753" y="203594"/>
                  </a:lnTo>
                  <a:lnTo>
                    <a:pt x="1067804" y="203594"/>
                  </a:lnTo>
                  <a:lnTo>
                    <a:pt x="1067804" y="204292"/>
                  </a:lnTo>
                  <a:lnTo>
                    <a:pt x="1067804" y="203594"/>
                  </a:lnTo>
                  <a:lnTo>
                    <a:pt x="1067804" y="204292"/>
                  </a:lnTo>
                  <a:lnTo>
                    <a:pt x="1067804" y="203594"/>
                  </a:lnTo>
                  <a:lnTo>
                    <a:pt x="1067804" y="204292"/>
                  </a:lnTo>
                  <a:lnTo>
                    <a:pt x="1067893" y="204292"/>
                  </a:lnTo>
                  <a:lnTo>
                    <a:pt x="1067893" y="203594"/>
                  </a:lnTo>
                  <a:lnTo>
                    <a:pt x="1067893" y="204292"/>
                  </a:lnTo>
                  <a:lnTo>
                    <a:pt x="1067893" y="203594"/>
                  </a:lnTo>
                  <a:lnTo>
                    <a:pt x="1067893" y="204292"/>
                  </a:lnTo>
                  <a:lnTo>
                    <a:pt x="1067944" y="204292"/>
                  </a:lnTo>
                  <a:lnTo>
                    <a:pt x="1067944" y="203594"/>
                  </a:lnTo>
                  <a:lnTo>
                    <a:pt x="1067944" y="204292"/>
                  </a:lnTo>
                  <a:lnTo>
                    <a:pt x="1067944" y="203594"/>
                  </a:lnTo>
                  <a:lnTo>
                    <a:pt x="1067944" y="204292"/>
                  </a:lnTo>
                  <a:lnTo>
                    <a:pt x="1067944" y="203594"/>
                  </a:lnTo>
                  <a:lnTo>
                    <a:pt x="1067994" y="203594"/>
                  </a:lnTo>
                  <a:lnTo>
                    <a:pt x="1067994" y="204292"/>
                  </a:lnTo>
                  <a:lnTo>
                    <a:pt x="1067994" y="203594"/>
                  </a:lnTo>
                  <a:lnTo>
                    <a:pt x="1068045" y="203594"/>
                  </a:lnTo>
                  <a:lnTo>
                    <a:pt x="1068045" y="200876"/>
                  </a:lnTo>
                  <a:lnTo>
                    <a:pt x="1068147" y="200876"/>
                  </a:lnTo>
                  <a:lnTo>
                    <a:pt x="1068147" y="202260"/>
                  </a:lnTo>
                  <a:lnTo>
                    <a:pt x="1068147" y="200228"/>
                  </a:lnTo>
                  <a:lnTo>
                    <a:pt x="1068147" y="202959"/>
                  </a:lnTo>
                  <a:lnTo>
                    <a:pt x="1068147" y="200876"/>
                  </a:lnTo>
                  <a:lnTo>
                    <a:pt x="1068197" y="200876"/>
                  </a:lnTo>
                  <a:lnTo>
                    <a:pt x="1068197" y="200228"/>
                  </a:lnTo>
                  <a:lnTo>
                    <a:pt x="1068197" y="204292"/>
                  </a:lnTo>
                  <a:lnTo>
                    <a:pt x="1068197" y="202260"/>
                  </a:lnTo>
                  <a:lnTo>
                    <a:pt x="1068248" y="202260"/>
                  </a:lnTo>
                  <a:lnTo>
                    <a:pt x="1068248" y="204292"/>
                  </a:lnTo>
                  <a:lnTo>
                    <a:pt x="1068248" y="203594"/>
                  </a:lnTo>
                  <a:lnTo>
                    <a:pt x="1068248" y="204292"/>
                  </a:lnTo>
                  <a:lnTo>
                    <a:pt x="1068248" y="203594"/>
                  </a:lnTo>
                  <a:lnTo>
                    <a:pt x="1068350" y="203594"/>
                  </a:lnTo>
                  <a:lnTo>
                    <a:pt x="1068350" y="204990"/>
                  </a:lnTo>
                  <a:lnTo>
                    <a:pt x="1068350" y="204292"/>
                  </a:lnTo>
                  <a:lnTo>
                    <a:pt x="1068388" y="204990"/>
                  </a:lnTo>
                  <a:lnTo>
                    <a:pt x="1068388" y="204292"/>
                  </a:lnTo>
                  <a:lnTo>
                    <a:pt x="1068388" y="204990"/>
                  </a:lnTo>
                  <a:lnTo>
                    <a:pt x="1068388" y="204292"/>
                  </a:lnTo>
                  <a:lnTo>
                    <a:pt x="1068388" y="204990"/>
                  </a:lnTo>
                  <a:lnTo>
                    <a:pt x="1068388" y="204292"/>
                  </a:lnTo>
                  <a:lnTo>
                    <a:pt x="1068388" y="204990"/>
                  </a:lnTo>
                  <a:lnTo>
                    <a:pt x="1068439" y="204292"/>
                  </a:lnTo>
                  <a:lnTo>
                    <a:pt x="1068439" y="204990"/>
                  </a:lnTo>
                  <a:lnTo>
                    <a:pt x="1068439" y="204292"/>
                  </a:lnTo>
                  <a:lnTo>
                    <a:pt x="1068490" y="204990"/>
                  </a:lnTo>
                  <a:lnTo>
                    <a:pt x="1068490" y="203594"/>
                  </a:lnTo>
                  <a:lnTo>
                    <a:pt x="1068591" y="203594"/>
                  </a:lnTo>
                  <a:lnTo>
                    <a:pt x="1068591" y="202959"/>
                  </a:lnTo>
                  <a:lnTo>
                    <a:pt x="1068591" y="203594"/>
                  </a:lnTo>
                  <a:lnTo>
                    <a:pt x="1068591" y="202959"/>
                  </a:lnTo>
                  <a:lnTo>
                    <a:pt x="1068591" y="203594"/>
                  </a:lnTo>
                  <a:lnTo>
                    <a:pt x="1068591" y="202959"/>
                  </a:lnTo>
                  <a:lnTo>
                    <a:pt x="1068591" y="203594"/>
                  </a:lnTo>
                  <a:lnTo>
                    <a:pt x="1068591" y="200876"/>
                  </a:lnTo>
                  <a:lnTo>
                    <a:pt x="1068591" y="202260"/>
                  </a:lnTo>
                  <a:lnTo>
                    <a:pt x="1068642" y="200876"/>
                  </a:lnTo>
                  <a:lnTo>
                    <a:pt x="1068642" y="202260"/>
                  </a:lnTo>
                  <a:lnTo>
                    <a:pt x="1068642" y="199530"/>
                  </a:lnTo>
                  <a:lnTo>
                    <a:pt x="1068693" y="199530"/>
                  </a:lnTo>
                  <a:lnTo>
                    <a:pt x="1068693" y="203594"/>
                  </a:lnTo>
                  <a:lnTo>
                    <a:pt x="1068693" y="202959"/>
                  </a:lnTo>
                  <a:lnTo>
                    <a:pt x="1068693" y="203594"/>
                  </a:lnTo>
                  <a:lnTo>
                    <a:pt x="1068693" y="202260"/>
                  </a:lnTo>
                  <a:lnTo>
                    <a:pt x="1068693" y="202959"/>
                  </a:lnTo>
                  <a:lnTo>
                    <a:pt x="1068794" y="202260"/>
                  </a:lnTo>
                  <a:lnTo>
                    <a:pt x="1068794" y="203594"/>
                  </a:lnTo>
                  <a:lnTo>
                    <a:pt x="1068794" y="202959"/>
                  </a:lnTo>
                  <a:lnTo>
                    <a:pt x="1068845" y="202959"/>
                  </a:lnTo>
                  <a:lnTo>
                    <a:pt x="1068845" y="203594"/>
                  </a:lnTo>
                  <a:lnTo>
                    <a:pt x="1068845" y="202959"/>
                  </a:lnTo>
                  <a:lnTo>
                    <a:pt x="1068845" y="203594"/>
                  </a:lnTo>
                  <a:lnTo>
                    <a:pt x="1068934" y="203594"/>
                  </a:lnTo>
                  <a:lnTo>
                    <a:pt x="1068934" y="204292"/>
                  </a:lnTo>
                  <a:lnTo>
                    <a:pt x="1068934" y="203594"/>
                  </a:lnTo>
                  <a:lnTo>
                    <a:pt x="1068934" y="204292"/>
                  </a:lnTo>
                  <a:lnTo>
                    <a:pt x="1069036" y="204292"/>
                  </a:lnTo>
                  <a:lnTo>
                    <a:pt x="1069036" y="203594"/>
                  </a:lnTo>
                  <a:lnTo>
                    <a:pt x="1069036" y="204292"/>
                  </a:lnTo>
                  <a:lnTo>
                    <a:pt x="1069036" y="203594"/>
                  </a:lnTo>
                  <a:lnTo>
                    <a:pt x="1069087" y="203594"/>
                  </a:lnTo>
                  <a:lnTo>
                    <a:pt x="1069087" y="202260"/>
                  </a:lnTo>
                  <a:lnTo>
                    <a:pt x="1069087" y="202959"/>
                  </a:lnTo>
                  <a:lnTo>
                    <a:pt x="1069087" y="200876"/>
                  </a:lnTo>
                  <a:lnTo>
                    <a:pt x="1069137" y="200876"/>
                  </a:lnTo>
                  <a:lnTo>
                    <a:pt x="1069137" y="202959"/>
                  </a:lnTo>
                  <a:lnTo>
                    <a:pt x="1069137" y="200228"/>
                  </a:lnTo>
                  <a:lnTo>
                    <a:pt x="1069137" y="202260"/>
                  </a:lnTo>
                  <a:lnTo>
                    <a:pt x="1069239" y="202260"/>
                  </a:lnTo>
                  <a:lnTo>
                    <a:pt x="1069239" y="204292"/>
                  </a:lnTo>
                  <a:lnTo>
                    <a:pt x="1069239" y="202260"/>
                  </a:lnTo>
                  <a:lnTo>
                    <a:pt x="1069239" y="202959"/>
                  </a:lnTo>
                  <a:lnTo>
                    <a:pt x="1069239" y="202260"/>
                  </a:lnTo>
                  <a:lnTo>
                    <a:pt x="1069239" y="203594"/>
                  </a:lnTo>
                  <a:lnTo>
                    <a:pt x="1069290" y="203594"/>
                  </a:lnTo>
                  <a:lnTo>
                    <a:pt x="1069290" y="204292"/>
                  </a:lnTo>
                  <a:lnTo>
                    <a:pt x="1069290" y="202959"/>
                  </a:lnTo>
                  <a:lnTo>
                    <a:pt x="1069290" y="203594"/>
                  </a:lnTo>
                  <a:lnTo>
                    <a:pt x="1069290" y="202959"/>
                  </a:lnTo>
                  <a:lnTo>
                    <a:pt x="1069340" y="203594"/>
                  </a:lnTo>
                  <a:lnTo>
                    <a:pt x="1069340" y="202959"/>
                  </a:lnTo>
                  <a:lnTo>
                    <a:pt x="1069340" y="204292"/>
                  </a:lnTo>
                  <a:lnTo>
                    <a:pt x="1069340" y="203594"/>
                  </a:lnTo>
                  <a:lnTo>
                    <a:pt x="1069391" y="204292"/>
                  </a:lnTo>
                  <a:lnTo>
                    <a:pt x="1069391" y="203594"/>
                  </a:lnTo>
                  <a:lnTo>
                    <a:pt x="1069391" y="204292"/>
                  </a:lnTo>
                  <a:lnTo>
                    <a:pt x="1069391" y="203594"/>
                  </a:lnTo>
                  <a:lnTo>
                    <a:pt x="1069391" y="204292"/>
                  </a:lnTo>
                  <a:lnTo>
                    <a:pt x="1069480" y="204292"/>
                  </a:lnTo>
                  <a:lnTo>
                    <a:pt x="1069480" y="203594"/>
                  </a:lnTo>
                  <a:lnTo>
                    <a:pt x="1069480" y="204292"/>
                  </a:lnTo>
                  <a:lnTo>
                    <a:pt x="1069531" y="204292"/>
                  </a:lnTo>
                  <a:lnTo>
                    <a:pt x="1069531" y="202959"/>
                  </a:lnTo>
                  <a:lnTo>
                    <a:pt x="1069582" y="202959"/>
                  </a:lnTo>
                  <a:lnTo>
                    <a:pt x="1069582" y="200228"/>
                  </a:lnTo>
                  <a:lnTo>
                    <a:pt x="1069582" y="200876"/>
                  </a:lnTo>
                  <a:lnTo>
                    <a:pt x="1069633" y="200876"/>
                  </a:lnTo>
                  <a:lnTo>
                    <a:pt x="1069633" y="202260"/>
                  </a:lnTo>
                  <a:lnTo>
                    <a:pt x="1069633" y="200876"/>
                  </a:lnTo>
                  <a:lnTo>
                    <a:pt x="1069633" y="202260"/>
                  </a:lnTo>
                  <a:lnTo>
                    <a:pt x="1069734" y="202959"/>
                  </a:lnTo>
                  <a:lnTo>
                    <a:pt x="1069734" y="203594"/>
                  </a:lnTo>
                  <a:lnTo>
                    <a:pt x="1069734" y="202959"/>
                  </a:lnTo>
                  <a:lnTo>
                    <a:pt x="1069734" y="203594"/>
                  </a:lnTo>
                  <a:lnTo>
                    <a:pt x="1069734" y="202959"/>
                  </a:lnTo>
                  <a:lnTo>
                    <a:pt x="1069734" y="203594"/>
                  </a:lnTo>
                  <a:lnTo>
                    <a:pt x="1069734" y="202959"/>
                  </a:lnTo>
                  <a:lnTo>
                    <a:pt x="1069785" y="203594"/>
                  </a:lnTo>
                  <a:lnTo>
                    <a:pt x="1069785" y="202959"/>
                  </a:lnTo>
                  <a:lnTo>
                    <a:pt x="1069785" y="203594"/>
                  </a:lnTo>
                  <a:lnTo>
                    <a:pt x="1069785" y="202959"/>
                  </a:lnTo>
                  <a:lnTo>
                    <a:pt x="1069785" y="203594"/>
                  </a:lnTo>
                  <a:lnTo>
                    <a:pt x="1069785" y="202959"/>
                  </a:lnTo>
                  <a:lnTo>
                    <a:pt x="1069937" y="202959"/>
                  </a:lnTo>
                  <a:lnTo>
                    <a:pt x="1069937" y="203594"/>
                  </a:lnTo>
                  <a:lnTo>
                    <a:pt x="1069937" y="202959"/>
                  </a:lnTo>
                  <a:lnTo>
                    <a:pt x="1069937" y="203594"/>
                  </a:lnTo>
                  <a:lnTo>
                    <a:pt x="1069937" y="202959"/>
                  </a:lnTo>
                  <a:lnTo>
                    <a:pt x="1069937" y="203594"/>
                  </a:lnTo>
                  <a:lnTo>
                    <a:pt x="1069975" y="203594"/>
                  </a:lnTo>
                  <a:lnTo>
                    <a:pt x="1069975" y="204292"/>
                  </a:lnTo>
                  <a:lnTo>
                    <a:pt x="1069975" y="203594"/>
                  </a:lnTo>
                  <a:lnTo>
                    <a:pt x="1070026" y="203594"/>
                  </a:lnTo>
                  <a:lnTo>
                    <a:pt x="1070026" y="202959"/>
                  </a:lnTo>
                  <a:lnTo>
                    <a:pt x="1070026" y="203594"/>
                  </a:lnTo>
                  <a:lnTo>
                    <a:pt x="1070026" y="202260"/>
                  </a:lnTo>
                  <a:lnTo>
                    <a:pt x="1070077" y="202260"/>
                  </a:lnTo>
                  <a:lnTo>
                    <a:pt x="1070077" y="200876"/>
                  </a:lnTo>
                  <a:lnTo>
                    <a:pt x="1070077" y="202260"/>
                  </a:lnTo>
                  <a:lnTo>
                    <a:pt x="1070077" y="200876"/>
                  </a:lnTo>
                  <a:lnTo>
                    <a:pt x="1070077" y="202260"/>
                  </a:lnTo>
                  <a:lnTo>
                    <a:pt x="1070077" y="200228"/>
                  </a:lnTo>
                  <a:lnTo>
                    <a:pt x="1070077" y="200876"/>
                  </a:lnTo>
                  <a:lnTo>
                    <a:pt x="1070179" y="202260"/>
                  </a:lnTo>
                  <a:lnTo>
                    <a:pt x="1070179" y="200228"/>
                  </a:lnTo>
                  <a:lnTo>
                    <a:pt x="1070179" y="202959"/>
                  </a:lnTo>
                  <a:lnTo>
                    <a:pt x="1070230" y="203594"/>
                  </a:lnTo>
                  <a:lnTo>
                    <a:pt x="1070230" y="202959"/>
                  </a:lnTo>
                  <a:lnTo>
                    <a:pt x="1070230" y="203594"/>
                  </a:lnTo>
                  <a:lnTo>
                    <a:pt x="1070230" y="202959"/>
                  </a:lnTo>
                  <a:lnTo>
                    <a:pt x="1070230" y="203594"/>
                  </a:lnTo>
                  <a:lnTo>
                    <a:pt x="1070280" y="203594"/>
                  </a:lnTo>
                  <a:lnTo>
                    <a:pt x="1070280" y="202959"/>
                  </a:lnTo>
                  <a:lnTo>
                    <a:pt x="1070280" y="203594"/>
                  </a:lnTo>
                  <a:lnTo>
                    <a:pt x="1070382" y="204292"/>
                  </a:lnTo>
                  <a:lnTo>
                    <a:pt x="1070382" y="203594"/>
                  </a:lnTo>
                  <a:lnTo>
                    <a:pt x="1070382" y="204292"/>
                  </a:lnTo>
                  <a:lnTo>
                    <a:pt x="1070382" y="203594"/>
                  </a:lnTo>
                  <a:lnTo>
                    <a:pt x="1070382" y="204292"/>
                  </a:lnTo>
                  <a:lnTo>
                    <a:pt x="1070382" y="203594"/>
                  </a:lnTo>
                  <a:lnTo>
                    <a:pt x="1070433" y="203594"/>
                  </a:lnTo>
                  <a:lnTo>
                    <a:pt x="1070433" y="204292"/>
                  </a:lnTo>
                  <a:lnTo>
                    <a:pt x="1070433" y="203594"/>
                  </a:lnTo>
                  <a:lnTo>
                    <a:pt x="1070433" y="204990"/>
                  </a:lnTo>
                  <a:lnTo>
                    <a:pt x="1070433" y="204292"/>
                  </a:lnTo>
                  <a:lnTo>
                    <a:pt x="1070484" y="204990"/>
                  </a:lnTo>
                  <a:lnTo>
                    <a:pt x="1070484" y="204292"/>
                  </a:lnTo>
                  <a:lnTo>
                    <a:pt x="1070484" y="204990"/>
                  </a:lnTo>
                  <a:lnTo>
                    <a:pt x="1070484" y="204292"/>
                  </a:lnTo>
                  <a:lnTo>
                    <a:pt x="1070484" y="204990"/>
                  </a:lnTo>
                  <a:lnTo>
                    <a:pt x="1070484" y="204292"/>
                  </a:lnTo>
                  <a:lnTo>
                    <a:pt x="1070522" y="203594"/>
                  </a:lnTo>
                  <a:lnTo>
                    <a:pt x="1070522" y="204292"/>
                  </a:lnTo>
                  <a:lnTo>
                    <a:pt x="1070522" y="203594"/>
                  </a:lnTo>
                  <a:lnTo>
                    <a:pt x="1070522" y="204292"/>
                  </a:lnTo>
                  <a:lnTo>
                    <a:pt x="1070522" y="202959"/>
                  </a:lnTo>
                  <a:lnTo>
                    <a:pt x="1070522" y="203594"/>
                  </a:lnTo>
                  <a:lnTo>
                    <a:pt x="1070522" y="202959"/>
                  </a:lnTo>
                  <a:lnTo>
                    <a:pt x="1070623" y="202260"/>
                  </a:lnTo>
                  <a:lnTo>
                    <a:pt x="1070623" y="200876"/>
                  </a:lnTo>
                  <a:lnTo>
                    <a:pt x="1070623" y="202260"/>
                  </a:lnTo>
                  <a:lnTo>
                    <a:pt x="1070623" y="200228"/>
                  </a:lnTo>
                  <a:lnTo>
                    <a:pt x="1070674" y="200228"/>
                  </a:lnTo>
                  <a:lnTo>
                    <a:pt x="1070674" y="202959"/>
                  </a:lnTo>
                  <a:lnTo>
                    <a:pt x="1070674" y="200876"/>
                  </a:lnTo>
                  <a:lnTo>
                    <a:pt x="1070674" y="202260"/>
                  </a:lnTo>
                  <a:lnTo>
                    <a:pt x="1070674" y="200876"/>
                  </a:lnTo>
                  <a:lnTo>
                    <a:pt x="1070674" y="203594"/>
                  </a:lnTo>
                  <a:lnTo>
                    <a:pt x="1070725" y="203594"/>
                  </a:lnTo>
                  <a:lnTo>
                    <a:pt x="1070725" y="202959"/>
                  </a:lnTo>
                  <a:lnTo>
                    <a:pt x="1070725" y="204292"/>
                  </a:lnTo>
                  <a:lnTo>
                    <a:pt x="1070826" y="204292"/>
                  </a:lnTo>
                  <a:lnTo>
                    <a:pt x="1070826" y="202959"/>
                  </a:lnTo>
                  <a:lnTo>
                    <a:pt x="1070826" y="203594"/>
                  </a:lnTo>
                  <a:lnTo>
                    <a:pt x="1070877" y="203594"/>
                  </a:lnTo>
                  <a:lnTo>
                    <a:pt x="1070877" y="202959"/>
                  </a:lnTo>
                  <a:lnTo>
                    <a:pt x="1070877" y="203594"/>
                  </a:lnTo>
                  <a:lnTo>
                    <a:pt x="1070877" y="202959"/>
                  </a:lnTo>
                  <a:lnTo>
                    <a:pt x="1070877" y="204292"/>
                  </a:lnTo>
                  <a:lnTo>
                    <a:pt x="1070877" y="203594"/>
                  </a:lnTo>
                  <a:lnTo>
                    <a:pt x="1070877" y="204292"/>
                  </a:lnTo>
                  <a:lnTo>
                    <a:pt x="1070877" y="203594"/>
                  </a:lnTo>
                  <a:lnTo>
                    <a:pt x="1070928" y="203594"/>
                  </a:lnTo>
                  <a:lnTo>
                    <a:pt x="1070928" y="204292"/>
                  </a:lnTo>
                  <a:lnTo>
                    <a:pt x="1070928" y="203594"/>
                  </a:lnTo>
                  <a:lnTo>
                    <a:pt x="1070928" y="204990"/>
                  </a:lnTo>
                  <a:lnTo>
                    <a:pt x="1070928" y="204292"/>
                  </a:lnTo>
                  <a:lnTo>
                    <a:pt x="1070979" y="204990"/>
                  </a:lnTo>
                  <a:lnTo>
                    <a:pt x="1070979" y="204292"/>
                  </a:lnTo>
                  <a:lnTo>
                    <a:pt x="1071068" y="203594"/>
                  </a:lnTo>
                  <a:lnTo>
                    <a:pt x="1071068" y="204292"/>
                  </a:lnTo>
                  <a:lnTo>
                    <a:pt x="1071068" y="202959"/>
                  </a:lnTo>
                  <a:lnTo>
                    <a:pt x="1071068" y="203594"/>
                  </a:lnTo>
                  <a:lnTo>
                    <a:pt x="1071068" y="202260"/>
                  </a:lnTo>
                  <a:lnTo>
                    <a:pt x="1071119" y="202260"/>
                  </a:lnTo>
                  <a:lnTo>
                    <a:pt x="1071119" y="200228"/>
                  </a:lnTo>
                  <a:lnTo>
                    <a:pt x="1071119" y="202959"/>
                  </a:lnTo>
                  <a:lnTo>
                    <a:pt x="1071169" y="202959"/>
                  </a:lnTo>
                  <a:lnTo>
                    <a:pt x="1071169" y="200876"/>
                  </a:lnTo>
                  <a:lnTo>
                    <a:pt x="1071169" y="204292"/>
                  </a:lnTo>
                  <a:lnTo>
                    <a:pt x="1071169" y="203594"/>
                  </a:lnTo>
                  <a:lnTo>
                    <a:pt x="1071220" y="203594"/>
                  </a:lnTo>
                  <a:lnTo>
                    <a:pt x="1071220" y="202959"/>
                  </a:lnTo>
                  <a:lnTo>
                    <a:pt x="1071220" y="204292"/>
                  </a:lnTo>
                  <a:lnTo>
                    <a:pt x="1071220" y="202959"/>
                  </a:lnTo>
                  <a:lnTo>
                    <a:pt x="1071322" y="202959"/>
                  </a:lnTo>
                  <a:lnTo>
                    <a:pt x="1071322" y="203594"/>
                  </a:lnTo>
                  <a:lnTo>
                    <a:pt x="1071322" y="202959"/>
                  </a:lnTo>
                  <a:lnTo>
                    <a:pt x="1071372" y="202959"/>
                  </a:lnTo>
                  <a:lnTo>
                    <a:pt x="1071372" y="204292"/>
                  </a:lnTo>
                  <a:lnTo>
                    <a:pt x="1071372" y="203594"/>
                  </a:lnTo>
                  <a:lnTo>
                    <a:pt x="1071372" y="204292"/>
                  </a:lnTo>
                  <a:lnTo>
                    <a:pt x="1071423" y="204292"/>
                  </a:lnTo>
                  <a:lnTo>
                    <a:pt x="1071423" y="204990"/>
                  </a:lnTo>
                  <a:lnTo>
                    <a:pt x="1071525" y="204990"/>
                  </a:lnTo>
                  <a:lnTo>
                    <a:pt x="1071525" y="203594"/>
                  </a:lnTo>
                  <a:lnTo>
                    <a:pt x="1071563" y="203594"/>
                  </a:lnTo>
                  <a:lnTo>
                    <a:pt x="1071563" y="202260"/>
                  </a:lnTo>
                  <a:lnTo>
                    <a:pt x="1071614" y="202260"/>
                  </a:lnTo>
                  <a:lnTo>
                    <a:pt x="1071614" y="200876"/>
                  </a:lnTo>
                  <a:lnTo>
                    <a:pt x="1071614" y="202260"/>
                  </a:lnTo>
                  <a:lnTo>
                    <a:pt x="1071614" y="200876"/>
                  </a:lnTo>
                  <a:lnTo>
                    <a:pt x="1071614" y="202959"/>
                  </a:lnTo>
                  <a:lnTo>
                    <a:pt x="1071614" y="202260"/>
                  </a:lnTo>
                  <a:lnTo>
                    <a:pt x="1071665" y="200876"/>
                  </a:lnTo>
                  <a:lnTo>
                    <a:pt x="1071665" y="204292"/>
                  </a:lnTo>
                  <a:lnTo>
                    <a:pt x="1071665" y="202959"/>
                  </a:lnTo>
                  <a:lnTo>
                    <a:pt x="1071766" y="202959"/>
                  </a:lnTo>
                  <a:lnTo>
                    <a:pt x="1071766" y="204292"/>
                  </a:lnTo>
                  <a:lnTo>
                    <a:pt x="1071766" y="202959"/>
                  </a:lnTo>
                  <a:lnTo>
                    <a:pt x="1071817" y="202959"/>
                  </a:lnTo>
                  <a:lnTo>
                    <a:pt x="1071817" y="203594"/>
                  </a:lnTo>
                  <a:lnTo>
                    <a:pt x="1071817" y="202959"/>
                  </a:lnTo>
                  <a:lnTo>
                    <a:pt x="1071817" y="203594"/>
                  </a:lnTo>
                  <a:lnTo>
                    <a:pt x="1071868" y="203594"/>
                  </a:lnTo>
                  <a:lnTo>
                    <a:pt x="1071868" y="204292"/>
                  </a:lnTo>
                  <a:lnTo>
                    <a:pt x="1071868" y="203594"/>
                  </a:lnTo>
                  <a:lnTo>
                    <a:pt x="1071868" y="204292"/>
                  </a:lnTo>
                  <a:lnTo>
                    <a:pt x="1071868" y="203594"/>
                  </a:lnTo>
                  <a:lnTo>
                    <a:pt x="1071868" y="204292"/>
                  </a:lnTo>
                  <a:lnTo>
                    <a:pt x="1071868" y="203594"/>
                  </a:lnTo>
                  <a:lnTo>
                    <a:pt x="1071868" y="204292"/>
                  </a:lnTo>
                  <a:lnTo>
                    <a:pt x="1071969" y="204292"/>
                  </a:lnTo>
                  <a:lnTo>
                    <a:pt x="1071969" y="203594"/>
                  </a:lnTo>
                  <a:lnTo>
                    <a:pt x="1071969" y="204990"/>
                  </a:lnTo>
                  <a:lnTo>
                    <a:pt x="1071969" y="204292"/>
                  </a:lnTo>
                  <a:lnTo>
                    <a:pt x="1072020" y="204292"/>
                  </a:lnTo>
                  <a:lnTo>
                    <a:pt x="1072020" y="203594"/>
                  </a:lnTo>
                  <a:lnTo>
                    <a:pt x="1072020" y="204292"/>
                  </a:lnTo>
                  <a:lnTo>
                    <a:pt x="1072020" y="202959"/>
                  </a:lnTo>
                  <a:lnTo>
                    <a:pt x="1072071" y="202959"/>
                  </a:lnTo>
                  <a:lnTo>
                    <a:pt x="1072071" y="200876"/>
                  </a:lnTo>
                  <a:lnTo>
                    <a:pt x="1072109" y="200876"/>
                  </a:lnTo>
                  <a:lnTo>
                    <a:pt x="1072109" y="202959"/>
                  </a:lnTo>
                  <a:lnTo>
                    <a:pt x="1072109" y="200876"/>
                  </a:lnTo>
                  <a:lnTo>
                    <a:pt x="1072109" y="202260"/>
                  </a:lnTo>
                  <a:lnTo>
                    <a:pt x="1072211" y="202959"/>
                  </a:lnTo>
                  <a:lnTo>
                    <a:pt x="1072211" y="204292"/>
                  </a:lnTo>
                  <a:lnTo>
                    <a:pt x="1072211" y="202959"/>
                  </a:lnTo>
                  <a:lnTo>
                    <a:pt x="1072211" y="203594"/>
                  </a:lnTo>
                  <a:lnTo>
                    <a:pt x="1072262" y="203594"/>
                  </a:lnTo>
                  <a:lnTo>
                    <a:pt x="1072262" y="204292"/>
                  </a:lnTo>
                  <a:lnTo>
                    <a:pt x="1072262" y="202959"/>
                  </a:lnTo>
                  <a:lnTo>
                    <a:pt x="1072262" y="203594"/>
                  </a:lnTo>
                  <a:lnTo>
                    <a:pt x="1072312" y="203594"/>
                  </a:lnTo>
                  <a:lnTo>
                    <a:pt x="1072312" y="204292"/>
                  </a:lnTo>
                  <a:lnTo>
                    <a:pt x="1072312" y="203594"/>
                  </a:lnTo>
                  <a:lnTo>
                    <a:pt x="1072312" y="204292"/>
                  </a:lnTo>
                  <a:lnTo>
                    <a:pt x="1072312" y="203594"/>
                  </a:lnTo>
                  <a:lnTo>
                    <a:pt x="1072312" y="204292"/>
                  </a:lnTo>
                  <a:lnTo>
                    <a:pt x="1072312" y="203594"/>
                  </a:lnTo>
                  <a:lnTo>
                    <a:pt x="1072312" y="204292"/>
                  </a:lnTo>
                  <a:lnTo>
                    <a:pt x="1072414" y="204292"/>
                  </a:lnTo>
                  <a:lnTo>
                    <a:pt x="1072414" y="204990"/>
                  </a:lnTo>
                  <a:lnTo>
                    <a:pt x="1072414" y="204292"/>
                  </a:lnTo>
                  <a:lnTo>
                    <a:pt x="1072414" y="204990"/>
                  </a:lnTo>
                  <a:lnTo>
                    <a:pt x="1072414" y="204292"/>
                  </a:lnTo>
                  <a:lnTo>
                    <a:pt x="1072414" y="204990"/>
                  </a:lnTo>
                  <a:lnTo>
                    <a:pt x="1072465" y="204292"/>
                  </a:lnTo>
                  <a:lnTo>
                    <a:pt x="1072465" y="204990"/>
                  </a:lnTo>
                  <a:lnTo>
                    <a:pt x="1072465" y="204292"/>
                  </a:lnTo>
                  <a:lnTo>
                    <a:pt x="1072465" y="204990"/>
                  </a:lnTo>
                  <a:lnTo>
                    <a:pt x="1072465" y="204292"/>
                  </a:lnTo>
                  <a:lnTo>
                    <a:pt x="1072465" y="204990"/>
                  </a:lnTo>
                  <a:lnTo>
                    <a:pt x="1072465" y="204292"/>
                  </a:lnTo>
                  <a:lnTo>
                    <a:pt x="1072465" y="204990"/>
                  </a:lnTo>
                  <a:lnTo>
                    <a:pt x="1072465" y="204292"/>
                  </a:lnTo>
                  <a:lnTo>
                    <a:pt x="1072515" y="204292"/>
                  </a:lnTo>
                  <a:lnTo>
                    <a:pt x="1072515" y="203594"/>
                  </a:lnTo>
                  <a:lnTo>
                    <a:pt x="1072515" y="204292"/>
                  </a:lnTo>
                  <a:lnTo>
                    <a:pt x="1072515" y="202959"/>
                  </a:lnTo>
                  <a:lnTo>
                    <a:pt x="1072515" y="203594"/>
                  </a:lnTo>
                  <a:lnTo>
                    <a:pt x="1072566" y="203594"/>
                  </a:lnTo>
                  <a:lnTo>
                    <a:pt x="1072566" y="202260"/>
                  </a:lnTo>
                  <a:lnTo>
                    <a:pt x="1072566" y="204292"/>
                  </a:lnTo>
                  <a:lnTo>
                    <a:pt x="1072655" y="204292"/>
                  </a:lnTo>
                  <a:lnTo>
                    <a:pt x="1072655" y="203594"/>
                  </a:lnTo>
                  <a:lnTo>
                    <a:pt x="1072655" y="204990"/>
                  </a:lnTo>
                  <a:lnTo>
                    <a:pt x="1072706" y="204292"/>
                  </a:lnTo>
                  <a:lnTo>
                    <a:pt x="1072706" y="204990"/>
                  </a:lnTo>
                  <a:lnTo>
                    <a:pt x="1072706" y="204292"/>
                  </a:lnTo>
                  <a:lnTo>
                    <a:pt x="1072706" y="204990"/>
                  </a:lnTo>
                  <a:lnTo>
                    <a:pt x="1072757" y="204292"/>
                  </a:lnTo>
                  <a:lnTo>
                    <a:pt x="1072757" y="204990"/>
                  </a:lnTo>
                  <a:lnTo>
                    <a:pt x="1072757" y="204292"/>
                  </a:lnTo>
                  <a:lnTo>
                    <a:pt x="1072808" y="204292"/>
                  </a:lnTo>
                  <a:lnTo>
                    <a:pt x="1072808" y="204990"/>
                  </a:lnTo>
                  <a:lnTo>
                    <a:pt x="1072808" y="204292"/>
                  </a:lnTo>
                  <a:lnTo>
                    <a:pt x="1072808" y="204990"/>
                  </a:lnTo>
                  <a:lnTo>
                    <a:pt x="1072808" y="204292"/>
                  </a:lnTo>
                  <a:lnTo>
                    <a:pt x="1072808" y="204990"/>
                  </a:lnTo>
                  <a:lnTo>
                    <a:pt x="1072808" y="204292"/>
                  </a:lnTo>
                  <a:lnTo>
                    <a:pt x="1072909" y="204292"/>
                  </a:lnTo>
                  <a:lnTo>
                    <a:pt x="1072909" y="204990"/>
                  </a:lnTo>
                  <a:lnTo>
                    <a:pt x="1072909" y="204292"/>
                  </a:lnTo>
                  <a:lnTo>
                    <a:pt x="1072909" y="204990"/>
                  </a:lnTo>
                  <a:lnTo>
                    <a:pt x="1072909" y="204292"/>
                  </a:lnTo>
                  <a:lnTo>
                    <a:pt x="1072960" y="203594"/>
                  </a:lnTo>
                  <a:lnTo>
                    <a:pt x="1072960" y="204292"/>
                  </a:lnTo>
                  <a:lnTo>
                    <a:pt x="1072960" y="203594"/>
                  </a:lnTo>
                  <a:lnTo>
                    <a:pt x="1073011" y="203594"/>
                  </a:lnTo>
                  <a:lnTo>
                    <a:pt x="1073011" y="202260"/>
                  </a:lnTo>
                  <a:lnTo>
                    <a:pt x="1073112" y="202260"/>
                  </a:lnTo>
                  <a:lnTo>
                    <a:pt x="1073112" y="204292"/>
                  </a:lnTo>
                  <a:lnTo>
                    <a:pt x="1073112" y="202959"/>
                  </a:lnTo>
                  <a:lnTo>
                    <a:pt x="1073150" y="202959"/>
                  </a:lnTo>
                  <a:lnTo>
                    <a:pt x="1073150" y="206324"/>
                  </a:lnTo>
                  <a:lnTo>
                    <a:pt x="1073150" y="204990"/>
                  </a:lnTo>
                  <a:lnTo>
                    <a:pt x="1073150" y="206324"/>
                  </a:lnTo>
                  <a:lnTo>
                    <a:pt x="1073150" y="204292"/>
                  </a:lnTo>
                  <a:lnTo>
                    <a:pt x="1073201" y="204292"/>
                  </a:lnTo>
                  <a:lnTo>
                    <a:pt x="1073201" y="206324"/>
                  </a:lnTo>
                  <a:lnTo>
                    <a:pt x="1073201" y="204292"/>
                  </a:lnTo>
                  <a:lnTo>
                    <a:pt x="1073201" y="204990"/>
                  </a:lnTo>
                  <a:lnTo>
                    <a:pt x="1073252" y="204990"/>
                  </a:lnTo>
                  <a:lnTo>
                    <a:pt x="1073252" y="206324"/>
                  </a:lnTo>
                  <a:lnTo>
                    <a:pt x="1073252" y="204990"/>
                  </a:lnTo>
                  <a:lnTo>
                    <a:pt x="1073252" y="206324"/>
                  </a:lnTo>
                  <a:lnTo>
                    <a:pt x="1073354" y="206324"/>
                  </a:lnTo>
                  <a:lnTo>
                    <a:pt x="1073354" y="207022"/>
                  </a:lnTo>
                  <a:lnTo>
                    <a:pt x="1073405" y="207022"/>
                  </a:lnTo>
                  <a:lnTo>
                    <a:pt x="1073405" y="204990"/>
                  </a:lnTo>
                  <a:lnTo>
                    <a:pt x="1073405" y="206324"/>
                  </a:lnTo>
                  <a:lnTo>
                    <a:pt x="1073405" y="204990"/>
                  </a:lnTo>
                  <a:lnTo>
                    <a:pt x="1073405" y="206324"/>
                  </a:lnTo>
                  <a:lnTo>
                    <a:pt x="1073455" y="204990"/>
                  </a:lnTo>
                  <a:lnTo>
                    <a:pt x="1073455" y="204292"/>
                  </a:lnTo>
                  <a:lnTo>
                    <a:pt x="1073455" y="204990"/>
                  </a:lnTo>
                  <a:lnTo>
                    <a:pt x="1073455" y="204292"/>
                  </a:lnTo>
                  <a:lnTo>
                    <a:pt x="1073557" y="203594"/>
                  </a:lnTo>
                  <a:lnTo>
                    <a:pt x="1073557" y="202959"/>
                  </a:lnTo>
                  <a:lnTo>
                    <a:pt x="1073557" y="203594"/>
                  </a:lnTo>
                  <a:lnTo>
                    <a:pt x="1073608" y="204292"/>
                  </a:lnTo>
                  <a:lnTo>
                    <a:pt x="1073608" y="204990"/>
                  </a:lnTo>
                  <a:lnTo>
                    <a:pt x="1073608" y="202959"/>
                  </a:lnTo>
                  <a:lnTo>
                    <a:pt x="1073608" y="206324"/>
                  </a:lnTo>
                  <a:lnTo>
                    <a:pt x="1073659" y="207022"/>
                  </a:lnTo>
                  <a:lnTo>
                    <a:pt x="1073659" y="204292"/>
                  </a:lnTo>
                  <a:lnTo>
                    <a:pt x="1073659" y="204990"/>
                  </a:lnTo>
                  <a:lnTo>
                    <a:pt x="1073659" y="204292"/>
                  </a:lnTo>
                  <a:lnTo>
                    <a:pt x="1073659" y="206324"/>
                  </a:lnTo>
                  <a:lnTo>
                    <a:pt x="1073697" y="206324"/>
                  </a:lnTo>
                  <a:lnTo>
                    <a:pt x="1073697" y="204292"/>
                  </a:lnTo>
                  <a:lnTo>
                    <a:pt x="1073697" y="206324"/>
                  </a:lnTo>
                  <a:lnTo>
                    <a:pt x="1073798" y="206324"/>
                  </a:lnTo>
                  <a:lnTo>
                    <a:pt x="1073798" y="204990"/>
                  </a:lnTo>
                  <a:lnTo>
                    <a:pt x="1073798" y="206324"/>
                  </a:lnTo>
                  <a:lnTo>
                    <a:pt x="1073798" y="204990"/>
                  </a:lnTo>
                  <a:lnTo>
                    <a:pt x="1073798" y="207022"/>
                  </a:lnTo>
                  <a:lnTo>
                    <a:pt x="1073798" y="206324"/>
                  </a:lnTo>
                  <a:lnTo>
                    <a:pt x="1073849" y="207022"/>
                  </a:lnTo>
                  <a:lnTo>
                    <a:pt x="1073849" y="204990"/>
                  </a:lnTo>
                  <a:lnTo>
                    <a:pt x="1073849" y="207022"/>
                  </a:lnTo>
                  <a:lnTo>
                    <a:pt x="1073849" y="206324"/>
                  </a:lnTo>
                  <a:lnTo>
                    <a:pt x="1073849" y="207022"/>
                  </a:lnTo>
                  <a:lnTo>
                    <a:pt x="1073849" y="206324"/>
                  </a:lnTo>
                  <a:lnTo>
                    <a:pt x="1073849" y="207022"/>
                  </a:lnTo>
                  <a:lnTo>
                    <a:pt x="1073900" y="206324"/>
                  </a:lnTo>
                  <a:lnTo>
                    <a:pt x="1073900" y="207022"/>
                  </a:lnTo>
                  <a:lnTo>
                    <a:pt x="1073900" y="204990"/>
                  </a:lnTo>
                  <a:lnTo>
                    <a:pt x="1073900" y="206324"/>
                  </a:lnTo>
                  <a:lnTo>
                    <a:pt x="1073900" y="204990"/>
                  </a:lnTo>
                  <a:lnTo>
                    <a:pt x="1074001" y="204990"/>
                  </a:lnTo>
                  <a:lnTo>
                    <a:pt x="1074001" y="203594"/>
                  </a:lnTo>
                  <a:lnTo>
                    <a:pt x="1074001" y="204292"/>
                  </a:lnTo>
                  <a:lnTo>
                    <a:pt x="1074052" y="204292"/>
                  </a:lnTo>
                  <a:lnTo>
                    <a:pt x="1074052" y="202260"/>
                  </a:lnTo>
                  <a:lnTo>
                    <a:pt x="1074103" y="202260"/>
                  </a:lnTo>
                  <a:lnTo>
                    <a:pt x="1074103" y="202959"/>
                  </a:lnTo>
                  <a:lnTo>
                    <a:pt x="1074103" y="202260"/>
                  </a:lnTo>
                  <a:lnTo>
                    <a:pt x="1074103" y="202959"/>
                  </a:lnTo>
                  <a:lnTo>
                    <a:pt x="1074103" y="202260"/>
                  </a:lnTo>
                  <a:lnTo>
                    <a:pt x="1074103" y="203594"/>
                  </a:lnTo>
                  <a:lnTo>
                    <a:pt x="1074103" y="200876"/>
                  </a:lnTo>
                  <a:lnTo>
                    <a:pt x="1074103" y="202959"/>
                  </a:lnTo>
                  <a:lnTo>
                    <a:pt x="1074154" y="203594"/>
                  </a:lnTo>
                  <a:lnTo>
                    <a:pt x="1074154" y="204292"/>
                  </a:lnTo>
                  <a:lnTo>
                    <a:pt x="1074154" y="203594"/>
                  </a:lnTo>
                  <a:lnTo>
                    <a:pt x="1074243" y="204292"/>
                  </a:lnTo>
                  <a:lnTo>
                    <a:pt x="1074243" y="203594"/>
                  </a:lnTo>
                  <a:lnTo>
                    <a:pt x="1074243" y="204990"/>
                  </a:lnTo>
                  <a:lnTo>
                    <a:pt x="1074294" y="204990"/>
                  </a:lnTo>
                  <a:lnTo>
                    <a:pt x="1074294" y="206324"/>
                  </a:lnTo>
                  <a:lnTo>
                    <a:pt x="1074294" y="204990"/>
                  </a:lnTo>
                  <a:lnTo>
                    <a:pt x="1074294" y="206324"/>
                  </a:lnTo>
                  <a:lnTo>
                    <a:pt x="1074294" y="204990"/>
                  </a:lnTo>
                  <a:lnTo>
                    <a:pt x="1074344" y="204990"/>
                  </a:lnTo>
                  <a:lnTo>
                    <a:pt x="1074344" y="207022"/>
                  </a:lnTo>
                  <a:lnTo>
                    <a:pt x="1074344" y="206324"/>
                  </a:lnTo>
                  <a:lnTo>
                    <a:pt x="1074395" y="206324"/>
                  </a:lnTo>
                  <a:lnTo>
                    <a:pt x="1074395" y="207022"/>
                  </a:lnTo>
                  <a:lnTo>
                    <a:pt x="1074395" y="204990"/>
                  </a:lnTo>
                  <a:lnTo>
                    <a:pt x="1074395" y="206324"/>
                  </a:lnTo>
                  <a:lnTo>
                    <a:pt x="1074395" y="204990"/>
                  </a:lnTo>
                  <a:lnTo>
                    <a:pt x="1074497" y="204990"/>
                  </a:lnTo>
                  <a:lnTo>
                    <a:pt x="1074497" y="204292"/>
                  </a:lnTo>
                  <a:lnTo>
                    <a:pt x="1074497" y="204990"/>
                  </a:lnTo>
                  <a:lnTo>
                    <a:pt x="1074497" y="204292"/>
                  </a:lnTo>
                  <a:lnTo>
                    <a:pt x="1074497" y="204990"/>
                  </a:lnTo>
                  <a:lnTo>
                    <a:pt x="1074497" y="203594"/>
                  </a:lnTo>
                  <a:lnTo>
                    <a:pt x="1074547" y="204292"/>
                  </a:lnTo>
                  <a:lnTo>
                    <a:pt x="1074547" y="200876"/>
                  </a:lnTo>
                  <a:lnTo>
                    <a:pt x="1074598" y="200876"/>
                  </a:lnTo>
                  <a:lnTo>
                    <a:pt x="1074598" y="202959"/>
                  </a:lnTo>
                  <a:lnTo>
                    <a:pt x="1074598" y="200228"/>
                  </a:lnTo>
                  <a:lnTo>
                    <a:pt x="1074700" y="200228"/>
                  </a:lnTo>
                  <a:lnTo>
                    <a:pt x="1074700" y="202959"/>
                  </a:lnTo>
                  <a:lnTo>
                    <a:pt x="1074700" y="200876"/>
                  </a:lnTo>
                  <a:lnTo>
                    <a:pt x="1074700" y="202260"/>
                  </a:lnTo>
                  <a:lnTo>
                    <a:pt x="1074738" y="202260"/>
                  </a:lnTo>
                  <a:lnTo>
                    <a:pt x="1074738" y="203594"/>
                  </a:lnTo>
                  <a:lnTo>
                    <a:pt x="1074738" y="202959"/>
                  </a:lnTo>
                  <a:lnTo>
                    <a:pt x="1074789" y="202959"/>
                  </a:lnTo>
                  <a:lnTo>
                    <a:pt x="1074789" y="203594"/>
                  </a:lnTo>
                  <a:lnTo>
                    <a:pt x="1074789" y="202959"/>
                  </a:lnTo>
                  <a:lnTo>
                    <a:pt x="1074789" y="204292"/>
                  </a:lnTo>
                  <a:lnTo>
                    <a:pt x="1074840" y="204292"/>
                  </a:lnTo>
                  <a:lnTo>
                    <a:pt x="1074840" y="204990"/>
                  </a:lnTo>
                  <a:lnTo>
                    <a:pt x="1074941" y="204990"/>
                  </a:lnTo>
                  <a:lnTo>
                    <a:pt x="1074941" y="204292"/>
                  </a:lnTo>
                  <a:lnTo>
                    <a:pt x="1074941" y="204990"/>
                  </a:lnTo>
                  <a:lnTo>
                    <a:pt x="1074992" y="204990"/>
                  </a:lnTo>
                  <a:lnTo>
                    <a:pt x="1074992" y="204292"/>
                  </a:lnTo>
                  <a:lnTo>
                    <a:pt x="1074992" y="204990"/>
                  </a:lnTo>
                  <a:lnTo>
                    <a:pt x="1074992" y="204292"/>
                  </a:lnTo>
                  <a:lnTo>
                    <a:pt x="1074992" y="204990"/>
                  </a:lnTo>
                  <a:lnTo>
                    <a:pt x="1074992" y="204292"/>
                  </a:lnTo>
                  <a:lnTo>
                    <a:pt x="1075043" y="204292"/>
                  </a:lnTo>
                  <a:lnTo>
                    <a:pt x="1075043" y="203594"/>
                  </a:lnTo>
                  <a:lnTo>
                    <a:pt x="1075043" y="204292"/>
                  </a:lnTo>
                  <a:lnTo>
                    <a:pt x="1075043" y="203594"/>
                  </a:lnTo>
                  <a:lnTo>
                    <a:pt x="1075043" y="204292"/>
                  </a:lnTo>
                  <a:lnTo>
                    <a:pt x="1075043" y="203594"/>
                  </a:lnTo>
                  <a:lnTo>
                    <a:pt x="1075043" y="204990"/>
                  </a:lnTo>
                  <a:lnTo>
                    <a:pt x="1075043" y="204292"/>
                  </a:lnTo>
                  <a:lnTo>
                    <a:pt x="1075144" y="204292"/>
                  </a:lnTo>
                  <a:lnTo>
                    <a:pt x="1075144" y="203594"/>
                  </a:lnTo>
                  <a:lnTo>
                    <a:pt x="1075144" y="206324"/>
                  </a:lnTo>
                  <a:lnTo>
                    <a:pt x="1075144" y="204292"/>
                  </a:lnTo>
                  <a:lnTo>
                    <a:pt x="1075195" y="204292"/>
                  </a:lnTo>
                  <a:lnTo>
                    <a:pt x="1075195" y="204990"/>
                  </a:lnTo>
                  <a:lnTo>
                    <a:pt x="1075195" y="204292"/>
                  </a:lnTo>
                  <a:lnTo>
                    <a:pt x="1075195" y="204990"/>
                  </a:lnTo>
                  <a:lnTo>
                    <a:pt x="1075246" y="204292"/>
                  </a:lnTo>
                  <a:lnTo>
                    <a:pt x="1075246" y="204990"/>
                  </a:lnTo>
                  <a:lnTo>
                    <a:pt x="1075246" y="204292"/>
                  </a:lnTo>
                  <a:lnTo>
                    <a:pt x="1075246" y="206324"/>
                  </a:lnTo>
                  <a:lnTo>
                    <a:pt x="1075246" y="204990"/>
                  </a:lnTo>
                  <a:lnTo>
                    <a:pt x="1075386" y="204990"/>
                  </a:lnTo>
                  <a:lnTo>
                    <a:pt x="1075386" y="206324"/>
                  </a:lnTo>
                  <a:lnTo>
                    <a:pt x="1075386" y="204990"/>
                  </a:lnTo>
                  <a:lnTo>
                    <a:pt x="1075386" y="206324"/>
                  </a:lnTo>
                  <a:lnTo>
                    <a:pt x="1075386" y="204990"/>
                  </a:lnTo>
                  <a:lnTo>
                    <a:pt x="1075386" y="206324"/>
                  </a:lnTo>
                  <a:lnTo>
                    <a:pt x="1075437" y="206324"/>
                  </a:lnTo>
                  <a:lnTo>
                    <a:pt x="1075437" y="204990"/>
                  </a:lnTo>
                  <a:lnTo>
                    <a:pt x="1075437" y="206324"/>
                  </a:lnTo>
                  <a:lnTo>
                    <a:pt x="1075437" y="204990"/>
                  </a:lnTo>
                  <a:lnTo>
                    <a:pt x="1075437" y="206324"/>
                  </a:lnTo>
                  <a:lnTo>
                    <a:pt x="1075437" y="204292"/>
                  </a:lnTo>
                  <a:lnTo>
                    <a:pt x="1075437" y="204990"/>
                  </a:lnTo>
                  <a:lnTo>
                    <a:pt x="1075487" y="204990"/>
                  </a:lnTo>
                  <a:lnTo>
                    <a:pt x="1075487" y="204292"/>
                  </a:lnTo>
                  <a:lnTo>
                    <a:pt x="1075589" y="204292"/>
                  </a:lnTo>
                  <a:lnTo>
                    <a:pt x="1075589" y="203594"/>
                  </a:lnTo>
                  <a:lnTo>
                    <a:pt x="1075589" y="204990"/>
                  </a:lnTo>
                  <a:lnTo>
                    <a:pt x="1075589" y="203594"/>
                  </a:lnTo>
                  <a:lnTo>
                    <a:pt x="1075640" y="203594"/>
                  </a:lnTo>
                  <a:lnTo>
                    <a:pt x="1075640" y="207022"/>
                  </a:lnTo>
                  <a:lnTo>
                    <a:pt x="1075640" y="204990"/>
                  </a:lnTo>
                  <a:lnTo>
                    <a:pt x="1075690" y="204990"/>
                  </a:lnTo>
                  <a:lnTo>
                    <a:pt x="1075690" y="207022"/>
                  </a:lnTo>
                  <a:lnTo>
                    <a:pt x="1075690" y="206324"/>
                  </a:lnTo>
                  <a:lnTo>
                    <a:pt x="1075741" y="204990"/>
                  </a:lnTo>
                  <a:lnTo>
                    <a:pt x="1075741" y="206324"/>
                  </a:lnTo>
                  <a:lnTo>
                    <a:pt x="1075741" y="204990"/>
                  </a:lnTo>
                  <a:lnTo>
                    <a:pt x="1075741" y="207022"/>
                  </a:lnTo>
                  <a:lnTo>
                    <a:pt x="1075741" y="206324"/>
                  </a:lnTo>
                  <a:lnTo>
                    <a:pt x="1075830" y="206324"/>
                  </a:lnTo>
                  <a:lnTo>
                    <a:pt x="1075830" y="207022"/>
                  </a:lnTo>
                  <a:lnTo>
                    <a:pt x="1075830" y="206324"/>
                  </a:lnTo>
                  <a:lnTo>
                    <a:pt x="1075830" y="207022"/>
                  </a:lnTo>
                  <a:lnTo>
                    <a:pt x="1075830" y="206324"/>
                  </a:lnTo>
                  <a:lnTo>
                    <a:pt x="1075881" y="206324"/>
                  </a:lnTo>
                  <a:lnTo>
                    <a:pt x="1075881" y="207022"/>
                  </a:lnTo>
                  <a:lnTo>
                    <a:pt x="1075881" y="204990"/>
                  </a:lnTo>
                  <a:lnTo>
                    <a:pt x="1075932" y="206324"/>
                  </a:lnTo>
                  <a:lnTo>
                    <a:pt x="1075932" y="204292"/>
                  </a:lnTo>
                  <a:lnTo>
                    <a:pt x="1075983" y="204292"/>
                  </a:lnTo>
                  <a:lnTo>
                    <a:pt x="1075983" y="203594"/>
                  </a:lnTo>
                  <a:lnTo>
                    <a:pt x="1075983" y="204292"/>
                  </a:lnTo>
                  <a:lnTo>
                    <a:pt x="1075983" y="203594"/>
                  </a:lnTo>
                  <a:lnTo>
                    <a:pt x="1076084" y="203594"/>
                  </a:lnTo>
                  <a:lnTo>
                    <a:pt x="1076084" y="204990"/>
                  </a:lnTo>
                  <a:lnTo>
                    <a:pt x="1076084" y="202959"/>
                  </a:lnTo>
                  <a:lnTo>
                    <a:pt x="1076135" y="203594"/>
                  </a:lnTo>
                  <a:lnTo>
                    <a:pt x="1076135" y="207022"/>
                  </a:lnTo>
                  <a:lnTo>
                    <a:pt x="1076135" y="204990"/>
                  </a:lnTo>
                  <a:lnTo>
                    <a:pt x="1076186" y="204990"/>
                  </a:lnTo>
                  <a:lnTo>
                    <a:pt x="1076186" y="206324"/>
                  </a:lnTo>
                  <a:lnTo>
                    <a:pt x="1076186" y="204990"/>
                  </a:lnTo>
                  <a:lnTo>
                    <a:pt x="1076186" y="207022"/>
                  </a:lnTo>
                  <a:lnTo>
                    <a:pt x="1076186" y="204990"/>
                  </a:lnTo>
                  <a:lnTo>
                    <a:pt x="1076186" y="206324"/>
                  </a:lnTo>
                  <a:lnTo>
                    <a:pt x="1076186" y="204990"/>
                  </a:lnTo>
                  <a:lnTo>
                    <a:pt x="1076186" y="206324"/>
                  </a:lnTo>
                  <a:lnTo>
                    <a:pt x="1076287" y="206324"/>
                  </a:lnTo>
                  <a:lnTo>
                    <a:pt x="1076287" y="207022"/>
                  </a:lnTo>
                  <a:lnTo>
                    <a:pt x="1076325" y="207022"/>
                  </a:lnTo>
                  <a:lnTo>
                    <a:pt x="1076325" y="207721"/>
                  </a:lnTo>
                  <a:lnTo>
                    <a:pt x="1076325" y="207022"/>
                  </a:lnTo>
                  <a:lnTo>
                    <a:pt x="1076325" y="207721"/>
                  </a:lnTo>
                  <a:lnTo>
                    <a:pt x="1076325" y="207022"/>
                  </a:lnTo>
                  <a:lnTo>
                    <a:pt x="1076325" y="207721"/>
                  </a:lnTo>
                  <a:lnTo>
                    <a:pt x="1076325" y="206324"/>
                  </a:lnTo>
                  <a:lnTo>
                    <a:pt x="1076325" y="207022"/>
                  </a:lnTo>
                  <a:lnTo>
                    <a:pt x="1076376" y="207022"/>
                  </a:lnTo>
                  <a:lnTo>
                    <a:pt x="1076376" y="207721"/>
                  </a:lnTo>
                  <a:lnTo>
                    <a:pt x="1076376" y="206324"/>
                  </a:lnTo>
                  <a:lnTo>
                    <a:pt x="1076376" y="207022"/>
                  </a:lnTo>
                  <a:lnTo>
                    <a:pt x="1076427" y="207022"/>
                  </a:lnTo>
                  <a:lnTo>
                    <a:pt x="1076427" y="204292"/>
                  </a:lnTo>
                  <a:lnTo>
                    <a:pt x="1076427" y="204990"/>
                  </a:lnTo>
                  <a:lnTo>
                    <a:pt x="1076529" y="204990"/>
                  </a:lnTo>
                  <a:lnTo>
                    <a:pt x="1076529" y="202959"/>
                  </a:lnTo>
                  <a:lnTo>
                    <a:pt x="1076580" y="202959"/>
                  </a:lnTo>
                  <a:lnTo>
                    <a:pt x="1076580" y="204292"/>
                  </a:lnTo>
                  <a:lnTo>
                    <a:pt x="1076580" y="202260"/>
                  </a:lnTo>
                  <a:lnTo>
                    <a:pt x="1076580" y="202959"/>
                  </a:lnTo>
                  <a:lnTo>
                    <a:pt x="1076630" y="202959"/>
                  </a:lnTo>
                  <a:lnTo>
                    <a:pt x="1076630" y="204990"/>
                  </a:lnTo>
                  <a:lnTo>
                    <a:pt x="1076630" y="203594"/>
                  </a:lnTo>
                  <a:lnTo>
                    <a:pt x="1076630" y="204990"/>
                  </a:lnTo>
                  <a:lnTo>
                    <a:pt x="1076732" y="204990"/>
                  </a:lnTo>
                  <a:lnTo>
                    <a:pt x="1076732" y="206324"/>
                  </a:lnTo>
                  <a:lnTo>
                    <a:pt x="1076732" y="204292"/>
                  </a:lnTo>
                  <a:lnTo>
                    <a:pt x="1076732" y="204990"/>
                  </a:lnTo>
                  <a:lnTo>
                    <a:pt x="1076783" y="206324"/>
                  </a:lnTo>
                  <a:lnTo>
                    <a:pt x="1076783" y="204990"/>
                  </a:lnTo>
                  <a:lnTo>
                    <a:pt x="1076783" y="206324"/>
                  </a:lnTo>
                  <a:lnTo>
                    <a:pt x="1076834" y="206324"/>
                  </a:lnTo>
                  <a:lnTo>
                    <a:pt x="1076834" y="204990"/>
                  </a:lnTo>
                  <a:lnTo>
                    <a:pt x="1076834" y="206324"/>
                  </a:lnTo>
                  <a:lnTo>
                    <a:pt x="1076834" y="204990"/>
                  </a:lnTo>
                  <a:lnTo>
                    <a:pt x="1076834" y="206324"/>
                  </a:lnTo>
                  <a:lnTo>
                    <a:pt x="1076834" y="204990"/>
                  </a:lnTo>
                  <a:lnTo>
                    <a:pt x="1076834" y="206324"/>
                  </a:lnTo>
                  <a:lnTo>
                    <a:pt x="1076872" y="206324"/>
                  </a:lnTo>
                  <a:lnTo>
                    <a:pt x="1076872" y="204990"/>
                  </a:lnTo>
                  <a:lnTo>
                    <a:pt x="1076872" y="206324"/>
                  </a:lnTo>
                  <a:lnTo>
                    <a:pt x="1076872" y="204990"/>
                  </a:lnTo>
                  <a:lnTo>
                    <a:pt x="1076872" y="206324"/>
                  </a:lnTo>
                  <a:lnTo>
                    <a:pt x="1076872" y="204990"/>
                  </a:lnTo>
                  <a:lnTo>
                    <a:pt x="1076973" y="204990"/>
                  </a:lnTo>
                  <a:lnTo>
                    <a:pt x="1076973" y="204292"/>
                  </a:lnTo>
                  <a:lnTo>
                    <a:pt x="1076973" y="204990"/>
                  </a:lnTo>
                  <a:lnTo>
                    <a:pt x="1076973" y="204292"/>
                  </a:lnTo>
                  <a:lnTo>
                    <a:pt x="1076973" y="204990"/>
                  </a:lnTo>
                  <a:lnTo>
                    <a:pt x="1077024" y="204292"/>
                  </a:lnTo>
                  <a:lnTo>
                    <a:pt x="1077024" y="203594"/>
                  </a:lnTo>
                  <a:lnTo>
                    <a:pt x="1077024" y="204292"/>
                  </a:lnTo>
                  <a:lnTo>
                    <a:pt x="1077024" y="202959"/>
                  </a:lnTo>
                  <a:lnTo>
                    <a:pt x="1077024" y="203594"/>
                  </a:lnTo>
                  <a:lnTo>
                    <a:pt x="1077024" y="202959"/>
                  </a:lnTo>
                  <a:lnTo>
                    <a:pt x="1077024" y="203594"/>
                  </a:lnTo>
                  <a:lnTo>
                    <a:pt x="1077024" y="202260"/>
                  </a:lnTo>
                  <a:lnTo>
                    <a:pt x="1077075" y="202959"/>
                  </a:lnTo>
                  <a:lnTo>
                    <a:pt x="1077075" y="203594"/>
                  </a:lnTo>
                  <a:lnTo>
                    <a:pt x="1077075" y="200876"/>
                  </a:lnTo>
                  <a:lnTo>
                    <a:pt x="1077075" y="203594"/>
                  </a:lnTo>
                  <a:lnTo>
                    <a:pt x="1077176" y="204292"/>
                  </a:lnTo>
                  <a:lnTo>
                    <a:pt x="1077176" y="202959"/>
                  </a:lnTo>
                  <a:lnTo>
                    <a:pt x="1077176" y="204292"/>
                  </a:lnTo>
                  <a:lnTo>
                    <a:pt x="1077227" y="204292"/>
                  </a:lnTo>
                  <a:lnTo>
                    <a:pt x="1077227" y="203594"/>
                  </a:lnTo>
                  <a:lnTo>
                    <a:pt x="1077227" y="204292"/>
                  </a:lnTo>
                  <a:lnTo>
                    <a:pt x="1077278" y="204292"/>
                  </a:lnTo>
                  <a:lnTo>
                    <a:pt x="1077278" y="204990"/>
                  </a:lnTo>
                  <a:lnTo>
                    <a:pt x="1077278" y="204292"/>
                  </a:lnTo>
                  <a:lnTo>
                    <a:pt x="1077278" y="204990"/>
                  </a:lnTo>
                  <a:lnTo>
                    <a:pt x="1077278" y="204292"/>
                  </a:lnTo>
                  <a:lnTo>
                    <a:pt x="1077329" y="204292"/>
                  </a:lnTo>
                  <a:lnTo>
                    <a:pt x="1077329" y="204990"/>
                  </a:lnTo>
                  <a:lnTo>
                    <a:pt x="1077418" y="204990"/>
                  </a:lnTo>
                  <a:lnTo>
                    <a:pt x="1077418" y="206324"/>
                  </a:lnTo>
                  <a:lnTo>
                    <a:pt x="1077418" y="204990"/>
                  </a:lnTo>
                  <a:lnTo>
                    <a:pt x="1077469" y="204990"/>
                  </a:lnTo>
                  <a:lnTo>
                    <a:pt x="1077469" y="204292"/>
                  </a:lnTo>
                  <a:lnTo>
                    <a:pt x="1077469" y="204990"/>
                  </a:lnTo>
                  <a:lnTo>
                    <a:pt x="1077469" y="203594"/>
                  </a:lnTo>
                  <a:lnTo>
                    <a:pt x="1077519" y="203594"/>
                  </a:lnTo>
                  <a:lnTo>
                    <a:pt x="1077519" y="202959"/>
                  </a:lnTo>
                  <a:lnTo>
                    <a:pt x="1077519" y="203594"/>
                  </a:lnTo>
                  <a:lnTo>
                    <a:pt x="1077519" y="202959"/>
                  </a:lnTo>
                  <a:lnTo>
                    <a:pt x="1077570" y="202959"/>
                  </a:lnTo>
                  <a:lnTo>
                    <a:pt x="1077570" y="202260"/>
                  </a:lnTo>
                  <a:lnTo>
                    <a:pt x="1077570" y="204292"/>
                  </a:lnTo>
                  <a:lnTo>
                    <a:pt x="1077672" y="204292"/>
                  </a:lnTo>
                  <a:lnTo>
                    <a:pt x="1077672" y="203594"/>
                  </a:lnTo>
                  <a:lnTo>
                    <a:pt x="1077672" y="204292"/>
                  </a:lnTo>
                  <a:lnTo>
                    <a:pt x="1077672" y="203594"/>
                  </a:lnTo>
                  <a:lnTo>
                    <a:pt x="1077722" y="204292"/>
                  </a:lnTo>
                  <a:lnTo>
                    <a:pt x="1077722" y="203594"/>
                  </a:lnTo>
                  <a:lnTo>
                    <a:pt x="1077722" y="204292"/>
                  </a:lnTo>
                  <a:lnTo>
                    <a:pt x="1077722" y="203594"/>
                  </a:lnTo>
                  <a:lnTo>
                    <a:pt x="1077722" y="204292"/>
                  </a:lnTo>
                  <a:lnTo>
                    <a:pt x="1077773" y="204292"/>
                  </a:lnTo>
                  <a:lnTo>
                    <a:pt x="1077773" y="203594"/>
                  </a:lnTo>
                  <a:lnTo>
                    <a:pt x="1077773" y="204292"/>
                  </a:lnTo>
                  <a:lnTo>
                    <a:pt x="1077875" y="204292"/>
                  </a:lnTo>
                  <a:lnTo>
                    <a:pt x="1077875" y="204990"/>
                  </a:lnTo>
                  <a:lnTo>
                    <a:pt x="1077913" y="204990"/>
                  </a:lnTo>
                  <a:lnTo>
                    <a:pt x="1077913" y="204292"/>
                  </a:lnTo>
                  <a:lnTo>
                    <a:pt x="1077913" y="204990"/>
                  </a:lnTo>
                  <a:lnTo>
                    <a:pt x="1077913" y="204292"/>
                  </a:lnTo>
                  <a:lnTo>
                    <a:pt x="1077964" y="204292"/>
                  </a:lnTo>
                  <a:lnTo>
                    <a:pt x="1077964" y="203594"/>
                  </a:lnTo>
                  <a:lnTo>
                    <a:pt x="1077964" y="204292"/>
                  </a:lnTo>
                  <a:lnTo>
                    <a:pt x="1077964" y="202959"/>
                  </a:lnTo>
                  <a:lnTo>
                    <a:pt x="1077964" y="203594"/>
                  </a:lnTo>
                  <a:lnTo>
                    <a:pt x="1077964" y="202959"/>
                  </a:lnTo>
                  <a:lnTo>
                    <a:pt x="1078015" y="202959"/>
                  </a:lnTo>
                  <a:lnTo>
                    <a:pt x="1078015" y="204292"/>
                  </a:lnTo>
                  <a:lnTo>
                    <a:pt x="1078015" y="203594"/>
                  </a:lnTo>
                  <a:lnTo>
                    <a:pt x="1078015" y="204292"/>
                  </a:lnTo>
                  <a:lnTo>
                    <a:pt x="1078015" y="202959"/>
                  </a:lnTo>
                  <a:lnTo>
                    <a:pt x="1078015" y="203594"/>
                  </a:lnTo>
                  <a:lnTo>
                    <a:pt x="1078116" y="203594"/>
                  </a:lnTo>
                  <a:lnTo>
                    <a:pt x="1078116" y="204990"/>
                  </a:lnTo>
                  <a:lnTo>
                    <a:pt x="1078116" y="204292"/>
                  </a:lnTo>
                  <a:lnTo>
                    <a:pt x="1078167" y="204292"/>
                  </a:lnTo>
                  <a:lnTo>
                    <a:pt x="1078167" y="204990"/>
                  </a:lnTo>
                  <a:lnTo>
                    <a:pt x="1078218" y="204990"/>
                  </a:lnTo>
                  <a:lnTo>
                    <a:pt x="1078218" y="204292"/>
                  </a:lnTo>
                  <a:lnTo>
                    <a:pt x="1078218" y="206324"/>
                  </a:lnTo>
                  <a:lnTo>
                    <a:pt x="1078218" y="204990"/>
                  </a:lnTo>
                  <a:lnTo>
                    <a:pt x="1078218" y="206324"/>
                  </a:lnTo>
                  <a:lnTo>
                    <a:pt x="1078319" y="206324"/>
                  </a:lnTo>
                  <a:lnTo>
                    <a:pt x="1078319" y="204990"/>
                  </a:lnTo>
                  <a:lnTo>
                    <a:pt x="1078319" y="206324"/>
                  </a:lnTo>
                  <a:lnTo>
                    <a:pt x="1078319" y="204990"/>
                  </a:lnTo>
                  <a:lnTo>
                    <a:pt x="1078370" y="206324"/>
                  </a:lnTo>
                  <a:lnTo>
                    <a:pt x="1078370" y="204292"/>
                  </a:lnTo>
                  <a:lnTo>
                    <a:pt x="1078370" y="204990"/>
                  </a:lnTo>
                  <a:lnTo>
                    <a:pt x="1078421" y="204990"/>
                  </a:lnTo>
                  <a:lnTo>
                    <a:pt x="1078421" y="206324"/>
                  </a:lnTo>
                  <a:lnTo>
                    <a:pt x="1078421" y="204292"/>
                  </a:lnTo>
                  <a:lnTo>
                    <a:pt x="1078459" y="204292"/>
                  </a:lnTo>
                  <a:lnTo>
                    <a:pt x="1078459" y="202959"/>
                  </a:lnTo>
                  <a:lnTo>
                    <a:pt x="1078459" y="203594"/>
                  </a:lnTo>
                  <a:lnTo>
                    <a:pt x="1078561" y="203594"/>
                  </a:lnTo>
                  <a:lnTo>
                    <a:pt x="1078561" y="204990"/>
                  </a:lnTo>
                  <a:lnTo>
                    <a:pt x="1078561" y="203594"/>
                  </a:lnTo>
                  <a:lnTo>
                    <a:pt x="1078561" y="206324"/>
                  </a:lnTo>
                  <a:lnTo>
                    <a:pt x="1078612" y="206324"/>
                  </a:lnTo>
                  <a:lnTo>
                    <a:pt x="1078612" y="204990"/>
                  </a:lnTo>
                  <a:lnTo>
                    <a:pt x="1078612" y="206324"/>
                  </a:lnTo>
                  <a:lnTo>
                    <a:pt x="1078612" y="204990"/>
                  </a:lnTo>
                  <a:lnTo>
                    <a:pt x="1078612" y="206324"/>
                  </a:lnTo>
                  <a:lnTo>
                    <a:pt x="1078662" y="206324"/>
                  </a:lnTo>
                  <a:lnTo>
                    <a:pt x="1078662" y="207022"/>
                  </a:lnTo>
                  <a:lnTo>
                    <a:pt x="1078662" y="206324"/>
                  </a:lnTo>
                  <a:lnTo>
                    <a:pt x="1078662" y="207022"/>
                  </a:lnTo>
                  <a:lnTo>
                    <a:pt x="1078662" y="206324"/>
                  </a:lnTo>
                  <a:lnTo>
                    <a:pt x="1078764" y="206324"/>
                  </a:lnTo>
                  <a:lnTo>
                    <a:pt x="1078764" y="207022"/>
                  </a:lnTo>
                  <a:lnTo>
                    <a:pt x="1078764" y="206324"/>
                  </a:lnTo>
                  <a:lnTo>
                    <a:pt x="1078815" y="206324"/>
                  </a:lnTo>
                  <a:lnTo>
                    <a:pt x="1078815" y="204990"/>
                  </a:lnTo>
                  <a:lnTo>
                    <a:pt x="1078815" y="206324"/>
                  </a:lnTo>
                  <a:lnTo>
                    <a:pt x="1078865" y="206324"/>
                  </a:lnTo>
                  <a:lnTo>
                    <a:pt x="1078865" y="204990"/>
                  </a:lnTo>
                  <a:lnTo>
                    <a:pt x="1078865" y="206324"/>
                  </a:lnTo>
                  <a:lnTo>
                    <a:pt x="1078865" y="204990"/>
                  </a:lnTo>
                  <a:lnTo>
                    <a:pt x="1078865" y="206324"/>
                  </a:lnTo>
                  <a:lnTo>
                    <a:pt x="1078865" y="204990"/>
                  </a:lnTo>
                  <a:lnTo>
                    <a:pt x="1078865" y="206324"/>
                  </a:lnTo>
                  <a:lnTo>
                    <a:pt x="1078865" y="204990"/>
                  </a:lnTo>
                  <a:lnTo>
                    <a:pt x="1078865" y="206324"/>
                  </a:lnTo>
                  <a:lnTo>
                    <a:pt x="1078865" y="204990"/>
                  </a:lnTo>
                  <a:lnTo>
                    <a:pt x="1078916" y="204990"/>
                  </a:lnTo>
                  <a:lnTo>
                    <a:pt x="1078916" y="204292"/>
                  </a:lnTo>
                  <a:lnTo>
                    <a:pt x="1078916" y="204990"/>
                  </a:lnTo>
                  <a:lnTo>
                    <a:pt x="1078916" y="204292"/>
                  </a:lnTo>
                  <a:lnTo>
                    <a:pt x="1078916" y="204990"/>
                  </a:lnTo>
                  <a:lnTo>
                    <a:pt x="1078916" y="203594"/>
                  </a:lnTo>
                  <a:lnTo>
                    <a:pt x="1079005" y="203594"/>
                  </a:lnTo>
                  <a:lnTo>
                    <a:pt x="1079005" y="202260"/>
                  </a:lnTo>
                  <a:lnTo>
                    <a:pt x="1079005" y="202959"/>
                  </a:lnTo>
                  <a:lnTo>
                    <a:pt x="1079005" y="202260"/>
                  </a:lnTo>
                  <a:lnTo>
                    <a:pt x="1079005" y="202959"/>
                  </a:lnTo>
                  <a:lnTo>
                    <a:pt x="1079005" y="202260"/>
                  </a:lnTo>
                  <a:lnTo>
                    <a:pt x="1079005" y="204292"/>
                  </a:lnTo>
                  <a:lnTo>
                    <a:pt x="1079005" y="203594"/>
                  </a:lnTo>
                  <a:lnTo>
                    <a:pt x="1079056" y="203594"/>
                  </a:lnTo>
                  <a:lnTo>
                    <a:pt x="1079056" y="202959"/>
                  </a:lnTo>
                  <a:lnTo>
                    <a:pt x="1079056" y="204990"/>
                  </a:lnTo>
                  <a:lnTo>
                    <a:pt x="1079107" y="204990"/>
                  </a:lnTo>
                  <a:lnTo>
                    <a:pt x="1079107" y="203594"/>
                  </a:lnTo>
                  <a:lnTo>
                    <a:pt x="1079107" y="204990"/>
                  </a:lnTo>
                  <a:lnTo>
                    <a:pt x="1079158" y="204990"/>
                  </a:lnTo>
                  <a:lnTo>
                    <a:pt x="1079158" y="206324"/>
                  </a:lnTo>
                  <a:lnTo>
                    <a:pt x="1079158" y="204292"/>
                  </a:lnTo>
                  <a:lnTo>
                    <a:pt x="1079158" y="204990"/>
                  </a:lnTo>
                  <a:lnTo>
                    <a:pt x="1079310" y="204990"/>
                  </a:lnTo>
                  <a:lnTo>
                    <a:pt x="1079310" y="206324"/>
                  </a:lnTo>
                  <a:lnTo>
                    <a:pt x="1079310" y="204990"/>
                  </a:lnTo>
                  <a:lnTo>
                    <a:pt x="1079310" y="206324"/>
                  </a:lnTo>
                  <a:lnTo>
                    <a:pt x="1079361" y="206324"/>
                  </a:lnTo>
                  <a:lnTo>
                    <a:pt x="1079361" y="204990"/>
                  </a:lnTo>
                  <a:lnTo>
                    <a:pt x="1079462" y="204990"/>
                  </a:lnTo>
                  <a:lnTo>
                    <a:pt x="1079462" y="202959"/>
                  </a:lnTo>
                  <a:lnTo>
                    <a:pt x="1079500" y="202959"/>
                  </a:lnTo>
                  <a:lnTo>
                    <a:pt x="1079500" y="202260"/>
                  </a:lnTo>
                  <a:lnTo>
                    <a:pt x="1079500" y="202959"/>
                  </a:lnTo>
                  <a:lnTo>
                    <a:pt x="1079500" y="202260"/>
                  </a:lnTo>
                  <a:lnTo>
                    <a:pt x="1079500" y="203594"/>
                  </a:lnTo>
                  <a:lnTo>
                    <a:pt x="1079500" y="202959"/>
                  </a:lnTo>
                  <a:lnTo>
                    <a:pt x="1079551" y="202959"/>
                  </a:lnTo>
                  <a:lnTo>
                    <a:pt x="1079551" y="202260"/>
                  </a:lnTo>
                  <a:lnTo>
                    <a:pt x="1079551" y="204292"/>
                  </a:lnTo>
                  <a:lnTo>
                    <a:pt x="1079551" y="203594"/>
                  </a:lnTo>
                  <a:lnTo>
                    <a:pt x="1079602" y="203594"/>
                  </a:lnTo>
                  <a:lnTo>
                    <a:pt x="1079602" y="204990"/>
                  </a:lnTo>
                  <a:lnTo>
                    <a:pt x="1079602" y="204292"/>
                  </a:lnTo>
                  <a:lnTo>
                    <a:pt x="1079704" y="203594"/>
                  </a:lnTo>
                  <a:lnTo>
                    <a:pt x="1079704" y="204990"/>
                  </a:lnTo>
                  <a:lnTo>
                    <a:pt x="1079704" y="204292"/>
                  </a:lnTo>
                  <a:lnTo>
                    <a:pt x="1079704" y="204990"/>
                  </a:lnTo>
                  <a:lnTo>
                    <a:pt x="1079704" y="204292"/>
                  </a:lnTo>
                  <a:lnTo>
                    <a:pt x="1079755" y="204292"/>
                  </a:lnTo>
                  <a:lnTo>
                    <a:pt x="1079755" y="204990"/>
                  </a:lnTo>
                  <a:lnTo>
                    <a:pt x="1079755" y="204292"/>
                  </a:lnTo>
                  <a:lnTo>
                    <a:pt x="1079755" y="204990"/>
                  </a:lnTo>
                  <a:lnTo>
                    <a:pt x="1079755" y="204292"/>
                  </a:lnTo>
                  <a:lnTo>
                    <a:pt x="1079755" y="204990"/>
                  </a:lnTo>
                  <a:lnTo>
                    <a:pt x="1079755" y="204292"/>
                  </a:lnTo>
                  <a:lnTo>
                    <a:pt x="1079755" y="204990"/>
                  </a:lnTo>
                  <a:lnTo>
                    <a:pt x="1079805" y="204990"/>
                  </a:lnTo>
                  <a:lnTo>
                    <a:pt x="1079805" y="204292"/>
                  </a:lnTo>
                  <a:lnTo>
                    <a:pt x="1079805" y="206324"/>
                  </a:lnTo>
                  <a:lnTo>
                    <a:pt x="1079805" y="204990"/>
                  </a:lnTo>
                  <a:lnTo>
                    <a:pt x="1079907" y="204990"/>
                  </a:lnTo>
                  <a:lnTo>
                    <a:pt x="1079907" y="204292"/>
                  </a:lnTo>
                  <a:lnTo>
                    <a:pt x="1079907" y="204990"/>
                  </a:lnTo>
                  <a:lnTo>
                    <a:pt x="1079907" y="204292"/>
                  </a:lnTo>
                  <a:lnTo>
                    <a:pt x="1079958" y="204292"/>
                  </a:lnTo>
                  <a:lnTo>
                    <a:pt x="1079958" y="202260"/>
                  </a:lnTo>
                  <a:lnTo>
                    <a:pt x="1080009" y="202260"/>
                  </a:lnTo>
                  <a:lnTo>
                    <a:pt x="1080009" y="199530"/>
                  </a:lnTo>
                  <a:lnTo>
                    <a:pt x="1080009" y="202959"/>
                  </a:lnTo>
                  <a:lnTo>
                    <a:pt x="1080047" y="202959"/>
                  </a:lnTo>
                  <a:lnTo>
                    <a:pt x="1080047" y="199530"/>
                  </a:lnTo>
                  <a:lnTo>
                    <a:pt x="1080047" y="203594"/>
                  </a:lnTo>
                  <a:lnTo>
                    <a:pt x="1080148" y="203594"/>
                  </a:lnTo>
                  <a:lnTo>
                    <a:pt x="1080148" y="202260"/>
                  </a:lnTo>
                  <a:lnTo>
                    <a:pt x="1080148" y="204292"/>
                  </a:lnTo>
                  <a:lnTo>
                    <a:pt x="1080148" y="203594"/>
                  </a:lnTo>
                  <a:lnTo>
                    <a:pt x="1080199" y="203594"/>
                  </a:lnTo>
                  <a:lnTo>
                    <a:pt x="1080199" y="202959"/>
                  </a:lnTo>
                  <a:lnTo>
                    <a:pt x="1080199" y="204292"/>
                  </a:lnTo>
                  <a:lnTo>
                    <a:pt x="1080199" y="203594"/>
                  </a:lnTo>
                  <a:lnTo>
                    <a:pt x="1080250" y="203594"/>
                  </a:lnTo>
                  <a:lnTo>
                    <a:pt x="1080250" y="204292"/>
                  </a:lnTo>
                  <a:lnTo>
                    <a:pt x="1080351" y="204990"/>
                  </a:lnTo>
                  <a:lnTo>
                    <a:pt x="1080351" y="204292"/>
                  </a:lnTo>
                  <a:lnTo>
                    <a:pt x="1080351" y="204990"/>
                  </a:lnTo>
                  <a:lnTo>
                    <a:pt x="1080402" y="204990"/>
                  </a:lnTo>
                  <a:lnTo>
                    <a:pt x="1080402" y="206324"/>
                  </a:lnTo>
                  <a:lnTo>
                    <a:pt x="1080402" y="204990"/>
                  </a:lnTo>
                  <a:lnTo>
                    <a:pt x="1080453" y="204990"/>
                  </a:lnTo>
                  <a:lnTo>
                    <a:pt x="1080453" y="202959"/>
                  </a:lnTo>
                  <a:lnTo>
                    <a:pt x="1080453" y="203594"/>
                  </a:lnTo>
                  <a:lnTo>
                    <a:pt x="1080453" y="202959"/>
                  </a:lnTo>
                  <a:lnTo>
                    <a:pt x="1080504" y="202959"/>
                  </a:lnTo>
                  <a:lnTo>
                    <a:pt x="1080504" y="200228"/>
                  </a:lnTo>
                  <a:lnTo>
                    <a:pt x="1080504" y="202260"/>
                  </a:lnTo>
                  <a:lnTo>
                    <a:pt x="1080593" y="202260"/>
                  </a:lnTo>
                  <a:lnTo>
                    <a:pt x="1080593" y="200228"/>
                  </a:lnTo>
                  <a:lnTo>
                    <a:pt x="1080593" y="202959"/>
                  </a:lnTo>
                  <a:lnTo>
                    <a:pt x="1080644" y="202959"/>
                  </a:lnTo>
                  <a:lnTo>
                    <a:pt x="1080644" y="200876"/>
                  </a:lnTo>
                  <a:lnTo>
                    <a:pt x="1080644" y="202959"/>
                  </a:lnTo>
                  <a:lnTo>
                    <a:pt x="1080644" y="202260"/>
                  </a:lnTo>
                  <a:lnTo>
                    <a:pt x="1080694" y="202959"/>
                  </a:lnTo>
                  <a:lnTo>
                    <a:pt x="1080694" y="202260"/>
                  </a:lnTo>
                  <a:lnTo>
                    <a:pt x="1080694" y="202959"/>
                  </a:lnTo>
                  <a:lnTo>
                    <a:pt x="1080694" y="202260"/>
                  </a:lnTo>
                  <a:lnTo>
                    <a:pt x="1080694" y="202959"/>
                  </a:lnTo>
                  <a:lnTo>
                    <a:pt x="1080745" y="202260"/>
                  </a:lnTo>
                  <a:lnTo>
                    <a:pt x="1080745" y="203594"/>
                  </a:lnTo>
                  <a:lnTo>
                    <a:pt x="1080745" y="202959"/>
                  </a:lnTo>
                  <a:lnTo>
                    <a:pt x="1080847" y="202959"/>
                  </a:lnTo>
                  <a:lnTo>
                    <a:pt x="1080847" y="204292"/>
                  </a:lnTo>
                  <a:lnTo>
                    <a:pt x="1080847" y="203594"/>
                  </a:lnTo>
                  <a:lnTo>
                    <a:pt x="1080897" y="203594"/>
                  </a:lnTo>
                  <a:lnTo>
                    <a:pt x="1080897" y="204292"/>
                  </a:lnTo>
                  <a:lnTo>
                    <a:pt x="1080897" y="203594"/>
                  </a:lnTo>
                  <a:lnTo>
                    <a:pt x="1080948" y="203594"/>
                  </a:lnTo>
                  <a:lnTo>
                    <a:pt x="1080948" y="204292"/>
                  </a:lnTo>
                  <a:lnTo>
                    <a:pt x="1080948" y="202260"/>
                  </a:lnTo>
                  <a:lnTo>
                    <a:pt x="1080948" y="202959"/>
                  </a:lnTo>
                  <a:lnTo>
                    <a:pt x="1081050" y="202959"/>
                  </a:lnTo>
                  <a:lnTo>
                    <a:pt x="1081050" y="202260"/>
                  </a:lnTo>
                  <a:lnTo>
                    <a:pt x="1081050" y="204292"/>
                  </a:lnTo>
                  <a:lnTo>
                    <a:pt x="1081050" y="202260"/>
                  </a:lnTo>
                  <a:lnTo>
                    <a:pt x="1081088" y="202260"/>
                  </a:lnTo>
                  <a:lnTo>
                    <a:pt x="1081088" y="206324"/>
                  </a:lnTo>
                  <a:lnTo>
                    <a:pt x="1081088" y="203594"/>
                  </a:lnTo>
                  <a:lnTo>
                    <a:pt x="1081139" y="203594"/>
                  </a:lnTo>
                  <a:lnTo>
                    <a:pt x="1081139" y="204990"/>
                  </a:lnTo>
                  <a:lnTo>
                    <a:pt x="1081139" y="202959"/>
                  </a:lnTo>
                  <a:lnTo>
                    <a:pt x="1081139" y="203594"/>
                  </a:lnTo>
                  <a:lnTo>
                    <a:pt x="1081190" y="203594"/>
                  </a:lnTo>
                  <a:lnTo>
                    <a:pt x="1081190" y="204292"/>
                  </a:lnTo>
                  <a:lnTo>
                    <a:pt x="1081190" y="202959"/>
                  </a:lnTo>
                  <a:lnTo>
                    <a:pt x="1081190" y="203594"/>
                  </a:lnTo>
                  <a:lnTo>
                    <a:pt x="1081291" y="203594"/>
                  </a:lnTo>
                  <a:lnTo>
                    <a:pt x="1081291" y="204292"/>
                  </a:lnTo>
                  <a:lnTo>
                    <a:pt x="1081291" y="203594"/>
                  </a:lnTo>
                  <a:lnTo>
                    <a:pt x="1081291" y="204292"/>
                  </a:lnTo>
                  <a:lnTo>
                    <a:pt x="1081291" y="203594"/>
                  </a:lnTo>
                  <a:lnTo>
                    <a:pt x="1081291" y="204292"/>
                  </a:lnTo>
                  <a:lnTo>
                    <a:pt x="1081291" y="203594"/>
                  </a:lnTo>
                  <a:lnTo>
                    <a:pt x="1081291" y="204292"/>
                  </a:lnTo>
                  <a:lnTo>
                    <a:pt x="1081291" y="203594"/>
                  </a:lnTo>
                  <a:lnTo>
                    <a:pt x="1081291" y="204292"/>
                  </a:lnTo>
                  <a:lnTo>
                    <a:pt x="1081342" y="204292"/>
                  </a:lnTo>
                  <a:lnTo>
                    <a:pt x="1081342" y="204990"/>
                  </a:lnTo>
                  <a:lnTo>
                    <a:pt x="1081342" y="204292"/>
                  </a:lnTo>
                  <a:lnTo>
                    <a:pt x="1081393" y="204292"/>
                  </a:lnTo>
                  <a:lnTo>
                    <a:pt x="1081393" y="202959"/>
                  </a:lnTo>
                  <a:lnTo>
                    <a:pt x="1081393" y="203594"/>
                  </a:lnTo>
                  <a:lnTo>
                    <a:pt x="1081494" y="203594"/>
                  </a:lnTo>
                  <a:lnTo>
                    <a:pt x="1081494" y="202260"/>
                  </a:lnTo>
                  <a:lnTo>
                    <a:pt x="1081494" y="202959"/>
                  </a:lnTo>
                  <a:lnTo>
                    <a:pt x="1081494" y="202260"/>
                  </a:lnTo>
                  <a:lnTo>
                    <a:pt x="1081494" y="202959"/>
                  </a:lnTo>
                  <a:lnTo>
                    <a:pt x="1081545" y="202959"/>
                  </a:lnTo>
                  <a:lnTo>
                    <a:pt x="1081545" y="204292"/>
                  </a:lnTo>
                  <a:lnTo>
                    <a:pt x="1081545" y="202959"/>
                  </a:lnTo>
                  <a:lnTo>
                    <a:pt x="1081545" y="206324"/>
                  </a:lnTo>
                  <a:lnTo>
                    <a:pt x="1081596" y="206324"/>
                  </a:lnTo>
                  <a:lnTo>
                    <a:pt x="1081596" y="203594"/>
                  </a:lnTo>
                  <a:lnTo>
                    <a:pt x="1081596" y="204292"/>
                  </a:lnTo>
                  <a:lnTo>
                    <a:pt x="1081596" y="203594"/>
                  </a:lnTo>
                  <a:lnTo>
                    <a:pt x="1081596" y="204990"/>
                  </a:lnTo>
                  <a:lnTo>
                    <a:pt x="1081634" y="204990"/>
                  </a:lnTo>
                  <a:lnTo>
                    <a:pt x="1081634" y="204292"/>
                  </a:lnTo>
                  <a:lnTo>
                    <a:pt x="1081634" y="204990"/>
                  </a:lnTo>
                  <a:lnTo>
                    <a:pt x="1081634" y="204292"/>
                  </a:lnTo>
                  <a:lnTo>
                    <a:pt x="1081634" y="206324"/>
                  </a:lnTo>
                  <a:lnTo>
                    <a:pt x="1081634" y="204990"/>
                  </a:lnTo>
                  <a:lnTo>
                    <a:pt x="1081736" y="204990"/>
                  </a:lnTo>
                  <a:lnTo>
                    <a:pt x="1081736" y="204292"/>
                  </a:lnTo>
                  <a:lnTo>
                    <a:pt x="1081837" y="204292"/>
                  </a:lnTo>
                  <a:lnTo>
                    <a:pt x="1081837" y="203594"/>
                  </a:lnTo>
                  <a:lnTo>
                    <a:pt x="1081837" y="204292"/>
                  </a:lnTo>
                  <a:lnTo>
                    <a:pt x="1081837" y="203594"/>
                  </a:lnTo>
                  <a:lnTo>
                    <a:pt x="1081837" y="204292"/>
                  </a:lnTo>
                  <a:lnTo>
                    <a:pt x="1081837" y="203594"/>
                  </a:lnTo>
                  <a:lnTo>
                    <a:pt x="1081939" y="203594"/>
                  </a:lnTo>
                  <a:lnTo>
                    <a:pt x="1081939" y="202959"/>
                  </a:lnTo>
                  <a:lnTo>
                    <a:pt x="1081939" y="203594"/>
                  </a:lnTo>
                  <a:lnTo>
                    <a:pt x="1081939" y="202260"/>
                  </a:lnTo>
                  <a:lnTo>
                    <a:pt x="1081939" y="202959"/>
                  </a:lnTo>
                  <a:lnTo>
                    <a:pt x="1081939" y="200876"/>
                  </a:lnTo>
                  <a:lnTo>
                    <a:pt x="1081990" y="200876"/>
                  </a:lnTo>
                  <a:lnTo>
                    <a:pt x="1081990" y="202260"/>
                  </a:lnTo>
                  <a:lnTo>
                    <a:pt x="1081990" y="200228"/>
                  </a:lnTo>
                  <a:lnTo>
                    <a:pt x="1081990" y="203594"/>
                  </a:lnTo>
                  <a:lnTo>
                    <a:pt x="1081990" y="202260"/>
                  </a:lnTo>
                  <a:lnTo>
                    <a:pt x="1082040" y="202260"/>
                  </a:lnTo>
                  <a:lnTo>
                    <a:pt x="1082040" y="200876"/>
                  </a:lnTo>
                  <a:lnTo>
                    <a:pt x="1082040" y="204990"/>
                  </a:lnTo>
                  <a:lnTo>
                    <a:pt x="1082040" y="204292"/>
                  </a:lnTo>
                  <a:lnTo>
                    <a:pt x="1082091" y="204292"/>
                  </a:lnTo>
                  <a:lnTo>
                    <a:pt x="1082091" y="203594"/>
                  </a:lnTo>
                  <a:lnTo>
                    <a:pt x="1082091" y="204990"/>
                  </a:lnTo>
                  <a:lnTo>
                    <a:pt x="1082091" y="204292"/>
                  </a:lnTo>
                  <a:lnTo>
                    <a:pt x="1082180" y="204292"/>
                  </a:lnTo>
                  <a:lnTo>
                    <a:pt x="1082180" y="204990"/>
                  </a:lnTo>
                  <a:lnTo>
                    <a:pt x="1082180" y="204292"/>
                  </a:lnTo>
                  <a:lnTo>
                    <a:pt x="1082180" y="204990"/>
                  </a:lnTo>
                  <a:lnTo>
                    <a:pt x="1082231" y="204990"/>
                  </a:lnTo>
                  <a:lnTo>
                    <a:pt x="1082231" y="204292"/>
                  </a:lnTo>
                  <a:lnTo>
                    <a:pt x="1082231" y="204990"/>
                  </a:lnTo>
                  <a:lnTo>
                    <a:pt x="1082231" y="204292"/>
                  </a:lnTo>
                  <a:lnTo>
                    <a:pt x="1082231" y="204990"/>
                  </a:lnTo>
                  <a:lnTo>
                    <a:pt x="1082231" y="204292"/>
                  </a:lnTo>
                  <a:lnTo>
                    <a:pt x="1082231" y="204990"/>
                  </a:lnTo>
                  <a:lnTo>
                    <a:pt x="1082282" y="204990"/>
                  </a:lnTo>
                  <a:lnTo>
                    <a:pt x="1082282" y="206324"/>
                  </a:lnTo>
                  <a:lnTo>
                    <a:pt x="1082282" y="204990"/>
                  </a:lnTo>
                  <a:lnTo>
                    <a:pt x="1082333" y="204990"/>
                  </a:lnTo>
                  <a:lnTo>
                    <a:pt x="1082333" y="203594"/>
                  </a:lnTo>
                  <a:lnTo>
                    <a:pt x="1082434" y="203594"/>
                  </a:lnTo>
                  <a:lnTo>
                    <a:pt x="1082434" y="202260"/>
                  </a:lnTo>
                  <a:lnTo>
                    <a:pt x="1082485" y="200876"/>
                  </a:lnTo>
                  <a:lnTo>
                    <a:pt x="1082485" y="203594"/>
                  </a:lnTo>
                  <a:lnTo>
                    <a:pt x="1082485" y="200876"/>
                  </a:lnTo>
                  <a:lnTo>
                    <a:pt x="1082536" y="202260"/>
                  </a:lnTo>
                  <a:lnTo>
                    <a:pt x="1082536" y="204292"/>
                  </a:lnTo>
                  <a:lnTo>
                    <a:pt x="1082536" y="203594"/>
                  </a:lnTo>
                  <a:lnTo>
                    <a:pt x="1082637" y="204292"/>
                  </a:lnTo>
                  <a:lnTo>
                    <a:pt x="1082637" y="203594"/>
                  </a:lnTo>
                  <a:lnTo>
                    <a:pt x="1082637" y="204292"/>
                  </a:lnTo>
                  <a:lnTo>
                    <a:pt x="1082675" y="204292"/>
                  </a:lnTo>
                  <a:lnTo>
                    <a:pt x="1082675" y="204990"/>
                  </a:lnTo>
                  <a:lnTo>
                    <a:pt x="1082726" y="204990"/>
                  </a:lnTo>
                  <a:lnTo>
                    <a:pt x="1082726" y="204292"/>
                  </a:lnTo>
                  <a:lnTo>
                    <a:pt x="1082726" y="204990"/>
                  </a:lnTo>
                  <a:lnTo>
                    <a:pt x="1082777" y="204990"/>
                  </a:lnTo>
                  <a:lnTo>
                    <a:pt x="1082777" y="206324"/>
                  </a:lnTo>
                  <a:lnTo>
                    <a:pt x="1082777" y="204990"/>
                  </a:lnTo>
                  <a:lnTo>
                    <a:pt x="1082777" y="206324"/>
                  </a:lnTo>
                  <a:lnTo>
                    <a:pt x="1082777" y="204990"/>
                  </a:lnTo>
                  <a:lnTo>
                    <a:pt x="1082879" y="204990"/>
                  </a:lnTo>
                  <a:lnTo>
                    <a:pt x="1082879" y="203594"/>
                  </a:lnTo>
                  <a:lnTo>
                    <a:pt x="1082930" y="203594"/>
                  </a:lnTo>
                  <a:lnTo>
                    <a:pt x="1082930" y="200876"/>
                  </a:lnTo>
                  <a:lnTo>
                    <a:pt x="1082980" y="200876"/>
                  </a:lnTo>
                  <a:lnTo>
                    <a:pt x="1082980" y="203594"/>
                  </a:lnTo>
                  <a:lnTo>
                    <a:pt x="1082980" y="200228"/>
                  </a:lnTo>
                  <a:lnTo>
                    <a:pt x="1082980" y="200876"/>
                  </a:lnTo>
                  <a:lnTo>
                    <a:pt x="1083082" y="202260"/>
                  </a:lnTo>
                  <a:lnTo>
                    <a:pt x="1083082" y="203594"/>
                  </a:lnTo>
                  <a:lnTo>
                    <a:pt x="1083082" y="202260"/>
                  </a:lnTo>
                  <a:lnTo>
                    <a:pt x="1083082" y="203594"/>
                  </a:lnTo>
                  <a:lnTo>
                    <a:pt x="1083133" y="203594"/>
                  </a:lnTo>
                  <a:lnTo>
                    <a:pt x="1083133" y="202959"/>
                  </a:lnTo>
                  <a:lnTo>
                    <a:pt x="1083133" y="203594"/>
                  </a:lnTo>
                  <a:lnTo>
                    <a:pt x="1083133" y="202959"/>
                  </a:lnTo>
                  <a:lnTo>
                    <a:pt x="1083133" y="203594"/>
                  </a:lnTo>
                  <a:lnTo>
                    <a:pt x="1083184" y="203594"/>
                  </a:lnTo>
                  <a:lnTo>
                    <a:pt x="1083184" y="204990"/>
                  </a:lnTo>
                  <a:lnTo>
                    <a:pt x="1083184" y="204292"/>
                  </a:lnTo>
                  <a:lnTo>
                    <a:pt x="1083222" y="204292"/>
                  </a:lnTo>
                  <a:lnTo>
                    <a:pt x="1083222" y="204990"/>
                  </a:lnTo>
                  <a:lnTo>
                    <a:pt x="1083222" y="204292"/>
                  </a:lnTo>
                  <a:lnTo>
                    <a:pt x="1083222" y="204990"/>
                  </a:lnTo>
                  <a:lnTo>
                    <a:pt x="1083222" y="204292"/>
                  </a:lnTo>
                  <a:lnTo>
                    <a:pt x="1083222" y="204990"/>
                  </a:lnTo>
                  <a:lnTo>
                    <a:pt x="1083323" y="204990"/>
                  </a:lnTo>
                  <a:lnTo>
                    <a:pt x="1083323" y="204292"/>
                  </a:lnTo>
                  <a:lnTo>
                    <a:pt x="1083323" y="204990"/>
                  </a:lnTo>
                  <a:lnTo>
                    <a:pt x="1083323" y="204292"/>
                  </a:lnTo>
                  <a:lnTo>
                    <a:pt x="1083323" y="204990"/>
                  </a:lnTo>
                  <a:lnTo>
                    <a:pt x="1083374" y="204990"/>
                  </a:lnTo>
                  <a:lnTo>
                    <a:pt x="1083374" y="203594"/>
                  </a:lnTo>
                  <a:lnTo>
                    <a:pt x="1083374" y="204292"/>
                  </a:lnTo>
                  <a:lnTo>
                    <a:pt x="1083374" y="203594"/>
                  </a:lnTo>
                  <a:lnTo>
                    <a:pt x="1083425" y="203594"/>
                  </a:lnTo>
                  <a:lnTo>
                    <a:pt x="1083425" y="202260"/>
                  </a:lnTo>
                  <a:lnTo>
                    <a:pt x="1083425" y="202959"/>
                  </a:lnTo>
                  <a:lnTo>
                    <a:pt x="1083425" y="202260"/>
                  </a:lnTo>
                  <a:lnTo>
                    <a:pt x="1083425" y="202959"/>
                  </a:lnTo>
                  <a:lnTo>
                    <a:pt x="1083425" y="202260"/>
                  </a:lnTo>
                  <a:lnTo>
                    <a:pt x="1083425" y="202959"/>
                  </a:lnTo>
                  <a:lnTo>
                    <a:pt x="1083526" y="202959"/>
                  </a:lnTo>
                  <a:lnTo>
                    <a:pt x="1083526" y="203594"/>
                  </a:lnTo>
                  <a:lnTo>
                    <a:pt x="1083526" y="200228"/>
                  </a:lnTo>
                  <a:lnTo>
                    <a:pt x="1083526" y="204292"/>
                  </a:lnTo>
                  <a:lnTo>
                    <a:pt x="1083577" y="204292"/>
                  </a:lnTo>
                  <a:lnTo>
                    <a:pt x="1083577" y="202260"/>
                  </a:lnTo>
                  <a:lnTo>
                    <a:pt x="1083577" y="203594"/>
                  </a:lnTo>
                  <a:lnTo>
                    <a:pt x="1083628" y="203594"/>
                  </a:lnTo>
                  <a:lnTo>
                    <a:pt x="1083628" y="202260"/>
                  </a:lnTo>
                  <a:lnTo>
                    <a:pt x="1083628" y="203594"/>
                  </a:lnTo>
                  <a:lnTo>
                    <a:pt x="1083679" y="202959"/>
                  </a:lnTo>
                  <a:lnTo>
                    <a:pt x="1083679" y="203594"/>
                  </a:lnTo>
                  <a:lnTo>
                    <a:pt x="1083679" y="202959"/>
                  </a:lnTo>
                  <a:lnTo>
                    <a:pt x="1083679" y="203594"/>
                  </a:lnTo>
                  <a:lnTo>
                    <a:pt x="1083768" y="203594"/>
                  </a:lnTo>
                  <a:lnTo>
                    <a:pt x="1083768" y="204292"/>
                  </a:lnTo>
                  <a:lnTo>
                    <a:pt x="1083768" y="203594"/>
                  </a:lnTo>
                  <a:lnTo>
                    <a:pt x="1083768" y="204292"/>
                  </a:lnTo>
                  <a:lnTo>
                    <a:pt x="1083768" y="203594"/>
                  </a:lnTo>
                  <a:lnTo>
                    <a:pt x="1083768" y="204292"/>
                  </a:lnTo>
                  <a:lnTo>
                    <a:pt x="1083819" y="204292"/>
                  </a:lnTo>
                  <a:lnTo>
                    <a:pt x="1083819" y="203594"/>
                  </a:lnTo>
                  <a:lnTo>
                    <a:pt x="1083819" y="204292"/>
                  </a:lnTo>
                  <a:lnTo>
                    <a:pt x="1083819" y="203594"/>
                  </a:lnTo>
                  <a:lnTo>
                    <a:pt x="1083819" y="204292"/>
                  </a:lnTo>
                  <a:lnTo>
                    <a:pt x="1083819" y="203594"/>
                  </a:lnTo>
                  <a:lnTo>
                    <a:pt x="1083869" y="203594"/>
                  </a:lnTo>
                  <a:lnTo>
                    <a:pt x="1083869" y="202959"/>
                  </a:lnTo>
                  <a:lnTo>
                    <a:pt x="1083920" y="202959"/>
                  </a:lnTo>
                  <a:lnTo>
                    <a:pt x="1083920" y="202260"/>
                  </a:lnTo>
                  <a:lnTo>
                    <a:pt x="1083920" y="204292"/>
                  </a:lnTo>
                  <a:lnTo>
                    <a:pt x="1083920" y="202959"/>
                  </a:lnTo>
                  <a:lnTo>
                    <a:pt x="1084022" y="202959"/>
                  </a:lnTo>
                  <a:lnTo>
                    <a:pt x="1084022" y="202260"/>
                  </a:lnTo>
                  <a:lnTo>
                    <a:pt x="1084022" y="204990"/>
                  </a:lnTo>
                  <a:lnTo>
                    <a:pt x="1084022" y="203594"/>
                  </a:lnTo>
                  <a:lnTo>
                    <a:pt x="1084072" y="203594"/>
                  </a:lnTo>
                  <a:lnTo>
                    <a:pt x="1084072" y="202959"/>
                  </a:lnTo>
                  <a:lnTo>
                    <a:pt x="1084072" y="204990"/>
                  </a:lnTo>
                  <a:lnTo>
                    <a:pt x="1084072" y="203594"/>
                  </a:lnTo>
                  <a:lnTo>
                    <a:pt x="1084123" y="203594"/>
                  </a:lnTo>
                  <a:lnTo>
                    <a:pt x="1084123" y="204292"/>
                  </a:lnTo>
                  <a:lnTo>
                    <a:pt x="1084225" y="204292"/>
                  </a:lnTo>
                  <a:lnTo>
                    <a:pt x="1084225" y="204990"/>
                  </a:lnTo>
                  <a:lnTo>
                    <a:pt x="1084225" y="204292"/>
                  </a:lnTo>
                  <a:lnTo>
                    <a:pt x="1084263" y="204292"/>
                  </a:lnTo>
                  <a:lnTo>
                    <a:pt x="1084263" y="204990"/>
                  </a:lnTo>
                  <a:lnTo>
                    <a:pt x="1084314" y="204292"/>
                  </a:lnTo>
                  <a:lnTo>
                    <a:pt x="1084314" y="204990"/>
                  </a:lnTo>
                  <a:lnTo>
                    <a:pt x="1084314" y="203594"/>
                  </a:lnTo>
                  <a:lnTo>
                    <a:pt x="1084365" y="203594"/>
                  </a:lnTo>
                  <a:lnTo>
                    <a:pt x="1084365" y="202959"/>
                  </a:lnTo>
                  <a:lnTo>
                    <a:pt x="1084365" y="203594"/>
                  </a:lnTo>
                  <a:lnTo>
                    <a:pt x="1084365" y="202260"/>
                  </a:lnTo>
                  <a:lnTo>
                    <a:pt x="1084365" y="202959"/>
                  </a:lnTo>
                  <a:lnTo>
                    <a:pt x="1084365" y="202260"/>
                  </a:lnTo>
                  <a:lnTo>
                    <a:pt x="1084365" y="202959"/>
                  </a:lnTo>
                  <a:lnTo>
                    <a:pt x="1084365" y="202260"/>
                  </a:lnTo>
                  <a:lnTo>
                    <a:pt x="1084466" y="202260"/>
                  </a:lnTo>
                  <a:lnTo>
                    <a:pt x="1084466" y="200876"/>
                  </a:lnTo>
                  <a:lnTo>
                    <a:pt x="1084466" y="203594"/>
                  </a:lnTo>
                  <a:lnTo>
                    <a:pt x="1084466" y="202959"/>
                  </a:lnTo>
                  <a:lnTo>
                    <a:pt x="1084517" y="202959"/>
                  </a:lnTo>
                  <a:lnTo>
                    <a:pt x="1084517" y="204990"/>
                  </a:lnTo>
                  <a:lnTo>
                    <a:pt x="1084517" y="203594"/>
                  </a:lnTo>
                  <a:lnTo>
                    <a:pt x="1084568" y="204292"/>
                  </a:lnTo>
                  <a:lnTo>
                    <a:pt x="1084568" y="204990"/>
                  </a:lnTo>
                  <a:lnTo>
                    <a:pt x="1084568" y="204292"/>
                  </a:lnTo>
                  <a:lnTo>
                    <a:pt x="1084568" y="204990"/>
                  </a:lnTo>
                  <a:lnTo>
                    <a:pt x="1084568" y="203594"/>
                  </a:lnTo>
                  <a:lnTo>
                    <a:pt x="1084669" y="203594"/>
                  </a:lnTo>
                  <a:lnTo>
                    <a:pt x="1084669" y="204292"/>
                  </a:lnTo>
                  <a:lnTo>
                    <a:pt x="1084669" y="203594"/>
                  </a:lnTo>
                  <a:lnTo>
                    <a:pt x="1084669" y="204990"/>
                  </a:lnTo>
                  <a:lnTo>
                    <a:pt x="1084720" y="204990"/>
                  </a:lnTo>
                  <a:lnTo>
                    <a:pt x="1084720" y="204292"/>
                  </a:lnTo>
                  <a:lnTo>
                    <a:pt x="1084720" y="204990"/>
                  </a:lnTo>
                  <a:lnTo>
                    <a:pt x="1084720" y="204292"/>
                  </a:lnTo>
                  <a:lnTo>
                    <a:pt x="1084720" y="204990"/>
                  </a:lnTo>
                  <a:lnTo>
                    <a:pt x="1084720" y="204292"/>
                  </a:lnTo>
                  <a:lnTo>
                    <a:pt x="1084771" y="204292"/>
                  </a:lnTo>
                  <a:lnTo>
                    <a:pt x="1084771" y="203594"/>
                  </a:lnTo>
                  <a:lnTo>
                    <a:pt x="1084771" y="204292"/>
                  </a:lnTo>
                  <a:lnTo>
                    <a:pt x="1084809" y="203594"/>
                  </a:lnTo>
                  <a:lnTo>
                    <a:pt x="1084809" y="202959"/>
                  </a:lnTo>
                  <a:lnTo>
                    <a:pt x="1084911" y="202959"/>
                  </a:lnTo>
                  <a:lnTo>
                    <a:pt x="1084911" y="200228"/>
                  </a:lnTo>
                  <a:lnTo>
                    <a:pt x="1084911" y="200876"/>
                  </a:lnTo>
                  <a:lnTo>
                    <a:pt x="1084962" y="200876"/>
                  </a:lnTo>
                  <a:lnTo>
                    <a:pt x="1084962" y="203594"/>
                  </a:lnTo>
                  <a:lnTo>
                    <a:pt x="1084962" y="200228"/>
                  </a:lnTo>
                  <a:lnTo>
                    <a:pt x="1084962" y="202260"/>
                  </a:lnTo>
                  <a:lnTo>
                    <a:pt x="1085012" y="202959"/>
                  </a:lnTo>
                  <a:lnTo>
                    <a:pt x="1085012" y="204292"/>
                  </a:lnTo>
                  <a:lnTo>
                    <a:pt x="1085012" y="202260"/>
                  </a:lnTo>
                  <a:lnTo>
                    <a:pt x="1085012" y="202959"/>
                  </a:lnTo>
                  <a:lnTo>
                    <a:pt x="1085012" y="202260"/>
                  </a:lnTo>
                  <a:lnTo>
                    <a:pt x="1085012" y="203594"/>
                  </a:lnTo>
                  <a:lnTo>
                    <a:pt x="1085114" y="203594"/>
                  </a:lnTo>
                  <a:lnTo>
                    <a:pt x="1085114" y="204292"/>
                  </a:lnTo>
                  <a:lnTo>
                    <a:pt x="1085114" y="203594"/>
                  </a:lnTo>
                  <a:lnTo>
                    <a:pt x="1085114" y="204292"/>
                  </a:lnTo>
                  <a:lnTo>
                    <a:pt x="1085114" y="202959"/>
                  </a:lnTo>
                  <a:lnTo>
                    <a:pt x="1085114" y="204292"/>
                  </a:lnTo>
                  <a:lnTo>
                    <a:pt x="1085165" y="204292"/>
                  </a:lnTo>
                  <a:lnTo>
                    <a:pt x="1085165" y="203594"/>
                  </a:lnTo>
                  <a:lnTo>
                    <a:pt x="1085165" y="204292"/>
                  </a:lnTo>
                  <a:lnTo>
                    <a:pt x="1085165" y="203594"/>
                  </a:lnTo>
                  <a:lnTo>
                    <a:pt x="1085165" y="204292"/>
                  </a:lnTo>
                  <a:lnTo>
                    <a:pt x="1085215" y="204292"/>
                  </a:lnTo>
                  <a:lnTo>
                    <a:pt x="1085215" y="204990"/>
                  </a:lnTo>
                  <a:lnTo>
                    <a:pt x="1085215" y="204292"/>
                  </a:lnTo>
                  <a:lnTo>
                    <a:pt x="1085266" y="204292"/>
                  </a:lnTo>
                  <a:lnTo>
                    <a:pt x="1085266" y="203594"/>
                  </a:lnTo>
                  <a:lnTo>
                    <a:pt x="1085266" y="204292"/>
                  </a:lnTo>
                  <a:lnTo>
                    <a:pt x="1085266" y="203594"/>
                  </a:lnTo>
                  <a:lnTo>
                    <a:pt x="1085355" y="204292"/>
                  </a:lnTo>
                  <a:lnTo>
                    <a:pt x="1085355" y="202959"/>
                  </a:lnTo>
                  <a:lnTo>
                    <a:pt x="1085355" y="203594"/>
                  </a:lnTo>
                  <a:lnTo>
                    <a:pt x="1085355" y="202959"/>
                  </a:lnTo>
                  <a:lnTo>
                    <a:pt x="1085406" y="202260"/>
                  </a:lnTo>
                  <a:lnTo>
                    <a:pt x="1085406" y="202959"/>
                  </a:lnTo>
                  <a:lnTo>
                    <a:pt x="1085406" y="200876"/>
                  </a:lnTo>
                  <a:lnTo>
                    <a:pt x="1085406" y="202260"/>
                  </a:lnTo>
                  <a:lnTo>
                    <a:pt x="1085457" y="202260"/>
                  </a:lnTo>
                  <a:lnTo>
                    <a:pt x="1085457" y="202959"/>
                  </a:lnTo>
                  <a:lnTo>
                    <a:pt x="1085457" y="200228"/>
                  </a:lnTo>
                  <a:lnTo>
                    <a:pt x="1085457" y="203594"/>
                  </a:lnTo>
                  <a:lnTo>
                    <a:pt x="1085508" y="203594"/>
                  </a:lnTo>
                  <a:lnTo>
                    <a:pt x="1085508" y="202260"/>
                  </a:lnTo>
                  <a:lnTo>
                    <a:pt x="1085508" y="203594"/>
                  </a:lnTo>
                  <a:lnTo>
                    <a:pt x="1085609" y="203594"/>
                  </a:lnTo>
                  <a:lnTo>
                    <a:pt x="1085609" y="202959"/>
                  </a:lnTo>
                  <a:lnTo>
                    <a:pt x="1085609" y="203594"/>
                  </a:lnTo>
                  <a:lnTo>
                    <a:pt x="1085660" y="203594"/>
                  </a:lnTo>
                  <a:lnTo>
                    <a:pt x="1085660" y="204292"/>
                  </a:lnTo>
                  <a:lnTo>
                    <a:pt x="1085812" y="204292"/>
                  </a:lnTo>
                  <a:lnTo>
                    <a:pt x="1085812" y="203594"/>
                  </a:lnTo>
                  <a:lnTo>
                    <a:pt x="1085812" y="204292"/>
                  </a:lnTo>
                  <a:lnTo>
                    <a:pt x="1085812" y="203594"/>
                  </a:lnTo>
                  <a:lnTo>
                    <a:pt x="1085812" y="204292"/>
                  </a:lnTo>
                  <a:lnTo>
                    <a:pt x="1085812" y="203594"/>
                  </a:lnTo>
                  <a:lnTo>
                    <a:pt x="1085850" y="203594"/>
                  </a:lnTo>
                  <a:lnTo>
                    <a:pt x="1085850" y="202959"/>
                  </a:lnTo>
                  <a:lnTo>
                    <a:pt x="1085901" y="202260"/>
                  </a:lnTo>
                  <a:lnTo>
                    <a:pt x="1085901" y="202959"/>
                  </a:lnTo>
                  <a:lnTo>
                    <a:pt x="1085901" y="199530"/>
                  </a:lnTo>
                  <a:lnTo>
                    <a:pt x="1085952" y="200228"/>
                  </a:lnTo>
                  <a:lnTo>
                    <a:pt x="1085952" y="196113"/>
                  </a:lnTo>
                  <a:lnTo>
                    <a:pt x="1086054" y="196113"/>
                  </a:lnTo>
                  <a:lnTo>
                    <a:pt x="1086054" y="196799"/>
                  </a:lnTo>
                  <a:lnTo>
                    <a:pt x="1086105" y="197447"/>
                  </a:lnTo>
                  <a:lnTo>
                    <a:pt x="1086105" y="199530"/>
                  </a:lnTo>
                  <a:lnTo>
                    <a:pt x="1086105" y="198831"/>
                  </a:lnTo>
                  <a:lnTo>
                    <a:pt x="1086155" y="199530"/>
                  </a:lnTo>
                  <a:lnTo>
                    <a:pt x="1086155" y="200228"/>
                  </a:lnTo>
                  <a:lnTo>
                    <a:pt x="1086155" y="199530"/>
                  </a:lnTo>
                  <a:lnTo>
                    <a:pt x="1086155" y="200876"/>
                  </a:lnTo>
                  <a:lnTo>
                    <a:pt x="1086257" y="200876"/>
                  </a:lnTo>
                  <a:lnTo>
                    <a:pt x="1086257" y="202959"/>
                  </a:lnTo>
                  <a:lnTo>
                    <a:pt x="1086308" y="202959"/>
                  </a:lnTo>
                  <a:lnTo>
                    <a:pt x="1086308" y="203594"/>
                  </a:lnTo>
                  <a:lnTo>
                    <a:pt x="1086308" y="202959"/>
                  </a:lnTo>
                  <a:lnTo>
                    <a:pt x="1086308" y="203594"/>
                  </a:lnTo>
                  <a:lnTo>
                    <a:pt x="1086308" y="202959"/>
                  </a:lnTo>
                  <a:lnTo>
                    <a:pt x="1086308" y="204292"/>
                  </a:lnTo>
                  <a:lnTo>
                    <a:pt x="1086359" y="204292"/>
                  </a:lnTo>
                  <a:lnTo>
                    <a:pt x="1086359" y="203594"/>
                  </a:lnTo>
                  <a:lnTo>
                    <a:pt x="1086359" y="204292"/>
                  </a:lnTo>
                  <a:lnTo>
                    <a:pt x="1086359" y="203594"/>
                  </a:lnTo>
                  <a:lnTo>
                    <a:pt x="1086359" y="204292"/>
                  </a:lnTo>
                  <a:lnTo>
                    <a:pt x="1086359" y="203594"/>
                  </a:lnTo>
                  <a:lnTo>
                    <a:pt x="1086359" y="204292"/>
                  </a:lnTo>
                  <a:lnTo>
                    <a:pt x="1086397" y="203594"/>
                  </a:lnTo>
                  <a:lnTo>
                    <a:pt x="1086397" y="204292"/>
                  </a:lnTo>
                  <a:lnTo>
                    <a:pt x="1086397" y="203594"/>
                  </a:lnTo>
                  <a:lnTo>
                    <a:pt x="1086397" y="204292"/>
                  </a:lnTo>
                  <a:lnTo>
                    <a:pt x="1086397" y="202959"/>
                  </a:lnTo>
                  <a:lnTo>
                    <a:pt x="1086498" y="202959"/>
                  </a:lnTo>
                  <a:lnTo>
                    <a:pt x="1086498" y="198831"/>
                  </a:lnTo>
                  <a:lnTo>
                    <a:pt x="1086549" y="198831"/>
                  </a:lnTo>
                  <a:lnTo>
                    <a:pt x="1086549" y="195415"/>
                  </a:lnTo>
                  <a:lnTo>
                    <a:pt x="1086549" y="196113"/>
                  </a:lnTo>
                  <a:lnTo>
                    <a:pt x="1086549" y="195415"/>
                  </a:lnTo>
                  <a:lnTo>
                    <a:pt x="1086600" y="195415"/>
                  </a:lnTo>
                  <a:lnTo>
                    <a:pt x="1086600" y="196113"/>
                  </a:lnTo>
                  <a:lnTo>
                    <a:pt x="1086600" y="194716"/>
                  </a:lnTo>
                  <a:lnTo>
                    <a:pt x="1086600" y="195415"/>
                  </a:lnTo>
                  <a:lnTo>
                    <a:pt x="1086701" y="196113"/>
                  </a:lnTo>
                  <a:lnTo>
                    <a:pt x="1086701" y="196799"/>
                  </a:lnTo>
                  <a:lnTo>
                    <a:pt x="1086701" y="196113"/>
                  </a:lnTo>
                  <a:lnTo>
                    <a:pt x="1086701" y="196799"/>
                  </a:lnTo>
                  <a:lnTo>
                    <a:pt x="1086752" y="197447"/>
                  </a:lnTo>
                  <a:lnTo>
                    <a:pt x="1086752" y="198831"/>
                  </a:lnTo>
                  <a:lnTo>
                    <a:pt x="1086752" y="196799"/>
                  </a:lnTo>
                  <a:lnTo>
                    <a:pt x="1086752" y="198831"/>
                  </a:lnTo>
                  <a:lnTo>
                    <a:pt x="1086803" y="199530"/>
                  </a:lnTo>
                  <a:lnTo>
                    <a:pt x="1086803" y="200228"/>
                  </a:lnTo>
                  <a:lnTo>
                    <a:pt x="1086803" y="199530"/>
                  </a:lnTo>
                  <a:lnTo>
                    <a:pt x="1086803" y="200876"/>
                  </a:lnTo>
                  <a:lnTo>
                    <a:pt x="1086803" y="200228"/>
                  </a:lnTo>
                  <a:lnTo>
                    <a:pt x="1086803" y="202959"/>
                  </a:lnTo>
                  <a:lnTo>
                    <a:pt x="1086854" y="202260"/>
                  </a:lnTo>
                  <a:lnTo>
                    <a:pt x="1086854" y="202959"/>
                  </a:lnTo>
                  <a:lnTo>
                    <a:pt x="1086854" y="202260"/>
                  </a:lnTo>
                  <a:lnTo>
                    <a:pt x="1086854" y="204292"/>
                  </a:lnTo>
                  <a:lnTo>
                    <a:pt x="1086854" y="203594"/>
                  </a:lnTo>
                  <a:lnTo>
                    <a:pt x="1086854" y="204292"/>
                  </a:lnTo>
                  <a:lnTo>
                    <a:pt x="1086854" y="203594"/>
                  </a:lnTo>
                  <a:lnTo>
                    <a:pt x="1086943" y="204292"/>
                  </a:lnTo>
                  <a:lnTo>
                    <a:pt x="1086943" y="203594"/>
                  </a:lnTo>
                  <a:lnTo>
                    <a:pt x="1086943" y="204292"/>
                  </a:lnTo>
                  <a:lnTo>
                    <a:pt x="1086943" y="203594"/>
                  </a:lnTo>
                  <a:lnTo>
                    <a:pt x="1086943" y="204292"/>
                  </a:lnTo>
                  <a:lnTo>
                    <a:pt x="1086994" y="204292"/>
                  </a:lnTo>
                  <a:lnTo>
                    <a:pt x="1086994" y="203594"/>
                  </a:lnTo>
                  <a:lnTo>
                    <a:pt x="1086994" y="204292"/>
                  </a:lnTo>
                  <a:lnTo>
                    <a:pt x="1086994" y="202959"/>
                  </a:lnTo>
                  <a:lnTo>
                    <a:pt x="1086994" y="203594"/>
                  </a:lnTo>
                  <a:lnTo>
                    <a:pt x="1086994" y="202959"/>
                  </a:lnTo>
                  <a:lnTo>
                    <a:pt x="1087044" y="202959"/>
                  </a:lnTo>
                  <a:lnTo>
                    <a:pt x="1087044" y="202260"/>
                  </a:lnTo>
                  <a:lnTo>
                    <a:pt x="1087044" y="202959"/>
                  </a:lnTo>
                  <a:lnTo>
                    <a:pt x="1087044" y="200876"/>
                  </a:lnTo>
                  <a:lnTo>
                    <a:pt x="1087044" y="202959"/>
                  </a:lnTo>
                  <a:lnTo>
                    <a:pt x="1087095" y="202959"/>
                  </a:lnTo>
                  <a:lnTo>
                    <a:pt x="1087095" y="199530"/>
                  </a:lnTo>
                  <a:lnTo>
                    <a:pt x="1087095" y="202959"/>
                  </a:lnTo>
                  <a:lnTo>
                    <a:pt x="1087095" y="202260"/>
                  </a:lnTo>
                  <a:lnTo>
                    <a:pt x="1087197" y="202260"/>
                  </a:lnTo>
                  <a:lnTo>
                    <a:pt x="1087197" y="200228"/>
                  </a:lnTo>
                  <a:lnTo>
                    <a:pt x="1087197" y="200876"/>
                  </a:lnTo>
                  <a:lnTo>
                    <a:pt x="1087247" y="200876"/>
                  </a:lnTo>
                  <a:lnTo>
                    <a:pt x="1087247" y="200228"/>
                  </a:lnTo>
                  <a:lnTo>
                    <a:pt x="1087247" y="200876"/>
                  </a:lnTo>
                  <a:lnTo>
                    <a:pt x="1087298" y="200876"/>
                  </a:lnTo>
                  <a:lnTo>
                    <a:pt x="1087298" y="202260"/>
                  </a:lnTo>
                  <a:lnTo>
                    <a:pt x="1087400" y="202260"/>
                  </a:lnTo>
                  <a:lnTo>
                    <a:pt x="1087400" y="203594"/>
                  </a:lnTo>
                  <a:lnTo>
                    <a:pt x="1087400" y="202959"/>
                  </a:lnTo>
                  <a:lnTo>
                    <a:pt x="1087400" y="203594"/>
                  </a:lnTo>
                  <a:lnTo>
                    <a:pt x="1087438" y="203594"/>
                  </a:lnTo>
                  <a:lnTo>
                    <a:pt x="1087438" y="204292"/>
                  </a:lnTo>
                  <a:lnTo>
                    <a:pt x="1087438" y="203594"/>
                  </a:lnTo>
                  <a:lnTo>
                    <a:pt x="1087438" y="204292"/>
                  </a:lnTo>
                  <a:lnTo>
                    <a:pt x="1087438" y="203594"/>
                  </a:lnTo>
                  <a:lnTo>
                    <a:pt x="1087438" y="204292"/>
                  </a:lnTo>
                  <a:lnTo>
                    <a:pt x="1087489" y="204292"/>
                  </a:lnTo>
                  <a:lnTo>
                    <a:pt x="1087489" y="202959"/>
                  </a:lnTo>
                  <a:lnTo>
                    <a:pt x="1087540" y="202959"/>
                  </a:lnTo>
                  <a:lnTo>
                    <a:pt x="1087540" y="204292"/>
                  </a:lnTo>
                  <a:lnTo>
                    <a:pt x="1087540" y="203594"/>
                  </a:lnTo>
                  <a:lnTo>
                    <a:pt x="1087641" y="203594"/>
                  </a:lnTo>
                  <a:lnTo>
                    <a:pt x="1087641" y="202260"/>
                  </a:lnTo>
                  <a:lnTo>
                    <a:pt x="1087641" y="204990"/>
                  </a:lnTo>
                  <a:lnTo>
                    <a:pt x="1087641" y="203594"/>
                  </a:lnTo>
                  <a:lnTo>
                    <a:pt x="1087692" y="203594"/>
                  </a:lnTo>
                  <a:lnTo>
                    <a:pt x="1087692" y="202959"/>
                  </a:lnTo>
                  <a:lnTo>
                    <a:pt x="1087692" y="203594"/>
                  </a:lnTo>
                  <a:lnTo>
                    <a:pt x="1087692" y="202959"/>
                  </a:lnTo>
                  <a:lnTo>
                    <a:pt x="1087743" y="202959"/>
                  </a:lnTo>
                  <a:lnTo>
                    <a:pt x="1087743" y="202260"/>
                  </a:lnTo>
                  <a:lnTo>
                    <a:pt x="1087743" y="202959"/>
                  </a:lnTo>
                  <a:lnTo>
                    <a:pt x="1087844" y="202959"/>
                  </a:lnTo>
                  <a:lnTo>
                    <a:pt x="1087844" y="203594"/>
                  </a:lnTo>
                  <a:lnTo>
                    <a:pt x="1087844" y="202959"/>
                  </a:lnTo>
                  <a:lnTo>
                    <a:pt x="1087844" y="203594"/>
                  </a:lnTo>
                  <a:lnTo>
                    <a:pt x="1087844" y="202959"/>
                  </a:lnTo>
                  <a:lnTo>
                    <a:pt x="1087895" y="202959"/>
                  </a:lnTo>
                  <a:lnTo>
                    <a:pt x="1087895" y="203594"/>
                  </a:lnTo>
                  <a:lnTo>
                    <a:pt x="1087895" y="202959"/>
                  </a:lnTo>
                  <a:lnTo>
                    <a:pt x="1087895" y="203594"/>
                  </a:lnTo>
                  <a:lnTo>
                    <a:pt x="1087895" y="202959"/>
                  </a:lnTo>
                  <a:lnTo>
                    <a:pt x="1087946" y="202959"/>
                  </a:lnTo>
                  <a:lnTo>
                    <a:pt x="1087946" y="202260"/>
                  </a:lnTo>
                  <a:lnTo>
                    <a:pt x="1087946" y="203594"/>
                  </a:lnTo>
                  <a:lnTo>
                    <a:pt x="1087946" y="202260"/>
                  </a:lnTo>
                  <a:lnTo>
                    <a:pt x="1087946" y="202959"/>
                  </a:lnTo>
                  <a:lnTo>
                    <a:pt x="1087984" y="202959"/>
                  </a:lnTo>
                  <a:lnTo>
                    <a:pt x="1087984" y="200876"/>
                  </a:lnTo>
                  <a:lnTo>
                    <a:pt x="1087984" y="202260"/>
                  </a:lnTo>
                  <a:lnTo>
                    <a:pt x="1087984" y="200876"/>
                  </a:lnTo>
                  <a:lnTo>
                    <a:pt x="1087984" y="202260"/>
                  </a:lnTo>
                  <a:lnTo>
                    <a:pt x="1088086" y="202260"/>
                  </a:lnTo>
                  <a:lnTo>
                    <a:pt x="1088086" y="204292"/>
                  </a:lnTo>
                  <a:lnTo>
                    <a:pt x="1088086" y="202959"/>
                  </a:lnTo>
                  <a:lnTo>
                    <a:pt x="1088086" y="203594"/>
                  </a:lnTo>
                  <a:lnTo>
                    <a:pt x="1088137" y="204292"/>
                  </a:lnTo>
                  <a:lnTo>
                    <a:pt x="1088137" y="206324"/>
                  </a:lnTo>
                  <a:lnTo>
                    <a:pt x="1088137" y="204990"/>
                  </a:lnTo>
                  <a:lnTo>
                    <a:pt x="1088187" y="204990"/>
                  </a:lnTo>
                  <a:lnTo>
                    <a:pt x="1088187" y="206324"/>
                  </a:lnTo>
                  <a:lnTo>
                    <a:pt x="1088187" y="204990"/>
                  </a:lnTo>
                  <a:lnTo>
                    <a:pt x="1088187" y="206324"/>
                  </a:lnTo>
                  <a:lnTo>
                    <a:pt x="1088187" y="204990"/>
                  </a:lnTo>
                  <a:lnTo>
                    <a:pt x="1088289" y="204990"/>
                  </a:lnTo>
                  <a:lnTo>
                    <a:pt x="1088289" y="206324"/>
                  </a:lnTo>
                  <a:lnTo>
                    <a:pt x="1088289" y="204990"/>
                  </a:lnTo>
                  <a:lnTo>
                    <a:pt x="1088289" y="206324"/>
                  </a:lnTo>
                  <a:lnTo>
                    <a:pt x="1088289" y="204990"/>
                  </a:lnTo>
                  <a:lnTo>
                    <a:pt x="1088340" y="204990"/>
                  </a:lnTo>
                  <a:lnTo>
                    <a:pt x="1088340" y="206324"/>
                  </a:lnTo>
                  <a:lnTo>
                    <a:pt x="1088340" y="204990"/>
                  </a:lnTo>
                  <a:lnTo>
                    <a:pt x="1088390" y="204990"/>
                  </a:lnTo>
                  <a:lnTo>
                    <a:pt x="1088390" y="204292"/>
                  </a:lnTo>
                  <a:lnTo>
                    <a:pt x="1088390" y="204990"/>
                  </a:lnTo>
                  <a:lnTo>
                    <a:pt x="1088390" y="204292"/>
                  </a:lnTo>
                  <a:lnTo>
                    <a:pt x="1088390" y="204990"/>
                  </a:lnTo>
                  <a:lnTo>
                    <a:pt x="1088441" y="204990"/>
                  </a:lnTo>
                  <a:lnTo>
                    <a:pt x="1088441" y="202959"/>
                  </a:lnTo>
                  <a:lnTo>
                    <a:pt x="1088530" y="202959"/>
                  </a:lnTo>
                  <a:lnTo>
                    <a:pt x="1088530" y="200876"/>
                  </a:lnTo>
                  <a:lnTo>
                    <a:pt x="1088530" y="203594"/>
                  </a:lnTo>
                  <a:lnTo>
                    <a:pt x="1088581" y="203594"/>
                  </a:lnTo>
                  <a:lnTo>
                    <a:pt x="1088581" y="202959"/>
                  </a:lnTo>
                  <a:lnTo>
                    <a:pt x="1088581" y="203594"/>
                  </a:lnTo>
                  <a:lnTo>
                    <a:pt x="1088581" y="202959"/>
                  </a:lnTo>
                  <a:lnTo>
                    <a:pt x="1088581" y="206324"/>
                  </a:lnTo>
                  <a:lnTo>
                    <a:pt x="1088632" y="206324"/>
                  </a:lnTo>
                  <a:lnTo>
                    <a:pt x="1088632" y="204292"/>
                  </a:lnTo>
                  <a:lnTo>
                    <a:pt x="1088632" y="204990"/>
                  </a:lnTo>
                  <a:lnTo>
                    <a:pt x="1088632" y="204292"/>
                  </a:lnTo>
                  <a:lnTo>
                    <a:pt x="1088683" y="204292"/>
                  </a:lnTo>
                  <a:lnTo>
                    <a:pt x="1088683" y="206324"/>
                  </a:lnTo>
                  <a:lnTo>
                    <a:pt x="1088683" y="204990"/>
                  </a:lnTo>
                  <a:lnTo>
                    <a:pt x="1088683" y="207022"/>
                  </a:lnTo>
                  <a:lnTo>
                    <a:pt x="1088784" y="206324"/>
                  </a:lnTo>
                  <a:lnTo>
                    <a:pt x="1088784" y="204990"/>
                  </a:lnTo>
                  <a:lnTo>
                    <a:pt x="1088784" y="207022"/>
                  </a:lnTo>
                  <a:lnTo>
                    <a:pt x="1088784" y="206324"/>
                  </a:lnTo>
                  <a:lnTo>
                    <a:pt x="1088784" y="207022"/>
                  </a:lnTo>
                  <a:lnTo>
                    <a:pt x="1088784" y="206324"/>
                  </a:lnTo>
                  <a:lnTo>
                    <a:pt x="1088784" y="207022"/>
                  </a:lnTo>
                  <a:lnTo>
                    <a:pt x="1088784" y="206324"/>
                  </a:lnTo>
                  <a:lnTo>
                    <a:pt x="1088835" y="206324"/>
                  </a:lnTo>
                  <a:lnTo>
                    <a:pt x="1088835" y="207022"/>
                  </a:lnTo>
                  <a:lnTo>
                    <a:pt x="1088835" y="206324"/>
                  </a:lnTo>
                  <a:lnTo>
                    <a:pt x="1088835" y="207022"/>
                  </a:lnTo>
                  <a:lnTo>
                    <a:pt x="1088835" y="206324"/>
                  </a:lnTo>
                  <a:lnTo>
                    <a:pt x="1088835" y="207022"/>
                  </a:lnTo>
                  <a:lnTo>
                    <a:pt x="1088835" y="204990"/>
                  </a:lnTo>
                  <a:lnTo>
                    <a:pt x="1088886" y="204990"/>
                  </a:lnTo>
                  <a:lnTo>
                    <a:pt x="1088886" y="204292"/>
                  </a:lnTo>
                  <a:lnTo>
                    <a:pt x="1088886" y="204990"/>
                  </a:lnTo>
                  <a:lnTo>
                    <a:pt x="1088886" y="204292"/>
                  </a:lnTo>
                  <a:lnTo>
                    <a:pt x="1088987" y="204292"/>
                  </a:lnTo>
                  <a:lnTo>
                    <a:pt x="1088987" y="203594"/>
                  </a:lnTo>
                  <a:lnTo>
                    <a:pt x="1088987" y="204292"/>
                  </a:lnTo>
                  <a:lnTo>
                    <a:pt x="1088987" y="203594"/>
                  </a:lnTo>
                  <a:lnTo>
                    <a:pt x="1088987" y="206324"/>
                  </a:lnTo>
                  <a:lnTo>
                    <a:pt x="1088987" y="204990"/>
                  </a:lnTo>
                  <a:lnTo>
                    <a:pt x="1089025" y="204292"/>
                  </a:lnTo>
                  <a:lnTo>
                    <a:pt x="1089025" y="207721"/>
                  </a:lnTo>
                  <a:lnTo>
                    <a:pt x="1089025" y="207022"/>
                  </a:lnTo>
                  <a:lnTo>
                    <a:pt x="1089076" y="207022"/>
                  </a:lnTo>
                  <a:lnTo>
                    <a:pt x="1089076" y="208407"/>
                  </a:lnTo>
                  <a:lnTo>
                    <a:pt x="1089076" y="207022"/>
                  </a:lnTo>
                  <a:lnTo>
                    <a:pt x="1089127" y="207022"/>
                  </a:lnTo>
                  <a:lnTo>
                    <a:pt x="1089127" y="207721"/>
                  </a:lnTo>
                  <a:lnTo>
                    <a:pt x="1089127" y="207022"/>
                  </a:lnTo>
                  <a:lnTo>
                    <a:pt x="1089127" y="207721"/>
                  </a:lnTo>
                  <a:lnTo>
                    <a:pt x="1089127" y="207022"/>
                  </a:lnTo>
                  <a:lnTo>
                    <a:pt x="1089229" y="207022"/>
                  </a:lnTo>
                  <a:lnTo>
                    <a:pt x="1089229" y="207721"/>
                  </a:lnTo>
                  <a:lnTo>
                    <a:pt x="1089229" y="207022"/>
                  </a:lnTo>
                  <a:lnTo>
                    <a:pt x="1089229" y="207721"/>
                  </a:lnTo>
                  <a:lnTo>
                    <a:pt x="1089280" y="207721"/>
                  </a:lnTo>
                  <a:lnTo>
                    <a:pt x="1089280" y="207022"/>
                  </a:lnTo>
                  <a:lnTo>
                    <a:pt x="1089280" y="207721"/>
                  </a:lnTo>
                  <a:lnTo>
                    <a:pt x="1089280" y="207022"/>
                  </a:lnTo>
                  <a:lnTo>
                    <a:pt x="1089280" y="207721"/>
                  </a:lnTo>
                  <a:lnTo>
                    <a:pt x="1089280" y="207022"/>
                  </a:lnTo>
                  <a:lnTo>
                    <a:pt x="1089280" y="207721"/>
                  </a:lnTo>
                  <a:lnTo>
                    <a:pt x="1089280" y="206324"/>
                  </a:lnTo>
                  <a:lnTo>
                    <a:pt x="1089280" y="207022"/>
                  </a:lnTo>
                  <a:lnTo>
                    <a:pt x="1089330" y="207022"/>
                  </a:lnTo>
                  <a:lnTo>
                    <a:pt x="1089330" y="206324"/>
                  </a:lnTo>
                  <a:lnTo>
                    <a:pt x="1089330" y="207022"/>
                  </a:lnTo>
                  <a:lnTo>
                    <a:pt x="1089330" y="206324"/>
                  </a:lnTo>
                  <a:lnTo>
                    <a:pt x="1089330" y="207022"/>
                  </a:lnTo>
                  <a:lnTo>
                    <a:pt x="1089330" y="204990"/>
                  </a:lnTo>
                  <a:lnTo>
                    <a:pt x="1089432" y="204990"/>
                  </a:lnTo>
                  <a:lnTo>
                    <a:pt x="1089432" y="207022"/>
                  </a:lnTo>
                  <a:lnTo>
                    <a:pt x="1089432" y="204990"/>
                  </a:lnTo>
                  <a:lnTo>
                    <a:pt x="1089483" y="206324"/>
                  </a:lnTo>
                  <a:lnTo>
                    <a:pt x="1089483" y="210451"/>
                  </a:lnTo>
                  <a:lnTo>
                    <a:pt x="1089483" y="207022"/>
                  </a:lnTo>
                  <a:lnTo>
                    <a:pt x="1089483" y="208407"/>
                  </a:lnTo>
                  <a:lnTo>
                    <a:pt x="1089534" y="208407"/>
                  </a:lnTo>
                  <a:lnTo>
                    <a:pt x="1089534" y="209753"/>
                  </a:lnTo>
                  <a:lnTo>
                    <a:pt x="1089534" y="208407"/>
                  </a:lnTo>
                  <a:lnTo>
                    <a:pt x="1089572" y="208407"/>
                  </a:lnTo>
                  <a:lnTo>
                    <a:pt x="1089572" y="209753"/>
                  </a:lnTo>
                  <a:lnTo>
                    <a:pt x="1089572" y="207721"/>
                  </a:lnTo>
                  <a:lnTo>
                    <a:pt x="1089572" y="208407"/>
                  </a:lnTo>
                  <a:lnTo>
                    <a:pt x="1089572" y="207721"/>
                  </a:lnTo>
                  <a:lnTo>
                    <a:pt x="1089572" y="208407"/>
                  </a:lnTo>
                  <a:lnTo>
                    <a:pt x="1089673" y="208407"/>
                  </a:lnTo>
                  <a:lnTo>
                    <a:pt x="1089673" y="207721"/>
                  </a:lnTo>
                  <a:lnTo>
                    <a:pt x="1089673" y="208407"/>
                  </a:lnTo>
                  <a:lnTo>
                    <a:pt x="1089724" y="208407"/>
                  </a:lnTo>
                  <a:lnTo>
                    <a:pt x="1089724" y="207721"/>
                  </a:lnTo>
                  <a:lnTo>
                    <a:pt x="1089724" y="208407"/>
                  </a:lnTo>
                  <a:lnTo>
                    <a:pt x="1089724" y="207022"/>
                  </a:lnTo>
                  <a:lnTo>
                    <a:pt x="1089724" y="207721"/>
                  </a:lnTo>
                  <a:lnTo>
                    <a:pt x="1089775" y="207721"/>
                  </a:lnTo>
                  <a:lnTo>
                    <a:pt x="1089775" y="206324"/>
                  </a:lnTo>
                  <a:lnTo>
                    <a:pt x="1089775" y="207022"/>
                  </a:lnTo>
                  <a:lnTo>
                    <a:pt x="1089775" y="206324"/>
                  </a:lnTo>
                  <a:lnTo>
                    <a:pt x="1089876" y="206324"/>
                  </a:lnTo>
                  <a:lnTo>
                    <a:pt x="1089876" y="204292"/>
                  </a:lnTo>
                  <a:lnTo>
                    <a:pt x="1089927" y="204990"/>
                  </a:lnTo>
                  <a:lnTo>
                    <a:pt x="1089927" y="204292"/>
                  </a:lnTo>
                  <a:lnTo>
                    <a:pt x="1089927" y="204990"/>
                  </a:lnTo>
                  <a:lnTo>
                    <a:pt x="1089927" y="202959"/>
                  </a:lnTo>
                  <a:lnTo>
                    <a:pt x="1089927" y="207721"/>
                  </a:lnTo>
                  <a:lnTo>
                    <a:pt x="1089978" y="207721"/>
                  </a:lnTo>
                  <a:lnTo>
                    <a:pt x="1089978" y="206324"/>
                  </a:lnTo>
                  <a:lnTo>
                    <a:pt x="1089978" y="207721"/>
                  </a:lnTo>
                  <a:lnTo>
                    <a:pt x="1090029" y="208407"/>
                  </a:lnTo>
                  <a:lnTo>
                    <a:pt x="1090029" y="207022"/>
                  </a:lnTo>
                  <a:lnTo>
                    <a:pt x="1090029" y="208407"/>
                  </a:lnTo>
                  <a:lnTo>
                    <a:pt x="1090118" y="208407"/>
                  </a:lnTo>
                  <a:lnTo>
                    <a:pt x="1090118" y="207721"/>
                  </a:lnTo>
                  <a:lnTo>
                    <a:pt x="1090118" y="208407"/>
                  </a:lnTo>
                  <a:lnTo>
                    <a:pt x="1090169" y="208407"/>
                  </a:lnTo>
                  <a:lnTo>
                    <a:pt x="1090169" y="207721"/>
                  </a:lnTo>
                  <a:lnTo>
                    <a:pt x="1090169" y="208407"/>
                  </a:lnTo>
                  <a:lnTo>
                    <a:pt x="1090169" y="207721"/>
                  </a:lnTo>
                  <a:lnTo>
                    <a:pt x="1090169" y="208407"/>
                  </a:lnTo>
                  <a:lnTo>
                    <a:pt x="1090219" y="208407"/>
                  </a:lnTo>
                  <a:lnTo>
                    <a:pt x="1090219" y="207721"/>
                  </a:lnTo>
                  <a:lnTo>
                    <a:pt x="1090219" y="208407"/>
                  </a:lnTo>
                  <a:lnTo>
                    <a:pt x="1090219" y="207721"/>
                  </a:lnTo>
                  <a:lnTo>
                    <a:pt x="1090219" y="208407"/>
                  </a:lnTo>
                  <a:lnTo>
                    <a:pt x="1090219" y="207721"/>
                  </a:lnTo>
                  <a:lnTo>
                    <a:pt x="1090270" y="208407"/>
                  </a:lnTo>
                  <a:lnTo>
                    <a:pt x="1090270" y="207022"/>
                  </a:lnTo>
                  <a:lnTo>
                    <a:pt x="1090270" y="207721"/>
                  </a:lnTo>
                  <a:lnTo>
                    <a:pt x="1090270" y="207022"/>
                  </a:lnTo>
                  <a:lnTo>
                    <a:pt x="1090270" y="207721"/>
                  </a:lnTo>
                  <a:lnTo>
                    <a:pt x="1090270" y="204990"/>
                  </a:lnTo>
                  <a:lnTo>
                    <a:pt x="1090372" y="206324"/>
                  </a:lnTo>
                  <a:lnTo>
                    <a:pt x="1090372" y="203594"/>
                  </a:lnTo>
                  <a:lnTo>
                    <a:pt x="1090372" y="206324"/>
                  </a:lnTo>
                  <a:lnTo>
                    <a:pt x="1090422" y="204990"/>
                  </a:lnTo>
                  <a:lnTo>
                    <a:pt x="1090422" y="204292"/>
                  </a:lnTo>
                  <a:lnTo>
                    <a:pt x="1090422" y="207022"/>
                  </a:lnTo>
                  <a:lnTo>
                    <a:pt x="1090473" y="207022"/>
                  </a:lnTo>
                  <a:lnTo>
                    <a:pt x="1090473" y="206324"/>
                  </a:lnTo>
                  <a:lnTo>
                    <a:pt x="1090473" y="207022"/>
                  </a:lnTo>
                  <a:lnTo>
                    <a:pt x="1090473" y="206324"/>
                  </a:lnTo>
                  <a:lnTo>
                    <a:pt x="1090473" y="207721"/>
                  </a:lnTo>
                  <a:lnTo>
                    <a:pt x="1090473" y="206324"/>
                  </a:lnTo>
                  <a:lnTo>
                    <a:pt x="1090575" y="206324"/>
                  </a:lnTo>
                  <a:lnTo>
                    <a:pt x="1090575" y="207022"/>
                  </a:lnTo>
                  <a:lnTo>
                    <a:pt x="1090575" y="206324"/>
                  </a:lnTo>
                  <a:lnTo>
                    <a:pt x="1090575" y="207721"/>
                  </a:lnTo>
                  <a:lnTo>
                    <a:pt x="1090575" y="206324"/>
                  </a:lnTo>
                  <a:lnTo>
                    <a:pt x="1090575" y="207022"/>
                  </a:lnTo>
                  <a:lnTo>
                    <a:pt x="1090664" y="207022"/>
                  </a:lnTo>
                  <a:lnTo>
                    <a:pt x="1090664" y="207721"/>
                  </a:lnTo>
                  <a:lnTo>
                    <a:pt x="1090715" y="207022"/>
                  </a:lnTo>
                  <a:lnTo>
                    <a:pt x="1090715" y="208407"/>
                  </a:lnTo>
                  <a:lnTo>
                    <a:pt x="1090715" y="207022"/>
                  </a:lnTo>
                  <a:lnTo>
                    <a:pt x="1090715" y="207721"/>
                  </a:lnTo>
                  <a:lnTo>
                    <a:pt x="1090715" y="206324"/>
                  </a:lnTo>
                  <a:lnTo>
                    <a:pt x="1090715" y="207022"/>
                  </a:lnTo>
                  <a:lnTo>
                    <a:pt x="1090816" y="206324"/>
                  </a:lnTo>
                  <a:lnTo>
                    <a:pt x="1090816" y="207022"/>
                  </a:lnTo>
                  <a:lnTo>
                    <a:pt x="1090816" y="206324"/>
                  </a:lnTo>
                  <a:lnTo>
                    <a:pt x="1090816" y="207022"/>
                  </a:lnTo>
                  <a:lnTo>
                    <a:pt x="1090816" y="204292"/>
                  </a:lnTo>
                  <a:lnTo>
                    <a:pt x="1090867" y="204292"/>
                  </a:lnTo>
                  <a:lnTo>
                    <a:pt x="1090867" y="204990"/>
                  </a:lnTo>
                  <a:lnTo>
                    <a:pt x="1090867" y="203594"/>
                  </a:lnTo>
                  <a:lnTo>
                    <a:pt x="1090867" y="204292"/>
                  </a:lnTo>
                  <a:lnTo>
                    <a:pt x="1090918" y="204292"/>
                  </a:lnTo>
                  <a:lnTo>
                    <a:pt x="1090918" y="203594"/>
                  </a:lnTo>
                  <a:lnTo>
                    <a:pt x="1090918" y="204990"/>
                  </a:lnTo>
                  <a:lnTo>
                    <a:pt x="1090918" y="204292"/>
                  </a:lnTo>
                  <a:lnTo>
                    <a:pt x="1090918" y="204990"/>
                  </a:lnTo>
                  <a:lnTo>
                    <a:pt x="1090918" y="204292"/>
                  </a:lnTo>
                  <a:lnTo>
                    <a:pt x="1090918" y="204990"/>
                  </a:lnTo>
                  <a:lnTo>
                    <a:pt x="1091019" y="204990"/>
                  </a:lnTo>
                  <a:lnTo>
                    <a:pt x="1091019" y="204292"/>
                  </a:lnTo>
                  <a:lnTo>
                    <a:pt x="1091019" y="204990"/>
                  </a:lnTo>
                  <a:lnTo>
                    <a:pt x="1091019" y="204292"/>
                  </a:lnTo>
                  <a:lnTo>
                    <a:pt x="1091070" y="204292"/>
                  </a:lnTo>
                  <a:lnTo>
                    <a:pt x="1091070" y="204990"/>
                  </a:lnTo>
                  <a:lnTo>
                    <a:pt x="1091121" y="204990"/>
                  </a:lnTo>
                  <a:lnTo>
                    <a:pt x="1091121" y="206324"/>
                  </a:lnTo>
                  <a:lnTo>
                    <a:pt x="1091121" y="204990"/>
                  </a:lnTo>
                  <a:lnTo>
                    <a:pt x="1091121" y="206324"/>
                  </a:lnTo>
                  <a:lnTo>
                    <a:pt x="1091121" y="204990"/>
                  </a:lnTo>
                  <a:lnTo>
                    <a:pt x="1091121" y="206324"/>
                  </a:lnTo>
                  <a:lnTo>
                    <a:pt x="1091121" y="204990"/>
                  </a:lnTo>
                  <a:lnTo>
                    <a:pt x="1091121" y="206324"/>
                  </a:lnTo>
                  <a:lnTo>
                    <a:pt x="1091159" y="206324"/>
                  </a:lnTo>
                  <a:lnTo>
                    <a:pt x="1091159" y="207022"/>
                  </a:lnTo>
                  <a:lnTo>
                    <a:pt x="1091261" y="207022"/>
                  </a:lnTo>
                  <a:lnTo>
                    <a:pt x="1091261" y="206324"/>
                  </a:lnTo>
                  <a:lnTo>
                    <a:pt x="1091261" y="207022"/>
                  </a:lnTo>
                  <a:lnTo>
                    <a:pt x="1091261" y="206324"/>
                  </a:lnTo>
                  <a:lnTo>
                    <a:pt x="1091261" y="207022"/>
                  </a:lnTo>
                  <a:lnTo>
                    <a:pt x="1091261" y="204990"/>
                  </a:lnTo>
                  <a:lnTo>
                    <a:pt x="1091312" y="204990"/>
                  </a:lnTo>
                  <a:lnTo>
                    <a:pt x="1091312" y="203594"/>
                  </a:lnTo>
                  <a:lnTo>
                    <a:pt x="1091362" y="203594"/>
                  </a:lnTo>
                  <a:lnTo>
                    <a:pt x="1091362" y="204990"/>
                  </a:lnTo>
                  <a:lnTo>
                    <a:pt x="1091464" y="204292"/>
                  </a:lnTo>
                  <a:lnTo>
                    <a:pt x="1091464" y="203594"/>
                  </a:lnTo>
                  <a:lnTo>
                    <a:pt x="1091464" y="206324"/>
                  </a:lnTo>
                  <a:lnTo>
                    <a:pt x="1091464" y="204990"/>
                  </a:lnTo>
                  <a:lnTo>
                    <a:pt x="1091515" y="204990"/>
                  </a:lnTo>
                  <a:lnTo>
                    <a:pt x="1091515" y="204292"/>
                  </a:lnTo>
                  <a:lnTo>
                    <a:pt x="1091515" y="206324"/>
                  </a:lnTo>
                  <a:lnTo>
                    <a:pt x="1091515" y="204990"/>
                  </a:lnTo>
                  <a:lnTo>
                    <a:pt x="1091565" y="204292"/>
                  </a:lnTo>
                  <a:lnTo>
                    <a:pt x="1091565" y="204990"/>
                  </a:lnTo>
                  <a:lnTo>
                    <a:pt x="1091565" y="204292"/>
                  </a:lnTo>
                  <a:lnTo>
                    <a:pt x="1091565" y="204990"/>
                  </a:lnTo>
                  <a:lnTo>
                    <a:pt x="1091565" y="204292"/>
                  </a:lnTo>
                  <a:lnTo>
                    <a:pt x="1091565" y="204990"/>
                  </a:lnTo>
                  <a:lnTo>
                    <a:pt x="1091616" y="204990"/>
                  </a:lnTo>
                  <a:lnTo>
                    <a:pt x="1091616" y="204292"/>
                  </a:lnTo>
                  <a:lnTo>
                    <a:pt x="1091616" y="204990"/>
                  </a:lnTo>
                  <a:lnTo>
                    <a:pt x="1091616" y="204292"/>
                  </a:lnTo>
                  <a:lnTo>
                    <a:pt x="1091616" y="204990"/>
                  </a:lnTo>
                  <a:lnTo>
                    <a:pt x="1091705" y="204990"/>
                  </a:lnTo>
                  <a:lnTo>
                    <a:pt x="1091705" y="206324"/>
                  </a:lnTo>
                  <a:lnTo>
                    <a:pt x="1091705" y="204990"/>
                  </a:lnTo>
                  <a:lnTo>
                    <a:pt x="1091705" y="206324"/>
                  </a:lnTo>
                  <a:lnTo>
                    <a:pt x="1091756" y="206324"/>
                  </a:lnTo>
                  <a:lnTo>
                    <a:pt x="1091756" y="203594"/>
                  </a:lnTo>
                  <a:lnTo>
                    <a:pt x="1091807" y="204292"/>
                  </a:lnTo>
                  <a:lnTo>
                    <a:pt x="1091807" y="202959"/>
                  </a:lnTo>
                  <a:lnTo>
                    <a:pt x="1091807" y="203594"/>
                  </a:lnTo>
                  <a:lnTo>
                    <a:pt x="1091858" y="203594"/>
                  </a:lnTo>
                  <a:lnTo>
                    <a:pt x="1091858" y="202260"/>
                  </a:lnTo>
                  <a:lnTo>
                    <a:pt x="1091858" y="204292"/>
                  </a:lnTo>
                  <a:lnTo>
                    <a:pt x="1091858" y="202959"/>
                  </a:lnTo>
                  <a:lnTo>
                    <a:pt x="1091959" y="202959"/>
                  </a:lnTo>
                  <a:lnTo>
                    <a:pt x="1091959" y="204990"/>
                  </a:lnTo>
                  <a:lnTo>
                    <a:pt x="1091959" y="204292"/>
                  </a:lnTo>
                  <a:lnTo>
                    <a:pt x="1092010" y="204292"/>
                  </a:lnTo>
                  <a:lnTo>
                    <a:pt x="1092010" y="203594"/>
                  </a:lnTo>
                  <a:lnTo>
                    <a:pt x="1092010" y="204990"/>
                  </a:lnTo>
                  <a:lnTo>
                    <a:pt x="1092010" y="204292"/>
                  </a:lnTo>
                  <a:lnTo>
                    <a:pt x="1092061" y="204292"/>
                  </a:lnTo>
                  <a:lnTo>
                    <a:pt x="1092061" y="204990"/>
                  </a:lnTo>
                  <a:lnTo>
                    <a:pt x="1092061" y="204292"/>
                  </a:lnTo>
                  <a:lnTo>
                    <a:pt x="1092162" y="204990"/>
                  </a:lnTo>
                  <a:lnTo>
                    <a:pt x="1092162" y="206324"/>
                  </a:lnTo>
                  <a:lnTo>
                    <a:pt x="1092162" y="204990"/>
                  </a:lnTo>
                  <a:lnTo>
                    <a:pt x="1092162" y="206324"/>
                  </a:lnTo>
                  <a:lnTo>
                    <a:pt x="1092200" y="206324"/>
                  </a:lnTo>
                  <a:lnTo>
                    <a:pt x="1092200" y="204990"/>
                  </a:lnTo>
                  <a:lnTo>
                    <a:pt x="1092200" y="206324"/>
                  </a:lnTo>
                  <a:lnTo>
                    <a:pt x="1092200" y="204990"/>
                  </a:lnTo>
                  <a:lnTo>
                    <a:pt x="1092200" y="206324"/>
                  </a:lnTo>
                  <a:lnTo>
                    <a:pt x="1092200" y="204990"/>
                  </a:lnTo>
                  <a:lnTo>
                    <a:pt x="1092251" y="204990"/>
                  </a:lnTo>
                  <a:lnTo>
                    <a:pt x="1092251" y="203594"/>
                  </a:lnTo>
                  <a:lnTo>
                    <a:pt x="1092251" y="204292"/>
                  </a:lnTo>
                  <a:lnTo>
                    <a:pt x="1092302" y="203594"/>
                  </a:lnTo>
                  <a:lnTo>
                    <a:pt x="1092302" y="202959"/>
                  </a:lnTo>
                  <a:lnTo>
                    <a:pt x="1092302" y="203594"/>
                  </a:lnTo>
                  <a:lnTo>
                    <a:pt x="1092302" y="202260"/>
                  </a:lnTo>
                  <a:lnTo>
                    <a:pt x="1092302" y="202959"/>
                  </a:lnTo>
                  <a:lnTo>
                    <a:pt x="1092404" y="202959"/>
                  </a:lnTo>
                  <a:lnTo>
                    <a:pt x="1092404" y="203594"/>
                  </a:lnTo>
                  <a:lnTo>
                    <a:pt x="1092404" y="202959"/>
                  </a:lnTo>
                  <a:lnTo>
                    <a:pt x="1092404" y="203594"/>
                  </a:lnTo>
                  <a:lnTo>
                    <a:pt x="1092404" y="202959"/>
                  </a:lnTo>
                  <a:lnTo>
                    <a:pt x="1092404" y="203594"/>
                  </a:lnTo>
                  <a:lnTo>
                    <a:pt x="1092404" y="202959"/>
                  </a:lnTo>
                  <a:lnTo>
                    <a:pt x="1092404" y="204990"/>
                  </a:lnTo>
                  <a:lnTo>
                    <a:pt x="1092455" y="204990"/>
                  </a:lnTo>
                  <a:lnTo>
                    <a:pt x="1092455" y="203594"/>
                  </a:lnTo>
                  <a:lnTo>
                    <a:pt x="1092455" y="204990"/>
                  </a:lnTo>
                  <a:lnTo>
                    <a:pt x="1092505" y="206324"/>
                  </a:lnTo>
                  <a:lnTo>
                    <a:pt x="1092505" y="204292"/>
                  </a:lnTo>
                  <a:lnTo>
                    <a:pt x="1092505" y="204990"/>
                  </a:lnTo>
                  <a:lnTo>
                    <a:pt x="1092505" y="204292"/>
                  </a:lnTo>
                  <a:lnTo>
                    <a:pt x="1092505" y="204990"/>
                  </a:lnTo>
                  <a:lnTo>
                    <a:pt x="1092607" y="204292"/>
                  </a:lnTo>
                  <a:lnTo>
                    <a:pt x="1092607" y="203594"/>
                  </a:lnTo>
                  <a:lnTo>
                    <a:pt x="1092607" y="204292"/>
                  </a:lnTo>
                  <a:lnTo>
                    <a:pt x="1092607" y="203594"/>
                  </a:lnTo>
                  <a:lnTo>
                    <a:pt x="1092607" y="204990"/>
                  </a:lnTo>
                  <a:lnTo>
                    <a:pt x="1092607" y="204292"/>
                  </a:lnTo>
                  <a:lnTo>
                    <a:pt x="1092607" y="204990"/>
                  </a:lnTo>
                  <a:lnTo>
                    <a:pt x="1092607" y="204292"/>
                  </a:lnTo>
                  <a:lnTo>
                    <a:pt x="1092658" y="204292"/>
                  </a:lnTo>
                  <a:lnTo>
                    <a:pt x="1092658" y="204990"/>
                  </a:lnTo>
                  <a:lnTo>
                    <a:pt x="1092709" y="204990"/>
                  </a:lnTo>
                  <a:lnTo>
                    <a:pt x="1092709" y="204292"/>
                  </a:lnTo>
                  <a:lnTo>
                    <a:pt x="1092709" y="204990"/>
                  </a:lnTo>
                  <a:lnTo>
                    <a:pt x="1092747" y="204292"/>
                  </a:lnTo>
                  <a:lnTo>
                    <a:pt x="1092747" y="203594"/>
                  </a:lnTo>
                  <a:lnTo>
                    <a:pt x="1092848" y="203594"/>
                  </a:lnTo>
                  <a:lnTo>
                    <a:pt x="1092848" y="202959"/>
                  </a:lnTo>
                  <a:lnTo>
                    <a:pt x="1092848" y="204990"/>
                  </a:lnTo>
                  <a:lnTo>
                    <a:pt x="1092848" y="204292"/>
                  </a:lnTo>
                  <a:lnTo>
                    <a:pt x="1092899" y="204292"/>
                  </a:lnTo>
                  <a:lnTo>
                    <a:pt x="1092899" y="207022"/>
                  </a:lnTo>
                  <a:lnTo>
                    <a:pt x="1092899" y="206324"/>
                  </a:lnTo>
                  <a:lnTo>
                    <a:pt x="1092950" y="206324"/>
                  </a:lnTo>
                  <a:lnTo>
                    <a:pt x="1092950" y="207022"/>
                  </a:lnTo>
                  <a:lnTo>
                    <a:pt x="1092950" y="206324"/>
                  </a:lnTo>
                  <a:lnTo>
                    <a:pt x="1092950" y="207022"/>
                  </a:lnTo>
                  <a:lnTo>
                    <a:pt x="1092950" y="206324"/>
                  </a:lnTo>
                  <a:lnTo>
                    <a:pt x="1093051" y="206324"/>
                  </a:lnTo>
                  <a:lnTo>
                    <a:pt x="1093051" y="207022"/>
                  </a:lnTo>
                  <a:lnTo>
                    <a:pt x="1093051" y="206324"/>
                  </a:lnTo>
                  <a:lnTo>
                    <a:pt x="1093051" y="207022"/>
                  </a:lnTo>
                  <a:lnTo>
                    <a:pt x="1093051" y="206324"/>
                  </a:lnTo>
                  <a:lnTo>
                    <a:pt x="1093051" y="207022"/>
                  </a:lnTo>
                  <a:lnTo>
                    <a:pt x="1093051" y="206324"/>
                  </a:lnTo>
                  <a:lnTo>
                    <a:pt x="1093102" y="206324"/>
                  </a:lnTo>
                  <a:lnTo>
                    <a:pt x="1093102" y="207022"/>
                  </a:lnTo>
                  <a:lnTo>
                    <a:pt x="1093102" y="206324"/>
                  </a:lnTo>
                  <a:lnTo>
                    <a:pt x="1093102" y="207022"/>
                  </a:lnTo>
                  <a:lnTo>
                    <a:pt x="1093153" y="207022"/>
                  </a:lnTo>
                  <a:lnTo>
                    <a:pt x="1093153" y="206324"/>
                  </a:lnTo>
                  <a:lnTo>
                    <a:pt x="1093153" y="207022"/>
                  </a:lnTo>
                  <a:lnTo>
                    <a:pt x="1093153" y="204990"/>
                  </a:lnTo>
                  <a:lnTo>
                    <a:pt x="1093153" y="206324"/>
                  </a:lnTo>
                  <a:lnTo>
                    <a:pt x="1093153" y="204990"/>
                  </a:lnTo>
                  <a:lnTo>
                    <a:pt x="1093204" y="204990"/>
                  </a:lnTo>
                  <a:lnTo>
                    <a:pt x="1093204" y="206324"/>
                  </a:lnTo>
                  <a:lnTo>
                    <a:pt x="1093204" y="204292"/>
                  </a:lnTo>
                  <a:lnTo>
                    <a:pt x="1093204" y="204990"/>
                  </a:lnTo>
                  <a:lnTo>
                    <a:pt x="1093204" y="204292"/>
                  </a:lnTo>
                  <a:lnTo>
                    <a:pt x="1093293" y="204292"/>
                  </a:lnTo>
                  <a:lnTo>
                    <a:pt x="1093293" y="202959"/>
                  </a:lnTo>
                  <a:lnTo>
                    <a:pt x="1093293" y="203594"/>
                  </a:lnTo>
                  <a:lnTo>
                    <a:pt x="1093293" y="202959"/>
                  </a:lnTo>
                  <a:lnTo>
                    <a:pt x="1093293" y="204292"/>
                  </a:lnTo>
                  <a:lnTo>
                    <a:pt x="1093344" y="204292"/>
                  </a:lnTo>
                  <a:lnTo>
                    <a:pt x="1093344" y="204990"/>
                  </a:lnTo>
                  <a:lnTo>
                    <a:pt x="1093344" y="203594"/>
                  </a:lnTo>
                  <a:lnTo>
                    <a:pt x="1093344" y="206324"/>
                  </a:lnTo>
                  <a:lnTo>
                    <a:pt x="1093394" y="206324"/>
                  </a:lnTo>
                  <a:lnTo>
                    <a:pt x="1093394" y="207022"/>
                  </a:lnTo>
                  <a:lnTo>
                    <a:pt x="1093394" y="206324"/>
                  </a:lnTo>
                  <a:lnTo>
                    <a:pt x="1093394" y="207022"/>
                  </a:lnTo>
                  <a:lnTo>
                    <a:pt x="1093445" y="207022"/>
                  </a:lnTo>
                  <a:lnTo>
                    <a:pt x="1093445" y="206324"/>
                  </a:lnTo>
                  <a:lnTo>
                    <a:pt x="1093445" y="207022"/>
                  </a:lnTo>
                  <a:lnTo>
                    <a:pt x="1093445" y="206324"/>
                  </a:lnTo>
                  <a:lnTo>
                    <a:pt x="1093547" y="206324"/>
                  </a:lnTo>
                  <a:lnTo>
                    <a:pt x="1093547" y="207022"/>
                  </a:lnTo>
                  <a:lnTo>
                    <a:pt x="1093547" y="206324"/>
                  </a:lnTo>
                  <a:lnTo>
                    <a:pt x="1093597" y="206324"/>
                  </a:lnTo>
                  <a:lnTo>
                    <a:pt x="1093597" y="207022"/>
                  </a:lnTo>
                  <a:lnTo>
                    <a:pt x="1093597" y="206324"/>
                  </a:lnTo>
                  <a:lnTo>
                    <a:pt x="1093648" y="206324"/>
                  </a:lnTo>
                  <a:lnTo>
                    <a:pt x="1093648" y="207022"/>
                  </a:lnTo>
                  <a:lnTo>
                    <a:pt x="1093648" y="204292"/>
                  </a:lnTo>
                  <a:lnTo>
                    <a:pt x="1093750" y="204292"/>
                  </a:lnTo>
                  <a:lnTo>
                    <a:pt x="1093750" y="202959"/>
                  </a:lnTo>
                  <a:lnTo>
                    <a:pt x="1093788" y="202959"/>
                  </a:lnTo>
                  <a:lnTo>
                    <a:pt x="1093788" y="202260"/>
                  </a:lnTo>
                  <a:lnTo>
                    <a:pt x="1093788" y="202959"/>
                  </a:lnTo>
                  <a:lnTo>
                    <a:pt x="1093788" y="202260"/>
                  </a:lnTo>
                  <a:lnTo>
                    <a:pt x="1093788" y="203594"/>
                  </a:lnTo>
                  <a:lnTo>
                    <a:pt x="1093788" y="202959"/>
                  </a:lnTo>
                  <a:lnTo>
                    <a:pt x="1093839" y="202959"/>
                  </a:lnTo>
                  <a:lnTo>
                    <a:pt x="1093839" y="207022"/>
                  </a:lnTo>
                  <a:lnTo>
                    <a:pt x="1093839" y="204292"/>
                  </a:lnTo>
                  <a:lnTo>
                    <a:pt x="1093890" y="204292"/>
                  </a:lnTo>
                  <a:lnTo>
                    <a:pt x="1093890" y="203594"/>
                  </a:lnTo>
                  <a:lnTo>
                    <a:pt x="1093890" y="206324"/>
                  </a:lnTo>
                  <a:lnTo>
                    <a:pt x="1093890" y="204292"/>
                  </a:lnTo>
                  <a:lnTo>
                    <a:pt x="1093991" y="204292"/>
                  </a:lnTo>
                  <a:lnTo>
                    <a:pt x="1093991" y="203594"/>
                  </a:lnTo>
                  <a:lnTo>
                    <a:pt x="1093991" y="206324"/>
                  </a:lnTo>
                  <a:lnTo>
                    <a:pt x="1093991" y="204292"/>
                  </a:lnTo>
                  <a:lnTo>
                    <a:pt x="1093991" y="204990"/>
                  </a:lnTo>
                  <a:lnTo>
                    <a:pt x="1094042" y="204990"/>
                  </a:lnTo>
                  <a:lnTo>
                    <a:pt x="1094042" y="204292"/>
                  </a:lnTo>
                  <a:lnTo>
                    <a:pt x="1094042" y="204990"/>
                  </a:lnTo>
                  <a:lnTo>
                    <a:pt x="1094042" y="204292"/>
                  </a:lnTo>
                  <a:lnTo>
                    <a:pt x="1094042" y="206324"/>
                  </a:lnTo>
                  <a:lnTo>
                    <a:pt x="1094042" y="204990"/>
                  </a:lnTo>
                  <a:lnTo>
                    <a:pt x="1094042" y="206324"/>
                  </a:lnTo>
                  <a:lnTo>
                    <a:pt x="1094194" y="206324"/>
                  </a:lnTo>
                  <a:lnTo>
                    <a:pt x="1094194" y="204292"/>
                  </a:lnTo>
                  <a:lnTo>
                    <a:pt x="1094194" y="204990"/>
                  </a:lnTo>
                  <a:lnTo>
                    <a:pt x="1094245" y="204292"/>
                  </a:lnTo>
                  <a:lnTo>
                    <a:pt x="1094245" y="203594"/>
                  </a:lnTo>
                  <a:lnTo>
                    <a:pt x="1094245" y="204292"/>
                  </a:lnTo>
                  <a:lnTo>
                    <a:pt x="1094245" y="202959"/>
                  </a:lnTo>
                  <a:lnTo>
                    <a:pt x="1094296" y="203594"/>
                  </a:lnTo>
                  <a:lnTo>
                    <a:pt x="1094296" y="204292"/>
                  </a:lnTo>
                  <a:lnTo>
                    <a:pt x="1094296" y="203594"/>
                  </a:lnTo>
                  <a:lnTo>
                    <a:pt x="1094296" y="204990"/>
                  </a:lnTo>
                  <a:lnTo>
                    <a:pt x="1094334" y="204990"/>
                  </a:lnTo>
                  <a:lnTo>
                    <a:pt x="1094334" y="204292"/>
                  </a:lnTo>
                  <a:lnTo>
                    <a:pt x="1094334" y="204990"/>
                  </a:lnTo>
                  <a:lnTo>
                    <a:pt x="1094436" y="204990"/>
                  </a:lnTo>
                  <a:lnTo>
                    <a:pt x="1094436" y="206324"/>
                  </a:lnTo>
                  <a:lnTo>
                    <a:pt x="1094436" y="204292"/>
                  </a:lnTo>
                  <a:lnTo>
                    <a:pt x="1094436" y="204990"/>
                  </a:lnTo>
                  <a:lnTo>
                    <a:pt x="1094436" y="204292"/>
                  </a:lnTo>
                  <a:lnTo>
                    <a:pt x="1094487" y="204292"/>
                  </a:lnTo>
                  <a:lnTo>
                    <a:pt x="1094487" y="206324"/>
                  </a:lnTo>
                  <a:lnTo>
                    <a:pt x="1094487" y="204990"/>
                  </a:lnTo>
                  <a:lnTo>
                    <a:pt x="1094537" y="206324"/>
                  </a:lnTo>
                  <a:lnTo>
                    <a:pt x="1094537" y="204990"/>
                  </a:lnTo>
                  <a:lnTo>
                    <a:pt x="1094537" y="206324"/>
                  </a:lnTo>
                  <a:lnTo>
                    <a:pt x="1094537" y="204990"/>
                  </a:lnTo>
                  <a:lnTo>
                    <a:pt x="1094537" y="206324"/>
                  </a:lnTo>
                  <a:lnTo>
                    <a:pt x="1094537" y="204990"/>
                  </a:lnTo>
                  <a:lnTo>
                    <a:pt x="1094537" y="206324"/>
                  </a:lnTo>
                  <a:lnTo>
                    <a:pt x="1094537" y="204990"/>
                  </a:lnTo>
                  <a:lnTo>
                    <a:pt x="1094537" y="206324"/>
                  </a:lnTo>
                  <a:lnTo>
                    <a:pt x="1094537" y="204990"/>
                  </a:lnTo>
                  <a:lnTo>
                    <a:pt x="1094537" y="206324"/>
                  </a:lnTo>
                  <a:lnTo>
                    <a:pt x="1094537" y="204990"/>
                  </a:lnTo>
                  <a:lnTo>
                    <a:pt x="1094537" y="206324"/>
                  </a:lnTo>
                  <a:lnTo>
                    <a:pt x="1094639" y="206324"/>
                  </a:lnTo>
                  <a:lnTo>
                    <a:pt x="1094639" y="204990"/>
                  </a:lnTo>
                  <a:lnTo>
                    <a:pt x="1094639" y="206324"/>
                  </a:lnTo>
                  <a:lnTo>
                    <a:pt x="1094639" y="204990"/>
                  </a:lnTo>
                  <a:lnTo>
                    <a:pt x="1094690" y="204990"/>
                  </a:lnTo>
                  <a:lnTo>
                    <a:pt x="1094690" y="203594"/>
                  </a:lnTo>
                  <a:lnTo>
                    <a:pt x="1094690" y="204292"/>
                  </a:lnTo>
                  <a:lnTo>
                    <a:pt x="1094690" y="203594"/>
                  </a:lnTo>
                  <a:lnTo>
                    <a:pt x="1094690" y="204292"/>
                  </a:lnTo>
                  <a:lnTo>
                    <a:pt x="1094690" y="203594"/>
                  </a:lnTo>
                  <a:lnTo>
                    <a:pt x="1094740" y="203594"/>
                  </a:lnTo>
                  <a:lnTo>
                    <a:pt x="1094740" y="202260"/>
                  </a:lnTo>
                  <a:lnTo>
                    <a:pt x="1094740" y="202959"/>
                  </a:lnTo>
                  <a:lnTo>
                    <a:pt x="1094740" y="202260"/>
                  </a:lnTo>
                  <a:lnTo>
                    <a:pt x="1094791" y="202959"/>
                  </a:lnTo>
                  <a:lnTo>
                    <a:pt x="1094791" y="203594"/>
                  </a:lnTo>
                  <a:lnTo>
                    <a:pt x="1094791" y="202260"/>
                  </a:lnTo>
                  <a:lnTo>
                    <a:pt x="1094791" y="204990"/>
                  </a:lnTo>
                  <a:lnTo>
                    <a:pt x="1094880" y="204990"/>
                  </a:lnTo>
                  <a:lnTo>
                    <a:pt x="1094880" y="203594"/>
                  </a:lnTo>
                  <a:lnTo>
                    <a:pt x="1094880" y="204990"/>
                  </a:lnTo>
                  <a:lnTo>
                    <a:pt x="1094931" y="204292"/>
                  </a:lnTo>
                  <a:lnTo>
                    <a:pt x="1094931" y="204990"/>
                  </a:lnTo>
                  <a:lnTo>
                    <a:pt x="1094931" y="203594"/>
                  </a:lnTo>
                  <a:lnTo>
                    <a:pt x="1094931" y="204292"/>
                  </a:lnTo>
                  <a:lnTo>
                    <a:pt x="1094931" y="203594"/>
                  </a:lnTo>
                  <a:lnTo>
                    <a:pt x="1094931" y="204292"/>
                  </a:lnTo>
                  <a:lnTo>
                    <a:pt x="1094982" y="204292"/>
                  </a:lnTo>
                  <a:lnTo>
                    <a:pt x="1094982" y="204990"/>
                  </a:lnTo>
                  <a:lnTo>
                    <a:pt x="1094982" y="204292"/>
                  </a:lnTo>
                  <a:lnTo>
                    <a:pt x="1094982" y="204990"/>
                  </a:lnTo>
                  <a:lnTo>
                    <a:pt x="1095033" y="204990"/>
                  </a:lnTo>
                  <a:lnTo>
                    <a:pt x="1095033" y="206324"/>
                  </a:lnTo>
                  <a:lnTo>
                    <a:pt x="1095033" y="204990"/>
                  </a:lnTo>
                  <a:lnTo>
                    <a:pt x="1095033" y="206324"/>
                  </a:lnTo>
                  <a:lnTo>
                    <a:pt x="1095033" y="204990"/>
                  </a:lnTo>
                  <a:lnTo>
                    <a:pt x="1095033" y="206324"/>
                  </a:lnTo>
                  <a:lnTo>
                    <a:pt x="1095033" y="204990"/>
                  </a:lnTo>
                  <a:lnTo>
                    <a:pt x="1095033" y="206324"/>
                  </a:lnTo>
                  <a:lnTo>
                    <a:pt x="1095134" y="206324"/>
                  </a:lnTo>
                  <a:lnTo>
                    <a:pt x="1095134" y="204990"/>
                  </a:lnTo>
                  <a:lnTo>
                    <a:pt x="1095185" y="204990"/>
                  </a:lnTo>
                  <a:lnTo>
                    <a:pt x="1095185" y="203594"/>
                  </a:lnTo>
                  <a:lnTo>
                    <a:pt x="1095236" y="202959"/>
                  </a:lnTo>
                  <a:lnTo>
                    <a:pt x="1095236" y="203594"/>
                  </a:lnTo>
                  <a:lnTo>
                    <a:pt x="1095236" y="200876"/>
                  </a:lnTo>
                  <a:lnTo>
                    <a:pt x="1095236" y="202959"/>
                  </a:lnTo>
                  <a:lnTo>
                    <a:pt x="1095337" y="203594"/>
                  </a:lnTo>
                  <a:lnTo>
                    <a:pt x="1095337" y="200876"/>
                  </a:lnTo>
                  <a:lnTo>
                    <a:pt x="1095337" y="203594"/>
                  </a:lnTo>
                  <a:lnTo>
                    <a:pt x="1095375" y="203594"/>
                  </a:lnTo>
                  <a:lnTo>
                    <a:pt x="1095375" y="204292"/>
                  </a:lnTo>
                  <a:lnTo>
                    <a:pt x="1095375" y="202260"/>
                  </a:lnTo>
                  <a:lnTo>
                    <a:pt x="1095375" y="204292"/>
                  </a:lnTo>
                  <a:lnTo>
                    <a:pt x="1095426" y="203594"/>
                  </a:lnTo>
                  <a:lnTo>
                    <a:pt x="1095426" y="202959"/>
                  </a:lnTo>
                  <a:lnTo>
                    <a:pt x="1095426" y="203594"/>
                  </a:lnTo>
                  <a:lnTo>
                    <a:pt x="1095477" y="203594"/>
                  </a:lnTo>
                  <a:lnTo>
                    <a:pt x="1095477" y="202959"/>
                  </a:lnTo>
                  <a:lnTo>
                    <a:pt x="1095477" y="204292"/>
                  </a:lnTo>
                  <a:lnTo>
                    <a:pt x="1095477" y="203594"/>
                  </a:lnTo>
                  <a:lnTo>
                    <a:pt x="1095579" y="204292"/>
                  </a:lnTo>
                  <a:lnTo>
                    <a:pt x="1095579" y="203594"/>
                  </a:lnTo>
                  <a:lnTo>
                    <a:pt x="1095579" y="204990"/>
                  </a:lnTo>
                  <a:lnTo>
                    <a:pt x="1095579" y="204292"/>
                  </a:lnTo>
                  <a:lnTo>
                    <a:pt x="1095630" y="204292"/>
                  </a:lnTo>
                  <a:lnTo>
                    <a:pt x="1095630" y="203594"/>
                  </a:lnTo>
                  <a:lnTo>
                    <a:pt x="1095630" y="204292"/>
                  </a:lnTo>
                  <a:lnTo>
                    <a:pt x="1095630" y="203594"/>
                  </a:lnTo>
                  <a:lnTo>
                    <a:pt x="1095680" y="203594"/>
                  </a:lnTo>
                  <a:lnTo>
                    <a:pt x="1095680" y="202959"/>
                  </a:lnTo>
                  <a:lnTo>
                    <a:pt x="1095782" y="202959"/>
                  </a:lnTo>
                  <a:lnTo>
                    <a:pt x="1095782" y="202260"/>
                  </a:lnTo>
                  <a:lnTo>
                    <a:pt x="1095782" y="202959"/>
                  </a:lnTo>
                  <a:lnTo>
                    <a:pt x="1095782" y="200228"/>
                  </a:lnTo>
                  <a:lnTo>
                    <a:pt x="1095782" y="202260"/>
                  </a:lnTo>
                  <a:lnTo>
                    <a:pt x="1095833" y="202260"/>
                  </a:lnTo>
                  <a:lnTo>
                    <a:pt x="1095833" y="199530"/>
                  </a:lnTo>
                  <a:lnTo>
                    <a:pt x="1095833" y="203594"/>
                  </a:lnTo>
                  <a:lnTo>
                    <a:pt x="1095884" y="203594"/>
                  </a:lnTo>
                  <a:lnTo>
                    <a:pt x="1095884" y="202260"/>
                  </a:lnTo>
                  <a:lnTo>
                    <a:pt x="1095884" y="203594"/>
                  </a:lnTo>
                  <a:lnTo>
                    <a:pt x="1095922" y="202959"/>
                  </a:lnTo>
                  <a:lnTo>
                    <a:pt x="1095922" y="202260"/>
                  </a:lnTo>
                  <a:lnTo>
                    <a:pt x="1095922" y="202959"/>
                  </a:lnTo>
                  <a:lnTo>
                    <a:pt x="1095922" y="202260"/>
                  </a:lnTo>
                  <a:lnTo>
                    <a:pt x="1095922" y="203594"/>
                  </a:lnTo>
                  <a:lnTo>
                    <a:pt x="1096023" y="203594"/>
                  </a:lnTo>
                  <a:lnTo>
                    <a:pt x="1096023" y="202959"/>
                  </a:lnTo>
                  <a:lnTo>
                    <a:pt x="1096023" y="203594"/>
                  </a:lnTo>
                  <a:lnTo>
                    <a:pt x="1096023" y="202959"/>
                  </a:lnTo>
                  <a:lnTo>
                    <a:pt x="1096023" y="204292"/>
                  </a:lnTo>
                  <a:lnTo>
                    <a:pt x="1096074" y="204292"/>
                  </a:lnTo>
                  <a:lnTo>
                    <a:pt x="1096074" y="203594"/>
                  </a:lnTo>
                  <a:lnTo>
                    <a:pt x="1096074" y="204292"/>
                  </a:lnTo>
                  <a:lnTo>
                    <a:pt x="1096074" y="203594"/>
                  </a:lnTo>
                  <a:lnTo>
                    <a:pt x="1096074" y="204292"/>
                  </a:lnTo>
                  <a:lnTo>
                    <a:pt x="1096125" y="204292"/>
                  </a:lnTo>
                  <a:lnTo>
                    <a:pt x="1096125" y="204990"/>
                  </a:lnTo>
                  <a:lnTo>
                    <a:pt x="1096125" y="203594"/>
                  </a:lnTo>
                  <a:lnTo>
                    <a:pt x="1096226" y="203594"/>
                  </a:lnTo>
                  <a:lnTo>
                    <a:pt x="1096226" y="202959"/>
                  </a:lnTo>
                  <a:lnTo>
                    <a:pt x="1096226" y="203594"/>
                  </a:lnTo>
                  <a:lnTo>
                    <a:pt x="1096226" y="202959"/>
                  </a:lnTo>
                  <a:lnTo>
                    <a:pt x="1096277" y="202959"/>
                  </a:lnTo>
                  <a:lnTo>
                    <a:pt x="1096277" y="202260"/>
                  </a:lnTo>
                  <a:lnTo>
                    <a:pt x="1096277" y="202959"/>
                  </a:lnTo>
                  <a:lnTo>
                    <a:pt x="1096277" y="200228"/>
                  </a:lnTo>
                  <a:lnTo>
                    <a:pt x="1096277" y="200876"/>
                  </a:lnTo>
                  <a:lnTo>
                    <a:pt x="1096328" y="200876"/>
                  </a:lnTo>
                  <a:lnTo>
                    <a:pt x="1096328" y="202959"/>
                  </a:lnTo>
                  <a:lnTo>
                    <a:pt x="1096328" y="200876"/>
                  </a:lnTo>
                  <a:lnTo>
                    <a:pt x="1096328" y="202260"/>
                  </a:lnTo>
                  <a:lnTo>
                    <a:pt x="1096328" y="200876"/>
                  </a:lnTo>
                  <a:lnTo>
                    <a:pt x="1096328" y="202260"/>
                  </a:lnTo>
                  <a:lnTo>
                    <a:pt x="1096328" y="200876"/>
                  </a:lnTo>
                  <a:lnTo>
                    <a:pt x="1096328" y="202260"/>
                  </a:lnTo>
                  <a:lnTo>
                    <a:pt x="1096379" y="202959"/>
                  </a:lnTo>
                  <a:lnTo>
                    <a:pt x="1096379" y="203594"/>
                  </a:lnTo>
                  <a:lnTo>
                    <a:pt x="1096379" y="200876"/>
                  </a:lnTo>
                  <a:lnTo>
                    <a:pt x="1096379" y="202959"/>
                  </a:lnTo>
                  <a:lnTo>
                    <a:pt x="1096468" y="202959"/>
                  </a:lnTo>
                  <a:lnTo>
                    <a:pt x="1096468" y="203594"/>
                  </a:lnTo>
                  <a:lnTo>
                    <a:pt x="1096468" y="202959"/>
                  </a:lnTo>
                  <a:lnTo>
                    <a:pt x="1096519" y="202959"/>
                  </a:lnTo>
                  <a:lnTo>
                    <a:pt x="1096519" y="203594"/>
                  </a:lnTo>
                  <a:lnTo>
                    <a:pt x="1096569" y="203594"/>
                  </a:lnTo>
                  <a:lnTo>
                    <a:pt x="1096569" y="202959"/>
                  </a:lnTo>
                  <a:lnTo>
                    <a:pt x="1096569" y="203594"/>
                  </a:lnTo>
                  <a:lnTo>
                    <a:pt x="1096620" y="203594"/>
                  </a:lnTo>
                  <a:lnTo>
                    <a:pt x="1096620" y="202959"/>
                  </a:lnTo>
                  <a:lnTo>
                    <a:pt x="1096620" y="203594"/>
                  </a:lnTo>
                  <a:lnTo>
                    <a:pt x="1096620" y="202959"/>
                  </a:lnTo>
                  <a:lnTo>
                    <a:pt x="1096620" y="203594"/>
                  </a:lnTo>
                  <a:lnTo>
                    <a:pt x="1096722" y="203594"/>
                  </a:lnTo>
                  <a:lnTo>
                    <a:pt x="1096722" y="202959"/>
                  </a:lnTo>
                  <a:lnTo>
                    <a:pt x="1096722" y="203594"/>
                  </a:lnTo>
                  <a:lnTo>
                    <a:pt x="1096722" y="202260"/>
                  </a:lnTo>
                  <a:lnTo>
                    <a:pt x="1096772" y="202959"/>
                  </a:lnTo>
                  <a:lnTo>
                    <a:pt x="1096772" y="200228"/>
                  </a:lnTo>
                  <a:lnTo>
                    <a:pt x="1096772" y="200876"/>
                  </a:lnTo>
                  <a:lnTo>
                    <a:pt x="1096772" y="200228"/>
                  </a:lnTo>
                  <a:lnTo>
                    <a:pt x="1096772" y="200876"/>
                  </a:lnTo>
                  <a:lnTo>
                    <a:pt x="1096772" y="200228"/>
                  </a:lnTo>
                  <a:lnTo>
                    <a:pt x="1096772" y="200876"/>
                  </a:lnTo>
                  <a:lnTo>
                    <a:pt x="1096823" y="202260"/>
                  </a:lnTo>
                  <a:lnTo>
                    <a:pt x="1096823" y="202959"/>
                  </a:lnTo>
                  <a:lnTo>
                    <a:pt x="1096823" y="200228"/>
                  </a:lnTo>
                  <a:lnTo>
                    <a:pt x="1096823" y="202959"/>
                  </a:lnTo>
                  <a:lnTo>
                    <a:pt x="1096925" y="202959"/>
                  </a:lnTo>
                  <a:lnTo>
                    <a:pt x="1096925" y="200876"/>
                  </a:lnTo>
                  <a:lnTo>
                    <a:pt x="1096925" y="202959"/>
                  </a:lnTo>
                  <a:lnTo>
                    <a:pt x="1096963" y="202959"/>
                  </a:lnTo>
                  <a:lnTo>
                    <a:pt x="1096963" y="202260"/>
                  </a:lnTo>
                  <a:lnTo>
                    <a:pt x="1096963" y="203594"/>
                  </a:lnTo>
                  <a:lnTo>
                    <a:pt x="1096963" y="202959"/>
                  </a:lnTo>
                  <a:lnTo>
                    <a:pt x="1097014" y="202959"/>
                  </a:lnTo>
                  <a:lnTo>
                    <a:pt x="1097014" y="203594"/>
                  </a:lnTo>
                  <a:lnTo>
                    <a:pt x="1097014" y="202959"/>
                  </a:lnTo>
                  <a:lnTo>
                    <a:pt x="1097014" y="204292"/>
                  </a:lnTo>
                  <a:lnTo>
                    <a:pt x="1097014" y="203594"/>
                  </a:lnTo>
                  <a:lnTo>
                    <a:pt x="1097065" y="203594"/>
                  </a:lnTo>
                  <a:lnTo>
                    <a:pt x="1097065" y="202959"/>
                  </a:lnTo>
                  <a:lnTo>
                    <a:pt x="1097065" y="203594"/>
                  </a:lnTo>
                  <a:lnTo>
                    <a:pt x="1097065" y="202959"/>
                  </a:lnTo>
                  <a:lnTo>
                    <a:pt x="1097065" y="203594"/>
                  </a:lnTo>
                  <a:lnTo>
                    <a:pt x="1097065" y="202959"/>
                  </a:lnTo>
                  <a:lnTo>
                    <a:pt x="1097166" y="202959"/>
                  </a:lnTo>
                  <a:lnTo>
                    <a:pt x="1097166" y="204292"/>
                  </a:lnTo>
                  <a:lnTo>
                    <a:pt x="1097166" y="202959"/>
                  </a:lnTo>
                  <a:lnTo>
                    <a:pt x="1097166" y="203594"/>
                  </a:lnTo>
                  <a:lnTo>
                    <a:pt x="1097217" y="203594"/>
                  </a:lnTo>
                  <a:lnTo>
                    <a:pt x="1097217" y="202260"/>
                  </a:lnTo>
                  <a:lnTo>
                    <a:pt x="1097268" y="202260"/>
                  </a:lnTo>
                  <a:lnTo>
                    <a:pt x="1097268" y="200228"/>
                  </a:lnTo>
                  <a:lnTo>
                    <a:pt x="1097268" y="202260"/>
                  </a:lnTo>
                  <a:lnTo>
                    <a:pt x="1097369" y="202260"/>
                  </a:lnTo>
                  <a:lnTo>
                    <a:pt x="1097369" y="200228"/>
                  </a:lnTo>
                  <a:lnTo>
                    <a:pt x="1097369" y="203594"/>
                  </a:lnTo>
                  <a:lnTo>
                    <a:pt x="1097369" y="202959"/>
                  </a:lnTo>
                  <a:lnTo>
                    <a:pt x="1097420" y="202959"/>
                  </a:lnTo>
                  <a:lnTo>
                    <a:pt x="1097420" y="202260"/>
                  </a:lnTo>
                  <a:lnTo>
                    <a:pt x="1097420" y="203594"/>
                  </a:lnTo>
                  <a:lnTo>
                    <a:pt x="1097420" y="202959"/>
                  </a:lnTo>
                  <a:lnTo>
                    <a:pt x="1097471" y="202959"/>
                  </a:lnTo>
                  <a:lnTo>
                    <a:pt x="1097471" y="203594"/>
                  </a:lnTo>
                  <a:lnTo>
                    <a:pt x="1097471" y="202260"/>
                  </a:lnTo>
                  <a:lnTo>
                    <a:pt x="1097471" y="203594"/>
                  </a:lnTo>
                  <a:lnTo>
                    <a:pt x="1097471" y="202959"/>
                  </a:lnTo>
                  <a:lnTo>
                    <a:pt x="1097471" y="203594"/>
                  </a:lnTo>
                  <a:lnTo>
                    <a:pt x="1097509" y="203594"/>
                  </a:lnTo>
                  <a:lnTo>
                    <a:pt x="1097509" y="202959"/>
                  </a:lnTo>
                  <a:lnTo>
                    <a:pt x="1097509" y="203594"/>
                  </a:lnTo>
                  <a:lnTo>
                    <a:pt x="1097509" y="202959"/>
                  </a:lnTo>
                  <a:lnTo>
                    <a:pt x="1097509" y="203594"/>
                  </a:lnTo>
                  <a:lnTo>
                    <a:pt x="1097509" y="202959"/>
                  </a:lnTo>
                  <a:lnTo>
                    <a:pt x="1097509" y="203594"/>
                  </a:lnTo>
                  <a:lnTo>
                    <a:pt x="1097509" y="202959"/>
                  </a:lnTo>
                  <a:lnTo>
                    <a:pt x="1097509" y="203594"/>
                  </a:lnTo>
                  <a:lnTo>
                    <a:pt x="1097509" y="202959"/>
                  </a:lnTo>
                  <a:lnTo>
                    <a:pt x="1097611" y="202959"/>
                  </a:lnTo>
                  <a:lnTo>
                    <a:pt x="1097611" y="203594"/>
                  </a:lnTo>
                  <a:lnTo>
                    <a:pt x="1097611" y="202959"/>
                  </a:lnTo>
                  <a:lnTo>
                    <a:pt x="1097611" y="203594"/>
                  </a:lnTo>
                  <a:lnTo>
                    <a:pt x="1097611" y="202959"/>
                  </a:lnTo>
                  <a:lnTo>
                    <a:pt x="1097662" y="203594"/>
                  </a:lnTo>
                  <a:lnTo>
                    <a:pt x="1097662" y="202959"/>
                  </a:lnTo>
                  <a:lnTo>
                    <a:pt x="1097662" y="203594"/>
                  </a:lnTo>
                  <a:lnTo>
                    <a:pt x="1097662" y="202959"/>
                  </a:lnTo>
                  <a:lnTo>
                    <a:pt x="1097662" y="203594"/>
                  </a:lnTo>
                  <a:lnTo>
                    <a:pt x="1097662" y="202959"/>
                  </a:lnTo>
                  <a:lnTo>
                    <a:pt x="1097712" y="202959"/>
                  </a:lnTo>
                  <a:lnTo>
                    <a:pt x="1097712" y="202260"/>
                  </a:lnTo>
                  <a:lnTo>
                    <a:pt x="1097712" y="202959"/>
                  </a:lnTo>
                  <a:lnTo>
                    <a:pt x="1097712" y="202260"/>
                  </a:lnTo>
                  <a:lnTo>
                    <a:pt x="1097814" y="202260"/>
                  </a:lnTo>
                  <a:lnTo>
                    <a:pt x="1097814" y="200228"/>
                  </a:lnTo>
                  <a:lnTo>
                    <a:pt x="1097814" y="200876"/>
                  </a:lnTo>
                  <a:lnTo>
                    <a:pt x="1097814" y="200228"/>
                  </a:lnTo>
                  <a:lnTo>
                    <a:pt x="1097814" y="200876"/>
                  </a:lnTo>
                  <a:lnTo>
                    <a:pt x="1097814" y="199530"/>
                  </a:lnTo>
                  <a:lnTo>
                    <a:pt x="1097814" y="202260"/>
                  </a:lnTo>
                  <a:lnTo>
                    <a:pt x="1097865" y="202260"/>
                  </a:lnTo>
                  <a:lnTo>
                    <a:pt x="1097865" y="200228"/>
                  </a:lnTo>
                  <a:lnTo>
                    <a:pt x="1097865" y="202959"/>
                  </a:lnTo>
                  <a:lnTo>
                    <a:pt x="1097865" y="202260"/>
                  </a:lnTo>
                  <a:lnTo>
                    <a:pt x="1097915" y="202260"/>
                  </a:lnTo>
                  <a:lnTo>
                    <a:pt x="1097915" y="203594"/>
                  </a:lnTo>
                  <a:lnTo>
                    <a:pt x="1097915" y="202959"/>
                  </a:lnTo>
                  <a:lnTo>
                    <a:pt x="1097966" y="202959"/>
                  </a:lnTo>
                  <a:lnTo>
                    <a:pt x="1097966" y="204990"/>
                  </a:lnTo>
                  <a:lnTo>
                    <a:pt x="1097966" y="202959"/>
                  </a:lnTo>
                  <a:lnTo>
                    <a:pt x="1097966" y="203594"/>
                  </a:lnTo>
                  <a:lnTo>
                    <a:pt x="1098055" y="203594"/>
                  </a:lnTo>
                  <a:lnTo>
                    <a:pt x="1098055" y="204292"/>
                  </a:lnTo>
                  <a:lnTo>
                    <a:pt x="1098055" y="203594"/>
                  </a:lnTo>
                  <a:lnTo>
                    <a:pt x="1098106" y="203594"/>
                  </a:lnTo>
                  <a:lnTo>
                    <a:pt x="1098106" y="204292"/>
                  </a:lnTo>
                  <a:lnTo>
                    <a:pt x="1098106" y="203594"/>
                  </a:lnTo>
                  <a:lnTo>
                    <a:pt x="1098157" y="204292"/>
                  </a:lnTo>
                  <a:lnTo>
                    <a:pt x="1098157" y="203594"/>
                  </a:lnTo>
                  <a:lnTo>
                    <a:pt x="1098208" y="203594"/>
                  </a:lnTo>
                  <a:lnTo>
                    <a:pt x="1098208" y="202260"/>
                  </a:lnTo>
                  <a:lnTo>
                    <a:pt x="1098208" y="202959"/>
                  </a:lnTo>
                  <a:lnTo>
                    <a:pt x="1098208" y="202260"/>
                  </a:lnTo>
                  <a:lnTo>
                    <a:pt x="1098309" y="202260"/>
                  </a:lnTo>
                  <a:lnTo>
                    <a:pt x="1098309" y="200228"/>
                  </a:lnTo>
                  <a:lnTo>
                    <a:pt x="1098309" y="202260"/>
                  </a:lnTo>
                  <a:lnTo>
                    <a:pt x="1098309" y="200876"/>
                  </a:lnTo>
                  <a:lnTo>
                    <a:pt x="1098360" y="200876"/>
                  </a:lnTo>
                  <a:lnTo>
                    <a:pt x="1098360" y="202959"/>
                  </a:lnTo>
                  <a:lnTo>
                    <a:pt x="1098360" y="202260"/>
                  </a:lnTo>
                  <a:lnTo>
                    <a:pt x="1098411" y="202260"/>
                  </a:lnTo>
                  <a:lnTo>
                    <a:pt x="1098411" y="203594"/>
                  </a:lnTo>
                  <a:lnTo>
                    <a:pt x="1098411" y="202959"/>
                  </a:lnTo>
                  <a:lnTo>
                    <a:pt x="1098512" y="202959"/>
                  </a:lnTo>
                  <a:lnTo>
                    <a:pt x="1098512" y="203594"/>
                  </a:lnTo>
                  <a:lnTo>
                    <a:pt x="1098512" y="202959"/>
                  </a:lnTo>
                  <a:lnTo>
                    <a:pt x="1098512" y="203594"/>
                  </a:lnTo>
                  <a:lnTo>
                    <a:pt x="1098550" y="203594"/>
                  </a:lnTo>
                  <a:lnTo>
                    <a:pt x="1098550" y="204292"/>
                  </a:lnTo>
                  <a:lnTo>
                    <a:pt x="1098550" y="203594"/>
                  </a:lnTo>
                  <a:lnTo>
                    <a:pt x="1098601" y="203594"/>
                  </a:lnTo>
                  <a:lnTo>
                    <a:pt x="1098601" y="204292"/>
                  </a:lnTo>
                  <a:lnTo>
                    <a:pt x="1098601" y="203594"/>
                  </a:lnTo>
                  <a:lnTo>
                    <a:pt x="1098601" y="204292"/>
                  </a:lnTo>
                  <a:lnTo>
                    <a:pt x="1098601" y="203594"/>
                  </a:lnTo>
                  <a:lnTo>
                    <a:pt x="1098601" y="204292"/>
                  </a:lnTo>
                  <a:lnTo>
                    <a:pt x="1098652" y="204292"/>
                  </a:lnTo>
                  <a:lnTo>
                    <a:pt x="1098652" y="203594"/>
                  </a:lnTo>
                  <a:lnTo>
                    <a:pt x="1098754" y="203594"/>
                  </a:lnTo>
                  <a:lnTo>
                    <a:pt x="1098754" y="202959"/>
                  </a:lnTo>
                  <a:lnTo>
                    <a:pt x="1098754" y="203594"/>
                  </a:lnTo>
                  <a:lnTo>
                    <a:pt x="1098754" y="202260"/>
                  </a:lnTo>
                  <a:lnTo>
                    <a:pt x="1098805" y="202260"/>
                  </a:lnTo>
                  <a:lnTo>
                    <a:pt x="1098805" y="203594"/>
                  </a:lnTo>
                  <a:lnTo>
                    <a:pt x="1098805" y="202260"/>
                  </a:lnTo>
                  <a:lnTo>
                    <a:pt x="1098805" y="202959"/>
                  </a:lnTo>
                  <a:lnTo>
                    <a:pt x="1098805" y="202260"/>
                  </a:lnTo>
                  <a:lnTo>
                    <a:pt x="1098805" y="202959"/>
                  </a:lnTo>
                  <a:lnTo>
                    <a:pt x="1098855" y="203594"/>
                  </a:lnTo>
                  <a:lnTo>
                    <a:pt x="1098855" y="204292"/>
                  </a:lnTo>
                  <a:lnTo>
                    <a:pt x="1098855" y="203594"/>
                  </a:lnTo>
                  <a:lnTo>
                    <a:pt x="1098855" y="204292"/>
                  </a:lnTo>
                  <a:lnTo>
                    <a:pt x="1098957" y="204292"/>
                  </a:lnTo>
                  <a:lnTo>
                    <a:pt x="1098957" y="203594"/>
                  </a:lnTo>
                  <a:lnTo>
                    <a:pt x="1098957" y="204292"/>
                  </a:lnTo>
                  <a:lnTo>
                    <a:pt x="1098957" y="203594"/>
                  </a:lnTo>
                  <a:lnTo>
                    <a:pt x="1098957" y="204292"/>
                  </a:lnTo>
                  <a:lnTo>
                    <a:pt x="1099008" y="204292"/>
                  </a:lnTo>
                  <a:lnTo>
                    <a:pt x="1099008" y="203594"/>
                  </a:lnTo>
                  <a:lnTo>
                    <a:pt x="1099008" y="204292"/>
                  </a:lnTo>
                  <a:lnTo>
                    <a:pt x="1099059" y="204292"/>
                  </a:lnTo>
                  <a:lnTo>
                    <a:pt x="1099059" y="203594"/>
                  </a:lnTo>
                  <a:lnTo>
                    <a:pt x="1099059" y="204292"/>
                  </a:lnTo>
                  <a:lnTo>
                    <a:pt x="1099097" y="204292"/>
                  </a:lnTo>
                  <a:lnTo>
                    <a:pt x="1099097" y="204990"/>
                  </a:lnTo>
                  <a:lnTo>
                    <a:pt x="1099198" y="204292"/>
                  </a:lnTo>
                  <a:lnTo>
                    <a:pt x="1099198" y="203594"/>
                  </a:lnTo>
                  <a:lnTo>
                    <a:pt x="1099198" y="204292"/>
                  </a:lnTo>
                  <a:lnTo>
                    <a:pt x="1099198" y="202959"/>
                  </a:lnTo>
                  <a:lnTo>
                    <a:pt x="1099249" y="202959"/>
                  </a:lnTo>
                  <a:lnTo>
                    <a:pt x="1099249" y="202260"/>
                  </a:lnTo>
                  <a:lnTo>
                    <a:pt x="1099249" y="202959"/>
                  </a:lnTo>
                  <a:lnTo>
                    <a:pt x="1099249" y="202260"/>
                  </a:lnTo>
                  <a:lnTo>
                    <a:pt x="1099300" y="202260"/>
                  </a:lnTo>
                  <a:lnTo>
                    <a:pt x="1099300" y="202959"/>
                  </a:lnTo>
                  <a:lnTo>
                    <a:pt x="1099300" y="202260"/>
                  </a:lnTo>
                  <a:lnTo>
                    <a:pt x="1099300" y="203594"/>
                  </a:lnTo>
                  <a:lnTo>
                    <a:pt x="1099401" y="203594"/>
                  </a:lnTo>
                  <a:lnTo>
                    <a:pt x="1099401" y="204292"/>
                  </a:lnTo>
                  <a:lnTo>
                    <a:pt x="1099401" y="203594"/>
                  </a:lnTo>
                  <a:lnTo>
                    <a:pt x="1099401" y="204292"/>
                  </a:lnTo>
                  <a:lnTo>
                    <a:pt x="1099452" y="204292"/>
                  </a:lnTo>
                  <a:lnTo>
                    <a:pt x="1099452" y="203594"/>
                  </a:lnTo>
                  <a:lnTo>
                    <a:pt x="1099452" y="204292"/>
                  </a:lnTo>
                  <a:lnTo>
                    <a:pt x="1099452" y="203594"/>
                  </a:lnTo>
                  <a:lnTo>
                    <a:pt x="1099452" y="204292"/>
                  </a:lnTo>
                  <a:lnTo>
                    <a:pt x="1099503" y="204292"/>
                  </a:lnTo>
                  <a:lnTo>
                    <a:pt x="1099503" y="203594"/>
                  </a:lnTo>
                  <a:lnTo>
                    <a:pt x="1099503" y="204292"/>
                  </a:lnTo>
                  <a:lnTo>
                    <a:pt x="1099554" y="204292"/>
                  </a:lnTo>
                  <a:lnTo>
                    <a:pt x="1099554" y="203594"/>
                  </a:lnTo>
                  <a:lnTo>
                    <a:pt x="1099554" y="204292"/>
                  </a:lnTo>
                  <a:lnTo>
                    <a:pt x="1099554" y="203594"/>
                  </a:lnTo>
                  <a:lnTo>
                    <a:pt x="1099554" y="204292"/>
                  </a:lnTo>
                  <a:lnTo>
                    <a:pt x="1099643" y="204292"/>
                  </a:lnTo>
                  <a:lnTo>
                    <a:pt x="1099643" y="203594"/>
                  </a:lnTo>
                  <a:lnTo>
                    <a:pt x="1099643" y="204292"/>
                  </a:lnTo>
                  <a:lnTo>
                    <a:pt x="1099694" y="204292"/>
                  </a:lnTo>
                  <a:lnTo>
                    <a:pt x="1099694" y="202260"/>
                  </a:lnTo>
                  <a:lnTo>
                    <a:pt x="1099694" y="202959"/>
                  </a:lnTo>
                  <a:lnTo>
                    <a:pt x="1099744" y="202260"/>
                  </a:lnTo>
                  <a:lnTo>
                    <a:pt x="1099744" y="200876"/>
                  </a:lnTo>
                  <a:lnTo>
                    <a:pt x="1099744" y="202260"/>
                  </a:lnTo>
                  <a:lnTo>
                    <a:pt x="1099744" y="200876"/>
                  </a:lnTo>
                  <a:lnTo>
                    <a:pt x="1099744" y="202959"/>
                  </a:lnTo>
                  <a:lnTo>
                    <a:pt x="1099795" y="202959"/>
                  </a:lnTo>
                  <a:lnTo>
                    <a:pt x="1099795" y="200876"/>
                  </a:lnTo>
                  <a:lnTo>
                    <a:pt x="1099795" y="204292"/>
                  </a:lnTo>
                  <a:lnTo>
                    <a:pt x="1099897" y="204292"/>
                  </a:lnTo>
                  <a:lnTo>
                    <a:pt x="1099897" y="202959"/>
                  </a:lnTo>
                  <a:lnTo>
                    <a:pt x="1099897" y="204292"/>
                  </a:lnTo>
                  <a:lnTo>
                    <a:pt x="1099947" y="204292"/>
                  </a:lnTo>
                  <a:lnTo>
                    <a:pt x="1099947" y="203594"/>
                  </a:lnTo>
                  <a:lnTo>
                    <a:pt x="1099947" y="204292"/>
                  </a:lnTo>
                  <a:lnTo>
                    <a:pt x="1099947" y="203594"/>
                  </a:lnTo>
                  <a:lnTo>
                    <a:pt x="1099998" y="203594"/>
                  </a:lnTo>
                  <a:lnTo>
                    <a:pt x="1099998" y="204990"/>
                  </a:lnTo>
                  <a:lnTo>
                    <a:pt x="1099998" y="204292"/>
                  </a:lnTo>
                  <a:lnTo>
                    <a:pt x="1100100" y="204292"/>
                  </a:lnTo>
                  <a:lnTo>
                    <a:pt x="1100100" y="204990"/>
                  </a:lnTo>
                  <a:lnTo>
                    <a:pt x="1100100" y="204292"/>
                  </a:lnTo>
                  <a:lnTo>
                    <a:pt x="1100100" y="204990"/>
                  </a:lnTo>
                  <a:lnTo>
                    <a:pt x="1100100" y="204292"/>
                  </a:lnTo>
                  <a:lnTo>
                    <a:pt x="1100100" y="204990"/>
                  </a:lnTo>
                  <a:lnTo>
                    <a:pt x="1100138" y="204990"/>
                  </a:lnTo>
                  <a:lnTo>
                    <a:pt x="1100138" y="204292"/>
                  </a:lnTo>
                  <a:lnTo>
                    <a:pt x="1100138" y="204990"/>
                  </a:lnTo>
                  <a:lnTo>
                    <a:pt x="1100138" y="204292"/>
                  </a:lnTo>
                  <a:lnTo>
                    <a:pt x="1100138" y="204990"/>
                  </a:lnTo>
                  <a:lnTo>
                    <a:pt x="1100138" y="204292"/>
                  </a:lnTo>
                  <a:lnTo>
                    <a:pt x="1100189" y="204292"/>
                  </a:lnTo>
                  <a:lnTo>
                    <a:pt x="1100189" y="202959"/>
                  </a:lnTo>
                  <a:lnTo>
                    <a:pt x="1100240" y="202260"/>
                  </a:lnTo>
                  <a:lnTo>
                    <a:pt x="1100240" y="200876"/>
                  </a:lnTo>
                  <a:lnTo>
                    <a:pt x="1100240" y="202959"/>
                  </a:lnTo>
                  <a:lnTo>
                    <a:pt x="1100341" y="202959"/>
                  </a:lnTo>
                  <a:lnTo>
                    <a:pt x="1100341" y="202260"/>
                  </a:lnTo>
                  <a:lnTo>
                    <a:pt x="1100341" y="204292"/>
                  </a:lnTo>
                  <a:lnTo>
                    <a:pt x="1100341" y="203594"/>
                  </a:lnTo>
                  <a:lnTo>
                    <a:pt x="1100392" y="203594"/>
                  </a:lnTo>
                  <a:lnTo>
                    <a:pt x="1100392" y="204292"/>
                  </a:lnTo>
                  <a:lnTo>
                    <a:pt x="1100392" y="203594"/>
                  </a:lnTo>
                  <a:lnTo>
                    <a:pt x="1100443" y="203594"/>
                  </a:lnTo>
                  <a:lnTo>
                    <a:pt x="1100443" y="204292"/>
                  </a:lnTo>
                  <a:lnTo>
                    <a:pt x="1100443" y="203594"/>
                  </a:lnTo>
                  <a:lnTo>
                    <a:pt x="1100443" y="204292"/>
                  </a:lnTo>
                  <a:lnTo>
                    <a:pt x="1100443" y="203594"/>
                  </a:lnTo>
                  <a:lnTo>
                    <a:pt x="1100443" y="204292"/>
                  </a:lnTo>
                  <a:lnTo>
                    <a:pt x="1100544" y="204292"/>
                  </a:lnTo>
                  <a:lnTo>
                    <a:pt x="1100544" y="203594"/>
                  </a:lnTo>
                  <a:lnTo>
                    <a:pt x="1100544" y="204990"/>
                  </a:lnTo>
                  <a:lnTo>
                    <a:pt x="1100544" y="204292"/>
                  </a:lnTo>
                  <a:lnTo>
                    <a:pt x="1100544" y="204990"/>
                  </a:lnTo>
                  <a:lnTo>
                    <a:pt x="1100544" y="204292"/>
                  </a:lnTo>
                  <a:lnTo>
                    <a:pt x="1100595" y="204292"/>
                  </a:lnTo>
                  <a:lnTo>
                    <a:pt x="1100595" y="204990"/>
                  </a:lnTo>
                  <a:lnTo>
                    <a:pt x="1100595" y="204292"/>
                  </a:lnTo>
                  <a:lnTo>
                    <a:pt x="1100595" y="204990"/>
                  </a:lnTo>
                  <a:lnTo>
                    <a:pt x="1100595" y="204292"/>
                  </a:lnTo>
                  <a:lnTo>
                    <a:pt x="1100646" y="204292"/>
                  </a:lnTo>
                  <a:lnTo>
                    <a:pt x="1100646" y="204990"/>
                  </a:lnTo>
                  <a:lnTo>
                    <a:pt x="1100646" y="204292"/>
                  </a:lnTo>
                  <a:lnTo>
                    <a:pt x="1100646" y="204990"/>
                  </a:lnTo>
                  <a:lnTo>
                    <a:pt x="1100646" y="204292"/>
                  </a:lnTo>
                  <a:lnTo>
                    <a:pt x="1100646" y="204990"/>
                  </a:lnTo>
                  <a:lnTo>
                    <a:pt x="1100646" y="203594"/>
                  </a:lnTo>
                  <a:lnTo>
                    <a:pt x="1100684" y="203594"/>
                  </a:lnTo>
                  <a:lnTo>
                    <a:pt x="1100684" y="202260"/>
                  </a:lnTo>
                  <a:lnTo>
                    <a:pt x="1100684" y="202959"/>
                  </a:lnTo>
                  <a:lnTo>
                    <a:pt x="1100786" y="202959"/>
                  </a:lnTo>
                  <a:lnTo>
                    <a:pt x="1100786" y="200228"/>
                  </a:lnTo>
                  <a:lnTo>
                    <a:pt x="1100786" y="202959"/>
                  </a:lnTo>
                  <a:lnTo>
                    <a:pt x="1100786" y="202260"/>
                  </a:lnTo>
                  <a:lnTo>
                    <a:pt x="1100837" y="202260"/>
                  </a:lnTo>
                  <a:lnTo>
                    <a:pt x="1100837" y="200228"/>
                  </a:lnTo>
                  <a:lnTo>
                    <a:pt x="1100837" y="203594"/>
                  </a:lnTo>
                  <a:lnTo>
                    <a:pt x="1100887" y="202959"/>
                  </a:lnTo>
                  <a:lnTo>
                    <a:pt x="1100887" y="202260"/>
                  </a:lnTo>
                  <a:lnTo>
                    <a:pt x="1100887" y="204292"/>
                  </a:lnTo>
                  <a:lnTo>
                    <a:pt x="1100887" y="202959"/>
                  </a:lnTo>
                  <a:lnTo>
                    <a:pt x="1100887" y="203594"/>
                  </a:lnTo>
                  <a:lnTo>
                    <a:pt x="1100989" y="202959"/>
                  </a:lnTo>
                  <a:lnTo>
                    <a:pt x="1100989" y="202260"/>
                  </a:lnTo>
                  <a:lnTo>
                    <a:pt x="1100989" y="203594"/>
                  </a:lnTo>
                  <a:lnTo>
                    <a:pt x="1101040" y="203594"/>
                  </a:lnTo>
                  <a:lnTo>
                    <a:pt x="1101040" y="204292"/>
                  </a:lnTo>
                  <a:lnTo>
                    <a:pt x="1101040" y="203594"/>
                  </a:lnTo>
                  <a:lnTo>
                    <a:pt x="1101040" y="204292"/>
                  </a:lnTo>
                  <a:lnTo>
                    <a:pt x="1101040" y="203594"/>
                  </a:lnTo>
                  <a:lnTo>
                    <a:pt x="1101040" y="204292"/>
                  </a:lnTo>
                  <a:lnTo>
                    <a:pt x="1101090" y="204292"/>
                  </a:lnTo>
                  <a:lnTo>
                    <a:pt x="1101090" y="204990"/>
                  </a:lnTo>
                  <a:lnTo>
                    <a:pt x="1101090" y="204292"/>
                  </a:lnTo>
                  <a:lnTo>
                    <a:pt x="1101090" y="204990"/>
                  </a:lnTo>
                  <a:lnTo>
                    <a:pt x="1101090" y="204292"/>
                  </a:lnTo>
                  <a:lnTo>
                    <a:pt x="1101141" y="204292"/>
                  </a:lnTo>
                  <a:lnTo>
                    <a:pt x="1101141" y="204990"/>
                  </a:lnTo>
                  <a:lnTo>
                    <a:pt x="1101141" y="203594"/>
                  </a:lnTo>
                  <a:lnTo>
                    <a:pt x="1101230" y="203594"/>
                  </a:lnTo>
                  <a:lnTo>
                    <a:pt x="1101230" y="202959"/>
                  </a:lnTo>
                  <a:lnTo>
                    <a:pt x="1101230" y="203594"/>
                  </a:lnTo>
                  <a:lnTo>
                    <a:pt x="1101230" y="202260"/>
                  </a:lnTo>
                  <a:lnTo>
                    <a:pt x="1101281" y="202260"/>
                  </a:lnTo>
                  <a:lnTo>
                    <a:pt x="1101281" y="200876"/>
                  </a:lnTo>
                  <a:lnTo>
                    <a:pt x="1101281" y="202959"/>
                  </a:lnTo>
                  <a:lnTo>
                    <a:pt x="1101281" y="202260"/>
                  </a:lnTo>
                  <a:lnTo>
                    <a:pt x="1101281" y="203594"/>
                  </a:lnTo>
                  <a:lnTo>
                    <a:pt x="1101281" y="200228"/>
                  </a:lnTo>
                  <a:lnTo>
                    <a:pt x="1101332" y="200228"/>
                  </a:lnTo>
                  <a:lnTo>
                    <a:pt x="1101332" y="204292"/>
                  </a:lnTo>
                  <a:lnTo>
                    <a:pt x="1101332" y="202260"/>
                  </a:lnTo>
                  <a:lnTo>
                    <a:pt x="1101383" y="202260"/>
                  </a:lnTo>
                  <a:lnTo>
                    <a:pt x="1101383" y="203594"/>
                  </a:lnTo>
                  <a:lnTo>
                    <a:pt x="1101383" y="202260"/>
                  </a:lnTo>
                  <a:lnTo>
                    <a:pt x="1101484" y="202959"/>
                  </a:lnTo>
                  <a:lnTo>
                    <a:pt x="1101484" y="203594"/>
                  </a:lnTo>
                  <a:lnTo>
                    <a:pt x="1101484" y="202959"/>
                  </a:lnTo>
                  <a:lnTo>
                    <a:pt x="1101484" y="203594"/>
                  </a:lnTo>
                  <a:lnTo>
                    <a:pt x="1101484" y="202959"/>
                  </a:lnTo>
                  <a:lnTo>
                    <a:pt x="1101484" y="203594"/>
                  </a:lnTo>
                  <a:lnTo>
                    <a:pt x="1101535" y="202959"/>
                  </a:lnTo>
                  <a:lnTo>
                    <a:pt x="1101535" y="203594"/>
                  </a:lnTo>
                  <a:lnTo>
                    <a:pt x="1101535" y="202959"/>
                  </a:lnTo>
                  <a:lnTo>
                    <a:pt x="1101535" y="204292"/>
                  </a:lnTo>
                  <a:lnTo>
                    <a:pt x="1101535" y="203594"/>
                  </a:lnTo>
                  <a:lnTo>
                    <a:pt x="1101535" y="204292"/>
                  </a:lnTo>
                  <a:lnTo>
                    <a:pt x="1101586" y="204292"/>
                  </a:lnTo>
                  <a:lnTo>
                    <a:pt x="1101586" y="204990"/>
                  </a:lnTo>
                  <a:lnTo>
                    <a:pt x="1101586" y="204292"/>
                  </a:lnTo>
                  <a:lnTo>
                    <a:pt x="1101586" y="204990"/>
                  </a:lnTo>
                  <a:lnTo>
                    <a:pt x="1101586" y="204292"/>
                  </a:lnTo>
                  <a:lnTo>
                    <a:pt x="1101586" y="204990"/>
                  </a:lnTo>
                  <a:lnTo>
                    <a:pt x="1101586" y="204292"/>
                  </a:lnTo>
                  <a:lnTo>
                    <a:pt x="1101687" y="204292"/>
                  </a:lnTo>
                  <a:lnTo>
                    <a:pt x="1101687" y="204990"/>
                  </a:lnTo>
                  <a:lnTo>
                    <a:pt x="1101687" y="203594"/>
                  </a:lnTo>
                  <a:lnTo>
                    <a:pt x="1101725" y="203594"/>
                  </a:lnTo>
                  <a:lnTo>
                    <a:pt x="1101725" y="202959"/>
                  </a:lnTo>
                  <a:lnTo>
                    <a:pt x="1101725" y="204990"/>
                  </a:lnTo>
                  <a:lnTo>
                    <a:pt x="1101725" y="204292"/>
                  </a:lnTo>
                  <a:lnTo>
                    <a:pt x="1101776" y="204292"/>
                  </a:lnTo>
                  <a:lnTo>
                    <a:pt x="1101776" y="203594"/>
                  </a:lnTo>
                  <a:lnTo>
                    <a:pt x="1101776" y="207022"/>
                  </a:lnTo>
                  <a:lnTo>
                    <a:pt x="1101776" y="206324"/>
                  </a:lnTo>
                  <a:lnTo>
                    <a:pt x="1101827" y="206324"/>
                  </a:lnTo>
                  <a:lnTo>
                    <a:pt x="1101827" y="204292"/>
                  </a:lnTo>
                  <a:lnTo>
                    <a:pt x="1101827" y="206324"/>
                  </a:lnTo>
                  <a:lnTo>
                    <a:pt x="1101929" y="206324"/>
                  </a:lnTo>
                  <a:lnTo>
                    <a:pt x="1101929" y="204292"/>
                  </a:lnTo>
                  <a:lnTo>
                    <a:pt x="1101929" y="204990"/>
                  </a:lnTo>
                  <a:lnTo>
                    <a:pt x="1101929" y="204292"/>
                  </a:lnTo>
                  <a:lnTo>
                    <a:pt x="1101980" y="204292"/>
                  </a:lnTo>
                  <a:lnTo>
                    <a:pt x="1101980" y="204990"/>
                  </a:lnTo>
                  <a:lnTo>
                    <a:pt x="1102132" y="204990"/>
                  </a:lnTo>
                  <a:lnTo>
                    <a:pt x="1102132" y="206324"/>
                  </a:lnTo>
                  <a:lnTo>
                    <a:pt x="1102132" y="204292"/>
                  </a:lnTo>
                  <a:lnTo>
                    <a:pt x="1102183" y="204292"/>
                  </a:lnTo>
                  <a:lnTo>
                    <a:pt x="1102183" y="203594"/>
                  </a:lnTo>
                  <a:lnTo>
                    <a:pt x="1102234" y="203594"/>
                  </a:lnTo>
                  <a:lnTo>
                    <a:pt x="1102234" y="202959"/>
                  </a:lnTo>
                  <a:lnTo>
                    <a:pt x="1102234" y="204990"/>
                  </a:lnTo>
                  <a:lnTo>
                    <a:pt x="1102234" y="204292"/>
                  </a:lnTo>
                  <a:lnTo>
                    <a:pt x="1102272" y="204292"/>
                  </a:lnTo>
                  <a:lnTo>
                    <a:pt x="1102272" y="207022"/>
                  </a:lnTo>
                  <a:lnTo>
                    <a:pt x="1102272" y="204990"/>
                  </a:lnTo>
                  <a:lnTo>
                    <a:pt x="1102272" y="206324"/>
                  </a:lnTo>
                  <a:lnTo>
                    <a:pt x="1102373" y="206324"/>
                  </a:lnTo>
                  <a:lnTo>
                    <a:pt x="1102373" y="207022"/>
                  </a:lnTo>
                  <a:lnTo>
                    <a:pt x="1102373" y="206324"/>
                  </a:lnTo>
                  <a:lnTo>
                    <a:pt x="1102424" y="206324"/>
                  </a:lnTo>
                  <a:lnTo>
                    <a:pt x="1102424" y="207022"/>
                  </a:lnTo>
                  <a:lnTo>
                    <a:pt x="1102424" y="204990"/>
                  </a:lnTo>
                  <a:lnTo>
                    <a:pt x="1102424" y="206324"/>
                  </a:lnTo>
                  <a:lnTo>
                    <a:pt x="1102424" y="204990"/>
                  </a:lnTo>
                  <a:lnTo>
                    <a:pt x="1102424" y="207022"/>
                  </a:lnTo>
                  <a:lnTo>
                    <a:pt x="1102475" y="207022"/>
                  </a:lnTo>
                  <a:lnTo>
                    <a:pt x="1102475" y="206324"/>
                  </a:lnTo>
                  <a:lnTo>
                    <a:pt x="1102475" y="207022"/>
                  </a:lnTo>
                  <a:lnTo>
                    <a:pt x="1102576" y="207022"/>
                  </a:lnTo>
                  <a:lnTo>
                    <a:pt x="1102576" y="204990"/>
                  </a:lnTo>
                  <a:lnTo>
                    <a:pt x="1102627" y="206324"/>
                  </a:lnTo>
                  <a:lnTo>
                    <a:pt x="1102627" y="203594"/>
                  </a:lnTo>
                  <a:lnTo>
                    <a:pt x="1102678" y="203594"/>
                  </a:lnTo>
                  <a:lnTo>
                    <a:pt x="1102678" y="200876"/>
                  </a:lnTo>
                  <a:lnTo>
                    <a:pt x="1102678" y="202260"/>
                  </a:lnTo>
                  <a:lnTo>
                    <a:pt x="1102729" y="202260"/>
                  </a:lnTo>
                  <a:lnTo>
                    <a:pt x="1102729" y="203594"/>
                  </a:lnTo>
                  <a:lnTo>
                    <a:pt x="1102729" y="202959"/>
                  </a:lnTo>
                  <a:lnTo>
                    <a:pt x="1102729" y="203594"/>
                  </a:lnTo>
                  <a:lnTo>
                    <a:pt x="1102729" y="202959"/>
                  </a:lnTo>
                  <a:lnTo>
                    <a:pt x="1102729" y="203594"/>
                  </a:lnTo>
                  <a:lnTo>
                    <a:pt x="1102729" y="202959"/>
                  </a:lnTo>
                  <a:lnTo>
                    <a:pt x="1102729" y="204292"/>
                  </a:lnTo>
                  <a:lnTo>
                    <a:pt x="1102818" y="204292"/>
                  </a:lnTo>
                  <a:lnTo>
                    <a:pt x="1102818" y="206324"/>
                  </a:lnTo>
                  <a:lnTo>
                    <a:pt x="1102818" y="204292"/>
                  </a:lnTo>
                  <a:lnTo>
                    <a:pt x="1102818" y="204990"/>
                  </a:lnTo>
                  <a:lnTo>
                    <a:pt x="1102818" y="203594"/>
                  </a:lnTo>
                  <a:lnTo>
                    <a:pt x="1102818" y="204990"/>
                  </a:lnTo>
                  <a:lnTo>
                    <a:pt x="1102869" y="204990"/>
                  </a:lnTo>
                  <a:lnTo>
                    <a:pt x="1102869" y="206324"/>
                  </a:lnTo>
                  <a:lnTo>
                    <a:pt x="1102869" y="204990"/>
                  </a:lnTo>
                  <a:lnTo>
                    <a:pt x="1102919" y="204990"/>
                  </a:lnTo>
                  <a:lnTo>
                    <a:pt x="1102919" y="206324"/>
                  </a:lnTo>
                  <a:lnTo>
                    <a:pt x="1102919" y="204990"/>
                  </a:lnTo>
                  <a:lnTo>
                    <a:pt x="1102919" y="206324"/>
                  </a:lnTo>
                  <a:lnTo>
                    <a:pt x="1102919" y="204990"/>
                  </a:lnTo>
                  <a:lnTo>
                    <a:pt x="1102919" y="206324"/>
                  </a:lnTo>
                  <a:lnTo>
                    <a:pt x="1102919" y="204990"/>
                  </a:lnTo>
                  <a:lnTo>
                    <a:pt x="1102919" y="206324"/>
                  </a:lnTo>
                  <a:lnTo>
                    <a:pt x="1102919" y="204990"/>
                  </a:lnTo>
                  <a:lnTo>
                    <a:pt x="1102970" y="204990"/>
                  </a:lnTo>
                  <a:lnTo>
                    <a:pt x="1102970" y="207022"/>
                  </a:lnTo>
                  <a:lnTo>
                    <a:pt x="1102970" y="206324"/>
                  </a:lnTo>
                  <a:lnTo>
                    <a:pt x="1103072" y="206324"/>
                  </a:lnTo>
                  <a:lnTo>
                    <a:pt x="1103072" y="204990"/>
                  </a:lnTo>
                  <a:lnTo>
                    <a:pt x="1103072" y="206324"/>
                  </a:lnTo>
                  <a:lnTo>
                    <a:pt x="1103072" y="204990"/>
                  </a:lnTo>
                  <a:lnTo>
                    <a:pt x="1103072" y="206324"/>
                  </a:lnTo>
                  <a:lnTo>
                    <a:pt x="1103072" y="204990"/>
                  </a:lnTo>
                  <a:lnTo>
                    <a:pt x="1103072" y="206324"/>
                  </a:lnTo>
                  <a:lnTo>
                    <a:pt x="1103072" y="204990"/>
                  </a:lnTo>
                  <a:lnTo>
                    <a:pt x="1103122" y="204292"/>
                  </a:lnTo>
                  <a:lnTo>
                    <a:pt x="1103122" y="203594"/>
                  </a:lnTo>
                  <a:lnTo>
                    <a:pt x="1103122" y="204292"/>
                  </a:lnTo>
                  <a:lnTo>
                    <a:pt x="1103122" y="203594"/>
                  </a:lnTo>
                  <a:lnTo>
                    <a:pt x="1103122" y="204292"/>
                  </a:lnTo>
                  <a:lnTo>
                    <a:pt x="1103122" y="203594"/>
                  </a:lnTo>
                  <a:lnTo>
                    <a:pt x="1103173" y="202959"/>
                  </a:lnTo>
                  <a:lnTo>
                    <a:pt x="1103173" y="202260"/>
                  </a:lnTo>
                  <a:lnTo>
                    <a:pt x="1103173" y="204292"/>
                  </a:lnTo>
                  <a:lnTo>
                    <a:pt x="1103173" y="203594"/>
                  </a:lnTo>
                  <a:lnTo>
                    <a:pt x="1103173" y="204292"/>
                  </a:lnTo>
                  <a:lnTo>
                    <a:pt x="1103275" y="203594"/>
                  </a:lnTo>
                  <a:lnTo>
                    <a:pt x="1103275" y="202959"/>
                  </a:lnTo>
                  <a:lnTo>
                    <a:pt x="1103275" y="203594"/>
                  </a:lnTo>
                  <a:lnTo>
                    <a:pt x="1103275" y="202959"/>
                  </a:lnTo>
                  <a:lnTo>
                    <a:pt x="1103275" y="203594"/>
                  </a:lnTo>
                  <a:lnTo>
                    <a:pt x="1103275" y="202959"/>
                  </a:lnTo>
                  <a:lnTo>
                    <a:pt x="1103275" y="204990"/>
                  </a:lnTo>
                  <a:lnTo>
                    <a:pt x="1103275" y="204292"/>
                  </a:lnTo>
                  <a:lnTo>
                    <a:pt x="1103275" y="204990"/>
                  </a:lnTo>
                  <a:lnTo>
                    <a:pt x="1103313" y="204990"/>
                  </a:lnTo>
                  <a:lnTo>
                    <a:pt x="1103313" y="203594"/>
                  </a:lnTo>
                  <a:lnTo>
                    <a:pt x="1103313" y="204292"/>
                  </a:lnTo>
                  <a:lnTo>
                    <a:pt x="1103313" y="203594"/>
                  </a:lnTo>
                  <a:lnTo>
                    <a:pt x="1103313" y="204990"/>
                  </a:lnTo>
                  <a:lnTo>
                    <a:pt x="1103313" y="204292"/>
                  </a:lnTo>
                  <a:lnTo>
                    <a:pt x="1103364" y="204292"/>
                  </a:lnTo>
                  <a:lnTo>
                    <a:pt x="1103364" y="204990"/>
                  </a:lnTo>
                  <a:lnTo>
                    <a:pt x="1103364" y="204292"/>
                  </a:lnTo>
                  <a:lnTo>
                    <a:pt x="1103415" y="204292"/>
                  </a:lnTo>
                  <a:lnTo>
                    <a:pt x="1103415" y="204990"/>
                  </a:lnTo>
                  <a:lnTo>
                    <a:pt x="1103516" y="204990"/>
                  </a:lnTo>
                  <a:lnTo>
                    <a:pt x="1103516" y="206324"/>
                  </a:lnTo>
                  <a:lnTo>
                    <a:pt x="1103516" y="204990"/>
                  </a:lnTo>
                  <a:lnTo>
                    <a:pt x="1103516" y="206324"/>
                  </a:lnTo>
                  <a:lnTo>
                    <a:pt x="1103567" y="206324"/>
                  </a:lnTo>
                  <a:lnTo>
                    <a:pt x="1103567" y="204292"/>
                  </a:lnTo>
                  <a:lnTo>
                    <a:pt x="1103567" y="204990"/>
                  </a:lnTo>
                  <a:lnTo>
                    <a:pt x="1103567" y="204292"/>
                  </a:lnTo>
                  <a:lnTo>
                    <a:pt x="1103618" y="204292"/>
                  </a:lnTo>
                  <a:lnTo>
                    <a:pt x="1103618" y="202260"/>
                  </a:lnTo>
                  <a:lnTo>
                    <a:pt x="1103719" y="202260"/>
                  </a:lnTo>
                  <a:lnTo>
                    <a:pt x="1103719" y="200876"/>
                  </a:lnTo>
                  <a:lnTo>
                    <a:pt x="1103719" y="202959"/>
                  </a:lnTo>
                  <a:lnTo>
                    <a:pt x="1103719" y="202260"/>
                  </a:lnTo>
                  <a:lnTo>
                    <a:pt x="1103770" y="202260"/>
                  </a:lnTo>
                  <a:lnTo>
                    <a:pt x="1103770" y="200876"/>
                  </a:lnTo>
                  <a:lnTo>
                    <a:pt x="1103770" y="204292"/>
                  </a:lnTo>
                  <a:lnTo>
                    <a:pt x="1103770" y="202959"/>
                  </a:lnTo>
                  <a:lnTo>
                    <a:pt x="1103821" y="202959"/>
                  </a:lnTo>
                  <a:lnTo>
                    <a:pt x="1103821" y="204292"/>
                  </a:lnTo>
                  <a:lnTo>
                    <a:pt x="1103821" y="202959"/>
                  </a:lnTo>
                  <a:lnTo>
                    <a:pt x="1103821" y="203594"/>
                  </a:lnTo>
                  <a:lnTo>
                    <a:pt x="1103859" y="203594"/>
                  </a:lnTo>
                  <a:lnTo>
                    <a:pt x="1103859" y="204292"/>
                  </a:lnTo>
                  <a:lnTo>
                    <a:pt x="1103859" y="203594"/>
                  </a:lnTo>
                  <a:lnTo>
                    <a:pt x="1103961" y="204292"/>
                  </a:lnTo>
                  <a:lnTo>
                    <a:pt x="1103961" y="203594"/>
                  </a:lnTo>
                  <a:lnTo>
                    <a:pt x="1103961" y="204292"/>
                  </a:lnTo>
                  <a:lnTo>
                    <a:pt x="1103961" y="203594"/>
                  </a:lnTo>
                  <a:lnTo>
                    <a:pt x="1103961" y="204990"/>
                  </a:lnTo>
                  <a:lnTo>
                    <a:pt x="1103961" y="204292"/>
                  </a:lnTo>
                  <a:lnTo>
                    <a:pt x="1103961" y="204990"/>
                  </a:lnTo>
                  <a:lnTo>
                    <a:pt x="1104012" y="204990"/>
                  </a:lnTo>
                  <a:lnTo>
                    <a:pt x="1104012" y="204292"/>
                  </a:lnTo>
                  <a:lnTo>
                    <a:pt x="1104012" y="204990"/>
                  </a:lnTo>
                  <a:lnTo>
                    <a:pt x="1104012" y="204292"/>
                  </a:lnTo>
                  <a:lnTo>
                    <a:pt x="1104012" y="204990"/>
                  </a:lnTo>
                  <a:lnTo>
                    <a:pt x="1104062" y="204990"/>
                  </a:lnTo>
                  <a:lnTo>
                    <a:pt x="1104062" y="203594"/>
                  </a:lnTo>
                  <a:lnTo>
                    <a:pt x="1104062" y="204292"/>
                  </a:lnTo>
                  <a:lnTo>
                    <a:pt x="1104062" y="203594"/>
                  </a:lnTo>
                  <a:lnTo>
                    <a:pt x="1104164" y="203594"/>
                  </a:lnTo>
                  <a:lnTo>
                    <a:pt x="1104164" y="202260"/>
                  </a:lnTo>
                  <a:lnTo>
                    <a:pt x="1104215" y="202260"/>
                  </a:lnTo>
                  <a:lnTo>
                    <a:pt x="1104215" y="200228"/>
                  </a:lnTo>
                  <a:lnTo>
                    <a:pt x="1104215" y="202260"/>
                  </a:lnTo>
                  <a:lnTo>
                    <a:pt x="1104215" y="200876"/>
                  </a:lnTo>
                  <a:lnTo>
                    <a:pt x="1104265" y="200228"/>
                  </a:lnTo>
                  <a:lnTo>
                    <a:pt x="1104265" y="202959"/>
                  </a:lnTo>
                  <a:lnTo>
                    <a:pt x="1104265" y="202260"/>
                  </a:lnTo>
                  <a:lnTo>
                    <a:pt x="1104405" y="202260"/>
                  </a:lnTo>
                  <a:lnTo>
                    <a:pt x="1104405" y="202959"/>
                  </a:lnTo>
                  <a:lnTo>
                    <a:pt x="1104405" y="202260"/>
                  </a:lnTo>
                  <a:lnTo>
                    <a:pt x="1104405" y="202959"/>
                  </a:lnTo>
                  <a:lnTo>
                    <a:pt x="1104405" y="202260"/>
                  </a:lnTo>
                  <a:lnTo>
                    <a:pt x="1104405" y="202959"/>
                  </a:lnTo>
                  <a:lnTo>
                    <a:pt x="1104456" y="202959"/>
                  </a:lnTo>
                  <a:lnTo>
                    <a:pt x="1104456" y="202260"/>
                  </a:lnTo>
                  <a:lnTo>
                    <a:pt x="1104456" y="203594"/>
                  </a:lnTo>
                  <a:lnTo>
                    <a:pt x="1104507" y="203594"/>
                  </a:lnTo>
                  <a:lnTo>
                    <a:pt x="1104507" y="202959"/>
                  </a:lnTo>
                  <a:lnTo>
                    <a:pt x="1104507" y="203594"/>
                  </a:lnTo>
                  <a:lnTo>
                    <a:pt x="1104507" y="202959"/>
                  </a:lnTo>
                  <a:lnTo>
                    <a:pt x="1104507" y="203594"/>
                  </a:lnTo>
                  <a:lnTo>
                    <a:pt x="1104507" y="202959"/>
                  </a:lnTo>
                  <a:lnTo>
                    <a:pt x="1104558" y="203594"/>
                  </a:lnTo>
                  <a:lnTo>
                    <a:pt x="1104558" y="202260"/>
                  </a:lnTo>
                  <a:lnTo>
                    <a:pt x="1104659" y="202260"/>
                  </a:lnTo>
                  <a:lnTo>
                    <a:pt x="1104659" y="200228"/>
                  </a:lnTo>
                  <a:lnTo>
                    <a:pt x="1104710" y="200228"/>
                  </a:lnTo>
                  <a:lnTo>
                    <a:pt x="1104710" y="199530"/>
                  </a:lnTo>
                  <a:lnTo>
                    <a:pt x="1104710" y="200876"/>
                  </a:lnTo>
                  <a:lnTo>
                    <a:pt x="1104710" y="200228"/>
                  </a:lnTo>
                  <a:lnTo>
                    <a:pt x="1104761" y="200228"/>
                  </a:lnTo>
                  <a:lnTo>
                    <a:pt x="1104761" y="199530"/>
                  </a:lnTo>
                  <a:lnTo>
                    <a:pt x="1104761" y="202959"/>
                  </a:lnTo>
                  <a:lnTo>
                    <a:pt x="1104761" y="200876"/>
                  </a:lnTo>
                  <a:lnTo>
                    <a:pt x="1104862" y="200228"/>
                  </a:lnTo>
                  <a:lnTo>
                    <a:pt x="1104862" y="202959"/>
                  </a:lnTo>
                  <a:lnTo>
                    <a:pt x="1104862" y="202260"/>
                  </a:lnTo>
                  <a:lnTo>
                    <a:pt x="1104900" y="200876"/>
                  </a:lnTo>
                  <a:lnTo>
                    <a:pt x="1104900" y="202959"/>
                  </a:lnTo>
                  <a:lnTo>
                    <a:pt x="1104951" y="202959"/>
                  </a:lnTo>
                  <a:lnTo>
                    <a:pt x="1104951" y="203594"/>
                  </a:lnTo>
                  <a:lnTo>
                    <a:pt x="1104951" y="202959"/>
                  </a:lnTo>
                  <a:lnTo>
                    <a:pt x="1104951" y="203594"/>
                  </a:lnTo>
                  <a:lnTo>
                    <a:pt x="1104951" y="202959"/>
                  </a:lnTo>
                  <a:lnTo>
                    <a:pt x="1105002" y="202959"/>
                  </a:lnTo>
                  <a:lnTo>
                    <a:pt x="1105002" y="204292"/>
                  </a:lnTo>
                  <a:lnTo>
                    <a:pt x="1105002" y="202959"/>
                  </a:lnTo>
                  <a:lnTo>
                    <a:pt x="1105002" y="203594"/>
                  </a:lnTo>
                  <a:lnTo>
                    <a:pt x="1105002" y="202959"/>
                  </a:lnTo>
                  <a:lnTo>
                    <a:pt x="1105002" y="203594"/>
                  </a:lnTo>
                  <a:lnTo>
                    <a:pt x="1105104" y="203594"/>
                  </a:lnTo>
                  <a:lnTo>
                    <a:pt x="1105104" y="202959"/>
                  </a:lnTo>
                  <a:lnTo>
                    <a:pt x="1105104" y="203594"/>
                  </a:lnTo>
                  <a:lnTo>
                    <a:pt x="1105104" y="202959"/>
                  </a:lnTo>
                  <a:lnTo>
                    <a:pt x="1105104" y="203594"/>
                  </a:lnTo>
                  <a:lnTo>
                    <a:pt x="1105155" y="202959"/>
                  </a:lnTo>
                  <a:lnTo>
                    <a:pt x="1105155" y="203594"/>
                  </a:lnTo>
                  <a:lnTo>
                    <a:pt x="1105155" y="200876"/>
                  </a:lnTo>
                  <a:lnTo>
                    <a:pt x="1105155" y="202260"/>
                  </a:lnTo>
                  <a:lnTo>
                    <a:pt x="1105155" y="200876"/>
                  </a:lnTo>
                  <a:lnTo>
                    <a:pt x="1105155" y="202260"/>
                  </a:lnTo>
                  <a:lnTo>
                    <a:pt x="1105155" y="200876"/>
                  </a:lnTo>
                  <a:lnTo>
                    <a:pt x="1105205" y="200876"/>
                  </a:lnTo>
                  <a:lnTo>
                    <a:pt x="1105205" y="200228"/>
                  </a:lnTo>
                  <a:lnTo>
                    <a:pt x="1105205" y="200876"/>
                  </a:lnTo>
                  <a:lnTo>
                    <a:pt x="1105205" y="199530"/>
                  </a:lnTo>
                  <a:lnTo>
                    <a:pt x="1105205" y="200876"/>
                  </a:lnTo>
                  <a:lnTo>
                    <a:pt x="1105205" y="200228"/>
                  </a:lnTo>
                  <a:lnTo>
                    <a:pt x="1105205" y="200876"/>
                  </a:lnTo>
                  <a:lnTo>
                    <a:pt x="1105307" y="200228"/>
                  </a:lnTo>
                  <a:lnTo>
                    <a:pt x="1105307" y="200876"/>
                  </a:lnTo>
                  <a:lnTo>
                    <a:pt x="1105307" y="200228"/>
                  </a:lnTo>
                  <a:lnTo>
                    <a:pt x="1105307" y="202260"/>
                  </a:lnTo>
                  <a:lnTo>
                    <a:pt x="1105307" y="200876"/>
                  </a:lnTo>
                  <a:lnTo>
                    <a:pt x="1105358" y="200228"/>
                  </a:lnTo>
                  <a:lnTo>
                    <a:pt x="1105358" y="200876"/>
                  </a:lnTo>
                  <a:lnTo>
                    <a:pt x="1105358" y="200228"/>
                  </a:lnTo>
                  <a:lnTo>
                    <a:pt x="1105358" y="202260"/>
                  </a:lnTo>
                  <a:lnTo>
                    <a:pt x="1105358" y="200876"/>
                  </a:lnTo>
                  <a:lnTo>
                    <a:pt x="1105409" y="200228"/>
                  </a:lnTo>
                  <a:lnTo>
                    <a:pt x="1105409" y="202959"/>
                  </a:lnTo>
                  <a:lnTo>
                    <a:pt x="1105409" y="202260"/>
                  </a:lnTo>
                  <a:lnTo>
                    <a:pt x="1105447" y="202260"/>
                  </a:lnTo>
                  <a:lnTo>
                    <a:pt x="1105447" y="200876"/>
                  </a:lnTo>
                  <a:lnTo>
                    <a:pt x="1105447" y="202959"/>
                  </a:lnTo>
                  <a:lnTo>
                    <a:pt x="1105447" y="202260"/>
                  </a:lnTo>
                  <a:lnTo>
                    <a:pt x="1105447" y="202959"/>
                  </a:lnTo>
                  <a:lnTo>
                    <a:pt x="1105447" y="202260"/>
                  </a:lnTo>
                  <a:lnTo>
                    <a:pt x="1105447" y="202959"/>
                  </a:lnTo>
                  <a:lnTo>
                    <a:pt x="1105548" y="202959"/>
                  </a:lnTo>
                  <a:lnTo>
                    <a:pt x="1105548" y="202260"/>
                  </a:lnTo>
                  <a:lnTo>
                    <a:pt x="1105548" y="202959"/>
                  </a:lnTo>
                  <a:lnTo>
                    <a:pt x="1105548" y="202260"/>
                  </a:lnTo>
                  <a:lnTo>
                    <a:pt x="1105548" y="202959"/>
                  </a:lnTo>
                  <a:lnTo>
                    <a:pt x="1105599" y="202959"/>
                  </a:lnTo>
                  <a:lnTo>
                    <a:pt x="1105599" y="202260"/>
                  </a:lnTo>
                  <a:lnTo>
                    <a:pt x="1105599" y="202959"/>
                  </a:lnTo>
                  <a:lnTo>
                    <a:pt x="1105599" y="202260"/>
                  </a:lnTo>
                  <a:lnTo>
                    <a:pt x="1105650" y="202260"/>
                  </a:lnTo>
                  <a:lnTo>
                    <a:pt x="1105650" y="200228"/>
                  </a:lnTo>
                  <a:lnTo>
                    <a:pt x="1105650" y="200876"/>
                  </a:lnTo>
                  <a:lnTo>
                    <a:pt x="1105650" y="200228"/>
                  </a:lnTo>
                  <a:lnTo>
                    <a:pt x="1105751" y="200228"/>
                  </a:lnTo>
                  <a:lnTo>
                    <a:pt x="1105751" y="199530"/>
                  </a:lnTo>
                  <a:lnTo>
                    <a:pt x="1105751" y="200876"/>
                  </a:lnTo>
                  <a:lnTo>
                    <a:pt x="1105751" y="200228"/>
                  </a:lnTo>
                  <a:lnTo>
                    <a:pt x="1105802" y="200228"/>
                  </a:lnTo>
                  <a:lnTo>
                    <a:pt x="1105802" y="199530"/>
                  </a:lnTo>
                  <a:lnTo>
                    <a:pt x="1105802" y="202260"/>
                  </a:lnTo>
                  <a:lnTo>
                    <a:pt x="1105802" y="200876"/>
                  </a:lnTo>
                  <a:lnTo>
                    <a:pt x="1105802" y="202260"/>
                  </a:lnTo>
                  <a:lnTo>
                    <a:pt x="1105802" y="200228"/>
                  </a:lnTo>
                  <a:lnTo>
                    <a:pt x="1105853" y="200228"/>
                  </a:lnTo>
                  <a:lnTo>
                    <a:pt x="1105853" y="200876"/>
                  </a:lnTo>
                  <a:lnTo>
                    <a:pt x="1105853" y="200228"/>
                  </a:lnTo>
                  <a:lnTo>
                    <a:pt x="1105853" y="202260"/>
                  </a:lnTo>
                  <a:lnTo>
                    <a:pt x="1105904" y="202260"/>
                  </a:lnTo>
                  <a:lnTo>
                    <a:pt x="1105904" y="202959"/>
                  </a:lnTo>
                  <a:lnTo>
                    <a:pt x="1105904" y="202260"/>
                  </a:lnTo>
                  <a:lnTo>
                    <a:pt x="1105993" y="202260"/>
                  </a:lnTo>
                  <a:lnTo>
                    <a:pt x="1105993" y="202959"/>
                  </a:lnTo>
                  <a:lnTo>
                    <a:pt x="1106044" y="202959"/>
                  </a:lnTo>
                  <a:lnTo>
                    <a:pt x="1106044" y="203594"/>
                  </a:lnTo>
                  <a:lnTo>
                    <a:pt x="1106044" y="202959"/>
                  </a:lnTo>
                  <a:lnTo>
                    <a:pt x="1106044" y="203594"/>
                  </a:lnTo>
                  <a:lnTo>
                    <a:pt x="1106044" y="202959"/>
                  </a:lnTo>
                  <a:lnTo>
                    <a:pt x="1106094" y="202959"/>
                  </a:lnTo>
                  <a:lnTo>
                    <a:pt x="1106094" y="203594"/>
                  </a:lnTo>
                  <a:lnTo>
                    <a:pt x="1106094" y="202959"/>
                  </a:lnTo>
                  <a:lnTo>
                    <a:pt x="1106145" y="202959"/>
                  </a:lnTo>
                  <a:lnTo>
                    <a:pt x="1106145" y="200876"/>
                  </a:lnTo>
                  <a:lnTo>
                    <a:pt x="1106145" y="202260"/>
                  </a:lnTo>
                  <a:lnTo>
                    <a:pt x="1106145" y="200876"/>
                  </a:lnTo>
                  <a:lnTo>
                    <a:pt x="1106247" y="200228"/>
                  </a:lnTo>
                  <a:lnTo>
                    <a:pt x="1106247" y="199530"/>
                  </a:lnTo>
                  <a:lnTo>
                    <a:pt x="1106247" y="200876"/>
                  </a:lnTo>
                  <a:lnTo>
                    <a:pt x="1106247" y="200228"/>
                  </a:lnTo>
                  <a:lnTo>
                    <a:pt x="1106297" y="200228"/>
                  </a:lnTo>
                  <a:lnTo>
                    <a:pt x="1106297" y="199530"/>
                  </a:lnTo>
                  <a:lnTo>
                    <a:pt x="1106297" y="202959"/>
                  </a:lnTo>
                  <a:lnTo>
                    <a:pt x="1106297" y="200876"/>
                  </a:lnTo>
                  <a:lnTo>
                    <a:pt x="1106348" y="200876"/>
                  </a:lnTo>
                  <a:lnTo>
                    <a:pt x="1106348" y="202959"/>
                  </a:lnTo>
                  <a:lnTo>
                    <a:pt x="1106348" y="202260"/>
                  </a:lnTo>
                  <a:lnTo>
                    <a:pt x="1106348" y="202959"/>
                  </a:lnTo>
                  <a:lnTo>
                    <a:pt x="1106348" y="202260"/>
                  </a:lnTo>
                  <a:lnTo>
                    <a:pt x="1106450" y="202260"/>
                  </a:lnTo>
                  <a:lnTo>
                    <a:pt x="1106450" y="202959"/>
                  </a:lnTo>
                  <a:lnTo>
                    <a:pt x="1106450" y="202260"/>
                  </a:lnTo>
                  <a:lnTo>
                    <a:pt x="1106450" y="202959"/>
                  </a:lnTo>
                  <a:lnTo>
                    <a:pt x="1106450" y="202260"/>
                  </a:lnTo>
                  <a:lnTo>
                    <a:pt x="1106450" y="202959"/>
                  </a:lnTo>
                  <a:lnTo>
                    <a:pt x="1106488" y="202959"/>
                  </a:lnTo>
                  <a:lnTo>
                    <a:pt x="1106488" y="203594"/>
                  </a:lnTo>
                  <a:lnTo>
                    <a:pt x="1106488" y="202959"/>
                  </a:lnTo>
                  <a:lnTo>
                    <a:pt x="1106488" y="203594"/>
                  </a:lnTo>
                  <a:lnTo>
                    <a:pt x="1106539" y="203594"/>
                  </a:lnTo>
                  <a:lnTo>
                    <a:pt x="1106539" y="202959"/>
                  </a:lnTo>
                  <a:lnTo>
                    <a:pt x="1106539" y="203594"/>
                  </a:lnTo>
                  <a:lnTo>
                    <a:pt x="1106539" y="202959"/>
                  </a:lnTo>
                  <a:lnTo>
                    <a:pt x="1106590" y="202959"/>
                  </a:lnTo>
                  <a:lnTo>
                    <a:pt x="1106590" y="203594"/>
                  </a:lnTo>
                  <a:lnTo>
                    <a:pt x="1106590" y="202260"/>
                  </a:lnTo>
                  <a:lnTo>
                    <a:pt x="1106590" y="202959"/>
                  </a:lnTo>
                  <a:lnTo>
                    <a:pt x="1106691" y="202260"/>
                  </a:lnTo>
                  <a:lnTo>
                    <a:pt x="1106691" y="202959"/>
                  </a:lnTo>
                  <a:lnTo>
                    <a:pt x="1106691" y="200228"/>
                  </a:lnTo>
                  <a:lnTo>
                    <a:pt x="1106742" y="200228"/>
                  </a:lnTo>
                  <a:lnTo>
                    <a:pt x="1106742" y="198831"/>
                  </a:lnTo>
                  <a:lnTo>
                    <a:pt x="1106742" y="200876"/>
                  </a:lnTo>
                  <a:lnTo>
                    <a:pt x="1106742" y="200228"/>
                  </a:lnTo>
                  <a:lnTo>
                    <a:pt x="1106793" y="199530"/>
                  </a:lnTo>
                  <a:lnTo>
                    <a:pt x="1106793" y="202959"/>
                  </a:lnTo>
                  <a:lnTo>
                    <a:pt x="1106793" y="200876"/>
                  </a:lnTo>
                  <a:lnTo>
                    <a:pt x="1106894" y="200876"/>
                  </a:lnTo>
                  <a:lnTo>
                    <a:pt x="1106894" y="203594"/>
                  </a:lnTo>
                  <a:lnTo>
                    <a:pt x="1106894" y="202260"/>
                  </a:lnTo>
                  <a:lnTo>
                    <a:pt x="1106945" y="202260"/>
                  </a:lnTo>
                  <a:lnTo>
                    <a:pt x="1106945" y="202959"/>
                  </a:lnTo>
                  <a:lnTo>
                    <a:pt x="1106996" y="202959"/>
                  </a:lnTo>
                  <a:lnTo>
                    <a:pt x="1106996" y="203594"/>
                  </a:lnTo>
                  <a:lnTo>
                    <a:pt x="1106996" y="202959"/>
                  </a:lnTo>
                  <a:lnTo>
                    <a:pt x="1106996" y="203594"/>
                  </a:lnTo>
                  <a:lnTo>
                    <a:pt x="1106996" y="202959"/>
                  </a:lnTo>
                  <a:lnTo>
                    <a:pt x="1106996" y="203594"/>
                  </a:lnTo>
                  <a:lnTo>
                    <a:pt x="1106996" y="202959"/>
                  </a:lnTo>
                  <a:lnTo>
                    <a:pt x="1106996" y="203594"/>
                  </a:lnTo>
                  <a:lnTo>
                    <a:pt x="1107034" y="204292"/>
                  </a:lnTo>
                  <a:lnTo>
                    <a:pt x="1107034" y="203594"/>
                  </a:lnTo>
                  <a:lnTo>
                    <a:pt x="1107034" y="204292"/>
                  </a:lnTo>
                  <a:lnTo>
                    <a:pt x="1107034" y="202959"/>
                  </a:lnTo>
                  <a:lnTo>
                    <a:pt x="1107034" y="203594"/>
                  </a:lnTo>
                  <a:lnTo>
                    <a:pt x="1107136" y="204292"/>
                  </a:lnTo>
                  <a:lnTo>
                    <a:pt x="1107136" y="202959"/>
                  </a:lnTo>
                  <a:lnTo>
                    <a:pt x="1107136" y="203594"/>
                  </a:lnTo>
                  <a:lnTo>
                    <a:pt x="1107187" y="203594"/>
                  </a:lnTo>
                  <a:lnTo>
                    <a:pt x="1107187" y="202260"/>
                  </a:lnTo>
                  <a:lnTo>
                    <a:pt x="1107187" y="202959"/>
                  </a:lnTo>
                  <a:lnTo>
                    <a:pt x="1107187" y="200228"/>
                  </a:lnTo>
                  <a:lnTo>
                    <a:pt x="1107237" y="200228"/>
                  </a:lnTo>
                  <a:lnTo>
                    <a:pt x="1107237" y="202260"/>
                  </a:lnTo>
                  <a:lnTo>
                    <a:pt x="1107237" y="199530"/>
                  </a:lnTo>
                  <a:lnTo>
                    <a:pt x="1107237" y="200228"/>
                  </a:lnTo>
                  <a:lnTo>
                    <a:pt x="1107339" y="200228"/>
                  </a:lnTo>
                  <a:lnTo>
                    <a:pt x="1107339" y="202959"/>
                  </a:lnTo>
                  <a:lnTo>
                    <a:pt x="1107339" y="200876"/>
                  </a:lnTo>
                  <a:lnTo>
                    <a:pt x="1107390" y="200876"/>
                  </a:lnTo>
                  <a:lnTo>
                    <a:pt x="1107390" y="202959"/>
                  </a:lnTo>
                  <a:lnTo>
                    <a:pt x="1107390" y="200876"/>
                  </a:lnTo>
                  <a:lnTo>
                    <a:pt x="1107440" y="200876"/>
                  </a:lnTo>
                  <a:lnTo>
                    <a:pt x="1107440" y="202959"/>
                  </a:lnTo>
                  <a:lnTo>
                    <a:pt x="1107440" y="202260"/>
                  </a:lnTo>
                  <a:lnTo>
                    <a:pt x="1107440" y="202959"/>
                  </a:lnTo>
                  <a:lnTo>
                    <a:pt x="1107440" y="202260"/>
                  </a:lnTo>
                  <a:lnTo>
                    <a:pt x="1107491" y="202260"/>
                  </a:lnTo>
                  <a:lnTo>
                    <a:pt x="1107491" y="204292"/>
                  </a:lnTo>
                  <a:lnTo>
                    <a:pt x="1107491" y="203594"/>
                  </a:lnTo>
                  <a:lnTo>
                    <a:pt x="1107580" y="203594"/>
                  </a:lnTo>
                  <a:lnTo>
                    <a:pt x="1107580" y="202959"/>
                  </a:lnTo>
                  <a:lnTo>
                    <a:pt x="1107580" y="203594"/>
                  </a:lnTo>
                  <a:lnTo>
                    <a:pt x="1107631" y="203594"/>
                  </a:lnTo>
                  <a:lnTo>
                    <a:pt x="1107631" y="202959"/>
                  </a:lnTo>
                  <a:lnTo>
                    <a:pt x="1107631" y="203594"/>
                  </a:lnTo>
                  <a:lnTo>
                    <a:pt x="1107631" y="202959"/>
                  </a:lnTo>
                  <a:lnTo>
                    <a:pt x="1107631" y="203594"/>
                  </a:lnTo>
                  <a:lnTo>
                    <a:pt x="1107631" y="202959"/>
                  </a:lnTo>
                  <a:lnTo>
                    <a:pt x="1107682" y="202959"/>
                  </a:lnTo>
                  <a:lnTo>
                    <a:pt x="1107682" y="202260"/>
                  </a:lnTo>
                  <a:lnTo>
                    <a:pt x="1107682" y="202959"/>
                  </a:lnTo>
                  <a:lnTo>
                    <a:pt x="1107682" y="202260"/>
                  </a:lnTo>
                  <a:lnTo>
                    <a:pt x="1107682" y="202959"/>
                  </a:lnTo>
                  <a:lnTo>
                    <a:pt x="1107682" y="202260"/>
                  </a:lnTo>
                  <a:lnTo>
                    <a:pt x="1107682" y="203594"/>
                  </a:lnTo>
                  <a:lnTo>
                    <a:pt x="1107682" y="202959"/>
                  </a:lnTo>
                  <a:lnTo>
                    <a:pt x="1107733" y="202959"/>
                  </a:lnTo>
                  <a:lnTo>
                    <a:pt x="1107733" y="203594"/>
                  </a:lnTo>
                  <a:lnTo>
                    <a:pt x="1107733" y="202260"/>
                  </a:lnTo>
                  <a:lnTo>
                    <a:pt x="1107733" y="204292"/>
                  </a:lnTo>
                  <a:lnTo>
                    <a:pt x="1107834" y="204292"/>
                  </a:lnTo>
                  <a:lnTo>
                    <a:pt x="1107834" y="203594"/>
                  </a:lnTo>
                  <a:lnTo>
                    <a:pt x="1107834" y="204990"/>
                  </a:lnTo>
                  <a:lnTo>
                    <a:pt x="1107834" y="204292"/>
                  </a:lnTo>
                  <a:lnTo>
                    <a:pt x="1107885" y="204292"/>
                  </a:lnTo>
                  <a:lnTo>
                    <a:pt x="1107885" y="204990"/>
                  </a:lnTo>
                  <a:lnTo>
                    <a:pt x="1107885" y="204292"/>
                  </a:lnTo>
                  <a:lnTo>
                    <a:pt x="1107885" y="204990"/>
                  </a:lnTo>
                  <a:lnTo>
                    <a:pt x="1107936" y="204990"/>
                  </a:lnTo>
                  <a:lnTo>
                    <a:pt x="1107936" y="203594"/>
                  </a:lnTo>
                  <a:lnTo>
                    <a:pt x="1107936" y="204292"/>
                  </a:lnTo>
                  <a:lnTo>
                    <a:pt x="1108037" y="204292"/>
                  </a:lnTo>
                  <a:lnTo>
                    <a:pt x="1108037" y="203594"/>
                  </a:lnTo>
                  <a:lnTo>
                    <a:pt x="1108037" y="204292"/>
                  </a:lnTo>
                  <a:lnTo>
                    <a:pt x="1108037" y="203594"/>
                  </a:lnTo>
                  <a:lnTo>
                    <a:pt x="1108037" y="204292"/>
                  </a:lnTo>
                  <a:lnTo>
                    <a:pt x="1108037" y="203594"/>
                  </a:lnTo>
                  <a:lnTo>
                    <a:pt x="1108037" y="204292"/>
                  </a:lnTo>
                  <a:lnTo>
                    <a:pt x="1108075" y="203594"/>
                  </a:lnTo>
                  <a:lnTo>
                    <a:pt x="1108075" y="204292"/>
                  </a:lnTo>
                  <a:lnTo>
                    <a:pt x="1108075" y="202959"/>
                  </a:lnTo>
                  <a:lnTo>
                    <a:pt x="1108075" y="203594"/>
                  </a:lnTo>
                  <a:lnTo>
                    <a:pt x="1108126" y="203594"/>
                  </a:lnTo>
                  <a:lnTo>
                    <a:pt x="1108126" y="202959"/>
                  </a:lnTo>
                  <a:lnTo>
                    <a:pt x="1108126" y="203594"/>
                  </a:lnTo>
                  <a:lnTo>
                    <a:pt x="1108126" y="202260"/>
                  </a:lnTo>
                  <a:lnTo>
                    <a:pt x="1108177" y="202260"/>
                  </a:lnTo>
                  <a:lnTo>
                    <a:pt x="1108177" y="202959"/>
                  </a:lnTo>
                  <a:lnTo>
                    <a:pt x="1108177" y="202260"/>
                  </a:lnTo>
                  <a:lnTo>
                    <a:pt x="1108177" y="203594"/>
                  </a:lnTo>
                  <a:lnTo>
                    <a:pt x="1108177" y="202959"/>
                  </a:lnTo>
                  <a:lnTo>
                    <a:pt x="1108177" y="203594"/>
                  </a:lnTo>
                  <a:lnTo>
                    <a:pt x="1108279" y="203594"/>
                  </a:lnTo>
                  <a:lnTo>
                    <a:pt x="1108279" y="204990"/>
                  </a:lnTo>
                  <a:lnTo>
                    <a:pt x="1108279" y="204292"/>
                  </a:lnTo>
                  <a:lnTo>
                    <a:pt x="1108279" y="204990"/>
                  </a:lnTo>
                  <a:lnTo>
                    <a:pt x="1108279" y="204292"/>
                  </a:lnTo>
                  <a:lnTo>
                    <a:pt x="1108330" y="204990"/>
                  </a:lnTo>
                  <a:lnTo>
                    <a:pt x="1108330" y="206324"/>
                  </a:lnTo>
                  <a:lnTo>
                    <a:pt x="1108330" y="204292"/>
                  </a:lnTo>
                  <a:lnTo>
                    <a:pt x="1108330" y="204990"/>
                  </a:lnTo>
                  <a:lnTo>
                    <a:pt x="1108330" y="204292"/>
                  </a:lnTo>
                  <a:lnTo>
                    <a:pt x="1108330" y="204990"/>
                  </a:lnTo>
                  <a:lnTo>
                    <a:pt x="1108330" y="204292"/>
                  </a:lnTo>
                  <a:lnTo>
                    <a:pt x="1108330" y="204990"/>
                  </a:lnTo>
                  <a:lnTo>
                    <a:pt x="1108330" y="204292"/>
                  </a:lnTo>
                  <a:lnTo>
                    <a:pt x="1108380" y="204292"/>
                  </a:lnTo>
                  <a:lnTo>
                    <a:pt x="1108380" y="204990"/>
                  </a:lnTo>
                  <a:lnTo>
                    <a:pt x="1108380" y="204292"/>
                  </a:lnTo>
                  <a:lnTo>
                    <a:pt x="1108380" y="204990"/>
                  </a:lnTo>
                  <a:lnTo>
                    <a:pt x="1108380" y="204292"/>
                  </a:lnTo>
                  <a:lnTo>
                    <a:pt x="1108482" y="204292"/>
                  </a:lnTo>
                  <a:lnTo>
                    <a:pt x="1108482" y="204990"/>
                  </a:lnTo>
                  <a:lnTo>
                    <a:pt x="1108482" y="203594"/>
                  </a:lnTo>
                  <a:lnTo>
                    <a:pt x="1108482" y="204292"/>
                  </a:lnTo>
                  <a:lnTo>
                    <a:pt x="1108482" y="203594"/>
                  </a:lnTo>
                  <a:lnTo>
                    <a:pt x="1108482" y="204292"/>
                  </a:lnTo>
                  <a:lnTo>
                    <a:pt x="1108482" y="203594"/>
                  </a:lnTo>
                  <a:lnTo>
                    <a:pt x="1108533" y="203594"/>
                  </a:lnTo>
                  <a:lnTo>
                    <a:pt x="1108533" y="204292"/>
                  </a:lnTo>
                  <a:lnTo>
                    <a:pt x="1108533" y="203594"/>
                  </a:lnTo>
                  <a:lnTo>
                    <a:pt x="1108533" y="204292"/>
                  </a:lnTo>
                  <a:lnTo>
                    <a:pt x="1108533" y="203594"/>
                  </a:lnTo>
                  <a:lnTo>
                    <a:pt x="1108533" y="204292"/>
                  </a:lnTo>
                  <a:lnTo>
                    <a:pt x="1108533" y="203594"/>
                  </a:lnTo>
                  <a:lnTo>
                    <a:pt x="1108533" y="204292"/>
                  </a:lnTo>
                  <a:lnTo>
                    <a:pt x="1108584" y="203594"/>
                  </a:lnTo>
                  <a:lnTo>
                    <a:pt x="1108584" y="204292"/>
                  </a:lnTo>
                  <a:lnTo>
                    <a:pt x="1108584" y="202260"/>
                  </a:lnTo>
                  <a:lnTo>
                    <a:pt x="1108584" y="202959"/>
                  </a:lnTo>
                  <a:lnTo>
                    <a:pt x="1108584" y="202260"/>
                  </a:lnTo>
                  <a:lnTo>
                    <a:pt x="1108622" y="202260"/>
                  </a:lnTo>
                  <a:lnTo>
                    <a:pt x="1108622" y="200228"/>
                  </a:lnTo>
                  <a:lnTo>
                    <a:pt x="1108622" y="200876"/>
                  </a:lnTo>
                  <a:lnTo>
                    <a:pt x="1108723" y="200876"/>
                  </a:lnTo>
                  <a:lnTo>
                    <a:pt x="1108723" y="202260"/>
                  </a:lnTo>
                  <a:lnTo>
                    <a:pt x="1108723" y="200876"/>
                  </a:lnTo>
                  <a:lnTo>
                    <a:pt x="1108723" y="202959"/>
                  </a:lnTo>
                  <a:lnTo>
                    <a:pt x="1108774" y="203594"/>
                  </a:lnTo>
                  <a:lnTo>
                    <a:pt x="1108774" y="202260"/>
                  </a:lnTo>
                  <a:lnTo>
                    <a:pt x="1108774" y="202959"/>
                  </a:lnTo>
                  <a:lnTo>
                    <a:pt x="1108774" y="202260"/>
                  </a:lnTo>
                  <a:lnTo>
                    <a:pt x="1108774" y="204292"/>
                  </a:lnTo>
                  <a:lnTo>
                    <a:pt x="1108774" y="203594"/>
                  </a:lnTo>
                  <a:lnTo>
                    <a:pt x="1108825" y="203594"/>
                  </a:lnTo>
                  <a:lnTo>
                    <a:pt x="1108825" y="204292"/>
                  </a:lnTo>
                  <a:lnTo>
                    <a:pt x="1108926" y="203594"/>
                  </a:lnTo>
                  <a:lnTo>
                    <a:pt x="1108926" y="204292"/>
                  </a:lnTo>
                  <a:lnTo>
                    <a:pt x="1108926" y="203594"/>
                  </a:lnTo>
                  <a:lnTo>
                    <a:pt x="1108926" y="204292"/>
                  </a:lnTo>
                  <a:lnTo>
                    <a:pt x="1108926" y="203594"/>
                  </a:lnTo>
                  <a:lnTo>
                    <a:pt x="1108926" y="204292"/>
                  </a:lnTo>
                  <a:lnTo>
                    <a:pt x="1108977" y="204292"/>
                  </a:lnTo>
                  <a:lnTo>
                    <a:pt x="1108977" y="204990"/>
                  </a:lnTo>
                  <a:lnTo>
                    <a:pt x="1108977" y="204292"/>
                  </a:lnTo>
                  <a:lnTo>
                    <a:pt x="1109028" y="204292"/>
                  </a:lnTo>
                  <a:lnTo>
                    <a:pt x="1109028" y="203594"/>
                  </a:lnTo>
                  <a:lnTo>
                    <a:pt x="1109079" y="203594"/>
                  </a:lnTo>
                  <a:lnTo>
                    <a:pt x="1109079" y="202959"/>
                  </a:lnTo>
                  <a:lnTo>
                    <a:pt x="1109079" y="203594"/>
                  </a:lnTo>
                  <a:lnTo>
                    <a:pt x="1109079" y="200876"/>
                  </a:lnTo>
                  <a:lnTo>
                    <a:pt x="1109079" y="202260"/>
                  </a:lnTo>
                  <a:lnTo>
                    <a:pt x="1109079" y="200876"/>
                  </a:lnTo>
                  <a:lnTo>
                    <a:pt x="1109168" y="200876"/>
                  </a:lnTo>
                  <a:lnTo>
                    <a:pt x="1109168" y="200228"/>
                  </a:lnTo>
                  <a:lnTo>
                    <a:pt x="1109168" y="202260"/>
                  </a:lnTo>
                  <a:lnTo>
                    <a:pt x="1109168" y="200876"/>
                  </a:lnTo>
                  <a:lnTo>
                    <a:pt x="1109219" y="200876"/>
                  </a:lnTo>
                  <a:lnTo>
                    <a:pt x="1109219" y="203594"/>
                  </a:lnTo>
                  <a:lnTo>
                    <a:pt x="1109219" y="202959"/>
                  </a:lnTo>
                  <a:lnTo>
                    <a:pt x="1109269" y="202959"/>
                  </a:lnTo>
                  <a:lnTo>
                    <a:pt x="1109269" y="202260"/>
                  </a:lnTo>
                  <a:lnTo>
                    <a:pt x="1109269" y="203594"/>
                  </a:lnTo>
                  <a:lnTo>
                    <a:pt x="1109269" y="202959"/>
                  </a:lnTo>
                  <a:lnTo>
                    <a:pt x="1109320" y="202959"/>
                  </a:lnTo>
                  <a:lnTo>
                    <a:pt x="1109320" y="203594"/>
                  </a:lnTo>
                  <a:lnTo>
                    <a:pt x="1109320" y="202260"/>
                  </a:lnTo>
                  <a:lnTo>
                    <a:pt x="1109320" y="202959"/>
                  </a:lnTo>
                  <a:lnTo>
                    <a:pt x="1109422" y="202959"/>
                  </a:lnTo>
                  <a:lnTo>
                    <a:pt x="1109422" y="203594"/>
                  </a:lnTo>
                  <a:lnTo>
                    <a:pt x="1109523" y="203594"/>
                  </a:lnTo>
                  <a:lnTo>
                    <a:pt x="1109523" y="202260"/>
                  </a:lnTo>
                  <a:lnTo>
                    <a:pt x="1109625" y="202260"/>
                  </a:lnTo>
                  <a:lnTo>
                    <a:pt x="1109625" y="202959"/>
                  </a:lnTo>
                  <a:lnTo>
                    <a:pt x="1109625" y="200228"/>
                  </a:lnTo>
                  <a:lnTo>
                    <a:pt x="1109663" y="200228"/>
                  </a:lnTo>
                  <a:lnTo>
                    <a:pt x="1109663" y="199530"/>
                  </a:lnTo>
                  <a:lnTo>
                    <a:pt x="1109663" y="200876"/>
                  </a:lnTo>
                  <a:lnTo>
                    <a:pt x="1109663" y="200228"/>
                  </a:lnTo>
                  <a:lnTo>
                    <a:pt x="1109714" y="200228"/>
                  </a:lnTo>
                  <a:lnTo>
                    <a:pt x="1109714" y="202260"/>
                  </a:lnTo>
                  <a:lnTo>
                    <a:pt x="1109714" y="200876"/>
                  </a:lnTo>
                  <a:lnTo>
                    <a:pt x="1109765" y="200876"/>
                  </a:lnTo>
                  <a:lnTo>
                    <a:pt x="1109765" y="202959"/>
                  </a:lnTo>
                  <a:lnTo>
                    <a:pt x="1109765" y="202260"/>
                  </a:lnTo>
                  <a:lnTo>
                    <a:pt x="1109866" y="202260"/>
                  </a:lnTo>
                  <a:lnTo>
                    <a:pt x="1109866" y="202959"/>
                  </a:lnTo>
                  <a:lnTo>
                    <a:pt x="1109866" y="202260"/>
                  </a:lnTo>
                  <a:lnTo>
                    <a:pt x="1109866" y="202959"/>
                  </a:lnTo>
                  <a:lnTo>
                    <a:pt x="1109866" y="202260"/>
                  </a:lnTo>
                  <a:lnTo>
                    <a:pt x="1109866" y="202959"/>
                  </a:lnTo>
                  <a:lnTo>
                    <a:pt x="1109917" y="202959"/>
                  </a:lnTo>
                  <a:lnTo>
                    <a:pt x="1109917" y="203594"/>
                  </a:lnTo>
                  <a:lnTo>
                    <a:pt x="1109917" y="202959"/>
                  </a:lnTo>
                  <a:lnTo>
                    <a:pt x="1109917" y="203594"/>
                  </a:lnTo>
                  <a:lnTo>
                    <a:pt x="1109917" y="202959"/>
                  </a:lnTo>
                  <a:lnTo>
                    <a:pt x="1109917" y="203594"/>
                  </a:lnTo>
                  <a:lnTo>
                    <a:pt x="1109968" y="203594"/>
                  </a:lnTo>
                  <a:lnTo>
                    <a:pt x="1109968" y="204292"/>
                  </a:lnTo>
                  <a:lnTo>
                    <a:pt x="1109968" y="203594"/>
                  </a:lnTo>
                  <a:lnTo>
                    <a:pt x="1110069" y="203594"/>
                  </a:lnTo>
                  <a:lnTo>
                    <a:pt x="1110069" y="204292"/>
                  </a:lnTo>
                  <a:lnTo>
                    <a:pt x="1110069" y="202959"/>
                  </a:lnTo>
                  <a:lnTo>
                    <a:pt x="1110069" y="203594"/>
                  </a:lnTo>
                  <a:lnTo>
                    <a:pt x="1110069" y="202959"/>
                  </a:lnTo>
                  <a:lnTo>
                    <a:pt x="1110069" y="203594"/>
                  </a:lnTo>
                  <a:lnTo>
                    <a:pt x="1110069" y="202959"/>
                  </a:lnTo>
                  <a:lnTo>
                    <a:pt x="1110120" y="202959"/>
                  </a:lnTo>
                  <a:lnTo>
                    <a:pt x="1110120" y="200876"/>
                  </a:lnTo>
                  <a:lnTo>
                    <a:pt x="1110120" y="202260"/>
                  </a:lnTo>
                  <a:lnTo>
                    <a:pt x="1110120" y="200228"/>
                  </a:lnTo>
                  <a:lnTo>
                    <a:pt x="1110171" y="200228"/>
                  </a:lnTo>
                  <a:lnTo>
                    <a:pt x="1110171" y="200876"/>
                  </a:lnTo>
                  <a:lnTo>
                    <a:pt x="1110171" y="200228"/>
                  </a:lnTo>
                  <a:lnTo>
                    <a:pt x="1110171" y="200876"/>
                  </a:lnTo>
                  <a:lnTo>
                    <a:pt x="1110209" y="200876"/>
                  </a:lnTo>
                  <a:lnTo>
                    <a:pt x="1110209" y="202959"/>
                  </a:lnTo>
                  <a:lnTo>
                    <a:pt x="1110209" y="200876"/>
                  </a:lnTo>
                  <a:lnTo>
                    <a:pt x="1110209" y="202260"/>
                  </a:lnTo>
                  <a:lnTo>
                    <a:pt x="1110311" y="202260"/>
                  </a:lnTo>
                  <a:lnTo>
                    <a:pt x="1110311" y="202959"/>
                  </a:lnTo>
                  <a:lnTo>
                    <a:pt x="1110311" y="202260"/>
                  </a:lnTo>
                  <a:lnTo>
                    <a:pt x="1110311" y="202959"/>
                  </a:lnTo>
                  <a:lnTo>
                    <a:pt x="1110362" y="202959"/>
                  </a:lnTo>
                  <a:lnTo>
                    <a:pt x="1110362" y="202260"/>
                  </a:lnTo>
                  <a:lnTo>
                    <a:pt x="1110362" y="202959"/>
                  </a:lnTo>
                  <a:lnTo>
                    <a:pt x="1110412" y="202959"/>
                  </a:lnTo>
                  <a:lnTo>
                    <a:pt x="1110514" y="203594"/>
                  </a:lnTo>
                  <a:lnTo>
                    <a:pt x="1110514" y="202959"/>
                  </a:lnTo>
                  <a:lnTo>
                    <a:pt x="1110514" y="203594"/>
                  </a:lnTo>
                  <a:lnTo>
                    <a:pt x="1110514" y="202959"/>
                  </a:lnTo>
                  <a:lnTo>
                    <a:pt x="1110565" y="202959"/>
                  </a:lnTo>
                  <a:lnTo>
                    <a:pt x="1110565" y="203594"/>
                  </a:lnTo>
                  <a:lnTo>
                    <a:pt x="1110565" y="202959"/>
                  </a:lnTo>
                  <a:lnTo>
                    <a:pt x="1110565" y="203594"/>
                  </a:lnTo>
                  <a:lnTo>
                    <a:pt x="1110565" y="202959"/>
                  </a:lnTo>
                  <a:lnTo>
                    <a:pt x="1110615" y="202959"/>
                  </a:lnTo>
                  <a:lnTo>
                    <a:pt x="1110615" y="200876"/>
                  </a:lnTo>
                  <a:lnTo>
                    <a:pt x="1110615" y="202959"/>
                  </a:lnTo>
                  <a:lnTo>
                    <a:pt x="1110666" y="202959"/>
                  </a:lnTo>
                  <a:lnTo>
                    <a:pt x="1110666" y="203594"/>
                  </a:lnTo>
                  <a:lnTo>
                    <a:pt x="1110666" y="200876"/>
                  </a:lnTo>
                  <a:lnTo>
                    <a:pt x="1110666" y="204990"/>
                  </a:lnTo>
                  <a:lnTo>
                    <a:pt x="1110755" y="204292"/>
                  </a:lnTo>
                  <a:lnTo>
                    <a:pt x="1110755" y="202959"/>
                  </a:lnTo>
                  <a:lnTo>
                    <a:pt x="1110755" y="204990"/>
                  </a:lnTo>
                  <a:lnTo>
                    <a:pt x="1110755" y="204292"/>
                  </a:lnTo>
                  <a:lnTo>
                    <a:pt x="1110755" y="204990"/>
                  </a:lnTo>
                  <a:lnTo>
                    <a:pt x="1110806" y="204292"/>
                  </a:lnTo>
                  <a:lnTo>
                    <a:pt x="1110806" y="203594"/>
                  </a:lnTo>
                  <a:lnTo>
                    <a:pt x="1110806" y="204292"/>
                  </a:lnTo>
                  <a:lnTo>
                    <a:pt x="1110857" y="203594"/>
                  </a:lnTo>
                  <a:lnTo>
                    <a:pt x="1110857" y="204292"/>
                  </a:lnTo>
                  <a:lnTo>
                    <a:pt x="1110857" y="203594"/>
                  </a:lnTo>
                  <a:lnTo>
                    <a:pt x="1110857" y="204292"/>
                  </a:lnTo>
                  <a:lnTo>
                    <a:pt x="1110908" y="204292"/>
                  </a:lnTo>
                  <a:lnTo>
                    <a:pt x="1110908" y="204990"/>
                  </a:lnTo>
                  <a:lnTo>
                    <a:pt x="1110908" y="204292"/>
                  </a:lnTo>
                  <a:lnTo>
                    <a:pt x="1110908" y="204990"/>
                  </a:lnTo>
                  <a:lnTo>
                    <a:pt x="1110908" y="204292"/>
                  </a:lnTo>
                  <a:lnTo>
                    <a:pt x="1111009" y="204292"/>
                  </a:lnTo>
                  <a:lnTo>
                    <a:pt x="1111009" y="204990"/>
                  </a:lnTo>
                  <a:lnTo>
                    <a:pt x="1111009" y="203594"/>
                  </a:lnTo>
                  <a:lnTo>
                    <a:pt x="1111060" y="203594"/>
                  </a:lnTo>
                  <a:lnTo>
                    <a:pt x="1111060" y="202260"/>
                  </a:lnTo>
                  <a:lnTo>
                    <a:pt x="1111111" y="202959"/>
                  </a:lnTo>
                  <a:lnTo>
                    <a:pt x="1111111" y="200876"/>
                  </a:lnTo>
                  <a:lnTo>
                    <a:pt x="1111111" y="202959"/>
                  </a:lnTo>
                  <a:lnTo>
                    <a:pt x="1111212" y="202959"/>
                  </a:lnTo>
                  <a:lnTo>
                    <a:pt x="1111212" y="202260"/>
                  </a:lnTo>
                  <a:lnTo>
                    <a:pt x="1111212" y="204292"/>
                  </a:lnTo>
                  <a:lnTo>
                    <a:pt x="1111250" y="204292"/>
                  </a:lnTo>
                  <a:lnTo>
                    <a:pt x="1111250" y="203594"/>
                  </a:lnTo>
                  <a:lnTo>
                    <a:pt x="1111250" y="204990"/>
                  </a:lnTo>
                  <a:lnTo>
                    <a:pt x="1111250" y="204292"/>
                  </a:lnTo>
                  <a:lnTo>
                    <a:pt x="1111301" y="204292"/>
                  </a:lnTo>
                  <a:lnTo>
                    <a:pt x="1111301" y="203594"/>
                  </a:lnTo>
                  <a:lnTo>
                    <a:pt x="1111301" y="204990"/>
                  </a:lnTo>
                  <a:lnTo>
                    <a:pt x="1111301" y="204292"/>
                  </a:lnTo>
                  <a:lnTo>
                    <a:pt x="1111301" y="204990"/>
                  </a:lnTo>
                  <a:lnTo>
                    <a:pt x="1111301" y="204292"/>
                  </a:lnTo>
                  <a:lnTo>
                    <a:pt x="1111352" y="204292"/>
                  </a:lnTo>
                  <a:lnTo>
                    <a:pt x="1111352" y="203594"/>
                  </a:lnTo>
                  <a:lnTo>
                    <a:pt x="1111352" y="204292"/>
                  </a:lnTo>
                  <a:lnTo>
                    <a:pt x="1111454" y="204292"/>
                  </a:lnTo>
                  <a:lnTo>
                    <a:pt x="1111454" y="203594"/>
                  </a:lnTo>
                  <a:lnTo>
                    <a:pt x="1111454" y="204292"/>
                  </a:lnTo>
                  <a:lnTo>
                    <a:pt x="1111505" y="203594"/>
                  </a:lnTo>
                  <a:lnTo>
                    <a:pt x="1111505" y="204292"/>
                  </a:lnTo>
                  <a:lnTo>
                    <a:pt x="1111505" y="203594"/>
                  </a:lnTo>
                  <a:lnTo>
                    <a:pt x="1111505" y="204292"/>
                  </a:lnTo>
                  <a:lnTo>
                    <a:pt x="1111505" y="203594"/>
                  </a:lnTo>
                  <a:lnTo>
                    <a:pt x="1111505" y="204292"/>
                  </a:lnTo>
                  <a:lnTo>
                    <a:pt x="1111505" y="203594"/>
                  </a:lnTo>
                  <a:lnTo>
                    <a:pt x="1111555" y="203594"/>
                  </a:lnTo>
                  <a:lnTo>
                    <a:pt x="1111555" y="202260"/>
                  </a:lnTo>
                  <a:lnTo>
                    <a:pt x="1111657" y="202260"/>
                  </a:lnTo>
                  <a:lnTo>
                    <a:pt x="1111657" y="200228"/>
                  </a:lnTo>
                  <a:lnTo>
                    <a:pt x="1111657" y="203594"/>
                  </a:lnTo>
                  <a:lnTo>
                    <a:pt x="1111657" y="202260"/>
                  </a:lnTo>
                  <a:lnTo>
                    <a:pt x="1111708" y="202260"/>
                  </a:lnTo>
                  <a:lnTo>
                    <a:pt x="1111708" y="200876"/>
                  </a:lnTo>
                  <a:lnTo>
                    <a:pt x="1111708" y="204990"/>
                  </a:lnTo>
                  <a:lnTo>
                    <a:pt x="1111708" y="202959"/>
                  </a:lnTo>
                  <a:lnTo>
                    <a:pt x="1111759" y="202959"/>
                  </a:lnTo>
                  <a:lnTo>
                    <a:pt x="1111759" y="204292"/>
                  </a:lnTo>
                  <a:lnTo>
                    <a:pt x="1111759" y="203594"/>
                  </a:lnTo>
                  <a:lnTo>
                    <a:pt x="1111759" y="204292"/>
                  </a:lnTo>
                  <a:lnTo>
                    <a:pt x="1111797" y="203594"/>
                  </a:lnTo>
                  <a:lnTo>
                    <a:pt x="1111797" y="204990"/>
                  </a:lnTo>
                  <a:lnTo>
                    <a:pt x="1111797" y="204292"/>
                  </a:lnTo>
                  <a:lnTo>
                    <a:pt x="1111797" y="204990"/>
                  </a:lnTo>
                  <a:lnTo>
                    <a:pt x="1111797" y="204292"/>
                  </a:lnTo>
                  <a:lnTo>
                    <a:pt x="1111797" y="204990"/>
                  </a:lnTo>
                  <a:lnTo>
                    <a:pt x="1111797" y="204292"/>
                  </a:lnTo>
                  <a:lnTo>
                    <a:pt x="1111898" y="204292"/>
                  </a:lnTo>
                  <a:lnTo>
                    <a:pt x="1111898" y="204990"/>
                  </a:lnTo>
                  <a:lnTo>
                    <a:pt x="1111898" y="204292"/>
                  </a:lnTo>
                  <a:lnTo>
                    <a:pt x="1111898" y="204990"/>
                  </a:lnTo>
                  <a:lnTo>
                    <a:pt x="1111898" y="204292"/>
                  </a:lnTo>
                  <a:lnTo>
                    <a:pt x="1111898" y="204990"/>
                  </a:lnTo>
                  <a:lnTo>
                    <a:pt x="1111898" y="204292"/>
                  </a:lnTo>
                  <a:lnTo>
                    <a:pt x="1111949" y="204990"/>
                  </a:lnTo>
                  <a:lnTo>
                    <a:pt x="1111949" y="206324"/>
                  </a:lnTo>
                  <a:lnTo>
                    <a:pt x="1111949" y="204990"/>
                  </a:lnTo>
                  <a:lnTo>
                    <a:pt x="1111949" y="206324"/>
                  </a:lnTo>
                  <a:lnTo>
                    <a:pt x="1111949" y="204292"/>
                  </a:lnTo>
                  <a:lnTo>
                    <a:pt x="1112000" y="204990"/>
                  </a:lnTo>
                  <a:lnTo>
                    <a:pt x="1112000" y="204292"/>
                  </a:lnTo>
                  <a:lnTo>
                    <a:pt x="1112000" y="204990"/>
                  </a:lnTo>
                  <a:lnTo>
                    <a:pt x="1112000" y="204292"/>
                  </a:lnTo>
                  <a:lnTo>
                    <a:pt x="1112000" y="204990"/>
                  </a:lnTo>
                  <a:lnTo>
                    <a:pt x="1112000" y="203594"/>
                  </a:lnTo>
                  <a:lnTo>
                    <a:pt x="1112101" y="203594"/>
                  </a:lnTo>
                  <a:lnTo>
                    <a:pt x="1112101" y="202959"/>
                  </a:lnTo>
                  <a:lnTo>
                    <a:pt x="1112101" y="203594"/>
                  </a:lnTo>
                  <a:lnTo>
                    <a:pt x="1112101" y="202959"/>
                  </a:lnTo>
                  <a:lnTo>
                    <a:pt x="1112101" y="203594"/>
                  </a:lnTo>
                  <a:lnTo>
                    <a:pt x="1112101" y="200876"/>
                  </a:lnTo>
                  <a:lnTo>
                    <a:pt x="1112152" y="200876"/>
                  </a:lnTo>
                  <a:lnTo>
                    <a:pt x="1112152" y="203594"/>
                  </a:lnTo>
                  <a:lnTo>
                    <a:pt x="1112152" y="202260"/>
                  </a:lnTo>
                  <a:lnTo>
                    <a:pt x="1112152" y="202959"/>
                  </a:lnTo>
                  <a:lnTo>
                    <a:pt x="1112203" y="202959"/>
                  </a:lnTo>
                  <a:lnTo>
                    <a:pt x="1112203" y="204990"/>
                  </a:lnTo>
                  <a:lnTo>
                    <a:pt x="1112203" y="202959"/>
                  </a:lnTo>
                  <a:lnTo>
                    <a:pt x="1112203" y="204292"/>
                  </a:lnTo>
                  <a:lnTo>
                    <a:pt x="1112254" y="204292"/>
                  </a:lnTo>
                  <a:lnTo>
                    <a:pt x="1112254" y="204990"/>
                  </a:lnTo>
                  <a:lnTo>
                    <a:pt x="1112254" y="203594"/>
                  </a:lnTo>
                  <a:lnTo>
                    <a:pt x="1112254" y="204292"/>
                  </a:lnTo>
                  <a:lnTo>
                    <a:pt x="1112343" y="204292"/>
                  </a:lnTo>
                  <a:lnTo>
                    <a:pt x="1112343" y="203594"/>
                  </a:lnTo>
                  <a:lnTo>
                    <a:pt x="1112343" y="204990"/>
                  </a:lnTo>
                  <a:lnTo>
                    <a:pt x="1112394" y="204990"/>
                  </a:lnTo>
                  <a:lnTo>
                    <a:pt x="1112394" y="204292"/>
                  </a:lnTo>
                  <a:lnTo>
                    <a:pt x="1112394" y="204990"/>
                  </a:lnTo>
                  <a:lnTo>
                    <a:pt x="1112394" y="204292"/>
                  </a:lnTo>
                  <a:lnTo>
                    <a:pt x="1112394" y="204990"/>
                  </a:lnTo>
                  <a:lnTo>
                    <a:pt x="1112444" y="204990"/>
                  </a:lnTo>
                  <a:lnTo>
                    <a:pt x="1112444" y="204292"/>
                  </a:lnTo>
                  <a:lnTo>
                    <a:pt x="1112444" y="204990"/>
                  </a:lnTo>
                  <a:lnTo>
                    <a:pt x="1112444" y="204292"/>
                  </a:lnTo>
                  <a:lnTo>
                    <a:pt x="1112444" y="204990"/>
                  </a:lnTo>
                  <a:lnTo>
                    <a:pt x="1112444" y="204292"/>
                  </a:lnTo>
                  <a:lnTo>
                    <a:pt x="1112495" y="204292"/>
                  </a:lnTo>
                  <a:lnTo>
                    <a:pt x="1112495" y="203594"/>
                  </a:lnTo>
                  <a:lnTo>
                    <a:pt x="1112495" y="204292"/>
                  </a:lnTo>
                  <a:lnTo>
                    <a:pt x="1112495" y="203594"/>
                  </a:lnTo>
                  <a:lnTo>
                    <a:pt x="1112495" y="204292"/>
                  </a:lnTo>
                  <a:lnTo>
                    <a:pt x="1112495" y="203594"/>
                  </a:lnTo>
                  <a:lnTo>
                    <a:pt x="1112597" y="203594"/>
                  </a:lnTo>
                  <a:lnTo>
                    <a:pt x="1112597" y="202260"/>
                  </a:lnTo>
                  <a:lnTo>
                    <a:pt x="1112597" y="202959"/>
                  </a:lnTo>
                  <a:lnTo>
                    <a:pt x="1112597" y="200876"/>
                  </a:lnTo>
                  <a:lnTo>
                    <a:pt x="1112647" y="200876"/>
                  </a:lnTo>
                  <a:lnTo>
                    <a:pt x="1112647" y="203594"/>
                  </a:lnTo>
                  <a:lnTo>
                    <a:pt x="1112647" y="200228"/>
                  </a:lnTo>
                  <a:lnTo>
                    <a:pt x="1112647" y="202260"/>
                  </a:lnTo>
                  <a:lnTo>
                    <a:pt x="1112698" y="202959"/>
                  </a:lnTo>
                  <a:lnTo>
                    <a:pt x="1112698" y="204292"/>
                  </a:lnTo>
                  <a:lnTo>
                    <a:pt x="1112698" y="202260"/>
                  </a:lnTo>
                  <a:lnTo>
                    <a:pt x="1112698" y="202959"/>
                  </a:lnTo>
                  <a:lnTo>
                    <a:pt x="1112800" y="202959"/>
                  </a:lnTo>
                  <a:lnTo>
                    <a:pt x="1112800" y="203594"/>
                  </a:lnTo>
                  <a:lnTo>
                    <a:pt x="1112800" y="202959"/>
                  </a:lnTo>
                  <a:lnTo>
                    <a:pt x="1112800" y="203594"/>
                  </a:lnTo>
                  <a:lnTo>
                    <a:pt x="1112800" y="202959"/>
                  </a:lnTo>
                  <a:lnTo>
                    <a:pt x="1112800" y="203594"/>
                  </a:lnTo>
                  <a:lnTo>
                    <a:pt x="1112800" y="202959"/>
                  </a:lnTo>
                  <a:lnTo>
                    <a:pt x="1112800" y="203594"/>
                  </a:lnTo>
                  <a:lnTo>
                    <a:pt x="1112838" y="203594"/>
                  </a:lnTo>
                  <a:lnTo>
                    <a:pt x="1112838" y="204292"/>
                  </a:lnTo>
                  <a:lnTo>
                    <a:pt x="1112838" y="203594"/>
                  </a:lnTo>
                  <a:lnTo>
                    <a:pt x="1112838" y="204292"/>
                  </a:lnTo>
                  <a:lnTo>
                    <a:pt x="1112838" y="203594"/>
                  </a:lnTo>
                  <a:lnTo>
                    <a:pt x="1112838" y="204292"/>
                  </a:lnTo>
                  <a:lnTo>
                    <a:pt x="1112889" y="203594"/>
                  </a:lnTo>
                  <a:lnTo>
                    <a:pt x="1112889" y="204292"/>
                  </a:lnTo>
                  <a:lnTo>
                    <a:pt x="1112889" y="203594"/>
                  </a:lnTo>
                  <a:lnTo>
                    <a:pt x="1112889" y="204990"/>
                  </a:lnTo>
                  <a:lnTo>
                    <a:pt x="1112889" y="204292"/>
                  </a:lnTo>
                  <a:lnTo>
                    <a:pt x="1112889" y="204990"/>
                  </a:lnTo>
                  <a:lnTo>
                    <a:pt x="1112940" y="204990"/>
                  </a:lnTo>
                  <a:lnTo>
                    <a:pt x="1112940" y="204292"/>
                  </a:lnTo>
                  <a:lnTo>
                    <a:pt x="1112940" y="204990"/>
                  </a:lnTo>
                  <a:lnTo>
                    <a:pt x="1112940" y="204292"/>
                  </a:lnTo>
                  <a:lnTo>
                    <a:pt x="1113041" y="204292"/>
                  </a:lnTo>
                  <a:lnTo>
                    <a:pt x="1113041" y="203594"/>
                  </a:lnTo>
                  <a:lnTo>
                    <a:pt x="1113041" y="204292"/>
                  </a:lnTo>
                  <a:lnTo>
                    <a:pt x="1113041" y="203594"/>
                  </a:lnTo>
                  <a:lnTo>
                    <a:pt x="1113041" y="204292"/>
                  </a:lnTo>
                  <a:lnTo>
                    <a:pt x="1113041" y="202959"/>
                  </a:lnTo>
                  <a:lnTo>
                    <a:pt x="1113041" y="203594"/>
                  </a:lnTo>
                  <a:lnTo>
                    <a:pt x="1113041" y="202959"/>
                  </a:lnTo>
                  <a:lnTo>
                    <a:pt x="1113041" y="203594"/>
                  </a:lnTo>
                  <a:lnTo>
                    <a:pt x="1113092" y="202959"/>
                  </a:lnTo>
                  <a:lnTo>
                    <a:pt x="1113092" y="200876"/>
                  </a:lnTo>
                  <a:lnTo>
                    <a:pt x="1113143" y="202260"/>
                  </a:lnTo>
                  <a:lnTo>
                    <a:pt x="1113143" y="199530"/>
                  </a:lnTo>
                  <a:lnTo>
                    <a:pt x="1113143" y="202959"/>
                  </a:lnTo>
                  <a:lnTo>
                    <a:pt x="1113244" y="202959"/>
                  </a:lnTo>
                  <a:lnTo>
                    <a:pt x="1113244" y="203594"/>
                  </a:lnTo>
                  <a:lnTo>
                    <a:pt x="1113244" y="200876"/>
                  </a:lnTo>
                  <a:lnTo>
                    <a:pt x="1113244" y="202959"/>
                  </a:lnTo>
                  <a:lnTo>
                    <a:pt x="1113295" y="202959"/>
                  </a:lnTo>
                  <a:lnTo>
                    <a:pt x="1113295" y="202260"/>
                  </a:lnTo>
                  <a:lnTo>
                    <a:pt x="1113295" y="202959"/>
                  </a:lnTo>
                  <a:lnTo>
                    <a:pt x="1113346" y="202959"/>
                  </a:lnTo>
                  <a:lnTo>
                    <a:pt x="1113346" y="202260"/>
                  </a:lnTo>
                  <a:lnTo>
                    <a:pt x="1113346" y="202959"/>
                  </a:lnTo>
                  <a:lnTo>
                    <a:pt x="1113346" y="202260"/>
                  </a:lnTo>
                  <a:lnTo>
                    <a:pt x="1113346" y="203594"/>
                  </a:lnTo>
                  <a:lnTo>
                    <a:pt x="1113346" y="202959"/>
                  </a:lnTo>
                  <a:lnTo>
                    <a:pt x="1113346" y="203594"/>
                  </a:lnTo>
                  <a:lnTo>
                    <a:pt x="1113346" y="202959"/>
                  </a:lnTo>
                  <a:lnTo>
                    <a:pt x="1113384" y="202959"/>
                  </a:lnTo>
                  <a:lnTo>
                    <a:pt x="1113384" y="203594"/>
                  </a:lnTo>
                  <a:lnTo>
                    <a:pt x="1113384" y="202959"/>
                  </a:lnTo>
                  <a:lnTo>
                    <a:pt x="1113384" y="203594"/>
                  </a:lnTo>
                  <a:lnTo>
                    <a:pt x="1113486" y="203594"/>
                  </a:lnTo>
                  <a:lnTo>
                    <a:pt x="1113486" y="202959"/>
                  </a:lnTo>
                  <a:lnTo>
                    <a:pt x="1113486" y="203594"/>
                  </a:lnTo>
                  <a:lnTo>
                    <a:pt x="1113537" y="203594"/>
                  </a:lnTo>
                  <a:lnTo>
                    <a:pt x="1113537" y="202959"/>
                  </a:lnTo>
                  <a:lnTo>
                    <a:pt x="1113537" y="203594"/>
                  </a:lnTo>
                  <a:lnTo>
                    <a:pt x="1113537" y="202959"/>
                  </a:lnTo>
                  <a:lnTo>
                    <a:pt x="1113537" y="203594"/>
                  </a:lnTo>
                  <a:lnTo>
                    <a:pt x="1113537" y="202260"/>
                  </a:lnTo>
                  <a:lnTo>
                    <a:pt x="1113587" y="202260"/>
                  </a:lnTo>
                  <a:lnTo>
                    <a:pt x="1113587" y="200876"/>
                  </a:lnTo>
                  <a:lnTo>
                    <a:pt x="1113587" y="202959"/>
                  </a:lnTo>
                  <a:lnTo>
                    <a:pt x="1113689" y="202959"/>
                  </a:lnTo>
                  <a:lnTo>
                    <a:pt x="1113689" y="200876"/>
                  </a:lnTo>
                  <a:lnTo>
                    <a:pt x="1113689" y="204292"/>
                  </a:lnTo>
                  <a:lnTo>
                    <a:pt x="1113689" y="203594"/>
                  </a:lnTo>
                  <a:lnTo>
                    <a:pt x="1113740" y="203594"/>
                  </a:lnTo>
                  <a:lnTo>
                    <a:pt x="1113740" y="202260"/>
                  </a:lnTo>
                  <a:lnTo>
                    <a:pt x="1113740" y="203594"/>
                  </a:lnTo>
                  <a:lnTo>
                    <a:pt x="1113740" y="202959"/>
                  </a:lnTo>
                  <a:lnTo>
                    <a:pt x="1113790" y="202959"/>
                  </a:lnTo>
                  <a:lnTo>
                    <a:pt x="1113790" y="203594"/>
                  </a:lnTo>
                  <a:lnTo>
                    <a:pt x="1113790" y="202959"/>
                  </a:lnTo>
                  <a:lnTo>
                    <a:pt x="1113790" y="203594"/>
                  </a:lnTo>
                  <a:lnTo>
                    <a:pt x="1113790" y="202959"/>
                  </a:lnTo>
                  <a:lnTo>
                    <a:pt x="1113790" y="203594"/>
                  </a:lnTo>
                  <a:lnTo>
                    <a:pt x="1113841" y="202959"/>
                  </a:lnTo>
                  <a:lnTo>
                    <a:pt x="1113841" y="203594"/>
                  </a:lnTo>
                  <a:lnTo>
                    <a:pt x="1113841" y="202959"/>
                  </a:lnTo>
                  <a:lnTo>
                    <a:pt x="1113841" y="203594"/>
                  </a:lnTo>
                  <a:lnTo>
                    <a:pt x="1113930" y="203594"/>
                  </a:lnTo>
                  <a:lnTo>
                    <a:pt x="1113930" y="204292"/>
                  </a:lnTo>
                  <a:lnTo>
                    <a:pt x="1113930" y="203594"/>
                  </a:lnTo>
                  <a:lnTo>
                    <a:pt x="1113930" y="204292"/>
                  </a:lnTo>
                  <a:lnTo>
                    <a:pt x="1113981" y="204292"/>
                  </a:lnTo>
                  <a:lnTo>
                    <a:pt x="1113981" y="203594"/>
                  </a:lnTo>
                  <a:lnTo>
                    <a:pt x="1113981" y="204292"/>
                  </a:lnTo>
                  <a:lnTo>
                    <a:pt x="1113981" y="202959"/>
                  </a:lnTo>
                  <a:lnTo>
                    <a:pt x="1113981" y="203594"/>
                  </a:lnTo>
                  <a:lnTo>
                    <a:pt x="1114032" y="203594"/>
                  </a:lnTo>
                  <a:lnTo>
                    <a:pt x="1114032" y="204292"/>
                  </a:lnTo>
                  <a:lnTo>
                    <a:pt x="1114032" y="202959"/>
                  </a:lnTo>
                  <a:lnTo>
                    <a:pt x="1114032" y="203594"/>
                  </a:lnTo>
                  <a:lnTo>
                    <a:pt x="1114032" y="202959"/>
                  </a:lnTo>
                  <a:lnTo>
                    <a:pt x="1114083" y="202959"/>
                  </a:lnTo>
                  <a:lnTo>
                    <a:pt x="1114083" y="200876"/>
                  </a:lnTo>
                  <a:lnTo>
                    <a:pt x="1114083" y="203594"/>
                  </a:lnTo>
                  <a:lnTo>
                    <a:pt x="1114083" y="202959"/>
                  </a:lnTo>
                  <a:lnTo>
                    <a:pt x="1114184" y="202959"/>
                  </a:lnTo>
                  <a:lnTo>
                    <a:pt x="1114184" y="200876"/>
                  </a:lnTo>
                  <a:lnTo>
                    <a:pt x="1114184" y="204292"/>
                  </a:lnTo>
                  <a:lnTo>
                    <a:pt x="1114184" y="202959"/>
                  </a:lnTo>
                  <a:lnTo>
                    <a:pt x="1114235" y="202959"/>
                  </a:lnTo>
                  <a:lnTo>
                    <a:pt x="1114235" y="204292"/>
                  </a:lnTo>
                  <a:lnTo>
                    <a:pt x="1114235" y="203594"/>
                  </a:lnTo>
                  <a:lnTo>
                    <a:pt x="1114286" y="203594"/>
                  </a:lnTo>
                  <a:lnTo>
                    <a:pt x="1114286" y="204292"/>
                  </a:lnTo>
                  <a:lnTo>
                    <a:pt x="1114286" y="203594"/>
                  </a:lnTo>
                  <a:lnTo>
                    <a:pt x="1114286" y="204292"/>
                  </a:lnTo>
                  <a:lnTo>
                    <a:pt x="1114387" y="204292"/>
                  </a:lnTo>
                  <a:lnTo>
                    <a:pt x="1114387" y="203594"/>
                  </a:lnTo>
                  <a:lnTo>
                    <a:pt x="1114387" y="204292"/>
                  </a:lnTo>
                  <a:lnTo>
                    <a:pt x="1114387" y="203594"/>
                  </a:lnTo>
                  <a:lnTo>
                    <a:pt x="1114387" y="204292"/>
                  </a:lnTo>
                  <a:lnTo>
                    <a:pt x="1114387" y="203594"/>
                  </a:lnTo>
                  <a:lnTo>
                    <a:pt x="1114476" y="203594"/>
                  </a:lnTo>
                  <a:lnTo>
                    <a:pt x="1114476" y="202959"/>
                  </a:lnTo>
                  <a:lnTo>
                    <a:pt x="1114476" y="203594"/>
                  </a:lnTo>
                  <a:lnTo>
                    <a:pt x="1114476" y="202260"/>
                  </a:lnTo>
                  <a:lnTo>
                    <a:pt x="1114527" y="202260"/>
                  </a:lnTo>
                  <a:lnTo>
                    <a:pt x="1114527" y="200876"/>
                  </a:lnTo>
                  <a:lnTo>
                    <a:pt x="1114527" y="202260"/>
                  </a:lnTo>
                  <a:lnTo>
                    <a:pt x="1114527" y="200228"/>
                  </a:lnTo>
                  <a:lnTo>
                    <a:pt x="1114629" y="200228"/>
                  </a:lnTo>
                  <a:lnTo>
                    <a:pt x="1114629" y="202959"/>
                  </a:lnTo>
                  <a:lnTo>
                    <a:pt x="1114629" y="200228"/>
                  </a:lnTo>
                  <a:lnTo>
                    <a:pt x="1114680" y="200228"/>
                  </a:lnTo>
                  <a:lnTo>
                    <a:pt x="1114680" y="203594"/>
                  </a:lnTo>
                  <a:lnTo>
                    <a:pt x="1114680" y="202260"/>
                  </a:lnTo>
                  <a:lnTo>
                    <a:pt x="1114730" y="202260"/>
                  </a:lnTo>
                  <a:lnTo>
                    <a:pt x="1114730" y="203594"/>
                  </a:lnTo>
                  <a:lnTo>
                    <a:pt x="1114730" y="202959"/>
                  </a:lnTo>
                  <a:lnTo>
                    <a:pt x="1114832" y="202959"/>
                  </a:lnTo>
                  <a:lnTo>
                    <a:pt x="1114832" y="203594"/>
                  </a:lnTo>
                  <a:lnTo>
                    <a:pt x="1114832" y="202959"/>
                  </a:lnTo>
                  <a:lnTo>
                    <a:pt x="1114832" y="203594"/>
                  </a:lnTo>
                  <a:lnTo>
                    <a:pt x="1114832" y="202959"/>
                  </a:lnTo>
                  <a:lnTo>
                    <a:pt x="1114883" y="203594"/>
                  </a:lnTo>
                  <a:lnTo>
                    <a:pt x="1114883" y="204292"/>
                  </a:lnTo>
                  <a:lnTo>
                    <a:pt x="1114883" y="203594"/>
                  </a:lnTo>
                  <a:lnTo>
                    <a:pt x="1114934" y="204292"/>
                  </a:lnTo>
                  <a:lnTo>
                    <a:pt x="1114934" y="203594"/>
                  </a:lnTo>
                  <a:lnTo>
                    <a:pt x="1114934" y="204292"/>
                  </a:lnTo>
                  <a:lnTo>
                    <a:pt x="1114934" y="203594"/>
                  </a:lnTo>
                  <a:lnTo>
                    <a:pt x="1114934" y="204292"/>
                  </a:lnTo>
                  <a:lnTo>
                    <a:pt x="1114934" y="203594"/>
                  </a:lnTo>
                  <a:lnTo>
                    <a:pt x="1114934" y="204292"/>
                  </a:lnTo>
                  <a:lnTo>
                    <a:pt x="1114934" y="203594"/>
                  </a:lnTo>
                  <a:lnTo>
                    <a:pt x="1114972" y="203594"/>
                  </a:lnTo>
                  <a:lnTo>
                    <a:pt x="1114972" y="202959"/>
                  </a:lnTo>
                  <a:lnTo>
                    <a:pt x="1114972" y="203594"/>
                  </a:lnTo>
                  <a:lnTo>
                    <a:pt x="1114972" y="202260"/>
                  </a:lnTo>
                  <a:lnTo>
                    <a:pt x="1114972" y="202959"/>
                  </a:lnTo>
                  <a:lnTo>
                    <a:pt x="1115073" y="202959"/>
                  </a:lnTo>
                  <a:lnTo>
                    <a:pt x="1115073" y="199530"/>
                  </a:lnTo>
                  <a:lnTo>
                    <a:pt x="1115124" y="199530"/>
                  </a:lnTo>
                  <a:lnTo>
                    <a:pt x="1115124" y="202260"/>
                  </a:lnTo>
                  <a:lnTo>
                    <a:pt x="1115124" y="200228"/>
                  </a:lnTo>
                  <a:lnTo>
                    <a:pt x="1115175" y="200876"/>
                  </a:lnTo>
                  <a:lnTo>
                    <a:pt x="1115175" y="202959"/>
                  </a:lnTo>
                  <a:lnTo>
                    <a:pt x="1115175" y="202260"/>
                  </a:lnTo>
                  <a:lnTo>
                    <a:pt x="1115276" y="202959"/>
                  </a:lnTo>
                  <a:lnTo>
                    <a:pt x="1115276" y="203594"/>
                  </a:lnTo>
                  <a:lnTo>
                    <a:pt x="1115276" y="202260"/>
                  </a:lnTo>
                  <a:lnTo>
                    <a:pt x="1115276" y="203594"/>
                  </a:lnTo>
                  <a:lnTo>
                    <a:pt x="1115276" y="202959"/>
                  </a:lnTo>
                  <a:lnTo>
                    <a:pt x="1115327" y="202959"/>
                  </a:lnTo>
                  <a:lnTo>
                    <a:pt x="1115327" y="203594"/>
                  </a:lnTo>
                  <a:lnTo>
                    <a:pt x="1115327" y="202959"/>
                  </a:lnTo>
                  <a:lnTo>
                    <a:pt x="1115327" y="203594"/>
                  </a:lnTo>
                  <a:lnTo>
                    <a:pt x="1115327" y="202959"/>
                  </a:lnTo>
                  <a:lnTo>
                    <a:pt x="1115327" y="204292"/>
                  </a:lnTo>
                  <a:lnTo>
                    <a:pt x="1115327" y="203594"/>
                  </a:lnTo>
                  <a:lnTo>
                    <a:pt x="1115378" y="203594"/>
                  </a:lnTo>
                  <a:lnTo>
                    <a:pt x="1115378" y="202959"/>
                  </a:lnTo>
                  <a:lnTo>
                    <a:pt x="1115378" y="203594"/>
                  </a:lnTo>
                  <a:lnTo>
                    <a:pt x="1115378" y="202959"/>
                  </a:lnTo>
                  <a:lnTo>
                    <a:pt x="1115378" y="203594"/>
                  </a:lnTo>
                  <a:lnTo>
                    <a:pt x="1115378" y="202959"/>
                  </a:lnTo>
                  <a:lnTo>
                    <a:pt x="1115378" y="204292"/>
                  </a:lnTo>
                  <a:lnTo>
                    <a:pt x="1115429" y="203594"/>
                  </a:lnTo>
                  <a:lnTo>
                    <a:pt x="1115429" y="204292"/>
                  </a:lnTo>
                  <a:lnTo>
                    <a:pt x="1115429" y="203594"/>
                  </a:lnTo>
                  <a:lnTo>
                    <a:pt x="1115518" y="202959"/>
                  </a:lnTo>
                  <a:lnTo>
                    <a:pt x="1115518" y="202260"/>
                  </a:lnTo>
                  <a:lnTo>
                    <a:pt x="1115569" y="202260"/>
                  </a:lnTo>
                  <a:lnTo>
                    <a:pt x="1115569" y="199530"/>
                  </a:lnTo>
                  <a:lnTo>
                    <a:pt x="1115619" y="199530"/>
                  </a:lnTo>
                  <a:lnTo>
                    <a:pt x="1115619" y="200876"/>
                  </a:lnTo>
                  <a:lnTo>
                    <a:pt x="1115619" y="199530"/>
                  </a:lnTo>
                  <a:lnTo>
                    <a:pt x="1115670" y="200228"/>
                  </a:lnTo>
                  <a:lnTo>
                    <a:pt x="1115670" y="202260"/>
                  </a:lnTo>
                  <a:lnTo>
                    <a:pt x="1115670" y="200876"/>
                  </a:lnTo>
                  <a:lnTo>
                    <a:pt x="1115670" y="202260"/>
                  </a:lnTo>
                  <a:lnTo>
                    <a:pt x="1115670" y="200876"/>
                  </a:lnTo>
                  <a:lnTo>
                    <a:pt x="1115772" y="200876"/>
                  </a:lnTo>
                  <a:lnTo>
                    <a:pt x="1115772" y="202959"/>
                  </a:lnTo>
                  <a:lnTo>
                    <a:pt x="1115772" y="200876"/>
                  </a:lnTo>
                  <a:lnTo>
                    <a:pt x="1115772" y="202260"/>
                  </a:lnTo>
                  <a:lnTo>
                    <a:pt x="1115822" y="202260"/>
                  </a:lnTo>
                  <a:lnTo>
                    <a:pt x="1115822" y="202959"/>
                  </a:lnTo>
                  <a:lnTo>
                    <a:pt x="1115822" y="202260"/>
                  </a:lnTo>
                  <a:lnTo>
                    <a:pt x="1115822" y="203594"/>
                  </a:lnTo>
                  <a:lnTo>
                    <a:pt x="1115822" y="202959"/>
                  </a:lnTo>
                  <a:lnTo>
                    <a:pt x="1115822" y="203594"/>
                  </a:lnTo>
                  <a:lnTo>
                    <a:pt x="1115873" y="203594"/>
                  </a:lnTo>
                  <a:lnTo>
                    <a:pt x="1115873" y="202959"/>
                  </a:lnTo>
                  <a:lnTo>
                    <a:pt x="1115873" y="203594"/>
                  </a:lnTo>
                  <a:lnTo>
                    <a:pt x="1115873" y="202959"/>
                  </a:lnTo>
                  <a:lnTo>
                    <a:pt x="1115873" y="204292"/>
                  </a:lnTo>
                  <a:lnTo>
                    <a:pt x="1115873" y="203594"/>
                  </a:lnTo>
                  <a:lnTo>
                    <a:pt x="1115975" y="203594"/>
                  </a:lnTo>
                  <a:lnTo>
                    <a:pt x="1115975" y="204292"/>
                  </a:lnTo>
                  <a:lnTo>
                    <a:pt x="1115975" y="203594"/>
                  </a:lnTo>
                  <a:lnTo>
                    <a:pt x="1115975" y="204292"/>
                  </a:lnTo>
                  <a:lnTo>
                    <a:pt x="1115975" y="203594"/>
                  </a:lnTo>
                  <a:lnTo>
                    <a:pt x="1115975" y="204292"/>
                  </a:lnTo>
                  <a:lnTo>
                    <a:pt x="1115975" y="203594"/>
                  </a:lnTo>
                  <a:lnTo>
                    <a:pt x="1116013" y="202959"/>
                  </a:lnTo>
                  <a:lnTo>
                    <a:pt x="1116013" y="203594"/>
                  </a:lnTo>
                  <a:lnTo>
                    <a:pt x="1116013" y="202260"/>
                  </a:lnTo>
                  <a:lnTo>
                    <a:pt x="1116013" y="202959"/>
                  </a:lnTo>
                  <a:lnTo>
                    <a:pt x="1116064" y="202959"/>
                  </a:lnTo>
                  <a:lnTo>
                    <a:pt x="1116064" y="200876"/>
                  </a:lnTo>
                  <a:lnTo>
                    <a:pt x="1116064" y="202260"/>
                  </a:lnTo>
                  <a:lnTo>
                    <a:pt x="1116064" y="200876"/>
                  </a:lnTo>
                  <a:lnTo>
                    <a:pt x="1116064" y="202260"/>
                  </a:lnTo>
                  <a:lnTo>
                    <a:pt x="1116064" y="200228"/>
                  </a:lnTo>
                  <a:lnTo>
                    <a:pt x="1116115" y="200228"/>
                  </a:lnTo>
                  <a:lnTo>
                    <a:pt x="1116115" y="200876"/>
                  </a:lnTo>
                  <a:lnTo>
                    <a:pt x="1116115" y="199530"/>
                  </a:lnTo>
                  <a:lnTo>
                    <a:pt x="1116115" y="200876"/>
                  </a:lnTo>
                  <a:lnTo>
                    <a:pt x="1116216" y="202260"/>
                  </a:lnTo>
                  <a:lnTo>
                    <a:pt x="1116216" y="200876"/>
                  </a:lnTo>
                  <a:lnTo>
                    <a:pt x="1116216" y="202260"/>
                  </a:lnTo>
                  <a:lnTo>
                    <a:pt x="1116267" y="202260"/>
                  </a:lnTo>
                  <a:lnTo>
                    <a:pt x="1116267" y="200876"/>
                  </a:lnTo>
                  <a:lnTo>
                    <a:pt x="1116267" y="202260"/>
                  </a:lnTo>
                  <a:lnTo>
                    <a:pt x="1116318" y="202260"/>
                  </a:lnTo>
                  <a:lnTo>
                    <a:pt x="1116318" y="200876"/>
                  </a:lnTo>
                  <a:lnTo>
                    <a:pt x="1116318" y="202260"/>
                  </a:lnTo>
                  <a:lnTo>
                    <a:pt x="1116318" y="200876"/>
                  </a:lnTo>
                  <a:lnTo>
                    <a:pt x="1116318" y="202959"/>
                  </a:lnTo>
                  <a:lnTo>
                    <a:pt x="1116419" y="202959"/>
                  </a:lnTo>
                  <a:lnTo>
                    <a:pt x="1116419" y="202260"/>
                  </a:lnTo>
                  <a:lnTo>
                    <a:pt x="1116419" y="202959"/>
                  </a:lnTo>
                  <a:lnTo>
                    <a:pt x="1116419" y="202260"/>
                  </a:lnTo>
                  <a:lnTo>
                    <a:pt x="1116419" y="202959"/>
                  </a:lnTo>
                  <a:lnTo>
                    <a:pt x="1116470" y="202959"/>
                  </a:lnTo>
                  <a:lnTo>
                    <a:pt x="1116470" y="202260"/>
                  </a:lnTo>
                  <a:lnTo>
                    <a:pt x="1116470" y="202959"/>
                  </a:lnTo>
                  <a:lnTo>
                    <a:pt x="1116521" y="202959"/>
                  </a:lnTo>
                  <a:lnTo>
                    <a:pt x="1116521" y="202260"/>
                  </a:lnTo>
                  <a:lnTo>
                    <a:pt x="1116521" y="202959"/>
                  </a:lnTo>
                  <a:lnTo>
                    <a:pt x="1116521" y="202260"/>
                  </a:lnTo>
                  <a:lnTo>
                    <a:pt x="1116559" y="202260"/>
                  </a:lnTo>
                  <a:lnTo>
                    <a:pt x="1116559" y="200876"/>
                  </a:lnTo>
                  <a:lnTo>
                    <a:pt x="1116559" y="202959"/>
                  </a:lnTo>
                  <a:lnTo>
                    <a:pt x="1116661" y="202959"/>
                  </a:lnTo>
                  <a:lnTo>
                    <a:pt x="1116661" y="200876"/>
                  </a:lnTo>
                  <a:lnTo>
                    <a:pt x="1116661" y="204292"/>
                  </a:lnTo>
                  <a:lnTo>
                    <a:pt x="1116661" y="203594"/>
                  </a:lnTo>
                  <a:lnTo>
                    <a:pt x="1116712" y="203594"/>
                  </a:lnTo>
                  <a:lnTo>
                    <a:pt x="1116712" y="202260"/>
                  </a:lnTo>
                  <a:lnTo>
                    <a:pt x="1116712" y="204292"/>
                  </a:lnTo>
                  <a:lnTo>
                    <a:pt x="1116712" y="202959"/>
                  </a:lnTo>
                  <a:lnTo>
                    <a:pt x="1116762" y="202959"/>
                  </a:lnTo>
                  <a:lnTo>
                    <a:pt x="1116762" y="203594"/>
                  </a:lnTo>
                  <a:lnTo>
                    <a:pt x="1116762" y="202959"/>
                  </a:lnTo>
                  <a:lnTo>
                    <a:pt x="1116762" y="203594"/>
                  </a:lnTo>
                  <a:lnTo>
                    <a:pt x="1116762" y="202959"/>
                  </a:lnTo>
                  <a:lnTo>
                    <a:pt x="1116762" y="204292"/>
                  </a:lnTo>
                  <a:lnTo>
                    <a:pt x="1116762" y="203594"/>
                  </a:lnTo>
                  <a:lnTo>
                    <a:pt x="1116864" y="203594"/>
                  </a:lnTo>
                  <a:lnTo>
                    <a:pt x="1116864" y="202959"/>
                  </a:lnTo>
                  <a:lnTo>
                    <a:pt x="1116864" y="204292"/>
                  </a:lnTo>
                  <a:lnTo>
                    <a:pt x="1116864" y="203594"/>
                  </a:lnTo>
                  <a:lnTo>
                    <a:pt x="1116965" y="203594"/>
                  </a:lnTo>
                  <a:lnTo>
                    <a:pt x="1116965" y="202959"/>
                  </a:lnTo>
                  <a:lnTo>
                    <a:pt x="1117016" y="202959"/>
                  </a:lnTo>
                  <a:lnTo>
                    <a:pt x="1117016" y="200876"/>
                  </a:lnTo>
                  <a:lnTo>
                    <a:pt x="1117105" y="200876"/>
                  </a:lnTo>
                  <a:lnTo>
                    <a:pt x="1117105" y="200228"/>
                  </a:lnTo>
                  <a:lnTo>
                    <a:pt x="1117105" y="203594"/>
                  </a:lnTo>
                  <a:lnTo>
                    <a:pt x="1117105" y="202260"/>
                  </a:lnTo>
                  <a:lnTo>
                    <a:pt x="1117156" y="200876"/>
                  </a:lnTo>
                  <a:lnTo>
                    <a:pt x="1117156" y="204990"/>
                  </a:lnTo>
                  <a:lnTo>
                    <a:pt x="1117156" y="202959"/>
                  </a:lnTo>
                  <a:lnTo>
                    <a:pt x="1117156" y="203594"/>
                  </a:lnTo>
                  <a:lnTo>
                    <a:pt x="1117207" y="203594"/>
                  </a:lnTo>
                  <a:lnTo>
                    <a:pt x="1117207" y="204292"/>
                  </a:lnTo>
                  <a:lnTo>
                    <a:pt x="1117207" y="203594"/>
                  </a:lnTo>
                  <a:lnTo>
                    <a:pt x="1117207" y="204292"/>
                  </a:lnTo>
                  <a:lnTo>
                    <a:pt x="1117207" y="203594"/>
                  </a:lnTo>
                  <a:lnTo>
                    <a:pt x="1117258" y="203594"/>
                  </a:lnTo>
                  <a:lnTo>
                    <a:pt x="1117258" y="204990"/>
                  </a:lnTo>
                  <a:lnTo>
                    <a:pt x="1117258" y="204292"/>
                  </a:lnTo>
                  <a:lnTo>
                    <a:pt x="1117359" y="204292"/>
                  </a:lnTo>
                  <a:lnTo>
                    <a:pt x="1117359" y="203594"/>
                  </a:lnTo>
                  <a:lnTo>
                    <a:pt x="1117359" y="204292"/>
                  </a:lnTo>
                  <a:lnTo>
                    <a:pt x="1117359" y="203594"/>
                  </a:lnTo>
                  <a:lnTo>
                    <a:pt x="1117359" y="204292"/>
                  </a:lnTo>
                  <a:lnTo>
                    <a:pt x="1117359" y="203594"/>
                  </a:lnTo>
                  <a:lnTo>
                    <a:pt x="1117410" y="203594"/>
                  </a:lnTo>
                  <a:lnTo>
                    <a:pt x="1117410" y="204292"/>
                  </a:lnTo>
                  <a:lnTo>
                    <a:pt x="1117410" y="202959"/>
                  </a:lnTo>
                  <a:lnTo>
                    <a:pt x="1117410" y="203594"/>
                  </a:lnTo>
                  <a:lnTo>
                    <a:pt x="1117461" y="203594"/>
                  </a:lnTo>
                  <a:lnTo>
                    <a:pt x="1117461" y="202260"/>
                  </a:lnTo>
                  <a:lnTo>
                    <a:pt x="1117461" y="202959"/>
                  </a:lnTo>
                  <a:lnTo>
                    <a:pt x="1117461" y="202260"/>
                  </a:lnTo>
                  <a:lnTo>
                    <a:pt x="1117461" y="202959"/>
                  </a:lnTo>
                  <a:lnTo>
                    <a:pt x="1117461" y="202260"/>
                  </a:lnTo>
                  <a:lnTo>
                    <a:pt x="1117461" y="202959"/>
                  </a:lnTo>
                  <a:lnTo>
                    <a:pt x="1117461" y="202260"/>
                  </a:lnTo>
                  <a:lnTo>
                    <a:pt x="1117562" y="202260"/>
                  </a:lnTo>
                  <a:lnTo>
                    <a:pt x="1117562" y="200228"/>
                  </a:lnTo>
                  <a:lnTo>
                    <a:pt x="1117562" y="200876"/>
                  </a:lnTo>
                  <a:lnTo>
                    <a:pt x="1117562" y="200228"/>
                  </a:lnTo>
                  <a:lnTo>
                    <a:pt x="1117562" y="202260"/>
                  </a:lnTo>
                  <a:lnTo>
                    <a:pt x="1117600" y="202959"/>
                  </a:lnTo>
                  <a:lnTo>
                    <a:pt x="1117600" y="200228"/>
                  </a:lnTo>
                  <a:lnTo>
                    <a:pt x="1117600" y="204292"/>
                  </a:lnTo>
                  <a:lnTo>
                    <a:pt x="1117651" y="203594"/>
                  </a:lnTo>
                  <a:lnTo>
                    <a:pt x="1117651" y="202959"/>
                  </a:lnTo>
                  <a:lnTo>
                    <a:pt x="1117651" y="204292"/>
                  </a:lnTo>
                  <a:lnTo>
                    <a:pt x="1117702" y="204292"/>
                  </a:lnTo>
                  <a:lnTo>
                    <a:pt x="1117702" y="203594"/>
                  </a:lnTo>
                  <a:lnTo>
                    <a:pt x="1117702" y="204990"/>
                  </a:lnTo>
                  <a:lnTo>
                    <a:pt x="1117804" y="204990"/>
                  </a:lnTo>
                  <a:lnTo>
                    <a:pt x="1117804" y="203594"/>
                  </a:lnTo>
                  <a:lnTo>
                    <a:pt x="1117804" y="204990"/>
                  </a:lnTo>
                  <a:lnTo>
                    <a:pt x="1117855" y="204292"/>
                  </a:lnTo>
                  <a:lnTo>
                    <a:pt x="1117855" y="204990"/>
                  </a:lnTo>
                  <a:lnTo>
                    <a:pt x="1117855" y="204292"/>
                  </a:lnTo>
                  <a:lnTo>
                    <a:pt x="1117855" y="206324"/>
                  </a:lnTo>
                  <a:lnTo>
                    <a:pt x="1117855" y="204292"/>
                  </a:lnTo>
                  <a:lnTo>
                    <a:pt x="1117855" y="204990"/>
                  </a:lnTo>
                  <a:lnTo>
                    <a:pt x="1117905" y="204990"/>
                  </a:lnTo>
                  <a:lnTo>
                    <a:pt x="1117905" y="204292"/>
                  </a:lnTo>
                  <a:lnTo>
                    <a:pt x="1117905" y="204990"/>
                  </a:lnTo>
                  <a:lnTo>
                    <a:pt x="1117905" y="203594"/>
                  </a:lnTo>
                  <a:lnTo>
                    <a:pt x="1118007" y="203594"/>
                  </a:lnTo>
                  <a:lnTo>
                    <a:pt x="1118007" y="202260"/>
                  </a:lnTo>
                  <a:lnTo>
                    <a:pt x="1118058" y="202260"/>
                  </a:lnTo>
                  <a:lnTo>
                    <a:pt x="1118058" y="200876"/>
                  </a:lnTo>
                  <a:lnTo>
                    <a:pt x="1118058" y="202260"/>
                  </a:lnTo>
                  <a:lnTo>
                    <a:pt x="1118058" y="200876"/>
                  </a:lnTo>
                  <a:lnTo>
                    <a:pt x="1118058" y="202959"/>
                  </a:lnTo>
                  <a:lnTo>
                    <a:pt x="1118109" y="202959"/>
                  </a:lnTo>
                  <a:lnTo>
                    <a:pt x="1118109" y="200876"/>
                  </a:lnTo>
                  <a:lnTo>
                    <a:pt x="1118109" y="204292"/>
                  </a:lnTo>
                  <a:lnTo>
                    <a:pt x="1118109" y="202959"/>
                  </a:lnTo>
                  <a:lnTo>
                    <a:pt x="1118147" y="202959"/>
                  </a:lnTo>
                  <a:lnTo>
                    <a:pt x="1118147" y="204292"/>
                  </a:lnTo>
                  <a:lnTo>
                    <a:pt x="1118147" y="203594"/>
                  </a:lnTo>
                  <a:lnTo>
                    <a:pt x="1118147" y="204292"/>
                  </a:lnTo>
                  <a:lnTo>
                    <a:pt x="1118147" y="203594"/>
                  </a:lnTo>
                  <a:lnTo>
                    <a:pt x="1118248" y="203594"/>
                  </a:lnTo>
                  <a:lnTo>
                    <a:pt x="1118248" y="204990"/>
                  </a:lnTo>
                  <a:lnTo>
                    <a:pt x="1118299" y="204990"/>
                  </a:lnTo>
                  <a:lnTo>
                    <a:pt x="1118299" y="204292"/>
                  </a:lnTo>
                  <a:lnTo>
                    <a:pt x="1118299" y="204990"/>
                  </a:lnTo>
                  <a:lnTo>
                    <a:pt x="1118350" y="204292"/>
                  </a:lnTo>
                  <a:lnTo>
                    <a:pt x="1118350" y="204990"/>
                  </a:lnTo>
                  <a:lnTo>
                    <a:pt x="1118350" y="204292"/>
                  </a:lnTo>
                  <a:lnTo>
                    <a:pt x="1118350" y="204990"/>
                  </a:lnTo>
                  <a:lnTo>
                    <a:pt x="1118350" y="204292"/>
                  </a:lnTo>
                  <a:lnTo>
                    <a:pt x="1118350" y="204990"/>
                  </a:lnTo>
                  <a:lnTo>
                    <a:pt x="1118350" y="204292"/>
                  </a:lnTo>
                  <a:lnTo>
                    <a:pt x="1118451" y="204292"/>
                  </a:lnTo>
                  <a:lnTo>
                    <a:pt x="1118451" y="204990"/>
                  </a:lnTo>
                  <a:lnTo>
                    <a:pt x="1118451" y="203594"/>
                  </a:lnTo>
                  <a:lnTo>
                    <a:pt x="1118451" y="204292"/>
                  </a:lnTo>
                  <a:lnTo>
                    <a:pt x="1118451" y="203594"/>
                  </a:lnTo>
                  <a:lnTo>
                    <a:pt x="1118451" y="204292"/>
                  </a:lnTo>
                  <a:lnTo>
                    <a:pt x="1118502" y="204292"/>
                  </a:lnTo>
                  <a:lnTo>
                    <a:pt x="1118502" y="202959"/>
                  </a:lnTo>
                  <a:lnTo>
                    <a:pt x="1118502" y="203594"/>
                  </a:lnTo>
                  <a:lnTo>
                    <a:pt x="1118502" y="202260"/>
                  </a:lnTo>
                  <a:lnTo>
                    <a:pt x="1118502" y="202959"/>
                  </a:lnTo>
                  <a:lnTo>
                    <a:pt x="1118502" y="202260"/>
                  </a:lnTo>
                  <a:lnTo>
                    <a:pt x="1118553" y="202260"/>
                  </a:lnTo>
                  <a:lnTo>
                    <a:pt x="1118553" y="200228"/>
                  </a:lnTo>
                  <a:lnTo>
                    <a:pt x="1118553" y="202959"/>
                  </a:lnTo>
                  <a:lnTo>
                    <a:pt x="1118553" y="200228"/>
                  </a:lnTo>
                  <a:lnTo>
                    <a:pt x="1118604" y="200228"/>
                  </a:lnTo>
                  <a:lnTo>
                    <a:pt x="1118604" y="203594"/>
                  </a:lnTo>
                  <a:lnTo>
                    <a:pt x="1118604" y="202260"/>
                  </a:lnTo>
                  <a:lnTo>
                    <a:pt x="1118693" y="202260"/>
                  </a:lnTo>
                  <a:lnTo>
                    <a:pt x="1118693" y="203594"/>
                  </a:lnTo>
                  <a:lnTo>
                    <a:pt x="1118693" y="202959"/>
                  </a:lnTo>
                  <a:lnTo>
                    <a:pt x="1118744" y="203594"/>
                  </a:lnTo>
                  <a:lnTo>
                    <a:pt x="1118744" y="202959"/>
                  </a:lnTo>
                  <a:lnTo>
                    <a:pt x="1118744" y="203594"/>
                  </a:lnTo>
                  <a:lnTo>
                    <a:pt x="1118794" y="203594"/>
                  </a:lnTo>
                  <a:lnTo>
                    <a:pt x="1118794" y="204292"/>
                  </a:lnTo>
                  <a:lnTo>
                    <a:pt x="1118794" y="203594"/>
                  </a:lnTo>
                  <a:lnTo>
                    <a:pt x="1118794" y="204292"/>
                  </a:lnTo>
                  <a:lnTo>
                    <a:pt x="1118845" y="204292"/>
                  </a:lnTo>
                  <a:lnTo>
                    <a:pt x="1118845" y="204990"/>
                  </a:lnTo>
                  <a:lnTo>
                    <a:pt x="1118845" y="204292"/>
                  </a:lnTo>
                  <a:lnTo>
                    <a:pt x="1118845" y="204990"/>
                  </a:lnTo>
                  <a:lnTo>
                    <a:pt x="1118845" y="203594"/>
                  </a:lnTo>
                  <a:lnTo>
                    <a:pt x="1118845" y="204292"/>
                  </a:lnTo>
                  <a:lnTo>
                    <a:pt x="1118845" y="203594"/>
                  </a:lnTo>
                  <a:lnTo>
                    <a:pt x="1118947" y="204292"/>
                  </a:lnTo>
                  <a:lnTo>
                    <a:pt x="1118947" y="203594"/>
                  </a:lnTo>
                  <a:lnTo>
                    <a:pt x="1118947" y="204292"/>
                  </a:lnTo>
                  <a:lnTo>
                    <a:pt x="1118947" y="203594"/>
                  </a:lnTo>
                  <a:lnTo>
                    <a:pt x="1118997" y="203594"/>
                  </a:lnTo>
                  <a:lnTo>
                    <a:pt x="1118997" y="202260"/>
                  </a:lnTo>
                  <a:lnTo>
                    <a:pt x="1119048" y="202260"/>
                  </a:lnTo>
                  <a:lnTo>
                    <a:pt x="1119048" y="200876"/>
                  </a:lnTo>
                  <a:lnTo>
                    <a:pt x="1119048" y="202260"/>
                  </a:lnTo>
                  <a:lnTo>
                    <a:pt x="1119048" y="200228"/>
                  </a:lnTo>
                  <a:lnTo>
                    <a:pt x="1119048" y="200876"/>
                  </a:lnTo>
                  <a:lnTo>
                    <a:pt x="1119048" y="200228"/>
                  </a:lnTo>
                  <a:lnTo>
                    <a:pt x="1119048" y="200876"/>
                  </a:lnTo>
                  <a:lnTo>
                    <a:pt x="1119048" y="200228"/>
                  </a:lnTo>
                  <a:lnTo>
                    <a:pt x="1119150" y="200876"/>
                  </a:lnTo>
                  <a:lnTo>
                    <a:pt x="1119150" y="203594"/>
                  </a:lnTo>
                  <a:lnTo>
                    <a:pt x="1119150" y="200876"/>
                  </a:lnTo>
                  <a:lnTo>
                    <a:pt x="1119150" y="202260"/>
                  </a:lnTo>
                  <a:lnTo>
                    <a:pt x="1119188" y="202260"/>
                  </a:lnTo>
                  <a:lnTo>
                    <a:pt x="1119188" y="202959"/>
                  </a:lnTo>
                  <a:lnTo>
                    <a:pt x="1119188" y="202260"/>
                  </a:lnTo>
                  <a:lnTo>
                    <a:pt x="1119239" y="202959"/>
                  </a:lnTo>
                  <a:lnTo>
                    <a:pt x="1119239" y="202260"/>
                  </a:lnTo>
                  <a:lnTo>
                    <a:pt x="1119239" y="202959"/>
                  </a:lnTo>
                  <a:lnTo>
                    <a:pt x="1119290" y="202959"/>
                  </a:lnTo>
                  <a:lnTo>
                    <a:pt x="1119290" y="203594"/>
                  </a:lnTo>
                  <a:lnTo>
                    <a:pt x="1119290" y="202260"/>
                  </a:lnTo>
                  <a:lnTo>
                    <a:pt x="1119290" y="203594"/>
                  </a:lnTo>
                  <a:lnTo>
                    <a:pt x="1119290" y="202959"/>
                  </a:lnTo>
                  <a:lnTo>
                    <a:pt x="1119290" y="203594"/>
                  </a:lnTo>
                  <a:lnTo>
                    <a:pt x="1119290" y="202959"/>
                  </a:lnTo>
                  <a:lnTo>
                    <a:pt x="1119391" y="203594"/>
                  </a:lnTo>
                  <a:lnTo>
                    <a:pt x="1119391" y="202959"/>
                  </a:lnTo>
                  <a:lnTo>
                    <a:pt x="1119391" y="203594"/>
                  </a:lnTo>
                  <a:lnTo>
                    <a:pt x="1119391" y="202959"/>
                  </a:lnTo>
                  <a:lnTo>
                    <a:pt x="1119391" y="203594"/>
                  </a:lnTo>
                  <a:lnTo>
                    <a:pt x="1119442" y="203594"/>
                  </a:lnTo>
                  <a:lnTo>
                    <a:pt x="1119442" y="202959"/>
                  </a:lnTo>
                  <a:lnTo>
                    <a:pt x="1119442" y="203594"/>
                  </a:lnTo>
                  <a:lnTo>
                    <a:pt x="1119442" y="202959"/>
                  </a:lnTo>
                  <a:lnTo>
                    <a:pt x="1119442" y="203594"/>
                  </a:lnTo>
                  <a:lnTo>
                    <a:pt x="1119442" y="202959"/>
                  </a:lnTo>
                  <a:lnTo>
                    <a:pt x="1119493" y="202959"/>
                  </a:lnTo>
                  <a:lnTo>
                    <a:pt x="1119493" y="200876"/>
                  </a:lnTo>
                  <a:lnTo>
                    <a:pt x="1119493" y="202959"/>
                  </a:lnTo>
                  <a:lnTo>
                    <a:pt x="1119594" y="203594"/>
                  </a:lnTo>
                  <a:lnTo>
                    <a:pt x="1119594" y="202260"/>
                  </a:lnTo>
                  <a:lnTo>
                    <a:pt x="1119594" y="204990"/>
                  </a:lnTo>
                  <a:lnTo>
                    <a:pt x="1119645" y="204990"/>
                  </a:lnTo>
                  <a:lnTo>
                    <a:pt x="1119645" y="202959"/>
                  </a:lnTo>
                  <a:lnTo>
                    <a:pt x="1119645" y="204990"/>
                  </a:lnTo>
                  <a:lnTo>
                    <a:pt x="1119696" y="204292"/>
                  </a:lnTo>
                  <a:lnTo>
                    <a:pt x="1119696" y="203594"/>
                  </a:lnTo>
                  <a:lnTo>
                    <a:pt x="1119696" y="204292"/>
                  </a:lnTo>
                  <a:lnTo>
                    <a:pt x="1119696" y="203594"/>
                  </a:lnTo>
                  <a:lnTo>
                    <a:pt x="1119734" y="203594"/>
                  </a:lnTo>
                  <a:lnTo>
                    <a:pt x="1119734" y="204292"/>
                  </a:lnTo>
                  <a:lnTo>
                    <a:pt x="1119734" y="203594"/>
                  </a:lnTo>
                  <a:lnTo>
                    <a:pt x="1119734" y="204292"/>
                  </a:lnTo>
                  <a:lnTo>
                    <a:pt x="1119734" y="203594"/>
                  </a:lnTo>
                  <a:lnTo>
                    <a:pt x="1119734" y="204292"/>
                  </a:lnTo>
                  <a:lnTo>
                    <a:pt x="1119836" y="204292"/>
                  </a:lnTo>
                  <a:lnTo>
                    <a:pt x="1119836" y="203594"/>
                  </a:lnTo>
                  <a:lnTo>
                    <a:pt x="1119836" y="204292"/>
                  </a:lnTo>
                  <a:lnTo>
                    <a:pt x="1119836" y="203594"/>
                  </a:lnTo>
                  <a:lnTo>
                    <a:pt x="1119887" y="203594"/>
                  </a:lnTo>
                  <a:lnTo>
                    <a:pt x="1119887" y="204292"/>
                  </a:lnTo>
                  <a:lnTo>
                    <a:pt x="1119887" y="203594"/>
                  </a:lnTo>
                  <a:lnTo>
                    <a:pt x="1119937" y="203594"/>
                  </a:lnTo>
                  <a:lnTo>
                    <a:pt x="1119937" y="202959"/>
                  </a:lnTo>
                  <a:lnTo>
                    <a:pt x="1119937" y="203594"/>
                  </a:lnTo>
                  <a:lnTo>
                    <a:pt x="1119937" y="202959"/>
                  </a:lnTo>
                  <a:lnTo>
                    <a:pt x="1120039" y="202959"/>
                  </a:lnTo>
                  <a:lnTo>
                    <a:pt x="1120039" y="202260"/>
                  </a:lnTo>
                  <a:lnTo>
                    <a:pt x="1120039" y="202959"/>
                  </a:lnTo>
                  <a:lnTo>
                    <a:pt x="1120090" y="202260"/>
                  </a:lnTo>
                  <a:lnTo>
                    <a:pt x="1120090" y="204292"/>
                  </a:lnTo>
                  <a:lnTo>
                    <a:pt x="1120090" y="203594"/>
                  </a:lnTo>
                  <a:lnTo>
                    <a:pt x="1120140" y="203594"/>
                  </a:lnTo>
                  <a:lnTo>
                    <a:pt x="1120140" y="204990"/>
                  </a:lnTo>
                  <a:lnTo>
                    <a:pt x="1120140" y="203594"/>
                  </a:lnTo>
                  <a:lnTo>
                    <a:pt x="1120140" y="204292"/>
                  </a:lnTo>
                  <a:lnTo>
                    <a:pt x="1120191" y="204292"/>
                  </a:lnTo>
                  <a:lnTo>
                    <a:pt x="1120191" y="203594"/>
                  </a:lnTo>
                  <a:lnTo>
                    <a:pt x="1120191" y="204292"/>
                  </a:lnTo>
                  <a:lnTo>
                    <a:pt x="1120191" y="203594"/>
                  </a:lnTo>
                  <a:lnTo>
                    <a:pt x="1120191" y="204292"/>
                  </a:lnTo>
                  <a:lnTo>
                    <a:pt x="1120280" y="203594"/>
                  </a:lnTo>
                  <a:lnTo>
                    <a:pt x="1120280" y="204292"/>
                  </a:lnTo>
                  <a:lnTo>
                    <a:pt x="1120280" y="203594"/>
                  </a:lnTo>
                  <a:lnTo>
                    <a:pt x="1120280" y="204292"/>
                  </a:lnTo>
                  <a:lnTo>
                    <a:pt x="1120280" y="203594"/>
                  </a:lnTo>
                  <a:lnTo>
                    <a:pt x="1120280" y="204292"/>
                  </a:lnTo>
                  <a:lnTo>
                    <a:pt x="1120280" y="203594"/>
                  </a:lnTo>
                  <a:lnTo>
                    <a:pt x="1120331" y="203594"/>
                  </a:lnTo>
                  <a:lnTo>
                    <a:pt x="1120331" y="204292"/>
                  </a:lnTo>
                  <a:lnTo>
                    <a:pt x="1120331" y="203594"/>
                  </a:lnTo>
                  <a:lnTo>
                    <a:pt x="1120331" y="204292"/>
                  </a:lnTo>
                  <a:lnTo>
                    <a:pt x="1120382" y="203594"/>
                  </a:lnTo>
                  <a:lnTo>
                    <a:pt x="1120382" y="202959"/>
                  </a:lnTo>
                  <a:lnTo>
                    <a:pt x="1120433" y="202959"/>
                  </a:lnTo>
                  <a:lnTo>
                    <a:pt x="1120433" y="200228"/>
                  </a:lnTo>
                  <a:lnTo>
                    <a:pt x="1120433" y="200876"/>
                  </a:lnTo>
                  <a:lnTo>
                    <a:pt x="1120433" y="200228"/>
                  </a:lnTo>
                  <a:lnTo>
                    <a:pt x="1120433" y="200876"/>
                  </a:lnTo>
                  <a:lnTo>
                    <a:pt x="1120534" y="200228"/>
                  </a:lnTo>
                  <a:lnTo>
                    <a:pt x="1120534" y="199530"/>
                  </a:lnTo>
                  <a:lnTo>
                    <a:pt x="1120534" y="202260"/>
                  </a:lnTo>
                  <a:lnTo>
                    <a:pt x="1120534" y="200228"/>
                  </a:lnTo>
                  <a:lnTo>
                    <a:pt x="1120585" y="200228"/>
                  </a:lnTo>
                  <a:lnTo>
                    <a:pt x="1120585" y="203594"/>
                  </a:lnTo>
                  <a:lnTo>
                    <a:pt x="1120585" y="202959"/>
                  </a:lnTo>
                  <a:lnTo>
                    <a:pt x="1120585" y="203594"/>
                  </a:lnTo>
                  <a:lnTo>
                    <a:pt x="1120585" y="202260"/>
                  </a:lnTo>
                  <a:lnTo>
                    <a:pt x="1120636" y="202260"/>
                  </a:lnTo>
                  <a:lnTo>
                    <a:pt x="1120636" y="203594"/>
                  </a:lnTo>
                  <a:lnTo>
                    <a:pt x="1120636" y="202260"/>
                  </a:lnTo>
                  <a:lnTo>
                    <a:pt x="1120737" y="202260"/>
                  </a:lnTo>
                  <a:lnTo>
                    <a:pt x="1120737" y="203594"/>
                  </a:lnTo>
                  <a:lnTo>
                    <a:pt x="1120737" y="202959"/>
                  </a:lnTo>
                  <a:lnTo>
                    <a:pt x="1120775" y="203594"/>
                  </a:lnTo>
                  <a:lnTo>
                    <a:pt x="1120775" y="202959"/>
                  </a:lnTo>
                  <a:lnTo>
                    <a:pt x="1120775" y="203594"/>
                  </a:lnTo>
                  <a:lnTo>
                    <a:pt x="1120775" y="202959"/>
                  </a:lnTo>
                  <a:lnTo>
                    <a:pt x="1120775" y="203594"/>
                  </a:lnTo>
                  <a:lnTo>
                    <a:pt x="1120826" y="203594"/>
                  </a:lnTo>
                  <a:lnTo>
                    <a:pt x="1120826" y="204292"/>
                  </a:lnTo>
                  <a:lnTo>
                    <a:pt x="1120826" y="203594"/>
                  </a:lnTo>
                  <a:lnTo>
                    <a:pt x="1120826" y="204292"/>
                  </a:lnTo>
                  <a:lnTo>
                    <a:pt x="1120826" y="203594"/>
                  </a:lnTo>
                  <a:lnTo>
                    <a:pt x="1120877" y="203594"/>
                  </a:lnTo>
                  <a:lnTo>
                    <a:pt x="1120877" y="202959"/>
                  </a:lnTo>
                  <a:lnTo>
                    <a:pt x="1120877" y="203594"/>
                  </a:lnTo>
                  <a:lnTo>
                    <a:pt x="1120877" y="202959"/>
                  </a:lnTo>
                  <a:lnTo>
                    <a:pt x="1120979" y="202959"/>
                  </a:lnTo>
                  <a:lnTo>
                    <a:pt x="1120979" y="200228"/>
                  </a:lnTo>
                  <a:lnTo>
                    <a:pt x="1120979" y="200876"/>
                  </a:lnTo>
                  <a:lnTo>
                    <a:pt x="1121030" y="200876"/>
                  </a:lnTo>
                  <a:lnTo>
                    <a:pt x="1121030" y="200228"/>
                  </a:lnTo>
                  <a:lnTo>
                    <a:pt x="1121030" y="202260"/>
                  </a:lnTo>
                  <a:lnTo>
                    <a:pt x="1121030" y="199530"/>
                  </a:lnTo>
                  <a:lnTo>
                    <a:pt x="1121080" y="200228"/>
                  </a:lnTo>
                  <a:lnTo>
                    <a:pt x="1121080" y="203594"/>
                  </a:lnTo>
                  <a:lnTo>
                    <a:pt x="1121080" y="202260"/>
                  </a:lnTo>
                  <a:lnTo>
                    <a:pt x="1121182" y="202260"/>
                  </a:lnTo>
                  <a:lnTo>
                    <a:pt x="1121182" y="203594"/>
                  </a:lnTo>
                  <a:lnTo>
                    <a:pt x="1121182" y="202260"/>
                  </a:lnTo>
                  <a:lnTo>
                    <a:pt x="1121182" y="202959"/>
                  </a:lnTo>
                  <a:lnTo>
                    <a:pt x="1121233" y="202959"/>
                  </a:lnTo>
                  <a:lnTo>
                    <a:pt x="1121233" y="203594"/>
                  </a:lnTo>
                  <a:lnTo>
                    <a:pt x="1121233" y="202959"/>
                  </a:lnTo>
                  <a:lnTo>
                    <a:pt x="1121233" y="203594"/>
                  </a:lnTo>
                  <a:lnTo>
                    <a:pt x="1121284" y="202959"/>
                  </a:lnTo>
                  <a:lnTo>
                    <a:pt x="1121284" y="203594"/>
                  </a:lnTo>
                  <a:lnTo>
                    <a:pt x="1121284" y="202959"/>
                  </a:lnTo>
                  <a:lnTo>
                    <a:pt x="1121284" y="203594"/>
                  </a:lnTo>
                  <a:lnTo>
                    <a:pt x="1121322" y="203594"/>
                  </a:lnTo>
                  <a:lnTo>
                    <a:pt x="1121322" y="204292"/>
                  </a:lnTo>
                  <a:lnTo>
                    <a:pt x="1121322" y="203594"/>
                  </a:lnTo>
                  <a:lnTo>
                    <a:pt x="1121322" y="204292"/>
                  </a:lnTo>
                  <a:lnTo>
                    <a:pt x="1121322" y="203594"/>
                  </a:lnTo>
                  <a:lnTo>
                    <a:pt x="1121423" y="203594"/>
                  </a:lnTo>
                  <a:lnTo>
                    <a:pt x="1121423" y="202260"/>
                  </a:lnTo>
                  <a:lnTo>
                    <a:pt x="1121474" y="202260"/>
                  </a:lnTo>
                  <a:lnTo>
                    <a:pt x="1121474" y="199530"/>
                  </a:lnTo>
                  <a:lnTo>
                    <a:pt x="1121474" y="200228"/>
                  </a:lnTo>
                  <a:lnTo>
                    <a:pt x="1121474" y="199530"/>
                  </a:lnTo>
                  <a:lnTo>
                    <a:pt x="1121525" y="199530"/>
                  </a:lnTo>
                  <a:lnTo>
                    <a:pt x="1121525" y="197447"/>
                  </a:lnTo>
                  <a:lnTo>
                    <a:pt x="1121525" y="200876"/>
                  </a:lnTo>
                  <a:lnTo>
                    <a:pt x="1121525" y="199530"/>
                  </a:lnTo>
                  <a:lnTo>
                    <a:pt x="1121626" y="199530"/>
                  </a:lnTo>
                  <a:lnTo>
                    <a:pt x="1121626" y="202260"/>
                  </a:lnTo>
                  <a:lnTo>
                    <a:pt x="1121626" y="200876"/>
                  </a:lnTo>
                  <a:lnTo>
                    <a:pt x="1121677" y="200876"/>
                  </a:lnTo>
                  <a:lnTo>
                    <a:pt x="1121677" y="202959"/>
                  </a:lnTo>
                  <a:lnTo>
                    <a:pt x="1121677" y="200876"/>
                  </a:lnTo>
                  <a:lnTo>
                    <a:pt x="1121677" y="202260"/>
                  </a:lnTo>
                  <a:lnTo>
                    <a:pt x="1121728" y="202260"/>
                  </a:lnTo>
                  <a:lnTo>
                    <a:pt x="1121728" y="202959"/>
                  </a:lnTo>
                  <a:lnTo>
                    <a:pt x="1121728" y="202260"/>
                  </a:lnTo>
                  <a:lnTo>
                    <a:pt x="1121779" y="202959"/>
                  </a:lnTo>
                  <a:lnTo>
                    <a:pt x="1121779" y="203594"/>
                  </a:lnTo>
                  <a:lnTo>
                    <a:pt x="1121779" y="202959"/>
                  </a:lnTo>
                  <a:lnTo>
                    <a:pt x="1121779" y="203594"/>
                  </a:lnTo>
                  <a:lnTo>
                    <a:pt x="1121779" y="202959"/>
                  </a:lnTo>
                  <a:lnTo>
                    <a:pt x="1121779" y="203594"/>
                  </a:lnTo>
                  <a:lnTo>
                    <a:pt x="1121868" y="203594"/>
                  </a:lnTo>
                  <a:lnTo>
                    <a:pt x="1121868" y="204292"/>
                  </a:lnTo>
                  <a:lnTo>
                    <a:pt x="1121868" y="203594"/>
                  </a:lnTo>
                  <a:lnTo>
                    <a:pt x="1121868" y="204292"/>
                  </a:lnTo>
                  <a:lnTo>
                    <a:pt x="1121919" y="203594"/>
                  </a:lnTo>
                  <a:lnTo>
                    <a:pt x="1121919" y="202959"/>
                  </a:lnTo>
                  <a:lnTo>
                    <a:pt x="1121919" y="203594"/>
                  </a:lnTo>
                  <a:lnTo>
                    <a:pt x="1121919" y="202260"/>
                  </a:lnTo>
                  <a:lnTo>
                    <a:pt x="1121969" y="202260"/>
                  </a:lnTo>
                  <a:lnTo>
                    <a:pt x="1121969" y="200228"/>
                  </a:lnTo>
                  <a:lnTo>
                    <a:pt x="1122020" y="200228"/>
                  </a:lnTo>
                  <a:lnTo>
                    <a:pt x="1122020" y="199530"/>
                  </a:lnTo>
                  <a:lnTo>
                    <a:pt x="1122020" y="200228"/>
                  </a:lnTo>
                  <a:lnTo>
                    <a:pt x="1122020" y="199530"/>
                  </a:lnTo>
                  <a:lnTo>
                    <a:pt x="1122020" y="200228"/>
                  </a:lnTo>
                  <a:lnTo>
                    <a:pt x="1122020" y="199530"/>
                  </a:lnTo>
                  <a:lnTo>
                    <a:pt x="1122122" y="199530"/>
                  </a:lnTo>
                  <a:lnTo>
                    <a:pt x="1122122" y="202260"/>
                  </a:lnTo>
                  <a:lnTo>
                    <a:pt x="1122122" y="200228"/>
                  </a:lnTo>
                  <a:lnTo>
                    <a:pt x="1122122" y="200876"/>
                  </a:lnTo>
                  <a:lnTo>
                    <a:pt x="1122122" y="200228"/>
                  </a:lnTo>
                  <a:lnTo>
                    <a:pt x="1122172" y="200228"/>
                  </a:lnTo>
                  <a:lnTo>
                    <a:pt x="1122172" y="202260"/>
                  </a:lnTo>
                  <a:lnTo>
                    <a:pt x="1122172" y="200228"/>
                  </a:lnTo>
                  <a:lnTo>
                    <a:pt x="1122172" y="200876"/>
                  </a:lnTo>
                  <a:lnTo>
                    <a:pt x="1122172" y="200228"/>
                  </a:lnTo>
                  <a:lnTo>
                    <a:pt x="1122223" y="200876"/>
                  </a:lnTo>
                  <a:lnTo>
                    <a:pt x="1122223" y="202260"/>
                  </a:lnTo>
                  <a:lnTo>
                    <a:pt x="1122325" y="202260"/>
                  </a:lnTo>
                  <a:lnTo>
                    <a:pt x="1122325" y="200876"/>
                  </a:lnTo>
                  <a:lnTo>
                    <a:pt x="1122325" y="202959"/>
                  </a:lnTo>
                  <a:lnTo>
                    <a:pt x="1122363" y="202959"/>
                  </a:lnTo>
                  <a:lnTo>
                    <a:pt x="1122363" y="203594"/>
                  </a:lnTo>
                  <a:lnTo>
                    <a:pt x="1122363" y="202959"/>
                  </a:lnTo>
                  <a:lnTo>
                    <a:pt x="1122363" y="203594"/>
                  </a:lnTo>
                  <a:lnTo>
                    <a:pt x="1122363" y="202959"/>
                  </a:lnTo>
                  <a:lnTo>
                    <a:pt x="1122414" y="202959"/>
                  </a:lnTo>
                  <a:lnTo>
                    <a:pt x="1122414" y="200876"/>
                  </a:lnTo>
                  <a:lnTo>
                    <a:pt x="1122414" y="202959"/>
                  </a:lnTo>
                  <a:lnTo>
                    <a:pt x="1122414" y="202260"/>
                  </a:lnTo>
                  <a:lnTo>
                    <a:pt x="1122465" y="202260"/>
                  </a:lnTo>
                  <a:lnTo>
                    <a:pt x="1122465" y="200228"/>
                  </a:lnTo>
                  <a:lnTo>
                    <a:pt x="1122465" y="200876"/>
                  </a:lnTo>
                  <a:lnTo>
                    <a:pt x="1122465" y="200228"/>
                  </a:lnTo>
                  <a:lnTo>
                    <a:pt x="1122465" y="200876"/>
                  </a:lnTo>
                  <a:lnTo>
                    <a:pt x="1122465" y="200228"/>
                  </a:lnTo>
                  <a:lnTo>
                    <a:pt x="1122566" y="200876"/>
                  </a:lnTo>
                  <a:lnTo>
                    <a:pt x="1122566" y="202260"/>
                  </a:lnTo>
                  <a:lnTo>
                    <a:pt x="1122566" y="199530"/>
                  </a:lnTo>
                  <a:lnTo>
                    <a:pt x="1122566" y="202260"/>
                  </a:lnTo>
                  <a:lnTo>
                    <a:pt x="1122617" y="202959"/>
                  </a:lnTo>
                  <a:lnTo>
                    <a:pt x="1122617" y="202260"/>
                  </a:lnTo>
                  <a:lnTo>
                    <a:pt x="1122617" y="202959"/>
                  </a:lnTo>
                  <a:lnTo>
                    <a:pt x="1122617" y="202260"/>
                  </a:lnTo>
                  <a:lnTo>
                    <a:pt x="1122617" y="202959"/>
                  </a:lnTo>
                  <a:lnTo>
                    <a:pt x="1122617" y="200876"/>
                  </a:lnTo>
                  <a:lnTo>
                    <a:pt x="1122617" y="202959"/>
                  </a:lnTo>
                  <a:lnTo>
                    <a:pt x="1122668" y="202959"/>
                  </a:lnTo>
                  <a:lnTo>
                    <a:pt x="1122668" y="202260"/>
                  </a:lnTo>
                  <a:lnTo>
                    <a:pt x="1122668" y="202959"/>
                  </a:lnTo>
                  <a:lnTo>
                    <a:pt x="1122668" y="202260"/>
                  </a:lnTo>
                  <a:lnTo>
                    <a:pt x="1122668" y="202959"/>
                  </a:lnTo>
                  <a:lnTo>
                    <a:pt x="1122769" y="202260"/>
                  </a:lnTo>
                  <a:lnTo>
                    <a:pt x="1122769" y="202959"/>
                  </a:lnTo>
                  <a:lnTo>
                    <a:pt x="1122820" y="202959"/>
                  </a:lnTo>
                  <a:lnTo>
                    <a:pt x="1122820" y="203594"/>
                  </a:lnTo>
                  <a:lnTo>
                    <a:pt x="1122820" y="202959"/>
                  </a:lnTo>
                  <a:lnTo>
                    <a:pt x="1122871" y="202959"/>
                  </a:lnTo>
                  <a:lnTo>
                    <a:pt x="1122871" y="202260"/>
                  </a:lnTo>
                  <a:lnTo>
                    <a:pt x="1122871" y="203594"/>
                  </a:lnTo>
                  <a:lnTo>
                    <a:pt x="1122871" y="202959"/>
                  </a:lnTo>
                  <a:lnTo>
                    <a:pt x="1122909" y="202959"/>
                  </a:lnTo>
                  <a:lnTo>
                    <a:pt x="1122909" y="200228"/>
                  </a:lnTo>
                  <a:lnTo>
                    <a:pt x="1122909" y="200876"/>
                  </a:lnTo>
                  <a:lnTo>
                    <a:pt x="1123011" y="200876"/>
                  </a:lnTo>
                  <a:lnTo>
                    <a:pt x="1123011" y="199530"/>
                  </a:lnTo>
                  <a:lnTo>
                    <a:pt x="1123011" y="200228"/>
                  </a:lnTo>
                  <a:lnTo>
                    <a:pt x="1123062" y="200228"/>
                  </a:lnTo>
                  <a:lnTo>
                    <a:pt x="1123062" y="202260"/>
                  </a:lnTo>
                  <a:lnTo>
                    <a:pt x="1123062" y="200228"/>
                  </a:lnTo>
                  <a:lnTo>
                    <a:pt x="1123062" y="202959"/>
                  </a:lnTo>
                  <a:lnTo>
                    <a:pt x="1123112" y="202959"/>
                  </a:lnTo>
                  <a:lnTo>
                    <a:pt x="1123112" y="200876"/>
                  </a:lnTo>
                  <a:lnTo>
                    <a:pt x="1123112" y="202959"/>
                  </a:lnTo>
                  <a:lnTo>
                    <a:pt x="1123214" y="202959"/>
                  </a:lnTo>
                  <a:lnTo>
                    <a:pt x="1123214" y="200876"/>
                  </a:lnTo>
                  <a:lnTo>
                    <a:pt x="1123214" y="202260"/>
                  </a:lnTo>
                  <a:lnTo>
                    <a:pt x="1123214" y="200876"/>
                  </a:lnTo>
                  <a:lnTo>
                    <a:pt x="1123214" y="202260"/>
                  </a:lnTo>
                  <a:lnTo>
                    <a:pt x="1123265" y="202260"/>
                  </a:lnTo>
                  <a:lnTo>
                    <a:pt x="1123265" y="202959"/>
                  </a:lnTo>
                  <a:lnTo>
                    <a:pt x="1123265" y="202260"/>
                  </a:lnTo>
                  <a:lnTo>
                    <a:pt x="1123265" y="202959"/>
                  </a:lnTo>
                  <a:lnTo>
                    <a:pt x="1123315" y="202959"/>
                  </a:lnTo>
                  <a:lnTo>
                    <a:pt x="1123315" y="202260"/>
                  </a:lnTo>
                  <a:lnTo>
                    <a:pt x="1123315" y="202959"/>
                  </a:lnTo>
                  <a:lnTo>
                    <a:pt x="1123315" y="202260"/>
                  </a:lnTo>
                  <a:lnTo>
                    <a:pt x="1123366" y="202260"/>
                  </a:lnTo>
                  <a:lnTo>
                    <a:pt x="1123366" y="202959"/>
                  </a:lnTo>
                  <a:lnTo>
                    <a:pt x="1123366" y="202260"/>
                  </a:lnTo>
                  <a:lnTo>
                    <a:pt x="1123366" y="202959"/>
                  </a:lnTo>
                  <a:lnTo>
                    <a:pt x="1123366" y="200876"/>
                  </a:lnTo>
                  <a:lnTo>
                    <a:pt x="1123455" y="202260"/>
                  </a:lnTo>
                  <a:lnTo>
                    <a:pt x="1123455" y="200876"/>
                  </a:lnTo>
                  <a:lnTo>
                    <a:pt x="1123455" y="202260"/>
                  </a:lnTo>
                  <a:lnTo>
                    <a:pt x="1123455" y="199530"/>
                  </a:lnTo>
                  <a:lnTo>
                    <a:pt x="1123455" y="200228"/>
                  </a:lnTo>
                  <a:lnTo>
                    <a:pt x="1123506" y="199530"/>
                  </a:lnTo>
                  <a:lnTo>
                    <a:pt x="1123506" y="200228"/>
                  </a:lnTo>
                  <a:lnTo>
                    <a:pt x="1123506" y="199530"/>
                  </a:lnTo>
                  <a:lnTo>
                    <a:pt x="1123506" y="200228"/>
                  </a:lnTo>
                  <a:lnTo>
                    <a:pt x="1123506" y="198831"/>
                  </a:lnTo>
                  <a:lnTo>
                    <a:pt x="1123506" y="200876"/>
                  </a:lnTo>
                  <a:lnTo>
                    <a:pt x="1123557" y="200228"/>
                  </a:lnTo>
                  <a:lnTo>
                    <a:pt x="1123557" y="199530"/>
                  </a:lnTo>
                  <a:lnTo>
                    <a:pt x="1123557" y="202959"/>
                  </a:lnTo>
                  <a:lnTo>
                    <a:pt x="1123557" y="202260"/>
                  </a:lnTo>
                  <a:lnTo>
                    <a:pt x="1123608" y="202959"/>
                  </a:lnTo>
                  <a:lnTo>
                    <a:pt x="1123608" y="200876"/>
                  </a:lnTo>
                  <a:lnTo>
                    <a:pt x="1123608" y="202959"/>
                  </a:lnTo>
                  <a:lnTo>
                    <a:pt x="1123709" y="202260"/>
                  </a:lnTo>
                  <a:lnTo>
                    <a:pt x="1123709" y="202959"/>
                  </a:lnTo>
                  <a:lnTo>
                    <a:pt x="1123709" y="202260"/>
                  </a:lnTo>
                  <a:lnTo>
                    <a:pt x="1123709" y="202959"/>
                  </a:lnTo>
                  <a:lnTo>
                    <a:pt x="1123709" y="202260"/>
                  </a:lnTo>
                  <a:lnTo>
                    <a:pt x="1123709" y="202959"/>
                  </a:lnTo>
                  <a:lnTo>
                    <a:pt x="1123760" y="202959"/>
                  </a:lnTo>
                  <a:lnTo>
                    <a:pt x="1123760" y="202260"/>
                  </a:lnTo>
                  <a:lnTo>
                    <a:pt x="1123760" y="202959"/>
                  </a:lnTo>
                  <a:lnTo>
                    <a:pt x="1123760" y="202260"/>
                  </a:lnTo>
                  <a:lnTo>
                    <a:pt x="1123760" y="202959"/>
                  </a:lnTo>
                  <a:lnTo>
                    <a:pt x="1123811" y="202959"/>
                  </a:lnTo>
                  <a:lnTo>
                    <a:pt x="1123811" y="203594"/>
                  </a:lnTo>
                  <a:lnTo>
                    <a:pt x="1123811" y="202959"/>
                  </a:lnTo>
                  <a:lnTo>
                    <a:pt x="1123811" y="203594"/>
                  </a:lnTo>
                  <a:lnTo>
                    <a:pt x="1123811" y="202959"/>
                  </a:lnTo>
                  <a:lnTo>
                    <a:pt x="1123912" y="203594"/>
                  </a:lnTo>
                  <a:lnTo>
                    <a:pt x="1123912" y="202959"/>
                  </a:lnTo>
                  <a:lnTo>
                    <a:pt x="1123912" y="203594"/>
                  </a:lnTo>
                  <a:lnTo>
                    <a:pt x="1123912" y="202260"/>
                  </a:lnTo>
                  <a:lnTo>
                    <a:pt x="1123912" y="202959"/>
                  </a:lnTo>
                  <a:lnTo>
                    <a:pt x="1123912" y="202260"/>
                  </a:lnTo>
                  <a:lnTo>
                    <a:pt x="1123950" y="202260"/>
                  </a:lnTo>
                  <a:lnTo>
                    <a:pt x="1123950" y="200876"/>
                  </a:lnTo>
                  <a:lnTo>
                    <a:pt x="1124001" y="200228"/>
                  </a:lnTo>
                  <a:lnTo>
                    <a:pt x="1124001" y="199530"/>
                  </a:lnTo>
                  <a:lnTo>
                    <a:pt x="1124001" y="202260"/>
                  </a:lnTo>
                  <a:lnTo>
                    <a:pt x="1124001" y="200228"/>
                  </a:lnTo>
                  <a:lnTo>
                    <a:pt x="1124052" y="199530"/>
                  </a:lnTo>
                  <a:lnTo>
                    <a:pt x="1124052" y="202959"/>
                  </a:lnTo>
                  <a:lnTo>
                    <a:pt x="1124052" y="202260"/>
                  </a:lnTo>
                  <a:lnTo>
                    <a:pt x="1124154" y="202260"/>
                  </a:lnTo>
                  <a:lnTo>
                    <a:pt x="1124154" y="200876"/>
                  </a:lnTo>
                  <a:lnTo>
                    <a:pt x="1124154" y="202959"/>
                  </a:lnTo>
                  <a:lnTo>
                    <a:pt x="1124154" y="202260"/>
                  </a:lnTo>
                  <a:lnTo>
                    <a:pt x="1124154" y="202959"/>
                  </a:lnTo>
                  <a:lnTo>
                    <a:pt x="1124154" y="202260"/>
                  </a:lnTo>
                  <a:lnTo>
                    <a:pt x="1124205" y="202260"/>
                  </a:lnTo>
                  <a:lnTo>
                    <a:pt x="1124205" y="202959"/>
                  </a:lnTo>
                  <a:lnTo>
                    <a:pt x="1124205" y="202260"/>
                  </a:lnTo>
                  <a:lnTo>
                    <a:pt x="1124205" y="202959"/>
                  </a:lnTo>
                  <a:lnTo>
                    <a:pt x="1124205" y="202260"/>
                  </a:lnTo>
                  <a:lnTo>
                    <a:pt x="1124205" y="202959"/>
                  </a:lnTo>
                  <a:lnTo>
                    <a:pt x="1124255" y="202959"/>
                  </a:lnTo>
                  <a:lnTo>
                    <a:pt x="1124255" y="203594"/>
                  </a:lnTo>
                  <a:lnTo>
                    <a:pt x="1124255" y="202959"/>
                  </a:lnTo>
                  <a:lnTo>
                    <a:pt x="1124255" y="203594"/>
                  </a:lnTo>
                  <a:lnTo>
                    <a:pt x="1124255" y="202959"/>
                  </a:lnTo>
                  <a:lnTo>
                    <a:pt x="1124255" y="203594"/>
                  </a:lnTo>
                  <a:lnTo>
                    <a:pt x="1124255" y="202959"/>
                  </a:lnTo>
                  <a:lnTo>
                    <a:pt x="1124255" y="203594"/>
                  </a:lnTo>
                  <a:lnTo>
                    <a:pt x="1124357" y="203594"/>
                  </a:lnTo>
                  <a:lnTo>
                    <a:pt x="1124357" y="202959"/>
                  </a:lnTo>
                  <a:lnTo>
                    <a:pt x="1124357" y="203594"/>
                  </a:lnTo>
                  <a:lnTo>
                    <a:pt x="1124357" y="202959"/>
                  </a:lnTo>
                  <a:lnTo>
                    <a:pt x="1124408" y="203594"/>
                  </a:lnTo>
                  <a:lnTo>
                    <a:pt x="1124408" y="202959"/>
                  </a:lnTo>
                  <a:lnTo>
                    <a:pt x="1124408" y="203594"/>
                  </a:lnTo>
                  <a:lnTo>
                    <a:pt x="1124408" y="202260"/>
                  </a:lnTo>
                  <a:lnTo>
                    <a:pt x="1124459" y="202260"/>
                  </a:lnTo>
                  <a:lnTo>
                    <a:pt x="1124459" y="200228"/>
                  </a:lnTo>
                  <a:lnTo>
                    <a:pt x="1124459" y="200876"/>
                  </a:lnTo>
                  <a:lnTo>
                    <a:pt x="1124459" y="200228"/>
                  </a:lnTo>
                  <a:lnTo>
                    <a:pt x="1124497" y="200228"/>
                  </a:lnTo>
                  <a:lnTo>
                    <a:pt x="1124497" y="199530"/>
                  </a:lnTo>
                  <a:lnTo>
                    <a:pt x="1124497" y="200876"/>
                  </a:lnTo>
                  <a:lnTo>
                    <a:pt x="1124497" y="199530"/>
                  </a:lnTo>
                  <a:lnTo>
                    <a:pt x="1124598" y="199530"/>
                  </a:lnTo>
                  <a:lnTo>
                    <a:pt x="1124598" y="202959"/>
                  </a:lnTo>
                  <a:lnTo>
                    <a:pt x="1124598" y="200228"/>
                  </a:lnTo>
                  <a:lnTo>
                    <a:pt x="1124649" y="200228"/>
                  </a:lnTo>
                  <a:lnTo>
                    <a:pt x="1124649" y="202959"/>
                  </a:lnTo>
                  <a:lnTo>
                    <a:pt x="1124649" y="202260"/>
                  </a:lnTo>
                  <a:lnTo>
                    <a:pt x="1124700" y="202260"/>
                  </a:lnTo>
                  <a:lnTo>
                    <a:pt x="1124700" y="200876"/>
                  </a:lnTo>
                  <a:lnTo>
                    <a:pt x="1124700" y="202959"/>
                  </a:lnTo>
                  <a:lnTo>
                    <a:pt x="1124700" y="202260"/>
                  </a:lnTo>
                  <a:lnTo>
                    <a:pt x="1124700" y="202959"/>
                  </a:lnTo>
                  <a:lnTo>
                    <a:pt x="1124801" y="202959"/>
                  </a:lnTo>
                  <a:lnTo>
                    <a:pt x="1124801" y="203594"/>
                  </a:lnTo>
                  <a:lnTo>
                    <a:pt x="1124801" y="202959"/>
                  </a:lnTo>
                  <a:lnTo>
                    <a:pt x="1124801" y="203594"/>
                  </a:lnTo>
                  <a:lnTo>
                    <a:pt x="1124801" y="202959"/>
                  </a:lnTo>
                  <a:lnTo>
                    <a:pt x="1124801" y="203594"/>
                  </a:lnTo>
                  <a:lnTo>
                    <a:pt x="1124852" y="202959"/>
                  </a:lnTo>
                  <a:lnTo>
                    <a:pt x="1124852" y="203594"/>
                  </a:lnTo>
                  <a:lnTo>
                    <a:pt x="1124852" y="202959"/>
                  </a:lnTo>
                  <a:lnTo>
                    <a:pt x="1124852" y="203594"/>
                  </a:lnTo>
                  <a:lnTo>
                    <a:pt x="1124852" y="202959"/>
                  </a:lnTo>
                  <a:lnTo>
                    <a:pt x="1124903" y="202959"/>
                  </a:lnTo>
                  <a:lnTo>
                    <a:pt x="1124903" y="203594"/>
                  </a:lnTo>
                  <a:lnTo>
                    <a:pt x="1124903" y="202959"/>
                  </a:lnTo>
                  <a:lnTo>
                    <a:pt x="1124903" y="203594"/>
                  </a:lnTo>
                  <a:lnTo>
                    <a:pt x="1124903" y="202959"/>
                  </a:lnTo>
                  <a:lnTo>
                    <a:pt x="1124954" y="202959"/>
                  </a:lnTo>
                  <a:lnTo>
                    <a:pt x="1124954" y="200876"/>
                  </a:lnTo>
                  <a:lnTo>
                    <a:pt x="1124954" y="202260"/>
                  </a:lnTo>
                  <a:lnTo>
                    <a:pt x="1124954" y="200228"/>
                  </a:lnTo>
                  <a:lnTo>
                    <a:pt x="1125043" y="200228"/>
                  </a:lnTo>
                  <a:lnTo>
                    <a:pt x="1125043" y="202959"/>
                  </a:lnTo>
                  <a:lnTo>
                    <a:pt x="1125043" y="199530"/>
                  </a:lnTo>
                  <a:lnTo>
                    <a:pt x="1125094" y="199530"/>
                  </a:lnTo>
                  <a:lnTo>
                    <a:pt x="1125094" y="202260"/>
                  </a:lnTo>
                  <a:lnTo>
                    <a:pt x="1125094" y="200228"/>
                  </a:lnTo>
                  <a:lnTo>
                    <a:pt x="1125144" y="200876"/>
                  </a:lnTo>
                  <a:lnTo>
                    <a:pt x="1125144" y="202959"/>
                  </a:lnTo>
                  <a:lnTo>
                    <a:pt x="1125144" y="200876"/>
                  </a:lnTo>
                  <a:lnTo>
                    <a:pt x="1125195" y="200876"/>
                  </a:lnTo>
                  <a:lnTo>
                    <a:pt x="1125195" y="202260"/>
                  </a:lnTo>
                  <a:lnTo>
                    <a:pt x="1125195" y="200876"/>
                  </a:lnTo>
                  <a:lnTo>
                    <a:pt x="1125195" y="202959"/>
                  </a:lnTo>
                  <a:lnTo>
                    <a:pt x="1125297" y="202959"/>
                  </a:lnTo>
                  <a:lnTo>
                    <a:pt x="1125297" y="203594"/>
                  </a:lnTo>
                  <a:lnTo>
                    <a:pt x="1125297" y="202959"/>
                  </a:lnTo>
                  <a:lnTo>
                    <a:pt x="1125297" y="203594"/>
                  </a:lnTo>
                  <a:lnTo>
                    <a:pt x="1125297" y="202959"/>
                  </a:lnTo>
                  <a:lnTo>
                    <a:pt x="1125297" y="203594"/>
                  </a:lnTo>
                  <a:lnTo>
                    <a:pt x="1125297" y="202959"/>
                  </a:lnTo>
                  <a:lnTo>
                    <a:pt x="1125347" y="202959"/>
                  </a:lnTo>
                  <a:lnTo>
                    <a:pt x="1125347" y="203594"/>
                  </a:lnTo>
                  <a:lnTo>
                    <a:pt x="1125347" y="202959"/>
                  </a:lnTo>
                  <a:lnTo>
                    <a:pt x="1125347" y="203594"/>
                  </a:lnTo>
                  <a:lnTo>
                    <a:pt x="1125398" y="203594"/>
                  </a:lnTo>
                  <a:lnTo>
                    <a:pt x="1125398" y="202959"/>
                  </a:lnTo>
                  <a:lnTo>
                    <a:pt x="1125398" y="203594"/>
                  </a:lnTo>
                  <a:lnTo>
                    <a:pt x="1125398" y="202959"/>
                  </a:lnTo>
                  <a:lnTo>
                    <a:pt x="1125398" y="203594"/>
                  </a:lnTo>
                  <a:lnTo>
                    <a:pt x="1125398" y="202959"/>
                  </a:lnTo>
                  <a:lnTo>
                    <a:pt x="1125500" y="202260"/>
                  </a:lnTo>
                  <a:lnTo>
                    <a:pt x="1125500" y="200876"/>
                  </a:lnTo>
                  <a:lnTo>
                    <a:pt x="1125500" y="202260"/>
                  </a:lnTo>
                  <a:lnTo>
                    <a:pt x="1125538" y="202260"/>
                  </a:lnTo>
                  <a:lnTo>
                    <a:pt x="1125538" y="203594"/>
                  </a:lnTo>
                  <a:lnTo>
                    <a:pt x="1125538" y="200876"/>
                  </a:lnTo>
                  <a:lnTo>
                    <a:pt x="1125538" y="204292"/>
                  </a:lnTo>
                  <a:lnTo>
                    <a:pt x="1125589" y="204292"/>
                  </a:lnTo>
                  <a:lnTo>
                    <a:pt x="1125589" y="202959"/>
                  </a:lnTo>
                  <a:lnTo>
                    <a:pt x="1125589" y="203594"/>
                  </a:lnTo>
                  <a:lnTo>
                    <a:pt x="1125640" y="203594"/>
                  </a:lnTo>
                  <a:lnTo>
                    <a:pt x="1125640" y="204292"/>
                  </a:lnTo>
                  <a:lnTo>
                    <a:pt x="1125640" y="203594"/>
                  </a:lnTo>
                  <a:lnTo>
                    <a:pt x="1125640" y="204292"/>
                  </a:lnTo>
                  <a:lnTo>
                    <a:pt x="1125640" y="203594"/>
                  </a:lnTo>
                  <a:lnTo>
                    <a:pt x="1125640" y="204292"/>
                  </a:lnTo>
                  <a:lnTo>
                    <a:pt x="1125741" y="204292"/>
                  </a:lnTo>
                  <a:lnTo>
                    <a:pt x="1125741" y="203594"/>
                  </a:lnTo>
                  <a:lnTo>
                    <a:pt x="1125741" y="204292"/>
                  </a:lnTo>
                  <a:lnTo>
                    <a:pt x="1125741" y="203594"/>
                  </a:lnTo>
                  <a:lnTo>
                    <a:pt x="1125741" y="204292"/>
                  </a:lnTo>
                  <a:lnTo>
                    <a:pt x="1125843" y="204292"/>
                  </a:lnTo>
                  <a:lnTo>
                    <a:pt x="1125843" y="203594"/>
                  </a:lnTo>
                  <a:lnTo>
                    <a:pt x="1125843" y="204292"/>
                  </a:lnTo>
                  <a:lnTo>
                    <a:pt x="1125843" y="203594"/>
                  </a:lnTo>
                  <a:lnTo>
                    <a:pt x="1125843" y="204292"/>
                  </a:lnTo>
                  <a:lnTo>
                    <a:pt x="1125843" y="203594"/>
                  </a:lnTo>
                  <a:lnTo>
                    <a:pt x="1125843" y="204292"/>
                  </a:lnTo>
                  <a:lnTo>
                    <a:pt x="1125843" y="203594"/>
                  </a:lnTo>
                  <a:lnTo>
                    <a:pt x="1125944" y="203594"/>
                  </a:lnTo>
                  <a:lnTo>
                    <a:pt x="1125944" y="202959"/>
                  </a:lnTo>
                  <a:lnTo>
                    <a:pt x="1125944" y="203594"/>
                  </a:lnTo>
                  <a:lnTo>
                    <a:pt x="1125944" y="202959"/>
                  </a:lnTo>
                  <a:lnTo>
                    <a:pt x="1125944" y="203594"/>
                  </a:lnTo>
                  <a:lnTo>
                    <a:pt x="1125995" y="202959"/>
                  </a:lnTo>
                  <a:lnTo>
                    <a:pt x="1125995" y="200876"/>
                  </a:lnTo>
                  <a:lnTo>
                    <a:pt x="1125995" y="203594"/>
                  </a:lnTo>
                  <a:lnTo>
                    <a:pt x="1126046" y="203594"/>
                  </a:lnTo>
                  <a:lnTo>
                    <a:pt x="1126046" y="202260"/>
                  </a:lnTo>
                  <a:lnTo>
                    <a:pt x="1126046" y="202959"/>
                  </a:lnTo>
                  <a:lnTo>
                    <a:pt x="1126046" y="202260"/>
                  </a:lnTo>
                  <a:lnTo>
                    <a:pt x="1126046" y="204990"/>
                  </a:lnTo>
                  <a:lnTo>
                    <a:pt x="1126046" y="204292"/>
                  </a:lnTo>
                  <a:lnTo>
                    <a:pt x="1126084" y="204292"/>
                  </a:lnTo>
                  <a:lnTo>
                    <a:pt x="1126084" y="203594"/>
                  </a:lnTo>
                  <a:lnTo>
                    <a:pt x="1126084" y="204990"/>
                  </a:lnTo>
                  <a:lnTo>
                    <a:pt x="1126084" y="204292"/>
                  </a:lnTo>
                  <a:lnTo>
                    <a:pt x="1126084" y="204990"/>
                  </a:lnTo>
                  <a:lnTo>
                    <a:pt x="1126084" y="204292"/>
                  </a:lnTo>
                  <a:lnTo>
                    <a:pt x="1126186" y="204292"/>
                  </a:lnTo>
                  <a:lnTo>
                    <a:pt x="1126186" y="204990"/>
                  </a:lnTo>
                  <a:lnTo>
                    <a:pt x="1126186" y="204292"/>
                  </a:lnTo>
                  <a:lnTo>
                    <a:pt x="1126237" y="204292"/>
                  </a:lnTo>
                  <a:lnTo>
                    <a:pt x="1126237" y="203594"/>
                  </a:lnTo>
                  <a:lnTo>
                    <a:pt x="1126237" y="204292"/>
                  </a:lnTo>
                  <a:lnTo>
                    <a:pt x="1126237" y="203594"/>
                  </a:lnTo>
                  <a:lnTo>
                    <a:pt x="1126237" y="204990"/>
                  </a:lnTo>
                  <a:lnTo>
                    <a:pt x="1126237" y="204292"/>
                  </a:lnTo>
                  <a:lnTo>
                    <a:pt x="1126287" y="204292"/>
                  </a:lnTo>
                  <a:lnTo>
                    <a:pt x="1126287" y="204990"/>
                  </a:lnTo>
                  <a:lnTo>
                    <a:pt x="1126287" y="203594"/>
                  </a:lnTo>
                  <a:lnTo>
                    <a:pt x="1126287" y="204292"/>
                  </a:lnTo>
                  <a:lnTo>
                    <a:pt x="1126389" y="204292"/>
                  </a:lnTo>
                  <a:lnTo>
                    <a:pt x="1126389" y="203594"/>
                  </a:lnTo>
                  <a:lnTo>
                    <a:pt x="1126389" y="204292"/>
                  </a:lnTo>
                  <a:lnTo>
                    <a:pt x="1126389" y="203594"/>
                  </a:lnTo>
                  <a:lnTo>
                    <a:pt x="1126440" y="203594"/>
                  </a:lnTo>
                  <a:lnTo>
                    <a:pt x="1126440" y="202959"/>
                  </a:lnTo>
                  <a:lnTo>
                    <a:pt x="1126440" y="203594"/>
                  </a:lnTo>
                  <a:lnTo>
                    <a:pt x="1126440" y="202260"/>
                  </a:lnTo>
                  <a:lnTo>
                    <a:pt x="1126440" y="202959"/>
                  </a:lnTo>
                  <a:lnTo>
                    <a:pt x="1126490" y="202959"/>
                  </a:lnTo>
                  <a:lnTo>
                    <a:pt x="1126490" y="200876"/>
                  </a:lnTo>
                  <a:lnTo>
                    <a:pt x="1126490" y="202959"/>
                  </a:lnTo>
                  <a:lnTo>
                    <a:pt x="1126490" y="202260"/>
                  </a:lnTo>
                  <a:lnTo>
                    <a:pt x="1126541" y="202260"/>
                  </a:lnTo>
                  <a:lnTo>
                    <a:pt x="1126541" y="200876"/>
                  </a:lnTo>
                  <a:lnTo>
                    <a:pt x="1126541" y="204292"/>
                  </a:lnTo>
                  <a:lnTo>
                    <a:pt x="1126541" y="203594"/>
                  </a:lnTo>
                  <a:lnTo>
                    <a:pt x="1126630" y="202959"/>
                  </a:lnTo>
                  <a:lnTo>
                    <a:pt x="1126630" y="204292"/>
                  </a:lnTo>
                  <a:lnTo>
                    <a:pt x="1126630" y="202959"/>
                  </a:lnTo>
                  <a:lnTo>
                    <a:pt x="1126630" y="203594"/>
                  </a:lnTo>
                  <a:lnTo>
                    <a:pt x="1126681" y="203594"/>
                  </a:lnTo>
                  <a:lnTo>
                    <a:pt x="1126681" y="204292"/>
                  </a:lnTo>
                  <a:lnTo>
                    <a:pt x="1126681" y="203594"/>
                  </a:lnTo>
                  <a:lnTo>
                    <a:pt x="1126681" y="204292"/>
                  </a:lnTo>
                  <a:lnTo>
                    <a:pt x="1126783" y="204292"/>
                  </a:lnTo>
                  <a:lnTo>
                    <a:pt x="1126783" y="204990"/>
                  </a:lnTo>
                  <a:lnTo>
                    <a:pt x="1126783" y="204292"/>
                  </a:lnTo>
                  <a:lnTo>
                    <a:pt x="1126884" y="204292"/>
                  </a:lnTo>
                  <a:lnTo>
                    <a:pt x="1126884" y="203594"/>
                  </a:lnTo>
                  <a:lnTo>
                    <a:pt x="1126884" y="204990"/>
                  </a:lnTo>
                  <a:lnTo>
                    <a:pt x="1126884" y="203594"/>
                  </a:lnTo>
                  <a:lnTo>
                    <a:pt x="1126935" y="203594"/>
                  </a:lnTo>
                  <a:lnTo>
                    <a:pt x="1126935" y="202959"/>
                  </a:lnTo>
                  <a:lnTo>
                    <a:pt x="1126935" y="203594"/>
                  </a:lnTo>
                  <a:lnTo>
                    <a:pt x="1126935" y="202260"/>
                  </a:lnTo>
                  <a:lnTo>
                    <a:pt x="1126935" y="202959"/>
                  </a:lnTo>
                  <a:lnTo>
                    <a:pt x="1126935" y="202260"/>
                  </a:lnTo>
                  <a:lnTo>
                    <a:pt x="1126935" y="202959"/>
                  </a:lnTo>
                  <a:lnTo>
                    <a:pt x="1126986" y="202959"/>
                  </a:lnTo>
                  <a:lnTo>
                    <a:pt x="1126986" y="203594"/>
                  </a:lnTo>
                  <a:lnTo>
                    <a:pt x="1126986" y="202959"/>
                  </a:lnTo>
                  <a:lnTo>
                    <a:pt x="1126986" y="203594"/>
                  </a:lnTo>
                  <a:lnTo>
                    <a:pt x="1126986" y="202260"/>
                  </a:lnTo>
                  <a:lnTo>
                    <a:pt x="1126986" y="204292"/>
                  </a:lnTo>
                  <a:lnTo>
                    <a:pt x="1127087" y="204292"/>
                  </a:lnTo>
                  <a:lnTo>
                    <a:pt x="1127087" y="203594"/>
                  </a:lnTo>
                  <a:lnTo>
                    <a:pt x="1127087" y="204292"/>
                  </a:lnTo>
                  <a:lnTo>
                    <a:pt x="1127125" y="204292"/>
                  </a:lnTo>
                  <a:lnTo>
                    <a:pt x="1127125" y="204990"/>
                  </a:lnTo>
                  <a:lnTo>
                    <a:pt x="1127125" y="204292"/>
                  </a:lnTo>
                  <a:lnTo>
                    <a:pt x="1127125" y="204990"/>
                  </a:lnTo>
                  <a:lnTo>
                    <a:pt x="1127125" y="204292"/>
                  </a:lnTo>
                  <a:lnTo>
                    <a:pt x="1127125" y="204990"/>
                  </a:lnTo>
                  <a:lnTo>
                    <a:pt x="1127125" y="204292"/>
                  </a:lnTo>
                  <a:lnTo>
                    <a:pt x="1127125" y="204990"/>
                  </a:lnTo>
                  <a:lnTo>
                    <a:pt x="1127125" y="204292"/>
                  </a:lnTo>
                  <a:lnTo>
                    <a:pt x="1127125" y="204990"/>
                  </a:lnTo>
                  <a:lnTo>
                    <a:pt x="1127125" y="204292"/>
                  </a:lnTo>
                  <a:lnTo>
                    <a:pt x="1127125" y="204990"/>
                  </a:lnTo>
                  <a:lnTo>
                    <a:pt x="1127125" y="204292"/>
                  </a:lnTo>
                  <a:lnTo>
                    <a:pt x="1127176" y="204292"/>
                  </a:lnTo>
                  <a:lnTo>
                    <a:pt x="1127176" y="204990"/>
                  </a:lnTo>
                  <a:lnTo>
                    <a:pt x="1127176" y="204292"/>
                  </a:lnTo>
                  <a:lnTo>
                    <a:pt x="1127176" y="204990"/>
                  </a:lnTo>
                  <a:lnTo>
                    <a:pt x="1127176" y="204292"/>
                  </a:lnTo>
                  <a:lnTo>
                    <a:pt x="1127227" y="204292"/>
                  </a:lnTo>
                  <a:lnTo>
                    <a:pt x="1127227" y="204990"/>
                  </a:lnTo>
                  <a:lnTo>
                    <a:pt x="1127227" y="204292"/>
                  </a:lnTo>
                  <a:lnTo>
                    <a:pt x="1127227" y="204990"/>
                  </a:lnTo>
                  <a:lnTo>
                    <a:pt x="1127227" y="204292"/>
                  </a:lnTo>
                  <a:lnTo>
                    <a:pt x="1127227" y="204990"/>
                  </a:lnTo>
                  <a:lnTo>
                    <a:pt x="1127227" y="204292"/>
                  </a:lnTo>
                  <a:lnTo>
                    <a:pt x="1127227" y="204990"/>
                  </a:lnTo>
                  <a:lnTo>
                    <a:pt x="1127227" y="204292"/>
                  </a:lnTo>
                  <a:lnTo>
                    <a:pt x="1127380" y="204292"/>
                  </a:lnTo>
                  <a:lnTo>
                    <a:pt x="1127380" y="203594"/>
                  </a:lnTo>
                  <a:lnTo>
                    <a:pt x="1127380" y="204292"/>
                  </a:lnTo>
                  <a:lnTo>
                    <a:pt x="1127380" y="203594"/>
                  </a:lnTo>
                  <a:lnTo>
                    <a:pt x="1127430" y="202959"/>
                  </a:lnTo>
                  <a:lnTo>
                    <a:pt x="1127430" y="202260"/>
                  </a:lnTo>
                  <a:lnTo>
                    <a:pt x="1127430" y="202959"/>
                  </a:lnTo>
                  <a:lnTo>
                    <a:pt x="1127430" y="200876"/>
                  </a:lnTo>
                  <a:lnTo>
                    <a:pt x="1127430" y="202260"/>
                  </a:lnTo>
                  <a:lnTo>
                    <a:pt x="1127532" y="202260"/>
                  </a:lnTo>
                  <a:lnTo>
                    <a:pt x="1127532" y="202959"/>
                  </a:lnTo>
                  <a:lnTo>
                    <a:pt x="1127532" y="200876"/>
                  </a:lnTo>
                  <a:lnTo>
                    <a:pt x="1127532" y="203594"/>
                  </a:lnTo>
                  <a:lnTo>
                    <a:pt x="1127583" y="203594"/>
                  </a:lnTo>
                  <a:lnTo>
                    <a:pt x="1127583" y="202959"/>
                  </a:lnTo>
                  <a:lnTo>
                    <a:pt x="1127583" y="203594"/>
                  </a:lnTo>
                  <a:lnTo>
                    <a:pt x="1127634" y="203594"/>
                  </a:lnTo>
                  <a:lnTo>
                    <a:pt x="1127634" y="204292"/>
                  </a:lnTo>
                  <a:lnTo>
                    <a:pt x="1127634" y="203594"/>
                  </a:lnTo>
                  <a:lnTo>
                    <a:pt x="1127634" y="204292"/>
                  </a:lnTo>
                  <a:lnTo>
                    <a:pt x="1127634" y="203594"/>
                  </a:lnTo>
                  <a:lnTo>
                    <a:pt x="1127634" y="204292"/>
                  </a:lnTo>
                  <a:lnTo>
                    <a:pt x="1127634" y="203594"/>
                  </a:lnTo>
                  <a:lnTo>
                    <a:pt x="1127634" y="204292"/>
                  </a:lnTo>
                  <a:lnTo>
                    <a:pt x="1127672" y="204292"/>
                  </a:lnTo>
                  <a:lnTo>
                    <a:pt x="1127672" y="204990"/>
                  </a:lnTo>
                  <a:lnTo>
                    <a:pt x="1127672" y="204292"/>
                  </a:lnTo>
                  <a:lnTo>
                    <a:pt x="1127672" y="204990"/>
                  </a:lnTo>
                  <a:lnTo>
                    <a:pt x="1127672" y="204292"/>
                  </a:lnTo>
                  <a:lnTo>
                    <a:pt x="1127672" y="204990"/>
                  </a:lnTo>
                  <a:lnTo>
                    <a:pt x="1127672" y="204292"/>
                  </a:lnTo>
                  <a:lnTo>
                    <a:pt x="1127672" y="204990"/>
                  </a:lnTo>
                  <a:lnTo>
                    <a:pt x="1127773" y="204990"/>
                  </a:lnTo>
                  <a:lnTo>
                    <a:pt x="1127773" y="206324"/>
                  </a:lnTo>
                  <a:lnTo>
                    <a:pt x="1127773" y="204990"/>
                  </a:lnTo>
                  <a:lnTo>
                    <a:pt x="1127773" y="206324"/>
                  </a:lnTo>
                  <a:lnTo>
                    <a:pt x="1127773" y="204990"/>
                  </a:lnTo>
                  <a:lnTo>
                    <a:pt x="1127773" y="206324"/>
                  </a:lnTo>
                  <a:lnTo>
                    <a:pt x="1127773" y="204990"/>
                  </a:lnTo>
                  <a:lnTo>
                    <a:pt x="1127773" y="206324"/>
                  </a:lnTo>
                  <a:lnTo>
                    <a:pt x="1127773" y="204990"/>
                  </a:lnTo>
                  <a:lnTo>
                    <a:pt x="1127824" y="204990"/>
                  </a:lnTo>
                  <a:lnTo>
                    <a:pt x="1127824" y="206324"/>
                  </a:lnTo>
                  <a:lnTo>
                    <a:pt x="1127824" y="204292"/>
                  </a:lnTo>
                  <a:lnTo>
                    <a:pt x="1127824" y="204990"/>
                  </a:lnTo>
                  <a:lnTo>
                    <a:pt x="1127875" y="204990"/>
                  </a:lnTo>
                  <a:lnTo>
                    <a:pt x="1127875" y="202959"/>
                  </a:lnTo>
                  <a:lnTo>
                    <a:pt x="1127875" y="203594"/>
                  </a:lnTo>
                  <a:lnTo>
                    <a:pt x="1127875" y="202959"/>
                  </a:lnTo>
                  <a:lnTo>
                    <a:pt x="1127976" y="203594"/>
                  </a:lnTo>
                  <a:lnTo>
                    <a:pt x="1127976" y="202260"/>
                  </a:lnTo>
                  <a:lnTo>
                    <a:pt x="1127976" y="202959"/>
                  </a:lnTo>
                  <a:lnTo>
                    <a:pt x="1127976" y="202260"/>
                  </a:lnTo>
                  <a:lnTo>
                    <a:pt x="1127976" y="202959"/>
                  </a:lnTo>
                  <a:lnTo>
                    <a:pt x="1128027" y="202959"/>
                  </a:lnTo>
                  <a:lnTo>
                    <a:pt x="1128027" y="202260"/>
                  </a:lnTo>
                  <a:lnTo>
                    <a:pt x="1128027" y="204292"/>
                  </a:lnTo>
                  <a:lnTo>
                    <a:pt x="1128027" y="203594"/>
                  </a:lnTo>
                  <a:lnTo>
                    <a:pt x="1128027" y="204292"/>
                  </a:lnTo>
                  <a:lnTo>
                    <a:pt x="1128027" y="203594"/>
                  </a:lnTo>
                  <a:lnTo>
                    <a:pt x="1128078" y="203594"/>
                  </a:lnTo>
                  <a:lnTo>
                    <a:pt x="1128078" y="204292"/>
                  </a:lnTo>
                  <a:lnTo>
                    <a:pt x="1128078" y="203594"/>
                  </a:lnTo>
                  <a:lnTo>
                    <a:pt x="1128129" y="203594"/>
                  </a:lnTo>
                  <a:lnTo>
                    <a:pt x="1128129" y="204990"/>
                  </a:lnTo>
                  <a:lnTo>
                    <a:pt x="1128129" y="204292"/>
                  </a:lnTo>
                  <a:lnTo>
                    <a:pt x="1128129" y="204990"/>
                  </a:lnTo>
                  <a:lnTo>
                    <a:pt x="1128129" y="204292"/>
                  </a:lnTo>
                  <a:lnTo>
                    <a:pt x="1128218" y="204292"/>
                  </a:lnTo>
                  <a:lnTo>
                    <a:pt x="1128218" y="203594"/>
                  </a:lnTo>
                  <a:lnTo>
                    <a:pt x="1128218" y="204292"/>
                  </a:lnTo>
                  <a:lnTo>
                    <a:pt x="1128269" y="204292"/>
                  </a:lnTo>
                  <a:lnTo>
                    <a:pt x="1128269" y="204990"/>
                  </a:lnTo>
                  <a:lnTo>
                    <a:pt x="1128269" y="204292"/>
                  </a:lnTo>
                  <a:lnTo>
                    <a:pt x="1128269" y="204990"/>
                  </a:lnTo>
                  <a:lnTo>
                    <a:pt x="1128319" y="204990"/>
                  </a:lnTo>
                  <a:lnTo>
                    <a:pt x="1128319" y="204292"/>
                  </a:lnTo>
                  <a:lnTo>
                    <a:pt x="1128319" y="204990"/>
                  </a:lnTo>
                  <a:lnTo>
                    <a:pt x="1128319" y="204292"/>
                  </a:lnTo>
                  <a:lnTo>
                    <a:pt x="1128319" y="204990"/>
                  </a:lnTo>
                  <a:lnTo>
                    <a:pt x="1128319" y="204292"/>
                  </a:lnTo>
                  <a:lnTo>
                    <a:pt x="1128319" y="204990"/>
                  </a:lnTo>
                  <a:lnTo>
                    <a:pt x="1128370" y="204990"/>
                  </a:lnTo>
                  <a:lnTo>
                    <a:pt x="1128370" y="204292"/>
                  </a:lnTo>
                  <a:lnTo>
                    <a:pt x="1128370" y="204990"/>
                  </a:lnTo>
                  <a:lnTo>
                    <a:pt x="1128370" y="202959"/>
                  </a:lnTo>
                  <a:lnTo>
                    <a:pt x="1128472" y="202959"/>
                  </a:lnTo>
                  <a:lnTo>
                    <a:pt x="1128472" y="204990"/>
                  </a:lnTo>
                  <a:lnTo>
                    <a:pt x="1128472" y="202260"/>
                  </a:lnTo>
                  <a:lnTo>
                    <a:pt x="1128472" y="203594"/>
                  </a:lnTo>
                  <a:lnTo>
                    <a:pt x="1128522" y="203594"/>
                  </a:lnTo>
                  <a:lnTo>
                    <a:pt x="1128522" y="207022"/>
                  </a:lnTo>
                  <a:lnTo>
                    <a:pt x="1128522" y="204292"/>
                  </a:lnTo>
                  <a:lnTo>
                    <a:pt x="1128522" y="204990"/>
                  </a:lnTo>
                  <a:lnTo>
                    <a:pt x="1128573" y="206324"/>
                  </a:lnTo>
                  <a:lnTo>
                    <a:pt x="1128573" y="204292"/>
                  </a:lnTo>
                  <a:lnTo>
                    <a:pt x="1128573" y="206324"/>
                  </a:lnTo>
                  <a:lnTo>
                    <a:pt x="1128675" y="206324"/>
                  </a:lnTo>
                  <a:lnTo>
                    <a:pt x="1128675" y="204990"/>
                  </a:lnTo>
                  <a:lnTo>
                    <a:pt x="1128675" y="206324"/>
                  </a:lnTo>
                  <a:lnTo>
                    <a:pt x="1128675" y="204990"/>
                  </a:lnTo>
                  <a:lnTo>
                    <a:pt x="1128675" y="206324"/>
                  </a:lnTo>
                  <a:lnTo>
                    <a:pt x="1128713" y="206324"/>
                  </a:lnTo>
                  <a:lnTo>
                    <a:pt x="1128713" y="204990"/>
                  </a:lnTo>
                  <a:lnTo>
                    <a:pt x="1128713" y="206324"/>
                  </a:lnTo>
                  <a:lnTo>
                    <a:pt x="1128764" y="206324"/>
                  </a:lnTo>
                  <a:lnTo>
                    <a:pt x="1128764" y="204990"/>
                  </a:lnTo>
                  <a:lnTo>
                    <a:pt x="1128764" y="206324"/>
                  </a:lnTo>
                  <a:lnTo>
                    <a:pt x="1128764" y="204990"/>
                  </a:lnTo>
                  <a:lnTo>
                    <a:pt x="1128764" y="206324"/>
                  </a:lnTo>
                  <a:lnTo>
                    <a:pt x="1128764" y="204990"/>
                  </a:lnTo>
                  <a:lnTo>
                    <a:pt x="1128815" y="204990"/>
                  </a:lnTo>
                  <a:lnTo>
                    <a:pt x="1128815" y="204292"/>
                  </a:lnTo>
                  <a:lnTo>
                    <a:pt x="1128815" y="204990"/>
                  </a:lnTo>
                  <a:lnTo>
                    <a:pt x="1128815" y="203594"/>
                  </a:lnTo>
                  <a:lnTo>
                    <a:pt x="1128916" y="203594"/>
                  </a:lnTo>
                  <a:lnTo>
                    <a:pt x="1128916" y="204292"/>
                  </a:lnTo>
                  <a:lnTo>
                    <a:pt x="1128916" y="202959"/>
                  </a:lnTo>
                  <a:lnTo>
                    <a:pt x="1128916" y="203594"/>
                  </a:lnTo>
                  <a:lnTo>
                    <a:pt x="1128916" y="202959"/>
                  </a:lnTo>
                  <a:lnTo>
                    <a:pt x="1128916" y="203594"/>
                  </a:lnTo>
                  <a:lnTo>
                    <a:pt x="1128916" y="202959"/>
                  </a:lnTo>
                  <a:lnTo>
                    <a:pt x="1128916" y="204292"/>
                  </a:lnTo>
                  <a:lnTo>
                    <a:pt x="1128967" y="204292"/>
                  </a:lnTo>
                  <a:lnTo>
                    <a:pt x="1128967" y="202959"/>
                  </a:lnTo>
                  <a:lnTo>
                    <a:pt x="1128967" y="207022"/>
                  </a:lnTo>
                  <a:lnTo>
                    <a:pt x="1128967" y="206324"/>
                  </a:lnTo>
                  <a:lnTo>
                    <a:pt x="1129018" y="206324"/>
                  </a:lnTo>
                  <a:lnTo>
                    <a:pt x="1129018" y="204292"/>
                  </a:lnTo>
                  <a:lnTo>
                    <a:pt x="1129018" y="206324"/>
                  </a:lnTo>
                  <a:lnTo>
                    <a:pt x="1129119" y="206324"/>
                  </a:lnTo>
                  <a:lnTo>
                    <a:pt x="1129119" y="204990"/>
                  </a:lnTo>
                  <a:lnTo>
                    <a:pt x="1129119" y="206324"/>
                  </a:lnTo>
                  <a:lnTo>
                    <a:pt x="1129170" y="206324"/>
                  </a:lnTo>
                  <a:lnTo>
                    <a:pt x="1129170" y="204990"/>
                  </a:lnTo>
                  <a:lnTo>
                    <a:pt x="1129170" y="206324"/>
                  </a:lnTo>
                  <a:lnTo>
                    <a:pt x="1129170" y="204990"/>
                  </a:lnTo>
                  <a:lnTo>
                    <a:pt x="1129170" y="206324"/>
                  </a:lnTo>
                  <a:lnTo>
                    <a:pt x="1129170" y="204990"/>
                  </a:lnTo>
                  <a:lnTo>
                    <a:pt x="1129259" y="204990"/>
                  </a:lnTo>
                  <a:lnTo>
                    <a:pt x="1129259" y="203594"/>
                  </a:lnTo>
                  <a:lnTo>
                    <a:pt x="1129259" y="204292"/>
                  </a:lnTo>
                  <a:lnTo>
                    <a:pt x="1129361" y="203594"/>
                  </a:lnTo>
                  <a:lnTo>
                    <a:pt x="1129361" y="202959"/>
                  </a:lnTo>
                  <a:lnTo>
                    <a:pt x="1129361" y="203594"/>
                  </a:lnTo>
                  <a:lnTo>
                    <a:pt x="1129361" y="202959"/>
                  </a:lnTo>
                  <a:lnTo>
                    <a:pt x="1129412" y="202959"/>
                  </a:lnTo>
                  <a:lnTo>
                    <a:pt x="1129412" y="202260"/>
                  </a:lnTo>
                  <a:lnTo>
                    <a:pt x="1129412" y="203594"/>
                  </a:lnTo>
                  <a:lnTo>
                    <a:pt x="1129412" y="202959"/>
                  </a:lnTo>
                  <a:lnTo>
                    <a:pt x="1129462" y="202959"/>
                  </a:lnTo>
                  <a:lnTo>
                    <a:pt x="1129462" y="200876"/>
                  </a:lnTo>
                  <a:lnTo>
                    <a:pt x="1129462" y="204990"/>
                  </a:lnTo>
                  <a:lnTo>
                    <a:pt x="1129462" y="203594"/>
                  </a:lnTo>
                  <a:lnTo>
                    <a:pt x="1129564" y="203594"/>
                  </a:lnTo>
                  <a:lnTo>
                    <a:pt x="1129564" y="204990"/>
                  </a:lnTo>
                  <a:lnTo>
                    <a:pt x="1129564" y="203594"/>
                  </a:lnTo>
                  <a:lnTo>
                    <a:pt x="1129615" y="204292"/>
                  </a:lnTo>
                  <a:lnTo>
                    <a:pt x="1129615" y="206324"/>
                  </a:lnTo>
                  <a:lnTo>
                    <a:pt x="1129615" y="204292"/>
                  </a:lnTo>
                  <a:lnTo>
                    <a:pt x="1129665" y="204990"/>
                  </a:lnTo>
                  <a:lnTo>
                    <a:pt x="1129665" y="206324"/>
                  </a:lnTo>
                  <a:lnTo>
                    <a:pt x="1129665" y="204990"/>
                  </a:lnTo>
                  <a:lnTo>
                    <a:pt x="1129665" y="206324"/>
                  </a:lnTo>
                  <a:lnTo>
                    <a:pt x="1129665" y="204292"/>
                  </a:lnTo>
                  <a:lnTo>
                    <a:pt x="1129716" y="204990"/>
                  </a:lnTo>
                  <a:lnTo>
                    <a:pt x="1129716" y="206324"/>
                  </a:lnTo>
                  <a:lnTo>
                    <a:pt x="1129716" y="204990"/>
                  </a:lnTo>
                  <a:lnTo>
                    <a:pt x="1129716" y="206324"/>
                  </a:lnTo>
                  <a:lnTo>
                    <a:pt x="1129716" y="204990"/>
                  </a:lnTo>
                  <a:lnTo>
                    <a:pt x="1129716" y="206324"/>
                  </a:lnTo>
                  <a:lnTo>
                    <a:pt x="1129716" y="204990"/>
                  </a:lnTo>
                  <a:lnTo>
                    <a:pt x="1129805" y="204990"/>
                  </a:lnTo>
                  <a:lnTo>
                    <a:pt x="1129805" y="204292"/>
                  </a:lnTo>
                  <a:lnTo>
                    <a:pt x="1129805" y="204990"/>
                  </a:lnTo>
                  <a:lnTo>
                    <a:pt x="1129805" y="204292"/>
                  </a:lnTo>
                  <a:lnTo>
                    <a:pt x="1129856" y="204292"/>
                  </a:lnTo>
                  <a:lnTo>
                    <a:pt x="1129856" y="202959"/>
                  </a:lnTo>
                  <a:lnTo>
                    <a:pt x="1129856" y="203594"/>
                  </a:lnTo>
                  <a:lnTo>
                    <a:pt x="1129856" y="202959"/>
                  </a:lnTo>
                  <a:lnTo>
                    <a:pt x="1129856" y="203594"/>
                  </a:lnTo>
                  <a:lnTo>
                    <a:pt x="1129856" y="200876"/>
                  </a:lnTo>
                  <a:lnTo>
                    <a:pt x="1129907" y="200876"/>
                  </a:lnTo>
                  <a:lnTo>
                    <a:pt x="1129907" y="203594"/>
                  </a:lnTo>
                  <a:lnTo>
                    <a:pt x="1129907" y="200876"/>
                  </a:lnTo>
                  <a:lnTo>
                    <a:pt x="1129958" y="200876"/>
                  </a:lnTo>
                  <a:lnTo>
                    <a:pt x="1129958" y="204292"/>
                  </a:lnTo>
                  <a:lnTo>
                    <a:pt x="1129958" y="202959"/>
                  </a:lnTo>
                  <a:lnTo>
                    <a:pt x="1130059" y="203594"/>
                  </a:lnTo>
                  <a:lnTo>
                    <a:pt x="1130059" y="204990"/>
                  </a:lnTo>
                  <a:lnTo>
                    <a:pt x="1130059" y="204292"/>
                  </a:lnTo>
                  <a:lnTo>
                    <a:pt x="1130110" y="204292"/>
                  </a:lnTo>
                  <a:lnTo>
                    <a:pt x="1130110" y="204990"/>
                  </a:lnTo>
                  <a:lnTo>
                    <a:pt x="1130110" y="204292"/>
                  </a:lnTo>
                  <a:lnTo>
                    <a:pt x="1130110" y="204990"/>
                  </a:lnTo>
                  <a:lnTo>
                    <a:pt x="1130161" y="206324"/>
                  </a:lnTo>
                  <a:lnTo>
                    <a:pt x="1130161" y="204292"/>
                  </a:lnTo>
                  <a:lnTo>
                    <a:pt x="1130161" y="204990"/>
                  </a:lnTo>
                  <a:lnTo>
                    <a:pt x="1130161" y="204292"/>
                  </a:lnTo>
                  <a:lnTo>
                    <a:pt x="1130161" y="204990"/>
                  </a:lnTo>
                  <a:lnTo>
                    <a:pt x="1130161" y="204292"/>
                  </a:lnTo>
                  <a:lnTo>
                    <a:pt x="1130161" y="204990"/>
                  </a:lnTo>
                  <a:lnTo>
                    <a:pt x="1130161" y="204292"/>
                  </a:lnTo>
                  <a:lnTo>
                    <a:pt x="1130161" y="204990"/>
                  </a:lnTo>
                  <a:lnTo>
                    <a:pt x="1130262" y="204990"/>
                  </a:lnTo>
                  <a:lnTo>
                    <a:pt x="1130262" y="204292"/>
                  </a:lnTo>
                  <a:lnTo>
                    <a:pt x="1130300" y="204292"/>
                  </a:lnTo>
                  <a:lnTo>
                    <a:pt x="1130300" y="204990"/>
                  </a:lnTo>
                  <a:lnTo>
                    <a:pt x="1130300" y="203594"/>
                  </a:lnTo>
                  <a:lnTo>
                    <a:pt x="1130300" y="204292"/>
                  </a:lnTo>
                  <a:lnTo>
                    <a:pt x="1130300" y="203594"/>
                  </a:lnTo>
                  <a:lnTo>
                    <a:pt x="1130351" y="203594"/>
                  </a:lnTo>
                  <a:lnTo>
                    <a:pt x="1130351" y="200876"/>
                  </a:lnTo>
                  <a:lnTo>
                    <a:pt x="1130402" y="200876"/>
                  </a:lnTo>
                  <a:lnTo>
                    <a:pt x="1130402" y="200228"/>
                  </a:lnTo>
                  <a:lnTo>
                    <a:pt x="1130402" y="202959"/>
                  </a:lnTo>
                  <a:lnTo>
                    <a:pt x="1130402" y="200228"/>
                  </a:lnTo>
                  <a:lnTo>
                    <a:pt x="1130504" y="200228"/>
                  </a:lnTo>
                  <a:lnTo>
                    <a:pt x="1130504" y="203594"/>
                  </a:lnTo>
                  <a:lnTo>
                    <a:pt x="1130504" y="202260"/>
                  </a:lnTo>
                  <a:lnTo>
                    <a:pt x="1130555" y="202959"/>
                  </a:lnTo>
                  <a:lnTo>
                    <a:pt x="1130555" y="203594"/>
                  </a:lnTo>
                  <a:lnTo>
                    <a:pt x="1130555" y="202959"/>
                  </a:lnTo>
                  <a:lnTo>
                    <a:pt x="1130605" y="203594"/>
                  </a:lnTo>
                  <a:lnTo>
                    <a:pt x="1130605" y="204292"/>
                  </a:lnTo>
                  <a:lnTo>
                    <a:pt x="1130707" y="204292"/>
                  </a:lnTo>
                  <a:lnTo>
                    <a:pt x="1130707" y="203594"/>
                  </a:lnTo>
                  <a:lnTo>
                    <a:pt x="1130707" y="204990"/>
                  </a:lnTo>
                  <a:lnTo>
                    <a:pt x="1130758" y="204990"/>
                  </a:lnTo>
                  <a:lnTo>
                    <a:pt x="1130758" y="204292"/>
                  </a:lnTo>
                  <a:lnTo>
                    <a:pt x="1130758" y="204990"/>
                  </a:lnTo>
                  <a:lnTo>
                    <a:pt x="1130758" y="204292"/>
                  </a:lnTo>
                  <a:lnTo>
                    <a:pt x="1130758" y="204990"/>
                  </a:lnTo>
                  <a:lnTo>
                    <a:pt x="1130809" y="204990"/>
                  </a:lnTo>
                  <a:lnTo>
                    <a:pt x="1130809" y="204292"/>
                  </a:lnTo>
                  <a:lnTo>
                    <a:pt x="1130809" y="204990"/>
                  </a:lnTo>
                  <a:lnTo>
                    <a:pt x="1130809" y="203594"/>
                  </a:lnTo>
                  <a:lnTo>
                    <a:pt x="1130847" y="203594"/>
                  </a:lnTo>
                  <a:lnTo>
                    <a:pt x="1130847" y="202959"/>
                  </a:lnTo>
                  <a:lnTo>
                    <a:pt x="1130847" y="203594"/>
                  </a:lnTo>
                  <a:lnTo>
                    <a:pt x="1130847" y="202260"/>
                  </a:lnTo>
                  <a:lnTo>
                    <a:pt x="1130847" y="202959"/>
                  </a:lnTo>
                  <a:lnTo>
                    <a:pt x="1130847" y="200876"/>
                  </a:lnTo>
                  <a:lnTo>
                    <a:pt x="1130948" y="200876"/>
                  </a:lnTo>
                  <a:lnTo>
                    <a:pt x="1130948" y="202260"/>
                  </a:lnTo>
                  <a:lnTo>
                    <a:pt x="1130948" y="200228"/>
                  </a:lnTo>
                  <a:lnTo>
                    <a:pt x="1130948" y="200876"/>
                  </a:lnTo>
                  <a:lnTo>
                    <a:pt x="1130999" y="202260"/>
                  </a:lnTo>
                  <a:lnTo>
                    <a:pt x="1130999" y="203594"/>
                  </a:lnTo>
                  <a:lnTo>
                    <a:pt x="1130999" y="202260"/>
                  </a:lnTo>
                  <a:lnTo>
                    <a:pt x="1130999" y="202959"/>
                  </a:lnTo>
                  <a:lnTo>
                    <a:pt x="1130999" y="202260"/>
                  </a:lnTo>
                  <a:lnTo>
                    <a:pt x="1130999" y="202959"/>
                  </a:lnTo>
                  <a:lnTo>
                    <a:pt x="1131151" y="202959"/>
                  </a:lnTo>
                  <a:lnTo>
                    <a:pt x="1131151" y="203594"/>
                  </a:lnTo>
                  <a:lnTo>
                    <a:pt x="1131151" y="202959"/>
                  </a:lnTo>
                  <a:lnTo>
                    <a:pt x="1131151" y="203594"/>
                  </a:lnTo>
                  <a:lnTo>
                    <a:pt x="1131151" y="202959"/>
                  </a:lnTo>
                  <a:lnTo>
                    <a:pt x="1131151" y="203594"/>
                  </a:lnTo>
                  <a:lnTo>
                    <a:pt x="1131151" y="202959"/>
                  </a:lnTo>
                  <a:lnTo>
                    <a:pt x="1131151" y="203594"/>
                  </a:lnTo>
                  <a:lnTo>
                    <a:pt x="1131151" y="202959"/>
                  </a:lnTo>
                  <a:lnTo>
                    <a:pt x="1131151" y="203594"/>
                  </a:lnTo>
                  <a:lnTo>
                    <a:pt x="1131151" y="202959"/>
                  </a:lnTo>
                  <a:lnTo>
                    <a:pt x="1131202" y="202959"/>
                  </a:lnTo>
                  <a:lnTo>
                    <a:pt x="1131202" y="203594"/>
                  </a:lnTo>
                  <a:lnTo>
                    <a:pt x="1131202" y="202959"/>
                  </a:lnTo>
                  <a:lnTo>
                    <a:pt x="1131202" y="203594"/>
                  </a:lnTo>
                  <a:lnTo>
                    <a:pt x="1131253" y="202959"/>
                  </a:lnTo>
                  <a:lnTo>
                    <a:pt x="1131253" y="204292"/>
                  </a:lnTo>
                  <a:lnTo>
                    <a:pt x="1131253" y="203594"/>
                  </a:lnTo>
                  <a:lnTo>
                    <a:pt x="1131253" y="204292"/>
                  </a:lnTo>
                  <a:lnTo>
                    <a:pt x="1131253" y="203594"/>
                  </a:lnTo>
                  <a:lnTo>
                    <a:pt x="1131304" y="203594"/>
                  </a:lnTo>
                  <a:lnTo>
                    <a:pt x="1131393" y="202959"/>
                  </a:lnTo>
                  <a:lnTo>
                    <a:pt x="1131393" y="202260"/>
                  </a:lnTo>
                  <a:lnTo>
                    <a:pt x="1131393" y="203594"/>
                  </a:lnTo>
                  <a:lnTo>
                    <a:pt x="1131444" y="202959"/>
                  </a:lnTo>
                  <a:lnTo>
                    <a:pt x="1131444" y="203594"/>
                  </a:lnTo>
                  <a:lnTo>
                    <a:pt x="1131444" y="200876"/>
                  </a:lnTo>
                  <a:lnTo>
                    <a:pt x="1131444" y="204990"/>
                  </a:lnTo>
                  <a:lnTo>
                    <a:pt x="1131444" y="204292"/>
                  </a:lnTo>
                  <a:lnTo>
                    <a:pt x="1131494" y="203594"/>
                  </a:lnTo>
                  <a:lnTo>
                    <a:pt x="1131494" y="202959"/>
                  </a:lnTo>
                  <a:lnTo>
                    <a:pt x="1131494" y="203594"/>
                  </a:lnTo>
                  <a:lnTo>
                    <a:pt x="1131494" y="202959"/>
                  </a:lnTo>
                  <a:lnTo>
                    <a:pt x="1131494" y="204990"/>
                  </a:lnTo>
                  <a:lnTo>
                    <a:pt x="1131494" y="204292"/>
                  </a:lnTo>
                  <a:lnTo>
                    <a:pt x="1131545" y="204292"/>
                  </a:lnTo>
                  <a:lnTo>
                    <a:pt x="1131545" y="203594"/>
                  </a:lnTo>
                  <a:lnTo>
                    <a:pt x="1131545" y="204292"/>
                  </a:lnTo>
                  <a:lnTo>
                    <a:pt x="1131545" y="203594"/>
                  </a:lnTo>
                  <a:lnTo>
                    <a:pt x="1131545" y="204292"/>
                  </a:lnTo>
                  <a:lnTo>
                    <a:pt x="1131545" y="203594"/>
                  </a:lnTo>
                  <a:lnTo>
                    <a:pt x="1131545" y="204292"/>
                  </a:lnTo>
                  <a:lnTo>
                    <a:pt x="1131545" y="203594"/>
                  </a:lnTo>
                  <a:lnTo>
                    <a:pt x="1131647" y="203594"/>
                  </a:lnTo>
                  <a:lnTo>
                    <a:pt x="1131647" y="204292"/>
                  </a:lnTo>
                  <a:lnTo>
                    <a:pt x="1131647" y="203594"/>
                  </a:lnTo>
                  <a:lnTo>
                    <a:pt x="1131647" y="204292"/>
                  </a:lnTo>
                  <a:lnTo>
                    <a:pt x="1131697" y="203594"/>
                  </a:lnTo>
                  <a:lnTo>
                    <a:pt x="1131697" y="204292"/>
                  </a:lnTo>
                  <a:lnTo>
                    <a:pt x="1131697" y="203594"/>
                  </a:lnTo>
                  <a:lnTo>
                    <a:pt x="1131697" y="204292"/>
                  </a:lnTo>
                  <a:lnTo>
                    <a:pt x="1131697" y="203594"/>
                  </a:lnTo>
                  <a:lnTo>
                    <a:pt x="1131697" y="204292"/>
                  </a:lnTo>
                  <a:lnTo>
                    <a:pt x="1131748" y="204292"/>
                  </a:lnTo>
                  <a:lnTo>
                    <a:pt x="1131748" y="203594"/>
                  </a:lnTo>
                  <a:lnTo>
                    <a:pt x="1131850" y="203594"/>
                  </a:lnTo>
                  <a:lnTo>
                    <a:pt x="1131850" y="202260"/>
                  </a:lnTo>
                  <a:lnTo>
                    <a:pt x="1131888" y="202260"/>
                  </a:lnTo>
                  <a:lnTo>
                    <a:pt x="1131888" y="203594"/>
                  </a:lnTo>
                  <a:lnTo>
                    <a:pt x="1131888" y="202260"/>
                  </a:lnTo>
                  <a:lnTo>
                    <a:pt x="1131939" y="202260"/>
                  </a:lnTo>
                  <a:lnTo>
                    <a:pt x="1131939" y="204990"/>
                  </a:lnTo>
                  <a:lnTo>
                    <a:pt x="1131939" y="203594"/>
                  </a:lnTo>
                  <a:lnTo>
                    <a:pt x="1131939" y="204292"/>
                  </a:lnTo>
                  <a:lnTo>
                    <a:pt x="1131939" y="203594"/>
                  </a:lnTo>
                  <a:lnTo>
                    <a:pt x="1131939" y="204292"/>
                  </a:lnTo>
                  <a:lnTo>
                    <a:pt x="1131939" y="203594"/>
                  </a:lnTo>
                  <a:lnTo>
                    <a:pt x="1131990" y="204292"/>
                  </a:lnTo>
                  <a:lnTo>
                    <a:pt x="1131990" y="203594"/>
                  </a:lnTo>
                  <a:lnTo>
                    <a:pt x="1131990" y="204990"/>
                  </a:lnTo>
                  <a:lnTo>
                    <a:pt x="1131990" y="203594"/>
                  </a:lnTo>
                  <a:lnTo>
                    <a:pt x="1131990" y="204292"/>
                  </a:lnTo>
                  <a:lnTo>
                    <a:pt x="1132091" y="204292"/>
                  </a:lnTo>
                  <a:lnTo>
                    <a:pt x="1132091" y="204990"/>
                  </a:lnTo>
                  <a:lnTo>
                    <a:pt x="1132091" y="204292"/>
                  </a:lnTo>
                  <a:lnTo>
                    <a:pt x="1132142" y="204292"/>
                  </a:lnTo>
                  <a:lnTo>
                    <a:pt x="1132142" y="204990"/>
                  </a:lnTo>
                  <a:lnTo>
                    <a:pt x="1132142" y="204292"/>
                  </a:lnTo>
                  <a:lnTo>
                    <a:pt x="1132193" y="204292"/>
                  </a:lnTo>
                  <a:lnTo>
                    <a:pt x="1132193" y="203594"/>
                  </a:lnTo>
                  <a:lnTo>
                    <a:pt x="1132193" y="204292"/>
                  </a:lnTo>
                  <a:lnTo>
                    <a:pt x="1132193" y="203594"/>
                  </a:lnTo>
                  <a:lnTo>
                    <a:pt x="1132193" y="204292"/>
                  </a:lnTo>
                  <a:lnTo>
                    <a:pt x="1132193" y="203594"/>
                  </a:lnTo>
                  <a:lnTo>
                    <a:pt x="1132294" y="203594"/>
                  </a:lnTo>
                  <a:lnTo>
                    <a:pt x="1132294" y="202260"/>
                  </a:lnTo>
                  <a:lnTo>
                    <a:pt x="1132345" y="202260"/>
                  </a:lnTo>
                  <a:lnTo>
                    <a:pt x="1132345" y="200876"/>
                  </a:lnTo>
                  <a:lnTo>
                    <a:pt x="1132345" y="202260"/>
                  </a:lnTo>
                  <a:lnTo>
                    <a:pt x="1132345" y="200876"/>
                  </a:lnTo>
                  <a:lnTo>
                    <a:pt x="1132345" y="202260"/>
                  </a:lnTo>
                  <a:lnTo>
                    <a:pt x="1132345" y="200876"/>
                  </a:lnTo>
                  <a:lnTo>
                    <a:pt x="1132345" y="202260"/>
                  </a:lnTo>
                  <a:lnTo>
                    <a:pt x="1132345" y="200228"/>
                  </a:lnTo>
                  <a:lnTo>
                    <a:pt x="1132345" y="200876"/>
                  </a:lnTo>
                  <a:lnTo>
                    <a:pt x="1132396" y="202260"/>
                  </a:lnTo>
                  <a:lnTo>
                    <a:pt x="1132396" y="203594"/>
                  </a:lnTo>
                  <a:lnTo>
                    <a:pt x="1132396" y="200876"/>
                  </a:lnTo>
                  <a:lnTo>
                    <a:pt x="1132396" y="203594"/>
                  </a:lnTo>
                  <a:lnTo>
                    <a:pt x="1132434" y="203594"/>
                  </a:lnTo>
                  <a:lnTo>
                    <a:pt x="1132434" y="204292"/>
                  </a:lnTo>
                  <a:lnTo>
                    <a:pt x="1132434" y="202959"/>
                  </a:lnTo>
                  <a:lnTo>
                    <a:pt x="1132434" y="204292"/>
                  </a:lnTo>
                  <a:lnTo>
                    <a:pt x="1132536" y="204292"/>
                  </a:lnTo>
                  <a:lnTo>
                    <a:pt x="1132536" y="204990"/>
                  </a:lnTo>
                  <a:lnTo>
                    <a:pt x="1132536" y="204292"/>
                  </a:lnTo>
                  <a:lnTo>
                    <a:pt x="1132536" y="204990"/>
                  </a:lnTo>
                  <a:lnTo>
                    <a:pt x="1132536" y="203594"/>
                  </a:lnTo>
                  <a:lnTo>
                    <a:pt x="1132536" y="204292"/>
                  </a:lnTo>
                  <a:lnTo>
                    <a:pt x="1132587" y="204292"/>
                  </a:lnTo>
                  <a:lnTo>
                    <a:pt x="1132587" y="203594"/>
                  </a:lnTo>
                  <a:lnTo>
                    <a:pt x="1132587" y="204292"/>
                  </a:lnTo>
                  <a:lnTo>
                    <a:pt x="1132587" y="203594"/>
                  </a:lnTo>
                  <a:lnTo>
                    <a:pt x="1132587" y="204292"/>
                  </a:lnTo>
                  <a:lnTo>
                    <a:pt x="1132587" y="203594"/>
                  </a:lnTo>
                  <a:lnTo>
                    <a:pt x="1132587" y="204292"/>
                  </a:lnTo>
                  <a:lnTo>
                    <a:pt x="1132637" y="204990"/>
                  </a:lnTo>
                  <a:lnTo>
                    <a:pt x="1132637" y="206324"/>
                  </a:lnTo>
                  <a:lnTo>
                    <a:pt x="1132637" y="204990"/>
                  </a:lnTo>
                  <a:lnTo>
                    <a:pt x="1132637" y="206324"/>
                  </a:lnTo>
                  <a:lnTo>
                    <a:pt x="1132637" y="204990"/>
                  </a:lnTo>
                  <a:lnTo>
                    <a:pt x="1132739" y="204990"/>
                  </a:lnTo>
                  <a:lnTo>
                    <a:pt x="1132739" y="204292"/>
                  </a:lnTo>
                  <a:lnTo>
                    <a:pt x="1132739" y="204990"/>
                  </a:lnTo>
                  <a:lnTo>
                    <a:pt x="1132739" y="203594"/>
                  </a:lnTo>
                  <a:lnTo>
                    <a:pt x="1132790" y="204292"/>
                  </a:lnTo>
                  <a:lnTo>
                    <a:pt x="1132790" y="203594"/>
                  </a:lnTo>
                  <a:lnTo>
                    <a:pt x="1132790" y="204292"/>
                  </a:lnTo>
                  <a:lnTo>
                    <a:pt x="1132790" y="202959"/>
                  </a:lnTo>
                  <a:lnTo>
                    <a:pt x="1132840" y="202959"/>
                  </a:lnTo>
                  <a:lnTo>
                    <a:pt x="1132840" y="200876"/>
                  </a:lnTo>
                  <a:lnTo>
                    <a:pt x="1132840" y="202959"/>
                  </a:lnTo>
                  <a:lnTo>
                    <a:pt x="1132891" y="202959"/>
                  </a:lnTo>
                  <a:lnTo>
                    <a:pt x="1132891" y="200876"/>
                  </a:lnTo>
                  <a:lnTo>
                    <a:pt x="1132891" y="204990"/>
                  </a:lnTo>
                  <a:lnTo>
                    <a:pt x="1132891" y="204292"/>
                  </a:lnTo>
                  <a:lnTo>
                    <a:pt x="1132980" y="204292"/>
                  </a:lnTo>
                  <a:lnTo>
                    <a:pt x="1132980" y="202959"/>
                  </a:lnTo>
                  <a:lnTo>
                    <a:pt x="1132980" y="204292"/>
                  </a:lnTo>
                  <a:lnTo>
                    <a:pt x="1133031" y="203594"/>
                  </a:lnTo>
                  <a:lnTo>
                    <a:pt x="1133031" y="204292"/>
                  </a:lnTo>
                  <a:lnTo>
                    <a:pt x="1133031" y="203594"/>
                  </a:lnTo>
                  <a:lnTo>
                    <a:pt x="1133031" y="204292"/>
                  </a:lnTo>
                  <a:lnTo>
                    <a:pt x="1133082" y="203594"/>
                  </a:lnTo>
                  <a:lnTo>
                    <a:pt x="1133082" y="204990"/>
                  </a:lnTo>
                  <a:lnTo>
                    <a:pt x="1133082" y="204292"/>
                  </a:lnTo>
                  <a:lnTo>
                    <a:pt x="1133133" y="204292"/>
                  </a:lnTo>
                  <a:lnTo>
                    <a:pt x="1133133" y="204990"/>
                  </a:lnTo>
                  <a:lnTo>
                    <a:pt x="1133133" y="204292"/>
                  </a:lnTo>
                  <a:lnTo>
                    <a:pt x="1133133" y="204990"/>
                  </a:lnTo>
                  <a:lnTo>
                    <a:pt x="1133234" y="204990"/>
                  </a:lnTo>
                  <a:lnTo>
                    <a:pt x="1133234" y="203594"/>
                  </a:lnTo>
                  <a:lnTo>
                    <a:pt x="1133285" y="203594"/>
                  </a:lnTo>
                  <a:lnTo>
                    <a:pt x="1133285" y="200876"/>
                  </a:lnTo>
                  <a:lnTo>
                    <a:pt x="1133336" y="200876"/>
                  </a:lnTo>
                  <a:lnTo>
                    <a:pt x="1133336" y="199530"/>
                  </a:lnTo>
                  <a:lnTo>
                    <a:pt x="1133336" y="202260"/>
                  </a:lnTo>
                  <a:lnTo>
                    <a:pt x="1133437" y="200876"/>
                  </a:lnTo>
                  <a:lnTo>
                    <a:pt x="1133437" y="202260"/>
                  </a:lnTo>
                  <a:lnTo>
                    <a:pt x="1133437" y="200876"/>
                  </a:lnTo>
                  <a:lnTo>
                    <a:pt x="1133437" y="204292"/>
                  </a:lnTo>
                  <a:lnTo>
                    <a:pt x="1133437" y="203594"/>
                  </a:lnTo>
                  <a:lnTo>
                    <a:pt x="1133475" y="202959"/>
                  </a:lnTo>
                  <a:lnTo>
                    <a:pt x="1133475" y="203594"/>
                  </a:lnTo>
                  <a:lnTo>
                    <a:pt x="1133526" y="202959"/>
                  </a:lnTo>
                  <a:lnTo>
                    <a:pt x="1133526" y="203594"/>
                  </a:lnTo>
                  <a:lnTo>
                    <a:pt x="1133526" y="202959"/>
                  </a:lnTo>
                  <a:lnTo>
                    <a:pt x="1133526" y="203594"/>
                  </a:lnTo>
                  <a:lnTo>
                    <a:pt x="1133526" y="202959"/>
                  </a:lnTo>
                  <a:lnTo>
                    <a:pt x="1133526" y="203594"/>
                  </a:lnTo>
                  <a:lnTo>
                    <a:pt x="1133526" y="202959"/>
                  </a:lnTo>
                  <a:lnTo>
                    <a:pt x="1133526" y="204292"/>
                  </a:lnTo>
                  <a:lnTo>
                    <a:pt x="1133526" y="203594"/>
                  </a:lnTo>
                  <a:lnTo>
                    <a:pt x="1133577" y="203594"/>
                  </a:lnTo>
                  <a:lnTo>
                    <a:pt x="1133577" y="204990"/>
                  </a:lnTo>
                  <a:lnTo>
                    <a:pt x="1133679" y="204990"/>
                  </a:lnTo>
                  <a:lnTo>
                    <a:pt x="1133679" y="204292"/>
                  </a:lnTo>
                  <a:lnTo>
                    <a:pt x="1133679" y="204990"/>
                  </a:lnTo>
                  <a:lnTo>
                    <a:pt x="1133679" y="204292"/>
                  </a:lnTo>
                  <a:lnTo>
                    <a:pt x="1133679" y="204990"/>
                  </a:lnTo>
                  <a:lnTo>
                    <a:pt x="1133679" y="204292"/>
                  </a:lnTo>
                  <a:lnTo>
                    <a:pt x="1133730" y="204292"/>
                  </a:lnTo>
                  <a:lnTo>
                    <a:pt x="1133730" y="204990"/>
                  </a:lnTo>
                  <a:lnTo>
                    <a:pt x="1133730" y="203594"/>
                  </a:lnTo>
                  <a:lnTo>
                    <a:pt x="1133730" y="204292"/>
                  </a:lnTo>
                  <a:lnTo>
                    <a:pt x="1133780" y="204292"/>
                  </a:lnTo>
                  <a:lnTo>
                    <a:pt x="1133780" y="202260"/>
                  </a:lnTo>
                  <a:lnTo>
                    <a:pt x="1133780" y="202959"/>
                  </a:lnTo>
                  <a:lnTo>
                    <a:pt x="1133780" y="202260"/>
                  </a:lnTo>
                  <a:lnTo>
                    <a:pt x="1133780" y="202959"/>
                  </a:lnTo>
                  <a:lnTo>
                    <a:pt x="1133780" y="202260"/>
                  </a:lnTo>
                  <a:lnTo>
                    <a:pt x="1133882" y="202260"/>
                  </a:lnTo>
                  <a:lnTo>
                    <a:pt x="1133882" y="200876"/>
                  </a:lnTo>
                  <a:lnTo>
                    <a:pt x="1133882" y="202959"/>
                  </a:lnTo>
                  <a:lnTo>
                    <a:pt x="1133882" y="200876"/>
                  </a:lnTo>
                  <a:lnTo>
                    <a:pt x="1133933" y="200876"/>
                  </a:lnTo>
                  <a:lnTo>
                    <a:pt x="1133933" y="204292"/>
                  </a:lnTo>
                  <a:lnTo>
                    <a:pt x="1133933" y="202260"/>
                  </a:lnTo>
                  <a:lnTo>
                    <a:pt x="1133984" y="202260"/>
                  </a:lnTo>
                  <a:lnTo>
                    <a:pt x="1133984" y="203594"/>
                  </a:lnTo>
                  <a:lnTo>
                    <a:pt x="1133984" y="202959"/>
                  </a:lnTo>
                  <a:lnTo>
                    <a:pt x="1134022" y="202959"/>
                  </a:lnTo>
                  <a:lnTo>
                    <a:pt x="1134022" y="203594"/>
                  </a:lnTo>
                  <a:lnTo>
                    <a:pt x="1134022" y="202959"/>
                  </a:lnTo>
                  <a:lnTo>
                    <a:pt x="1134022" y="203594"/>
                  </a:lnTo>
                  <a:lnTo>
                    <a:pt x="1134022" y="202959"/>
                  </a:lnTo>
                  <a:lnTo>
                    <a:pt x="1134022" y="203594"/>
                  </a:lnTo>
                  <a:lnTo>
                    <a:pt x="1134123" y="203594"/>
                  </a:lnTo>
                  <a:lnTo>
                    <a:pt x="1134123" y="204292"/>
                  </a:lnTo>
                  <a:lnTo>
                    <a:pt x="1134174" y="204292"/>
                  </a:lnTo>
                  <a:lnTo>
                    <a:pt x="1134174" y="204990"/>
                  </a:lnTo>
                  <a:lnTo>
                    <a:pt x="1134174" y="203594"/>
                  </a:lnTo>
                  <a:lnTo>
                    <a:pt x="1134225" y="203594"/>
                  </a:lnTo>
                  <a:lnTo>
                    <a:pt x="1134225" y="204292"/>
                  </a:lnTo>
                  <a:lnTo>
                    <a:pt x="1134225" y="203594"/>
                  </a:lnTo>
                  <a:lnTo>
                    <a:pt x="1134225" y="204292"/>
                  </a:lnTo>
                  <a:lnTo>
                    <a:pt x="1134225" y="203594"/>
                  </a:lnTo>
                  <a:lnTo>
                    <a:pt x="1134326" y="203594"/>
                  </a:lnTo>
                  <a:lnTo>
                    <a:pt x="1134326" y="202260"/>
                  </a:lnTo>
                  <a:lnTo>
                    <a:pt x="1134326" y="202959"/>
                  </a:lnTo>
                  <a:lnTo>
                    <a:pt x="1134326" y="202260"/>
                  </a:lnTo>
                  <a:lnTo>
                    <a:pt x="1134326" y="202959"/>
                  </a:lnTo>
                  <a:lnTo>
                    <a:pt x="1134377" y="202959"/>
                  </a:lnTo>
                  <a:lnTo>
                    <a:pt x="1134377" y="204292"/>
                  </a:lnTo>
                  <a:lnTo>
                    <a:pt x="1134377" y="202260"/>
                  </a:lnTo>
                  <a:lnTo>
                    <a:pt x="1134377" y="202959"/>
                  </a:lnTo>
                  <a:lnTo>
                    <a:pt x="1134377" y="202260"/>
                  </a:lnTo>
                  <a:lnTo>
                    <a:pt x="1134377" y="203594"/>
                  </a:lnTo>
                  <a:lnTo>
                    <a:pt x="1134428" y="203594"/>
                  </a:lnTo>
                  <a:lnTo>
                    <a:pt x="1134428" y="204990"/>
                  </a:lnTo>
                  <a:lnTo>
                    <a:pt x="1134428" y="203594"/>
                  </a:lnTo>
                  <a:lnTo>
                    <a:pt x="1134428" y="204292"/>
                  </a:lnTo>
                  <a:lnTo>
                    <a:pt x="1134479" y="204292"/>
                  </a:lnTo>
                  <a:lnTo>
                    <a:pt x="1134479" y="203594"/>
                  </a:lnTo>
                  <a:lnTo>
                    <a:pt x="1134479" y="204292"/>
                  </a:lnTo>
                  <a:lnTo>
                    <a:pt x="1134479" y="203594"/>
                  </a:lnTo>
                  <a:lnTo>
                    <a:pt x="1134479" y="204292"/>
                  </a:lnTo>
                  <a:lnTo>
                    <a:pt x="1134568" y="204292"/>
                  </a:lnTo>
                  <a:lnTo>
                    <a:pt x="1134568" y="203594"/>
                  </a:lnTo>
                  <a:lnTo>
                    <a:pt x="1134568" y="204990"/>
                  </a:lnTo>
                  <a:lnTo>
                    <a:pt x="1134568" y="204292"/>
                  </a:lnTo>
                  <a:lnTo>
                    <a:pt x="1134669" y="204292"/>
                  </a:lnTo>
                  <a:lnTo>
                    <a:pt x="1134669" y="204990"/>
                  </a:lnTo>
                  <a:lnTo>
                    <a:pt x="1134669" y="203594"/>
                  </a:lnTo>
                  <a:lnTo>
                    <a:pt x="1134720" y="203594"/>
                  </a:lnTo>
                  <a:lnTo>
                    <a:pt x="1134720" y="204292"/>
                  </a:lnTo>
                  <a:lnTo>
                    <a:pt x="1134720" y="203594"/>
                  </a:lnTo>
                  <a:lnTo>
                    <a:pt x="1134720" y="204292"/>
                  </a:lnTo>
                  <a:lnTo>
                    <a:pt x="1134720" y="202959"/>
                  </a:lnTo>
                  <a:lnTo>
                    <a:pt x="1134720" y="203594"/>
                  </a:lnTo>
                  <a:lnTo>
                    <a:pt x="1134720" y="202959"/>
                  </a:lnTo>
                  <a:lnTo>
                    <a:pt x="1134822" y="202959"/>
                  </a:lnTo>
                  <a:lnTo>
                    <a:pt x="1134822" y="202260"/>
                  </a:lnTo>
                  <a:lnTo>
                    <a:pt x="1134822" y="202959"/>
                  </a:lnTo>
                  <a:lnTo>
                    <a:pt x="1134822" y="200876"/>
                  </a:lnTo>
                  <a:lnTo>
                    <a:pt x="1134822" y="202260"/>
                  </a:lnTo>
                  <a:lnTo>
                    <a:pt x="1134872" y="202260"/>
                  </a:lnTo>
                  <a:lnTo>
                    <a:pt x="1134872" y="203594"/>
                  </a:lnTo>
                  <a:lnTo>
                    <a:pt x="1134872" y="202260"/>
                  </a:lnTo>
                  <a:lnTo>
                    <a:pt x="1134872" y="203594"/>
                  </a:lnTo>
                  <a:lnTo>
                    <a:pt x="1134923" y="204292"/>
                  </a:lnTo>
                  <a:lnTo>
                    <a:pt x="1134923" y="204990"/>
                  </a:lnTo>
                  <a:lnTo>
                    <a:pt x="1134923" y="202959"/>
                  </a:lnTo>
                  <a:lnTo>
                    <a:pt x="1134923" y="203594"/>
                  </a:lnTo>
                  <a:lnTo>
                    <a:pt x="1134923" y="202959"/>
                  </a:lnTo>
                  <a:lnTo>
                    <a:pt x="1134923" y="203594"/>
                  </a:lnTo>
                  <a:lnTo>
                    <a:pt x="1135025" y="204292"/>
                  </a:lnTo>
                  <a:lnTo>
                    <a:pt x="1135025" y="202959"/>
                  </a:lnTo>
                  <a:lnTo>
                    <a:pt x="1135025" y="204292"/>
                  </a:lnTo>
                  <a:lnTo>
                    <a:pt x="1135063" y="204292"/>
                  </a:lnTo>
                  <a:lnTo>
                    <a:pt x="1135063" y="203594"/>
                  </a:lnTo>
                  <a:lnTo>
                    <a:pt x="1135063" y="204292"/>
                  </a:lnTo>
                  <a:lnTo>
                    <a:pt x="1135114" y="204292"/>
                  </a:lnTo>
                  <a:lnTo>
                    <a:pt x="1135114" y="204990"/>
                  </a:lnTo>
                  <a:lnTo>
                    <a:pt x="1135114" y="204292"/>
                  </a:lnTo>
                  <a:lnTo>
                    <a:pt x="1135114" y="204990"/>
                  </a:lnTo>
                  <a:lnTo>
                    <a:pt x="1135114" y="204292"/>
                  </a:lnTo>
                  <a:lnTo>
                    <a:pt x="1135165" y="204292"/>
                  </a:lnTo>
                  <a:lnTo>
                    <a:pt x="1135165" y="202959"/>
                  </a:lnTo>
                  <a:lnTo>
                    <a:pt x="1135266" y="202959"/>
                  </a:lnTo>
                  <a:lnTo>
                    <a:pt x="1135266" y="202260"/>
                  </a:lnTo>
                  <a:lnTo>
                    <a:pt x="1135317" y="202260"/>
                  </a:lnTo>
                  <a:lnTo>
                    <a:pt x="1135317" y="200228"/>
                  </a:lnTo>
                  <a:lnTo>
                    <a:pt x="1135317" y="200876"/>
                  </a:lnTo>
                  <a:lnTo>
                    <a:pt x="1135317" y="199530"/>
                  </a:lnTo>
                  <a:lnTo>
                    <a:pt x="1135317" y="200228"/>
                  </a:lnTo>
                  <a:lnTo>
                    <a:pt x="1135368" y="200228"/>
                  </a:lnTo>
                  <a:lnTo>
                    <a:pt x="1135368" y="202260"/>
                  </a:lnTo>
                  <a:lnTo>
                    <a:pt x="1135368" y="200228"/>
                  </a:lnTo>
                  <a:lnTo>
                    <a:pt x="1135368" y="204292"/>
                  </a:lnTo>
                  <a:lnTo>
                    <a:pt x="1135469" y="203594"/>
                  </a:lnTo>
                  <a:lnTo>
                    <a:pt x="1135469" y="200876"/>
                  </a:lnTo>
                  <a:lnTo>
                    <a:pt x="1135469" y="203594"/>
                  </a:lnTo>
                  <a:lnTo>
                    <a:pt x="1135520" y="203594"/>
                  </a:lnTo>
                  <a:lnTo>
                    <a:pt x="1135520" y="202260"/>
                  </a:lnTo>
                  <a:lnTo>
                    <a:pt x="1135520" y="203594"/>
                  </a:lnTo>
                  <a:lnTo>
                    <a:pt x="1135571" y="203594"/>
                  </a:lnTo>
                  <a:lnTo>
                    <a:pt x="1135571" y="204292"/>
                  </a:lnTo>
                  <a:lnTo>
                    <a:pt x="1135609" y="204292"/>
                  </a:lnTo>
                  <a:lnTo>
                    <a:pt x="1135609" y="203594"/>
                  </a:lnTo>
                  <a:lnTo>
                    <a:pt x="1135609" y="204990"/>
                  </a:lnTo>
                  <a:lnTo>
                    <a:pt x="1135609" y="204292"/>
                  </a:lnTo>
                  <a:lnTo>
                    <a:pt x="1135711" y="204292"/>
                  </a:lnTo>
                  <a:lnTo>
                    <a:pt x="1135711" y="203594"/>
                  </a:lnTo>
                  <a:lnTo>
                    <a:pt x="1135711" y="204292"/>
                  </a:lnTo>
                  <a:lnTo>
                    <a:pt x="1135711" y="203594"/>
                  </a:lnTo>
                  <a:lnTo>
                    <a:pt x="1135711" y="204292"/>
                  </a:lnTo>
                  <a:lnTo>
                    <a:pt x="1135711" y="203594"/>
                  </a:lnTo>
                  <a:lnTo>
                    <a:pt x="1135762" y="203594"/>
                  </a:lnTo>
                  <a:lnTo>
                    <a:pt x="1135762" y="204292"/>
                  </a:lnTo>
                  <a:lnTo>
                    <a:pt x="1135762" y="202959"/>
                  </a:lnTo>
                  <a:lnTo>
                    <a:pt x="1135762" y="203594"/>
                  </a:lnTo>
                  <a:lnTo>
                    <a:pt x="1135762" y="202959"/>
                  </a:lnTo>
                  <a:lnTo>
                    <a:pt x="1135762" y="203594"/>
                  </a:lnTo>
                  <a:lnTo>
                    <a:pt x="1135762" y="202959"/>
                  </a:lnTo>
                  <a:lnTo>
                    <a:pt x="1135762" y="203594"/>
                  </a:lnTo>
                  <a:lnTo>
                    <a:pt x="1135762" y="202260"/>
                  </a:lnTo>
                  <a:lnTo>
                    <a:pt x="1135812" y="202260"/>
                  </a:lnTo>
                  <a:lnTo>
                    <a:pt x="1135812" y="200228"/>
                  </a:lnTo>
                  <a:lnTo>
                    <a:pt x="1135812" y="200876"/>
                  </a:lnTo>
                  <a:lnTo>
                    <a:pt x="1135812" y="200228"/>
                  </a:lnTo>
                  <a:lnTo>
                    <a:pt x="1135812" y="200876"/>
                  </a:lnTo>
                  <a:lnTo>
                    <a:pt x="1135914" y="202260"/>
                  </a:lnTo>
                  <a:lnTo>
                    <a:pt x="1135914" y="200228"/>
                  </a:lnTo>
                  <a:lnTo>
                    <a:pt x="1135914" y="202959"/>
                  </a:lnTo>
                  <a:lnTo>
                    <a:pt x="1135965" y="202959"/>
                  </a:lnTo>
                  <a:lnTo>
                    <a:pt x="1135965" y="202260"/>
                  </a:lnTo>
                  <a:lnTo>
                    <a:pt x="1135965" y="202959"/>
                  </a:lnTo>
                  <a:lnTo>
                    <a:pt x="1135965" y="200876"/>
                  </a:lnTo>
                  <a:lnTo>
                    <a:pt x="1135965" y="202959"/>
                  </a:lnTo>
                  <a:lnTo>
                    <a:pt x="1136015" y="202959"/>
                  </a:lnTo>
                  <a:lnTo>
                    <a:pt x="1136015" y="203594"/>
                  </a:lnTo>
                  <a:lnTo>
                    <a:pt x="1136066" y="202959"/>
                  </a:lnTo>
                  <a:lnTo>
                    <a:pt x="1136066" y="203594"/>
                  </a:lnTo>
                  <a:lnTo>
                    <a:pt x="1136066" y="202959"/>
                  </a:lnTo>
                  <a:lnTo>
                    <a:pt x="1136066" y="203594"/>
                  </a:lnTo>
                  <a:lnTo>
                    <a:pt x="1136155" y="203594"/>
                  </a:lnTo>
                  <a:lnTo>
                    <a:pt x="1136155" y="204292"/>
                  </a:lnTo>
                  <a:lnTo>
                    <a:pt x="1136155" y="203594"/>
                  </a:lnTo>
                  <a:lnTo>
                    <a:pt x="1136206" y="203594"/>
                  </a:lnTo>
                  <a:lnTo>
                    <a:pt x="1136206" y="204292"/>
                  </a:lnTo>
                  <a:lnTo>
                    <a:pt x="1136206" y="202959"/>
                  </a:lnTo>
                  <a:lnTo>
                    <a:pt x="1136206" y="203594"/>
                  </a:lnTo>
                  <a:lnTo>
                    <a:pt x="1136257" y="203594"/>
                  </a:lnTo>
                  <a:lnTo>
                    <a:pt x="1136257" y="202260"/>
                  </a:lnTo>
                  <a:lnTo>
                    <a:pt x="1136308" y="202260"/>
                  </a:lnTo>
                  <a:lnTo>
                    <a:pt x="1136308" y="200876"/>
                  </a:lnTo>
                  <a:lnTo>
                    <a:pt x="1136308" y="202260"/>
                  </a:lnTo>
                  <a:lnTo>
                    <a:pt x="1136308" y="199530"/>
                  </a:lnTo>
                  <a:lnTo>
                    <a:pt x="1136308" y="202260"/>
                  </a:lnTo>
                  <a:lnTo>
                    <a:pt x="1136409" y="202260"/>
                  </a:lnTo>
                  <a:lnTo>
                    <a:pt x="1136409" y="199530"/>
                  </a:lnTo>
                  <a:lnTo>
                    <a:pt x="1136409" y="203594"/>
                  </a:lnTo>
                  <a:lnTo>
                    <a:pt x="1136460" y="202959"/>
                  </a:lnTo>
                  <a:lnTo>
                    <a:pt x="1136460" y="200228"/>
                  </a:lnTo>
                  <a:lnTo>
                    <a:pt x="1136460" y="202959"/>
                  </a:lnTo>
                  <a:lnTo>
                    <a:pt x="1136511" y="202959"/>
                  </a:lnTo>
                  <a:lnTo>
                    <a:pt x="1136511" y="202260"/>
                  </a:lnTo>
                  <a:lnTo>
                    <a:pt x="1136511" y="202959"/>
                  </a:lnTo>
                  <a:lnTo>
                    <a:pt x="1136511" y="202260"/>
                  </a:lnTo>
                  <a:lnTo>
                    <a:pt x="1136511" y="203594"/>
                  </a:lnTo>
                  <a:lnTo>
                    <a:pt x="1136511" y="202959"/>
                  </a:lnTo>
                  <a:lnTo>
                    <a:pt x="1136612" y="202959"/>
                  </a:lnTo>
                  <a:lnTo>
                    <a:pt x="1136612" y="203594"/>
                  </a:lnTo>
                  <a:lnTo>
                    <a:pt x="1136612" y="202959"/>
                  </a:lnTo>
                  <a:lnTo>
                    <a:pt x="1136612" y="203594"/>
                  </a:lnTo>
                  <a:lnTo>
                    <a:pt x="1136650" y="203594"/>
                  </a:lnTo>
                  <a:lnTo>
                    <a:pt x="1136650" y="202959"/>
                  </a:lnTo>
                  <a:lnTo>
                    <a:pt x="1136650" y="203594"/>
                  </a:lnTo>
                  <a:lnTo>
                    <a:pt x="1136701" y="203594"/>
                  </a:lnTo>
                  <a:lnTo>
                    <a:pt x="1136701" y="204292"/>
                  </a:lnTo>
                  <a:lnTo>
                    <a:pt x="1136701" y="203594"/>
                  </a:lnTo>
                  <a:lnTo>
                    <a:pt x="1136752" y="203594"/>
                  </a:lnTo>
                  <a:lnTo>
                    <a:pt x="1136752" y="202959"/>
                  </a:lnTo>
                  <a:lnTo>
                    <a:pt x="1136752" y="203594"/>
                  </a:lnTo>
                  <a:lnTo>
                    <a:pt x="1136752" y="202260"/>
                  </a:lnTo>
                  <a:lnTo>
                    <a:pt x="1136854" y="202260"/>
                  </a:lnTo>
                  <a:lnTo>
                    <a:pt x="1136854" y="200228"/>
                  </a:lnTo>
                  <a:lnTo>
                    <a:pt x="1136854" y="200876"/>
                  </a:lnTo>
                  <a:lnTo>
                    <a:pt x="1136905" y="200876"/>
                  </a:lnTo>
                  <a:lnTo>
                    <a:pt x="1136905" y="199530"/>
                  </a:lnTo>
                  <a:lnTo>
                    <a:pt x="1136905" y="202959"/>
                  </a:lnTo>
                  <a:lnTo>
                    <a:pt x="1136955" y="202260"/>
                  </a:lnTo>
                  <a:lnTo>
                    <a:pt x="1136955" y="200876"/>
                  </a:lnTo>
                  <a:lnTo>
                    <a:pt x="1136955" y="202959"/>
                  </a:lnTo>
                  <a:lnTo>
                    <a:pt x="1136955" y="202260"/>
                  </a:lnTo>
                  <a:lnTo>
                    <a:pt x="1137057" y="202260"/>
                  </a:lnTo>
                  <a:lnTo>
                    <a:pt x="1137057" y="200876"/>
                  </a:lnTo>
                  <a:lnTo>
                    <a:pt x="1137057" y="202260"/>
                  </a:lnTo>
                  <a:lnTo>
                    <a:pt x="1137057" y="200876"/>
                  </a:lnTo>
                  <a:lnTo>
                    <a:pt x="1137057" y="202959"/>
                  </a:lnTo>
                  <a:lnTo>
                    <a:pt x="1137057" y="202260"/>
                  </a:lnTo>
                  <a:lnTo>
                    <a:pt x="1137108" y="202260"/>
                  </a:lnTo>
                  <a:lnTo>
                    <a:pt x="1137108" y="203594"/>
                  </a:lnTo>
                  <a:lnTo>
                    <a:pt x="1137108" y="202959"/>
                  </a:lnTo>
                  <a:lnTo>
                    <a:pt x="1137159" y="202959"/>
                  </a:lnTo>
                  <a:lnTo>
                    <a:pt x="1137159" y="203594"/>
                  </a:lnTo>
                  <a:lnTo>
                    <a:pt x="1137159" y="202959"/>
                  </a:lnTo>
                  <a:lnTo>
                    <a:pt x="1137159" y="203594"/>
                  </a:lnTo>
                  <a:lnTo>
                    <a:pt x="1137197" y="203594"/>
                  </a:lnTo>
                  <a:lnTo>
                    <a:pt x="1137197" y="202959"/>
                  </a:lnTo>
                  <a:lnTo>
                    <a:pt x="1137197" y="203594"/>
                  </a:lnTo>
                  <a:lnTo>
                    <a:pt x="1137197" y="202959"/>
                  </a:lnTo>
                  <a:lnTo>
                    <a:pt x="1137197" y="203594"/>
                  </a:lnTo>
                  <a:lnTo>
                    <a:pt x="1137298" y="203594"/>
                  </a:lnTo>
                  <a:lnTo>
                    <a:pt x="1137298" y="202260"/>
                  </a:lnTo>
                  <a:lnTo>
                    <a:pt x="1137349" y="202260"/>
                  </a:lnTo>
                  <a:lnTo>
                    <a:pt x="1137349" y="200876"/>
                  </a:lnTo>
                  <a:lnTo>
                    <a:pt x="1137349" y="203594"/>
                  </a:lnTo>
                  <a:lnTo>
                    <a:pt x="1137349" y="202959"/>
                  </a:lnTo>
                  <a:lnTo>
                    <a:pt x="1137349" y="203594"/>
                  </a:lnTo>
                  <a:lnTo>
                    <a:pt x="1137349" y="200876"/>
                  </a:lnTo>
                  <a:lnTo>
                    <a:pt x="1137400" y="200876"/>
                  </a:lnTo>
                  <a:lnTo>
                    <a:pt x="1137400" y="204990"/>
                  </a:lnTo>
                  <a:lnTo>
                    <a:pt x="1137400" y="202959"/>
                  </a:lnTo>
                  <a:lnTo>
                    <a:pt x="1137501" y="202959"/>
                  </a:lnTo>
                  <a:lnTo>
                    <a:pt x="1137501" y="204990"/>
                  </a:lnTo>
                  <a:lnTo>
                    <a:pt x="1137501" y="203594"/>
                  </a:lnTo>
                  <a:lnTo>
                    <a:pt x="1137552" y="203594"/>
                  </a:lnTo>
                  <a:lnTo>
                    <a:pt x="1137552" y="204292"/>
                  </a:lnTo>
                  <a:lnTo>
                    <a:pt x="1137552" y="203594"/>
                  </a:lnTo>
                  <a:lnTo>
                    <a:pt x="1137552" y="204292"/>
                  </a:lnTo>
                  <a:lnTo>
                    <a:pt x="1137603" y="203594"/>
                  </a:lnTo>
                  <a:lnTo>
                    <a:pt x="1137603" y="204990"/>
                  </a:lnTo>
                  <a:lnTo>
                    <a:pt x="1137603" y="203594"/>
                  </a:lnTo>
                  <a:lnTo>
                    <a:pt x="1137603" y="204292"/>
                  </a:lnTo>
                  <a:lnTo>
                    <a:pt x="1137603" y="203594"/>
                  </a:lnTo>
                  <a:lnTo>
                    <a:pt x="1137603" y="204292"/>
                  </a:lnTo>
                  <a:lnTo>
                    <a:pt x="1137603" y="203594"/>
                  </a:lnTo>
                  <a:lnTo>
                    <a:pt x="1137603" y="204292"/>
                  </a:lnTo>
                  <a:lnTo>
                    <a:pt x="1137654" y="204292"/>
                  </a:lnTo>
                  <a:lnTo>
                    <a:pt x="1137654" y="203594"/>
                  </a:lnTo>
                  <a:lnTo>
                    <a:pt x="1137654" y="204292"/>
                  </a:lnTo>
                  <a:lnTo>
                    <a:pt x="1137743" y="204292"/>
                  </a:lnTo>
                  <a:lnTo>
                    <a:pt x="1137743" y="203594"/>
                  </a:lnTo>
                  <a:lnTo>
                    <a:pt x="1137743" y="204292"/>
                  </a:lnTo>
                  <a:lnTo>
                    <a:pt x="1137743" y="203594"/>
                  </a:lnTo>
                  <a:lnTo>
                    <a:pt x="1137743" y="204292"/>
                  </a:lnTo>
                  <a:lnTo>
                    <a:pt x="1137743" y="203594"/>
                  </a:lnTo>
                  <a:lnTo>
                    <a:pt x="1137743" y="204292"/>
                  </a:lnTo>
                  <a:lnTo>
                    <a:pt x="1137743" y="203594"/>
                  </a:lnTo>
                  <a:lnTo>
                    <a:pt x="1137794" y="203594"/>
                  </a:lnTo>
                  <a:lnTo>
                    <a:pt x="1137794" y="202260"/>
                  </a:lnTo>
                  <a:lnTo>
                    <a:pt x="1137794" y="204292"/>
                  </a:lnTo>
                  <a:lnTo>
                    <a:pt x="1137844" y="204292"/>
                  </a:lnTo>
                  <a:lnTo>
                    <a:pt x="1137844" y="203594"/>
                  </a:lnTo>
                  <a:lnTo>
                    <a:pt x="1137844" y="207022"/>
                  </a:lnTo>
                  <a:lnTo>
                    <a:pt x="1137895" y="206324"/>
                  </a:lnTo>
                  <a:lnTo>
                    <a:pt x="1137895" y="204292"/>
                  </a:lnTo>
                  <a:lnTo>
                    <a:pt x="1137895" y="206324"/>
                  </a:lnTo>
                  <a:lnTo>
                    <a:pt x="1137997" y="206324"/>
                  </a:lnTo>
                  <a:lnTo>
                    <a:pt x="1137997" y="204990"/>
                  </a:lnTo>
                  <a:lnTo>
                    <a:pt x="1137997" y="206324"/>
                  </a:lnTo>
                  <a:lnTo>
                    <a:pt x="1137997" y="204990"/>
                  </a:lnTo>
                  <a:lnTo>
                    <a:pt x="1137997" y="206324"/>
                  </a:lnTo>
                  <a:lnTo>
                    <a:pt x="1138047" y="204990"/>
                  </a:lnTo>
                  <a:lnTo>
                    <a:pt x="1138047" y="206324"/>
                  </a:lnTo>
                  <a:lnTo>
                    <a:pt x="1138047" y="204990"/>
                  </a:lnTo>
                  <a:lnTo>
                    <a:pt x="1138047" y="206324"/>
                  </a:lnTo>
                  <a:lnTo>
                    <a:pt x="1138047" y="204990"/>
                  </a:lnTo>
                  <a:lnTo>
                    <a:pt x="1138047" y="206324"/>
                  </a:lnTo>
                  <a:lnTo>
                    <a:pt x="1138098" y="204990"/>
                  </a:lnTo>
                  <a:lnTo>
                    <a:pt x="1138098" y="204292"/>
                  </a:lnTo>
                  <a:lnTo>
                    <a:pt x="1138098" y="206324"/>
                  </a:lnTo>
                  <a:lnTo>
                    <a:pt x="1138098" y="204292"/>
                  </a:lnTo>
                  <a:lnTo>
                    <a:pt x="1138098" y="204990"/>
                  </a:lnTo>
                  <a:lnTo>
                    <a:pt x="1138200" y="204990"/>
                  </a:lnTo>
                  <a:lnTo>
                    <a:pt x="1138200" y="204292"/>
                  </a:lnTo>
                  <a:lnTo>
                    <a:pt x="1138200" y="204990"/>
                  </a:lnTo>
                  <a:lnTo>
                    <a:pt x="1138200" y="204292"/>
                  </a:lnTo>
                  <a:lnTo>
                    <a:pt x="1138238" y="204292"/>
                  </a:lnTo>
                  <a:lnTo>
                    <a:pt x="1138238" y="202959"/>
                  </a:lnTo>
                  <a:lnTo>
                    <a:pt x="1138238" y="203594"/>
                  </a:lnTo>
                  <a:lnTo>
                    <a:pt x="1138238" y="202260"/>
                  </a:lnTo>
                  <a:lnTo>
                    <a:pt x="1138289" y="202260"/>
                  </a:lnTo>
                  <a:lnTo>
                    <a:pt x="1138289" y="200876"/>
                  </a:lnTo>
                  <a:lnTo>
                    <a:pt x="1138289" y="203594"/>
                  </a:lnTo>
                  <a:lnTo>
                    <a:pt x="1138289" y="202959"/>
                  </a:lnTo>
                  <a:lnTo>
                    <a:pt x="1138340" y="202959"/>
                  </a:lnTo>
                  <a:lnTo>
                    <a:pt x="1138340" y="200876"/>
                  </a:lnTo>
                  <a:lnTo>
                    <a:pt x="1138340" y="204990"/>
                  </a:lnTo>
                  <a:lnTo>
                    <a:pt x="1138340" y="204292"/>
                  </a:lnTo>
                  <a:lnTo>
                    <a:pt x="1138441" y="204292"/>
                  </a:lnTo>
                  <a:lnTo>
                    <a:pt x="1138441" y="206324"/>
                  </a:lnTo>
                  <a:lnTo>
                    <a:pt x="1138441" y="204990"/>
                  </a:lnTo>
                  <a:lnTo>
                    <a:pt x="1138492" y="204990"/>
                  </a:lnTo>
                  <a:lnTo>
                    <a:pt x="1138492" y="206324"/>
                  </a:lnTo>
                  <a:lnTo>
                    <a:pt x="1138492" y="204990"/>
                  </a:lnTo>
                  <a:lnTo>
                    <a:pt x="1138492" y="206324"/>
                  </a:lnTo>
                  <a:lnTo>
                    <a:pt x="1138492" y="204990"/>
                  </a:lnTo>
                  <a:lnTo>
                    <a:pt x="1138543" y="204990"/>
                  </a:lnTo>
                  <a:lnTo>
                    <a:pt x="1138543" y="206324"/>
                  </a:lnTo>
                  <a:lnTo>
                    <a:pt x="1138543" y="204990"/>
                  </a:lnTo>
                  <a:lnTo>
                    <a:pt x="1138543" y="206324"/>
                  </a:lnTo>
                  <a:lnTo>
                    <a:pt x="1138543" y="204990"/>
                  </a:lnTo>
                  <a:lnTo>
                    <a:pt x="1138543" y="206324"/>
                  </a:lnTo>
                  <a:lnTo>
                    <a:pt x="1138543" y="204990"/>
                  </a:lnTo>
                  <a:lnTo>
                    <a:pt x="1138644" y="206324"/>
                  </a:lnTo>
                  <a:lnTo>
                    <a:pt x="1138644" y="204990"/>
                  </a:lnTo>
                  <a:lnTo>
                    <a:pt x="1138644" y="206324"/>
                  </a:lnTo>
                  <a:lnTo>
                    <a:pt x="1138644" y="204990"/>
                  </a:lnTo>
                  <a:lnTo>
                    <a:pt x="1138644" y="206324"/>
                  </a:lnTo>
                  <a:lnTo>
                    <a:pt x="1138644" y="204990"/>
                  </a:lnTo>
                  <a:lnTo>
                    <a:pt x="1138695" y="204990"/>
                  </a:lnTo>
                  <a:lnTo>
                    <a:pt x="1138695" y="206324"/>
                  </a:lnTo>
                  <a:lnTo>
                    <a:pt x="1138695" y="204292"/>
                  </a:lnTo>
                  <a:lnTo>
                    <a:pt x="1138695" y="204990"/>
                  </a:lnTo>
                  <a:lnTo>
                    <a:pt x="1138695" y="204292"/>
                  </a:lnTo>
                  <a:lnTo>
                    <a:pt x="1138746" y="204292"/>
                  </a:lnTo>
                  <a:lnTo>
                    <a:pt x="1138746" y="202260"/>
                  </a:lnTo>
                  <a:lnTo>
                    <a:pt x="1138746" y="202959"/>
                  </a:lnTo>
                  <a:lnTo>
                    <a:pt x="1138746" y="202260"/>
                  </a:lnTo>
                  <a:lnTo>
                    <a:pt x="1138746" y="202959"/>
                  </a:lnTo>
                  <a:lnTo>
                    <a:pt x="1138784" y="203594"/>
                  </a:lnTo>
                  <a:lnTo>
                    <a:pt x="1138784" y="202260"/>
                  </a:lnTo>
                  <a:lnTo>
                    <a:pt x="1138784" y="203594"/>
                  </a:lnTo>
                  <a:lnTo>
                    <a:pt x="1138886" y="204292"/>
                  </a:lnTo>
                  <a:lnTo>
                    <a:pt x="1138886" y="204990"/>
                  </a:lnTo>
                  <a:lnTo>
                    <a:pt x="1138886" y="204292"/>
                  </a:lnTo>
                  <a:lnTo>
                    <a:pt x="1138886" y="204990"/>
                  </a:lnTo>
                  <a:lnTo>
                    <a:pt x="1138886" y="203594"/>
                  </a:lnTo>
                  <a:lnTo>
                    <a:pt x="1138886" y="204990"/>
                  </a:lnTo>
                  <a:lnTo>
                    <a:pt x="1138937" y="204990"/>
                  </a:lnTo>
                  <a:lnTo>
                    <a:pt x="1138937" y="206324"/>
                  </a:lnTo>
                  <a:lnTo>
                    <a:pt x="1138937" y="204990"/>
                  </a:lnTo>
                  <a:lnTo>
                    <a:pt x="1138937" y="206324"/>
                  </a:lnTo>
                  <a:lnTo>
                    <a:pt x="1138937" y="204292"/>
                  </a:lnTo>
                  <a:lnTo>
                    <a:pt x="1138937" y="206324"/>
                  </a:lnTo>
                  <a:lnTo>
                    <a:pt x="1138987" y="204990"/>
                  </a:lnTo>
                  <a:lnTo>
                    <a:pt x="1138987" y="206324"/>
                  </a:lnTo>
                  <a:lnTo>
                    <a:pt x="1138987" y="204990"/>
                  </a:lnTo>
                  <a:lnTo>
                    <a:pt x="1139089" y="204990"/>
                  </a:lnTo>
                  <a:lnTo>
                    <a:pt x="1139089" y="206324"/>
                  </a:lnTo>
                  <a:lnTo>
                    <a:pt x="1139089" y="204990"/>
                  </a:lnTo>
                  <a:lnTo>
                    <a:pt x="1139089" y="206324"/>
                  </a:lnTo>
                  <a:lnTo>
                    <a:pt x="1139140" y="204990"/>
                  </a:lnTo>
                  <a:lnTo>
                    <a:pt x="1139190" y="204990"/>
                  </a:lnTo>
                  <a:lnTo>
                    <a:pt x="1139190" y="204292"/>
                  </a:lnTo>
                  <a:lnTo>
                    <a:pt x="1139190" y="204990"/>
                  </a:lnTo>
                  <a:lnTo>
                    <a:pt x="1139190" y="203594"/>
                  </a:lnTo>
                  <a:lnTo>
                    <a:pt x="1139241" y="202959"/>
                  </a:lnTo>
                  <a:lnTo>
                    <a:pt x="1139241" y="200876"/>
                  </a:lnTo>
                  <a:lnTo>
                    <a:pt x="1139330" y="200228"/>
                  </a:lnTo>
                  <a:lnTo>
                    <a:pt x="1139330" y="202959"/>
                  </a:lnTo>
                  <a:lnTo>
                    <a:pt x="1139330" y="200876"/>
                  </a:lnTo>
                  <a:lnTo>
                    <a:pt x="1139330" y="202260"/>
                  </a:lnTo>
                  <a:lnTo>
                    <a:pt x="1139381" y="202959"/>
                  </a:lnTo>
                  <a:lnTo>
                    <a:pt x="1139381" y="203594"/>
                  </a:lnTo>
                  <a:lnTo>
                    <a:pt x="1139381" y="202260"/>
                  </a:lnTo>
                  <a:lnTo>
                    <a:pt x="1139381" y="203594"/>
                  </a:lnTo>
                  <a:lnTo>
                    <a:pt x="1139432" y="204292"/>
                  </a:lnTo>
                  <a:lnTo>
                    <a:pt x="1139432" y="203594"/>
                  </a:lnTo>
                  <a:lnTo>
                    <a:pt x="1139432" y="204292"/>
                  </a:lnTo>
                  <a:lnTo>
                    <a:pt x="1139483" y="204292"/>
                  </a:lnTo>
                  <a:lnTo>
                    <a:pt x="1139483" y="203594"/>
                  </a:lnTo>
                  <a:lnTo>
                    <a:pt x="1139483" y="204990"/>
                  </a:lnTo>
                  <a:lnTo>
                    <a:pt x="1139584" y="204990"/>
                  </a:lnTo>
                  <a:lnTo>
                    <a:pt x="1139584" y="204292"/>
                  </a:lnTo>
                  <a:lnTo>
                    <a:pt x="1139584" y="204990"/>
                  </a:lnTo>
                  <a:lnTo>
                    <a:pt x="1139584" y="204292"/>
                  </a:lnTo>
                  <a:lnTo>
                    <a:pt x="1139584" y="204990"/>
                  </a:lnTo>
                  <a:lnTo>
                    <a:pt x="1139635" y="204990"/>
                  </a:lnTo>
                  <a:lnTo>
                    <a:pt x="1139635" y="204292"/>
                  </a:lnTo>
                  <a:lnTo>
                    <a:pt x="1139635" y="204990"/>
                  </a:lnTo>
                  <a:lnTo>
                    <a:pt x="1139686" y="204990"/>
                  </a:lnTo>
                  <a:lnTo>
                    <a:pt x="1139686" y="203594"/>
                  </a:lnTo>
                  <a:lnTo>
                    <a:pt x="1139686" y="204292"/>
                  </a:lnTo>
                  <a:lnTo>
                    <a:pt x="1139686" y="203594"/>
                  </a:lnTo>
                  <a:lnTo>
                    <a:pt x="1139686" y="204292"/>
                  </a:lnTo>
                  <a:lnTo>
                    <a:pt x="1139686" y="203594"/>
                  </a:lnTo>
                  <a:lnTo>
                    <a:pt x="1139787" y="203594"/>
                  </a:lnTo>
                  <a:lnTo>
                    <a:pt x="1139787" y="202260"/>
                  </a:lnTo>
                  <a:lnTo>
                    <a:pt x="1139787" y="202959"/>
                  </a:lnTo>
                  <a:lnTo>
                    <a:pt x="1139787" y="202260"/>
                  </a:lnTo>
                  <a:lnTo>
                    <a:pt x="1139825" y="202260"/>
                  </a:lnTo>
                  <a:lnTo>
                    <a:pt x="1139825" y="202959"/>
                  </a:lnTo>
                  <a:lnTo>
                    <a:pt x="1139825" y="200876"/>
                  </a:lnTo>
                  <a:lnTo>
                    <a:pt x="1139825" y="202260"/>
                  </a:lnTo>
                  <a:lnTo>
                    <a:pt x="1139825" y="200876"/>
                  </a:lnTo>
                  <a:lnTo>
                    <a:pt x="1139825" y="203594"/>
                  </a:lnTo>
                  <a:lnTo>
                    <a:pt x="1139876" y="203594"/>
                  </a:lnTo>
                  <a:lnTo>
                    <a:pt x="1139876" y="202260"/>
                  </a:lnTo>
                  <a:lnTo>
                    <a:pt x="1139876" y="202959"/>
                  </a:lnTo>
                  <a:lnTo>
                    <a:pt x="1139876" y="202260"/>
                  </a:lnTo>
                  <a:lnTo>
                    <a:pt x="1139876" y="203594"/>
                  </a:lnTo>
                  <a:lnTo>
                    <a:pt x="1139927" y="203594"/>
                  </a:lnTo>
                  <a:lnTo>
                    <a:pt x="1139927" y="202959"/>
                  </a:lnTo>
                  <a:lnTo>
                    <a:pt x="1139927" y="203594"/>
                  </a:lnTo>
                  <a:lnTo>
                    <a:pt x="1139927" y="202959"/>
                  </a:lnTo>
                  <a:lnTo>
                    <a:pt x="1139927" y="203594"/>
                  </a:lnTo>
                  <a:lnTo>
                    <a:pt x="1139927" y="202260"/>
                  </a:lnTo>
                  <a:lnTo>
                    <a:pt x="1139927" y="202959"/>
                  </a:lnTo>
                  <a:lnTo>
                    <a:pt x="1139927" y="202260"/>
                  </a:lnTo>
                  <a:lnTo>
                    <a:pt x="1139927" y="202959"/>
                  </a:lnTo>
                  <a:lnTo>
                    <a:pt x="1139927" y="202260"/>
                  </a:lnTo>
                  <a:lnTo>
                    <a:pt x="1139927" y="203594"/>
                  </a:lnTo>
                  <a:lnTo>
                    <a:pt x="1140029" y="203594"/>
                  </a:lnTo>
                  <a:lnTo>
                    <a:pt x="1140029" y="202260"/>
                  </a:lnTo>
                  <a:lnTo>
                    <a:pt x="1140029" y="203594"/>
                  </a:lnTo>
                  <a:lnTo>
                    <a:pt x="1140080" y="203594"/>
                  </a:lnTo>
                  <a:lnTo>
                    <a:pt x="1140080" y="202959"/>
                  </a:lnTo>
                  <a:lnTo>
                    <a:pt x="1140080" y="204292"/>
                  </a:lnTo>
                  <a:lnTo>
                    <a:pt x="1140080" y="203594"/>
                  </a:lnTo>
                  <a:lnTo>
                    <a:pt x="1140080" y="204292"/>
                  </a:lnTo>
                  <a:lnTo>
                    <a:pt x="1140232" y="204292"/>
                  </a:lnTo>
                  <a:lnTo>
                    <a:pt x="1140232" y="202260"/>
                  </a:lnTo>
                  <a:lnTo>
                    <a:pt x="1140283" y="202959"/>
                  </a:lnTo>
                  <a:lnTo>
                    <a:pt x="1140283" y="202260"/>
                  </a:lnTo>
                  <a:lnTo>
                    <a:pt x="1140283" y="202959"/>
                  </a:lnTo>
                  <a:lnTo>
                    <a:pt x="1140283" y="202260"/>
                  </a:lnTo>
                  <a:lnTo>
                    <a:pt x="1140283" y="202959"/>
                  </a:lnTo>
                  <a:lnTo>
                    <a:pt x="1140283" y="202260"/>
                  </a:lnTo>
                  <a:lnTo>
                    <a:pt x="1140283" y="203594"/>
                  </a:lnTo>
                  <a:lnTo>
                    <a:pt x="1140283" y="202959"/>
                  </a:lnTo>
                  <a:lnTo>
                    <a:pt x="1140334" y="202959"/>
                  </a:lnTo>
                  <a:lnTo>
                    <a:pt x="1140334" y="202260"/>
                  </a:lnTo>
                  <a:lnTo>
                    <a:pt x="1140334" y="204990"/>
                  </a:lnTo>
                  <a:lnTo>
                    <a:pt x="1140334" y="203594"/>
                  </a:lnTo>
                  <a:lnTo>
                    <a:pt x="1140372" y="203594"/>
                  </a:lnTo>
                  <a:lnTo>
                    <a:pt x="1140372" y="204292"/>
                  </a:lnTo>
                  <a:lnTo>
                    <a:pt x="1140372" y="203594"/>
                  </a:lnTo>
                  <a:lnTo>
                    <a:pt x="1140372" y="204990"/>
                  </a:lnTo>
                  <a:lnTo>
                    <a:pt x="1140372" y="204292"/>
                  </a:lnTo>
                  <a:lnTo>
                    <a:pt x="1140473" y="203594"/>
                  </a:lnTo>
                  <a:lnTo>
                    <a:pt x="1140473" y="204990"/>
                  </a:lnTo>
                  <a:lnTo>
                    <a:pt x="1140473" y="203594"/>
                  </a:lnTo>
                  <a:lnTo>
                    <a:pt x="1140524" y="203594"/>
                  </a:lnTo>
                  <a:lnTo>
                    <a:pt x="1140524" y="204292"/>
                  </a:lnTo>
                  <a:lnTo>
                    <a:pt x="1140575" y="204292"/>
                  </a:lnTo>
                  <a:lnTo>
                    <a:pt x="1140575" y="204990"/>
                  </a:lnTo>
                  <a:lnTo>
                    <a:pt x="1140575" y="204292"/>
                  </a:lnTo>
                  <a:lnTo>
                    <a:pt x="1140676" y="204292"/>
                  </a:lnTo>
                  <a:lnTo>
                    <a:pt x="1140676" y="204990"/>
                  </a:lnTo>
                  <a:lnTo>
                    <a:pt x="1140676" y="203594"/>
                  </a:lnTo>
                  <a:lnTo>
                    <a:pt x="1140676" y="204292"/>
                  </a:lnTo>
                  <a:lnTo>
                    <a:pt x="1140676" y="203594"/>
                  </a:lnTo>
                  <a:lnTo>
                    <a:pt x="1140676" y="204292"/>
                  </a:lnTo>
                  <a:lnTo>
                    <a:pt x="1140676" y="203594"/>
                  </a:lnTo>
                  <a:lnTo>
                    <a:pt x="1140676" y="204292"/>
                  </a:lnTo>
                  <a:lnTo>
                    <a:pt x="1140727" y="203594"/>
                  </a:lnTo>
                  <a:lnTo>
                    <a:pt x="1140727" y="202260"/>
                  </a:lnTo>
                  <a:lnTo>
                    <a:pt x="1140727" y="202959"/>
                  </a:lnTo>
                  <a:lnTo>
                    <a:pt x="1140727" y="202260"/>
                  </a:lnTo>
                  <a:lnTo>
                    <a:pt x="1140778" y="202260"/>
                  </a:lnTo>
                  <a:lnTo>
                    <a:pt x="1140778" y="200876"/>
                  </a:lnTo>
                  <a:lnTo>
                    <a:pt x="1140778" y="203594"/>
                  </a:lnTo>
                  <a:lnTo>
                    <a:pt x="1140778" y="202959"/>
                  </a:lnTo>
                  <a:lnTo>
                    <a:pt x="1140829" y="202260"/>
                  </a:lnTo>
                  <a:lnTo>
                    <a:pt x="1140829" y="204990"/>
                  </a:lnTo>
                  <a:lnTo>
                    <a:pt x="1140829" y="203594"/>
                  </a:lnTo>
                  <a:lnTo>
                    <a:pt x="1140918" y="203594"/>
                  </a:lnTo>
                  <a:lnTo>
                    <a:pt x="1140918" y="204990"/>
                  </a:lnTo>
                  <a:lnTo>
                    <a:pt x="1140918" y="203594"/>
                  </a:lnTo>
                  <a:lnTo>
                    <a:pt x="1140918" y="204292"/>
                  </a:lnTo>
                  <a:lnTo>
                    <a:pt x="1140969" y="204292"/>
                  </a:lnTo>
                  <a:lnTo>
                    <a:pt x="1140969" y="203594"/>
                  </a:lnTo>
                  <a:lnTo>
                    <a:pt x="1140969" y="204292"/>
                  </a:lnTo>
                  <a:lnTo>
                    <a:pt x="1140969" y="203594"/>
                  </a:lnTo>
                  <a:lnTo>
                    <a:pt x="1140969" y="204292"/>
                  </a:lnTo>
                  <a:lnTo>
                    <a:pt x="1141019" y="204292"/>
                  </a:lnTo>
                  <a:lnTo>
                    <a:pt x="1141019" y="203594"/>
                  </a:lnTo>
                  <a:lnTo>
                    <a:pt x="1141019" y="204292"/>
                  </a:lnTo>
                  <a:lnTo>
                    <a:pt x="1141019" y="203594"/>
                  </a:lnTo>
                  <a:lnTo>
                    <a:pt x="1141019" y="204292"/>
                  </a:lnTo>
                  <a:lnTo>
                    <a:pt x="1141019" y="203594"/>
                  </a:lnTo>
                  <a:lnTo>
                    <a:pt x="1141070" y="203594"/>
                  </a:lnTo>
                  <a:lnTo>
                    <a:pt x="1141070" y="204292"/>
                  </a:lnTo>
                  <a:lnTo>
                    <a:pt x="1141070" y="203594"/>
                  </a:lnTo>
                  <a:lnTo>
                    <a:pt x="1141070" y="204292"/>
                  </a:lnTo>
                  <a:lnTo>
                    <a:pt x="1141070" y="203594"/>
                  </a:lnTo>
                  <a:lnTo>
                    <a:pt x="1141070" y="204292"/>
                  </a:lnTo>
                  <a:lnTo>
                    <a:pt x="1141070" y="203594"/>
                  </a:lnTo>
                  <a:lnTo>
                    <a:pt x="1141070" y="204292"/>
                  </a:lnTo>
                  <a:lnTo>
                    <a:pt x="1141070" y="203594"/>
                  </a:lnTo>
                  <a:lnTo>
                    <a:pt x="1141172" y="203594"/>
                  </a:lnTo>
                  <a:lnTo>
                    <a:pt x="1141172" y="202260"/>
                  </a:lnTo>
                  <a:lnTo>
                    <a:pt x="1141222" y="202959"/>
                  </a:lnTo>
                  <a:lnTo>
                    <a:pt x="1141222" y="200228"/>
                  </a:lnTo>
                  <a:lnTo>
                    <a:pt x="1141222" y="200876"/>
                  </a:lnTo>
                  <a:lnTo>
                    <a:pt x="1141222" y="200228"/>
                  </a:lnTo>
                  <a:lnTo>
                    <a:pt x="1141273" y="200228"/>
                  </a:lnTo>
                  <a:lnTo>
                    <a:pt x="1141273" y="199530"/>
                  </a:lnTo>
                  <a:lnTo>
                    <a:pt x="1141273" y="202260"/>
                  </a:lnTo>
                  <a:lnTo>
                    <a:pt x="1141273" y="200228"/>
                  </a:lnTo>
                  <a:lnTo>
                    <a:pt x="1141375" y="200228"/>
                  </a:lnTo>
                  <a:lnTo>
                    <a:pt x="1141375" y="202959"/>
                  </a:lnTo>
                  <a:lnTo>
                    <a:pt x="1141375" y="202260"/>
                  </a:lnTo>
                  <a:lnTo>
                    <a:pt x="1141413" y="202260"/>
                  </a:lnTo>
                  <a:lnTo>
                    <a:pt x="1141413" y="203594"/>
                  </a:lnTo>
                  <a:lnTo>
                    <a:pt x="1141413" y="202959"/>
                  </a:lnTo>
                  <a:lnTo>
                    <a:pt x="1141413" y="203594"/>
                  </a:lnTo>
                  <a:lnTo>
                    <a:pt x="1141413" y="202959"/>
                  </a:lnTo>
                  <a:lnTo>
                    <a:pt x="1141413" y="203594"/>
                  </a:lnTo>
                  <a:lnTo>
                    <a:pt x="1141413" y="202959"/>
                  </a:lnTo>
                  <a:lnTo>
                    <a:pt x="1141464" y="202959"/>
                  </a:lnTo>
                  <a:lnTo>
                    <a:pt x="1141464" y="204292"/>
                  </a:lnTo>
                  <a:lnTo>
                    <a:pt x="1141464" y="202959"/>
                  </a:lnTo>
                  <a:lnTo>
                    <a:pt x="1141464" y="204292"/>
                  </a:lnTo>
                  <a:lnTo>
                    <a:pt x="1141515" y="204292"/>
                  </a:lnTo>
                  <a:lnTo>
                    <a:pt x="1141515" y="203594"/>
                  </a:lnTo>
                  <a:lnTo>
                    <a:pt x="1141515" y="204292"/>
                  </a:lnTo>
                  <a:lnTo>
                    <a:pt x="1141616" y="204292"/>
                  </a:lnTo>
                  <a:lnTo>
                    <a:pt x="1141616" y="204990"/>
                  </a:lnTo>
                  <a:lnTo>
                    <a:pt x="1141616" y="204292"/>
                  </a:lnTo>
                  <a:lnTo>
                    <a:pt x="1141616" y="204990"/>
                  </a:lnTo>
                  <a:lnTo>
                    <a:pt x="1141616" y="204292"/>
                  </a:lnTo>
                  <a:lnTo>
                    <a:pt x="1141616" y="204990"/>
                  </a:lnTo>
                  <a:lnTo>
                    <a:pt x="1141616" y="204292"/>
                  </a:lnTo>
                  <a:lnTo>
                    <a:pt x="1141667" y="204292"/>
                  </a:lnTo>
                  <a:lnTo>
                    <a:pt x="1141667" y="202959"/>
                  </a:lnTo>
                  <a:lnTo>
                    <a:pt x="1141718" y="202959"/>
                  </a:lnTo>
                  <a:lnTo>
                    <a:pt x="1141718" y="203594"/>
                  </a:lnTo>
                  <a:lnTo>
                    <a:pt x="1141718" y="202260"/>
                  </a:lnTo>
                  <a:lnTo>
                    <a:pt x="1141718" y="202959"/>
                  </a:lnTo>
                  <a:lnTo>
                    <a:pt x="1141718" y="200876"/>
                  </a:lnTo>
                  <a:lnTo>
                    <a:pt x="1141718" y="202260"/>
                  </a:lnTo>
                  <a:lnTo>
                    <a:pt x="1141718" y="200876"/>
                  </a:lnTo>
                  <a:lnTo>
                    <a:pt x="1141819" y="200876"/>
                  </a:lnTo>
                  <a:lnTo>
                    <a:pt x="1141819" y="202959"/>
                  </a:lnTo>
                  <a:lnTo>
                    <a:pt x="1141819" y="200876"/>
                  </a:lnTo>
                  <a:lnTo>
                    <a:pt x="1141819" y="203594"/>
                  </a:lnTo>
                  <a:lnTo>
                    <a:pt x="1141870" y="204292"/>
                  </a:lnTo>
                  <a:lnTo>
                    <a:pt x="1141870" y="202959"/>
                  </a:lnTo>
                  <a:lnTo>
                    <a:pt x="1141870" y="203594"/>
                  </a:lnTo>
                  <a:lnTo>
                    <a:pt x="1141921" y="204292"/>
                  </a:lnTo>
                  <a:lnTo>
                    <a:pt x="1141921" y="202959"/>
                  </a:lnTo>
                  <a:lnTo>
                    <a:pt x="1141921" y="203594"/>
                  </a:lnTo>
                  <a:lnTo>
                    <a:pt x="1141959" y="202959"/>
                  </a:lnTo>
                  <a:lnTo>
                    <a:pt x="1141959" y="204292"/>
                  </a:lnTo>
                  <a:lnTo>
                    <a:pt x="1141959" y="203594"/>
                  </a:lnTo>
                  <a:lnTo>
                    <a:pt x="1142061" y="203594"/>
                  </a:lnTo>
                  <a:lnTo>
                    <a:pt x="1142061" y="204292"/>
                  </a:lnTo>
                  <a:lnTo>
                    <a:pt x="1142112" y="203594"/>
                  </a:lnTo>
                  <a:lnTo>
                    <a:pt x="1142112" y="204292"/>
                  </a:lnTo>
                  <a:lnTo>
                    <a:pt x="1142112" y="203594"/>
                  </a:lnTo>
                  <a:lnTo>
                    <a:pt x="1142112" y="204292"/>
                  </a:lnTo>
                  <a:lnTo>
                    <a:pt x="1142112" y="203594"/>
                  </a:lnTo>
                  <a:lnTo>
                    <a:pt x="1142112" y="204292"/>
                  </a:lnTo>
                  <a:lnTo>
                    <a:pt x="1142112" y="203594"/>
                  </a:lnTo>
                  <a:lnTo>
                    <a:pt x="1142162" y="203594"/>
                  </a:lnTo>
                  <a:lnTo>
                    <a:pt x="1142162" y="202959"/>
                  </a:lnTo>
                  <a:lnTo>
                    <a:pt x="1142162" y="203594"/>
                  </a:lnTo>
                  <a:lnTo>
                    <a:pt x="1142162" y="202260"/>
                  </a:lnTo>
                  <a:lnTo>
                    <a:pt x="1142264" y="202260"/>
                  </a:lnTo>
                  <a:lnTo>
                    <a:pt x="1142264" y="200876"/>
                  </a:lnTo>
                  <a:lnTo>
                    <a:pt x="1142264" y="202959"/>
                  </a:lnTo>
                  <a:lnTo>
                    <a:pt x="1142264" y="202260"/>
                  </a:lnTo>
                  <a:lnTo>
                    <a:pt x="1142264" y="202959"/>
                  </a:lnTo>
                  <a:lnTo>
                    <a:pt x="1142315" y="202260"/>
                  </a:lnTo>
                  <a:lnTo>
                    <a:pt x="1142315" y="202959"/>
                  </a:lnTo>
                  <a:lnTo>
                    <a:pt x="1142315" y="202260"/>
                  </a:lnTo>
                  <a:lnTo>
                    <a:pt x="1142315" y="204292"/>
                  </a:lnTo>
                  <a:lnTo>
                    <a:pt x="1142315" y="203594"/>
                  </a:lnTo>
                  <a:lnTo>
                    <a:pt x="1142365" y="203594"/>
                  </a:lnTo>
                  <a:lnTo>
                    <a:pt x="1142365" y="202959"/>
                  </a:lnTo>
                  <a:lnTo>
                    <a:pt x="1142365" y="204292"/>
                  </a:lnTo>
                  <a:lnTo>
                    <a:pt x="1142365" y="203594"/>
                  </a:lnTo>
                  <a:lnTo>
                    <a:pt x="1142416" y="203594"/>
                  </a:lnTo>
                  <a:lnTo>
                    <a:pt x="1142416" y="204292"/>
                  </a:lnTo>
                  <a:lnTo>
                    <a:pt x="1142416" y="203594"/>
                  </a:lnTo>
                  <a:lnTo>
                    <a:pt x="1142505" y="203594"/>
                  </a:lnTo>
                  <a:lnTo>
                    <a:pt x="1142505" y="204292"/>
                  </a:lnTo>
                  <a:lnTo>
                    <a:pt x="1142505" y="203594"/>
                  </a:lnTo>
                  <a:lnTo>
                    <a:pt x="1142505" y="204292"/>
                  </a:lnTo>
                  <a:lnTo>
                    <a:pt x="1142505" y="203594"/>
                  </a:lnTo>
                  <a:lnTo>
                    <a:pt x="1142556" y="204292"/>
                  </a:lnTo>
                  <a:lnTo>
                    <a:pt x="1142556" y="203594"/>
                  </a:lnTo>
                  <a:lnTo>
                    <a:pt x="1142556" y="204292"/>
                  </a:lnTo>
                  <a:lnTo>
                    <a:pt x="1142556" y="203594"/>
                  </a:lnTo>
                  <a:lnTo>
                    <a:pt x="1142607" y="203594"/>
                  </a:lnTo>
                  <a:lnTo>
                    <a:pt x="1142607" y="204292"/>
                  </a:lnTo>
                  <a:lnTo>
                    <a:pt x="1142607" y="203594"/>
                  </a:lnTo>
                  <a:lnTo>
                    <a:pt x="1142607" y="204292"/>
                  </a:lnTo>
                  <a:lnTo>
                    <a:pt x="1142607" y="202959"/>
                  </a:lnTo>
                  <a:lnTo>
                    <a:pt x="1142607" y="203594"/>
                  </a:lnTo>
                  <a:lnTo>
                    <a:pt x="1142658" y="203594"/>
                  </a:lnTo>
                  <a:lnTo>
                    <a:pt x="1142658" y="202260"/>
                  </a:lnTo>
                  <a:lnTo>
                    <a:pt x="1142759" y="202260"/>
                  </a:lnTo>
                  <a:lnTo>
                    <a:pt x="1142759" y="202959"/>
                  </a:lnTo>
                  <a:lnTo>
                    <a:pt x="1142759" y="202260"/>
                  </a:lnTo>
                  <a:lnTo>
                    <a:pt x="1142810" y="202959"/>
                  </a:lnTo>
                  <a:lnTo>
                    <a:pt x="1142810" y="204292"/>
                  </a:lnTo>
                  <a:lnTo>
                    <a:pt x="1142810" y="202959"/>
                  </a:lnTo>
                  <a:lnTo>
                    <a:pt x="1142810" y="204292"/>
                  </a:lnTo>
                  <a:lnTo>
                    <a:pt x="1142861" y="203594"/>
                  </a:lnTo>
                  <a:lnTo>
                    <a:pt x="1142861" y="204292"/>
                  </a:lnTo>
                  <a:lnTo>
                    <a:pt x="1142861" y="203594"/>
                  </a:lnTo>
                  <a:lnTo>
                    <a:pt x="1142962" y="203594"/>
                  </a:lnTo>
                  <a:lnTo>
                    <a:pt x="1142962" y="204292"/>
                  </a:lnTo>
                  <a:lnTo>
                    <a:pt x="1142962" y="203594"/>
                  </a:lnTo>
                  <a:lnTo>
                    <a:pt x="1142962" y="204292"/>
                  </a:lnTo>
                  <a:lnTo>
                    <a:pt x="1142962" y="203594"/>
                  </a:lnTo>
                  <a:lnTo>
                    <a:pt x="1142962" y="204292"/>
                  </a:lnTo>
                  <a:lnTo>
                    <a:pt x="1143000" y="204990"/>
                  </a:lnTo>
                  <a:lnTo>
                    <a:pt x="1143000" y="204292"/>
                  </a:lnTo>
                  <a:lnTo>
                    <a:pt x="1143000" y="204990"/>
                  </a:lnTo>
                  <a:lnTo>
                    <a:pt x="1143000" y="203594"/>
                  </a:lnTo>
                  <a:lnTo>
                    <a:pt x="1143000" y="204292"/>
                  </a:lnTo>
                  <a:lnTo>
                    <a:pt x="1143000" y="203594"/>
                  </a:lnTo>
                  <a:lnTo>
                    <a:pt x="1143000" y="204292"/>
                  </a:lnTo>
                  <a:lnTo>
                    <a:pt x="1143051" y="204292"/>
                  </a:lnTo>
                  <a:lnTo>
                    <a:pt x="1143051" y="204990"/>
                  </a:lnTo>
                  <a:lnTo>
                    <a:pt x="1143051" y="203594"/>
                  </a:lnTo>
                  <a:lnTo>
                    <a:pt x="1143051" y="204292"/>
                  </a:lnTo>
                  <a:lnTo>
                    <a:pt x="1143051" y="203594"/>
                  </a:lnTo>
                  <a:lnTo>
                    <a:pt x="1143102" y="203594"/>
                  </a:lnTo>
                  <a:lnTo>
                    <a:pt x="1143102" y="202959"/>
                  </a:lnTo>
                  <a:lnTo>
                    <a:pt x="1143102" y="203594"/>
                  </a:lnTo>
                  <a:lnTo>
                    <a:pt x="1143102" y="202959"/>
                  </a:lnTo>
                  <a:lnTo>
                    <a:pt x="1143204" y="202260"/>
                  </a:lnTo>
                  <a:lnTo>
                    <a:pt x="1143204" y="200876"/>
                  </a:lnTo>
                  <a:lnTo>
                    <a:pt x="1143204" y="202959"/>
                  </a:lnTo>
                  <a:lnTo>
                    <a:pt x="1143255" y="202959"/>
                  </a:lnTo>
                  <a:lnTo>
                    <a:pt x="1143255" y="200876"/>
                  </a:lnTo>
                  <a:lnTo>
                    <a:pt x="1143255" y="204292"/>
                  </a:lnTo>
                  <a:lnTo>
                    <a:pt x="1143305" y="204292"/>
                  </a:lnTo>
                  <a:lnTo>
                    <a:pt x="1143305" y="202959"/>
                  </a:lnTo>
                  <a:lnTo>
                    <a:pt x="1143305" y="203594"/>
                  </a:lnTo>
                  <a:lnTo>
                    <a:pt x="1143305" y="202959"/>
                  </a:lnTo>
                  <a:lnTo>
                    <a:pt x="1143305" y="204292"/>
                  </a:lnTo>
                  <a:lnTo>
                    <a:pt x="1143407" y="204292"/>
                  </a:lnTo>
                  <a:lnTo>
                    <a:pt x="1143407" y="203594"/>
                  </a:lnTo>
                  <a:lnTo>
                    <a:pt x="1143407" y="204292"/>
                  </a:lnTo>
                  <a:lnTo>
                    <a:pt x="1143407" y="203594"/>
                  </a:lnTo>
                  <a:lnTo>
                    <a:pt x="1143407" y="204990"/>
                  </a:lnTo>
                  <a:lnTo>
                    <a:pt x="1143407" y="204292"/>
                  </a:lnTo>
                  <a:lnTo>
                    <a:pt x="1143458" y="204292"/>
                  </a:lnTo>
                  <a:lnTo>
                    <a:pt x="1143458" y="203594"/>
                  </a:lnTo>
                  <a:lnTo>
                    <a:pt x="1143458" y="204990"/>
                  </a:lnTo>
                  <a:lnTo>
                    <a:pt x="1143509" y="204292"/>
                  </a:lnTo>
                  <a:lnTo>
                    <a:pt x="1143509" y="204990"/>
                  </a:lnTo>
                  <a:lnTo>
                    <a:pt x="1143509" y="204292"/>
                  </a:lnTo>
                  <a:lnTo>
                    <a:pt x="1143509" y="204990"/>
                  </a:lnTo>
                  <a:lnTo>
                    <a:pt x="1143509" y="204292"/>
                  </a:lnTo>
                  <a:lnTo>
                    <a:pt x="1143547" y="204292"/>
                  </a:lnTo>
                  <a:lnTo>
                    <a:pt x="1143547" y="204990"/>
                  </a:lnTo>
                  <a:lnTo>
                    <a:pt x="1143547" y="203594"/>
                  </a:lnTo>
                  <a:lnTo>
                    <a:pt x="1143648" y="203594"/>
                  </a:lnTo>
                  <a:lnTo>
                    <a:pt x="1143648" y="202959"/>
                  </a:lnTo>
                  <a:lnTo>
                    <a:pt x="1143699" y="202959"/>
                  </a:lnTo>
                  <a:lnTo>
                    <a:pt x="1143699" y="202260"/>
                  </a:lnTo>
                  <a:lnTo>
                    <a:pt x="1143699" y="203594"/>
                  </a:lnTo>
                  <a:lnTo>
                    <a:pt x="1143699" y="202959"/>
                  </a:lnTo>
                  <a:lnTo>
                    <a:pt x="1143750" y="202260"/>
                  </a:lnTo>
                  <a:lnTo>
                    <a:pt x="1143750" y="204292"/>
                  </a:lnTo>
                  <a:lnTo>
                    <a:pt x="1143750" y="203594"/>
                  </a:lnTo>
                  <a:lnTo>
                    <a:pt x="1143851" y="203594"/>
                  </a:lnTo>
                  <a:lnTo>
                    <a:pt x="1143851" y="204292"/>
                  </a:lnTo>
                  <a:lnTo>
                    <a:pt x="1143902" y="203594"/>
                  </a:lnTo>
                  <a:lnTo>
                    <a:pt x="1143902" y="204292"/>
                  </a:lnTo>
                  <a:lnTo>
                    <a:pt x="1143902" y="203594"/>
                  </a:lnTo>
                  <a:lnTo>
                    <a:pt x="1143902" y="204990"/>
                  </a:lnTo>
                  <a:lnTo>
                    <a:pt x="1143953" y="204990"/>
                  </a:lnTo>
                  <a:lnTo>
                    <a:pt x="1143953" y="204292"/>
                  </a:lnTo>
                  <a:lnTo>
                    <a:pt x="1143953" y="204990"/>
                  </a:lnTo>
                  <a:lnTo>
                    <a:pt x="1143953" y="204292"/>
                  </a:lnTo>
                  <a:lnTo>
                    <a:pt x="1144004" y="204990"/>
                  </a:lnTo>
                  <a:lnTo>
                    <a:pt x="1144004" y="204292"/>
                  </a:lnTo>
                  <a:lnTo>
                    <a:pt x="1144004" y="204990"/>
                  </a:lnTo>
                  <a:lnTo>
                    <a:pt x="1144004" y="204292"/>
                  </a:lnTo>
                  <a:lnTo>
                    <a:pt x="1144093" y="204292"/>
                  </a:lnTo>
                  <a:lnTo>
                    <a:pt x="1144093" y="202959"/>
                  </a:lnTo>
                  <a:lnTo>
                    <a:pt x="1144093" y="203594"/>
                  </a:lnTo>
                  <a:lnTo>
                    <a:pt x="1144093" y="202959"/>
                  </a:lnTo>
                  <a:lnTo>
                    <a:pt x="1144144" y="202959"/>
                  </a:lnTo>
                  <a:lnTo>
                    <a:pt x="1144144" y="202260"/>
                  </a:lnTo>
                  <a:lnTo>
                    <a:pt x="1144194" y="200876"/>
                  </a:lnTo>
                  <a:lnTo>
                    <a:pt x="1144194" y="200228"/>
                  </a:lnTo>
                  <a:lnTo>
                    <a:pt x="1144194" y="202959"/>
                  </a:lnTo>
                  <a:lnTo>
                    <a:pt x="1144194" y="202260"/>
                  </a:lnTo>
                  <a:lnTo>
                    <a:pt x="1144194" y="202959"/>
                  </a:lnTo>
                  <a:lnTo>
                    <a:pt x="1144194" y="202260"/>
                  </a:lnTo>
                  <a:lnTo>
                    <a:pt x="1144194" y="202959"/>
                  </a:lnTo>
                  <a:lnTo>
                    <a:pt x="1144194" y="200876"/>
                  </a:lnTo>
                  <a:lnTo>
                    <a:pt x="1144245" y="200228"/>
                  </a:lnTo>
                  <a:lnTo>
                    <a:pt x="1144245" y="203594"/>
                  </a:lnTo>
                  <a:lnTo>
                    <a:pt x="1144245" y="202260"/>
                  </a:lnTo>
                  <a:lnTo>
                    <a:pt x="1144347" y="202260"/>
                  </a:lnTo>
                  <a:lnTo>
                    <a:pt x="1144347" y="203594"/>
                  </a:lnTo>
                  <a:lnTo>
                    <a:pt x="1144347" y="202959"/>
                  </a:lnTo>
                  <a:lnTo>
                    <a:pt x="1144347" y="203594"/>
                  </a:lnTo>
                  <a:lnTo>
                    <a:pt x="1144347" y="202959"/>
                  </a:lnTo>
                  <a:lnTo>
                    <a:pt x="1144397" y="202959"/>
                  </a:lnTo>
                  <a:lnTo>
                    <a:pt x="1144397" y="204292"/>
                  </a:lnTo>
                  <a:lnTo>
                    <a:pt x="1144397" y="203594"/>
                  </a:lnTo>
                  <a:lnTo>
                    <a:pt x="1144397" y="204292"/>
                  </a:lnTo>
                  <a:lnTo>
                    <a:pt x="1144397" y="203594"/>
                  </a:lnTo>
                  <a:lnTo>
                    <a:pt x="1144397" y="204292"/>
                  </a:lnTo>
                  <a:lnTo>
                    <a:pt x="1144448" y="203594"/>
                  </a:lnTo>
                  <a:lnTo>
                    <a:pt x="1144448" y="204292"/>
                  </a:lnTo>
                  <a:lnTo>
                    <a:pt x="1144448" y="203594"/>
                  </a:lnTo>
                  <a:lnTo>
                    <a:pt x="1144448" y="204292"/>
                  </a:lnTo>
                  <a:lnTo>
                    <a:pt x="1144550" y="203594"/>
                  </a:lnTo>
                  <a:lnTo>
                    <a:pt x="1144550" y="204292"/>
                  </a:lnTo>
                  <a:lnTo>
                    <a:pt x="1144550" y="203594"/>
                  </a:lnTo>
                  <a:lnTo>
                    <a:pt x="1144550" y="204292"/>
                  </a:lnTo>
                  <a:lnTo>
                    <a:pt x="1144550" y="203594"/>
                  </a:lnTo>
                  <a:lnTo>
                    <a:pt x="1144550" y="204292"/>
                  </a:lnTo>
                  <a:lnTo>
                    <a:pt x="1144550" y="203594"/>
                  </a:lnTo>
                  <a:lnTo>
                    <a:pt x="1144550" y="204292"/>
                  </a:lnTo>
                  <a:lnTo>
                    <a:pt x="1144550" y="203594"/>
                  </a:lnTo>
                  <a:lnTo>
                    <a:pt x="1144550" y="204292"/>
                  </a:lnTo>
                  <a:lnTo>
                    <a:pt x="1144550" y="203594"/>
                  </a:lnTo>
                  <a:lnTo>
                    <a:pt x="1144588" y="204292"/>
                  </a:lnTo>
                  <a:lnTo>
                    <a:pt x="1144588" y="202959"/>
                  </a:lnTo>
                  <a:lnTo>
                    <a:pt x="1144588" y="203594"/>
                  </a:lnTo>
                  <a:lnTo>
                    <a:pt x="1144639" y="202959"/>
                  </a:lnTo>
                  <a:lnTo>
                    <a:pt x="1144639" y="200228"/>
                  </a:lnTo>
                  <a:lnTo>
                    <a:pt x="1144690" y="200228"/>
                  </a:lnTo>
                  <a:lnTo>
                    <a:pt x="1144690" y="199530"/>
                  </a:lnTo>
                  <a:lnTo>
                    <a:pt x="1144690" y="202260"/>
                  </a:lnTo>
                  <a:lnTo>
                    <a:pt x="1144690" y="199530"/>
                  </a:lnTo>
                  <a:lnTo>
                    <a:pt x="1144791" y="200228"/>
                  </a:lnTo>
                  <a:lnTo>
                    <a:pt x="1144791" y="203594"/>
                  </a:lnTo>
                  <a:lnTo>
                    <a:pt x="1144791" y="200876"/>
                  </a:lnTo>
                  <a:lnTo>
                    <a:pt x="1144791" y="202260"/>
                  </a:lnTo>
                  <a:lnTo>
                    <a:pt x="1144842" y="202260"/>
                  </a:lnTo>
                  <a:lnTo>
                    <a:pt x="1144842" y="202959"/>
                  </a:lnTo>
                  <a:lnTo>
                    <a:pt x="1144842" y="202260"/>
                  </a:lnTo>
                  <a:lnTo>
                    <a:pt x="1144842" y="202959"/>
                  </a:lnTo>
                  <a:lnTo>
                    <a:pt x="1144842" y="202260"/>
                  </a:lnTo>
                  <a:lnTo>
                    <a:pt x="1144893" y="202260"/>
                  </a:lnTo>
                  <a:lnTo>
                    <a:pt x="1144893" y="202959"/>
                  </a:lnTo>
                  <a:lnTo>
                    <a:pt x="1144994" y="203594"/>
                  </a:lnTo>
                  <a:lnTo>
                    <a:pt x="1144994" y="202959"/>
                  </a:lnTo>
                  <a:lnTo>
                    <a:pt x="1144994" y="203594"/>
                  </a:lnTo>
                  <a:lnTo>
                    <a:pt x="1144994" y="202959"/>
                  </a:lnTo>
                  <a:lnTo>
                    <a:pt x="1144994" y="203594"/>
                  </a:lnTo>
                  <a:lnTo>
                    <a:pt x="1144994" y="202959"/>
                  </a:lnTo>
                  <a:lnTo>
                    <a:pt x="1144994" y="203594"/>
                  </a:lnTo>
                  <a:lnTo>
                    <a:pt x="1145045" y="202959"/>
                  </a:lnTo>
                  <a:lnTo>
                    <a:pt x="1145045" y="203594"/>
                  </a:lnTo>
                  <a:lnTo>
                    <a:pt x="1145045" y="202959"/>
                  </a:lnTo>
                  <a:lnTo>
                    <a:pt x="1145045" y="203594"/>
                  </a:lnTo>
                  <a:lnTo>
                    <a:pt x="1145096" y="203594"/>
                  </a:lnTo>
                  <a:lnTo>
                    <a:pt x="1145096" y="202260"/>
                  </a:lnTo>
                  <a:lnTo>
                    <a:pt x="1145134" y="202260"/>
                  </a:lnTo>
                  <a:lnTo>
                    <a:pt x="1145134" y="200228"/>
                  </a:lnTo>
                  <a:lnTo>
                    <a:pt x="1145236" y="200228"/>
                  </a:lnTo>
                  <a:lnTo>
                    <a:pt x="1145236" y="197447"/>
                  </a:lnTo>
                  <a:lnTo>
                    <a:pt x="1145236" y="199530"/>
                  </a:lnTo>
                  <a:lnTo>
                    <a:pt x="1145287" y="199530"/>
                  </a:lnTo>
                  <a:lnTo>
                    <a:pt x="1145287" y="198831"/>
                  </a:lnTo>
                  <a:lnTo>
                    <a:pt x="1145287" y="200228"/>
                  </a:lnTo>
                  <a:lnTo>
                    <a:pt x="1145337" y="200228"/>
                  </a:lnTo>
                  <a:lnTo>
                    <a:pt x="1145337" y="199530"/>
                  </a:lnTo>
                  <a:lnTo>
                    <a:pt x="1145337" y="200876"/>
                  </a:lnTo>
                  <a:lnTo>
                    <a:pt x="1145337" y="200228"/>
                  </a:lnTo>
                  <a:lnTo>
                    <a:pt x="1145337" y="200876"/>
                  </a:lnTo>
                  <a:lnTo>
                    <a:pt x="1145439" y="200876"/>
                  </a:lnTo>
                  <a:lnTo>
                    <a:pt x="1145439" y="202260"/>
                  </a:lnTo>
                  <a:lnTo>
                    <a:pt x="1145490" y="202260"/>
                  </a:lnTo>
                  <a:lnTo>
                    <a:pt x="1145490" y="202959"/>
                  </a:lnTo>
                  <a:lnTo>
                    <a:pt x="1145490" y="202260"/>
                  </a:lnTo>
                  <a:lnTo>
                    <a:pt x="1145490" y="202959"/>
                  </a:lnTo>
                  <a:lnTo>
                    <a:pt x="1145540" y="202959"/>
                  </a:lnTo>
                  <a:lnTo>
                    <a:pt x="1145540" y="203594"/>
                  </a:lnTo>
                  <a:lnTo>
                    <a:pt x="1145540" y="202959"/>
                  </a:lnTo>
                  <a:lnTo>
                    <a:pt x="1145540" y="203594"/>
                  </a:lnTo>
                  <a:lnTo>
                    <a:pt x="1145591" y="203594"/>
                  </a:lnTo>
                  <a:lnTo>
                    <a:pt x="1145591" y="202959"/>
                  </a:lnTo>
                  <a:lnTo>
                    <a:pt x="1145591" y="203594"/>
                  </a:lnTo>
                  <a:lnTo>
                    <a:pt x="1145591" y="202959"/>
                  </a:lnTo>
                  <a:lnTo>
                    <a:pt x="1145680" y="202959"/>
                  </a:lnTo>
                  <a:lnTo>
                    <a:pt x="1145680" y="200876"/>
                  </a:lnTo>
                  <a:lnTo>
                    <a:pt x="1145680" y="202260"/>
                  </a:lnTo>
                  <a:lnTo>
                    <a:pt x="1145680" y="200876"/>
                  </a:lnTo>
                  <a:lnTo>
                    <a:pt x="1145731" y="200876"/>
                  </a:lnTo>
                  <a:lnTo>
                    <a:pt x="1145731" y="198831"/>
                  </a:lnTo>
                  <a:lnTo>
                    <a:pt x="1145782" y="198831"/>
                  </a:lnTo>
                  <a:lnTo>
                    <a:pt x="1145782" y="196799"/>
                  </a:lnTo>
                  <a:lnTo>
                    <a:pt x="1145782" y="200228"/>
                  </a:lnTo>
                  <a:lnTo>
                    <a:pt x="1145782" y="199530"/>
                  </a:lnTo>
                  <a:lnTo>
                    <a:pt x="1145833" y="199530"/>
                  </a:lnTo>
                  <a:lnTo>
                    <a:pt x="1145833" y="197447"/>
                  </a:lnTo>
                  <a:lnTo>
                    <a:pt x="1145833" y="199530"/>
                  </a:lnTo>
                  <a:lnTo>
                    <a:pt x="1145934" y="199530"/>
                  </a:lnTo>
                  <a:lnTo>
                    <a:pt x="1145934" y="200876"/>
                  </a:lnTo>
                  <a:lnTo>
                    <a:pt x="1145934" y="200228"/>
                  </a:lnTo>
                  <a:lnTo>
                    <a:pt x="1145985" y="200228"/>
                  </a:lnTo>
                  <a:lnTo>
                    <a:pt x="1145985" y="199530"/>
                  </a:lnTo>
                  <a:lnTo>
                    <a:pt x="1145985" y="200876"/>
                  </a:lnTo>
                  <a:lnTo>
                    <a:pt x="1146036" y="200876"/>
                  </a:lnTo>
                  <a:lnTo>
                    <a:pt x="1146036" y="202260"/>
                  </a:lnTo>
                  <a:lnTo>
                    <a:pt x="1146137" y="202959"/>
                  </a:lnTo>
                  <a:lnTo>
                    <a:pt x="1146137" y="202260"/>
                  </a:lnTo>
                  <a:lnTo>
                    <a:pt x="1146137" y="202959"/>
                  </a:lnTo>
                  <a:lnTo>
                    <a:pt x="1146137" y="202260"/>
                  </a:lnTo>
                  <a:lnTo>
                    <a:pt x="1146137" y="202959"/>
                  </a:lnTo>
                  <a:lnTo>
                    <a:pt x="1146137" y="202260"/>
                  </a:lnTo>
                  <a:lnTo>
                    <a:pt x="1146175" y="202959"/>
                  </a:lnTo>
                  <a:lnTo>
                    <a:pt x="1146175" y="200876"/>
                  </a:lnTo>
                  <a:lnTo>
                    <a:pt x="1146226" y="202260"/>
                  </a:lnTo>
                  <a:lnTo>
                    <a:pt x="1146226" y="198831"/>
                  </a:lnTo>
                  <a:lnTo>
                    <a:pt x="1146226" y="202260"/>
                  </a:lnTo>
                  <a:lnTo>
                    <a:pt x="1146226" y="200876"/>
                  </a:lnTo>
                  <a:lnTo>
                    <a:pt x="1146277" y="200876"/>
                  </a:lnTo>
                  <a:lnTo>
                    <a:pt x="1146277" y="198831"/>
                  </a:lnTo>
                  <a:lnTo>
                    <a:pt x="1146277" y="202260"/>
                  </a:lnTo>
                  <a:lnTo>
                    <a:pt x="1146379" y="200876"/>
                  </a:lnTo>
                  <a:lnTo>
                    <a:pt x="1146379" y="199530"/>
                  </a:lnTo>
                  <a:lnTo>
                    <a:pt x="1146379" y="200876"/>
                  </a:lnTo>
                  <a:lnTo>
                    <a:pt x="1146430" y="200876"/>
                  </a:lnTo>
                  <a:lnTo>
                    <a:pt x="1146430" y="200228"/>
                  </a:lnTo>
                  <a:lnTo>
                    <a:pt x="1146430" y="200876"/>
                  </a:lnTo>
                  <a:lnTo>
                    <a:pt x="1146480" y="200876"/>
                  </a:lnTo>
                  <a:lnTo>
                    <a:pt x="1146480" y="202260"/>
                  </a:lnTo>
                  <a:lnTo>
                    <a:pt x="1146480" y="200876"/>
                  </a:lnTo>
                  <a:lnTo>
                    <a:pt x="1146480" y="202260"/>
                  </a:lnTo>
                  <a:lnTo>
                    <a:pt x="1146480" y="200876"/>
                  </a:lnTo>
                  <a:lnTo>
                    <a:pt x="1146480" y="202260"/>
                  </a:lnTo>
                  <a:lnTo>
                    <a:pt x="1146582" y="202260"/>
                  </a:lnTo>
                  <a:lnTo>
                    <a:pt x="1146582" y="200876"/>
                  </a:lnTo>
                  <a:lnTo>
                    <a:pt x="1146582" y="202959"/>
                  </a:lnTo>
                  <a:lnTo>
                    <a:pt x="1146582" y="202260"/>
                  </a:lnTo>
                  <a:lnTo>
                    <a:pt x="1146582" y="202959"/>
                  </a:lnTo>
                  <a:lnTo>
                    <a:pt x="1146633" y="202959"/>
                  </a:lnTo>
                  <a:lnTo>
                    <a:pt x="1146633" y="202260"/>
                  </a:lnTo>
                  <a:lnTo>
                    <a:pt x="1146633" y="202959"/>
                  </a:lnTo>
                  <a:lnTo>
                    <a:pt x="1146633" y="202260"/>
                  </a:lnTo>
                  <a:lnTo>
                    <a:pt x="1146633" y="202959"/>
                  </a:lnTo>
                  <a:lnTo>
                    <a:pt x="1146684" y="202260"/>
                  </a:lnTo>
                  <a:lnTo>
                    <a:pt x="1146684" y="202959"/>
                  </a:lnTo>
                  <a:lnTo>
                    <a:pt x="1146684" y="202260"/>
                  </a:lnTo>
                  <a:lnTo>
                    <a:pt x="1146684" y="202959"/>
                  </a:lnTo>
                  <a:lnTo>
                    <a:pt x="1146684" y="202260"/>
                  </a:lnTo>
                  <a:lnTo>
                    <a:pt x="1146684" y="202959"/>
                  </a:lnTo>
                  <a:lnTo>
                    <a:pt x="1146684" y="200876"/>
                  </a:lnTo>
                  <a:lnTo>
                    <a:pt x="1146684" y="202260"/>
                  </a:lnTo>
                  <a:lnTo>
                    <a:pt x="1146684" y="200876"/>
                  </a:lnTo>
                  <a:lnTo>
                    <a:pt x="1146722" y="200876"/>
                  </a:lnTo>
                  <a:lnTo>
                    <a:pt x="1146722" y="199530"/>
                  </a:lnTo>
                  <a:lnTo>
                    <a:pt x="1146722" y="202260"/>
                  </a:lnTo>
                  <a:lnTo>
                    <a:pt x="1146722" y="200876"/>
                  </a:lnTo>
                  <a:lnTo>
                    <a:pt x="1146823" y="200876"/>
                  </a:lnTo>
                  <a:lnTo>
                    <a:pt x="1146823" y="200228"/>
                  </a:lnTo>
                  <a:lnTo>
                    <a:pt x="1146823" y="200876"/>
                  </a:lnTo>
                  <a:lnTo>
                    <a:pt x="1146823" y="200228"/>
                  </a:lnTo>
                  <a:lnTo>
                    <a:pt x="1146823" y="202959"/>
                  </a:lnTo>
                  <a:lnTo>
                    <a:pt x="1146823" y="202260"/>
                  </a:lnTo>
                  <a:lnTo>
                    <a:pt x="1146874" y="202959"/>
                  </a:lnTo>
                  <a:lnTo>
                    <a:pt x="1146874" y="200876"/>
                  </a:lnTo>
                  <a:lnTo>
                    <a:pt x="1146874" y="202959"/>
                  </a:lnTo>
                  <a:lnTo>
                    <a:pt x="1146874" y="202260"/>
                  </a:lnTo>
                  <a:lnTo>
                    <a:pt x="1146925" y="202260"/>
                  </a:lnTo>
                  <a:lnTo>
                    <a:pt x="1146925" y="200876"/>
                  </a:lnTo>
                  <a:lnTo>
                    <a:pt x="1146925" y="202959"/>
                  </a:lnTo>
                  <a:lnTo>
                    <a:pt x="1146925" y="202260"/>
                  </a:lnTo>
                  <a:lnTo>
                    <a:pt x="1146925" y="202959"/>
                  </a:lnTo>
                  <a:lnTo>
                    <a:pt x="1147026" y="202260"/>
                  </a:lnTo>
                  <a:lnTo>
                    <a:pt x="1147026" y="200876"/>
                  </a:lnTo>
                  <a:lnTo>
                    <a:pt x="1147026" y="202959"/>
                  </a:lnTo>
                  <a:lnTo>
                    <a:pt x="1147077" y="202959"/>
                  </a:lnTo>
                  <a:lnTo>
                    <a:pt x="1147077" y="202260"/>
                  </a:lnTo>
                  <a:lnTo>
                    <a:pt x="1147077" y="202959"/>
                  </a:lnTo>
                  <a:lnTo>
                    <a:pt x="1147077" y="202260"/>
                  </a:lnTo>
                  <a:lnTo>
                    <a:pt x="1147077" y="202959"/>
                  </a:lnTo>
                  <a:lnTo>
                    <a:pt x="1147077" y="202260"/>
                  </a:lnTo>
                  <a:lnTo>
                    <a:pt x="1147077" y="202959"/>
                  </a:lnTo>
                  <a:lnTo>
                    <a:pt x="1147128" y="202959"/>
                  </a:lnTo>
                  <a:lnTo>
                    <a:pt x="1147128" y="202260"/>
                  </a:lnTo>
                  <a:lnTo>
                    <a:pt x="1147128" y="202959"/>
                  </a:lnTo>
                  <a:lnTo>
                    <a:pt x="1147128" y="202260"/>
                  </a:lnTo>
                  <a:lnTo>
                    <a:pt x="1147179" y="202260"/>
                  </a:lnTo>
                  <a:lnTo>
                    <a:pt x="1147179" y="200228"/>
                  </a:lnTo>
                  <a:lnTo>
                    <a:pt x="1147268" y="200228"/>
                  </a:lnTo>
                  <a:lnTo>
                    <a:pt x="1147268" y="199530"/>
                  </a:lnTo>
                  <a:lnTo>
                    <a:pt x="1147268" y="200876"/>
                  </a:lnTo>
                  <a:lnTo>
                    <a:pt x="1147319" y="200228"/>
                  </a:lnTo>
                  <a:lnTo>
                    <a:pt x="1147319" y="202959"/>
                  </a:lnTo>
                  <a:lnTo>
                    <a:pt x="1147319" y="202260"/>
                  </a:lnTo>
                  <a:lnTo>
                    <a:pt x="1147369" y="202260"/>
                  </a:lnTo>
                  <a:lnTo>
                    <a:pt x="1147369" y="200876"/>
                  </a:lnTo>
                  <a:lnTo>
                    <a:pt x="1147369" y="202959"/>
                  </a:lnTo>
                  <a:lnTo>
                    <a:pt x="1147420" y="202959"/>
                  </a:lnTo>
                  <a:lnTo>
                    <a:pt x="1147420" y="202260"/>
                  </a:lnTo>
                  <a:lnTo>
                    <a:pt x="1147420" y="203594"/>
                  </a:lnTo>
                  <a:lnTo>
                    <a:pt x="1147420" y="202959"/>
                  </a:lnTo>
                  <a:lnTo>
                    <a:pt x="1147522" y="203594"/>
                  </a:lnTo>
                  <a:lnTo>
                    <a:pt x="1147522" y="202959"/>
                  </a:lnTo>
                  <a:lnTo>
                    <a:pt x="1147522" y="203594"/>
                  </a:lnTo>
                  <a:lnTo>
                    <a:pt x="1147522" y="202959"/>
                  </a:lnTo>
                  <a:lnTo>
                    <a:pt x="1147522" y="203594"/>
                  </a:lnTo>
                  <a:lnTo>
                    <a:pt x="1147623" y="203594"/>
                  </a:lnTo>
                  <a:lnTo>
                    <a:pt x="1147623" y="202959"/>
                  </a:lnTo>
                  <a:lnTo>
                    <a:pt x="1147725" y="202959"/>
                  </a:lnTo>
                  <a:lnTo>
                    <a:pt x="1147725" y="202260"/>
                  </a:lnTo>
                  <a:lnTo>
                    <a:pt x="1147725" y="202959"/>
                  </a:lnTo>
                  <a:lnTo>
                    <a:pt x="1147725" y="200876"/>
                  </a:lnTo>
                  <a:lnTo>
                    <a:pt x="1147763" y="200876"/>
                  </a:lnTo>
                  <a:lnTo>
                    <a:pt x="1147763" y="199530"/>
                  </a:lnTo>
                  <a:lnTo>
                    <a:pt x="1147763" y="200228"/>
                  </a:lnTo>
                  <a:lnTo>
                    <a:pt x="1147814" y="200876"/>
                  </a:lnTo>
                  <a:lnTo>
                    <a:pt x="1147814" y="199530"/>
                  </a:lnTo>
                  <a:lnTo>
                    <a:pt x="1147814" y="202260"/>
                  </a:lnTo>
                  <a:lnTo>
                    <a:pt x="1147814" y="200876"/>
                  </a:lnTo>
                  <a:lnTo>
                    <a:pt x="1147814" y="202260"/>
                  </a:lnTo>
                  <a:lnTo>
                    <a:pt x="1147814" y="200876"/>
                  </a:lnTo>
                  <a:lnTo>
                    <a:pt x="1147865" y="200876"/>
                  </a:lnTo>
                  <a:lnTo>
                    <a:pt x="1147865" y="202260"/>
                  </a:lnTo>
                  <a:lnTo>
                    <a:pt x="1147865" y="200228"/>
                  </a:lnTo>
                  <a:lnTo>
                    <a:pt x="1147865" y="200876"/>
                  </a:lnTo>
                  <a:lnTo>
                    <a:pt x="1147865" y="200228"/>
                  </a:lnTo>
                  <a:lnTo>
                    <a:pt x="1147865" y="202260"/>
                  </a:lnTo>
                  <a:lnTo>
                    <a:pt x="1147865" y="200876"/>
                  </a:lnTo>
                  <a:lnTo>
                    <a:pt x="1147966" y="202260"/>
                  </a:lnTo>
                  <a:lnTo>
                    <a:pt x="1147966" y="202959"/>
                  </a:lnTo>
                  <a:lnTo>
                    <a:pt x="1147966" y="202260"/>
                  </a:lnTo>
                  <a:lnTo>
                    <a:pt x="1148017" y="202260"/>
                  </a:lnTo>
                  <a:lnTo>
                    <a:pt x="1148017" y="203594"/>
                  </a:lnTo>
                  <a:lnTo>
                    <a:pt x="1148017" y="202959"/>
                  </a:lnTo>
                  <a:lnTo>
                    <a:pt x="1148017" y="203594"/>
                  </a:lnTo>
                  <a:lnTo>
                    <a:pt x="1148068" y="203594"/>
                  </a:lnTo>
                  <a:lnTo>
                    <a:pt x="1148068" y="204292"/>
                  </a:lnTo>
                  <a:lnTo>
                    <a:pt x="1148068" y="203594"/>
                  </a:lnTo>
                  <a:lnTo>
                    <a:pt x="1148169" y="203594"/>
                  </a:lnTo>
                  <a:lnTo>
                    <a:pt x="1148169" y="202959"/>
                  </a:lnTo>
                  <a:lnTo>
                    <a:pt x="1148169" y="203594"/>
                  </a:lnTo>
                  <a:lnTo>
                    <a:pt x="1148169" y="202959"/>
                  </a:lnTo>
                  <a:lnTo>
                    <a:pt x="1148220" y="202959"/>
                  </a:lnTo>
                  <a:lnTo>
                    <a:pt x="1148220" y="202260"/>
                  </a:lnTo>
                  <a:lnTo>
                    <a:pt x="1148220" y="202959"/>
                  </a:lnTo>
                  <a:lnTo>
                    <a:pt x="1148220" y="202260"/>
                  </a:lnTo>
                  <a:lnTo>
                    <a:pt x="1148220" y="202959"/>
                  </a:lnTo>
                  <a:lnTo>
                    <a:pt x="1148220" y="200228"/>
                  </a:lnTo>
                  <a:lnTo>
                    <a:pt x="1148271" y="200228"/>
                  </a:lnTo>
                  <a:lnTo>
                    <a:pt x="1148271" y="199530"/>
                  </a:lnTo>
                  <a:lnTo>
                    <a:pt x="1148271" y="200228"/>
                  </a:lnTo>
                  <a:lnTo>
                    <a:pt x="1148271" y="198831"/>
                  </a:lnTo>
                  <a:lnTo>
                    <a:pt x="1148271" y="199530"/>
                  </a:lnTo>
                  <a:lnTo>
                    <a:pt x="1148309" y="199530"/>
                  </a:lnTo>
                  <a:lnTo>
                    <a:pt x="1148309" y="200228"/>
                  </a:lnTo>
                  <a:lnTo>
                    <a:pt x="1148309" y="198831"/>
                  </a:lnTo>
                  <a:lnTo>
                    <a:pt x="1148309" y="200876"/>
                  </a:lnTo>
                  <a:lnTo>
                    <a:pt x="1148411" y="200876"/>
                  </a:lnTo>
                  <a:lnTo>
                    <a:pt x="1148411" y="199530"/>
                  </a:lnTo>
                  <a:lnTo>
                    <a:pt x="1148411" y="202260"/>
                  </a:lnTo>
                  <a:lnTo>
                    <a:pt x="1148462" y="202260"/>
                  </a:lnTo>
                  <a:lnTo>
                    <a:pt x="1148462" y="200876"/>
                  </a:lnTo>
                  <a:lnTo>
                    <a:pt x="1148462" y="202260"/>
                  </a:lnTo>
                  <a:lnTo>
                    <a:pt x="1148462" y="200876"/>
                  </a:lnTo>
                  <a:lnTo>
                    <a:pt x="1148462" y="202260"/>
                  </a:lnTo>
                  <a:lnTo>
                    <a:pt x="1148512" y="202260"/>
                  </a:lnTo>
                  <a:lnTo>
                    <a:pt x="1148512" y="202959"/>
                  </a:lnTo>
                  <a:lnTo>
                    <a:pt x="1148614" y="202959"/>
                  </a:lnTo>
                  <a:lnTo>
                    <a:pt x="1148614" y="203594"/>
                  </a:lnTo>
                  <a:lnTo>
                    <a:pt x="1148614" y="202959"/>
                  </a:lnTo>
                  <a:lnTo>
                    <a:pt x="1148614" y="203594"/>
                  </a:lnTo>
                  <a:lnTo>
                    <a:pt x="1148614" y="202959"/>
                  </a:lnTo>
                  <a:lnTo>
                    <a:pt x="1148614" y="203594"/>
                  </a:lnTo>
                  <a:lnTo>
                    <a:pt x="1148614" y="202959"/>
                  </a:lnTo>
                  <a:lnTo>
                    <a:pt x="1148614" y="203594"/>
                  </a:lnTo>
                  <a:lnTo>
                    <a:pt x="1148665" y="203594"/>
                  </a:lnTo>
                  <a:lnTo>
                    <a:pt x="1148665" y="202959"/>
                  </a:lnTo>
                  <a:lnTo>
                    <a:pt x="1148665" y="203594"/>
                  </a:lnTo>
                  <a:lnTo>
                    <a:pt x="1148665" y="202959"/>
                  </a:lnTo>
                  <a:lnTo>
                    <a:pt x="1148715" y="202959"/>
                  </a:lnTo>
                  <a:lnTo>
                    <a:pt x="1148715" y="202260"/>
                  </a:lnTo>
                  <a:lnTo>
                    <a:pt x="1148766" y="202260"/>
                  </a:lnTo>
                  <a:lnTo>
                    <a:pt x="1148766" y="200228"/>
                  </a:lnTo>
                  <a:lnTo>
                    <a:pt x="1148766" y="202260"/>
                  </a:lnTo>
                  <a:lnTo>
                    <a:pt x="1148855" y="202260"/>
                  </a:lnTo>
                  <a:lnTo>
                    <a:pt x="1148855" y="199530"/>
                  </a:lnTo>
                  <a:lnTo>
                    <a:pt x="1148855" y="202959"/>
                  </a:lnTo>
                  <a:lnTo>
                    <a:pt x="1148855" y="202260"/>
                  </a:lnTo>
                  <a:lnTo>
                    <a:pt x="1148906" y="202260"/>
                  </a:lnTo>
                  <a:lnTo>
                    <a:pt x="1148906" y="200228"/>
                  </a:lnTo>
                  <a:lnTo>
                    <a:pt x="1148906" y="200876"/>
                  </a:lnTo>
                  <a:lnTo>
                    <a:pt x="1148906" y="200228"/>
                  </a:lnTo>
                  <a:lnTo>
                    <a:pt x="1148906" y="202260"/>
                  </a:lnTo>
                  <a:lnTo>
                    <a:pt x="1148957" y="200876"/>
                  </a:lnTo>
                  <a:lnTo>
                    <a:pt x="1148957" y="202260"/>
                  </a:lnTo>
                  <a:lnTo>
                    <a:pt x="1148957" y="200876"/>
                  </a:lnTo>
                  <a:lnTo>
                    <a:pt x="1148957" y="202260"/>
                  </a:lnTo>
                  <a:lnTo>
                    <a:pt x="1148957" y="200876"/>
                  </a:lnTo>
                  <a:lnTo>
                    <a:pt x="1148957" y="202959"/>
                  </a:lnTo>
                  <a:lnTo>
                    <a:pt x="1148957" y="202260"/>
                  </a:lnTo>
                  <a:lnTo>
                    <a:pt x="1149008" y="202260"/>
                  </a:lnTo>
                  <a:lnTo>
                    <a:pt x="1149008" y="203594"/>
                  </a:lnTo>
                  <a:lnTo>
                    <a:pt x="1149008" y="202959"/>
                  </a:lnTo>
                  <a:lnTo>
                    <a:pt x="1149109" y="202959"/>
                  </a:lnTo>
                  <a:lnTo>
                    <a:pt x="1149109" y="203594"/>
                  </a:lnTo>
                  <a:lnTo>
                    <a:pt x="1149109" y="202959"/>
                  </a:lnTo>
                  <a:lnTo>
                    <a:pt x="1149109" y="203594"/>
                  </a:lnTo>
                  <a:lnTo>
                    <a:pt x="1149109" y="202959"/>
                  </a:lnTo>
                  <a:lnTo>
                    <a:pt x="1149109" y="203594"/>
                  </a:lnTo>
                  <a:lnTo>
                    <a:pt x="1149109" y="202959"/>
                  </a:lnTo>
                  <a:lnTo>
                    <a:pt x="1149160" y="202959"/>
                  </a:lnTo>
                  <a:lnTo>
                    <a:pt x="1149160" y="203594"/>
                  </a:lnTo>
                  <a:lnTo>
                    <a:pt x="1149160" y="202959"/>
                  </a:lnTo>
                  <a:lnTo>
                    <a:pt x="1149160" y="203594"/>
                  </a:lnTo>
                  <a:lnTo>
                    <a:pt x="1149160" y="202959"/>
                  </a:lnTo>
                  <a:lnTo>
                    <a:pt x="1149160" y="203594"/>
                  </a:lnTo>
                  <a:lnTo>
                    <a:pt x="1149211" y="203594"/>
                  </a:lnTo>
                  <a:lnTo>
                    <a:pt x="1149211" y="204292"/>
                  </a:lnTo>
                  <a:lnTo>
                    <a:pt x="1149211" y="203594"/>
                  </a:lnTo>
                  <a:lnTo>
                    <a:pt x="1149211" y="204292"/>
                  </a:lnTo>
                  <a:lnTo>
                    <a:pt x="1149211" y="202260"/>
                  </a:lnTo>
                  <a:lnTo>
                    <a:pt x="1149312" y="202260"/>
                  </a:lnTo>
                  <a:lnTo>
                    <a:pt x="1149312" y="203594"/>
                  </a:lnTo>
                  <a:lnTo>
                    <a:pt x="1149312" y="202260"/>
                  </a:lnTo>
                  <a:lnTo>
                    <a:pt x="1149350" y="202260"/>
                  </a:lnTo>
                  <a:lnTo>
                    <a:pt x="1149350" y="204990"/>
                  </a:lnTo>
                  <a:lnTo>
                    <a:pt x="1149350" y="203594"/>
                  </a:lnTo>
                  <a:lnTo>
                    <a:pt x="1149401" y="203594"/>
                  </a:lnTo>
                  <a:lnTo>
                    <a:pt x="1149401" y="204990"/>
                  </a:lnTo>
                  <a:lnTo>
                    <a:pt x="1149401" y="204292"/>
                  </a:lnTo>
                  <a:lnTo>
                    <a:pt x="1149452" y="204292"/>
                  </a:lnTo>
                  <a:lnTo>
                    <a:pt x="1149452" y="204990"/>
                  </a:lnTo>
                  <a:lnTo>
                    <a:pt x="1149452" y="204292"/>
                  </a:lnTo>
                  <a:lnTo>
                    <a:pt x="1149452" y="204990"/>
                  </a:lnTo>
                  <a:lnTo>
                    <a:pt x="1149452" y="204292"/>
                  </a:lnTo>
                  <a:lnTo>
                    <a:pt x="1149452" y="204990"/>
                  </a:lnTo>
                  <a:lnTo>
                    <a:pt x="1149452" y="204292"/>
                  </a:lnTo>
                  <a:lnTo>
                    <a:pt x="1149554" y="204292"/>
                  </a:lnTo>
                  <a:lnTo>
                    <a:pt x="1149554" y="204990"/>
                  </a:lnTo>
                  <a:lnTo>
                    <a:pt x="1149554" y="204292"/>
                  </a:lnTo>
                  <a:lnTo>
                    <a:pt x="1149655" y="204292"/>
                  </a:lnTo>
                  <a:lnTo>
                    <a:pt x="1149655" y="203594"/>
                  </a:lnTo>
                  <a:lnTo>
                    <a:pt x="1149655" y="204292"/>
                  </a:lnTo>
                  <a:lnTo>
                    <a:pt x="1149655" y="203594"/>
                  </a:lnTo>
                  <a:lnTo>
                    <a:pt x="1149655" y="204292"/>
                  </a:lnTo>
                  <a:lnTo>
                    <a:pt x="1149655" y="203594"/>
                  </a:lnTo>
                  <a:lnTo>
                    <a:pt x="1149655" y="204292"/>
                  </a:lnTo>
                  <a:lnTo>
                    <a:pt x="1149655" y="203594"/>
                  </a:lnTo>
                  <a:lnTo>
                    <a:pt x="1149757" y="203594"/>
                  </a:lnTo>
                  <a:lnTo>
                    <a:pt x="1149757" y="202959"/>
                  </a:lnTo>
                  <a:lnTo>
                    <a:pt x="1149757" y="203594"/>
                  </a:lnTo>
                  <a:lnTo>
                    <a:pt x="1149757" y="202959"/>
                  </a:lnTo>
                  <a:lnTo>
                    <a:pt x="1149757" y="204292"/>
                  </a:lnTo>
                  <a:lnTo>
                    <a:pt x="1149757" y="203594"/>
                  </a:lnTo>
                  <a:lnTo>
                    <a:pt x="1149808" y="203594"/>
                  </a:lnTo>
                  <a:lnTo>
                    <a:pt x="1149808" y="204292"/>
                  </a:lnTo>
                  <a:lnTo>
                    <a:pt x="1149808" y="203594"/>
                  </a:lnTo>
                  <a:lnTo>
                    <a:pt x="1149808" y="206324"/>
                  </a:lnTo>
                  <a:lnTo>
                    <a:pt x="1149859" y="206324"/>
                  </a:lnTo>
                  <a:lnTo>
                    <a:pt x="1149859" y="207022"/>
                  </a:lnTo>
                  <a:lnTo>
                    <a:pt x="1149859" y="204990"/>
                  </a:lnTo>
                  <a:lnTo>
                    <a:pt x="1149859" y="206324"/>
                  </a:lnTo>
                  <a:lnTo>
                    <a:pt x="1149859" y="204990"/>
                  </a:lnTo>
                  <a:lnTo>
                    <a:pt x="1149859" y="206324"/>
                  </a:lnTo>
                  <a:lnTo>
                    <a:pt x="1149859" y="204990"/>
                  </a:lnTo>
                  <a:lnTo>
                    <a:pt x="1149897" y="204990"/>
                  </a:lnTo>
                  <a:lnTo>
                    <a:pt x="1149897" y="206324"/>
                  </a:lnTo>
                  <a:lnTo>
                    <a:pt x="1149998" y="206324"/>
                  </a:lnTo>
                  <a:lnTo>
                    <a:pt x="1149998" y="204990"/>
                  </a:lnTo>
                  <a:lnTo>
                    <a:pt x="1149998" y="206324"/>
                  </a:lnTo>
                  <a:lnTo>
                    <a:pt x="1149998" y="204990"/>
                  </a:lnTo>
                  <a:lnTo>
                    <a:pt x="1149998" y="206324"/>
                  </a:lnTo>
                  <a:lnTo>
                    <a:pt x="1150049" y="206324"/>
                  </a:lnTo>
                  <a:lnTo>
                    <a:pt x="1150049" y="204990"/>
                  </a:lnTo>
                  <a:lnTo>
                    <a:pt x="1150049" y="206324"/>
                  </a:lnTo>
                  <a:lnTo>
                    <a:pt x="1150049" y="204990"/>
                  </a:lnTo>
                  <a:lnTo>
                    <a:pt x="1150100" y="206324"/>
                  </a:lnTo>
                  <a:lnTo>
                    <a:pt x="1150100" y="204292"/>
                  </a:lnTo>
                  <a:lnTo>
                    <a:pt x="1150100" y="204990"/>
                  </a:lnTo>
                  <a:lnTo>
                    <a:pt x="1150100" y="204292"/>
                  </a:lnTo>
                  <a:lnTo>
                    <a:pt x="1150201" y="204292"/>
                  </a:lnTo>
                  <a:lnTo>
                    <a:pt x="1150201" y="203594"/>
                  </a:lnTo>
                  <a:lnTo>
                    <a:pt x="1150201" y="204292"/>
                  </a:lnTo>
                  <a:lnTo>
                    <a:pt x="1150201" y="202959"/>
                  </a:lnTo>
                  <a:lnTo>
                    <a:pt x="1150252" y="202959"/>
                  </a:lnTo>
                  <a:lnTo>
                    <a:pt x="1150252" y="203594"/>
                  </a:lnTo>
                  <a:lnTo>
                    <a:pt x="1150252" y="202959"/>
                  </a:lnTo>
                  <a:lnTo>
                    <a:pt x="1150252" y="203594"/>
                  </a:lnTo>
                  <a:lnTo>
                    <a:pt x="1150252" y="202959"/>
                  </a:lnTo>
                  <a:lnTo>
                    <a:pt x="1150252" y="203594"/>
                  </a:lnTo>
                  <a:lnTo>
                    <a:pt x="1150252" y="202959"/>
                  </a:lnTo>
                  <a:lnTo>
                    <a:pt x="1150303" y="202959"/>
                  </a:lnTo>
                  <a:lnTo>
                    <a:pt x="1150303" y="202260"/>
                  </a:lnTo>
                  <a:lnTo>
                    <a:pt x="1150303" y="204990"/>
                  </a:lnTo>
                  <a:lnTo>
                    <a:pt x="1150303" y="204292"/>
                  </a:lnTo>
                  <a:lnTo>
                    <a:pt x="1150354" y="204292"/>
                  </a:lnTo>
                  <a:lnTo>
                    <a:pt x="1150354" y="206324"/>
                  </a:lnTo>
                  <a:lnTo>
                    <a:pt x="1150354" y="204990"/>
                  </a:lnTo>
                  <a:lnTo>
                    <a:pt x="1150354" y="206324"/>
                  </a:lnTo>
                  <a:lnTo>
                    <a:pt x="1150354" y="204990"/>
                  </a:lnTo>
                  <a:lnTo>
                    <a:pt x="1150354" y="206324"/>
                  </a:lnTo>
                  <a:lnTo>
                    <a:pt x="1150443" y="206324"/>
                  </a:lnTo>
                  <a:lnTo>
                    <a:pt x="1150443" y="204990"/>
                  </a:lnTo>
                  <a:lnTo>
                    <a:pt x="1150443" y="207022"/>
                  </a:lnTo>
                  <a:lnTo>
                    <a:pt x="1150443" y="206324"/>
                  </a:lnTo>
                  <a:lnTo>
                    <a:pt x="1150494" y="206324"/>
                  </a:lnTo>
                  <a:lnTo>
                    <a:pt x="1150494" y="207022"/>
                  </a:lnTo>
                  <a:lnTo>
                    <a:pt x="1150494" y="206324"/>
                  </a:lnTo>
                  <a:lnTo>
                    <a:pt x="1150494" y="207022"/>
                  </a:lnTo>
                  <a:lnTo>
                    <a:pt x="1150544" y="207022"/>
                  </a:lnTo>
                  <a:lnTo>
                    <a:pt x="1150544" y="206324"/>
                  </a:lnTo>
                  <a:lnTo>
                    <a:pt x="1150544" y="207022"/>
                  </a:lnTo>
                  <a:lnTo>
                    <a:pt x="1150544" y="206324"/>
                  </a:lnTo>
                  <a:lnTo>
                    <a:pt x="1150595" y="206324"/>
                  </a:lnTo>
                  <a:lnTo>
                    <a:pt x="1150595" y="204292"/>
                  </a:lnTo>
                  <a:lnTo>
                    <a:pt x="1150697" y="204292"/>
                  </a:lnTo>
                  <a:lnTo>
                    <a:pt x="1150697" y="204990"/>
                  </a:lnTo>
                  <a:lnTo>
                    <a:pt x="1150697" y="204292"/>
                  </a:lnTo>
                  <a:lnTo>
                    <a:pt x="1150697" y="206324"/>
                  </a:lnTo>
                  <a:lnTo>
                    <a:pt x="1150747" y="206324"/>
                  </a:lnTo>
                  <a:lnTo>
                    <a:pt x="1150747" y="204292"/>
                  </a:lnTo>
                  <a:lnTo>
                    <a:pt x="1150747" y="207022"/>
                  </a:lnTo>
                  <a:lnTo>
                    <a:pt x="1150798" y="207022"/>
                  </a:lnTo>
                  <a:lnTo>
                    <a:pt x="1150798" y="206324"/>
                  </a:lnTo>
                  <a:lnTo>
                    <a:pt x="1150798" y="207721"/>
                  </a:lnTo>
                  <a:lnTo>
                    <a:pt x="1150798" y="207022"/>
                  </a:lnTo>
                  <a:lnTo>
                    <a:pt x="1150900" y="207022"/>
                  </a:lnTo>
                  <a:lnTo>
                    <a:pt x="1150900" y="207721"/>
                  </a:lnTo>
                  <a:lnTo>
                    <a:pt x="1150900" y="207022"/>
                  </a:lnTo>
                  <a:lnTo>
                    <a:pt x="1150900" y="207721"/>
                  </a:lnTo>
                  <a:lnTo>
                    <a:pt x="1150900" y="207022"/>
                  </a:lnTo>
                  <a:lnTo>
                    <a:pt x="1150900" y="207721"/>
                  </a:lnTo>
                  <a:lnTo>
                    <a:pt x="1150938" y="207022"/>
                  </a:lnTo>
                  <a:lnTo>
                    <a:pt x="1150938" y="207721"/>
                  </a:lnTo>
                  <a:lnTo>
                    <a:pt x="1150938" y="207022"/>
                  </a:lnTo>
                  <a:lnTo>
                    <a:pt x="1150938" y="207721"/>
                  </a:lnTo>
                  <a:lnTo>
                    <a:pt x="1150938" y="207022"/>
                  </a:lnTo>
                  <a:lnTo>
                    <a:pt x="1150938" y="207721"/>
                  </a:lnTo>
                  <a:lnTo>
                    <a:pt x="1150989" y="207721"/>
                  </a:lnTo>
                  <a:lnTo>
                    <a:pt x="1150989" y="207022"/>
                  </a:lnTo>
                  <a:lnTo>
                    <a:pt x="1150989" y="207721"/>
                  </a:lnTo>
                  <a:lnTo>
                    <a:pt x="1150989" y="206324"/>
                  </a:lnTo>
                  <a:lnTo>
                    <a:pt x="1151040" y="207022"/>
                  </a:lnTo>
                  <a:lnTo>
                    <a:pt x="1151040" y="206324"/>
                  </a:lnTo>
                  <a:lnTo>
                    <a:pt x="1151040" y="207022"/>
                  </a:lnTo>
                  <a:lnTo>
                    <a:pt x="1151040" y="206324"/>
                  </a:lnTo>
                  <a:lnTo>
                    <a:pt x="1151040" y="207022"/>
                  </a:lnTo>
                  <a:lnTo>
                    <a:pt x="1151040" y="204990"/>
                  </a:lnTo>
                  <a:lnTo>
                    <a:pt x="1151040" y="206324"/>
                  </a:lnTo>
                  <a:lnTo>
                    <a:pt x="1151040" y="204990"/>
                  </a:lnTo>
                  <a:lnTo>
                    <a:pt x="1151040" y="206324"/>
                  </a:lnTo>
                  <a:lnTo>
                    <a:pt x="1151141" y="206324"/>
                  </a:lnTo>
                  <a:lnTo>
                    <a:pt x="1151141" y="204292"/>
                  </a:lnTo>
                  <a:lnTo>
                    <a:pt x="1151141" y="204990"/>
                  </a:lnTo>
                  <a:lnTo>
                    <a:pt x="1151141" y="203594"/>
                  </a:lnTo>
                  <a:lnTo>
                    <a:pt x="1151192" y="203594"/>
                  </a:lnTo>
                  <a:lnTo>
                    <a:pt x="1151192" y="204292"/>
                  </a:lnTo>
                  <a:lnTo>
                    <a:pt x="1151192" y="203594"/>
                  </a:lnTo>
                  <a:lnTo>
                    <a:pt x="1151192" y="206324"/>
                  </a:lnTo>
                  <a:lnTo>
                    <a:pt x="1151192" y="204292"/>
                  </a:lnTo>
                  <a:lnTo>
                    <a:pt x="1151192" y="204990"/>
                  </a:lnTo>
                  <a:lnTo>
                    <a:pt x="1151243" y="204990"/>
                  </a:lnTo>
                  <a:lnTo>
                    <a:pt x="1151243" y="207721"/>
                  </a:lnTo>
                  <a:lnTo>
                    <a:pt x="1151243" y="206324"/>
                  </a:lnTo>
                  <a:lnTo>
                    <a:pt x="1151243" y="207022"/>
                  </a:lnTo>
                  <a:lnTo>
                    <a:pt x="1151344" y="207022"/>
                  </a:lnTo>
                  <a:lnTo>
                    <a:pt x="1151344" y="207721"/>
                  </a:lnTo>
                  <a:lnTo>
                    <a:pt x="1151344" y="207022"/>
                  </a:lnTo>
                  <a:lnTo>
                    <a:pt x="1151344" y="207721"/>
                  </a:lnTo>
                  <a:lnTo>
                    <a:pt x="1151344" y="207022"/>
                  </a:lnTo>
                  <a:lnTo>
                    <a:pt x="1151344" y="207721"/>
                  </a:lnTo>
                  <a:lnTo>
                    <a:pt x="1151395" y="208407"/>
                  </a:lnTo>
                  <a:lnTo>
                    <a:pt x="1151395" y="207022"/>
                  </a:lnTo>
                  <a:lnTo>
                    <a:pt x="1151395" y="207721"/>
                  </a:lnTo>
                  <a:lnTo>
                    <a:pt x="1151395" y="207022"/>
                  </a:lnTo>
                  <a:lnTo>
                    <a:pt x="1151395" y="207721"/>
                  </a:lnTo>
                  <a:lnTo>
                    <a:pt x="1151395" y="207022"/>
                  </a:lnTo>
                  <a:lnTo>
                    <a:pt x="1151395" y="207721"/>
                  </a:lnTo>
                  <a:lnTo>
                    <a:pt x="1151446" y="207721"/>
                  </a:lnTo>
                  <a:lnTo>
                    <a:pt x="1151446" y="208407"/>
                  </a:lnTo>
                  <a:lnTo>
                    <a:pt x="1151446" y="207721"/>
                  </a:lnTo>
                  <a:lnTo>
                    <a:pt x="1151484" y="207721"/>
                  </a:lnTo>
                  <a:lnTo>
                    <a:pt x="1151484" y="208407"/>
                  </a:lnTo>
                  <a:lnTo>
                    <a:pt x="1151484" y="207022"/>
                  </a:lnTo>
                  <a:lnTo>
                    <a:pt x="1151484" y="207721"/>
                  </a:lnTo>
                  <a:lnTo>
                    <a:pt x="1151484" y="207022"/>
                  </a:lnTo>
                  <a:lnTo>
                    <a:pt x="1151484" y="207721"/>
                  </a:lnTo>
                  <a:lnTo>
                    <a:pt x="1151484" y="207022"/>
                  </a:lnTo>
                  <a:lnTo>
                    <a:pt x="1151484" y="207721"/>
                  </a:lnTo>
                  <a:lnTo>
                    <a:pt x="1151484" y="207022"/>
                  </a:lnTo>
                  <a:lnTo>
                    <a:pt x="1151586" y="207022"/>
                  </a:lnTo>
                  <a:lnTo>
                    <a:pt x="1151586" y="206324"/>
                  </a:lnTo>
                  <a:lnTo>
                    <a:pt x="1151586" y="207022"/>
                  </a:lnTo>
                  <a:lnTo>
                    <a:pt x="1151586" y="204990"/>
                  </a:lnTo>
                  <a:lnTo>
                    <a:pt x="1151637" y="204990"/>
                  </a:lnTo>
                  <a:lnTo>
                    <a:pt x="1151637" y="204292"/>
                  </a:lnTo>
                  <a:lnTo>
                    <a:pt x="1151637" y="206324"/>
                  </a:lnTo>
                  <a:lnTo>
                    <a:pt x="1151637" y="204292"/>
                  </a:lnTo>
                  <a:lnTo>
                    <a:pt x="1151687" y="204990"/>
                  </a:lnTo>
                  <a:lnTo>
                    <a:pt x="1151687" y="204292"/>
                  </a:lnTo>
                  <a:lnTo>
                    <a:pt x="1151687" y="207022"/>
                  </a:lnTo>
                  <a:lnTo>
                    <a:pt x="1151687" y="206324"/>
                  </a:lnTo>
                  <a:lnTo>
                    <a:pt x="1151789" y="206324"/>
                  </a:lnTo>
                  <a:lnTo>
                    <a:pt x="1151789" y="207022"/>
                  </a:lnTo>
                  <a:lnTo>
                    <a:pt x="1151789" y="206324"/>
                  </a:lnTo>
                  <a:lnTo>
                    <a:pt x="1151789" y="207022"/>
                  </a:lnTo>
                  <a:lnTo>
                    <a:pt x="1151789" y="206324"/>
                  </a:lnTo>
                  <a:lnTo>
                    <a:pt x="1151789" y="207022"/>
                  </a:lnTo>
                  <a:lnTo>
                    <a:pt x="1151789" y="206324"/>
                  </a:lnTo>
                  <a:lnTo>
                    <a:pt x="1151789" y="207022"/>
                  </a:lnTo>
                  <a:lnTo>
                    <a:pt x="1151840" y="207022"/>
                  </a:lnTo>
                  <a:lnTo>
                    <a:pt x="1151840" y="206324"/>
                  </a:lnTo>
                  <a:lnTo>
                    <a:pt x="1151840" y="207022"/>
                  </a:lnTo>
                  <a:lnTo>
                    <a:pt x="1151890" y="207022"/>
                  </a:lnTo>
                  <a:lnTo>
                    <a:pt x="1151890" y="207721"/>
                  </a:lnTo>
                  <a:lnTo>
                    <a:pt x="1151890" y="207022"/>
                  </a:lnTo>
                  <a:lnTo>
                    <a:pt x="1151890" y="207721"/>
                  </a:lnTo>
                  <a:lnTo>
                    <a:pt x="1151890" y="207022"/>
                  </a:lnTo>
                  <a:lnTo>
                    <a:pt x="1151941" y="207022"/>
                  </a:lnTo>
                  <a:lnTo>
                    <a:pt x="1151941" y="207721"/>
                  </a:lnTo>
                  <a:lnTo>
                    <a:pt x="1151941" y="206324"/>
                  </a:lnTo>
                  <a:lnTo>
                    <a:pt x="1151941" y="207022"/>
                  </a:lnTo>
                  <a:lnTo>
                    <a:pt x="1151941" y="206324"/>
                  </a:lnTo>
                  <a:lnTo>
                    <a:pt x="1151941" y="207022"/>
                  </a:lnTo>
                  <a:lnTo>
                    <a:pt x="1152030" y="207022"/>
                  </a:lnTo>
                  <a:lnTo>
                    <a:pt x="1152030" y="204990"/>
                  </a:lnTo>
                  <a:lnTo>
                    <a:pt x="1152081" y="204990"/>
                  </a:lnTo>
                  <a:lnTo>
                    <a:pt x="1152081" y="204292"/>
                  </a:lnTo>
                  <a:lnTo>
                    <a:pt x="1152081" y="204990"/>
                  </a:lnTo>
                  <a:lnTo>
                    <a:pt x="1152132" y="206324"/>
                  </a:lnTo>
                  <a:lnTo>
                    <a:pt x="1152132" y="203594"/>
                  </a:lnTo>
                  <a:lnTo>
                    <a:pt x="1152132" y="207022"/>
                  </a:lnTo>
                  <a:lnTo>
                    <a:pt x="1152183" y="207721"/>
                  </a:lnTo>
                  <a:lnTo>
                    <a:pt x="1152183" y="204990"/>
                  </a:lnTo>
                  <a:lnTo>
                    <a:pt x="1152183" y="206324"/>
                  </a:lnTo>
                  <a:lnTo>
                    <a:pt x="1152183" y="204990"/>
                  </a:lnTo>
                  <a:lnTo>
                    <a:pt x="1152183" y="207721"/>
                  </a:lnTo>
                  <a:lnTo>
                    <a:pt x="1152284" y="207721"/>
                  </a:lnTo>
                  <a:lnTo>
                    <a:pt x="1152284" y="206324"/>
                  </a:lnTo>
                  <a:lnTo>
                    <a:pt x="1152284" y="207022"/>
                  </a:lnTo>
                  <a:lnTo>
                    <a:pt x="1152284" y="206324"/>
                  </a:lnTo>
                  <a:lnTo>
                    <a:pt x="1152284" y="207022"/>
                  </a:lnTo>
                  <a:lnTo>
                    <a:pt x="1152284" y="206324"/>
                  </a:lnTo>
                  <a:lnTo>
                    <a:pt x="1152284" y="207022"/>
                  </a:lnTo>
                  <a:lnTo>
                    <a:pt x="1152335" y="207022"/>
                  </a:lnTo>
                  <a:lnTo>
                    <a:pt x="1152335" y="206324"/>
                  </a:lnTo>
                  <a:lnTo>
                    <a:pt x="1152335" y="207721"/>
                  </a:lnTo>
                  <a:lnTo>
                    <a:pt x="1152386" y="207022"/>
                  </a:lnTo>
                  <a:lnTo>
                    <a:pt x="1152386" y="206324"/>
                  </a:lnTo>
                  <a:lnTo>
                    <a:pt x="1152386" y="207022"/>
                  </a:lnTo>
                  <a:lnTo>
                    <a:pt x="1152487" y="207022"/>
                  </a:lnTo>
                  <a:lnTo>
                    <a:pt x="1152487" y="206324"/>
                  </a:lnTo>
                  <a:lnTo>
                    <a:pt x="1152487" y="207022"/>
                  </a:lnTo>
                  <a:lnTo>
                    <a:pt x="1152487" y="204990"/>
                  </a:lnTo>
                  <a:lnTo>
                    <a:pt x="1152525" y="206324"/>
                  </a:lnTo>
                  <a:lnTo>
                    <a:pt x="1152525" y="204292"/>
                  </a:lnTo>
                  <a:lnTo>
                    <a:pt x="1152525" y="204990"/>
                  </a:lnTo>
                  <a:lnTo>
                    <a:pt x="1152576" y="204990"/>
                  </a:lnTo>
                  <a:lnTo>
                    <a:pt x="1152576" y="203594"/>
                  </a:lnTo>
                  <a:lnTo>
                    <a:pt x="1152576" y="206324"/>
                  </a:lnTo>
                  <a:lnTo>
                    <a:pt x="1152576" y="204292"/>
                  </a:lnTo>
                  <a:lnTo>
                    <a:pt x="1152627" y="204292"/>
                  </a:lnTo>
                  <a:lnTo>
                    <a:pt x="1152627" y="203594"/>
                  </a:lnTo>
                  <a:lnTo>
                    <a:pt x="1152627" y="207022"/>
                  </a:lnTo>
                  <a:lnTo>
                    <a:pt x="1152627" y="204990"/>
                  </a:lnTo>
                  <a:lnTo>
                    <a:pt x="1152627" y="206324"/>
                  </a:lnTo>
                  <a:lnTo>
                    <a:pt x="1152627" y="204990"/>
                  </a:lnTo>
                  <a:lnTo>
                    <a:pt x="1152729" y="204990"/>
                  </a:lnTo>
                  <a:lnTo>
                    <a:pt x="1152729" y="207022"/>
                  </a:lnTo>
                  <a:lnTo>
                    <a:pt x="1152729" y="204990"/>
                  </a:lnTo>
                  <a:lnTo>
                    <a:pt x="1152729" y="206324"/>
                  </a:lnTo>
                  <a:lnTo>
                    <a:pt x="1152780" y="204990"/>
                  </a:lnTo>
                  <a:lnTo>
                    <a:pt x="1152780" y="206324"/>
                  </a:lnTo>
                  <a:lnTo>
                    <a:pt x="1152932" y="206324"/>
                  </a:lnTo>
                  <a:lnTo>
                    <a:pt x="1152932" y="204990"/>
                  </a:lnTo>
                  <a:lnTo>
                    <a:pt x="1152932" y="206324"/>
                  </a:lnTo>
                  <a:lnTo>
                    <a:pt x="1152932" y="204990"/>
                  </a:lnTo>
                  <a:lnTo>
                    <a:pt x="1152932" y="206324"/>
                  </a:lnTo>
                  <a:lnTo>
                    <a:pt x="1152932" y="204990"/>
                  </a:lnTo>
                  <a:lnTo>
                    <a:pt x="1152932" y="206324"/>
                  </a:lnTo>
                  <a:lnTo>
                    <a:pt x="1152932" y="204292"/>
                  </a:lnTo>
                  <a:lnTo>
                    <a:pt x="1152983" y="204292"/>
                  </a:lnTo>
                  <a:lnTo>
                    <a:pt x="1152983" y="204990"/>
                  </a:lnTo>
                  <a:lnTo>
                    <a:pt x="1152983" y="204292"/>
                  </a:lnTo>
                  <a:lnTo>
                    <a:pt x="1152983" y="204990"/>
                  </a:lnTo>
                  <a:lnTo>
                    <a:pt x="1152983" y="203594"/>
                  </a:lnTo>
                  <a:lnTo>
                    <a:pt x="1153034" y="202959"/>
                  </a:lnTo>
                  <a:lnTo>
                    <a:pt x="1153034" y="203594"/>
                  </a:lnTo>
                  <a:lnTo>
                    <a:pt x="1153034" y="202260"/>
                  </a:lnTo>
                  <a:lnTo>
                    <a:pt x="1153072" y="200876"/>
                  </a:lnTo>
                  <a:lnTo>
                    <a:pt x="1153072" y="202260"/>
                  </a:lnTo>
                  <a:lnTo>
                    <a:pt x="1153072" y="200876"/>
                  </a:lnTo>
                  <a:lnTo>
                    <a:pt x="1153072" y="203594"/>
                  </a:lnTo>
                  <a:lnTo>
                    <a:pt x="1153072" y="202260"/>
                  </a:lnTo>
                  <a:lnTo>
                    <a:pt x="1153072" y="202959"/>
                  </a:lnTo>
                  <a:lnTo>
                    <a:pt x="1153072" y="202260"/>
                  </a:lnTo>
                  <a:lnTo>
                    <a:pt x="1153173" y="202959"/>
                  </a:lnTo>
                  <a:lnTo>
                    <a:pt x="1153173" y="204990"/>
                  </a:lnTo>
                  <a:lnTo>
                    <a:pt x="1153173" y="203594"/>
                  </a:lnTo>
                  <a:lnTo>
                    <a:pt x="1153173" y="204292"/>
                  </a:lnTo>
                  <a:lnTo>
                    <a:pt x="1153173" y="203594"/>
                  </a:lnTo>
                  <a:lnTo>
                    <a:pt x="1153224" y="203594"/>
                  </a:lnTo>
                  <a:lnTo>
                    <a:pt x="1153224" y="204990"/>
                  </a:lnTo>
                  <a:lnTo>
                    <a:pt x="1153224" y="203594"/>
                  </a:lnTo>
                  <a:lnTo>
                    <a:pt x="1153224" y="204292"/>
                  </a:lnTo>
                  <a:lnTo>
                    <a:pt x="1153275" y="204292"/>
                  </a:lnTo>
                  <a:lnTo>
                    <a:pt x="1153275" y="204990"/>
                  </a:lnTo>
                  <a:lnTo>
                    <a:pt x="1153275" y="204292"/>
                  </a:lnTo>
                  <a:lnTo>
                    <a:pt x="1153275" y="204990"/>
                  </a:lnTo>
                  <a:lnTo>
                    <a:pt x="1153275" y="204292"/>
                  </a:lnTo>
                  <a:lnTo>
                    <a:pt x="1153275" y="204990"/>
                  </a:lnTo>
                  <a:lnTo>
                    <a:pt x="1153275" y="204292"/>
                  </a:lnTo>
                  <a:lnTo>
                    <a:pt x="1153275" y="204990"/>
                  </a:lnTo>
                  <a:lnTo>
                    <a:pt x="1153376" y="204990"/>
                  </a:lnTo>
                  <a:lnTo>
                    <a:pt x="1153376" y="204292"/>
                  </a:lnTo>
                  <a:lnTo>
                    <a:pt x="1153376" y="204990"/>
                  </a:lnTo>
                  <a:lnTo>
                    <a:pt x="1153376" y="204292"/>
                  </a:lnTo>
                  <a:lnTo>
                    <a:pt x="1153376" y="204990"/>
                  </a:lnTo>
                  <a:lnTo>
                    <a:pt x="1153376" y="204292"/>
                  </a:lnTo>
                  <a:lnTo>
                    <a:pt x="1153376" y="204990"/>
                  </a:lnTo>
                  <a:lnTo>
                    <a:pt x="1153376" y="204292"/>
                  </a:lnTo>
                  <a:lnTo>
                    <a:pt x="1153427" y="204292"/>
                  </a:lnTo>
                  <a:lnTo>
                    <a:pt x="1153427" y="203594"/>
                  </a:lnTo>
                  <a:lnTo>
                    <a:pt x="1153478" y="203594"/>
                  </a:lnTo>
                  <a:lnTo>
                    <a:pt x="1153478" y="204292"/>
                  </a:lnTo>
                  <a:lnTo>
                    <a:pt x="1153478" y="202959"/>
                  </a:lnTo>
                  <a:lnTo>
                    <a:pt x="1153529" y="202959"/>
                  </a:lnTo>
                  <a:lnTo>
                    <a:pt x="1153529" y="200228"/>
                  </a:lnTo>
                  <a:lnTo>
                    <a:pt x="1153618" y="200228"/>
                  </a:lnTo>
                  <a:lnTo>
                    <a:pt x="1153618" y="200876"/>
                  </a:lnTo>
                  <a:lnTo>
                    <a:pt x="1153618" y="200228"/>
                  </a:lnTo>
                  <a:lnTo>
                    <a:pt x="1153618" y="202959"/>
                  </a:lnTo>
                  <a:lnTo>
                    <a:pt x="1153618" y="199530"/>
                  </a:lnTo>
                  <a:lnTo>
                    <a:pt x="1153618" y="200876"/>
                  </a:lnTo>
                  <a:lnTo>
                    <a:pt x="1153669" y="202260"/>
                  </a:lnTo>
                  <a:lnTo>
                    <a:pt x="1153669" y="203594"/>
                  </a:lnTo>
                  <a:lnTo>
                    <a:pt x="1153669" y="200876"/>
                  </a:lnTo>
                  <a:lnTo>
                    <a:pt x="1153669" y="202959"/>
                  </a:lnTo>
                  <a:lnTo>
                    <a:pt x="1153719" y="202959"/>
                  </a:lnTo>
                  <a:lnTo>
                    <a:pt x="1153719" y="202260"/>
                  </a:lnTo>
                  <a:lnTo>
                    <a:pt x="1153719" y="203594"/>
                  </a:lnTo>
                  <a:lnTo>
                    <a:pt x="1153770" y="203594"/>
                  </a:lnTo>
                  <a:lnTo>
                    <a:pt x="1153770" y="202959"/>
                  </a:lnTo>
                  <a:lnTo>
                    <a:pt x="1153770" y="203594"/>
                  </a:lnTo>
                  <a:lnTo>
                    <a:pt x="1153770" y="202959"/>
                  </a:lnTo>
                  <a:lnTo>
                    <a:pt x="1153770" y="204292"/>
                  </a:lnTo>
                  <a:lnTo>
                    <a:pt x="1153770" y="203594"/>
                  </a:lnTo>
                  <a:lnTo>
                    <a:pt x="1153872" y="203594"/>
                  </a:lnTo>
                  <a:lnTo>
                    <a:pt x="1153872" y="204292"/>
                  </a:lnTo>
                  <a:lnTo>
                    <a:pt x="1153872" y="203594"/>
                  </a:lnTo>
                  <a:lnTo>
                    <a:pt x="1153872" y="204292"/>
                  </a:lnTo>
                  <a:lnTo>
                    <a:pt x="1153922" y="204292"/>
                  </a:lnTo>
                  <a:lnTo>
                    <a:pt x="1153922" y="203594"/>
                  </a:lnTo>
                  <a:lnTo>
                    <a:pt x="1153973" y="203594"/>
                  </a:lnTo>
                  <a:lnTo>
                    <a:pt x="1153973" y="200876"/>
                  </a:lnTo>
                  <a:lnTo>
                    <a:pt x="1154075" y="200876"/>
                  </a:lnTo>
                  <a:lnTo>
                    <a:pt x="1154075" y="200228"/>
                  </a:lnTo>
                  <a:lnTo>
                    <a:pt x="1154075" y="200876"/>
                  </a:lnTo>
                  <a:lnTo>
                    <a:pt x="1154075" y="199530"/>
                  </a:lnTo>
                  <a:lnTo>
                    <a:pt x="1154075" y="200228"/>
                  </a:lnTo>
                  <a:lnTo>
                    <a:pt x="1154075" y="199530"/>
                  </a:lnTo>
                  <a:lnTo>
                    <a:pt x="1154113" y="199530"/>
                  </a:lnTo>
                  <a:lnTo>
                    <a:pt x="1154113" y="198831"/>
                  </a:lnTo>
                  <a:lnTo>
                    <a:pt x="1154113" y="200228"/>
                  </a:lnTo>
                  <a:lnTo>
                    <a:pt x="1154113" y="198831"/>
                  </a:lnTo>
                  <a:lnTo>
                    <a:pt x="1154164" y="198831"/>
                  </a:lnTo>
                  <a:lnTo>
                    <a:pt x="1154164" y="202260"/>
                  </a:lnTo>
                  <a:lnTo>
                    <a:pt x="1154164" y="199530"/>
                  </a:lnTo>
                  <a:lnTo>
                    <a:pt x="1154215" y="199530"/>
                  </a:lnTo>
                  <a:lnTo>
                    <a:pt x="1154215" y="200876"/>
                  </a:lnTo>
                  <a:lnTo>
                    <a:pt x="1154215" y="200228"/>
                  </a:lnTo>
                  <a:lnTo>
                    <a:pt x="1154316" y="200228"/>
                  </a:lnTo>
                  <a:lnTo>
                    <a:pt x="1154316" y="200876"/>
                  </a:lnTo>
                  <a:lnTo>
                    <a:pt x="1154367" y="202260"/>
                  </a:lnTo>
                  <a:lnTo>
                    <a:pt x="1154367" y="200876"/>
                  </a:lnTo>
                  <a:lnTo>
                    <a:pt x="1154367" y="202959"/>
                  </a:lnTo>
                  <a:lnTo>
                    <a:pt x="1154367" y="202260"/>
                  </a:lnTo>
                  <a:lnTo>
                    <a:pt x="1154367" y="202959"/>
                  </a:lnTo>
                  <a:lnTo>
                    <a:pt x="1154519" y="202959"/>
                  </a:lnTo>
                  <a:lnTo>
                    <a:pt x="1154519" y="202260"/>
                  </a:lnTo>
                  <a:lnTo>
                    <a:pt x="1154519" y="202959"/>
                  </a:lnTo>
                  <a:lnTo>
                    <a:pt x="1154519" y="202260"/>
                  </a:lnTo>
                  <a:lnTo>
                    <a:pt x="1154519" y="202959"/>
                  </a:lnTo>
                  <a:lnTo>
                    <a:pt x="1154519" y="200876"/>
                  </a:lnTo>
                  <a:lnTo>
                    <a:pt x="1154519" y="202260"/>
                  </a:lnTo>
                  <a:lnTo>
                    <a:pt x="1154570" y="200876"/>
                  </a:lnTo>
                  <a:lnTo>
                    <a:pt x="1154570" y="200228"/>
                  </a:lnTo>
                  <a:lnTo>
                    <a:pt x="1154570" y="200876"/>
                  </a:lnTo>
                  <a:lnTo>
                    <a:pt x="1154570" y="200228"/>
                  </a:lnTo>
                  <a:lnTo>
                    <a:pt x="1154570" y="200876"/>
                  </a:lnTo>
                  <a:lnTo>
                    <a:pt x="1154570" y="199530"/>
                  </a:lnTo>
                  <a:lnTo>
                    <a:pt x="1154621" y="198831"/>
                  </a:lnTo>
                  <a:lnTo>
                    <a:pt x="1154621" y="197447"/>
                  </a:lnTo>
                  <a:lnTo>
                    <a:pt x="1154621" y="199530"/>
                  </a:lnTo>
                  <a:lnTo>
                    <a:pt x="1154621" y="196799"/>
                  </a:lnTo>
                  <a:lnTo>
                    <a:pt x="1154659" y="196799"/>
                  </a:lnTo>
                  <a:lnTo>
                    <a:pt x="1154659" y="199530"/>
                  </a:lnTo>
                  <a:lnTo>
                    <a:pt x="1154659" y="198831"/>
                  </a:lnTo>
                  <a:lnTo>
                    <a:pt x="1154659" y="199530"/>
                  </a:lnTo>
                  <a:lnTo>
                    <a:pt x="1154659" y="198831"/>
                  </a:lnTo>
                  <a:lnTo>
                    <a:pt x="1154761" y="197447"/>
                  </a:lnTo>
                  <a:lnTo>
                    <a:pt x="1154761" y="199530"/>
                  </a:lnTo>
                  <a:lnTo>
                    <a:pt x="1154761" y="198831"/>
                  </a:lnTo>
                  <a:lnTo>
                    <a:pt x="1154761" y="199530"/>
                  </a:lnTo>
                  <a:lnTo>
                    <a:pt x="1154761" y="198831"/>
                  </a:lnTo>
                  <a:lnTo>
                    <a:pt x="1154812" y="198831"/>
                  </a:lnTo>
                  <a:lnTo>
                    <a:pt x="1154812" y="200228"/>
                  </a:lnTo>
                  <a:lnTo>
                    <a:pt x="1154812" y="199530"/>
                  </a:lnTo>
                  <a:lnTo>
                    <a:pt x="1154812" y="200228"/>
                  </a:lnTo>
                  <a:lnTo>
                    <a:pt x="1154812" y="199530"/>
                  </a:lnTo>
                  <a:lnTo>
                    <a:pt x="1154862" y="200228"/>
                  </a:lnTo>
                  <a:lnTo>
                    <a:pt x="1154862" y="199530"/>
                  </a:lnTo>
                  <a:lnTo>
                    <a:pt x="1154862" y="200876"/>
                  </a:lnTo>
                  <a:lnTo>
                    <a:pt x="1154862" y="200228"/>
                  </a:lnTo>
                  <a:lnTo>
                    <a:pt x="1154964" y="200876"/>
                  </a:lnTo>
                  <a:lnTo>
                    <a:pt x="1154964" y="202260"/>
                  </a:lnTo>
                  <a:lnTo>
                    <a:pt x="1154964" y="200876"/>
                  </a:lnTo>
                  <a:lnTo>
                    <a:pt x="1154964" y="202260"/>
                  </a:lnTo>
                  <a:lnTo>
                    <a:pt x="1154964" y="200876"/>
                  </a:lnTo>
                  <a:lnTo>
                    <a:pt x="1154964" y="202260"/>
                  </a:lnTo>
                  <a:lnTo>
                    <a:pt x="1154964" y="200876"/>
                  </a:lnTo>
                  <a:lnTo>
                    <a:pt x="1154964" y="202260"/>
                  </a:lnTo>
                  <a:lnTo>
                    <a:pt x="1155015" y="202260"/>
                  </a:lnTo>
                  <a:lnTo>
                    <a:pt x="1155015" y="200876"/>
                  </a:lnTo>
                  <a:lnTo>
                    <a:pt x="1155015" y="202260"/>
                  </a:lnTo>
                  <a:lnTo>
                    <a:pt x="1155015" y="200876"/>
                  </a:lnTo>
                  <a:lnTo>
                    <a:pt x="1155015" y="202260"/>
                  </a:lnTo>
                  <a:lnTo>
                    <a:pt x="1155015" y="200876"/>
                  </a:lnTo>
                  <a:lnTo>
                    <a:pt x="1155015" y="202260"/>
                  </a:lnTo>
                  <a:lnTo>
                    <a:pt x="1155015" y="200876"/>
                  </a:lnTo>
                  <a:lnTo>
                    <a:pt x="1155065" y="200876"/>
                  </a:lnTo>
                  <a:lnTo>
                    <a:pt x="1155065" y="200228"/>
                  </a:lnTo>
                  <a:lnTo>
                    <a:pt x="1155065" y="200876"/>
                  </a:lnTo>
                  <a:lnTo>
                    <a:pt x="1155065" y="200228"/>
                  </a:lnTo>
                  <a:lnTo>
                    <a:pt x="1155065" y="200876"/>
                  </a:lnTo>
                  <a:lnTo>
                    <a:pt x="1155065" y="199530"/>
                  </a:lnTo>
                  <a:lnTo>
                    <a:pt x="1155116" y="199530"/>
                  </a:lnTo>
                  <a:lnTo>
                    <a:pt x="1155116" y="200876"/>
                  </a:lnTo>
                  <a:lnTo>
                    <a:pt x="1155116" y="198831"/>
                  </a:lnTo>
                  <a:lnTo>
                    <a:pt x="1155116" y="199530"/>
                  </a:lnTo>
                  <a:lnTo>
                    <a:pt x="1155205" y="200228"/>
                  </a:lnTo>
                  <a:lnTo>
                    <a:pt x="1155205" y="202260"/>
                  </a:lnTo>
                  <a:lnTo>
                    <a:pt x="1155205" y="200228"/>
                  </a:lnTo>
                  <a:lnTo>
                    <a:pt x="1155205" y="200876"/>
                  </a:lnTo>
                  <a:lnTo>
                    <a:pt x="1155205" y="200228"/>
                  </a:lnTo>
                  <a:lnTo>
                    <a:pt x="1155205" y="200876"/>
                  </a:lnTo>
                  <a:lnTo>
                    <a:pt x="1155256" y="200876"/>
                  </a:lnTo>
                  <a:lnTo>
                    <a:pt x="1155256" y="202260"/>
                  </a:lnTo>
                  <a:lnTo>
                    <a:pt x="1155256" y="200228"/>
                  </a:lnTo>
                  <a:lnTo>
                    <a:pt x="1155256" y="200876"/>
                  </a:lnTo>
                  <a:lnTo>
                    <a:pt x="1155307" y="200876"/>
                  </a:lnTo>
                  <a:lnTo>
                    <a:pt x="1155307" y="200228"/>
                  </a:lnTo>
                  <a:lnTo>
                    <a:pt x="1155307" y="200876"/>
                  </a:lnTo>
                  <a:lnTo>
                    <a:pt x="1155307" y="200228"/>
                  </a:lnTo>
                  <a:lnTo>
                    <a:pt x="1155307" y="200876"/>
                  </a:lnTo>
                  <a:lnTo>
                    <a:pt x="1155307" y="200228"/>
                  </a:lnTo>
                  <a:lnTo>
                    <a:pt x="1155358" y="200228"/>
                  </a:lnTo>
                  <a:lnTo>
                    <a:pt x="1155358" y="202260"/>
                  </a:lnTo>
                  <a:lnTo>
                    <a:pt x="1155358" y="200876"/>
                  </a:lnTo>
                  <a:lnTo>
                    <a:pt x="1155459" y="202260"/>
                  </a:lnTo>
                  <a:lnTo>
                    <a:pt x="1155459" y="200876"/>
                  </a:lnTo>
                  <a:lnTo>
                    <a:pt x="1155459" y="202959"/>
                  </a:lnTo>
                  <a:lnTo>
                    <a:pt x="1155459" y="202260"/>
                  </a:lnTo>
                  <a:lnTo>
                    <a:pt x="1155510" y="202260"/>
                  </a:lnTo>
                  <a:lnTo>
                    <a:pt x="1155510" y="200876"/>
                  </a:lnTo>
                  <a:lnTo>
                    <a:pt x="1155561" y="200876"/>
                  </a:lnTo>
                  <a:lnTo>
                    <a:pt x="1155561" y="200228"/>
                  </a:lnTo>
                  <a:lnTo>
                    <a:pt x="1155561" y="200876"/>
                  </a:lnTo>
                  <a:lnTo>
                    <a:pt x="1155662" y="202260"/>
                  </a:lnTo>
                  <a:lnTo>
                    <a:pt x="1155662" y="200228"/>
                  </a:lnTo>
                  <a:lnTo>
                    <a:pt x="1155662" y="203594"/>
                  </a:lnTo>
                  <a:lnTo>
                    <a:pt x="1155700" y="202959"/>
                  </a:lnTo>
                  <a:lnTo>
                    <a:pt x="1155700" y="202260"/>
                  </a:lnTo>
                  <a:lnTo>
                    <a:pt x="1155700" y="203594"/>
                  </a:lnTo>
                  <a:lnTo>
                    <a:pt x="1155751" y="203594"/>
                  </a:lnTo>
                  <a:lnTo>
                    <a:pt x="1155751" y="202260"/>
                  </a:lnTo>
                  <a:lnTo>
                    <a:pt x="1155751" y="203594"/>
                  </a:lnTo>
                  <a:lnTo>
                    <a:pt x="1155751" y="202959"/>
                  </a:lnTo>
                  <a:lnTo>
                    <a:pt x="1155802" y="203594"/>
                  </a:lnTo>
                  <a:lnTo>
                    <a:pt x="1155802" y="202260"/>
                  </a:lnTo>
                  <a:lnTo>
                    <a:pt x="1155802" y="203594"/>
                  </a:lnTo>
                  <a:lnTo>
                    <a:pt x="1155802" y="202959"/>
                  </a:lnTo>
                  <a:lnTo>
                    <a:pt x="1155802" y="203594"/>
                  </a:lnTo>
                  <a:lnTo>
                    <a:pt x="1155802" y="202959"/>
                  </a:lnTo>
                  <a:lnTo>
                    <a:pt x="1155904" y="202959"/>
                  </a:lnTo>
                  <a:lnTo>
                    <a:pt x="1155904" y="203594"/>
                  </a:lnTo>
                  <a:lnTo>
                    <a:pt x="1155904" y="202959"/>
                  </a:lnTo>
                  <a:lnTo>
                    <a:pt x="1155955" y="202959"/>
                  </a:lnTo>
                  <a:lnTo>
                    <a:pt x="1155955" y="202260"/>
                  </a:lnTo>
                  <a:lnTo>
                    <a:pt x="1155955" y="202959"/>
                  </a:lnTo>
                  <a:lnTo>
                    <a:pt x="1155955" y="202260"/>
                  </a:lnTo>
                  <a:lnTo>
                    <a:pt x="1155955" y="202959"/>
                  </a:lnTo>
                  <a:lnTo>
                    <a:pt x="1155955" y="202260"/>
                  </a:lnTo>
                  <a:lnTo>
                    <a:pt x="1156005" y="202260"/>
                  </a:lnTo>
                  <a:lnTo>
                    <a:pt x="1156005" y="200876"/>
                  </a:lnTo>
                  <a:lnTo>
                    <a:pt x="1156005" y="202260"/>
                  </a:lnTo>
                  <a:lnTo>
                    <a:pt x="1156005" y="199530"/>
                  </a:lnTo>
                  <a:lnTo>
                    <a:pt x="1156107" y="199530"/>
                  </a:lnTo>
                  <a:lnTo>
                    <a:pt x="1156107" y="200228"/>
                  </a:lnTo>
                  <a:lnTo>
                    <a:pt x="1156107" y="199530"/>
                  </a:lnTo>
                  <a:lnTo>
                    <a:pt x="1156107" y="200228"/>
                  </a:lnTo>
                  <a:lnTo>
                    <a:pt x="1156107" y="199530"/>
                  </a:lnTo>
                  <a:lnTo>
                    <a:pt x="1156158" y="200228"/>
                  </a:lnTo>
                  <a:lnTo>
                    <a:pt x="1156158" y="199530"/>
                  </a:lnTo>
                  <a:lnTo>
                    <a:pt x="1156158" y="202959"/>
                  </a:lnTo>
                  <a:lnTo>
                    <a:pt x="1156209" y="202959"/>
                  </a:lnTo>
                  <a:lnTo>
                    <a:pt x="1156209" y="202260"/>
                  </a:lnTo>
                  <a:lnTo>
                    <a:pt x="1156209" y="202959"/>
                  </a:lnTo>
                  <a:lnTo>
                    <a:pt x="1156247" y="202959"/>
                  </a:lnTo>
                  <a:lnTo>
                    <a:pt x="1156247" y="202260"/>
                  </a:lnTo>
                  <a:lnTo>
                    <a:pt x="1156247" y="202959"/>
                  </a:lnTo>
                  <a:lnTo>
                    <a:pt x="1156348" y="202959"/>
                  </a:lnTo>
                  <a:lnTo>
                    <a:pt x="1156348" y="203594"/>
                  </a:lnTo>
                  <a:lnTo>
                    <a:pt x="1156399" y="203594"/>
                  </a:lnTo>
                  <a:lnTo>
                    <a:pt x="1156399" y="202959"/>
                  </a:lnTo>
                  <a:lnTo>
                    <a:pt x="1156399" y="203594"/>
                  </a:lnTo>
                  <a:lnTo>
                    <a:pt x="1156450" y="203594"/>
                  </a:lnTo>
                  <a:lnTo>
                    <a:pt x="1156450" y="202959"/>
                  </a:lnTo>
                  <a:lnTo>
                    <a:pt x="1156450" y="203594"/>
                  </a:lnTo>
                  <a:lnTo>
                    <a:pt x="1156450" y="202959"/>
                  </a:lnTo>
                  <a:lnTo>
                    <a:pt x="1156450" y="203594"/>
                  </a:lnTo>
                  <a:lnTo>
                    <a:pt x="1156450" y="202959"/>
                  </a:lnTo>
                  <a:lnTo>
                    <a:pt x="1156551" y="202959"/>
                  </a:lnTo>
                  <a:lnTo>
                    <a:pt x="1156551" y="202260"/>
                  </a:lnTo>
                  <a:lnTo>
                    <a:pt x="1156551" y="202959"/>
                  </a:lnTo>
                  <a:lnTo>
                    <a:pt x="1156551" y="200228"/>
                  </a:lnTo>
                  <a:lnTo>
                    <a:pt x="1156602" y="200228"/>
                  </a:lnTo>
                  <a:lnTo>
                    <a:pt x="1156602" y="200876"/>
                  </a:lnTo>
                  <a:lnTo>
                    <a:pt x="1156602" y="200228"/>
                  </a:lnTo>
                  <a:lnTo>
                    <a:pt x="1156602" y="202260"/>
                  </a:lnTo>
                  <a:lnTo>
                    <a:pt x="1156602" y="200876"/>
                  </a:lnTo>
                  <a:lnTo>
                    <a:pt x="1156653" y="200876"/>
                  </a:lnTo>
                  <a:lnTo>
                    <a:pt x="1156653" y="200228"/>
                  </a:lnTo>
                  <a:lnTo>
                    <a:pt x="1156653" y="202959"/>
                  </a:lnTo>
                  <a:lnTo>
                    <a:pt x="1156653" y="202260"/>
                  </a:lnTo>
                  <a:lnTo>
                    <a:pt x="1156704" y="202260"/>
                  </a:lnTo>
                  <a:lnTo>
                    <a:pt x="1156704" y="200876"/>
                  </a:lnTo>
                  <a:lnTo>
                    <a:pt x="1156704" y="202959"/>
                  </a:lnTo>
                  <a:lnTo>
                    <a:pt x="1156704" y="202260"/>
                  </a:lnTo>
                  <a:lnTo>
                    <a:pt x="1156793" y="202260"/>
                  </a:lnTo>
                  <a:lnTo>
                    <a:pt x="1156793" y="202959"/>
                  </a:lnTo>
                  <a:lnTo>
                    <a:pt x="1156793" y="202260"/>
                  </a:lnTo>
                  <a:lnTo>
                    <a:pt x="1156793" y="202959"/>
                  </a:lnTo>
                  <a:lnTo>
                    <a:pt x="1156844" y="202959"/>
                  </a:lnTo>
                  <a:lnTo>
                    <a:pt x="1156844" y="203594"/>
                  </a:lnTo>
                  <a:lnTo>
                    <a:pt x="1156844" y="202959"/>
                  </a:lnTo>
                  <a:lnTo>
                    <a:pt x="1156844" y="203594"/>
                  </a:lnTo>
                  <a:lnTo>
                    <a:pt x="1156945" y="203594"/>
                  </a:lnTo>
                  <a:lnTo>
                    <a:pt x="1156945" y="202959"/>
                  </a:lnTo>
                  <a:lnTo>
                    <a:pt x="1156945" y="203594"/>
                  </a:lnTo>
                  <a:lnTo>
                    <a:pt x="1156945" y="202260"/>
                  </a:lnTo>
                  <a:lnTo>
                    <a:pt x="1157047" y="202260"/>
                  </a:lnTo>
                  <a:lnTo>
                    <a:pt x="1157047" y="200876"/>
                  </a:lnTo>
                  <a:lnTo>
                    <a:pt x="1157047" y="202260"/>
                  </a:lnTo>
                  <a:lnTo>
                    <a:pt x="1157047" y="200228"/>
                  </a:lnTo>
                  <a:lnTo>
                    <a:pt x="1157047" y="200876"/>
                  </a:lnTo>
                  <a:lnTo>
                    <a:pt x="1157047" y="200228"/>
                  </a:lnTo>
                  <a:lnTo>
                    <a:pt x="1157097" y="200228"/>
                  </a:lnTo>
                  <a:lnTo>
                    <a:pt x="1157097" y="198831"/>
                  </a:lnTo>
                  <a:lnTo>
                    <a:pt x="1157097" y="200228"/>
                  </a:lnTo>
                  <a:lnTo>
                    <a:pt x="1157148" y="200228"/>
                  </a:lnTo>
                  <a:lnTo>
                    <a:pt x="1157148" y="200876"/>
                  </a:lnTo>
                  <a:lnTo>
                    <a:pt x="1157148" y="199530"/>
                  </a:lnTo>
                  <a:lnTo>
                    <a:pt x="1157148" y="202260"/>
                  </a:lnTo>
                  <a:lnTo>
                    <a:pt x="1157148" y="200876"/>
                  </a:lnTo>
                  <a:lnTo>
                    <a:pt x="1157250" y="200876"/>
                  </a:lnTo>
                  <a:lnTo>
                    <a:pt x="1157250" y="202260"/>
                  </a:lnTo>
                  <a:lnTo>
                    <a:pt x="1157250" y="200876"/>
                  </a:lnTo>
                  <a:lnTo>
                    <a:pt x="1157250" y="202260"/>
                  </a:lnTo>
                  <a:lnTo>
                    <a:pt x="1157288" y="202260"/>
                  </a:lnTo>
                  <a:lnTo>
                    <a:pt x="1157288" y="202959"/>
                  </a:lnTo>
                  <a:lnTo>
                    <a:pt x="1157288" y="202260"/>
                  </a:lnTo>
                  <a:lnTo>
                    <a:pt x="1157288" y="202959"/>
                  </a:lnTo>
                  <a:lnTo>
                    <a:pt x="1157288" y="202260"/>
                  </a:lnTo>
                  <a:lnTo>
                    <a:pt x="1157288" y="202959"/>
                  </a:lnTo>
                  <a:lnTo>
                    <a:pt x="1157339" y="202959"/>
                  </a:lnTo>
                  <a:lnTo>
                    <a:pt x="1157339" y="203594"/>
                  </a:lnTo>
                  <a:lnTo>
                    <a:pt x="1157491" y="203594"/>
                  </a:lnTo>
                  <a:lnTo>
                    <a:pt x="1157491" y="202959"/>
                  </a:lnTo>
                  <a:lnTo>
                    <a:pt x="1157491" y="203594"/>
                  </a:lnTo>
                  <a:lnTo>
                    <a:pt x="1157542" y="202959"/>
                  </a:lnTo>
                  <a:lnTo>
                    <a:pt x="1157542" y="203594"/>
                  </a:lnTo>
                  <a:lnTo>
                    <a:pt x="1157542" y="200876"/>
                  </a:lnTo>
                  <a:lnTo>
                    <a:pt x="1157593" y="200876"/>
                  </a:lnTo>
                  <a:lnTo>
                    <a:pt x="1157593" y="202959"/>
                  </a:lnTo>
                  <a:lnTo>
                    <a:pt x="1157593" y="200228"/>
                  </a:lnTo>
                  <a:lnTo>
                    <a:pt x="1157694" y="200876"/>
                  </a:lnTo>
                  <a:lnTo>
                    <a:pt x="1157694" y="203594"/>
                  </a:lnTo>
                  <a:lnTo>
                    <a:pt x="1157694" y="200876"/>
                  </a:lnTo>
                  <a:lnTo>
                    <a:pt x="1157745" y="202260"/>
                  </a:lnTo>
                  <a:lnTo>
                    <a:pt x="1157745" y="203594"/>
                  </a:lnTo>
                  <a:lnTo>
                    <a:pt x="1157745" y="200876"/>
                  </a:lnTo>
                  <a:lnTo>
                    <a:pt x="1157745" y="202959"/>
                  </a:lnTo>
                  <a:lnTo>
                    <a:pt x="1157796" y="202959"/>
                  </a:lnTo>
                  <a:lnTo>
                    <a:pt x="1157796" y="202260"/>
                  </a:lnTo>
                  <a:lnTo>
                    <a:pt x="1157796" y="202959"/>
                  </a:lnTo>
                  <a:lnTo>
                    <a:pt x="1157796" y="202260"/>
                  </a:lnTo>
                  <a:lnTo>
                    <a:pt x="1157796" y="202959"/>
                  </a:lnTo>
                  <a:lnTo>
                    <a:pt x="1157796" y="202260"/>
                  </a:lnTo>
                  <a:lnTo>
                    <a:pt x="1157796" y="202959"/>
                  </a:lnTo>
                  <a:lnTo>
                    <a:pt x="1157796" y="202260"/>
                  </a:lnTo>
                  <a:lnTo>
                    <a:pt x="1157796" y="202959"/>
                  </a:lnTo>
                  <a:lnTo>
                    <a:pt x="1157834" y="202959"/>
                  </a:lnTo>
                  <a:lnTo>
                    <a:pt x="1157834" y="203594"/>
                  </a:lnTo>
                  <a:lnTo>
                    <a:pt x="1157834" y="202959"/>
                  </a:lnTo>
                  <a:lnTo>
                    <a:pt x="1157834" y="203594"/>
                  </a:lnTo>
                  <a:lnTo>
                    <a:pt x="1157834" y="202959"/>
                  </a:lnTo>
                  <a:lnTo>
                    <a:pt x="1157834" y="203594"/>
                  </a:lnTo>
                  <a:lnTo>
                    <a:pt x="1157936" y="203594"/>
                  </a:lnTo>
                  <a:lnTo>
                    <a:pt x="1157936" y="202959"/>
                  </a:lnTo>
                  <a:lnTo>
                    <a:pt x="1157936" y="203594"/>
                  </a:lnTo>
                  <a:lnTo>
                    <a:pt x="1157987" y="203594"/>
                  </a:lnTo>
                  <a:lnTo>
                    <a:pt x="1157987" y="202959"/>
                  </a:lnTo>
                  <a:lnTo>
                    <a:pt x="1157987" y="203594"/>
                  </a:lnTo>
                  <a:lnTo>
                    <a:pt x="1157987" y="202959"/>
                  </a:lnTo>
                  <a:lnTo>
                    <a:pt x="1157987" y="203594"/>
                  </a:lnTo>
                  <a:lnTo>
                    <a:pt x="1157987" y="202260"/>
                  </a:lnTo>
                  <a:lnTo>
                    <a:pt x="1157987" y="202959"/>
                  </a:lnTo>
                  <a:lnTo>
                    <a:pt x="1158037" y="202959"/>
                  </a:lnTo>
                  <a:lnTo>
                    <a:pt x="1158037" y="200876"/>
                  </a:lnTo>
                  <a:lnTo>
                    <a:pt x="1158037" y="202959"/>
                  </a:lnTo>
                  <a:lnTo>
                    <a:pt x="1158139" y="202959"/>
                  </a:lnTo>
                  <a:lnTo>
                    <a:pt x="1158139" y="203594"/>
                  </a:lnTo>
                  <a:lnTo>
                    <a:pt x="1158139" y="202260"/>
                  </a:lnTo>
                  <a:lnTo>
                    <a:pt x="1158139" y="204292"/>
                  </a:lnTo>
                  <a:lnTo>
                    <a:pt x="1158190" y="204990"/>
                  </a:lnTo>
                  <a:lnTo>
                    <a:pt x="1158190" y="202959"/>
                  </a:lnTo>
                  <a:lnTo>
                    <a:pt x="1158190" y="204292"/>
                  </a:lnTo>
                  <a:lnTo>
                    <a:pt x="1158240" y="204292"/>
                  </a:lnTo>
                  <a:lnTo>
                    <a:pt x="1158240" y="203594"/>
                  </a:lnTo>
                  <a:lnTo>
                    <a:pt x="1158240" y="204292"/>
                  </a:lnTo>
                  <a:lnTo>
                    <a:pt x="1158240" y="203594"/>
                  </a:lnTo>
                  <a:lnTo>
                    <a:pt x="1158291" y="204292"/>
                  </a:lnTo>
                  <a:lnTo>
                    <a:pt x="1158291" y="203594"/>
                  </a:lnTo>
                  <a:lnTo>
                    <a:pt x="1158291" y="204292"/>
                  </a:lnTo>
                  <a:lnTo>
                    <a:pt x="1158380" y="204292"/>
                  </a:lnTo>
                  <a:lnTo>
                    <a:pt x="1158380" y="203594"/>
                  </a:lnTo>
                  <a:lnTo>
                    <a:pt x="1158380" y="204292"/>
                  </a:lnTo>
                  <a:lnTo>
                    <a:pt x="1158380" y="203594"/>
                  </a:lnTo>
                  <a:lnTo>
                    <a:pt x="1158380" y="204292"/>
                  </a:lnTo>
                  <a:lnTo>
                    <a:pt x="1158380" y="203594"/>
                  </a:lnTo>
                  <a:lnTo>
                    <a:pt x="1158431" y="204292"/>
                  </a:lnTo>
                  <a:lnTo>
                    <a:pt x="1158431" y="203594"/>
                  </a:lnTo>
                  <a:lnTo>
                    <a:pt x="1158431" y="204292"/>
                  </a:lnTo>
                  <a:lnTo>
                    <a:pt x="1158431" y="202959"/>
                  </a:lnTo>
                  <a:lnTo>
                    <a:pt x="1158431" y="203594"/>
                  </a:lnTo>
                  <a:lnTo>
                    <a:pt x="1158431" y="202959"/>
                  </a:lnTo>
                  <a:lnTo>
                    <a:pt x="1158482" y="203594"/>
                  </a:lnTo>
                  <a:lnTo>
                    <a:pt x="1158482" y="202260"/>
                  </a:lnTo>
                  <a:lnTo>
                    <a:pt x="1158533" y="202260"/>
                  </a:lnTo>
                  <a:lnTo>
                    <a:pt x="1158533" y="200876"/>
                  </a:lnTo>
                  <a:lnTo>
                    <a:pt x="1158533" y="203594"/>
                  </a:lnTo>
                  <a:lnTo>
                    <a:pt x="1158634" y="203594"/>
                  </a:lnTo>
                  <a:lnTo>
                    <a:pt x="1158634" y="202959"/>
                  </a:lnTo>
                  <a:lnTo>
                    <a:pt x="1158634" y="204990"/>
                  </a:lnTo>
                  <a:lnTo>
                    <a:pt x="1158634" y="204292"/>
                  </a:lnTo>
                  <a:lnTo>
                    <a:pt x="1158685" y="204292"/>
                  </a:lnTo>
                  <a:lnTo>
                    <a:pt x="1158685" y="203594"/>
                  </a:lnTo>
                  <a:lnTo>
                    <a:pt x="1158685" y="204990"/>
                  </a:lnTo>
                  <a:lnTo>
                    <a:pt x="1158685" y="203594"/>
                  </a:lnTo>
                  <a:lnTo>
                    <a:pt x="1158736" y="203594"/>
                  </a:lnTo>
                  <a:lnTo>
                    <a:pt x="1158736" y="204990"/>
                  </a:lnTo>
                  <a:lnTo>
                    <a:pt x="1158736" y="204292"/>
                  </a:lnTo>
                  <a:lnTo>
                    <a:pt x="1158736" y="204990"/>
                  </a:lnTo>
                  <a:lnTo>
                    <a:pt x="1158736" y="204292"/>
                  </a:lnTo>
                  <a:lnTo>
                    <a:pt x="1158736" y="204990"/>
                  </a:lnTo>
                  <a:lnTo>
                    <a:pt x="1158736" y="204292"/>
                  </a:lnTo>
                  <a:lnTo>
                    <a:pt x="1158837" y="204292"/>
                  </a:lnTo>
                  <a:lnTo>
                    <a:pt x="1158837" y="204990"/>
                  </a:lnTo>
                  <a:lnTo>
                    <a:pt x="1158837" y="204292"/>
                  </a:lnTo>
                  <a:lnTo>
                    <a:pt x="1158875" y="204990"/>
                  </a:lnTo>
                  <a:lnTo>
                    <a:pt x="1158875" y="204292"/>
                  </a:lnTo>
                  <a:lnTo>
                    <a:pt x="1158926" y="204292"/>
                  </a:lnTo>
                  <a:lnTo>
                    <a:pt x="1158926" y="202959"/>
                  </a:lnTo>
                  <a:lnTo>
                    <a:pt x="1158977" y="202959"/>
                  </a:lnTo>
                  <a:lnTo>
                    <a:pt x="1158977" y="200876"/>
                  </a:lnTo>
                  <a:lnTo>
                    <a:pt x="1158977" y="202260"/>
                  </a:lnTo>
                  <a:lnTo>
                    <a:pt x="1158977" y="200876"/>
                  </a:lnTo>
                  <a:lnTo>
                    <a:pt x="1158977" y="202959"/>
                  </a:lnTo>
                  <a:lnTo>
                    <a:pt x="1159079" y="202959"/>
                  </a:lnTo>
                  <a:lnTo>
                    <a:pt x="1159079" y="202260"/>
                  </a:lnTo>
                  <a:lnTo>
                    <a:pt x="1159079" y="204990"/>
                  </a:lnTo>
                  <a:lnTo>
                    <a:pt x="1159079" y="204292"/>
                  </a:lnTo>
                  <a:lnTo>
                    <a:pt x="1159130" y="204292"/>
                  </a:lnTo>
                  <a:lnTo>
                    <a:pt x="1159130" y="203594"/>
                  </a:lnTo>
                  <a:lnTo>
                    <a:pt x="1159130" y="204292"/>
                  </a:lnTo>
                  <a:lnTo>
                    <a:pt x="1159130" y="203594"/>
                  </a:lnTo>
                  <a:lnTo>
                    <a:pt x="1159130" y="204990"/>
                  </a:lnTo>
                  <a:lnTo>
                    <a:pt x="1159130" y="204292"/>
                  </a:lnTo>
                  <a:lnTo>
                    <a:pt x="1159130" y="204990"/>
                  </a:lnTo>
                  <a:lnTo>
                    <a:pt x="1159130" y="204292"/>
                  </a:lnTo>
                  <a:lnTo>
                    <a:pt x="1159180" y="204990"/>
                  </a:lnTo>
                  <a:lnTo>
                    <a:pt x="1159180" y="204292"/>
                  </a:lnTo>
                  <a:lnTo>
                    <a:pt x="1159180" y="204990"/>
                  </a:lnTo>
                  <a:lnTo>
                    <a:pt x="1159180" y="204292"/>
                  </a:lnTo>
                  <a:lnTo>
                    <a:pt x="1159180" y="204990"/>
                  </a:lnTo>
                  <a:lnTo>
                    <a:pt x="1159180" y="204292"/>
                  </a:lnTo>
                  <a:lnTo>
                    <a:pt x="1159282" y="204292"/>
                  </a:lnTo>
                  <a:lnTo>
                    <a:pt x="1159282" y="206324"/>
                  </a:lnTo>
                  <a:lnTo>
                    <a:pt x="1159282" y="204990"/>
                  </a:lnTo>
                  <a:lnTo>
                    <a:pt x="1159282" y="206324"/>
                  </a:lnTo>
                  <a:lnTo>
                    <a:pt x="1159282" y="204990"/>
                  </a:lnTo>
                  <a:lnTo>
                    <a:pt x="1159384" y="204990"/>
                  </a:lnTo>
                  <a:lnTo>
                    <a:pt x="1159384" y="203594"/>
                  </a:lnTo>
                  <a:lnTo>
                    <a:pt x="1159422" y="203594"/>
                  </a:lnTo>
                  <a:lnTo>
                    <a:pt x="1159422" y="202260"/>
                  </a:lnTo>
                  <a:lnTo>
                    <a:pt x="1159422" y="202959"/>
                  </a:lnTo>
                  <a:lnTo>
                    <a:pt x="1159422" y="202260"/>
                  </a:lnTo>
                  <a:lnTo>
                    <a:pt x="1159523" y="202260"/>
                  </a:lnTo>
                  <a:lnTo>
                    <a:pt x="1159523" y="200876"/>
                  </a:lnTo>
                  <a:lnTo>
                    <a:pt x="1159523" y="203594"/>
                  </a:lnTo>
                  <a:lnTo>
                    <a:pt x="1159523" y="202959"/>
                  </a:lnTo>
                  <a:lnTo>
                    <a:pt x="1159523" y="203594"/>
                  </a:lnTo>
                  <a:lnTo>
                    <a:pt x="1159523" y="200876"/>
                  </a:lnTo>
                  <a:lnTo>
                    <a:pt x="1159574" y="202260"/>
                  </a:lnTo>
                  <a:lnTo>
                    <a:pt x="1159574" y="204990"/>
                  </a:lnTo>
                  <a:lnTo>
                    <a:pt x="1159574" y="203594"/>
                  </a:lnTo>
                  <a:lnTo>
                    <a:pt x="1159625" y="203594"/>
                  </a:lnTo>
                  <a:lnTo>
                    <a:pt x="1159625" y="204990"/>
                  </a:lnTo>
                  <a:lnTo>
                    <a:pt x="1159625" y="203594"/>
                  </a:lnTo>
                  <a:lnTo>
                    <a:pt x="1159726" y="204292"/>
                  </a:lnTo>
                  <a:lnTo>
                    <a:pt x="1159726" y="203594"/>
                  </a:lnTo>
                  <a:lnTo>
                    <a:pt x="1159726" y="204990"/>
                  </a:lnTo>
                  <a:lnTo>
                    <a:pt x="1159726" y="203594"/>
                  </a:lnTo>
                  <a:lnTo>
                    <a:pt x="1159726" y="204292"/>
                  </a:lnTo>
                  <a:lnTo>
                    <a:pt x="1159777" y="204292"/>
                  </a:lnTo>
                  <a:lnTo>
                    <a:pt x="1159777" y="204990"/>
                  </a:lnTo>
                  <a:lnTo>
                    <a:pt x="1159777" y="204292"/>
                  </a:lnTo>
                  <a:lnTo>
                    <a:pt x="1159777" y="204990"/>
                  </a:lnTo>
                  <a:lnTo>
                    <a:pt x="1159828" y="204990"/>
                  </a:lnTo>
                  <a:lnTo>
                    <a:pt x="1159828" y="204292"/>
                  </a:lnTo>
                  <a:lnTo>
                    <a:pt x="1159828" y="204990"/>
                  </a:lnTo>
                  <a:lnTo>
                    <a:pt x="1159828" y="204292"/>
                  </a:lnTo>
                  <a:lnTo>
                    <a:pt x="1159828" y="204990"/>
                  </a:lnTo>
                  <a:lnTo>
                    <a:pt x="1159828" y="204292"/>
                  </a:lnTo>
                  <a:lnTo>
                    <a:pt x="1159879" y="204292"/>
                  </a:lnTo>
                  <a:lnTo>
                    <a:pt x="1159879" y="202959"/>
                  </a:lnTo>
                  <a:lnTo>
                    <a:pt x="1159968" y="202959"/>
                  </a:lnTo>
                  <a:lnTo>
                    <a:pt x="1159968" y="200228"/>
                  </a:lnTo>
                  <a:lnTo>
                    <a:pt x="1160019" y="200228"/>
                  </a:lnTo>
                  <a:lnTo>
                    <a:pt x="1160019" y="200876"/>
                  </a:lnTo>
                  <a:lnTo>
                    <a:pt x="1160019" y="200228"/>
                  </a:lnTo>
                  <a:lnTo>
                    <a:pt x="1160069" y="200228"/>
                  </a:lnTo>
                  <a:lnTo>
                    <a:pt x="1160069" y="198831"/>
                  </a:lnTo>
                  <a:lnTo>
                    <a:pt x="1160069" y="202260"/>
                  </a:lnTo>
                  <a:lnTo>
                    <a:pt x="1160069" y="200876"/>
                  </a:lnTo>
                  <a:lnTo>
                    <a:pt x="1160069" y="202260"/>
                  </a:lnTo>
                  <a:lnTo>
                    <a:pt x="1160069" y="200228"/>
                  </a:lnTo>
                  <a:lnTo>
                    <a:pt x="1160120" y="200228"/>
                  </a:lnTo>
                  <a:lnTo>
                    <a:pt x="1160120" y="202959"/>
                  </a:lnTo>
                  <a:lnTo>
                    <a:pt x="1160120" y="202260"/>
                  </a:lnTo>
                  <a:lnTo>
                    <a:pt x="1160120" y="202959"/>
                  </a:lnTo>
                  <a:lnTo>
                    <a:pt x="1160120" y="202260"/>
                  </a:lnTo>
                  <a:lnTo>
                    <a:pt x="1160222" y="202260"/>
                  </a:lnTo>
                  <a:lnTo>
                    <a:pt x="1160222" y="203594"/>
                  </a:lnTo>
                  <a:lnTo>
                    <a:pt x="1160222" y="202959"/>
                  </a:lnTo>
                  <a:lnTo>
                    <a:pt x="1160222" y="203594"/>
                  </a:lnTo>
                  <a:lnTo>
                    <a:pt x="1160272" y="203594"/>
                  </a:lnTo>
                  <a:lnTo>
                    <a:pt x="1160272" y="204292"/>
                  </a:lnTo>
                  <a:lnTo>
                    <a:pt x="1160272" y="203594"/>
                  </a:lnTo>
                  <a:lnTo>
                    <a:pt x="1160272" y="204292"/>
                  </a:lnTo>
                  <a:lnTo>
                    <a:pt x="1160272" y="203594"/>
                  </a:lnTo>
                  <a:lnTo>
                    <a:pt x="1160323" y="203594"/>
                  </a:lnTo>
                  <a:lnTo>
                    <a:pt x="1160323" y="204292"/>
                  </a:lnTo>
                  <a:lnTo>
                    <a:pt x="1160323" y="203594"/>
                  </a:lnTo>
                  <a:lnTo>
                    <a:pt x="1160323" y="204292"/>
                  </a:lnTo>
                  <a:lnTo>
                    <a:pt x="1160323" y="203594"/>
                  </a:lnTo>
                  <a:lnTo>
                    <a:pt x="1160323" y="204292"/>
                  </a:lnTo>
                  <a:lnTo>
                    <a:pt x="1160425" y="203594"/>
                  </a:lnTo>
                  <a:lnTo>
                    <a:pt x="1160425" y="202959"/>
                  </a:lnTo>
                  <a:lnTo>
                    <a:pt x="1160463" y="202959"/>
                  </a:lnTo>
                  <a:lnTo>
                    <a:pt x="1160463" y="202260"/>
                  </a:lnTo>
                  <a:lnTo>
                    <a:pt x="1160463" y="202959"/>
                  </a:lnTo>
                  <a:lnTo>
                    <a:pt x="1160463" y="200876"/>
                  </a:lnTo>
                  <a:lnTo>
                    <a:pt x="1160514" y="200876"/>
                  </a:lnTo>
                  <a:lnTo>
                    <a:pt x="1160514" y="200228"/>
                  </a:lnTo>
                  <a:lnTo>
                    <a:pt x="1160514" y="200876"/>
                  </a:lnTo>
                  <a:lnTo>
                    <a:pt x="1160514" y="199530"/>
                  </a:lnTo>
                  <a:lnTo>
                    <a:pt x="1160514" y="200228"/>
                  </a:lnTo>
                  <a:lnTo>
                    <a:pt x="1160565" y="199530"/>
                  </a:lnTo>
                  <a:lnTo>
                    <a:pt x="1160565" y="202959"/>
                  </a:lnTo>
                  <a:lnTo>
                    <a:pt x="1160565" y="200228"/>
                  </a:lnTo>
                  <a:lnTo>
                    <a:pt x="1160565" y="200876"/>
                  </a:lnTo>
                  <a:lnTo>
                    <a:pt x="1160666" y="202260"/>
                  </a:lnTo>
                  <a:lnTo>
                    <a:pt x="1160666" y="200876"/>
                  </a:lnTo>
                  <a:lnTo>
                    <a:pt x="1160666" y="202260"/>
                  </a:lnTo>
                  <a:lnTo>
                    <a:pt x="1160666" y="200228"/>
                  </a:lnTo>
                  <a:lnTo>
                    <a:pt x="1160666" y="200876"/>
                  </a:lnTo>
                  <a:lnTo>
                    <a:pt x="1160666" y="200228"/>
                  </a:lnTo>
                  <a:lnTo>
                    <a:pt x="1160666" y="200876"/>
                  </a:lnTo>
                  <a:lnTo>
                    <a:pt x="1160717" y="202260"/>
                  </a:lnTo>
                  <a:lnTo>
                    <a:pt x="1160717" y="200876"/>
                  </a:lnTo>
                  <a:lnTo>
                    <a:pt x="1160717" y="202260"/>
                  </a:lnTo>
                  <a:lnTo>
                    <a:pt x="1160717" y="200876"/>
                  </a:lnTo>
                  <a:lnTo>
                    <a:pt x="1160717" y="202959"/>
                  </a:lnTo>
                  <a:lnTo>
                    <a:pt x="1160768" y="202959"/>
                  </a:lnTo>
                  <a:lnTo>
                    <a:pt x="1160768" y="202260"/>
                  </a:lnTo>
                  <a:lnTo>
                    <a:pt x="1160768" y="202959"/>
                  </a:lnTo>
                  <a:lnTo>
                    <a:pt x="1160768" y="202260"/>
                  </a:lnTo>
                  <a:lnTo>
                    <a:pt x="1160768" y="202959"/>
                  </a:lnTo>
                  <a:lnTo>
                    <a:pt x="1160768" y="202260"/>
                  </a:lnTo>
                  <a:lnTo>
                    <a:pt x="1160768" y="202959"/>
                  </a:lnTo>
                  <a:lnTo>
                    <a:pt x="1160869" y="202959"/>
                  </a:lnTo>
                  <a:lnTo>
                    <a:pt x="1160869" y="202260"/>
                  </a:lnTo>
                  <a:lnTo>
                    <a:pt x="1160869" y="202959"/>
                  </a:lnTo>
                  <a:lnTo>
                    <a:pt x="1160869" y="202260"/>
                  </a:lnTo>
                  <a:lnTo>
                    <a:pt x="1160869" y="203594"/>
                  </a:lnTo>
                  <a:lnTo>
                    <a:pt x="1160920" y="202959"/>
                  </a:lnTo>
                  <a:lnTo>
                    <a:pt x="1160920" y="202260"/>
                  </a:lnTo>
                  <a:lnTo>
                    <a:pt x="1160920" y="202959"/>
                  </a:lnTo>
                  <a:lnTo>
                    <a:pt x="1160920" y="202260"/>
                  </a:lnTo>
                  <a:lnTo>
                    <a:pt x="1160920" y="202959"/>
                  </a:lnTo>
                  <a:lnTo>
                    <a:pt x="1160971" y="202959"/>
                  </a:lnTo>
                  <a:lnTo>
                    <a:pt x="1160971" y="200876"/>
                  </a:lnTo>
                  <a:lnTo>
                    <a:pt x="1160971" y="202260"/>
                  </a:lnTo>
                  <a:lnTo>
                    <a:pt x="1161009" y="202260"/>
                  </a:lnTo>
                  <a:lnTo>
                    <a:pt x="1161009" y="202959"/>
                  </a:lnTo>
                  <a:lnTo>
                    <a:pt x="1161009" y="200228"/>
                  </a:lnTo>
                  <a:lnTo>
                    <a:pt x="1161009" y="203594"/>
                  </a:lnTo>
                  <a:lnTo>
                    <a:pt x="1161111" y="203594"/>
                  </a:lnTo>
                  <a:lnTo>
                    <a:pt x="1161111" y="200876"/>
                  </a:lnTo>
                  <a:lnTo>
                    <a:pt x="1161111" y="202959"/>
                  </a:lnTo>
                  <a:lnTo>
                    <a:pt x="1161162" y="202959"/>
                  </a:lnTo>
                  <a:lnTo>
                    <a:pt x="1161162" y="202260"/>
                  </a:lnTo>
                  <a:lnTo>
                    <a:pt x="1161162" y="202959"/>
                  </a:lnTo>
                  <a:lnTo>
                    <a:pt x="1161212" y="202959"/>
                  </a:lnTo>
                  <a:lnTo>
                    <a:pt x="1161212" y="202260"/>
                  </a:lnTo>
                  <a:lnTo>
                    <a:pt x="1161212" y="202959"/>
                  </a:lnTo>
                  <a:lnTo>
                    <a:pt x="1161314" y="202959"/>
                  </a:lnTo>
                  <a:lnTo>
                    <a:pt x="1161314" y="203594"/>
                  </a:lnTo>
                  <a:lnTo>
                    <a:pt x="1161314" y="202959"/>
                  </a:lnTo>
                  <a:lnTo>
                    <a:pt x="1161314" y="203594"/>
                  </a:lnTo>
                  <a:lnTo>
                    <a:pt x="1161314" y="202959"/>
                  </a:lnTo>
                  <a:lnTo>
                    <a:pt x="1161314" y="203594"/>
                  </a:lnTo>
                  <a:lnTo>
                    <a:pt x="1161365" y="203594"/>
                  </a:lnTo>
                  <a:lnTo>
                    <a:pt x="1161365" y="202959"/>
                  </a:lnTo>
                  <a:lnTo>
                    <a:pt x="1161415" y="202959"/>
                  </a:lnTo>
                  <a:lnTo>
                    <a:pt x="1161415" y="200876"/>
                  </a:lnTo>
                  <a:lnTo>
                    <a:pt x="1161466" y="200876"/>
                  </a:lnTo>
                  <a:lnTo>
                    <a:pt x="1161466" y="200228"/>
                  </a:lnTo>
                  <a:lnTo>
                    <a:pt x="1161466" y="202260"/>
                  </a:lnTo>
                  <a:lnTo>
                    <a:pt x="1161555" y="202959"/>
                  </a:lnTo>
                  <a:lnTo>
                    <a:pt x="1161555" y="200228"/>
                  </a:lnTo>
                  <a:lnTo>
                    <a:pt x="1161555" y="203594"/>
                  </a:lnTo>
                  <a:lnTo>
                    <a:pt x="1161555" y="202959"/>
                  </a:lnTo>
                  <a:lnTo>
                    <a:pt x="1161555" y="203594"/>
                  </a:lnTo>
                  <a:lnTo>
                    <a:pt x="1161606" y="203594"/>
                  </a:lnTo>
                  <a:lnTo>
                    <a:pt x="1161606" y="202260"/>
                  </a:lnTo>
                  <a:lnTo>
                    <a:pt x="1161606" y="202959"/>
                  </a:lnTo>
                  <a:lnTo>
                    <a:pt x="1161657" y="202959"/>
                  </a:lnTo>
                  <a:lnTo>
                    <a:pt x="1161657" y="203594"/>
                  </a:lnTo>
                  <a:lnTo>
                    <a:pt x="1161657" y="202959"/>
                  </a:lnTo>
                  <a:lnTo>
                    <a:pt x="1161809" y="202959"/>
                  </a:lnTo>
                  <a:lnTo>
                    <a:pt x="1161809" y="202260"/>
                  </a:lnTo>
                  <a:lnTo>
                    <a:pt x="1161860" y="202260"/>
                  </a:lnTo>
                  <a:lnTo>
                    <a:pt x="1161860" y="202959"/>
                  </a:lnTo>
                  <a:lnTo>
                    <a:pt x="1161860" y="200876"/>
                  </a:lnTo>
                  <a:lnTo>
                    <a:pt x="1161860" y="202260"/>
                  </a:lnTo>
                  <a:lnTo>
                    <a:pt x="1161860" y="200876"/>
                  </a:lnTo>
                  <a:lnTo>
                    <a:pt x="1161860" y="202260"/>
                  </a:lnTo>
                  <a:lnTo>
                    <a:pt x="1161911" y="202260"/>
                  </a:lnTo>
                  <a:lnTo>
                    <a:pt x="1161911" y="200228"/>
                  </a:lnTo>
                  <a:lnTo>
                    <a:pt x="1162012" y="200228"/>
                  </a:lnTo>
                  <a:lnTo>
                    <a:pt x="1162012" y="197447"/>
                  </a:lnTo>
                  <a:lnTo>
                    <a:pt x="1162012" y="199530"/>
                  </a:lnTo>
                  <a:lnTo>
                    <a:pt x="1162050" y="200228"/>
                  </a:lnTo>
                  <a:lnTo>
                    <a:pt x="1162050" y="197447"/>
                  </a:lnTo>
                  <a:lnTo>
                    <a:pt x="1162050" y="198831"/>
                  </a:lnTo>
                  <a:lnTo>
                    <a:pt x="1162050" y="197447"/>
                  </a:lnTo>
                  <a:lnTo>
                    <a:pt x="1162050" y="200876"/>
                  </a:lnTo>
                  <a:lnTo>
                    <a:pt x="1162101" y="200876"/>
                  </a:lnTo>
                  <a:lnTo>
                    <a:pt x="1162101" y="202260"/>
                  </a:lnTo>
                  <a:lnTo>
                    <a:pt x="1162101" y="199530"/>
                  </a:lnTo>
                  <a:lnTo>
                    <a:pt x="1162101" y="202260"/>
                  </a:lnTo>
                  <a:lnTo>
                    <a:pt x="1162152" y="202260"/>
                  </a:lnTo>
                  <a:lnTo>
                    <a:pt x="1162152" y="200876"/>
                  </a:lnTo>
                  <a:lnTo>
                    <a:pt x="1162152" y="202260"/>
                  </a:lnTo>
                  <a:lnTo>
                    <a:pt x="1162152" y="200228"/>
                  </a:lnTo>
                  <a:lnTo>
                    <a:pt x="1162152" y="202260"/>
                  </a:lnTo>
                  <a:lnTo>
                    <a:pt x="1162152" y="200876"/>
                  </a:lnTo>
                  <a:lnTo>
                    <a:pt x="1162254" y="202260"/>
                  </a:lnTo>
                  <a:lnTo>
                    <a:pt x="1162254" y="202959"/>
                  </a:lnTo>
                  <a:lnTo>
                    <a:pt x="1162254" y="202260"/>
                  </a:lnTo>
                  <a:lnTo>
                    <a:pt x="1162254" y="202959"/>
                  </a:lnTo>
                  <a:lnTo>
                    <a:pt x="1162254" y="202260"/>
                  </a:lnTo>
                  <a:lnTo>
                    <a:pt x="1162254" y="202959"/>
                  </a:lnTo>
                  <a:lnTo>
                    <a:pt x="1162305" y="202959"/>
                  </a:lnTo>
                  <a:lnTo>
                    <a:pt x="1162305" y="202260"/>
                  </a:lnTo>
                  <a:lnTo>
                    <a:pt x="1162305" y="202959"/>
                  </a:lnTo>
                  <a:lnTo>
                    <a:pt x="1162305" y="202260"/>
                  </a:lnTo>
                  <a:lnTo>
                    <a:pt x="1162305" y="202959"/>
                  </a:lnTo>
                  <a:lnTo>
                    <a:pt x="1162305" y="202260"/>
                  </a:lnTo>
                  <a:lnTo>
                    <a:pt x="1162305" y="202959"/>
                  </a:lnTo>
                  <a:lnTo>
                    <a:pt x="1162355" y="202959"/>
                  </a:lnTo>
                  <a:lnTo>
                    <a:pt x="1162355" y="202260"/>
                  </a:lnTo>
                  <a:lnTo>
                    <a:pt x="1162457" y="202260"/>
                  </a:lnTo>
                  <a:lnTo>
                    <a:pt x="1162457" y="199530"/>
                  </a:lnTo>
                  <a:lnTo>
                    <a:pt x="1162508" y="200228"/>
                  </a:lnTo>
                  <a:lnTo>
                    <a:pt x="1162508" y="199530"/>
                  </a:lnTo>
                  <a:lnTo>
                    <a:pt x="1162508" y="200228"/>
                  </a:lnTo>
                  <a:lnTo>
                    <a:pt x="1162559" y="200228"/>
                  </a:lnTo>
                  <a:lnTo>
                    <a:pt x="1162559" y="198831"/>
                  </a:lnTo>
                  <a:lnTo>
                    <a:pt x="1162559" y="200876"/>
                  </a:lnTo>
                  <a:lnTo>
                    <a:pt x="1162597" y="200228"/>
                  </a:lnTo>
                  <a:lnTo>
                    <a:pt x="1162597" y="202260"/>
                  </a:lnTo>
                  <a:lnTo>
                    <a:pt x="1162597" y="200876"/>
                  </a:lnTo>
                  <a:lnTo>
                    <a:pt x="1162698" y="200876"/>
                  </a:lnTo>
                  <a:lnTo>
                    <a:pt x="1162698" y="200228"/>
                  </a:lnTo>
                  <a:lnTo>
                    <a:pt x="1162698" y="202959"/>
                  </a:lnTo>
                  <a:lnTo>
                    <a:pt x="1162698" y="200876"/>
                  </a:lnTo>
                  <a:lnTo>
                    <a:pt x="1162749" y="200876"/>
                  </a:lnTo>
                  <a:lnTo>
                    <a:pt x="1162749" y="202260"/>
                  </a:lnTo>
                  <a:lnTo>
                    <a:pt x="1162901" y="202260"/>
                  </a:lnTo>
                  <a:lnTo>
                    <a:pt x="1162901" y="202959"/>
                  </a:lnTo>
                  <a:lnTo>
                    <a:pt x="1162901" y="202260"/>
                  </a:lnTo>
                  <a:lnTo>
                    <a:pt x="1162901" y="202959"/>
                  </a:lnTo>
                  <a:lnTo>
                    <a:pt x="1162901" y="202260"/>
                  </a:lnTo>
                  <a:lnTo>
                    <a:pt x="1162952" y="202260"/>
                  </a:lnTo>
                  <a:lnTo>
                    <a:pt x="1162952" y="200228"/>
                  </a:lnTo>
                  <a:lnTo>
                    <a:pt x="1162952" y="200876"/>
                  </a:lnTo>
                  <a:lnTo>
                    <a:pt x="1162952" y="199530"/>
                  </a:lnTo>
                  <a:lnTo>
                    <a:pt x="1163003" y="200228"/>
                  </a:lnTo>
                  <a:lnTo>
                    <a:pt x="1163003" y="198831"/>
                  </a:lnTo>
                  <a:lnTo>
                    <a:pt x="1163003" y="199530"/>
                  </a:lnTo>
                  <a:lnTo>
                    <a:pt x="1163003" y="198831"/>
                  </a:lnTo>
                  <a:lnTo>
                    <a:pt x="1163003" y="199530"/>
                  </a:lnTo>
                  <a:lnTo>
                    <a:pt x="1163054" y="199530"/>
                  </a:lnTo>
                  <a:lnTo>
                    <a:pt x="1163054" y="197447"/>
                  </a:lnTo>
                  <a:lnTo>
                    <a:pt x="1163054" y="200876"/>
                  </a:lnTo>
                  <a:lnTo>
                    <a:pt x="1163054" y="199530"/>
                  </a:lnTo>
                  <a:lnTo>
                    <a:pt x="1163143" y="199530"/>
                  </a:lnTo>
                  <a:lnTo>
                    <a:pt x="1163143" y="202260"/>
                  </a:lnTo>
                  <a:lnTo>
                    <a:pt x="1163143" y="200228"/>
                  </a:lnTo>
                  <a:lnTo>
                    <a:pt x="1163143" y="200876"/>
                  </a:lnTo>
                  <a:lnTo>
                    <a:pt x="1163194" y="200876"/>
                  </a:lnTo>
                  <a:lnTo>
                    <a:pt x="1163194" y="202260"/>
                  </a:lnTo>
                  <a:lnTo>
                    <a:pt x="1163194" y="200876"/>
                  </a:lnTo>
                  <a:lnTo>
                    <a:pt x="1163194" y="202260"/>
                  </a:lnTo>
                  <a:lnTo>
                    <a:pt x="1163244" y="202260"/>
                  </a:lnTo>
                  <a:lnTo>
                    <a:pt x="1163244" y="200876"/>
                  </a:lnTo>
                  <a:lnTo>
                    <a:pt x="1163244" y="202959"/>
                  </a:lnTo>
                  <a:lnTo>
                    <a:pt x="1163244" y="202260"/>
                  </a:lnTo>
                  <a:lnTo>
                    <a:pt x="1163295" y="202260"/>
                  </a:lnTo>
                  <a:lnTo>
                    <a:pt x="1163295" y="202959"/>
                  </a:lnTo>
                  <a:lnTo>
                    <a:pt x="1163295" y="202260"/>
                  </a:lnTo>
                  <a:lnTo>
                    <a:pt x="1163295" y="202959"/>
                  </a:lnTo>
                  <a:lnTo>
                    <a:pt x="1163397" y="202959"/>
                  </a:lnTo>
                  <a:lnTo>
                    <a:pt x="1163397" y="200876"/>
                  </a:lnTo>
                  <a:lnTo>
                    <a:pt x="1163397" y="202260"/>
                  </a:lnTo>
                  <a:lnTo>
                    <a:pt x="1163447" y="202260"/>
                  </a:lnTo>
                  <a:lnTo>
                    <a:pt x="1163447" y="200876"/>
                  </a:lnTo>
                  <a:lnTo>
                    <a:pt x="1163447" y="202260"/>
                  </a:lnTo>
                  <a:lnTo>
                    <a:pt x="1163447" y="199530"/>
                  </a:lnTo>
                  <a:lnTo>
                    <a:pt x="1163498" y="200228"/>
                  </a:lnTo>
                  <a:lnTo>
                    <a:pt x="1163498" y="202260"/>
                  </a:lnTo>
                  <a:lnTo>
                    <a:pt x="1163498" y="199530"/>
                  </a:lnTo>
                  <a:lnTo>
                    <a:pt x="1163498" y="200228"/>
                  </a:lnTo>
                  <a:lnTo>
                    <a:pt x="1163600" y="200876"/>
                  </a:lnTo>
                  <a:lnTo>
                    <a:pt x="1163600" y="202260"/>
                  </a:lnTo>
                  <a:lnTo>
                    <a:pt x="1163600" y="200876"/>
                  </a:lnTo>
                  <a:lnTo>
                    <a:pt x="1163600" y="202260"/>
                  </a:lnTo>
                  <a:lnTo>
                    <a:pt x="1163600" y="200876"/>
                  </a:lnTo>
                  <a:lnTo>
                    <a:pt x="1163600" y="202260"/>
                  </a:lnTo>
                  <a:lnTo>
                    <a:pt x="1163638" y="202260"/>
                  </a:lnTo>
                  <a:lnTo>
                    <a:pt x="1163638" y="200876"/>
                  </a:lnTo>
                  <a:lnTo>
                    <a:pt x="1163638" y="202260"/>
                  </a:lnTo>
                  <a:lnTo>
                    <a:pt x="1163740" y="202260"/>
                  </a:lnTo>
                  <a:lnTo>
                    <a:pt x="1163740" y="202959"/>
                  </a:lnTo>
                  <a:lnTo>
                    <a:pt x="1163740" y="200876"/>
                  </a:lnTo>
                  <a:lnTo>
                    <a:pt x="1163740" y="202260"/>
                  </a:lnTo>
                  <a:lnTo>
                    <a:pt x="1163841" y="202260"/>
                  </a:lnTo>
                  <a:lnTo>
                    <a:pt x="1163841" y="202959"/>
                  </a:lnTo>
                  <a:lnTo>
                    <a:pt x="1163892" y="202959"/>
                  </a:lnTo>
                  <a:lnTo>
                    <a:pt x="1163892" y="202260"/>
                  </a:lnTo>
                  <a:lnTo>
                    <a:pt x="1163892" y="202959"/>
                  </a:lnTo>
                  <a:lnTo>
                    <a:pt x="1163892" y="200876"/>
                  </a:lnTo>
                  <a:lnTo>
                    <a:pt x="1163943" y="200876"/>
                  </a:lnTo>
                  <a:lnTo>
                    <a:pt x="1163943" y="200228"/>
                  </a:lnTo>
                  <a:lnTo>
                    <a:pt x="1163943" y="200876"/>
                  </a:lnTo>
                  <a:lnTo>
                    <a:pt x="1163943" y="200228"/>
                  </a:lnTo>
                  <a:lnTo>
                    <a:pt x="1163943" y="200876"/>
                  </a:lnTo>
                  <a:lnTo>
                    <a:pt x="1164044" y="202260"/>
                  </a:lnTo>
                  <a:lnTo>
                    <a:pt x="1164044" y="200228"/>
                  </a:lnTo>
                  <a:lnTo>
                    <a:pt x="1164044" y="202959"/>
                  </a:lnTo>
                  <a:lnTo>
                    <a:pt x="1164044" y="202260"/>
                  </a:lnTo>
                  <a:lnTo>
                    <a:pt x="1164095" y="202260"/>
                  </a:lnTo>
                  <a:lnTo>
                    <a:pt x="1164095" y="202959"/>
                  </a:lnTo>
                  <a:lnTo>
                    <a:pt x="1164095" y="202260"/>
                  </a:lnTo>
                  <a:lnTo>
                    <a:pt x="1164095" y="203594"/>
                  </a:lnTo>
                  <a:lnTo>
                    <a:pt x="1164095" y="202959"/>
                  </a:lnTo>
                  <a:lnTo>
                    <a:pt x="1164146" y="202959"/>
                  </a:lnTo>
                  <a:lnTo>
                    <a:pt x="1164146" y="203594"/>
                  </a:lnTo>
                  <a:lnTo>
                    <a:pt x="1164146" y="202959"/>
                  </a:lnTo>
                  <a:lnTo>
                    <a:pt x="1164184" y="202959"/>
                  </a:lnTo>
                  <a:lnTo>
                    <a:pt x="1164184" y="203594"/>
                  </a:lnTo>
                  <a:lnTo>
                    <a:pt x="1164184" y="202959"/>
                  </a:lnTo>
                  <a:lnTo>
                    <a:pt x="1164184" y="203594"/>
                  </a:lnTo>
                  <a:lnTo>
                    <a:pt x="1164184" y="202959"/>
                  </a:lnTo>
                  <a:lnTo>
                    <a:pt x="1164286" y="202959"/>
                  </a:lnTo>
                  <a:lnTo>
                    <a:pt x="1164286" y="203594"/>
                  </a:lnTo>
                  <a:lnTo>
                    <a:pt x="1164286" y="202959"/>
                  </a:lnTo>
                  <a:lnTo>
                    <a:pt x="1164286" y="203594"/>
                  </a:lnTo>
                  <a:lnTo>
                    <a:pt x="1164286" y="202959"/>
                  </a:lnTo>
                  <a:lnTo>
                    <a:pt x="1164337" y="202959"/>
                  </a:lnTo>
                  <a:lnTo>
                    <a:pt x="1164337" y="203594"/>
                  </a:lnTo>
                  <a:lnTo>
                    <a:pt x="1164337" y="202959"/>
                  </a:lnTo>
                  <a:lnTo>
                    <a:pt x="1164337" y="203594"/>
                  </a:lnTo>
                  <a:lnTo>
                    <a:pt x="1164337" y="202959"/>
                  </a:lnTo>
                  <a:lnTo>
                    <a:pt x="1164387" y="202959"/>
                  </a:lnTo>
                  <a:lnTo>
                    <a:pt x="1164387" y="200876"/>
                  </a:lnTo>
                  <a:lnTo>
                    <a:pt x="1164387" y="202260"/>
                  </a:lnTo>
                  <a:lnTo>
                    <a:pt x="1164387" y="200876"/>
                  </a:lnTo>
                  <a:lnTo>
                    <a:pt x="1164387" y="202260"/>
                  </a:lnTo>
                  <a:lnTo>
                    <a:pt x="1164387" y="200228"/>
                  </a:lnTo>
                  <a:lnTo>
                    <a:pt x="1164489" y="200228"/>
                  </a:lnTo>
                  <a:lnTo>
                    <a:pt x="1164489" y="199530"/>
                  </a:lnTo>
                  <a:lnTo>
                    <a:pt x="1164489" y="202260"/>
                  </a:lnTo>
                  <a:lnTo>
                    <a:pt x="1164489" y="200876"/>
                  </a:lnTo>
                  <a:lnTo>
                    <a:pt x="1164540" y="200876"/>
                  </a:lnTo>
                  <a:lnTo>
                    <a:pt x="1164540" y="200228"/>
                  </a:lnTo>
                  <a:lnTo>
                    <a:pt x="1164540" y="202959"/>
                  </a:lnTo>
                  <a:lnTo>
                    <a:pt x="1164540" y="202260"/>
                  </a:lnTo>
                  <a:lnTo>
                    <a:pt x="1164590" y="202260"/>
                  </a:lnTo>
                  <a:lnTo>
                    <a:pt x="1164590" y="203594"/>
                  </a:lnTo>
                  <a:lnTo>
                    <a:pt x="1164590" y="202959"/>
                  </a:lnTo>
                  <a:lnTo>
                    <a:pt x="1164641" y="202959"/>
                  </a:lnTo>
                  <a:lnTo>
                    <a:pt x="1164641" y="203594"/>
                  </a:lnTo>
                  <a:lnTo>
                    <a:pt x="1164641" y="202959"/>
                  </a:lnTo>
                  <a:lnTo>
                    <a:pt x="1164730" y="202959"/>
                  </a:lnTo>
                  <a:lnTo>
                    <a:pt x="1164730" y="202260"/>
                  </a:lnTo>
                  <a:lnTo>
                    <a:pt x="1164730" y="202959"/>
                  </a:lnTo>
                  <a:lnTo>
                    <a:pt x="1164730" y="202260"/>
                  </a:lnTo>
                  <a:lnTo>
                    <a:pt x="1164730" y="203594"/>
                  </a:lnTo>
                  <a:lnTo>
                    <a:pt x="1164730" y="202959"/>
                  </a:lnTo>
                  <a:lnTo>
                    <a:pt x="1164730" y="203594"/>
                  </a:lnTo>
                  <a:lnTo>
                    <a:pt x="1164781" y="202959"/>
                  </a:lnTo>
                  <a:lnTo>
                    <a:pt x="1164781" y="203594"/>
                  </a:lnTo>
                  <a:lnTo>
                    <a:pt x="1164781" y="202959"/>
                  </a:lnTo>
                  <a:lnTo>
                    <a:pt x="1164832" y="202959"/>
                  </a:lnTo>
                  <a:lnTo>
                    <a:pt x="1164832" y="202260"/>
                  </a:lnTo>
                  <a:lnTo>
                    <a:pt x="1164832" y="202959"/>
                  </a:lnTo>
                  <a:lnTo>
                    <a:pt x="1164832" y="200876"/>
                  </a:lnTo>
                  <a:lnTo>
                    <a:pt x="1164832" y="202260"/>
                  </a:lnTo>
                  <a:lnTo>
                    <a:pt x="1164883" y="202260"/>
                  </a:lnTo>
                  <a:lnTo>
                    <a:pt x="1164883" y="199530"/>
                  </a:lnTo>
                  <a:lnTo>
                    <a:pt x="1164883" y="200228"/>
                  </a:lnTo>
                  <a:lnTo>
                    <a:pt x="1164883" y="199530"/>
                  </a:lnTo>
                  <a:lnTo>
                    <a:pt x="1164984" y="199530"/>
                  </a:lnTo>
                  <a:lnTo>
                    <a:pt x="1164984" y="198831"/>
                  </a:lnTo>
                  <a:lnTo>
                    <a:pt x="1164984" y="200228"/>
                  </a:lnTo>
                  <a:lnTo>
                    <a:pt x="1164984" y="199530"/>
                  </a:lnTo>
                  <a:lnTo>
                    <a:pt x="1165035" y="199530"/>
                  </a:lnTo>
                  <a:lnTo>
                    <a:pt x="1165035" y="200228"/>
                  </a:lnTo>
                  <a:lnTo>
                    <a:pt x="1165035" y="199530"/>
                  </a:lnTo>
                  <a:lnTo>
                    <a:pt x="1165035" y="202260"/>
                  </a:lnTo>
                  <a:lnTo>
                    <a:pt x="1165035" y="200876"/>
                  </a:lnTo>
                  <a:lnTo>
                    <a:pt x="1165086" y="200876"/>
                  </a:lnTo>
                  <a:lnTo>
                    <a:pt x="1165086" y="202260"/>
                  </a:lnTo>
                  <a:lnTo>
                    <a:pt x="1165086" y="200876"/>
                  </a:lnTo>
                  <a:lnTo>
                    <a:pt x="1165086" y="202959"/>
                  </a:lnTo>
                  <a:lnTo>
                    <a:pt x="1165086" y="202260"/>
                  </a:lnTo>
                  <a:lnTo>
                    <a:pt x="1165187" y="202260"/>
                  </a:lnTo>
                  <a:lnTo>
                    <a:pt x="1165187" y="202959"/>
                  </a:lnTo>
                  <a:lnTo>
                    <a:pt x="1165225" y="202959"/>
                  </a:lnTo>
                  <a:lnTo>
                    <a:pt x="1165225" y="203594"/>
                  </a:lnTo>
                  <a:lnTo>
                    <a:pt x="1165327" y="203594"/>
                  </a:lnTo>
                  <a:lnTo>
                    <a:pt x="1165327" y="202959"/>
                  </a:lnTo>
                  <a:lnTo>
                    <a:pt x="1165429" y="202959"/>
                  </a:lnTo>
                  <a:lnTo>
                    <a:pt x="1165429" y="199530"/>
                  </a:lnTo>
                  <a:lnTo>
                    <a:pt x="1165429" y="200228"/>
                  </a:lnTo>
                  <a:lnTo>
                    <a:pt x="1165480" y="200228"/>
                  </a:lnTo>
                  <a:lnTo>
                    <a:pt x="1165480" y="199530"/>
                  </a:lnTo>
                  <a:lnTo>
                    <a:pt x="1165480" y="200876"/>
                  </a:lnTo>
                  <a:lnTo>
                    <a:pt x="1165480" y="200228"/>
                  </a:lnTo>
                  <a:lnTo>
                    <a:pt x="1165480" y="202260"/>
                  </a:lnTo>
                  <a:lnTo>
                    <a:pt x="1165530" y="202260"/>
                  </a:lnTo>
                  <a:lnTo>
                    <a:pt x="1165530" y="202959"/>
                  </a:lnTo>
                  <a:lnTo>
                    <a:pt x="1165530" y="202260"/>
                  </a:lnTo>
                  <a:lnTo>
                    <a:pt x="1165530" y="202959"/>
                  </a:lnTo>
                  <a:lnTo>
                    <a:pt x="1165530" y="202260"/>
                  </a:lnTo>
                  <a:lnTo>
                    <a:pt x="1165632" y="202959"/>
                  </a:lnTo>
                  <a:lnTo>
                    <a:pt x="1165632" y="203594"/>
                  </a:lnTo>
                  <a:lnTo>
                    <a:pt x="1165632" y="202959"/>
                  </a:lnTo>
                  <a:lnTo>
                    <a:pt x="1165683" y="202959"/>
                  </a:lnTo>
                  <a:lnTo>
                    <a:pt x="1165683" y="203594"/>
                  </a:lnTo>
                  <a:lnTo>
                    <a:pt x="1165683" y="202260"/>
                  </a:lnTo>
                  <a:lnTo>
                    <a:pt x="1165683" y="202959"/>
                  </a:lnTo>
                  <a:lnTo>
                    <a:pt x="1165683" y="202260"/>
                  </a:lnTo>
                  <a:lnTo>
                    <a:pt x="1165683" y="202959"/>
                  </a:lnTo>
                  <a:lnTo>
                    <a:pt x="1165683" y="202260"/>
                  </a:lnTo>
                  <a:lnTo>
                    <a:pt x="1165683" y="202959"/>
                  </a:lnTo>
                  <a:lnTo>
                    <a:pt x="1165734" y="202959"/>
                  </a:lnTo>
                  <a:lnTo>
                    <a:pt x="1165734" y="203594"/>
                  </a:lnTo>
                  <a:lnTo>
                    <a:pt x="1165734" y="202959"/>
                  </a:lnTo>
                  <a:lnTo>
                    <a:pt x="1165772" y="203594"/>
                  </a:lnTo>
                  <a:lnTo>
                    <a:pt x="1165772" y="202959"/>
                  </a:lnTo>
                  <a:lnTo>
                    <a:pt x="1165772" y="203594"/>
                  </a:lnTo>
                  <a:lnTo>
                    <a:pt x="1165772" y="202959"/>
                  </a:lnTo>
                  <a:lnTo>
                    <a:pt x="1165873" y="202260"/>
                  </a:lnTo>
                  <a:lnTo>
                    <a:pt x="1165873" y="202959"/>
                  </a:lnTo>
                  <a:lnTo>
                    <a:pt x="1165873" y="202260"/>
                  </a:lnTo>
                  <a:lnTo>
                    <a:pt x="1165924" y="202260"/>
                  </a:lnTo>
                  <a:lnTo>
                    <a:pt x="1165924" y="199530"/>
                  </a:lnTo>
                  <a:lnTo>
                    <a:pt x="1165975" y="198831"/>
                  </a:lnTo>
                  <a:lnTo>
                    <a:pt x="1165975" y="197447"/>
                  </a:lnTo>
                  <a:lnTo>
                    <a:pt x="1165975" y="198831"/>
                  </a:lnTo>
                  <a:lnTo>
                    <a:pt x="1165975" y="197447"/>
                  </a:lnTo>
                  <a:lnTo>
                    <a:pt x="1165975" y="200228"/>
                  </a:lnTo>
                  <a:lnTo>
                    <a:pt x="1165975" y="198831"/>
                  </a:lnTo>
                  <a:lnTo>
                    <a:pt x="1166076" y="198831"/>
                  </a:lnTo>
                  <a:lnTo>
                    <a:pt x="1166076" y="202260"/>
                  </a:lnTo>
                  <a:lnTo>
                    <a:pt x="1166076" y="200228"/>
                  </a:lnTo>
                  <a:lnTo>
                    <a:pt x="1166127" y="200228"/>
                  </a:lnTo>
                  <a:lnTo>
                    <a:pt x="1166127" y="199530"/>
                  </a:lnTo>
                  <a:lnTo>
                    <a:pt x="1166127" y="202260"/>
                  </a:lnTo>
                  <a:lnTo>
                    <a:pt x="1166127" y="200228"/>
                  </a:lnTo>
                  <a:lnTo>
                    <a:pt x="1166127" y="200876"/>
                  </a:lnTo>
                  <a:lnTo>
                    <a:pt x="1166127" y="200228"/>
                  </a:lnTo>
                  <a:lnTo>
                    <a:pt x="1166178" y="200228"/>
                  </a:lnTo>
                  <a:lnTo>
                    <a:pt x="1166178" y="202260"/>
                  </a:lnTo>
                  <a:lnTo>
                    <a:pt x="1166178" y="200876"/>
                  </a:lnTo>
                  <a:lnTo>
                    <a:pt x="1166178" y="202260"/>
                  </a:lnTo>
                  <a:lnTo>
                    <a:pt x="1166229" y="202260"/>
                  </a:lnTo>
                  <a:lnTo>
                    <a:pt x="1166229" y="203594"/>
                  </a:lnTo>
                  <a:lnTo>
                    <a:pt x="1166318" y="203594"/>
                  </a:lnTo>
                  <a:lnTo>
                    <a:pt x="1166318" y="202959"/>
                  </a:lnTo>
                  <a:lnTo>
                    <a:pt x="1166318" y="203594"/>
                  </a:lnTo>
                  <a:lnTo>
                    <a:pt x="1166318" y="202959"/>
                  </a:lnTo>
                  <a:lnTo>
                    <a:pt x="1166318" y="203594"/>
                  </a:lnTo>
                  <a:lnTo>
                    <a:pt x="1166318" y="202959"/>
                  </a:lnTo>
                  <a:lnTo>
                    <a:pt x="1166318" y="203594"/>
                  </a:lnTo>
                  <a:lnTo>
                    <a:pt x="1166369" y="203594"/>
                  </a:lnTo>
                  <a:lnTo>
                    <a:pt x="1166369" y="202260"/>
                  </a:lnTo>
                  <a:lnTo>
                    <a:pt x="1166369" y="202959"/>
                  </a:lnTo>
                  <a:lnTo>
                    <a:pt x="1166419" y="202260"/>
                  </a:lnTo>
                  <a:lnTo>
                    <a:pt x="1166419" y="200228"/>
                  </a:lnTo>
                  <a:lnTo>
                    <a:pt x="1166419" y="200876"/>
                  </a:lnTo>
                  <a:lnTo>
                    <a:pt x="1166419" y="199530"/>
                  </a:lnTo>
                  <a:lnTo>
                    <a:pt x="1166419" y="200228"/>
                  </a:lnTo>
                  <a:lnTo>
                    <a:pt x="1166470" y="199530"/>
                  </a:lnTo>
                  <a:lnTo>
                    <a:pt x="1166470" y="198831"/>
                  </a:lnTo>
                  <a:lnTo>
                    <a:pt x="1166470" y="200228"/>
                  </a:lnTo>
                  <a:lnTo>
                    <a:pt x="1166470" y="199530"/>
                  </a:lnTo>
                  <a:lnTo>
                    <a:pt x="1166470" y="200228"/>
                  </a:lnTo>
                  <a:lnTo>
                    <a:pt x="1166470" y="198831"/>
                  </a:lnTo>
                  <a:lnTo>
                    <a:pt x="1166572" y="198831"/>
                  </a:lnTo>
                  <a:lnTo>
                    <a:pt x="1166572" y="202260"/>
                  </a:lnTo>
                  <a:lnTo>
                    <a:pt x="1166572" y="199530"/>
                  </a:lnTo>
                  <a:lnTo>
                    <a:pt x="1166622" y="199530"/>
                  </a:lnTo>
                  <a:lnTo>
                    <a:pt x="1166622" y="200876"/>
                  </a:lnTo>
                  <a:lnTo>
                    <a:pt x="1166622" y="199530"/>
                  </a:lnTo>
                  <a:lnTo>
                    <a:pt x="1166622" y="200228"/>
                  </a:lnTo>
                  <a:lnTo>
                    <a:pt x="1166673" y="200228"/>
                  </a:lnTo>
                  <a:lnTo>
                    <a:pt x="1166673" y="200876"/>
                  </a:lnTo>
                  <a:lnTo>
                    <a:pt x="1166673" y="200228"/>
                  </a:lnTo>
                  <a:lnTo>
                    <a:pt x="1166673" y="200876"/>
                  </a:lnTo>
                  <a:lnTo>
                    <a:pt x="1166775" y="200876"/>
                  </a:lnTo>
                  <a:lnTo>
                    <a:pt x="1166775" y="202260"/>
                  </a:lnTo>
                  <a:lnTo>
                    <a:pt x="1166775" y="200876"/>
                  </a:lnTo>
                  <a:lnTo>
                    <a:pt x="1166775" y="202260"/>
                  </a:lnTo>
                  <a:lnTo>
                    <a:pt x="1166813" y="202260"/>
                  </a:lnTo>
                  <a:lnTo>
                    <a:pt x="1166813" y="202959"/>
                  </a:lnTo>
                  <a:lnTo>
                    <a:pt x="1166813" y="202260"/>
                  </a:lnTo>
                  <a:lnTo>
                    <a:pt x="1166813" y="202959"/>
                  </a:lnTo>
                  <a:lnTo>
                    <a:pt x="1166813" y="202260"/>
                  </a:lnTo>
                  <a:lnTo>
                    <a:pt x="1166813" y="202959"/>
                  </a:lnTo>
                  <a:lnTo>
                    <a:pt x="1166864" y="202959"/>
                  </a:lnTo>
                  <a:lnTo>
                    <a:pt x="1166864" y="202260"/>
                  </a:lnTo>
                  <a:lnTo>
                    <a:pt x="1166915" y="202260"/>
                  </a:lnTo>
                  <a:lnTo>
                    <a:pt x="1166915" y="200228"/>
                  </a:lnTo>
                  <a:lnTo>
                    <a:pt x="1166915" y="200876"/>
                  </a:lnTo>
                  <a:lnTo>
                    <a:pt x="1167016" y="200876"/>
                  </a:lnTo>
                  <a:lnTo>
                    <a:pt x="1167016" y="202260"/>
                  </a:lnTo>
                  <a:lnTo>
                    <a:pt x="1167016" y="200228"/>
                  </a:lnTo>
                  <a:lnTo>
                    <a:pt x="1167016" y="202260"/>
                  </a:lnTo>
                  <a:lnTo>
                    <a:pt x="1167067" y="202260"/>
                  </a:lnTo>
                  <a:lnTo>
                    <a:pt x="1167067" y="203594"/>
                  </a:lnTo>
                  <a:lnTo>
                    <a:pt x="1167067" y="200876"/>
                  </a:lnTo>
                  <a:lnTo>
                    <a:pt x="1167067" y="202959"/>
                  </a:lnTo>
                  <a:lnTo>
                    <a:pt x="1167118" y="202959"/>
                  </a:lnTo>
                  <a:lnTo>
                    <a:pt x="1167118" y="200876"/>
                  </a:lnTo>
                  <a:lnTo>
                    <a:pt x="1167118" y="202260"/>
                  </a:lnTo>
                  <a:lnTo>
                    <a:pt x="1167118" y="200876"/>
                  </a:lnTo>
                  <a:lnTo>
                    <a:pt x="1167118" y="202260"/>
                  </a:lnTo>
                  <a:lnTo>
                    <a:pt x="1167219" y="202260"/>
                  </a:lnTo>
                  <a:lnTo>
                    <a:pt x="1167219" y="200876"/>
                  </a:lnTo>
                  <a:lnTo>
                    <a:pt x="1167219" y="202959"/>
                  </a:lnTo>
                  <a:lnTo>
                    <a:pt x="1167219" y="202260"/>
                  </a:lnTo>
                  <a:lnTo>
                    <a:pt x="1167270" y="202260"/>
                  </a:lnTo>
                  <a:lnTo>
                    <a:pt x="1167270" y="202959"/>
                  </a:lnTo>
                  <a:lnTo>
                    <a:pt x="1167321" y="202959"/>
                  </a:lnTo>
                  <a:lnTo>
                    <a:pt x="1167321" y="202260"/>
                  </a:lnTo>
                  <a:lnTo>
                    <a:pt x="1167359" y="202260"/>
                  </a:lnTo>
                  <a:lnTo>
                    <a:pt x="1167359" y="200876"/>
                  </a:lnTo>
                  <a:lnTo>
                    <a:pt x="1167359" y="202260"/>
                  </a:lnTo>
                  <a:lnTo>
                    <a:pt x="1167359" y="200876"/>
                  </a:lnTo>
                  <a:lnTo>
                    <a:pt x="1167461" y="202260"/>
                  </a:lnTo>
                  <a:lnTo>
                    <a:pt x="1167461" y="203594"/>
                  </a:lnTo>
                  <a:lnTo>
                    <a:pt x="1167461" y="202959"/>
                  </a:lnTo>
                  <a:lnTo>
                    <a:pt x="1167461" y="203594"/>
                  </a:lnTo>
                  <a:lnTo>
                    <a:pt x="1167461" y="202959"/>
                  </a:lnTo>
                  <a:lnTo>
                    <a:pt x="1167461" y="203594"/>
                  </a:lnTo>
                  <a:lnTo>
                    <a:pt x="1167512" y="204292"/>
                  </a:lnTo>
                  <a:lnTo>
                    <a:pt x="1167512" y="204990"/>
                  </a:lnTo>
                  <a:lnTo>
                    <a:pt x="1167512" y="204292"/>
                  </a:lnTo>
                  <a:lnTo>
                    <a:pt x="1167512" y="204990"/>
                  </a:lnTo>
                  <a:lnTo>
                    <a:pt x="1167562" y="204990"/>
                  </a:lnTo>
                  <a:lnTo>
                    <a:pt x="1167562" y="206324"/>
                  </a:lnTo>
                  <a:lnTo>
                    <a:pt x="1167562" y="204292"/>
                  </a:lnTo>
                  <a:lnTo>
                    <a:pt x="1167562" y="204990"/>
                  </a:lnTo>
                  <a:lnTo>
                    <a:pt x="1167664" y="204990"/>
                  </a:lnTo>
                  <a:lnTo>
                    <a:pt x="1167664" y="204292"/>
                  </a:lnTo>
                  <a:lnTo>
                    <a:pt x="1167664" y="204990"/>
                  </a:lnTo>
                  <a:lnTo>
                    <a:pt x="1167664" y="204292"/>
                  </a:lnTo>
                  <a:lnTo>
                    <a:pt x="1167715" y="204292"/>
                  </a:lnTo>
                  <a:lnTo>
                    <a:pt x="1167715" y="203594"/>
                  </a:lnTo>
                  <a:lnTo>
                    <a:pt x="1167715" y="204292"/>
                  </a:lnTo>
                  <a:lnTo>
                    <a:pt x="1167765" y="203594"/>
                  </a:lnTo>
                  <a:lnTo>
                    <a:pt x="1167765" y="204292"/>
                  </a:lnTo>
                  <a:lnTo>
                    <a:pt x="1167765" y="202959"/>
                  </a:lnTo>
                  <a:lnTo>
                    <a:pt x="1167816" y="202959"/>
                  </a:lnTo>
                  <a:lnTo>
                    <a:pt x="1167816" y="202260"/>
                  </a:lnTo>
                  <a:lnTo>
                    <a:pt x="1167816" y="202959"/>
                  </a:lnTo>
                  <a:lnTo>
                    <a:pt x="1167816" y="200876"/>
                  </a:lnTo>
                  <a:lnTo>
                    <a:pt x="1167905" y="200876"/>
                  </a:lnTo>
                  <a:lnTo>
                    <a:pt x="1167905" y="202959"/>
                  </a:lnTo>
                  <a:lnTo>
                    <a:pt x="1167905" y="202260"/>
                  </a:lnTo>
                  <a:lnTo>
                    <a:pt x="1167956" y="202260"/>
                  </a:lnTo>
                  <a:lnTo>
                    <a:pt x="1167956" y="204990"/>
                  </a:lnTo>
                  <a:lnTo>
                    <a:pt x="1167956" y="203594"/>
                  </a:lnTo>
                  <a:lnTo>
                    <a:pt x="1168007" y="203594"/>
                  </a:lnTo>
                  <a:lnTo>
                    <a:pt x="1168007" y="206324"/>
                  </a:lnTo>
                  <a:lnTo>
                    <a:pt x="1168007" y="204292"/>
                  </a:lnTo>
                  <a:lnTo>
                    <a:pt x="1168058" y="204292"/>
                  </a:lnTo>
                  <a:lnTo>
                    <a:pt x="1168058" y="204990"/>
                  </a:lnTo>
                  <a:lnTo>
                    <a:pt x="1168058" y="204292"/>
                  </a:lnTo>
                  <a:lnTo>
                    <a:pt x="1168058" y="204990"/>
                  </a:lnTo>
                  <a:lnTo>
                    <a:pt x="1168159" y="204990"/>
                  </a:lnTo>
                  <a:lnTo>
                    <a:pt x="1168159" y="204292"/>
                  </a:lnTo>
                  <a:lnTo>
                    <a:pt x="1168159" y="206324"/>
                  </a:lnTo>
                  <a:lnTo>
                    <a:pt x="1168210" y="206324"/>
                  </a:lnTo>
                  <a:lnTo>
                    <a:pt x="1168210" y="204292"/>
                  </a:lnTo>
                  <a:lnTo>
                    <a:pt x="1168210" y="204990"/>
                  </a:lnTo>
                  <a:lnTo>
                    <a:pt x="1168210" y="204292"/>
                  </a:lnTo>
                  <a:lnTo>
                    <a:pt x="1168261" y="204990"/>
                  </a:lnTo>
                  <a:lnTo>
                    <a:pt x="1168261" y="202959"/>
                  </a:lnTo>
                  <a:lnTo>
                    <a:pt x="1168362" y="202959"/>
                  </a:lnTo>
                  <a:lnTo>
                    <a:pt x="1168362" y="200876"/>
                  </a:lnTo>
                  <a:lnTo>
                    <a:pt x="1168362" y="202260"/>
                  </a:lnTo>
                  <a:lnTo>
                    <a:pt x="1168362" y="200876"/>
                  </a:lnTo>
                  <a:lnTo>
                    <a:pt x="1168362" y="203594"/>
                  </a:lnTo>
                  <a:lnTo>
                    <a:pt x="1168400" y="203594"/>
                  </a:lnTo>
                  <a:lnTo>
                    <a:pt x="1168400" y="200876"/>
                  </a:lnTo>
                  <a:lnTo>
                    <a:pt x="1168400" y="204292"/>
                  </a:lnTo>
                  <a:lnTo>
                    <a:pt x="1168451" y="204292"/>
                  </a:lnTo>
                  <a:lnTo>
                    <a:pt x="1168451" y="203594"/>
                  </a:lnTo>
                  <a:lnTo>
                    <a:pt x="1168451" y="204292"/>
                  </a:lnTo>
                  <a:lnTo>
                    <a:pt x="1168451" y="203594"/>
                  </a:lnTo>
                  <a:lnTo>
                    <a:pt x="1168451" y="204990"/>
                  </a:lnTo>
                  <a:lnTo>
                    <a:pt x="1168502" y="204990"/>
                  </a:lnTo>
                  <a:lnTo>
                    <a:pt x="1168502" y="203594"/>
                  </a:lnTo>
                  <a:lnTo>
                    <a:pt x="1168502" y="204990"/>
                  </a:lnTo>
                  <a:lnTo>
                    <a:pt x="1168604" y="204990"/>
                  </a:lnTo>
                  <a:lnTo>
                    <a:pt x="1168604" y="204292"/>
                  </a:lnTo>
                  <a:lnTo>
                    <a:pt x="1168604" y="204990"/>
                  </a:lnTo>
                  <a:lnTo>
                    <a:pt x="1168604" y="204292"/>
                  </a:lnTo>
                  <a:lnTo>
                    <a:pt x="1168604" y="204990"/>
                  </a:lnTo>
                  <a:lnTo>
                    <a:pt x="1168655" y="204990"/>
                  </a:lnTo>
                  <a:lnTo>
                    <a:pt x="1168655" y="206324"/>
                  </a:lnTo>
                  <a:lnTo>
                    <a:pt x="1168655" y="204990"/>
                  </a:lnTo>
                  <a:lnTo>
                    <a:pt x="1168655" y="206324"/>
                  </a:lnTo>
                  <a:lnTo>
                    <a:pt x="1168705" y="206324"/>
                  </a:lnTo>
                  <a:lnTo>
                    <a:pt x="1168705" y="204990"/>
                  </a:lnTo>
                  <a:lnTo>
                    <a:pt x="1168705" y="206324"/>
                  </a:lnTo>
                  <a:lnTo>
                    <a:pt x="1168705" y="204292"/>
                  </a:lnTo>
                  <a:lnTo>
                    <a:pt x="1168807" y="204292"/>
                  </a:lnTo>
                  <a:lnTo>
                    <a:pt x="1168807" y="203594"/>
                  </a:lnTo>
                  <a:lnTo>
                    <a:pt x="1168807" y="204292"/>
                  </a:lnTo>
                  <a:lnTo>
                    <a:pt x="1168807" y="202959"/>
                  </a:lnTo>
                  <a:lnTo>
                    <a:pt x="1168807" y="203594"/>
                  </a:lnTo>
                  <a:lnTo>
                    <a:pt x="1168807" y="202959"/>
                  </a:lnTo>
                  <a:lnTo>
                    <a:pt x="1168858" y="202959"/>
                  </a:lnTo>
                  <a:lnTo>
                    <a:pt x="1168858" y="199530"/>
                  </a:lnTo>
                  <a:lnTo>
                    <a:pt x="1168858" y="200876"/>
                  </a:lnTo>
                  <a:lnTo>
                    <a:pt x="1168909" y="200876"/>
                  </a:lnTo>
                  <a:lnTo>
                    <a:pt x="1168909" y="202260"/>
                  </a:lnTo>
                  <a:lnTo>
                    <a:pt x="1168909" y="200876"/>
                  </a:lnTo>
                  <a:lnTo>
                    <a:pt x="1168909" y="202260"/>
                  </a:lnTo>
                  <a:lnTo>
                    <a:pt x="1168909" y="200228"/>
                  </a:lnTo>
                  <a:lnTo>
                    <a:pt x="1168909" y="202959"/>
                  </a:lnTo>
                  <a:lnTo>
                    <a:pt x="1168947" y="202959"/>
                  </a:lnTo>
                  <a:lnTo>
                    <a:pt x="1168947" y="203594"/>
                  </a:lnTo>
                  <a:lnTo>
                    <a:pt x="1168947" y="202260"/>
                  </a:lnTo>
                  <a:lnTo>
                    <a:pt x="1168947" y="203594"/>
                  </a:lnTo>
                  <a:lnTo>
                    <a:pt x="1169048" y="203594"/>
                  </a:lnTo>
                  <a:lnTo>
                    <a:pt x="1169048" y="202260"/>
                  </a:lnTo>
                  <a:lnTo>
                    <a:pt x="1169048" y="203594"/>
                  </a:lnTo>
                  <a:lnTo>
                    <a:pt x="1169099" y="202959"/>
                  </a:lnTo>
                  <a:lnTo>
                    <a:pt x="1169099" y="203594"/>
                  </a:lnTo>
                  <a:lnTo>
                    <a:pt x="1169099" y="202959"/>
                  </a:lnTo>
                  <a:lnTo>
                    <a:pt x="1169099" y="204292"/>
                  </a:lnTo>
                  <a:lnTo>
                    <a:pt x="1169150" y="204292"/>
                  </a:lnTo>
                  <a:lnTo>
                    <a:pt x="1169150" y="204990"/>
                  </a:lnTo>
                  <a:lnTo>
                    <a:pt x="1169150" y="204292"/>
                  </a:lnTo>
                  <a:lnTo>
                    <a:pt x="1169150" y="204990"/>
                  </a:lnTo>
                  <a:lnTo>
                    <a:pt x="1169251" y="204990"/>
                  </a:lnTo>
                  <a:lnTo>
                    <a:pt x="1169251" y="204292"/>
                  </a:lnTo>
                  <a:lnTo>
                    <a:pt x="1169251" y="204990"/>
                  </a:lnTo>
                  <a:lnTo>
                    <a:pt x="1169251" y="203594"/>
                  </a:lnTo>
                  <a:lnTo>
                    <a:pt x="1169302" y="204292"/>
                  </a:lnTo>
                  <a:lnTo>
                    <a:pt x="1169302" y="203594"/>
                  </a:lnTo>
                  <a:lnTo>
                    <a:pt x="1169302" y="204292"/>
                  </a:lnTo>
                  <a:lnTo>
                    <a:pt x="1169302" y="202959"/>
                  </a:lnTo>
                  <a:lnTo>
                    <a:pt x="1169302" y="203594"/>
                  </a:lnTo>
                  <a:lnTo>
                    <a:pt x="1169302" y="202959"/>
                  </a:lnTo>
                  <a:lnTo>
                    <a:pt x="1169302" y="203594"/>
                  </a:lnTo>
                  <a:lnTo>
                    <a:pt x="1169302" y="202959"/>
                  </a:lnTo>
                  <a:lnTo>
                    <a:pt x="1169353" y="202959"/>
                  </a:lnTo>
                  <a:lnTo>
                    <a:pt x="1169353" y="200876"/>
                  </a:lnTo>
                  <a:lnTo>
                    <a:pt x="1169353" y="202959"/>
                  </a:lnTo>
                  <a:lnTo>
                    <a:pt x="1169353" y="202260"/>
                  </a:lnTo>
                  <a:lnTo>
                    <a:pt x="1169404" y="202260"/>
                  </a:lnTo>
                  <a:lnTo>
                    <a:pt x="1169404" y="200876"/>
                  </a:lnTo>
                  <a:lnTo>
                    <a:pt x="1169404" y="203594"/>
                  </a:lnTo>
                  <a:lnTo>
                    <a:pt x="1169404" y="202260"/>
                  </a:lnTo>
                  <a:lnTo>
                    <a:pt x="1169493" y="202260"/>
                  </a:lnTo>
                  <a:lnTo>
                    <a:pt x="1169493" y="200876"/>
                  </a:lnTo>
                  <a:lnTo>
                    <a:pt x="1169493" y="202959"/>
                  </a:lnTo>
                  <a:lnTo>
                    <a:pt x="1169493" y="202260"/>
                  </a:lnTo>
                  <a:lnTo>
                    <a:pt x="1169544" y="202260"/>
                  </a:lnTo>
                  <a:lnTo>
                    <a:pt x="1169544" y="202959"/>
                  </a:lnTo>
                  <a:lnTo>
                    <a:pt x="1169544" y="202260"/>
                  </a:lnTo>
                  <a:lnTo>
                    <a:pt x="1169544" y="202959"/>
                  </a:lnTo>
                  <a:lnTo>
                    <a:pt x="1169544" y="202260"/>
                  </a:lnTo>
                  <a:lnTo>
                    <a:pt x="1169594" y="202260"/>
                  </a:lnTo>
                  <a:lnTo>
                    <a:pt x="1169594" y="202959"/>
                  </a:lnTo>
                  <a:lnTo>
                    <a:pt x="1169594" y="202260"/>
                  </a:lnTo>
                  <a:lnTo>
                    <a:pt x="1169594" y="203594"/>
                  </a:lnTo>
                  <a:lnTo>
                    <a:pt x="1169594" y="202959"/>
                  </a:lnTo>
                  <a:lnTo>
                    <a:pt x="1169594" y="203594"/>
                  </a:lnTo>
                  <a:lnTo>
                    <a:pt x="1169594" y="202959"/>
                  </a:lnTo>
                  <a:lnTo>
                    <a:pt x="1169594" y="203594"/>
                  </a:lnTo>
                  <a:lnTo>
                    <a:pt x="1169645" y="203594"/>
                  </a:lnTo>
                  <a:lnTo>
                    <a:pt x="1169645" y="204292"/>
                  </a:lnTo>
                  <a:lnTo>
                    <a:pt x="1169645" y="203594"/>
                  </a:lnTo>
                  <a:lnTo>
                    <a:pt x="1169645" y="204292"/>
                  </a:lnTo>
                  <a:lnTo>
                    <a:pt x="1169645" y="203594"/>
                  </a:lnTo>
                  <a:lnTo>
                    <a:pt x="1169747" y="203594"/>
                  </a:lnTo>
                  <a:lnTo>
                    <a:pt x="1169747" y="202959"/>
                  </a:lnTo>
                  <a:lnTo>
                    <a:pt x="1169747" y="203594"/>
                  </a:lnTo>
                  <a:lnTo>
                    <a:pt x="1169747" y="202959"/>
                  </a:lnTo>
                  <a:lnTo>
                    <a:pt x="1169747" y="203594"/>
                  </a:lnTo>
                  <a:lnTo>
                    <a:pt x="1169797" y="202959"/>
                  </a:lnTo>
                  <a:lnTo>
                    <a:pt x="1169797" y="202260"/>
                  </a:lnTo>
                  <a:lnTo>
                    <a:pt x="1169797" y="202959"/>
                  </a:lnTo>
                  <a:lnTo>
                    <a:pt x="1169797" y="200876"/>
                  </a:lnTo>
                  <a:lnTo>
                    <a:pt x="1169848" y="200876"/>
                  </a:lnTo>
                  <a:lnTo>
                    <a:pt x="1169848" y="200228"/>
                  </a:lnTo>
                  <a:lnTo>
                    <a:pt x="1169848" y="202959"/>
                  </a:lnTo>
                  <a:lnTo>
                    <a:pt x="1169848" y="202260"/>
                  </a:lnTo>
                  <a:lnTo>
                    <a:pt x="1169848" y="202959"/>
                  </a:lnTo>
                  <a:lnTo>
                    <a:pt x="1169848" y="200876"/>
                  </a:lnTo>
                  <a:lnTo>
                    <a:pt x="1169848" y="202260"/>
                  </a:lnTo>
                  <a:lnTo>
                    <a:pt x="1169950" y="202260"/>
                  </a:lnTo>
                  <a:lnTo>
                    <a:pt x="1169950" y="204990"/>
                  </a:lnTo>
                  <a:lnTo>
                    <a:pt x="1169950" y="202260"/>
                  </a:lnTo>
                  <a:lnTo>
                    <a:pt x="1169988" y="202260"/>
                  </a:lnTo>
                  <a:lnTo>
                    <a:pt x="1169988" y="204292"/>
                  </a:lnTo>
                  <a:lnTo>
                    <a:pt x="1169988" y="202260"/>
                  </a:lnTo>
                  <a:lnTo>
                    <a:pt x="1169988" y="202959"/>
                  </a:lnTo>
                  <a:lnTo>
                    <a:pt x="1170039" y="202959"/>
                  </a:lnTo>
                  <a:lnTo>
                    <a:pt x="1170039" y="204292"/>
                  </a:lnTo>
                  <a:lnTo>
                    <a:pt x="1170039" y="202959"/>
                  </a:lnTo>
                  <a:lnTo>
                    <a:pt x="1170039" y="203594"/>
                  </a:lnTo>
                  <a:lnTo>
                    <a:pt x="1170090" y="203594"/>
                  </a:lnTo>
                  <a:lnTo>
                    <a:pt x="1170191" y="204292"/>
                  </a:lnTo>
                  <a:lnTo>
                    <a:pt x="1170191" y="203594"/>
                  </a:lnTo>
                  <a:lnTo>
                    <a:pt x="1170191" y="204292"/>
                  </a:lnTo>
                  <a:lnTo>
                    <a:pt x="1170191" y="203594"/>
                  </a:lnTo>
                  <a:lnTo>
                    <a:pt x="1170242" y="203594"/>
                  </a:lnTo>
                  <a:lnTo>
                    <a:pt x="1170242" y="202959"/>
                  </a:lnTo>
                  <a:lnTo>
                    <a:pt x="1170242" y="203594"/>
                  </a:lnTo>
                  <a:lnTo>
                    <a:pt x="1170242" y="202260"/>
                  </a:lnTo>
                  <a:lnTo>
                    <a:pt x="1170242" y="202959"/>
                  </a:lnTo>
                  <a:lnTo>
                    <a:pt x="1170293" y="202959"/>
                  </a:lnTo>
                  <a:lnTo>
                    <a:pt x="1170293" y="203594"/>
                  </a:lnTo>
                  <a:lnTo>
                    <a:pt x="1170293" y="200876"/>
                  </a:lnTo>
                  <a:lnTo>
                    <a:pt x="1170394" y="200876"/>
                  </a:lnTo>
                  <a:lnTo>
                    <a:pt x="1170394" y="199530"/>
                  </a:lnTo>
                  <a:lnTo>
                    <a:pt x="1170394" y="202260"/>
                  </a:lnTo>
                  <a:lnTo>
                    <a:pt x="1170394" y="200876"/>
                  </a:lnTo>
                  <a:lnTo>
                    <a:pt x="1170394" y="202260"/>
                  </a:lnTo>
                  <a:lnTo>
                    <a:pt x="1170445" y="200876"/>
                  </a:lnTo>
                  <a:lnTo>
                    <a:pt x="1170445" y="199530"/>
                  </a:lnTo>
                  <a:lnTo>
                    <a:pt x="1170445" y="202260"/>
                  </a:lnTo>
                  <a:lnTo>
                    <a:pt x="1170496" y="202260"/>
                  </a:lnTo>
                  <a:lnTo>
                    <a:pt x="1170496" y="200228"/>
                  </a:lnTo>
                  <a:lnTo>
                    <a:pt x="1170496" y="202260"/>
                  </a:lnTo>
                  <a:lnTo>
                    <a:pt x="1170534" y="202260"/>
                  </a:lnTo>
                  <a:lnTo>
                    <a:pt x="1170534" y="200876"/>
                  </a:lnTo>
                  <a:lnTo>
                    <a:pt x="1170534" y="202959"/>
                  </a:lnTo>
                  <a:lnTo>
                    <a:pt x="1170534" y="202260"/>
                  </a:lnTo>
                  <a:lnTo>
                    <a:pt x="1170636" y="202260"/>
                  </a:lnTo>
                  <a:lnTo>
                    <a:pt x="1170636" y="202959"/>
                  </a:lnTo>
                  <a:lnTo>
                    <a:pt x="1170636" y="202260"/>
                  </a:lnTo>
                  <a:lnTo>
                    <a:pt x="1170636" y="202959"/>
                  </a:lnTo>
                  <a:lnTo>
                    <a:pt x="1170687" y="202959"/>
                  </a:lnTo>
                  <a:lnTo>
                    <a:pt x="1170687" y="202260"/>
                  </a:lnTo>
                  <a:lnTo>
                    <a:pt x="1170687" y="202959"/>
                  </a:lnTo>
                  <a:lnTo>
                    <a:pt x="1170687" y="202260"/>
                  </a:lnTo>
                  <a:lnTo>
                    <a:pt x="1170687" y="202959"/>
                  </a:lnTo>
                  <a:lnTo>
                    <a:pt x="1170687" y="202260"/>
                  </a:lnTo>
                  <a:lnTo>
                    <a:pt x="1170737" y="202260"/>
                  </a:lnTo>
                  <a:lnTo>
                    <a:pt x="1170737" y="202959"/>
                  </a:lnTo>
                  <a:lnTo>
                    <a:pt x="1170737" y="202260"/>
                  </a:lnTo>
                  <a:lnTo>
                    <a:pt x="1170737" y="202959"/>
                  </a:lnTo>
                  <a:lnTo>
                    <a:pt x="1170737" y="200876"/>
                  </a:lnTo>
                  <a:lnTo>
                    <a:pt x="1170839" y="200876"/>
                  </a:lnTo>
                  <a:lnTo>
                    <a:pt x="1170839" y="202260"/>
                  </a:lnTo>
                  <a:lnTo>
                    <a:pt x="1170839" y="198831"/>
                  </a:lnTo>
                  <a:lnTo>
                    <a:pt x="1170890" y="198831"/>
                  </a:lnTo>
                  <a:lnTo>
                    <a:pt x="1170890" y="199530"/>
                  </a:lnTo>
                  <a:lnTo>
                    <a:pt x="1170890" y="196799"/>
                  </a:lnTo>
                  <a:lnTo>
                    <a:pt x="1170940" y="197447"/>
                  </a:lnTo>
                  <a:lnTo>
                    <a:pt x="1170940" y="199530"/>
                  </a:lnTo>
                  <a:lnTo>
                    <a:pt x="1170940" y="196799"/>
                  </a:lnTo>
                  <a:lnTo>
                    <a:pt x="1170940" y="199530"/>
                  </a:lnTo>
                  <a:lnTo>
                    <a:pt x="1170991" y="199530"/>
                  </a:lnTo>
                  <a:lnTo>
                    <a:pt x="1170991" y="200228"/>
                  </a:lnTo>
                  <a:lnTo>
                    <a:pt x="1170991" y="198831"/>
                  </a:lnTo>
                  <a:lnTo>
                    <a:pt x="1170991" y="200228"/>
                  </a:lnTo>
                  <a:lnTo>
                    <a:pt x="1171080" y="199530"/>
                  </a:lnTo>
                  <a:lnTo>
                    <a:pt x="1171080" y="200228"/>
                  </a:lnTo>
                  <a:lnTo>
                    <a:pt x="1171080" y="199530"/>
                  </a:lnTo>
                  <a:lnTo>
                    <a:pt x="1171080" y="200876"/>
                  </a:lnTo>
                  <a:lnTo>
                    <a:pt x="1171131" y="200876"/>
                  </a:lnTo>
                  <a:lnTo>
                    <a:pt x="1171131" y="202260"/>
                  </a:lnTo>
                  <a:lnTo>
                    <a:pt x="1171131" y="200876"/>
                  </a:lnTo>
                  <a:lnTo>
                    <a:pt x="1171131" y="202260"/>
                  </a:lnTo>
                  <a:lnTo>
                    <a:pt x="1171182" y="202260"/>
                  </a:lnTo>
                  <a:lnTo>
                    <a:pt x="1171182" y="202959"/>
                  </a:lnTo>
                  <a:lnTo>
                    <a:pt x="1171182" y="202260"/>
                  </a:lnTo>
                  <a:lnTo>
                    <a:pt x="1171182" y="202959"/>
                  </a:lnTo>
                  <a:lnTo>
                    <a:pt x="1171182" y="202260"/>
                  </a:lnTo>
                  <a:lnTo>
                    <a:pt x="1171233" y="202260"/>
                  </a:lnTo>
                  <a:lnTo>
                    <a:pt x="1171233" y="202959"/>
                  </a:lnTo>
                  <a:lnTo>
                    <a:pt x="1171233" y="202260"/>
                  </a:lnTo>
                  <a:lnTo>
                    <a:pt x="1171233" y="202959"/>
                  </a:lnTo>
                  <a:lnTo>
                    <a:pt x="1171233" y="202260"/>
                  </a:lnTo>
                  <a:lnTo>
                    <a:pt x="1171233" y="202959"/>
                  </a:lnTo>
                  <a:lnTo>
                    <a:pt x="1171334" y="202959"/>
                  </a:lnTo>
                  <a:lnTo>
                    <a:pt x="1171334" y="202260"/>
                  </a:lnTo>
                  <a:lnTo>
                    <a:pt x="1171334" y="202959"/>
                  </a:lnTo>
                  <a:lnTo>
                    <a:pt x="1171334" y="200876"/>
                  </a:lnTo>
                  <a:lnTo>
                    <a:pt x="1171385" y="200228"/>
                  </a:lnTo>
                  <a:lnTo>
                    <a:pt x="1171385" y="198831"/>
                  </a:lnTo>
                  <a:lnTo>
                    <a:pt x="1171385" y="200228"/>
                  </a:lnTo>
                  <a:lnTo>
                    <a:pt x="1171436" y="200228"/>
                  </a:lnTo>
                  <a:lnTo>
                    <a:pt x="1171436" y="197447"/>
                  </a:lnTo>
                  <a:lnTo>
                    <a:pt x="1171436" y="198831"/>
                  </a:lnTo>
                  <a:lnTo>
                    <a:pt x="1171436" y="197447"/>
                  </a:lnTo>
                  <a:lnTo>
                    <a:pt x="1171436" y="200228"/>
                  </a:lnTo>
                  <a:lnTo>
                    <a:pt x="1171537" y="200228"/>
                  </a:lnTo>
                  <a:lnTo>
                    <a:pt x="1171537" y="198831"/>
                  </a:lnTo>
                  <a:lnTo>
                    <a:pt x="1171537" y="200228"/>
                  </a:lnTo>
                  <a:lnTo>
                    <a:pt x="1171575" y="200228"/>
                  </a:lnTo>
                  <a:lnTo>
                    <a:pt x="1171575" y="200876"/>
                  </a:lnTo>
                  <a:lnTo>
                    <a:pt x="1171575" y="200228"/>
                  </a:lnTo>
                  <a:lnTo>
                    <a:pt x="1171575" y="200876"/>
                  </a:lnTo>
                  <a:lnTo>
                    <a:pt x="1171626" y="200876"/>
                  </a:lnTo>
                  <a:lnTo>
                    <a:pt x="1171626" y="200228"/>
                  </a:lnTo>
                  <a:lnTo>
                    <a:pt x="1171626" y="200876"/>
                  </a:lnTo>
                  <a:lnTo>
                    <a:pt x="1171677" y="200876"/>
                  </a:lnTo>
                  <a:lnTo>
                    <a:pt x="1171677" y="202260"/>
                  </a:lnTo>
                  <a:lnTo>
                    <a:pt x="1171779" y="202260"/>
                  </a:lnTo>
                  <a:lnTo>
                    <a:pt x="1171779" y="202959"/>
                  </a:lnTo>
                  <a:lnTo>
                    <a:pt x="1171779" y="202260"/>
                  </a:lnTo>
                  <a:lnTo>
                    <a:pt x="1171779" y="202959"/>
                  </a:lnTo>
                  <a:lnTo>
                    <a:pt x="1171779" y="202260"/>
                  </a:lnTo>
                  <a:lnTo>
                    <a:pt x="1171779" y="202959"/>
                  </a:lnTo>
                  <a:lnTo>
                    <a:pt x="1171779" y="202260"/>
                  </a:lnTo>
                  <a:lnTo>
                    <a:pt x="1171779" y="202959"/>
                  </a:lnTo>
                  <a:lnTo>
                    <a:pt x="1171779" y="202260"/>
                  </a:lnTo>
                  <a:lnTo>
                    <a:pt x="1171830" y="202959"/>
                  </a:lnTo>
                  <a:lnTo>
                    <a:pt x="1171830" y="200228"/>
                  </a:lnTo>
                  <a:lnTo>
                    <a:pt x="1171880" y="200876"/>
                  </a:lnTo>
                  <a:lnTo>
                    <a:pt x="1171880" y="197447"/>
                  </a:lnTo>
                  <a:lnTo>
                    <a:pt x="1171880" y="198831"/>
                  </a:lnTo>
                  <a:lnTo>
                    <a:pt x="1171982" y="198831"/>
                  </a:lnTo>
                  <a:lnTo>
                    <a:pt x="1171982" y="197447"/>
                  </a:lnTo>
                  <a:lnTo>
                    <a:pt x="1171982" y="200228"/>
                  </a:lnTo>
                  <a:lnTo>
                    <a:pt x="1172033" y="200228"/>
                  </a:lnTo>
                  <a:lnTo>
                    <a:pt x="1172033" y="198831"/>
                  </a:lnTo>
                  <a:lnTo>
                    <a:pt x="1172033" y="200228"/>
                  </a:lnTo>
                  <a:lnTo>
                    <a:pt x="1172084" y="200228"/>
                  </a:lnTo>
                  <a:lnTo>
                    <a:pt x="1172084" y="200876"/>
                  </a:lnTo>
                  <a:lnTo>
                    <a:pt x="1172084" y="198831"/>
                  </a:lnTo>
                  <a:lnTo>
                    <a:pt x="1172084" y="199530"/>
                  </a:lnTo>
                  <a:lnTo>
                    <a:pt x="1172122" y="199530"/>
                  </a:lnTo>
                  <a:lnTo>
                    <a:pt x="1172122" y="200228"/>
                  </a:lnTo>
                  <a:lnTo>
                    <a:pt x="1172122" y="199530"/>
                  </a:lnTo>
                  <a:lnTo>
                    <a:pt x="1172122" y="200228"/>
                  </a:lnTo>
                  <a:lnTo>
                    <a:pt x="1172223" y="200228"/>
                  </a:lnTo>
                  <a:lnTo>
                    <a:pt x="1172223" y="200876"/>
                  </a:lnTo>
                  <a:lnTo>
                    <a:pt x="1172223" y="200228"/>
                  </a:lnTo>
                  <a:lnTo>
                    <a:pt x="1172223" y="202260"/>
                  </a:lnTo>
                  <a:lnTo>
                    <a:pt x="1172274" y="202260"/>
                  </a:lnTo>
                  <a:lnTo>
                    <a:pt x="1172274" y="200876"/>
                  </a:lnTo>
                  <a:lnTo>
                    <a:pt x="1172274" y="202260"/>
                  </a:lnTo>
                  <a:lnTo>
                    <a:pt x="1172325" y="202260"/>
                  </a:lnTo>
                  <a:lnTo>
                    <a:pt x="1172325" y="200876"/>
                  </a:lnTo>
                  <a:lnTo>
                    <a:pt x="1172325" y="202260"/>
                  </a:lnTo>
                  <a:lnTo>
                    <a:pt x="1172325" y="200876"/>
                  </a:lnTo>
                  <a:lnTo>
                    <a:pt x="1172325" y="202260"/>
                  </a:lnTo>
                  <a:lnTo>
                    <a:pt x="1172325" y="199530"/>
                  </a:lnTo>
                  <a:lnTo>
                    <a:pt x="1172325" y="200228"/>
                  </a:lnTo>
                  <a:lnTo>
                    <a:pt x="1172325" y="199530"/>
                  </a:lnTo>
                  <a:lnTo>
                    <a:pt x="1172426" y="199530"/>
                  </a:lnTo>
                  <a:lnTo>
                    <a:pt x="1172426" y="197447"/>
                  </a:lnTo>
                  <a:lnTo>
                    <a:pt x="1172426" y="199530"/>
                  </a:lnTo>
                  <a:lnTo>
                    <a:pt x="1172477" y="199530"/>
                  </a:lnTo>
                  <a:lnTo>
                    <a:pt x="1172477" y="197447"/>
                  </a:lnTo>
                  <a:lnTo>
                    <a:pt x="1172477" y="200876"/>
                  </a:lnTo>
                  <a:lnTo>
                    <a:pt x="1172477" y="200228"/>
                  </a:lnTo>
                  <a:lnTo>
                    <a:pt x="1172528" y="200228"/>
                  </a:lnTo>
                  <a:lnTo>
                    <a:pt x="1172528" y="198831"/>
                  </a:lnTo>
                  <a:lnTo>
                    <a:pt x="1172528" y="200228"/>
                  </a:lnTo>
                  <a:lnTo>
                    <a:pt x="1172579" y="200228"/>
                  </a:lnTo>
                  <a:lnTo>
                    <a:pt x="1172579" y="199530"/>
                  </a:lnTo>
                  <a:lnTo>
                    <a:pt x="1172579" y="200228"/>
                  </a:lnTo>
                  <a:lnTo>
                    <a:pt x="1172579" y="199530"/>
                  </a:lnTo>
                  <a:lnTo>
                    <a:pt x="1172579" y="200228"/>
                  </a:lnTo>
                  <a:lnTo>
                    <a:pt x="1172579" y="199530"/>
                  </a:lnTo>
                  <a:lnTo>
                    <a:pt x="1172579" y="200228"/>
                  </a:lnTo>
                  <a:lnTo>
                    <a:pt x="1172668" y="199530"/>
                  </a:lnTo>
                  <a:lnTo>
                    <a:pt x="1172668" y="200228"/>
                  </a:lnTo>
                  <a:lnTo>
                    <a:pt x="1172668" y="199530"/>
                  </a:lnTo>
                  <a:lnTo>
                    <a:pt x="1172668" y="200228"/>
                  </a:lnTo>
                  <a:lnTo>
                    <a:pt x="1172719" y="200228"/>
                  </a:lnTo>
                  <a:lnTo>
                    <a:pt x="1172719" y="202260"/>
                  </a:lnTo>
                  <a:lnTo>
                    <a:pt x="1172719" y="200876"/>
                  </a:lnTo>
                  <a:lnTo>
                    <a:pt x="1172719" y="202260"/>
                  </a:lnTo>
                  <a:lnTo>
                    <a:pt x="1172719" y="200876"/>
                  </a:lnTo>
                  <a:lnTo>
                    <a:pt x="1172769" y="200876"/>
                  </a:lnTo>
                  <a:lnTo>
                    <a:pt x="1172769" y="202260"/>
                  </a:lnTo>
                  <a:lnTo>
                    <a:pt x="1172769" y="200876"/>
                  </a:lnTo>
                  <a:lnTo>
                    <a:pt x="1172769" y="202260"/>
                  </a:lnTo>
                  <a:lnTo>
                    <a:pt x="1172769" y="200876"/>
                  </a:lnTo>
                  <a:lnTo>
                    <a:pt x="1172820" y="200876"/>
                  </a:lnTo>
                  <a:lnTo>
                    <a:pt x="1172820" y="202260"/>
                  </a:lnTo>
                  <a:lnTo>
                    <a:pt x="1172820" y="200876"/>
                  </a:lnTo>
                  <a:lnTo>
                    <a:pt x="1172820" y="202260"/>
                  </a:lnTo>
                  <a:lnTo>
                    <a:pt x="1172820" y="199530"/>
                  </a:lnTo>
                  <a:lnTo>
                    <a:pt x="1172922" y="199530"/>
                  </a:lnTo>
                  <a:lnTo>
                    <a:pt x="1172922" y="200228"/>
                  </a:lnTo>
                  <a:lnTo>
                    <a:pt x="1172922" y="198831"/>
                  </a:lnTo>
                  <a:lnTo>
                    <a:pt x="1172922" y="200228"/>
                  </a:lnTo>
                  <a:lnTo>
                    <a:pt x="1172972" y="200228"/>
                  </a:lnTo>
                  <a:lnTo>
                    <a:pt x="1172972" y="200876"/>
                  </a:lnTo>
                  <a:lnTo>
                    <a:pt x="1172972" y="199530"/>
                  </a:lnTo>
                  <a:lnTo>
                    <a:pt x="1172972" y="202959"/>
                  </a:lnTo>
                  <a:lnTo>
                    <a:pt x="1172972" y="200876"/>
                  </a:lnTo>
                  <a:lnTo>
                    <a:pt x="1173023" y="200876"/>
                  </a:lnTo>
                  <a:lnTo>
                    <a:pt x="1173023" y="200228"/>
                  </a:lnTo>
                  <a:lnTo>
                    <a:pt x="1173023" y="200876"/>
                  </a:lnTo>
                  <a:lnTo>
                    <a:pt x="1173023" y="200228"/>
                  </a:lnTo>
                  <a:lnTo>
                    <a:pt x="1173023" y="203594"/>
                  </a:lnTo>
                  <a:lnTo>
                    <a:pt x="1173023" y="202260"/>
                  </a:lnTo>
                  <a:lnTo>
                    <a:pt x="1173125" y="202260"/>
                  </a:lnTo>
                  <a:lnTo>
                    <a:pt x="1173125" y="200876"/>
                  </a:lnTo>
                  <a:lnTo>
                    <a:pt x="1173125" y="202959"/>
                  </a:lnTo>
                  <a:lnTo>
                    <a:pt x="1173125" y="202260"/>
                  </a:lnTo>
                  <a:lnTo>
                    <a:pt x="1173163" y="202260"/>
                  </a:lnTo>
                  <a:lnTo>
                    <a:pt x="1173163" y="200876"/>
                  </a:lnTo>
                  <a:lnTo>
                    <a:pt x="1173163" y="202959"/>
                  </a:lnTo>
                  <a:lnTo>
                    <a:pt x="1173214" y="202959"/>
                  </a:lnTo>
                  <a:lnTo>
                    <a:pt x="1173214" y="202260"/>
                  </a:lnTo>
                  <a:lnTo>
                    <a:pt x="1173214" y="202959"/>
                  </a:lnTo>
                  <a:lnTo>
                    <a:pt x="1173214" y="202260"/>
                  </a:lnTo>
                  <a:lnTo>
                    <a:pt x="1173214" y="202959"/>
                  </a:lnTo>
                  <a:lnTo>
                    <a:pt x="1173214" y="202260"/>
                  </a:lnTo>
                  <a:lnTo>
                    <a:pt x="1173214" y="202959"/>
                  </a:lnTo>
                  <a:lnTo>
                    <a:pt x="1173265" y="202959"/>
                  </a:lnTo>
                  <a:lnTo>
                    <a:pt x="1173265" y="202260"/>
                  </a:lnTo>
                  <a:lnTo>
                    <a:pt x="1173265" y="202959"/>
                  </a:lnTo>
                  <a:lnTo>
                    <a:pt x="1173265" y="202260"/>
                  </a:lnTo>
                  <a:lnTo>
                    <a:pt x="1173265" y="202959"/>
                  </a:lnTo>
                  <a:lnTo>
                    <a:pt x="1173366" y="202260"/>
                  </a:lnTo>
                  <a:lnTo>
                    <a:pt x="1173366" y="200876"/>
                  </a:lnTo>
                  <a:lnTo>
                    <a:pt x="1173366" y="202260"/>
                  </a:lnTo>
                  <a:lnTo>
                    <a:pt x="1173366" y="200228"/>
                  </a:lnTo>
                  <a:lnTo>
                    <a:pt x="1173366" y="200876"/>
                  </a:lnTo>
                  <a:lnTo>
                    <a:pt x="1173366" y="200228"/>
                  </a:lnTo>
                  <a:lnTo>
                    <a:pt x="1173417" y="200228"/>
                  </a:lnTo>
                  <a:lnTo>
                    <a:pt x="1173417" y="199530"/>
                  </a:lnTo>
                  <a:lnTo>
                    <a:pt x="1173417" y="202260"/>
                  </a:lnTo>
                  <a:lnTo>
                    <a:pt x="1173417" y="200876"/>
                  </a:lnTo>
                  <a:lnTo>
                    <a:pt x="1173468" y="200876"/>
                  </a:lnTo>
                  <a:lnTo>
                    <a:pt x="1173468" y="200228"/>
                  </a:lnTo>
                  <a:lnTo>
                    <a:pt x="1173468" y="202959"/>
                  </a:lnTo>
                  <a:lnTo>
                    <a:pt x="1173468" y="202260"/>
                  </a:lnTo>
                  <a:lnTo>
                    <a:pt x="1173569" y="202260"/>
                  </a:lnTo>
                  <a:lnTo>
                    <a:pt x="1173569" y="200876"/>
                  </a:lnTo>
                  <a:lnTo>
                    <a:pt x="1173569" y="203594"/>
                  </a:lnTo>
                  <a:lnTo>
                    <a:pt x="1173569" y="202260"/>
                  </a:lnTo>
                  <a:lnTo>
                    <a:pt x="1173569" y="202959"/>
                  </a:lnTo>
                  <a:lnTo>
                    <a:pt x="1173569" y="202260"/>
                  </a:lnTo>
                  <a:lnTo>
                    <a:pt x="1173620" y="202260"/>
                  </a:lnTo>
                  <a:lnTo>
                    <a:pt x="1173620" y="202959"/>
                  </a:lnTo>
                  <a:lnTo>
                    <a:pt x="1173620" y="202260"/>
                  </a:lnTo>
                  <a:lnTo>
                    <a:pt x="1173620" y="203594"/>
                  </a:lnTo>
                  <a:lnTo>
                    <a:pt x="1173620" y="202260"/>
                  </a:lnTo>
                  <a:lnTo>
                    <a:pt x="1173620" y="202959"/>
                  </a:lnTo>
                  <a:lnTo>
                    <a:pt x="1173709" y="202959"/>
                  </a:lnTo>
                  <a:lnTo>
                    <a:pt x="1173709" y="203594"/>
                  </a:lnTo>
                  <a:lnTo>
                    <a:pt x="1173709" y="202959"/>
                  </a:lnTo>
                  <a:lnTo>
                    <a:pt x="1173709" y="203594"/>
                  </a:lnTo>
                  <a:lnTo>
                    <a:pt x="1173709" y="202959"/>
                  </a:lnTo>
                  <a:lnTo>
                    <a:pt x="1173811" y="202260"/>
                  </a:lnTo>
                  <a:lnTo>
                    <a:pt x="1173862" y="202260"/>
                  </a:lnTo>
                  <a:lnTo>
                    <a:pt x="1173862" y="200228"/>
                  </a:lnTo>
                  <a:lnTo>
                    <a:pt x="1173862" y="200876"/>
                  </a:lnTo>
                  <a:lnTo>
                    <a:pt x="1173862" y="199530"/>
                  </a:lnTo>
                  <a:lnTo>
                    <a:pt x="1173912" y="199530"/>
                  </a:lnTo>
                  <a:lnTo>
                    <a:pt x="1173912" y="196799"/>
                  </a:lnTo>
                  <a:lnTo>
                    <a:pt x="1174014" y="196113"/>
                  </a:lnTo>
                  <a:lnTo>
                    <a:pt x="1174014" y="196799"/>
                  </a:lnTo>
                  <a:lnTo>
                    <a:pt x="1174014" y="196113"/>
                  </a:lnTo>
                  <a:lnTo>
                    <a:pt x="1174014" y="196799"/>
                  </a:lnTo>
                  <a:lnTo>
                    <a:pt x="1174014" y="196113"/>
                  </a:lnTo>
                  <a:lnTo>
                    <a:pt x="1174014" y="196799"/>
                  </a:lnTo>
                  <a:lnTo>
                    <a:pt x="1174065" y="196799"/>
                  </a:lnTo>
                  <a:lnTo>
                    <a:pt x="1174065" y="196113"/>
                  </a:lnTo>
                  <a:lnTo>
                    <a:pt x="1174065" y="196799"/>
                  </a:lnTo>
                  <a:lnTo>
                    <a:pt x="1174065" y="196113"/>
                  </a:lnTo>
                  <a:lnTo>
                    <a:pt x="1174065" y="196799"/>
                  </a:lnTo>
                  <a:lnTo>
                    <a:pt x="1174065" y="196113"/>
                  </a:lnTo>
                  <a:lnTo>
                    <a:pt x="1174065" y="199530"/>
                  </a:lnTo>
                  <a:lnTo>
                    <a:pt x="1174065" y="198831"/>
                  </a:lnTo>
                  <a:lnTo>
                    <a:pt x="1174115" y="197447"/>
                  </a:lnTo>
                  <a:lnTo>
                    <a:pt x="1174115" y="199530"/>
                  </a:lnTo>
                  <a:lnTo>
                    <a:pt x="1174166" y="199530"/>
                  </a:lnTo>
                  <a:lnTo>
                    <a:pt x="1174166" y="200876"/>
                  </a:lnTo>
                  <a:lnTo>
                    <a:pt x="1174166" y="200228"/>
                  </a:lnTo>
                  <a:lnTo>
                    <a:pt x="1174166" y="200876"/>
                  </a:lnTo>
                  <a:lnTo>
                    <a:pt x="1174255" y="202260"/>
                  </a:lnTo>
                  <a:lnTo>
                    <a:pt x="1174255" y="200876"/>
                  </a:lnTo>
                  <a:lnTo>
                    <a:pt x="1174255" y="202959"/>
                  </a:lnTo>
                  <a:lnTo>
                    <a:pt x="1174306" y="202959"/>
                  </a:lnTo>
                  <a:lnTo>
                    <a:pt x="1174306" y="202260"/>
                  </a:lnTo>
                  <a:lnTo>
                    <a:pt x="1174306" y="203594"/>
                  </a:lnTo>
                  <a:lnTo>
                    <a:pt x="1174306" y="202959"/>
                  </a:lnTo>
                  <a:lnTo>
                    <a:pt x="1174306" y="203594"/>
                  </a:lnTo>
                  <a:lnTo>
                    <a:pt x="1174306" y="202959"/>
                  </a:lnTo>
                  <a:lnTo>
                    <a:pt x="1174306" y="203594"/>
                  </a:lnTo>
                  <a:lnTo>
                    <a:pt x="1174306" y="202959"/>
                  </a:lnTo>
                  <a:lnTo>
                    <a:pt x="1174357" y="202959"/>
                  </a:lnTo>
                  <a:lnTo>
                    <a:pt x="1174357" y="202260"/>
                  </a:lnTo>
                  <a:lnTo>
                    <a:pt x="1174357" y="202959"/>
                  </a:lnTo>
                  <a:lnTo>
                    <a:pt x="1174357" y="202260"/>
                  </a:lnTo>
                  <a:lnTo>
                    <a:pt x="1174357" y="202959"/>
                  </a:lnTo>
                  <a:lnTo>
                    <a:pt x="1174357" y="200876"/>
                  </a:lnTo>
                  <a:lnTo>
                    <a:pt x="1174357" y="202260"/>
                  </a:lnTo>
                  <a:lnTo>
                    <a:pt x="1174408" y="202260"/>
                  </a:lnTo>
                  <a:lnTo>
                    <a:pt x="1174408" y="200228"/>
                  </a:lnTo>
                  <a:lnTo>
                    <a:pt x="1174509" y="200228"/>
                  </a:lnTo>
                  <a:lnTo>
                    <a:pt x="1174509" y="196113"/>
                  </a:lnTo>
                  <a:lnTo>
                    <a:pt x="1174560" y="196113"/>
                  </a:lnTo>
                  <a:lnTo>
                    <a:pt x="1174560" y="194716"/>
                  </a:lnTo>
                  <a:lnTo>
                    <a:pt x="1174560" y="196113"/>
                  </a:lnTo>
                  <a:lnTo>
                    <a:pt x="1174560" y="195415"/>
                  </a:lnTo>
                  <a:lnTo>
                    <a:pt x="1174611" y="194716"/>
                  </a:lnTo>
                  <a:lnTo>
                    <a:pt x="1174611" y="193383"/>
                  </a:lnTo>
                  <a:lnTo>
                    <a:pt x="1174611" y="196799"/>
                  </a:lnTo>
                  <a:lnTo>
                    <a:pt x="1174611" y="196113"/>
                  </a:lnTo>
                  <a:lnTo>
                    <a:pt x="1174712" y="196113"/>
                  </a:lnTo>
                  <a:lnTo>
                    <a:pt x="1174712" y="198831"/>
                  </a:lnTo>
                  <a:lnTo>
                    <a:pt x="1174750" y="197447"/>
                  </a:lnTo>
                  <a:lnTo>
                    <a:pt x="1174750" y="200228"/>
                  </a:lnTo>
                  <a:lnTo>
                    <a:pt x="1174801" y="199530"/>
                  </a:lnTo>
                  <a:lnTo>
                    <a:pt x="1174801" y="202959"/>
                  </a:lnTo>
                  <a:lnTo>
                    <a:pt x="1174801" y="202260"/>
                  </a:lnTo>
                  <a:lnTo>
                    <a:pt x="1174852" y="202260"/>
                  </a:lnTo>
                  <a:lnTo>
                    <a:pt x="1174852" y="202959"/>
                  </a:lnTo>
                  <a:lnTo>
                    <a:pt x="1174852" y="202260"/>
                  </a:lnTo>
                  <a:lnTo>
                    <a:pt x="1174852" y="203594"/>
                  </a:lnTo>
                  <a:lnTo>
                    <a:pt x="1174954" y="203594"/>
                  </a:lnTo>
                  <a:lnTo>
                    <a:pt x="1174954" y="202959"/>
                  </a:lnTo>
                  <a:lnTo>
                    <a:pt x="1174954" y="203594"/>
                  </a:lnTo>
                  <a:lnTo>
                    <a:pt x="1174954" y="202959"/>
                  </a:lnTo>
                  <a:lnTo>
                    <a:pt x="1174954" y="203594"/>
                  </a:lnTo>
                  <a:lnTo>
                    <a:pt x="1174954" y="202959"/>
                  </a:lnTo>
                  <a:lnTo>
                    <a:pt x="1175005" y="202959"/>
                  </a:lnTo>
                  <a:lnTo>
                    <a:pt x="1175005" y="199530"/>
                  </a:lnTo>
                  <a:lnTo>
                    <a:pt x="1175055" y="199530"/>
                  </a:lnTo>
                  <a:lnTo>
                    <a:pt x="1175055" y="198831"/>
                  </a:lnTo>
                  <a:lnTo>
                    <a:pt x="1175055" y="199530"/>
                  </a:lnTo>
                  <a:lnTo>
                    <a:pt x="1175055" y="198831"/>
                  </a:lnTo>
                  <a:lnTo>
                    <a:pt x="1175055" y="199530"/>
                  </a:lnTo>
                  <a:lnTo>
                    <a:pt x="1175055" y="198831"/>
                  </a:lnTo>
                  <a:lnTo>
                    <a:pt x="1175157" y="198831"/>
                  </a:lnTo>
                  <a:lnTo>
                    <a:pt x="1175157" y="200228"/>
                  </a:lnTo>
                  <a:lnTo>
                    <a:pt x="1175157" y="198831"/>
                  </a:lnTo>
                  <a:lnTo>
                    <a:pt x="1175208" y="198831"/>
                  </a:lnTo>
                  <a:lnTo>
                    <a:pt x="1175208" y="199530"/>
                  </a:lnTo>
                  <a:lnTo>
                    <a:pt x="1175208" y="198831"/>
                  </a:lnTo>
                  <a:lnTo>
                    <a:pt x="1175208" y="200228"/>
                  </a:lnTo>
                  <a:lnTo>
                    <a:pt x="1175208" y="199530"/>
                  </a:lnTo>
                  <a:lnTo>
                    <a:pt x="1175259" y="199530"/>
                  </a:lnTo>
                  <a:lnTo>
                    <a:pt x="1175259" y="200228"/>
                  </a:lnTo>
                  <a:lnTo>
                    <a:pt x="1175259" y="199530"/>
                  </a:lnTo>
                  <a:lnTo>
                    <a:pt x="1175259" y="200228"/>
                  </a:lnTo>
                  <a:lnTo>
                    <a:pt x="1175297" y="200876"/>
                  </a:lnTo>
                  <a:lnTo>
                    <a:pt x="1175297" y="202959"/>
                  </a:lnTo>
                  <a:lnTo>
                    <a:pt x="1175297" y="202260"/>
                  </a:lnTo>
                  <a:lnTo>
                    <a:pt x="1175297" y="202959"/>
                  </a:lnTo>
                  <a:lnTo>
                    <a:pt x="1175398" y="202959"/>
                  </a:lnTo>
                  <a:lnTo>
                    <a:pt x="1175398" y="203594"/>
                  </a:lnTo>
                  <a:lnTo>
                    <a:pt x="1175398" y="202959"/>
                  </a:lnTo>
                  <a:lnTo>
                    <a:pt x="1175398" y="203594"/>
                  </a:lnTo>
                  <a:lnTo>
                    <a:pt x="1175449" y="203594"/>
                  </a:lnTo>
                  <a:lnTo>
                    <a:pt x="1175449" y="204292"/>
                  </a:lnTo>
                  <a:lnTo>
                    <a:pt x="1175449" y="203594"/>
                  </a:lnTo>
                  <a:lnTo>
                    <a:pt x="1175449" y="204292"/>
                  </a:lnTo>
                  <a:lnTo>
                    <a:pt x="1175449" y="203594"/>
                  </a:lnTo>
                  <a:lnTo>
                    <a:pt x="1175449" y="204292"/>
                  </a:lnTo>
                  <a:lnTo>
                    <a:pt x="1175449" y="203594"/>
                  </a:lnTo>
                  <a:lnTo>
                    <a:pt x="1175449" y="204292"/>
                  </a:lnTo>
                  <a:lnTo>
                    <a:pt x="1175449" y="203594"/>
                  </a:lnTo>
                  <a:lnTo>
                    <a:pt x="1175500" y="203594"/>
                  </a:lnTo>
                  <a:lnTo>
                    <a:pt x="1175500" y="202260"/>
                  </a:lnTo>
                  <a:lnTo>
                    <a:pt x="1175601" y="202260"/>
                  </a:lnTo>
                  <a:lnTo>
                    <a:pt x="1175601" y="200876"/>
                  </a:lnTo>
                  <a:lnTo>
                    <a:pt x="1175601" y="202959"/>
                  </a:lnTo>
                  <a:lnTo>
                    <a:pt x="1175601" y="200876"/>
                  </a:lnTo>
                  <a:lnTo>
                    <a:pt x="1175652" y="200876"/>
                  </a:lnTo>
                  <a:lnTo>
                    <a:pt x="1175652" y="203594"/>
                  </a:lnTo>
                  <a:lnTo>
                    <a:pt x="1175652" y="202260"/>
                  </a:lnTo>
                  <a:lnTo>
                    <a:pt x="1175652" y="202959"/>
                  </a:lnTo>
                  <a:lnTo>
                    <a:pt x="1175703" y="202959"/>
                  </a:lnTo>
                  <a:lnTo>
                    <a:pt x="1175703" y="202260"/>
                  </a:lnTo>
                  <a:lnTo>
                    <a:pt x="1175754" y="202260"/>
                  </a:lnTo>
                  <a:lnTo>
                    <a:pt x="1175754" y="202959"/>
                  </a:lnTo>
                  <a:lnTo>
                    <a:pt x="1175754" y="202260"/>
                  </a:lnTo>
                  <a:lnTo>
                    <a:pt x="1175843" y="202260"/>
                  </a:lnTo>
                  <a:lnTo>
                    <a:pt x="1175843" y="202959"/>
                  </a:lnTo>
                  <a:lnTo>
                    <a:pt x="1175843" y="202260"/>
                  </a:lnTo>
                  <a:lnTo>
                    <a:pt x="1175843" y="203594"/>
                  </a:lnTo>
                  <a:lnTo>
                    <a:pt x="1175843" y="202959"/>
                  </a:lnTo>
                  <a:lnTo>
                    <a:pt x="1175843" y="203594"/>
                  </a:lnTo>
                  <a:lnTo>
                    <a:pt x="1175894" y="203594"/>
                  </a:lnTo>
                  <a:lnTo>
                    <a:pt x="1175894" y="202959"/>
                  </a:lnTo>
                  <a:lnTo>
                    <a:pt x="1175894" y="203594"/>
                  </a:lnTo>
                  <a:lnTo>
                    <a:pt x="1175894" y="202959"/>
                  </a:lnTo>
                  <a:lnTo>
                    <a:pt x="1175894" y="204292"/>
                  </a:lnTo>
                  <a:lnTo>
                    <a:pt x="1175944" y="204292"/>
                  </a:lnTo>
                  <a:lnTo>
                    <a:pt x="1175944" y="203594"/>
                  </a:lnTo>
                  <a:lnTo>
                    <a:pt x="1175995" y="203594"/>
                  </a:lnTo>
                  <a:lnTo>
                    <a:pt x="1175995" y="202260"/>
                  </a:lnTo>
                  <a:lnTo>
                    <a:pt x="1175995" y="202959"/>
                  </a:lnTo>
                  <a:lnTo>
                    <a:pt x="1175995" y="202260"/>
                  </a:lnTo>
                  <a:lnTo>
                    <a:pt x="1175995" y="203594"/>
                  </a:lnTo>
                  <a:lnTo>
                    <a:pt x="1176097" y="204292"/>
                  </a:lnTo>
                  <a:lnTo>
                    <a:pt x="1176097" y="202959"/>
                  </a:lnTo>
                  <a:lnTo>
                    <a:pt x="1176097" y="203594"/>
                  </a:lnTo>
                  <a:lnTo>
                    <a:pt x="1176097" y="202959"/>
                  </a:lnTo>
                  <a:lnTo>
                    <a:pt x="1176097" y="206324"/>
                  </a:lnTo>
                  <a:lnTo>
                    <a:pt x="1176147" y="206324"/>
                  </a:lnTo>
                  <a:lnTo>
                    <a:pt x="1176147" y="204292"/>
                  </a:lnTo>
                  <a:lnTo>
                    <a:pt x="1176147" y="206324"/>
                  </a:lnTo>
                  <a:lnTo>
                    <a:pt x="1176147" y="204990"/>
                  </a:lnTo>
                  <a:lnTo>
                    <a:pt x="1176198" y="204990"/>
                  </a:lnTo>
                  <a:lnTo>
                    <a:pt x="1176198" y="204292"/>
                  </a:lnTo>
                  <a:lnTo>
                    <a:pt x="1176198" y="204990"/>
                  </a:lnTo>
                  <a:lnTo>
                    <a:pt x="1176198" y="204292"/>
                  </a:lnTo>
                  <a:lnTo>
                    <a:pt x="1176198" y="204990"/>
                  </a:lnTo>
                  <a:lnTo>
                    <a:pt x="1176300" y="204990"/>
                  </a:lnTo>
                  <a:lnTo>
                    <a:pt x="1176300" y="204292"/>
                  </a:lnTo>
                  <a:lnTo>
                    <a:pt x="1176300" y="204990"/>
                  </a:lnTo>
                  <a:lnTo>
                    <a:pt x="1176338" y="204990"/>
                  </a:lnTo>
                  <a:lnTo>
                    <a:pt x="1176338" y="204292"/>
                  </a:lnTo>
                  <a:lnTo>
                    <a:pt x="1176338" y="204990"/>
                  </a:lnTo>
                  <a:lnTo>
                    <a:pt x="1176338" y="203594"/>
                  </a:lnTo>
                  <a:lnTo>
                    <a:pt x="1176389" y="203594"/>
                  </a:lnTo>
                  <a:lnTo>
                    <a:pt x="1176389" y="204990"/>
                  </a:lnTo>
                  <a:lnTo>
                    <a:pt x="1176389" y="203594"/>
                  </a:lnTo>
                  <a:lnTo>
                    <a:pt x="1176389" y="204292"/>
                  </a:lnTo>
                  <a:lnTo>
                    <a:pt x="1176389" y="203594"/>
                  </a:lnTo>
                  <a:lnTo>
                    <a:pt x="1176389" y="204292"/>
                  </a:lnTo>
                  <a:lnTo>
                    <a:pt x="1176440" y="204292"/>
                  </a:lnTo>
                  <a:lnTo>
                    <a:pt x="1176440" y="202260"/>
                  </a:lnTo>
                  <a:lnTo>
                    <a:pt x="1176541" y="202260"/>
                  </a:lnTo>
                  <a:lnTo>
                    <a:pt x="1176541" y="204292"/>
                  </a:lnTo>
                  <a:lnTo>
                    <a:pt x="1176541" y="203594"/>
                  </a:lnTo>
                  <a:lnTo>
                    <a:pt x="1176592" y="202959"/>
                  </a:lnTo>
                  <a:lnTo>
                    <a:pt x="1176592" y="206324"/>
                  </a:lnTo>
                  <a:lnTo>
                    <a:pt x="1176592" y="204990"/>
                  </a:lnTo>
                  <a:lnTo>
                    <a:pt x="1176643" y="204990"/>
                  </a:lnTo>
                  <a:lnTo>
                    <a:pt x="1176643" y="207022"/>
                  </a:lnTo>
                  <a:lnTo>
                    <a:pt x="1176643" y="204990"/>
                  </a:lnTo>
                  <a:lnTo>
                    <a:pt x="1176643" y="206324"/>
                  </a:lnTo>
                  <a:lnTo>
                    <a:pt x="1176744" y="206324"/>
                  </a:lnTo>
                  <a:lnTo>
                    <a:pt x="1176744" y="207022"/>
                  </a:lnTo>
                  <a:lnTo>
                    <a:pt x="1176744" y="206324"/>
                  </a:lnTo>
                  <a:lnTo>
                    <a:pt x="1176744" y="207022"/>
                  </a:lnTo>
                  <a:lnTo>
                    <a:pt x="1176744" y="206324"/>
                  </a:lnTo>
                  <a:lnTo>
                    <a:pt x="1176744" y="207022"/>
                  </a:lnTo>
                  <a:lnTo>
                    <a:pt x="1176744" y="206324"/>
                  </a:lnTo>
                  <a:lnTo>
                    <a:pt x="1176795" y="206324"/>
                  </a:lnTo>
                  <a:lnTo>
                    <a:pt x="1176795" y="207022"/>
                  </a:lnTo>
                  <a:lnTo>
                    <a:pt x="1176795" y="206324"/>
                  </a:lnTo>
                  <a:lnTo>
                    <a:pt x="1176795" y="207022"/>
                  </a:lnTo>
                  <a:lnTo>
                    <a:pt x="1176795" y="206324"/>
                  </a:lnTo>
                  <a:lnTo>
                    <a:pt x="1176846" y="206324"/>
                  </a:lnTo>
                  <a:lnTo>
                    <a:pt x="1176846" y="207022"/>
                  </a:lnTo>
                  <a:lnTo>
                    <a:pt x="1176846" y="204990"/>
                  </a:lnTo>
                  <a:lnTo>
                    <a:pt x="1176846" y="206324"/>
                  </a:lnTo>
                  <a:lnTo>
                    <a:pt x="1176846" y="204990"/>
                  </a:lnTo>
                  <a:lnTo>
                    <a:pt x="1176846" y="206324"/>
                  </a:lnTo>
                  <a:lnTo>
                    <a:pt x="1176884" y="206324"/>
                  </a:lnTo>
                  <a:lnTo>
                    <a:pt x="1176884" y="204292"/>
                  </a:lnTo>
                  <a:lnTo>
                    <a:pt x="1176884" y="207022"/>
                  </a:lnTo>
                  <a:lnTo>
                    <a:pt x="1176986" y="207022"/>
                  </a:lnTo>
                  <a:lnTo>
                    <a:pt x="1176986" y="206324"/>
                  </a:lnTo>
                  <a:lnTo>
                    <a:pt x="1176986" y="207022"/>
                  </a:lnTo>
                  <a:lnTo>
                    <a:pt x="1176986" y="206324"/>
                  </a:lnTo>
                  <a:lnTo>
                    <a:pt x="1176986" y="209753"/>
                  </a:lnTo>
                  <a:lnTo>
                    <a:pt x="1177037" y="208407"/>
                  </a:lnTo>
                  <a:lnTo>
                    <a:pt x="1177037" y="207721"/>
                  </a:lnTo>
                  <a:lnTo>
                    <a:pt x="1177037" y="209753"/>
                  </a:lnTo>
                  <a:lnTo>
                    <a:pt x="1177087" y="209753"/>
                  </a:lnTo>
                  <a:lnTo>
                    <a:pt x="1177087" y="208407"/>
                  </a:lnTo>
                  <a:lnTo>
                    <a:pt x="1177087" y="210451"/>
                  </a:lnTo>
                  <a:lnTo>
                    <a:pt x="1177087" y="209753"/>
                  </a:lnTo>
                  <a:lnTo>
                    <a:pt x="1177087" y="210451"/>
                  </a:lnTo>
                  <a:lnTo>
                    <a:pt x="1177189" y="210451"/>
                  </a:lnTo>
                  <a:lnTo>
                    <a:pt x="1177189" y="208407"/>
                  </a:lnTo>
                  <a:lnTo>
                    <a:pt x="1177189" y="210451"/>
                  </a:lnTo>
                  <a:lnTo>
                    <a:pt x="1177189" y="209753"/>
                  </a:lnTo>
                  <a:lnTo>
                    <a:pt x="1177240" y="209753"/>
                  </a:lnTo>
                  <a:lnTo>
                    <a:pt x="1177240" y="208407"/>
                  </a:lnTo>
                  <a:lnTo>
                    <a:pt x="1177240" y="209753"/>
                  </a:lnTo>
                  <a:lnTo>
                    <a:pt x="1177240" y="208407"/>
                  </a:lnTo>
                  <a:lnTo>
                    <a:pt x="1177240" y="209753"/>
                  </a:lnTo>
                  <a:lnTo>
                    <a:pt x="1177240" y="207721"/>
                  </a:lnTo>
                  <a:lnTo>
                    <a:pt x="1177240" y="208407"/>
                  </a:lnTo>
                  <a:lnTo>
                    <a:pt x="1177240" y="207721"/>
                  </a:lnTo>
                  <a:lnTo>
                    <a:pt x="1177240" y="208407"/>
                  </a:lnTo>
                  <a:lnTo>
                    <a:pt x="1177290" y="207721"/>
                  </a:lnTo>
                  <a:lnTo>
                    <a:pt x="1177290" y="207022"/>
                  </a:lnTo>
                  <a:lnTo>
                    <a:pt x="1177290" y="207721"/>
                  </a:lnTo>
                  <a:lnTo>
                    <a:pt x="1177290" y="207022"/>
                  </a:lnTo>
                  <a:lnTo>
                    <a:pt x="1177341" y="207022"/>
                  </a:lnTo>
                  <a:lnTo>
                    <a:pt x="1177341" y="209753"/>
                  </a:lnTo>
                  <a:lnTo>
                    <a:pt x="1177341" y="208407"/>
                  </a:lnTo>
                  <a:lnTo>
                    <a:pt x="1177341" y="209753"/>
                  </a:lnTo>
                  <a:lnTo>
                    <a:pt x="1177341" y="208407"/>
                  </a:lnTo>
                  <a:lnTo>
                    <a:pt x="1177430" y="208407"/>
                  </a:lnTo>
                  <a:lnTo>
                    <a:pt x="1177430" y="211137"/>
                  </a:lnTo>
                  <a:lnTo>
                    <a:pt x="1177430" y="209753"/>
                  </a:lnTo>
                  <a:lnTo>
                    <a:pt x="1177430" y="210451"/>
                  </a:lnTo>
                  <a:lnTo>
                    <a:pt x="1177430" y="209753"/>
                  </a:lnTo>
                  <a:lnTo>
                    <a:pt x="1177481" y="210451"/>
                  </a:lnTo>
                  <a:lnTo>
                    <a:pt x="1177481" y="211785"/>
                  </a:lnTo>
                  <a:lnTo>
                    <a:pt x="1177481" y="210451"/>
                  </a:lnTo>
                  <a:lnTo>
                    <a:pt x="1177481" y="211137"/>
                  </a:lnTo>
                  <a:lnTo>
                    <a:pt x="1177532" y="211137"/>
                  </a:lnTo>
                  <a:lnTo>
                    <a:pt x="1177532" y="210451"/>
                  </a:lnTo>
                  <a:lnTo>
                    <a:pt x="1177532" y="211137"/>
                  </a:lnTo>
                  <a:lnTo>
                    <a:pt x="1177532" y="210451"/>
                  </a:lnTo>
                  <a:lnTo>
                    <a:pt x="1177532" y="211137"/>
                  </a:lnTo>
                  <a:lnTo>
                    <a:pt x="1177583" y="211137"/>
                  </a:lnTo>
                  <a:lnTo>
                    <a:pt x="1177583" y="210451"/>
                  </a:lnTo>
                  <a:lnTo>
                    <a:pt x="1177583" y="211137"/>
                  </a:lnTo>
                  <a:lnTo>
                    <a:pt x="1177583" y="210451"/>
                  </a:lnTo>
                  <a:lnTo>
                    <a:pt x="1177684" y="210451"/>
                  </a:lnTo>
                  <a:lnTo>
                    <a:pt x="1177684" y="208407"/>
                  </a:lnTo>
                  <a:lnTo>
                    <a:pt x="1177684" y="209753"/>
                  </a:lnTo>
                  <a:lnTo>
                    <a:pt x="1177684" y="208407"/>
                  </a:lnTo>
                  <a:lnTo>
                    <a:pt x="1177735" y="208407"/>
                  </a:lnTo>
                  <a:lnTo>
                    <a:pt x="1177735" y="207721"/>
                  </a:lnTo>
                  <a:lnTo>
                    <a:pt x="1177735" y="208407"/>
                  </a:lnTo>
                  <a:lnTo>
                    <a:pt x="1177735" y="207721"/>
                  </a:lnTo>
                  <a:lnTo>
                    <a:pt x="1177735" y="208407"/>
                  </a:lnTo>
                  <a:lnTo>
                    <a:pt x="1177735" y="207721"/>
                  </a:lnTo>
                  <a:lnTo>
                    <a:pt x="1177735" y="208407"/>
                  </a:lnTo>
                  <a:lnTo>
                    <a:pt x="1177735" y="207022"/>
                  </a:lnTo>
                  <a:lnTo>
                    <a:pt x="1177735" y="207721"/>
                  </a:lnTo>
                  <a:lnTo>
                    <a:pt x="1177735" y="207022"/>
                  </a:lnTo>
                  <a:lnTo>
                    <a:pt x="1177786" y="207022"/>
                  </a:lnTo>
                  <a:lnTo>
                    <a:pt x="1177786" y="204990"/>
                  </a:lnTo>
                  <a:lnTo>
                    <a:pt x="1177786" y="206324"/>
                  </a:lnTo>
                  <a:lnTo>
                    <a:pt x="1177786" y="204292"/>
                  </a:lnTo>
                  <a:lnTo>
                    <a:pt x="1177887" y="204292"/>
                  </a:lnTo>
                  <a:lnTo>
                    <a:pt x="1177887" y="207022"/>
                  </a:lnTo>
                  <a:lnTo>
                    <a:pt x="1177887" y="204292"/>
                  </a:lnTo>
                  <a:lnTo>
                    <a:pt x="1177925" y="204990"/>
                  </a:lnTo>
                  <a:lnTo>
                    <a:pt x="1177925" y="207721"/>
                  </a:lnTo>
                  <a:lnTo>
                    <a:pt x="1177925" y="206324"/>
                  </a:lnTo>
                  <a:lnTo>
                    <a:pt x="1177925" y="207022"/>
                  </a:lnTo>
                  <a:lnTo>
                    <a:pt x="1177976" y="207721"/>
                  </a:lnTo>
                  <a:lnTo>
                    <a:pt x="1177976" y="207022"/>
                  </a:lnTo>
                  <a:lnTo>
                    <a:pt x="1177976" y="208407"/>
                  </a:lnTo>
                  <a:lnTo>
                    <a:pt x="1178027" y="207721"/>
                  </a:lnTo>
                  <a:lnTo>
                    <a:pt x="1178027" y="208407"/>
                  </a:lnTo>
                  <a:lnTo>
                    <a:pt x="1178027" y="207721"/>
                  </a:lnTo>
                  <a:lnTo>
                    <a:pt x="1178027" y="208407"/>
                  </a:lnTo>
                  <a:lnTo>
                    <a:pt x="1178027" y="207721"/>
                  </a:lnTo>
                  <a:lnTo>
                    <a:pt x="1178027" y="209753"/>
                  </a:lnTo>
                  <a:lnTo>
                    <a:pt x="1178129" y="209753"/>
                  </a:lnTo>
                  <a:lnTo>
                    <a:pt x="1178129" y="208407"/>
                  </a:lnTo>
                  <a:lnTo>
                    <a:pt x="1178129" y="209753"/>
                  </a:lnTo>
                  <a:lnTo>
                    <a:pt x="1178129" y="208407"/>
                  </a:lnTo>
                  <a:lnTo>
                    <a:pt x="1178129" y="209753"/>
                  </a:lnTo>
                  <a:lnTo>
                    <a:pt x="1178129" y="208407"/>
                  </a:lnTo>
                  <a:lnTo>
                    <a:pt x="1178180" y="208407"/>
                  </a:lnTo>
                  <a:lnTo>
                    <a:pt x="1178180" y="207721"/>
                  </a:lnTo>
                  <a:lnTo>
                    <a:pt x="1178230" y="207721"/>
                  </a:lnTo>
                  <a:lnTo>
                    <a:pt x="1178230" y="206324"/>
                  </a:lnTo>
                  <a:lnTo>
                    <a:pt x="1178230" y="207022"/>
                  </a:lnTo>
                  <a:lnTo>
                    <a:pt x="1178230" y="206324"/>
                  </a:lnTo>
                  <a:lnTo>
                    <a:pt x="1178332" y="206324"/>
                  </a:lnTo>
                  <a:lnTo>
                    <a:pt x="1178332" y="204292"/>
                  </a:lnTo>
                  <a:lnTo>
                    <a:pt x="1178332" y="204990"/>
                  </a:lnTo>
                  <a:lnTo>
                    <a:pt x="1178332" y="203594"/>
                  </a:lnTo>
                  <a:lnTo>
                    <a:pt x="1178332" y="204292"/>
                  </a:lnTo>
                  <a:lnTo>
                    <a:pt x="1178383" y="204292"/>
                  </a:lnTo>
                  <a:lnTo>
                    <a:pt x="1178383" y="204990"/>
                  </a:lnTo>
                  <a:lnTo>
                    <a:pt x="1178383" y="202959"/>
                  </a:lnTo>
                  <a:lnTo>
                    <a:pt x="1178383" y="207022"/>
                  </a:lnTo>
                  <a:lnTo>
                    <a:pt x="1178434" y="207022"/>
                  </a:lnTo>
                  <a:lnTo>
                    <a:pt x="1178434" y="203594"/>
                  </a:lnTo>
                  <a:lnTo>
                    <a:pt x="1178434" y="204990"/>
                  </a:lnTo>
                  <a:lnTo>
                    <a:pt x="1178472" y="204990"/>
                  </a:lnTo>
                  <a:lnTo>
                    <a:pt x="1178472" y="204292"/>
                  </a:lnTo>
                  <a:lnTo>
                    <a:pt x="1178472" y="204990"/>
                  </a:lnTo>
                  <a:lnTo>
                    <a:pt x="1178472" y="204292"/>
                  </a:lnTo>
                  <a:lnTo>
                    <a:pt x="1178472" y="206324"/>
                  </a:lnTo>
                  <a:lnTo>
                    <a:pt x="1178472" y="204990"/>
                  </a:lnTo>
                  <a:lnTo>
                    <a:pt x="1178573" y="204990"/>
                  </a:lnTo>
                  <a:lnTo>
                    <a:pt x="1178573" y="207022"/>
                  </a:lnTo>
                  <a:lnTo>
                    <a:pt x="1178573" y="206324"/>
                  </a:lnTo>
                  <a:lnTo>
                    <a:pt x="1178573" y="207022"/>
                  </a:lnTo>
                  <a:lnTo>
                    <a:pt x="1178624" y="206324"/>
                  </a:lnTo>
                  <a:lnTo>
                    <a:pt x="1178624" y="207022"/>
                  </a:lnTo>
                  <a:lnTo>
                    <a:pt x="1178624" y="206324"/>
                  </a:lnTo>
                  <a:lnTo>
                    <a:pt x="1178624" y="207022"/>
                  </a:lnTo>
                  <a:lnTo>
                    <a:pt x="1178624" y="206324"/>
                  </a:lnTo>
                  <a:lnTo>
                    <a:pt x="1178624" y="207022"/>
                  </a:lnTo>
                  <a:lnTo>
                    <a:pt x="1178675" y="207022"/>
                  </a:lnTo>
                  <a:lnTo>
                    <a:pt x="1178675" y="206324"/>
                  </a:lnTo>
                  <a:lnTo>
                    <a:pt x="1178675" y="207022"/>
                  </a:lnTo>
                  <a:lnTo>
                    <a:pt x="1178675" y="206324"/>
                  </a:lnTo>
                  <a:lnTo>
                    <a:pt x="1178675" y="207022"/>
                  </a:lnTo>
                  <a:lnTo>
                    <a:pt x="1178675" y="206324"/>
                  </a:lnTo>
                  <a:lnTo>
                    <a:pt x="1178776" y="206324"/>
                  </a:lnTo>
                  <a:lnTo>
                    <a:pt x="1178776" y="204990"/>
                  </a:lnTo>
                  <a:lnTo>
                    <a:pt x="1178776" y="206324"/>
                  </a:lnTo>
                  <a:lnTo>
                    <a:pt x="1178776" y="204990"/>
                  </a:lnTo>
                  <a:lnTo>
                    <a:pt x="1178776" y="206324"/>
                  </a:lnTo>
                  <a:lnTo>
                    <a:pt x="1178776" y="204292"/>
                  </a:lnTo>
                  <a:lnTo>
                    <a:pt x="1178827" y="204292"/>
                  </a:lnTo>
                  <a:lnTo>
                    <a:pt x="1178827" y="203594"/>
                  </a:lnTo>
                  <a:lnTo>
                    <a:pt x="1178827" y="204292"/>
                  </a:lnTo>
                  <a:lnTo>
                    <a:pt x="1178827" y="203594"/>
                  </a:lnTo>
                  <a:lnTo>
                    <a:pt x="1178827" y="204990"/>
                  </a:lnTo>
                  <a:lnTo>
                    <a:pt x="1178878" y="204990"/>
                  </a:lnTo>
                  <a:lnTo>
                    <a:pt x="1178878" y="203594"/>
                  </a:lnTo>
                  <a:lnTo>
                    <a:pt x="1178878" y="207022"/>
                  </a:lnTo>
                  <a:lnTo>
                    <a:pt x="1178878" y="204990"/>
                  </a:lnTo>
                  <a:lnTo>
                    <a:pt x="1178929" y="204990"/>
                  </a:lnTo>
                  <a:lnTo>
                    <a:pt x="1178929" y="204292"/>
                  </a:lnTo>
                  <a:lnTo>
                    <a:pt x="1178929" y="204990"/>
                  </a:lnTo>
                  <a:lnTo>
                    <a:pt x="1178929" y="204292"/>
                  </a:lnTo>
                  <a:lnTo>
                    <a:pt x="1178929" y="204990"/>
                  </a:lnTo>
                  <a:lnTo>
                    <a:pt x="1178929" y="204292"/>
                  </a:lnTo>
                  <a:lnTo>
                    <a:pt x="1178929" y="206324"/>
                  </a:lnTo>
                  <a:lnTo>
                    <a:pt x="1178929" y="204990"/>
                  </a:lnTo>
                  <a:lnTo>
                    <a:pt x="1179018" y="204990"/>
                  </a:lnTo>
                  <a:lnTo>
                    <a:pt x="1179018" y="206324"/>
                  </a:lnTo>
                  <a:lnTo>
                    <a:pt x="1179018" y="204990"/>
                  </a:lnTo>
                  <a:lnTo>
                    <a:pt x="1179018" y="206324"/>
                  </a:lnTo>
                  <a:lnTo>
                    <a:pt x="1179069" y="206324"/>
                  </a:lnTo>
                  <a:lnTo>
                    <a:pt x="1179069" y="204990"/>
                  </a:lnTo>
                  <a:lnTo>
                    <a:pt x="1179069" y="206324"/>
                  </a:lnTo>
                  <a:lnTo>
                    <a:pt x="1179069" y="204990"/>
                  </a:lnTo>
                  <a:lnTo>
                    <a:pt x="1179069" y="206324"/>
                  </a:lnTo>
                  <a:lnTo>
                    <a:pt x="1179119" y="206324"/>
                  </a:lnTo>
                  <a:lnTo>
                    <a:pt x="1179119" y="207022"/>
                  </a:lnTo>
                  <a:lnTo>
                    <a:pt x="1179119" y="204990"/>
                  </a:lnTo>
                  <a:lnTo>
                    <a:pt x="1179119" y="206324"/>
                  </a:lnTo>
                  <a:lnTo>
                    <a:pt x="1179170" y="206324"/>
                  </a:lnTo>
                  <a:lnTo>
                    <a:pt x="1179170" y="204990"/>
                  </a:lnTo>
                  <a:lnTo>
                    <a:pt x="1179272" y="204990"/>
                  </a:lnTo>
                  <a:lnTo>
                    <a:pt x="1179272" y="203594"/>
                  </a:lnTo>
                  <a:lnTo>
                    <a:pt x="1179322" y="203594"/>
                  </a:lnTo>
                  <a:lnTo>
                    <a:pt x="1179322" y="206324"/>
                  </a:lnTo>
                  <a:lnTo>
                    <a:pt x="1179322" y="204292"/>
                  </a:lnTo>
                  <a:lnTo>
                    <a:pt x="1179373" y="204990"/>
                  </a:lnTo>
                  <a:lnTo>
                    <a:pt x="1179373" y="207022"/>
                  </a:lnTo>
                  <a:lnTo>
                    <a:pt x="1179373" y="204990"/>
                  </a:lnTo>
                  <a:lnTo>
                    <a:pt x="1179475" y="206324"/>
                  </a:lnTo>
                  <a:lnTo>
                    <a:pt x="1179475" y="207022"/>
                  </a:lnTo>
                  <a:lnTo>
                    <a:pt x="1179475" y="204990"/>
                  </a:lnTo>
                  <a:lnTo>
                    <a:pt x="1179513" y="204990"/>
                  </a:lnTo>
                  <a:lnTo>
                    <a:pt x="1179513" y="206324"/>
                  </a:lnTo>
                  <a:lnTo>
                    <a:pt x="1179513" y="204990"/>
                  </a:lnTo>
                  <a:lnTo>
                    <a:pt x="1179513" y="206324"/>
                  </a:lnTo>
                  <a:lnTo>
                    <a:pt x="1179564" y="206324"/>
                  </a:lnTo>
                  <a:lnTo>
                    <a:pt x="1179564" y="204990"/>
                  </a:lnTo>
                  <a:lnTo>
                    <a:pt x="1179564" y="206324"/>
                  </a:lnTo>
                  <a:lnTo>
                    <a:pt x="1179615" y="204990"/>
                  </a:lnTo>
                  <a:lnTo>
                    <a:pt x="1179615" y="204292"/>
                  </a:lnTo>
                  <a:lnTo>
                    <a:pt x="1179716" y="204292"/>
                  </a:lnTo>
                  <a:lnTo>
                    <a:pt x="1179716" y="204990"/>
                  </a:lnTo>
                  <a:lnTo>
                    <a:pt x="1179716" y="203594"/>
                  </a:lnTo>
                  <a:lnTo>
                    <a:pt x="1179716" y="204292"/>
                  </a:lnTo>
                  <a:lnTo>
                    <a:pt x="1179716" y="203594"/>
                  </a:lnTo>
                  <a:lnTo>
                    <a:pt x="1179716" y="204292"/>
                  </a:lnTo>
                  <a:lnTo>
                    <a:pt x="1179767" y="203594"/>
                  </a:lnTo>
                  <a:lnTo>
                    <a:pt x="1179767" y="202260"/>
                  </a:lnTo>
                  <a:lnTo>
                    <a:pt x="1179818" y="202260"/>
                  </a:lnTo>
                  <a:lnTo>
                    <a:pt x="1179818" y="203594"/>
                  </a:lnTo>
                  <a:lnTo>
                    <a:pt x="1179818" y="202959"/>
                  </a:lnTo>
                  <a:lnTo>
                    <a:pt x="1179818" y="204292"/>
                  </a:lnTo>
                  <a:lnTo>
                    <a:pt x="1179919" y="204292"/>
                  </a:lnTo>
                  <a:lnTo>
                    <a:pt x="1179919" y="203594"/>
                  </a:lnTo>
                  <a:lnTo>
                    <a:pt x="1179919" y="204292"/>
                  </a:lnTo>
                  <a:lnTo>
                    <a:pt x="1179970" y="204292"/>
                  </a:lnTo>
                  <a:lnTo>
                    <a:pt x="1179970" y="204990"/>
                  </a:lnTo>
                  <a:lnTo>
                    <a:pt x="1180021" y="204990"/>
                  </a:lnTo>
                  <a:lnTo>
                    <a:pt x="1180021" y="206324"/>
                  </a:lnTo>
                  <a:lnTo>
                    <a:pt x="1180021" y="204990"/>
                  </a:lnTo>
                  <a:lnTo>
                    <a:pt x="1180021" y="206324"/>
                  </a:lnTo>
                  <a:lnTo>
                    <a:pt x="1180021" y="204990"/>
                  </a:lnTo>
                  <a:lnTo>
                    <a:pt x="1180021" y="206324"/>
                  </a:lnTo>
                  <a:lnTo>
                    <a:pt x="1180059" y="206324"/>
                  </a:lnTo>
                  <a:lnTo>
                    <a:pt x="1180059" y="204990"/>
                  </a:lnTo>
                  <a:lnTo>
                    <a:pt x="1180059" y="206324"/>
                  </a:lnTo>
                  <a:lnTo>
                    <a:pt x="1180059" y="204990"/>
                  </a:lnTo>
                  <a:lnTo>
                    <a:pt x="1180059" y="206324"/>
                  </a:lnTo>
                  <a:lnTo>
                    <a:pt x="1180059" y="204990"/>
                  </a:lnTo>
                  <a:lnTo>
                    <a:pt x="1180059" y="206324"/>
                  </a:lnTo>
                  <a:lnTo>
                    <a:pt x="1180161" y="206324"/>
                  </a:lnTo>
                  <a:lnTo>
                    <a:pt x="1180161" y="204292"/>
                  </a:lnTo>
                  <a:lnTo>
                    <a:pt x="1180212" y="204292"/>
                  </a:lnTo>
                  <a:lnTo>
                    <a:pt x="1180212" y="203594"/>
                  </a:lnTo>
                  <a:lnTo>
                    <a:pt x="1180212" y="204292"/>
                  </a:lnTo>
                  <a:lnTo>
                    <a:pt x="1180212" y="203594"/>
                  </a:lnTo>
                  <a:lnTo>
                    <a:pt x="1180262" y="202959"/>
                  </a:lnTo>
                  <a:lnTo>
                    <a:pt x="1180262" y="203594"/>
                  </a:lnTo>
                  <a:lnTo>
                    <a:pt x="1180262" y="202260"/>
                  </a:lnTo>
                  <a:lnTo>
                    <a:pt x="1180262" y="202959"/>
                  </a:lnTo>
                  <a:lnTo>
                    <a:pt x="1180364" y="202959"/>
                  </a:lnTo>
                  <a:lnTo>
                    <a:pt x="1180364" y="203594"/>
                  </a:lnTo>
                  <a:lnTo>
                    <a:pt x="1180364" y="200876"/>
                  </a:lnTo>
                  <a:lnTo>
                    <a:pt x="1180364" y="204990"/>
                  </a:lnTo>
                  <a:lnTo>
                    <a:pt x="1180415" y="204990"/>
                  </a:lnTo>
                  <a:lnTo>
                    <a:pt x="1180415" y="202959"/>
                  </a:lnTo>
                  <a:lnTo>
                    <a:pt x="1180415" y="204292"/>
                  </a:lnTo>
                  <a:lnTo>
                    <a:pt x="1180465" y="204990"/>
                  </a:lnTo>
                  <a:lnTo>
                    <a:pt x="1180465" y="203594"/>
                  </a:lnTo>
                  <a:lnTo>
                    <a:pt x="1180465" y="204990"/>
                  </a:lnTo>
                  <a:lnTo>
                    <a:pt x="1180516" y="204990"/>
                  </a:lnTo>
                  <a:lnTo>
                    <a:pt x="1180516" y="204292"/>
                  </a:lnTo>
                  <a:lnTo>
                    <a:pt x="1180516" y="204990"/>
                  </a:lnTo>
                  <a:lnTo>
                    <a:pt x="1180516" y="204292"/>
                  </a:lnTo>
                  <a:lnTo>
                    <a:pt x="1180516" y="204990"/>
                  </a:lnTo>
                  <a:lnTo>
                    <a:pt x="1180605" y="204990"/>
                  </a:lnTo>
                  <a:lnTo>
                    <a:pt x="1180605" y="206324"/>
                  </a:lnTo>
                  <a:lnTo>
                    <a:pt x="1180605" y="204990"/>
                  </a:lnTo>
                  <a:lnTo>
                    <a:pt x="1180605" y="206324"/>
                  </a:lnTo>
                  <a:lnTo>
                    <a:pt x="1180605" y="204990"/>
                  </a:lnTo>
                  <a:lnTo>
                    <a:pt x="1180605" y="206324"/>
                  </a:lnTo>
                  <a:lnTo>
                    <a:pt x="1180605" y="204990"/>
                  </a:lnTo>
                  <a:lnTo>
                    <a:pt x="1180656" y="204990"/>
                  </a:lnTo>
                  <a:lnTo>
                    <a:pt x="1180656" y="204292"/>
                  </a:lnTo>
                  <a:lnTo>
                    <a:pt x="1180656" y="204990"/>
                  </a:lnTo>
                  <a:lnTo>
                    <a:pt x="1180656" y="204292"/>
                  </a:lnTo>
                  <a:lnTo>
                    <a:pt x="1180707" y="204292"/>
                  </a:lnTo>
                  <a:lnTo>
                    <a:pt x="1180707" y="203594"/>
                  </a:lnTo>
                  <a:lnTo>
                    <a:pt x="1180758" y="203594"/>
                  </a:lnTo>
                  <a:lnTo>
                    <a:pt x="1180758" y="200228"/>
                  </a:lnTo>
                  <a:lnTo>
                    <a:pt x="1180758" y="202260"/>
                  </a:lnTo>
                  <a:lnTo>
                    <a:pt x="1180859" y="202260"/>
                  </a:lnTo>
                  <a:lnTo>
                    <a:pt x="1180859" y="202959"/>
                  </a:lnTo>
                  <a:lnTo>
                    <a:pt x="1180859" y="200876"/>
                  </a:lnTo>
                  <a:lnTo>
                    <a:pt x="1180859" y="203594"/>
                  </a:lnTo>
                  <a:lnTo>
                    <a:pt x="1180910" y="203594"/>
                  </a:lnTo>
                  <a:lnTo>
                    <a:pt x="1180910" y="202959"/>
                  </a:lnTo>
                  <a:lnTo>
                    <a:pt x="1180910" y="203594"/>
                  </a:lnTo>
                  <a:lnTo>
                    <a:pt x="1180910" y="202260"/>
                  </a:lnTo>
                  <a:lnTo>
                    <a:pt x="1180910" y="203594"/>
                  </a:lnTo>
                  <a:lnTo>
                    <a:pt x="1180910" y="202959"/>
                  </a:lnTo>
                  <a:lnTo>
                    <a:pt x="1180910" y="203594"/>
                  </a:lnTo>
                  <a:lnTo>
                    <a:pt x="1180961" y="203594"/>
                  </a:lnTo>
                  <a:lnTo>
                    <a:pt x="1180961" y="202959"/>
                  </a:lnTo>
                  <a:lnTo>
                    <a:pt x="1180961" y="203594"/>
                  </a:lnTo>
                  <a:lnTo>
                    <a:pt x="1180961" y="202959"/>
                  </a:lnTo>
                  <a:lnTo>
                    <a:pt x="1180961" y="204292"/>
                  </a:lnTo>
                  <a:lnTo>
                    <a:pt x="1181062" y="204292"/>
                  </a:lnTo>
                  <a:lnTo>
                    <a:pt x="1181062" y="203594"/>
                  </a:lnTo>
                  <a:lnTo>
                    <a:pt x="1181062" y="204990"/>
                  </a:lnTo>
                  <a:lnTo>
                    <a:pt x="1181062" y="204292"/>
                  </a:lnTo>
                  <a:lnTo>
                    <a:pt x="1181100" y="204292"/>
                  </a:lnTo>
                  <a:lnTo>
                    <a:pt x="1181100" y="206324"/>
                  </a:lnTo>
                  <a:lnTo>
                    <a:pt x="1181100" y="204990"/>
                  </a:lnTo>
                  <a:lnTo>
                    <a:pt x="1181151" y="204292"/>
                  </a:lnTo>
                  <a:lnTo>
                    <a:pt x="1181151" y="204990"/>
                  </a:lnTo>
                  <a:lnTo>
                    <a:pt x="1181151" y="204292"/>
                  </a:lnTo>
                  <a:lnTo>
                    <a:pt x="1181151" y="204990"/>
                  </a:lnTo>
                  <a:lnTo>
                    <a:pt x="1181151" y="204292"/>
                  </a:lnTo>
                  <a:lnTo>
                    <a:pt x="1181202" y="204292"/>
                  </a:lnTo>
                  <a:lnTo>
                    <a:pt x="1181202" y="203594"/>
                  </a:lnTo>
                  <a:lnTo>
                    <a:pt x="1181202" y="204292"/>
                  </a:lnTo>
                  <a:lnTo>
                    <a:pt x="1181202" y="203594"/>
                  </a:lnTo>
                  <a:lnTo>
                    <a:pt x="1181202" y="204292"/>
                  </a:lnTo>
                  <a:lnTo>
                    <a:pt x="1181202" y="203594"/>
                  </a:lnTo>
                  <a:lnTo>
                    <a:pt x="1181304" y="203594"/>
                  </a:lnTo>
                  <a:lnTo>
                    <a:pt x="1181304" y="202260"/>
                  </a:lnTo>
                  <a:lnTo>
                    <a:pt x="1181304" y="202959"/>
                  </a:lnTo>
                  <a:lnTo>
                    <a:pt x="1181304" y="200876"/>
                  </a:lnTo>
                  <a:lnTo>
                    <a:pt x="1181304" y="203594"/>
                  </a:lnTo>
                  <a:lnTo>
                    <a:pt x="1181304" y="202959"/>
                  </a:lnTo>
                  <a:lnTo>
                    <a:pt x="1181355" y="202959"/>
                  </a:lnTo>
                  <a:lnTo>
                    <a:pt x="1181355" y="200228"/>
                  </a:lnTo>
                  <a:lnTo>
                    <a:pt x="1181355" y="203594"/>
                  </a:lnTo>
                  <a:lnTo>
                    <a:pt x="1181355" y="202959"/>
                  </a:lnTo>
                  <a:lnTo>
                    <a:pt x="1181405" y="202959"/>
                  </a:lnTo>
                  <a:lnTo>
                    <a:pt x="1181405" y="200876"/>
                  </a:lnTo>
                  <a:lnTo>
                    <a:pt x="1181405" y="202959"/>
                  </a:lnTo>
                  <a:lnTo>
                    <a:pt x="1181507" y="202959"/>
                  </a:lnTo>
                  <a:lnTo>
                    <a:pt x="1181507" y="202260"/>
                  </a:lnTo>
                  <a:lnTo>
                    <a:pt x="1181507" y="203594"/>
                  </a:lnTo>
                  <a:lnTo>
                    <a:pt x="1181507" y="202959"/>
                  </a:lnTo>
                  <a:lnTo>
                    <a:pt x="1181558" y="202959"/>
                  </a:lnTo>
                  <a:lnTo>
                    <a:pt x="1181558" y="203594"/>
                  </a:lnTo>
                  <a:lnTo>
                    <a:pt x="1181609" y="203594"/>
                  </a:lnTo>
                  <a:lnTo>
                    <a:pt x="1181609" y="202959"/>
                  </a:lnTo>
                  <a:lnTo>
                    <a:pt x="1181609" y="204292"/>
                  </a:lnTo>
                  <a:lnTo>
                    <a:pt x="1181609" y="203594"/>
                  </a:lnTo>
                  <a:lnTo>
                    <a:pt x="1181647" y="203594"/>
                  </a:lnTo>
                  <a:lnTo>
                    <a:pt x="1181647" y="204292"/>
                  </a:lnTo>
                  <a:lnTo>
                    <a:pt x="1181647" y="203594"/>
                  </a:lnTo>
                  <a:lnTo>
                    <a:pt x="1181647" y="204292"/>
                  </a:lnTo>
                  <a:lnTo>
                    <a:pt x="1181647" y="203594"/>
                  </a:lnTo>
                  <a:lnTo>
                    <a:pt x="1181748" y="203594"/>
                  </a:lnTo>
                  <a:lnTo>
                    <a:pt x="1181748" y="202959"/>
                  </a:lnTo>
                  <a:lnTo>
                    <a:pt x="1181748" y="203594"/>
                  </a:lnTo>
                  <a:lnTo>
                    <a:pt x="1181748" y="202959"/>
                  </a:lnTo>
                  <a:lnTo>
                    <a:pt x="1181799" y="202959"/>
                  </a:lnTo>
                  <a:lnTo>
                    <a:pt x="1181799" y="202260"/>
                  </a:lnTo>
                  <a:lnTo>
                    <a:pt x="1181799" y="203594"/>
                  </a:lnTo>
                  <a:lnTo>
                    <a:pt x="1181799" y="202260"/>
                  </a:lnTo>
                  <a:lnTo>
                    <a:pt x="1181850" y="202260"/>
                  </a:lnTo>
                  <a:lnTo>
                    <a:pt x="1181850" y="206324"/>
                  </a:lnTo>
                  <a:lnTo>
                    <a:pt x="1181850" y="203594"/>
                  </a:lnTo>
                  <a:lnTo>
                    <a:pt x="1181951" y="203594"/>
                  </a:lnTo>
                  <a:lnTo>
                    <a:pt x="1181951" y="204990"/>
                  </a:lnTo>
                  <a:lnTo>
                    <a:pt x="1181951" y="203594"/>
                  </a:lnTo>
                  <a:lnTo>
                    <a:pt x="1181951" y="204292"/>
                  </a:lnTo>
                  <a:lnTo>
                    <a:pt x="1182002" y="204292"/>
                  </a:lnTo>
                  <a:lnTo>
                    <a:pt x="1182002" y="203594"/>
                  </a:lnTo>
                  <a:lnTo>
                    <a:pt x="1182002" y="204292"/>
                  </a:lnTo>
                  <a:lnTo>
                    <a:pt x="1182053" y="204292"/>
                  </a:lnTo>
                  <a:lnTo>
                    <a:pt x="1182053" y="203594"/>
                  </a:lnTo>
                  <a:lnTo>
                    <a:pt x="1182053" y="204292"/>
                  </a:lnTo>
                  <a:lnTo>
                    <a:pt x="1182053" y="203594"/>
                  </a:lnTo>
                  <a:lnTo>
                    <a:pt x="1182104" y="204292"/>
                  </a:lnTo>
                  <a:lnTo>
                    <a:pt x="1182193" y="204292"/>
                  </a:lnTo>
                  <a:lnTo>
                    <a:pt x="1182193" y="203594"/>
                  </a:lnTo>
                  <a:lnTo>
                    <a:pt x="1182193" y="204292"/>
                  </a:lnTo>
                  <a:lnTo>
                    <a:pt x="1182193" y="202959"/>
                  </a:lnTo>
                  <a:lnTo>
                    <a:pt x="1182244" y="202959"/>
                  </a:lnTo>
                  <a:lnTo>
                    <a:pt x="1182244" y="202260"/>
                  </a:lnTo>
                  <a:lnTo>
                    <a:pt x="1182244" y="202959"/>
                  </a:lnTo>
                  <a:lnTo>
                    <a:pt x="1182244" y="200876"/>
                  </a:lnTo>
                  <a:lnTo>
                    <a:pt x="1182294" y="200876"/>
                  </a:lnTo>
                  <a:lnTo>
                    <a:pt x="1182294" y="203594"/>
                  </a:lnTo>
                  <a:lnTo>
                    <a:pt x="1182294" y="200876"/>
                  </a:lnTo>
                  <a:lnTo>
                    <a:pt x="1182294" y="203594"/>
                  </a:lnTo>
                  <a:lnTo>
                    <a:pt x="1182345" y="203594"/>
                  </a:lnTo>
                  <a:lnTo>
                    <a:pt x="1182345" y="204292"/>
                  </a:lnTo>
                  <a:lnTo>
                    <a:pt x="1182345" y="202959"/>
                  </a:lnTo>
                  <a:lnTo>
                    <a:pt x="1182345" y="204292"/>
                  </a:lnTo>
                  <a:lnTo>
                    <a:pt x="1182447" y="204292"/>
                  </a:lnTo>
                  <a:lnTo>
                    <a:pt x="1182447" y="204990"/>
                  </a:lnTo>
                  <a:lnTo>
                    <a:pt x="1182447" y="203594"/>
                  </a:lnTo>
                  <a:lnTo>
                    <a:pt x="1182447" y="204292"/>
                  </a:lnTo>
                  <a:lnTo>
                    <a:pt x="1182497" y="204292"/>
                  </a:lnTo>
                  <a:lnTo>
                    <a:pt x="1182497" y="203594"/>
                  </a:lnTo>
                  <a:lnTo>
                    <a:pt x="1182497" y="204292"/>
                  </a:lnTo>
                  <a:lnTo>
                    <a:pt x="1182497" y="203594"/>
                  </a:lnTo>
                  <a:lnTo>
                    <a:pt x="1182548" y="204292"/>
                  </a:lnTo>
                  <a:lnTo>
                    <a:pt x="1182548" y="203594"/>
                  </a:lnTo>
                  <a:lnTo>
                    <a:pt x="1182548" y="204292"/>
                  </a:lnTo>
                  <a:lnTo>
                    <a:pt x="1182548" y="203594"/>
                  </a:lnTo>
                  <a:lnTo>
                    <a:pt x="1182650" y="204292"/>
                  </a:lnTo>
                  <a:lnTo>
                    <a:pt x="1182650" y="203594"/>
                  </a:lnTo>
                  <a:lnTo>
                    <a:pt x="1182650" y="204292"/>
                  </a:lnTo>
                  <a:lnTo>
                    <a:pt x="1182650" y="202959"/>
                  </a:lnTo>
                  <a:lnTo>
                    <a:pt x="1182650" y="203594"/>
                  </a:lnTo>
                  <a:lnTo>
                    <a:pt x="1182688" y="203594"/>
                  </a:lnTo>
                  <a:lnTo>
                    <a:pt x="1182688" y="202260"/>
                  </a:lnTo>
                  <a:lnTo>
                    <a:pt x="1182688" y="202959"/>
                  </a:lnTo>
                  <a:lnTo>
                    <a:pt x="1182688" y="202260"/>
                  </a:lnTo>
                  <a:lnTo>
                    <a:pt x="1182739" y="202260"/>
                  </a:lnTo>
                  <a:lnTo>
                    <a:pt x="1182739" y="200228"/>
                  </a:lnTo>
                  <a:lnTo>
                    <a:pt x="1182739" y="200876"/>
                  </a:lnTo>
                  <a:lnTo>
                    <a:pt x="1182739" y="200228"/>
                  </a:lnTo>
                  <a:lnTo>
                    <a:pt x="1182739" y="202260"/>
                  </a:lnTo>
                  <a:lnTo>
                    <a:pt x="1182790" y="202260"/>
                  </a:lnTo>
                  <a:lnTo>
                    <a:pt x="1182790" y="199530"/>
                  </a:lnTo>
                  <a:lnTo>
                    <a:pt x="1182790" y="203594"/>
                  </a:lnTo>
                  <a:lnTo>
                    <a:pt x="1182891" y="203594"/>
                  </a:lnTo>
                  <a:lnTo>
                    <a:pt x="1182891" y="202260"/>
                  </a:lnTo>
                  <a:lnTo>
                    <a:pt x="1182891" y="202959"/>
                  </a:lnTo>
                  <a:lnTo>
                    <a:pt x="1182891" y="202260"/>
                  </a:lnTo>
                  <a:lnTo>
                    <a:pt x="1182891" y="204292"/>
                  </a:lnTo>
                  <a:lnTo>
                    <a:pt x="1182891" y="203594"/>
                  </a:lnTo>
                  <a:lnTo>
                    <a:pt x="1182942" y="203594"/>
                  </a:lnTo>
                  <a:lnTo>
                    <a:pt x="1182942" y="202959"/>
                  </a:lnTo>
                  <a:lnTo>
                    <a:pt x="1182942" y="204292"/>
                  </a:lnTo>
                  <a:lnTo>
                    <a:pt x="1182942" y="203594"/>
                  </a:lnTo>
                  <a:lnTo>
                    <a:pt x="1182993" y="203594"/>
                  </a:lnTo>
                  <a:lnTo>
                    <a:pt x="1182993" y="204292"/>
                  </a:lnTo>
                  <a:lnTo>
                    <a:pt x="1182993" y="203594"/>
                  </a:lnTo>
                  <a:lnTo>
                    <a:pt x="1182993" y="204292"/>
                  </a:lnTo>
                  <a:lnTo>
                    <a:pt x="1183094" y="204292"/>
                  </a:lnTo>
                  <a:lnTo>
                    <a:pt x="1183094" y="203594"/>
                  </a:lnTo>
                  <a:lnTo>
                    <a:pt x="1183094" y="204292"/>
                  </a:lnTo>
                  <a:lnTo>
                    <a:pt x="1183094" y="203594"/>
                  </a:lnTo>
                  <a:lnTo>
                    <a:pt x="1183094" y="204292"/>
                  </a:lnTo>
                  <a:lnTo>
                    <a:pt x="1183145" y="204292"/>
                  </a:lnTo>
                  <a:lnTo>
                    <a:pt x="1183145" y="203594"/>
                  </a:lnTo>
                  <a:lnTo>
                    <a:pt x="1183145" y="204292"/>
                  </a:lnTo>
                  <a:lnTo>
                    <a:pt x="1183145" y="202959"/>
                  </a:lnTo>
                  <a:lnTo>
                    <a:pt x="1183196" y="202959"/>
                  </a:lnTo>
                  <a:lnTo>
                    <a:pt x="1183196" y="203594"/>
                  </a:lnTo>
                  <a:lnTo>
                    <a:pt x="1183196" y="200876"/>
                  </a:lnTo>
                  <a:lnTo>
                    <a:pt x="1183234" y="200876"/>
                  </a:lnTo>
                  <a:lnTo>
                    <a:pt x="1183234" y="200228"/>
                  </a:lnTo>
                  <a:lnTo>
                    <a:pt x="1183234" y="202260"/>
                  </a:lnTo>
                  <a:lnTo>
                    <a:pt x="1183234" y="200228"/>
                  </a:lnTo>
                  <a:lnTo>
                    <a:pt x="1183336" y="200228"/>
                  </a:lnTo>
                  <a:lnTo>
                    <a:pt x="1183336" y="203594"/>
                  </a:lnTo>
                  <a:lnTo>
                    <a:pt x="1183336" y="202260"/>
                  </a:lnTo>
                  <a:lnTo>
                    <a:pt x="1183387" y="202260"/>
                  </a:lnTo>
                  <a:lnTo>
                    <a:pt x="1183387" y="203594"/>
                  </a:lnTo>
                  <a:lnTo>
                    <a:pt x="1183387" y="202959"/>
                  </a:lnTo>
                  <a:lnTo>
                    <a:pt x="1183387" y="203594"/>
                  </a:lnTo>
                  <a:lnTo>
                    <a:pt x="1183387" y="202260"/>
                  </a:lnTo>
                  <a:lnTo>
                    <a:pt x="1183437" y="202260"/>
                  </a:lnTo>
                  <a:lnTo>
                    <a:pt x="1183437" y="203594"/>
                  </a:lnTo>
                  <a:lnTo>
                    <a:pt x="1183437" y="202959"/>
                  </a:lnTo>
                  <a:lnTo>
                    <a:pt x="1183437" y="203594"/>
                  </a:lnTo>
                  <a:lnTo>
                    <a:pt x="1183539" y="203594"/>
                  </a:lnTo>
                  <a:lnTo>
                    <a:pt x="1183539" y="204292"/>
                  </a:lnTo>
                  <a:lnTo>
                    <a:pt x="1183539" y="203594"/>
                  </a:lnTo>
                  <a:lnTo>
                    <a:pt x="1183539" y="204292"/>
                  </a:lnTo>
                  <a:lnTo>
                    <a:pt x="1183539" y="202959"/>
                  </a:lnTo>
                  <a:lnTo>
                    <a:pt x="1183539" y="203594"/>
                  </a:lnTo>
                  <a:lnTo>
                    <a:pt x="1183590" y="203594"/>
                  </a:lnTo>
                  <a:lnTo>
                    <a:pt x="1183590" y="204292"/>
                  </a:lnTo>
                  <a:lnTo>
                    <a:pt x="1183590" y="203594"/>
                  </a:lnTo>
                  <a:lnTo>
                    <a:pt x="1183640" y="203594"/>
                  </a:lnTo>
                  <a:lnTo>
                    <a:pt x="1183640" y="202959"/>
                  </a:lnTo>
                  <a:lnTo>
                    <a:pt x="1183640" y="203594"/>
                  </a:lnTo>
                  <a:lnTo>
                    <a:pt x="1183640" y="202959"/>
                  </a:lnTo>
                  <a:lnTo>
                    <a:pt x="1183691" y="202959"/>
                  </a:lnTo>
                  <a:lnTo>
                    <a:pt x="1183691" y="202260"/>
                  </a:lnTo>
                  <a:lnTo>
                    <a:pt x="1183691" y="202959"/>
                  </a:lnTo>
                  <a:lnTo>
                    <a:pt x="1183691" y="200876"/>
                  </a:lnTo>
                  <a:lnTo>
                    <a:pt x="1183691" y="202260"/>
                  </a:lnTo>
                  <a:lnTo>
                    <a:pt x="1183691" y="200228"/>
                  </a:lnTo>
                  <a:lnTo>
                    <a:pt x="1183780" y="200228"/>
                  </a:lnTo>
                  <a:lnTo>
                    <a:pt x="1183780" y="199530"/>
                  </a:lnTo>
                  <a:lnTo>
                    <a:pt x="1183780" y="202260"/>
                  </a:lnTo>
                  <a:lnTo>
                    <a:pt x="1183780" y="200228"/>
                  </a:lnTo>
                  <a:lnTo>
                    <a:pt x="1183831" y="199530"/>
                  </a:lnTo>
                  <a:lnTo>
                    <a:pt x="1183831" y="202959"/>
                  </a:lnTo>
                  <a:lnTo>
                    <a:pt x="1183831" y="202260"/>
                  </a:lnTo>
                  <a:lnTo>
                    <a:pt x="1183882" y="202260"/>
                  </a:lnTo>
                  <a:lnTo>
                    <a:pt x="1183882" y="202959"/>
                  </a:lnTo>
                  <a:lnTo>
                    <a:pt x="1183882" y="202260"/>
                  </a:lnTo>
                  <a:lnTo>
                    <a:pt x="1183882" y="202959"/>
                  </a:lnTo>
                  <a:lnTo>
                    <a:pt x="1183933" y="202260"/>
                  </a:lnTo>
                  <a:lnTo>
                    <a:pt x="1183933" y="202959"/>
                  </a:lnTo>
                  <a:lnTo>
                    <a:pt x="1183933" y="202260"/>
                  </a:lnTo>
                  <a:lnTo>
                    <a:pt x="1183933" y="202959"/>
                  </a:lnTo>
                  <a:lnTo>
                    <a:pt x="1183933" y="202260"/>
                  </a:lnTo>
                  <a:lnTo>
                    <a:pt x="1183933" y="202959"/>
                  </a:lnTo>
                  <a:lnTo>
                    <a:pt x="1184034" y="202959"/>
                  </a:lnTo>
                  <a:lnTo>
                    <a:pt x="1184034" y="203594"/>
                  </a:lnTo>
                  <a:lnTo>
                    <a:pt x="1184034" y="202959"/>
                  </a:lnTo>
                  <a:lnTo>
                    <a:pt x="1184034" y="203594"/>
                  </a:lnTo>
                  <a:lnTo>
                    <a:pt x="1184034" y="202959"/>
                  </a:lnTo>
                  <a:lnTo>
                    <a:pt x="1184034" y="203594"/>
                  </a:lnTo>
                  <a:lnTo>
                    <a:pt x="1184085" y="203594"/>
                  </a:lnTo>
                  <a:lnTo>
                    <a:pt x="1184085" y="204292"/>
                  </a:lnTo>
                  <a:lnTo>
                    <a:pt x="1184085" y="203594"/>
                  </a:lnTo>
                  <a:lnTo>
                    <a:pt x="1184085" y="204292"/>
                  </a:lnTo>
                  <a:lnTo>
                    <a:pt x="1184136" y="204292"/>
                  </a:lnTo>
                  <a:lnTo>
                    <a:pt x="1184136" y="202959"/>
                  </a:lnTo>
                  <a:lnTo>
                    <a:pt x="1184237" y="202959"/>
                  </a:lnTo>
                  <a:lnTo>
                    <a:pt x="1184237" y="200228"/>
                  </a:lnTo>
                  <a:lnTo>
                    <a:pt x="1184275" y="199530"/>
                  </a:lnTo>
                  <a:lnTo>
                    <a:pt x="1184275" y="200876"/>
                  </a:lnTo>
                  <a:lnTo>
                    <a:pt x="1184275" y="198831"/>
                  </a:lnTo>
                  <a:lnTo>
                    <a:pt x="1184326" y="198831"/>
                  </a:lnTo>
                  <a:lnTo>
                    <a:pt x="1184326" y="202959"/>
                  </a:lnTo>
                  <a:lnTo>
                    <a:pt x="1184326" y="200228"/>
                  </a:lnTo>
                  <a:lnTo>
                    <a:pt x="1184326" y="200876"/>
                  </a:lnTo>
                  <a:lnTo>
                    <a:pt x="1184377" y="200228"/>
                  </a:lnTo>
                  <a:lnTo>
                    <a:pt x="1184377" y="202959"/>
                  </a:lnTo>
                  <a:lnTo>
                    <a:pt x="1184377" y="200876"/>
                  </a:lnTo>
                  <a:lnTo>
                    <a:pt x="1184479" y="200876"/>
                  </a:lnTo>
                  <a:lnTo>
                    <a:pt x="1184479" y="202260"/>
                  </a:lnTo>
                  <a:lnTo>
                    <a:pt x="1184479" y="200876"/>
                  </a:lnTo>
                  <a:lnTo>
                    <a:pt x="1184479" y="202260"/>
                  </a:lnTo>
                  <a:lnTo>
                    <a:pt x="1184530" y="202260"/>
                  </a:lnTo>
                  <a:lnTo>
                    <a:pt x="1184530" y="202959"/>
                  </a:lnTo>
                  <a:lnTo>
                    <a:pt x="1184530" y="202260"/>
                  </a:lnTo>
                  <a:lnTo>
                    <a:pt x="1184530" y="203594"/>
                  </a:lnTo>
                  <a:lnTo>
                    <a:pt x="1184530" y="202959"/>
                  </a:lnTo>
                  <a:lnTo>
                    <a:pt x="1184580" y="202959"/>
                  </a:lnTo>
                  <a:lnTo>
                    <a:pt x="1184580" y="203594"/>
                  </a:lnTo>
                  <a:lnTo>
                    <a:pt x="1184580" y="202959"/>
                  </a:lnTo>
                  <a:lnTo>
                    <a:pt x="1184580" y="203594"/>
                  </a:lnTo>
                  <a:lnTo>
                    <a:pt x="1184580" y="202959"/>
                  </a:lnTo>
                  <a:lnTo>
                    <a:pt x="1184580" y="203594"/>
                  </a:lnTo>
                  <a:lnTo>
                    <a:pt x="1184580" y="202959"/>
                  </a:lnTo>
                  <a:lnTo>
                    <a:pt x="1184682" y="203594"/>
                  </a:lnTo>
                  <a:lnTo>
                    <a:pt x="1184682" y="202959"/>
                  </a:lnTo>
                  <a:lnTo>
                    <a:pt x="1184682" y="203594"/>
                  </a:lnTo>
                  <a:lnTo>
                    <a:pt x="1184682" y="202260"/>
                  </a:lnTo>
                  <a:lnTo>
                    <a:pt x="1184682" y="202959"/>
                  </a:lnTo>
                  <a:lnTo>
                    <a:pt x="1184682" y="202260"/>
                  </a:lnTo>
                  <a:lnTo>
                    <a:pt x="1184682" y="202959"/>
                  </a:lnTo>
                  <a:lnTo>
                    <a:pt x="1184733" y="202260"/>
                  </a:lnTo>
                  <a:lnTo>
                    <a:pt x="1184733" y="202959"/>
                  </a:lnTo>
                  <a:lnTo>
                    <a:pt x="1184733" y="200228"/>
                  </a:lnTo>
                  <a:lnTo>
                    <a:pt x="1184733" y="200876"/>
                  </a:lnTo>
                  <a:lnTo>
                    <a:pt x="1184784" y="202260"/>
                  </a:lnTo>
                  <a:lnTo>
                    <a:pt x="1184784" y="200228"/>
                  </a:lnTo>
                  <a:lnTo>
                    <a:pt x="1184784" y="203594"/>
                  </a:lnTo>
                  <a:lnTo>
                    <a:pt x="1184822" y="203594"/>
                  </a:lnTo>
                  <a:lnTo>
                    <a:pt x="1184822" y="200876"/>
                  </a:lnTo>
                  <a:lnTo>
                    <a:pt x="1184822" y="203594"/>
                  </a:lnTo>
                  <a:lnTo>
                    <a:pt x="1184923" y="204292"/>
                  </a:lnTo>
                  <a:lnTo>
                    <a:pt x="1184923" y="202260"/>
                  </a:lnTo>
                  <a:lnTo>
                    <a:pt x="1184923" y="203594"/>
                  </a:lnTo>
                  <a:lnTo>
                    <a:pt x="1184923" y="202959"/>
                  </a:lnTo>
                  <a:lnTo>
                    <a:pt x="1184974" y="202959"/>
                  </a:lnTo>
                  <a:lnTo>
                    <a:pt x="1184974" y="203594"/>
                  </a:lnTo>
                  <a:lnTo>
                    <a:pt x="1184974" y="202959"/>
                  </a:lnTo>
                  <a:lnTo>
                    <a:pt x="1184974" y="203594"/>
                  </a:lnTo>
                  <a:lnTo>
                    <a:pt x="1185025" y="203594"/>
                  </a:lnTo>
                  <a:lnTo>
                    <a:pt x="1185025" y="202959"/>
                  </a:lnTo>
                  <a:lnTo>
                    <a:pt x="1185025" y="203594"/>
                  </a:lnTo>
                  <a:lnTo>
                    <a:pt x="1185126" y="203594"/>
                  </a:lnTo>
                  <a:lnTo>
                    <a:pt x="1185126" y="202959"/>
                  </a:lnTo>
                  <a:lnTo>
                    <a:pt x="1185126" y="203594"/>
                  </a:lnTo>
                  <a:lnTo>
                    <a:pt x="1185177" y="203594"/>
                  </a:lnTo>
                  <a:lnTo>
                    <a:pt x="1185177" y="202959"/>
                  </a:lnTo>
                  <a:lnTo>
                    <a:pt x="1185177" y="203594"/>
                  </a:lnTo>
                  <a:lnTo>
                    <a:pt x="1185177" y="202260"/>
                  </a:lnTo>
                  <a:lnTo>
                    <a:pt x="1185177" y="202959"/>
                  </a:lnTo>
                  <a:lnTo>
                    <a:pt x="1185177" y="202260"/>
                  </a:lnTo>
                  <a:lnTo>
                    <a:pt x="1185177" y="202959"/>
                  </a:lnTo>
                  <a:lnTo>
                    <a:pt x="1185177" y="202260"/>
                  </a:lnTo>
                  <a:lnTo>
                    <a:pt x="1185228" y="202260"/>
                  </a:lnTo>
                  <a:lnTo>
                    <a:pt x="1185228" y="200228"/>
                  </a:lnTo>
                  <a:lnTo>
                    <a:pt x="1185228" y="200876"/>
                  </a:lnTo>
                  <a:lnTo>
                    <a:pt x="1185228" y="200228"/>
                  </a:lnTo>
                  <a:lnTo>
                    <a:pt x="1185228" y="200876"/>
                  </a:lnTo>
                  <a:lnTo>
                    <a:pt x="1185279" y="202260"/>
                  </a:lnTo>
                  <a:lnTo>
                    <a:pt x="1185279" y="200228"/>
                  </a:lnTo>
                  <a:lnTo>
                    <a:pt x="1185279" y="203594"/>
                  </a:lnTo>
                  <a:lnTo>
                    <a:pt x="1185368" y="203594"/>
                  </a:lnTo>
                  <a:lnTo>
                    <a:pt x="1185368" y="202260"/>
                  </a:lnTo>
                  <a:lnTo>
                    <a:pt x="1185368" y="204292"/>
                  </a:lnTo>
                  <a:lnTo>
                    <a:pt x="1185419" y="203594"/>
                  </a:lnTo>
                  <a:lnTo>
                    <a:pt x="1185419" y="202260"/>
                  </a:lnTo>
                  <a:lnTo>
                    <a:pt x="1185419" y="202959"/>
                  </a:lnTo>
                  <a:lnTo>
                    <a:pt x="1185419" y="202260"/>
                  </a:lnTo>
                  <a:lnTo>
                    <a:pt x="1185419" y="202959"/>
                  </a:lnTo>
                  <a:lnTo>
                    <a:pt x="1185419" y="202260"/>
                  </a:lnTo>
                  <a:lnTo>
                    <a:pt x="1185419" y="202959"/>
                  </a:lnTo>
                  <a:lnTo>
                    <a:pt x="1185469" y="203594"/>
                  </a:lnTo>
                  <a:lnTo>
                    <a:pt x="1185469" y="202959"/>
                  </a:lnTo>
                  <a:lnTo>
                    <a:pt x="1185469" y="203594"/>
                  </a:lnTo>
                  <a:lnTo>
                    <a:pt x="1185520" y="202959"/>
                  </a:lnTo>
                  <a:lnTo>
                    <a:pt x="1185520" y="203594"/>
                  </a:lnTo>
                  <a:lnTo>
                    <a:pt x="1185520" y="202959"/>
                  </a:lnTo>
                  <a:lnTo>
                    <a:pt x="1185520" y="203594"/>
                  </a:lnTo>
                  <a:lnTo>
                    <a:pt x="1185520" y="202959"/>
                  </a:lnTo>
                  <a:lnTo>
                    <a:pt x="1185520" y="203594"/>
                  </a:lnTo>
                  <a:lnTo>
                    <a:pt x="1185520" y="202959"/>
                  </a:lnTo>
                  <a:lnTo>
                    <a:pt x="1185520" y="203594"/>
                  </a:lnTo>
                  <a:lnTo>
                    <a:pt x="1185520" y="202959"/>
                  </a:lnTo>
                  <a:lnTo>
                    <a:pt x="1185520" y="203594"/>
                  </a:lnTo>
                  <a:lnTo>
                    <a:pt x="1185622" y="203594"/>
                  </a:lnTo>
                  <a:lnTo>
                    <a:pt x="1185622" y="202959"/>
                  </a:lnTo>
                  <a:lnTo>
                    <a:pt x="1185622" y="203594"/>
                  </a:lnTo>
                  <a:lnTo>
                    <a:pt x="1185622" y="202959"/>
                  </a:lnTo>
                  <a:lnTo>
                    <a:pt x="1185622" y="203594"/>
                  </a:lnTo>
                  <a:lnTo>
                    <a:pt x="1185622" y="202959"/>
                  </a:lnTo>
                  <a:lnTo>
                    <a:pt x="1185622" y="203594"/>
                  </a:lnTo>
                  <a:lnTo>
                    <a:pt x="1185622" y="202959"/>
                  </a:lnTo>
                  <a:lnTo>
                    <a:pt x="1185672" y="202959"/>
                  </a:lnTo>
                  <a:lnTo>
                    <a:pt x="1185672" y="200876"/>
                  </a:lnTo>
                  <a:lnTo>
                    <a:pt x="1185672" y="202260"/>
                  </a:lnTo>
                  <a:lnTo>
                    <a:pt x="1185672" y="200876"/>
                  </a:lnTo>
                  <a:lnTo>
                    <a:pt x="1185723" y="200876"/>
                  </a:lnTo>
                  <a:lnTo>
                    <a:pt x="1185723" y="199530"/>
                  </a:lnTo>
                  <a:lnTo>
                    <a:pt x="1185723" y="200228"/>
                  </a:lnTo>
                  <a:lnTo>
                    <a:pt x="1185723" y="199530"/>
                  </a:lnTo>
                  <a:lnTo>
                    <a:pt x="1185723" y="202260"/>
                  </a:lnTo>
                  <a:lnTo>
                    <a:pt x="1185825" y="202260"/>
                  </a:lnTo>
                  <a:lnTo>
                    <a:pt x="1185825" y="200228"/>
                  </a:lnTo>
                  <a:lnTo>
                    <a:pt x="1185825" y="203594"/>
                  </a:lnTo>
                  <a:lnTo>
                    <a:pt x="1185825" y="202959"/>
                  </a:lnTo>
                  <a:lnTo>
                    <a:pt x="1185825" y="203594"/>
                  </a:lnTo>
                  <a:lnTo>
                    <a:pt x="1185825" y="202959"/>
                  </a:lnTo>
                  <a:lnTo>
                    <a:pt x="1185863" y="203594"/>
                  </a:lnTo>
                  <a:lnTo>
                    <a:pt x="1185863" y="202260"/>
                  </a:lnTo>
                  <a:lnTo>
                    <a:pt x="1185863" y="203594"/>
                  </a:lnTo>
                  <a:lnTo>
                    <a:pt x="1185914" y="202959"/>
                  </a:lnTo>
                  <a:lnTo>
                    <a:pt x="1185914" y="202260"/>
                  </a:lnTo>
                  <a:lnTo>
                    <a:pt x="1185914" y="202959"/>
                  </a:lnTo>
                  <a:lnTo>
                    <a:pt x="1185965" y="202959"/>
                  </a:lnTo>
                  <a:lnTo>
                    <a:pt x="1185965" y="204292"/>
                  </a:lnTo>
                  <a:lnTo>
                    <a:pt x="1185965" y="203594"/>
                  </a:lnTo>
                  <a:lnTo>
                    <a:pt x="1185965" y="204292"/>
                  </a:lnTo>
                  <a:lnTo>
                    <a:pt x="1186066" y="204292"/>
                  </a:lnTo>
                  <a:lnTo>
                    <a:pt x="1186066" y="203594"/>
                  </a:lnTo>
                  <a:lnTo>
                    <a:pt x="1186066" y="204292"/>
                  </a:lnTo>
                  <a:lnTo>
                    <a:pt x="1186066" y="203594"/>
                  </a:lnTo>
                  <a:lnTo>
                    <a:pt x="1186117" y="203594"/>
                  </a:lnTo>
                  <a:lnTo>
                    <a:pt x="1186117" y="204292"/>
                  </a:lnTo>
                  <a:lnTo>
                    <a:pt x="1186117" y="202959"/>
                  </a:lnTo>
                  <a:lnTo>
                    <a:pt x="1186117" y="203594"/>
                  </a:lnTo>
                  <a:lnTo>
                    <a:pt x="1186168" y="203594"/>
                  </a:lnTo>
                  <a:lnTo>
                    <a:pt x="1186168" y="200228"/>
                  </a:lnTo>
                  <a:lnTo>
                    <a:pt x="1186168" y="200876"/>
                  </a:lnTo>
                  <a:lnTo>
                    <a:pt x="1186168" y="200228"/>
                  </a:lnTo>
                  <a:lnTo>
                    <a:pt x="1186269" y="200228"/>
                  </a:lnTo>
                  <a:lnTo>
                    <a:pt x="1186269" y="200876"/>
                  </a:lnTo>
                  <a:lnTo>
                    <a:pt x="1186320" y="200228"/>
                  </a:lnTo>
                  <a:lnTo>
                    <a:pt x="1186320" y="202959"/>
                  </a:lnTo>
                  <a:lnTo>
                    <a:pt x="1186320" y="202260"/>
                  </a:lnTo>
                  <a:lnTo>
                    <a:pt x="1186320" y="202959"/>
                  </a:lnTo>
                  <a:lnTo>
                    <a:pt x="1186320" y="202260"/>
                  </a:lnTo>
                  <a:lnTo>
                    <a:pt x="1186371" y="202260"/>
                  </a:lnTo>
                  <a:lnTo>
                    <a:pt x="1186371" y="200876"/>
                  </a:lnTo>
                  <a:lnTo>
                    <a:pt x="1186371" y="203594"/>
                  </a:lnTo>
                  <a:lnTo>
                    <a:pt x="1186371" y="202260"/>
                  </a:lnTo>
                  <a:lnTo>
                    <a:pt x="1186409" y="202260"/>
                  </a:lnTo>
                  <a:lnTo>
                    <a:pt x="1186409" y="202959"/>
                  </a:lnTo>
                  <a:lnTo>
                    <a:pt x="1186409" y="202260"/>
                  </a:lnTo>
                  <a:lnTo>
                    <a:pt x="1186409" y="202959"/>
                  </a:lnTo>
                  <a:lnTo>
                    <a:pt x="1186409" y="202260"/>
                  </a:lnTo>
                  <a:lnTo>
                    <a:pt x="1186409" y="202959"/>
                  </a:lnTo>
                  <a:lnTo>
                    <a:pt x="1186409" y="202260"/>
                  </a:lnTo>
                  <a:lnTo>
                    <a:pt x="1186409" y="202959"/>
                  </a:lnTo>
                  <a:lnTo>
                    <a:pt x="1186511" y="202959"/>
                  </a:lnTo>
                  <a:lnTo>
                    <a:pt x="1186511" y="203594"/>
                  </a:lnTo>
                  <a:lnTo>
                    <a:pt x="1186511" y="202959"/>
                  </a:lnTo>
                  <a:lnTo>
                    <a:pt x="1186511" y="203594"/>
                  </a:lnTo>
                  <a:lnTo>
                    <a:pt x="1186511" y="202959"/>
                  </a:lnTo>
                  <a:lnTo>
                    <a:pt x="1186511" y="203594"/>
                  </a:lnTo>
                  <a:lnTo>
                    <a:pt x="1186511" y="202959"/>
                  </a:lnTo>
                  <a:lnTo>
                    <a:pt x="1186511" y="203594"/>
                  </a:lnTo>
                  <a:lnTo>
                    <a:pt x="1186562" y="203594"/>
                  </a:lnTo>
                  <a:lnTo>
                    <a:pt x="1186562" y="204292"/>
                  </a:lnTo>
                  <a:lnTo>
                    <a:pt x="1186562" y="203594"/>
                  </a:lnTo>
                  <a:lnTo>
                    <a:pt x="1186562" y="204292"/>
                  </a:lnTo>
                  <a:lnTo>
                    <a:pt x="1186562" y="203594"/>
                  </a:lnTo>
                  <a:lnTo>
                    <a:pt x="1186562" y="204292"/>
                  </a:lnTo>
                  <a:lnTo>
                    <a:pt x="1186562" y="203594"/>
                  </a:lnTo>
                  <a:lnTo>
                    <a:pt x="1186612" y="203594"/>
                  </a:lnTo>
                  <a:lnTo>
                    <a:pt x="1186612" y="202959"/>
                  </a:lnTo>
                  <a:lnTo>
                    <a:pt x="1186612" y="203594"/>
                  </a:lnTo>
                  <a:lnTo>
                    <a:pt x="1186612" y="202959"/>
                  </a:lnTo>
                  <a:lnTo>
                    <a:pt x="1186612" y="203594"/>
                  </a:lnTo>
                  <a:lnTo>
                    <a:pt x="1186612" y="202260"/>
                  </a:lnTo>
                  <a:lnTo>
                    <a:pt x="1186612" y="202959"/>
                  </a:lnTo>
                  <a:lnTo>
                    <a:pt x="1186612" y="202260"/>
                  </a:lnTo>
                  <a:lnTo>
                    <a:pt x="1186612" y="202959"/>
                  </a:lnTo>
                  <a:lnTo>
                    <a:pt x="1186714" y="202959"/>
                  </a:lnTo>
                  <a:lnTo>
                    <a:pt x="1186714" y="200876"/>
                  </a:lnTo>
                  <a:lnTo>
                    <a:pt x="1186714" y="202260"/>
                  </a:lnTo>
                  <a:lnTo>
                    <a:pt x="1186714" y="200876"/>
                  </a:lnTo>
                  <a:lnTo>
                    <a:pt x="1186765" y="200228"/>
                  </a:lnTo>
                  <a:lnTo>
                    <a:pt x="1186765" y="200876"/>
                  </a:lnTo>
                  <a:lnTo>
                    <a:pt x="1186765" y="198831"/>
                  </a:lnTo>
                  <a:lnTo>
                    <a:pt x="1186765" y="202260"/>
                  </a:lnTo>
                  <a:lnTo>
                    <a:pt x="1186765" y="200228"/>
                  </a:lnTo>
                  <a:lnTo>
                    <a:pt x="1186815" y="200228"/>
                  </a:lnTo>
                  <a:lnTo>
                    <a:pt x="1186815" y="199530"/>
                  </a:lnTo>
                  <a:lnTo>
                    <a:pt x="1186815" y="202959"/>
                  </a:lnTo>
                  <a:lnTo>
                    <a:pt x="1186815" y="200876"/>
                  </a:lnTo>
                  <a:lnTo>
                    <a:pt x="1186815" y="202260"/>
                  </a:lnTo>
                  <a:lnTo>
                    <a:pt x="1186866" y="202260"/>
                  </a:lnTo>
                  <a:lnTo>
                    <a:pt x="1186866" y="200876"/>
                  </a:lnTo>
                  <a:lnTo>
                    <a:pt x="1186866" y="202260"/>
                  </a:lnTo>
                  <a:lnTo>
                    <a:pt x="1186866" y="200876"/>
                  </a:lnTo>
                  <a:lnTo>
                    <a:pt x="1186866" y="202959"/>
                  </a:lnTo>
                  <a:lnTo>
                    <a:pt x="1186866" y="202260"/>
                  </a:lnTo>
                  <a:lnTo>
                    <a:pt x="1186955" y="202260"/>
                  </a:lnTo>
                  <a:lnTo>
                    <a:pt x="1186955" y="200876"/>
                  </a:lnTo>
                  <a:lnTo>
                    <a:pt x="1186955" y="202959"/>
                  </a:lnTo>
                  <a:lnTo>
                    <a:pt x="1186955" y="202260"/>
                  </a:lnTo>
                  <a:lnTo>
                    <a:pt x="1186955" y="202959"/>
                  </a:lnTo>
                  <a:lnTo>
                    <a:pt x="1186955" y="202260"/>
                  </a:lnTo>
                  <a:lnTo>
                    <a:pt x="1186955" y="202959"/>
                  </a:lnTo>
                  <a:lnTo>
                    <a:pt x="1186955" y="202260"/>
                  </a:lnTo>
                  <a:lnTo>
                    <a:pt x="1186955" y="202959"/>
                  </a:lnTo>
                  <a:lnTo>
                    <a:pt x="1187006" y="202959"/>
                  </a:lnTo>
                  <a:lnTo>
                    <a:pt x="1187006" y="202260"/>
                  </a:lnTo>
                  <a:lnTo>
                    <a:pt x="1187006" y="203594"/>
                  </a:lnTo>
                  <a:lnTo>
                    <a:pt x="1187006" y="202959"/>
                  </a:lnTo>
                  <a:lnTo>
                    <a:pt x="1187057" y="203594"/>
                  </a:lnTo>
                  <a:lnTo>
                    <a:pt x="1187057" y="202959"/>
                  </a:lnTo>
                  <a:lnTo>
                    <a:pt x="1187057" y="204292"/>
                  </a:lnTo>
                  <a:lnTo>
                    <a:pt x="1187057" y="203594"/>
                  </a:lnTo>
                  <a:lnTo>
                    <a:pt x="1187108" y="203594"/>
                  </a:lnTo>
                  <a:lnTo>
                    <a:pt x="1187108" y="202959"/>
                  </a:lnTo>
                  <a:lnTo>
                    <a:pt x="1187108" y="203594"/>
                  </a:lnTo>
                  <a:lnTo>
                    <a:pt x="1187108" y="202260"/>
                  </a:lnTo>
                  <a:lnTo>
                    <a:pt x="1187209" y="202260"/>
                  </a:lnTo>
                  <a:lnTo>
                    <a:pt x="1187209" y="200876"/>
                  </a:lnTo>
                  <a:lnTo>
                    <a:pt x="1187209" y="202260"/>
                  </a:lnTo>
                  <a:lnTo>
                    <a:pt x="1187209" y="200228"/>
                  </a:lnTo>
                  <a:lnTo>
                    <a:pt x="1187260" y="199530"/>
                  </a:lnTo>
                  <a:lnTo>
                    <a:pt x="1187260" y="202260"/>
                  </a:lnTo>
                  <a:lnTo>
                    <a:pt x="1187260" y="199530"/>
                  </a:lnTo>
                  <a:lnTo>
                    <a:pt x="1187311" y="199530"/>
                  </a:lnTo>
                  <a:lnTo>
                    <a:pt x="1187311" y="202959"/>
                  </a:lnTo>
                  <a:lnTo>
                    <a:pt x="1187311" y="200228"/>
                  </a:lnTo>
                  <a:lnTo>
                    <a:pt x="1187412" y="200228"/>
                  </a:lnTo>
                  <a:lnTo>
                    <a:pt x="1187412" y="202260"/>
                  </a:lnTo>
                  <a:lnTo>
                    <a:pt x="1187412" y="200228"/>
                  </a:lnTo>
                  <a:lnTo>
                    <a:pt x="1187412" y="200876"/>
                  </a:lnTo>
                  <a:lnTo>
                    <a:pt x="1187450" y="200876"/>
                  </a:lnTo>
                  <a:lnTo>
                    <a:pt x="1187450" y="202260"/>
                  </a:lnTo>
                  <a:lnTo>
                    <a:pt x="1187450" y="200876"/>
                  </a:lnTo>
                  <a:lnTo>
                    <a:pt x="1187450" y="202260"/>
                  </a:lnTo>
                  <a:lnTo>
                    <a:pt x="1187501" y="202959"/>
                  </a:lnTo>
                  <a:lnTo>
                    <a:pt x="1187501" y="202260"/>
                  </a:lnTo>
                  <a:lnTo>
                    <a:pt x="1187501" y="202959"/>
                  </a:lnTo>
                  <a:lnTo>
                    <a:pt x="1187501" y="202260"/>
                  </a:lnTo>
                  <a:lnTo>
                    <a:pt x="1187501" y="202959"/>
                  </a:lnTo>
                  <a:lnTo>
                    <a:pt x="1187552" y="202959"/>
                  </a:lnTo>
                  <a:lnTo>
                    <a:pt x="1187552" y="202260"/>
                  </a:lnTo>
                  <a:lnTo>
                    <a:pt x="1187552" y="202959"/>
                  </a:lnTo>
                  <a:lnTo>
                    <a:pt x="1187552" y="202260"/>
                  </a:lnTo>
                  <a:lnTo>
                    <a:pt x="1187654" y="202260"/>
                  </a:lnTo>
                  <a:lnTo>
                    <a:pt x="1187654" y="202959"/>
                  </a:lnTo>
                  <a:lnTo>
                    <a:pt x="1187654" y="200876"/>
                  </a:lnTo>
                  <a:lnTo>
                    <a:pt x="1187654" y="202260"/>
                  </a:lnTo>
                  <a:lnTo>
                    <a:pt x="1187705" y="200876"/>
                  </a:lnTo>
                  <a:lnTo>
                    <a:pt x="1187705" y="202260"/>
                  </a:lnTo>
                  <a:lnTo>
                    <a:pt x="1187705" y="200876"/>
                  </a:lnTo>
                  <a:lnTo>
                    <a:pt x="1187705" y="202260"/>
                  </a:lnTo>
                  <a:lnTo>
                    <a:pt x="1187755" y="202260"/>
                  </a:lnTo>
                  <a:lnTo>
                    <a:pt x="1187755" y="202959"/>
                  </a:lnTo>
                  <a:lnTo>
                    <a:pt x="1187755" y="200228"/>
                  </a:lnTo>
                  <a:lnTo>
                    <a:pt x="1187755" y="202959"/>
                  </a:lnTo>
                  <a:lnTo>
                    <a:pt x="1187857" y="203594"/>
                  </a:lnTo>
                  <a:lnTo>
                    <a:pt x="1187857" y="202260"/>
                  </a:lnTo>
                  <a:lnTo>
                    <a:pt x="1187857" y="203594"/>
                  </a:lnTo>
                  <a:lnTo>
                    <a:pt x="1187908" y="203594"/>
                  </a:lnTo>
                  <a:lnTo>
                    <a:pt x="1187908" y="202959"/>
                  </a:lnTo>
                  <a:lnTo>
                    <a:pt x="1187959" y="202959"/>
                  </a:lnTo>
                  <a:lnTo>
                    <a:pt x="1187959" y="203594"/>
                  </a:lnTo>
                  <a:lnTo>
                    <a:pt x="1187959" y="202959"/>
                  </a:lnTo>
                  <a:lnTo>
                    <a:pt x="1187959" y="203594"/>
                  </a:lnTo>
                  <a:lnTo>
                    <a:pt x="1187959" y="202959"/>
                  </a:lnTo>
                  <a:lnTo>
                    <a:pt x="1187959" y="203594"/>
                  </a:lnTo>
                  <a:lnTo>
                    <a:pt x="1187997" y="203594"/>
                  </a:lnTo>
                  <a:lnTo>
                    <a:pt x="1187997" y="202959"/>
                  </a:lnTo>
                  <a:lnTo>
                    <a:pt x="1188098" y="203594"/>
                  </a:lnTo>
                  <a:lnTo>
                    <a:pt x="1188098" y="202959"/>
                  </a:lnTo>
                  <a:lnTo>
                    <a:pt x="1188098" y="203594"/>
                  </a:lnTo>
                  <a:lnTo>
                    <a:pt x="1188098" y="202959"/>
                  </a:lnTo>
                  <a:lnTo>
                    <a:pt x="1188098" y="203594"/>
                  </a:lnTo>
                  <a:lnTo>
                    <a:pt x="1188098" y="202959"/>
                  </a:lnTo>
                  <a:lnTo>
                    <a:pt x="1188149" y="202959"/>
                  </a:lnTo>
                  <a:lnTo>
                    <a:pt x="1188149" y="200876"/>
                  </a:lnTo>
                  <a:lnTo>
                    <a:pt x="1188149" y="202959"/>
                  </a:lnTo>
                  <a:lnTo>
                    <a:pt x="1188200" y="202959"/>
                  </a:lnTo>
                  <a:lnTo>
                    <a:pt x="1188200" y="200228"/>
                  </a:lnTo>
                  <a:lnTo>
                    <a:pt x="1188200" y="202959"/>
                  </a:lnTo>
                  <a:lnTo>
                    <a:pt x="1188301" y="202959"/>
                  </a:lnTo>
                  <a:lnTo>
                    <a:pt x="1188301" y="200228"/>
                  </a:lnTo>
                  <a:lnTo>
                    <a:pt x="1188301" y="200876"/>
                  </a:lnTo>
                  <a:lnTo>
                    <a:pt x="1188301" y="200228"/>
                  </a:lnTo>
                  <a:lnTo>
                    <a:pt x="1188301" y="203594"/>
                  </a:lnTo>
                  <a:lnTo>
                    <a:pt x="1188301" y="202959"/>
                  </a:lnTo>
                  <a:lnTo>
                    <a:pt x="1188352" y="202959"/>
                  </a:lnTo>
                  <a:lnTo>
                    <a:pt x="1188352" y="202260"/>
                  </a:lnTo>
                  <a:lnTo>
                    <a:pt x="1188352" y="203594"/>
                  </a:lnTo>
                  <a:lnTo>
                    <a:pt x="1188352" y="202959"/>
                  </a:lnTo>
                  <a:lnTo>
                    <a:pt x="1188403" y="202959"/>
                  </a:lnTo>
                  <a:lnTo>
                    <a:pt x="1188403" y="202260"/>
                  </a:lnTo>
                  <a:lnTo>
                    <a:pt x="1188403" y="202959"/>
                  </a:lnTo>
                  <a:lnTo>
                    <a:pt x="1188454" y="202959"/>
                  </a:lnTo>
                  <a:lnTo>
                    <a:pt x="1188454" y="203594"/>
                  </a:lnTo>
                  <a:lnTo>
                    <a:pt x="1188454" y="202959"/>
                  </a:lnTo>
                  <a:lnTo>
                    <a:pt x="1188454" y="203594"/>
                  </a:lnTo>
                  <a:lnTo>
                    <a:pt x="1188454" y="202959"/>
                  </a:lnTo>
                  <a:lnTo>
                    <a:pt x="1188543" y="202959"/>
                  </a:lnTo>
                  <a:lnTo>
                    <a:pt x="1188543" y="202260"/>
                  </a:lnTo>
                  <a:lnTo>
                    <a:pt x="1188594" y="202959"/>
                  </a:lnTo>
                  <a:lnTo>
                    <a:pt x="1188594" y="200876"/>
                  </a:lnTo>
                  <a:lnTo>
                    <a:pt x="1188594" y="202260"/>
                  </a:lnTo>
                  <a:lnTo>
                    <a:pt x="1188644" y="202260"/>
                  </a:lnTo>
                  <a:lnTo>
                    <a:pt x="1188644" y="199530"/>
                  </a:lnTo>
                  <a:lnTo>
                    <a:pt x="1188644" y="200876"/>
                  </a:lnTo>
                  <a:lnTo>
                    <a:pt x="1188644" y="199530"/>
                  </a:lnTo>
                  <a:lnTo>
                    <a:pt x="1188695" y="199530"/>
                  </a:lnTo>
                  <a:lnTo>
                    <a:pt x="1188695" y="202959"/>
                  </a:lnTo>
                  <a:lnTo>
                    <a:pt x="1188695" y="200228"/>
                  </a:lnTo>
                  <a:lnTo>
                    <a:pt x="1188797" y="200228"/>
                  </a:lnTo>
                  <a:lnTo>
                    <a:pt x="1188797" y="204292"/>
                  </a:lnTo>
                  <a:lnTo>
                    <a:pt x="1188797" y="202260"/>
                  </a:lnTo>
                  <a:lnTo>
                    <a:pt x="1188797" y="202959"/>
                  </a:lnTo>
                  <a:lnTo>
                    <a:pt x="1188847" y="202959"/>
                  </a:lnTo>
                  <a:lnTo>
                    <a:pt x="1188847" y="204292"/>
                  </a:lnTo>
                  <a:lnTo>
                    <a:pt x="1188847" y="202959"/>
                  </a:lnTo>
                  <a:lnTo>
                    <a:pt x="1188847" y="203594"/>
                  </a:lnTo>
                  <a:lnTo>
                    <a:pt x="1188847" y="202959"/>
                  </a:lnTo>
                  <a:lnTo>
                    <a:pt x="1188898" y="202959"/>
                  </a:lnTo>
                  <a:lnTo>
                    <a:pt x="1188898" y="204292"/>
                  </a:lnTo>
                  <a:lnTo>
                    <a:pt x="1188898" y="203594"/>
                  </a:lnTo>
                  <a:lnTo>
                    <a:pt x="1188898" y="204292"/>
                  </a:lnTo>
                  <a:lnTo>
                    <a:pt x="1189000" y="203594"/>
                  </a:lnTo>
                  <a:lnTo>
                    <a:pt x="1189000" y="204292"/>
                  </a:lnTo>
                  <a:lnTo>
                    <a:pt x="1189000" y="203594"/>
                  </a:lnTo>
                  <a:lnTo>
                    <a:pt x="1189000" y="204292"/>
                  </a:lnTo>
                  <a:lnTo>
                    <a:pt x="1189000" y="203594"/>
                  </a:lnTo>
                  <a:lnTo>
                    <a:pt x="1189000" y="204292"/>
                  </a:lnTo>
                  <a:lnTo>
                    <a:pt x="1189038" y="203594"/>
                  </a:lnTo>
                  <a:lnTo>
                    <a:pt x="1189038" y="204292"/>
                  </a:lnTo>
                  <a:lnTo>
                    <a:pt x="1189038" y="203594"/>
                  </a:lnTo>
                  <a:lnTo>
                    <a:pt x="1189089" y="203594"/>
                  </a:lnTo>
                  <a:lnTo>
                    <a:pt x="1189089" y="202959"/>
                  </a:lnTo>
                  <a:lnTo>
                    <a:pt x="1189089" y="203594"/>
                  </a:lnTo>
                  <a:lnTo>
                    <a:pt x="1189089" y="202959"/>
                  </a:lnTo>
                  <a:lnTo>
                    <a:pt x="1189140" y="202260"/>
                  </a:lnTo>
                  <a:lnTo>
                    <a:pt x="1189140" y="200876"/>
                  </a:lnTo>
                  <a:lnTo>
                    <a:pt x="1189140" y="202260"/>
                  </a:lnTo>
                  <a:lnTo>
                    <a:pt x="1189140" y="200228"/>
                  </a:lnTo>
                  <a:lnTo>
                    <a:pt x="1189241" y="200876"/>
                  </a:lnTo>
                  <a:lnTo>
                    <a:pt x="1189241" y="202260"/>
                  </a:lnTo>
                  <a:lnTo>
                    <a:pt x="1189241" y="200228"/>
                  </a:lnTo>
                  <a:lnTo>
                    <a:pt x="1189241" y="200876"/>
                  </a:lnTo>
                  <a:lnTo>
                    <a:pt x="1189292" y="202260"/>
                  </a:lnTo>
                  <a:lnTo>
                    <a:pt x="1189292" y="202959"/>
                  </a:lnTo>
                  <a:lnTo>
                    <a:pt x="1189292" y="200876"/>
                  </a:lnTo>
                  <a:lnTo>
                    <a:pt x="1189292" y="202959"/>
                  </a:lnTo>
                  <a:lnTo>
                    <a:pt x="1189343" y="202959"/>
                  </a:lnTo>
                  <a:lnTo>
                    <a:pt x="1189343" y="203594"/>
                  </a:lnTo>
                  <a:lnTo>
                    <a:pt x="1189343" y="202959"/>
                  </a:lnTo>
                  <a:lnTo>
                    <a:pt x="1189343" y="203594"/>
                  </a:lnTo>
                  <a:lnTo>
                    <a:pt x="1189444" y="203594"/>
                  </a:lnTo>
                  <a:lnTo>
                    <a:pt x="1189444" y="204292"/>
                  </a:lnTo>
                  <a:lnTo>
                    <a:pt x="1189444" y="203594"/>
                  </a:lnTo>
                  <a:lnTo>
                    <a:pt x="1189444" y="204292"/>
                  </a:lnTo>
                  <a:lnTo>
                    <a:pt x="1189495" y="204292"/>
                  </a:lnTo>
                  <a:lnTo>
                    <a:pt x="1189495" y="203594"/>
                  </a:lnTo>
                  <a:lnTo>
                    <a:pt x="1189495" y="204292"/>
                  </a:lnTo>
                  <a:lnTo>
                    <a:pt x="1189546" y="204292"/>
                  </a:lnTo>
                  <a:lnTo>
                    <a:pt x="1189546" y="203594"/>
                  </a:lnTo>
                  <a:lnTo>
                    <a:pt x="1189546" y="204292"/>
                  </a:lnTo>
                  <a:lnTo>
                    <a:pt x="1189546" y="203594"/>
                  </a:lnTo>
                  <a:lnTo>
                    <a:pt x="1189584" y="203594"/>
                  </a:lnTo>
                  <a:lnTo>
                    <a:pt x="1189584" y="202959"/>
                  </a:lnTo>
                  <a:lnTo>
                    <a:pt x="1189584" y="203594"/>
                  </a:lnTo>
                  <a:lnTo>
                    <a:pt x="1189584" y="202260"/>
                  </a:lnTo>
                  <a:lnTo>
                    <a:pt x="1189686" y="202260"/>
                  </a:lnTo>
                  <a:lnTo>
                    <a:pt x="1189686" y="202959"/>
                  </a:lnTo>
                  <a:lnTo>
                    <a:pt x="1189686" y="200876"/>
                  </a:lnTo>
                  <a:lnTo>
                    <a:pt x="1189686" y="202260"/>
                  </a:lnTo>
                  <a:lnTo>
                    <a:pt x="1189686" y="200228"/>
                  </a:lnTo>
                  <a:lnTo>
                    <a:pt x="1189737" y="200228"/>
                  </a:lnTo>
                  <a:lnTo>
                    <a:pt x="1189737" y="200876"/>
                  </a:lnTo>
                  <a:lnTo>
                    <a:pt x="1189737" y="200228"/>
                  </a:lnTo>
                  <a:lnTo>
                    <a:pt x="1189787" y="200876"/>
                  </a:lnTo>
                  <a:lnTo>
                    <a:pt x="1189787" y="202260"/>
                  </a:lnTo>
                  <a:lnTo>
                    <a:pt x="1189787" y="200876"/>
                  </a:lnTo>
                  <a:lnTo>
                    <a:pt x="1189889" y="202260"/>
                  </a:lnTo>
                  <a:lnTo>
                    <a:pt x="1189889" y="202959"/>
                  </a:lnTo>
                  <a:lnTo>
                    <a:pt x="1189889" y="202260"/>
                  </a:lnTo>
                  <a:lnTo>
                    <a:pt x="1189889" y="203594"/>
                  </a:lnTo>
                  <a:lnTo>
                    <a:pt x="1189940" y="203594"/>
                  </a:lnTo>
                  <a:lnTo>
                    <a:pt x="1189940" y="202959"/>
                  </a:lnTo>
                  <a:lnTo>
                    <a:pt x="1189940" y="203594"/>
                  </a:lnTo>
                  <a:lnTo>
                    <a:pt x="1189940" y="202959"/>
                  </a:lnTo>
                  <a:lnTo>
                    <a:pt x="1189940" y="203594"/>
                  </a:lnTo>
                  <a:lnTo>
                    <a:pt x="1189990" y="203594"/>
                  </a:lnTo>
                  <a:lnTo>
                    <a:pt x="1189990" y="204292"/>
                  </a:lnTo>
                  <a:lnTo>
                    <a:pt x="1189990" y="203594"/>
                  </a:lnTo>
                  <a:lnTo>
                    <a:pt x="1189990" y="204292"/>
                  </a:lnTo>
                  <a:lnTo>
                    <a:pt x="1190041" y="204292"/>
                  </a:lnTo>
                  <a:lnTo>
                    <a:pt x="1190041" y="203594"/>
                  </a:lnTo>
                  <a:lnTo>
                    <a:pt x="1190041" y="204292"/>
                  </a:lnTo>
                  <a:lnTo>
                    <a:pt x="1190041" y="203594"/>
                  </a:lnTo>
                  <a:lnTo>
                    <a:pt x="1190041" y="204292"/>
                  </a:lnTo>
                  <a:lnTo>
                    <a:pt x="1190041" y="203594"/>
                  </a:lnTo>
                  <a:lnTo>
                    <a:pt x="1190041" y="204292"/>
                  </a:lnTo>
                  <a:lnTo>
                    <a:pt x="1190041" y="203594"/>
                  </a:lnTo>
                  <a:lnTo>
                    <a:pt x="1190041" y="204292"/>
                  </a:lnTo>
                  <a:lnTo>
                    <a:pt x="1190130" y="203594"/>
                  </a:lnTo>
                  <a:lnTo>
                    <a:pt x="1190130" y="204292"/>
                  </a:lnTo>
                  <a:lnTo>
                    <a:pt x="1190130" y="203594"/>
                  </a:lnTo>
                  <a:lnTo>
                    <a:pt x="1190130" y="204292"/>
                  </a:lnTo>
                  <a:lnTo>
                    <a:pt x="1190130" y="203594"/>
                  </a:lnTo>
                  <a:lnTo>
                    <a:pt x="1190181" y="203594"/>
                  </a:lnTo>
                  <a:lnTo>
                    <a:pt x="1190181" y="200228"/>
                  </a:lnTo>
                  <a:lnTo>
                    <a:pt x="1190232" y="200228"/>
                  </a:lnTo>
                  <a:lnTo>
                    <a:pt x="1190232" y="200876"/>
                  </a:lnTo>
                  <a:lnTo>
                    <a:pt x="1190232" y="200228"/>
                  </a:lnTo>
                  <a:lnTo>
                    <a:pt x="1190232" y="200876"/>
                  </a:lnTo>
                  <a:lnTo>
                    <a:pt x="1190232" y="199530"/>
                  </a:lnTo>
                  <a:lnTo>
                    <a:pt x="1190232" y="202260"/>
                  </a:lnTo>
                  <a:lnTo>
                    <a:pt x="1190283" y="202260"/>
                  </a:lnTo>
                  <a:lnTo>
                    <a:pt x="1190283" y="200876"/>
                  </a:lnTo>
                  <a:lnTo>
                    <a:pt x="1190283" y="202260"/>
                  </a:lnTo>
                  <a:lnTo>
                    <a:pt x="1190384" y="202260"/>
                  </a:lnTo>
                  <a:lnTo>
                    <a:pt x="1190384" y="200876"/>
                  </a:lnTo>
                  <a:lnTo>
                    <a:pt x="1190384" y="202959"/>
                  </a:lnTo>
                  <a:lnTo>
                    <a:pt x="1190384" y="202260"/>
                  </a:lnTo>
                  <a:lnTo>
                    <a:pt x="1190435" y="202260"/>
                  </a:lnTo>
                  <a:lnTo>
                    <a:pt x="1190435" y="202959"/>
                  </a:lnTo>
                  <a:lnTo>
                    <a:pt x="1190435" y="202260"/>
                  </a:lnTo>
                  <a:lnTo>
                    <a:pt x="1190435" y="202959"/>
                  </a:lnTo>
                  <a:lnTo>
                    <a:pt x="1190435" y="202260"/>
                  </a:lnTo>
                  <a:lnTo>
                    <a:pt x="1190435" y="202959"/>
                  </a:lnTo>
                  <a:lnTo>
                    <a:pt x="1190486" y="202260"/>
                  </a:lnTo>
                  <a:lnTo>
                    <a:pt x="1190486" y="202959"/>
                  </a:lnTo>
                  <a:lnTo>
                    <a:pt x="1190587" y="202959"/>
                  </a:lnTo>
                  <a:lnTo>
                    <a:pt x="1190587" y="203594"/>
                  </a:lnTo>
                  <a:lnTo>
                    <a:pt x="1190587" y="202959"/>
                  </a:lnTo>
                  <a:lnTo>
                    <a:pt x="1190587" y="203594"/>
                  </a:lnTo>
                  <a:lnTo>
                    <a:pt x="1190587" y="202959"/>
                  </a:lnTo>
                  <a:lnTo>
                    <a:pt x="1190587" y="203594"/>
                  </a:lnTo>
                  <a:lnTo>
                    <a:pt x="1190587" y="202959"/>
                  </a:lnTo>
                  <a:lnTo>
                    <a:pt x="1190625" y="202959"/>
                  </a:lnTo>
                  <a:lnTo>
                    <a:pt x="1190625" y="203594"/>
                  </a:lnTo>
                  <a:lnTo>
                    <a:pt x="1190625" y="202959"/>
                  </a:lnTo>
                  <a:lnTo>
                    <a:pt x="1190625" y="203594"/>
                  </a:lnTo>
                  <a:lnTo>
                    <a:pt x="1190625" y="202959"/>
                  </a:lnTo>
                  <a:lnTo>
                    <a:pt x="1190676" y="202260"/>
                  </a:lnTo>
                  <a:lnTo>
                    <a:pt x="1190676" y="202959"/>
                  </a:lnTo>
                  <a:lnTo>
                    <a:pt x="1190676" y="202260"/>
                  </a:lnTo>
                  <a:lnTo>
                    <a:pt x="1190727" y="200876"/>
                  </a:lnTo>
                  <a:lnTo>
                    <a:pt x="1190727" y="203594"/>
                  </a:lnTo>
                  <a:lnTo>
                    <a:pt x="1190727" y="202959"/>
                  </a:lnTo>
                  <a:lnTo>
                    <a:pt x="1190829" y="202260"/>
                  </a:lnTo>
                  <a:lnTo>
                    <a:pt x="1190829" y="203594"/>
                  </a:lnTo>
                  <a:lnTo>
                    <a:pt x="1190829" y="202959"/>
                  </a:lnTo>
                  <a:lnTo>
                    <a:pt x="1190829" y="203594"/>
                  </a:lnTo>
                  <a:lnTo>
                    <a:pt x="1190829" y="202959"/>
                  </a:lnTo>
                  <a:lnTo>
                    <a:pt x="1190880" y="202959"/>
                  </a:lnTo>
                  <a:lnTo>
                    <a:pt x="1190880" y="203594"/>
                  </a:lnTo>
                  <a:lnTo>
                    <a:pt x="1190930" y="203594"/>
                  </a:lnTo>
                  <a:lnTo>
                    <a:pt x="1190930" y="204292"/>
                  </a:lnTo>
                  <a:lnTo>
                    <a:pt x="1190930" y="202959"/>
                  </a:lnTo>
                  <a:lnTo>
                    <a:pt x="1190930" y="204292"/>
                  </a:lnTo>
                  <a:lnTo>
                    <a:pt x="1190930" y="202959"/>
                  </a:lnTo>
                  <a:lnTo>
                    <a:pt x="1190930" y="203594"/>
                  </a:lnTo>
                  <a:lnTo>
                    <a:pt x="1190930" y="202959"/>
                  </a:lnTo>
                  <a:lnTo>
                    <a:pt x="1190930" y="203594"/>
                  </a:lnTo>
                  <a:lnTo>
                    <a:pt x="1191032" y="203594"/>
                  </a:lnTo>
                  <a:lnTo>
                    <a:pt x="1191032" y="202959"/>
                  </a:lnTo>
                  <a:lnTo>
                    <a:pt x="1191032" y="203594"/>
                  </a:lnTo>
                  <a:lnTo>
                    <a:pt x="1191083" y="203594"/>
                  </a:lnTo>
                  <a:lnTo>
                    <a:pt x="1191083" y="204292"/>
                  </a:lnTo>
                  <a:lnTo>
                    <a:pt x="1191083" y="202959"/>
                  </a:lnTo>
                  <a:lnTo>
                    <a:pt x="1191083" y="203594"/>
                  </a:lnTo>
                  <a:lnTo>
                    <a:pt x="1191134" y="203594"/>
                  </a:lnTo>
                  <a:lnTo>
                    <a:pt x="1191134" y="202959"/>
                  </a:lnTo>
                  <a:lnTo>
                    <a:pt x="1191134" y="203594"/>
                  </a:lnTo>
                  <a:lnTo>
                    <a:pt x="1191134" y="202260"/>
                  </a:lnTo>
                  <a:lnTo>
                    <a:pt x="1191172" y="202260"/>
                  </a:lnTo>
                  <a:lnTo>
                    <a:pt x="1191172" y="203594"/>
                  </a:lnTo>
                  <a:lnTo>
                    <a:pt x="1191172" y="202260"/>
                  </a:lnTo>
                  <a:lnTo>
                    <a:pt x="1191172" y="202959"/>
                  </a:lnTo>
                  <a:lnTo>
                    <a:pt x="1191172" y="202260"/>
                  </a:lnTo>
                  <a:lnTo>
                    <a:pt x="1191273" y="202959"/>
                  </a:lnTo>
                  <a:lnTo>
                    <a:pt x="1191273" y="204292"/>
                  </a:lnTo>
                  <a:lnTo>
                    <a:pt x="1191273" y="203594"/>
                  </a:lnTo>
                  <a:lnTo>
                    <a:pt x="1191324" y="203594"/>
                  </a:lnTo>
                  <a:lnTo>
                    <a:pt x="1191324" y="204292"/>
                  </a:lnTo>
                  <a:lnTo>
                    <a:pt x="1191324" y="203594"/>
                  </a:lnTo>
                  <a:lnTo>
                    <a:pt x="1191324" y="204292"/>
                  </a:lnTo>
                  <a:lnTo>
                    <a:pt x="1191375" y="204292"/>
                  </a:lnTo>
                  <a:lnTo>
                    <a:pt x="1191375" y="204990"/>
                  </a:lnTo>
                  <a:lnTo>
                    <a:pt x="1191375" y="204292"/>
                  </a:lnTo>
                  <a:lnTo>
                    <a:pt x="1191476" y="204292"/>
                  </a:lnTo>
                  <a:lnTo>
                    <a:pt x="1191476" y="203594"/>
                  </a:lnTo>
                  <a:lnTo>
                    <a:pt x="1191476" y="204292"/>
                  </a:lnTo>
                  <a:lnTo>
                    <a:pt x="1191476" y="203594"/>
                  </a:lnTo>
                  <a:lnTo>
                    <a:pt x="1191476" y="204292"/>
                  </a:lnTo>
                  <a:lnTo>
                    <a:pt x="1191527" y="204292"/>
                  </a:lnTo>
                  <a:lnTo>
                    <a:pt x="1191527" y="203594"/>
                  </a:lnTo>
                  <a:lnTo>
                    <a:pt x="1191527" y="204292"/>
                  </a:lnTo>
                  <a:lnTo>
                    <a:pt x="1191527" y="203594"/>
                  </a:lnTo>
                  <a:lnTo>
                    <a:pt x="1191527" y="204292"/>
                  </a:lnTo>
                  <a:lnTo>
                    <a:pt x="1191578" y="204292"/>
                  </a:lnTo>
                  <a:lnTo>
                    <a:pt x="1191578" y="202959"/>
                  </a:lnTo>
                  <a:lnTo>
                    <a:pt x="1191629" y="202959"/>
                  </a:lnTo>
                  <a:lnTo>
                    <a:pt x="1191629" y="200876"/>
                  </a:lnTo>
                  <a:lnTo>
                    <a:pt x="1191629" y="202260"/>
                  </a:lnTo>
                  <a:lnTo>
                    <a:pt x="1191629" y="200876"/>
                  </a:lnTo>
                  <a:lnTo>
                    <a:pt x="1191629" y="202260"/>
                  </a:lnTo>
                  <a:lnTo>
                    <a:pt x="1191629" y="200876"/>
                  </a:lnTo>
                  <a:lnTo>
                    <a:pt x="1191718" y="200228"/>
                  </a:lnTo>
                  <a:lnTo>
                    <a:pt x="1191718" y="202260"/>
                  </a:lnTo>
                  <a:lnTo>
                    <a:pt x="1191718" y="200876"/>
                  </a:lnTo>
                  <a:lnTo>
                    <a:pt x="1191718" y="202260"/>
                  </a:lnTo>
                  <a:lnTo>
                    <a:pt x="1191718" y="200876"/>
                  </a:lnTo>
                  <a:lnTo>
                    <a:pt x="1191769" y="200876"/>
                  </a:lnTo>
                  <a:lnTo>
                    <a:pt x="1191769" y="203594"/>
                  </a:lnTo>
                  <a:lnTo>
                    <a:pt x="1191769" y="202959"/>
                  </a:lnTo>
                  <a:lnTo>
                    <a:pt x="1191769" y="203594"/>
                  </a:lnTo>
                  <a:lnTo>
                    <a:pt x="1191819" y="203594"/>
                  </a:lnTo>
                  <a:lnTo>
                    <a:pt x="1191819" y="204292"/>
                  </a:lnTo>
                  <a:lnTo>
                    <a:pt x="1191819" y="203594"/>
                  </a:lnTo>
                  <a:lnTo>
                    <a:pt x="1191819" y="204292"/>
                  </a:lnTo>
                  <a:lnTo>
                    <a:pt x="1191870" y="204292"/>
                  </a:lnTo>
                  <a:lnTo>
                    <a:pt x="1191870" y="203594"/>
                  </a:lnTo>
                  <a:lnTo>
                    <a:pt x="1191870" y="204292"/>
                  </a:lnTo>
                  <a:lnTo>
                    <a:pt x="1191870" y="203594"/>
                  </a:lnTo>
                  <a:lnTo>
                    <a:pt x="1191870" y="204292"/>
                  </a:lnTo>
                  <a:lnTo>
                    <a:pt x="1191972" y="204292"/>
                  </a:lnTo>
                  <a:lnTo>
                    <a:pt x="1191972" y="203594"/>
                  </a:lnTo>
                  <a:lnTo>
                    <a:pt x="1191972" y="204292"/>
                  </a:lnTo>
                  <a:lnTo>
                    <a:pt x="1192022" y="204292"/>
                  </a:lnTo>
                  <a:lnTo>
                    <a:pt x="1192022" y="203594"/>
                  </a:lnTo>
                  <a:lnTo>
                    <a:pt x="1192022" y="204292"/>
                  </a:lnTo>
                  <a:lnTo>
                    <a:pt x="1192022" y="203594"/>
                  </a:lnTo>
                  <a:lnTo>
                    <a:pt x="1192022" y="204292"/>
                  </a:lnTo>
                  <a:lnTo>
                    <a:pt x="1192073" y="204292"/>
                  </a:lnTo>
                  <a:lnTo>
                    <a:pt x="1192073" y="202959"/>
                  </a:lnTo>
                  <a:lnTo>
                    <a:pt x="1192073" y="203594"/>
                  </a:lnTo>
                  <a:lnTo>
                    <a:pt x="1192073" y="202959"/>
                  </a:lnTo>
                  <a:lnTo>
                    <a:pt x="1192175" y="202959"/>
                  </a:lnTo>
                  <a:lnTo>
                    <a:pt x="1192175" y="200876"/>
                  </a:lnTo>
                  <a:lnTo>
                    <a:pt x="1192175" y="202260"/>
                  </a:lnTo>
                  <a:lnTo>
                    <a:pt x="1192213" y="202260"/>
                  </a:lnTo>
                  <a:lnTo>
                    <a:pt x="1192213" y="202959"/>
                  </a:lnTo>
                  <a:lnTo>
                    <a:pt x="1192213" y="200876"/>
                  </a:lnTo>
                  <a:lnTo>
                    <a:pt x="1192213" y="203594"/>
                  </a:lnTo>
                  <a:lnTo>
                    <a:pt x="1192264" y="203594"/>
                  </a:lnTo>
                  <a:lnTo>
                    <a:pt x="1192264" y="202959"/>
                  </a:lnTo>
                  <a:lnTo>
                    <a:pt x="1192264" y="203594"/>
                  </a:lnTo>
                  <a:lnTo>
                    <a:pt x="1192264" y="202959"/>
                  </a:lnTo>
                  <a:lnTo>
                    <a:pt x="1192264" y="204292"/>
                  </a:lnTo>
                  <a:lnTo>
                    <a:pt x="1192315" y="204292"/>
                  </a:lnTo>
                  <a:lnTo>
                    <a:pt x="1192315" y="203594"/>
                  </a:lnTo>
                  <a:lnTo>
                    <a:pt x="1192315" y="204292"/>
                  </a:lnTo>
                  <a:lnTo>
                    <a:pt x="1192315" y="203594"/>
                  </a:lnTo>
                  <a:lnTo>
                    <a:pt x="1192416" y="203594"/>
                  </a:lnTo>
                  <a:lnTo>
                    <a:pt x="1192416" y="204292"/>
                  </a:lnTo>
                  <a:lnTo>
                    <a:pt x="1192467" y="204292"/>
                  </a:lnTo>
                  <a:lnTo>
                    <a:pt x="1192467" y="203594"/>
                  </a:lnTo>
                  <a:lnTo>
                    <a:pt x="1192467" y="204990"/>
                  </a:lnTo>
                  <a:lnTo>
                    <a:pt x="1192467" y="204292"/>
                  </a:lnTo>
                  <a:lnTo>
                    <a:pt x="1192518" y="204292"/>
                  </a:lnTo>
                  <a:lnTo>
                    <a:pt x="1192518" y="203594"/>
                  </a:lnTo>
                  <a:lnTo>
                    <a:pt x="1192619" y="203594"/>
                  </a:lnTo>
                  <a:lnTo>
                    <a:pt x="1192619" y="204292"/>
                  </a:lnTo>
                  <a:lnTo>
                    <a:pt x="1192619" y="202959"/>
                  </a:lnTo>
                  <a:lnTo>
                    <a:pt x="1192670" y="202959"/>
                  </a:lnTo>
                  <a:lnTo>
                    <a:pt x="1192670" y="200228"/>
                  </a:lnTo>
                  <a:lnTo>
                    <a:pt x="1192670" y="202959"/>
                  </a:lnTo>
                  <a:lnTo>
                    <a:pt x="1192721" y="202959"/>
                  </a:lnTo>
                  <a:lnTo>
                    <a:pt x="1192721" y="202260"/>
                  </a:lnTo>
                  <a:lnTo>
                    <a:pt x="1192721" y="202959"/>
                  </a:lnTo>
                  <a:lnTo>
                    <a:pt x="1192721" y="200876"/>
                  </a:lnTo>
                  <a:lnTo>
                    <a:pt x="1192721" y="203594"/>
                  </a:lnTo>
                  <a:lnTo>
                    <a:pt x="1192759" y="203594"/>
                  </a:lnTo>
                  <a:lnTo>
                    <a:pt x="1192759" y="202959"/>
                  </a:lnTo>
                  <a:lnTo>
                    <a:pt x="1192759" y="204292"/>
                  </a:lnTo>
                  <a:lnTo>
                    <a:pt x="1192759" y="203594"/>
                  </a:lnTo>
                  <a:lnTo>
                    <a:pt x="1192861" y="203594"/>
                  </a:lnTo>
                  <a:lnTo>
                    <a:pt x="1192861" y="204292"/>
                  </a:lnTo>
                  <a:lnTo>
                    <a:pt x="1192861" y="203594"/>
                  </a:lnTo>
                  <a:lnTo>
                    <a:pt x="1192912" y="203594"/>
                  </a:lnTo>
                  <a:lnTo>
                    <a:pt x="1192912" y="204990"/>
                  </a:lnTo>
                  <a:lnTo>
                    <a:pt x="1192912" y="203594"/>
                  </a:lnTo>
                  <a:lnTo>
                    <a:pt x="1192912" y="204292"/>
                  </a:lnTo>
                  <a:lnTo>
                    <a:pt x="1192962" y="204292"/>
                  </a:lnTo>
                  <a:lnTo>
                    <a:pt x="1192962" y="203594"/>
                  </a:lnTo>
                  <a:lnTo>
                    <a:pt x="1192962" y="204292"/>
                  </a:lnTo>
                  <a:lnTo>
                    <a:pt x="1193064" y="204292"/>
                  </a:lnTo>
                  <a:lnTo>
                    <a:pt x="1193064" y="203594"/>
                  </a:lnTo>
                  <a:lnTo>
                    <a:pt x="1193064" y="204292"/>
                  </a:lnTo>
                  <a:lnTo>
                    <a:pt x="1193064" y="203594"/>
                  </a:lnTo>
                  <a:lnTo>
                    <a:pt x="1193115" y="203594"/>
                  </a:lnTo>
                  <a:lnTo>
                    <a:pt x="1193115" y="202959"/>
                  </a:lnTo>
                  <a:lnTo>
                    <a:pt x="1193115" y="203594"/>
                  </a:lnTo>
                  <a:lnTo>
                    <a:pt x="1193115" y="202260"/>
                  </a:lnTo>
                  <a:lnTo>
                    <a:pt x="1193165" y="202260"/>
                  </a:lnTo>
                  <a:lnTo>
                    <a:pt x="1193165" y="199530"/>
                  </a:lnTo>
                  <a:lnTo>
                    <a:pt x="1193165" y="202260"/>
                  </a:lnTo>
                  <a:lnTo>
                    <a:pt x="1193165" y="200876"/>
                  </a:lnTo>
                  <a:lnTo>
                    <a:pt x="1193216" y="200876"/>
                  </a:lnTo>
                  <a:lnTo>
                    <a:pt x="1193216" y="199530"/>
                  </a:lnTo>
                  <a:lnTo>
                    <a:pt x="1193216" y="202959"/>
                  </a:lnTo>
                  <a:lnTo>
                    <a:pt x="1193216" y="202260"/>
                  </a:lnTo>
                  <a:lnTo>
                    <a:pt x="1193216" y="202959"/>
                  </a:lnTo>
                  <a:lnTo>
                    <a:pt x="1193305" y="202959"/>
                  </a:lnTo>
                  <a:lnTo>
                    <a:pt x="1193305" y="200228"/>
                  </a:lnTo>
                  <a:lnTo>
                    <a:pt x="1193305" y="202959"/>
                  </a:lnTo>
                  <a:lnTo>
                    <a:pt x="1193305" y="202260"/>
                  </a:lnTo>
                  <a:lnTo>
                    <a:pt x="1193356" y="202260"/>
                  </a:lnTo>
                  <a:lnTo>
                    <a:pt x="1193356" y="200876"/>
                  </a:lnTo>
                  <a:lnTo>
                    <a:pt x="1193356" y="202959"/>
                  </a:lnTo>
                  <a:lnTo>
                    <a:pt x="1193356" y="202260"/>
                  </a:lnTo>
                  <a:lnTo>
                    <a:pt x="1193407" y="202260"/>
                  </a:lnTo>
                  <a:lnTo>
                    <a:pt x="1193407" y="202959"/>
                  </a:lnTo>
                  <a:lnTo>
                    <a:pt x="1193458" y="202959"/>
                  </a:lnTo>
                  <a:lnTo>
                    <a:pt x="1193458" y="203594"/>
                  </a:lnTo>
                  <a:lnTo>
                    <a:pt x="1193458" y="202959"/>
                  </a:lnTo>
                  <a:lnTo>
                    <a:pt x="1193458" y="203594"/>
                  </a:lnTo>
                  <a:lnTo>
                    <a:pt x="1193559" y="203594"/>
                  </a:lnTo>
                  <a:lnTo>
                    <a:pt x="1193559" y="202959"/>
                  </a:lnTo>
                  <a:lnTo>
                    <a:pt x="1193610" y="202959"/>
                  </a:lnTo>
                  <a:lnTo>
                    <a:pt x="1193610" y="200876"/>
                  </a:lnTo>
                  <a:lnTo>
                    <a:pt x="1193661" y="200876"/>
                  </a:lnTo>
                  <a:lnTo>
                    <a:pt x="1193661" y="202959"/>
                  </a:lnTo>
                  <a:lnTo>
                    <a:pt x="1193661" y="202260"/>
                  </a:lnTo>
                  <a:lnTo>
                    <a:pt x="1193661" y="202959"/>
                  </a:lnTo>
                  <a:lnTo>
                    <a:pt x="1193661" y="202260"/>
                  </a:lnTo>
                  <a:lnTo>
                    <a:pt x="1193762" y="202959"/>
                  </a:lnTo>
                  <a:lnTo>
                    <a:pt x="1193762" y="203594"/>
                  </a:lnTo>
                  <a:lnTo>
                    <a:pt x="1193762" y="202959"/>
                  </a:lnTo>
                  <a:lnTo>
                    <a:pt x="1193762" y="203594"/>
                  </a:lnTo>
                  <a:lnTo>
                    <a:pt x="1193762" y="202959"/>
                  </a:lnTo>
                  <a:lnTo>
                    <a:pt x="1193762" y="203594"/>
                  </a:lnTo>
                  <a:lnTo>
                    <a:pt x="1193800" y="203594"/>
                  </a:lnTo>
                  <a:lnTo>
                    <a:pt x="1193800" y="204292"/>
                  </a:lnTo>
                  <a:lnTo>
                    <a:pt x="1193800" y="203594"/>
                  </a:lnTo>
                  <a:lnTo>
                    <a:pt x="1193851" y="203594"/>
                  </a:lnTo>
                  <a:lnTo>
                    <a:pt x="1193851" y="202959"/>
                  </a:lnTo>
                  <a:lnTo>
                    <a:pt x="1193851" y="203594"/>
                  </a:lnTo>
                  <a:lnTo>
                    <a:pt x="1193902" y="203594"/>
                  </a:lnTo>
                  <a:lnTo>
                    <a:pt x="1193902" y="204292"/>
                  </a:lnTo>
                  <a:lnTo>
                    <a:pt x="1193902" y="202959"/>
                  </a:lnTo>
                  <a:lnTo>
                    <a:pt x="1193902" y="203594"/>
                  </a:lnTo>
                  <a:lnTo>
                    <a:pt x="1193902" y="202959"/>
                  </a:lnTo>
                  <a:lnTo>
                    <a:pt x="1193902" y="203594"/>
                  </a:lnTo>
                  <a:lnTo>
                    <a:pt x="1194004" y="203594"/>
                  </a:lnTo>
                  <a:lnTo>
                    <a:pt x="1194004" y="202959"/>
                  </a:lnTo>
                  <a:lnTo>
                    <a:pt x="1194004" y="203594"/>
                  </a:lnTo>
                  <a:lnTo>
                    <a:pt x="1194055" y="203594"/>
                  </a:lnTo>
                  <a:lnTo>
                    <a:pt x="1194055" y="202959"/>
                  </a:lnTo>
                  <a:lnTo>
                    <a:pt x="1194055" y="203594"/>
                  </a:lnTo>
                  <a:lnTo>
                    <a:pt x="1194055" y="202260"/>
                  </a:lnTo>
                  <a:lnTo>
                    <a:pt x="1194055" y="202959"/>
                  </a:lnTo>
                  <a:lnTo>
                    <a:pt x="1194105" y="202959"/>
                  </a:lnTo>
                  <a:lnTo>
                    <a:pt x="1194105" y="200876"/>
                  </a:lnTo>
                  <a:lnTo>
                    <a:pt x="1194105" y="202260"/>
                  </a:lnTo>
                  <a:lnTo>
                    <a:pt x="1194105" y="200876"/>
                  </a:lnTo>
                  <a:lnTo>
                    <a:pt x="1194105" y="202959"/>
                  </a:lnTo>
                  <a:lnTo>
                    <a:pt x="1194207" y="202959"/>
                  </a:lnTo>
                  <a:lnTo>
                    <a:pt x="1194207" y="202260"/>
                  </a:lnTo>
                  <a:lnTo>
                    <a:pt x="1194207" y="204292"/>
                  </a:lnTo>
                  <a:lnTo>
                    <a:pt x="1194207" y="203594"/>
                  </a:lnTo>
                  <a:lnTo>
                    <a:pt x="1194258" y="203594"/>
                  </a:lnTo>
                  <a:lnTo>
                    <a:pt x="1194258" y="204292"/>
                  </a:lnTo>
                  <a:lnTo>
                    <a:pt x="1194258" y="203594"/>
                  </a:lnTo>
                  <a:lnTo>
                    <a:pt x="1194258" y="204292"/>
                  </a:lnTo>
                  <a:lnTo>
                    <a:pt x="1194309" y="204292"/>
                  </a:lnTo>
                  <a:lnTo>
                    <a:pt x="1194309" y="203594"/>
                  </a:lnTo>
                  <a:lnTo>
                    <a:pt x="1194309" y="204292"/>
                  </a:lnTo>
                  <a:lnTo>
                    <a:pt x="1194309" y="203594"/>
                  </a:lnTo>
                  <a:lnTo>
                    <a:pt x="1194309" y="204292"/>
                  </a:lnTo>
                  <a:lnTo>
                    <a:pt x="1194309" y="203594"/>
                  </a:lnTo>
                  <a:lnTo>
                    <a:pt x="1194347" y="203594"/>
                  </a:lnTo>
                  <a:lnTo>
                    <a:pt x="1194347" y="204292"/>
                  </a:lnTo>
                  <a:lnTo>
                    <a:pt x="1194347" y="203594"/>
                  </a:lnTo>
                  <a:lnTo>
                    <a:pt x="1194448" y="203594"/>
                  </a:lnTo>
                  <a:lnTo>
                    <a:pt x="1194448" y="204292"/>
                  </a:lnTo>
                  <a:lnTo>
                    <a:pt x="1194448" y="203594"/>
                  </a:lnTo>
                  <a:lnTo>
                    <a:pt x="1194499" y="203594"/>
                  </a:lnTo>
                  <a:lnTo>
                    <a:pt x="1194499" y="202959"/>
                  </a:lnTo>
                  <a:lnTo>
                    <a:pt x="1194499" y="204292"/>
                  </a:lnTo>
                  <a:lnTo>
                    <a:pt x="1194499" y="203594"/>
                  </a:lnTo>
                  <a:lnTo>
                    <a:pt x="1194499" y="204292"/>
                  </a:lnTo>
                  <a:lnTo>
                    <a:pt x="1194499" y="202260"/>
                  </a:lnTo>
                  <a:lnTo>
                    <a:pt x="1194499" y="202959"/>
                  </a:lnTo>
                  <a:lnTo>
                    <a:pt x="1194550" y="202959"/>
                  </a:lnTo>
                  <a:lnTo>
                    <a:pt x="1194550" y="200876"/>
                  </a:lnTo>
                  <a:lnTo>
                    <a:pt x="1194550" y="202260"/>
                  </a:lnTo>
                  <a:lnTo>
                    <a:pt x="1194550" y="200228"/>
                  </a:lnTo>
                  <a:lnTo>
                    <a:pt x="1194651" y="199530"/>
                  </a:lnTo>
                  <a:lnTo>
                    <a:pt x="1194651" y="202260"/>
                  </a:lnTo>
                  <a:lnTo>
                    <a:pt x="1194651" y="200876"/>
                  </a:lnTo>
                  <a:lnTo>
                    <a:pt x="1194702" y="200876"/>
                  </a:lnTo>
                  <a:lnTo>
                    <a:pt x="1194702" y="203594"/>
                  </a:lnTo>
                  <a:lnTo>
                    <a:pt x="1194702" y="202959"/>
                  </a:lnTo>
                  <a:lnTo>
                    <a:pt x="1194753" y="202959"/>
                  </a:lnTo>
                  <a:lnTo>
                    <a:pt x="1194753" y="203594"/>
                  </a:lnTo>
                  <a:lnTo>
                    <a:pt x="1194753" y="202959"/>
                  </a:lnTo>
                  <a:lnTo>
                    <a:pt x="1194753" y="204292"/>
                  </a:lnTo>
                  <a:lnTo>
                    <a:pt x="1194753" y="203594"/>
                  </a:lnTo>
                  <a:lnTo>
                    <a:pt x="1194804" y="204292"/>
                  </a:lnTo>
                  <a:lnTo>
                    <a:pt x="1194804" y="203594"/>
                  </a:lnTo>
                  <a:lnTo>
                    <a:pt x="1194804" y="204292"/>
                  </a:lnTo>
                  <a:lnTo>
                    <a:pt x="1194804" y="203594"/>
                  </a:lnTo>
                  <a:lnTo>
                    <a:pt x="1194804" y="204292"/>
                  </a:lnTo>
                  <a:lnTo>
                    <a:pt x="1194893" y="204292"/>
                  </a:lnTo>
                  <a:lnTo>
                    <a:pt x="1194893" y="204990"/>
                  </a:lnTo>
                  <a:lnTo>
                    <a:pt x="1194893" y="204292"/>
                  </a:lnTo>
                  <a:lnTo>
                    <a:pt x="1194944" y="204990"/>
                  </a:lnTo>
                  <a:lnTo>
                    <a:pt x="1194944" y="203594"/>
                  </a:lnTo>
                  <a:lnTo>
                    <a:pt x="1194944" y="204292"/>
                  </a:lnTo>
                  <a:lnTo>
                    <a:pt x="1194994" y="204292"/>
                  </a:lnTo>
                  <a:lnTo>
                    <a:pt x="1194994" y="202959"/>
                  </a:lnTo>
                  <a:lnTo>
                    <a:pt x="1194994" y="203594"/>
                  </a:lnTo>
                  <a:lnTo>
                    <a:pt x="1195045" y="202959"/>
                  </a:lnTo>
                  <a:lnTo>
                    <a:pt x="1195045" y="200228"/>
                  </a:lnTo>
                  <a:lnTo>
                    <a:pt x="1195045" y="200876"/>
                  </a:lnTo>
                  <a:lnTo>
                    <a:pt x="1195045" y="199530"/>
                  </a:lnTo>
                  <a:lnTo>
                    <a:pt x="1195147" y="199530"/>
                  </a:lnTo>
                  <a:lnTo>
                    <a:pt x="1195147" y="202260"/>
                  </a:lnTo>
                  <a:lnTo>
                    <a:pt x="1195147" y="200228"/>
                  </a:lnTo>
                  <a:lnTo>
                    <a:pt x="1195147" y="200876"/>
                  </a:lnTo>
                  <a:lnTo>
                    <a:pt x="1195197" y="200876"/>
                  </a:lnTo>
                  <a:lnTo>
                    <a:pt x="1195197" y="203594"/>
                  </a:lnTo>
                  <a:lnTo>
                    <a:pt x="1195197" y="202260"/>
                  </a:lnTo>
                  <a:lnTo>
                    <a:pt x="1195197" y="202959"/>
                  </a:lnTo>
                  <a:lnTo>
                    <a:pt x="1195248" y="203594"/>
                  </a:lnTo>
                  <a:lnTo>
                    <a:pt x="1195248" y="202959"/>
                  </a:lnTo>
                  <a:lnTo>
                    <a:pt x="1195248" y="203594"/>
                  </a:lnTo>
                  <a:lnTo>
                    <a:pt x="1195248" y="202959"/>
                  </a:lnTo>
                  <a:lnTo>
                    <a:pt x="1195248" y="203594"/>
                  </a:lnTo>
                  <a:lnTo>
                    <a:pt x="1195350" y="203594"/>
                  </a:lnTo>
                  <a:lnTo>
                    <a:pt x="1195350" y="202959"/>
                  </a:lnTo>
                  <a:lnTo>
                    <a:pt x="1195350" y="203594"/>
                  </a:lnTo>
                  <a:lnTo>
                    <a:pt x="1195388" y="203594"/>
                  </a:lnTo>
                  <a:lnTo>
                    <a:pt x="1195388" y="204292"/>
                  </a:lnTo>
                  <a:lnTo>
                    <a:pt x="1195388" y="203594"/>
                  </a:lnTo>
                  <a:lnTo>
                    <a:pt x="1195388" y="204292"/>
                  </a:lnTo>
                  <a:lnTo>
                    <a:pt x="1195388" y="203594"/>
                  </a:lnTo>
                  <a:lnTo>
                    <a:pt x="1195388" y="204292"/>
                  </a:lnTo>
                  <a:lnTo>
                    <a:pt x="1195388" y="203594"/>
                  </a:lnTo>
                  <a:lnTo>
                    <a:pt x="1195388" y="204292"/>
                  </a:lnTo>
                  <a:lnTo>
                    <a:pt x="1195439" y="204292"/>
                  </a:lnTo>
                  <a:lnTo>
                    <a:pt x="1195439" y="203594"/>
                  </a:lnTo>
                  <a:lnTo>
                    <a:pt x="1195439" y="204292"/>
                  </a:lnTo>
                  <a:lnTo>
                    <a:pt x="1195490" y="203594"/>
                  </a:lnTo>
                  <a:lnTo>
                    <a:pt x="1195490" y="202959"/>
                  </a:lnTo>
                  <a:lnTo>
                    <a:pt x="1195591" y="202260"/>
                  </a:lnTo>
                  <a:lnTo>
                    <a:pt x="1195591" y="200228"/>
                  </a:lnTo>
                  <a:lnTo>
                    <a:pt x="1195591" y="200876"/>
                  </a:lnTo>
                  <a:lnTo>
                    <a:pt x="1195591" y="199530"/>
                  </a:lnTo>
                  <a:lnTo>
                    <a:pt x="1195642" y="199530"/>
                  </a:lnTo>
                  <a:lnTo>
                    <a:pt x="1195642" y="202260"/>
                  </a:lnTo>
                  <a:lnTo>
                    <a:pt x="1195642" y="199530"/>
                  </a:lnTo>
                  <a:lnTo>
                    <a:pt x="1195693" y="200228"/>
                  </a:lnTo>
                  <a:lnTo>
                    <a:pt x="1195693" y="202959"/>
                  </a:lnTo>
                  <a:lnTo>
                    <a:pt x="1195693" y="200228"/>
                  </a:lnTo>
                  <a:lnTo>
                    <a:pt x="1195693" y="200876"/>
                  </a:lnTo>
                  <a:lnTo>
                    <a:pt x="1195794" y="202260"/>
                  </a:lnTo>
                  <a:lnTo>
                    <a:pt x="1195794" y="202959"/>
                  </a:lnTo>
                  <a:lnTo>
                    <a:pt x="1195794" y="202260"/>
                  </a:lnTo>
                  <a:lnTo>
                    <a:pt x="1195794" y="202959"/>
                  </a:lnTo>
                  <a:lnTo>
                    <a:pt x="1195794" y="202260"/>
                  </a:lnTo>
                  <a:lnTo>
                    <a:pt x="1195845" y="202260"/>
                  </a:lnTo>
                  <a:lnTo>
                    <a:pt x="1195845" y="202959"/>
                  </a:lnTo>
                  <a:lnTo>
                    <a:pt x="1195845" y="202260"/>
                  </a:lnTo>
                  <a:lnTo>
                    <a:pt x="1195845" y="202959"/>
                  </a:lnTo>
                  <a:lnTo>
                    <a:pt x="1195845" y="202260"/>
                  </a:lnTo>
                  <a:lnTo>
                    <a:pt x="1195845" y="202959"/>
                  </a:lnTo>
                  <a:lnTo>
                    <a:pt x="1195896" y="202959"/>
                  </a:lnTo>
                  <a:lnTo>
                    <a:pt x="1195896" y="203594"/>
                  </a:lnTo>
                  <a:lnTo>
                    <a:pt x="1195896" y="202959"/>
                  </a:lnTo>
                  <a:lnTo>
                    <a:pt x="1195896" y="204292"/>
                  </a:lnTo>
                  <a:lnTo>
                    <a:pt x="1195896" y="203594"/>
                  </a:lnTo>
                  <a:lnTo>
                    <a:pt x="1195934" y="203594"/>
                  </a:lnTo>
                  <a:lnTo>
                    <a:pt x="1195934" y="204292"/>
                  </a:lnTo>
                  <a:lnTo>
                    <a:pt x="1195934" y="202959"/>
                  </a:lnTo>
                  <a:lnTo>
                    <a:pt x="1196036" y="202959"/>
                  </a:lnTo>
                  <a:lnTo>
                    <a:pt x="1196036" y="203594"/>
                  </a:lnTo>
                  <a:lnTo>
                    <a:pt x="1196036" y="202959"/>
                  </a:lnTo>
                  <a:lnTo>
                    <a:pt x="1196036" y="203594"/>
                  </a:lnTo>
                  <a:lnTo>
                    <a:pt x="1196036" y="202959"/>
                  </a:lnTo>
                  <a:lnTo>
                    <a:pt x="1196036" y="203594"/>
                  </a:lnTo>
                  <a:lnTo>
                    <a:pt x="1196036" y="202260"/>
                  </a:lnTo>
                  <a:lnTo>
                    <a:pt x="1196087" y="202260"/>
                  </a:lnTo>
                  <a:lnTo>
                    <a:pt x="1196087" y="199530"/>
                  </a:lnTo>
                  <a:lnTo>
                    <a:pt x="1196137" y="200228"/>
                  </a:lnTo>
                  <a:lnTo>
                    <a:pt x="1196137" y="200876"/>
                  </a:lnTo>
                  <a:lnTo>
                    <a:pt x="1196137" y="199530"/>
                  </a:lnTo>
                  <a:lnTo>
                    <a:pt x="1196137" y="202260"/>
                  </a:lnTo>
                  <a:lnTo>
                    <a:pt x="1196239" y="202959"/>
                  </a:lnTo>
                  <a:lnTo>
                    <a:pt x="1196239" y="199530"/>
                  </a:lnTo>
                  <a:lnTo>
                    <a:pt x="1196239" y="202260"/>
                  </a:lnTo>
                  <a:lnTo>
                    <a:pt x="1196290" y="202260"/>
                  </a:lnTo>
                  <a:lnTo>
                    <a:pt x="1196290" y="200228"/>
                  </a:lnTo>
                  <a:lnTo>
                    <a:pt x="1196290" y="202260"/>
                  </a:lnTo>
                  <a:lnTo>
                    <a:pt x="1196340" y="202260"/>
                  </a:lnTo>
                  <a:lnTo>
                    <a:pt x="1196340" y="200228"/>
                  </a:lnTo>
                  <a:lnTo>
                    <a:pt x="1196340" y="200876"/>
                  </a:lnTo>
                  <a:lnTo>
                    <a:pt x="1196340" y="200228"/>
                  </a:lnTo>
                  <a:lnTo>
                    <a:pt x="1196340" y="202260"/>
                  </a:lnTo>
                  <a:lnTo>
                    <a:pt x="1196340" y="200876"/>
                  </a:lnTo>
                  <a:lnTo>
                    <a:pt x="1196340" y="202260"/>
                  </a:lnTo>
                  <a:lnTo>
                    <a:pt x="1196391" y="202260"/>
                  </a:lnTo>
                  <a:lnTo>
                    <a:pt x="1196391" y="200876"/>
                  </a:lnTo>
                  <a:lnTo>
                    <a:pt x="1196391" y="202959"/>
                  </a:lnTo>
                  <a:lnTo>
                    <a:pt x="1196480" y="202959"/>
                  </a:lnTo>
                  <a:lnTo>
                    <a:pt x="1196480" y="203594"/>
                  </a:lnTo>
                  <a:lnTo>
                    <a:pt x="1196480" y="202260"/>
                  </a:lnTo>
                  <a:lnTo>
                    <a:pt x="1196480" y="202959"/>
                  </a:lnTo>
                  <a:lnTo>
                    <a:pt x="1196531" y="202959"/>
                  </a:lnTo>
                  <a:lnTo>
                    <a:pt x="1196531" y="200876"/>
                  </a:lnTo>
                  <a:lnTo>
                    <a:pt x="1196582" y="200876"/>
                  </a:lnTo>
                  <a:lnTo>
                    <a:pt x="1196582" y="200228"/>
                  </a:lnTo>
                  <a:lnTo>
                    <a:pt x="1196582" y="202260"/>
                  </a:lnTo>
                  <a:lnTo>
                    <a:pt x="1196633" y="202959"/>
                  </a:lnTo>
                  <a:lnTo>
                    <a:pt x="1196633" y="200228"/>
                  </a:lnTo>
                  <a:lnTo>
                    <a:pt x="1196633" y="204292"/>
                  </a:lnTo>
                  <a:lnTo>
                    <a:pt x="1196633" y="203594"/>
                  </a:lnTo>
                  <a:lnTo>
                    <a:pt x="1196734" y="202959"/>
                  </a:lnTo>
                  <a:lnTo>
                    <a:pt x="1196734" y="202260"/>
                  </a:lnTo>
                  <a:lnTo>
                    <a:pt x="1196734" y="202959"/>
                  </a:lnTo>
                  <a:lnTo>
                    <a:pt x="1196785" y="202959"/>
                  </a:lnTo>
                  <a:lnTo>
                    <a:pt x="1196785" y="202260"/>
                  </a:lnTo>
                  <a:lnTo>
                    <a:pt x="1196785" y="202959"/>
                  </a:lnTo>
                  <a:lnTo>
                    <a:pt x="1196785" y="202260"/>
                  </a:lnTo>
                  <a:lnTo>
                    <a:pt x="1196836" y="202260"/>
                  </a:lnTo>
                  <a:lnTo>
                    <a:pt x="1196836" y="203594"/>
                  </a:lnTo>
                  <a:lnTo>
                    <a:pt x="1196836" y="202959"/>
                  </a:lnTo>
                  <a:lnTo>
                    <a:pt x="1196937" y="202959"/>
                  </a:lnTo>
                  <a:lnTo>
                    <a:pt x="1196937" y="203594"/>
                  </a:lnTo>
                  <a:lnTo>
                    <a:pt x="1196937" y="202959"/>
                  </a:lnTo>
                  <a:lnTo>
                    <a:pt x="1196975" y="202959"/>
                  </a:lnTo>
                  <a:lnTo>
                    <a:pt x="1196975" y="202260"/>
                  </a:lnTo>
                  <a:lnTo>
                    <a:pt x="1197026" y="202260"/>
                  </a:lnTo>
                  <a:lnTo>
                    <a:pt x="1197026" y="202959"/>
                  </a:lnTo>
                  <a:lnTo>
                    <a:pt x="1197026" y="200876"/>
                  </a:lnTo>
                  <a:lnTo>
                    <a:pt x="1197077" y="200228"/>
                  </a:lnTo>
                  <a:lnTo>
                    <a:pt x="1197077" y="199530"/>
                  </a:lnTo>
                  <a:lnTo>
                    <a:pt x="1197077" y="200228"/>
                  </a:lnTo>
                  <a:lnTo>
                    <a:pt x="1197077" y="199530"/>
                  </a:lnTo>
                  <a:lnTo>
                    <a:pt x="1197077" y="202260"/>
                  </a:lnTo>
                  <a:lnTo>
                    <a:pt x="1197179" y="202260"/>
                  </a:lnTo>
                  <a:lnTo>
                    <a:pt x="1197179" y="200228"/>
                  </a:lnTo>
                  <a:lnTo>
                    <a:pt x="1197179" y="204292"/>
                  </a:lnTo>
                  <a:lnTo>
                    <a:pt x="1197179" y="202959"/>
                  </a:lnTo>
                  <a:lnTo>
                    <a:pt x="1197230" y="202959"/>
                  </a:lnTo>
                  <a:lnTo>
                    <a:pt x="1197230" y="200876"/>
                  </a:lnTo>
                  <a:lnTo>
                    <a:pt x="1197230" y="202959"/>
                  </a:lnTo>
                  <a:lnTo>
                    <a:pt x="1197230" y="202260"/>
                  </a:lnTo>
                  <a:lnTo>
                    <a:pt x="1197280" y="202260"/>
                  </a:lnTo>
                  <a:lnTo>
                    <a:pt x="1197280" y="202959"/>
                  </a:lnTo>
                  <a:lnTo>
                    <a:pt x="1197280" y="202260"/>
                  </a:lnTo>
                  <a:lnTo>
                    <a:pt x="1197280" y="202959"/>
                  </a:lnTo>
                  <a:lnTo>
                    <a:pt x="1197280" y="202260"/>
                  </a:lnTo>
                  <a:lnTo>
                    <a:pt x="1197280" y="202959"/>
                  </a:lnTo>
                  <a:lnTo>
                    <a:pt x="1197382" y="202959"/>
                  </a:lnTo>
                  <a:lnTo>
                    <a:pt x="1197382" y="202260"/>
                  </a:lnTo>
                  <a:lnTo>
                    <a:pt x="1197382" y="203594"/>
                  </a:lnTo>
                  <a:lnTo>
                    <a:pt x="1197382" y="202959"/>
                  </a:lnTo>
                  <a:lnTo>
                    <a:pt x="1197382" y="203594"/>
                  </a:lnTo>
                  <a:lnTo>
                    <a:pt x="1197382" y="202959"/>
                  </a:lnTo>
                  <a:lnTo>
                    <a:pt x="1197433" y="202959"/>
                  </a:lnTo>
                  <a:lnTo>
                    <a:pt x="1197433" y="203594"/>
                  </a:lnTo>
                  <a:lnTo>
                    <a:pt x="1197433" y="202959"/>
                  </a:lnTo>
                  <a:lnTo>
                    <a:pt x="1197484" y="202959"/>
                  </a:lnTo>
                  <a:lnTo>
                    <a:pt x="1197484" y="202260"/>
                  </a:lnTo>
                  <a:lnTo>
                    <a:pt x="1197484" y="202959"/>
                  </a:lnTo>
                  <a:lnTo>
                    <a:pt x="1197484" y="200876"/>
                  </a:lnTo>
                  <a:lnTo>
                    <a:pt x="1197484" y="202260"/>
                  </a:lnTo>
                  <a:lnTo>
                    <a:pt x="1197522" y="202260"/>
                  </a:lnTo>
                  <a:lnTo>
                    <a:pt x="1197522" y="200876"/>
                  </a:lnTo>
                  <a:lnTo>
                    <a:pt x="1197522" y="202260"/>
                  </a:lnTo>
                  <a:lnTo>
                    <a:pt x="1197522" y="200228"/>
                  </a:lnTo>
                  <a:lnTo>
                    <a:pt x="1197623" y="199530"/>
                  </a:lnTo>
                  <a:lnTo>
                    <a:pt x="1197623" y="202260"/>
                  </a:lnTo>
                  <a:lnTo>
                    <a:pt x="1197623" y="200228"/>
                  </a:lnTo>
                  <a:lnTo>
                    <a:pt x="1197674" y="200228"/>
                  </a:lnTo>
                  <a:lnTo>
                    <a:pt x="1197674" y="202959"/>
                  </a:lnTo>
                  <a:lnTo>
                    <a:pt x="1197674" y="202260"/>
                  </a:lnTo>
                  <a:lnTo>
                    <a:pt x="1197725" y="202260"/>
                  </a:lnTo>
                  <a:lnTo>
                    <a:pt x="1197725" y="202959"/>
                  </a:lnTo>
                  <a:lnTo>
                    <a:pt x="1197725" y="202260"/>
                  </a:lnTo>
                  <a:lnTo>
                    <a:pt x="1197826" y="202260"/>
                  </a:lnTo>
                  <a:lnTo>
                    <a:pt x="1197826" y="203594"/>
                  </a:lnTo>
                  <a:lnTo>
                    <a:pt x="1197826" y="202959"/>
                  </a:lnTo>
                  <a:lnTo>
                    <a:pt x="1197826" y="203594"/>
                  </a:lnTo>
                  <a:lnTo>
                    <a:pt x="1197826" y="202959"/>
                  </a:lnTo>
                  <a:lnTo>
                    <a:pt x="1197877" y="203594"/>
                  </a:lnTo>
                  <a:lnTo>
                    <a:pt x="1197877" y="202959"/>
                  </a:lnTo>
                  <a:lnTo>
                    <a:pt x="1197877" y="203594"/>
                  </a:lnTo>
                  <a:lnTo>
                    <a:pt x="1197877" y="202959"/>
                  </a:lnTo>
                  <a:lnTo>
                    <a:pt x="1197877" y="203594"/>
                  </a:lnTo>
                  <a:lnTo>
                    <a:pt x="1197877" y="202959"/>
                  </a:lnTo>
                  <a:lnTo>
                    <a:pt x="1197877" y="203594"/>
                  </a:lnTo>
                  <a:lnTo>
                    <a:pt x="1197877" y="202959"/>
                  </a:lnTo>
                  <a:lnTo>
                    <a:pt x="1197877" y="203594"/>
                  </a:lnTo>
                  <a:lnTo>
                    <a:pt x="1197928" y="203594"/>
                  </a:lnTo>
                  <a:lnTo>
                    <a:pt x="1197928" y="202959"/>
                  </a:lnTo>
                  <a:lnTo>
                    <a:pt x="1197928" y="203594"/>
                  </a:lnTo>
                  <a:lnTo>
                    <a:pt x="1197928" y="202260"/>
                  </a:lnTo>
                  <a:lnTo>
                    <a:pt x="1197928" y="202959"/>
                  </a:lnTo>
                  <a:lnTo>
                    <a:pt x="1197928" y="202260"/>
                  </a:lnTo>
                  <a:lnTo>
                    <a:pt x="1197979" y="202260"/>
                  </a:lnTo>
                  <a:lnTo>
                    <a:pt x="1197979" y="200876"/>
                  </a:lnTo>
                  <a:lnTo>
                    <a:pt x="1197979" y="202260"/>
                  </a:lnTo>
                  <a:lnTo>
                    <a:pt x="1197979" y="200876"/>
                  </a:lnTo>
                  <a:lnTo>
                    <a:pt x="1198068" y="200876"/>
                  </a:lnTo>
                  <a:lnTo>
                    <a:pt x="1198068" y="200228"/>
                  </a:lnTo>
                  <a:lnTo>
                    <a:pt x="1198068" y="200876"/>
                  </a:lnTo>
                  <a:lnTo>
                    <a:pt x="1198068" y="199530"/>
                  </a:lnTo>
                  <a:lnTo>
                    <a:pt x="1198068" y="200228"/>
                  </a:lnTo>
                  <a:lnTo>
                    <a:pt x="1198119" y="200228"/>
                  </a:lnTo>
                  <a:lnTo>
                    <a:pt x="1198119" y="200876"/>
                  </a:lnTo>
                  <a:lnTo>
                    <a:pt x="1198119" y="200228"/>
                  </a:lnTo>
                  <a:lnTo>
                    <a:pt x="1198119" y="202260"/>
                  </a:lnTo>
                  <a:lnTo>
                    <a:pt x="1198169" y="202260"/>
                  </a:lnTo>
                  <a:lnTo>
                    <a:pt x="1198169" y="202959"/>
                  </a:lnTo>
                  <a:lnTo>
                    <a:pt x="1198169" y="200876"/>
                  </a:lnTo>
                  <a:lnTo>
                    <a:pt x="1198169" y="202959"/>
                  </a:lnTo>
                  <a:lnTo>
                    <a:pt x="1198220" y="202260"/>
                  </a:lnTo>
                  <a:lnTo>
                    <a:pt x="1198220" y="202959"/>
                  </a:lnTo>
                  <a:lnTo>
                    <a:pt x="1198220" y="200876"/>
                  </a:lnTo>
                  <a:lnTo>
                    <a:pt x="1198220" y="202959"/>
                  </a:lnTo>
                  <a:lnTo>
                    <a:pt x="1198322" y="202959"/>
                  </a:lnTo>
                  <a:lnTo>
                    <a:pt x="1198322" y="202260"/>
                  </a:lnTo>
                  <a:lnTo>
                    <a:pt x="1198322" y="203594"/>
                  </a:lnTo>
                  <a:lnTo>
                    <a:pt x="1198322" y="202959"/>
                  </a:lnTo>
                  <a:lnTo>
                    <a:pt x="1198322" y="203594"/>
                  </a:lnTo>
                  <a:lnTo>
                    <a:pt x="1198372" y="202959"/>
                  </a:lnTo>
                  <a:lnTo>
                    <a:pt x="1198372" y="203594"/>
                  </a:lnTo>
                  <a:lnTo>
                    <a:pt x="1198423" y="202959"/>
                  </a:lnTo>
                  <a:lnTo>
                    <a:pt x="1198423" y="203594"/>
                  </a:lnTo>
                  <a:lnTo>
                    <a:pt x="1198423" y="202959"/>
                  </a:lnTo>
                  <a:lnTo>
                    <a:pt x="1198423" y="203594"/>
                  </a:lnTo>
                  <a:lnTo>
                    <a:pt x="1198423" y="202959"/>
                  </a:lnTo>
                  <a:lnTo>
                    <a:pt x="1198423" y="203594"/>
                  </a:lnTo>
                  <a:lnTo>
                    <a:pt x="1198423" y="202260"/>
                  </a:lnTo>
                  <a:lnTo>
                    <a:pt x="1198525" y="202260"/>
                  </a:lnTo>
                  <a:lnTo>
                    <a:pt x="1198525" y="202959"/>
                  </a:lnTo>
                  <a:lnTo>
                    <a:pt x="1198525" y="200228"/>
                  </a:lnTo>
                  <a:lnTo>
                    <a:pt x="1198525" y="200876"/>
                  </a:lnTo>
                  <a:lnTo>
                    <a:pt x="1198525" y="200228"/>
                  </a:lnTo>
                  <a:lnTo>
                    <a:pt x="1198563" y="200228"/>
                  </a:lnTo>
                  <a:lnTo>
                    <a:pt x="1198563" y="198831"/>
                  </a:lnTo>
                  <a:lnTo>
                    <a:pt x="1198563" y="199530"/>
                  </a:lnTo>
                  <a:lnTo>
                    <a:pt x="1198563" y="198831"/>
                  </a:lnTo>
                  <a:lnTo>
                    <a:pt x="1198563" y="199530"/>
                  </a:lnTo>
                  <a:lnTo>
                    <a:pt x="1198614" y="199530"/>
                  </a:lnTo>
                  <a:lnTo>
                    <a:pt x="1198614" y="200228"/>
                  </a:lnTo>
                  <a:lnTo>
                    <a:pt x="1198614" y="198831"/>
                  </a:lnTo>
                  <a:lnTo>
                    <a:pt x="1198614" y="202260"/>
                  </a:lnTo>
                  <a:lnTo>
                    <a:pt x="1198665" y="202260"/>
                  </a:lnTo>
                  <a:lnTo>
                    <a:pt x="1198665" y="200228"/>
                  </a:lnTo>
                  <a:lnTo>
                    <a:pt x="1198665" y="202959"/>
                  </a:lnTo>
                  <a:lnTo>
                    <a:pt x="1198766" y="202260"/>
                  </a:lnTo>
                  <a:lnTo>
                    <a:pt x="1198766" y="200228"/>
                  </a:lnTo>
                  <a:lnTo>
                    <a:pt x="1198766" y="202959"/>
                  </a:lnTo>
                  <a:lnTo>
                    <a:pt x="1198817" y="202260"/>
                  </a:lnTo>
                  <a:lnTo>
                    <a:pt x="1198817" y="203594"/>
                  </a:lnTo>
                  <a:lnTo>
                    <a:pt x="1198817" y="202959"/>
                  </a:lnTo>
                  <a:lnTo>
                    <a:pt x="1198817" y="203594"/>
                  </a:lnTo>
                  <a:lnTo>
                    <a:pt x="1198868" y="202959"/>
                  </a:lnTo>
                  <a:lnTo>
                    <a:pt x="1198868" y="203594"/>
                  </a:lnTo>
                  <a:lnTo>
                    <a:pt x="1198868" y="202959"/>
                  </a:lnTo>
                  <a:lnTo>
                    <a:pt x="1198868" y="203594"/>
                  </a:lnTo>
                  <a:lnTo>
                    <a:pt x="1198868" y="202959"/>
                  </a:lnTo>
                  <a:lnTo>
                    <a:pt x="1198868" y="203594"/>
                  </a:lnTo>
                  <a:lnTo>
                    <a:pt x="1198969" y="203594"/>
                  </a:lnTo>
                  <a:lnTo>
                    <a:pt x="1198969" y="202959"/>
                  </a:lnTo>
                  <a:lnTo>
                    <a:pt x="1198969" y="203594"/>
                  </a:lnTo>
                  <a:lnTo>
                    <a:pt x="1198969" y="202959"/>
                  </a:lnTo>
                  <a:lnTo>
                    <a:pt x="1199020" y="202959"/>
                  </a:lnTo>
                  <a:lnTo>
                    <a:pt x="1199020" y="202260"/>
                  </a:lnTo>
                  <a:lnTo>
                    <a:pt x="1199020" y="202959"/>
                  </a:lnTo>
                  <a:lnTo>
                    <a:pt x="1199020" y="200876"/>
                  </a:lnTo>
                  <a:lnTo>
                    <a:pt x="1199020" y="202260"/>
                  </a:lnTo>
                  <a:lnTo>
                    <a:pt x="1199020" y="200876"/>
                  </a:lnTo>
                  <a:lnTo>
                    <a:pt x="1199071" y="200876"/>
                  </a:lnTo>
                  <a:lnTo>
                    <a:pt x="1199071" y="200228"/>
                  </a:lnTo>
                  <a:lnTo>
                    <a:pt x="1199071" y="200876"/>
                  </a:lnTo>
                  <a:lnTo>
                    <a:pt x="1199071" y="200228"/>
                  </a:lnTo>
                  <a:lnTo>
                    <a:pt x="1199109" y="200228"/>
                  </a:lnTo>
                  <a:lnTo>
                    <a:pt x="1199109" y="199530"/>
                  </a:lnTo>
                  <a:lnTo>
                    <a:pt x="1199109" y="202959"/>
                  </a:lnTo>
                  <a:lnTo>
                    <a:pt x="1199109" y="200876"/>
                  </a:lnTo>
                  <a:lnTo>
                    <a:pt x="1199211" y="200876"/>
                  </a:lnTo>
                  <a:lnTo>
                    <a:pt x="1199211" y="200228"/>
                  </a:lnTo>
                  <a:lnTo>
                    <a:pt x="1199211" y="202260"/>
                  </a:lnTo>
                  <a:lnTo>
                    <a:pt x="1199211" y="200876"/>
                  </a:lnTo>
                  <a:lnTo>
                    <a:pt x="1199262" y="200876"/>
                  </a:lnTo>
                  <a:lnTo>
                    <a:pt x="1199262" y="202260"/>
                  </a:lnTo>
                  <a:lnTo>
                    <a:pt x="1199312" y="202260"/>
                  </a:lnTo>
                  <a:lnTo>
                    <a:pt x="1199312" y="202959"/>
                  </a:lnTo>
                  <a:lnTo>
                    <a:pt x="1199312" y="202260"/>
                  </a:lnTo>
                  <a:lnTo>
                    <a:pt x="1199414" y="202959"/>
                  </a:lnTo>
                  <a:lnTo>
                    <a:pt x="1199414" y="202260"/>
                  </a:lnTo>
                  <a:lnTo>
                    <a:pt x="1199414" y="202959"/>
                  </a:lnTo>
                  <a:lnTo>
                    <a:pt x="1199414" y="202260"/>
                  </a:lnTo>
                  <a:lnTo>
                    <a:pt x="1199414" y="202959"/>
                  </a:lnTo>
                  <a:lnTo>
                    <a:pt x="1199414" y="202260"/>
                  </a:lnTo>
                  <a:lnTo>
                    <a:pt x="1199465" y="202260"/>
                  </a:lnTo>
                  <a:lnTo>
                    <a:pt x="1199465" y="202959"/>
                  </a:lnTo>
                  <a:lnTo>
                    <a:pt x="1199465" y="202260"/>
                  </a:lnTo>
                  <a:lnTo>
                    <a:pt x="1199465" y="202959"/>
                  </a:lnTo>
                  <a:lnTo>
                    <a:pt x="1199465" y="202260"/>
                  </a:lnTo>
                  <a:lnTo>
                    <a:pt x="1199515" y="202260"/>
                  </a:lnTo>
                  <a:lnTo>
                    <a:pt x="1199515" y="202959"/>
                  </a:lnTo>
                  <a:lnTo>
                    <a:pt x="1199515" y="200876"/>
                  </a:lnTo>
                  <a:lnTo>
                    <a:pt x="1199515" y="202260"/>
                  </a:lnTo>
                  <a:lnTo>
                    <a:pt x="1199515" y="200876"/>
                  </a:lnTo>
                  <a:lnTo>
                    <a:pt x="1199566" y="200876"/>
                  </a:lnTo>
                  <a:lnTo>
                    <a:pt x="1199566" y="202959"/>
                  </a:lnTo>
                  <a:lnTo>
                    <a:pt x="1199566" y="200876"/>
                  </a:lnTo>
                  <a:lnTo>
                    <a:pt x="1199566" y="202959"/>
                  </a:lnTo>
                  <a:lnTo>
                    <a:pt x="1199655" y="203594"/>
                  </a:lnTo>
                  <a:lnTo>
                    <a:pt x="1199655" y="204292"/>
                  </a:lnTo>
                  <a:lnTo>
                    <a:pt x="1199655" y="202260"/>
                  </a:lnTo>
                  <a:lnTo>
                    <a:pt x="1199655" y="203594"/>
                  </a:lnTo>
                  <a:lnTo>
                    <a:pt x="1199706" y="203594"/>
                  </a:lnTo>
                  <a:lnTo>
                    <a:pt x="1199706" y="202959"/>
                  </a:lnTo>
                  <a:lnTo>
                    <a:pt x="1199706" y="203594"/>
                  </a:lnTo>
                  <a:lnTo>
                    <a:pt x="1199706" y="202959"/>
                  </a:lnTo>
                  <a:lnTo>
                    <a:pt x="1199706" y="203594"/>
                  </a:lnTo>
                  <a:lnTo>
                    <a:pt x="1199757" y="203594"/>
                  </a:lnTo>
                  <a:lnTo>
                    <a:pt x="1199757" y="204292"/>
                  </a:lnTo>
                  <a:lnTo>
                    <a:pt x="1199808" y="204292"/>
                  </a:lnTo>
                  <a:lnTo>
                    <a:pt x="1199808" y="203594"/>
                  </a:lnTo>
                  <a:lnTo>
                    <a:pt x="1199909" y="203594"/>
                  </a:lnTo>
                  <a:lnTo>
                    <a:pt x="1199909" y="202959"/>
                  </a:lnTo>
                  <a:lnTo>
                    <a:pt x="1199909" y="203594"/>
                  </a:lnTo>
                  <a:lnTo>
                    <a:pt x="1199909" y="202959"/>
                  </a:lnTo>
                  <a:lnTo>
                    <a:pt x="1199909" y="203594"/>
                  </a:lnTo>
                  <a:lnTo>
                    <a:pt x="1199909" y="202959"/>
                  </a:lnTo>
                  <a:lnTo>
                    <a:pt x="1199909" y="203594"/>
                  </a:lnTo>
                  <a:lnTo>
                    <a:pt x="1199909" y="202959"/>
                  </a:lnTo>
                  <a:lnTo>
                    <a:pt x="1199960" y="202959"/>
                  </a:lnTo>
                  <a:lnTo>
                    <a:pt x="1199960" y="202260"/>
                  </a:lnTo>
                  <a:lnTo>
                    <a:pt x="1199960" y="202959"/>
                  </a:lnTo>
                  <a:lnTo>
                    <a:pt x="1199960" y="202260"/>
                  </a:lnTo>
                  <a:lnTo>
                    <a:pt x="1200011" y="202260"/>
                  </a:lnTo>
                  <a:lnTo>
                    <a:pt x="1200011" y="200228"/>
                  </a:lnTo>
                  <a:lnTo>
                    <a:pt x="1200011" y="200876"/>
                  </a:lnTo>
                  <a:lnTo>
                    <a:pt x="1200011" y="199530"/>
                  </a:lnTo>
                  <a:lnTo>
                    <a:pt x="1200011" y="202260"/>
                  </a:lnTo>
                  <a:lnTo>
                    <a:pt x="1200112" y="202260"/>
                  </a:lnTo>
                  <a:lnTo>
                    <a:pt x="1200112" y="200228"/>
                  </a:lnTo>
                  <a:lnTo>
                    <a:pt x="1200112" y="202959"/>
                  </a:lnTo>
                  <a:lnTo>
                    <a:pt x="1200150" y="202959"/>
                  </a:lnTo>
                  <a:lnTo>
                    <a:pt x="1200150" y="200876"/>
                  </a:lnTo>
                  <a:lnTo>
                    <a:pt x="1200150" y="203594"/>
                  </a:lnTo>
                  <a:lnTo>
                    <a:pt x="1200150" y="202959"/>
                  </a:lnTo>
                  <a:lnTo>
                    <a:pt x="1200201" y="202959"/>
                  </a:lnTo>
                  <a:lnTo>
                    <a:pt x="1200201" y="203594"/>
                  </a:lnTo>
                  <a:lnTo>
                    <a:pt x="1200201" y="202260"/>
                  </a:lnTo>
                  <a:lnTo>
                    <a:pt x="1200201" y="203594"/>
                  </a:lnTo>
                  <a:lnTo>
                    <a:pt x="1200252" y="203594"/>
                  </a:lnTo>
                  <a:lnTo>
                    <a:pt x="1200252" y="202959"/>
                  </a:lnTo>
                  <a:lnTo>
                    <a:pt x="1200252" y="203594"/>
                  </a:lnTo>
                  <a:lnTo>
                    <a:pt x="1200252" y="202959"/>
                  </a:lnTo>
                  <a:lnTo>
                    <a:pt x="1200252" y="203594"/>
                  </a:lnTo>
                  <a:lnTo>
                    <a:pt x="1200354" y="203594"/>
                  </a:lnTo>
                  <a:lnTo>
                    <a:pt x="1200354" y="202260"/>
                  </a:lnTo>
                  <a:lnTo>
                    <a:pt x="1200354" y="202959"/>
                  </a:lnTo>
                  <a:lnTo>
                    <a:pt x="1200405" y="202959"/>
                  </a:lnTo>
                  <a:lnTo>
                    <a:pt x="1200405" y="202260"/>
                  </a:lnTo>
                  <a:lnTo>
                    <a:pt x="1200405" y="202959"/>
                  </a:lnTo>
                  <a:lnTo>
                    <a:pt x="1200405" y="202260"/>
                  </a:lnTo>
                  <a:lnTo>
                    <a:pt x="1200405" y="202959"/>
                  </a:lnTo>
                  <a:lnTo>
                    <a:pt x="1200405" y="200876"/>
                  </a:lnTo>
                  <a:lnTo>
                    <a:pt x="1200455" y="200876"/>
                  </a:lnTo>
                  <a:lnTo>
                    <a:pt x="1200455" y="202260"/>
                  </a:lnTo>
                  <a:lnTo>
                    <a:pt x="1200455" y="200228"/>
                  </a:lnTo>
                  <a:lnTo>
                    <a:pt x="1200455" y="200876"/>
                  </a:lnTo>
                  <a:lnTo>
                    <a:pt x="1200455" y="200228"/>
                  </a:lnTo>
                  <a:lnTo>
                    <a:pt x="1200557" y="200228"/>
                  </a:lnTo>
                  <a:lnTo>
                    <a:pt x="1200557" y="198831"/>
                  </a:lnTo>
                  <a:lnTo>
                    <a:pt x="1200557" y="200228"/>
                  </a:lnTo>
                  <a:lnTo>
                    <a:pt x="1200608" y="200228"/>
                  </a:lnTo>
                  <a:lnTo>
                    <a:pt x="1200608" y="199530"/>
                  </a:lnTo>
                  <a:lnTo>
                    <a:pt x="1200608" y="200876"/>
                  </a:lnTo>
                  <a:lnTo>
                    <a:pt x="1200659" y="200876"/>
                  </a:lnTo>
                  <a:lnTo>
                    <a:pt x="1200659" y="200228"/>
                  </a:lnTo>
                  <a:lnTo>
                    <a:pt x="1200659" y="202260"/>
                  </a:lnTo>
                  <a:lnTo>
                    <a:pt x="1200659" y="200876"/>
                  </a:lnTo>
                  <a:lnTo>
                    <a:pt x="1200659" y="202260"/>
                  </a:lnTo>
                  <a:lnTo>
                    <a:pt x="1200697" y="202260"/>
                  </a:lnTo>
                  <a:lnTo>
                    <a:pt x="1200697" y="200876"/>
                  </a:lnTo>
                  <a:lnTo>
                    <a:pt x="1200697" y="202959"/>
                  </a:lnTo>
                  <a:lnTo>
                    <a:pt x="1200798" y="202959"/>
                  </a:lnTo>
                  <a:lnTo>
                    <a:pt x="1200798" y="203594"/>
                  </a:lnTo>
                  <a:lnTo>
                    <a:pt x="1200798" y="202959"/>
                  </a:lnTo>
                  <a:lnTo>
                    <a:pt x="1200798" y="203594"/>
                  </a:lnTo>
                  <a:lnTo>
                    <a:pt x="1200798" y="202959"/>
                  </a:lnTo>
                  <a:lnTo>
                    <a:pt x="1200798" y="203594"/>
                  </a:lnTo>
                  <a:lnTo>
                    <a:pt x="1200849" y="203594"/>
                  </a:lnTo>
                  <a:lnTo>
                    <a:pt x="1200849" y="202959"/>
                  </a:lnTo>
                  <a:lnTo>
                    <a:pt x="1200849" y="203594"/>
                  </a:lnTo>
                  <a:lnTo>
                    <a:pt x="1200849" y="202959"/>
                  </a:lnTo>
                  <a:lnTo>
                    <a:pt x="1200849" y="203594"/>
                  </a:lnTo>
                  <a:lnTo>
                    <a:pt x="1200849" y="202959"/>
                  </a:lnTo>
                  <a:lnTo>
                    <a:pt x="1200900" y="203594"/>
                  </a:lnTo>
                  <a:lnTo>
                    <a:pt x="1200900" y="202959"/>
                  </a:lnTo>
                  <a:lnTo>
                    <a:pt x="1200900" y="203594"/>
                  </a:lnTo>
                  <a:lnTo>
                    <a:pt x="1200900" y="202959"/>
                  </a:lnTo>
                  <a:lnTo>
                    <a:pt x="1201001" y="202959"/>
                  </a:lnTo>
                  <a:lnTo>
                    <a:pt x="1201001" y="200228"/>
                  </a:lnTo>
                  <a:lnTo>
                    <a:pt x="1201052" y="200228"/>
                  </a:lnTo>
                  <a:lnTo>
                    <a:pt x="1201052" y="198831"/>
                  </a:lnTo>
                  <a:lnTo>
                    <a:pt x="1201052" y="200228"/>
                  </a:lnTo>
                  <a:lnTo>
                    <a:pt x="1201103" y="200228"/>
                  </a:lnTo>
                  <a:lnTo>
                    <a:pt x="1201103" y="198831"/>
                  </a:lnTo>
                  <a:lnTo>
                    <a:pt x="1201103" y="202260"/>
                  </a:lnTo>
                  <a:lnTo>
                    <a:pt x="1201103" y="200876"/>
                  </a:lnTo>
                  <a:lnTo>
                    <a:pt x="1201103" y="202260"/>
                  </a:lnTo>
                  <a:lnTo>
                    <a:pt x="1201154" y="200876"/>
                  </a:lnTo>
                  <a:lnTo>
                    <a:pt x="1201154" y="200228"/>
                  </a:lnTo>
                  <a:lnTo>
                    <a:pt x="1201154" y="202260"/>
                  </a:lnTo>
                  <a:lnTo>
                    <a:pt x="1201243" y="200876"/>
                  </a:lnTo>
                  <a:lnTo>
                    <a:pt x="1201243" y="200228"/>
                  </a:lnTo>
                  <a:lnTo>
                    <a:pt x="1201243" y="202260"/>
                  </a:lnTo>
                  <a:lnTo>
                    <a:pt x="1201243" y="200876"/>
                  </a:lnTo>
                  <a:lnTo>
                    <a:pt x="1201243" y="202260"/>
                  </a:lnTo>
                  <a:lnTo>
                    <a:pt x="1201243" y="200876"/>
                  </a:lnTo>
                  <a:lnTo>
                    <a:pt x="1201294" y="200876"/>
                  </a:lnTo>
                  <a:lnTo>
                    <a:pt x="1201294" y="202959"/>
                  </a:lnTo>
                  <a:lnTo>
                    <a:pt x="1201294" y="202260"/>
                  </a:lnTo>
                  <a:lnTo>
                    <a:pt x="1201344" y="202260"/>
                  </a:lnTo>
                  <a:lnTo>
                    <a:pt x="1201344" y="202959"/>
                  </a:lnTo>
                  <a:lnTo>
                    <a:pt x="1201344" y="202260"/>
                  </a:lnTo>
                  <a:lnTo>
                    <a:pt x="1201344" y="202959"/>
                  </a:lnTo>
                  <a:lnTo>
                    <a:pt x="1201395" y="202959"/>
                  </a:lnTo>
                  <a:lnTo>
                    <a:pt x="1201395" y="202260"/>
                  </a:lnTo>
                  <a:lnTo>
                    <a:pt x="1201395" y="202959"/>
                  </a:lnTo>
                  <a:lnTo>
                    <a:pt x="1201395" y="202260"/>
                  </a:lnTo>
                  <a:lnTo>
                    <a:pt x="1201395" y="202959"/>
                  </a:lnTo>
                  <a:lnTo>
                    <a:pt x="1201395" y="202260"/>
                  </a:lnTo>
                  <a:lnTo>
                    <a:pt x="1201395" y="202959"/>
                  </a:lnTo>
                  <a:lnTo>
                    <a:pt x="1201497" y="202959"/>
                  </a:lnTo>
                  <a:lnTo>
                    <a:pt x="1201497" y="200876"/>
                  </a:lnTo>
                  <a:lnTo>
                    <a:pt x="1201497" y="202260"/>
                  </a:lnTo>
                  <a:lnTo>
                    <a:pt x="1201497" y="200876"/>
                  </a:lnTo>
                  <a:lnTo>
                    <a:pt x="1201547" y="200228"/>
                  </a:lnTo>
                  <a:lnTo>
                    <a:pt x="1201547" y="200876"/>
                  </a:lnTo>
                  <a:lnTo>
                    <a:pt x="1201547" y="199530"/>
                  </a:lnTo>
                  <a:lnTo>
                    <a:pt x="1201547" y="200228"/>
                  </a:lnTo>
                  <a:lnTo>
                    <a:pt x="1201598" y="200228"/>
                  </a:lnTo>
                  <a:lnTo>
                    <a:pt x="1201598" y="202260"/>
                  </a:lnTo>
                  <a:lnTo>
                    <a:pt x="1201598" y="200228"/>
                  </a:lnTo>
                  <a:lnTo>
                    <a:pt x="1201598" y="200876"/>
                  </a:lnTo>
                  <a:lnTo>
                    <a:pt x="1201700" y="202260"/>
                  </a:lnTo>
                  <a:lnTo>
                    <a:pt x="1201700" y="202959"/>
                  </a:lnTo>
                  <a:lnTo>
                    <a:pt x="1201700" y="202260"/>
                  </a:lnTo>
                  <a:lnTo>
                    <a:pt x="1201700" y="202959"/>
                  </a:lnTo>
                  <a:lnTo>
                    <a:pt x="1201700" y="202260"/>
                  </a:lnTo>
                  <a:lnTo>
                    <a:pt x="1201700" y="202959"/>
                  </a:lnTo>
                  <a:lnTo>
                    <a:pt x="1201700" y="202260"/>
                  </a:lnTo>
                  <a:lnTo>
                    <a:pt x="1201738" y="202959"/>
                  </a:lnTo>
                  <a:lnTo>
                    <a:pt x="1201738" y="202260"/>
                  </a:lnTo>
                  <a:lnTo>
                    <a:pt x="1201738" y="202959"/>
                  </a:lnTo>
                  <a:lnTo>
                    <a:pt x="1201738" y="202260"/>
                  </a:lnTo>
                  <a:lnTo>
                    <a:pt x="1201738" y="202959"/>
                  </a:lnTo>
                  <a:lnTo>
                    <a:pt x="1201789" y="202260"/>
                  </a:lnTo>
                  <a:lnTo>
                    <a:pt x="1201789" y="202959"/>
                  </a:lnTo>
                  <a:lnTo>
                    <a:pt x="1201789" y="202260"/>
                  </a:lnTo>
                  <a:lnTo>
                    <a:pt x="1201789" y="202959"/>
                  </a:lnTo>
                  <a:lnTo>
                    <a:pt x="1201840" y="202959"/>
                  </a:lnTo>
                  <a:lnTo>
                    <a:pt x="1201840" y="202260"/>
                  </a:lnTo>
                  <a:lnTo>
                    <a:pt x="1201840" y="202959"/>
                  </a:lnTo>
                  <a:lnTo>
                    <a:pt x="1201941" y="202959"/>
                  </a:lnTo>
                  <a:lnTo>
                    <a:pt x="1201941" y="202260"/>
                  </a:lnTo>
                  <a:lnTo>
                    <a:pt x="1201941" y="202959"/>
                  </a:lnTo>
                  <a:lnTo>
                    <a:pt x="1201941" y="202260"/>
                  </a:lnTo>
                  <a:lnTo>
                    <a:pt x="1201941" y="202959"/>
                  </a:lnTo>
                  <a:lnTo>
                    <a:pt x="1201941" y="202260"/>
                  </a:lnTo>
                  <a:lnTo>
                    <a:pt x="1201992" y="202260"/>
                  </a:lnTo>
                  <a:lnTo>
                    <a:pt x="1201992" y="200228"/>
                  </a:lnTo>
                  <a:lnTo>
                    <a:pt x="1201992" y="200876"/>
                  </a:lnTo>
                  <a:lnTo>
                    <a:pt x="1201992" y="199530"/>
                  </a:lnTo>
                  <a:lnTo>
                    <a:pt x="1202043" y="199530"/>
                  </a:lnTo>
                  <a:lnTo>
                    <a:pt x="1202043" y="200228"/>
                  </a:lnTo>
                  <a:lnTo>
                    <a:pt x="1202144" y="199530"/>
                  </a:lnTo>
                  <a:lnTo>
                    <a:pt x="1202144" y="200876"/>
                  </a:lnTo>
                  <a:lnTo>
                    <a:pt x="1202144" y="200228"/>
                  </a:lnTo>
                  <a:lnTo>
                    <a:pt x="1202144" y="200876"/>
                  </a:lnTo>
                  <a:lnTo>
                    <a:pt x="1202144" y="200228"/>
                  </a:lnTo>
                  <a:lnTo>
                    <a:pt x="1202195" y="200228"/>
                  </a:lnTo>
                  <a:lnTo>
                    <a:pt x="1202195" y="202260"/>
                  </a:lnTo>
                  <a:lnTo>
                    <a:pt x="1202195" y="200876"/>
                  </a:lnTo>
                  <a:lnTo>
                    <a:pt x="1202195" y="202260"/>
                  </a:lnTo>
                  <a:lnTo>
                    <a:pt x="1202195" y="200876"/>
                  </a:lnTo>
                  <a:lnTo>
                    <a:pt x="1202195" y="202260"/>
                  </a:lnTo>
                  <a:lnTo>
                    <a:pt x="1202246" y="202260"/>
                  </a:lnTo>
                  <a:lnTo>
                    <a:pt x="1202246" y="200876"/>
                  </a:lnTo>
                  <a:lnTo>
                    <a:pt x="1202246" y="202260"/>
                  </a:lnTo>
                  <a:lnTo>
                    <a:pt x="1202246" y="200876"/>
                  </a:lnTo>
                  <a:lnTo>
                    <a:pt x="1202246" y="202260"/>
                  </a:lnTo>
                  <a:lnTo>
                    <a:pt x="1202246" y="200876"/>
                  </a:lnTo>
                  <a:lnTo>
                    <a:pt x="1202246" y="202260"/>
                  </a:lnTo>
                  <a:lnTo>
                    <a:pt x="1202284" y="202260"/>
                  </a:lnTo>
                  <a:lnTo>
                    <a:pt x="1202284" y="200876"/>
                  </a:lnTo>
                  <a:lnTo>
                    <a:pt x="1202284" y="202959"/>
                  </a:lnTo>
                  <a:lnTo>
                    <a:pt x="1202284" y="202260"/>
                  </a:lnTo>
                  <a:lnTo>
                    <a:pt x="1202437" y="202260"/>
                  </a:lnTo>
                  <a:lnTo>
                    <a:pt x="1202437" y="200876"/>
                  </a:lnTo>
                  <a:lnTo>
                    <a:pt x="1202487" y="200876"/>
                  </a:lnTo>
                  <a:lnTo>
                    <a:pt x="1202487" y="199530"/>
                  </a:lnTo>
                  <a:lnTo>
                    <a:pt x="1202487" y="200228"/>
                  </a:lnTo>
                  <a:lnTo>
                    <a:pt x="1202589" y="200228"/>
                  </a:lnTo>
                  <a:lnTo>
                    <a:pt x="1202589" y="199530"/>
                  </a:lnTo>
                  <a:lnTo>
                    <a:pt x="1202589" y="200876"/>
                  </a:lnTo>
                  <a:lnTo>
                    <a:pt x="1202640" y="202260"/>
                  </a:lnTo>
                  <a:lnTo>
                    <a:pt x="1202640" y="200228"/>
                  </a:lnTo>
                  <a:lnTo>
                    <a:pt x="1202640" y="202260"/>
                  </a:lnTo>
                  <a:lnTo>
                    <a:pt x="1202690" y="202260"/>
                  </a:lnTo>
                  <a:lnTo>
                    <a:pt x="1202690" y="200876"/>
                  </a:lnTo>
                  <a:lnTo>
                    <a:pt x="1202690" y="202959"/>
                  </a:lnTo>
                  <a:lnTo>
                    <a:pt x="1202690" y="202260"/>
                  </a:lnTo>
                  <a:lnTo>
                    <a:pt x="1202741" y="202260"/>
                  </a:lnTo>
                  <a:lnTo>
                    <a:pt x="1202741" y="202959"/>
                  </a:lnTo>
                  <a:lnTo>
                    <a:pt x="1202741" y="202260"/>
                  </a:lnTo>
                  <a:lnTo>
                    <a:pt x="1202741" y="202959"/>
                  </a:lnTo>
                  <a:lnTo>
                    <a:pt x="1202741" y="202260"/>
                  </a:lnTo>
                  <a:lnTo>
                    <a:pt x="1202830" y="202260"/>
                  </a:lnTo>
                  <a:lnTo>
                    <a:pt x="1202830" y="202959"/>
                  </a:lnTo>
                  <a:lnTo>
                    <a:pt x="1202830" y="202260"/>
                  </a:lnTo>
                  <a:lnTo>
                    <a:pt x="1202830" y="202959"/>
                  </a:lnTo>
                  <a:lnTo>
                    <a:pt x="1202881" y="202959"/>
                  </a:lnTo>
                  <a:lnTo>
                    <a:pt x="1202881" y="203594"/>
                  </a:lnTo>
                  <a:lnTo>
                    <a:pt x="1202881" y="202959"/>
                  </a:lnTo>
                  <a:lnTo>
                    <a:pt x="1202881" y="203594"/>
                  </a:lnTo>
                  <a:lnTo>
                    <a:pt x="1202881" y="202959"/>
                  </a:lnTo>
                  <a:lnTo>
                    <a:pt x="1202932" y="202959"/>
                  </a:lnTo>
                  <a:lnTo>
                    <a:pt x="1202932" y="202260"/>
                  </a:lnTo>
                  <a:lnTo>
                    <a:pt x="1202932" y="202959"/>
                  </a:lnTo>
                  <a:lnTo>
                    <a:pt x="1202932" y="200876"/>
                  </a:lnTo>
                  <a:lnTo>
                    <a:pt x="1202983" y="200876"/>
                  </a:lnTo>
                  <a:lnTo>
                    <a:pt x="1202983" y="199530"/>
                  </a:lnTo>
                  <a:lnTo>
                    <a:pt x="1202983" y="202260"/>
                  </a:lnTo>
                  <a:lnTo>
                    <a:pt x="1203084" y="202260"/>
                  </a:lnTo>
                  <a:lnTo>
                    <a:pt x="1203084" y="199530"/>
                  </a:lnTo>
                  <a:lnTo>
                    <a:pt x="1203084" y="200228"/>
                  </a:lnTo>
                  <a:lnTo>
                    <a:pt x="1203084" y="199530"/>
                  </a:lnTo>
                  <a:lnTo>
                    <a:pt x="1203084" y="202959"/>
                  </a:lnTo>
                  <a:lnTo>
                    <a:pt x="1203084" y="202260"/>
                  </a:lnTo>
                  <a:lnTo>
                    <a:pt x="1203135" y="202260"/>
                  </a:lnTo>
                  <a:lnTo>
                    <a:pt x="1203135" y="202959"/>
                  </a:lnTo>
                  <a:lnTo>
                    <a:pt x="1203186" y="202260"/>
                  </a:lnTo>
                  <a:lnTo>
                    <a:pt x="1203186" y="203594"/>
                  </a:lnTo>
                  <a:lnTo>
                    <a:pt x="1203186" y="202959"/>
                  </a:lnTo>
                  <a:lnTo>
                    <a:pt x="1203186" y="203594"/>
                  </a:lnTo>
                  <a:lnTo>
                    <a:pt x="1203287" y="203594"/>
                  </a:lnTo>
                  <a:lnTo>
                    <a:pt x="1203287" y="202959"/>
                  </a:lnTo>
                  <a:lnTo>
                    <a:pt x="1203376" y="202959"/>
                  </a:lnTo>
                  <a:lnTo>
                    <a:pt x="1203376" y="202260"/>
                  </a:lnTo>
                  <a:lnTo>
                    <a:pt x="1203376" y="202959"/>
                  </a:lnTo>
                  <a:lnTo>
                    <a:pt x="1203376" y="202260"/>
                  </a:lnTo>
                  <a:lnTo>
                    <a:pt x="1203427" y="202260"/>
                  </a:lnTo>
                  <a:lnTo>
                    <a:pt x="1203427" y="200876"/>
                  </a:lnTo>
                  <a:lnTo>
                    <a:pt x="1203427" y="202260"/>
                  </a:lnTo>
                  <a:lnTo>
                    <a:pt x="1203427" y="200228"/>
                  </a:lnTo>
                  <a:lnTo>
                    <a:pt x="1203529" y="200228"/>
                  </a:lnTo>
                  <a:lnTo>
                    <a:pt x="1203529" y="199530"/>
                  </a:lnTo>
                  <a:lnTo>
                    <a:pt x="1203529" y="200228"/>
                  </a:lnTo>
                  <a:lnTo>
                    <a:pt x="1203529" y="199530"/>
                  </a:lnTo>
                  <a:lnTo>
                    <a:pt x="1203529" y="202260"/>
                  </a:lnTo>
                  <a:lnTo>
                    <a:pt x="1203529" y="200228"/>
                  </a:lnTo>
                  <a:lnTo>
                    <a:pt x="1203580" y="200228"/>
                  </a:lnTo>
                  <a:lnTo>
                    <a:pt x="1203580" y="199530"/>
                  </a:lnTo>
                  <a:lnTo>
                    <a:pt x="1203580" y="203594"/>
                  </a:lnTo>
                  <a:lnTo>
                    <a:pt x="1203580" y="202260"/>
                  </a:lnTo>
                  <a:lnTo>
                    <a:pt x="1203630" y="202260"/>
                  </a:lnTo>
                  <a:lnTo>
                    <a:pt x="1203630" y="203594"/>
                  </a:lnTo>
                  <a:lnTo>
                    <a:pt x="1203630" y="202959"/>
                  </a:lnTo>
                  <a:lnTo>
                    <a:pt x="1203732" y="202959"/>
                  </a:lnTo>
                  <a:lnTo>
                    <a:pt x="1203732" y="203594"/>
                  </a:lnTo>
                  <a:lnTo>
                    <a:pt x="1203732" y="202959"/>
                  </a:lnTo>
                  <a:lnTo>
                    <a:pt x="1203732" y="203594"/>
                  </a:lnTo>
                  <a:lnTo>
                    <a:pt x="1203783" y="202959"/>
                  </a:lnTo>
                  <a:lnTo>
                    <a:pt x="1203783" y="203594"/>
                  </a:lnTo>
                  <a:lnTo>
                    <a:pt x="1203783" y="202959"/>
                  </a:lnTo>
                  <a:lnTo>
                    <a:pt x="1203783" y="203594"/>
                  </a:lnTo>
                  <a:lnTo>
                    <a:pt x="1203834" y="203594"/>
                  </a:lnTo>
                  <a:lnTo>
                    <a:pt x="1203834" y="202959"/>
                  </a:lnTo>
                  <a:lnTo>
                    <a:pt x="1203834" y="203594"/>
                  </a:lnTo>
                  <a:lnTo>
                    <a:pt x="1203872" y="203594"/>
                  </a:lnTo>
                  <a:lnTo>
                    <a:pt x="1203872" y="202959"/>
                  </a:lnTo>
                  <a:lnTo>
                    <a:pt x="1203973" y="202260"/>
                  </a:lnTo>
                  <a:lnTo>
                    <a:pt x="1203973" y="200876"/>
                  </a:lnTo>
                  <a:lnTo>
                    <a:pt x="1203973" y="202260"/>
                  </a:lnTo>
                  <a:lnTo>
                    <a:pt x="1203973" y="200228"/>
                  </a:lnTo>
                  <a:lnTo>
                    <a:pt x="1204024" y="200228"/>
                  </a:lnTo>
                  <a:lnTo>
                    <a:pt x="1204024" y="202260"/>
                  </a:lnTo>
                  <a:lnTo>
                    <a:pt x="1204024" y="200228"/>
                  </a:lnTo>
                  <a:lnTo>
                    <a:pt x="1204024" y="202260"/>
                  </a:lnTo>
                  <a:lnTo>
                    <a:pt x="1204075" y="202260"/>
                  </a:lnTo>
                  <a:lnTo>
                    <a:pt x="1204075" y="203594"/>
                  </a:lnTo>
                  <a:lnTo>
                    <a:pt x="1204075" y="202260"/>
                  </a:lnTo>
                  <a:lnTo>
                    <a:pt x="1204075" y="202959"/>
                  </a:lnTo>
                  <a:lnTo>
                    <a:pt x="1204176" y="203594"/>
                  </a:lnTo>
                  <a:lnTo>
                    <a:pt x="1204176" y="202959"/>
                  </a:lnTo>
                  <a:lnTo>
                    <a:pt x="1204176" y="203594"/>
                  </a:lnTo>
                  <a:lnTo>
                    <a:pt x="1204176" y="202959"/>
                  </a:lnTo>
                  <a:lnTo>
                    <a:pt x="1204176" y="203594"/>
                  </a:lnTo>
                  <a:lnTo>
                    <a:pt x="1204227" y="203594"/>
                  </a:lnTo>
                  <a:lnTo>
                    <a:pt x="1204227" y="202959"/>
                  </a:lnTo>
                  <a:lnTo>
                    <a:pt x="1204227" y="203594"/>
                  </a:lnTo>
                  <a:lnTo>
                    <a:pt x="1204227" y="202959"/>
                  </a:lnTo>
                  <a:lnTo>
                    <a:pt x="1204227" y="203594"/>
                  </a:lnTo>
                  <a:lnTo>
                    <a:pt x="1204278" y="203594"/>
                  </a:lnTo>
                  <a:lnTo>
                    <a:pt x="1204278" y="202959"/>
                  </a:lnTo>
                  <a:lnTo>
                    <a:pt x="1204278" y="203594"/>
                  </a:lnTo>
                  <a:lnTo>
                    <a:pt x="1204329" y="203594"/>
                  </a:lnTo>
                  <a:lnTo>
                    <a:pt x="1204329" y="204292"/>
                  </a:lnTo>
                  <a:lnTo>
                    <a:pt x="1204329" y="203594"/>
                  </a:lnTo>
                  <a:lnTo>
                    <a:pt x="1204418" y="203594"/>
                  </a:lnTo>
                  <a:lnTo>
                    <a:pt x="1204418" y="202260"/>
                  </a:lnTo>
                  <a:lnTo>
                    <a:pt x="1204469" y="202260"/>
                  </a:lnTo>
                  <a:lnTo>
                    <a:pt x="1204469" y="199530"/>
                  </a:lnTo>
                  <a:lnTo>
                    <a:pt x="1204469" y="200228"/>
                  </a:lnTo>
                  <a:lnTo>
                    <a:pt x="1204469" y="199530"/>
                  </a:lnTo>
                  <a:lnTo>
                    <a:pt x="1204519" y="198831"/>
                  </a:lnTo>
                  <a:lnTo>
                    <a:pt x="1204519" y="197447"/>
                  </a:lnTo>
                  <a:lnTo>
                    <a:pt x="1204519" y="200228"/>
                  </a:lnTo>
                  <a:lnTo>
                    <a:pt x="1204519" y="198831"/>
                  </a:lnTo>
                  <a:lnTo>
                    <a:pt x="1204570" y="198831"/>
                  </a:lnTo>
                  <a:lnTo>
                    <a:pt x="1204570" y="202260"/>
                  </a:lnTo>
                  <a:lnTo>
                    <a:pt x="1204570" y="200228"/>
                  </a:lnTo>
                  <a:lnTo>
                    <a:pt x="1204672" y="200876"/>
                  </a:lnTo>
                  <a:lnTo>
                    <a:pt x="1204672" y="202260"/>
                  </a:lnTo>
                  <a:lnTo>
                    <a:pt x="1204672" y="200876"/>
                  </a:lnTo>
                  <a:lnTo>
                    <a:pt x="1204672" y="202260"/>
                  </a:lnTo>
                  <a:lnTo>
                    <a:pt x="1204672" y="200876"/>
                  </a:lnTo>
                  <a:lnTo>
                    <a:pt x="1204722" y="202260"/>
                  </a:lnTo>
                  <a:lnTo>
                    <a:pt x="1204722" y="202959"/>
                  </a:lnTo>
                  <a:lnTo>
                    <a:pt x="1204773" y="202959"/>
                  </a:lnTo>
                  <a:lnTo>
                    <a:pt x="1204773" y="202260"/>
                  </a:lnTo>
                  <a:lnTo>
                    <a:pt x="1204773" y="203594"/>
                  </a:lnTo>
                  <a:lnTo>
                    <a:pt x="1204875" y="204292"/>
                  </a:lnTo>
                  <a:lnTo>
                    <a:pt x="1204875" y="202959"/>
                  </a:lnTo>
                  <a:lnTo>
                    <a:pt x="1204875" y="203594"/>
                  </a:lnTo>
                  <a:lnTo>
                    <a:pt x="1204875" y="202959"/>
                  </a:lnTo>
                  <a:lnTo>
                    <a:pt x="1204875" y="203594"/>
                  </a:lnTo>
                  <a:lnTo>
                    <a:pt x="1204913" y="203594"/>
                  </a:lnTo>
                  <a:lnTo>
                    <a:pt x="1204913" y="200876"/>
                  </a:lnTo>
                  <a:lnTo>
                    <a:pt x="1204913" y="202260"/>
                  </a:lnTo>
                  <a:lnTo>
                    <a:pt x="1204964" y="202260"/>
                  </a:lnTo>
                  <a:lnTo>
                    <a:pt x="1204964" y="199530"/>
                  </a:lnTo>
                  <a:lnTo>
                    <a:pt x="1204964" y="200228"/>
                  </a:lnTo>
                  <a:lnTo>
                    <a:pt x="1204964" y="199530"/>
                  </a:lnTo>
                  <a:lnTo>
                    <a:pt x="1205015" y="199530"/>
                  </a:lnTo>
                  <a:lnTo>
                    <a:pt x="1205015" y="197447"/>
                  </a:lnTo>
                  <a:lnTo>
                    <a:pt x="1205015" y="198831"/>
                  </a:lnTo>
                  <a:lnTo>
                    <a:pt x="1205116" y="198831"/>
                  </a:lnTo>
                  <a:lnTo>
                    <a:pt x="1205116" y="200228"/>
                  </a:lnTo>
                  <a:lnTo>
                    <a:pt x="1205116" y="199530"/>
                  </a:lnTo>
                  <a:lnTo>
                    <a:pt x="1205167" y="199530"/>
                  </a:lnTo>
                  <a:lnTo>
                    <a:pt x="1205167" y="200228"/>
                  </a:lnTo>
                  <a:lnTo>
                    <a:pt x="1205167" y="198831"/>
                  </a:lnTo>
                  <a:lnTo>
                    <a:pt x="1205167" y="199530"/>
                  </a:lnTo>
                  <a:lnTo>
                    <a:pt x="1205218" y="200228"/>
                  </a:lnTo>
                  <a:lnTo>
                    <a:pt x="1205218" y="200876"/>
                  </a:lnTo>
                  <a:lnTo>
                    <a:pt x="1205218" y="200228"/>
                  </a:lnTo>
                  <a:lnTo>
                    <a:pt x="1205218" y="200876"/>
                  </a:lnTo>
                  <a:lnTo>
                    <a:pt x="1205218" y="200228"/>
                  </a:lnTo>
                  <a:lnTo>
                    <a:pt x="1205319" y="200228"/>
                  </a:lnTo>
                  <a:lnTo>
                    <a:pt x="1205319" y="202260"/>
                  </a:lnTo>
                  <a:lnTo>
                    <a:pt x="1205319" y="200876"/>
                  </a:lnTo>
                  <a:lnTo>
                    <a:pt x="1205319" y="202260"/>
                  </a:lnTo>
                  <a:lnTo>
                    <a:pt x="1205319" y="200876"/>
                  </a:lnTo>
                  <a:lnTo>
                    <a:pt x="1205319" y="202260"/>
                  </a:lnTo>
                  <a:lnTo>
                    <a:pt x="1205370" y="202260"/>
                  </a:lnTo>
                  <a:lnTo>
                    <a:pt x="1205370" y="202959"/>
                  </a:lnTo>
                  <a:lnTo>
                    <a:pt x="1205370" y="202260"/>
                  </a:lnTo>
                  <a:lnTo>
                    <a:pt x="1205370" y="202959"/>
                  </a:lnTo>
                  <a:lnTo>
                    <a:pt x="1205421" y="202260"/>
                  </a:lnTo>
                  <a:lnTo>
                    <a:pt x="1205421" y="200876"/>
                  </a:lnTo>
                  <a:lnTo>
                    <a:pt x="1205459" y="200876"/>
                  </a:lnTo>
                  <a:lnTo>
                    <a:pt x="1205459" y="200228"/>
                  </a:lnTo>
                  <a:lnTo>
                    <a:pt x="1205459" y="202959"/>
                  </a:lnTo>
                  <a:lnTo>
                    <a:pt x="1205561" y="202959"/>
                  </a:lnTo>
                  <a:lnTo>
                    <a:pt x="1205561" y="200228"/>
                  </a:lnTo>
                  <a:lnTo>
                    <a:pt x="1205561" y="203594"/>
                  </a:lnTo>
                  <a:lnTo>
                    <a:pt x="1205612" y="202959"/>
                  </a:lnTo>
                  <a:lnTo>
                    <a:pt x="1205612" y="202260"/>
                  </a:lnTo>
                  <a:lnTo>
                    <a:pt x="1205612" y="203594"/>
                  </a:lnTo>
                  <a:lnTo>
                    <a:pt x="1205612" y="202959"/>
                  </a:lnTo>
                  <a:lnTo>
                    <a:pt x="1205662" y="202959"/>
                  </a:lnTo>
                  <a:lnTo>
                    <a:pt x="1205662" y="202260"/>
                  </a:lnTo>
                  <a:lnTo>
                    <a:pt x="1205662" y="202959"/>
                  </a:lnTo>
                  <a:lnTo>
                    <a:pt x="1205662" y="202260"/>
                  </a:lnTo>
                  <a:lnTo>
                    <a:pt x="1205662" y="202959"/>
                  </a:lnTo>
                  <a:lnTo>
                    <a:pt x="1205764" y="202959"/>
                  </a:lnTo>
                  <a:lnTo>
                    <a:pt x="1205764" y="202260"/>
                  </a:lnTo>
                  <a:lnTo>
                    <a:pt x="1205764" y="202959"/>
                  </a:lnTo>
                  <a:lnTo>
                    <a:pt x="1205764" y="202260"/>
                  </a:lnTo>
                  <a:lnTo>
                    <a:pt x="1205764" y="202959"/>
                  </a:lnTo>
                  <a:lnTo>
                    <a:pt x="1205764" y="202260"/>
                  </a:lnTo>
                  <a:lnTo>
                    <a:pt x="1205815" y="202959"/>
                  </a:lnTo>
                  <a:lnTo>
                    <a:pt x="1205815" y="203594"/>
                  </a:lnTo>
                  <a:lnTo>
                    <a:pt x="1205815" y="202260"/>
                  </a:lnTo>
                  <a:lnTo>
                    <a:pt x="1205815" y="202959"/>
                  </a:lnTo>
                  <a:lnTo>
                    <a:pt x="1205865" y="202959"/>
                  </a:lnTo>
                  <a:lnTo>
                    <a:pt x="1205865" y="202260"/>
                  </a:lnTo>
                  <a:lnTo>
                    <a:pt x="1205865" y="202959"/>
                  </a:lnTo>
                  <a:lnTo>
                    <a:pt x="1205865" y="202260"/>
                  </a:lnTo>
                  <a:lnTo>
                    <a:pt x="1205865" y="202959"/>
                  </a:lnTo>
                  <a:lnTo>
                    <a:pt x="1205865" y="202260"/>
                  </a:lnTo>
                  <a:lnTo>
                    <a:pt x="1205865" y="202959"/>
                  </a:lnTo>
                  <a:lnTo>
                    <a:pt x="1205865" y="202260"/>
                  </a:lnTo>
                  <a:lnTo>
                    <a:pt x="1205916" y="202260"/>
                  </a:lnTo>
                  <a:lnTo>
                    <a:pt x="1205916" y="200228"/>
                  </a:lnTo>
                  <a:lnTo>
                    <a:pt x="1205916" y="200876"/>
                  </a:lnTo>
                  <a:lnTo>
                    <a:pt x="1205916" y="199530"/>
                  </a:lnTo>
                  <a:lnTo>
                    <a:pt x="1206005" y="199530"/>
                  </a:lnTo>
                  <a:lnTo>
                    <a:pt x="1206005" y="202959"/>
                  </a:lnTo>
                  <a:lnTo>
                    <a:pt x="1206005" y="200228"/>
                  </a:lnTo>
                  <a:lnTo>
                    <a:pt x="1206056" y="200228"/>
                  </a:lnTo>
                  <a:lnTo>
                    <a:pt x="1206056" y="204292"/>
                  </a:lnTo>
                  <a:lnTo>
                    <a:pt x="1206056" y="202260"/>
                  </a:lnTo>
                  <a:lnTo>
                    <a:pt x="1206107" y="202260"/>
                  </a:lnTo>
                  <a:lnTo>
                    <a:pt x="1206107" y="204292"/>
                  </a:lnTo>
                  <a:lnTo>
                    <a:pt x="1206107" y="202260"/>
                  </a:lnTo>
                  <a:lnTo>
                    <a:pt x="1206107" y="202959"/>
                  </a:lnTo>
                  <a:lnTo>
                    <a:pt x="1206158" y="202959"/>
                  </a:lnTo>
                  <a:lnTo>
                    <a:pt x="1206158" y="202260"/>
                  </a:lnTo>
                  <a:lnTo>
                    <a:pt x="1206158" y="202959"/>
                  </a:lnTo>
                  <a:lnTo>
                    <a:pt x="1206310" y="202959"/>
                  </a:lnTo>
                  <a:lnTo>
                    <a:pt x="1206310" y="202260"/>
                  </a:lnTo>
                  <a:lnTo>
                    <a:pt x="1206310" y="202959"/>
                  </a:lnTo>
                  <a:lnTo>
                    <a:pt x="1206310" y="202260"/>
                  </a:lnTo>
                  <a:lnTo>
                    <a:pt x="1206310" y="202959"/>
                  </a:lnTo>
                  <a:lnTo>
                    <a:pt x="1206310" y="202260"/>
                  </a:lnTo>
                  <a:lnTo>
                    <a:pt x="1206361" y="202260"/>
                  </a:lnTo>
                  <a:lnTo>
                    <a:pt x="1206361" y="200876"/>
                  </a:lnTo>
                  <a:lnTo>
                    <a:pt x="1206361" y="202260"/>
                  </a:lnTo>
                  <a:lnTo>
                    <a:pt x="1206361" y="200228"/>
                  </a:lnTo>
                  <a:lnTo>
                    <a:pt x="1206361" y="200876"/>
                  </a:lnTo>
                  <a:lnTo>
                    <a:pt x="1206361" y="200228"/>
                  </a:lnTo>
                  <a:lnTo>
                    <a:pt x="1206462" y="200228"/>
                  </a:lnTo>
                  <a:lnTo>
                    <a:pt x="1206462" y="198831"/>
                  </a:lnTo>
                  <a:lnTo>
                    <a:pt x="1206462" y="199530"/>
                  </a:lnTo>
                  <a:lnTo>
                    <a:pt x="1206462" y="198831"/>
                  </a:lnTo>
                  <a:lnTo>
                    <a:pt x="1206500" y="199530"/>
                  </a:lnTo>
                  <a:lnTo>
                    <a:pt x="1206500" y="200876"/>
                  </a:lnTo>
                  <a:lnTo>
                    <a:pt x="1206500" y="198831"/>
                  </a:lnTo>
                  <a:lnTo>
                    <a:pt x="1206500" y="200876"/>
                  </a:lnTo>
                  <a:lnTo>
                    <a:pt x="1206551" y="202260"/>
                  </a:lnTo>
                  <a:lnTo>
                    <a:pt x="1206551" y="202959"/>
                  </a:lnTo>
                  <a:lnTo>
                    <a:pt x="1206551" y="200228"/>
                  </a:lnTo>
                  <a:lnTo>
                    <a:pt x="1206551" y="202959"/>
                  </a:lnTo>
                  <a:lnTo>
                    <a:pt x="1206602" y="202959"/>
                  </a:lnTo>
                  <a:lnTo>
                    <a:pt x="1206602" y="202260"/>
                  </a:lnTo>
                  <a:lnTo>
                    <a:pt x="1206602" y="202959"/>
                  </a:lnTo>
                  <a:lnTo>
                    <a:pt x="1206602" y="202260"/>
                  </a:lnTo>
                  <a:lnTo>
                    <a:pt x="1206704" y="202260"/>
                  </a:lnTo>
                  <a:lnTo>
                    <a:pt x="1206704" y="202959"/>
                  </a:lnTo>
                  <a:lnTo>
                    <a:pt x="1206704" y="202260"/>
                  </a:lnTo>
                  <a:lnTo>
                    <a:pt x="1206704" y="203594"/>
                  </a:lnTo>
                  <a:lnTo>
                    <a:pt x="1206755" y="202959"/>
                  </a:lnTo>
                  <a:lnTo>
                    <a:pt x="1206755" y="203594"/>
                  </a:lnTo>
                  <a:lnTo>
                    <a:pt x="1206755" y="202959"/>
                  </a:lnTo>
                  <a:lnTo>
                    <a:pt x="1206755" y="203594"/>
                  </a:lnTo>
                  <a:lnTo>
                    <a:pt x="1206755" y="202959"/>
                  </a:lnTo>
                  <a:lnTo>
                    <a:pt x="1206755" y="203594"/>
                  </a:lnTo>
                  <a:lnTo>
                    <a:pt x="1206805" y="203594"/>
                  </a:lnTo>
                  <a:lnTo>
                    <a:pt x="1206805" y="202959"/>
                  </a:lnTo>
                  <a:lnTo>
                    <a:pt x="1206805" y="203594"/>
                  </a:lnTo>
                  <a:lnTo>
                    <a:pt x="1206805" y="202260"/>
                  </a:lnTo>
                  <a:lnTo>
                    <a:pt x="1206907" y="202260"/>
                  </a:lnTo>
                  <a:lnTo>
                    <a:pt x="1206907" y="200228"/>
                  </a:lnTo>
                  <a:lnTo>
                    <a:pt x="1206958" y="200228"/>
                  </a:lnTo>
                  <a:lnTo>
                    <a:pt x="1206958" y="198831"/>
                  </a:lnTo>
                  <a:lnTo>
                    <a:pt x="1206958" y="200228"/>
                  </a:lnTo>
                  <a:lnTo>
                    <a:pt x="1207009" y="200228"/>
                  </a:lnTo>
                  <a:lnTo>
                    <a:pt x="1207009" y="200876"/>
                  </a:lnTo>
                  <a:lnTo>
                    <a:pt x="1207009" y="199530"/>
                  </a:lnTo>
                  <a:lnTo>
                    <a:pt x="1207009" y="202959"/>
                  </a:lnTo>
                  <a:lnTo>
                    <a:pt x="1207047" y="202260"/>
                  </a:lnTo>
                  <a:lnTo>
                    <a:pt x="1207047" y="200228"/>
                  </a:lnTo>
                  <a:lnTo>
                    <a:pt x="1207047" y="202260"/>
                  </a:lnTo>
                  <a:lnTo>
                    <a:pt x="1207047" y="200876"/>
                  </a:lnTo>
                  <a:lnTo>
                    <a:pt x="1207047" y="202260"/>
                  </a:lnTo>
                  <a:lnTo>
                    <a:pt x="1207148" y="200876"/>
                  </a:lnTo>
                  <a:lnTo>
                    <a:pt x="1207148" y="202260"/>
                  </a:lnTo>
                  <a:lnTo>
                    <a:pt x="1207148" y="200876"/>
                  </a:lnTo>
                  <a:lnTo>
                    <a:pt x="1207148" y="202260"/>
                  </a:lnTo>
                  <a:lnTo>
                    <a:pt x="1207199" y="202260"/>
                  </a:lnTo>
                  <a:lnTo>
                    <a:pt x="1207199" y="202959"/>
                  </a:lnTo>
                  <a:lnTo>
                    <a:pt x="1207199" y="202260"/>
                  </a:lnTo>
                  <a:lnTo>
                    <a:pt x="1207199" y="202959"/>
                  </a:lnTo>
                  <a:lnTo>
                    <a:pt x="1207250" y="202959"/>
                  </a:lnTo>
                  <a:lnTo>
                    <a:pt x="1207250" y="203594"/>
                  </a:lnTo>
                  <a:lnTo>
                    <a:pt x="1207250" y="202959"/>
                  </a:lnTo>
                  <a:lnTo>
                    <a:pt x="1207250" y="203594"/>
                  </a:lnTo>
                  <a:lnTo>
                    <a:pt x="1207250" y="202959"/>
                  </a:lnTo>
                  <a:lnTo>
                    <a:pt x="1207351" y="202959"/>
                  </a:lnTo>
                  <a:lnTo>
                    <a:pt x="1207351" y="202260"/>
                  </a:lnTo>
                  <a:lnTo>
                    <a:pt x="1207402" y="202260"/>
                  </a:lnTo>
                  <a:lnTo>
                    <a:pt x="1207402" y="200228"/>
                  </a:lnTo>
                  <a:lnTo>
                    <a:pt x="1207453" y="199530"/>
                  </a:lnTo>
                  <a:lnTo>
                    <a:pt x="1207453" y="200228"/>
                  </a:lnTo>
                  <a:lnTo>
                    <a:pt x="1207453" y="199530"/>
                  </a:lnTo>
                  <a:lnTo>
                    <a:pt x="1207453" y="200228"/>
                  </a:lnTo>
                  <a:lnTo>
                    <a:pt x="1207453" y="198831"/>
                  </a:lnTo>
                  <a:lnTo>
                    <a:pt x="1207453" y="200228"/>
                  </a:lnTo>
                  <a:lnTo>
                    <a:pt x="1207504" y="200228"/>
                  </a:lnTo>
                  <a:lnTo>
                    <a:pt x="1207504" y="200876"/>
                  </a:lnTo>
                  <a:lnTo>
                    <a:pt x="1207504" y="198831"/>
                  </a:lnTo>
                  <a:lnTo>
                    <a:pt x="1207504" y="202260"/>
                  </a:lnTo>
                  <a:lnTo>
                    <a:pt x="1207593" y="200876"/>
                  </a:lnTo>
                  <a:lnTo>
                    <a:pt x="1207593" y="200228"/>
                  </a:lnTo>
                  <a:lnTo>
                    <a:pt x="1207593" y="200876"/>
                  </a:lnTo>
                  <a:lnTo>
                    <a:pt x="1207644" y="200876"/>
                  </a:lnTo>
                  <a:lnTo>
                    <a:pt x="1207644" y="202260"/>
                  </a:lnTo>
                  <a:lnTo>
                    <a:pt x="1207644" y="200876"/>
                  </a:lnTo>
                  <a:lnTo>
                    <a:pt x="1207644" y="202260"/>
                  </a:lnTo>
                  <a:lnTo>
                    <a:pt x="1207694" y="200876"/>
                  </a:lnTo>
                  <a:lnTo>
                    <a:pt x="1207694" y="202959"/>
                  </a:lnTo>
                  <a:lnTo>
                    <a:pt x="1207694" y="202260"/>
                  </a:lnTo>
                  <a:lnTo>
                    <a:pt x="1207694" y="202959"/>
                  </a:lnTo>
                  <a:lnTo>
                    <a:pt x="1207745" y="202959"/>
                  </a:lnTo>
                  <a:lnTo>
                    <a:pt x="1207745" y="203594"/>
                  </a:lnTo>
                  <a:lnTo>
                    <a:pt x="1207745" y="202959"/>
                  </a:lnTo>
                  <a:lnTo>
                    <a:pt x="1207745" y="203594"/>
                  </a:lnTo>
                  <a:lnTo>
                    <a:pt x="1207847" y="203594"/>
                  </a:lnTo>
                  <a:lnTo>
                    <a:pt x="1207847" y="202959"/>
                  </a:lnTo>
                  <a:lnTo>
                    <a:pt x="1207847" y="203594"/>
                  </a:lnTo>
                  <a:lnTo>
                    <a:pt x="1207847" y="202260"/>
                  </a:lnTo>
                  <a:lnTo>
                    <a:pt x="1207847" y="202959"/>
                  </a:lnTo>
                  <a:lnTo>
                    <a:pt x="1207847" y="202260"/>
                  </a:lnTo>
                  <a:lnTo>
                    <a:pt x="1207847" y="202959"/>
                  </a:lnTo>
                  <a:lnTo>
                    <a:pt x="1207897" y="202959"/>
                  </a:lnTo>
                  <a:lnTo>
                    <a:pt x="1207897" y="200876"/>
                  </a:lnTo>
                  <a:lnTo>
                    <a:pt x="1207897" y="202260"/>
                  </a:lnTo>
                  <a:lnTo>
                    <a:pt x="1207897" y="200228"/>
                  </a:lnTo>
                  <a:lnTo>
                    <a:pt x="1207948" y="200228"/>
                  </a:lnTo>
                  <a:lnTo>
                    <a:pt x="1207948" y="199530"/>
                  </a:lnTo>
                  <a:lnTo>
                    <a:pt x="1207948" y="200228"/>
                  </a:lnTo>
                  <a:lnTo>
                    <a:pt x="1207948" y="199530"/>
                  </a:lnTo>
                  <a:lnTo>
                    <a:pt x="1207948" y="200876"/>
                  </a:lnTo>
                  <a:lnTo>
                    <a:pt x="1207948" y="200228"/>
                  </a:lnTo>
                  <a:lnTo>
                    <a:pt x="1208050" y="200228"/>
                  </a:lnTo>
                  <a:lnTo>
                    <a:pt x="1208050" y="199530"/>
                  </a:lnTo>
                  <a:lnTo>
                    <a:pt x="1208050" y="202959"/>
                  </a:lnTo>
                  <a:lnTo>
                    <a:pt x="1208050" y="200228"/>
                  </a:lnTo>
                  <a:lnTo>
                    <a:pt x="1208088" y="200228"/>
                  </a:lnTo>
                  <a:lnTo>
                    <a:pt x="1208088" y="202260"/>
                  </a:lnTo>
                  <a:lnTo>
                    <a:pt x="1208088" y="200876"/>
                  </a:lnTo>
                  <a:lnTo>
                    <a:pt x="1208139" y="200876"/>
                  </a:lnTo>
                  <a:lnTo>
                    <a:pt x="1208139" y="200228"/>
                  </a:lnTo>
                  <a:lnTo>
                    <a:pt x="1208139" y="202260"/>
                  </a:lnTo>
                  <a:lnTo>
                    <a:pt x="1208190" y="200876"/>
                  </a:lnTo>
                  <a:lnTo>
                    <a:pt x="1208190" y="202260"/>
                  </a:lnTo>
                  <a:lnTo>
                    <a:pt x="1208190" y="200876"/>
                  </a:lnTo>
                  <a:lnTo>
                    <a:pt x="1208190" y="202260"/>
                  </a:lnTo>
                  <a:lnTo>
                    <a:pt x="1208291" y="202959"/>
                  </a:lnTo>
                  <a:lnTo>
                    <a:pt x="1208291" y="202260"/>
                  </a:lnTo>
                  <a:lnTo>
                    <a:pt x="1208291" y="202959"/>
                  </a:lnTo>
                  <a:lnTo>
                    <a:pt x="1208291" y="202260"/>
                  </a:lnTo>
                  <a:lnTo>
                    <a:pt x="1208342" y="202959"/>
                  </a:lnTo>
                  <a:lnTo>
                    <a:pt x="1208342" y="202260"/>
                  </a:lnTo>
                  <a:lnTo>
                    <a:pt x="1208342" y="202959"/>
                  </a:lnTo>
                  <a:lnTo>
                    <a:pt x="1208342" y="200876"/>
                  </a:lnTo>
                  <a:lnTo>
                    <a:pt x="1208393" y="200876"/>
                  </a:lnTo>
                  <a:lnTo>
                    <a:pt x="1208393" y="202260"/>
                  </a:lnTo>
                  <a:lnTo>
                    <a:pt x="1208393" y="200228"/>
                  </a:lnTo>
                  <a:lnTo>
                    <a:pt x="1208393" y="202260"/>
                  </a:lnTo>
                  <a:lnTo>
                    <a:pt x="1208494" y="202260"/>
                  </a:lnTo>
                  <a:lnTo>
                    <a:pt x="1208494" y="200876"/>
                  </a:lnTo>
                  <a:lnTo>
                    <a:pt x="1208494" y="202260"/>
                  </a:lnTo>
                  <a:lnTo>
                    <a:pt x="1208494" y="200876"/>
                  </a:lnTo>
                  <a:lnTo>
                    <a:pt x="1208494" y="202959"/>
                  </a:lnTo>
                  <a:lnTo>
                    <a:pt x="1208545" y="202959"/>
                  </a:lnTo>
                  <a:lnTo>
                    <a:pt x="1208545" y="203594"/>
                  </a:lnTo>
                  <a:lnTo>
                    <a:pt x="1208545" y="202959"/>
                  </a:lnTo>
                  <a:lnTo>
                    <a:pt x="1208596" y="202959"/>
                  </a:lnTo>
                  <a:lnTo>
                    <a:pt x="1208596" y="203594"/>
                  </a:lnTo>
                  <a:lnTo>
                    <a:pt x="1208596" y="202959"/>
                  </a:lnTo>
                  <a:lnTo>
                    <a:pt x="1208634" y="202959"/>
                  </a:lnTo>
                  <a:lnTo>
                    <a:pt x="1208634" y="203594"/>
                  </a:lnTo>
                  <a:lnTo>
                    <a:pt x="1208634" y="202959"/>
                  </a:lnTo>
                  <a:lnTo>
                    <a:pt x="1208634" y="203594"/>
                  </a:lnTo>
                  <a:lnTo>
                    <a:pt x="1208634" y="202959"/>
                  </a:lnTo>
                  <a:lnTo>
                    <a:pt x="1208736" y="203594"/>
                  </a:lnTo>
                  <a:lnTo>
                    <a:pt x="1208736" y="202959"/>
                  </a:lnTo>
                  <a:lnTo>
                    <a:pt x="1208736" y="203594"/>
                  </a:lnTo>
                  <a:lnTo>
                    <a:pt x="1208736" y="202959"/>
                  </a:lnTo>
                  <a:lnTo>
                    <a:pt x="1208736" y="203594"/>
                  </a:lnTo>
                  <a:lnTo>
                    <a:pt x="1208736" y="202959"/>
                  </a:lnTo>
                  <a:lnTo>
                    <a:pt x="1208736" y="203594"/>
                  </a:lnTo>
                  <a:lnTo>
                    <a:pt x="1208736" y="202959"/>
                  </a:lnTo>
                  <a:lnTo>
                    <a:pt x="1208736" y="203594"/>
                  </a:lnTo>
                  <a:lnTo>
                    <a:pt x="1208736" y="202959"/>
                  </a:lnTo>
                  <a:lnTo>
                    <a:pt x="1208787" y="202959"/>
                  </a:lnTo>
                  <a:lnTo>
                    <a:pt x="1208787" y="202260"/>
                  </a:lnTo>
                  <a:lnTo>
                    <a:pt x="1208787" y="203594"/>
                  </a:lnTo>
                  <a:lnTo>
                    <a:pt x="1208787" y="202260"/>
                  </a:lnTo>
                  <a:lnTo>
                    <a:pt x="1208837" y="202260"/>
                  </a:lnTo>
                  <a:lnTo>
                    <a:pt x="1208837" y="200876"/>
                  </a:lnTo>
                  <a:lnTo>
                    <a:pt x="1208837" y="202260"/>
                  </a:lnTo>
                  <a:lnTo>
                    <a:pt x="1208837" y="200876"/>
                  </a:lnTo>
                  <a:lnTo>
                    <a:pt x="1208837" y="202260"/>
                  </a:lnTo>
                  <a:lnTo>
                    <a:pt x="1208837" y="200876"/>
                  </a:lnTo>
                  <a:lnTo>
                    <a:pt x="1208939" y="200228"/>
                  </a:lnTo>
                  <a:lnTo>
                    <a:pt x="1208939" y="202260"/>
                  </a:lnTo>
                  <a:lnTo>
                    <a:pt x="1208990" y="200876"/>
                  </a:lnTo>
                  <a:lnTo>
                    <a:pt x="1208990" y="202959"/>
                  </a:lnTo>
                  <a:lnTo>
                    <a:pt x="1209040" y="202959"/>
                  </a:lnTo>
                  <a:lnTo>
                    <a:pt x="1209040" y="202260"/>
                  </a:lnTo>
                  <a:lnTo>
                    <a:pt x="1209040" y="202959"/>
                  </a:lnTo>
                  <a:lnTo>
                    <a:pt x="1209040" y="202260"/>
                  </a:lnTo>
                  <a:lnTo>
                    <a:pt x="1209040" y="203594"/>
                  </a:lnTo>
                  <a:lnTo>
                    <a:pt x="1209040" y="202959"/>
                  </a:lnTo>
                  <a:lnTo>
                    <a:pt x="1209040" y="203594"/>
                  </a:lnTo>
                  <a:lnTo>
                    <a:pt x="1209040" y="202959"/>
                  </a:lnTo>
                  <a:lnTo>
                    <a:pt x="1209091" y="202959"/>
                  </a:lnTo>
                  <a:lnTo>
                    <a:pt x="1209091" y="202260"/>
                  </a:lnTo>
                  <a:lnTo>
                    <a:pt x="1209091" y="202959"/>
                  </a:lnTo>
                  <a:lnTo>
                    <a:pt x="1209091" y="202260"/>
                  </a:lnTo>
                  <a:lnTo>
                    <a:pt x="1209091" y="203594"/>
                  </a:lnTo>
                  <a:lnTo>
                    <a:pt x="1209091" y="202959"/>
                  </a:lnTo>
                  <a:lnTo>
                    <a:pt x="1209180" y="202959"/>
                  </a:lnTo>
                  <a:lnTo>
                    <a:pt x="1209180" y="203594"/>
                  </a:lnTo>
                  <a:lnTo>
                    <a:pt x="1209180" y="202959"/>
                  </a:lnTo>
                  <a:lnTo>
                    <a:pt x="1209231" y="202959"/>
                  </a:lnTo>
                  <a:lnTo>
                    <a:pt x="1209231" y="202260"/>
                  </a:lnTo>
                  <a:lnTo>
                    <a:pt x="1209231" y="202959"/>
                  </a:lnTo>
                  <a:lnTo>
                    <a:pt x="1209282" y="202959"/>
                  </a:lnTo>
                  <a:lnTo>
                    <a:pt x="1209282" y="200876"/>
                  </a:lnTo>
                  <a:lnTo>
                    <a:pt x="1209282" y="202260"/>
                  </a:lnTo>
                  <a:lnTo>
                    <a:pt x="1209282" y="200876"/>
                  </a:lnTo>
                  <a:lnTo>
                    <a:pt x="1209333" y="200876"/>
                  </a:lnTo>
                  <a:lnTo>
                    <a:pt x="1209333" y="199530"/>
                  </a:lnTo>
                  <a:lnTo>
                    <a:pt x="1209333" y="200228"/>
                  </a:lnTo>
                  <a:lnTo>
                    <a:pt x="1209333" y="199530"/>
                  </a:lnTo>
                  <a:lnTo>
                    <a:pt x="1209333" y="200228"/>
                  </a:lnTo>
                  <a:lnTo>
                    <a:pt x="1209333" y="199530"/>
                  </a:lnTo>
                  <a:lnTo>
                    <a:pt x="1209434" y="199530"/>
                  </a:lnTo>
                  <a:lnTo>
                    <a:pt x="1209434" y="200876"/>
                  </a:lnTo>
                  <a:lnTo>
                    <a:pt x="1209434" y="199530"/>
                  </a:lnTo>
                  <a:lnTo>
                    <a:pt x="1209434" y="200228"/>
                  </a:lnTo>
                  <a:lnTo>
                    <a:pt x="1209485" y="200228"/>
                  </a:lnTo>
                  <a:lnTo>
                    <a:pt x="1209485" y="202260"/>
                  </a:lnTo>
                  <a:lnTo>
                    <a:pt x="1209485" y="200876"/>
                  </a:lnTo>
                  <a:lnTo>
                    <a:pt x="1209485" y="202260"/>
                  </a:lnTo>
                  <a:lnTo>
                    <a:pt x="1209485" y="200876"/>
                  </a:lnTo>
                  <a:lnTo>
                    <a:pt x="1209485" y="202260"/>
                  </a:lnTo>
                  <a:lnTo>
                    <a:pt x="1209485" y="200876"/>
                  </a:lnTo>
                  <a:lnTo>
                    <a:pt x="1209536" y="202260"/>
                  </a:lnTo>
                  <a:lnTo>
                    <a:pt x="1209536" y="202959"/>
                  </a:lnTo>
                  <a:lnTo>
                    <a:pt x="1209536" y="202260"/>
                  </a:lnTo>
                  <a:lnTo>
                    <a:pt x="1209536" y="202959"/>
                  </a:lnTo>
                  <a:lnTo>
                    <a:pt x="1209536" y="200876"/>
                  </a:lnTo>
                  <a:lnTo>
                    <a:pt x="1209536" y="202260"/>
                  </a:lnTo>
                  <a:lnTo>
                    <a:pt x="1209637" y="202260"/>
                  </a:lnTo>
                  <a:lnTo>
                    <a:pt x="1209637" y="202959"/>
                  </a:lnTo>
                  <a:lnTo>
                    <a:pt x="1209637" y="202260"/>
                  </a:lnTo>
                  <a:lnTo>
                    <a:pt x="1209637" y="202959"/>
                  </a:lnTo>
                  <a:lnTo>
                    <a:pt x="1209637" y="202260"/>
                  </a:lnTo>
                  <a:lnTo>
                    <a:pt x="1209637" y="202959"/>
                  </a:lnTo>
                  <a:lnTo>
                    <a:pt x="1209637" y="202260"/>
                  </a:lnTo>
                  <a:lnTo>
                    <a:pt x="1209637" y="203594"/>
                  </a:lnTo>
                  <a:lnTo>
                    <a:pt x="1209675" y="202959"/>
                  </a:lnTo>
                  <a:lnTo>
                    <a:pt x="1209675" y="203594"/>
                  </a:lnTo>
                  <a:lnTo>
                    <a:pt x="1209675" y="202959"/>
                  </a:lnTo>
                  <a:lnTo>
                    <a:pt x="1209675" y="203594"/>
                  </a:lnTo>
                  <a:lnTo>
                    <a:pt x="1209675" y="202959"/>
                  </a:lnTo>
                  <a:lnTo>
                    <a:pt x="1209675" y="203594"/>
                  </a:lnTo>
                  <a:lnTo>
                    <a:pt x="1209675" y="202959"/>
                  </a:lnTo>
                  <a:lnTo>
                    <a:pt x="1209675" y="203594"/>
                  </a:lnTo>
                  <a:lnTo>
                    <a:pt x="1209675" y="202959"/>
                  </a:lnTo>
                  <a:lnTo>
                    <a:pt x="1209675" y="203594"/>
                  </a:lnTo>
                  <a:lnTo>
                    <a:pt x="1209675" y="202959"/>
                  </a:lnTo>
                  <a:lnTo>
                    <a:pt x="1209726" y="202959"/>
                  </a:lnTo>
                  <a:lnTo>
                    <a:pt x="1209726" y="202260"/>
                  </a:lnTo>
                  <a:lnTo>
                    <a:pt x="1209777" y="202260"/>
                  </a:lnTo>
                  <a:lnTo>
                    <a:pt x="1209777" y="202959"/>
                  </a:lnTo>
                  <a:lnTo>
                    <a:pt x="1209777" y="200228"/>
                  </a:lnTo>
                  <a:lnTo>
                    <a:pt x="1209777" y="200876"/>
                  </a:lnTo>
                  <a:lnTo>
                    <a:pt x="1209777" y="200228"/>
                  </a:lnTo>
                  <a:lnTo>
                    <a:pt x="1209879" y="200228"/>
                  </a:lnTo>
                  <a:lnTo>
                    <a:pt x="1209879" y="199530"/>
                  </a:lnTo>
                  <a:lnTo>
                    <a:pt x="1209879" y="200228"/>
                  </a:lnTo>
                  <a:lnTo>
                    <a:pt x="1209930" y="200228"/>
                  </a:lnTo>
                  <a:lnTo>
                    <a:pt x="1209930" y="200876"/>
                  </a:lnTo>
                  <a:lnTo>
                    <a:pt x="1209930" y="199530"/>
                  </a:lnTo>
                  <a:lnTo>
                    <a:pt x="1209930" y="202260"/>
                  </a:lnTo>
                  <a:lnTo>
                    <a:pt x="1209980" y="202260"/>
                  </a:lnTo>
                  <a:lnTo>
                    <a:pt x="1209980" y="200876"/>
                  </a:lnTo>
                  <a:lnTo>
                    <a:pt x="1209980" y="202260"/>
                  </a:lnTo>
                  <a:lnTo>
                    <a:pt x="1210082" y="202260"/>
                  </a:lnTo>
                  <a:lnTo>
                    <a:pt x="1210082" y="200876"/>
                  </a:lnTo>
                  <a:lnTo>
                    <a:pt x="1210082" y="202959"/>
                  </a:lnTo>
                  <a:lnTo>
                    <a:pt x="1210082" y="202260"/>
                  </a:lnTo>
                  <a:lnTo>
                    <a:pt x="1210082" y="202959"/>
                  </a:lnTo>
                  <a:lnTo>
                    <a:pt x="1210082" y="202260"/>
                  </a:lnTo>
                  <a:lnTo>
                    <a:pt x="1210082" y="202959"/>
                  </a:lnTo>
                  <a:lnTo>
                    <a:pt x="1210082" y="202260"/>
                  </a:lnTo>
                  <a:lnTo>
                    <a:pt x="1210133" y="202260"/>
                  </a:lnTo>
                  <a:lnTo>
                    <a:pt x="1210133" y="202959"/>
                  </a:lnTo>
                  <a:lnTo>
                    <a:pt x="1210133" y="202260"/>
                  </a:lnTo>
                  <a:lnTo>
                    <a:pt x="1210133" y="202959"/>
                  </a:lnTo>
                  <a:lnTo>
                    <a:pt x="1210184" y="202959"/>
                  </a:lnTo>
                  <a:lnTo>
                    <a:pt x="1210184" y="203594"/>
                  </a:lnTo>
                  <a:lnTo>
                    <a:pt x="1210184" y="202959"/>
                  </a:lnTo>
                  <a:lnTo>
                    <a:pt x="1210184" y="203594"/>
                  </a:lnTo>
                  <a:lnTo>
                    <a:pt x="1210184" y="202959"/>
                  </a:lnTo>
                  <a:lnTo>
                    <a:pt x="1210184" y="203594"/>
                  </a:lnTo>
                  <a:lnTo>
                    <a:pt x="1210222" y="203594"/>
                  </a:lnTo>
                  <a:lnTo>
                    <a:pt x="1210222" y="202959"/>
                  </a:lnTo>
                  <a:lnTo>
                    <a:pt x="1210222" y="203594"/>
                  </a:lnTo>
                  <a:lnTo>
                    <a:pt x="1210222" y="202959"/>
                  </a:lnTo>
                  <a:lnTo>
                    <a:pt x="1210222" y="203594"/>
                  </a:lnTo>
                  <a:lnTo>
                    <a:pt x="1210222" y="202959"/>
                  </a:lnTo>
                  <a:lnTo>
                    <a:pt x="1210323" y="202959"/>
                  </a:lnTo>
                  <a:lnTo>
                    <a:pt x="1210323" y="200228"/>
                  </a:lnTo>
                  <a:lnTo>
                    <a:pt x="1210374" y="200228"/>
                  </a:lnTo>
                  <a:lnTo>
                    <a:pt x="1210374" y="199530"/>
                  </a:lnTo>
                  <a:lnTo>
                    <a:pt x="1210374" y="200228"/>
                  </a:lnTo>
                  <a:lnTo>
                    <a:pt x="1210425" y="200228"/>
                  </a:lnTo>
                  <a:lnTo>
                    <a:pt x="1210425" y="198831"/>
                  </a:lnTo>
                  <a:lnTo>
                    <a:pt x="1210425" y="200876"/>
                  </a:lnTo>
                  <a:lnTo>
                    <a:pt x="1210526" y="200876"/>
                  </a:lnTo>
                  <a:lnTo>
                    <a:pt x="1210526" y="202260"/>
                  </a:lnTo>
                  <a:lnTo>
                    <a:pt x="1210526" y="200228"/>
                  </a:lnTo>
                  <a:lnTo>
                    <a:pt x="1210526" y="202260"/>
                  </a:lnTo>
                  <a:lnTo>
                    <a:pt x="1210577" y="202260"/>
                  </a:lnTo>
                  <a:lnTo>
                    <a:pt x="1210577" y="200876"/>
                  </a:lnTo>
                  <a:lnTo>
                    <a:pt x="1210577" y="202260"/>
                  </a:lnTo>
                  <a:lnTo>
                    <a:pt x="1210577" y="200876"/>
                  </a:lnTo>
                  <a:lnTo>
                    <a:pt x="1210577" y="202260"/>
                  </a:lnTo>
                  <a:lnTo>
                    <a:pt x="1210628" y="202959"/>
                  </a:lnTo>
                  <a:lnTo>
                    <a:pt x="1210628" y="202260"/>
                  </a:lnTo>
                  <a:lnTo>
                    <a:pt x="1210628" y="202959"/>
                  </a:lnTo>
                  <a:lnTo>
                    <a:pt x="1210628" y="202260"/>
                  </a:lnTo>
                  <a:lnTo>
                    <a:pt x="1210628" y="203594"/>
                  </a:lnTo>
                  <a:lnTo>
                    <a:pt x="1210628" y="202959"/>
                  </a:lnTo>
                  <a:lnTo>
                    <a:pt x="1210679" y="202959"/>
                  </a:lnTo>
                  <a:lnTo>
                    <a:pt x="1210679" y="203594"/>
                  </a:lnTo>
                  <a:lnTo>
                    <a:pt x="1210679" y="202959"/>
                  </a:lnTo>
                  <a:lnTo>
                    <a:pt x="1210679" y="203594"/>
                  </a:lnTo>
                  <a:lnTo>
                    <a:pt x="1210679" y="202959"/>
                  </a:lnTo>
                  <a:lnTo>
                    <a:pt x="1210768" y="202959"/>
                  </a:lnTo>
                  <a:lnTo>
                    <a:pt x="1210768" y="202260"/>
                  </a:lnTo>
                  <a:lnTo>
                    <a:pt x="1210768" y="202959"/>
                  </a:lnTo>
                  <a:lnTo>
                    <a:pt x="1210819" y="202959"/>
                  </a:lnTo>
                  <a:lnTo>
                    <a:pt x="1210819" y="202260"/>
                  </a:lnTo>
                  <a:lnTo>
                    <a:pt x="1210819" y="202959"/>
                  </a:lnTo>
                  <a:lnTo>
                    <a:pt x="1210819" y="200876"/>
                  </a:lnTo>
                  <a:lnTo>
                    <a:pt x="1210869" y="200876"/>
                  </a:lnTo>
                  <a:lnTo>
                    <a:pt x="1210869" y="199530"/>
                  </a:lnTo>
                  <a:lnTo>
                    <a:pt x="1210869" y="200876"/>
                  </a:lnTo>
                  <a:lnTo>
                    <a:pt x="1210920" y="200228"/>
                  </a:lnTo>
                  <a:lnTo>
                    <a:pt x="1210920" y="199530"/>
                  </a:lnTo>
                  <a:lnTo>
                    <a:pt x="1210920" y="202959"/>
                  </a:lnTo>
                  <a:lnTo>
                    <a:pt x="1210920" y="200228"/>
                  </a:lnTo>
                  <a:lnTo>
                    <a:pt x="1211022" y="200228"/>
                  </a:lnTo>
                  <a:lnTo>
                    <a:pt x="1211022" y="202260"/>
                  </a:lnTo>
                  <a:lnTo>
                    <a:pt x="1211022" y="200876"/>
                  </a:lnTo>
                  <a:lnTo>
                    <a:pt x="1211022" y="202260"/>
                  </a:lnTo>
                  <a:lnTo>
                    <a:pt x="1211022" y="200876"/>
                  </a:lnTo>
                  <a:lnTo>
                    <a:pt x="1211072" y="200876"/>
                  </a:lnTo>
                  <a:lnTo>
                    <a:pt x="1211072" y="202260"/>
                  </a:lnTo>
                  <a:lnTo>
                    <a:pt x="1211072" y="200876"/>
                  </a:lnTo>
                  <a:lnTo>
                    <a:pt x="1211072" y="202260"/>
                  </a:lnTo>
                  <a:lnTo>
                    <a:pt x="1211072" y="200876"/>
                  </a:lnTo>
                  <a:lnTo>
                    <a:pt x="1211072" y="202260"/>
                  </a:lnTo>
                  <a:lnTo>
                    <a:pt x="1211072" y="200876"/>
                  </a:lnTo>
                  <a:lnTo>
                    <a:pt x="1211072" y="202260"/>
                  </a:lnTo>
                  <a:lnTo>
                    <a:pt x="1211072" y="200876"/>
                  </a:lnTo>
                  <a:lnTo>
                    <a:pt x="1211123" y="202260"/>
                  </a:lnTo>
                  <a:lnTo>
                    <a:pt x="1211123" y="200876"/>
                  </a:lnTo>
                  <a:lnTo>
                    <a:pt x="1211123" y="202959"/>
                  </a:lnTo>
                  <a:lnTo>
                    <a:pt x="1211123" y="202260"/>
                  </a:lnTo>
                  <a:lnTo>
                    <a:pt x="1211225" y="202260"/>
                  </a:lnTo>
                  <a:lnTo>
                    <a:pt x="1211225" y="202959"/>
                  </a:lnTo>
                  <a:lnTo>
                    <a:pt x="1211225" y="202260"/>
                  </a:lnTo>
                  <a:lnTo>
                    <a:pt x="1211263" y="202260"/>
                  </a:lnTo>
                  <a:lnTo>
                    <a:pt x="1211263" y="202959"/>
                  </a:lnTo>
                  <a:lnTo>
                    <a:pt x="1211263" y="202260"/>
                  </a:lnTo>
                  <a:lnTo>
                    <a:pt x="1211314" y="202260"/>
                  </a:lnTo>
                  <a:lnTo>
                    <a:pt x="1211314" y="200876"/>
                  </a:lnTo>
                  <a:lnTo>
                    <a:pt x="1211314" y="202260"/>
                  </a:lnTo>
                  <a:lnTo>
                    <a:pt x="1211314" y="200876"/>
                  </a:lnTo>
                  <a:lnTo>
                    <a:pt x="1211314" y="202260"/>
                  </a:lnTo>
                  <a:lnTo>
                    <a:pt x="1211314" y="200876"/>
                  </a:lnTo>
                  <a:lnTo>
                    <a:pt x="1211314" y="202260"/>
                  </a:lnTo>
                  <a:lnTo>
                    <a:pt x="1211314" y="200228"/>
                  </a:lnTo>
                  <a:lnTo>
                    <a:pt x="1211365" y="200228"/>
                  </a:lnTo>
                  <a:lnTo>
                    <a:pt x="1211365" y="202959"/>
                  </a:lnTo>
                  <a:lnTo>
                    <a:pt x="1211365" y="200228"/>
                  </a:lnTo>
                  <a:lnTo>
                    <a:pt x="1211365" y="200876"/>
                  </a:lnTo>
                  <a:lnTo>
                    <a:pt x="1211466" y="200876"/>
                  </a:lnTo>
                  <a:lnTo>
                    <a:pt x="1211466" y="203594"/>
                  </a:lnTo>
                  <a:lnTo>
                    <a:pt x="1211466" y="200876"/>
                  </a:lnTo>
                  <a:lnTo>
                    <a:pt x="1211466" y="202260"/>
                  </a:lnTo>
                  <a:lnTo>
                    <a:pt x="1211517" y="202260"/>
                  </a:lnTo>
                  <a:lnTo>
                    <a:pt x="1211517" y="203594"/>
                  </a:lnTo>
                  <a:lnTo>
                    <a:pt x="1211517" y="202260"/>
                  </a:lnTo>
                  <a:lnTo>
                    <a:pt x="1211517" y="202959"/>
                  </a:lnTo>
                  <a:lnTo>
                    <a:pt x="1211517" y="202260"/>
                  </a:lnTo>
                  <a:lnTo>
                    <a:pt x="1211517" y="202959"/>
                  </a:lnTo>
                  <a:lnTo>
                    <a:pt x="1211568" y="203594"/>
                  </a:lnTo>
                  <a:lnTo>
                    <a:pt x="1211568" y="202959"/>
                  </a:lnTo>
                  <a:lnTo>
                    <a:pt x="1211568" y="203594"/>
                  </a:lnTo>
                  <a:lnTo>
                    <a:pt x="1211669" y="202959"/>
                  </a:lnTo>
                  <a:lnTo>
                    <a:pt x="1211669" y="203594"/>
                  </a:lnTo>
                  <a:lnTo>
                    <a:pt x="1211669" y="202959"/>
                  </a:lnTo>
                  <a:lnTo>
                    <a:pt x="1211669" y="203594"/>
                  </a:lnTo>
                  <a:lnTo>
                    <a:pt x="1211669" y="202959"/>
                  </a:lnTo>
                  <a:lnTo>
                    <a:pt x="1211669" y="203594"/>
                  </a:lnTo>
                  <a:lnTo>
                    <a:pt x="1211669" y="202959"/>
                  </a:lnTo>
                  <a:lnTo>
                    <a:pt x="1211720" y="202959"/>
                  </a:lnTo>
                  <a:lnTo>
                    <a:pt x="1211720" y="203594"/>
                  </a:lnTo>
                  <a:lnTo>
                    <a:pt x="1211720" y="202959"/>
                  </a:lnTo>
                  <a:lnTo>
                    <a:pt x="1211771" y="202959"/>
                  </a:lnTo>
                  <a:lnTo>
                    <a:pt x="1211771" y="202260"/>
                  </a:lnTo>
                  <a:lnTo>
                    <a:pt x="1211771" y="202959"/>
                  </a:lnTo>
                  <a:lnTo>
                    <a:pt x="1211771" y="200876"/>
                  </a:lnTo>
                  <a:lnTo>
                    <a:pt x="1211809" y="202260"/>
                  </a:lnTo>
                  <a:lnTo>
                    <a:pt x="1211809" y="199530"/>
                  </a:lnTo>
                  <a:lnTo>
                    <a:pt x="1211809" y="200228"/>
                  </a:lnTo>
                  <a:lnTo>
                    <a:pt x="1211911" y="200876"/>
                  </a:lnTo>
                  <a:lnTo>
                    <a:pt x="1211911" y="202260"/>
                  </a:lnTo>
                  <a:lnTo>
                    <a:pt x="1211911" y="200228"/>
                  </a:lnTo>
                  <a:lnTo>
                    <a:pt x="1211911" y="203594"/>
                  </a:lnTo>
                  <a:lnTo>
                    <a:pt x="1211962" y="203594"/>
                  </a:lnTo>
                  <a:lnTo>
                    <a:pt x="1211962" y="200228"/>
                  </a:lnTo>
                  <a:lnTo>
                    <a:pt x="1211962" y="203594"/>
                  </a:lnTo>
                  <a:lnTo>
                    <a:pt x="1212012" y="202959"/>
                  </a:lnTo>
                  <a:lnTo>
                    <a:pt x="1212012" y="202260"/>
                  </a:lnTo>
                  <a:lnTo>
                    <a:pt x="1212012" y="203594"/>
                  </a:lnTo>
                  <a:lnTo>
                    <a:pt x="1212114" y="203594"/>
                  </a:lnTo>
                  <a:lnTo>
                    <a:pt x="1212114" y="202959"/>
                  </a:lnTo>
                  <a:lnTo>
                    <a:pt x="1212165" y="202959"/>
                  </a:lnTo>
                  <a:lnTo>
                    <a:pt x="1212165" y="202260"/>
                  </a:lnTo>
                  <a:lnTo>
                    <a:pt x="1212165" y="203594"/>
                  </a:lnTo>
                  <a:lnTo>
                    <a:pt x="1212165" y="202959"/>
                  </a:lnTo>
                  <a:lnTo>
                    <a:pt x="1212215" y="202959"/>
                  </a:lnTo>
                  <a:lnTo>
                    <a:pt x="1212215" y="200876"/>
                  </a:lnTo>
                  <a:lnTo>
                    <a:pt x="1212215" y="202260"/>
                  </a:lnTo>
                  <a:lnTo>
                    <a:pt x="1212215" y="200876"/>
                  </a:lnTo>
                  <a:lnTo>
                    <a:pt x="1212266" y="200876"/>
                  </a:lnTo>
                  <a:lnTo>
                    <a:pt x="1212266" y="200228"/>
                  </a:lnTo>
                  <a:lnTo>
                    <a:pt x="1212355" y="199530"/>
                  </a:lnTo>
                  <a:lnTo>
                    <a:pt x="1212355" y="200228"/>
                  </a:lnTo>
                  <a:lnTo>
                    <a:pt x="1212355" y="198831"/>
                  </a:lnTo>
                  <a:lnTo>
                    <a:pt x="1212355" y="199530"/>
                  </a:lnTo>
                  <a:lnTo>
                    <a:pt x="1212355" y="198831"/>
                  </a:lnTo>
                  <a:lnTo>
                    <a:pt x="1212355" y="200228"/>
                  </a:lnTo>
                  <a:lnTo>
                    <a:pt x="1212406" y="199530"/>
                  </a:lnTo>
                  <a:lnTo>
                    <a:pt x="1212406" y="200228"/>
                  </a:lnTo>
                  <a:lnTo>
                    <a:pt x="1212406" y="198831"/>
                  </a:lnTo>
                  <a:lnTo>
                    <a:pt x="1212406" y="202260"/>
                  </a:lnTo>
                  <a:lnTo>
                    <a:pt x="1212406" y="200876"/>
                  </a:lnTo>
                  <a:lnTo>
                    <a:pt x="1212457" y="200876"/>
                  </a:lnTo>
                  <a:lnTo>
                    <a:pt x="1212457" y="200228"/>
                  </a:lnTo>
                  <a:lnTo>
                    <a:pt x="1212457" y="202260"/>
                  </a:lnTo>
                  <a:lnTo>
                    <a:pt x="1212508" y="200876"/>
                  </a:lnTo>
                  <a:lnTo>
                    <a:pt x="1212508" y="202959"/>
                  </a:lnTo>
                  <a:lnTo>
                    <a:pt x="1212508" y="202260"/>
                  </a:lnTo>
                  <a:lnTo>
                    <a:pt x="1212508" y="202959"/>
                  </a:lnTo>
                  <a:lnTo>
                    <a:pt x="1212508" y="202260"/>
                  </a:lnTo>
                  <a:lnTo>
                    <a:pt x="1212508" y="202959"/>
                  </a:lnTo>
                  <a:lnTo>
                    <a:pt x="1212508" y="202260"/>
                  </a:lnTo>
                  <a:lnTo>
                    <a:pt x="1212609" y="202959"/>
                  </a:lnTo>
                  <a:lnTo>
                    <a:pt x="1212609" y="202260"/>
                  </a:lnTo>
                  <a:lnTo>
                    <a:pt x="1212609" y="202959"/>
                  </a:lnTo>
                  <a:lnTo>
                    <a:pt x="1212609" y="202260"/>
                  </a:lnTo>
                  <a:lnTo>
                    <a:pt x="1212609" y="202959"/>
                  </a:lnTo>
                  <a:lnTo>
                    <a:pt x="1212711" y="202959"/>
                  </a:lnTo>
                  <a:lnTo>
                    <a:pt x="1212711" y="200876"/>
                  </a:lnTo>
                  <a:lnTo>
                    <a:pt x="1212812" y="202260"/>
                  </a:lnTo>
                  <a:lnTo>
                    <a:pt x="1212812" y="200228"/>
                  </a:lnTo>
                  <a:lnTo>
                    <a:pt x="1212812" y="200876"/>
                  </a:lnTo>
                  <a:lnTo>
                    <a:pt x="1212812" y="199530"/>
                  </a:lnTo>
                  <a:lnTo>
                    <a:pt x="1212812" y="200228"/>
                  </a:lnTo>
                  <a:lnTo>
                    <a:pt x="1212812" y="199530"/>
                  </a:lnTo>
                  <a:lnTo>
                    <a:pt x="1212850" y="200228"/>
                  </a:lnTo>
                  <a:lnTo>
                    <a:pt x="1212850" y="197447"/>
                  </a:lnTo>
                  <a:lnTo>
                    <a:pt x="1212850" y="199530"/>
                  </a:lnTo>
                  <a:lnTo>
                    <a:pt x="1212901" y="199530"/>
                  </a:lnTo>
                  <a:lnTo>
                    <a:pt x="1212901" y="197447"/>
                  </a:lnTo>
                  <a:lnTo>
                    <a:pt x="1212901" y="200228"/>
                  </a:lnTo>
                  <a:lnTo>
                    <a:pt x="1212952" y="199530"/>
                  </a:lnTo>
                  <a:lnTo>
                    <a:pt x="1212952" y="198831"/>
                  </a:lnTo>
                  <a:lnTo>
                    <a:pt x="1212952" y="202260"/>
                  </a:lnTo>
                  <a:lnTo>
                    <a:pt x="1212952" y="200876"/>
                  </a:lnTo>
                  <a:lnTo>
                    <a:pt x="1213054" y="200876"/>
                  </a:lnTo>
                  <a:lnTo>
                    <a:pt x="1213054" y="200228"/>
                  </a:lnTo>
                  <a:lnTo>
                    <a:pt x="1213054" y="202260"/>
                  </a:lnTo>
                  <a:lnTo>
                    <a:pt x="1213054" y="200876"/>
                  </a:lnTo>
                  <a:lnTo>
                    <a:pt x="1213054" y="202260"/>
                  </a:lnTo>
                  <a:lnTo>
                    <a:pt x="1213054" y="200876"/>
                  </a:lnTo>
                  <a:lnTo>
                    <a:pt x="1213105" y="200876"/>
                  </a:lnTo>
                  <a:lnTo>
                    <a:pt x="1213105" y="202260"/>
                  </a:lnTo>
                  <a:lnTo>
                    <a:pt x="1213155" y="200876"/>
                  </a:lnTo>
                  <a:lnTo>
                    <a:pt x="1213155" y="202959"/>
                  </a:lnTo>
                  <a:lnTo>
                    <a:pt x="1213155" y="202260"/>
                  </a:lnTo>
                  <a:lnTo>
                    <a:pt x="1213257" y="202260"/>
                  </a:lnTo>
                  <a:lnTo>
                    <a:pt x="1213257" y="202959"/>
                  </a:lnTo>
                  <a:lnTo>
                    <a:pt x="1213257" y="202260"/>
                  </a:lnTo>
                  <a:lnTo>
                    <a:pt x="1213257" y="202959"/>
                  </a:lnTo>
                  <a:lnTo>
                    <a:pt x="1213257" y="200876"/>
                  </a:lnTo>
                  <a:lnTo>
                    <a:pt x="1213257" y="202260"/>
                  </a:lnTo>
                  <a:lnTo>
                    <a:pt x="1213308" y="200876"/>
                  </a:lnTo>
                  <a:lnTo>
                    <a:pt x="1213308" y="202260"/>
                  </a:lnTo>
                  <a:lnTo>
                    <a:pt x="1213308" y="200228"/>
                  </a:lnTo>
                  <a:lnTo>
                    <a:pt x="1213359" y="199530"/>
                  </a:lnTo>
                  <a:lnTo>
                    <a:pt x="1213359" y="197447"/>
                  </a:lnTo>
                  <a:lnTo>
                    <a:pt x="1213359" y="198831"/>
                  </a:lnTo>
                  <a:lnTo>
                    <a:pt x="1213397" y="198831"/>
                  </a:lnTo>
                  <a:lnTo>
                    <a:pt x="1213397" y="197447"/>
                  </a:lnTo>
                  <a:lnTo>
                    <a:pt x="1213397" y="200228"/>
                  </a:lnTo>
                  <a:lnTo>
                    <a:pt x="1213397" y="199530"/>
                  </a:lnTo>
                  <a:lnTo>
                    <a:pt x="1213498" y="198831"/>
                  </a:lnTo>
                  <a:lnTo>
                    <a:pt x="1213498" y="202260"/>
                  </a:lnTo>
                  <a:lnTo>
                    <a:pt x="1213498" y="199530"/>
                  </a:lnTo>
                  <a:lnTo>
                    <a:pt x="1213549" y="199530"/>
                  </a:lnTo>
                  <a:lnTo>
                    <a:pt x="1213549" y="200876"/>
                  </a:lnTo>
                  <a:lnTo>
                    <a:pt x="1213549" y="200228"/>
                  </a:lnTo>
                  <a:lnTo>
                    <a:pt x="1213549" y="202260"/>
                  </a:lnTo>
                  <a:lnTo>
                    <a:pt x="1213549" y="200876"/>
                  </a:lnTo>
                  <a:lnTo>
                    <a:pt x="1213549" y="202260"/>
                  </a:lnTo>
                  <a:lnTo>
                    <a:pt x="1213600" y="200876"/>
                  </a:lnTo>
                  <a:lnTo>
                    <a:pt x="1213600" y="202260"/>
                  </a:lnTo>
                  <a:lnTo>
                    <a:pt x="1213701" y="202260"/>
                  </a:lnTo>
                  <a:lnTo>
                    <a:pt x="1213701" y="200876"/>
                  </a:lnTo>
                  <a:lnTo>
                    <a:pt x="1213701" y="202959"/>
                  </a:lnTo>
                  <a:lnTo>
                    <a:pt x="1213752" y="202260"/>
                  </a:lnTo>
                  <a:lnTo>
                    <a:pt x="1213752" y="202959"/>
                  </a:lnTo>
                  <a:lnTo>
                    <a:pt x="1213752" y="200876"/>
                  </a:lnTo>
                  <a:lnTo>
                    <a:pt x="1213803" y="202260"/>
                  </a:lnTo>
                  <a:lnTo>
                    <a:pt x="1213803" y="200876"/>
                  </a:lnTo>
                  <a:lnTo>
                    <a:pt x="1213803" y="202260"/>
                  </a:lnTo>
                  <a:lnTo>
                    <a:pt x="1213803" y="200228"/>
                  </a:lnTo>
                  <a:lnTo>
                    <a:pt x="1213803" y="200876"/>
                  </a:lnTo>
                  <a:lnTo>
                    <a:pt x="1213803" y="199530"/>
                  </a:lnTo>
                  <a:lnTo>
                    <a:pt x="1213854" y="199530"/>
                  </a:lnTo>
                  <a:lnTo>
                    <a:pt x="1213854" y="196113"/>
                  </a:lnTo>
                  <a:lnTo>
                    <a:pt x="1213943" y="196113"/>
                  </a:lnTo>
                  <a:lnTo>
                    <a:pt x="1213943" y="195415"/>
                  </a:lnTo>
                  <a:lnTo>
                    <a:pt x="1213943" y="196113"/>
                  </a:lnTo>
                  <a:lnTo>
                    <a:pt x="1213943" y="193383"/>
                  </a:lnTo>
                  <a:lnTo>
                    <a:pt x="1213943" y="194716"/>
                  </a:lnTo>
                  <a:lnTo>
                    <a:pt x="1213994" y="194716"/>
                  </a:lnTo>
                  <a:lnTo>
                    <a:pt x="1213994" y="192684"/>
                  </a:lnTo>
                  <a:lnTo>
                    <a:pt x="1213994" y="196113"/>
                  </a:lnTo>
                  <a:lnTo>
                    <a:pt x="1213994" y="195415"/>
                  </a:lnTo>
                  <a:lnTo>
                    <a:pt x="1214044" y="195415"/>
                  </a:lnTo>
                  <a:lnTo>
                    <a:pt x="1214044" y="196113"/>
                  </a:lnTo>
                  <a:lnTo>
                    <a:pt x="1214044" y="195415"/>
                  </a:lnTo>
                  <a:lnTo>
                    <a:pt x="1214044" y="196113"/>
                  </a:lnTo>
                  <a:lnTo>
                    <a:pt x="1214044" y="195415"/>
                  </a:lnTo>
                  <a:lnTo>
                    <a:pt x="1214044" y="196113"/>
                  </a:lnTo>
                  <a:lnTo>
                    <a:pt x="1214095" y="195415"/>
                  </a:lnTo>
                  <a:lnTo>
                    <a:pt x="1214095" y="196799"/>
                  </a:lnTo>
                  <a:lnTo>
                    <a:pt x="1214095" y="196113"/>
                  </a:lnTo>
                  <a:lnTo>
                    <a:pt x="1214095" y="196799"/>
                  </a:lnTo>
                  <a:lnTo>
                    <a:pt x="1214095" y="196113"/>
                  </a:lnTo>
                  <a:lnTo>
                    <a:pt x="1214095" y="197447"/>
                  </a:lnTo>
                  <a:lnTo>
                    <a:pt x="1214197" y="197447"/>
                  </a:lnTo>
                  <a:lnTo>
                    <a:pt x="1214197" y="199530"/>
                  </a:lnTo>
                  <a:lnTo>
                    <a:pt x="1214197" y="198831"/>
                  </a:lnTo>
                  <a:lnTo>
                    <a:pt x="1214197" y="199530"/>
                  </a:lnTo>
                  <a:lnTo>
                    <a:pt x="1214247" y="199530"/>
                  </a:lnTo>
                  <a:lnTo>
                    <a:pt x="1214247" y="200876"/>
                  </a:lnTo>
                  <a:lnTo>
                    <a:pt x="1214247" y="200228"/>
                  </a:lnTo>
                  <a:lnTo>
                    <a:pt x="1214247" y="200876"/>
                  </a:lnTo>
                  <a:lnTo>
                    <a:pt x="1214298" y="200876"/>
                  </a:lnTo>
                  <a:lnTo>
                    <a:pt x="1214298" y="202260"/>
                  </a:lnTo>
                  <a:lnTo>
                    <a:pt x="1214298" y="200876"/>
                  </a:lnTo>
                  <a:lnTo>
                    <a:pt x="1214298" y="202260"/>
                  </a:lnTo>
                  <a:lnTo>
                    <a:pt x="1214298" y="200228"/>
                  </a:lnTo>
                  <a:lnTo>
                    <a:pt x="1214400" y="200228"/>
                  </a:lnTo>
                  <a:lnTo>
                    <a:pt x="1214400" y="200876"/>
                  </a:lnTo>
                  <a:lnTo>
                    <a:pt x="1214400" y="198831"/>
                  </a:lnTo>
                  <a:lnTo>
                    <a:pt x="1214400" y="199530"/>
                  </a:lnTo>
                  <a:lnTo>
                    <a:pt x="1214438" y="199530"/>
                  </a:lnTo>
                  <a:lnTo>
                    <a:pt x="1214438" y="196799"/>
                  </a:lnTo>
                  <a:lnTo>
                    <a:pt x="1214438" y="197447"/>
                  </a:lnTo>
                  <a:lnTo>
                    <a:pt x="1214438" y="196799"/>
                  </a:lnTo>
                  <a:lnTo>
                    <a:pt x="1214438" y="197447"/>
                  </a:lnTo>
                  <a:lnTo>
                    <a:pt x="1214438" y="195415"/>
                  </a:lnTo>
                  <a:lnTo>
                    <a:pt x="1214489" y="195415"/>
                  </a:lnTo>
                  <a:lnTo>
                    <a:pt x="1214489" y="191986"/>
                  </a:lnTo>
                  <a:lnTo>
                    <a:pt x="1214489" y="192684"/>
                  </a:lnTo>
                  <a:lnTo>
                    <a:pt x="1214489" y="191351"/>
                  </a:lnTo>
                  <a:lnTo>
                    <a:pt x="1214540" y="189954"/>
                  </a:lnTo>
                  <a:lnTo>
                    <a:pt x="1214540" y="191351"/>
                  </a:lnTo>
                  <a:lnTo>
                    <a:pt x="1214540" y="189954"/>
                  </a:lnTo>
                  <a:lnTo>
                    <a:pt x="1214540" y="191351"/>
                  </a:lnTo>
                  <a:lnTo>
                    <a:pt x="1214540" y="189268"/>
                  </a:lnTo>
                  <a:lnTo>
                    <a:pt x="1214641" y="189268"/>
                  </a:lnTo>
                  <a:lnTo>
                    <a:pt x="1214641" y="191986"/>
                  </a:lnTo>
                  <a:lnTo>
                    <a:pt x="1214641" y="189954"/>
                  </a:lnTo>
                  <a:lnTo>
                    <a:pt x="1214641" y="191351"/>
                  </a:lnTo>
                  <a:lnTo>
                    <a:pt x="1214692" y="191986"/>
                  </a:lnTo>
                  <a:lnTo>
                    <a:pt x="1214692" y="196113"/>
                  </a:lnTo>
                  <a:lnTo>
                    <a:pt x="1214743" y="196113"/>
                  </a:lnTo>
                  <a:lnTo>
                    <a:pt x="1214743" y="197447"/>
                  </a:lnTo>
                  <a:lnTo>
                    <a:pt x="1214743" y="196799"/>
                  </a:lnTo>
                  <a:lnTo>
                    <a:pt x="1214743" y="198831"/>
                  </a:lnTo>
                  <a:lnTo>
                    <a:pt x="1214844" y="199530"/>
                  </a:lnTo>
                  <a:lnTo>
                    <a:pt x="1214844" y="200228"/>
                  </a:lnTo>
                  <a:lnTo>
                    <a:pt x="1214844" y="199530"/>
                  </a:lnTo>
                  <a:lnTo>
                    <a:pt x="1214844" y="200228"/>
                  </a:lnTo>
                  <a:lnTo>
                    <a:pt x="1214844" y="199530"/>
                  </a:lnTo>
                  <a:lnTo>
                    <a:pt x="1214844" y="202260"/>
                  </a:lnTo>
                  <a:lnTo>
                    <a:pt x="1214844" y="200876"/>
                  </a:lnTo>
                  <a:lnTo>
                    <a:pt x="1214895" y="200876"/>
                  </a:lnTo>
                  <a:lnTo>
                    <a:pt x="1214895" y="202260"/>
                  </a:lnTo>
                  <a:lnTo>
                    <a:pt x="1214895" y="200876"/>
                  </a:lnTo>
                  <a:lnTo>
                    <a:pt x="1214895" y="202260"/>
                  </a:lnTo>
                  <a:lnTo>
                    <a:pt x="1214895" y="200876"/>
                  </a:lnTo>
                  <a:lnTo>
                    <a:pt x="1214895" y="202260"/>
                  </a:lnTo>
                  <a:lnTo>
                    <a:pt x="1214946" y="202260"/>
                  </a:lnTo>
                  <a:lnTo>
                    <a:pt x="1214946" y="200228"/>
                  </a:lnTo>
                  <a:lnTo>
                    <a:pt x="1214984" y="200228"/>
                  </a:lnTo>
                  <a:lnTo>
                    <a:pt x="1214984" y="197447"/>
                  </a:lnTo>
                  <a:lnTo>
                    <a:pt x="1215086" y="197447"/>
                  </a:lnTo>
                  <a:lnTo>
                    <a:pt x="1215086" y="196113"/>
                  </a:lnTo>
                  <a:lnTo>
                    <a:pt x="1215086" y="197447"/>
                  </a:lnTo>
                  <a:lnTo>
                    <a:pt x="1215137" y="197447"/>
                  </a:lnTo>
                  <a:lnTo>
                    <a:pt x="1215137" y="196113"/>
                  </a:lnTo>
                  <a:lnTo>
                    <a:pt x="1215137" y="197447"/>
                  </a:lnTo>
                  <a:lnTo>
                    <a:pt x="1215187" y="196799"/>
                  </a:lnTo>
                  <a:lnTo>
                    <a:pt x="1215187" y="197447"/>
                  </a:lnTo>
                  <a:lnTo>
                    <a:pt x="1215289" y="197447"/>
                  </a:lnTo>
                  <a:lnTo>
                    <a:pt x="1215289" y="196799"/>
                  </a:lnTo>
                  <a:lnTo>
                    <a:pt x="1215289" y="198831"/>
                  </a:lnTo>
                  <a:lnTo>
                    <a:pt x="1215289" y="197447"/>
                  </a:lnTo>
                  <a:lnTo>
                    <a:pt x="1215340" y="197447"/>
                  </a:lnTo>
                  <a:lnTo>
                    <a:pt x="1215340" y="200228"/>
                  </a:lnTo>
                  <a:lnTo>
                    <a:pt x="1215340" y="199530"/>
                  </a:lnTo>
                  <a:lnTo>
                    <a:pt x="1215340" y="200228"/>
                  </a:lnTo>
                  <a:lnTo>
                    <a:pt x="1215340" y="199530"/>
                  </a:lnTo>
                  <a:lnTo>
                    <a:pt x="1215340" y="200228"/>
                  </a:lnTo>
                  <a:lnTo>
                    <a:pt x="1215340" y="199530"/>
                  </a:lnTo>
                  <a:lnTo>
                    <a:pt x="1215340" y="200228"/>
                  </a:lnTo>
                  <a:lnTo>
                    <a:pt x="1215390" y="200228"/>
                  </a:lnTo>
                  <a:lnTo>
                    <a:pt x="1215390" y="200876"/>
                  </a:lnTo>
                  <a:lnTo>
                    <a:pt x="1215390" y="200228"/>
                  </a:lnTo>
                  <a:lnTo>
                    <a:pt x="1215390" y="202260"/>
                  </a:lnTo>
                  <a:lnTo>
                    <a:pt x="1215441" y="200876"/>
                  </a:lnTo>
                  <a:lnTo>
                    <a:pt x="1215441" y="202260"/>
                  </a:lnTo>
                  <a:lnTo>
                    <a:pt x="1215441" y="200228"/>
                  </a:lnTo>
                  <a:lnTo>
                    <a:pt x="1215441" y="200876"/>
                  </a:lnTo>
                  <a:lnTo>
                    <a:pt x="1215441" y="200228"/>
                  </a:lnTo>
                  <a:lnTo>
                    <a:pt x="1215441" y="200876"/>
                  </a:lnTo>
                  <a:lnTo>
                    <a:pt x="1215530" y="200876"/>
                  </a:lnTo>
                  <a:lnTo>
                    <a:pt x="1215530" y="199530"/>
                  </a:lnTo>
                  <a:lnTo>
                    <a:pt x="1215530" y="200228"/>
                  </a:lnTo>
                  <a:lnTo>
                    <a:pt x="1215581" y="200228"/>
                  </a:lnTo>
                  <a:lnTo>
                    <a:pt x="1215581" y="199530"/>
                  </a:lnTo>
                  <a:lnTo>
                    <a:pt x="1215581" y="200228"/>
                  </a:lnTo>
                  <a:lnTo>
                    <a:pt x="1215581" y="199530"/>
                  </a:lnTo>
                  <a:lnTo>
                    <a:pt x="1215581" y="200876"/>
                  </a:lnTo>
                  <a:lnTo>
                    <a:pt x="1215632" y="200228"/>
                  </a:lnTo>
                  <a:lnTo>
                    <a:pt x="1215632" y="199530"/>
                  </a:lnTo>
                  <a:lnTo>
                    <a:pt x="1215632" y="200228"/>
                  </a:lnTo>
                  <a:lnTo>
                    <a:pt x="1215683" y="200228"/>
                  </a:lnTo>
                  <a:lnTo>
                    <a:pt x="1215683" y="199530"/>
                  </a:lnTo>
                  <a:lnTo>
                    <a:pt x="1215683" y="200228"/>
                  </a:lnTo>
                  <a:lnTo>
                    <a:pt x="1215784" y="200228"/>
                  </a:lnTo>
                  <a:lnTo>
                    <a:pt x="1215784" y="199530"/>
                  </a:lnTo>
                  <a:lnTo>
                    <a:pt x="1215784" y="200228"/>
                  </a:lnTo>
                  <a:lnTo>
                    <a:pt x="1215784" y="199530"/>
                  </a:lnTo>
                  <a:lnTo>
                    <a:pt x="1215835" y="199530"/>
                  </a:lnTo>
                  <a:lnTo>
                    <a:pt x="1215835" y="200228"/>
                  </a:lnTo>
                  <a:lnTo>
                    <a:pt x="1215835" y="199530"/>
                  </a:lnTo>
                  <a:lnTo>
                    <a:pt x="1215835" y="200876"/>
                  </a:lnTo>
                  <a:lnTo>
                    <a:pt x="1215835" y="200228"/>
                  </a:lnTo>
                  <a:lnTo>
                    <a:pt x="1215886" y="200228"/>
                  </a:lnTo>
                  <a:lnTo>
                    <a:pt x="1215886" y="200876"/>
                  </a:lnTo>
                  <a:lnTo>
                    <a:pt x="1215886" y="200228"/>
                  </a:lnTo>
                  <a:lnTo>
                    <a:pt x="1215886" y="200876"/>
                  </a:lnTo>
                  <a:lnTo>
                    <a:pt x="1215886" y="200228"/>
                  </a:lnTo>
                  <a:lnTo>
                    <a:pt x="1215886" y="200876"/>
                  </a:lnTo>
                  <a:lnTo>
                    <a:pt x="1215987" y="200876"/>
                  </a:lnTo>
                  <a:lnTo>
                    <a:pt x="1215987" y="202260"/>
                  </a:lnTo>
                  <a:lnTo>
                    <a:pt x="1215987" y="200228"/>
                  </a:lnTo>
                  <a:lnTo>
                    <a:pt x="1216025" y="200228"/>
                  </a:lnTo>
                  <a:lnTo>
                    <a:pt x="1216025" y="198831"/>
                  </a:lnTo>
                  <a:lnTo>
                    <a:pt x="1216025" y="200876"/>
                  </a:lnTo>
                  <a:lnTo>
                    <a:pt x="1216076" y="200228"/>
                  </a:lnTo>
                  <a:lnTo>
                    <a:pt x="1216076" y="202959"/>
                  </a:lnTo>
                  <a:lnTo>
                    <a:pt x="1216127" y="202260"/>
                  </a:lnTo>
                  <a:lnTo>
                    <a:pt x="1216127" y="203594"/>
                  </a:lnTo>
                  <a:lnTo>
                    <a:pt x="1216127" y="202959"/>
                  </a:lnTo>
                  <a:lnTo>
                    <a:pt x="1216229" y="202959"/>
                  </a:lnTo>
                  <a:lnTo>
                    <a:pt x="1216229" y="203594"/>
                  </a:lnTo>
                  <a:lnTo>
                    <a:pt x="1216229" y="202959"/>
                  </a:lnTo>
                  <a:lnTo>
                    <a:pt x="1216280" y="202959"/>
                  </a:lnTo>
                  <a:lnTo>
                    <a:pt x="1216280" y="202260"/>
                  </a:lnTo>
                  <a:lnTo>
                    <a:pt x="1216280" y="202959"/>
                  </a:lnTo>
                  <a:lnTo>
                    <a:pt x="1216280" y="200876"/>
                  </a:lnTo>
                  <a:lnTo>
                    <a:pt x="1216280" y="202959"/>
                  </a:lnTo>
                  <a:lnTo>
                    <a:pt x="1216330" y="202959"/>
                  </a:lnTo>
                  <a:lnTo>
                    <a:pt x="1216330" y="202260"/>
                  </a:lnTo>
                  <a:lnTo>
                    <a:pt x="1216330" y="203594"/>
                  </a:lnTo>
                  <a:lnTo>
                    <a:pt x="1216330" y="202959"/>
                  </a:lnTo>
                  <a:lnTo>
                    <a:pt x="1216432" y="202260"/>
                  </a:lnTo>
                  <a:lnTo>
                    <a:pt x="1216432" y="200876"/>
                  </a:lnTo>
                  <a:lnTo>
                    <a:pt x="1216432" y="202260"/>
                  </a:lnTo>
                  <a:lnTo>
                    <a:pt x="1216432" y="200876"/>
                  </a:lnTo>
                  <a:lnTo>
                    <a:pt x="1216432" y="202959"/>
                  </a:lnTo>
                  <a:lnTo>
                    <a:pt x="1216432" y="200876"/>
                  </a:lnTo>
                  <a:lnTo>
                    <a:pt x="1216483" y="200876"/>
                  </a:lnTo>
                  <a:lnTo>
                    <a:pt x="1216483" y="200228"/>
                  </a:lnTo>
                  <a:lnTo>
                    <a:pt x="1216483" y="202959"/>
                  </a:lnTo>
                  <a:lnTo>
                    <a:pt x="1216534" y="202959"/>
                  </a:lnTo>
                  <a:lnTo>
                    <a:pt x="1216534" y="202260"/>
                  </a:lnTo>
                  <a:lnTo>
                    <a:pt x="1216534" y="206324"/>
                  </a:lnTo>
                  <a:lnTo>
                    <a:pt x="1216534" y="204990"/>
                  </a:lnTo>
                  <a:lnTo>
                    <a:pt x="1216572" y="204990"/>
                  </a:lnTo>
                  <a:lnTo>
                    <a:pt x="1216572" y="204292"/>
                  </a:lnTo>
                  <a:lnTo>
                    <a:pt x="1216572" y="207022"/>
                  </a:lnTo>
                  <a:lnTo>
                    <a:pt x="1216572" y="204990"/>
                  </a:lnTo>
                  <a:lnTo>
                    <a:pt x="1216673" y="204990"/>
                  </a:lnTo>
                  <a:lnTo>
                    <a:pt x="1216673" y="207022"/>
                  </a:lnTo>
                  <a:lnTo>
                    <a:pt x="1216673" y="204990"/>
                  </a:lnTo>
                  <a:lnTo>
                    <a:pt x="1216673" y="206324"/>
                  </a:lnTo>
                  <a:lnTo>
                    <a:pt x="1216673" y="204990"/>
                  </a:lnTo>
                  <a:lnTo>
                    <a:pt x="1216724" y="204990"/>
                  </a:lnTo>
                  <a:lnTo>
                    <a:pt x="1216724" y="206324"/>
                  </a:lnTo>
                  <a:lnTo>
                    <a:pt x="1216724" y="204990"/>
                  </a:lnTo>
                  <a:lnTo>
                    <a:pt x="1216724" y="206324"/>
                  </a:lnTo>
                  <a:lnTo>
                    <a:pt x="1216724" y="204292"/>
                  </a:lnTo>
                  <a:lnTo>
                    <a:pt x="1216775" y="204292"/>
                  </a:lnTo>
                  <a:lnTo>
                    <a:pt x="1216775" y="204990"/>
                  </a:lnTo>
                  <a:lnTo>
                    <a:pt x="1216775" y="204292"/>
                  </a:lnTo>
                  <a:lnTo>
                    <a:pt x="1216775" y="204990"/>
                  </a:lnTo>
                  <a:lnTo>
                    <a:pt x="1216775" y="204292"/>
                  </a:lnTo>
                  <a:lnTo>
                    <a:pt x="1216876" y="204292"/>
                  </a:lnTo>
                  <a:lnTo>
                    <a:pt x="1216876" y="202959"/>
                  </a:lnTo>
                  <a:lnTo>
                    <a:pt x="1216927" y="202959"/>
                  </a:lnTo>
                  <a:lnTo>
                    <a:pt x="1216927" y="202260"/>
                  </a:lnTo>
                  <a:lnTo>
                    <a:pt x="1216927" y="203594"/>
                  </a:lnTo>
                  <a:lnTo>
                    <a:pt x="1216927" y="200228"/>
                  </a:lnTo>
                  <a:lnTo>
                    <a:pt x="1216978" y="200228"/>
                  </a:lnTo>
                  <a:lnTo>
                    <a:pt x="1216978" y="202260"/>
                  </a:lnTo>
                  <a:lnTo>
                    <a:pt x="1216978" y="200228"/>
                  </a:lnTo>
                  <a:lnTo>
                    <a:pt x="1216978" y="200876"/>
                  </a:lnTo>
                  <a:lnTo>
                    <a:pt x="1216978" y="200228"/>
                  </a:lnTo>
                  <a:lnTo>
                    <a:pt x="1217029" y="200228"/>
                  </a:lnTo>
                  <a:lnTo>
                    <a:pt x="1217029" y="203594"/>
                  </a:lnTo>
                  <a:lnTo>
                    <a:pt x="1217029" y="202959"/>
                  </a:lnTo>
                  <a:lnTo>
                    <a:pt x="1217118" y="202959"/>
                  </a:lnTo>
                  <a:lnTo>
                    <a:pt x="1217118" y="204292"/>
                  </a:lnTo>
                  <a:lnTo>
                    <a:pt x="1217118" y="203594"/>
                  </a:lnTo>
                  <a:lnTo>
                    <a:pt x="1217118" y="204292"/>
                  </a:lnTo>
                  <a:lnTo>
                    <a:pt x="1217169" y="204292"/>
                  </a:lnTo>
                  <a:lnTo>
                    <a:pt x="1217169" y="204990"/>
                  </a:lnTo>
                  <a:lnTo>
                    <a:pt x="1217219" y="204990"/>
                  </a:lnTo>
                  <a:lnTo>
                    <a:pt x="1217219" y="204292"/>
                  </a:lnTo>
                  <a:lnTo>
                    <a:pt x="1217219" y="204990"/>
                  </a:lnTo>
                  <a:lnTo>
                    <a:pt x="1217219" y="204292"/>
                  </a:lnTo>
                  <a:lnTo>
                    <a:pt x="1217219" y="204990"/>
                  </a:lnTo>
                  <a:lnTo>
                    <a:pt x="1217270" y="204990"/>
                  </a:lnTo>
                  <a:lnTo>
                    <a:pt x="1217270" y="204292"/>
                  </a:lnTo>
                  <a:lnTo>
                    <a:pt x="1217270" y="206324"/>
                  </a:lnTo>
                  <a:lnTo>
                    <a:pt x="1217372" y="206324"/>
                  </a:lnTo>
                  <a:lnTo>
                    <a:pt x="1217372" y="204990"/>
                  </a:lnTo>
                  <a:lnTo>
                    <a:pt x="1217372" y="207022"/>
                  </a:lnTo>
                  <a:lnTo>
                    <a:pt x="1217372" y="206324"/>
                  </a:lnTo>
                  <a:lnTo>
                    <a:pt x="1217372" y="207022"/>
                  </a:lnTo>
                  <a:lnTo>
                    <a:pt x="1217422" y="207022"/>
                  </a:lnTo>
                  <a:lnTo>
                    <a:pt x="1217422" y="204990"/>
                  </a:lnTo>
                  <a:lnTo>
                    <a:pt x="1217422" y="208407"/>
                  </a:lnTo>
                  <a:lnTo>
                    <a:pt x="1217422" y="207721"/>
                  </a:lnTo>
                  <a:lnTo>
                    <a:pt x="1217473" y="207721"/>
                  </a:lnTo>
                  <a:lnTo>
                    <a:pt x="1217473" y="207022"/>
                  </a:lnTo>
                  <a:lnTo>
                    <a:pt x="1217473" y="208407"/>
                  </a:lnTo>
                  <a:lnTo>
                    <a:pt x="1217473" y="207721"/>
                  </a:lnTo>
                  <a:lnTo>
                    <a:pt x="1217575" y="207721"/>
                  </a:lnTo>
                  <a:lnTo>
                    <a:pt x="1217575" y="208407"/>
                  </a:lnTo>
                  <a:lnTo>
                    <a:pt x="1217575" y="207721"/>
                  </a:lnTo>
                  <a:lnTo>
                    <a:pt x="1217575" y="208407"/>
                  </a:lnTo>
                  <a:lnTo>
                    <a:pt x="1217575" y="207721"/>
                  </a:lnTo>
                  <a:lnTo>
                    <a:pt x="1217575" y="208407"/>
                  </a:lnTo>
                  <a:lnTo>
                    <a:pt x="1217613" y="208407"/>
                  </a:lnTo>
                  <a:lnTo>
                    <a:pt x="1217613" y="207721"/>
                  </a:lnTo>
                  <a:lnTo>
                    <a:pt x="1217613" y="208407"/>
                  </a:lnTo>
                  <a:lnTo>
                    <a:pt x="1217613" y="207721"/>
                  </a:lnTo>
                  <a:lnTo>
                    <a:pt x="1217664" y="207721"/>
                  </a:lnTo>
                  <a:lnTo>
                    <a:pt x="1217664" y="207022"/>
                  </a:lnTo>
                  <a:lnTo>
                    <a:pt x="1217715" y="207022"/>
                  </a:lnTo>
                  <a:lnTo>
                    <a:pt x="1217715" y="204990"/>
                  </a:lnTo>
                  <a:lnTo>
                    <a:pt x="1217816" y="204292"/>
                  </a:lnTo>
                  <a:lnTo>
                    <a:pt x="1217816" y="203594"/>
                  </a:lnTo>
                  <a:lnTo>
                    <a:pt x="1217816" y="204292"/>
                  </a:lnTo>
                  <a:lnTo>
                    <a:pt x="1217816" y="203594"/>
                  </a:lnTo>
                  <a:lnTo>
                    <a:pt x="1217867" y="203594"/>
                  </a:lnTo>
                  <a:lnTo>
                    <a:pt x="1217867" y="204990"/>
                  </a:lnTo>
                  <a:lnTo>
                    <a:pt x="1217867" y="204292"/>
                  </a:lnTo>
                  <a:lnTo>
                    <a:pt x="1217867" y="204990"/>
                  </a:lnTo>
                  <a:lnTo>
                    <a:pt x="1217867" y="204292"/>
                  </a:lnTo>
                  <a:lnTo>
                    <a:pt x="1217918" y="204990"/>
                  </a:lnTo>
                  <a:lnTo>
                    <a:pt x="1217918" y="207022"/>
                  </a:lnTo>
                  <a:lnTo>
                    <a:pt x="1217918" y="206324"/>
                  </a:lnTo>
                  <a:lnTo>
                    <a:pt x="1217918" y="207022"/>
                  </a:lnTo>
                  <a:lnTo>
                    <a:pt x="1217918" y="206324"/>
                  </a:lnTo>
                  <a:lnTo>
                    <a:pt x="1218019" y="206324"/>
                  </a:lnTo>
                  <a:lnTo>
                    <a:pt x="1218019" y="207022"/>
                  </a:lnTo>
                  <a:lnTo>
                    <a:pt x="1218019" y="206324"/>
                  </a:lnTo>
                  <a:lnTo>
                    <a:pt x="1218019" y="207022"/>
                  </a:lnTo>
                  <a:lnTo>
                    <a:pt x="1218070" y="207022"/>
                  </a:lnTo>
                  <a:lnTo>
                    <a:pt x="1218070" y="207721"/>
                  </a:lnTo>
                  <a:lnTo>
                    <a:pt x="1218070" y="207022"/>
                  </a:lnTo>
                  <a:lnTo>
                    <a:pt x="1218070" y="207721"/>
                  </a:lnTo>
                  <a:lnTo>
                    <a:pt x="1218070" y="207022"/>
                  </a:lnTo>
                  <a:lnTo>
                    <a:pt x="1218070" y="207721"/>
                  </a:lnTo>
                  <a:lnTo>
                    <a:pt x="1218121" y="207721"/>
                  </a:lnTo>
                  <a:lnTo>
                    <a:pt x="1218121" y="207022"/>
                  </a:lnTo>
                  <a:lnTo>
                    <a:pt x="1218121" y="207721"/>
                  </a:lnTo>
                  <a:lnTo>
                    <a:pt x="1218121" y="207022"/>
                  </a:lnTo>
                  <a:lnTo>
                    <a:pt x="1218159" y="207022"/>
                  </a:lnTo>
                  <a:lnTo>
                    <a:pt x="1218159" y="207721"/>
                  </a:lnTo>
                  <a:lnTo>
                    <a:pt x="1218159" y="206324"/>
                  </a:lnTo>
                  <a:lnTo>
                    <a:pt x="1218159" y="207022"/>
                  </a:lnTo>
                  <a:lnTo>
                    <a:pt x="1218159" y="206324"/>
                  </a:lnTo>
                  <a:lnTo>
                    <a:pt x="1218261" y="206324"/>
                  </a:lnTo>
                  <a:lnTo>
                    <a:pt x="1218261" y="204292"/>
                  </a:lnTo>
                  <a:lnTo>
                    <a:pt x="1218312" y="204292"/>
                  </a:lnTo>
                  <a:lnTo>
                    <a:pt x="1218312" y="202959"/>
                  </a:lnTo>
                  <a:lnTo>
                    <a:pt x="1218312" y="203594"/>
                  </a:lnTo>
                  <a:lnTo>
                    <a:pt x="1218312" y="202260"/>
                  </a:lnTo>
                  <a:lnTo>
                    <a:pt x="1218312" y="202959"/>
                  </a:lnTo>
                  <a:lnTo>
                    <a:pt x="1218312" y="202260"/>
                  </a:lnTo>
                  <a:lnTo>
                    <a:pt x="1218362" y="202260"/>
                  </a:lnTo>
                  <a:lnTo>
                    <a:pt x="1218362" y="203594"/>
                  </a:lnTo>
                  <a:lnTo>
                    <a:pt x="1218362" y="202260"/>
                  </a:lnTo>
                  <a:lnTo>
                    <a:pt x="1218362" y="203594"/>
                  </a:lnTo>
                  <a:lnTo>
                    <a:pt x="1218464" y="203594"/>
                  </a:lnTo>
                  <a:lnTo>
                    <a:pt x="1218464" y="204292"/>
                  </a:lnTo>
                  <a:lnTo>
                    <a:pt x="1218464" y="203594"/>
                  </a:lnTo>
                  <a:lnTo>
                    <a:pt x="1218464" y="204292"/>
                  </a:lnTo>
                  <a:lnTo>
                    <a:pt x="1218464" y="203594"/>
                  </a:lnTo>
                  <a:lnTo>
                    <a:pt x="1218464" y="204292"/>
                  </a:lnTo>
                  <a:lnTo>
                    <a:pt x="1218515" y="204292"/>
                  </a:lnTo>
                  <a:lnTo>
                    <a:pt x="1218515" y="203594"/>
                  </a:lnTo>
                  <a:lnTo>
                    <a:pt x="1218515" y="204292"/>
                  </a:lnTo>
                  <a:lnTo>
                    <a:pt x="1218565" y="204990"/>
                  </a:lnTo>
                  <a:lnTo>
                    <a:pt x="1218565" y="204292"/>
                  </a:lnTo>
                  <a:lnTo>
                    <a:pt x="1218565" y="206324"/>
                  </a:lnTo>
                  <a:lnTo>
                    <a:pt x="1218565" y="204990"/>
                  </a:lnTo>
                  <a:lnTo>
                    <a:pt x="1218565" y="207022"/>
                  </a:lnTo>
                  <a:lnTo>
                    <a:pt x="1218616" y="206324"/>
                  </a:lnTo>
                  <a:lnTo>
                    <a:pt x="1218616" y="204990"/>
                  </a:lnTo>
                  <a:lnTo>
                    <a:pt x="1218616" y="206324"/>
                  </a:lnTo>
                  <a:lnTo>
                    <a:pt x="1218616" y="204990"/>
                  </a:lnTo>
                  <a:lnTo>
                    <a:pt x="1218705" y="204990"/>
                  </a:lnTo>
                  <a:lnTo>
                    <a:pt x="1218705" y="206324"/>
                  </a:lnTo>
                  <a:lnTo>
                    <a:pt x="1218705" y="204292"/>
                  </a:lnTo>
                  <a:lnTo>
                    <a:pt x="1218756" y="204292"/>
                  </a:lnTo>
                  <a:lnTo>
                    <a:pt x="1218756" y="203594"/>
                  </a:lnTo>
                  <a:lnTo>
                    <a:pt x="1218756" y="204292"/>
                  </a:lnTo>
                  <a:lnTo>
                    <a:pt x="1218756" y="203594"/>
                  </a:lnTo>
                  <a:lnTo>
                    <a:pt x="1218807" y="202959"/>
                  </a:lnTo>
                  <a:lnTo>
                    <a:pt x="1218807" y="202260"/>
                  </a:lnTo>
                  <a:lnTo>
                    <a:pt x="1218807" y="202959"/>
                  </a:lnTo>
                  <a:lnTo>
                    <a:pt x="1218807" y="202260"/>
                  </a:lnTo>
                  <a:lnTo>
                    <a:pt x="1218807" y="202959"/>
                  </a:lnTo>
                  <a:lnTo>
                    <a:pt x="1218858" y="202959"/>
                  </a:lnTo>
                  <a:lnTo>
                    <a:pt x="1218858" y="202260"/>
                  </a:lnTo>
                  <a:lnTo>
                    <a:pt x="1218858" y="202959"/>
                  </a:lnTo>
                  <a:lnTo>
                    <a:pt x="1218858" y="200876"/>
                  </a:lnTo>
                  <a:lnTo>
                    <a:pt x="1218858" y="203594"/>
                  </a:lnTo>
                  <a:lnTo>
                    <a:pt x="1218858" y="202959"/>
                  </a:lnTo>
                  <a:lnTo>
                    <a:pt x="1218959" y="202959"/>
                  </a:lnTo>
                  <a:lnTo>
                    <a:pt x="1218959" y="203594"/>
                  </a:lnTo>
                  <a:lnTo>
                    <a:pt x="1219010" y="203594"/>
                  </a:lnTo>
                  <a:lnTo>
                    <a:pt x="1219010" y="202959"/>
                  </a:lnTo>
                  <a:lnTo>
                    <a:pt x="1219010" y="203594"/>
                  </a:lnTo>
                  <a:lnTo>
                    <a:pt x="1219061" y="203594"/>
                  </a:lnTo>
                  <a:lnTo>
                    <a:pt x="1219061" y="204292"/>
                  </a:lnTo>
                  <a:lnTo>
                    <a:pt x="1219061" y="203594"/>
                  </a:lnTo>
                  <a:lnTo>
                    <a:pt x="1219162" y="204292"/>
                  </a:lnTo>
                  <a:lnTo>
                    <a:pt x="1219162" y="203594"/>
                  </a:lnTo>
                  <a:lnTo>
                    <a:pt x="1219162" y="204292"/>
                  </a:lnTo>
                  <a:lnTo>
                    <a:pt x="1219162" y="203594"/>
                  </a:lnTo>
                  <a:lnTo>
                    <a:pt x="1219162" y="204292"/>
                  </a:lnTo>
                  <a:lnTo>
                    <a:pt x="1219162" y="203594"/>
                  </a:lnTo>
                  <a:lnTo>
                    <a:pt x="1219162" y="204292"/>
                  </a:lnTo>
                  <a:lnTo>
                    <a:pt x="1219162" y="203594"/>
                  </a:lnTo>
                  <a:lnTo>
                    <a:pt x="1219200" y="204292"/>
                  </a:lnTo>
                  <a:lnTo>
                    <a:pt x="1219200" y="203594"/>
                  </a:lnTo>
                  <a:lnTo>
                    <a:pt x="1219200" y="204292"/>
                  </a:lnTo>
                  <a:lnTo>
                    <a:pt x="1219200" y="203594"/>
                  </a:lnTo>
                  <a:lnTo>
                    <a:pt x="1219200" y="204292"/>
                  </a:lnTo>
                  <a:lnTo>
                    <a:pt x="1219200" y="203594"/>
                  </a:lnTo>
                  <a:lnTo>
                    <a:pt x="1219251" y="203594"/>
                  </a:lnTo>
                  <a:lnTo>
                    <a:pt x="1219251" y="202959"/>
                  </a:lnTo>
                  <a:lnTo>
                    <a:pt x="1219251" y="203594"/>
                  </a:lnTo>
                  <a:lnTo>
                    <a:pt x="1219251" y="202959"/>
                  </a:lnTo>
                  <a:lnTo>
                    <a:pt x="1219251" y="203594"/>
                  </a:lnTo>
                  <a:lnTo>
                    <a:pt x="1219251" y="202959"/>
                  </a:lnTo>
                  <a:lnTo>
                    <a:pt x="1219251" y="203594"/>
                  </a:lnTo>
                  <a:lnTo>
                    <a:pt x="1219251" y="202260"/>
                  </a:lnTo>
                  <a:lnTo>
                    <a:pt x="1219251" y="202959"/>
                  </a:lnTo>
                  <a:lnTo>
                    <a:pt x="1219251" y="202260"/>
                  </a:lnTo>
                  <a:lnTo>
                    <a:pt x="1219302" y="202260"/>
                  </a:lnTo>
                  <a:lnTo>
                    <a:pt x="1219302" y="200876"/>
                  </a:lnTo>
                  <a:lnTo>
                    <a:pt x="1219302" y="202959"/>
                  </a:lnTo>
                  <a:lnTo>
                    <a:pt x="1219302" y="202260"/>
                  </a:lnTo>
                  <a:lnTo>
                    <a:pt x="1219404" y="200876"/>
                  </a:lnTo>
                  <a:lnTo>
                    <a:pt x="1219404" y="202260"/>
                  </a:lnTo>
                  <a:lnTo>
                    <a:pt x="1219404" y="200876"/>
                  </a:lnTo>
                  <a:lnTo>
                    <a:pt x="1219404" y="203594"/>
                  </a:lnTo>
                  <a:lnTo>
                    <a:pt x="1219404" y="202260"/>
                  </a:lnTo>
                  <a:lnTo>
                    <a:pt x="1219455" y="202260"/>
                  </a:lnTo>
                  <a:lnTo>
                    <a:pt x="1219455" y="200876"/>
                  </a:lnTo>
                  <a:lnTo>
                    <a:pt x="1219455" y="202959"/>
                  </a:lnTo>
                  <a:lnTo>
                    <a:pt x="1219455" y="202260"/>
                  </a:lnTo>
                  <a:lnTo>
                    <a:pt x="1219455" y="202959"/>
                  </a:lnTo>
                  <a:lnTo>
                    <a:pt x="1219505" y="202959"/>
                  </a:lnTo>
                  <a:lnTo>
                    <a:pt x="1219505" y="203594"/>
                  </a:lnTo>
                  <a:lnTo>
                    <a:pt x="1219607" y="203594"/>
                  </a:lnTo>
                  <a:lnTo>
                    <a:pt x="1219607" y="202959"/>
                  </a:lnTo>
                  <a:lnTo>
                    <a:pt x="1219607" y="203594"/>
                  </a:lnTo>
                  <a:lnTo>
                    <a:pt x="1219658" y="203594"/>
                  </a:lnTo>
                  <a:lnTo>
                    <a:pt x="1219658" y="202959"/>
                  </a:lnTo>
                  <a:lnTo>
                    <a:pt x="1219709" y="203594"/>
                  </a:lnTo>
                  <a:lnTo>
                    <a:pt x="1219709" y="202959"/>
                  </a:lnTo>
                  <a:lnTo>
                    <a:pt x="1219747" y="202959"/>
                  </a:lnTo>
                  <a:lnTo>
                    <a:pt x="1219747" y="200228"/>
                  </a:lnTo>
                  <a:lnTo>
                    <a:pt x="1219747" y="200876"/>
                  </a:lnTo>
                  <a:lnTo>
                    <a:pt x="1219848" y="200876"/>
                  </a:lnTo>
                  <a:lnTo>
                    <a:pt x="1219848" y="202260"/>
                  </a:lnTo>
                  <a:lnTo>
                    <a:pt x="1219848" y="200876"/>
                  </a:lnTo>
                  <a:lnTo>
                    <a:pt x="1219848" y="202260"/>
                  </a:lnTo>
                  <a:lnTo>
                    <a:pt x="1219848" y="200228"/>
                  </a:lnTo>
                  <a:lnTo>
                    <a:pt x="1219899" y="200876"/>
                  </a:lnTo>
                  <a:lnTo>
                    <a:pt x="1219899" y="202959"/>
                  </a:lnTo>
                  <a:lnTo>
                    <a:pt x="1219899" y="200876"/>
                  </a:lnTo>
                  <a:lnTo>
                    <a:pt x="1219899" y="202260"/>
                  </a:lnTo>
                  <a:lnTo>
                    <a:pt x="1219950" y="202260"/>
                  </a:lnTo>
                  <a:lnTo>
                    <a:pt x="1219950" y="203594"/>
                  </a:lnTo>
                  <a:lnTo>
                    <a:pt x="1219950" y="202260"/>
                  </a:lnTo>
                  <a:lnTo>
                    <a:pt x="1219950" y="202959"/>
                  </a:lnTo>
                  <a:lnTo>
                    <a:pt x="1220051" y="202959"/>
                  </a:lnTo>
                  <a:lnTo>
                    <a:pt x="1220051" y="202260"/>
                  </a:lnTo>
                  <a:lnTo>
                    <a:pt x="1220051" y="202959"/>
                  </a:lnTo>
                  <a:lnTo>
                    <a:pt x="1220102" y="203594"/>
                  </a:lnTo>
                  <a:lnTo>
                    <a:pt x="1220102" y="202959"/>
                  </a:lnTo>
                  <a:lnTo>
                    <a:pt x="1220102" y="203594"/>
                  </a:lnTo>
                  <a:lnTo>
                    <a:pt x="1220102" y="202959"/>
                  </a:lnTo>
                  <a:lnTo>
                    <a:pt x="1220153" y="202959"/>
                  </a:lnTo>
                  <a:lnTo>
                    <a:pt x="1220153" y="203594"/>
                  </a:lnTo>
                  <a:lnTo>
                    <a:pt x="1220153" y="202260"/>
                  </a:lnTo>
                  <a:lnTo>
                    <a:pt x="1220153" y="203594"/>
                  </a:lnTo>
                  <a:lnTo>
                    <a:pt x="1220204" y="202959"/>
                  </a:lnTo>
                  <a:lnTo>
                    <a:pt x="1220204" y="202260"/>
                  </a:lnTo>
                  <a:lnTo>
                    <a:pt x="1220204" y="202959"/>
                  </a:lnTo>
                  <a:lnTo>
                    <a:pt x="1220204" y="202260"/>
                  </a:lnTo>
                  <a:lnTo>
                    <a:pt x="1220204" y="202959"/>
                  </a:lnTo>
                  <a:lnTo>
                    <a:pt x="1220204" y="202260"/>
                  </a:lnTo>
                  <a:lnTo>
                    <a:pt x="1220204" y="202959"/>
                  </a:lnTo>
                  <a:lnTo>
                    <a:pt x="1220204" y="202260"/>
                  </a:lnTo>
                  <a:lnTo>
                    <a:pt x="1220293" y="202260"/>
                  </a:lnTo>
                  <a:lnTo>
                    <a:pt x="1220293" y="200228"/>
                  </a:lnTo>
                  <a:lnTo>
                    <a:pt x="1220293" y="202959"/>
                  </a:lnTo>
                  <a:lnTo>
                    <a:pt x="1220344" y="202959"/>
                  </a:lnTo>
                  <a:lnTo>
                    <a:pt x="1220344" y="200228"/>
                  </a:lnTo>
                  <a:lnTo>
                    <a:pt x="1220344" y="204292"/>
                  </a:lnTo>
                  <a:lnTo>
                    <a:pt x="1220394" y="203594"/>
                  </a:lnTo>
                  <a:lnTo>
                    <a:pt x="1220394" y="202260"/>
                  </a:lnTo>
                  <a:lnTo>
                    <a:pt x="1220394" y="203594"/>
                  </a:lnTo>
                  <a:lnTo>
                    <a:pt x="1220445" y="203594"/>
                  </a:lnTo>
                  <a:lnTo>
                    <a:pt x="1220445" y="202959"/>
                  </a:lnTo>
                  <a:lnTo>
                    <a:pt x="1220445" y="204292"/>
                  </a:lnTo>
                  <a:lnTo>
                    <a:pt x="1220445" y="203594"/>
                  </a:lnTo>
                  <a:lnTo>
                    <a:pt x="1220445" y="204292"/>
                  </a:lnTo>
                  <a:lnTo>
                    <a:pt x="1220445" y="203594"/>
                  </a:lnTo>
                  <a:lnTo>
                    <a:pt x="1220547" y="203594"/>
                  </a:lnTo>
                  <a:lnTo>
                    <a:pt x="1220547" y="204292"/>
                  </a:lnTo>
                  <a:lnTo>
                    <a:pt x="1220547" y="203594"/>
                  </a:lnTo>
                  <a:lnTo>
                    <a:pt x="1220547" y="204292"/>
                  </a:lnTo>
                  <a:lnTo>
                    <a:pt x="1220547" y="203594"/>
                  </a:lnTo>
                  <a:lnTo>
                    <a:pt x="1220547" y="204292"/>
                  </a:lnTo>
                  <a:lnTo>
                    <a:pt x="1220547" y="203594"/>
                  </a:lnTo>
                  <a:lnTo>
                    <a:pt x="1220597" y="203594"/>
                  </a:lnTo>
                  <a:lnTo>
                    <a:pt x="1220597" y="204292"/>
                  </a:lnTo>
                  <a:lnTo>
                    <a:pt x="1220597" y="203594"/>
                  </a:lnTo>
                  <a:lnTo>
                    <a:pt x="1220597" y="204292"/>
                  </a:lnTo>
                  <a:lnTo>
                    <a:pt x="1220597" y="203594"/>
                  </a:lnTo>
                  <a:lnTo>
                    <a:pt x="1220597" y="204292"/>
                  </a:lnTo>
                  <a:lnTo>
                    <a:pt x="1220597" y="202959"/>
                  </a:lnTo>
                  <a:lnTo>
                    <a:pt x="1220648" y="202959"/>
                  </a:lnTo>
                  <a:lnTo>
                    <a:pt x="1220648" y="203594"/>
                  </a:lnTo>
                  <a:lnTo>
                    <a:pt x="1220750" y="203594"/>
                  </a:lnTo>
                  <a:lnTo>
                    <a:pt x="1220750" y="202260"/>
                  </a:lnTo>
                  <a:lnTo>
                    <a:pt x="1220750" y="202959"/>
                  </a:lnTo>
                  <a:lnTo>
                    <a:pt x="1220750" y="202260"/>
                  </a:lnTo>
                  <a:lnTo>
                    <a:pt x="1220788" y="200876"/>
                  </a:lnTo>
                  <a:lnTo>
                    <a:pt x="1220788" y="202260"/>
                  </a:lnTo>
                  <a:lnTo>
                    <a:pt x="1220788" y="200876"/>
                  </a:lnTo>
                  <a:lnTo>
                    <a:pt x="1220788" y="202959"/>
                  </a:lnTo>
                  <a:lnTo>
                    <a:pt x="1220788" y="202260"/>
                  </a:lnTo>
                  <a:lnTo>
                    <a:pt x="1220788" y="202959"/>
                  </a:lnTo>
                  <a:lnTo>
                    <a:pt x="1220788" y="202260"/>
                  </a:lnTo>
                  <a:lnTo>
                    <a:pt x="1220788" y="202959"/>
                  </a:lnTo>
                  <a:lnTo>
                    <a:pt x="1220788" y="202260"/>
                  </a:lnTo>
                  <a:lnTo>
                    <a:pt x="1220839" y="202260"/>
                  </a:lnTo>
                  <a:lnTo>
                    <a:pt x="1220839" y="200876"/>
                  </a:lnTo>
                  <a:lnTo>
                    <a:pt x="1220839" y="204292"/>
                  </a:lnTo>
                  <a:lnTo>
                    <a:pt x="1220839" y="203594"/>
                  </a:lnTo>
                  <a:lnTo>
                    <a:pt x="1220839" y="204292"/>
                  </a:lnTo>
                  <a:lnTo>
                    <a:pt x="1220839" y="203594"/>
                  </a:lnTo>
                  <a:lnTo>
                    <a:pt x="1220890" y="203594"/>
                  </a:lnTo>
                  <a:lnTo>
                    <a:pt x="1220890" y="204990"/>
                  </a:lnTo>
                  <a:lnTo>
                    <a:pt x="1220890" y="204292"/>
                  </a:lnTo>
                  <a:lnTo>
                    <a:pt x="1220991" y="204292"/>
                  </a:lnTo>
                  <a:lnTo>
                    <a:pt x="1220991" y="204990"/>
                  </a:lnTo>
                  <a:lnTo>
                    <a:pt x="1220991" y="204292"/>
                  </a:lnTo>
                  <a:lnTo>
                    <a:pt x="1221042" y="204292"/>
                  </a:lnTo>
                  <a:lnTo>
                    <a:pt x="1221042" y="203594"/>
                  </a:lnTo>
                  <a:lnTo>
                    <a:pt x="1221042" y="204990"/>
                  </a:lnTo>
                  <a:lnTo>
                    <a:pt x="1221042" y="204292"/>
                  </a:lnTo>
                  <a:lnTo>
                    <a:pt x="1221042" y="204990"/>
                  </a:lnTo>
                  <a:lnTo>
                    <a:pt x="1221093" y="204292"/>
                  </a:lnTo>
                  <a:lnTo>
                    <a:pt x="1221093" y="203594"/>
                  </a:lnTo>
                  <a:lnTo>
                    <a:pt x="1221093" y="204292"/>
                  </a:lnTo>
                  <a:lnTo>
                    <a:pt x="1221093" y="203594"/>
                  </a:lnTo>
                  <a:lnTo>
                    <a:pt x="1221093" y="204292"/>
                  </a:lnTo>
                  <a:lnTo>
                    <a:pt x="1221093" y="203594"/>
                  </a:lnTo>
                  <a:lnTo>
                    <a:pt x="1221194" y="203594"/>
                  </a:lnTo>
                  <a:lnTo>
                    <a:pt x="1221194" y="202959"/>
                  </a:lnTo>
                  <a:lnTo>
                    <a:pt x="1221194" y="203594"/>
                  </a:lnTo>
                  <a:lnTo>
                    <a:pt x="1221194" y="202959"/>
                  </a:lnTo>
                  <a:lnTo>
                    <a:pt x="1221194" y="203594"/>
                  </a:lnTo>
                  <a:lnTo>
                    <a:pt x="1221194" y="202260"/>
                  </a:lnTo>
                  <a:lnTo>
                    <a:pt x="1221245" y="202260"/>
                  </a:lnTo>
                  <a:lnTo>
                    <a:pt x="1221245" y="200228"/>
                  </a:lnTo>
                  <a:lnTo>
                    <a:pt x="1221296" y="200228"/>
                  </a:lnTo>
                  <a:lnTo>
                    <a:pt x="1221296" y="199530"/>
                  </a:lnTo>
                  <a:lnTo>
                    <a:pt x="1221296" y="202260"/>
                  </a:lnTo>
                  <a:lnTo>
                    <a:pt x="1221296" y="200228"/>
                  </a:lnTo>
                  <a:lnTo>
                    <a:pt x="1221296" y="200876"/>
                  </a:lnTo>
                  <a:lnTo>
                    <a:pt x="1221296" y="200228"/>
                  </a:lnTo>
                  <a:lnTo>
                    <a:pt x="1221334" y="200876"/>
                  </a:lnTo>
                  <a:lnTo>
                    <a:pt x="1221334" y="203594"/>
                  </a:lnTo>
                  <a:lnTo>
                    <a:pt x="1221334" y="202260"/>
                  </a:lnTo>
                  <a:lnTo>
                    <a:pt x="1221436" y="202260"/>
                  </a:lnTo>
                  <a:lnTo>
                    <a:pt x="1221436" y="203594"/>
                  </a:lnTo>
                  <a:lnTo>
                    <a:pt x="1221436" y="202260"/>
                  </a:lnTo>
                  <a:lnTo>
                    <a:pt x="1221436" y="203594"/>
                  </a:lnTo>
                  <a:lnTo>
                    <a:pt x="1221487" y="203594"/>
                  </a:lnTo>
                  <a:lnTo>
                    <a:pt x="1221487" y="204292"/>
                  </a:lnTo>
                  <a:lnTo>
                    <a:pt x="1221487" y="202959"/>
                  </a:lnTo>
                  <a:lnTo>
                    <a:pt x="1221487" y="204292"/>
                  </a:lnTo>
                  <a:lnTo>
                    <a:pt x="1221487" y="203594"/>
                  </a:lnTo>
                  <a:lnTo>
                    <a:pt x="1221537" y="203594"/>
                  </a:lnTo>
                  <a:lnTo>
                    <a:pt x="1221537" y="204292"/>
                  </a:lnTo>
                  <a:lnTo>
                    <a:pt x="1221639" y="204292"/>
                  </a:lnTo>
                  <a:lnTo>
                    <a:pt x="1221639" y="203594"/>
                  </a:lnTo>
                  <a:lnTo>
                    <a:pt x="1221639" y="204292"/>
                  </a:lnTo>
                  <a:lnTo>
                    <a:pt x="1221639" y="203594"/>
                  </a:lnTo>
                  <a:lnTo>
                    <a:pt x="1221639" y="204292"/>
                  </a:lnTo>
                  <a:lnTo>
                    <a:pt x="1221639" y="203594"/>
                  </a:lnTo>
                  <a:lnTo>
                    <a:pt x="1221639" y="204292"/>
                  </a:lnTo>
                  <a:lnTo>
                    <a:pt x="1221639" y="203594"/>
                  </a:lnTo>
                  <a:lnTo>
                    <a:pt x="1221690" y="204292"/>
                  </a:lnTo>
                  <a:lnTo>
                    <a:pt x="1221690" y="203594"/>
                  </a:lnTo>
                  <a:lnTo>
                    <a:pt x="1221690" y="204292"/>
                  </a:lnTo>
                  <a:lnTo>
                    <a:pt x="1221690" y="202959"/>
                  </a:lnTo>
                  <a:lnTo>
                    <a:pt x="1221690" y="203594"/>
                  </a:lnTo>
                  <a:lnTo>
                    <a:pt x="1221690" y="202959"/>
                  </a:lnTo>
                  <a:lnTo>
                    <a:pt x="1221740" y="202959"/>
                  </a:lnTo>
                  <a:lnTo>
                    <a:pt x="1221740" y="200876"/>
                  </a:lnTo>
                  <a:lnTo>
                    <a:pt x="1221740" y="202260"/>
                  </a:lnTo>
                  <a:lnTo>
                    <a:pt x="1221791" y="202260"/>
                  </a:lnTo>
                  <a:lnTo>
                    <a:pt x="1221791" y="200228"/>
                  </a:lnTo>
                  <a:lnTo>
                    <a:pt x="1221791" y="202959"/>
                  </a:lnTo>
                  <a:lnTo>
                    <a:pt x="1221880" y="202959"/>
                  </a:lnTo>
                  <a:lnTo>
                    <a:pt x="1221880" y="202260"/>
                  </a:lnTo>
                  <a:lnTo>
                    <a:pt x="1221880" y="202959"/>
                  </a:lnTo>
                  <a:lnTo>
                    <a:pt x="1221880" y="202260"/>
                  </a:lnTo>
                  <a:lnTo>
                    <a:pt x="1221880" y="202959"/>
                  </a:lnTo>
                  <a:lnTo>
                    <a:pt x="1221931" y="203594"/>
                  </a:lnTo>
                  <a:lnTo>
                    <a:pt x="1221931" y="202959"/>
                  </a:lnTo>
                  <a:lnTo>
                    <a:pt x="1221931" y="204292"/>
                  </a:lnTo>
                  <a:lnTo>
                    <a:pt x="1221982" y="203594"/>
                  </a:lnTo>
                  <a:lnTo>
                    <a:pt x="1221982" y="202959"/>
                  </a:lnTo>
                  <a:lnTo>
                    <a:pt x="1221982" y="204292"/>
                  </a:lnTo>
                  <a:lnTo>
                    <a:pt x="1222033" y="203594"/>
                  </a:lnTo>
                  <a:lnTo>
                    <a:pt x="1222033" y="204292"/>
                  </a:lnTo>
                  <a:lnTo>
                    <a:pt x="1222033" y="203594"/>
                  </a:lnTo>
                  <a:lnTo>
                    <a:pt x="1222134" y="203594"/>
                  </a:lnTo>
                  <a:lnTo>
                    <a:pt x="1222134" y="204292"/>
                  </a:lnTo>
                  <a:lnTo>
                    <a:pt x="1222134" y="202959"/>
                  </a:lnTo>
                  <a:lnTo>
                    <a:pt x="1222185" y="203594"/>
                  </a:lnTo>
                  <a:lnTo>
                    <a:pt x="1222185" y="202959"/>
                  </a:lnTo>
                  <a:lnTo>
                    <a:pt x="1222185" y="203594"/>
                  </a:lnTo>
                  <a:lnTo>
                    <a:pt x="1222185" y="202959"/>
                  </a:lnTo>
                  <a:lnTo>
                    <a:pt x="1222185" y="203594"/>
                  </a:lnTo>
                  <a:lnTo>
                    <a:pt x="1222185" y="202260"/>
                  </a:lnTo>
                  <a:lnTo>
                    <a:pt x="1222185" y="202959"/>
                  </a:lnTo>
                  <a:lnTo>
                    <a:pt x="1222185" y="202260"/>
                  </a:lnTo>
                  <a:lnTo>
                    <a:pt x="1222236" y="200876"/>
                  </a:lnTo>
                  <a:lnTo>
                    <a:pt x="1222236" y="199530"/>
                  </a:lnTo>
                  <a:lnTo>
                    <a:pt x="1222337" y="200228"/>
                  </a:lnTo>
                  <a:lnTo>
                    <a:pt x="1222337" y="200876"/>
                  </a:lnTo>
                  <a:lnTo>
                    <a:pt x="1222337" y="200228"/>
                  </a:lnTo>
                  <a:lnTo>
                    <a:pt x="1222337" y="202260"/>
                  </a:lnTo>
                  <a:lnTo>
                    <a:pt x="1222375" y="202260"/>
                  </a:lnTo>
                  <a:lnTo>
                    <a:pt x="1222375" y="202959"/>
                  </a:lnTo>
                  <a:lnTo>
                    <a:pt x="1222375" y="202260"/>
                  </a:lnTo>
                  <a:lnTo>
                    <a:pt x="1222375" y="202959"/>
                  </a:lnTo>
                  <a:lnTo>
                    <a:pt x="1222375" y="200228"/>
                  </a:lnTo>
                  <a:lnTo>
                    <a:pt x="1222375" y="202260"/>
                  </a:lnTo>
                  <a:lnTo>
                    <a:pt x="1222426" y="202260"/>
                  </a:lnTo>
                  <a:lnTo>
                    <a:pt x="1222426" y="202959"/>
                  </a:lnTo>
                  <a:lnTo>
                    <a:pt x="1222426" y="200876"/>
                  </a:lnTo>
                  <a:lnTo>
                    <a:pt x="1222426" y="202959"/>
                  </a:lnTo>
                  <a:lnTo>
                    <a:pt x="1222477" y="202959"/>
                  </a:lnTo>
                  <a:lnTo>
                    <a:pt x="1222477" y="202260"/>
                  </a:lnTo>
                  <a:lnTo>
                    <a:pt x="1222477" y="202959"/>
                  </a:lnTo>
                  <a:lnTo>
                    <a:pt x="1222477" y="202260"/>
                  </a:lnTo>
                  <a:lnTo>
                    <a:pt x="1222477" y="203594"/>
                  </a:lnTo>
                  <a:lnTo>
                    <a:pt x="1222477" y="202959"/>
                  </a:lnTo>
                  <a:lnTo>
                    <a:pt x="1222579" y="202959"/>
                  </a:lnTo>
                  <a:lnTo>
                    <a:pt x="1222579" y="204292"/>
                  </a:lnTo>
                  <a:lnTo>
                    <a:pt x="1222579" y="203594"/>
                  </a:lnTo>
                  <a:lnTo>
                    <a:pt x="1222579" y="204292"/>
                  </a:lnTo>
                  <a:lnTo>
                    <a:pt x="1222579" y="203594"/>
                  </a:lnTo>
                  <a:lnTo>
                    <a:pt x="1222579" y="204292"/>
                  </a:lnTo>
                  <a:lnTo>
                    <a:pt x="1222630" y="204292"/>
                  </a:lnTo>
                  <a:lnTo>
                    <a:pt x="1222630" y="203594"/>
                  </a:lnTo>
                  <a:lnTo>
                    <a:pt x="1222680" y="203594"/>
                  </a:lnTo>
                  <a:lnTo>
                    <a:pt x="1222680" y="202260"/>
                  </a:lnTo>
                  <a:lnTo>
                    <a:pt x="1222782" y="202260"/>
                  </a:lnTo>
                  <a:lnTo>
                    <a:pt x="1222782" y="200876"/>
                  </a:lnTo>
                  <a:lnTo>
                    <a:pt x="1222782" y="202260"/>
                  </a:lnTo>
                  <a:lnTo>
                    <a:pt x="1222782" y="200228"/>
                  </a:lnTo>
                  <a:lnTo>
                    <a:pt x="1222782" y="200876"/>
                  </a:lnTo>
                  <a:lnTo>
                    <a:pt x="1222833" y="200876"/>
                  </a:lnTo>
                  <a:lnTo>
                    <a:pt x="1222833" y="200228"/>
                  </a:lnTo>
                  <a:lnTo>
                    <a:pt x="1222833" y="202959"/>
                  </a:lnTo>
                  <a:lnTo>
                    <a:pt x="1222833" y="202260"/>
                  </a:lnTo>
                  <a:lnTo>
                    <a:pt x="1222884" y="202260"/>
                  </a:lnTo>
                  <a:lnTo>
                    <a:pt x="1222884" y="200228"/>
                  </a:lnTo>
                  <a:lnTo>
                    <a:pt x="1222884" y="202260"/>
                  </a:lnTo>
                  <a:lnTo>
                    <a:pt x="1222922" y="202260"/>
                  </a:lnTo>
                  <a:lnTo>
                    <a:pt x="1222922" y="200876"/>
                  </a:lnTo>
                  <a:lnTo>
                    <a:pt x="1222922" y="202959"/>
                  </a:lnTo>
                  <a:lnTo>
                    <a:pt x="1222922" y="202260"/>
                  </a:lnTo>
                  <a:lnTo>
                    <a:pt x="1223023" y="202260"/>
                  </a:lnTo>
                  <a:lnTo>
                    <a:pt x="1223023" y="202959"/>
                  </a:lnTo>
                  <a:lnTo>
                    <a:pt x="1223023" y="202260"/>
                  </a:lnTo>
                  <a:lnTo>
                    <a:pt x="1223023" y="202959"/>
                  </a:lnTo>
                  <a:lnTo>
                    <a:pt x="1223023" y="202260"/>
                  </a:lnTo>
                  <a:lnTo>
                    <a:pt x="1223023" y="202959"/>
                  </a:lnTo>
                  <a:lnTo>
                    <a:pt x="1223023" y="202260"/>
                  </a:lnTo>
                  <a:lnTo>
                    <a:pt x="1223074" y="202260"/>
                  </a:lnTo>
                  <a:lnTo>
                    <a:pt x="1223074" y="202959"/>
                  </a:lnTo>
                  <a:lnTo>
                    <a:pt x="1223074" y="202260"/>
                  </a:lnTo>
                  <a:lnTo>
                    <a:pt x="1223074" y="202959"/>
                  </a:lnTo>
                  <a:lnTo>
                    <a:pt x="1223074" y="202260"/>
                  </a:lnTo>
                  <a:lnTo>
                    <a:pt x="1223125" y="202260"/>
                  </a:lnTo>
                  <a:lnTo>
                    <a:pt x="1223125" y="202959"/>
                  </a:lnTo>
                  <a:lnTo>
                    <a:pt x="1223125" y="202260"/>
                  </a:lnTo>
                  <a:lnTo>
                    <a:pt x="1223125" y="202959"/>
                  </a:lnTo>
                  <a:lnTo>
                    <a:pt x="1223226" y="202260"/>
                  </a:lnTo>
                  <a:lnTo>
                    <a:pt x="1223226" y="200876"/>
                  </a:lnTo>
                  <a:lnTo>
                    <a:pt x="1223226" y="202260"/>
                  </a:lnTo>
                  <a:lnTo>
                    <a:pt x="1223226" y="200876"/>
                  </a:lnTo>
                  <a:lnTo>
                    <a:pt x="1223226" y="202260"/>
                  </a:lnTo>
                  <a:lnTo>
                    <a:pt x="1223226" y="200876"/>
                  </a:lnTo>
                  <a:lnTo>
                    <a:pt x="1223277" y="200876"/>
                  </a:lnTo>
                  <a:lnTo>
                    <a:pt x="1223277" y="200228"/>
                  </a:lnTo>
                  <a:lnTo>
                    <a:pt x="1223277" y="200876"/>
                  </a:lnTo>
                  <a:lnTo>
                    <a:pt x="1223277" y="200228"/>
                  </a:lnTo>
                  <a:lnTo>
                    <a:pt x="1223277" y="200876"/>
                  </a:lnTo>
                  <a:lnTo>
                    <a:pt x="1223277" y="200228"/>
                  </a:lnTo>
                  <a:lnTo>
                    <a:pt x="1223328" y="200228"/>
                  </a:lnTo>
                  <a:lnTo>
                    <a:pt x="1223328" y="199530"/>
                  </a:lnTo>
                  <a:lnTo>
                    <a:pt x="1223328" y="200228"/>
                  </a:lnTo>
                  <a:lnTo>
                    <a:pt x="1223328" y="199530"/>
                  </a:lnTo>
                  <a:lnTo>
                    <a:pt x="1223328" y="202959"/>
                  </a:lnTo>
                  <a:lnTo>
                    <a:pt x="1223328" y="202260"/>
                  </a:lnTo>
                  <a:lnTo>
                    <a:pt x="1223379" y="202260"/>
                  </a:lnTo>
                  <a:lnTo>
                    <a:pt x="1223379" y="200876"/>
                  </a:lnTo>
                  <a:lnTo>
                    <a:pt x="1223379" y="202959"/>
                  </a:lnTo>
                  <a:lnTo>
                    <a:pt x="1223379" y="202260"/>
                  </a:lnTo>
                  <a:lnTo>
                    <a:pt x="1223468" y="202260"/>
                  </a:lnTo>
                  <a:lnTo>
                    <a:pt x="1223468" y="202959"/>
                  </a:lnTo>
                  <a:lnTo>
                    <a:pt x="1223468" y="200876"/>
                  </a:lnTo>
                  <a:lnTo>
                    <a:pt x="1223468" y="202959"/>
                  </a:lnTo>
                  <a:lnTo>
                    <a:pt x="1223519" y="202959"/>
                  </a:lnTo>
                  <a:lnTo>
                    <a:pt x="1223519" y="202260"/>
                  </a:lnTo>
                  <a:lnTo>
                    <a:pt x="1223519" y="202959"/>
                  </a:lnTo>
                  <a:lnTo>
                    <a:pt x="1223569" y="202959"/>
                  </a:lnTo>
                  <a:lnTo>
                    <a:pt x="1223569" y="202260"/>
                  </a:lnTo>
                  <a:lnTo>
                    <a:pt x="1223569" y="202959"/>
                  </a:lnTo>
                  <a:lnTo>
                    <a:pt x="1223620" y="202260"/>
                  </a:lnTo>
                  <a:lnTo>
                    <a:pt x="1223620" y="202959"/>
                  </a:lnTo>
                  <a:lnTo>
                    <a:pt x="1223620" y="202260"/>
                  </a:lnTo>
                  <a:lnTo>
                    <a:pt x="1223620" y="202959"/>
                  </a:lnTo>
                  <a:lnTo>
                    <a:pt x="1223620" y="202260"/>
                  </a:lnTo>
                  <a:lnTo>
                    <a:pt x="1223620" y="202959"/>
                  </a:lnTo>
                  <a:lnTo>
                    <a:pt x="1223620" y="200876"/>
                  </a:lnTo>
                  <a:lnTo>
                    <a:pt x="1223722" y="200876"/>
                  </a:lnTo>
                  <a:lnTo>
                    <a:pt x="1223722" y="202260"/>
                  </a:lnTo>
                  <a:lnTo>
                    <a:pt x="1223722" y="200876"/>
                  </a:lnTo>
                  <a:lnTo>
                    <a:pt x="1223722" y="202260"/>
                  </a:lnTo>
                  <a:lnTo>
                    <a:pt x="1223722" y="200228"/>
                  </a:lnTo>
                  <a:lnTo>
                    <a:pt x="1223772" y="199530"/>
                  </a:lnTo>
                  <a:lnTo>
                    <a:pt x="1223772" y="198831"/>
                  </a:lnTo>
                  <a:lnTo>
                    <a:pt x="1223772" y="200876"/>
                  </a:lnTo>
                  <a:lnTo>
                    <a:pt x="1223772" y="200228"/>
                  </a:lnTo>
                  <a:lnTo>
                    <a:pt x="1223823" y="200228"/>
                  </a:lnTo>
                  <a:lnTo>
                    <a:pt x="1223823" y="199530"/>
                  </a:lnTo>
                  <a:lnTo>
                    <a:pt x="1223823" y="202959"/>
                  </a:lnTo>
                  <a:lnTo>
                    <a:pt x="1223823" y="200876"/>
                  </a:lnTo>
                  <a:lnTo>
                    <a:pt x="1223925" y="200228"/>
                  </a:lnTo>
                  <a:lnTo>
                    <a:pt x="1223925" y="202260"/>
                  </a:lnTo>
                  <a:lnTo>
                    <a:pt x="1223925" y="200876"/>
                  </a:lnTo>
                  <a:lnTo>
                    <a:pt x="1223963" y="200876"/>
                  </a:lnTo>
                  <a:lnTo>
                    <a:pt x="1223963" y="202260"/>
                  </a:lnTo>
                  <a:lnTo>
                    <a:pt x="1223963" y="200876"/>
                  </a:lnTo>
                  <a:lnTo>
                    <a:pt x="1224014" y="202260"/>
                  </a:lnTo>
                  <a:lnTo>
                    <a:pt x="1224014" y="200876"/>
                  </a:lnTo>
                  <a:lnTo>
                    <a:pt x="1224014" y="202260"/>
                  </a:lnTo>
                  <a:lnTo>
                    <a:pt x="1224014" y="200876"/>
                  </a:lnTo>
                  <a:lnTo>
                    <a:pt x="1224014" y="202260"/>
                  </a:lnTo>
                  <a:lnTo>
                    <a:pt x="1224014" y="200876"/>
                  </a:lnTo>
                  <a:lnTo>
                    <a:pt x="1224065" y="200876"/>
                  </a:lnTo>
                  <a:lnTo>
                    <a:pt x="1224065" y="202260"/>
                  </a:lnTo>
                  <a:lnTo>
                    <a:pt x="1224065" y="200876"/>
                  </a:lnTo>
                  <a:lnTo>
                    <a:pt x="1224166" y="200876"/>
                  </a:lnTo>
                  <a:lnTo>
                    <a:pt x="1224166" y="202260"/>
                  </a:lnTo>
                  <a:lnTo>
                    <a:pt x="1224166" y="200228"/>
                  </a:lnTo>
                  <a:lnTo>
                    <a:pt x="1224166" y="200876"/>
                  </a:lnTo>
                  <a:lnTo>
                    <a:pt x="1224166" y="200228"/>
                  </a:lnTo>
                  <a:lnTo>
                    <a:pt x="1224217" y="200228"/>
                  </a:lnTo>
                  <a:lnTo>
                    <a:pt x="1224217" y="200876"/>
                  </a:lnTo>
                  <a:lnTo>
                    <a:pt x="1224217" y="200228"/>
                  </a:lnTo>
                  <a:lnTo>
                    <a:pt x="1224217" y="200876"/>
                  </a:lnTo>
                  <a:lnTo>
                    <a:pt x="1224217" y="198831"/>
                  </a:lnTo>
                  <a:lnTo>
                    <a:pt x="1224268" y="198831"/>
                  </a:lnTo>
                  <a:lnTo>
                    <a:pt x="1224268" y="200228"/>
                  </a:lnTo>
                  <a:lnTo>
                    <a:pt x="1224268" y="198831"/>
                  </a:lnTo>
                  <a:lnTo>
                    <a:pt x="1224268" y="200228"/>
                  </a:lnTo>
                  <a:lnTo>
                    <a:pt x="1224369" y="200228"/>
                  </a:lnTo>
                  <a:lnTo>
                    <a:pt x="1224369" y="202260"/>
                  </a:lnTo>
                  <a:lnTo>
                    <a:pt x="1224369" y="200876"/>
                  </a:lnTo>
                  <a:lnTo>
                    <a:pt x="1224369" y="202260"/>
                  </a:lnTo>
                  <a:lnTo>
                    <a:pt x="1224369" y="200876"/>
                  </a:lnTo>
                  <a:lnTo>
                    <a:pt x="1224369" y="202260"/>
                  </a:lnTo>
                  <a:lnTo>
                    <a:pt x="1224369" y="200228"/>
                  </a:lnTo>
                  <a:lnTo>
                    <a:pt x="1224369" y="200876"/>
                  </a:lnTo>
                  <a:lnTo>
                    <a:pt x="1224420" y="202260"/>
                  </a:lnTo>
                  <a:lnTo>
                    <a:pt x="1224420" y="202959"/>
                  </a:lnTo>
                  <a:lnTo>
                    <a:pt x="1224420" y="200876"/>
                  </a:lnTo>
                  <a:lnTo>
                    <a:pt x="1224420" y="202260"/>
                  </a:lnTo>
                  <a:lnTo>
                    <a:pt x="1224420" y="200876"/>
                  </a:lnTo>
                  <a:lnTo>
                    <a:pt x="1224420" y="202260"/>
                  </a:lnTo>
                  <a:lnTo>
                    <a:pt x="1224471" y="202260"/>
                  </a:lnTo>
                  <a:lnTo>
                    <a:pt x="1224471" y="200876"/>
                  </a:lnTo>
                  <a:lnTo>
                    <a:pt x="1224471" y="202260"/>
                  </a:lnTo>
                  <a:lnTo>
                    <a:pt x="1224471" y="200876"/>
                  </a:lnTo>
                  <a:lnTo>
                    <a:pt x="1224471" y="202260"/>
                  </a:lnTo>
                  <a:lnTo>
                    <a:pt x="1224509" y="202260"/>
                  </a:lnTo>
                  <a:lnTo>
                    <a:pt x="1224509" y="200876"/>
                  </a:lnTo>
                  <a:lnTo>
                    <a:pt x="1224509" y="202959"/>
                  </a:lnTo>
                  <a:lnTo>
                    <a:pt x="1224509" y="202260"/>
                  </a:lnTo>
                  <a:lnTo>
                    <a:pt x="1224611" y="202260"/>
                  </a:lnTo>
                  <a:lnTo>
                    <a:pt x="1224611" y="202959"/>
                  </a:lnTo>
                  <a:lnTo>
                    <a:pt x="1224611" y="202260"/>
                  </a:lnTo>
                  <a:lnTo>
                    <a:pt x="1224611" y="202959"/>
                  </a:lnTo>
                  <a:lnTo>
                    <a:pt x="1224611" y="202260"/>
                  </a:lnTo>
                  <a:lnTo>
                    <a:pt x="1224662" y="202260"/>
                  </a:lnTo>
                  <a:lnTo>
                    <a:pt x="1224662" y="200876"/>
                  </a:lnTo>
                  <a:lnTo>
                    <a:pt x="1224662" y="202260"/>
                  </a:lnTo>
                  <a:lnTo>
                    <a:pt x="1224662" y="200228"/>
                  </a:lnTo>
                  <a:lnTo>
                    <a:pt x="1224712" y="200228"/>
                  </a:lnTo>
                  <a:lnTo>
                    <a:pt x="1224712" y="197447"/>
                  </a:lnTo>
                  <a:lnTo>
                    <a:pt x="1224814" y="197447"/>
                  </a:lnTo>
                  <a:lnTo>
                    <a:pt x="1224814" y="200228"/>
                  </a:lnTo>
                  <a:lnTo>
                    <a:pt x="1224814" y="197447"/>
                  </a:lnTo>
                  <a:lnTo>
                    <a:pt x="1224814" y="199530"/>
                  </a:lnTo>
                  <a:lnTo>
                    <a:pt x="1224865" y="199530"/>
                  </a:lnTo>
                  <a:lnTo>
                    <a:pt x="1224865" y="200876"/>
                  </a:lnTo>
                  <a:lnTo>
                    <a:pt x="1224865" y="200228"/>
                  </a:lnTo>
                  <a:lnTo>
                    <a:pt x="1224865" y="200876"/>
                  </a:lnTo>
                  <a:lnTo>
                    <a:pt x="1224865" y="200228"/>
                  </a:lnTo>
                  <a:lnTo>
                    <a:pt x="1224915" y="200876"/>
                  </a:lnTo>
                  <a:lnTo>
                    <a:pt x="1224915" y="200228"/>
                  </a:lnTo>
                  <a:lnTo>
                    <a:pt x="1224966" y="200228"/>
                  </a:lnTo>
                  <a:lnTo>
                    <a:pt x="1224966" y="202260"/>
                  </a:lnTo>
                  <a:lnTo>
                    <a:pt x="1224966" y="200876"/>
                  </a:lnTo>
                  <a:lnTo>
                    <a:pt x="1224966" y="202260"/>
                  </a:lnTo>
                  <a:lnTo>
                    <a:pt x="1225055" y="202260"/>
                  </a:lnTo>
                  <a:lnTo>
                    <a:pt x="1225055" y="200876"/>
                  </a:lnTo>
                  <a:lnTo>
                    <a:pt x="1225055" y="202260"/>
                  </a:lnTo>
                  <a:lnTo>
                    <a:pt x="1225055" y="200876"/>
                  </a:lnTo>
                  <a:lnTo>
                    <a:pt x="1225055" y="202260"/>
                  </a:lnTo>
                  <a:lnTo>
                    <a:pt x="1225106" y="202260"/>
                  </a:lnTo>
                  <a:lnTo>
                    <a:pt x="1225106" y="202959"/>
                  </a:lnTo>
                  <a:lnTo>
                    <a:pt x="1225106" y="202260"/>
                  </a:lnTo>
                  <a:lnTo>
                    <a:pt x="1225106" y="202959"/>
                  </a:lnTo>
                  <a:lnTo>
                    <a:pt x="1225106" y="202260"/>
                  </a:lnTo>
                  <a:lnTo>
                    <a:pt x="1225157" y="202260"/>
                  </a:lnTo>
                  <a:lnTo>
                    <a:pt x="1225157" y="200228"/>
                  </a:lnTo>
                  <a:lnTo>
                    <a:pt x="1225157" y="200876"/>
                  </a:lnTo>
                  <a:lnTo>
                    <a:pt x="1225157" y="200228"/>
                  </a:lnTo>
                  <a:lnTo>
                    <a:pt x="1225157" y="200876"/>
                  </a:lnTo>
                  <a:lnTo>
                    <a:pt x="1225157" y="199530"/>
                  </a:lnTo>
                  <a:lnTo>
                    <a:pt x="1225208" y="199530"/>
                  </a:lnTo>
                  <a:lnTo>
                    <a:pt x="1225208" y="196799"/>
                  </a:lnTo>
                  <a:lnTo>
                    <a:pt x="1225309" y="196799"/>
                  </a:lnTo>
                  <a:lnTo>
                    <a:pt x="1225309" y="198831"/>
                  </a:lnTo>
                  <a:lnTo>
                    <a:pt x="1225309" y="196799"/>
                  </a:lnTo>
                  <a:lnTo>
                    <a:pt x="1225309" y="197447"/>
                  </a:lnTo>
                  <a:lnTo>
                    <a:pt x="1225360" y="197447"/>
                  </a:lnTo>
                  <a:lnTo>
                    <a:pt x="1225360" y="200228"/>
                  </a:lnTo>
                  <a:lnTo>
                    <a:pt x="1225360" y="199530"/>
                  </a:lnTo>
                  <a:lnTo>
                    <a:pt x="1225360" y="200228"/>
                  </a:lnTo>
                  <a:lnTo>
                    <a:pt x="1225360" y="198831"/>
                  </a:lnTo>
                  <a:lnTo>
                    <a:pt x="1225360" y="199530"/>
                  </a:lnTo>
                  <a:lnTo>
                    <a:pt x="1225411" y="199530"/>
                  </a:lnTo>
                  <a:lnTo>
                    <a:pt x="1225411" y="200228"/>
                  </a:lnTo>
                  <a:lnTo>
                    <a:pt x="1225411" y="199530"/>
                  </a:lnTo>
                  <a:lnTo>
                    <a:pt x="1225411" y="200228"/>
                  </a:lnTo>
                  <a:lnTo>
                    <a:pt x="1225512" y="200228"/>
                  </a:lnTo>
                  <a:lnTo>
                    <a:pt x="1225512" y="199530"/>
                  </a:lnTo>
                  <a:lnTo>
                    <a:pt x="1225512" y="200228"/>
                  </a:lnTo>
                  <a:lnTo>
                    <a:pt x="1225512" y="199530"/>
                  </a:lnTo>
                  <a:lnTo>
                    <a:pt x="1225512" y="200228"/>
                  </a:lnTo>
                  <a:lnTo>
                    <a:pt x="1225550" y="200228"/>
                  </a:lnTo>
                  <a:lnTo>
                    <a:pt x="1225550" y="200876"/>
                  </a:lnTo>
                  <a:lnTo>
                    <a:pt x="1225550" y="200228"/>
                  </a:lnTo>
                  <a:lnTo>
                    <a:pt x="1225550" y="202260"/>
                  </a:lnTo>
                  <a:lnTo>
                    <a:pt x="1225601" y="202260"/>
                  </a:lnTo>
                  <a:lnTo>
                    <a:pt x="1225601" y="200876"/>
                  </a:lnTo>
                  <a:lnTo>
                    <a:pt x="1225601" y="202260"/>
                  </a:lnTo>
                  <a:lnTo>
                    <a:pt x="1225601" y="200876"/>
                  </a:lnTo>
                  <a:lnTo>
                    <a:pt x="1225601" y="202260"/>
                  </a:lnTo>
                  <a:lnTo>
                    <a:pt x="1225652" y="200876"/>
                  </a:lnTo>
                  <a:lnTo>
                    <a:pt x="1225652" y="200228"/>
                  </a:lnTo>
                  <a:lnTo>
                    <a:pt x="1225652" y="200876"/>
                  </a:lnTo>
                  <a:lnTo>
                    <a:pt x="1225652" y="200228"/>
                  </a:lnTo>
                  <a:lnTo>
                    <a:pt x="1225754" y="200228"/>
                  </a:lnTo>
                  <a:lnTo>
                    <a:pt x="1225754" y="199530"/>
                  </a:lnTo>
                  <a:lnTo>
                    <a:pt x="1225754" y="200228"/>
                  </a:lnTo>
                  <a:lnTo>
                    <a:pt x="1225754" y="197447"/>
                  </a:lnTo>
                  <a:lnTo>
                    <a:pt x="1225754" y="198831"/>
                  </a:lnTo>
                  <a:lnTo>
                    <a:pt x="1225805" y="198831"/>
                  </a:lnTo>
                  <a:lnTo>
                    <a:pt x="1225805" y="199530"/>
                  </a:lnTo>
                  <a:lnTo>
                    <a:pt x="1225805" y="196799"/>
                  </a:lnTo>
                  <a:lnTo>
                    <a:pt x="1225805" y="200228"/>
                  </a:lnTo>
                  <a:lnTo>
                    <a:pt x="1225855" y="200228"/>
                  </a:lnTo>
                  <a:lnTo>
                    <a:pt x="1225855" y="200876"/>
                  </a:lnTo>
                  <a:lnTo>
                    <a:pt x="1225855" y="199530"/>
                  </a:lnTo>
                  <a:lnTo>
                    <a:pt x="1225855" y="200228"/>
                  </a:lnTo>
                  <a:lnTo>
                    <a:pt x="1225855" y="198831"/>
                  </a:lnTo>
                  <a:lnTo>
                    <a:pt x="1225855" y="200228"/>
                  </a:lnTo>
                  <a:lnTo>
                    <a:pt x="1225957" y="200228"/>
                  </a:lnTo>
                  <a:lnTo>
                    <a:pt x="1225957" y="199530"/>
                  </a:lnTo>
                  <a:lnTo>
                    <a:pt x="1225957" y="200228"/>
                  </a:lnTo>
                  <a:lnTo>
                    <a:pt x="1225957" y="199530"/>
                  </a:lnTo>
                  <a:lnTo>
                    <a:pt x="1225957" y="200228"/>
                  </a:lnTo>
                  <a:lnTo>
                    <a:pt x="1225957" y="199530"/>
                  </a:lnTo>
                  <a:lnTo>
                    <a:pt x="1225957" y="200228"/>
                  </a:lnTo>
                  <a:lnTo>
                    <a:pt x="1226008" y="200228"/>
                  </a:lnTo>
                  <a:lnTo>
                    <a:pt x="1226008" y="199530"/>
                  </a:lnTo>
                  <a:lnTo>
                    <a:pt x="1226008" y="200228"/>
                  </a:lnTo>
                  <a:lnTo>
                    <a:pt x="1226008" y="199530"/>
                  </a:lnTo>
                  <a:lnTo>
                    <a:pt x="1226059" y="200228"/>
                  </a:lnTo>
                  <a:lnTo>
                    <a:pt x="1226059" y="199530"/>
                  </a:lnTo>
                  <a:lnTo>
                    <a:pt x="1226059" y="200876"/>
                  </a:lnTo>
                  <a:lnTo>
                    <a:pt x="1226059" y="200228"/>
                  </a:lnTo>
                  <a:lnTo>
                    <a:pt x="1226059" y="200876"/>
                  </a:lnTo>
                  <a:lnTo>
                    <a:pt x="1226059" y="200228"/>
                  </a:lnTo>
                  <a:lnTo>
                    <a:pt x="1226059" y="200876"/>
                  </a:lnTo>
                  <a:lnTo>
                    <a:pt x="1226097" y="200876"/>
                  </a:lnTo>
                  <a:lnTo>
                    <a:pt x="1226097" y="200228"/>
                  </a:lnTo>
                  <a:lnTo>
                    <a:pt x="1226097" y="200876"/>
                  </a:lnTo>
                  <a:lnTo>
                    <a:pt x="1226097" y="200228"/>
                  </a:lnTo>
                  <a:lnTo>
                    <a:pt x="1226097" y="200876"/>
                  </a:lnTo>
                  <a:lnTo>
                    <a:pt x="1226097" y="200228"/>
                  </a:lnTo>
                  <a:lnTo>
                    <a:pt x="1226198" y="200228"/>
                  </a:lnTo>
                  <a:lnTo>
                    <a:pt x="1226198" y="199530"/>
                  </a:lnTo>
                  <a:lnTo>
                    <a:pt x="1226249" y="200228"/>
                  </a:lnTo>
                  <a:lnTo>
                    <a:pt x="1226249" y="198831"/>
                  </a:lnTo>
                  <a:lnTo>
                    <a:pt x="1226249" y="199530"/>
                  </a:lnTo>
                  <a:lnTo>
                    <a:pt x="1226300" y="199530"/>
                  </a:lnTo>
                  <a:lnTo>
                    <a:pt x="1226300" y="200228"/>
                  </a:lnTo>
                  <a:lnTo>
                    <a:pt x="1226300" y="198831"/>
                  </a:lnTo>
                  <a:lnTo>
                    <a:pt x="1226300" y="200876"/>
                  </a:lnTo>
                  <a:lnTo>
                    <a:pt x="1226401" y="200876"/>
                  </a:lnTo>
                  <a:lnTo>
                    <a:pt x="1226401" y="200228"/>
                  </a:lnTo>
                  <a:lnTo>
                    <a:pt x="1226401" y="200876"/>
                  </a:lnTo>
                  <a:lnTo>
                    <a:pt x="1226401" y="200228"/>
                  </a:lnTo>
                  <a:lnTo>
                    <a:pt x="1226401" y="202260"/>
                  </a:lnTo>
                  <a:lnTo>
                    <a:pt x="1226401" y="200876"/>
                  </a:lnTo>
                  <a:lnTo>
                    <a:pt x="1226452" y="200876"/>
                  </a:lnTo>
                  <a:lnTo>
                    <a:pt x="1226452" y="200228"/>
                  </a:lnTo>
                  <a:lnTo>
                    <a:pt x="1226452" y="200876"/>
                  </a:lnTo>
                  <a:lnTo>
                    <a:pt x="1226503" y="200876"/>
                  </a:lnTo>
                  <a:lnTo>
                    <a:pt x="1226503" y="202260"/>
                  </a:lnTo>
                  <a:lnTo>
                    <a:pt x="1226554" y="202260"/>
                  </a:lnTo>
                  <a:lnTo>
                    <a:pt x="1226554" y="200876"/>
                  </a:lnTo>
                  <a:lnTo>
                    <a:pt x="1226554" y="202260"/>
                  </a:lnTo>
                  <a:lnTo>
                    <a:pt x="1226554" y="200876"/>
                  </a:lnTo>
                  <a:lnTo>
                    <a:pt x="1226554" y="202260"/>
                  </a:lnTo>
                  <a:lnTo>
                    <a:pt x="1226643" y="202260"/>
                  </a:lnTo>
                  <a:lnTo>
                    <a:pt x="1226643" y="200876"/>
                  </a:lnTo>
                  <a:lnTo>
                    <a:pt x="1226643" y="202260"/>
                  </a:lnTo>
                  <a:lnTo>
                    <a:pt x="1226643" y="200876"/>
                  </a:lnTo>
                  <a:lnTo>
                    <a:pt x="1226643" y="202260"/>
                  </a:lnTo>
                  <a:lnTo>
                    <a:pt x="1226643" y="200228"/>
                  </a:lnTo>
                  <a:lnTo>
                    <a:pt x="1226694" y="200876"/>
                  </a:lnTo>
                  <a:lnTo>
                    <a:pt x="1226694" y="200228"/>
                  </a:lnTo>
                  <a:lnTo>
                    <a:pt x="1226694" y="200876"/>
                  </a:lnTo>
                  <a:lnTo>
                    <a:pt x="1226694" y="199530"/>
                  </a:lnTo>
                  <a:lnTo>
                    <a:pt x="1226744" y="199530"/>
                  </a:lnTo>
                  <a:lnTo>
                    <a:pt x="1226744" y="198831"/>
                  </a:lnTo>
                  <a:lnTo>
                    <a:pt x="1226744" y="200228"/>
                  </a:lnTo>
                  <a:lnTo>
                    <a:pt x="1226795" y="199530"/>
                  </a:lnTo>
                  <a:lnTo>
                    <a:pt x="1226795" y="202260"/>
                  </a:lnTo>
                  <a:lnTo>
                    <a:pt x="1226795" y="200876"/>
                  </a:lnTo>
                  <a:lnTo>
                    <a:pt x="1226897" y="200876"/>
                  </a:lnTo>
                  <a:lnTo>
                    <a:pt x="1226897" y="202260"/>
                  </a:lnTo>
                  <a:lnTo>
                    <a:pt x="1226897" y="200876"/>
                  </a:lnTo>
                  <a:lnTo>
                    <a:pt x="1226947" y="200876"/>
                  </a:lnTo>
                  <a:lnTo>
                    <a:pt x="1226947" y="202260"/>
                  </a:lnTo>
                  <a:lnTo>
                    <a:pt x="1226998" y="202260"/>
                  </a:lnTo>
                  <a:lnTo>
                    <a:pt x="1226998" y="200876"/>
                  </a:lnTo>
                  <a:lnTo>
                    <a:pt x="1226998" y="202260"/>
                  </a:lnTo>
                  <a:lnTo>
                    <a:pt x="1227100" y="202260"/>
                  </a:lnTo>
                  <a:lnTo>
                    <a:pt x="1227100" y="200876"/>
                  </a:lnTo>
                  <a:lnTo>
                    <a:pt x="1227100" y="202260"/>
                  </a:lnTo>
                  <a:lnTo>
                    <a:pt x="1227138" y="202260"/>
                  </a:lnTo>
                  <a:lnTo>
                    <a:pt x="1227138" y="200228"/>
                  </a:lnTo>
                  <a:lnTo>
                    <a:pt x="1227138" y="200876"/>
                  </a:lnTo>
                  <a:lnTo>
                    <a:pt x="1227138" y="200228"/>
                  </a:lnTo>
                  <a:lnTo>
                    <a:pt x="1227189" y="200228"/>
                  </a:lnTo>
                  <a:lnTo>
                    <a:pt x="1227189" y="199530"/>
                  </a:lnTo>
                  <a:lnTo>
                    <a:pt x="1227189" y="200228"/>
                  </a:lnTo>
                  <a:lnTo>
                    <a:pt x="1227189" y="198831"/>
                  </a:lnTo>
                  <a:lnTo>
                    <a:pt x="1227240" y="199530"/>
                  </a:lnTo>
                  <a:lnTo>
                    <a:pt x="1227240" y="200228"/>
                  </a:lnTo>
                  <a:lnTo>
                    <a:pt x="1227240" y="199530"/>
                  </a:lnTo>
                  <a:lnTo>
                    <a:pt x="1227240" y="200228"/>
                  </a:lnTo>
                  <a:lnTo>
                    <a:pt x="1227240" y="199530"/>
                  </a:lnTo>
                  <a:lnTo>
                    <a:pt x="1227240" y="200228"/>
                  </a:lnTo>
                  <a:lnTo>
                    <a:pt x="1227240" y="199530"/>
                  </a:lnTo>
                  <a:lnTo>
                    <a:pt x="1227341" y="199530"/>
                  </a:lnTo>
                  <a:lnTo>
                    <a:pt x="1227341" y="202260"/>
                  </a:lnTo>
                  <a:lnTo>
                    <a:pt x="1227341" y="200228"/>
                  </a:lnTo>
                  <a:lnTo>
                    <a:pt x="1227341" y="200876"/>
                  </a:lnTo>
                  <a:lnTo>
                    <a:pt x="1227392" y="202260"/>
                  </a:lnTo>
                  <a:lnTo>
                    <a:pt x="1227392" y="202959"/>
                  </a:lnTo>
                  <a:lnTo>
                    <a:pt x="1227392" y="200876"/>
                  </a:lnTo>
                  <a:lnTo>
                    <a:pt x="1227392" y="202260"/>
                  </a:lnTo>
                  <a:lnTo>
                    <a:pt x="1227392" y="200876"/>
                  </a:lnTo>
                  <a:lnTo>
                    <a:pt x="1227443" y="200876"/>
                  </a:lnTo>
                  <a:lnTo>
                    <a:pt x="1227443" y="202260"/>
                  </a:lnTo>
                  <a:lnTo>
                    <a:pt x="1227443" y="200876"/>
                  </a:lnTo>
                  <a:lnTo>
                    <a:pt x="1227443" y="202959"/>
                  </a:lnTo>
                  <a:lnTo>
                    <a:pt x="1227544" y="202959"/>
                  </a:lnTo>
                  <a:lnTo>
                    <a:pt x="1227544" y="202260"/>
                  </a:lnTo>
                  <a:lnTo>
                    <a:pt x="1227544" y="202959"/>
                  </a:lnTo>
                  <a:lnTo>
                    <a:pt x="1227595" y="202959"/>
                  </a:lnTo>
                  <a:lnTo>
                    <a:pt x="1227595" y="202260"/>
                  </a:lnTo>
                  <a:lnTo>
                    <a:pt x="1227595" y="202959"/>
                  </a:lnTo>
                  <a:lnTo>
                    <a:pt x="1227595" y="202260"/>
                  </a:lnTo>
                  <a:lnTo>
                    <a:pt x="1227646" y="202260"/>
                  </a:lnTo>
                  <a:lnTo>
                    <a:pt x="1227646" y="200876"/>
                  </a:lnTo>
                  <a:lnTo>
                    <a:pt x="1227684" y="200876"/>
                  </a:lnTo>
                  <a:lnTo>
                    <a:pt x="1227684" y="199530"/>
                  </a:lnTo>
                  <a:lnTo>
                    <a:pt x="1227684" y="202260"/>
                  </a:lnTo>
                  <a:lnTo>
                    <a:pt x="1227786" y="202959"/>
                  </a:lnTo>
                  <a:lnTo>
                    <a:pt x="1227786" y="200228"/>
                  </a:lnTo>
                  <a:lnTo>
                    <a:pt x="1227786" y="203594"/>
                  </a:lnTo>
                  <a:lnTo>
                    <a:pt x="1227837" y="202959"/>
                  </a:lnTo>
                  <a:lnTo>
                    <a:pt x="1227837" y="202260"/>
                  </a:lnTo>
                  <a:lnTo>
                    <a:pt x="1227837" y="203594"/>
                  </a:lnTo>
                  <a:lnTo>
                    <a:pt x="1227887" y="203594"/>
                  </a:lnTo>
                  <a:lnTo>
                    <a:pt x="1227887" y="202260"/>
                  </a:lnTo>
                  <a:lnTo>
                    <a:pt x="1227887" y="202959"/>
                  </a:lnTo>
                  <a:lnTo>
                    <a:pt x="1227989" y="202959"/>
                  </a:lnTo>
                  <a:lnTo>
                    <a:pt x="1227989" y="202260"/>
                  </a:lnTo>
                  <a:lnTo>
                    <a:pt x="1227989" y="203594"/>
                  </a:lnTo>
                  <a:lnTo>
                    <a:pt x="1228090" y="203594"/>
                  </a:lnTo>
                  <a:lnTo>
                    <a:pt x="1228090" y="202959"/>
                  </a:lnTo>
                  <a:lnTo>
                    <a:pt x="1228090" y="203594"/>
                  </a:lnTo>
                  <a:lnTo>
                    <a:pt x="1228090" y="202959"/>
                  </a:lnTo>
                  <a:lnTo>
                    <a:pt x="1228090" y="203594"/>
                  </a:lnTo>
                  <a:lnTo>
                    <a:pt x="1228090" y="202260"/>
                  </a:lnTo>
                  <a:lnTo>
                    <a:pt x="1228090" y="202959"/>
                  </a:lnTo>
                  <a:lnTo>
                    <a:pt x="1228141" y="202260"/>
                  </a:lnTo>
                  <a:lnTo>
                    <a:pt x="1228141" y="200876"/>
                  </a:lnTo>
                  <a:lnTo>
                    <a:pt x="1228141" y="202260"/>
                  </a:lnTo>
                  <a:lnTo>
                    <a:pt x="1228141" y="199530"/>
                  </a:lnTo>
                  <a:lnTo>
                    <a:pt x="1228141" y="200228"/>
                  </a:lnTo>
                  <a:lnTo>
                    <a:pt x="1228230" y="200228"/>
                  </a:lnTo>
                  <a:lnTo>
                    <a:pt x="1228230" y="198831"/>
                  </a:lnTo>
                  <a:lnTo>
                    <a:pt x="1228230" y="199530"/>
                  </a:lnTo>
                  <a:lnTo>
                    <a:pt x="1228230" y="198831"/>
                  </a:lnTo>
                  <a:lnTo>
                    <a:pt x="1228230" y="200876"/>
                  </a:lnTo>
                  <a:lnTo>
                    <a:pt x="1228281" y="200876"/>
                  </a:lnTo>
                  <a:lnTo>
                    <a:pt x="1228281" y="198831"/>
                  </a:lnTo>
                  <a:lnTo>
                    <a:pt x="1228281" y="202959"/>
                  </a:lnTo>
                  <a:lnTo>
                    <a:pt x="1228281" y="202260"/>
                  </a:lnTo>
                  <a:lnTo>
                    <a:pt x="1228332" y="202260"/>
                  </a:lnTo>
                  <a:lnTo>
                    <a:pt x="1228332" y="200876"/>
                  </a:lnTo>
                  <a:lnTo>
                    <a:pt x="1228332" y="202959"/>
                  </a:lnTo>
                  <a:lnTo>
                    <a:pt x="1228332" y="202260"/>
                  </a:lnTo>
                  <a:lnTo>
                    <a:pt x="1228332" y="202959"/>
                  </a:lnTo>
                  <a:lnTo>
                    <a:pt x="1228332" y="202260"/>
                  </a:lnTo>
                  <a:lnTo>
                    <a:pt x="1228383" y="202260"/>
                  </a:lnTo>
                  <a:lnTo>
                    <a:pt x="1228383" y="200876"/>
                  </a:lnTo>
                  <a:lnTo>
                    <a:pt x="1228383" y="202959"/>
                  </a:lnTo>
                  <a:lnTo>
                    <a:pt x="1228383" y="202260"/>
                  </a:lnTo>
                  <a:lnTo>
                    <a:pt x="1228383" y="202959"/>
                  </a:lnTo>
                  <a:lnTo>
                    <a:pt x="1228383" y="202260"/>
                  </a:lnTo>
                  <a:lnTo>
                    <a:pt x="1228484" y="202260"/>
                  </a:lnTo>
                  <a:lnTo>
                    <a:pt x="1228484" y="203594"/>
                  </a:lnTo>
                  <a:lnTo>
                    <a:pt x="1228484" y="202959"/>
                  </a:lnTo>
                  <a:lnTo>
                    <a:pt x="1228586" y="202959"/>
                  </a:lnTo>
                  <a:lnTo>
                    <a:pt x="1228586" y="202260"/>
                  </a:lnTo>
                  <a:lnTo>
                    <a:pt x="1228586" y="202959"/>
                  </a:lnTo>
                  <a:lnTo>
                    <a:pt x="1228586" y="202260"/>
                  </a:lnTo>
                  <a:lnTo>
                    <a:pt x="1228586" y="202959"/>
                  </a:lnTo>
                  <a:lnTo>
                    <a:pt x="1228586" y="202260"/>
                  </a:lnTo>
                  <a:lnTo>
                    <a:pt x="1228586" y="202959"/>
                  </a:lnTo>
                  <a:lnTo>
                    <a:pt x="1228586" y="202260"/>
                  </a:lnTo>
                  <a:lnTo>
                    <a:pt x="1228687" y="200876"/>
                  </a:lnTo>
                  <a:lnTo>
                    <a:pt x="1228687" y="199530"/>
                  </a:lnTo>
                  <a:lnTo>
                    <a:pt x="1228725" y="199530"/>
                  </a:lnTo>
                  <a:lnTo>
                    <a:pt x="1228725" y="198831"/>
                  </a:lnTo>
                  <a:lnTo>
                    <a:pt x="1228725" y="199530"/>
                  </a:lnTo>
                  <a:lnTo>
                    <a:pt x="1228725" y="198831"/>
                  </a:lnTo>
                  <a:lnTo>
                    <a:pt x="1228725" y="200876"/>
                  </a:lnTo>
                  <a:lnTo>
                    <a:pt x="1228725" y="198831"/>
                  </a:lnTo>
                  <a:lnTo>
                    <a:pt x="1228725" y="199530"/>
                  </a:lnTo>
                  <a:lnTo>
                    <a:pt x="1228776" y="198831"/>
                  </a:lnTo>
                  <a:lnTo>
                    <a:pt x="1228776" y="197447"/>
                  </a:lnTo>
                  <a:lnTo>
                    <a:pt x="1228776" y="200876"/>
                  </a:lnTo>
                  <a:lnTo>
                    <a:pt x="1228776" y="199530"/>
                  </a:lnTo>
                  <a:lnTo>
                    <a:pt x="1228827" y="199530"/>
                  </a:lnTo>
                  <a:lnTo>
                    <a:pt x="1228827" y="198831"/>
                  </a:lnTo>
                  <a:lnTo>
                    <a:pt x="1228827" y="200228"/>
                  </a:lnTo>
                  <a:lnTo>
                    <a:pt x="1228827" y="199530"/>
                  </a:lnTo>
                  <a:lnTo>
                    <a:pt x="1228827" y="200228"/>
                  </a:lnTo>
                  <a:lnTo>
                    <a:pt x="1228827" y="199530"/>
                  </a:lnTo>
                  <a:lnTo>
                    <a:pt x="1228929" y="199530"/>
                  </a:lnTo>
                  <a:lnTo>
                    <a:pt x="1228929" y="200228"/>
                  </a:lnTo>
                  <a:lnTo>
                    <a:pt x="1228929" y="199530"/>
                  </a:lnTo>
                  <a:lnTo>
                    <a:pt x="1228929" y="200228"/>
                  </a:lnTo>
                  <a:lnTo>
                    <a:pt x="1228980" y="200228"/>
                  </a:lnTo>
                  <a:lnTo>
                    <a:pt x="1228980" y="200876"/>
                  </a:lnTo>
                  <a:lnTo>
                    <a:pt x="1228980" y="200228"/>
                  </a:lnTo>
                  <a:lnTo>
                    <a:pt x="1228980" y="202260"/>
                  </a:lnTo>
                  <a:lnTo>
                    <a:pt x="1228980" y="200876"/>
                  </a:lnTo>
                  <a:lnTo>
                    <a:pt x="1229030" y="200876"/>
                  </a:lnTo>
                  <a:lnTo>
                    <a:pt x="1229030" y="202260"/>
                  </a:lnTo>
                  <a:lnTo>
                    <a:pt x="1229030" y="200876"/>
                  </a:lnTo>
                  <a:lnTo>
                    <a:pt x="1229030" y="202260"/>
                  </a:lnTo>
                  <a:lnTo>
                    <a:pt x="1229030" y="200876"/>
                  </a:lnTo>
                  <a:lnTo>
                    <a:pt x="1229132" y="200876"/>
                  </a:lnTo>
                  <a:lnTo>
                    <a:pt x="1229132" y="200228"/>
                  </a:lnTo>
                  <a:lnTo>
                    <a:pt x="1229132" y="200876"/>
                  </a:lnTo>
                  <a:lnTo>
                    <a:pt x="1229132" y="200228"/>
                  </a:lnTo>
                  <a:lnTo>
                    <a:pt x="1229183" y="200228"/>
                  </a:lnTo>
                  <a:lnTo>
                    <a:pt x="1229183" y="200876"/>
                  </a:lnTo>
                  <a:lnTo>
                    <a:pt x="1229183" y="199530"/>
                  </a:lnTo>
                  <a:lnTo>
                    <a:pt x="1229234" y="200228"/>
                  </a:lnTo>
                  <a:lnTo>
                    <a:pt x="1229234" y="200876"/>
                  </a:lnTo>
                  <a:lnTo>
                    <a:pt x="1229234" y="198831"/>
                  </a:lnTo>
                  <a:lnTo>
                    <a:pt x="1229234" y="199530"/>
                  </a:lnTo>
                  <a:lnTo>
                    <a:pt x="1229234" y="198831"/>
                  </a:lnTo>
                  <a:lnTo>
                    <a:pt x="1229234" y="202260"/>
                  </a:lnTo>
                  <a:lnTo>
                    <a:pt x="1229272" y="202260"/>
                  </a:lnTo>
                  <a:lnTo>
                    <a:pt x="1229272" y="202959"/>
                  </a:lnTo>
                  <a:lnTo>
                    <a:pt x="1229272" y="200228"/>
                  </a:lnTo>
                  <a:lnTo>
                    <a:pt x="1229272" y="202260"/>
                  </a:lnTo>
                  <a:lnTo>
                    <a:pt x="1229373" y="202260"/>
                  </a:lnTo>
                  <a:lnTo>
                    <a:pt x="1229373" y="202959"/>
                  </a:lnTo>
                  <a:lnTo>
                    <a:pt x="1229373" y="200876"/>
                  </a:lnTo>
                  <a:lnTo>
                    <a:pt x="1229373" y="202959"/>
                  </a:lnTo>
                  <a:lnTo>
                    <a:pt x="1229424" y="202260"/>
                  </a:lnTo>
                  <a:lnTo>
                    <a:pt x="1229424" y="202959"/>
                  </a:lnTo>
                  <a:lnTo>
                    <a:pt x="1229424" y="202260"/>
                  </a:lnTo>
                  <a:lnTo>
                    <a:pt x="1229424" y="202959"/>
                  </a:lnTo>
                  <a:lnTo>
                    <a:pt x="1229424" y="200876"/>
                  </a:lnTo>
                  <a:lnTo>
                    <a:pt x="1229424" y="202959"/>
                  </a:lnTo>
                  <a:lnTo>
                    <a:pt x="1229424" y="202260"/>
                  </a:lnTo>
                  <a:lnTo>
                    <a:pt x="1229576" y="202260"/>
                  </a:lnTo>
                  <a:lnTo>
                    <a:pt x="1229576" y="200876"/>
                  </a:lnTo>
                  <a:lnTo>
                    <a:pt x="1229576" y="202260"/>
                  </a:lnTo>
                  <a:lnTo>
                    <a:pt x="1229576" y="200876"/>
                  </a:lnTo>
                  <a:lnTo>
                    <a:pt x="1229576" y="202260"/>
                  </a:lnTo>
                  <a:lnTo>
                    <a:pt x="1229627" y="202260"/>
                  </a:lnTo>
                  <a:lnTo>
                    <a:pt x="1229627" y="200876"/>
                  </a:lnTo>
                  <a:lnTo>
                    <a:pt x="1229627" y="202260"/>
                  </a:lnTo>
                  <a:lnTo>
                    <a:pt x="1229627" y="200228"/>
                  </a:lnTo>
                  <a:lnTo>
                    <a:pt x="1229627" y="200876"/>
                  </a:lnTo>
                  <a:lnTo>
                    <a:pt x="1229627" y="200228"/>
                  </a:lnTo>
                  <a:lnTo>
                    <a:pt x="1229627" y="200876"/>
                  </a:lnTo>
                  <a:lnTo>
                    <a:pt x="1229627" y="200228"/>
                  </a:lnTo>
                  <a:lnTo>
                    <a:pt x="1229678" y="200228"/>
                  </a:lnTo>
                  <a:lnTo>
                    <a:pt x="1229678" y="199530"/>
                  </a:lnTo>
                  <a:lnTo>
                    <a:pt x="1229678" y="202959"/>
                  </a:lnTo>
                  <a:lnTo>
                    <a:pt x="1229729" y="202260"/>
                  </a:lnTo>
                  <a:lnTo>
                    <a:pt x="1229729" y="200228"/>
                  </a:lnTo>
                  <a:lnTo>
                    <a:pt x="1229729" y="203594"/>
                  </a:lnTo>
                  <a:lnTo>
                    <a:pt x="1229729" y="202959"/>
                  </a:lnTo>
                  <a:lnTo>
                    <a:pt x="1229818" y="202959"/>
                  </a:lnTo>
                  <a:lnTo>
                    <a:pt x="1229818" y="200876"/>
                  </a:lnTo>
                  <a:lnTo>
                    <a:pt x="1229818" y="202959"/>
                  </a:lnTo>
                  <a:lnTo>
                    <a:pt x="1229869" y="202959"/>
                  </a:lnTo>
                  <a:lnTo>
                    <a:pt x="1229869" y="202260"/>
                  </a:lnTo>
                  <a:lnTo>
                    <a:pt x="1229869" y="203594"/>
                  </a:lnTo>
                  <a:lnTo>
                    <a:pt x="1229869" y="202959"/>
                  </a:lnTo>
                  <a:lnTo>
                    <a:pt x="1229919" y="202959"/>
                  </a:lnTo>
                  <a:lnTo>
                    <a:pt x="1229919" y="202260"/>
                  </a:lnTo>
                  <a:lnTo>
                    <a:pt x="1229919" y="202959"/>
                  </a:lnTo>
                  <a:lnTo>
                    <a:pt x="1229919" y="202260"/>
                  </a:lnTo>
                  <a:lnTo>
                    <a:pt x="1229919" y="202959"/>
                  </a:lnTo>
                  <a:lnTo>
                    <a:pt x="1229919" y="202260"/>
                  </a:lnTo>
                  <a:lnTo>
                    <a:pt x="1229919" y="202959"/>
                  </a:lnTo>
                  <a:lnTo>
                    <a:pt x="1229919" y="202260"/>
                  </a:lnTo>
                  <a:lnTo>
                    <a:pt x="1229919" y="202959"/>
                  </a:lnTo>
                  <a:lnTo>
                    <a:pt x="1229919" y="202260"/>
                  </a:lnTo>
                  <a:lnTo>
                    <a:pt x="1229919" y="202959"/>
                  </a:lnTo>
                  <a:lnTo>
                    <a:pt x="1229970" y="202959"/>
                  </a:lnTo>
                  <a:lnTo>
                    <a:pt x="1229970" y="202260"/>
                  </a:lnTo>
                  <a:lnTo>
                    <a:pt x="1229970" y="202959"/>
                  </a:lnTo>
                  <a:lnTo>
                    <a:pt x="1229970" y="202260"/>
                  </a:lnTo>
                  <a:lnTo>
                    <a:pt x="1230072" y="202260"/>
                  </a:lnTo>
                  <a:lnTo>
                    <a:pt x="1230072" y="200228"/>
                  </a:lnTo>
                  <a:lnTo>
                    <a:pt x="1230122" y="200228"/>
                  </a:lnTo>
                  <a:lnTo>
                    <a:pt x="1230122" y="200876"/>
                  </a:lnTo>
                  <a:lnTo>
                    <a:pt x="1230122" y="200228"/>
                  </a:lnTo>
                  <a:lnTo>
                    <a:pt x="1230122" y="200876"/>
                  </a:lnTo>
                  <a:lnTo>
                    <a:pt x="1230122" y="199530"/>
                  </a:lnTo>
                  <a:lnTo>
                    <a:pt x="1230122" y="200228"/>
                  </a:lnTo>
                  <a:lnTo>
                    <a:pt x="1230122" y="199530"/>
                  </a:lnTo>
                  <a:lnTo>
                    <a:pt x="1230173" y="198831"/>
                  </a:lnTo>
                  <a:lnTo>
                    <a:pt x="1230173" y="197447"/>
                  </a:lnTo>
                  <a:lnTo>
                    <a:pt x="1230173" y="200228"/>
                  </a:lnTo>
                  <a:lnTo>
                    <a:pt x="1230173" y="199530"/>
                  </a:lnTo>
                  <a:lnTo>
                    <a:pt x="1230275" y="199530"/>
                  </a:lnTo>
                  <a:lnTo>
                    <a:pt x="1230275" y="197447"/>
                  </a:lnTo>
                  <a:lnTo>
                    <a:pt x="1230275" y="202260"/>
                  </a:lnTo>
                  <a:lnTo>
                    <a:pt x="1230275" y="200228"/>
                  </a:lnTo>
                  <a:lnTo>
                    <a:pt x="1230313" y="199530"/>
                  </a:lnTo>
                  <a:lnTo>
                    <a:pt x="1230313" y="202260"/>
                  </a:lnTo>
                  <a:lnTo>
                    <a:pt x="1230313" y="200876"/>
                  </a:lnTo>
                  <a:lnTo>
                    <a:pt x="1230313" y="202260"/>
                  </a:lnTo>
                  <a:lnTo>
                    <a:pt x="1230364" y="200876"/>
                  </a:lnTo>
                  <a:lnTo>
                    <a:pt x="1230364" y="202959"/>
                  </a:lnTo>
                  <a:lnTo>
                    <a:pt x="1230364" y="202260"/>
                  </a:lnTo>
                  <a:lnTo>
                    <a:pt x="1230364" y="202959"/>
                  </a:lnTo>
                  <a:lnTo>
                    <a:pt x="1230364" y="202260"/>
                  </a:lnTo>
                  <a:lnTo>
                    <a:pt x="1230364" y="202959"/>
                  </a:lnTo>
                  <a:lnTo>
                    <a:pt x="1230364" y="202260"/>
                  </a:lnTo>
                  <a:lnTo>
                    <a:pt x="1230415" y="202260"/>
                  </a:lnTo>
                  <a:lnTo>
                    <a:pt x="1230415" y="203594"/>
                  </a:lnTo>
                  <a:lnTo>
                    <a:pt x="1230415" y="202260"/>
                  </a:lnTo>
                  <a:lnTo>
                    <a:pt x="1230516" y="202260"/>
                  </a:lnTo>
                  <a:lnTo>
                    <a:pt x="1230516" y="203594"/>
                  </a:lnTo>
                  <a:lnTo>
                    <a:pt x="1230516" y="202959"/>
                  </a:lnTo>
                  <a:lnTo>
                    <a:pt x="1230567" y="202959"/>
                  </a:lnTo>
                  <a:lnTo>
                    <a:pt x="1230567" y="200876"/>
                  </a:lnTo>
                  <a:lnTo>
                    <a:pt x="1230618" y="200876"/>
                  </a:lnTo>
                  <a:lnTo>
                    <a:pt x="1230618" y="202260"/>
                  </a:lnTo>
                  <a:lnTo>
                    <a:pt x="1230618" y="200228"/>
                  </a:lnTo>
                  <a:lnTo>
                    <a:pt x="1230618" y="200876"/>
                  </a:lnTo>
                  <a:lnTo>
                    <a:pt x="1230618" y="199530"/>
                  </a:lnTo>
                  <a:lnTo>
                    <a:pt x="1230719" y="199530"/>
                  </a:lnTo>
                  <a:lnTo>
                    <a:pt x="1230719" y="198831"/>
                  </a:lnTo>
                  <a:lnTo>
                    <a:pt x="1230719" y="200876"/>
                  </a:lnTo>
                  <a:lnTo>
                    <a:pt x="1230719" y="198831"/>
                  </a:lnTo>
                  <a:lnTo>
                    <a:pt x="1230770" y="198831"/>
                  </a:lnTo>
                  <a:lnTo>
                    <a:pt x="1230770" y="202260"/>
                  </a:lnTo>
                  <a:lnTo>
                    <a:pt x="1230770" y="199530"/>
                  </a:lnTo>
                  <a:lnTo>
                    <a:pt x="1230821" y="199530"/>
                  </a:lnTo>
                  <a:lnTo>
                    <a:pt x="1230821" y="202260"/>
                  </a:lnTo>
                  <a:lnTo>
                    <a:pt x="1230821" y="200228"/>
                  </a:lnTo>
                  <a:lnTo>
                    <a:pt x="1230859" y="200876"/>
                  </a:lnTo>
                  <a:lnTo>
                    <a:pt x="1230859" y="202260"/>
                  </a:lnTo>
                  <a:lnTo>
                    <a:pt x="1230859" y="200876"/>
                  </a:lnTo>
                  <a:lnTo>
                    <a:pt x="1230859" y="202260"/>
                  </a:lnTo>
                  <a:lnTo>
                    <a:pt x="1230859" y="200876"/>
                  </a:lnTo>
                  <a:lnTo>
                    <a:pt x="1230859" y="202260"/>
                  </a:lnTo>
                  <a:lnTo>
                    <a:pt x="1230961" y="202260"/>
                  </a:lnTo>
                  <a:lnTo>
                    <a:pt x="1230961" y="202959"/>
                  </a:lnTo>
                  <a:lnTo>
                    <a:pt x="1231012" y="202260"/>
                  </a:lnTo>
                  <a:lnTo>
                    <a:pt x="1231012" y="202959"/>
                  </a:lnTo>
                  <a:lnTo>
                    <a:pt x="1231012" y="202260"/>
                  </a:lnTo>
                  <a:lnTo>
                    <a:pt x="1231012" y="202959"/>
                  </a:lnTo>
                  <a:lnTo>
                    <a:pt x="1231012" y="202260"/>
                  </a:lnTo>
                  <a:lnTo>
                    <a:pt x="1231062" y="202260"/>
                  </a:lnTo>
                  <a:lnTo>
                    <a:pt x="1231062" y="202959"/>
                  </a:lnTo>
                  <a:lnTo>
                    <a:pt x="1231062" y="202260"/>
                  </a:lnTo>
                  <a:lnTo>
                    <a:pt x="1231062" y="202959"/>
                  </a:lnTo>
                  <a:lnTo>
                    <a:pt x="1231062" y="202260"/>
                  </a:lnTo>
                  <a:lnTo>
                    <a:pt x="1231062" y="202959"/>
                  </a:lnTo>
                  <a:lnTo>
                    <a:pt x="1231062" y="202260"/>
                  </a:lnTo>
                  <a:lnTo>
                    <a:pt x="1231164" y="202260"/>
                  </a:lnTo>
                  <a:lnTo>
                    <a:pt x="1231164" y="199530"/>
                  </a:lnTo>
                  <a:lnTo>
                    <a:pt x="1231164" y="200228"/>
                  </a:lnTo>
                  <a:lnTo>
                    <a:pt x="1231164" y="199530"/>
                  </a:lnTo>
                  <a:lnTo>
                    <a:pt x="1231215" y="198831"/>
                  </a:lnTo>
                  <a:lnTo>
                    <a:pt x="1231215" y="200228"/>
                  </a:lnTo>
                  <a:lnTo>
                    <a:pt x="1231215" y="197447"/>
                  </a:lnTo>
                  <a:lnTo>
                    <a:pt x="1231265" y="198831"/>
                  </a:lnTo>
                  <a:lnTo>
                    <a:pt x="1231265" y="200876"/>
                  </a:lnTo>
                  <a:lnTo>
                    <a:pt x="1231265" y="199530"/>
                  </a:lnTo>
                  <a:lnTo>
                    <a:pt x="1231316" y="200228"/>
                  </a:lnTo>
                  <a:lnTo>
                    <a:pt x="1231316" y="202260"/>
                  </a:lnTo>
                  <a:lnTo>
                    <a:pt x="1231316" y="200876"/>
                  </a:lnTo>
                  <a:lnTo>
                    <a:pt x="1231405" y="202260"/>
                  </a:lnTo>
                  <a:lnTo>
                    <a:pt x="1231405" y="200876"/>
                  </a:lnTo>
                  <a:lnTo>
                    <a:pt x="1231405" y="202260"/>
                  </a:lnTo>
                  <a:lnTo>
                    <a:pt x="1231405" y="200876"/>
                  </a:lnTo>
                  <a:lnTo>
                    <a:pt x="1231405" y="202260"/>
                  </a:lnTo>
                  <a:lnTo>
                    <a:pt x="1231456" y="202260"/>
                  </a:lnTo>
                  <a:lnTo>
                    <a:pt x="1231456" y="200876"/>
                  </a:lnTo>
                  <a:lnTo>
                    <a:pt x="1231456" y="202959"/>
                  </a:lnTo>
                  <a:lnTo>
                    <a:pt x="1231507" y="202959"/>
                  </a:lnTo>
                  <a:lnTo>
                    <a:pt x="1231507" y="202260"/>
                  </a:lnTo>
                  <a:lnTo>
                    <a:pt x="1231507" y="202959"/>
                  </a:lnTo>
                  <a:lnTo>
                    <a:pt x="1231558" y="202260"/>
                  </a:lnTo>
                  <a:lnTo>
                    <a:pt x="1231558" y="200876"/>
                  </a:lnTo>
                  <a:lnTo>
                    <a:pt x="1231558" y="202260"/>
                  </a:lnTo>
                  <a:lnTo>
                    <a:pt x="1231659" y="202260"/>
                  </a:lnTo>
                  <a:lnTo>
                    <a:pt x="1231659" y="200228"/>
                  </a:lnTo>
                  <a:lnTo>
                    <a:pt x="1231659" y="200876"/>
                  </a:lnTo>
                  <a:lnTo>
                    <a:pt x="1231659" y="198831"/>
                  </a:lnTo>
                  <a:lnTo>
                    <a:pt x="1231659" y="199530"/>
                  </a:lnTo>
                  <a:lnTo>
                    <a:pt x="1231710" y="199530"/>
                  </a:lnTo>
                  <a:lnTo>
                    <a:pt x="1231710" y="198831"/>
                  </a:lnTo>
                  <a:lnTo>
                    <a:pt x="1231761" y="199530"/>
                  </a:lnTo>
                  <a:lnTo>
                    <a:pt x="1231761" y="200876"/>
                  </a:lnTo>
                  <a:lnTo>
                    <a:pt x="1231761" y="199530"/>
                  </a:lnTo>
                  <a:lnTo>
                    <a:pt x="1231761" y="200228"/>
                  </a:lnTo>
                  <a:lnTo>
                    <a:pt x="1231761" y="199530"/>
                  </a:lnTo>
                  <a:lnTo>
                    <a:pt x="1231761" y="200228"/>
                  </a:lnTo>
                  <a:lnTo>
                    <a:pt x="1231862" y="200228"/>
                  </a:lnTo>
                  <a:lnTo>
                    <a:pt x="1231862" y="199530"/>
                  </a:lnTo>
                  <a:lnTo>
                    <a:pt x="1231862" y="200228"/>
                  </a:lnTo>
                  <a:lnTo>
                    <a:pt x="1231900" y="200228"/>
                  </a:lnTo>
                  <a:lnTo>
                    <a:pt x="1231900" y="200876"/>
                  </a:lnTo>
                  <a:lnTo>
                    <a:pt x="1231900" y="200228"/>
                  </a:lnTo>
                  <a:lnTo>
                    <a:pt x="1231900" y="200876"/>
                  </a:lnTo>
                  <a:lnTo>
                    <a:pt x="1231900" y="200228"/>
                  </a:lnTo>
                  <a:lnTo>
                    <a:pt x="1231900" y="200876"/>
                  </a:lnTo>
                  <a:lnTo>
                    <a:pt x="1231900" y="200228"/>
                  </a:lnTo>
                  <a:lnTo>
                    <a:pt x="1231951" y="200228"/>
                  </a:lnTo>
                  <a:lnTo>
                    <a:pt x="1231951" y="199530"/>
                  </a:lnTo>
                  <a:lnTo>
                    <a:pt x="1231951" y="200876"/>
                  </a:lnTo>
                  <a:lnTo>
                    <a:pt x="1231951" y="200228"/>
                  </a:lnTo>
                  <a:lnTo>
                    <a:pt x="1231951" y="200876"/>
                  </a:lnTo>
                  <a:lnTo>
                    <a:pt x="1232002" y="200876"/>
                  </a:lnTo>
                  <a:lnTo>
                    <a:pt x="1232002" y="202260"/>
                  </a:lnTo>
                  <a:lnTo>
                    <a:pt x="1232002" y="200876"/>
                  </a:lnTo>
                  <a:lnTo>
                    <a:pt x="1232104" y="200876"/>
                  </a:lnTo>
                  <a:lnTo>
                    <a:pt x="1232104" y="202260"/>
                  </a:lnTo>
                  <a:lnTo>
                    <a:pt x="1232104" y="200876"/>
                  </a:lnTo>
                  <a:lnTo>
                    <a:pt x="1232104" y="202260"/>
                  </a:lnTo>
                  <a:lnTo>
                    <a:pt x="1232104" y="200876"/>
                  </a:lnTo>
                  <a:lnTo>
                    <a:pt x="1232104" y="202260"/>
                  </a:lnTo>
                  <a:lnTo>
                    <a:pt x="1232104" y="200876"/>
                  </a:lnTo>
                  <a:lnTo>
                    <a:pt x="1232155" y="200876"/>
                  </a:lnTo>
                  <a:lnTo>
                    <a:pt x="1232155" y="199530"/>
                  </a:lnTo>
                  <a:lnTo>
                    <a:pt x="1232155" y="200228"/>
                  </a:lnTo>
                  <a:lnTo>
                    <a:pt x="1232155" y="199530"/>
                  </a:lnTo>
                  <a:lnTo>
                    <a:pt x="1232205" y="200228"/>
                  </a:lnTo>
                  <a:lnTo>
                    <a:pt x="1232205" y="198831"/>
                  </a:lnTo>
                  <a:lnTo>
                    <a:pt x="1232205" y="200876"/>
                  </a:lnTo>
                  <a:lnTo>
                    <a:pt x="1232307" y="200876"/>
                  </a:lnTo>
                  <a:lnTo>
                    <a:pt x="1232307" y="200228"/>
                  </a:lnTo>
                  <a:lnTo>
                    <a:pt x="1232307" y="200876"/>
                  </a:lnTo>
                  <a:lnTo>
                    <a:pt x="1232358" y="200876"/>
                  </a:lnTo>
                  <a:lnTo>
                    <a:pt x="1232358" y="202260"/>
                  </a:lnTo>
                  <a:lnTo>
                    <a:pt x="1232358" y="200876"/>
                  </a:lnTo>
                  <a:lnTo>
                    <a:pt x="1232358" y="202260"/>
                  </a:lnTo>
                  <a:lnTo>
                    <a:pt x="1232358" y="200876"/>
                  </a:lnTo>
                  <a:lnTo>
                    <a:pt x="1232358" y="202260"/>
                  </a:lnTo>
                  <a:lnTo>
                    <a:pt x="1232358" y="200876"/>
                  </a:lnTo>
                  <a:lnTo>
                    <a:pt x="1232358" y="202260"/>
                  </a:lnTo>
                  <a:lnTo>
                    <a:pt x="1232409" y="202260"/>
                  </a:lnTo>
                  <a:lnTo>
                    <a:pt x="1232409" y="200876"/>
                  </a:lnTo>
                  <a:lnTo>
                    <a:pt x="1232409" y="202959"/>
                  </a:lnTo>
                  <a:lnTo>
                    <a:pt x="1232409" y="202260"/>
                  </a:lnTo>
                  <a:lnTo>
                    <a:pt x="1232447" y="202260"/>
                  </a:lnTo>
                  <a:lnTo>
                    <a:pt x="1232447" y="202959"/>
                  </a:lnTo>
                  <a:lnTo>
                    <a:pt x="1232447" y="202260"/>
                  </a:lnTo>
                  <a:lnTo>
                    <a:pt x="1232447" y="202959"/>
                  </a:lnTo>
                  <a:lnTo>
                    <a:pt x="1232447" y="202260"/>
                  </a:lnTo>
                  <a:lnTo>
                    <a:pt x="1232447" y="202959"/>
                  </a:lnTo>
                  <a:lnTo>
                    <a:pt x="1232548" y="202959"/>
                  </a:lnTo>
                  <a:lnTo>
                    <a:pt x="1232548" y="202260"/>
                  </a:lnTo>
                  <a:lnTo>
                    <a:pt x="1232548" y="202959"/>
                  </a:lnTo>
                  <a:lnTo>
                    <a:pt x="1232548" y="202260"/>
                  </a:lnTo>
                  <a:lnTo>
                    <a:pt x="1232548" y="202959"/>
                  </a:lnTo>
                  <a:lnTo>
                    <a:pt x="1232548" y="202260"/>
                  </a:lnTo>
                  <a:lnTo>
                    <a:pt x="1232548" y="202959"/>
                  </a:lnTo>
                  <a:lnTo>
                    <a:pt x="1232548" y="202260"/>
                  </a:lnTo>
                  <a:lnTo>
                    <a:pt x="1232548" y="202959"/>
                  </a:lnTo>
                  <a:lnTo>
                    <a:pt x="1232548" y="202260"/>
                  </a:lnTo>
                  <a:lnTo>
                    <a:pt x="1232548" y="202959"/>
                  </a:lnTo>
                  <a:lnTo>
                    <a:pt x="1232599" y="202260"/>
                  </a:lnTo>
                  <a:lnTo>
                    <a:pt x="1232599" y="202959"/>
                  </a:lnTo>
                  <a:lnTo>
                    <a:pt x="1232599" y="200876"/>
                  </a:lnTo>
                  <a:lnTo>
                    <a:pt x="1232599" y="202260"/>
                  </a:lnTo>
                  <a:lnTo>
                    <a:pt x="1232599" y="200876"/>
                  </a:lnTo>
                  <a:lnTo>
                    <a:pt x="1232650" y="200876"/>
                  </a:lnTo>
                  <a:lnTo>
                    <a:pt x="1232650" y="202260"/>
                  </a:lnTo>
                  <a:lnTo>
                    <a:pt x="1232650" y="200228"/>
                  </a:lnTo>
                  <a:lnTo>
                    <a:pt x="1232650" y="200876"/>
                  </a:lnTo>
                  <a:lnTo>
                    <a:pt x="1232650" y="200228"/>
                  </a:lnTo>
                  <a:lnTo>
                    <a:pt x="1232650" y="202260"/>
                  </a:lnTo>
                  <a:lnTo>
                    <a:pt x="1232650" y="200876"/>
                  </a:lnTo>
                  <a:lnTo>
                    <a:pt x="1232751" y="200876"/>
                  </a:lnTo>
                  <a:lnTo>
                    <a:pt x="1232751" y="200228"/>
                  </a:lnTo>
                  <a:lnTo>
                    <a:pt x="1232751" y="200876"/>
                  </a:lnTo>
                  <a:lnTo>
                    <a:pt x="1232751" y="200228"/>
                  </a:lnTo>
                  <a:lnTo>
                    <a:pt x="1232751" y="202959"/>
                  </a:lnTo>
                  <a:lnTo>
                    <a:pt x="1232802" y="202959"/>
                  </a:lnTo>
                  <a:lnTo>
                    <a:pt x="1232802" y="202260"/>
                  </a:lnTo>
                  <a:lnTo>
                    <a:pt x="1232802" y="203594"/>
                  </a:lnTo>
                  <a:lnTo>
                    <a:pt x="1232802" y="202959"/>
                  </a:lnTo>
                  <a:lnTo>
                    <a:pt x="1232853" y="202959"/>
                  </a:lnTo>
                  <a:lnTo>
                    <a:pt x="1232853" y="202260"/>
                  </a:lnTo>
                  <a:lnTo>
                    <a:pt x="1232853" y="202959"/>
                  </a:lnTo>
                  <a:lnTo>
                    <a:pt x="1232904" y="202959"/>
                  </a:lnTo>
                  <a:lnTo>
                    <a:pt x="1232904" y="202260"/>
                  </a:lnTo>
                  <a:lnTo>
                    <a:pt x="1232904" y="202959"/>
                  </a:lnTo>
                  <a:lnTo>
                    <a:pt x="1232904" y="202260"/>
                  </a:lnTo>
                  <a:lnTo>
                    <a:pt x="1232904" y="202959"/>
                  </a:lnTo>
                  <a:lnTo>
                    <a:pt x="1232904" y="202260"/>
                  </a:lnTo>
                  <a:lnTo>
                    <a:pt x="1232993" y="202260"/>
                  </a:lnTo>
                  <a:lnTo>
                    <a:pt x="1232993" y="202959"/>
                  </a:lnTo>
                  <a:lnTo>
                    <a:pt x="1232993" y="202260"/>
                  </a:lnTo>
                  <a:lnTo>
                    <a:pt x="1232993" y="202959"/>
                  </a:lnTo>
                  <a:lnTo>
                    <a:pt x="1232993" y="202260"/>
                  </a:lnTo>
                  <a:lnTo>
                    <a:pt x="1232993" y="202959"/>
                  </a:lnTo>
                  <a:lnTo>
                    <a:pt x="1233044" y="202959"/>
                  </a:lnTo>
                  <a:lnTo>
                    <a:pt x="1233044" y="202260"/>
                  </a:lnTo>
                  <a:lnTo>
                    <a:pt x="1233094" y="202260"/>
                  </a:lnTo>
                  <a:lnTo>
                    <a:pt x="1233094" y="199530"/>
                  </a:lnTo>
                  <a:lnTo>
                    <a:pt x="1233145" y="199530"/>
                  </a:lnTo>
                  <a:lnTo>
                    <a:pt x="1233145" y="202260"/>
                  </a:lnTo>
                  <a:lnTo>
                    <a:pt x="1233145" y="200228"/>
                  </a:lnTo>
                  <a:lnTo>
                    <a:pt x="1233145" y="200876"/>
                  </a:lnTo>
                  <a:lnTo>
                    <a:pt x="1233247" y="200228"/>
                  </a:lnTo>
                  <a:lnTo>
                    <a:pt x="1233247" y="202959"/>
                  </a:lnTo>
                  <a:lnTo>
                    <a:pt x="1233247" y="202260"/>
                  </a:lnTo>
                  <a:lnTo>
                    <a:pt x="1233297" y="202959"/>
                  </a:lnTo>
                  <a:lnTo>
                    <a:pt x="1233297" y="204292"/>
                  </a:lnTo>
                  <a:lnTo>
                    <a:pt x="1233297" y="202959"/>
                  </a:lnTo>
                  <a:lnTo>
                    <a:pt x="1233297" y="203594"/>
                  </a:lnTo>
                  <a:lnTo>
                    <a:pt x="1233348" y="203594"/>
                  </a:lnTo>
                  <a:lnTo>
                    <a:pt x="1233348" y="202959"/>
                  </a:lnTo>
                  <a:lnTo>
                    <a:pt x="1233348" y="203594"/>
                  </a:lnTo>
                  <a:lnTo>
                    <a:pt x="1233450" y="203594"/>
                  </a:lnTo>
                  <a:lnTo>
                    <a:pt x="1233450" y="202959"/>
                  </a:lnTo>
                  <a:lnTo>
                    <a:pt x="1233450" y="204292"/>
                  </a:lnTo>
                  <a:lnTo>
                    <a:pt x="1233450" y="203594"/>
                  </a:lnTo>
                  <a:lnTo>
                    <a:pt x="1233488" y="203594"/>
                  </a:lnTo>
                  <a:lnTo>
                    <a:pt x="1233488" y="202959"/>
                  </a:lnTo>
                  <a:lnTo>
                    <a:pt x="1233488" y="203594"/>
                  </a:lnTo>
                  <a:lnTo>
                    <a:pt x="1233488" y="202959"/>
                  </a:lnTo>
                  <a:lnTo>
                    <a:pt x="1233488" y="203594"/>
                  </a:lnTo>
                  <a:lnTo>
                    <a:pt x="1233539" y="203594"/>
                  </a:lnTo>
                  <a:lnTo>
                    <a:pt x="1233539" y="202959"/>
                  </a:lnTo>
                  <a:lnTo>
                    <a:pt x="1233539" y="203594"/>
                  </a:lnTo>
                  <a:lnTo>
                    <a:pt x="1233539" y="202959"/>
                  </a:lnTo>
                  <a:lnTo>
                    <a:pt x="1233539" y="203594"/>
                  </a:lnTo>
                  <a:lnTo>
                    <a:pt x="1233539" y="202260"/>
                  </a:lnTo>
                  <a:lnTo>
                    <a:pt x="1233590" y="202260"/>
                  </a:lnTo>
                  <a:lnTo>
                    <a:pt x="1233590" y="199530"/>
                  </a:lnTo>
                  <a:lnTo>
                    <a:pt x="1233590" y="202260"/>
                  </a:lnTo>
                  <a:lnTo>
                    <a:pt x="1233691" y="202260"/>
                  </a:lnTo>
                  <a:lnTo>
                    <a:pt x="1233691" y="200228"/>
                  </a:lnTo>
                  <a:lnTo>
                    <a:pt x="1233691" y="203594"/>
                  </a:lnTo>
                  <a:lnTo>
                    <a:pt x="1233742" y="203594"/>
                  </a:lnTo>
                  <a:lnTo>
                    <a:pt x="1233742" y="202260"/>
                  </a:lnTo>
                  <a:lnTo>
                    <a:pt x="1233742" y="204292"/>
                  </a:lnTo>
                  <a:lnTo>
                    <a:pt x="1233793" y="203594"/>
                  </a:lnTo>
                  <a:lnTo>
                    <a:pt x="1233793" y="202959"/>
                  </a:lnTo>
                  <a:lnTo>
                    <a:pt x="1233793" y="203594"/>
                  </a:lnTo>
                  <a:lnTo>
                    <a:pt x="1233894" y="203594"/>
                  </a:lnTo>
                  <a:lnTo>
                    <a:pt x="1233894" y="204292"/>
                  </a:lnTo>
                  <a:lnTo>
                    <a:pt x="1233894" y="203594"/>
                  </a:lnTo>
                  <a:lnTo>
                    <a:pt x="1233894" y="204292"/>
                  </a:lnTo>
                  <a:lnTo>
                    <a:pt x="1233894" y="203594"/>
                  </a:lnTo>
                  <a:lnTo>
                    <a:pt x="1233894" y="204292"/>
                  </a:lnTo>
                  <a:lnTo>
                    <a:pt x="1233894" y="203594"/>
                  </a:lnTo>
                  <a:lnTo>
                    <a:pt x="1233945" y="203594"/>
                  </a:lnTo>
                  <a:lnTo>
                    <a:pt x="1233945" y="204292"/>
                  </a:lnTo>
                  <a:lnTo>
                    <a:pt x="1233945" y="203594"/>
                  </a:lnTo>
                  <a:lnTo>
                    <a:pt x="1233945" y="204292"/>
                  </a:lnTo>
                  <a:lnTo>
                    <a:pt x="1233945" y="203594"/>
                  </a:lnTo>
                  <a:lnTo>
                    <a:pt x="1233945" y="204292"/>
                  </a:lnTo>
                  <a:lnTo>
                    <a:pt x="1233945" y="203594"/>
                  </a:lnTo>
                  <a:lnTo>
                    <a:pt x="1233996" y="203594"/>
                  </a:lnTo>
                  <a:lnTo>
                    <a:pt x="1233996" y="202959"/>
                  </a:lnTo>
                  <a:lnTo>
                    <a:pt x="1233996" y="203594"/>
                  </a:lnTo>
                  <a:lnTo>
                    <a:pt x="1233996" y="202959"/>
                  </a:lnTo>
                  <a:lnTo>
                    <a:pt x="1233996" y="203594"/>
                  </a:lnTo>
                  <a:lnTo>
                    <a:pt x="1234034" y="203594"/>
                  </a:lnTo>
                  <a:lnTo>
                    <a:pt x="1234034" y="202959"/>
                  </a:lnTo>
                  <a:lnTo>
                    <a:pt x="1234034" y="203594"/>
                  </a:lnTo>
                  <a:lnTo>
                    <a:pt x="1234034" y="200876"/>
                  </a:lnTo>
                  <a:lnTo>
                    <a:pt x="1234136" y="202260"/>
                  </a:lnTo>
                  <a:lnTo>
                    <a:pt x="1234136" y="198831"/>
                  </a:lnTo>
                  <a:lnTo>
                    <a:pt x="1234136" y="199530"/>
                  </a:lnTo>
                  <a:lnTo>
                    <a:pt x="1234187" y="199530"/>
                  </a:lnTo>
                  <a:lnTo>
                    <a:pt x="1234187" y="200228"/>
                  </a:lnTo>
                  <a:lnTo>
                    <a:pt x="1234187" y="199530"/>
                  </a:lnTo>
                  <a:lnTo>
                    <a:pt x="1234187" y="200228"/>
                  </a:lnTo>
                  <a:lnTo>
                    <a:pt x="1234187" y="199530"/>
                  </a:lnTo>
                  <a:lnTo>
                    <a:pt x="1234187" y="200876"/>
                  </a:lnTo>
                  <a:lnTo>
                    <a:pt x="1234237" y="200876"/>
                  </a:lnTo>
                  <a:lnTo>
                    <a:pt x="1234237" y="202260"/>
                  </a:lnTo>
                  <a:lnTo>
                    <a:pt x="1234339" y="202959"/>
                  </a:lnTo>
                  <a:lnTo>
                    <a:pt x="1234339" y="200876"/>
                  </a:lnTo>
                  <a:lnTo>
                    <a:pt x="1234339" y="202959"/>
                  </a:lnTo>
                  <a:lnTo>
                    <a:pt x="1234390" y="202260"/>
                  </a:lnTo>
                  <a:lnTo>
                    <a:pt x="1234390" y="203594"/>
                  </a:lnTo>
                  <a:lnTo>
                    <a:pt x="1234390" y="202959"/>
                  </a:lnTo>
                  <a:lnTo>
                    <a:pt x="1234440" y="202959"/>
                  </a:lnTo>
                  <a:lnTo>
                    <a:pt x="1234440" y="204292"/>
                  </a:lnTo>
                  <a:lnTo>
                    <a:pt x="1234440" y="203594"/>
                  </a:lnTo>
                  <a:lnTo>
                    <a:pt x="1234440" y="204292"/>
                  </a:lnTo>
                  <a:lnTo>
                    <a:pt x="1234440" y="203594"/>
                  </a:lnTo>
                  <a:lnTo>
                    <a:pt x="1234440" y="204292"/>
                  </a:lnTo>
                  <a:lnTo>
                    <a:pt x="1234440" y="203594"/>
                  </a:lnTo>
                  <a:lnTo>
                    <a:pt x="1234491" y="203594"/>
                  </a:lnTo>
                  <a:lnTo>
                    <a:pt x="1234491" y="204292"/>
                  </a:lnTo>
                  <a:lnTo>
                    <a:pt x="1234491" y="203594"/>
                  </a:lnTo>
                  <a:lnTo>
                    <a:pt x="1234491" y="204292"/>
                  </a:lnTo>
                  <a:lnTo>
                    <a:pt x="1234491" y="203594"/>
                  </a:lnTo>
                  <a:lnTo>
                    <a:pt x="1234491" y="204292"/>
                  </a:lnTo>
                  <a:lnTo>
                    <a:pt x="1234491" y="203594"/>
                  </a:lnTo>
                  <a:lnTo>
                    <a:pt x="1234580" y="203594"/>
                  </a:lnTo>
                  <a:lnTo>
                    <a:pt x="1234580" y="202260"/>
                  </a:lnTo>
                  <a:lnTo>
                    <a:pt x="1234631" y="202260"/>
                  </a:lnTo>
                  <a:lnTo>
                    <a:pt x="1234631" y="200876"/>
                  </a:lnTo>
                  <a:lnTo>
                    <a:pt x="1234631" y="202260"/>
                  </a:lnTo>
                  <a:lnTo>
                    <a:pt x="1234631" y="200228"/>
                  </a:lnTo>
                  <a:lnTo>
                    <a:pt x="1234631" y="202260"/>
                  </a:lnTo>
                  <a:lnTo>
                    <a:pt x="1234682" y="200876"/>
                  </a:lnTo>
                  <a:lnTo>
                    <a:pt x="1234682" y="199530"/>
                  </a:lnTo>
                  <a:lnTo>
                    <a:pt x="1234682" y="202959"/>
                  </a:lnTo>
                  <a:lnTo>
                    <a:pt x="1234733" y="202260"/>
                  </a:lnTo>
                  <a:lnTo>
                    <a:pt x="1234733" y="200228"/>
                  </a:lnTo>
                  <a:lnTo>
                    <a:pt x="1234733" y="202959"/>
                  </a:lnTo>
                  <a:lnTo>
                    <a:pt x="1234834" y="202260"/>
                  </a:lnTo>
                  <a:lnTo>
                    <a:pt x="1234834" y="200876"/>
                  </a:lnTo>
                  <a:lnTo>
                    <a:pt x="1234834" y="202260"/>
                  </a:lnTo>
                  <a:lnTo>
                    <a:pt x="1234885" y="202260"/>
                  </a:lnTo>
                  <a:lnTo>
                    <a:pt x="1234885" y="200876"/>
                  </a:lnTo>
                  <a:lnTo>
                    <a:pt x="1234885" y="202959"/>
                  </a:lnTo>
                  <a:lnTo>
                    <a:pt x="1234936" y="202959"/>
                  </a:lnTo>
                  <a:lnTo>
                    <a:pt x="1234936" y="202260"/>
                  </a:lnTo>
                  <a:lnTo>
                    <a:pt x="1234936" y="203594"/>
                  </a:lnTo>
                  <a:lnTo>
                    <a:pt x="1234936" y="202959"/>
                  </a:lnTo>
                  <a:lnTo>
                    <a:pt x="1235037" y="202959"/>
                  </a:lnTo>
                  <a:lnTo>
                    <a:pt x="1235037" y="203594"/>
                  </a:lnTo>
                  <a:lnTo>
                    <a:pt x="1235037" y="202959"/>
                  </a:lnTo>
                  <a:lnTo>
                    <a:pt x="1235037" y="203594"/>
                  </a:lnTo>
                  <a:lnTo>
                    <a:pt x="1235037" y="202959"/>
                  </a:lnTo>
                  <a:lnTo>
                    <a:pt x="1235075" y="202959"/>
                  </a:lnTo>
                  <a:lnTo>
                    <a:pt x="1235075" y="202260"/>
                  </a:lnTo>
                  <a:lnTo>
                    <a:pt x="1235075" y="202959"/>
                  </a:lnTo>
                  <a:lnTo>
                    <a:pt x="1235075" y="200876"/>
                  </a:lnTo>
                  <a:lnTo>
                    <a:pt x="1235126" y="200876"/>
                  </a:lnTo>
                  <a:lnTo>
                    <a:pt x="1235126" y="200228"/>
                  </a:lnTo>
                  <a:lnTo>
                    <a:pt x="1235126" y="202959"/>
                  </a:lnTo>
                  <a:lnTo>
                    <a:pt x="1235126" y="200876"/>
                  </a:lnTo>
                  <a:lnTo>
                    <a:pt x="1235177" y="200876"/>
                  </a:lnTo>
                  <a:lnTo>
                    <a:pt x="1235177" y="204292"/>
                  </a:lnTo>
                  <a:lnTo>
                    <a:pt x="1235177" y="202260"/>
                  </a:lnTo>
                  <a:lnTo>
                    <a:pt x="1235279" y="202260"/>
                  </a:lnTo>
                  <a:lnTo>
                    <a:pt x="1235279" y="203594"/>
                  </a:lnTo>
                  <a:lnTo>
                    <a:pt x="1235279" y="202260"/>
                  </a:lnTo>
                  <a:lnTo>
                    <a:pt x="1235330" y="202260"/>
                  </a:lnTo>
                  <a:lnTo>
                    <a:pt x="1235330" y="203594"/>
                  </a:lnTo>
                  <a:lnTo>
                    <a:pt x="1235330" y="202260"/>
                  </a:lnTo>
                  <a:lnTo>
                    <a:pt x="1235380" y="202260"/>
                  </a:lnTo>
                  <a:lnTo>
                    <a:pt x="1235380" y="203594"/>
                  </a:lnTo>
                  <a:lnTo>
                    <a:pt x="1235380" y="202959"/>
                  </a:lnTo>
                  <a:lnTo>
                    <a:pt x="1235482" y="203594"/>
                  </a:lnTo>
                  <a:lnTo>
                    <a:pt x="1235482" y="202959"/>
                  </a:lnTo>
                  <a:lnTo>
                    <a:pt x="1235482" y="203594"/>
                  </a:lnTo>
                  <a:lnTo>
                    <a:pt x="1235482" y="202959"/>
                  </a:lnTo>
                  <a:lnTo>
                    <a:pt x="1235482" y="203594"/>
                  </a:lnTo>
                  <a:lnTo>
                    <a:pt x="1235482" y="202959"/>
                  </a:lnTo>
                  <a:lnTo>
                    <a:pt x="1235533" y="202959"/>
                  </a:lnTo>
                  <a:lnTo>
                    <a:pt x="1235533" y="203594"/>
                  </a:lnTo>
                  <a:lnTo>
                    <a:pt x="1235533" y="202959"/>
                  </a:lnTo>
                  <a:lnTo>
                    <a:pt x="1235533" y="203594"/>
                  </a:lnTo>
                  <a:lnTo>
                    <a:pt x="1235533" y="202260"/>
                  </a:lnTo>
                  <a:lnTo>
                    <a:pt x="1235533" y="202959"/>
                  </a:lnTo>
                  <a:lnTo>
                    <a:pt x="1235533" y="202260"/>
                  </a:lnTo>
                  <a:lnTo>
                    <a:pt x="1235584" y="202260"/>
                  </a:lnTo>
                  <a:lnTo>
                    <a:pt x="1235584" y="200876"/>
                  </a:lnTo>
                  <a:lnTo>
                    <a:pt x="1235584" y="202260"/>
                  </a:lnTo>
                  <a:lnTo>
                    <a:pt x="1235584" y="200228"/>
                  </a:lnTo>
                  <a:lnTo>
                    <a:pt x="1235622" y="200228"/>
                  </a:lnTo>
                  <a:lnTo>
                    <a:pt x="1235622" y="202260"/>
                  </a:lnTo>
                  <a:lnTo>
                    <a:pt x="1235622" y="200876"/>
                  </a:lnTo>
                  <a:lnTo>
                    <a:pt x="1235622" y="202260"/>
                  </a:lnTo>
                  <a:lnTo>
                    <a:pt x="1235622" y="200876"/>
                  </a:lnTo>
                  <a:lnTo>
                    <a:pt x="1235723" y="200876"/>
                  </a:lnTo>
                  <a:lnTo>
                    <a:pt x="1235723" y="203594"/>
                  </a:lnTo>
                  <a:lnTo>
                    <a:pt x="1235723" y="202959"/>
                  </a:lnTo>
                  <a:lnTo>
                    <a:pt x="1235774" y="202959"/>
                  </a:lnTo>
                  <a:lnTo>
                    <a:pt x="1235774" y="203594"/>
                  </a:lnTo>
                  <a:lnTo>
                    <a:pt x="1235774" y="202959"/>
                  </a:lnTo>
                  <a:lnTo>
                    <a:pt x="1235926" y="202959"/>
                  </a:lnTo>
                  <a:lnTo>
                    <a:pt x="1235926" y="203594"/>
                  </a:lnTo>
                  <a:lnTo>
                    <a:pt x="1235977" y="202959"/>
                  </a:lnTo>
                  <a:lnTo>
                    <a:pt x="1235977" y="202260"/>
                  </a:lnTo>
                  <a:lnTo>
                    <a:pt x="1235977" y="202959"/>
                  </a:lnTo>
                  <a:lnTo>
                    <a:pt x="1235977" y="202260"/>
                  </a:lnTo>
                  <a:lnTo>
                    <a:pt x="1236028" y="202260"/>
                  </a:lnTo>
                  <a:lnTo>
                    <a:pt x="1236028" y="202959"/>
                  </a:lnTo>
                  <a:lnTo>
                    <a:pt x="1236028" y="200876"/>
                  </a:lnTo>
                  <a:lnTo>
                    <a:pt x="1236079" y="200876"/>
                  </a:lnTo>
                  <a:lnTo>
                    <a:pt x="1236079" y="197447"/>
                  </a:lnTo>
                  <a:lnTo>
                    <a:pt x="1236168" y="197447"/>
                  </a:lnTo>
                  <a:lnTo>
                    <a:pt x="1236168" y="200228"/>
                  </a:lnTo>
                  <a:lnTo>
                    <a:pt x="1236168" y="199530"/>
                  </a:lnTo>
                  <a:lnTo>
                    <a:pt x="1236219" y="200228"/>
                  </a:lnTo>
                  <a:lnTo>
                    <a:pt x="1236219" y="202260"/>
                  </a:lnTo>
                  <a:lnTo>
                    <a:pt x="1236219" y="200228"/>
                  </a:lnTo>
                  <a:lnTo>
                    <a:pt x="1236219" y="200876"/>
                  </a:lnTo>
                  <a:lnTo>
                    <a:pt x="1236269" y="200876"/>
                  </a:lnTo>
                  <a:lnTo>
                    <a:pt x="1236269" y="202260"/>
                  </a:lnTo>
                  <a:lnTo>
                    <a:pt x="1236269" y="200876"/>
                  </a:lnTo>
                  <a:lnTo>
                    <a:pt x="1236269" y="202260"/>
                  </a:lnTo>
                  <a:lnTo>
                    <a:pt x="1236269" y="200876"/>
                  </a:lnTo>
                  <a:lnTo>
                    <a:pt x="1236269" y="202260"/>
                  </a:lnTo>
                  <a:lnTo>
                    <a:pt x="1236269" y="200876"/>
                  </a:lnTo>
                  <a:lnTo>
                    <a:pt x="1236269" y="202260"/>
                  </a:lnTo>
                  <a:lnTo>
                    <a:pt x="1236320" y="202260"/>
                  </a:lnTo>
                  <a:lnTo>
                    <a:pt x="1236320" y="202959"/>
                  </a:lnTo>
                  <a:lnTo>
                    <a:pt x="1236320" y="200876"/>
                  </a:lnTo>
                  <a:lnTo>
                    <a:pt x="1236320" y="202260"/>
                  </a:lnTo>
                  <a:lnTo>
                    <a:pt x="1236422" y="202260"/>
                  </a:lnTo>
                  <a:lnTo>
                    <a:pt x="1236422" y="203594"/>
                  </a:lnTo>
                  <a:lnTo>
                    <a:pt x="1236472" y="202959"/>
                  </a:lnTo>
                  <a:lnTo>
                    <a:pt x="1236472" y="203594"/>
                  </a:lnTo>
                  <a:lnTo>
                    <a:pt x="1236472" y="202959"/>
                  </a:lnTo>
                  <a:lnTo>
                    <a:pt x="1236523" y="202959"/>
                  </a:lnTo>
                  <a:lnTo>
                    <a:pt x="1236523" y="200228"/>
                  </a:lnTo>
                  <a:lnTo>
                    <a:pt x="1236625" y="200228"/>
                  </a:lnTo>
                  <a:lnTo>
                    <a:pt x="1236625" y="200876"/>
                  </a:lnTo>
                  <a:lnTo>
                    <a:pt x="1236625" y="198831"/>
                  </a:lnTo>
                  <a:lnTo>
                    <a:pt x="1236625" y="199530"/>
                  </a:lnTo>
                  <a:lnTo>
                    <a:pt x="1236625" y="198831"/>
                  </a:lnTo>
                  <a:lnTo>
                    <a:pt x="1236663" y="198831"/>
                  </a:lnTo>
                  <a:lnTo>
                    <a:pt x="1236663" y="200228"/>
                  </a:lnTo>
                  <a:lnTo>
                    <a:pt x="1236663" y="199530"/>
                  </a:lnTo>
                  <a:lnTo>
                    <a:pt x="1236663" y="200228"/>
                  </a:lnTo>
                  <a:lnTo>
                    <a:pt x="1236714" y="200876"/>
                  </a:lnTo>
                  <a:lnTo>
                    <a:pt x="1236714" y="202260"/>
                  </a:lnTo>
                  <a:lnTo>
                    <a:pt x="1236714" y="199530"/>
                  </a:lnTo>
                  <a:lnTo>
                    <a:pt x="1236714" y="200876"/>
                  </a:lnTo>
                  <a:lnTo>
                    <a:pt x="1236765" y="200876"/>
                  </a:lnTo>
                  <a:lnTo>
                    <a:pt x="1236765" y="202260"/>
                  </a:lnTo>
                  <a:lnTo>
                    <a:pt x="1236866" y="202260"/>
                  </a:lnTo>
                  <a:lnTo>
                    <a:pt x="1236866" y="200876"/>
                  </a:lnTo>
                  <a:lnTo>
                    <a:pt x="1236866" y="202260"/>
                  </a:lnTo>
                  <a:lnTo>
                    <a:pt x="1236917" y="202260"/>
                  </a:lnTo>
                  <a:lnTo>
                    <a:pt x="1236917" y="202959"/>
                  </a:lnTo>
                  <a:lnTo>
                    <a:pt x="1236917" y="202260"/>
                  </a:lnTo>
                  <a:lnTo>
                    <a:pt x="1236917" y="202959"/>
                  </a:lnTo>
                  <a:lnTo>
                    <a:pt x="1236968" y="202959"/>
                  </a:lnTo>
                  <a:lnTo>
                    <a:pt x="1236968" y="200876"/>
                  </a:lnTo>
                  <a:lnTo>
                    <a:pt x="1236968" y="202260"/>
                  </a:lnTo>
                  <a:lnTo>
                    <a:pt x="1237069" y="202260"/>
                  </a:lnTo>
                  <a:lnTo>
                    <a:pt x="1237069" y="200876"/>
                  </a:lnTo>
                  <a:lnTo>
                    <a:pt x="1237069" y="202260"/>
                  </a:lnTo>
                  <a:lnTo>
                    <a:pt x="1237069" y="200228"/>
                  </a:lnTo>
                  <a:lnTo>
                    <a:pt x="1237069" y="200876"/>
                  </a:lnTo>
                  <a:lnTo>
                    <a:pt x="1237069" y="200228"/>
                  </a:lnTo>
                  <a:lnTo>
                    <a:pt x="1237120" y="200228"/>
                  </a:lnTo>
                  <a:lnTo>
                    <a:pt x="1237120" y="199530"/>
                  </a:lnTo>
                  <a:lnTo>
                    <a:pt x="1237171" y="200228"/>
                  </a:lnTo>
                  <a:lnTo>
                    <a:pt x="1237171" y="199530"/>
                  </a:lnTo>
                  <a:lnTo>
                    <a:pt x="1237171" y="200228"/>
                  </a:lnTo>
                  <a:lnTo>
                    <a:pt x="1237171" y="199530"/>
                  </a:lnTo>
                  <a:lnTo>
                    <a:pt x="1237171" y="202260"/>
                  </a:lnTo>
                  <a:lnTo>
                    <a:pt x="1237209" y="202260"/>
                  </a:lnTo>
                  <a:lnTo>
                    <a:pt x="1237209" y="200228"/>
                  </a:lnTo>
                  <a:lnTo>
                    <a:pt x="1237209" y="200876"/>
                  </a:lnTo>
                  <a:lnTo>
                    <a:pt x="1237311" y="200228"/>
                  </a:lnTo>
                  <a:lnTo>
                    <a:pt x="1237311" y="200876"/>
                  </a:lnTo>
                  <a:lnTo>
                    <a:pt x="1237311" y="200228"/>
                  </a:lnTo>
                  <a:lnTo>
                    <a:pt x="1237311" y="200876"/>
                  </a:lnTo>
                  <a:lnTo>
                    <a:pt x="1237311" y="200228"/>
                  </a:lnTo>
                  <a:lnTo>
                    <a:pt x="1237311" y="200876"/>
                  </a:lnTo>
                  <a:lnTo>
                    <a:pt x="1237362" y="200876"/>
                  </a:lnTo>
                  <a:lnTo>
                    <a:pt x="1237362" y="202260"/>
                  </a:lnTo>
                  <a:lnTo>
                    <a:pt x="1237362" y="200876"/>
                  </a:lnTo>
                  <a:lnTo>
                    <a:pt x="1237362" y="202959"/>
                  </a:lnTo>
                  <a:lnTo>
                    <a:pt x="1237362" y="202260"/>
                  </a:lnTo>
                  <a:lnTo>
                    <a:pt x="1237412" y="202260"/>
                  </a:lnTo>
                  <a:lnTo>
                    <a:pt x="1237412" y="202959"/>
                  </a:lnTo>
                  <a:lnTo>
                    <a:pt x="1237412" y="202260"/>
                  </a:lnTo>
                  <a:lnTo>
                    <a:pt x="1237412" y="202959"/>
                  </a:lnTo>
                  <a:lnTo>
                    <a:pt x="1237412" y="202260"/>
                  </a:lnTo>
                  <a:lnTo>
                    <a:pt x="1237412" y="202959"/>
                  </a:lnTo>
                  <a:lnTo>
                    <a:pt x="1237412" y="202260"/>
                  </a:lnTo>
                  <a:lnTo>
                    <a:pt x="1237514" y="202260"/>
                  </a:lnTo>
                  <a:lnTo>
                    <a:pt x="1237514" y="200876"/>
                  </a:lnTo>
                  <a:lnTo>
                    <a:pt x="1237514" y="202260"/>
                  </a:lnTo>
                  <a:lnTo>
                    <a:pt x="1237565" y="202260"/>
                  </a:lnTo>
                  <a:lnTo>
                    <a:pt x="1237565" y="200228"/>
                  </a:lnTo>
                  <a:lnTo>
                    <a:pt x="1237565" y="200876"/>
                  </a:lnTo>
                  <a:lnTo>
                    <a:pt x="1237565" y="200228"/>
                  </a:lnTo>
                  <a:lnTo>
                    <a:pt x="1237615" y="200228"/>
                  </a:lnTo>
                  <a:lnTo>
                    <a:pt x="1237615" y="199530"/>
                  </a:lnTo>
                  <a:lnTo>
                    <a:pt x="1237615" y="200228"/>
                  </a:lnTo>
                  <a:lnTo>
                    <a:pt x="1237615" y="199530"/>
                  </a:lnTo>
                  <a:lnTo>
                    <a:pt x="1237615" y="200228"/>
                  </a:lnTo>
                  <a:lnTo>
                    <a:pt x="1237615" y="199530"/>
                  </a:lnTo>
                  <a:lnTo>
                    <a:pt x="1237615" y="200228"/>
                  </a:lnTo>
                  <a:lnTo>
                    <a:pt x="1237615" y="199530"/>
                  </a:lnTo>
                  <a:lnTo>
                    <a:pt x="1237666" y="199530"/>
                  </a:lnTo>
                  <a:lnTo>
                    <a:pt x="1237666" y="200228"/>
                  </a:lnTo>
                  <a:lnTo>
                    <a:pt x="1237666" y="198831"/>
                  </a:lnTo>
                  <a:lnTo>
                    <a:pt x="1237666" y="202260"/>
                  </a:lnTo>
                  <a:lnTo>
                    <a:pt x="1237666" y="200876"/>
                  </a:lnTo>
                  <a:lnTo>
                    <a:pt x="1237755" y="200876"/>
                  </a:lnTo>
                  <a:lnTo>
                    <a:pt x="1237755" y="200228"/>
                  </a:lnTo>
                  <a:lnTo>
                    <a:pt x="1237755" y="202260"/>
                  </a:lnTo>
                  <a:lnTo>
                    <a:pt x="1237755" y="200876"/>
                  </a:lnTo>
                  <a:lnTo>
                    <a:pt x="1237806" y="200876"/>
                  </a:lnTo>
                  <a:lnTo>
                    <a:pt x="1237806" y="200228"/>
                  </a:lnTo>
                  <a:lnTo>
                    <a:pt x="1237806" y="202260"/>
                  </a:lnTo>
                  <a:lnTo>
                    <a:pt x="1237806" y="200876"/>
                  </a:lnTo>
                  <a:lnTo>
                    <a:pt x="1237857" y="202260"/>
                  </a:lnTo>
                  <a:lnTo>
                    <a:pt x="1237857" y="200876"/>
                  </a:lnTo>
                  <a:lnTo>
                    <a:pt x="1237857" y="202260"/>
                  </a:lnTo>
                  <a:lnTo>
                    <a:pt x="1237857" y="200876"/>
                  </a:lnTo>
                  <a:lnTo>
                    <a:pt x="1237857" y="202260"/>
                  </a:lnTo>
                  <a:lnTo>
                    <a:pt x="1237908" y="202260"/>
                  </a:lnTo>
                  <a:lnTo>
                    <a:pt x="1237908" y="202959"/>
                  </a:lnTo>
                  <a:lnTo>
                    <a:pt x="1237908" y="202260"/>
                  </a:lnTo>
                  <a:lnTo>
                    <a:pt x="1237908" y="202959"/>
                  </a:lnTo>
                  <a:lnTo>
                    <a:pt x="1238009" y="202959"/>
                  </a:lnTo>
                  <a:lnTo>
                    <a:pt x="1238009" y="202260"/>
                  </a:lnTo>
                  <a:lnTo>
                    <a:pt x="1238009" y="202959"/>
                  </a:lnTo>
                  <a:lnTo>
                    <a:pt x="1238009" y="200876"/>
                  </a:lnTo>
                  <a:lnTo>
                    <a:pt x="1238009" y="202260"/>
                  </a:lnTo>
                  <a:lnTo>
                    <a:pt x="1238060" y="202260"/>
                  </a:lnTo>
                  <a:lnTo>
                    <a:pt x="1238060" y="200876"/>
                  </a:lnTo>
                  <a:lnTo>
                    <a:pt x="1238060" y="202260"/>
                  </a:lnTo>
                  <a:lnTo>
                    <a:pt x="1238060" y="200228"/>
                  </a:lnTo>
                  <a:lnTo>
                    <a:pt x="1238060" y="200876"/>
                  </a:lnTo>
                  <a:lnTo>
                    <a:pt x="1238111" y="200876"/>
                  </a:lnTo>
                  <a:lnTo>
                    <a:pt x="1238111" y="200228"/>
                  </a:lnTo>
                  <a:lnTo>
                    <a:pt x="1238111" y="202260"/>
                  </a:lnTo>
                  <a:lnTo>
                    <a:pt x="1238111" y="200228"/>
                  </a:lnTo>
                  <a:lnTo>
                    <a:pt x="1238111" y="200876"/>
                  </a:lnTo>
                  <a:lnTo>
                    <a:pt x="1238111" y="200228"/>
                  </a:lnTo>
                  <a:lnTo>
                    <a:pt x="1238212" y="200228"/>
                  </a:lnTo>
                  <a:lnTo>
                    <a:pt x="1238212" y="203594"/>
                  </a:lnTo>
                  <a:lnTo>
                    <a:pt x="1238212" y="202260"/>
                  </a:lnTo>
                  <a:lnTo>
                    <a:pt x="1238250" y="202260"/>
                  </a:lnTo>
                  <a:lnTo>
                    <a:pt x="1238250" y="202959"/>
                  </a:lnTo>
                  <a:lnTo>
                    <a:pt x="1238250" y="202260"/>
                  </a:lnTo>
                  <a:lnTo>
                    <a:pt x="1238250" y="202959"/>
                  </a:lnTo>
                  <a:lnTo>
                    <a:pt x="1238301" y="202959"/>
                  </a:lnTo>
                  <a:lnTo>
                    <a:pt x="1238301" y="202260"/>
                  </a:lnTo>
                  <a:lnTo>
                    <a:pt x="1238301" y="202959"/>
                  </a:lnTo>
                  <a:lnTo>
                    <a:pt x="1238301" y="202260"/>
                  </a:lnTo>
                  <a:lnTo>
                    <a:pt x="1238352" y="202959"/>
                  </a:lnTo>
                  <a:lnTo>
                    <a:pt x="1238352" y="203594"/>
                  </a:lnTo>
                  <a:lnTo>
                    <a:pt x="1238352" y="202959"/>
                  </a:lnTo>
                  <a:lnTo>
                    <a:pt x="1238352" y="203594"/>
                  </a:lnTo>
                  <a:lnTo>
                    <a:pt x="1238352" y="202959"/>
                  </a:lnTo>
                  <a:lnTo>
                    <a:pt x="1238352" y="203594"/>
                  </a:lnTo>
                  <a:lnTo>
                    <a:pt x="1238454" y="203594"/>
                  </a:lnTo>
                  <a:lnTo>
                    <a:pt x="1238454" y="202959"/>
                  </a:lnTo>
                  <a:lnTo>
                    <a:pt x="1238454" y="203594"/>
                  </a:lnTo>
                  <a:lnTo>
                    <a:pt x="1238454" y="202959"/>
                  </a:lnTo>
                  <a:lnTo>
                    <a:pt x="1238454" y="203594"/>
                  </a:lnTo>
                  <a:lnTo>
                    <a:pt x="1238454" y="202959"/>
                  </a:lnTo>
                  <a:lnTo>
                    <a:pt x="1238505" y="202959"/>
                  </a:lnTo>
                  <a:lnTo>
                    <a:pt x="1238505" y="202260"/>
                  </a:lnTo>
                  <a:lnTo>
                    <a:pt x="1238505" y="202959"/>
                  </a:lnTo>
                  <a:lnTo>
                    <a:pt x="1238505" y="202260"/>
                  </a:lnTo>
                  <a:lnTo>
                    <a:pt x="1238505" y="202959"/>
                  </a:lnTo>
                  <a:lnTo>
                    <a:pt x="1238505" y="202260"/>
                  </a:lnTo>
                  <a:lnTo>
                    <a:pt x="1238555" y="202260"/>
                  </a:lnTo>
                  <a:lnTo>
                    <a:pt x="1238555" y="200228"/>
                  </a:lnTo>
                  <a:lnTo>
                    <a:pt x="1238555" y="202260"/>
                  </a:lnTo>
                  <a:lnTo>
                    <a:pt x="1238657" y="202959"/>
                  </a:lnTo>
                  <a:lnTo>
                    <a:pt x="1238657" y="200876"/>
                  </a:lnTo>
                  <a:lnTo>
                    <a:pt x="1238657" y="202260"/>
                  </a:lnTo>
                  <a:lnTo>
                    <a:pt x="1238657" y="200876"/>
                  </a:lnTo>
                  <a:lnTo>
                    <a:pt x="1238657" y="204292"/>
                  </a:lnTo>
                  <a:lnTo>
                    <a:pt x="1238708" y="204292"/>
                  </a:lnTo>
                  <a:lnTo>
                    <a:pt x="1238708" y="202959"/>
                  </a:lnTo>
                  <a:lnTo>
                    <a:pt x="1238708" y="203594"/>
                  </a:lnTo>
                  <a:lnTo>
                    <a:pt x="1238708" y="202959"/>
                  </a:lnTo>
                  <a:lnTo>
                    <a:pt x="1238708" y="203594"/>
                  </a:lnTo>
                  <a:lnTo>
                    <a:pt x="1238759" y="203594"/>
                  </a:lnTo>
                  <a:lnTo>
                    <a:pt x="1238759" y="202959"/>
                  </a:lnTo>
                  <a:lnTo>
                    <a:pt x="1238759" y="203594"/>
                  </a:lnTo>
                  <a:lnTo>
                    <a:pt x="1238797" y="203594"/>
                  </a:lnTo>
                  <a:lnTo>
                    <a:pt x="1238797" y="204292"/>
                  </a:lnTo>
                  <a:lnTo>
                    <a:pt x="1238797" y="203594"/>
                  </a:lnTo>
                  <a:lnTo>
                    <a:pt x="1238797" y="204292"/>
                  </a:lnTo>
                  <a:lnTo>
                    <a:pt x="1238898" y="204292"/>
                  </a:lnTo>
                  <a:lnTo>
                    <a:pt x="1238898" y="203594"/>
                  </a:lnTo>
                  <a:lnTo>
                    <a:pt x="1238949" y="203594"/>
                  </a:lnTo>
                  <a:lnTo>
                    <a:pt x="1238949" y="202959"/>
                  </a:lnTo>
                  <a:lnTo>
                    <a:pt x="1238949" y="203594"/>
                  </a:lnTo>
                  <a:lnTo>
                    <a:pt x="1238949" y="202959"/>
                  </a:lnTo>
                  <a:lnTo>
                    <a:pt x="1238949" y="203594"/>
                  </a:lnTo>
                  <a:lnTo>
                    <a:pt x="1238949" y="202959"/>
                  </a:lnTo>
                  <a:lnTo>
                    <a:pt x="1239000" y="202959"/>
                  </a:lnTo>
                  <a:lnTo>
                    <a:pt x="1239000" y="200876"/>
                  </a:lnTo>
                  <a:lnTo>
                    <a:pt x="1239000" y="202260"/>
                  </a:lnTo>
                  <a:lnTo>
                    <a:pt x="1239101" y="202260"/>
                  </a:lnTo>
                  <a:lnTo>
                    <a:pt x="1239101" y="200228"/>
                  </a:lnTo>
                  <a:lnTo>
                    <a:pt x="1239101" y="202260"/>
                  </a:lnTo>
                  <a:lnTo>
                    <a:pt x="1239152" y="202260"/>
                  </a:lnTo>
                  <a:lnTo>
                    <a:pt x="1239152" y="200876"/>
                  </a:lnTo>
                  <a:lnTo>
                    <a:pt x="1239152" y="203594"/>
                  </a:lnTo>
                  <a:lnTo>
                    <a:pt x="1239152" y="202959"/>
                  </a:lnTo>
                  <a:lnTo>
                    <a:pt x="1239152" y="203594"/>
                  </a:lnTo>
                  <a:lnTo>
                    <a:pt x="1239152" y="202959"/>
                  </a:lnTo>
                  <a:lnTo>
                    <a:pt x="1239203" y="202959"/>
                  </a:lnTo>
                  <a:lnTo>
                    <a:pt x="1239203" y="202260"/>
                  </a:lnTo>
                  <a:lnTo>
                    <a:pt x="1239203" y="202959"/>
                  </a:lnTo>
                  <a:lnTo>
                    <a:pt x="1239203" y="202260"/>
                  </a:lnTo>
                  <a:lnTo>
                    <a:pt x="1239203" y="202959"/>
                  </a:lnTo>
                  <a:lnTo>
                    <a:pt x="1239203" y="202260"/>
                  </a:lnTo>
                  <a:lnTo>
                    <a:pt x="1239203" y="204292"/>
                  </a:lnTo>
                  <a:lnTo>
                    <a:pt x="1239203" y="202959"/>
                  </a:lnTo>
                  <a:lnTo>
                    <a:pt x="1239254" y="202959"/>
                  </a:lnTo>
                  <a:lnTo>
                    <a:pt x="1239254" y="203594"/>
                  </a:lnTo>
                  <a:lnTo>
                    <a:pt x="1239343" y="203594"/>
                  </a:lnTo>
                  <a:lnTo>
                    <a:pt x="1239343" y="204292"/>
                  </a:lnTo>
                  <a:lnTo>
                    <a:pt x="1239394" y="204292"/>
                  </a:lnTo>
                  <a:lnTo>
                    <a:pt x="1239394" y="203594"/>
                  </a:lnTo>
                  <a:lnTo>
                    <a:pt x="1239394" y="204292"/>
                  </a:lnTo>
                  <a:lnTo>
                    <a:pt x="1239394" y="203594"/>
                  </a:lnTo>
                  <a:lnTo>
                    <a:pt x="1239394" y="204292"/>
                  </a:lnTo>
                  <a:lnTo>
                    <a:pt x="1239394" y="203594"/>
                  </a:lnTo>
                  <a:lnTo>
                    <a:pt x="1239394" y="204292"/>
                  </a:lnTo>
                  <a:lnTo>
                    <a:pt x="1239394" y="203594"/>
                  </a:lnTo>
                  <a:lnTo>
                    <a:pt x="1239444" y="204292"/>
                  </a:lnTo>
                  <a:lnTo>
                    <a:pt x="1239444" y="202959"/>
                  </a:lnTo>
                  <a:lnTo>
                    <a:pt x="1239495" y="202959"/>
                  </a:lnTo>
                  <a:lnTo>
                    <a:pt x="1239495" y="200876"/>
                  </a:lnTo>
                  <a:lnTo>
                    <a:pt x="1239495" y="202260"/>
                  </a:lnTo>
                  <a:lnTo>
                    <a:pt x="1239495" y="200876"/>
                  </a:lnTo>
                  <a:lnTo>
                    <a:pt x="1239597" y="200228"/>
                  </a:lnTo>
                  <a:lnTo>
                    <a:pt x="1239597" y="202959"/>
                  </a:lnTo>
                  <a:lnTo>
                    <a:pt x="1239597" y="200228"/>
                  </a:lnTo>
                  <a:lnTo>
                    <a:pt x="1239597" y="200876"/>
                  </a:lnTo>
                  <a:lnTo>
                    <a:pt x="1239647" y="200876"/>
                  </a:lnTo>
                  <a:lnTo>
                    <a:pt x="1239647" y="202959"/>
                  </a:lnTo>
                  <a:lnTo>
                    <a:pt x="1239647" y="202260"/>
                  </a:lnTo>
                  <a:lnTo>
                    <a:pt x="1239698" y="202260"/>
                  </a:lnTo>
                  <a:lnTo>
                    <a:pt x="1239698" y="203594"/>
                  </a:lnTo>
                  <a:lnTo>
                    <a:pt x="1239698" y="202260"/>
                  </a:lnTo>
                  <a:lnTo>
                    <a:pt x="1239698" y="202959"/>
                  </a:lnTo>
                  <a:lnTo>
                    <a:pt x="1239800" y="202959"/>
                  </a:lnTo>
                  <a:lnTo>
                    <a:pt x="1239800" y="203594"/>
                  </a:lnTo>
                  <a:lnTo>
                    <a:pt x="1239800" y="202959"/>
                  </a:lnTo>
                  <a:lnTo>
                    <a:pt x="1239800" y="203594"/>
                  </a:lnTo>
                  <a:lnTo>
                    <a:pt x="1239838" y="203594"/>
                  </a:lnTo>
                  <a:lnTo>
                    <a:pt x="1239838" y="204292"/>
                  </a:lnTo>
                  <a:lnTo>
                    <a:pt x="1239838" y="203594"/>
                  </a:lnTo>
                  <a:lnTo>
                    <a:pt x="1239838" y="204292"/>
                  </a:lnTo>
                  <a:lnTo>
                    <a:pt x="1239889" y="204292"/>
                  </a:lnTo>
                  <a:lnTo>
                    <a:pt x="1239889" y="203594"/>
                  </a:lnTo>
                  <a:lnTo>
                    <a:pt x="1239889" y="204292"/>
                  </a:lnTo>
                  <a:lnTo>
                    <a:pt x="1239889" y="203594"/>
                  </a:lnTo>
                  <a:lnTo>
                    <a:pt x="1239889" y="204292"/>
                  </a:lnTo>
                  <a:lnTo>
                    <a:pt x="1239889" y="203594"/>
                  </a:lnTo>
                  <a:lnTo>
                    <a:pt x="1239940" y="203594"/>
                  </a:lnTo>
                  <a:lnTo>
                    <a:pt x="1239940" y="202959"/>
                  </a:lnTo>
                  <a:lnTo>
                    <a:pt x="1240041" y="202260"/>
                  </a:lnTo>
                  <a:lnTo>
                    <a:pt x="1240041" y="200876"/>
                  </a:lnTo>
                  <a:lnTo>
                    <a:pt x="1240092" y="200876"/>
                  </a:lnTo>
                  <a:lnTo>
                    <a:pt x="1240092" y="199530"/>
                  </a:lnTo>
                  <a:lnTo>
                    <a:pt x="1240092" y="200876"/>
                  </a:lnTo>
                  <a:lnTo>
                    <a:pt x="1240143" y="200228"/>
                  </a:lnTo>
                  <a:lnTo>
                    <a:pt x="1240143" y="199530"/>
                  </a:lnTo>
                  <a:lnTo>
                    <a:pt x="1240143" y="202260"/>
                  </a:lnTo>
                  <a:lnTo>
                    <a:pt x="1240143" y="200228"/>
                  </a:lnTo>
                  <a:lnTo>
                    <a:pt x="1240143" y="200876"/>
                  </a:lnTo>
                  <a:lnTo>
                    <a:pt x="1240244" y="200876"/>
                  </a:lnTo>
                  <a:lnTo>
                    <a:pt x="1240244" y="202959"/>
                  </a:lnTo>
                  <a:lnTo>
                    <a:pt x="1240244" y="202260"/>
                  </a:lnTo>
                  <a:lnTo>
                    <a:pt x="1240244" y="202959"/>
                  </a:lnTo>
                  <a:lnTo>
                    <a:pt x="1240244" y="202260"/>
                  </a:lnTo>
                  <a:lnTo>
                    <a:pt x="1240244" y="202959"/>
                  </a:lnTo>
                  <a:lnTo>
                    <a:pt x="1240244" y="200876"/>
                  </a:lnTo>
                  <a:lnTo>
                    <a:pt x="1240295" y="200876"/>
                  </a:lnTo>
                  <a:lnTo>
                    <a:pt x="1240295" y="202959"/>
                  </a:lnTo>
                  <a:lnTo>
                    <a:pt x="1240346" y="202959"/>
                  </a:lnTo>
                  <a:lnTo>
                    <a:pt x="1240346" y="203594"/>
                  </a:lnTo>
                  <a:lnTo>
                    <a:pt x="1240384" y="203594"/>
                  </a:lnTo>
                  <a:lnTo>
                    <a:pt x="1240384" y="202959"/>
                  </a:lnTo>
                  <a:lnTo>
                    <a:pt x="1240384" y="203594"/>
                  </a:lnTo>
                  <a:lnTo>
                    <a:pt x="1240384" y="202959"/>
                  </a:lnTo>
                  <a:lnTo>
                    <a:pt x="1240384" y="203594"/>
                  </a:lnTo>
                  <a:lnTo>
                    <a:pt x="1240486" y="203594"/>
                  </a:lnTo>
                  <a:lnTo>
                    <a:pt x="1240486" y="202959"/>
                  </a:lnTo>
                  <a:lnTo>
                    <a:pt x="1240486" y="203594"/>
                  </a:lnTo>
                  <a:lnTo>
                    <a:pt x="1240486" y="202260"/>
                  </a:lnTo>
                  <a:lnTo>
                    <a:pt x="1240537" y="202260"/>
                  </a:lnTo>
                  <a:lnTo>
                    <a:pt x="1240537" y="202959"/>
                  </a:lnTo>
                  <a:lnTo>
                    <a:pt x="1240537" y="200876"/>
                  </a:lnTo>
                  <a:lnTo>
                    <a:pt x="1240537" y="202260"/>
                  </a:lnTo>
                  <a:lnTo>
                    <a:pt x="1240537" y="200228"/>
                  </a:lnTo>
                  <a:lnTo>
                    <a:pt x="1240587" y="199530"/>
                  </a:lnTo>
                  <a:lnTo>
                    <a:pt x="1240587" y="200876"/>
                  </a:lnTo>
                  <a:lnTo>
                    <a:pt x="1240587" y="199530"/>
                  </a:lnTo>
                  <a:lnTo>
                    <a:pt x="1240587" y="200228"/>
                  </a:lnTo>
                  <a:lnTo>
                    <a:pt x="1240689" y="200228"/>
                  </a:lnTo>
                  <a:lnTo>
                    <a:pt x="1240689" y="202260"/>
                  </a:lnTo>
                  <a:lnTo>
                    <a:pt x="1240689" y="200228"/>
                  </a:lnTo>
                  <a:lnTo>
                    <a:pt x="1240689" y="200876"/>
                  </a:lnTo>
                  <a:lnTo>
                    <a:pt x="1240740" y="200876"/>
                  </a:lnTo>
                  <a:lnTo>
                    <a:pt x="1240740" y="202260"/>
                  </a:lnTo>
                  <a:lnTo>
                    <a:pt x="1240740" y="200876"/>
                  </a:lnTo>
                  <a:lnTo>
                    <a:pt x="1240740" y="202260"/>
                  </a:lnTo>
                  <a:lnTo>
                    <a:pt x="1240740" y="200876"/>
                  </a:lnTo>
                  <a:lnTo>
                    <a:pt x="1240740" y="202260"/>
                  </a:lnTo>
                  <a:lnTo>
                    <a:pt x="1240790" y="202260"/>
                  </a:lnTo>
                  <a:lnTo>
                    <a:pt x="1240790" y="200876"/>
                  </a:lnTo>
                  <a:lnTo>
                    <a:pt x="1240790" y="202260"/>
                  </a:lnTo>
                  <a:lnTo>
                    <a:pt x="1240841" y="202959"/>
                  </a:lnTo>
                  <a:lnTo>
                    <a:pt x="1240841" y="202260"/>
                  </a:lnTo>
                  <a:lnTo>
                    <a:pt x="1240841" y="202959"/>
                  </a:lnTo>
                  <a:lnTo>
                    <a:pt x="1240841" y="202260"/>
                  </a:lnTo>
                  <a:lnTo>
                    <a:pt x="1240930" y="202260"/>
                  </a:lnTo>
                  <a:lnTo>
                    <a:pt x="1240930" y="202959"/>
                  </a:lnTo>
                  <a:lnTo>
                    <a:pt x="1240930" y="202260"/>
                  </a:lnTo>
                  <a:lnTo>
                    <a:pt x="1240930" y="202959"/>
                  </a:lnTo>
                  <a:lnTo>
                    <a:pt x="1240930" y="202260"/>
                  </a:lnTo>
                  <a:lnTo>
                    <a:pt x="1240930" y="202959"/>
                  </a:lnTo>
                  <a:lnTo>
                    <a:pt x="1240981" y="202959"/>
                  </a:lnTo>
                  <a:lnTo>
                    <a:pt x="1240981" y="202260"/>
                  </a:lnTo>
                  <a:lnTo>
                    <a:pt x="1240981" y="202959"/>
                  </a:lnTo>
                  <a:lnTo>
                    <a:pt x="1240981" y="202260"/>
                  </a:lnTo>
                  <a:lnTo>
                    <a:pt x="1240981" y="202959"/>
                  </a:lnTo>
                  <a:lnTo>
                    <a:pt x="1240981" y="202260"/>
                  </a:lnTo>
                  <a:lnTo>
                    <a:pt x="1240981" y="202959"/>
                  </a:lnTo>
                  <a:lnTo>
                    <a:pt x="1240981" y="202260"/>
                  </a:lnTo>
                  <a:lnTo>
                    <a:pt x="1240981" y="202959"/>
                  </a:lnTo>
                  <a:lnTo>
                    <a:pt x="1240981" y="202260"/>
                  </a:lnTo>
                  <a:lnTo>
                    <a:pt x="1241032" y="202260"/>
                  </a:lnTo>
                  <a:lnTo>
                    <a:pt x="1241032" y="200876"/>
                  </a:lnTo>
                  <a:lnTo>
                    <a:pt x="1241032" y="202260"/>
                  </a:lnTo>
                  <a:lnTo>
                    <a:pt x="1241032" y="200228"/>
                  </a:lnTo>
                  <a:lnTo>
                    <a:pt x="1241032" y="202260"/>
                  </a:lnTo>
                  <a:lnTo>
                    <a:pt x="1241083" y="200876"/>
                  </a:lnTo>
                  <a:lnTo>
                    <a:pt x="1241083" y="202260"/>
                  </a:lnTo>
                  <a:lnTo>
                    <a:pt x="1241083" y="200228"/>
                  </a:lnTo>
                  <a:lnTo>
                    <a:pt x="1241083" y="202959"/>
                  </a:lnTo>
                  <a:lnTo>
                    <a:pt x="1241184" y="202959"/>
                  </a:lnTo>
                  <a:lnTo>
                    <a:pt x="1241184" y="202260"/>
                  </a:lnTo>
                  <a:lnTo>
                    <a:pt x="1241184" y="202959"/>
                  </a:lnTo>
                  <a:lnTo>
                    <a:pt x="1241235" y="202959"/>
                  </a:lnTo>
                  <a:lnTo>
                    <a:pt x="1241235" y="203594"/>
                  </a:lnTo>
                  <a:lnTo>
                    <a:pt x="1241235" y="202959"/>
                  </a:lnTo>
                  <a:lnTo>
                    <a:pt x="1241235" y="203594"/>
                  </a:lnTo>
                  <a:lnTo>
                    <a:pt x="1241235" y="202959"/>
                  </a:lnTo>
                  <a:lnTo>
                    <a:pt x="1241235" y="203594"/>
                  </a:lnTo>
                  <a:lnTo>
                    <a:pt x="1241235" y="202959"/>
                  </a:lnTo>
                  <a:lnTo>
                    <a:pt x="1241235" y="203594"/>
                  </a:lnTo>
                  <a:lnTo>
                    <a:pt x="1241235" y="202959"/>
                  </a:lnTo>
                  <a:lnTo>
                    <a:pt x="1241286" y="202959"/>
                  </a:lnTo>
                  <a:lnTo>
                    <a:pt x="1241286" y="203594"/>
                  </a:lnTo>
                  <a:lnTo>
                    <a:pt x="1241286" y="202959"/>
                  </a:lnTo>
                  <a:lnTo>
                    <a:pt x="1241286" y="203594"/>
                  </a:lnTo>
                  <a:lnTo>
                    <a:pt x="1241286" y="202959"/>
                  </a:lnTo>
                  <a:lnTo>
                    <a:pt x="1241286" y="203594"/>
                  </a:lnTo>
                  <a:lnTo>
                    <a:pt x="1241387" y="203594"/>
                  </a:lnTo>
                  <a:lnTo>
                    <a:pt x="1241387" y="202959"/>
                  </a:lnTo>
                  <a:lnTo>
                    <a:pt x="1241425" y="202959"/>
                  </a:lnTo>
                  <a:lnTo>
                    <a:pt x="1241425" y="203594"/>
                  </a:lnTo>
                  <a:lnTo>
                    <a:pt x="1241425" y="202959"/>
                  </a:lnTo>
                  <a:lnTo>
                    <a:pt x="1241476" y="202959"/>
                  </a:lnTo>
                  <a:lnTo>
                    <a:pt x="1241476" y="202260"/>
                  </a:lnTo>
                  <a:lnTo>
                    <a:pt x="1241476" y="202959"/>
                  </a:lnTo>
                  <a:lnTo>
                    <a:pt x="1241476" y="200228"/>
                  </a:lnTo>
                  <a:lnTo>
                    <a:pt x="1241527" y="200228"/>
                  </a:lnTo>
                  <a:lnTo>
                    <a:pt x="1241527" y="200876"/>
                  </a:lnTo>
                  <a:lnTo>
                    <a:pt x="1241527" y="200228"/>
                  </a:lnTo>
                  <a:lnTo>
                    <a:pt x="1241527" y="200876"/>
                  </a:lnTo>
                  <a:lnTo>
                    <a:pt x="1241527" y="200228"/>
                  </a:lnTo>
                  <a:lnTo>
                    <a:pt x="1241527" y="202959"/>
                  </a:lnTo>
                  <a:lnTo>
                    <a:pt x="1241527" y="200876"/>
                  </a:lnTo>
                  <a:lnTo>
                    <a:pt x="1241629" y="202260"/>
                  </a:lnTo>
                  <a:lnTo>
                    <a:pt x="1241629" y="200876"/>
                  </a:lnTo>
                  <a:lnTo>
                    <a:pt x="1241629" y="202260"/>
                  </a:lnTo>
                  <a:lnTo>
                    <a:pt x="1241629" y="200876"/>
                  </a:lnTo>
                  <a:lnTo>
                    <a:pt x="1241629" y="203594"/>
                  </a:lnTo>
                  <a:lnTo>
                    <a:pt x="1241629" y="202260"/>
                  </a:lnTo>
                  <a:lnTo>
                    <a:pt x="1241680" y="202260"/>
                  </a:lnTo>
                  <a:lnTo>
                    <a:pt x="1241680" y="204292"/>
                  </a:lnTo>
                  <a:lnTo>
                    <a:pt x="1241680" y="203594"/>
                  </a:lnTo>
                  <a:lnTo>
                    <a:pt x="1241730" y="203594"/>
                  </a:lnTo>
                  <a:lnTo>
                    <a:pt x="1241730" y="204292"/>
                  </a:lnTo>
                  <a:lnTo>
                    <a:pt x="1241730" y="203594"/>
                  </a:lnTo>
                  <a:lnTo>
                    <a:pt x="1241730" y="204292"/>
                  </a:lnTo>
                  <a:lnTo>
                    <a:pt x="1241730" y="203594"/>
                  </a:lnTo>
                  <a:lnTo>
                    <a:pt x="1241832" y="203594"/>
                  </a:lnTo>
                  <a:lnTo>
                    <a:pt x="1241832" y="204292"/>
                  </a:lnTo>
                  <a:lnTo>
                    <a:pt x="1241832" y="203594"/>
                  </a:lnTo>
                  <a:lnTo>
                    <a:pt x="1241832" y="204292"/>
                  </a:lnTo>
                  <a:lnTo>
                    <a:pt x="1241832" y="203594"/>
                  </a:lnTo>
                  <a:lnTo>
                    <a:pt x="1241883" y="203594"/>
                  </a:lnTo>
                  <a:lnTo>
                    <a:pt x="1241883" y="204292"/>
                  </a:lnTo>
                  <a:lnTo>
                    <a:pt x="1241883" y="202959"/>
                  </a:lnTo>
                  <a:lnTo>
                    <a:pt x="1241883" y="203594"/>
                  </a:lnTo>
                  <a:lnTo>
                    <a:pt x="1241883" y="202959"/>
                  </a:lnTo>
                  <a:lnTo>
                    <a:pt x="1241883" y="203594"/>
                  </a:lnTo>
                  <a:lnTo>
                    <a:pt x="1241883" y="202959"/>
                  </a:lnTo>
                  <a:lnTo>
                    <a:pt x="1241883" y="203594"/>
                  </a:lnTo>
                  <a:lnTo>
                    <a:pt x="1241934" y="202959"/>
                  </a:lnTo>
                  <a:lnTo>
                    <a:pt x="1241934" y="203594"/>
                  </a:lnTo>
                  <a:lnTo>
                    <a:pt x="1241934" y="202260"/>
                  </a:lnTo>
                  <a:lnTo>
                    <a:pt x="1241934" y="202959"/>
                  </a:lnTo>
                  <a:lnTo>
                    <a:pt x="1241972" y="202260"/>
                  </a:lnTo>
                  <a:lnTo>
                    <a:pt x="1241972" y="202959"/>
                  </a:lnTo>
                  <a:lnTo>
                    <a:pt x="1241972" y="200228"/>
                  </a:lnTo>
                  <a:lnTo>
                    <a:pt x="1241972" y="200876"/>
                  </a:lnTo>
                  <a:lnTo>
                    <a:pt x="1241972" y="200228"/>
                  </a:lnTo>
                  <a:lnTo>
                    <a:pt x="1242073" y="200228"/>
                  </a:lnTo>
                  <a:lnTo>
                    <a:pt x="1242073" y="198831"/>
                  </a:lnTo>
                  <a:lnTo>
                    <a:pt x="1242073" y="200876"/>
                  </a:lnTo>
                  <a:lnTo>
                    <a:pt x="1242073" y="199530"/>
                  </a:lnTo>
                  <a:lnTo>
                    <a:pt x="1242124" y="199530"/>
                  </a:lnTo>
                  <a:lnTo>
                    <a:pt x="1242124" y="202260"/>
                  </a:lnTo>
                  <a:lnTo>
                    <a:pt x="1242124" y="200876"/>
                  </a:lnTo>
                  <a:lnTo>
                    <a:pt x="1242175" y="200876"/>
                  </a:lnTo>
                  <a:lnTo>
                    <a:pt x="1242175" y="202959"/>
                  </a:lnTo>
                  <a:lnTo>
                    <a:pt x="1242276" y="202959"/>
                  </a:lnTo>
                  <a:lnTo>
                    <a:pt x="1242276" y="203594"/>
                  </a:lnTo>
                  <a:lnTo>
                    <a:pt x="1242276" y="202959"/>
                  </a:lnTo>
                  <a:lnTo>
                    <a:pt x="1242276" y="203594"/>
                  </a:lnTo>
                  <a:lnTo>
                    <a:pt x="1242276" y="202959"/>
                  </a:lnTo>
                  <a:lnTo>
                    <a:pt x="1242327" y="202959"/>
                  </a:lnTo>
                  <a:lnTo>
                    <a:pt x="1242327" y="203594"/>
                  </a:lnTo>
                  <a:lnTo>
                    <a:pt x="1242327" y="202959"/>
                  </a:lnTo>
                  <a:lnTo>
                    <a:pt x="1242327" y="203594"/>
                  </a:lnTo>
                  <a:lnTo>
                    <a:pt x="1242327" y="202959"/>
                  </a:lnTo>
                  <a:lnTo>
                    <a:pt x="1242327" y="203594"/>
                  </a:lnTo>
                  <a:lnTo>
                    <a:pt x="1242378" y="203594"/>
                  </a:lnTo>
                  <a:lnTo>
                    <a:pt x="1242378" y="202959"/>
                  </a:lnTo>
                  <a:lnTo>
                    <a:pt x="1242378" y="203594"/>
                  </a:lnTo>
                  <a:lnTo>
                    <a:pt x="1242378" y="202959"/>
                  </a:lnTo>
                  <a:lnTo>
                    <a:pt x="1242378" y="203594"/>
                  </a:lnTo>
                  <a:lnTo>
                    <a:pt x="1242429" y="203594"/>
                  </a:lnTo>
                  <a:lnTo>
                    <a:pt x="1242429" y="202959"/>
                  </a:lnTo>
                  <a:lnTo>
                    <a:pt x="1242429" y="203594"/>
                  </a:lnTo>
                  <a:lnTo>
                    <a:pt x="1242429" y="202959"/>
                  </a:lnTo>
                  <a:lnTo>
                    <a:pt x="1242518" y="202959"/>
                  </a:lnTo>
                  <a:lnTo>
                    <a:pt x="1242518" y="200876"/>
                  </a:lnTo>
                  <a:lnTo>
                    <a:pt x="1242518" y="202260"/>
                  </a:lnTo>
                  <a:lnTo>
                    <a:pt x="1242518" y="200876"/>
                  </a:lnTo>
                  <a:lnTo>
                    <a:pt x="1242518" y="202260"/>
                  </a:lnTo>
                  <a:lnTo>
                    <a:pt x="1242518" y="199530"/>
                  </a:lnTo>
                  <a:lnTo>
                    <a:pt x="1242518" y="200228"/>
                  </a:lnTo>
                  <a:lnTo>
                    <a:pt x="1242518" y="199530"/>
                  </a:lnTo>
                  <a:lnTo>
                    <a:pt x="1242569" y="199530"/>
                  </a:lnTo>
                  <a:lnTo>
                    <a:pt x="1242569" y="198831"/>
                  </a:lnTo>
                  <a:lnTo>
                    <a:pt x="1242569" y="200876"/>
                  </a:lnTo>
                  <a:lnTo>
                    <a:pt x="1242569" y="199530"/>
                  </a:lnTo>
                  <a:lnTo>
                    <a:pt x="1242619" y="199530"/>
                  </a:lnTo>
                  <a:lnTo>
                    <a:pt x="1242619" y="202260"/>
                  </a:lnTo>
                  <a:lnTo>
                    <a:pt x="1242619" y="200876"/>
                  </a:lnTo>
                  <a:lnTo>
                    <a:pt x="1242619" y="202260"/>
                  </a:lnTo>
                  <a:lnTo>
                    <a:pt x="1242670" y="202260"/>
                  </a:lnTo>
                  <a:lnTo>
                    <a:pt x="1242670" y="202959"/>
                  </a:lnTo>
                  <a:lnTo>
                    <a:pt x="1242670" y="202260"/>
                  </a:lnTo>
                  <a:lnTo>
                    <a:pt x="1242772" y="202260"/>
                  </a:lnTo>
                  <a:lnTo>
                    <a:pt x="1242772" y="203594"/>
                  </a:lnTo>
                  <a:lnTo>
                    <a:pt x="1242772" y="202959"/>
                  </a:lnTo>
                  <a:lnTo>
                    <a:pt x="1242822" y="203594"/>
                  </a:lnTo>
                  <a:lnTo>
                    <a:pt x="1242822" y="202959"/>
                  </a:lnTo>
                  <a:lnTo>
                    <a:pt x="1242822" y="203594"/>
                  </a:lnTo>
                  <a:lnTo>
                    <a:pt x="1242822" y="202959"/>
                  </a:lnTo>
                  <a:lnTo>
                    <a:pt x="1242822" y="204292"/>
                  </a:lnTo>
                  <a:lnTo>
                    <a:pt x="1242822" y="203594"/>
                  </a:lnTo>
                  <a:lnTo>
                    <a:pt x="1242873" y="203594"/>
                  </a:lnTo>
                  <a:lnTo>
                    <a:pt x="1242873" y="204292"/>
                  </a:lnTo>
                  <a:lnTo>
                    <a:pt x="1242873" y="203594"/>
                  </a:lnTo>
                  <a:lnTo>
                    <a:pt x="1242873" y="204292"/>
                  </a:lnTo>
                  <a:lnTo>
                    <a:pt x="1242975" y="204292"/>
                  </a:lnTo>
                  <a:lnTo>
                    <a:pt x="1242975" y="203594"/>
                  </a:lnTo>
                  <a:lnTo>
                    <a:pt x="1242975" y="204292"/>
                  </a:lnTo>
                  <a:lnTo>
                    <a:pt x="1242975" y="203594"/>
                  </a:lnTo>
                  <a:lnTo>
                    <a:pt x="1242975" y="204292"/>
                  </a:lnTo>
                  <a:lnTo>
                    <a:pt x="1242975" y="203594"/>
                  </a:lnTo>
                  <a:lnTo>
                    <a:pt x="1242975" y="204292"/>
                  </a:lnTo>
                  <a:lnTo>
                    <a:pt x="1242975" y="203594"/>
                  </a:lnTo>
                  <a:lnTo>
                    <a:pt x="1242975" y="204292"/>
                  </a:lnTo>
                  <a:lnTo>
                    <a:pt x="1242975" y="203594"/>
                  </a:lnTo>
                  <a:lnTo>
                    <a:pt x="1243013" y="203594"/>
                  </a:lnTo>
                  <a:lnTo>
                    <a:pt x="1243013" y="200228"/>
                  </a:lnTo>
                  <a:lnTo>
                    <a:pt x="1243013" y="200876"/>
                  </a:lnTo>
                  <a:lnTo>
                    <a:pt x="1243013" y="200228"/>
                  </a:lnTo>
                  <a:lnTo>
                    <a:pt x="1243064" y="200228"/>
                  </a:lnTo>
                  <a:lnTo>
                    <a:pt x="1243064" y="199530"/>
                  </a:lnTo>
                  <a:lnTo>
                    <a:pt x="1243064" y="202260"/>
                  </a:lnTo>
                  <a:lnTo>
                    <a:pt x="1243064" y="200228"/>
                  </a:lnTo>
                  <a:lnTo>
                    <a:pt x="1243115" y="200228"/>
                  </a:lnTo>
                  <a:lnTo>
                    <a:pt x="1243115" y="200876"/>
                  </a:lnTo>
                  <a:lnTo>
                    <a:pt x="1243115" y="200228"/>
                  </a:lnTo>
                  <a:lnTo>
                    <a:pt x="1243115" y="203594"/>
                  </a:lnTo>
                  <a:lnTo>
                    <a:pt x="1243115" y="200876"/>
                  </a:lnTo>
                  <a:lnTo>
                    <a:pt x="1243216" y="200876"/>
                  </a:lnTo>
                  <a:lnTo>
                    <a:pt x="1243216" y="203594"/>
                  </a:lnTo>
                  <a:lnTo>
                    <a:pt x="1243216" y="202959"/>
                  </a:lnTo>
                  <a:lnTo>
                    <a:pt x="1243216" y="203594"/>
                  </a:lnTo>
                  <a:lnTo>
                    <a:pt x="1243216" y="202959"/>
                  </a:lnTo>
                  <a:lnTo>
                    <a:pt x="1243267" y="202959"/>
                  </a:lnTo>
                  <a:lnTo>
                    <a:pt x="1243267" y="202260"/>
                  </a:lnTo>
                  <a:lnTo>
                    <a:pt x="1243267" y="203594"/>
                  </a:lnTo>
                  <a:lnTo>
                    <a:pt x="1243267" y="202959"/>
                  </a:lnTo>
                  <a:lnTo>
                    <a:pt x="1243267" y="203594"/>
                  </a:lnTo>
                  <a:lnTo>
                    <a:pt x="1243267" y="202959"/>
                  </a:lnTo>
                  <a:lnTo>
                    <a:pt x="1243267" y="203594"/>
                  </a:lnTo>
                  <a:lnTo>
                    <a:pt x="1243267" y="202959"/>
                  </a:lnTo>
                  <a:lnTo>
                    <a:pt x="1243318" y="202959"/>
                  </a:lnTo>
                  <a:lnTo>
                    <a:pt x="1243318" y="204292"/>
                  </a:lnTo>
                  <a:lnTo>
                    <a:pt x="1243419" y="204292"/>
                  </a:lnTo>
                  <a:lnTo>
                    <a:pt x="1243419" y="206324"/>
                  </a:lnTo>
                  <a:lnTo>
                    <a:pt x="1243419" y="204990"/>
                  </a:lnTo>
                  <a:lnTo>
                    <a:pt x="1243419" y="206324"/>
                  </a:lnTo>
                  <a:lnTo>
                    <a:pt x="1243419" y="204990"/>
                  </a:lnTo>
                  <a:lnTo>
                    <a:pt x="1243470" y="204990"/>
                  </a:lnTo>
                  <a:lnTo>
                    <a:pt x="1243470" y="206324"/>
                  </a:lnTo>
                  <a:lnTo>
                    <a:pt x="1243470" y="204292"/>
                  </a:lnTo>
                  <a:lnTo>
                    <a:pt x="1243470" y="204990"/>
                  </a:lnTo>
                  <a:lnTo>
                    <a:pt x="1243521" y="204990"/>
                  </a:lnTo>
                  <a:lnTo>
                    <a:pt x="1243521" y="202959"/>
                  </a:lnTo>
                  <a:lnTo>
                    <a:pt x="1243521" y="203594"/>
                  </a:lnTo>
                  <a:lnTo>
                    <a:pt x="1243521" y="202959"/>
                  </a:lnTo>
                  <a:lnTo>
                    <a:pt x="1243521" y="203594"/>
                  </a:lnTo>
                  <a:lnTo>
                    <a:pt x="1243559" y="203594"/>
                  </a:lnTo>
                  <a:lnTo>
                    <a:pt x="1243559" y="202959"/>
                  </a:lnTo>
                  <a:lnTo>
                    <a:pt x="1243559" y="203594"/>
                  </a:lnTo>
                  <a:lnTo>
                    <a:pt x="1243559" y="202959"/>
                  </a:lnTo>
                  <a:lnTo>
                    <a:pt x="1243661" y="202959"/>
                  </a:lnTo>
                  <a:lnTo>
                    <a:pt x="1243661" y="200876"/>
                  </a:lnTo>
                  <a:lnTo>
                    <a:pt x="1243661" y="203594"/>
                  </a:lnTo>
                  <a:lnTo>
                    <a:pt x="1243661" y="202959"/>
                  </a:lnTo>
                  <a:lnTo>
                    <a:pt x="1243712" y="203594"/>
                  </a:lnTo>
                  <a:lnTo>
                    <a:pt x="1243712" y="204292"/>
                  </a:lnTo>
                  <a:lnTo>
                    <a:pt x="1243712" y="203594"/>
                  </a:lnTo>
                  <a:lnTo>
                    <a:pt x="1243712" y="204292"/>
                  </a:lnTo>
                  <a:lnTo>
                    <a:pt x="1243712" y="203594"/>
                  </a:lnTo>
                  <a:lnTo>
                    <a:pt x="1243762" y="203594"/>
                  </a:lnTo>
                  <a:lnTo>
                    <a:pt x="1243762" y="204292"/>
                  </a:lnTo>
                  <a:lnTo>
                    <a:pt x="1243762" y="203594"/>
                  </a:lnTo>
                  <a:lnTo>
                    <a:pt x="1243762" y="204292"/>
                  </a:lnTo>
                  <a:lnTo>
                    <a:pt x="1243864" y="204292"/>
                  </a:lnTo>
                  <a:lnTo>
                    <a:pt x="1243864" y="206324"/>
                  </a:lnTo>
                  <a:lnTo>
                    <a:pt x="1243864" y="204990"/>
                  </a:lnTo>
                  <a:lnTo>
                    <a:pt x="1243864" y="206324"/>
                  </a:lnTo>
                  <a:lnTo>
                    <a:pt x="1243915" y="206324"/>
                  </a:lnTo>
                  <a:lnTo>
                    <a:pt x="1243915" y="207022"/>
                  </a:lnTo>
                  <a:lnTo>
                    <a:pt x="1243915" y="206324"/>
                  </a:lnTo>
                  <a:lnTo>
                    <a:pt x="1243915" y="207022"/>
                  </a:lnTo>
                  <a:lnTo>
                    <a:pt x="1243965" y="206324"/>
                  </a:lnTo>
                  <a:lnTo>
                    <a:pt x="1243965" y="207022"/>
                  </a:lnTo>
                  <a:lnTo>
                    <a:pt x="1243965" y="204990"/>
                  </a:lnTo>
                  <a:lnTo>
                    <a:pt x="1244016" y="204990"/>
                  </a:lnTo>
                  <a:lnTo>
                    <a:pt x="1244016" y="204292"/>
                  </a:lnTo>
                  <a:lnTo>
                    <a:pt x="1244016" y="204990"/>
                  </a:lnTo>
                  <a:lnTo>
                    <a:pt x="1244016" y="204292"/>
                  </a:lnTo>
                  <a:lnTo>
                    <a:pt x="1244105" y="204292"/>
                  </a:lnTo>
                  <a:lnTo>
                    <a:pt x="1244105" y="206324"/>
                  </a:lnTo>
                  <a:lnTo>
                    <a:pt x="1244105" y="204990"/>
                  </a:lnTo>
                  <a:lnTo>
                    <a:pt x="1244105" y="206324"/>
                  </a:lnTo>
                  <a:lnTo>
                    <a:pt x="1244156" y="206324"/>
                  </a:lnTo>
                  <a:lnTo>
                    <a:pt x="1244156" y="207721"/>
                  </a:lnTo>
                  <a:lnTo>
                    <a:pt x="1244156" y="206324"/>
                  </a:lnTo>
                  <a:lnTo>
                    <a:pt x="1244156" y="207022"/>
                  </a:lnTo>
                  <a:lnTo>
                    <a:pt x="1244207" y="207721"/>
                  </a:lnTo>
                  <a:lnTo>
                    <a:pt x="1244207" y="207022"/>
                  </a:lnTo>
                  <a:lnTo>
                    <a:pt x="1244258" y="207022"/>
                  </a:lnTo>
                  <a:lnTo>
                    <a:pt x="1244258" y="206324"/>
                  </a:lnTo>
                  <a:lnTo>
                    <a:pt x="1244258" y="207721"/>
                  </a:lnTo>
                  <a:lnTo>
                    <a:pt x="1244258" y="207022"/>
                  </a:lnTo>
                  <a:lnTo>
                    <a:pt x="1244359" y="207721"/>
                  </a:lnTo>
                  <a:lnTo>
                    <a:pt x="1244410" y="207721"/>
                  </a:lnTo>
                  <a:lnTo>
                    <a:pt x="1244410" y="208407"/>
                  </a:lnTo>
                  <a:lnTo>
                    <a:pt x="1244410" y="207721"/>
                  </a:lnTo>
                  <a:lnTo>
                    <a:pt x="1244410" y="208407"/>
                  </a:lnTo>
                  <a:lnTo>
                    <a:pt x="1244410" y="207721"/>
                  </a:lnTo>
                  <a:lnTo>
                    <a:pt x="1244410" y="208407"/>
                  </a:lnTo>
                  <a:lnTo>
                    <a:pt x="1244461" y="208407"/>
                  </a:lnTo>
                  <a:lnTo>
                    <a:pt x="1244461" y="207022"/>
                  </a:lnTo>
                  <a:lnTo>
                    <a:pt x="1244461" y="207721"/>
                  </a:lnTo>
                  <a:lnTo>
                    <a:pt x="1244562" y="207721"/>
                  </a:lnTo>
                  <a:lnTo>
                    <a:pt x="1244562" y="206324"/>
                  </a:lnTo>
                  <a:lnTo>
                    <a:pt x="1244562" y="207022"/>
                  </a:lnTo>
                  <a:lnTo>
                    <a:pt x="1244562" y="206324"/>
                  </a:lnTo>
                  <a:lnTo>
                    <a:pt x="1244562" y="208407"/>
                  </a:lnTo>
                  <a:lnTo>
                    <a:pt x="1244600" y="208407"/>
                  </a:lnTo>
                  <a:lnTo>
                    <a:pt x="1244600" y="207721"/>
                  </a:lnTo>
                  <a:lnTo>
                    <a:pt x="1244600" y="210451"/>
                  </a:lnTo>
                  <a:lnTo>
                    <a:pt x="1244651" y="210451"/>
                  </a:lnTo>
                  <a:lnTo>
                    <a:pt x="1244651" y="208407"/>
                  </a:lnTo>
                  <a:lnTo>
                    <a:pt x="1244651" y="209753"/>
                  </a:lnTo>
                  <a:lnTo>
                    <a:pt x="1244651" y="208407"/>
                  </a:lnTo>
                  <a:lnTo>
                    <a:pt x="1244651" y="210451"/>
                  </a:lnTo>
                  <a:lnTo>
                    <a:pt x="1244651" y="209753"/>
                  </a:lnTo>
                  <a:lnTo>
                    <a:pt x="1244702" y="209753"/>
                  </a:lnTo>
                  <a:lnTo>
                    <a:pt x="1244702" y="210451"/>
                  </a:lnTo>
                  <a:lnTo>
                    <a:pt x="1244702" y="208407"/>
                  </a:lnTo>
                  <a:lnTo>
                    <a:pt x="1244702" y="209753"/>
                  </a:lnTo>
                  <a:lnTo>
                    <a:pt x="1244804" y="209753"/>
                  </a:lnTo>
                  <a:lnTo>
                    <a:pt x="1244804" y="210451"/>
                  </a:lnTo>
                  <a:lnTo>
                    <a:pt x="1244804" y="209753"/>
                  </a:lnTo>
                  <a:lnTo>
                    <a:pt x="1244855" y="209753"/>
                  </a:lnTo>
                  <a:lnTo>
                    <a:pt x="1244855" y="210451"/>
                  </a:lnTo>
                  <a:lnTo>
                    <a:pt x="1244855" y="209753"/>
                  </a:lnTo>
                  <a:lnTo>
                    <a:pt x="1244855" y="210451"/>
                  </a:lnTo>
                  <a:lnTo>
                    <a:pt x="1244855" y="209753"/>
                  </a:lnTo>
                  <a:lnTo>
                    <a:pt x="1244855" y="210451"/>
                  </a:lnTo>
                  <a:lnTo>
                    <a:pt x="1244905" y="210451"/>
                  </a:lnTo>
                  <a:lnTo>
                    <a:pt x="1244905" y="208407"/>
                  </a:lnTo>
                  <a:lnTo>
                    <a:pt x="1244905" y="209753"/>
                  </a:lnTo>
                  <a:lnTo>
                    <a:pt x="1244905" y="208407"/>
                  </a:lnTo>
                  <a:lnTo>
                    <a:pt x="1245007" y="208407"/>
                  </a:lnTo>
                  <a:lnTo>
                    <a:pt x="1245007" y="209753"/>
                  </a:lnTo>
                  <a:lnTo>
                    <a:pt x="1245007" y="208407"/>
                  </a:lnTo>
                  <a:lnTo>
                    <a:pt x="1245007" y="209753"/>
                  </a:lnTo>
                  <a:lnTo>
                    <a:pt x="1245007" y="207721"/>
                  </a:lnTo>
                  <a:lnTo>
                    <a:pt x="1245007" y="208407"/>
                  </a:lnTo>
                  <a:lnTo>
                    <a:pt x="1245007" y="207022"/>
                  </a:lnTo>
                  <a:lnTo>
                    <a:pt x="1245007" y="207721"/>
                  </a:lnTo>
                  <a:lnTo>
                    <a:pt x="1245007" y="207022"/>
                  </a:lnTo>
                  <a:lnTo>
                    <a:pt x="1245058" y="207721"/>
                  </a:lnTo>
                  <a:lnTo>
                    <a:pt x="1245058" y="208407"/>
                  </a:lnTo>
                  <a:lnTo>
                    <a:pt x="1245109" y="208407"/>
                  </a:lnTo>
                  <a:lnTo>
                    <a:pt x="1245109" y="207721"/>
                  </a:lnTo>
                  <a:lnTo>
                    <a:pt x="1245109" y="211137"/>
                  </a:lnTo>
                  <a:lnTo>
                    <a:pt x="1245109" y="210451"/>
                  </a:lnTo>
                  <a:lnTo>
                    <a:pt x="1245147" y="209753"/>
                  </a:lnTo>
                  <a:lnTo>
                    <a:pt x="1245147" y="210451"/>
                  </a:lnTo>
                  <a:lnTo>
                    <a:pt x="1245147" y="209753"/>
                  </a:lnTo>
                  <a:lnTo>
                    <a:pt x="1245147" y="211137"/>
                  </a:lnTo>
                  <a:lnTo>
                    <a:pt x="1245147" y="210451"/>
                  </a:lnTo>
                  <a:lnTo>
                    <a:pt x="1245147" y="211137"/>
                  </a:lnTo>
                  <a:lnTo>
                    <a:pt x="1245248" y="211137"/>
                  </a:lnTo>
                  <a:lnTo>
                    <a:pt x="1245248" y="210451"/>
                  </a:lnTo>
                  <a:lnTo>
                    <a:pt x="1245248" y="211785"/>
                  </a:lnTo>
                  <a:lnTo>
                    <a:pt x="1245248" y="211137"/>
                  </a:lnTo>
                  <a:lnTo>
                    <a:pt x="1245248" y="211785"/>
                  </a:lnTo>
                  <a:lnTo>
                    <a:pt x="1245248" y="211137"/>
                  </a:lnTo>
                  <a:lnTo>
                    <a:pt x="1245299" y="211785"/>
                  </a:lnTo>
                  <a:lnTo>
                    <a:pt x="1245299" y="212484"/>
                  </a:lnTo>
                  <a:lnTo>
                    <a:pt x="1245350" y="212484"/>
                  </a:lnTo>
                  <a:lnTo>
                    <a:pt x="1245350" y="211785"/>
                  </a:lnTo>
                  <a:lnTo>
                    <a:pt x="1245350" y="212484"/>
                  </a:lnTo>
                  <a:lnTo>
                    <a:pt x="1245350" y="211785"/>
                  </a:lnTo>
                  <a:lnTo>
                    <a:pt x="1245451" y="211785"/>
                  </a:lnTo>
                  <a:lnTo>
                    <a:pt x="1245451" y="211137"/>
                  </a:lnTo>
                  <a:lnTo>
                    <a:pt x="1245451" y="211785"/>
                  </a:lnTo>
                  <a:lnTo>
                    <a:pt x="1245451" y="211137"/>
                  </a:lnTo>
                  <a:lnTo>
                    <a:pt x="1245451" y="211785"/>
                  </a:lnTo>
                  <a:lnTo>
                    <a:pt x="1245451" y="211137"/>
                  </a:lnTo>
                  <a:lnTo>
                    <a:pt x="1245451" y="211785"/>
                  </a:lnTo>
                  <a:lnTo>
                    <a:pt x="1245451" y="211137"/>
                  </a:lnTo>
                  <a:lnTo>
                    <a:pt x="1245451" y="211785"/>
                  </a:lnTo>
                  <a:lnTo>
                    <a:pt x="1245451" y="211137"/>
                  </a:lnTo>
                  <a:lnTo>
                    <a:pt x="1245502" y="210451"/>
                  </a:lnTo>
                  <a:lnTo>
                    <a:pt x="1245502" y="208407"/>
                  </a:lnTo>
                  <a:lnTo>
                    <a:pt x="1245553" y="208407"/>
                  </a:lnTo>
                  <a:lnTo>
                    <a:pt x="1245553" y="210451"/>
                  </a:lnTo>
                  <a:lnTo>
                    <a:pt x="1245553" y="209753"/>
                  </a:lnTo>
                  <a:lnTo>
                    <a:pt x="1245604" y="209753"/>
                  </a:lnTo>
                  <a:lnTo>
                    <a:pt x="1245604" y="211785"/>
                  </a:lnTo>
                  <a:lnTo>
                    <a:pt x="1245604" y="211137"/>
                  </a:lnTo>
                  <a:lnTo>
                    <a:pt x="1245693" y="211137"/>
                  </a:lnTo>
                  <a:lnTo>
                    <a:pt x="1245693" y="212484"/>
                  </a:lnTo>
                  <a:lnTo>
                    <a:pt x="1245693" y="211785"/>
                  </a:lnTo>
                  <a:lnTo>
                    <a:pt x="1245744" y="211785"/>
                  </a:lnTo>
                  <a:lnTo>
                    <a:pt x="1245744" y="212484"/>
                  </a:lnTo>
                  <a:lnTo>
                    <a:pt x="1245744" y="211785"/>
                  </a:lnTo>
                  <a:lnTo>
                    <a:pt x="1245744" y="212484"/>
                  </a:lnTo>
                  <a:lnTo>
                    <a:pt x="1245744" y="211785"/>
                  </a:lnTo>
                  <a:lnTo>
                    <a:pt x="1245744" y="212484"/>
                  </a:lnTo>
                  <a:lnTo>
                    <a:pt x="1245794" y="212484"/>
                  </a:lnTo>
                  <a:lnTo>
                    <a:pt x="1245794" y="213868"/>
                  </a:lnTo>
                  <a:lnTo>
                    <a:pt x="1245794" y="212484"/>
                  </a:lnTo>
                  <a:lnTo>
                    <a:pt x="1245794" y="213868"/>
                  </a:lnTo>
                  <a:lnTo>
                    <a:pt x="1245794" y="212484"/>
                  </a:lnTo>
                  <a:lnTo>
                    <a:pt x="1245845" y="213868"/>
                  </a:lnTo>
                  <a:lnTo>
                    <a:pt x="1245845" y="212484"/>
                  </a:lnTo>
                  <a:lnTo>
                    <a:pt x="1245845" y="213868"/>
                  </a:lnTo>
                  <a:lnTo>
                    <a:pt x="1245845" y="212484"/>
                  </a:lnTo>
                  <a:lnTo>
                    <a:pt x="1245845" y="213868"/>
                  </a:lnTo>
                  <a:lnTo>
                    <a:pt x="1245845" y="212484"/>
                  </a:lnTo>
                  <a:lnTo>
                    <a:pt x="1245845" y="213868"/>
                  </a:lnTo>
                  <a:lnTo>
                    <a:pt x="1245845" y="212484"/>
                  </a:lnTo>
                  <a:lnTo>
                    <a:pt x="1245947" y="212484"/>
                  </a:lnTo>
                  <a:lnTo>
                    <a:pt x="1245947" y="211137"/>
                  </a:lnTo>
                  <a:lnTo>
                    <a:pt x="1245947" y="211785"/>
                  </a:lnTo>
                  <a:lnTo>
                    <a:pt x="1245947" y="211137"/>
                  </a:lnTo>
                  <a:lnTo>
                    <a:pt x="1245997" y="211137"/>
                  </a:lnTo>
                  <a:lnTo>
                    <a:pt x="1245997" y="211785"/>
                  </a:lnTo>
                  <a:lnTo>
                    <a:pt x="1245997" y="209753"/>
                  </a:lnTo>
                  <a:lnTo>
                    <a:pt x="1245997" y="210451"/>
                  </a:lnTo>
                  <a:lnTo>
                    <a:pt x="1245997" y="209753"/>
                  </a:lnTo>
                  <a:lnTo>
                    <a:pt x="1246048" y="209753"/>
                  </a:lnTo>
                  <a:lnTo>
                    <a:pt x="1246048" y="211137"/>
                  </a:lnTo>
                  <a:lnTo>
                    <a:pt x="1246048" y="209753"/>
                  </a:lnTo>
                  <a:lnTo>
                    <a:pt x="1246048" y="210451"/>
                  </a:lnTo>
                  <a:lnTo>
                    <a:pt x="1246150" y="210451"/>
                  </a:lnTo>
                  <a:lnTo>
                    <a:pt x="1246150" y="212484"/>
                  </a:lnTo>
                  <a:lnTo>
                    <a:pt x="1246150" y="211137"/>
                  </a:lnTo>
                  <a:lnTo>
                    <a:pt x="1246150" y="211785"/>
                  </a:lnTo>
                  <a:lnTo>
                    <a:pt x="1246150" y="211137"/>
                  </a:lnTo>
                  <a:lnTo>
                    <a:pt x="1246188" y="211785"/>
                  </a:lnTo>
                  <a:lnTo>
                    <a:pt x="1246188" y="211137"/>
                  </a:lnTo>
                  <a:lnTo>
                    <a:pt x="1246188" y="212484"/>
                  </a:lnTo>
                  <a:lnTo>
                    <a:pt x="1246239" y="212484"/>
                  </a:lnTo>
                  <a:lnTo>
                    <a:pt x="1246239" y="211785"/>
                  </a:lnTo>
                  <a:lnTo>
                    <a:pt x="1246239" y="212484"/>
                  </a:lnTo>
                  <a:lnTo>
                    <a:pt x="1246239" y="211785"/>
                  </a:lnTo>
                  <a:lnTo>
                    <a:pt x="1246239" y="212484"/>
                  </a:lnTo>
                  <a:lnTo>
                    <a:pt x="1246290" y="212484"/>
                  </a:lnTo>
                  <a:lnTo>
                    <a:pt x="1246290" y="213868"/>
                  </a:lnTo>
                  <a:lnTo>
                    <a:pt x="1246391" y="213868"/>
                  </a:lnTo>
                  <a:lnTo>
                    <a:pt x="1246391" y="214515"/>
                  </a:lnTo>
                  <a:lnTo>
                    <a:pt x="1246391" y="213868"/>
                  </a:lnTo>
                  <a:lnTo>
                    <a:pt x="1246391" y="214515"/>
                  </a:lnTo>
                  <a:lnTo>
                    <a:pt x="1246391" y="212484"/>
                  </a:lnTo>
                  <a:lnTo>
                    <a:pt x="1246442" y="212484"/>
                  </a:lnTo>
                  <a:lnTo>
                    <a:pt x="1246442" y="213868"/>
                  </a:lnTo>
                  <a:lnTo>
                    <a:pt x="1246442" y="211785"/>
                  </a:lnTo>
                  <a:lnTo>
                    <a:pt x="1246493" y="212484"/>
                  </a:lnTo>
                  <a:lnTo>
                    <a:pt x="1246493" y="211137"/>
                  </a:lnTo>
                  <a:lnTo>
                    <a:pt x="1246493" y="211785"/>
                  </a:lnTo>
                  <a:lnTo>
                    <a:pt x="1246594" y="211785"/>
                  </a:lnTo>
                  <a:lnTo>
                    <a:pt x="1246594" y="211137"/>
                  </a:lnTo>
                  <a:lnTo>
                    <a:pt x="1246594" y="211785"/>
                  </a:lnTo>
                  <a:lnTo>
                    <a:pt x="1246594" y="211137"/>
                  </a:lnTo>
                  <a:lnTo>
                    <a:pt x="1246594" y="212484"/>
                  </a:lnTo>
                  <a:lnTo>
                    <a:pt x="1246645" y="212484"/>
                  </a:lnTo>
                  <a:lnTo>
                    <a:pt x="1246645" y="211785"/>
                  </a:lnTo>
                  <a:lnTo>
                    <a:pt x="1246645" y="212484"/>
                  </a:lnTo>
                  <a:lnTo>
                    <a:pt x="1246696" y="212484"/>
                  </a:lnTo>
                  <a:lnTo>
                    <a:pt x="1246696" y="213868"/>
                  </a:lnTo>
                  <a:lnTo>
                    <a:pt x="1246734" y="212484"/>
                  </a:lnTo>
                  <a:lnTo>
                    <a:pt x="1246734" y="214515"/>
                  </a:lnTo>
                  <a:lnTo>
                    <a:pt x="1246734" y="212484"/>
                  </a:lnTo>
                  <a:lnTo>
                    <a:pt x="1246836" y="213868"/>
                  </a:lnTo>
                  <a:lnTo>
                    <a:pt x="1246836" y="214515"/>
                  </a:lnTo>
                  <a:lnTo>
                    <a:pt x="1246836" y="213868"/>
                  </a:lnTo>
                  <a:lnTo>
                    <a:pt x="1246836" y="214515"/>
                  </a:lnTo>
                  <a:lnTo>
                    <a:pt x="1246836" y="213868"/>
                  </a:lnTo>
                  <a:lnTo>
                    <a:pt x="1246836" y="214515"/>
                  </a:lnTo>
                  <a:lnTo>
                    <a:pt x="1246836" y="213868"/>
                  </a:lnTo>
                  <a:lnTo>
                    <a:pt x="1246836" y="214515"/>
                  </a:lnTo>
                  <a:lnTo>
                    <a:pt x="1246887" y="214515"/>
                  </a:lnTo>
                  <a:lnTo>
                    <a:pt x="1246887" y="213868"/>
                  </a:lnTo>
                  <a:lnTo>
                    <a:pt x="1246887" y="214515"/>
                  </a:lnTo>
                  <a:lnTo>
                    <a:pt x="1246887" y="213868"/>
                  </a:lnTo>
                  <a:lnTo>
                    <a:pt x="1246887" y="214515"/>
                  </a:lnTo>
                  <a:lnTo>
                    <a:pt x="1246887" y="213868"/>
                  </a:lnTo>
                  <a:lnTo>
                    <a:pt x="1246887" y="214515"/>
                  </a:lnTo>
                  <a:lnTo>
                    <a:pt x="1246887" y="213868"/>
                  </a:lnTo>
                  <a:lnTo>
                    <a:pt x="1246937" y="213868"/>
                  </a:lnTo>
                  <a:lnTo>
                    <a:pt x="1246937" y="212484"/>
                  </a:lnTo>
                  <a:lnTo>
                    <a:pt x="1246937" y="213868"/>
                  </a:lnTo>
                  <a:lnTo>
                    <a:pt x="1246937" y="212484"/>
                  </a:lnTo>
                  <a:lnTo>
                    <a:pt x="1247039" y="212484"/>
                  </a:lnTo>
                  <a:lnTo>
                    <a:pt x="1247039" y="214515"/>
                  </a:lnTo>
                  <a:lnTo>
                    <a:pt x="1247039" y="213868"/>
                  </a:lnTo>
                  <a:lnTo>
                    <a:pt x="1247090" y="213868"/>
                  </a:lnTo>
                  <a:lnTo>
                    <a:pt x="1247090" y="214515"/>
                  </a:lnTo>
                  <a:lnTo>
                    <a:pt x="1247090" y="213868"/>
                  </a:lnTo>
                  <a:lnTo>
                    <a:pt x="1247090" y="214515"/>
                  </a:lnTo>
                  <a:lnTo>
                    <a:pt x="1247090" y="213868"/>
                  </a:lnTo>
                  <a:lnTo>
                    <a:pt x="1247090" y="215214"/>
                  </a:lnTo>
                  <a:lnTo>
                    <a:pt x="1247090" y="214515"/>
                  </a:lnTo>
                  <a:lnTo>
                    <a:pt x="1247140" y="214515"/>
                  </a:lnTo>
                  <a:lnTo>
                    <a:pt x="1247140" y="215214"/>
                  </a:lnTo>
                  <a:lnTo>
                    <a:pt x="1247140" y="214515"/>
                  </a:lnTo>
                  <a:lnTo>
                    <a:pt x="1247140" y="215214"/>
                  </a:lnTo>
                  <a:lnTo>
                    <a:pt x="1247140" y="213868"/>
                  </a:lnTo>
                  <a:lnTo>
                    <a:pt x="1247140" y="214515"/>
                  </a:lnTo>
                  <a:lnTo>
                    <a:pt x="1247191" y="214515"/>
                  </a:lnTo>
                  <a:lnTo>
                    <a:pt x="1247191" y="215214"/>
                  </a:lnTo>
                  <a:lnTo>
                    <a:pt x="1247191" y="214515"/>
                  </a:lnTo>
                  <a:lnTo>
                    <a:pt x="1247191" y="215214"/>
                  </a:lnTo>
                  <a:lnTo>
                    <a:pt x="1247280" y="215214"/>
                  </a:lnTo>
                  <a:lnTo>
                    <a:pt x="1247280" y="215900"/>
                  </a:lnTo>
                  <a:lnTo>
                    <a:pt x="1247280" y="215214"/>
                  </a:lnTo>
                  <a:lnTo>
                    <a:pt x="1247280" y="215900"/>
                  </a:lnTo>
                  <a:lnTo>
                    <a:pt x="1247280" y="215214"/>
                  </a:lnTo>
                  <a:lnTo>
                    <a:pt x="1247331" y="215214"/>
                  </a:lnTo>
                  <a:lnTo>
                    <a:pt x="1247331" y="214515"/>
                  </a:lnTo>
                  <a:lnTo>
                    <a:pt x="1247331" y="215900"/>
                  </a:lnTo>
                  <a:lnTo>
                    <a:pt x="1247331" y="215214"/>
                  </a:lnTo>
                  <a:lnTo>
                    <a:pt x="1247331" y="215900"/>
                  </a:lnTo>
                  <a:lnTo>
                    <a:pt x="1247331" y="215214"/>
                  </a:lnTo>
                  <a:lnTo>
                    <a:pt x="1247331" y="215900"/>
                  </a:lnTo>
                  <a:lnTo>
                    <a:pt x="1247382" y="215900"/>
                  </a:lnTo>
                  <a:lnTo>
                    <a:pt x="1247382" y="214515"/>
                  </a:lnTo>
                  <a:lnTo>
                    <a:pt x="1247382" y="215214"/>
                  </a:lnTo>
                  <a:lnTo>
                    <a:pt x="1247382" y="214515"/>
                  </a:lnTo>
                  <a:lnTo>
                    <a:pt x="1247433" y="214515"/>
                  </a:lnTo>
                  <a:lnTo>
                    <a:pt x="1247433" y="213868"/>
                  </a:lnTo>
                  <a:lnTo>
                    <a:pt x="1247433" y="214515"/>
                  </a:lnTo>
                  <a:lnTo>
                    <a:pt x="1247433" y="213868"/>
                  </a:lnTo>
                  <a:lnTo>
                    <a:pt x="1247433" y="214515"/>
                  </a:lnTo>
                  <a:lnTo>
                    <a:pt x="1247433" y="213868"/>
                  </a:lnTo>
                  <a:lnTo>
                    <a:pt x="1247534" y="213868"/>
                  </a:lnTo>
                  <a:lnTo>
                    <a:pt x="1247534" y="215214"/>
                  </a:lnTo>
                  <a:lnTo>
                    <a:pt x="1247534" y="214515"/>
                  </a:lnTo>
                  <a:lnTo>
                    <a:pt x="1247585" y="214515"/>
                  </a:lnTo>
                  <a:lnTo>
                    <a:pt x="1247585" y="215900"/>
                  </a:lnTo>
                  <a:lnTo>
                    <a:pt x="1247585" y="215214"/>
                  </a:lnTo>
                  <a:lnTo>
                    <a:pt x="1247585" y="215900"/>
                  </a:lnTo>
                  <a:lnTo>
                    <a:pt x="1247585" y="215214"/>
                  </a:lnTo>
                  <a:lnTo>
                    <a:pt x="1247636" y="215214"/>
                  </a:lnTo>
                  <a:lnTo>
                    <a:pt x="1247636" y="215900"/>
                  </a:lnTo>
                  <a:lnTo>
                    <a:pt x="1247636" y="215214"/>
                  </a:lnTo>
                  <a:lnTo>
                    <a:pt x="1247636" y="215900"/>
                  </a:lnTo>
                  <a:lnTo>
                    <a:pt x="1247636" y="215214"/>
                  </a:lnTo>
                  <a:lnTo>
                    <a:pt x="1247636" y="215900"/>
                  </a:lnTo>
                  <a:lnTo>
                    <a:pt x="1247737" y="215900"/>
                  </a:lnTo>
                  <a:lnTo>
                    <a:pt x="1247737" y="217246"/>
                  </a:lnTo>
                  <a:lnTo>
                    <a:pt x="1247737" y="215900"/>
                  </a:lnTo>
                  <a:lnTo>
                    <a:pt x="1247737" y="217246"/>
                  </a:lnTo>
                  <a:lnTo>
                    <a:pt x="1247737" y="215900"/>
                  </a:lnTo>
                  <a:lnTo>
                    <a:pt x="1247737" y="217246"/>
                  </a:lnTo>
                  <a:lnTo>
                    <a:pt x="1247775" y="217246"/>
                  </a:lnTo>
                  <a:lnTo>
                    <a:pt x="1247775" y="217932"/>
                  </a:lnTo>
                  <a:lnTo>
                    <a:pt x="1247775" y="217246"/>
                  </a:lnTo>
                  <a:lnTo>
                    <a:pt x="1247826" y="217246"/>
                  </a:lnTo>
                  <a:lnTo>
                    <a:pt x="1247826" y="217932"/>
                  </a:lnTo>
                  <a:lnTo>
                    <a:pt x="1247826" y="215900"/>
                  </a:lnTo>
                  <a:lnTo>
                    <a:pt x="1247826" y="217246"/>
                  </a:lnTo>
                  <a:lnTo>
                    <a:pt x="1247877" y="217246"/>
                  </a:lnTo>
                  <a:lnTo>
                    <a:pt x="1247877" y="215214"/>
                  </a:lnTo>
                  <a:lnTo>
                    <a:pt x="1247979" y="215214"/>
                  </a:lnTo>
                  <a:lnTo>
                    <a:pt x="1247979" y="214515"/>
                  </a:lnTo>
                  <a:lnTo>
                    <a:pt x="1247979" y="215214"/>
                  </a:lnTo>
                  <a:lnTo>
                    <a:pt x="1247979" y="213868"/>
                  </a:lnTo>
                  <a:lnTo>
                    <a:pt x="1247979" y="214515"/>
                  </a:lnTo>
                  <a:lnTo>
                    <a:pt x="1248030" y="215214"/>
                  </a:lnTo>
                  <a:lnTo>
                    <a:pt x="1248030" y="214515"/>
                  </a:lnTo>
                  <a:lnTo>
                    <a:pt x="1248030" y="217246"/>
                  </a:lnTo>
                  <a:lnTo>
                    <a:pt x="1248080" y="217246"/>
                  </a:lnTo>
                  <a:lnTo>
                    <a:pt x="1248080" y="215214"/>
                  </a:lnTo>
                  <a:lnTo>
                    <a:pt x="1248080" y="217246"/>
                  </a:lnTo>
                  <a:lnTo>
                    <a:pt x="1248182" y="217246"/>
                  </a:lnTo>
                  <a:lnTo>
                    <a:pt x="1248182" y="215900"/>
                  </a:lnTo>
                  <a:lnTo>
                    <a:pt x="1248182" y="217246"/>
                  </a:lnTo>
                  <a:lnTo>
                    <a:pt x="1248182" y="215900"/>
                  </a:lnTo>
                  <a:lnTo>
                    <a:pt x="1248182" y="217932"/>
                  </a:lnTo>
                  <a:lnTo>
                    <a:pt x="1248233" y="217932"/>
                  </a:lnTo>
                  <a:lnTo>
                    <a:pt x="1248233" y="217246"/>
                  </a:lnTo>
                  <a:lnTo>
                    <a:pt x="1248233" y="217932"/>
                  </a:lnTo>
                  <a:lnTo>
                    <a:pt x="1248233" y="217246"/>
                  </a:lnTo>
                  <a:lnTo>
                    <a:pt x="1248233" y="217932"/>
                  </a:lnTo>
                  <a:lnTo>
                    <a:pt x="1248233" y="217246"/>
                  </a:lnTo>
                  <a:lnTo>
                    <a:pt x="1248233" y="218630"/>
                  </a:lnTo>
                  <a:lnTo>
                    <a:pt x="1248233" y="217932"/>
                  </a:lnTo>
                  <a:lnTo>
                    <a:pt x="1248284" y="217932"/>
                  </a:lnTo>
                  <a:lnTo>
                    <a:pt x="1248322" y="218630"/>
                  </a:lnTo>
                  <a:lnTo>
                    <a:pt x="1248322" y="217932"/>
                  </a:lnTo>
                  <a:lnTo>
                    <a:pt x="1248322" y="218630"/>
                  </a:lnTo>
                  <a:lnTo>
                    <a:pt x="1248322" y="217246"/>
                  </a:lnTo>
                  <a:lnTo>
                    <a:pt x="1248322" y="217932"/>
                  </a:lnTo>
                  <a:lnTo>
                    <a:pt x="1248322" y="217246"/>
                  </a:lnTo>
                  <a:lnTo>
                    <a:pt x="1248423" y="217246"/>
                  </a:lnTo>
                  <a:lnTo>
                    <a:pt x="1248423" y="217932"/>
                  </a:lnTo>
                  <a:lnTo>
                    <a:pt x="1248423" y="217246"/>
                  </a:lnTo>
                  <a:lnTo>
                    <a:pt x="1248423" y="217932"/>
                  </a:lnTo>
                  <a:lnTo>
                    <a:pt x="1248423" y="215900"/>
                  </a:lnTo>
                  <a:lnTo>
                    <a:pt x="1248423" y="217246"/>
                  </a:lnTo>
                  <a:lnTo>
                    <a:pt x="1248474" y="217246"/>
                  </a:lnTo>
                  <a:lnTo>
                    <a:pt x="1248474" y="215214"/>
                  </a:lnTo>
                  <a:lnTo>
                    <a:pt x="1248474" y="215900"/>
                  </a:lnTo>
                  <a:lnTo>
                    <a:pt x="1248525" y="217246"/>
                  </a:lnTo>
                  <a:lnTo>
                    <a:pt x="1248525" y="215214"/>
                  </a:lnTo>
                  <a:lnTo>
                    <a:pt x="1248525" y="217932"/>
                  </a:lnTo>
                  <a:lnTo>
                    <a:pt x="1248626" y="217932"/>
                  </a:lnTo>
                  <a:lnTo>
                    <a:pt x="1248626" y="217246"/>
                  </a:lnTo>
                  <a:lnTo>
                    <a:pt x="1248626" y="217932"/>
                  </a:lnTo>
                  <a:lnTo>
                    <a:pt x="1248626" y="215900"/>
                  </a:lnTo>
                  <a:lnTo>
                    <a:pt x="1248626" y="217932"/>
                  </a:lnTo>
                  <a:lnTo>
                    <a:pt x="1248677" y="217932"/>
                  </a:lnTo>
                  <a:lnTo>
                    <a:pt x="1248677" y="217246"/>
                  </a:lnTo>
                  <a:lnTo>
                    <a:pt x="1248677" y="217932"/>
                  </a:lnTo>
                  <a:lnTo>
                    <a:pt x="1248677" y="217246"/>
                  </a:lnTo>
                  <a:lnTo>
                    <a:pt x="1248677" y="218630"/>
                  </a:lnTo>
                  <a:lnTo>
                    <a:pt x="1248677" y="217932"/>
                  </a:lnTo>
                  <a:lnTo>
                    <a:pt x="1248677" y="218630"/>
                  </a:lnTo>
                  <a:lnTo>
                    <a:pt x="1248728" y="218630"/>
                  </a:lnTo>
                  <a:lnTo>
                    <a:pt x="1248728" y="217932"/>
                  </a:lnTo>
                  <a:lnTo>
                    <a:pt x="1248728" y="218630"/>
                  </a:lnTo>
                  <a:lnTo>
                    <a:pt x="1248779" y="218630"/>
                  </a:lnTo>
                  <a:lnTo>
                    <a:pt x="1248779" y="219329"/>
                  </a:lnTo>
                  <a:lnTo>
                    <a:pt x="1248779" y="218630"/>
                  </a:lnTo>
                  <a:lnTo>
                    <a:pt x="1248868" y="218630"/>
                  </a:lnTo>
                  <a:lnTo>
                    <a:pt x="1248868" y="219329"/>
                  </a:lnTo>
                  <a:lnTo>
                    <a:pt x="1248868" y="217932"/>
                  </a:lnTo>
                  <a:lnTo>
                    <a:pt x="1248868" y="218630"/>
                  </a:lnTo>
                  <a:lnTo>
                    <a:pt x="1248868" y="217932"/>
                  </a:lnTo>
                  <a:lnTo>
                    <a:pt x="1248919" y="217932"/>
                  </a:lnTo>
                  <a:lnTo>
                    <a:pt x="1248919" y="218630"/>
                  </a:lnTo>
                  <a:lnTo>
                    <a:pt x="1248919" y="217932"/>
                  </a:lnTo>
                  <a:lnTo>
                    <a:pt x="1248919" y="218630"/>
                  </a:lnTo>
                  <a:lnTo>
                    <a:pt x="1248919" y="217246"/>
                  </a:lnTo>
                  <a:lnTo>
                    <a:pt x="1248969" y="217932"/>
                  </a:lnTo>
                  <a:lnTo>
                    <a:pt x="1248969" y="217246"/>
                  </a:lnTo>
                  <a:lnTo>
                    <a:pt x="1248969" y="217932"/>
                  </a:lnTo>
                  <a:lnTo>
                    <a:pt x="1248969" y="217246"/>
                  </a:lnTo>
                  <a:lnTo>
                    <a:pt x="1248969" y="217932"/>
                  </a:lnTo>
                  <a:lnTo>
                    <a:pt x="1248969" y="217246"/>
                  </a:lnTo>
                  <a:lnTo>
                    <a:pt x="1248969" y="217932"/>
                  </a:lnTo>
                  <a:lnTo>
                    <a:pt x="1248969" y="215214"/>
                  </a:lnTo>
                  <a:lnTo>
                    <a:pt x="1248969" y="215900"/>
                  </a:lnTo>
                  <a:lnTo>
                    <a:pt x="1248969" y="215214"/>
                  </a:lnTo>
                  <a:lnTo>
                    <a:pt x="1249020" y="215214"/>
                  </a:lnTo>
                  <a:lnTo>
                    <a:pt x="1249020" y="215900"/>
                  </a:lnTo>
                  <a:lnTo>
                    <a:pt x="1249020" y="214515"/>
                  </a:lnTo>
                  <a:lnTo>
                    <a:pt x="1249020" y="215214"/>
                  </a:lnTo>
                  <a:lnTo>
                    <a:pt x="1249020" y="214515"/>
                  </a:lnTo>
                  <a:lnTo>
                    <a:pt x="1249020" y="215214"/>
                  </a:lnTo>
                  <a:lnTo>
                    <a:pt x="1249122" y="215214"/>
                  </a:lnTo>
                  <a:lnTo>
                    <a:pt x="1249122" y="217246"/>
                  </a:lnTo>
                  <a:lnTo>
                    <a:pt x="1249122" y="215900"/>
                  </a:lnTo>
                  <a:lnTo>
                    <a:pt x="1249122" y="217246"/>
                  </a:lnTo>
                  <a:lnTo>
                    <a:pt x="1249122" y="215900"/>
                  </a:lnTo>
                  <a:lnTo>
                    <a:pt x="1249122" y="217246"/>
                  </a:lnTo>
                  <a:lnTo>
                    <a:pt x="1249122" y="215900"/>
                  </a:lnTo>
                  <a:lnTo>
                    <a:pt x="1249122" y="217932"/>
                  </a:lnTo>
                  <a:lnTo>
                    <a:pt x="1249172" y="217932"/>
                  </a:lnTo>
                  <a:lnTo>
                    <a:pt x="1249172" y="217246"/>
                  </a:lnTo>
                  <a:lnTo>
                    <a:pt x="1249172" y="217932"/>
                  </a:lnTo>
                  <a:lnTo>
                    <a:pt x="1249223" y="217932"/>
                  </a:lnTo>
                  <a:lnTo>
                    <a:pt x="1249223" y="219329"/>
                  </a:lnTo>
                  <a:lnTo>
                    <a:pt x="1249223" y="217932"/>
                  </a:lnTo>
                  <a:lnTo>
                    <a:pt x="1249223" y="218630"/>
                  </a:lnTo>
                  <a:lnTo>
                    <a:pt x="1249223" y="217932"/>
                  </a:lnTo>
                  <a:lnTo>
                    <a:pt x="1249223" y="218630"/>
                  </a:lnTo>
                  <a:lnTo>
                    <a:pt x="1249325" y="218630"/>
                  </a:lnTo>
                  <a:lnTo>
                    <a:pt x="1249325" y="219329"/>
                  </a:lnTo>
                  <a:lnTo>
                    <a:pt x="1249325" y="218630"/>
                  </a:lnTo>
                  <a:lnTo>
                    <a:pt x="1249325" y="219329"/>
                  </a:lnTo>
                  <a:lnTo>
                    <a:pt x="1249325" y="218630"/>
                  </a:lnTo>
                  <a:lnTo>
                    <a:pt x="1249325" y="219329"/>
                  </a:lnTo>
                  <a:lnTo>
                    <a:pt x="1249325" y="218630"/>
                  </a:lnTo>
                  <a:lnTo>
                    <a:pt x="1249325" y="219329"/>
                  </a:lnTo>
                  <a:lnTo>
                    <a:pt x="1249363" y="218630"/>
                  </a:lnTo>
                  <a:lnTo>
                    <a:pt x="1249363" y="219329"/>
                  </a:lnTo>
                  <a:lnTo>
                    <a:pt x="1249363" y="218630"/>
                  </a:lnTo>
                  <a:lnTo>
                    <a:pt x="1249363" y="219329"/>
                  </a:lnTo>
                  <a:lnTo>
                    <a:pt x="1249363" y="218630"/>
                  </a:lnTo>
                  <a:lnTo>
                    <a:pt x="1249363" y="219329"/>
                  </a:lnTo>
                  <a:lnTo>
                    <a:pt x="1249414" y="219329"/>
                  </a:lnTo>
                  <a:lnTo>
                    <a:pt x="1249414" y="218630"/>
                  </a:lnTo>
                  <a:lnTo>
                    <a:pt x="1249414" y="219329"/>
                  </a:lnTo>
                  <a:lnTo>
                    <a:pt x="1249414" y="218630"/>
                  </a:lnTo>
                  <a:lnTo>
                    <a:pt x="1249414" y="219329"/>
                  </a:lnTo>
                  <a:lnTo>
                    <a:pt x="1249414" y="218630"/>
                  </a:lnTo>
                  <a:lnTo>
                    <a:pt x="1249465" y="218630"/>
                  </a:lnTo>
                  <a:lnTo>
                    <a:pt x="1249465" y="217932"/>
                  </a:lnTo>
                  <a:lnTo>
                    <a:pt x="1249465" y="218630"/>
                  </a:lnTo>
                  <a:lnTo>
                    <a:pt x="1249465" y="217932"/>
                  </a:lnTo>
                  <a:lnTo>
                    <a:pt x="1249465" y="218630"/>
                  </a:lnTo>
                  <a:lnTo>
                    <a:pt x="1249465" y="217932"/>
                  </a:lnTo>
                  <a:lnTo>
                    <a:pt x="1249566" y="217932"/>
                  </a:lnTo>
                  <a:lnTo>
                    <a:pt x="1249566" y="217246"/>
                  </a:lnTo>
                  <a:lnTo>
                    <a:pt x="1249566" y="217932"/>
                  </a:lnTo>
                  <a:lnTo>
                    <a:pt x="1249566" y="217246"/>
                  </a:lnTo>
                  <a:lnTo>
                    <a:pt x="1249566" y="217932"/>
                  </a:lnTo>
                  <a:lnTo>
                    <a:pt x="1249566" y="215900"/>
                  </a:lnTo>
                  <a:lnTo>
                    <a:pt x="1249566" y="217246"/>
                  </a:lnTo>
                  <a:lnTo>
                    <a:pt x="1249617" y="217246"/>
                  </a:lnTo>
                  <a:lnTo>
                    <a:pt x="1249617" y="218630"/>
                  </a:lnTo>
                  <a:lnTo>
                    <a:pt x="1249617" y="217932"/>
                  </a:lnTo>
                  <a:lnTo>
                    <a:pt x="1249668" y="218630"/>
                  </a:lnTo>
                  <a:lnTo>
                    <a:pt x="1249668" y="217932"/>
                  </a:lnTo>
                  <a:lnTo>
                    <a:pt x="1249668" y="218630"/>
                  </a:lnTo>
                  <a:lnTo>
                    <a:pt x="1249668" y="217932"/>
                  </a:lnTo>
                  <a:lnTo>
                    <a:pt x="1249668" y="218630"/>
                  </a:lnTo>
                  <a:lnTo>
                    <a:pt x="1249769" y="218630"/>
                  </a:lnTo>
                  <a:lnTo>
                    <a:pt x="1249769" y="219329"/>
                  </a:lnTo>
                  <a:lnTo>
                    <a:pt x="1249769" y="218630"/>
                  </a:lnTo>
                  <a:lnTo>
                    <a:pt x="1249769" y="219329"/>
                  </a:lnTo>
                  <a:lnTo>
                    <a:pt x="1249769" y="218630"/>
                  </a:lnTo>
                  <a:lnTo>
                    <a:pt x="1249769" y="219329"/>
                  </a:lnTo>
                  <a:lnTo>
                    <a:pt x="1249769" y="218630"/>
                  </a:lnTo>
                  <a:lnTo>
                    <a:pt x="1249769" y="219329"/>
                  </a:lnTo>
                  <a:lnTo>
                    <a:pt x="1249769" y="218630"/>
                  </a:lnTo>
                  <a:lnTo>
                    <a:pt x="1249769" y="219329"/>
                  </a:lnTo>
                  <a:lnTo>
                    <a:pt x="1249769" y="218630"/>
                  </a:lnTo>
                  <a:lnTo>
                    <a:pt x="1249769" y="219329"/>
                  </a:lnTo>
                  <a:lnTo>
                    <a:pt x="1249769" y="218630"/>
                  </a:lnTo>
                  <a:lnTo>
                    <a:pt x="1249769" y="219329"/>
                  </a:lnTo>
                  <a:lnTo>
                    <a:pt x="1249769" y="218630"/>
                  </a:lnTo>
                  <a:lnTo>
                    <a:pt x="1249820" y="219329"/>
                  </a:lnTo>
                  <a:lnTo>
                    <a:pt x="1249820" y="218630"/>
                  </a:lnTo>
                  <a:lnTo>
                    <a:pt x="1249820" y="220015"/>
                  </a:lnTo>
                  <a:lnTo>
                    <a:pt x="1249820" y="219329"/>
                  </a:lnTo>
                  <a:lnTo>
                    <a:pt x="1249820" y="220015"/>
                  </a:lnTo>
                  <a:lnTo>
                    <a:pt x="1249871" y="220015"/>
                  </a:lnTo>
                  <a:lnTo>
                    <a:pt x="1249871" y="221361"/>
                  </a:lnTo>
                  <a:lnTo>
                    <a:pt x="1249871" y="220015"/>
                  </a:lnTo>
                  <a:lnTo>
                    <a:pt x="1249871" y="221361"/>
                  </a:lnTo>
                  <a:lnTo>
                    <a:pt x="1249871" y="220015"/>
                  </a:lnTo>
                  <a:lnTo>
                    <a:pt x="1249909" y="220015"/>
                  </a:lnTo>
                  <a:lnTo>
                    <a:pt x="1249909" y="219329"/>
                  </a:lnTo>
                  <a:lnTo>
                    <a:pt x="1249909" y="220015"/>
                  </a:lnTo>
                  <a:lnTo>
                    <a:pt x="1250011" y="219329"/>
                  </a:lnTo>
                  <a:lnTo>
                    <a:pt x="1250011" y="218630"/>
                  </a:lnTo>
                  <a:lnTo>
                    <a:pt x="1250011" y="219329"/>
                  </a:lnTo>
                  <a:lnTo>
                    <a:pt x="1250011" y="218630"/>
                  </a:lnTo>
                  <a:lnTo>
                    <a:pt x="1250011" y="219329"/>
                  </a:lnTo>
                  <a:lnTo>
                    <a:pt x="1250011" y="218630"/>
                  </a:lnTo>
                  <a:lnTo>
                    <a:pt x="1250062" y="218630"/>
                  </a:lnTo>
                  <a:lnTo>
                    <a:pt x="1250062" y="219329"/>
                  </a:lnTo>
                  <a:lnTo>
                    <a:pt x="1250062" y="218630"/>
                  </a:lnTo>
                  <a:lnTo>
                    <a:pt x="1250062" y="219329"/>
                  </a:lnTo>
                  <a:lnTo>
                    <a:pt x="1250062" y="218630"/>
                  </a:lnTo>
                  <a:lnTo>
                    <a:pt x="1250062" y="219329"/>
                  </a:lnTo>
                  <a:lnTo>
                    <a:pt x="1250062" y="217932"/>
                  </a:lnTo>
                  <a:lnTo>
                    <a:pt x="1250062" y="218630"/>
                  </a:lnTo>
                  <a:lnTo>
                    <a:pt x="1250062" y="217932"/>
                  </a:lnTo>
                  <a:lnTo>
                    <a:pt x="1250062" y="219329"/>
                  </a:lnTo>
                  <a:lnTo>
                    <a:pt x="1250112" y="220015"/>
                  </a:lnTo>
                  <a:lnTo>
                    <a:pt x="1250112" y="219329"/>
                  </a:lnTo>
                  <a:lnTo>
                    <a:pt x="1250112" y="220015"/>
                  </a:lnTo>
                  <a:lnTo>
                    <a:pt x="1250214" y="219329"/>
                  </a:lnTo>
                  <a:lnTo>
                    <a:pt x="1250214" y="220015"/>
                  </a:lnTo>
                  <a:lnTo>
                    <a:pt x="1250214" y="218630"/>
                  </a:lnTo>
                  <a:lnTo>
                    <a:pt x="1250214" y="220015"/>
                  </a:lnTo>
                  <a:lnTo>
                    <a:pt x="1250214" y="219329"/>
                  </a:lnTo>
                  <a:lnTo>
                    <a:pt x="1250265" y="219329"/>
                  </a:lnTo>
                  <a:lnTo>
                    <a:pt x="1250265" y="220015"/>
                  </a:lnTo>
                  <a:lnTo>
                    <a:pt x="1250265" y="219329"/>
                  </a:lnTo>
                  <a:lnTo>
                    <a:pt x="1250265" y="220015"/>
                  </a:lnTo>
                  <a:lnTo>
                    <a:pt x="1250265" y="219329"/>
                  </a:lnTo>
                  <a:lnTo>
                    <a:pt x="1250265" y="220015"/>
                  </a:lnTo>
                  <a:lnTo>
                    <a:pt x="1250265" y="219329"/>
                  </a:lnTo>
                  <a:lnTo>
                    <a:pt x="1250315" y="219329"/>
                  </a:lnTo>
                  <a:lnTo>
                    <a:pt x="1250315" y="220015"/>
                  </a:lnTo>
                  <a:lnTo>
                    <a:pt x="1250315" y="219329"/>
                  </a:lnTo>
                  <a:lnTo>
                    <a:pt x="1250315" y="221361"/>
                  </a:lnTo>
                  <a:lnTo>
                    <a:pt x="1250315" y="220015"/>
                  </a:lnTo>
                  <a:lnTo>
                    <a:pt x="1250315" y="221361"/>
                  </a:lnTo>
                  <a:lnTo>
                    <a:pt x="1250366" y="221361"/>
                  </a:lnTo>
                  <a:lnTo>
                    <a:pt x="1250366" y="222059"/>
                  </a:lnTo>
                  <a:lnTo>
                    <a:pt x="1250366" y="221361"/>
                  </a:lnTo>
                  <a:lnTo>
                    <a:pt x="1250455" y="221361"/>
                  </a:lnTo>
                  <a:lnTo>
                    <a:pt x="1250455" y="220015"/>
                  </a:lnTo>
                  <a:lnTo>
                    <a:pt x="1250506" y="219329"/>
                  </a:lnTo>
                  <a:lnTo>
                    <a:pt x="1250506" y="220015"/>
                  </a:lnTo>
                  <a:lnTo>
                    <a:pt x="1250506" y="219329"/>
                  </a:lnTo>
                  <a:lnTo>
                    <a:pt x="1250506" y="220015"/>
                  </a:lnTo>
                  <a:lnTo>
                    <a:pt x="1250506" y="218630"/>
                  </a:lnTo>
                  <a:lnTo>
                    <a:pt x="1250506" y="220015"/>
                  </a:lnTo>
                  <a:lnTo>
                    <a:pt x="1250557" y="220015"/>
                  </a:lnTo>
                  <a:lnTo>
                    <a:pt x="1250557" y="219329"/>
                  </a:lnTo>
                  <a:lnTo>
                    <a:pt x="1250557" y="220015"/>
                  </a:lnTo>
                  <a:lnTo>
                    <a:pt x="1250557" y="219329"/>
                  </a:lnTo>
                  <a:lnTo>
                    <a:pt x="1250557" y="220015"/>
                  </a:lnTo>
                  <a:lnTo>
                    <a:pt x="1250557" y="219329"/>
                  </a:lnTo>
                  <a:lnTo>
                    <a:pt x="1250557" y="222745"/>
                  </a:lnTo>
                  <a:lnTo>
                    <a:pt x="1250608" y="222059"/>
                  </a:lnTo>
                  <a:lnTo>
                    <a:pt x="1250608" y="221361"/>
                  </a:lnTo>
                  <a:lnTo>
                    <a:pt x="1250608" y="222059"/>
                  </a:lnTo>
                  <a:lnTo>
                    <a:pt x="1250608" y="221361"/>
                  </a:lnTo>
                  <a:lnTo>
                    <a:pt x="1250608" y="222059"/>
                  </a:lnTo>
                  <a:lnTo>
                    <a:pt x="1250709" y="222059"/>
                  </a:lnTo>
                  <a:lnTo>
                    <a:pt x="1250709" y="222745"/>
                  </a:lnTo>
                  <a:lnTo>
                    <a:pt x="1250709" y="222059"/>
                  </a:lnTo>
                  <a:lnTo>
                    <a:pt x="1250760" y="222059"/>
                  </a:lnTo>
                  <a:lnTo>
                    <a:pt x="1250760" y="223393"/>
                  </a:lnTo>
                  <a:lnTo>
                    <a:pt x="1250760" y="222059"/>
                  </a:lnTo>
                  <a:lnTo>
                    <a:pt x="1250760" y="222745"/>
                  </a:lnTo>
                  <a:lnTo>
                    <a:pt x="1250811" y="222745"/>
                  </a:lnTo>
                  <a:lnTo>
                    <a:pt x="1250811" y="223393"/>
                  </a:lnTo>
                  <a:lnTo>
                    <a:pt x="1250811" y="222745"/>
                  </a:lnTo>
                  <a:lnTo>
                    <a:pt x="1250811" y="223393"/>
                  </a:lnTo>
                  <a:lnTo>
                    <a:pt x="1250912" y="223393"/>
                  </a:lnTo>
                  <a:lnTo>
                    <a:pt x="1250912" y="222745"/>
                  </a:lnTo>
                  <a:lnTo>
                    <a:pt x="1250912" y="223393"/>
                  </a:lnTo>
                  <a:lnTo>
                    <a:pt x="1250912" y="222745"/>
                  </a:lnTo>
                  <a:lnTo>
                    <a:pt x="1250950" y="222745"/>
                  </a:lnTo>
                  <a:lnTo>
                    <a:pt x="1250950" y="222059"/>
                  </a:lnTo>
                  <a:lnTo>
                    <a:pt x="1250950" y="222745"/>
                  </a:lnTo>
                  <a:lnTo>
                    <a:pt x="1250950" y="221361"/>
                  </a:lnTo>
                  <a:lnTo>
                    <a:pt x="1251001" y="221361"/>
                  </a:lnTo>
                  <a:lnTo>
                    <a:pt x="1251001" y="218630"/>
                  </a:lnTo>
                  <a:lnTo>
                    <a:pt x="1251052" y="218630"/>
                  </a:lnTo>
                  <a:lnTo>
                    <a:pt x="1251052" y="220015"/>
                  </a:lnTo>
                  <a:lnTo>
                    <a:pt x="1251052" y="218630"/>
                  </a:lnTo>
                  <a:lnTo>
                    <a:pt x="1251154" y="218630"/>
                  </a:lnTo>
                  <a:lnTo>
                    <a:pt x="1251154" y="221361"/>
                  </a:lnTo>
                  <a:lnTo>
                    <a:pt x="1251154" y="220015"/>
                  </a:lnTo>
                  <a:lnTo>
                    <a:pt x="1251205" y="220015"/>
                  </a:lnTo>
                  <a:lnTo>
                    <a:pt x="1251205" y="222059"/>
                  </a:lnTo>
                  <a:lnTo>
                    <a:pt x="1251205" y="221361"/>
                  </a:lnTo>
                  <a:lnTo>
                    <a:pt x="1251255" y="221361"/>
                  </a:lnTo>
                  <a:lnTo>
                    <a:pt x="1251255" y="222059"/>
                  </a:lnTo>
                  <a:lnTo>
                    <a:pt x="1251255" y="221361"/>
                  </a:lnTo>
                  <a:lnTo>
                    <a:pt x="1251255" y="222059"/>
                  </a:lnTo>
                  <a:lnTo>
                    <a:pt x="1251255" y="221361"/>
                  </a:lnTo>
                  <a:lnTo>
                    <a:pt x="1251255" y="222059"/>
                  </a:lnTo>
                  <a:lnTo>
                    <a:pt x="1251357" y="222059"/>
                  </a:lnTo>
                  <a:lnTo>
                    <a:pt x="1251357" y="222745"/>
                  </a:lnTo>
                  <a:lnTo>
                    <a:pt x="1251357" y="222059"/>
                  </a:lnTo>
                  <a:lnTo>
                    <a:pt x="1251357" y="223393"/>
                  </a:lnTo>
                  <a:lnTo>
                    <a:pt x="1251357" y="222745"/>
                  </a:lnTo>
                  <a:lnTo>
                    <a:pt x="1251357" y="223393"/>
                  </a:lnTo>
                  <a:lnTo>
                    <a:pt x="1251408" y="223393"/>
                  </a:lnTo>
                  <a:lnTo>
                    <a:pt x="1251408" y="222745"/>
                  </a:lnTo>
                  <a:lnTo>
                    <a:pt x="1251408" y="223393"/>
                  </a:lnTo>
                  <a:lnTo>
                    <a:pt x="1251408" y="222745"/>
                  </a:lnTo>
                  <a:lnTo>
                    <a:pt x="1251408" y="223393"/>
                  </a:lnTo>
                  <a:lnTo>
                    <a:pt x="1251408" y="222745"/>
                  </a:lnTo>
                  <a:lnTo>
                    <a:pt x="1251459" y="222745"/>
                  </a:lnTo>
                  <a:lnTo>
                    <a:pt x="1251459" y="223393"/>
                  </a:lnTo>
                  <a:lnTo>
                    <a:pt x="1251459" y="222059"/>
                  </a:lnTo>
                  <a:lnTo>
                    <a:pt x="1251459" y="222745"/>
                  </a:lnTo>
                  <a:lnTo>
                    <a:pt x="1251497" y="222745"/>
                  </a:lnTo>
                  <a:lnTo>
                    <a:pt x="1251497" y="221361"/>
                  </a:lnTo>
                  <a:lnTo>
                    <a:pt x="1251497" y="222059"/>
                  </a:lnTo>
                  <a:lnTo>
                    <a:pt x="1251497" y="220015"/>
                  </a:lnTo>
                  <a:lnTo>
                    <a:pt x="1251497" y="221361"/>
                  </a:lnTo>
                  <a:lnTo>
                    <a:pt x="1251497" y="220015"/>
                  </a:lnTo>
                  <a:lnTo>
                    <a:pt x="1251497" y="222745"/>
                  </a:lnTo>
                  <a:lnTo>
                    <a:pt x="1251598" y="222745"/>
                  </a:lnTo>
                  <a:lnTo>
                    <a:pt x="1251598" y="223393"/>
                  </a:lnTo>
                  <a:lnTo>
                    <a:pt x="1251598" y="221361"/>
                  </a:lnTo>
                  <a:lnTo>
                    <a:pt x="1251598" y="224777"/>
                  </a:lnTo>
                  <a:lnTo>
                    <a:pt x="1251649" y="224777"/>
                  </a:lnTo>
                  <a:lnTo>
                    <a:pt x="1251649" y="222059"/>
                  </a:lnTo>
                  <a:lnTo>
                    <a:pt x="1251649" y="223393"/>
                  </a:lnTo>
                  <a:lnTo>
                    <a:pt x="1251700" y="223393"/>
                  </a:lnTo>
                  <a:lnTo>
                    <a:pt x="1251700" y="222745"/>
                  </a:lnTo>
                  <a:lnTo>
                    <a:pt x="1251700" y="224777"/>
                  </a:lnTo>
                  <a:lnTo>
                    <a:pt x="1251700" y="223393"/>
                  </a:lnTo>
                  <a:lnTo>
                    <a:pt x="1251700" y="224777"/>
                  </a:lnTo>
                  <a:lnTo>
                    <a:pt x="1251801" y="224777"/>
                  </a:lnTo>
                  <a:lnTo>
                    <a:pt x="1251801" y="223393"/>
                  </a:lnTo>
                  <a:lnTo>
                    <a:pt x="1251801" y="225476"/>
                  </a:lnTo>
                  <a:lnTo>
                    <a:pt x="1251801" y="224777"/>
                  </a:lnTo>
                  <a:lnTo>
                    <a:pt x="1251801" y="225476"/>
                  </a:lnTo>
                  <a:lnTo>
                    <a:pt x="1251852" y="224777"/>
                  </a:lnTo>
                  <a:lnTo>
                    <a:pt x="1251852" y="226123"/>
                  </a:lnTo>
                  <a:lnTo>
                    <a:pt x="1251852" y="225476"/>
                  </a:lnTo>
                  <a:lnTo>
                    <a:pt x="1251852" y="226123"/>
                  </a:lnTo>
                  <a:lnTo>
                    <a:pt x="1251903" y="226123"/>
                  </a:lnTo>
                  <a:lnTo>
                    <a:pt x="1251903" y="225476"/>
                  </a:lnTo>
                  <a:lnTo>
                    <a:pt x="1251903" y="226123"/>
                  </a:lnTo>
                  <a:lnTo>
                    <a:pt x="1251903" y="224777"/>
                  </a:lnTo>
                  <a:lnTo>
                    <a:pt x="1251954" y="224777"/>
                  </a:lnTo>
                  <a:lnTo>
                    <a:pt x="1251954" y="223393"/>
                  </a:lnTo>
                  <a:lnTo>
                    <a:pt x="1251954" y="224777"/>
                  </a:lnTo>
                  <a:lnTo>
                    <a:pt x="1251954" y="223393"/>
                  </a:lnTo>
                  <a:lnTo>
                    <a:pt x="1251954" y="224777"/>
                  </a:lnTo>
                  <a:lnTo>
                    <a:pt x="1251954" y="223393"/>
                  </a:lnTo>
                  <a:lnTo>
                    <a:pt x="1252043" y="223393"/>
                  </a:lnTo>
                  <a:lnTo>
                    <a:pt x="1252043" y="222059"/>
                  </a:lnTo>
                  <a:lnTo>
                    <a:pt x="1252043" y="222745"/>
                  </a:lnTo>
                  <a:lnTo>
                    <a:pt x="1252043" y="222059"/>
                  </a:lnTo>
                  <a:lnTo>
                    <a:pt x="1252094" y="222059"/>
                  </a:lnTo>
                  <a:lnTo>
                    <a:pt x="1252094" y="223393"/>
                  </a:lnTo>
                  <a:lnTo>
                    <a:pt x="1252094" y="221361"/>
                  </a:lnTo>
                  <a:lnTo>
                    <a:pt x="1252094" y="224777"/>
                  </a:lnTo>
                  <a:lnTo>
                    <a:pt x="1252144" y="225476"/>
                  </a:lnTo>
                  <a:lnTo>
                    <a:pt x="1252144" y="222745"/>
                  </a:lnTo>
                  <a:lnTo>
                    <a:pt x="1252144" y="225476"/>
                  </a:lnTo>
                  <a:lnTo>
                    <a:pt x="1252195" y="225476"/>
                  </a:lnTo>
                  <a:lnTo>
                    <a:pt x="1252195" y="223393"/>
                  </a:lnTo>
                  <a:lnTo>
                    <a:pt x="1252195" y="224777"/>
                  </a:lnTo>
                  <a:lnTo>
                    <a:pt x="1252195" y="223393"/>
                  </a:lnTo>
                  <a:lnTo>
                    <a:pt x="1252195" y="224777"/>
                  </a:lnTo>
                  <a:lnTo>
                    <a:pt x="1252195" y="223393"/>
                  </a:lnTo>
                  <a:lnTo>
                    <a:pt x="1252195" y="225476"/>
                  </a:lnTo>
                  <a:lnTo>
                    <a:pt x="1252297" y="225476"/>
                  </a:lnTo>
                  <a:lnTo>
                    <a:pt x="1252297" y="224777"/>
                  </a:lnTo>
                  <a:lnTo>
                    <a:pt x="1252297" y="225476"/>
                  </a:lnTo>
                  <a:lnTo>
                    <a:pt x="1252297" y="224777"/>
                  </a:lnTo>
                  <a:lnTo>
                    <a:pt x="1252297" y="225476"/>
                  </a:lnTo>
                  <a:lnTo>
                    <a:pt x="1252347" y="225476"/>
                  </a:lnTo>
                  <a:lnTo>
                    <a:pt x="1252347" y="226123"/>
                  </a:lnTo>
                  <a:lnTo>
                    <a:pt x="1252347" y="225476"/>
                  </a:lnTo>
                  <a:lnTo>
                    <a:pt x="1252347" y="226123"/>
                  </a:lnTo>
                  <a:lnTo>
                    <a:pt x="1252347" y="225476"/>
                  </a:lnTo>
                  <a:lnTo>
                    <a:pt x="1252347" y="226123"/>
                  </a:lnTo>
                  <a:lnTo>
                    <a:pt x="1252347" y="225476"/>
                  </a:lnTo>
                  <a:lnTo>
                    <a:pt x="1252398" y="226123"/>
                  </a:lnTo>
                  <a:lnTo>
                    <a:pt x="1252398" y="224777"/>
                  </a:lnTo>
                  <a:lnTo>
                    <a:pt x="1252398" y="225476"/>
                  </a:lnTo>
                  <a:lnTo>
                    <a:pt x="1252500" y="225476"/>
                  </a:lnTo>
                  <a:lnTo>
                    <a:pt x="1252500" y="224777"/>
                  </a:lnTo>
                  <a:lnTo>
                    <a:pt x="1252500" y="225476"/>
                  </a:lnTo>
                  <a:lnTo>
                    <a:pt x="1252500" y="223393"/>
                  </a:lnTo>
                  <a:lnTo>
                    <a:pt x="1252500" y="224777"/>
                  </a:lnTo>
                  <a:lnTo>
                    <a:pt x="1252500" y="223393"/>
                  </a:lnTo>
                  <a:lnTo>
                    <a:pt x="1252538" y="223393"/>
                  </a:lnTo>
                  <a:lnTo>
                    <a:pt x="1252538" y="222745"/>
                  </a:lnTo>
                  <a:lnTo>
                    <a:pt x="1252538" y="223393"/>
                  </a:lnTo>
                  <a:lnTo>
                    <a:pt x="1252538" y="222745"/>
                  </a:lnTo>
                  <a:lnTo>
                    <a:pt x="1252538" y="223393"/>
                  </a:lnTo>
                  <a:lnTo>
                    <a:pt x="1252589" y="223393"/>
                  </a:lnTo>
                  <a:lnTo>
                    <a:pt x="1252589" y="222059"/>
                  </a:lnTo>
                  <a:lnTo>
                    <a:pt x="1252589" y="226123"/>
                  </a:lnTo>
                  <a:lnTo>
                    <a:pt x="1252589" y="224777"/>
                  </a:lnTo>
                  <a:lnTo>
                    <a:pt x="1252640" y="224777"/>
                  </a:lnTo>
                  <a:lnTo>
                    <a:pt x="1252640" y="222745"/>
                  </a:lnTo>
                  <a:lnTo>
                    <a:pt x="1252640" y="225476"/>
                  </a:lnTo>
                  <a:lnTo>
                    <a:pt x="1252741" y="225476"/>
                  </a:lnTo>
                  <a:lnTo>
                    <a:pt x="1252741" y="224777"/>
                  </a:lnTo>
                  <a:lnTo>
                    <a:pt x="1252741" y="225476"/>
                  </a:lnTo>
                  <a:lnTo>
                    <a:pt x="1252741" y="224777"/>
                  </a:lnTo>
                  <a:lnTo>
                    <a:pt x="1252741" y="226123"/>
                  </a:lnTo>
                  <a:lnTo>
                    <a:pt x="1252741" y="225476"/>
                  </a:lnTo>
                  <a:lnTo>
                    <a:pt x="1252741" y="226123"/>
                  </a:lnTo>
                  <a:lnTo>
                    <a:pt x="1252741" y="225476"/>
                  </a:lnTo>
                  <a:lnTo>
                    <a:pt x="1252792" y="226123"/>
                  </a:lnTo>
                  <a:lnTo>
                    <a:pt x="1252792" y="225476"/>
                  </a:lnTo>
                  <a:lnTo>
                    <a:pt x="1252792" y="226822"/>
                  </a:lnTo>
                  <a:lnTo>
                    <a:pt x="1252792" y="226123"/>
                  </a:lnTo>
                  <a:lnTo>
                    <a:pt x="1252792" y="226822"/>
                  </a:lnTo>
                  <a:lnTo>
                    <a:pt x="1252792" y="226123"/>
                  </a:lnTo>
                  <a:lnTo>
                    <a:pt x="1252792" y="226822"/>
                  </a:lnTo>
                  <a:lnTo>
                    <a:pt x="1252792" y="226123"/>
                  </a:lnTo>
                  <a:lnTo>
                    <a:pt x="1252792" y="226822"/>
                  </a:lnTo>
                  <a:lnTo>
                    <a:pt x="1252843" y="226123"/>
                  </a:lnTo>
                  <a:lnTo>
                    <a:pt x="1252843" y="227508"/>
                  </a:lnTo>
                  <a:lnTo>
                    <a:pt x="1252843" y="226822"/>
                  </a:lnTo>
                  <a:lnTo>
                    <a:pt x="1252843" y="227508"/>
                  </a:lnTo>
                  <a:lnTo>
                    <a:pt x="1252843" y="226822"/>
                  </a:lnTo>
                  <a:lnTo>
                    <a:pt x="1252944" y="227508"/>
                  </a:lnTo>
                  <a:lnTo>
                    <a:pt x="1252944" y="226822"/>
                  </a:lnTo>
                  <a:lnTo>
                    <a:pt x="1252944" y="227508"/>
                  </a:lnTo>
                  <a:lnTo>
                    <a:pt x="1252944" y="226123"/>
                  </a:lnTo>
                  <a:lnTo>
                    <a:pt x="1252944" y="226822"/>
                  </a:lnTo>
                  <a:lnTo>
                    <a:pt x="1252995" y="226822"/>
                  </a:lnTo>
                  <a:lnTo>
                    <a:pt x="1252995" y="226123"/>
                  </a:lnTo>
                  <a:lnTo>
                    <a:pt x="1253046" y="226123"/>
                  </a:lnTo>
                  <a:lnTo>
                    <a:pt x="1253046" y="225476"/>
                  </a:lnTo>
                  <a:lnTo>
                    <a:pt x="1253046" y="226822"/>
                  </a:lnTo>
                  <a:lnTo>
                    <a:pt x="1253046" y="226123"/>
                  </a:lnTo>
                  <a:lnTo>
                    <a:pt x="1253046" y="226822"/>
                  </a:lnTo>
                  <a:lnTo>
                    <a:pt x="1253046" y="226123"/>
                  </a:lnTo>
                  <a:lnTo>
                    <a:pt x="1253046" y="226822"/>
                  </a:lnTo>
                  <a:lnTo>
                    <a:pt x="1253046" y="226123"/>
                  </a:lnTo>
                  <a:lnTo>
                    <a:pt x="1253084" y="226123"/>
                  </a:lnTo>
                  <a:lnTo>
                    <a:pt x="1253084" y="225476"/>
                  </a:lnTo>
                  <a:lnTo>
                    <a:pt x="1253084" y="228854"/>
                  </a:lnTo>
                  <a:lnTo>
                    <a:pt x="1253084" y="226822"/>
                  </a:lnTo>
                  <a:lnTo>
                    <a:pt x="1253186" y="226822"/>
                  </a:lnTo>
                  <a:lnTo>
                    <a:pt x="1253186" y="226123"/>
                  </a:lnTo>
                  <a:lnTo>
                    <a:pt x="1253186" y="228854"/>
                  </a:lnTo>
                  <a:lnTo>
                    <a:pt x="1253186" y="227508"/>
                  </a:lnTo>
                  <a:lnTo>
                    <a:pt x="1253237" y="227508"/>
                  </a:lnTo>
                  <a:lnTo>
                    <a:pt x="1253237" y="226822"/>
                  </a:lnTo>
                  <a:lnTo>
                    <a:pt x="1253237" y="229540"/>
                  </a:lnTo>
                  <a:lnTo>
                    <a:pt x="1253237" y="227508"/>
                  </a:lnTo>
                  <a:lnTo>
                    <a:pt x="1253237" y="228854"/>
                  </a:lnTo>
                  <a:lnTo>
                    <a:pt x="1253389" y="228854"/>
                  </a:lnTo>
                  <a:lnTo>
                    <a:pt x="1253389" y="229540"/>
                  </a:lnTo>
                  <a:lnTo>
                    <a:pt x="1253389" y="227508"/>
                  </a:lnTo>
                  <a:lnTo>
                    <a:pt x="1253389" y="228854"/>
                  </a:lnTo>
                  <a:lnTo>
                    <a:pt x="1253440" y="228854"/>
                  </a:lnTo>
                  <a:lnTo>
                    <a:pt x="1253440" y="227508"/>
                  </a:lnTo>
                  <a:lnTo>
                    <a:pt x="1253440" y="228854"/>
                  </a:lnTo>
                  <a:lnTo>
                    <a:pt x="1253440" y="227508"/>
                  </a:lnTo>
                  <a:lnTo>
                    <a:pt x="1253440" y="228854"/>
                  </a:lnTo>
                  <a:lnTo>
                    <a:pt x="1253440" y="227508"/>
                  </a:lnTo>
                  <a:lnTo>
                    <a:pt x="1253490" y="227508"/>
                  </a:lnTo>
                  <a:lnTo>
                    <a:pt x="1253490" y="226822"/>
                  </a:lnTo>
                  <a:lnTo>
                    <a:pt x="1253490" y="227508"/>
                  </a:lnTo>
                  <a:lnTo>
                    <a:pt x="1253490" y="226822"/>
                  </a:lnTo>
                  <a:lnTo>
                    <a:pt x="1253490" y="227508"/>
                  </a:lnTo>
                  <a:lnTo>
                    <a:pt x="1253490" y="226123"/>
                  </a:lnTo>
                  <a:lnTo>
                    <a:pt x="1253490" y="226822"/>
                  </a:lnTo>
                  <a:lnTo>
                    <a:pt x="1253541" y="227508"/>
                  </a:lnTo>
                  <a:lnTo>
                    <a:pt x="1253541" y="228854"/>
                  </a:lnTo>
                  <a:lnTo>
                    <a:pt x="1253541" y="227508"/>
                  </a:lnTo>
                  <a:lnTo>
                    <a:pt x="1253541" y="228854"/>
                  </a:lnTo>
                  <a:lnTo>
                    <a:pt x="1253541" y="226822"/>
                  </a:lnTo>
                  <a:lnTo>
                    <a:pt x="1253541" y="227508"/>
                  </a:lnTo>
                  <a:lnTo>
                    <a:pt x="1253541" y="226822"/>
                  </a:lnTo>
                  <a:lnTo>
                    <a:pt x="1253541" y="228854"/>
                  </a:lnTo>
                  <a:lnTo>
                    <a:pt x="1253630" y="228854"/>
                  </a:lnTo>
                  <a:lnTo>
                    <a:pt x="1253630" y="230238"/>
                  </a:lnTo>
                  <a:lnTo>
                    <a:pt x="1253630" y="228854"/>
                  </a:lnTo>
                  <a:lnTo>
                    <a:pt x="1253630" y="229540"/>
                  </a:lnTo>
                  <a:lnTo>
                    <a:pt x="1253630" y="228854"/>
                  </a:lnTo>
                  <a:lnTo>
                    <a:pt x="1253630" y="229540"/>
                  </a:lnTo>
                  <a:lnTo>
                    <a:pt x="1253681" y="230238"/>
                  </a:lnTo>
                  <a:lnTo>
                    <a:pt x="1253681" y="228854"/>
                  </a:lnTo>
                  <a:lnTo>
                    <a:pt x="1253681" y="230238"/>
                  </a:lnTo>
                  <a:lnTo>
                    <a:pt x="1253732" y="229540"/>
                  </a:lnTo>
                  <a:lnTo>
                    <a:pt x="1253732" y="230238"/>
                  </a:lnTo>
                  <a:lnTo>
                    <a:pt x="1253732" y="229540"/>
                  </a:lnTo>
                  <a:lnTo>
                    <a:pt x="1253732" y="230238"/>
                  </a:lnTo>
                  <a:lnTo>
                    <a:pt x="1253783" y="229540"/>
                  </a:lnTo>
                  <a:lnTo>
                    <a:pt x="1253783" y="230238"/>
                  </a:lnTo>
                  <a:lnTo>
                    <a:pt x="1253783" y="229540"/>
                  </a:lnTo>
                  <a:lnTo>
                    <a:pt x="1253783" y="230238"/>
                  </a:lnTo>
                  <a:lnTo>
                    <a:pt x="1253783" y="229540"/>
                  </a:lnTo>
                  <a:lnTo>
                    <a:pt x="1253884" y="229540"/>
                  </a:lnTo>
                  <a:lnTo>
                    <a:pt x="1253884" y="228854"/>
                  </a:lnTo>
                  <a:lnTo>
                    <a:pt x="1253935" y="228854"/>
                  </a:lnTo>
                  <a:lnTo>
                    <a:pt x="1253935" y="229540"/>
                  </a:lnTo>
                  <a:lnTo>
                    <a:pt x="1253935" y="227508"/>
                  </a:lnTo>
                  <a:lnTo>
                    <a:pt x="1253986" y="227508"/>
                  </a:lnTo>
                  <a:lnTo>
                    <a:pt x="1253986" y="225476"/>
                  </a:lnTo>
                  <a:lnTo>
                    <a:pt x="1254087" y="226123"/>
                  </a:lnTo>
                  <a:lnTo>
                    <a:pt x="1254087" y="226822"/>
                  </a:lnTo>
                  <a:lnTo>
                    <a:pt x="1254087" y="226123"/>
                  </a:lnTo>
                  <a:lnTo>
                    <a:pt x="1254087" y="226822"/>
                  </a:lnTo>
                  <a:lnTo>
                    <a:pt x="1254125" y="227508"/>
                  </a:lnTo>
                  <a:lnTo>
                    <a:pt x="1254125" y="229540"/>
                  </a:lnTo>
                  <a:lnTo>
                    <a:pt x="1254125" y="227508"/>
                  </a:lnTo>
                  <a:lnTo>
                    <a:pt x="1254125" y="228854"/>
                  </a:lnTo>
                  <a:lnTo>
                    <a:pt x="1254227" y="230238"/>
                  </a:lnTo>
                  <a:lnTo>
                    <a:pt x="1254227" y="230987"/>
                  </a:lnTo>
                  <a:lnTo>
                    <a:pt x="1254227" y="230238"/>
                  </a:lnTo>
                  <a:lnTo>
                    <a:pt x="1254227" y="230987"/>
                  </a:lnTo>
                  <a:lnTo>
                    <a:pt x="1254227" y="230238"/>
                  </a:lnTo>
                  <a:lnTo>
                    <a:pt x="1254329" y="230238"/>
                  </a:lnTo>
                  <a:lnTo>
                    <a:pt x="1254329" y="230987"/>
                  </a:lnTo>
                  <a:lnTo>
                    <a:pt x="1254329" y="230238"/>
                  </a:lnTo>
                  <a:lnTo>
                    <a:pt x="1254329" y="230987"/>
                  </a:lnTo>
                  <a:lnTo>
                    <a:pt x="1254329" y="230238"/>
                  </a:lnTo>
                  <a:lnTo>
                    <a:pt x="1254380" y="230987"/>
                  </a:lnTo>
                  <a:lnTo>
                    <a:pt x="1254380" y="230238"/>
                  </a:lnTo>
                  <a:lnTo>
                    <a:pt x="1254380" y="230987"/>
                  </a:lnTo>
                  <a:lnTo>
                    <a:pt x="1254380" y="230238"/>
                  </a:lnTo>
                  <a:lnTo>
                    <a:pt x="1254380" y="230987"/>
                  </a:lnTo>
                  <a:lnTo>
                    <a:pt x="1254380" y="229540"/>
                  </a:lnTo>
                  <a:lnTo>
                    <a:pt x="1254380" y="230238"/>
                  </a:lnTo>
                  <a:lnTo>
                    <a:pt x="1254430" y="230238"/>
                  </a:lnTo>
                  <a:lnTo>
                    <a:pt x="1254430" y="228854"/>
                  </a:lnTo>
                  <a:lnTo>
                    <a:pt x="1254532" y="228854"/>
                  </a:lnTo>
                  <a:lnTo>
                    <a:pt x="1254532" y="225476"/>
                  </a:lnTo>
                  <a:lnTo>
                    <a:pt x="1254583" y="225476"/>
                  </a:lnTo>
                  <a:lnTo>
                    <a:pt x="1254583" y="226822"/>
                  </a:lnTo>
                  <a:lnTo>
                    <a:pt x="1254583" y="226123"/>
                  </a:lnTo>
                  <a:lnTo>
                    <a:pt x="1254634" y="226822"/>
                  </a:lnTo>
                  <a:lnTo>
                    <a:pt x="1254634" y="228854"/>
                  </a:lnTo>
                  <a:lnTo>
                    <a:pt x="1254634" y="226822"/>
                  </a:lnTo>
                  <a:lnTo>
                    <a:pt x="1254634" y="227508"/>
                  </a:lnTo>
                  <a:lnTo>
                    <a:pt x="1254672" y="227508"/>
                  </a:lnTo>
                  <a:lnTo>
                    <a:pt x="1254672" y="229540"/>
                  </a:lnTo>
                  <a:lnTo>
                    <a:pt x="1254672" y="227508"/>
                  </a:lnTo>
                  <a:lnTo>
                    <a:pt x="1254672" y="229540"/>
                  </a:lnTo>
                  <a:lnTo>
                    <a:pt x="1254773" y="229540"/>
                  </a:lnTo>
                  <a:lnTo>
                    <a:pt x="1254773" y="230238"/>
                  </a:lnTo>
                  <a:lnTo>
                    <a:pt x="1254773" y="229540"/>
                  </a:lnTo>
                  <a:lnTo>
                    <a:pt x="1254824" y="230238"/>
                  </a:lnTo>
                  <a:lnTo>
                    <a:pt x="1254824" y="229540"/>
                  </a:lnTo>
                  <a:lnTo>
                    <a:pt x="1254824" y="230987"/>
                  </a:lnTo>
                  <a:lnTo>
                    <a:pt x="1254875" y="230987"/>
                  </a:lnTo>
                  <a:lnTo>
                    <a:pt x="1254875" y="230238"/>
                  </a:lnTo>
                  <a:lnTo>
                    <a:pt x="1254875" y="230987"/>
                  </a:lnTo>
                  <a:lnTo>
                    <a:pt x="1254976" y="230987"/>
                  </a:lnTo>
                  <a:lnTo>
                    <a:pt x="1254976" y="230238"/>
                  </a:lnTo>
                  <a:lnTo>
                    <a:pt x="1254976" y="230987"/>
                  </a:lnTo>
                  <a:lnTo>
                    <a:pt x="1254976" y="229540"/>
                  </a:lnTo>
                  <a:lnTo>
                    <a:pt x="1255027" y="229540"/>
                  </a:lnTo>
                  <a:lnTo>
                    <a:pt x="1255027" y="226822"/>
                  </a:lnTo>
                  <a:lnTo>
                    <a:pt x="1255078" y="226822"/>
                  </a:lnTo>
                  <a:lnTo>
                    <a:pt x="1255078" y="226123"/>
                  </a:lnTo>
                  <a:lnTo>
                    <a:pt x="1255078" y="227508"/>
                  </a:lnTo>
                  <a:lnTo>
                    <a:pt x="1255078" y="226123"/>
                  </a:lnTo>
                  <a:lnTo>
                    <a:pt x="1255129" y="226123"/>
                  </a:lnTo>
                  <a:lnTo>
                    <a:pt x="1255129" y="229540"/>
                  </a:lnTo>
                  <a:lnTo>
                    <a:pt x="1255129" y="228854"/>
                  </a:lnTo>
                  <a:lnTo>
                    <a:pt x="1255129" y="229540"/>
                  </a:lnTo>
                  <a:lnTo>
                    <a:pt x="1255129" y="227508"/>
                  </a:lnTo>
                  <a:lnTo>
                    <a:pt x="1255129" y="228854"/>
                  </a:lnTo>
                  <a:lnTo>
                    <a:pt x="1255218" y="228854"/>
                  </a:lnTo>
                  <a:lnTo>
                    <a:pt x="1255218" y="229540"/>
                  </a:lnTo>
                  <a:lnTo>
                    <a:pt x="1255218" y="228854"/>
                  </a:lnTo>
                  <a:lnTo>
                    <a:pt x="1255269" y="228854"/>
                  </a:lnTo>
                  <a:lnTo>
                    <a:pt x="1255269" y="229540"/>
                  </a:lnTo>
                  <a:lnTo>
                    <a:pt x="1255269" y="228854"/>
                  </a:lnTo>
                  <a:lnTo>
                    <a:pt x="1255269" y="230238"/>
                  </a:lnTo>
                  <a:lnTo>
                    <a:pt x="1255269" y="229540"/>
                  </a:lnTo>
                  <a:lnTo>
                    <a:pt x="1255269" y="230238"/>
                  </a:lnTo>
                  <a:lnTo>
                    <a:pt x="1255319" y="230238"/>
                  </a:lnTo>
                  <a:lnTo>
                    <a:pt x="1255319" y="230987"/>
                  </a:lnTo>
                  <a:lnTo>
                    <a:pt x="1255319" y="230238"/>
                  </a:lnTo>
                  <a:lnTo>
                    <a:pt x="1255319" y="230987"/>
                  </a:lnTo>
                  <a:lnTo>
                    <a:pt x="1255319" y="230238"/>
                  </a:lnTo>
                  <a:lnTo>
                    <a:pt x="1255319" y="230987"/>
                  </a:lnTo>
                  <a:lnTo>
                    <a:pt x="1255370" y="232270"/>
                  </a:lnTo>
                  <a:lnTo>
                    <a:pt x="1255370" y="230987"/>
                  </a:lnTo>
                  <a:lnTo>
                    <a:pt x="1255370" y="232270"/>
                  </a:lnTo>
                  <a:lnTo>
                    <a:pt x="1255370" y="230987"/>
                  </a:lnTo>
                  <a:lnTo>
                    <a:pt x="1255370" y="232270"/>
                  </a:lnTo>
                  <a:lnTo>
                    <a:pt x="1255472" y="232270"/>
                  </a:lnTo>
                  <a:lnTo>
                    <a:pt x="1255472" y="230987"/>
                  </a:lnTo>
                  <a:lnTo>
                    <a:pt x="1255522" y="230987"/>
                  </a:lnTo>
                  <a:lnTo>
                    <a:pt x="1255522" y="228854"/>
                  </a:lnTo>
                  <a:lnTo>
                    <a:pt x="1255522" y="229540"/>
                  </a:lnTo>
                  <a:lnTo>
                    <a:pt x="1255522" y="228854"/>
                  </a:lnTo>
                  <a:lnTo>
                    <a:pt x="1255522" y="229540"/>
                  </a:lnTo>
                  <a:lnTo>
                    <a:pt x="1255522" y="227508"/>
                  </a:lnTo>
                  <a:lnTo>
                    <a:pt x="1255522" y="228854"/>
                  </a:lnTo>
                  <a:lnTo>
                    <a:pt x="1255522" y="227508"/>
                  </a:lnTo>
                  <a:lnTo>
                    <a:pt x="1255573" y="227508"/>
                  </a:lnTo>
                  <a:lnTo>
                    <a:pt x="1255573" y="226822"/>
                  </a:lnTo>
                  <a:lnTo>
                    <a:pt x="1255573" y="227508"/>
                  </a:lnTo>
                  <a:lnTo>
                    <a:pt x="1255573" y="226822"/>
                  </a:lnTo>
                  <a:lnTo>
                    <a:pt x="1255675" y="226822"/>
                  </a:lnTo>
                  <a:lnTo>
                    <a:pt x="1255675" y="229540"/>
                  </a:lnTo>
                  <a:lnTo>
                    <a:pt x="1255675" y="227508"/>
                  </a:lnTo>
                  <a:lnTo>
                    <a:pt x="1255713" y="227508"/>
                  </a:lnTo>
                  <a:lnTo>
                    <a:pt x="1255713" y="226822"/>
                  </a:lnTo>
                  <a:lnTo>
                    <a:pt x="1255713" y="229540"/>
                  </a:lnTo>
                  <a:lnTo>
                    <a:pt x="1255713" y="227508"/>
                  </a:lnTo>
                  <a:lnTo>
                    <a:pt x="1255764" y="227508"/>
                  </a:lnTo>
                  <a:lnTo>
                    <a:pt x="1255764" y="229540"/>
                  </a:lnTo>
                  <a:lnTo>
                    <a:pt x="1255764" y="228854"/>
                  </a:lnTo>
                  <a:lnTo>
                    <a:pt x="1255815" y="229540"/>
                  </a:lnTo>
                  <a:lnTo>
                    <a:pt x="1255815" y="230987"/>
                  </a:lnTo>
                  <a:lnTo>
                    <a:pt x="1255815" y="230238"/>
                  </a:lnTo>
                  <a:lnTo>
                    <a:pt x="1255815" y="230987"/>
                  </a:lnTo>
                  <a:lnTo>
                    <a:pt x="1255916" y="230987"/>
                  </a:lnTo>
                  <a:lnTo>
                    <a:pt x="1255916" y="232270"/>
                  </a:lnTo>
                  <a:lnTo>
                    <a:pt x="1255916" y="230987"/>
                  </a:lnTo>
                  <a:lnTo>
                    <a:pt x="1255916" y="232270"/>
                  </a:lnTo>
                  <a:lnTo>
                    <a:pt x="1255967" y="230987"/>
                  </a:lnTo>
                  <a:lnTo>
                    <a:pt x="1255967" y="232270"/>
                  </a:lnTo>
                  <a:lnTo>
                    <a:pt x="1255967" y="230987"/>
                  </a:lnTo>
                  <a:lnTo>
                    <a:pt x="1255967" y="232270"/>
                  </a:lnTo>
                  <a:lnTo>
                    <a:pt x="1255967" y="230987"/>
                  </a:lnTo>
                  <a:lnTo>
                    <a:pt x="1256018" y="230987"/>
                  </a:lnTo>
                  <a:lnTo>
                    <a:pt x="1256018" y="228854"/>
                  </a:lnTo>
                  <a:lnTo>
                    <a:pt x="1256119" y="228854"/>
                  </a:lnTo>
                  <a:lnTo>
                    <a:pt x="1256119" y="230238"/>
                  </a:lnTo>
                  <a:lnTo>
                    <a:pt x="1256119" y="229540"/>
                  </a:lnTo>
                  <a:lnTo>
                    <a:pt x="1256119" y="230987"/>
                  </a:lnTo>
                  <a:lnTo>
                    <a:pt x="1256170" y="230987"/>
                  </a:lnTo>
                  <a:lnTo>
                    <a:pt x="1256170" y="233019"/>
                  </a:lnTo>
                  <a:lnTo>
                    <a:pt x="1256170" y="230987"/>
                  </a:lnTo>
                  <a:lnTo>
                    <a:pt x="1256170" y="232270"/>
                  </a:lnTo>
                  <a:lnTo>
                    <a:pt x="1256170" y="230238"/>
                  </a:lnTo>
                  <a:lnTo>
                    <a:pt x="1256170" y="230987"/>
                  </a:lnTo>
                  <a:lnTo>
                    <a:pt x="1256170" y="230238"/>
                  </a:lnTo>
                  <a:lnTo>
                    <a:pt x="1256170" y="232270"/>
                  </a:lnTo>
                  <a:lnTo>
                    <a:pt x="1256221" y="232270"/>
                  </a:lnTo>
                  <a:lnTo>
                    <a:pt x="1256221" y="230987"/>
                  </a:lnTo>
                  <a:lnTo>
                    <a:pt x="1256221" y="232270"/>
                  </a:lnTo>
                  <a:lnTo>
                    <a:pt x="1256259" y="232270"/>
                  </a:lnTo>
                  <a:lnTo>
                    <a:pt x="1256259" y="230987"/>
                  </a:lnTo>
                  <a:lnTo>
                    <a:pt x="1256259" y="232270"/>
                  </a:lnTo>
                  <a:lnTo>
                    <a:pt x="1256259" y="230987"/>
                  </a:lnTo>
                  <a:lnTo>
                    <a:pt x="1256259" y="232270"/>
                  </a:lnTo>
                  <a:lnTo>
                    <a:pt x="1256259" y="230987"/>
                  </a:lnTo>
                  <a:lnTo>
                    <a:pt x="1256259" y="232270"/>
                  </a:lnTo>
                  <a:lnTo>
                    <a:pt x="1256361" y="232270"/>
                  </a:lnTo>
                  <a:lnTo>
                    <a:pt x="1256361" y="233019"/>
                  </a:lnTo>
                  <a:lnTo>
                    <a:pt x="1256361" y="232270"/>
                  </a:lnTo>
                  <a:lnTo>
                    <a:pt x="1256361" y="233019"/>
                  </a:lnTo>
                  <a:lnTo>
                    <a:pt x="1256462" y="233019"/>
                  </a:lnTo>
                  <a:lnTo>
                    <a:pt x="1256462" y="232270"/>
                  </a:lnTo>
                  <a:lnTo>
                    <a:pt x="1256462" y="233019"/>
                  </a:lnTo>
                  <a:lnTo>
                    <a:pt x="1256564" y="233019"/>
                  </a:lnTo>
                  <a:lnTo>
                    <a:pt x="1256564" y="230987"/>
                  </a:lnTo>
                  <a:lnTo>
                    <a:pt x="1256564" y="232270"/>
                  </a:lnTo>
                  <a:lnTo>
                    <a:pt x="1256564" y="230987"/>
                  </a:lnTo>
                  <a:lnTo>
                    <a:pt x="1256564" y="232270"/>
                  </a:lnTo>
                  <a:lnTo>
                    <a:pt x="1256564" y="230987"/>
                  </a:lnTo>
                  <a:lnTo>
                    <a:pt x="1256564" y="233718"/>
                  </a:lnTo>
                  <a:lnTo>
                    <a:pt x="1256615" y="233718"/>
                  </a:lnTo>
                  <a:lnTo>
                    <a:pt x="1256615" y="232270"/>
                  </a:lnTo>
                  <a:lnTo>
                    <a:pt x="1256615" y="235001"/>
                  </a:lnTo>
                  <a:lnTo>
                    <a:pt x="1256615" y="234302"/>
                  </a:lnTo>
                  <a:lnTo>
                    <a:pt x="1256665" y="234302"/>
                  </a:lnTo>
                  <a:lnTo>
                    <a:pt x="1256665" y="233718"/>
                  </a:lnTo>
                  <a:lnTo>
                    <a:pt x="1256665" y="235001"/>
                  </a:lnTo>
                  <a:lnTo>
                    <a:pt x="1256665" y="234302"/>
                  </a:lnTo>
                  <a:lnTo>
                    <a:pt x="1256665" y="235001"/>
                  </a:lnTo>
                  <a:lnTo>
                    <a:pt x="1256665" y="233718"/>
                  </a:lnTo>
                  <a:lnTo>
                    <a:pt x="1256716" y="233718"/>
                  </a:lnTo>
                  <a:lnTo>
                    <a:pt x="1256716" y="234302"/>
                  </a:lnTo>
                  <a:lnTo>
                    <a:pt x="1256716" y="233718"/>
                  </a:lnTo>
                  <a:lnTo>
                    <a:pt x="1256716" y="234302"/>
                  </a:lnTo>
                  <a:lnTo>
                    <a:pt x="1256716" y="233718"/>
                  </a:lnTo>
                  <a:lnTo>
                    <a:pt x="1256716" y="234302"/>
                  </a:lnTo>
                  <a:lnTo>
                    <a:pt x="1256805" y="235001"/>
                  </a:lnTo>
                  <a:lnTo>
                    <a:pt x="1256805" y="234302"/>
                  </a:lnTo>
                  <a:lnTo>
                    <a:pt x="1256805" y="235001"/>
                  </a:lnTo>
                  <a:lnTo>
                    <a:pt x="1256805" y="234302"/>
                  </a:lnTo>
                  <a:lnTo>
                    <a:pt x="1256856" y="234302"/>
                  </a:lnTo>
                  <a:lnTo>
                    <a:pt x="1256856" y="235001"/>
                  </a:lnTo>
                  <a:lnTo>
                    <a:pt x="1256856" y="234302"/>
                  </a:lnTo>
                  <a:lnTo>
                    <a:pt x="1256856" y="235001"/>
                  </a:lnTo>
                  <a:lnTo>
                    <a:pt x="1256856" y="234302"/>
                  </a:lnTo>
                  <a:lnTo>
                    <a:pt x="1256856" y="235001"/>
                  </a:lnTo>
                  <a:lnTo>
                    <a:pt x="1256856" y="234302"/>
                  </a:lnTo>
                  <a:lnTo>
                    <a:pt x="1256907" y="234302"/>
                  </a:lnTo>
                  <a:lnTo>
                    <a:pt x="1256907" y="235001"/>
                  </a:lnTo>
                  <a:lnTo>
                    <a:pt x="1256907" y="234302"/>
                  </a:lnTo>
                  <a:lnTo>
                    <a:pt x="1256907" y="235001"/>
                  </a:lnTo>
                  <a:lnTo>
                    <a:pt x="1256907" y="233718"/>
                  </a:lnTo>
                  <a:lnTo>
                    <a:pt x="1256907" y="234302"/>
                  </a:lnTo>
                  <a:lnTo>
                    <a:pt x="1256907" y="233718"/>
                  </a:lnTo>
                  <a:lnTo>
                    <a:pt x="1256958" y="233718"/>
                  </a:lnTo>
                  <a:lnTo>
                    <a:pt x="1256958" y="233019"/>
                  </a:lnTo>
                  <a:lnTo>
                    <a:pt x="1256958" y="233718"/>
                  </a:lnTo>
                  <a:lnTo>
                    <a:pt x="1256958" y="233019"/>
                  </a:lnTo>
                  <a:lnTo>
                    <a:pt x="1256958" y="233718"/>
                  </a:lnTo>
                  <a:lnTo>
                    <a:pt x="1256958" y="233019"/>
                  </a:lnTo>
                  <a:lnTo>
                    <a:pt x="1256958" y="233718"/>
                  </a:lnTo>
                  <a:lnTo>
                    <a:pt x="1256958" y="232270"/>
                  </a:lnTo>
                  <a:lnTo>
                    <a:pt x="1256958" y="233019"/>
                  </a:lnTo>
                  <a:lnTo>
                    <a:pt x="1256958" y="232270"/>
                  </a:lnTo>
                  <a:lnTo>
                    <a:pt x="1256958" y="233019"/>
                  </a:lnTo>
                  <a:lnTo>
                    <a:pt x="1257059" y="232270"/>
                  </a:lnTo>
                  <a:lnTo>
                    <a:pt x="1257059" y="233718"/>
                  </a:lnTo>
                  <a:lnTo>
                    <a:pt x="1257059" y="233019"/>
                  </a:lnTo>
                  <a:lnTo>
                    <a:pt x="1257059" y="233718"/>
                  </a:lnTo>
                  <a:lnTo>
                    <a:pt x="1257110" y="233718"/>
                  </a:lnTo>
                  <a:lnTo>
                    <a:pt x="1257110" y="236436"/>
                  </a:lnTo>
                  <a:lnTo>
                    <a:pt x="1257110" y="235001"/>
                  </a:lnTo>
                  <a:lnTo>
                    <a:pt x="1257161" y="235001"/>
                  </a:lnTo>
                  <a:lnTo>
                    <a:pt x="1257161" y="237134"/>
                  </a:lnTo>
                  <a:lnTo>
                    <a:pt x="1257161" y="235001"/>
                  </a:lnTo>
                  <a:lnTo>
                    <a:pt x="1257161" y="236436"/>
                  </a:lnTo>
                  <a:lnTo>
                    <a:pt x="1257262" y="236436"/>
                  </a:lnTo>
                  <a:lnTo>
                    <a:pt x="1257262" y="237134"/>
                  </a:lnTo>
                  <a:lnTo>
                    <a:pt x="1257262" y="236436"/>
                  </a:lnTo>
                  <a:lnTo>
                    <a:pt x="1257262" y="237134"/>
                  </a:lnTo>
                  <a:lnTo>
                    <a:pt x="1257300" y="237134"/>
                  </a:lnTo>
                  <a:lnTo>
                    <a:pt x="1257300" y="236436"/>
                  </a:lnTo>
                  <a:lnTo>
                    <a:pt x="1257300" y="237134"/>
                  </a:lnTo>
                  <a:lnTo>
                    <a:pt x="1257300" y="236436"/>
                  </a:lnTo>
                  <a:lnTo>
                    <a:pt x="1257300" y="237134"/>
                  </a:lnTo>
                  <a:lnTo>
                    <a:pt x="1257300" y="236436"/>
                  </a:lnTo>
                  <a:lnTo>
                    <a:pt x="1257300" y="237134"/>
                  </a:lnTo>
                  <a:lnTo>
                    <a:pt x="1257351" y="237134"/>
                  </a:lnTo>
                  <a:lnTo>
                    <a:pt x="1257351" y="237782"/>
                  </a:lnTo>
                  <a:lnTo>
                    <a:pt x="1257351" y="236436"/>
                  </a:lnTo>
                  <a:lnTo>
                    <a:pt x="1257351" y="237134"/>
                  </a:lnTo>
                  <a:lnTo>
                    <a:pt x="1257351" y="236436"/>
                  </a:lnTo>
                  <a:lnTo>
                    <a:pt x="1257351" y="237134"/>
                  </a:lnTo>
                  <a:lnTo>
                    <a:pt x="1257351" y="236436"/>
                  </a:lnTo>
                  <a:lnTo>
                    <a:pt x="1257402" y="236436"/>
                  </a:lnTo>
                  <a:lnTo>
                    <a:pt x="1257402" y="234302"/>
                  </a:lnTo>
                  <a:lnTo>
                    <a:pt x="1257504" y="234302"/>
                  </a:lnTo>
                  <a:lnTo>
                    <a:pt x="1257504" y="233019"/>
                  </a:lnTo>
                  <a:lnTo>
                    <a:pt x="1257504" y="233718"/>
                  </a:lnTo>
                  <a:lnTo>
                    <a:pt x="1257504" y="233019"/>
                  </a:lnTo>
                  <a:lnTo>
                    <a:pt x="1257504" y="233718"/>
                  </a:lnTo>
                  <a:lnTo>
                    <a:pt x="1257555" y="233718"/>
                  </a:lnTo>
                  <a:lnTo>
                    <a:pt x="1257555" y="235001"/>
                  </a:lnTo>
                  <a:lnTo>
                    <a:pt x="1257555" y="233718"/>
                  </a:lnTo>
                  <a:lnTo>
                    <a:pt x="1257555" y="234302"/>
                  </a:lnTo>
                  <a:lnTo>
                    <a:pt x="1257555" y="233718"/>
                  </a:lnTo>
                  <a:lnTo>
                    <a:pt x="1257555" y="235001"/>
                  </a:lnTo>
                  <a:lnTo>
                    <a:pt x="1257605" y="236436"/>
                  </a:lnTo>
                  <a:lnTo>
                    <a:pt x="1257605" y="235001"/>
                  </a:lnTo>
                  <a:lnTo>
                    <a:pt x="1257605" y="237134"/>
                  </a:lnTo>
                  <a:lnTo>
                    <a:pt x="1257707" y="236436"/>
                  </a:lnTo>
                  <a:lnTo>
                    <a:pt x="1257707" y="237134"/>
                  </a:lnTo>
                  <a:lnTo>
                    <a:pt x="1257758" y="237134"/>
                  </a:lnTo>
                  <a:lnTo>
                    <a:pt x="1257758" y="236436"/>
                  </a:lnTo>
                  <a:lnTo>
                    <a:pt x="1257758" y="237782"/>
                  </a:lnTo>
                  <a:lnTo>
                    <a:pt x="1257809" y="237782"/>
                  </a:lnTo>
                  <a:lnTo>
                    <a:pt x="1257809" y="238480"/>
                  </a:lnTo>
                  <a:lnTo>
                    <a:pt x="1257809" y="237782"/>
                  </a:lnTo>
                  <a:lnTo>
                    <a:pt x="1257809" y="238480"/>
                  </a:lnTo>
                  <a:lnTo>
                    <a:pt x="1257809" y="237782"/>
                  </a:lnTo>
                  <a:lnTo>
                    <a:pt x="1257809" y="238480"/>
                  </a:lnTo>
                  <a:lnTo>
                    <a:pt x="1257809" y="237782"/>
                  </a:lnTo>
                  <a:lnTo>
                    <a:pt x="1257809" y="238480"/>
                  </a:lnTo>
                  <a:lnTo>
                    <a:pt x="1257847" y="238480"/>
                  </a:lnTo>
                  <a:lnTo>
                    <a:pt x="1257847" y="237134"/>
                  </a:lnTo>
                  <a:lnTo>
                    <a:pt x="1257847" y="237782"/>
                  </a:lnTo>
                  <a:lnTo>
                    <a:pt x="1257948" y="237782"/>
                  </a:lnTo>
                  <a:lnTo>
                    <a:pt x="1257948" y="236436"/>
                  </a:lnTo>
                  <a:lnTo>
                    <a:pt x="1257948" y="237134"/>
                  </a:lnTo>
                  <a:lnTo>
                    <a:pt x="1257948" y="235001"/>
                  </a:lnTo>
                  <a:lnTo>
                    <a:pt x="1257999" y="235001"/>
                  </a:lnTo>
                  <a:lnTo>
                    <a:pt x="1257999" y="233019"/>
                  </a:lnTo>
                  <a:lnTo>
                    <a:pt x="1257999" y="233718"/>
                  </a:lnTo>
                  <a:lnTo>
                    <a:pt x="1258050" y="233718"/>
                  </a:lnTo>
                  <a:lnTo>
                    <a:pt x="1258050" y="235001"/>
                  </a:lnTo>
                  <a:lnTo>
                    <a:pt x="1258050" y="234302"/>
                  </a:lnTo>
                  <a:lnTo>
                    <a:pt x="1258050" y="235001"/>
                  </a:lnTo>
                  <a:lnTo>
                    <a:pt x="1258050" y="234302"/>
                  </a:lnTo>
                  <a:lnTo>
                    <a:pt x="1258050" y="235001"/>
                  </a:lnTo>
                  <a:lnTo>
                    <a:pt x="1258050" y="233718"/>
                  </a:lnTo>
                  <a:lnTo>
                    <a:pt x="1258050" y="235001"/>
                  </a:lnTo>
                  <a:lnTo>
                    <a:pt x="1258151" y="232270"/>
                  </a:lnTo>
                  <a:lnTo>
                    <a:pt x="1258151" y="237134"/>
                  </a:lnTo>
                  <a:lnTo>
                    <a:pt x="1258202" y="237134"/>
                  </a:lnTo>
                  <a:lnTo>
                    <a:pt x="1258202" y="236436"/>
                  </a:lnTo>
                  <a:lnTo>
                    <a:pt x="1258202" y="237134"/>
                  </a:lnTo>
                  <a:lnTo>
                    <a:pt x="1258202" y="236436"/>
                  </a:lnTo>
                  <a:lnTo>
                    <a:pt x="1258202" y="237782"/>
                  </a:lnTo>
                  <a:lnTo>
                    <a:pt x="1258253" y="237782"/>
                  </a:lnTo>
                  <a:lnTo>
                    <a:pt x="1258253" y="238480"/>
                  </a:lnTo>
                  <a:lnTo>
                    <a:pt x="1258253" y="237782"/>
                  </a:lnTo>
                  <a:lnTo>
                    <a:pt x="1258253" y="238480"/>
                  </a:lnTo>
                  <a:lnTo>
                    <a:pt x="1258253" y="237782"/>
                  </a:lnTo>
                  <a:lnTo>
                    <a:pt x="1258253" y="239166"/>
                  </a:lnTo>
                  <a:lnTo>
                    <a:pt x="1258304" y="239166"/>
                  </a:lnTo>
                  <a:lnTo>
                    <a:pt x="1258304" y="238480"/>
                  </a:lnTo>
                  <a:lnTo>
                    <a:pt x="1258304" y="239166"/>
                  </a:lnTo>
                  <a:lnTo>
                    <a:pt x="1258393" y="239166"/>
                  </a:lnTo>
                  <a:lnTo>
                    <a:pt x="1258393" y="240512"/>
                  </a:lnTo>
                  <a:lnTo>
                    <a:pt x="1258393" y="239166"/>
                  </a:lnTo>
                  <a:lnTo>
                    <a:pt x="1258393" y="240512"/>
                  </a:lnTo>
                  <a:lnTo>
                    <a:pt x="1258393" y="239166"/>
                  </a:lnTo>
                  <a:lnTo>
                    <a:pt x="1258393" y="240512"/>
                  </a:lnTo>
                  <a:lnTo>
                    <a:pt x="1258393" y="239166"/>
                  </a:lnTo>
                  <a:lnTo>
                    <a:pt x="1258444" y="239166"/>
                  </a:lnTo>
                  <a:lnTo>
                    <a:pt x="1258444" y="238480"/>
                  </a:lnTo>
                  <a:lnTo>
                    <a:pt x="1258444" y="239166"/>
                  </a:lnTo>
                  <a:lnTo>
                    <a:pt x="1258444" y="237782"/>
                  </a:lnTo>
                  <a:lnTo>
                    <a:pt x="1258494" y="237782"/>
                  </a:lnTo>
                  <a:lnTo>
                    <a:pt x="1258494" y="237134"/>
                  </a:lnTo>
                  <a:lnTo>
                    <a:pt x="1258494" y="237782"/>
                  </a:lnTo>
                  <a:lnTo>
                    <a:pt x="1258545" y="237782"/>
                  </a:lnTo>
                  <a:lnTo>
                    <a:pt x="1258545" y="236436"/>
                  </a:lnTo>
                  <a:lnTo>
                    <a:pt x="1258545" y="238480"/>
                  </a:lnTo>
                  <a:lnTo>
                    <a:pt x="1258647" y="238480"/>
                  </a:lnTo>
                  <a:lnTo>
                    <a:pt x="1258647" y="236436"/>
                  </a:lnTo>
                  <a:lnTo>
                    <a:pt x="1258647" y="237782"/>
                  </a:lnTo>
                  <a:lnTo>
                    <a:pt x="1258697" y="237782"/>
                  </a:lnTo>
                  <a:lnTo>
                    <a:pt x="1258697" y="237134"/>
                  </a:lnTo>
                  <a:lnTo>
                    <a:pt x="1258697" y="237782"/>
                  </a:lnTo>
                  <a:lnTo>
                    <a:pt x="1258748" y="237782"/>
                  </a:lnTo>
                  <a:lnTo>
                    <a:pt x="1258748" y="239166"/>
                  </a:lnTo>
                  <a:lnTo>
                    <a:pt x="1258748" y="238480"/>
                  </a:lnTo>
                  <a:lnTo>
                    <a:pt x="1258850" y="239166"/>
                  </a:lnTo>
                  <a:lnTo>
                    <a:pt x="1258850" y="238480"/>
                  </a:lnTo>
                  <a:lnTo>
                    <a:pt x="1258850" y="239166"/>
                  </a:lnTo>
                  <a:lnTo>
                    <a:pt x="1258888" y="239166"/>
                  </a:lnTo>
                  <a:lnTo>
                    <a:pt x="1258888" y="238480"/>
                  </a:lnTo>
                  <a:lnTo>
                    <a:pt x="1258888" y="239166"/>
                  </a:lnTo>
                  <a:lnTo>
                    <a:pt x="1258939" y="238480"/>
                  </a:lnTo>
                  <a:lnTo>
                    <a:pt x="1258939" y="239166"/>
                  </a:lnTo>
                  <a:lnTo>
                    <a:pt x="1258939" y="238480"/>
                  </a:lnTo>
                  <a:lnTo>
                    <a:pt x="1258939" y="239166"/>
                  </a:lnTo>
                  <a:lnTo>
                    <a:pt x="1258939" y="238480"/>
                  </a:lnTo>
                  <a:lnTo>
                    <a:pt x="1258939" y="239166"/>
                  </a:lnTo>
                  <a:lnTo>
                    <a:pt x="1258939" y="237782"/>
                  </a:lnTo>
                  <a:lnTo>
                    <a:pt x="1258990" y="237782"/>
                  </a:lnTo>
                  <a:lnTo>
                    <a:pt x="1258990" y="240512"/>
                  </a:lnTo>
                  <a:lnTo>
                    <a:pt x="1258990" y="237782"/>
                  </a:lnTo>
                  <a:lnTo>
                    <a:pt x="1258990" y="239166"/>
                  </a:lnTo>
                  <a:lnTo>
                    <a:pt x="1259091" y="240512"/>
                  </a:lnTo>
                  <a:lnTo>
                    <a:pt x="1259091" y="241897"/>
                  </a:lnTo>
                  <a:lnTo>
                    <a:pt x="1259091" y="239166"/>
                  </a:lnTo>
                  <a:lnTo>
                    <a:pt x="1259091" y="240512"/>
                  </a:lnTo>
                  <a:lnTo>
                    <a:pt x="1259142" y="241198"/>
                  </a:lnTo>
                  <a:lnTo>
                    <a:pt x="1259142" y="240512"/>
                  </a:lnTo>
                  <a:lnTo>
                    <a:pt x="1259142" y="241198"/>
                  </a:lnTo>
                  <a:lnTo>
                    <a:pt x="1259193" y="241198"/>
                  </a:lnTo>
                  <a:lnTo>
                    <a:pt x="1259193" y="240512"/>
                  </a:lnTo>
                  <a:lnTo>
                    <a:pt x="1259193" y="241198"/>
                  </a:lnTo>
                  <a:lnTo>
                    <a:pt x="1259193" y="240512"/>
                  </a:lnTo>
                  <a:lnTo>
                    <a:pt x="1259193" y="241198"/>
                  </a:lnTo>
                  <a:lnTo>
                    <a:pt x="1259193" y="240512"/>
                  </a:lnTo>
                  <a:lnTo>
                    <a:pt x="1259193" y="241198"/>
                  </a:lnTo>
                  <a:lnTo>
                    <a:pt x="1259294" y="241198"/>
                  </a:lnTo>
                  <a:lnTo>
                    <a:pt x="1259294" y="241897"/>
                  </a:lnTo>
                  <a:lnTo>
                    <a:pt x="1259294" y="240512"/>
                  </a:lnTo>
                  <a:lnTo>
                    <a:pt x="1259294" y="241198"/>
                  </a:lnTo>
                  <a:lnTo>
                    <a:pt x="1259294" y="240512"/>
                  </a:lnTo>
                  <a:lnTo>
                    <a:pt x="1259345" y="241198"/>
                  </a:lnTo>
                  <a:lnTo>
                    <a:pt x="1259345" y="240512"/>
                  </a:lnTo>
                  <a:lnTo>
                    <a:pt x="1259345" y="241198"/>
                  </a:lnTo>
                  <a:lnTo>
                    <a:pt x="1259345" y="240512"/>
                  </a:lnTo>
                  <a:lnTo>
                    <a:pt x="1259345" y="241198"/>
                  </a:lnTo>
                  <a:lnTo>
                    <a:pt x="1259345" y="240512"/>
                  </a:lnTo>
                  <a:lnTo>
                    <a:pt x="1259345" y="241198"/>
                  </a:lnTo>
                  <a:lnTo>
                    <a:pt x="1259345" y="240512"/>
                  </a:lnTo>
                  <a:lnTo>
                    <a:pt x="1259396" y="240512"/>
                  </a:lnTo>
                  <a:lnTo>
                    <a:pt x="1259396" y="239166"/>
                  </a:lnTo>
                  <a:lnTo>
                    <a:pt x="1259396" y="240512"/>
                  </a:lnTo>
                  <a:lnTo>
                    <a:pt x="1259396" y="239166"/>
                  </a:lnTo>
                  <a:lnTo>
                    <a:pt x="1259434" y="239166"/>
                  </a:lnTo>
                  <a:lnTo>
                    <a:pt x="1259434" y="237782"/>
                  </a:lnTo>
                  <a:lnTo>
                    <a:pt x="1259434" y="240512"/>
                  </a:lnTo>
                  <a:lnTo>
                    <a:pt x="1259536" y="240512"/>
                  </a:lnTo>
                  <a:lnTo>
                    <a:pt x="1259536" y="241198"/>
                  </a:lnTo>
                  <a:lnTo>
                    <a:pt x="1259536" y="238480"/>
                  </a:lnTo>
                  <a:lnTo>
                    <a:pt x="1259536" y="241897"/>
                  </a:lnTo>
                  <a:lnTo>
                    <a:pt x="1259587" y="242595"/>
                  </a:lnTo>
                  <a:lnTo>
                    <a:pt x="1259587" y="240512"/>
                  </a:lnTo>
                  <a:lnTo>
                    <a:pt x="1259587" y="242595"/>
                  </a:lnTo>
                  <a:lnTo>
                    <a:pt x="1259637" y="242595"/>
                  </a:lnTo>
                  <a:lnTo>
                    <a:pt x="1259637" y="241198"/>
                  </a:lnTo>
                  <a:lnTo>
                    <a:pt x="1259637" y="241897"/>
                  </a:lnTo>
                  <a:lnTo>
                    <a:pt x="1259637" y="241198"/>
                  </a:lnTo>
                  <a:lnTo>
                    <a:pt x="1259637" y="241897"/>
                  </a:lnTo>
                  <a:lnTo>
                    <a:pt x="1259637" y="241198"/>
                  </a:lnTo>
                  <a:lnTo>
                    <a:pt x="1259637" y="241897"/>
                  </a:lnTo>
                  <a:lnTo>
                    <a:pt x="1259739" y="241897"/>
                  </a:lnTo>
                  <a:lnTo>
                    <a:pt x="1259739" y="242595"/>
                  </a:lnTo>
                  <a:lnTo>
                    <a:pt x="1259739" y="241897"/>
                  </a:lnTo>
                  <a:lnTo>
                    <a:pt x="1259739" y="242595"/>
                  </a:lnTo>
                  <a:lnTo>
                    <a:pt x="1259739" y="241897"/>
                  </a:lnTo>
                  <a:lnTo>
                    <a:pt x="1259739" y="242595"/>
                  </a:lnTo>
                  <a:lnTo>
                    <a:pt x="1259739" y="241897"/>
                  </a:lnTo>
                  <a:lnTo>
                    <a:pt x="1259790" y="241897"/>
                  </a:lnTo>
                  <a:lnTo>
                    <a:pt x="1259790" y="242595"/>
                  </a:lnTo>
                  <a:lnTo>
                    <a:pt x="1259790" y="241897"/>
                  </a:lnTo>
                  <a:lnTo>
                    <a:pt x="1259790" y="242595"/>
                  </a:lnTo>
                  <a:lnTo>
                    <a:pt x="1259790" y="241897"/>
                  </a:lnTo>
                  <a:lnTo>
                    <a:pt x="1259790" y="242595"/>
                  </a:lnTo>
                  <a:lnTo>
                    <a:pt x="1259790" y="241897"/>
                  </a:lnTo>
                  <a:lnTo>
                    <a:pt x="1259840" y="241198"/>
                  </a:lnTo>
                  <a:lnTo>
                    <a:pt x="1259840" y="241897"/>
                  </a:lnTo>
                  <a:lnTo>
                    <a:pt x="1259840" y="241198"/>
                  </a:lnTo>
                  <a:lnTo>
                    <a:pt x="1259891" y="241198"/>
                  </a:lnTo>
                  <a:lnTo>
                    <a:pt x="1259891" y="240512"/>
                  </a:lnTo>
                  <a:lnTo>
                    <a:pt x="1259891" y="241198"/>
                  </a:lnTo>
                  <a:lnTo>
                    <a:pt x="1259891" y="239166"/>
                  </a:lnTo>
                  <a:lnTo>
                    <a:pt x="1259980" y="239166"/>
                  </a:lnTo>
                  <a:lnTo>
                    <a:pt x="1259980" y="238480"/>
                  </a:lnTo>
                  <a:lnTo>
                    <a:pt x="1259980" y="241897"/>
                  </a:lnTo>
                  <a:lnTo>
                    <a:pt x="1259980" y="240512"/>
                  </a:lnTo>
                  <a:lnTo>
                    <a:pt x="1260031" y="239166"/>
                  </a:lnTo>
                  <a:lnTo>
                    <a:pt x="1260031" y="243929"/>
                  </a:lnTo>
                  <a:lnTo>
                    <a:pt x="1260031" y="241198"/>
                  </a:lnTo>
                  <a:lnTo>
                    <a:pt x="1260082" y="241897"/>
                  </a:lnTo>
                  <a:lnTo>
                    <a:pt x="1260082" y="242595"/>
                  </a:lnTo>
                  <a:lnTo>
                    <a:pt x="1260082" y="241897"/>
                  </a:lnTo>
                  <a:lnTo>
                    <a:pt x="1260133" y="242595"/>
                  </a:lnTo>
                  <a:lnTo>
                    <a:pt x="1260133" y="243929"/>
                  </a:lnTo>
                  <a:lnTo>
                    <a:pt x="1260133" y="242595"/>
                  </a:lnTo>
                  <a:lnTo>
                    <a:pt x="1260133" y="243929"/>
                  </a:lnTo>
                  <a:lnTo>
                    <a:pt x="1260133" y="242595"/>
                  </a:lnTo>
                  <a:lnTo>
                    <a:pt x="1260133" y="243929"/>
                  </a:lnTo>
                  <a:lnTo>
                    <a:pt x="1260234" y="243929"/>
                  </a:lnTo>
                  <a:lnTo>
                    <a:pt x="1260234" y="242595"/>
                  </a:lnTo>
                  <a:lnTo>
                    <a:pt x="1260234" y="244627"/>
                  </a:lnTo>
                  <a:lnTo>
                    <a:pt x="1260234" y="243929"/>
                  </a:lnTo>
                  <a:lnTo>
                    <a:pt x="1260234" y="244627"/>
                  </a:lnTo>
                  <a:lnTo>
                    <a:pt x="1260234" y="243929"/>
                  </a:lnTo>
                  <a:lnTo>
                    <a:pt x="1260234" y="244627"/>
                  </a:lnTo>
                  <a:lnTo>
                    <a:pt x="1260234" y="243929"/>
                  </a:lnTo>
                  <a:lnTo>
                    <a:pt x="1260285" y="244627"/>
                  </a:lnTo>
                  <a:lnTo>
                    <a:pt x="1260285" y="243929"/>
                  </a:lnTo>
                  <a:lnTo>
                    <a:pt x="1260336" y="243929"/>
                  </a:lnTo>
                  <a:lnTo>
                    <a:pt x="1260336" y="242595"/>
                  </a:lnTo>
                  <a:lnTo>
                    <a:pt x="1260336" y="243929"/>
                  </a:lnTo>
                  <a:lnTo>
                    <a:pt x="1260336" y="241897"/>
                  </a:lnTo>
                  <a:lnTo>
                    <a:pt x="1260336" y="242595"/>
                  </a:lnTo>
                  <a:lnTo>
                    <a:pt x="1260336" y="241198"/>
                  </a:lnTo>
                  <a:lnTo>
                    <a:pt x="1260437" y="241897"/>
                  </a:lnTo>
                  <a:lnTo>
                    <a:pt x="1260437" y="241198"/>
                  </a:lnTo>
                  <a:lnTo>
                    <a:pt x="1260437" y="241897"/>
                  </a:lnTo>
                  <a:lnTo>
                    <a:pt x="1260437" y="239166"/>
                  </a:lnTo>
                  <a:lnTo>
                    <a:pt x="1260437" y="240512"/>
                  </a:lnTo>
                  <a:lnTo>
                    <a:pt x="1260437" y="239166"/>
                  </a:lnTo>
                  <a:lnTo>
                    <a:pt x="1260475" y="240512"/>
                  </a:lnTo>
                  <a:lnTo>
                    <a:pt x="1260475" y="241897"/>
                  </a:lnTo>
                  <a:lnTo>
                    <a:pt x="1260475" y="240512"/>
                  </a:lnTo>
                  <a:lnTo>
                    <a:pt x="1260475" y="241198"/>
                  </a:lnTo>
                  <a:lnTo>
                    <a:pt x="1260475" y="240512"/>
                  </a:lnTo>
                  <a:lnTo>
                    <a:pt x="1260475" y="241897"/>
                  </a:lnTo>
                  <a:lnTo>
                    <a:pt x="1260526" y="242595"/>
                  </a:lnTo>
                  <a:lnTo>
                    <a:pt x="1260526" y="243929"/>
                  </a:lnTo>
                  <a:lnTo>
                    <a:pt x="1260526" y="241198"/>
                  </a:lnTo>
                  <a:lnTo>
                    <a:pt x="1260526" y="242595"/>
                  </a:lnTo>
                  <a:lnTo>
                    <a:pt x="1260577" y="242595"/>
                  </a:lnTo>
                  <a:lnTo>
                    <a:pt x="1260577" y="241897"/>
                  </a:lnTo>
                  <a:lnTo>
                    <a:pt x="1260577" y="242595"/>
                  </a:lnTo>
                  <a:lnTo>
                    <a:pt x="1260577" y="241897"/>
                  </a:lnTo>
                  <a:lnTo>
                    <a:pt x="1260577" y="243929"/>
                  </a:lnTo>
                  <a:lnTo>
                    <a:pt x="1260679" y="243929"/>
                  </a:lnTo>
                  <a:lnTo>
                    <a:pt x="1260679" y="242595"/>
                  </a:lnTo>
                  <a:lnTo>
                    <a:pt x="1260679" y="243929"/>
                  </a:lnTo>
                  <a:lnTo>
                    <a:pt x="1260679" y="242595"/>
                  </a:lnTo>
                  <a:lnTo>
                    <a:pt x="1260730" y="243929"/>
                  </a:lnTo>
                  <a:lnTo>
                    <a:pt x="1260730" y="242595"/>
                  </a:lnTo>
                  <a:lnTo>
                    <a:pt x="1260730" y="243929"/>
                  </a:lnTo>
                  <a:lnTo>
                    <a:pt x="1260730" y="242595"/>
                  </a:lnTo>
                  <a:lnTo>
                    <a:pt x="1260730" y="243929"/>
                  </a:lnTo>
                  <a:lnTo>
                    <a:pt x="1260730" y="242595"/>
                  </a:lnTo>
                  <a:lnTo>
                    <a:pt x="1260730" y="243929"/>
                  </a:lnTo>
                  <a:lnTo>
                    <a:pt x="1260780" y="243929"/>
                  </a:lnTo>
                  <a:lnTo>
                    <a:pt x="1260780" y="242595"/>
                  </a:lnTo>
                  <a:lnTo>
                    <a:pt x="1260780" y="243929"/>
                  </a:lnTo>
                  <a:lnTo>
                    <a:pt x="1260780" y="242595"/>
                  </a:lnTo>
                  <a:lnTo>
                    <a:pt x="1260780" y="243929"/>
                  </a:lnTo>
                  <a:lnTo>
                    <a:pt x="1260780" y="242595"/>
                  </a:lnTo>
                  <a:lnTo>
                    <a:pt x="1260882" y="242595"/>
                  </a:lnTo>
                  <a:lnTo>
                    <a:pt x="1260882" y="241198"/>
                  </a:lnTo>
                  <a:lnTo>
                    <a:pt x="1260882" y="241897"/>
                  </a:lnTo>
                  <a:lnTo>
                    <a:pt x="1260933" y="241198"/>
                  </a:lnTo>
                  <a:lnTo>
                    <a:pt x="1260933" y="240512"/>
                  </a:lnTo>
                  <a:lnTo>
                    <a:pt x="1260933" y="241198"/>
                  </a:lnTo>
                  <a:lnTo>
                    <a:pt x="1260933" y="240512"/>
                  </a:lnTo>
                  <a:lnTo>
                    <a:pt x="1260933" y="241198"/>
                  </a:lnTo>
                  <a:lnTo>
                    <a:pt x="1260984" y="241198"/>
                  </a:lnTo>
                  <a:lnTo>
                    <a:pt x="1260984" y="240512"/>
                  </a:lnTo>
                  <a:lnTo>
                    <a:pt x="1260984" y="243929"/>
                  </a:lnTo>
                  <a:lnTo>
                    <a:pt x="1260984" y="242595"/>
                  </a:lnTo>
                  <a:lnTo>
                    <a:pt x="1261022" y="242595"/>
                  </a:lnTo>
                  <a:lnTo>
                    <a:pt x="1261022" y="241897"/>
                  </a:lnTo>
                  <a:lnTo>
                    <a:pt x="1261022" y="242595"/>
                  </a:lnTo>
                  <a:lnTo>
                    <a:pt x="1261022" y="241897"/>
                  </a:lnTo>
                  <a:lnTo>
                    <a:pt x="1261022" y="242595"/>
                  </a:lnTo>
                  <a:lnTo>
                    <a:pt x="1261022" y="241897"/>
                  </a:lnTo>
                  <a:lnTo>
                    <a:pt x="1261022" y="242595"/>
                  </a:lnTo>
                  <a:lnTo>
                    <a:pt x="1261123" y="242595"/>
                  </a:lnTo>
                  <a:lnTo>
                    <a:pt x="1261123" y="241897"/>
                  </a:lnTo>
                  <a:lnTo>
                    <a:pt x="1261123" y="243929"/>
                  </a:lnTo>
                  <a:lnTo>
                    <a:pt x="1261123" y="242595"/>
                  </a:lnTo>
                  <a:lnTo>
                    <a:pt x="1261123" y="243929"/>
                  </a:lnTo>
                  <a:lnTo>
                    <a:pt x="1261174" y="243929"/>
                  </a:lnTo>
                  <a:lnTo>
                    <a:pt x="1261174" y="242595"/>
                  </a:lnTo>
                  <a:lnTo>
                    <a:pt x="1261174" y="243929"/>
                  </a:lnTo>
                  <a:lnTo>
                    <a:pt x="1261225" y="243929"/>
                  </a:lnTo>
                  <a:lnTo>
                    <a:pt x="1261225" y="244627"/>
                  </a:lnTo>
                  <a:lnTo>
                    <a:pt x="1261225" y="243929"/>
                  </a:lnTo>
                  <a:lnTo>
                    <a:pt x="1261326" y="243929"/>
                  </a:lnTo>
                  <a:lnTo>
                    <a:pt x="1261326" y="242595"/>
                  </a:lnTo>
                  <a:lnTo>
                    <a:pt x="1261377" y="242595"/>
                  </a:lnTo>
                  <a:lnTo>
                    <a:pt x="1261377" y="241198"/>
                  </a:lnTo>
                  <a:lnTo>
                    <a:pt x="1261377" y="241897"/>
                  </a:lnTo>
                  <a:lnTo>
                    <a:pt x="1261428" y="241198"/>
                  </a:lnTo>
                  <a:lnTo>
                    <a:pt x="1261428" y="240512"/>
                  </a:lnTo>
                  <a:lnTo>
                    <a:pt x="1261428" y="241198"/>
                  </a:lnTo>
                  <a:lnTo>
                    <a:pt x="1261428" y="240512"/>
                  </a:lnTo>
                  <a:lnTo>
                    <a:pt x="1261428" y="241897"/>
                  </a:lnTo>
                  <a:lnTo>
                    <a:pt x="1261428" y="241198"/>
                  </a:lnTo>
                  <a:lnTo>
                    <a:pt x="1261479" y="241198"/>
                  </a:lnTo>
                  <a:lnTo>
                    <a:pt x="1261479" y="239166"/>
                  </a:lnTo>
                  <a:lnTo>
                    <a:pt x="1261479" y="243929"/>
                  </a:lnTo>
                  <a:lnTo>
                    <a:pt x="1261479" y="241198"/>
                  </a:lnTo>
                  <a:lnTo>
                    <a:pt x="1261568" y="241198"/>
                  </a:lnTo>
                  <a:lnTo>
                    <a:pt x="1261568" y="240512"/>
                  </a:lnTo>
                  <a:lnTo>
                    <a:pt x="1261568" y="242595"/>
                  </a:lnTo>
                  <a:lnTo>
                    <a:pt x="1261568" y="241897"/>
                  </a:lnTo>
                  <a:lnTo>
                    <a:pt x="1261619" y="241897"/>
                  </a:lnTo>
                  <a:lnTo>
                    <a:pt x="1261619" y="242595"/>
                  </a:lnTo>
                  <a:lnTo>
                    <a:pt x="1261619" y="241897"/>
                  </a:lnTo>
                  <a:lnTo>
                    <a:pt x="1261619" y="242595"/>
                  </a:lnTo>
                  <a:lnTo>
                    <a:pt x="1261619" y="241897"/>
                  </a:lnTo>
                  <a:lnTo>
                    <a:pt x="1261619" y="242595"/>
                  </a:lnTo>
                  <a:lnTo>
                    <a:pt x="1261669" y="242595"/>
                  </a:lnTo>
                  <a:lnTo>
                    <a:pt x="1261669" y="243929"/>
                  </a:lnTo>
                  <a:lnTo>
                    <a:pt x="1261669" y="242595"/>
                  </a:lnTo>
                  <a:lnTo>
                    <a:pt x="1261720" y="242595"/>
                  </a:lnTo>
                  <a:lnTo>
                    <a:pt x="1261720" y="243929"/>
                  </a:lnTo>
                  <a:lnTo>
                    <a:pt x="1261822" y="243929"/>
                  </a:lnTo>
                  <a:lnTo>
                    <a:pt x="1261822" y="241897"/>
                  </a:lnTo>
                  <a:lnTo>
                    <a:pt x="1261822" y="242595"/>
                  </a:lnTo>
                  <a:lnTo>
                    <a:pt x="1261822" y="241897"/>
                  </a:lnTo>
                  <a:lnTo>
                    <a:pt x="1261872" y="241897"/>
                  </a:lnTo>
                  <a:lnTo>
                    <a:pt x="1261872" y="241198"/>
                  </a:lnTo>
                  <a:lnTo>
                    <a:pt x="1261872" y="241897"/>
                  </a:lnTo>
                  <a:lnTo>
                    <a:pt x="1261872" y="241198"/>
                  </a:lnTo>
                  <a:lnTo>
                    <a:pt x="1261872" y="241897"/>
                  </a:lnTo>
                  <a:lnTo>
                    <a:pt x="1261872" y="241198"/>
                  </a:lnTo>
                  <a:lnTo>
                    <a:pt x="1261872" y="241897"/>
                  </a:lnTo>
                  <a:lnTo>
                    <a:pt x="1261872" y="241198"/>
                  </a:lnTo>
                  <a:lnTo>
                    <a:pt x="1261923" y="241198"/>
                  </a:lnTo>
                  <a:lnTo>
                    <a:pt x="1261923" y="242595"/>
                  </a:lnTo>
                  <a:lnTo>
                    <a:pt x="1261923" y="240512"/>
                  </a:lnTo>
                  <a:lnTo>
                    <a:pt x="1261923" y="241198"/>
                  </a:lnTo>
                  <a:lnTo>
                    <a:pt x="1261923" y="240512"/>
                  </a:lnTo>
                  <a:lnTo>
                    <a:pt x="1261923" y="241897"/>
                  </a:lnTo>
                  <a:lnTo>
                    <a:pt x="1262025" y="241897"/>
                  </a:lnTo>
                  <a:lnTo>
                    <a:pt x="1262025" y="243929"/>
                  </a:lnTo>
                  <a:lnTo>
                    <a:pt x="1262025" y="241198"/>
                  </a:lnTo>
                  <a:lnTo>
                    <a:pt x="1262025" y="241897"/>
                  </a:lnTo>
                  <a:lnTo>
                    <a:pt x="1262063" y="241897"/>
                  </a:lnTo>
                  <a:lnTo>
                    <a:pt x="1262063" y="243929"/>
                  </a:lnTo>
                  <a:lnTo>
                    <a:pt x="1262063" y="241897"/>
                  </a:lnTo>
                  <a:lnTo>
                    <a:pt x="1262063" y="242595"/>
                  </a:lnTo>
                  <a:lnTo>
                    <a:pt x="1262114" y="242595"/>
                  </a:lnTo>
                  <a:lnTo>
                    <a:pt x="1262114" y="243929"/>
                  </a:lnTo>
                  <a:lnTo>
                    <a:pt x="1262114" y="242595"/>
                  </a:lnTo>
                  <a:lnTo>
                    <a:pt x="1262114" y="243929"/>
                  </a:lnTo>
                  <a:lnTo>
                    <a:pt x="1262165" y="243929"/>
                  </a:lnTo>
                  <a:lnTo>
                    <a:pt x="1262165" y="244627"/>
                  </a:lnTo>
                  <a:lnTo>
                    <a:pt x="1262165" y="243929"/>
                  </a:lnTo>
                  <a:lnTo>
                    <a:pt x="1262266" y="243929"/>
                  </a:lnTo>
                  <a:lnTo>
                    <a:pt x="1262266" y="244627"/>
                  </a:lnTo>
                  <a:lnTo>
                    <a:pt x="1262266" y="243929"/>
                  </a:lnTo>
                  <a:lnTo>
                    <a:pt x="1262317" y="243929"/>
                  </a:lnTo>
                  <a:lnTo>
                    <a:pt x="1262317" y="242595"/>
                  </a:lnTo>
                  <a:lnTo>
                    <a:pt x="1262317" y="243929"/>
                  </a:lnTo>
                  <a:lnTo>
                    <a:pt x="1262368" y="242595"/>
                  </a:lnTo>
                  <a:lnTo>
                    <a:pt x="1262368" y="241198"/>
                  </a:lnTo>
                  <a:lnTo>
                    <a:pt x="1262368" y="242595"/>
                  </a:lnTo>
                  <a:lnTo>
                    <a:pt x="1262469" y="243929"/>
                  </a:lnTo>
                  <a:lnTo>
                    <a:pt x="1262469" y="241897"/>
                  </a:lnTo>
                  <a:lnTo>
                    <a:pt x="1262469" y="245326"/>
                  </a:lnTo>
                  <a:lnTo>
                    <a:pt x="1262520" y="245326"/>
                  </a:lnTo>
                  <a:lnTo>
                    <a:pt x="1262520" y="242595"/>
                  </a:lnTo>
                  <a:lnTo>
                    <a:pt x="1262520" y="244627"/>
                  </a:lnTo>
                  <a:lnTo>
                    <a:pt x="1262571" y="243929"/>
                  </a:lnTo>
                  <a:lnTo>
                    <a:pt x="1262571" y="244627"/>
                  </a:lnTo>
                  <a:lnTo>
                    <a:pt x="1262571" y="243929"/>
                  </a:lnTo>
                  <a:lnTo>
                    <a:pt x="1262571" y="244627"/>
                  </a:lnTo>
                  <a:lnTo>
                    <a:pt x="1262571" y="243929"/>
                  </a:lnTo>
                  <a:lnTo>
                    <a:pt x="1262571" y="244627"/>
                  </a:lnTo>
                  <a:lnTo>
                    <a:pt x="1262609" y="244627"/>
                  </a:lnTo>
                  <a:lnTo>
                    <a:pt x="1262609" y="243929"/>
                  </a:lnTo>
                  <a:lnTo>
                    <a:pt x="1262609" y="244627"/>
                  </a:lnTo>
                  <a:lnTo>
                    <a:pt x="1262711" y="244627"/>
                  </a:lnTo>
                  <a:lnTo>
                    <a:pt x="1262711" y="243929"/>
                  </a:lnTo>
                  <a:lnTo>
                    <a:pt x="1262711" y="244627"/>
                  </a:lnTo>
                  <a:lnTo>
                    <a:pt x="1262711" y="243929"/>
                  </a:lnTo>
                  <a:lnTo>
                    <a:pt x="1262711" y="244627"/>
                  </a:lnTo>
                  <a:lnTo>
                    <a:pt x="1262711" y="243929"/>
                  </a:lnTo>
                  <a:lnTo>
                    <a:pt x="1262762" y="243929"/>
                  </a:lnTo>
                  <a:lnTo>
                    <a:pt x="1262762" y="244627"/>
                  </a:lnTo>
                  <a:lnTo>
                    <a:pt x="1262762" y="243929"/>
                  </a:lnTo>
                  <a:lnTo>
                    <a:pt x="1262812" y="243929"/>
                  </a:lnTo>
                  <a:lnTo>
                    <a:pt x="1262812" y="241897"/>
                  </a:lnTo>
                  <a:lnTo>
                    <a:pt x="1262914" y="241897"/>
                  </a:lnTo>
                  <a:lnTo>
                    <a:pt x="1262914" y="241198"/>
                  </a:lnTo>
                  <a:lnTo>
                    <a:pt x="1262914" y="241897"/>
                  </a:lnTo>
                  <a:lnTo>
                    <a:pt x="1262914" y="241198"/>
                  </a:lnTo>
                  <a:lnTo>
                    <a:pt x="1262914" y="241897"/>
                  </a:lnTo>
                  <a:lnTo>
                    <a:pt x="1262914" y="241198"/>
                  </a:lnTo>
                  <a:lnTo>
                    <a:pt x="1262914" y="242595"/>
                  </a:lnTo>
                  <a:lnTo>
                    <a:pt x="1262965" y="241897"/>
                  </a:lnTo>
                  <a:lnTo>
                    <a:pt x="1262965" y="243929"/>
                  </a:lnTo>
                  <a:lnTo>
                    <a:pt x="1263015" y="243929"/>
                  </a:lnTo>
                  <a:lnTo>
                    <a:pt x="1263015" y="242595"/>
                  </a:lnTo>
                  <a:lnTo>
                    <a:pt x="1263015" y="244627"/>
                  </a:lnTo>
                  <a:lnTo>
                    <a:pt x="1263066" y="244627"/>
                  </a:lnTo>
                  <a:lnTo>
                    <a:pt x="1263066" y="243929"/>
                  </a:lnTo>
                  <a:lnTo>
                    <a:pt x="1263066" y="244627"/>
                  </a:lnTo>
                  <a:lnTo>
                    <a:pt x="1263155" y="244627"/>
                  </a:lnTo>
                  <a:lnTo>
                    <a:pt x="1263155" y="245961"/>
                  </a:lnTo>
                  <a:lnTo>
                    <a:pt x="1263155" y="244627"/>
                  </a:lnTo>
                  <a:lnTo>
                    <a:pt x="1263155" y="245961"/>
                  </a:lnTo>
                  <a:lnTo>
                    <a:pt x="1263206" y="245961"/>
                  </a:lnTo>
                  <a:lnTo>
                    <a:pt x="1263206" y="246659"/>
                  </a:lnTo>
                  <a:lnTo>
                    <a:pt x="1263206" y="245961"/>
                  </a:lnTo>
                  <a:lnTo>
                    <a:pt x="1263257" y="245961"/>
                  </a:lnTo>
                  <a:lnTo>
                    <a:pt x="1263257" y="246659"/>
                  </a:lnTo>
                  <a:lnTo>
                    <a:pt x="1263257" y="245326"/>
                  </a:lnTo>
                  <a:lnTo>
                    <a:pt x="1263257" y="245961"/>
                  </a:lnTo>
                  <a:lnTo>
                    <a:pt x="1263308" y="245326"/>
                  </a:lnTo>
                  <a:lnTo>
                    <a:pt x="1263308" y="242595"/>
                  </a:lnTo>
                  <a:lnTo>
                    <a:pt x="1263409" y="242595"/>
                  </a:lnTo>
                  <a:lnTo>
                    <a:pt x="1263409" y="241897"/>
                  </a:lnTo>
                  <a:lnTo>
                    <a:pt x="1263409" y="243929"/>
                  </a:lnTo>
                  <a:lnTo>
                    <a:pt x="1263409" y="241897"/>
                  </a:lnTo>
                  <a:lnTo>
                    <a:pt x="1263460" y="241897"/>
                  </a:lnTo>
                  <a:lnTo>
                    <a:pt x="1263460" y="243929"/>
                  </a:lnTo>
                  <a:lnTo>
                    <a:pt x="1263511" y="243929"/>
                  </a:lnTo>
                  <a:lnTo>
                    <a:pt x="1263511" y="242595"/>
                  </a:lnTo>
                  <a:lnTo>
                    <a:pt x="1263511" y="244627"/>
                  </a:lnTo>
                  <a:lnTo>
                    <a:pt x="1263511" y="243929"/>
                  </a:lnTo>
                  <a:lnTo>
                    <a:pt x="1263511" y="244627"/>
                  </a:lnTo>
                  <a:lnTo>
                    <a:pt x="1263511" y="243929"/>
                  </a:lnTo>
                  <a:lnTo>
                    <a:pt x="1263511" y="244627"/>
                  </a:lnTo>
                  <a:lnTo>
                    <a:pt x="1263612" y="243929"/>
                  </a:lnTo>
                  <a:lnTo>
                    <a:pt x="1263612" y="244627"/>
                  </a:lnTo>
                  <a:lnTo>
                    <a:pt x="1263612" y="243929"/>
                  </a:lnTo>
                  <a:lnTo>
                    <a:pt x="1263612" y="245326"/>
                  </a:lnTo>
                  <a:lnTo>
                    <a:pt x="1263612" y="244627"/>
                  </a:lnTo>
                  <a:lnTo>
                    <a:pt x="1263612" y="245326"/>
                  </a:lnTo>
                  <a:lnTo>
                    <a:pt x="1263612" y="244627"/>
                  </a:lnTo>
                  <a:lnTo>
                    <a:pt x="1263650" y="244627"/>
                  </a:lnTo>
                  <a:lnTo>
                    <a:pt x="1263650" y="245326"/>
                  </a:lnTo>
                  <a:lnTo>
                    <a:pt x="1263650" y="244627"/>
                  </a:lnTo>
                  <a:lnTo>
                    <a:pt x="1263650" y="245326"/>
                  </a:lnTo>
                  <a:lnTo>
                    <a:pt x="1263701" y="245326"/>
                  </a:lnTo>
                  <a:lnTo>
                    <a:pt x="1263701" y="245961"/>
                  </a:lnTo>
                  <a:lnTo>
                    <a:pt x="1263701" y="245326"/>
                  </a:lnTo>
                  <a:lnTo>
                    <a:pt x="1263701" y="245961"/>
                  </a:lnTo>
                  <a:lnTo>
                    <a:pt x="1263701" y="245326"/>
                  </a:lnTo>
                  <a:lnTo>
                    <a:pt x="1263752" y="245326"/>
                  </a:lnTo>
                  <a:lnTo>
                    <a:pt x="1263752" y="243929"/>
                  </a:lnTo>
                  <a:lnTo>
                    <a:pt x="1263854" y="244627"/>
                  </a:lnTo>
                  <a:lnTo>
                    <a:pt x="1263854" y="242595"/>
                  </a:lnTo>
                  <a:lnTo>
                    <a:pt x="1263854" y="243929"/>
                  </a:lnTo>
                  <a:lnTo>
                    <a:pt x="1263854" y="241198"/>
                  </a:lnTo>
                  <a:lnTo>
                    <a:pt x="1263905" y="241897"/>
                  </a:lnTo>
                  <a:lnTo>
                    <a:pt x="1263905" y="241198"/>
                  </a:lnTo>
                  <a:lnTo>
                    <a:pt x="1263905" y="242595"/>
                  </a:lnTo>
                  <a:lnTo>
                    <a:pt x="1263905" y="241897"/>
                  </a:lnTo>
                  <a:lnTo>
                    <a:pt x="1263955" y="241897"/>
                  </a:lnTo>
                  <a:lnTo>
                    <a:pt x="1263955" y="241198"/>
                  </a:lnTo>
                  <a:lnTo>
                    <a:pt x="1263955" y="243929"/>
                  </a:lnTo>
                  <a:lnTo>
                    <a:pt x="1263955" y="242595"/>
                  </a:lnTo>
                  <a:lnTo>
                    <a:pt x="1264057" y="242595"/>
                  </a:lnTo>
                  <a:lnTo>
                    <a:pt x="1264057" y="243929"/>
                  </a:lnTo>
                  <a:lnTo>
                    <a:pt x="1264057" y="242595"/>
                  </a:lnTo>
                  <a:lnTo>
                    <a:pt x="1264057" y="243929"/>
                  </a:lnTo>
                  <a:lnTo>
                    <a:pt x="1264108" y="243929"/>
                  </a:lnTo>
                  <a:lnTo>
                    <a:pt x="1264108" y="244627"/>
                  </a:lnTo>
                  <a:lnTo>
                    <a:pt x="1264108" y="242595"/>
                  </a:lnTo>
                  <a:lnTo>
                    <a:pt x="1264108" y="244627"/>
                  </a:lnTo>
                  <a:lnTo>
                    <a:pt x="1264159" y="243929"/>
                  </a:lnTo>
                  <a:lnTo>
                    <a:pt x="1264159" y="244627"/>
                  </a:lnTo>
                  <a:lnTo>
                    <a:pt x="1264197" y="244627"/>
                  </a:lnTo>
                  <a:lnTo>
                    <a:pt x="1264197" y="245326"/>
                  </a:lnTo>
                  <a:lnTo>
                    <a:pt x="1264197" y="244627"/>
                  </a:lnTo>
                  <a:lnTo>
                    <a:pt x="1264197" y="245326"/>
                  </a:lnTo>
                  <a:lnTo>
                    <a:pt x="1264197" y="244627"/>
                  </a:lnTo>
                  <a:lnTo>
                    <a:pt x="1264197" y="245326"/>
                  </a:lnTo>
                  <a:lnTo>
                    <a:pt x="1264298" y="245326"/>
                  </a:lnTo>
                  <a:lnTo>
                    <a:pt x="1264298" y="244627"/>
                  </a:lnTo>
                  <a:lnTo>
                    <a:pt x="1264298" y="245326"/>
                  </a:lnTo>
                  <a:lnTo>
                    <a:pt x="1264298" y="244627"/>
                  </a:lnTo>
                  <a:lnTo>
                    <a:pt x="1264298" y="245326"/>
                  </a:lnTo>
                  <a:lnTo>
                    <a:pt x="1264298" y="243929"/>
                  </a:lnTo>
                  <a:lnTo>
                    <a:pt x="1264349" y="243929"/>
                  </a:lnTo>
                  <a:lnTo>
                    <a:pt x="1264349" y="242595"/>
                  </a:lnTo>
                  <a:lnTo>
                    <a:pt x="1264349" y="243929"/>
                  </a:lnTo>
                  <a:lnTo>
                    <a:pt x="1264349" y="241198"/>
                  </a:lnTo>
                  <a:lnTo>
                    <a:pt x="1264400" y="241897"/>
                  </a:lnTo>
                  <a:lnTo>
                    <a:pt x="1264400" y="241198"/>
                  </a:lnTo>
                  <a:lnTo>
                    <a:pt x="1264400" y="241897"/>
                  </a:lnTo>
                  <a:lnTo>
                    <a:pt x="1264400" y="241198"/>
                  </a:lnTo>
                  <a:lnTo>
                    <a:pt x="1264400" y="242595"/>
                  </a:lnTo>
                  <a:lnTo>
                    <a:pt x="1264400" y="241198"/>
                  </a:lnTo>
                  <a:lnTo>
                    <a:pt x="1264400" y="241897"/>
                  </a:lnTo>
                  <a:lnTo>
                    <a:pt x="1264400" y="241198"/>
                  </a:lnTo>
                  <a:lnTo>
                    <a:pt x="1264501" y="241198"/>
                  </a:lnTo>
                  <a:lnTo>
                    <a:pt x="1264501" y="243929"/>
                  </a:lnTo>
                  <a:lnTo>
                    <a:pt x="1264501" y="242595"/>
                  </a:lnTo>
                  <a:lnTo>
                    <a:pt x="1264552" y="242595"/>
                  </a:lnTo>
                  <a:lnTo>
                    <a:pt x="1264552" y="244627"/>
                  </a:lnTo>
                  <a:lnTo>
                    <a:pt x="1264552" y="243929"/>
                  </a:lnTo>
                  <a:lnTo>
                    <a:pt x="1264603" y="243929"/>
                  </a:lnTo>
                  <a:lnTo>
                    <a:pt x="1264603" y="244627"/>
                  </a:lnTo>
                  <a:lnTo>
                    <a:pt x="1264603" y="243929"/>
                  </a:lnTo>
                  <a:lnTo>
                    <a:pt x="1264603" y="244627"/>
                  </a:lnTo>
                  <a:lnTo>
                    <a:pt x="1264603" y="243929"/>
                  </a:lnTo>
                  <a:lnTo>
                    <a:pt x="1264603" y="244627"/>
                  </a:lnTo>
                  <a:lnTo>
                    <a:pt x="1264654" y="244627"/>
                  </a:lnTo>
                  <a:lnTo>
                    <a:pt x="1264654" y="245961"/>
                  </a:lnTo>
                  <a:lnTo>
                    <a:pt x="1264743" y="245326"/>
                  </a:lnTo>
                  <a:lnTo>
                    <a:pt x="1264743" y="246659"/>
                  </a:lnTo>
                  <a:lnTo>
                    <a:pt x="1264743" y="245961"/>
                  </a:lnTo>
                  <a:lnTo>
                    <a:pt x="1264794" y="245961"/>
                  </a:lnTo>
                  <a:lnTo>
                    <a:pt x="1264794" y="246659"/>
                  </a:lnTo>
                  <a:lnTo>
                    <a:pt x="1264794" y="245326"/>
                  </a:lnTo>
                  <a:lnTo>
                    <a:pt x="1264794" y="245961"/>
                  </a:lnTo>
                  <a:lnTo>
                    <a:pt x="1264844" y="245326"/>
                  </a:lnTo>
                  <a:lnTo>
                    <a:pt x="1264844" y="242595"/>
                  </a:lnTo>
                  <a:lnTo>
                    <a:pt x="1264844" y="244627"/>
                  </a:lnTo>
                  <a:lnTo>
                    <a:pt x="1264895" y="244627"/>
                  </a:lnTo>
                  <a:lnTo>
                    <a:pt x="1264895" y="243929"/>
                  </a:lnTo>
                  <a:lnTo>
                    <a:pt x="1264895" y="244627"/>
                  </a:lnTo>
                  <a:lnTo>
                    <a:pt x="1264895" y="243929"/>
                  </a:lnTo>
                  <a:lnTo>
                    <a:pt x="1264895" y="245961"/>
                  </a:lnTo>
                  <a:lnTo>
                    <a:pt x="1264997" y="245961"/>
                  </a:lnTo>
                  <a:lnTo>
                    <a:pt x="1264997" y="246659"/>
                  </a:lnTo>
                  <a:lnTo>
                    <a:pt x="1264997" y="245326"/>
                  </a:lnTo>
                  <a:lnTo>
                    <a:pt x="1264997" y="245961"/>
                  </a:lnTo>
                  <a:lnTo>
                    <a:pt x="1264997" y="245326"/>
                  </a:lnTo>
                  <a:lnTo>
                    <a:pt x="1264997" y="246659"/>
                  </a:lnTo>
                  <a:lnTo>
                    <a:pt x="1265047" y="246659"/>
                  </a:lnTo>
                  <a:lnTo>
                    <a:pt x="1265047" y="245961"/>
                  </a:lnTo>
                  <a:lnTo>
                    <a:pt x="1265047" y="246659"/>
                  </a:lnTo>
                  <a:lnTo>
                    <a:pt x="1265047" y="245961"/>
                  </a:lnTo>
                  <a:lnTo>
                    <a:pt x="1265098" y="245961"/>
                  </a:lnTo>
                  <a:lnTo>
                    <a:pt x="1265098" y="246659"/>
                  </a:lnTo>
                  <a:lnTo>
                    <a:pt x="1265098" y="245961"/>
                  </a:lnTo>
                  <a:lnTo>
                    <a:pt x="1265098" y="246659"/>
                  </a:lnTo>
                  <a:lnTo>
                    <a:pt x="1265098" y="245961"/>
                  </a:lnTo>
                  <a:lnTo>
                    <a:pt x="1265098" y="246659"/>
                  </a:lnTo>
                  <a:lnTo>
                    <a:pt x="1265200" y="246659"/>
                  </a:lnTo>
                  <a:lnTo>
                    <a:pt x="1265200" y="245961"/>
                  </a:lnTo>
                  <a:lnTo>
                    <a:pt x="1265200" y="246659"/>
                  </a:lnTo>
                  <a:lnTo>
                    <a:pt x="1265238" y="246659"/>
                  </a:lnTo>
                  <a:lnTo>
                    <a:pt x="1265238" y="245961"/>
                  </a:lnTo>
                  <a:lnTo>
                    <a:pt x="1265238" y="246659"/>
                  </a:lnTo>
                  <a:lnTo>
                    <a:pt x="1265238" y="245961"/>
                  </a:lnTo>
                  <a:lnTo>
                    <a:pt x="1265289" y="245961"/>
                  </a:lnTo>
                  <a:lnTo>
                    <a:pt x="1265289" y="243929"/>
                  </a:lnTo>
                  <a:lnTo>
                    <a:pt x="1265340" y="243929"/>
                  </a:lnTo>
                  <a:lnTo>
                    <a:pt x="1265340" y="242595"/>
                  </a:lnTo>
                  <a:lnTo>
                    <a:pt x="1265340" y="243929"/>
                  </a:lnTo>
                  <a:lnTo>
                    <a:pt x="1265340" y="242595"/>
                  </a:lnTo>
                  <a:lnTo>
                    <a:pt x="1265340" y="244627"/>
                  </a:lnTo>
                  <a:lnTo>
                    <a:pt x="1265340" y="243929"/>
                  </a:lnTo>
                  <a:lnTo>
                    <a:pt x="1265441" y="243929"/>
                  </a:lnTo>
                  <a:lnTo>
                    <a:pt x="1265441" y="244627"/>
                  </a:lnTo>
                  <a:lnTo>
                    <a:pt x="1265441" y="243929"/>
                  </a:lnTo>
                  <a:lnTo>
                    <a:pt x="1265441" y="245961"/>
                  </a:lnTo>
                  <a:lnTo>
                    <a:pt x="1265492" y="245961"/>
                  </a:lnTo>
                  <a:lnTo>
                    <a:pt x="1265492" y="248044"/>
                  </a:lnTo>
                  <a:lnTo>
                    <a:pt x="1265492" y="243929"/>
                  </a:lnTo>
                  <a:lnTo>
                    <a:pt x="1265492" y="245961"/>
                  </a:lnTo>
                  <a:lnTo>
                    <a:pt x="1265543" y="245961"/>
                  </a:lnTo>
                  <a:lnTo>
                    <a:pt x="1265543" y="248044"/>
                  </a:lnTo>
                  <a:lnTo>
                    <a:pt x="1265543" y="246659"/>
                  </a:lnTo>
                  <a:lnTo>
                    <a:pt x="1265543" y="248044"/>
                  </a:lnTo>
                  <a:lnTo>
                    <a:pt x="1265543" y="246659"/>
                  </a:lnTo>
                  <a:lnTo>
                    <a:pt x="1265543" y="248044"/>
                  </a:lnTo>
                  <a:lnTo>
                    <a:pt x="1265543" y="246659"/>
                  </a:lnTo>
                  <a:lnTo>
                    <a:pt x="1265644" y="246659"/>
                  </a:lnTo>
                  <a:lnTo>
                    <a:pt x="1265644" y="248044"/>
                  </a:lnTo>
                  <a:lnTo>
                    <a:pt x="1265644" y="246659"/>
                  </a:lnTo>
                  <a:lnTo>
                    <a:pt x="1265644" y="248044"/>
                  </a:lnTo>
                  <a:lnTo>
                    <a:pt x="1265695" y="248044"/>
                  </a:lnTo>
                  <a:lnTo>
                    <a:pt x="1265695" y="246659"/>
                  </a:lnTo>
                  <a:lnTo>
                    <a:pt x="1265695" y="248044"/>
                  </a:lnTo>
                  <a:lnTo>
                    <a:pt x="1265695" y="246659"/>
                  </a:lnTo>
                  <a:lnTo>
                    <a:pt x="1265746" y="246659"/>
                  </a:lnTo>
                  <a:lnTo>
                    <a:pt x="1265746" y="248044"/>
                  </a:lnTo>
                  <a:lnTo>
                    <a:pt x="1265746" y="246659"/>
                  </a:lnTo>
                  <a:lnTo>
                    <a:pt x="1265746" y="248044"/>
                  </a:lnTo>
                  <a:lnTo>
                    <a:pt x="1265746" y="245961"/>
                  </a:lnTo>
                  <a:lnTo>
                    <a:pt x="1265746" y="246659"/>
                  </a:lnTo>
                  <a:lnTo>
                    <a:pt x="1265746" y="245961"/>
                  </a:lnTo>
                  <a:lnTo>
                    <a:pt x="1265746" y="246659"/>
                  </a:lnTo>
                  <a:lnTo>
                    <a:pt x="1265746" y="245961"/>
                  </a:lnTo>
                  <a:lnTo>
                    <a:pt x="1265784" y="245961"/>
                  </a:lnTo>
                  <a:lnTo>
                    <a:pt x="1265784" y="242595"/>
                  </a:lnTo>
                  <a:lnTo>
                    <a:pt x="1265886" y="242595"/>
                  </a:lnTo>
                  <a:lnTo>
                    <a:pt x="1265886" y="245326"/>
                  </a:lnTo>
                  <a:lnTo>
                    <a:pt x="1265886" y="242595"/>
                  </a:lnTo>
                  <a:lnTo>
                    <a:pt x="1265886" y="243929"/>
                  </a:lnTo>
                  <a:lnTo>
                    <a:pt x="1265937" y="243929"/>
                  </a:lnTo>
                  <a:lnTo>
                    <a:pt x="1265937" y="246659"/>
                  </a:lnTo>
                  <a:lnTo>
                    <a:pt x="1265937" y="245326"/>
                  </a:lnTo>
                  <a:lnTo>
                    <a:pt x="1265937" y="246659"/>
                  </a:lnTo>
                  <a:lnTo>
                    <a:pt x="1265987" y="246659"/>
                  </a:lnTo>
                  <a:lnTo>
                    <a:pt x="1265987" y="248044"/>
                  </a:lnTo>
                  <a:lnTo>
                    <a:pt x="1265987" y="246659"/>
                  </a:lnTo>
                  <a:lnTo>
                    <a:pt x="1266089" y="248044"/>
                  </a:lnTo>
                  <a:lnTo>
                    <a:pt x="1266089" y="246659"/>
                  </a:lnTo>
                  <a:lnTo>
                    <a:pt x="1266089" y="248044"/>
                  </a:lnTo>
                  <a:lnTo>
                    <a:pt x="1266089" y="246659"/>
                  </a:lnTo>
                  <a:lnTo>
                    <a:pt x="1266089" y="248044"/>
                  </a:lnTo>
                  <a:lnTo>
                    <a:pt x="1266089" y="246659"/>
                  </a:lnTo>
                  <a:lnTo>
                    <a:pt x="1266140" y="246659"/>
                  </a:lnTo>
                  <a:lnTo>
                    <a:pt x="1266140" y="248044"/>
                  </a:lnTo>
                  <a:lnTo>
                    <a:pt x="1266140" y="246659"/>
                  </a:lnTo>
                  <a:lnTo>
                    <a:pt x="1266140" y="248044"/>
                  </a:lnTo>
                  <a:lnTo>
                    <a:pt x="1266140" y="246659"/>
                  </a:lnTo>
                  <a:lnTo>
                    <a:pt x="1266140" y="248044"/>
                  </a:lnTo>
                  <a:lnTo>
                    <a:pt x="1266140" y="246659"/>
                  </a:lnTo>
                  <a:lnTo>
                    <a:pt x="1266140" y="248691"/>
                  </a:lnTo>
                  <a:lnTo>
                    <a:pt x="1266190" y="248044"/>
                  </a:lnTo>
                  <a:lnTo>
                    <a:pt x="1266190" y="248691"/>
                  </a:lnTo>
                  <a:lnTo>
                    <a:pt x="1266190" y="248044"/>
                  </a:lnTo>
                  <a:lnTo>
                    <a:pt x="1266190" y="248691"/>
                  </a:lnTo>
                  <a:lnTo>
                    <a:pt x="1266190" y="248044"/>
                  </a:lnTo>
                  <a:lnTo>
                    <a:pt x="1266241" y="248044"/>
                  </a:lnTo>
                  <a:lnTo>
                    <a:pt x="1266241" y="246659"/>
                  </a:lnTo>
                  <a:lnTo>
                    <a:pt x="1266241" y="248044"/>
                  </a:lnTo>
                  <a:lnTo>
                    <a:pt x="1266241" y="246659"/>
                  </a:lnTo>
                  <a:lnTo>
                    <a:pt x="1266241" y="248044"/>
                  </a:lnTo>
                  <a:lnTo>
                    <a:pt x="1266241" y="246659"/>
                  </a:lnTo>
                  <a:lnTo>
                    <a:pt x="1266330" y="246659"/>
                  </a:lnTo>
                  <a:lnTo>
                    <a:pt x="1266330" y="243929"/>
                  </a:lnTo>
                  <a:lnTo>
                    <a:pt x="1266381" y="243929"/>
                  </a:lnTo>
                  <a:lnTo>
                    <a:pt x="1266381" y="245961"/>
                  </a:lnTo>
                  <a:lnTo>
                    <a:pt x="1266381" y="242595"/>
                  </a:lnTo>
                  <a:lnTo>
                    <a:pt x="1266381" y="246659"/>
                  </a:lnTo>
                  <a:lnTo>
                    <a:pt x="1266432" y="246659"/>
                  </a:lnTo>
                  <a:lnTo>
                    <a:pt x="1266432" y="248044"/>
                  </a:lnTo>
                  <a:lnTo>
                    <a:pt x="1266432" y="245326"/>
                  </a:lnTo>
                  <a:lnTo>
                    <a:pt x="1266432" y="246659"/>
                  </a:lnTo>
                  <a:lnTo>
                    <a:pt x="1266483" y="248044"/>
                  </a:lnTo>
                  <a:lnTo>
                    <a:pt x="1266483" y="246659"/>
                  </a:lnTo>
                  <a:lnTo>
                    <a:pt x="1266483" y="248044"/>
                  </a:lnTo>
                  <a:lnTo>
                    <a:pt x="1266483" y="246659"/>
                  </a:lnTo>
                  <a:lnTo>
                    <a:pt x="1266584" y="248044"/>
                  </a:lnTo>
                  <a:lnTo>
                    <a:pt x="1266584" y="246659"/>
                  </a:lnTo>
                  <a:lnTo>
                    <a:pt x="1266584" y="248691"/>
                  </a:lnTo>
                  <a:lnTo>
                    <a:pt x="1266584" y="248044"/>
                  </a:lnTo>
                  <a:lnTo>
                    <a:pt x="1266635" y="248044"/>
                  </a:lnTo>
                  <a:lnTo>
                    <a:pt x="1266635" y="248691"/>
                  </a:lnTo>
                  <a:lnTo>
                    <a:pt x="1266686" y="248691"/>
                  </a:lnTo>
                  <a:lnTo>
                    <a:pt x="1266686" y="246659"/>
                  </a:lnTo>
                  <a:lnTo>
                    <a:pt x="1266787" y="248044"/>
                  </a:lnTo>
                  <a:lnTo>
                    <a:pt x="1266787" y="245961"/>
                  </a:lnTo>
                  <a:lnTo>
                    <a:pt x="1266787" y="246659"/>
                  </a:lnTo>
                  <a:lnTo>
                    <a:pt x="1266787" y="245326"/>
                  </a:lnTo>
                  <a:lnTo>
                    <a:pt x="1266825" y="245326"/>
                  </a:lnTo>
                  <a:lnTo>
                    <a:pt x="1266825" y="242595"/>
                  </a:lnTo>
                  <a:lnTo>
                    <a:pt x="1266876" y="242595"/>
                  </a:lnTo>
                  <a:lnTo>
                    <a:pt x="1266876" y="244627"/>
                  </a:lnTo>
                  <a:lnTo>
                    <a:pt x="1266876" y="241897"/>
                  </a:lnTo>
                  <a:lnTo>
                    <a:pt x="1266876" y="245961"/>
                  </a:lnTo>
                  <a:lnTo>
                    <a:pt x="1266927" y="246659"/>
                  </a:lnTo>
                  <a:lnTo>
                    <a:pt x="1266927" y="243929"/>
                  </a:lnTo>
                  <a:lnTo>
                    <a:pt x="1266927" y="245326"/>
                  </a:lnTo>
                  <a:lnTo>
                    <a:pt x="1267029" y="245326"/>
                  </a:lnTo>
                  <a:lnTo>
                    <a:pt x="1267029" y="245961"/>
                  </a:lnTo>
                  <a:lnTo>
                    <a:pt x="1267029" y="244627"/>
                  </a:lnTo>
                  <a:lnTo>
                    <a:pt x="1267029" y="245961"/>
                  </a:lnTo>
                  <a:lnTo>
                    <a:pt x="1267080" y="245961"/>
                  </a:lnTo>
                  <a:lnTo>
                    <a:pt x="1267080" y="246659"/>
                  </a:lnTo>
                  <a:lnTo>
                    <a:pt x="1267080" y="245961"/>
                  </a:lnTo>
                  <a:lnTo>
                    <a:pt x="1267080" y="246659"/>
                  </a:lnTo>
                  <a:lnTo>
                    <a:pt x="1267130" y="246659"/>
                  </a:lnTo>
                  <a:lnTo>
                    <a:pt x="1267130" y="248044"/>
                  </a:lnTo>
                  <a:lnTo>
                    <a:pt x="1267232" y="248044"/>
                  </a:lnTo>
                  <a:lnTo>
                    <a:pt x="1267232" y="246659"/>
                  </a:lnTo>
                  <a:lnTo>
                    <a:pt x="1267232" y="248044"/>
                  </a:lnTo>
                  <a:lnTo>
                    <a:pt x="1267232" y="246659"/>
                  </a:lnTo>
                  <a:lnTo>
                    <a:pt x="1267232" y="248044"/>
                  </a:lnTo>
                  <a:lnTo>
                    <a:pt x="1267232" y="246659"/>
                  </a:lnTo>
                  <a:lnTo>
                    <a:pt x="1267283" y="246659"/>
                  </a:lnTo>
                  <a:lnTo>
                    <a:pt x="1267283" y="245961"/>
                  </a:lnTo>
                  <a:lnTo>
                    <a:pt x="1267283" y="246659"/>
                  </a:lnTo>
                  <a:lnTo>
                    <a:pt x="1267283" y="245326"/>
                  </a:lnTo>
                  <a:lnTo>
                    <a:pt x="1267334" y="244627"/>
                  </a:lnTo>
                  <a:lnTo>
                    <a:pt x="1267334" y="242595"/>
                  </a:lnTo>
                  <a:lnTo>
                    <a:pt x="1267334" y="244627"/>
                  </a:lnTo>
                  <a:lnTo>
                    <a:pt x="1267372" y="244627"/>
                  </a:lnTo>
                  <a:lnTo>
                    <a:pt x="1267372" y="241897"/>
                  </a:lnTo>
                  <a:lnTo>
                    <a:pt x="1267372" y="246659"/>
                  </a:lnTo>
                  <a:lnTo>
                    <a:pt x="1267372" y="245961"/>
                  </a:lnTo>
                  <a:lnTo>
                    <a:pt x="1267473" y="245326"/>
                  </a:lnTo>
                  <a:lnTo>
                    <a:pt x="1267473" y="243929"/>
                  </a:lnTo>
                  <a:lnTo>
                    <a:pt x="1267473" y="245326"/>
                  </a:lnTo>
                  <a:lnTo>
                    <a:pt x="1267473" y="244627"/>
                  </a:lnTo>
                  <a:lnTo>
                    <a:pt x="1267524" y="245326"/>
                  </a:lnTo>
                  <a:lnTo>
                    <a:pt x="1267524" y="243929"/>
                  </a:lnTo>
                  <a:lnTo>
                    <a:pt x="1267524" y="244627"/>
                  </a:lnTo>
                  <a:lnTo>
                    <a:pt x="1267575" y="244627"/>
                  </a:lnTo>
                  <a:lnTo>
                    <a:pt x="1267575" y="245326"/>
                  </a:lnTo>
                  <a:lnTo>
                    <a:pt x="1267575" y="244627"/>
                  </a:lnTo>
                  <a:lnTo>
                    <a:pt x="1267575" y="245961"/>
                  </a:lnTo>
                  <a:lnTo>
                    <a:pt x="1267575" y="245326"/>
                  </a:lnTo>
                  <a:lnTo>
                    <a:pt x="1267575" y="246659"/>
                  </a:lnTo>
                  <a:lnTo>
                    <a:pt x="1267676" y="246659"/>
                  </a:lnTo>
                  <a:lnTo>
                    <a:pt x="1267676" y="245961"/>
                  </a:lnTo>
                  <a:lnTo>
                    <a:pt x="1267676" y="246659"/>
                  </a:lnTo>
                  <a:lnTo>
                    <a:pt x="1267676" y="245961"/>
                  </a:lnTo>
                  <a:lnTo>
                    <a:pt x="1267676" y="248044"/>
                  </a:lnTo>
                  <a:lnTo>
                    <a:pt x="1267727" y="248044"/>
                  </a:lnTo>
                  <a:lnTo>
                    <a:pt x="1267727" y="245961"/>
                  </a:lnTo>
                  <a:lnTo>
                    <a:pt x="1267727" y="246659"/>
                  </a:lnTo>
                  <a:lnTo>
                    <a:pt x="1267727" y="245961"/>
                  </a:lnTo>
                  <a:lnTo>
                    <a:pt x="1267778" y="245961"/>
                  </a:lnTo>
                  <a:lnTo>
                    <a:pt x="1267778" y="246659"/>
                  </a:lnTo>
                  <a:lnTo>
                    <a:pt x="1267778" y="245961"/>
                  </a:lnTo>
                  <a:lnTo>
                    <a:pt x="1267778" y="246659"/>
                  </a:lnTo>
                  <a:lnTo>
                    <a:pt x="1267778" y="245326"/>
                  </a:lnTo>
                  <a:lnTo>
                    <a:pt x="1267778" y="245961"/>
                  </a:lnTo>
                  <a:lnTo>
                    <a:pt x="1267778" y="245326"/>
                  </a:lnTo>
                  <a:lnTo>
                    <a:pt x="1267778" y="245961"/>
                  </a:lnTo>
                  <a:lnTo>
                    <a:pt x="1267778" y="244627"/>
                  </a:lnTo>
                  <a:lnTo>
                    <a:pt x="1267829" y="244627"/>
                  </a:lnTo>
                  <a:lnTo>
                    <a:pt x="1267829" y="243929"/>
                  </a:lnTo>
                  <a:lnTo>
                    <a:pt x="1267829" y="245961"/>
                  </a:lnTo>
                  <a:lnTo>
                    <a:pt x="1267829" y="244627"/>
                  </a:lnTo>
                  <a:lnTo>
                    <a:pt x="1267918" y="244627"/>
                  </a:lnTo>
                  <a:lnTo>
                    <a:pt x="1267918" y="243929"/>
                  </a:lnTo>
                  <a:lnTo>
                    <a:pt x="1267918" y="246659"/>
                  </a:lnTo>
                  <a:lnTo>
                    <a:pt x="1267918" y="245961"/>
                  </a:lnTo>
                  <a:lnTo>
                    <a:pt x="1267969" y="245961"/>
                  </a:lnTo>
                  <a:lnTo>
                    <a:pt x="1267969" y="248044"/>
                  </a:lnTo>
                  <a:lnTo>
                    <a:pt x="1267969" y="245961"/>
                  </a:lnTo>
                  <a:lnTo>
                    <a:pt x="1268019" y="245961"/>
                  </a:lnTo>
                  <a:lnTo>
                    <a:pt x="1268019" y="246659"/>
                  </a:lnTo>
                  <a:lnTo>
                    <a:pt x="1268019" y="245961"/>
                  </a:lnTo>
                  <a:lnTo>
                    <a:pt x="1268019" y="246659"/>
                  </a:lnTo>
                  <a:lnTo>
                    <a:pt x="1268070" y="246659"/>
                  </a:lnTo>
                  <a:lnTo>
                    <a:pt x="1268070" y="248044"/>
                  </a:lnTo>
                  <a:lnTo>
                    <a:pt x="1268070" y="246659"/>
                  </a:lnTo>
                  <a:lnTo>
                    <a:pt x="1268070" y="248044"/>
                  </a:lnTo>
                  <a:lnTo>
                    <a:pt x="1268070" y="246659"/>
                  </a:lnTo>
                  <a:lnTo>
                    <a:pt x="1268172" y="248044"/>
                  </a:lnTo>
                  <a:lnTo>
                    <a:pt x="1268172" y="246659"/>
                  </a:lnTo>
                  <a:lnTo>
                    <a:pt x="1268172" y="248044"/>
                  </a:lnTo>
                  <a:lnTo>
                    <a:pt x="1268172" y="246659"/>
                  </a:lnTo>
                  <a:lnTo>
                    <a:pt x="1268222" y="248044"/>
                  </a:lnTo>
                  <a:lnTo>
                    <a:pt x="1268222" y="245961"/>
                  </a:lnTo>
                  <a:lnTo>
                    <a:pt x="1268222" y="246659"/>
                  </a:lnTo>
                  <a:lnTo>
                    <a:pt x="1268222" y="245961"/>
                  </a:lnTo>
                  <a:lnTo>
                    <a:pt x="1268222" y="246659"/>
                  </a:lnTo>
                  <a:lnTo>
                    <a:pt x="1268273" y="246659"/>
                  </a:lnTo>
                  <a:lnTo>
                    <a:pt x="1268273" y="245961"/>
                  </a:lnTo>
                  <a:lnTo>
                    <a:pt x="1268273" y="246659"/>
                  </a:lnTo>
                  <a:lnTo>
                    <a:pt x="1268273" y="245961"/>
                  </a:lnTo>
                  <a:lnTo>
                    <a:pt x="1268273" y="246659"/>
                  </a:lnTo>
                  <a:lnTo>
                    <a:pt x="1268273" y="245326"/>
                  </a:lnTo>
                  <a:lnTo>
                    <a:pt x="1268273" y="245961"/>
                  </a:lnTo>
                  <a:lnTo>
                    <a:pt x="1268273" y="244627"/>
                  </a:lnTo>
                  <a:lnTo>
                    <a:pt x="1268375" y="245326"/>
                  </a:lnTo>
                  <a:lnTo>
                    <a:pt x="1268375" y="246659"/>
                  </a:lnTo>
                  <a:lnTo>
                    <a:pt x="1268375" y="245326"/>
                  </a:lnTo>
                  <a:lnTo>
                    <a:pt x="1268375" y="245961"/>
                  </a:lnTo>
                  <a:lnTo>
                    <a:pt x="1268413" y="245961"/>
                  </a:lnTo>
                  <a:lnTo>
                    <a:pt x="1268413" y="248691"/>
                  </a:lnTo>
                  <a:lnTo>
                    <a:pt x="1268413" y="246659"/>
                  </a:lnTo>
                  <a:lnTo>
                    <a:pt x="1268464" y="248044"/>
                  </a:lnTo>
                  <a:lnTo>
                    <a:pt x="1268464" y="248691"/>
                  </a:lnTo>
                  <a:lnTo>
                    <a:pt x="1268464" y="246659"/>
                  </a:lnTo>
                  <a:lnTo>
                    <a:pt x="1268464" y="248044"/>
                  </a:lnTo>
                  <a:lnTo>
                    <a:pt x="1268515" y="248044"/>
                  </a:lnTo>
                  <a:lnTo>
                    <a:pt x="1268515" y="248691"/>
                  </a:lnTo>
                  <a:lnTo>
                    <a:pt x="1268515" y="248044"/>
                  </a:lnTo>
                  <a:lnTo>
                    <a:pt x="1268515" y="248691"/>
                  </a:lnTo>
                  <a:lnTo>
                    <a:pt x="1268515" y="248044"/>
                  </a:lnTo>
                  <a:lnTo>
                    <a:pt x="1268515" y="249390"/>
                  </a:lnTo>
                  <a:lnTo>
                    <a:pt x="1268616" y="248691"/>
                  </a:lnTo>
                  <a:lnTo>
                    <a:pt x="1268616" y="248044"/>
                  </a:lnTo>
                  <a:lnTo>
                    <a:pt x="1268616" y="248691"/>
                  </a:lnTo>
                  <a:lnTo>
                    <a:pt x="1268616" y="248044"/>
                  </a:lnTo>
                  <a:lnTo>
                    <a:pt x="1268616" y="248691"/>
                  </a:lnTo>
                  <a:lnTo>
                    <a:pt x="1268616" y="248044"/>
                  </a:lnTo>
                  <a:lnTo>
                    <a:pt x="1268616" y="248691"/>
                  </a:lnTo>
                  <a:lnTo>
                    <a:pt x="1268667" y="248691"/>
                  </a:lnTo>
                  <a:lnTo>
                    <a:pt x="1268667" y="246659"/>
                  </a:lnTo>
                  <a:lnTo>
                    <a:pt x="1268667" y="248044"/>
                  </a:lnTo>
                  <a:lnTo>
                    <a:pt x="1268718" y="248044"/>
                  </a:lnTo>
                  <a:lnTo>
                    <a:pt x="1268718" y="245961"/>
                  </a:lnTo>
                  <a:lnTo>
                    <a:pt x="1268718" y="246659"/>
                  </a:lnTo>
                  <a:lnTo>
                    <a:pt x="1268718" y="245326"/>
                  </a:lnTo>
                  <a:lnTo>
                    <a:pt x="1268819" y="245326"/>
                  </a:lnTo>
                  <a:lnTo>
                    <a:pt x="1268819" y="245961"/>
                  </a:lnTo>
                  <a:lnTo>
                    <a:pt x="1268819" y="242595"/>
                  </a:lnTo>
                  <a:lnTo>
                    <a:pt x="1268819" y="243929"/>
                  </a:lnTo>
                  <a:lnTo>
                    <a:pt x="1268870" y="243929"/>
                  </a:lnTo>
                  <a:lnTo>
                    <a:pt x="1268870" y="244627"/>
                  </a:lnTo>
                  <a:lnTo>
                    <a:pt x="1268870" y="243929"/>
                  </a:lnTo>
                  <a:lnTo>
                    <a:pt x="1268870" y="244627"/>
                  </a:lnTo>
                  <a:lnTo>
                    <a:pt x="1268921" y="245326"/>
                  </a:lnTo>
                  <a:lnTo>
                    <a:pt x="1268921" y="246659"/>
                  </a:lnTo>
                  <a:lnTo>
                    <a:pt x="1268921" y="245326"/>
                  </a:lnTo>
                  <a:lnTo>
                    <a:pt x="1268921" y="245961"/>
                  </a:lnTo>
                  <a:lnTo>
                    <a:pt x="1268959" y="246659"/>
                  </a:lnTo>
                  <a:lnTo>
                    <a:pt x="1269061" y="246659"/>
                  </a:lnTo>
                  <a:lnTo>
                    <a:pt x="1269061" y="248044"/>
                  </a:lnTo>
                  <a:lnTo>
                    <a:pt x="1269061" y="246659"/>
                  </a:lnTo>
                  <a:lnTo>
                    <a:pt x="1269061" y="248044"/>
                  </a:lnTo>
                  <a:lnTo>
                    <a:pt x="1269162" y="248044"/>
                  </a:lnTo>
                  <a:lnTo>
                    <a:pt x="1269162" y="246659"/>
                  </a:lnTo>
                  <a:lnTo>
                    <a:pt x="1269264" y="246659"/>
                  </a:lnTo>
                  <a:lnTo>
                    <a:pt x="1269264" y="245326"/>
                  </a:lnTo>
                  <a:lnTo>
                    <a:pt x="1269315" y="245326"/>
                  </a:lnTo>
                  <a:lnTo>
                    <a:pt x="1269315" y="242595"/>
                  </a:lnTo>
                  <a:lnTo>
                    <a:pt x="1269315" y="244627"/>
                  </a:lnTo>
                  <a:lnTo>
                    <a:pt x="1269365" y="244627"/>
                  </a:lnTo>
                  <a:lnTo>
                    <a:pt x="1269365" y="242595"/>
                  </a:lnTo>
                  <a:lnTo>
                    <a:pt x="1269365" y="245326"/>
                  </a:lnTo>
                  <a:lnTo>
                    <a:pt x="1269416" y="245961"/>
                  </a:lnTo>
                  <a:lnTo>
                    <a:pt x="1269416" y="243929"/>
                  </a:lnTo>
                  <a:lnTo>
                    <a:pt x="1269416" y="245961"/>
                  </a:lnTo>
                  <a:lnTo>
                    <a:pt x="1269505" y="245961"/>
                  </a:lnTo>
                  <a:lnTo>
                    <a:pt x="1269505" y="246659"/>
                  </a:lnTo>
                  <a:lnTo>
                    <a:pt x="1269505" y="244627"/>
                  </a:lnTo>
                  <a:lnTo>
                    <a:pt x="1269505" y="246659"/>
                  </a:lnTo>
                  <a:lnTo>
                    <a:pt x="1269556" y="246659"/>
                  </a:lnTo>
                  <a:lnTo>
                    <a:pt x="1269556" y="248691"/>
                  </a:lnTo>
                  <a:lnTo>
                    <a:pt x="1269556" y="246659"/>
                  </a:lnTo>
                  <a:lnTo>
                    <a:pt x="1269556" y="248044"/>
                  </a:lnTo>
                  <a:lnTo>
                    <a:pt x="1269607" y="248044"/>
                  </a:lnTo>
                  <a:lnTo>
                    <a:pt x="1269607" y="248691"/>
                  </a:lnTo>
                  <a:lnTo>
                    <a:pt x="1269607" y="248044"/>
                  </a:lnTo>
                  <a:lnTo>
                    <a:pt x="1269607" y="248691"/>
                  </a:lnTo>
                  <a:lnTo>
                    <a:pt x="1269607" y="248044"/>
                  </a:lnTo>
                  <a:lnTo>
                    <a:pt x="1269658" y="248044"/>
                  </a:lnTo>
                  <a:lnTo>
                    <a:pt x="1269658" y="248691"/>
                  </a:lnTo>
                  <a:lnTo>
                    <a:pt x="1269658" y="246659"/>
                  </a:lnTo>
                  <a:lnTo>
                    <a:pt x="1269759" y="246659"/>
                  </a:lnTo>
                  <a:lnTo>
                    <a:pt x="1269759" y="248044"/>
                  </a:lnTo>
                  <a:lnTo>
                    <a:pt x="1269759" y="245326"/>
                  </a:lnTo>
                  <a:lnTo>
                    <a:pt x="1269810" y="245326"/>
                  </a:lnTo>
                  <a:lnTo>
                    <a:pt x="1269810" y="241897"/>
                  </a:lnTo>
                  <a:lnTo>
                    <a:pt x="1269861" y="241897"/>
                  </a:lnTo>
                  <a:lnTo>
                    <a:pt x="1269861" y="243929"/>
                  </a:lnTo>
                  <a:lnTo>
                    <a:pt x="1269861" y="241198"/>
                  </a:lnTo>
                  <a:lnTo>
                    <a:pt x="1269861" y="241897"/>
                  </a:lnTo>
                  <a:lnTo>
                    <a:pt x="1269962" y="242595"/>
                  </a:lnTo>
                  <a:lnTo>
                    <a:pt x="1269962" y="244627"/>
                  </a:lnTo>
                  <a:lnTo>
                    <a:pt x="1269962" y="242595"/>
                  </a:lnTo>
                  <a:lnTo>
                    <a:pt x="1270000" y="243929"/>
                  </a:lnTo>
                  <a:lnTo>
                    <a:pt x="1270000" y="245326"/>
                  </a:lnTo>
                  <a:lnTo>
                    <a:pt x="1270000" y="243929"/>
                  </a:lnTo>
                  <a:lnTo>
                    <a:pt x="1270000" y="244627"/>
                  </a:lnTo>
                  <a:lnTo>
                    <a:pt x="1270000" y="243929"/>
                  </a:lnTo>
                  <a:lnTo>
                    <a:pt x="1270000" y="245326"/>
                  </a:lnTo>
                  <a:lnTo>
                    <a:pt x="1270051" y="245326"/>
                  </a:lnTo>
                  <a:lnTo>
                    <a:pt x="1270051" y="246659"/>
                  </a:lnTo>
                  <a:lnTo>
                    <a:pt x="1270051" y="245961"/>
                  </a:lnTo>
                  <a:lnTo>
                    <a:pt x="1270051" y="248044"/>
                  </a:lnTo>
                  <a:lnTo>
                    <a:pt x="1270102" y="246659"/>
                  </a:lnTo>
                  <a:lnTo>
                    <a:pt x="1270102" y="248691"/>
                  </a:lnTo>
                  <a:lnTo>
                    <a:pt x="1270102" y="248044"/>
                  </a:lnTo>
                  <a:lnTo>
                    <a:pt x="1270204" y="246659"/>
                  </a:lnTo>
                  <a:lnTo>
                    <a:pt x="1270204" y="248044"/>
                  </a:lnTo>
                  <a:lnTo>
                    <a:pt x="1270204" y="246659"/>
                  </a:lnTo>
                  <a:lnTo>
                    <a:pt x="1270255" y="248044"/>
                  </a:lnTo>
                  <a:lnTo>
                    <a:pt x="1270255" y="246659"/>
                  </a:lnTo>
                  <a:lnTo>
                    <a:pt x="1270255" y="248044"/>
                  </a:lnTo>
                  <a:lnTo>
                    <a:pt x="1270255" y="246659"/>
                  </a:lnTo>
                  <a:lnTo>
                    <a:pt x="1270305" y="245961"/>
                  </a:lnTo>
                  <a:lnTo>
                    <a:pt x="1270305" y="246659"/>
                  </a:lnTo>
                  <a:lnTo>
                    <a:pt x="1270305" y="242595"/>
                  </a:lnTo>
                  <a:lnTo>
                    <a:pt x="1270407" y="242595"/>
                  </a:lnTo>
                  <a:lnTo>
                    <a:pt x="1270407" y="243929"/>
                  </a:lnTo>
                  <a:lnTo>
                    <a:pt x="1270407" y="241198"/>
                  </a:lnTo>
                  <a:lnTo>
                    <a:pt x="1270407" y="242595"/>
                  </a:lnTo>
                  <a:lnTo>
                    <a:pt x="1270458" y="243929"/>
                  </a:lnTo>
                  <a:lnTo>
                    <a:pt x="1270458" y="244627"/>
                  </a:lnTo>
                  <a:lnTo>
                    <a:pt x="1270458" y="241897"/>
                  </a:lnTo>
                  <a:lnTo>
                    <a:pt x="1270458" y="243929"/>
                  </a:lnTo>
                  <a:lnTo>
                    <a:pt x="1270509" y="243929"/>
                  </a:lnTo>
                  <a:lnTo>
                    <a:pt x="1270509" y="244627"/>
                  </a:lnTo>
                  <a:lnTo>
                    <a:pt x="1270509" y="242595"/>
                  </a:lnTo>
                  <a:lnTo>
                    <a:pt x="1270509" y="243929"/>
                  </a:lnTo>
                  <a:lnTo>
                    <a:pt x="1270547" y="244627"/>
                  </a:lnTo>
                  <a:lnTo>
                    <a:pt x="1270547" y="243929"/>
                  </a:lnTo>
                  <a:lnTo>
                    <a:pt x="1270547" y="244627"/>
                  </a:lnTo>
                  <a:lnTo>
                    <a:pt x="1270547" y="243929"/>
                  </a:lnTo>
                  <a:lnTo>
                    <a:pt x="1270547" y="244627"/>
                  </a:lnTo>
                  <a:lnTo>
                    <a:pt x="1270547" y="243929"/>
                  </a:lnTo>
                  <a:lnTo>
                    <a:pt x="1270547" y="244627"/>
                  </a:lnTo>
                  <a:lnTo>
                    <a:pt x="1270648" y="244627"/>
                  </a:lnTo>
                  <a:lnTo>
                    <a:pt x="1270648" y="245961"/>
                  </a:lnTo>
                  <a:lnTo>
                    <a:pt x="1270648" y="245326"/>
                  </a:lnTo>
                  <a:lnTo>
                    <a:pt x="1270648" y="245961"/>
                  </a:lnTo>
                  <a:lnTo>
                    <a:pt x="1270648" y="245326"/>
                  </a:lnTo>
                  <a:lnTo>
                    <a:pt x="1270648" y="246659"/>
                  </a:lnTo>
                  <a:lnTo>
                    <a:pt x="1270699" y="246659"/>
                  </a:lnTo>
                  <a:lnTo>
                    <a:pt x="1270699" y="245961"/>
                  </a:lnTo>
                  <a:lnTo>
                    <a:pt x="1270699" y="248044"/>
                  </a:lnTo>
                  <a:lnTo>
                    <a:pt x="1270699" y="246659"/>
                  </a:lnTo>
                  <a:lnTo>
                    <a:pt x="1270750" y="246659"/>
                  </a:lnTo>
                  <a:lnTo>
                    <a:pt x="1270750" y="245961"/>
                  </a:lnTo>
                  <a:lnTo>
                    <a:pt x="1270851" y="245961"/>
                  </a:lnTo>
                  <a:lnTo>
                    <a:pt x="1270851" y="245326"/>
                  </a:lnTo>
                  <a:lnTo>
                    <a:pt x="1270851" y="245961"/>
                  </a:lnTo>
                  <a:lnTo>
                    <a:pt x="1270851" y="244627"/>
                  </a:lnTo>
                  <a:lnTo>
                    <a:pt x="1270851" y="245961"/>
                  </a:lnTo>
                  <a:lnTo>
                    <a:pt x="1270902" y="245961"/>
                  </a:lnTo>
                  <a:lnTo>
                    <a:pt x="1270902" y="243929"/>
                  </a:lnTo>
                  <a:lnTo>
                    <a:pt x="1270902" y="248044"/>
                  </a:lnTo>
                  <a:lnTo>
                    <a:pt x="1270953" y="246659"/>
                  </a:lnTo>
                  <a:lnTo>
                    <a:pt x="1270953" y="245961"/>
                  </a:lnTo>
                  <a:lnTo>
                    <a:pt x="1270953" y="248691"/>
                  </a:lnTo>
                  <a:lnTo>
                    <a:pt x="1270953" y="246659"/>
                  </a:lnTo>
                  <a:lnTo>
                    <a:pt x="1271004" y="246659"/>
                  </a:lnTo>
                  <a:lnTo>
                    <a:pt x="1271004" y="248044"/>
                  </a:lnTo>
                  <a:lnTo>
                    <a:pt x="1271093" y="248044"/>
                  </a:lnTo>
                  <a:lnTo>
                    <a:pt x="1271093" y="246659"/>
                  </a:lnTo>
                  <a:lnTo>
                    <a:pt x="1271093" y="248044"/>
                  </a:lnTo>
                  <a:lnTo>
                    <a:pt x="1271093" y="246659"/>
                  </a:lnTo>
                  <a:lnTo>
                    <a:pt x="1271093" y="248044"/>
                  </a:lnTo>
                  <a:lnTo>
                    <a:pt x="1271093" y="246659"/>
                  </a:lnTo>
                  <a:lnTo>
                    <a:pt x="1271144" y="246659"/>
                  </a:lnTo>
                  <a:lnTo>
                    <a:pt x="1271144" y="245961"/>
                  </a:lnTo>
                  <a:lnTo>
                    <a:pt x="1271144" y="248044"/>
                  </a:lnTo>
                  <a:lnTo>
                    <a:pt x="1271194" y="246659"/>
                  </a:lnTo>
                  <a:lnTo>
                    <a:pt x="1271194" y="248044"/>
                  </a:lnTo>
                  <a:lnTo>
                    <a:pt x="1271194" y="245961"/>
                  </a:lnTo>
                  <a:lnTo>
                    <a:pt x="1271194" y="246659"/>
                  </a:lnTo>
                  <a:lnTo>
                    <a:pt x="1271245" y="246659"/>
                  </a:lnTo>
                  <a:lnTo>
                    <a:pt x="1271245" y="245961"/>
                  </a:lnTo>
                  <a:lnTo>
                    <a:pt x="1271245" y="246659"/>
                  </a:lnTo>
                  <a:lnTo>
                    <a:pt x="1271245" y="245961"/>
                  </a:lnTo>
                  <a:lnTo>
                    <a:pt x="1271347" y="245326"/>
                  </a:lnTo>
                  <a:lnTo>
                    <a:pt x="1271347" y="243929"/>
                  </a:lnTo>
                  <a:lnTo>
                    <a:pt x="1271347" y="245961"/>
                  </a:lnTo>
                  <a:lnTo>
                    <a:pt x="1271347" y="245326"/>
                  </a:lnTo>
                  <a:lnTo>
                    <a:pt x="1271397" y="245326"/>
                  </a:lnTo>
                  <a:lnTo>
                    <a:pt x="1271397" y="243929"/>
                  </a:lnTo>
                  <a:lnTo>
                    <a:pt x="1271397" y="248044"/>
                  </a:lnTo>
                  <a:lnTo>
                    <a:pt x="1271397" y="246659"/>
                  </a:lnTo>
                  <a:lnTo>
                    <a:pt x="1271448" y="245961"/>
                  </a:lnTo>
                  <a:lnTo>
                    <a:pt x="1271448" y="248044"/>
                  </a:lnTo>
                  <a:lnTo>
                    <a:pt x="1271448" y="246659"/>
                  </a:lnTo>
                  <a:lnTo>
                    <a:pt x="1271550" y="246659"/>
                  </a:lnTo>
                  <a:lnTo>
                    <a:pt x="1271550" y="248044"/>
                  </a:lnTo>
                  <a:lnTo>
                    <a:pt x="1271550" y="246659"/>
                  </a:lnTo>
                  <a:lnTo>
                    <a:pt x="1271550" y="248044"/>
                  </a:lnTo>
                  <a:lnTo>
                    <a:pt x="1271588" y="248044"/>
                  </a:lnTo>
                  <a:lnTo>
                    <a:pt x="1271588" y="246659"/>
                  </a:lnTo>
                  <a:lnTo>
                    <a:pt x="1271588" y="248044"/>
                  </a:lnTo>
                  <a:lnTo>
                    <a:pt x="1271588" y="246659"/>
                  </a:lnTo>
                  <a:lnTo>
                    <a:pt x="1271588" y="248044"/>
                  </a:lnTo>
                  <a:lnTo>
                    <a:pt x="1271588" y="246659"/>
                  </a:lnTo>
                  <a:lnTo>
                    <a:pt x="1271639" y="246659"/>
                  </a:lnTo>
                  <a:lnTo>
                    <a:pt x="1271639" y="248044"/>
                  </a:lnTo>
                  <a:lnTo>
                    <a:pt x="1271639" y="246659"/>
                  </a:lnTo>
                  <a:lnTo>
                    <a:pt x="1271690" y="246659"/>
                  </a:lnTo>
                  <a:lnTo>
                    <a:pt x="1271690" y="245961"/>
                  </a:lnTo>
                  <a:lnTo>
                    <a:pt x="1271791" y="245961"/>
                  </a:lnTo>
                  <a:lnTo>
                    <a:pt x="1271791" y="243929"/>
                  </a:lnTo>
                  <a:lnTo>
                    <a:pt x="1271842" y="242595"/>
                  </a:lnTo>
                  <a:lnTo>
                    <a:pt x="1271842" y="243929"/>
                  </a:lnTo>
                  <a:lnTo>
                    <a:pt x="1271842" y="242595"/>
                  </a:lnTo>
                  <a:lnTo>
                    <a:pt x="1271842" y="243929"/>
                  </a:lnTo>
                  <a:lnTo>
                    <a:pt x="1271842" y="242595"/>
                  </a:lnTo>
                  <a:lnTo>
                    <a:pt x="1271842" y="245326"/>
                  </a:lnTo>
                  <a:lnTo>
                    <a:pt x="1271842" y="243929"/>
                  </a:lnTo>
                  <a:lnTo>
                    <a:pt x="1271893" y="242595"/>
                  </a:lnTo>
                  <a:lnTo>
                    <a:pt x="1271893" y="248044"/>
                  </a:lnTo>
                  <a:lnTo>
                    <a:pt x="1271893" y="245326"/>
                  </a:lnTo>
                  <a:lnTo>
                    <a:pt x="1271994" y="245326"/>
                  </a:lnTo>
                  <a:lnTo>
                    <a:pt x="1271994" y="248691"/>
                  </a:lnTo>
                  <a:lnTo>
                    <a:pt x="1271994" y="246659"/>
                  </a:lnTo>
                  <a:lnTo>
                    <a:pt x="1272045" y="246659"/>
                  </a:lnTo>
                  <a:lnTo>
                    <a:pt x="1272045" y="248044"/>
                  </a:lnTo>
                  <a:lnTo>
                    <a:pt x="1272096" y="248044"/>
                  </a:lnTo>
                  <a:lnTo>
                    <a:pt x="1272096" y="248691"/>
                  </a:lnTo>
                  <a:lnTo>
                    <a:pt x="1272096" y="248044"/>
                  </a:lnTo>
                  <a:lnTo>
                    <a:pt x="1272096" y="248691"/>
                  </a:lnTo>
                  <a:lnTo>
                    <a:pt x="1272096" y="248044"/>
                  </a:lnTo>
                  <a:lnTo>
                    <a:pt x="1272134" y="248044"/>
                  </a:lnTo>
                  <a:lnTo>
                    <a:pt x="1272134" y="248691"/>
                  </a:lnTo>
                  <a:lnTo>
                    <a:pt x="1272134" y="248044"/>
                  </a:lnTo>
                  <a:lnTo>
                    <a:pt x="1272236" y="248691"/>
                  </a:lnTo>
                  <a:lnTo>
                    <a:pt x="1272236" y="248044"/>
                  </a:lnTo>
                  <a:lnTo>
                    <a:pt x="1272236" y="248691"/>
                  </a:lnTo>
                  <a:lnTo>
                    <a:pt x="1272236" y="246659"/>
                  </a:lnTo>
                  <a:lnTo>
                    <a:pt x="1272287" y="245961"/>
                  </a:lnTo>
                  <a:lnTo>
                    <a:pt x="1272287" y="246659"/>
                  </a:lnTo>
                  <a:lnTo>
                    <a:pt x="1272287" y="244627"/>
                  </a:lnTo>
                  <a:lnTo>
                    <a:pt x="1272337" y="243929"/>
                  </a:lnTo>
                  <a:lnTo>
                    <a:pt x="1272337" y="242595"/>
                  </a:lnTo>
                  <a:lnTo>
                    <a:pt x="1272337" y="245326"/>
                  </a:lnTo>
                  <a:lnTo>
                    <a:pt x="1272337" y="243929"/>
                  </a:lnTo>
                  <a:lnTo>
                    <a:pt x="1272439" y="242595"/>
                  </a:lnTo>
                  <a:lnTo>
                    <a:pt x="1272439" y="246659"/>
                  </a:lnTo>
                  <a:lnTo>
                    <a:pt x="1272439" y="244627"/>
                  </a:lnTo>
                  <a:lnTo>
                    <a:pt x="1272439" y="245326"/>
                  </a:lnTo>
                  <a:lnTo>
                    <a:pt x="1272490" y="245961"/>
                  </a:lnTo>
                  <a:lnTo>
                    <a:pt x="1272490" y="246659"/>
                  </a:lnTo>
                  <a:lnTo>
                    <a:pt x="1272540" y="246659"/>
                  </a:lnTo>
                  <a:lnTo>
                    <a:pt x="1272540" y="248044"/>
                  </a:lnTo>
                  <a:lnTo>
                    <a:pt x="1272540" y="246659"/>
                  </a:lnTo>
                  <a:lnTo>
                    <a:pt x="1272540" y="248044"/>
                  </a:lnTo>
                  <a:lnTo>
                    <a:pt x="1272591" y="248044"/>
                  </a:lnTo>
                  <a:lnTo>
                    <a:pt x="1272591" y="246659"/>
                  </a:lnTo>
                  <a:lnTo>
                    <a:pt x="1272591" y="248691"/>
                  </a:lnTo>
                  <a:lnTo>
                    <a:pt x="1272591" y="248044"/>
                  </a:lnTo>
                  <a:lnTo>
                    <a:pt x="1272591" y="248691"/>
                  </a:lnTo>
                  <a:lnTo>
                    <a:pt x="1272680" y="248691"/>
                  </a:lnTo>
                  <a:lnTo>
                    <a:pt x="1272680" y="248044"/>
                  </a:lnTo>
                  <a:lnTo>
                    <a:pt x="1272680" y="248691"/>
                  </a:lnTo>
                  <a:lnTo>
                    <a:pt x="1272731" y="248691"/>
                  </a:lnTo>
                  <a:lnTo>
                    <a:pt x="1272731" y="246659"/>
                  </a:lnTo>
                  <a:lnTo>
                    <a:pt x="1272782" y="246659"/>
                  </a:lnTo>
                  <a:lnTo>
                    <a:pt x="1272782" y="243929"/>
                  </a:lnTo>
                  <a:lnTo>
                    <a:pt x="1272833" y="244627"/>
                  </a:lnTo>
                  <a:lnTo>
                    <a:pt x="1272833" y="243929"/>
                  </a:lnTo>
                  <a:lnTo>
                    <a:pt x="1272833" y="245326"/>
                  </a:lnTo>
                  <a:lnTo>
                    <a:pt x="1272833" y="242595"/>
                  </a:lnTo>
                  <a:lnTo>
                    <a:pt x="1272833" y="245326"/>
                  </a:lnTo>
                  <a:lnTo>
                    <a:pt x="1272934" y="245961"/>
                  </a:lnTo>
                  <a:lnTo>
                    <a:pt x="1272934" y="246659"/>
                  </a:lnTo>
                  <a:lnTo>
                    <a:pt x="1272934" y="245961"/>
                  </a:lnTo>
                  <a:lnTo>
                    <a:pt x="1272934" y="246659"/>
                  </a:lnTo>
                  <a:lnTo>
                    <a:pt x="1272934" y="245961"/>
                  </a:lnTo>
                  <a:lnTo>
                    <a:pt x="1272934" y="246659"/>
                  </a:lnTo>
                  <a:lnTo>
                    <a:pt x="1272985" y="246659"/>
                  </a:lnTo>
                  <a:lnTo>
                    <a:pt x="1272985" y="248044"/>
                  </a:lnTo>
                  <a:lnTo>
                    <a:pt x="1272985" y="245961"/>
                  </a:lnTo>
                  <a:lnTo>
                    <a:pt x="1272985" y="246659"/>
                  </a:lnTo>
                  <a:lnTo>
                    <a:pt x="1272985" y="245961"/>
                  </a:lnTo>
                  <a:lnTo>
                    <a:pt x="1272985" y="246659"/>
                  </a:lnTo>
                  <a:lnTo>
                    <a:pt x="1273036" y="246659"/>
                  </a:lnTo>
                  <a:lnTo>
                    <a:pt x="1273036" y="248044"/>
                  </a:lnTo>
                  <a:lnTo>
                    <a:pt x="1273036" y="246659"/>
                  </a:lnTo>
                  <a:lnTo>
                    <a:pt x="1273036" y="248044"/>
                  </a:lnTo>
                  <a:lnTo>
                    <a:pt x="1273036" y="246659"/>
                  </a:lnTo>
                  <a:lnTo>
                    <a:pt x="1273036" y="248044"/>
                  </a:lnTo>
                  <a:lnTo>
                    <a:pt x="1273036" y="246659"/>
                  </a:lnTo>
                  <a:lnTo>
                    <a:pt x="1273036" y="248044"/>
                  </a:lnTo>
                  <a:lnTo>
                    <a:pt x="1273036" y="246659"/>
                  </a:lnTo>
                  <a:lnTo>
                    <a:pt x="1273036" y="248691"/>
                  </a:lnTo>
                  <a:lnTo>
                    <a:pt x="1273137" y="248691"/>
                  </a:lnTo>
                  <a:lnTo>
                    <a:pt x="1273137" y="248044"/>
                  </a:lnTo>
                  <a:lnTo>
                    <a:pt x="1273137" y="248691"/>
                  </a:lnTo>
                  <a:lnTo>
                    <a:pt x="1273137" y="248044"/>
                  </a:lnTo>
                  <a:lnTo>
                    <a:pt x="1273137" y="248691"/>
                  </a:lnTo>
                  <a:lnTo>
                    <a:pt x="1273137" y="248044"/>
                  </a:lnTo>
                  <a:lnTo>
                    <a:pt x="1273137" y="248691"/>
                  </a:lnTo>
                  <a:lnTo>
                    <a:pt x="1273137" y="248044"/>
                  </a:lnTo>
                  <a:lnTo>
                    <a:pt x="1273137" y="248691"/>
                  </a:lnTo>
                  <a:lnTo>
                    <a:pt x="1273175" y="248691"/>
                  </a:lnTo>
                  <a:lnTo>
                    <a:pt x="1273175" y="249390"/>
                  </a:lnTo>
                  <a:lnTo>
                    <a:pt x="1273175" y="248691"/>
                  </a:lnTo>
                  <a:lnTo>
                    <a:pt x="1273175" y="249390"/>
                  </a:lnTo>
                  <a:lnTo>
                    <a:pt x="1273175" y="248691"/>
                  </a:lnTo>
                  <a:lnTo>
                    <a:pt x="1273226" y="248691"/>
                  </a:lnTo>
                  <a:lnTo>
                    <a:pt x="1273226" y="248044"/>
                  </a:lnTo>
                  <a:lnTo>
                    <a:pt x="1273226" y="248691"/>
                  </a:lnTo>
                  <a:lnTo>
                    <a:pt x="1273226" y="246659"/>
                  </a:lnTo>
                  <a:lnTo>
                    <a:pt x="1273277" y="246659"/>
                  </a:lnTo>
                  <a:lnTo>
                    <a:pt x="1273277" y="245326"/>
                  </a:lnTo>
                  <a:lnTo>
                    <a:pt x="1273277" y="246659"/>
                  </a:lnTo>
                  <a:lnTo>
                    <a:pt x="1273379" y="248044"/>
                  </a:lnTo>
                  <a:lnTo>
                    <a:pt x="1273379" y="246659"/>
                  </a:lnTo>
                  <a:lnTo>
                    <a:pt x="1273379" y="248044"/>
                  </a:lnTo>
                  <a:lnTo>
                    <a:pt x="1273379" y="244627"/>
                  </a:lnTo>
                  <a:lnTo>
                    <a:pt x="1273379" y="248691"/>
                  </a:lnTo>
                  <a:lnTo>
                    <a:pt x="1273430" y="249390"/>
                  </a:lnTo>
                  <a:lnTo>
                    <a:pt x="1273430" y="246659"/>
                  </a:lnTo>
                  <a:lnTo>
                    <a:pt x="1273430" y="249390"/>
                  </a:lnTo>
                  <a:lnTo>
                    <a:pt x="1273480" y="249390"/>
                  </a:lnTo>
                  <a:lnTo>
                    <a:pt x="1273480" y="246659"/>
                  </a:lnTo>
                  <a:lnTo>
                    <a:pt x="1273480" y="248044"/>
                  </a:lnTo>
                  <a:lnTo>
                    <a:pt x="1273582" y="248044"/>
                  </a:lnTo>
                  <a:lnTo>
                    <a:pt x="1273582" y="246659"/>
                  </a:lnTo>
                  <a:lnTo>
                    <a:pt x="1273582" y="248691"/>
                  </a:lnTo>
                  <a:lnTo>
                    <a:pt x="1273582" y="248044"/>
                  </a:lnTo>
                  <a:lnTo>
                    <a:pt x="1273582" y="248691"/>
                  </a:lnTo>
                  <a:lnTo>
                    <a:pt x="1273633" y="248691"/>
                  </a:lnTo>
                  <a:lnTo>
                    <a:pt x="1273633" y="249390"/>
                  </a:lnTo>
                  <a:lnTo>
                    <a:pt x="1273633" y="248691"/>
                  </a:lnTo>
                  <a:lnTo>
                    <a:pt x="1273684" y="248691"/>
                  </a:lnTo>
                  <a:lnTo>
                    <a:pt x="1273684" y="249390"/>
                  </a:lnTo>
                  <a:lnTo>
                    <a:pt x="1273684" y="248691"/>
                  </a:lnTo>
                  <a:lnTo>
                    <a:pt x="1273684" y="249390"/>
                  </a:lnTo>
                  <a:lnTo>
                    <a:pt x="1273722" y="248691"/>
                  </a:lnTo>
                  <a:lnTo>
                    <a:pt x="1273722" y="249390"/>
                  </a:lnTo>
                  <a:lnTo>
                    <a:pt x="1273722" y="248044"/>
                  </a:lnTo>
                  <a:lnTo>
                    <a:pt x="1273823" y="248044"/>
                  </a:lnTo>
                  <a:lnTo>
                    <a:pt x="1273823" y="246659"/>
                  </a:lnTo>
                  <a:lnTo>
                    <a:pt x="1273823" y="248691"/>
                  </a:lnTo>
                  <a:lnTo>
                    <a:pt x="1273874" y="248044"/>
                  </a:lnTo>
                  <a:lnTo>
                    <a:pt x="1273874" y="246659"/>
                  </a:lnTo>
                  <a:lnTo>
                    <a:pt x="1273874" y="251422"/>
                  </a:lnTo>
                  <a:lnTo>
                    <a:pt x="1273874" y="249390"/>
                  </a:lnTo>
                  <a:lnTo>
                    <a:pt x="1273925" y="248691"/>
                  </a:lnTo>
                  <a:lnTo>
                    <a:pt x="1273925" y="251422"/>
                  </a:lnTo>
                  <a:lnTo>
                    <a:pt x="1273925" y="249390"/>
                  </a:lnTo>
                  <a:lnTo>
                    <a:pt x="1274026" y="249390"/>
                  </a:lnTo>
                  <a:lnTo>
                    <a:pt x="1274026" y="251422"/>
                  </a:lnTo>
                  <a:lnTo>
                    <a:pt x="1274026" y="249390"/>
                  </a:lnTo>
                  <a:lnTo>
                    <a:pt x="1274026" y="250088"/>
                  </a:lnTo>
                  <a:lnTo>
                    <a:pt x="1274077" y="250088"/>
                  </a:lnTo>
                  <a:lnTo>
                    <a:pt x="1274077" y="251422"/>
                  </a:lnTo>
                  <a:lnTo>
                    <a:pt x="1274128" y="251422"/>
                  </a:lnTo>
                  <a:lnTo>
                    <a:pt x="1274128" y="250088"/>
                  </a:lnTo>
                  <a:lnTo>
                    <a:pt x="1274128" y="251422"/>
                  </a:lnTo>
                  <a:lnTo>
                    <a:pt x="1274128" y="250088"/>
                  </a:lnTo>
                  <a:lnTo>
                    <a:pt x="1274268" y="250088"/>
                  </a:lnTo>
                  <a:lnTo>
                    <a:pt x="1274268" y="249390"/>
                  </a:lnTo>
                  <a:lnTo>
                    <a:pt x="1274268" y="250088"/>
                  </a:lnTo>
                  <a:lnTo>
                    <a:pt x="1274268" y="248691"/>
                  </a:lnTo>
                  <a:lnTo>
                    <a:pt x="1274319" y="248044"/>
                  </a:lnTo>
                  <a:lnTo>
                    <a:pt x="1274319" y="246659"/>
                  </a:lnTo>
                  <a:lnTo>
                    <a:pt x="1274319" y="250088"/>
                  </a:lnTo>
                  <a:lnTo>
                    <a:pt x="1274319" y="248691"/>
                  </a:lnTo>
                  <a:lnTo>
                    <a:pt x="1274369" y="248691"/>
                  </a:lnTo>
                  <a:lnTo>
                    <a:pt x="1274369" y="252120"/>
                  </a:lnTo>
                  <a:lnTo>
                    <a:pt x="1274369" y="250088"/>
                  </a:lnTo>
                  <a:lnTo>
                    <a:pt x="1274420" y="250088"/>
                  </a:lnTo>
                  <a:lnTo>
                    <a:pt x="1274420" y="251422"/>
                  </a:lnTo>
                  <a:lnTo>
                    <a:pt x="1274420" y="250088"/>
                  </a:lnTo>
                  <a:lnTo>
                    <a:pt x="1274522" y="250088"/>
                  </a:lnTo>
                  <a:lnTo>
                    <a:pt x="1274522" y="251422"/>
                  </a:lnTo>
                  <a:lnTo>
                    <a:pt x="1274522" y="250088"/>
                  </a:lnTo>
                  <a:lnTo>
                    <a:pt x="1274522" y="251422"/>
                  </a:lnTo>
                  <a:lnTo>
                    <a:pt x="1274522" y="250088"/>
                  </a:lnTo>
                  <a:lnTo>
                    <a:pt x="1274572" y="251422"/>
                  </a:lnTo>
                  <a:lnTo>
                    <a:pt x="1274572" y="252120"/>
                  </a:lnTo>
                  <a:lnTo>
                    <a:pt x="1274572" y="251422"/>
                  </a:lnTo>
                  <a:lnTo>
                    <a:pt x="1274572" y="252120"/>
                  </a:lnTo>
                  <a:lnTo>
                    <a:pt x="1274572" y="251422"/>
                  </a:lnTo>
                  <a:lnTo>
                    <a:pt x="1274572" y="252120"/>
                  </a:lnTo>
                  <a:lnTo>
                    <a:pt x="1274572" y="251422"/>
                  </a:lnTo>
                  <a:lnTo>
                    <a:pt x="1274623" y="252120"/>
                  </a:lnTo>
                  <a:lnTo>
                    <a:pt x="1274623" y="251422"/>
                  </a:lnTo>
                  <a:lnTo>
                    <a:pt x="1274623" y="252120"/>
                  </a:lnTo>
                  <a:lnTo>
                    <a:pt x="1274623" y="250088"/>
                  </a:lnTo>
                  <a:lnTo>
                    <a:pt x="1274623" y="251422"/>
                  </a:lnTo>
                  <a:lnTo>
                    <a:pt x="1274725" y="252120"/>
                  </a:lnTo>
                  <a:lnTo>
                    <a:pt x="1274725" y="250088"/>
                  </a:lnTo>
                  <a:lnTo>
                    <a:pt x="1274725" y="251422"/>
                  </a:lnTo>
                  <a:lnTo>
                    <a:pt x="1274725" y="250088"/>
                  </a:lnTo>
                  <a:lnTo>
                    <a:pt x="1274725" y="251422"/>
                  </a:lnTo>
                  <a:lnTo>
                    <a:pt x="1274725" y="250088"/>
                  </a:lnTo>
                  <a:lnTo>
                    <a:pt x="1274725" y="251422"/>
                  </a:lnTo>
                  <a:lnTo>
                    <a:pt x="1274725" y="249390"/>
                  </a:lnTo>
                  <a:lnTo>
                    <a:pt x="1274763" y="249390"/>
                  </a:lnTo>
                  <a:lnTo>
                    <a:pt x="1274763" y="248691"/>
                  </a:lnTo>
                  <a:lnTo>
                    <a:pt x="1274763" y="249390"/>
                  </a:lnTo>
                  <a:lnTo>
                    <a:pt x="1274763" y="248044"/>
                  </a:lnTo>
                  <a:lnTo>
                    <a:pt x="1274814" y="248044"/>
                  </a:lnTo>
                  <a:lnTo>
                    <a:pt x="1274814" y="246659"/>
                  </a:lnTo>
                  <a:lnTo>
                    <a:pt x="1274814" y="250088"/>
                  </a:lnTo>
                  <a:lnTo>
                    <a:pt x="1274814" y="248691"/>
                  </a:lnTo>
                  <a:lnTo>
                    <a:pt x="1274865" y="248691"/>
                  </a:lnTo>
                  <a:lnTo>
                    <a:pt x="1274865" y="252120"/>
                  </a:lnTo>
                  <a:lnTo>
                    <a:pt x="1274865" y="249390"/>
                  </a:lnTo>
                  <a:lnTo>
                    <a:pt x="1274966" y="249390"/>
                  </a:lnTo>
                  <a:lnTo>
                    <a:pt x="1274966" y="252120"/>
                  </a:lnTo>
                  <a:lnTo>
                    <a:pt x="1274966" y="250088"/>
                  </a:lnTo>
                  <a:lnTo>
                    <a:pt x="1274966" y="251422"/>
                  </a:lnTo>
                  <a:lnTo>
                    <a:pt x="1275017" y="250088"/>
                  </a:lnTo>
                  <a:lnTo>
                    <a:pt x="1275017" y="252120"/>
                  </a:lnTo>
                  <a:lnTo>
                    <a:pt x="1275068" y="252120"/>
                  </a:lnTo>
                  <a:lnTo>
                    <a:pt x="1275068" y="252806"/>
                  </a:lnTo>
                  <a:lnTo>
                    <a:pt x="1275169" y="252806"/>
                  </a:lnTo>
                  <a:lnTo>
                    <a:pt x="1275169" y="251422"/>
                  </a:lnTo>
                  <a:lnTo>
                    <a:pt x="1275169" y="252120"/>
                  </a:lnTo>
                  <a:lnTo>
                    <a:pt x="1275169" y="251422"/>
                  </a:lnTo>
                  <a:lnTo>
                    <a:pt x="1275220" y="251422"/>
                  </a:lnTo>
                  <a:lnTo>
                    <a:pt x="1275220" y="249390"/>
                  </a:lnTo>
                  <a:lnTo>
                    <a:pt x="1275271" y="249390"/>
                  </a:lnTo>
                  <a:lnTo>
                    <a:pt x="1275271" y="248691"/>
                  </a:lnTo>
                  <a:lnTo>
                    <a:pt x="1275271" y="249390"/>
                  </a:lnTo>
                  <a:lnTo>
                    <a:pt x="1275271" y="248044"/>
                  </a:lnTo>
                  <a:lnTo>
                    <a:pt x="1275271" y="248691"/>
                  </a:lnTo>
                  <a:lnTo>
                    <a:pt x="1275309" y="248691"/>
                  </a:lnTo>
                  <a:lnTo>
                    <a:pt x="1275309" y="250088"/>
                  </a:lnTo>
                  <a:lnTo>
                    <a:pt x="1275309" y="248691"/>
                  </a:lnTo>
                  <a:lnTo>
                    <a:pt x="1275309" y="250088"/>
                  </a:lnTo>
                  <a:lnTo>
                    <a:pt x="1275411" y="251422"/>
                  </a:lnTo>
                  <a:lnTo>
                    <a:pt x="1275411" y="252120"/>
                  </a:lnTo>
                  <a:lnTo>
                    <a:pt x="1275411" y="249390"/>
                  </a:lnTo>
                  <a:lnTo>
                    <a:pt x="1275411" y="250088"/>
                  </a:lnTo>
                  <a:lnTo>
                    <a:pt x="1275462" y="250088"/>
                  </a:lnTo>
                  <a:lnTo>
                    <a:pt x="1275462" y="251422"/>
                  </a:lnTo>
                  <a:lnTo>
                    <a:pt x="1275462" y="249390"/>
                  </a:lnTo>
                  <a:lnTo>
                    <a:pt x="1275462" y="250088"/>
                  </a:lnTo>
                  <a:lnTo>
                    <a:pt x="1275512" y="250088"/>
                  </a:lnTo>
                  <a:lnTo>
                    <a:pt x="1275512" y="249390"/>
                  </a:lnTo>
                  <a:lnTo>
                    <a:pt x="1275512" y="251422"/>
                  </a:lnTo>
                  <a:lnTo>
                    <a:pt x="1275512" y="250088"/>
                  </a:lnTo>
                  <a:lnTo>
                    <a:pt x="1275512" y="251422"/>
                  </a:lnTo>
                  <a:lnTo>
                    <a:pt x="1275614" y="251422"/>
                  </a:lnTo>
                  <a:lnTo>
                    <a:pt x="1275614" y="252120"/>
                  </a:lnTo>
                  <a:lnTo>
                    <a:pt x="1275614" y="251422"/>
                  </a:lnTo>
                  <a:lnTo>
                    <a:pt x="1275614" y="252120"/>
                  </a:lnTo>
                  <a:lnTo>
                    <a:pt x="1275614" y="251422"/>
                  </a:lnTo>
                  <a:lnTo>
                    <a:pt x="1275665" y="250088"/>
                  </a:lnTo>
                  <a:lnTo>
                    <a:pt x="1275665" y="252120"/>
                  </a:lnTo>
                  <a:lnTo>
                    <a:pt x="1275665" y="250088"/>
                  </a:lnTo>
                  <a:lnTo>
                    <a:pt x="1275665" y="251422"/>
                  </a:lnTo>
                  <a:lnTo>
                    <a:pt x="1275715" y="250088"/>
                  </a:lnTo>
                  <a:lnTo>
                    <a:pt x="1275715" y="248691"/>
                  </a:lnTo>
                  <a:lnTo>
                    <a:pt x="1275766" y="248691"/>
                  </a:lnTo>
                  <a:lnTo>
                    <a:pt x="1275766" y="248044"/>
                  </a:lnTo>
                  <a:lnTo>
                    <a:pt x="1275766" y="248691"/>
                  </a:lnTo>
                  <a:lnTo>
                    <a:pt x="1275766" y="246659"/>
                  </a:lnTo>
                  <a:lnTo>
                    <a:pt x="1275855" y="248044"/>
                  </a:lnTo>
                  <a:lnTo>
                    <a:pt x="1275855" y="248691"/>
                  </a:lnTo>
                  <a:lnTo>
                    <a:pt x="1275855" y="246659"/>
                  </a:lnTo>
                  <a:lnTo>
                    <a:pt x="1275855" y="249390"/>
                  </a:lnTo>
                  <a:lnTo>
                    <a:pt x="1275906" y="249390"/>
                  </a:lnTo>
                  <a:lnTo>
                    <a:pt x="1275906" y="250088"/>
                  </a:lnTo>
                  <a:lnTo>
                    <a:pt x="1275906" y="248044"/>
                  </a:lnTo>
                  <a:lnTo>
                    <a:pt x="1275906" y="250088"/>
                  </a:lnTo>
                  <a:lnTo>
                    <a:pt x="1275957" y="250088"/>
                  </a:lnTo>
                  <a:lnTo>
                    <a:pt x="1275957" y="249390"/>
                  </a:lnTo>
                  <a:lnTo>
                    <a:pt x="1275957" y="250088"/>
                  </a:lnTo>
                  <a:lnTo>
                    <a:pt x="1276008" y="250088"/>
                  </a:lnTo>
                  <a:lnTo>
                    <a:pt x="1276008" y="251422"/>
                  </a:lnTo>
                  <a:lnTo>
                    <a:pt x="1276008" y="250088"/>
                  </a:lnTo>
                  <a:lnTo>
                    <a:pt x="1276008" y="251422"/>
                  </a:lnTo>
                  <a:lnTo>
                    <a:pt x="1276109" y="251422"/>
                  </a:lnTo>
                  <a:lnTo>
                    <a:pt x="1276109" y="250088"/>
                  </a:lnTo>
                  <a:lnTo>
                    <a:pt x="1276109" y="252120"/>
                  </a:lnTo>
                  <a:lnTo>
                    <a:pt x="1276109" y="251422"/>
                  </a:lnTo>
                  <a:lnTo>
                    <a:pt x="1276109" y="252120"/>
                  </a:lnTo>
                  <a:lnTo>
                    <a:pt x="1276109" y="251422"/>
                  </a:lnTo>
                  <a:lnTo>
                    <a:pt x="1276160" y="251422"/>
                  </a:lnTo>
                  <a:lnTo>
                    <a:pt x="1276160" y="250088"/>
                  </a:lnTo>
                  <a:lnTo>
                    <a:pt x="1276211" y="250088"/>
                  </a:lnTo>
                  <a:lnTo>
                    <a:pt x="1276211" y="251422"/>
                  </a:lnTo>
                  <a:lnTo>
                    <a:pt x="1276211" y="249390"/>
                  </a:lnTo>
                  <a:lnTo>
                    <a:pt x="1276211" y="250088"/>
                  </a:lnTo>
                  <a:lnTo>
                    <a:pt x="1276211" y="249390"/>
                  </a:lnTo>
                  <a:lnTo>
                    <a:pt x="1276211" y="250088"/>
                  </a:lnTo>
                  <a:lnTo>
                    <a:pt x="1276211" y="249390"/>
                  </a:lnTo>
                  <a:lnTo>
                    <a:pt x="1276312" y="249390"/>
                  </a:lnTo>
                  <a:lnTo>
                    <a:pt x="1276312" y="248044"/>
                  </a:lnTo>
                  <a:lnTo>
                    <a:pt x="1276312" y="248691"/>
                  </a:lnTo>
                  <a:lnTo>
                    <a:pt x="1276350" y="248691"/>
                  </a:lnTo>
                  <a:lnTo>
                    <a:pt x="1276350" y="246659"/>
                  </a:lnTo>
                  <a:lnTo>
                    <a:pt x="1276350" y="248691"/>
                  </a:lnTo>
                  <a:lnTo>
                    <a:pt x="1276401" y="249390"/>
                  </a:lnTo>
                  <a:lnTo>
                    <a:pt x="1276401" y="248044"/>
                  </a:lnTo>
                  <a:lnTo>
                    <a:pt x="1276401" y="248691"/>
                  </a:lnTo>
                  <a:lnTo>
                    <a:pt x="1276452" y="248691"/>
                  </a:lnTo>
                  <a:lnTo>
                    <a:pt x="1276452" y="249390"/>
                  </a:lnTo>
                  <a:lnTo>
                    <a:pt x="1276554" y="248691"/>
                  </a:lnTo>
                  <a:lnTo>
                    <a:pt x="1276554" y="250088"/>
                  </a:lnTo>
                  <a:lnTo>
                    <a:pt x="1276605" y="250088"/>
                  </a:lnTo>
                  <a:lnTo>
                    <a:pt x="1276605" y="251422"/>
                  </a:lnTo>
                  <a:lnTo>
                    <a:pt x="1276605" y="250088"/>
                  </a:lnTo>
                  <a:lnTo>
                    <a:pt x="1276605" y="251422"/>
                  </a:lnTo>
                  <a:lnTo>
                    <a:pt x="1276655" y="250088"/>
                  </a:lnTo>
                  <a:lnTo>
                    <a:pt x="1276655" y="251422"/>
                  </a:lnTo>
                  <a:lnTo>
                    <a:pt x="1276655" y="250088"/>
                  </a:lnTo>
                  <a:lnTo>
                    <a:pt x="1276655" y="251422"/>
                  </a:lnTo>
                  <a:lnTo>
                    <a:pt x="1276655" y="250088"/>
                  </a:lnTo>
                  <a:lnTo>
                    <a:pt x="1276757" y="250088"/>
                  </a:lnTo>
                  <a:lnTo>
                    <a:pt x="1276757" y="249390"/>
                  </a:lnTo>
                  <a:lnTo>
                    <a:pt x="1276808" y="249390"/>
                  </a:lnTo>
                  <a:lnTo>
                    <a:pt x="1276808" y="248691"/>
                  </a:lnTo>
                  <a:lnTo>
                    <a:pt x="1276808" y="249390"/>
                  </a:lnTo>
                  <a:lnTo>
                    <a:pt x="1276808" y="248691"/>
                  </a:lnTo>
                  <a:lnTo>
                    <a:pt x="1276808" y="251422"/>
                  </a:lnTo>
                  <a:lnTo>
                    <a:pt x="1276808" y="249390"/>
                  </a:lnTo>
                  <a:lnTo>
                    <a:pt x="1276859" y="249390"/>
                  </a:lnTo>
                  <a:lnTo>
                    <a:pt x="1276859" y="248044"/>
                  </a:lnTo>
                  <a:lnTo>
                    <a:pt x="1276859" y="252120"/>
                  </a:lnTo>
                  <a:lnTo>
                    <a:pt x="1276859" y="250088"/>
                  </a:lnTo>
                  <a:lnTo>
                    <a:pt x="1276897" y="250088"/>
                  </a:lnTo>
                  <a:lnTo>
                    <a:pt x="1276897" y="249390"/>
                  </a:lnTo>
                  <a:lnTo>
                    <a:pt x="1276897" y="250088"/>
                  </a:lnTo>
                  <a:lnTo>
                    <a:pt x="1276897" y="249390"/>
                  </a:lnTo>
                  <a:lnTo>
                    <a:pt x="1276897" y="252120"/>
                  </a:lnTo>
                  <a:lnTo>
                    <a:pt x="1276897" y="251422"/>
                  </a:lnTo>
                  <a:lnTo>
                    <a:pt x="1276998" y="251422"/>
                  </a:lnTo>
                  <a:lnTo>
                    <a:pt x="1276998" y="250088"/>
                  </a:lnTo>
                  <a:lnTo>
                    <a:pt x="1276998" y="251422"/>
                  </a:lnTo>
                  <a:lnTo>
                    <a:pt x="1276998" y="250088"/>
                  </a:lnTo>
                  <a:lnTo>
                    <a:pt x="1276998" y="252120"/>
                  </a:lnTo>
                  <a:lnTo>
                    <a:pt x="1276998" y="251422"/>
                  </a:lnTo>
                  <a:lnTo>
                    <a:pt x="1277049" y="251422"/>
                  </a:lnTo>
                  <a:lnTo>
                    <a:pt x="1277049" y="252120"/>
                  </a:lnTo>
                  <a:lnTo>
                    <a:pt x="1277049" y="251422"/>
                  </a:lnTo>
                  <a:lnTo>
                    <a:pt x="1277049" y="252120"/>
                  </a:lnTo>
                  <a:lnTo>
                    <a:pt x="1277049" y="250088"/>
                  </a:lnTo>
                  <a:lnTo>
                    <a:pt x="1277049" y="251422"/>
                  </a:lnTo>
                  <a:lnTo>
                    <a:pt x="1277100" y="251422"/>
                  </a:lnTo>
                  <a:lnTo>
                    <a:pt x="1277100" y="252120"/>
                  </a:lnTo>
                  <a:lnTo>
                    <a:pt x="1277100" y="251422"/>
                  </a:lnTo>
                  <a:lnTo>
                    <a:pt x="1277201" y="251422"/>
                  </a:lnTo>
                  <a:lnTo>
                    <a:pt x="1277201" y="250088"/>
                  </a:lnTo>
                  <a:lnTo>
                    <a:pt x="1277201" y="251422"/>
                  </a:lnTo>
                  <a:lnTo>
                    <a:pt x="1277201" y="250088"/>
                  </a:lnTo>
                  <a:lnTo>
                    <a:pt x="1277201" y="251422"/>
                  </a:lnTo>
                  <a:lnTo>
                    <a:pt x="1277201" y="250088"/>
                  </a:lnTo>
                  <a:lnTo>
                    <a:pt x="1277252" y="250088"/>
                  </a:lnTo>
                  <a:lnTo>
                    <a:pt x="1277252" y="249390"/>
                  </a:lnTo>
                  <a:lnTo>
                    <a:pt x="1277252" y="250088"/>
                  </a:lnTo>
                  <a:lnTo>
                    <a:pt x="1277252" y="248691"/>
                  </a:lnTo>
                  <a:lnTo>
                    <a:pt x="1277303" y="248691"/>
                  </a:lnTo>
                  <a:lnTo>
                    <a:pt x="1277303" y="251422"/>
                  </a:lnTo>
                  <a:lnTo>
                    <a:pt x="1277303" y="248691"/>
                  </a:lnTo>
                  <a:lnTo>
                    <a:pt x="1277354" y="248691"/>
                  </a:lnTo>
                  <a:lnTo>
                    <a:pt x="1277354" y="252806"/>
                  </a:lnTo>
                  <a:lnTo>
                    <a:pt x="1277354" y="250088"/>
                  </a:lnTo>
                  <a:lnTo>
                    <a:pt x="1277443" y="251422"/>
                  </a:lnTo>
                  <a:lnTo>
                    <a:pt x="1277443" y="252806"/>
                  </a:lnTo>
                  <a:lnTo>
                    <a:pt x="1277443" y="251422"/>
                  </a:lnTo>
                  <a:lnTo>
                    <a:pt x="1277443" y="252120"/>
                  </a:lnTo>
                  <a:lnTo>
                    <a:pt x="1277494" y="252120"/>
                  </a:lnTo>
                  <a:lnTo>
                    <a:pt x="1277494" y="252806"/>
                  </a:lnTo>
                  <a:lnTo>
                    <a:pt x="1277494" y="251422"/>
                  </a:lnTo>
                  <a:lnTo>
                    <a:pt x="1277494" y="252120"/>
                  </a:lnTo>
                  <a:lnTo>
                    <a:pt x="1277494" y="251422"/>
                  </a:lnTo>
                  <a:lnTo>
                    <a:pt x="1277494" y="252120"/>
                  </a:lnTo>
                  <a:lnTo>
                    <a:pt x="1277544" y="252120"/>
                  </a:lnTo>
                  <a:lnTo>
                    <a:pt x="1277544" y="252806"/>
                  </a:lnTo>
                  <a:lnTo>
                    <a:pt x="1277544" y="252120"/>
                  </a:lnTo>
                  <a:lnTo>
                    <a:pt x="1277595" y="252120"/>
                  </a:lnTo>
                  <a:lnTo>
                    <a:pt x="1277595" y="252806"/>
                  </a:lnTo>
                  <a:lnTo>
                    <a:pt x="1277595" y="252120"/>
                  </a:lnTo>
                  <a:lnTo>
                    <a:pt x="1277595" y="252806"/>
                  </a:lnTo>
                  <a:lnTo>
                    <a:pt x="1277595" y="252120"/>
                  </a:lnTo>
                  <a:lnTo>
                    <a:pt x="1277595" y="252806"/>
                  </a:lnTo>
                  <a:lnTo>
                    <a:pt x="1277595" y="252120"/>
                  </a:lnTo>
                  <a:lnTo>
                    <a:pt x="1277697" y="251422"/>
                  </a:lnTo>
                  <a:lnTo>
                    <a:pt x="1277697" y="252120"/>
                  </a:lnTo>
                  <a:lnTo>
                    <a:pt x="1277697" y="250088"/>
                  </a:lnTo>
                  <a:lnTo>
                    <a:pt x="1277747" y="250088"/>
                  </a:lnTo>
                  <a:lnTo>
                    <a:pt x="1277747" y="251422"/>
                  </a:lnTo>
                  <a:lnTo>
                    <a:pt x="1277747" y="249390"/>
                  </a:lnTo>
                  <a:lnTo>
                    <a:pt x="1277747" y="250088"/>
                  </a:lnTo>
                  <a:lnTo>
                    <a:pt x="1277798" y="250088"/>
                  </a:lnTo>
                  <a:lnTo>
                    <a:pt x="1277798" y="251422"/>
                  </a:lnTo>
                  <a:lnTo>
                    <a:pt x="1277798" y="249390"/>
                  </a:lnTo>
                  <a:lnTo>
                    <a:pt x="1277798" y="252806"/>
                  </a:lnTo>
                  <a:lnTo>
                    <a:pt x="1277900" y="253505"/>
                  </a:lnTo>
                  <a:lnTo>
                    <a:pt x="1277900" y="252120"/>
                  </a:lnTo>
                  <a:lnTo>
                    <a:pt x="1277900" y="252806"/>
                  </a:lnTo>
                  <a:lnTo>
                    <a:pt x="1277938" y="252806"/>
                  </a:lnTo>
                  <a:lnTo>
                    <a:pt x="1277938" y="252120"/>
                  </a:lnTo>
                  <a:lnTo>
                    <a:pt x="1277938" y="253505"/>
                  </a:lnTo>
                  <a:lnTo>
                    <a:pt x="1277938" y="252806"/>
                  </a:lnTo>
                  <a:lnTo>
                    <a:pt x="1277938" y="253505"/>
                  </a:lnTo>
                  <a:lnTo>
                    <a:pt x="1277989" y="253505"/>
                  </a:lnTo>
                  <a:lnTo>
                    <a:pt x="1277989" y="252806"/>
                  </a:lnTo>
                  <a:lnTo>
                    <a:pt x="1277989" y="253505"/>
                  </a:lnTo>
                  <a:lnTo>
                    <a:pt x="1277989" y="252806"/>
                  </a:lnTo>
                  <a:lnTo>
                    <a:pt x="1277989" y="253505"/>
                  </a:lnTo>
                  <a:lnTo>
                    <a:pt x="1278040" y="253505"/>
                  </a:lnTo>
                  <a:lnTo>
                    <a:pt x="1278040" y="252806"/>
                  </a:lnTo>
                  <a:lnTo>
                    <a:pt x="1278040" y="253505"/>
                  </a:lnTo>
                  <a:lnTo>
                    <a:pt x="1278040" y="252806"/>
                  </a:lnTo>
                  <a:lnTo>
                    <a:pt x="1278040" y="253505"/>
                  </a:lnTo>
                  <a:lnTo>
                    <a:pt x="1278040" y="252806"/>
                  </a:lnTo>
                  <a:lnTo>
                    <a:pt x="1278040" y="253505"/>
                  </a:lnTo>
                  <a:lnTo>
                    <a:pt x="1278141" y="253505"/>
                  </a:lnTo>
                  <a:lnTo>
                    <a:pt x="1278141" y="252806"/>
                  </a:lnTo>
                  <a:lnTo>
                    <a:pt x="1278141" y="253505"/>
                  </a:lnTo>
                  <a:lnTo>
                    <a:pt x="1278141" y="252806"/>
                  </a:lnTo>
                  <a:lnTo>
                    <a:pt x="1278141" y="253505"/>
                  </a:lnTo>
                  <a:lnTo>
                    <a:pt x="1278141" y="252806"/>
                  </a:lnTo>
                  <a:lnTo>
                    <a:pt x="1278192" y="252806"/>
                  </a:lnTo>
                  <a:lnTo>
                    <a:pt x="1278192" y="251422"/>
                  </a:lnTo>
                  <a:lnTo>
                    <a:pt x="1278243" y="251422"/>
                  </a:lnTo>
                  <a:lnTo>
                    <a:pt x="1278243" y="248691"/>
                  </a:lnTo>
                  <a:lnTo>
                    <a:pt x="1278243" y="250088"/>
                  </a:lnTo>
                  <a:lnTo>
                    <a:pt x="1278344" y="251422"/>
                  </a:lnTo>
                  <a:lnTo>
                    <a:pt x="1278344" y="249390"/>
                  </a:lnTo>
                  <a:lnTo>
                    <a:pt x="1278344" y="252120"/>
                  </a:lnTo>
                  <a:lnTo>
                    <a:pt x="1278395" y="252120"/>
                  </a:lnTo>
                  <a:lnTo>
                    <a:pt x="1278395" y="250088"/>
                  </a:lnTo>
                  <a:lnTo>
                    <a:pt x="1278395" y="252120"/>
                  </a:lnTo>
                  <a:lnTo>
                    <a:pt x="1278446" y="252120"/>
                  </a:lnTo>
                  <a:lnTo>
                    <a:pt x="1278446" y="252806"/>
                  </a:lnTo>
                  <a:lnTo>
                    <a:pt x="1278484" y="252806"/>
                  </a:lnTo>
                  <a:lnTo>
                    <a:pt x="1278484" y="253505"/>
                  </a:lnTo>
                  <a:lnTo>
                    <a:pt x="1278484" y="252806"/>
                  </a:lnTo>
                  <a:lnTo>
                    <a:pt x="1278586" y="253505"/>
                  </a:lnTo>
                  <a:lnTo>
                    <a:pt x="1278586" y="252806"/>
                  </a:lnTo>
                  <a:lnTo>
                    <a:pt x="1278586" y="253505"/>
                  </a:lnTo>
                  <a:lnTo>
                    <a:pt x="1278586" y="252806"/>
                  </a:lnTo>
                  <a:lnTo>
                    <a:pt x="1278637" y="252806"/>
                  </a:lnTo>
                  <a:lnTo>
                    <a:pt x="1278637" y="253505"/>
                  </a:lnTo>
                  <a:lnTo>
                    <a:pt x="1278637" y="252120"/>
                  </a:lnTo>
                  <a:lnTo>
                    <a:pt x="1278637" y="252806"/>
                  </a:lnTo>
                  <a:lnTo>
                    <a:pt x="1278687" y="252806"/>
                  </a:lnTo>
                  <a:lnTo>
                    <a:pt x="1278687" y="252120"/>
                  </a:lnTo>
                  <a:lnTo>
                    <a:pt x="1278687" y="252806"/>
                  </a:lnTo>
                  <a:lnTo>
                    <a:pt x="1278687" y="251422"/>
                  </a:lnTo>
                  <a:lnTo>
                    <a:pt x="1278789" y="251422"/>
                  </a:lnTo>
                  <a:lnTo>
                    <a:pt x="1278789" y="248691"/>
                  </a:lnTo>
                  <a:lnTo>
                    <a:pt x="1278789" y="249390"/>
                  </a:lnTo>
                  <a:lnTo>
                    <a:pt x="1278789" y="248691"/>
                  </a:lnTo>
                  <a:lnTo>
                    <a:pt x="1278789" y="249390"/>
                  </a:lnTo>
                  <a:lnTo>
                    <a:pt x="1278840" y="249390"/>
                  </a:lnTo>
                  <a:lnTo>
                    <a:pt x="1278840" y="248691"/>
                  </a:lnTo>
                  <a:lnTo>
                    <a:pt x="1278840" y="251422"/>
                  </a:lnTo>
                  <a:lnTo>
                    <a:pt x="1278890" y="250088"/>
                  </a:lnTo>
                  <a:lnTo>
                    <a:pt x="1278890" y="251422"/>
                  </a:lnTo>
                  <a:lnTo>
                    <a:pt x="1278890" y="250088"/>
                  </a:lnTo>
                  <a:lnTo>
                    <a:pt x="1278941" y="250088"/>
                  </a:lnTo>
                  <a:lnTo>
                    <a:pt x="1278941" y="251422"/>
                  </a:lnTo>
                  <a:lnTo>
                    <a:pt x="1278941" y="250088"/>
                  </a:lnTo>
                  <a:lnTo>
                    <a:pt x="1278941" y="251422"/>
                  </a:lnTo>
                  <a:lnTo>
                    <a:pt x="1279030" y="251422"/>
                  </a:lnTo>
                  <a:lnTo>
                    <a:pt x="1279030" y="252120"/>
                  </a:lnTo>
                  <a:lnTo>
                    <a:pt x="1279030" y="251422"/>
                  </a:lnTo>
                  <a:lnTo>
                    <a:pt x="1279030" y="252120"/>
                  </a:lnTo>
                  <a:lnTo>
                    <a:pt x="1279030" y="251422"/>
                  </a:lnTo>
                  <a:lnTo>
                    <a:pt x="1279030" y="252120"/>
                  </a:lnTo>
                  <a:lnTo>
                    <a:pt x="1279081" y="252120"/>
                  </a:lnTo>
                  <a:lnTo>
                    <a:pt x="1279081" y="252806"/>
                  </a:lnTo>
                  <a:lnTo>
                    <a:pt x="1279081" y="252120"/>
                  </a:lnTo>
                  <a:lnTo>
                    <a:pt x="1279081" y="252806"/>
                  </a:lnTo>
                  <a:lnTo>
                    <a:pt x="1279132" y="252806"/>
                  </a:lnTo>
                  <a:lnTo>
                    <a:pt x="1279132" y="252120"/>
                  </a:lnTo>
                  <a:lnTo>
                    <a:pt x="1279132" y="252806"/>
                  </a:lnTo>
                  <a:lnTo>
                    <a:pt x="1279132" y="252120"/>
                  </a:lnTo>
                  <a:lnTo>
                    <a:pt x="1279132" y="252806"/>
                  </a:lnTo>
                  <a:lnTo>
                    <a:pt x="1279132" y="252120"/>
                  </a:lnTo>
                  <a:lnTo>
                    <a:pt x="1279132" y="252806"/>
                  </a:lnTo>
                  <a:lnTo>
                    <a:pt x="1279132" y="252120"/>
                  </a:lnTo>
                  <a:lnTo>
                    <a:pt x="1279183" y="252120"/>
                  </a:lnTo>
                  <a:lnTo>
                    <a:pt x="1279183" y="252806"/>
                  </a:lnTo>
                  <a:lnTo>
                    <a:pt x="1279183" y="251422"/>
                  </a:lnTo>
                  <a:lnTo>
                    <a:pt x="1279284" y="250088"/>
                  </a:lnTo>
                  <a:lnTo>
                    <a:pt x="1279284" y="248691"/>
                  </a:lnTo>
                  <a:lnTo>
                    <a:pt x="1279335" y="248691"/>
                  </a:lnTo>
                  <a:lnTo>
                    <a:pt x="1279335" y="249390"/>
                  </a:lnTo>
                  <a:lnTo>
                    <a:pt x="1279335" y="248044"/>
                  </a:lnTo>
                  <a:lnTo>
                    <a:pt x="1279335" y="251422"/>
                  </a:lnTo>
                  <a:lnTo>
                    <a:pt x="1279386" y="250088"/>
                  </a:lnTo>
                  <a:lnTo>
                    <a:pt x="1279386" y="248691"/>
                  </a:lnTo>
                  <a:lnTo>
                    <a:pt x="1279386" y="249390"/>
                  </a:lnTo>
                  <a:lnTo>
                    <a:pt x="1279386" y="248691"/>
                  </a:lnTo>
                  <a:lnTo>
                    <a:pt x="1279386" y="250088"/>
                  </a:lnTo>
                  <a:lnTo>
                    <a:pt x="1279487" y="250088"/>
                  </a:lnTo>
                  <a:lnTo>
                    <a:pt x="1279487" y="249390"/>
                  </a:lnTo>
                  <a:lnTo>
                    <a:pt x="1279487" y="250088"/>
                  </a:lnTo>
                  <a:lnTo>
                    <a:pt x="1279487" y="249390"/>
                  </a:lnTo>
                  <a:lnTo>
                    <a:pt x="1279487" y="250088"/>
                  </a:lnTo>
                  <a:lnTo>
                    <a:pt x="1279525" y="250088"/>
                  </a:lnTo>
                  <a:lnTo>
                    <a:pt x="1279525" y="249390"/>
                  </a:lnTo>
                  <a:lnTo>
                    <a:pt x="1279525" y="251422"/>
                  </a:lnTo>
                  <a:lnTo>
                    <a:pt x="1279525" y="250088"/>
                  </a:lnTo>
                  <a:lnTo>
                    <a:pt x="1279525" y="251422"/>
                  </a:lnTo>
                  <a:lnTo>
                    <a:pt x="1279576" y="251422"/>
                  </a:lnTo>
                  <a:lnTo>
                    <a:pt x="1279576" y="252120"/>
                  </a:lnTo>
                  <a:lnTo>
                    <a:pt x="1279627" y="252120"/>
                  </a:lnTo>
                  <a:lnTo>
                    <a:pt x="1279627" y="252806"/>
                  </a:lnTo>
                  <a:lnTo>
                    <a:pt x="1279627" y="252120"/>
                  </a:lnTo>
                  <a:lnTo>
                    <a:pt x="1279627" y="252806"/>
                  </a:lnTo>
                  <a:lnTo>
                    <a:pt x="1279627" y="251422"/>
                  </a:lnTo>
                  <a:lnTo>
                    <a:pt x="1279627" y="252806"/>
                  </a:lnTo>
                  <a:lnTo>
                    <a:pt x="1279627" y="252120"/>
                  </a:lnTo>
                  <a:lnTo>
                    <a:pt x="1279729" y="252120"/>
                  </a:lnTo>
                  <a:lnTo>
                    <a:pt x="1279729" y="252806"/>
                  </a:lnTo>
                  <a:lnTo>
                    <a:pt x="1279729" y="250088"/>
                  </a:lnTo>
                  <a:lnTo>
                    <a:pt x="1279780" y="251422"/>
                  </a:lnTo>
                  <a:lnTo>
                    <a:pt x="1279780" y="250088"/>
                  </a:lnTo>
                  <a:lnTo>
                    <a:pt x="1279830" y="250088"/>
                  </a:lnTo>
                  <a:lnTo>
                    <a:pt x="1279830" y="249390"/>
                  </a:lnTo>
                  <a:lnTo>
                    <a:pt x="1279830" y="250088"/>
                  </a:lnTo>
                  <a:lnTo>
                    <a:pt x="1279830" y="249390"/>
                  </a:lnTo>
                  <a:lnTo>
                    <a:pt x="1279830" y="250088"/>
                  </a:lnTo>
                  <a:lnTo>
                    <a:pt x="1279830" y="249390"/>
                  </a:lnTo>
                  <a:lnTo>
                    <a:pt x="1279830" y="252120"/>
                  </a:lnTo>
                  <a:lnTo>
                    <a:pt x="1279830" y="251422"/>
                  </a:lnTo>
                  <a:lnTo>
                    <a:pt x="1279830" y="252120"/>
                  </a:lnTo>
                  <a:lnTo>
                    <a:pt x="1279830" y="251422"/>
                  </a:lnTo>
                  <a:lnTo>
                    <a:pt x="1279932" y="251422"/>
                  </a:lnTo>
                  <a:lnTo>
                    <a:pt x="1279932" y="250088"/>
                  </a:lnTo>
                  <a:lnTo>
                    <a:pt x="1279932" y="252120"/>
                  </a:lnTo>
                  <a:lnTo>
                    <a:pt x="1279932" y="251422"/>
                  </a:lnTo>
                  <a:lnTo>
                    <a:pt x="1279932" y="252120"/>
                  </a:lnTo>
                  <a:lnTo>
                    <a:pt x="1279932" y="251422"/>
                  </a:lnTo>
                  <a:lnTo>
                    <a:pt x="1279983" y="251422"/>
                  </a:lnTo>
                  <a:lnTo>
                    <a:pt x="1279983" y="250088"/>
                  </a:lnTo>
                  <a:lnTo>
                    <a:pt x="1279983" y="252120"/>
                  </a:lnTo>
                  <a:lnTo>
                    <a:pt x="1279983" y="251422"/>
                  </a:lnTo>
                  <a:lnTo>
                    <a:pt x="1280034" y="251422"/>
                  </a:lnTo>
                  <a:lnTo>
                    <a:pt x="1280034" y="252120"/>
                  </a:lnTo>
                  <a:lnTo>
                    <a:pt x="1280034" y="251422"/>
                  </a:lnTo>
                  <a:lnTo>
                    <a:pt x="1280034" y="252120"/>
                  </a:lnTo>
                  <a:lnTo>
                    <a:pt x="1280034" y="251422"/>
                  </a:lnTo>
                  <a:lnTo>
                    <a:pt x="1280034" y="252120"/>
                  </a:lnTo>
                  <a:lnTo>
                    <a:pt x="1280072" y="252120"/>
                  </a:lnTo>
                  <a:lnTo>
                    <a:pt x="1280072" y="252806"/>
                  </a:lnTo>
                  <a:lnTo>
                    <a:pt x="1280072" y="252120"/>
                  </a:lnTo>
                  <a:lnTo>
                    <a:pt x="1280072" y="252806"/>
                  </a:lnTo>
                  <a:lnTo>
                    <a:pt x="1280072" y="252120"/>
                  </a:lnTo>
                  <a:lnTo>
                    <a:pt x="1280072" y="252806"/>
                  </a:lnTo>
                  <a:lnTo>
                    <a:pt x="1280072" y="252120"/>
                  </a:lnTo>
                  <a:lnTo>
                    <a:pt x="1280173" y="252806"/>
                  </a:lnTo>
                  <a:lnTo>
                    <a:pt x="1280173" y="252120"/>
                  </a:lnTo>
                  <a:lnTo>
                    <a:pt x="1280173" y="252806"/>
                  </a:lnTo>
                  <a:lnTo>
                    <a:pt x="1280173" y="251422"/>
                  </a:lnTo>
                  <a:lnTo>
                    <a:pt x="1280173" y="252120"/>
                  </a:lnTo>
                  <a:lnTo>
                    <a:pt x="1280173" y="251422"/>
                  </a:lnTo>
                  <a:lnTo>
                    <a:pt x="1280224" y="252120"/>
                  </a:lnTo>
                  <a:lnTo>
                    <a:pt x="1280224" y="250088"/>
                  </a:lnTo>
                  <a:lnTo>
                    <a:pt x="1280224" y="251422"/>
                  </a:lnTo>
                  <a:lnTo>
                    <a:pt x="1280224" y="250088"/>
                  </a:lnTo>
                  <a:lnTo>
                    <a:pt x="1280275" y="250088"/>
                  </a:lnTo>
                  <a:lnTo>
                    <a:pt x="1280275" y="251422"/>
                  </a:lnTo>
                  <a:lnTo>
                    <a:pt x="1280275" y="249390"/>
                  </a:lnTo>
                  <a:lnTo>
                    <a:pt x="1280275" y="251422"/>
                  </a:lnTo>
                  <a:lnTo>
                    <a:pt x="1280376" y="251422"/>
                  </a:lnTo>
                  <a:lnTo>
                    <a:pt x="1280376" y="250088"/>
                  </a:lnTo>
                  <a:lnTo>
                    <a:pt x="1280376" y="252806"/>
                  </a:lnTo>
                  <a:lnTo>
                    <a:pt x="1280376" y="252120"/>
                  </a:lnTo>
                  <a:lnTo>
                    <a:pt x="1280376" y="252806"/>
                  </a:lnTo>
                  <a:lnTo>
                    <a:pt x="1280376" y="252120"/>
                  </a:lnTo>
                  <a:lnTo>
                    <a:pt x="1280427" y="252806"/>
                  </a:lnTo>
                  <a:lnTo>
                    <a:pt x="1280427" y="252120"/>
                  </a:lnTo>
                  <a:lnTo>
                    <a:pt x="1280427" y="252806"/>
                  </a:lnTo>
                  <a:lnTo>
                    <a:pt x="1280478" y="252806"/>
                  </a:lnTo>
                  <a:lnTo>
                    <a:pt x="1280478" y="252120"/>
                  </a:lnTo>
                  <a:lnTo>
                    <a:pt x="1280478" y="252806"/>
                  </a:lnTo>
                  <a:lnTo>
                    <a:pt x="1280478" y="252120"/>
                  </a:lnTo>
                  <a:lnTo>
                    <a:pt x="1280478" y="252806"/>
                  </a:lnTo>
                  <a:lnTo>
                    <a:pt x="1280529" y="252806"/>
                  </a:lnTo>
                  <a:lnTo>
                    <a:pt x="1280529" y="252120"/>
                  </a:lnTo>
                  <a:lnTo>
                    <a:pt x="1280529" y="253505"/>
                  </a:lnTo>
                  <a:lnTo>
                    <a:pt x="1280529" y="252806"/>
                  </a:lnTo>
                  <a:lnTo>
                    <a:pt x="1280618" y="252806"/>
                  </a:lnTo>
                  <a:lnTo>
                    <a:pt x="1280618" y="253505"/>
                  </a:lnTo>
                  <a:lnTo>
                    <a:pt x="1280618" y="252806"/>
                  </a:lnTo>
                  <a:lnTo>
                    <a:pt x="1280669" y="252806"/>
                  </a:lnTo>
                  <a:lnTo>
                    <a:pt x="1280669" y="252120"/>
                  </a:lnTo>
                  <a:lnTo>
                    <a:pt x="1280669" y="252806"/>
                  </a:lnTo>
                  <a:lnTo>
                    <a:pt x="1280669" y="252120"/>
                  </a:lnTo>
                  <a:lnTo>
                    <a:pt x="1280669" y="252806"/>
                  </a:lnTo>
                  <a:lnTo>
                    <a:pt x="1280669" y="252120"/>
                  </a:lnTo>
                  <a:lnTo>
                    <a:pt x="1280669" y="252806"/>
                  </a:lnTo>
                  <a:lnTo>
                    <a:pt x="1280669" y="252120"/>
                  </a:lnTo>
                  <a:lnTo>
                    <a:pt x="1280669" y="252806"/>
                  </a:lnTo>
                  <a:lnTo>
                    <a:pt x="1280669" y="252120"/>
                  </a:lnTo>
                  <a:lnTo>
                    <a:pt x="1280719" y="252120"/>
                  </a:lnTo>
                  <a:lnTo>
                    <a:pt x="1280719" y="251422"/>
                  </a:lnTo>
                  <a:lnTo>
                    <a:pt x="1280719" y="252120"/>
                  </a:lnTo>
                  <a:lnTo>
                    <a:pt x="1280719" y="249390"/>
                  </a:lnTo>
                  <a:lnTo>
                    <a:pt x="1280719" y="250088"/>
                  </a:lnTo>
                  <a:lnTo>
                    <a:pt x="1280770" y="250088"/>
                  </a:lnTo>
                  <a:lnTo>
                    <a:pt x="1280770" y="251422"/>
                  </a:lnTo>
                  <a:lnTo>
                    <a:pt x="1280770" y="250088"/>
                  </a:lnTo>
                  <a:lnTo>
                    <a:pt x="1280770" y="251422"/>
                  </a:lnTo>
                  <a:lnTo>
                    <a:pt x="1280770" y="250088"/>
                  </a:lnTo>
                  <a:lnTo>
                    <a:pt x="1280872" y="251422"/>
                  </a:lnTo>
                  <a:lnTo>
                    <a:pt x="1280872" y="252806"/>
                  </a:lnTo>
                  <a:lnTo>
                    <a:pt x="1280872" y="252120"/>
                  </a:lnTo>
                  <a:lnTo>
                    <a:pt x="1280922" y="252806"/>
                  </a:lnTo>
                  <a:lnTo>
                    <a:pt x="1280922" y="253505"/>
                  </a:lnTo>
                  <a:lnTo>
                    <a:pt x="1280922" y="252806"/>
                  </a:lnTo>
                  <a:lnTo>
                    <a:pt x="1280973" y="253505"/>
                  </a:lnTo>
                  <a:lnTo>
                    <a:pt x="1280973" y="252806"/>
                  </a:lnTo>
                  <a:lnTo>
                    <a:pt x="1280973" y="253505"/>
                  </a:lnTo>
                  <a:lnTo>
                    <a:pt x="1280973" y="252806"/>
                  </a:lnTo>
                  <a:lnTo>
                    <a:pt x="1280973" y="253505"/>
                  </a:lnTo>
                  <a:lnTo>
                    <a:pt x="1280973" y="252806"/>
                  </a:lnTo>
                  <a:lnTo>
                    <a:pt x="1280973" y="253505"/>
                  </a:lnTo>
                  <a:lnTo>
                    <a:pt x="1280973" y="252806"/>
                  </a:lnTo>
                  <a:lnTo>
                    <a:pt x="1280973" y="253505"/>
                  </a:lnTo>
                  <a:lnTo>
                    <a:pt x="1280973" y="252806"/>
                  </a:lnTo>
                  <a:lnTo>
                    <a:pt x="1280973" y="253505"/>
                  </a:lnTo>
                  <a:lnTo>
                    <a:pt x="1280973" y="252806"/>
                  </a:lnTo>
                  <a:lnTo>
                    <a:pt x="1281075" y="253505"/>
                  </a:lnTo>
                  <a:lnTo>
                    <a:pt x="1281075" y="252806"/>
                  </a:lnTo>
                  <a:lnTo>
                    <a:pt x="1281075" y="253505"/>
                  </a:lnTo>
                  <a:lnTo>
                    <a:pt x="1281075" y="252806"/>
                  </a:lnTo>
                  <a:lnTo>
                    <a:pt x="1281075" y="253505"/>
                  </a:lnTo>
                  <a:lnTo>
                    <a:pt x="1281075" y="252806"/>
                  </a:lnTo>
                  <a:lnTo>
                    <a:pt x="1281075" y="253505"/>
                  </a:lnTo>
                  <a:lnTo>
                    <a:pt x="1281113" y="253505"/>
                  </a:lnTo>
                  <a:lnTo>
                    <a:pt x="1281113" y="252806"/>
                  </a:lnTo>
                  <a:lnTo>
                    <a:pt x="1281164" y="252806"/>
                  </a:lnTo>
                  <a:lnTo>
                    <a:pt x="1281164" y="251422"/>
                  </a:lnTo>
                  <a:lnTo>
                    <a:pt x="1281215" y="251422"/>
                  </a:lnTo>
                  <a:lnTo>
                    <a:pt x="1281215" y="250088"/>
                  </a:lnTo>
                  <a:lnTo>
                    <a:pt x="1281215" y="251422"/>
                  </a:lnTo>
                  <a:lnTo>
                    <a:pt x="1281316" y="251422"/>
                  </a:lnTo>
                  <a:lnTo>
                    <a:pt x="1281316" y="249390"/>
                  </a:lnTo>
                  <a:lnTo>
                    <a:pt x="1281316" y="252806"/>
                  </a:lnTo>
                  <a:lnTo>
                    <a:pt x="1281367" y="253505"/>
                  </a:lnTo>
                  <a:lnTo>
                    <a:pt x="1281367" y="252120"/>
                  </a:lnTo>
                  <a:lnTo>
                    <a:pt x="1281367" y="253505"/>
                  </a:lnTo>
                  <a:lnTo>
                    <a:pt x="1281367" y="252806"/>
                  </a:lnTo>
                  <a:lnTo>
                    <a:pt x="1281418" y="252806"/>
                  </a:lnTo>
                  <a:lnTo>
                    <a:pt x="1281418" y="253505"/>
                  </a:lnTo>
                  <a:lnTo>
                    <a:pt x="1281519" y="253505"/>
                  </a:lnTo>
                  <a:lnTo>
                    <a:pt x="1281519" y="254203"/>
                  </a:lnTo>
                  <a:lnTo>
                    <a:pt x="1281519" y="252806"/>
                  </a:lnTo>
                  <a:lnTo>
                    <a:pt x="1281519" y="254203"/>
                  </a:lnTo>
                  <a:lnTo>
                    <a:pt x="1281519" y="252806"/>
                  </a:lnTo>
                  <a:lnTo>
                    <a:pt x="1281570" y="252806"/>
                  </a:lnTo>
                  <a:lnTo>
                    <a:pt x="1281570" y="254203"/>
                  </a:lnTo>
                  <a:lnTo>
                    <a:pt x="1281570" y="252806"/>
                  </a:lnTo>
                  <a:lnTo>
                    <a:pt x="1281570" y="254203"/>
                  </a:lnTo>
                  <a:lnTo>
                    <a:pt x="1281621" y="254203"/>
                  </a:lnTo>
                  <a:lnTo>
                    <a:pt x="1281621" y="253505"/>
                  </a:lnTo>
                  <a:lnTo>
                    <a:pt x="1281621" y="254203"/>
                  </a:lnTo>
                  <a:lnTo>
                    <a:pt x="1281621" y="253505"/>
                  </a:lnTo>
                  <a:lnTo>
                    <a:pt x="1281621" y="254203"/>
                  </a:lnTo>
                  <a:lnTo>
                    <a:pt x="1281621" y="252806"/>
                  </a:lnTo>
                  <a:lnTo>
                    <a:pt x="1281659" y="252806"/>
                  </a:lnTo>
                  <a:lnTo>
                    <a:pt x="1281659" y="252120"/>
                  </a:lnTo>
                  <a:lnTo>
                    <a:pt x="1281659" y="252806"/>
                  </a:lnTo>
                  <a:lnTo>
                    <a:pt x="1281659" y="252120"/>
                  </a:lnTo>
                  <a:lnTo>
                    <a:pt x="1281659" y="252806"/>
                  </a:lnTo>
                  <a:lnTo>
                    <a:pt x="1281659" y="251422"/>
                  </a:lnTo>
                  <a:lnTo>
                    <a:pt x="1281761" y="251422"/>
                  </a:lnTo>
                  <a:lnTo>
                    <a:pt x="1281761" y="249390"/>
                  </a:lnTo>
                  <a:lnTo>
                    <a:pt x="1281761" y="251422"/>
                  </a:lnTo>
                  <a:lnTo>
                    <a:pt x="1281812" y="251422"/>
                  </a:lnTo>
                  <a:lnTo>
                    <a:pt x="1281812" y="249390"/>
                  </a:lnTo>
                  <a:lnTo>
                    <a:pt x="1281812" y="252806"/>
                  </a:lnTo>
                  <a:lnTo>
                    <a:pt x="1281862" y="252120"/>
                  </a:lnTo>
                  <a:lnTo>
                    <a:pt x="1281862" y="251422"/>
                  </a:lnTo>
                  <a:lnTo>
                    <a:pt x="1281862" y="252120"/>
                  </a:lnTo>
                  <a:lnTo>
                    <a:pt x="1281862" y="251422"/>
                  </a:lnTo>
                  <a:lnTo>
                    <a:pt x="1281862" y="252806"/>
                  </a:lnTo>
                  <a:lnTo>
                    <a:pt x="1281964" y="252806"/>
                  </a:lnTo>
                  <a:lnTo>
                    <a:pt x="1281964" y="252120"/>
                  </a:lnTo>
                  <a:lnTo>
                    <a:pt x="1281964" y="253505"/>
                  </a:lnTo>
                  <a:lnTo>
                    <a:pt x="1282015" y="253505"/>
                  </a:lnTo>
                  <a:lnTo>
                    <a:pt x="1282015" y="252806"/>
                  </a:lnTo>
                  <a:lnTo>
                    <a:pt x="1282015" y="253505"/>
                  </a:lnTo>
                  <a:lnTo>
                    <a:pt x="1282065" y="253505"/>
                  </a:lnTo>
                  <a:lnTo>
                    <a:pt x="1282065" y="254203"/>
                  </a:lnTo>
                  <a:lnTo>
                    <a:pt x="1282065" y="253505"/>
                  </a:lnTo>
                  <a:lnTo>
                    <a:pt x="1282065" y="254203"/>
                  </a:lnTo>
                  <a:lnTo>
                    <a:pt x="1282116" y="254203"/>
                  </a:lnTo>
                  <a:lnTo>
                    <a:pt x="1282116" y="253505"/>
                  </a:lnTo>
                  <a:lnTo>
                    <a:pt x="1282116" y="254203"/>
                  </a:lnTo>
                  <a:lnTo>
                    <a:pt x="1282116" y="252806"/>
                  </a:lnTo>
                  <a:lnTo>
                    <a:pt x="1282205" y="252806"/>
                  </a:lnTo>
                  <a:lnTo>
                    <a:pt x="1282205" y="252120"/>
                  </a:lnTo>
                  <a:lnTo>
                    <a:pt x="1282205" y="252806"/>
                  </a:lnTo>
                  <a:lnTo>
                    <a:pt x="1282205" y="251422"/>
                  </a:lnTo>
                  <a:lnTo>
                    <a:pt x="1282256" y="251422"/>
                  </a:lnTo>
                  <a:lnTo>
                    <a:pt x="1282256" y="250088"/>
                  </a:lnTo>
                  <a:lnTo>
                    <a:pt x="1282256" y="251422"/>
                  </a:lnTo>
                  <a:lnTo>
                    <a:pt x="1282307" y="251422"/>
                  </a:lnTo>
                  <a:lnTo>
                    <a:pt x="1282307" y="249390"/>
                  </a:lnTo>
                  <a:lnTo>
                    <a:pt x="1282307" y="252806"/>
                  </a:lnTo>
                  <a:lnTo>
                    <a:pt x="1282307" y="252120"/>
                  </a:lnTo>
                  <a:lnTo>
                    <a:pt x="1282358" y="251422"/>
                  </a:lnTo>
                  <a:lnTo>
                    <a:pt x="1282358" y="252806"/>
                  </a:lnTo>
                  <a:lnTo>
                    <a:pt x="1282358" y="252120"/>
                  </a:lnTo>
                  <a:lnTo>
                    <a:pt x="1282459" y="251422"/>
                  </a:lnTo>
                  <a:lnTo>
                    <a:pt x="1282459" y="252806"/>
                  </a:lnTo>
                  <a:lnTo>
                    <a:pt x="1282459" y="252120"/>
                  </a:lnTo>
                  <a:lnTo>
                    <a:pt x="1282510" y="252120"/>
                  </a:lnTo>
                  <a:lnTo>
                    <a:pt x="1282510" y="252806"/>
                  </a:lnTo>
                  <a:lnTo>
                    <a:pt x="1282510" y="252120"/>
                  </a:lnTo>
                  <a:lnTo>
                    <a:pt x="1282510" y="252806"/>
                  </a:lnTo>
                  <a:lnTo>
                    <a:pt x="1282510" y="252120"/>
                  </a:lnTo>
                  <a:lnTo>
                    <a:pt x="1282510" y="252806"/>
                  </a:lnTo>
                  <a:lnTo>
                    <a:pt x="1282510" y="252120"/>
                  </a:lnTo>
                  <a:lnTo>
                    <a:pt x="1282510" y="252806"/>
                  </a:lnTo>
                  <a:lnTo>
                    <a:pt x="1282510" y="252120"/>
                  </a:lnTo>
                  <a:lnTo>
                    <a:pt x="1282561" y="252806"/>
                  </a:lnTo>
                  <a:lnTo>
                    <a:pt x="1282561" y="253505"/>
                  </a:lnTo>
                  <a:lnTo>
                    <a:pt x="1282561" y="252806"/>
                  </a:lnTo>
                  <a:lnTo>
                    <a:pt x="1282561" y="253505"/>
                  </a:lnTo>
                  <a:lnTo>
                    <a:pt x="1282561" y="252806"/>
                  </a:lnTo>
                  <a:lnTo>
                    <a:pt x="1282662" y="252806"/>
                  </a:lnTo>
                  <a:lnTo>
                    <a:pt x="1282662" y="253505"/>
                  </a:lnTo>
                  <a:lnTo>
                    <a:pt x="1282662" y="252806"/>
                  </a:lnTo>
                  <a:lnTo>
                    <a:pt x="1282700" y="252120"/>
                  </a:lnTo>
                  <a:lnTo>
                    <a:pt x="1282700" y="252806"/>
                  </a:lnTo>
                  <a:lnTo>
                    <a:pt x="1282700" y="252120"/>
                  </a:lnTo>
                  <a:lnTo>
                    <a:pt x="1282700" y="252806"/>
                  </a:lnTo>
                  <a:lnTo>
                    <a:pt x="1282700" y="251422"/>
                  </a:lnTo>
                  <a:lnTo>
                    <a:pt x="1282700" y="252120"/>
                  </a:lnTo>
                  <a:lnTo>
                    <a:pt x="1282751" y="252120"/>
                  </a:lnTo>
                  <a:lnTo>
                    <a:pt x="1282751" y="252806"/>
                  </a:lnTo>
                  <a:lnTo>
                    <a:pt x="1282751" y="251422"/>
                  </a:lnTo>
                  <a:lnTo>
                    <a:pt x="1282751" y="252806"/>
                  </a:lnTo>
                  <a:lnTo>
                    <a:pt x="1282802" y="252806"/>
                  </a:lnTo>
                  <a:lnTo>
                    <a:pt x="1282802" y="253505"/>
                  </a:lnTo>
                  <a:lnTo>
                    <a:pt x="1282802" y="252806"/>
                  </a:lnTo>
                  <a:lnTo>
                    <a:pt x="1282802" y="253505"/>
                  </a:lnTo>
                  <a:lnTo>
                    <a:pt x="1282904" y="254203"/>
                  </a:lnTo>
                  <a:lnTo>
                    <a:pt x="1282904" y="252806"/>
                  </a:lnTo>
                  <a:lnTo>
                    <a:pt x="1282904" y="253505"/>
                  </a:lnTo>
                  <a:lnTo>
                    <a:pt x="1282904" y="252806"/>
                  </a:lnTo>
                  <a:lnTo>
                    <a:pt x="1282904" y="253505"/>
                  </a:lnTo>
                  <a:lnTo>
                    <a:pt x="1282904" y="252806"/>
                  </a:lnTo>
                  <a:lnTo>
                    <a:pt x="1282955" y="252806"/>
                  </a:lnTo>
                  <a:lnTo>
                    <a:pt x="1282955" y="253505"/>
                  </a:lnTo>
                  <a:lnTo>
                    <a:pt x="1283107" y="253505"/>
                  </a:lnTo>
                  <a:lnTo>
                    <a:pt x="1283107" y="252806"/>
                  </a:lnTo>
                  <a:lnTo>
                    <a:pt x="1283107" y="253505"/>
                  </a:lnTo>
                  <a:lnTo>
                    <a:pt x="1283107" y="252806"/>
                  </a:lnTo>
                  <a:lnTo>
                    <a:pt x="1283158" y="252806"/>
                  </a:lnTo>
                  <a:lnTo>
                    <a:pt x="1283158" y="253505"/>
                  </a:lnTo>
                  <a:lnTo>
                    <a:pt x="1283158" y="252806"/>
                  </a:lnTo>
                  <a:lnTo>
                    <a:pt x="1283158" y="253505"/>
                  </a:lnTo>
                  <a:lnTo>
                    <a:pt x="1283158" y="251422"/>
                  </a:lnTo>
                  <a:lnTo>
                    <a:pt x="1283209" y="252120"/>
                  </a:lnTo>
                  <a:lnTo>
                    <a:pt x="1283209" y="250088"/>
                  </a:lnTo>
                  <a:lnTo>
                    <a:pt x="1283209" y="252120"/>
                  </a:lnTo>
                  <a:lnTo>
                    <a:pt x="1283247" y="252120"/>
                  </a:lnTo>
                  <a:lnTo>
                    <a:pt x="1283247" y="253505"/>
                  </a:lnTo>
                  <a:lnTo>
                    <a:pt x="1283348" y="253505"/>
                  </a:lnTo>
                  <a:lnTo>
                    <a:pt x="1283348" y="252806"/>
                  </a:lnTo>
                  <a:lnTo>
                    <a:pt x="1283348" y="253505"/>
                  </a:lnTo>
                  <a:lnTo>
                    <a:pt x="1283348" y="252806"/>
                  </a:lnTo>
                  <a:lnTo>
                    <a:pt x="1283348" y="253505"/>
                  </a:lnTo>
                  <a:lnTo>
                    <a:pt x="1283399" y="253505"/>
                  </a:lnTo>
                  <a:lnTo>
                    <a:pt x="1283399" y="252806"/>
                  </a:lnTo>
                  <a:lnTo>
                    <a:pt x="1283399" y="254203"/>
                  </a:lnTo>
                  <a:lnTo>
                    <a:pt x="1283399" y="253505"/>
                  </a:lnTo>
                  <a:lnTo>
                    <a:pt x="1283399" y="254203"/>
                  </a:lnTo>
                  <a:lnTo>
                    <a:pt x="1283450" y="254203"/>
                  </a:lnTo>
                  <a:lnTo>
                    <a:pt x="1283450" y="253505"/>
                  </a:lnTo>
                  <a:lnTo>
                    <a:pt x="1283450" y="254203"/>
                  </a:lnTo>
                  <a:lnTo>
                    <a:pt x="1283450" y="253505"/>
                  </a:lnTo>
                  <a:lnTo>
                    <a:pt x="1283450" y="254203"/>
                  </a:lnTo>
                  <a:lnTo>
                    <a:pt x="1283450" y="253505"/>
                  </a:lnTo>
                  <a:lnTo>
                    <a:pt x="1283450" y="254203"/>
                  </a:lnTo>
                  <a:lnTo>
                    <a:pt x="1283450" y="253505"/>
                  </a:lnTo>
                  <a:lnTo>
                    <a:pt x="1283551" y="253505"/>
                  </a:lnTo>
                  <a:lnTo>
                    <a:pt x="1283551" y="254203"/>
                  </a:lnTo>
                  <a:lnTo>
                    <a:pt x="1283551" y="253505"/>
                  </a:lnTo>
                  <a:lnTo>
                    <a:pt x="1283602" y="253505"/>
                  </a:lnTo>
                  <a:lnTo>
                    <a:pt x="1283602" y="252806"/>
                  </a:lnTo>
                  <a:lnTo>
                    <a:pt x="1283602" y="253505"/>
                  </a:lnTo>
                  <a:lnTo>
                    <a:pt x="1283653" y="253505"/>
                  </a:lnTo>
                  <a:lnTo>
                    <a:pt x="1283653" y="252120"/>
                  </a:lnTo>
                  <a:lnTo>
                    <a:pt x="1283653" y="252806"/>
                  </a:lnTo>
                  <a:lnTo>
                    <a:pt x="1283653" y="251422"/>
                  </a:lnTo>
                  <a:lnTo>
                    <a:pt x="1283704" y="251422"/>
                  </a:lnTo>
                  <a:lnTo>
                    <a:pt x="1283704" y="250088"/>
                  </a:lnTo>
                  <a:lnTo>
                    <a:pt x="1283704" y="252806"/>
                  </a:lnTo>
                  <a:lnTo>
                    <a:pt x="1283704" y="252120"/>
                  </a:lnTo>
                  <a:lnTo>
                    <a:pt x="1283793" y="251422"/>
                  </a:lnTo>
                  <a:lnTo>
                    <a:pt x="1283793" y="250088"/>
                  </a:lnTo>
                  <a:lnTo>
                    <a:pt x="1283793" y="254203"/>
                  </a:lnTo>
                  <a:lnTo>
                    <a:pt x="1283793" y="252806"/>
                  </a:lnTo>
                  <a:lnTo>
                    <a:pt x="1283844" y="252806"/>
                  </a:lnTo>
                  <a:lnTo>
                    <a:pt x="1283844" y="254203"/>
                  </a:lnTo>
                  <a:lnTo>
                    <a:pt x="1283844" y="253505"/>
                  </a:lnTo>
                  <a:lnTo>
                    <a:pt x="1283894" y="253505"/>
                  </a:lnTo>
                  <a:lnTo>
                    <a:pt x="1283894" y="254203"/>
                  </a:lnTo>
                  <a:lnTo>
                    <a:pt x="1283894" y="253505"/>
                  </a:lnTo>
                  <a:lnTo>
                    <a:pt x="1283894" y="254203"/>
                  </a:lnTo>
                  <a:lnTo>
                    <a:pt x="1283894" y="253505"/>
                  </a:lnTo>
                  <a:lnTo>
                    <a:pt x="1283894" y="254203"/>
                  </a:lnTo>
                  <a:lnTo>
                    <a:pt x="1283894" y="253505"/>
                  </a:lnTo>
                  <a:lnTo>
                    <a:pt x="1283894" y="254203"/>
                  </a:lnTo>
                  <a:lnTo>
                    <a:pt x="1283894" y="253505"/>
                  </a:lnTo>
                  <a:lnTo>
                    <a:pt x="1283945" y="253505"/>
                  </a:lnTo>
                  <a:lnTo>
                    <a:pt x="1283945" y="255536"/>
                  </a:lnTo>
                  <a:lnTo>
                    <a:pt x="1283945" y="254203"/>
                  </a:lnTo>
                  <a:lnTo>
                    <a:pt x="1283945" y="255536"/>
                  </a:lnTo>
                  <a:lnTo>
                    <a:pt x="1283945" y="254203"/>
                  </a:lnTo>
                  <a:lnTo>
                    <a:pt x="1284047" y="254203"/>
                  </a:lnTo>
                  <a:lnTo>
                    <a:pt x="1284047" y="255536"/>
                  </a:lnTo>
                  <a:lnTo>
                    <a:pt x="1284047" y="254203"/>
                  </a:lnTo>
                  <a:lnTo>
                    <a:pt x="1284047" y="255536"/>
                  </a:lnTo>
                  <a:lnTo>
                    <a:pt x="1284047" y="254203"/>
                  </a:lnTo>
                  <a:lnTo>
                    <a:pt x="1284047" y="255536"/>
                  </a:lnTo>
                  <a:lnTo>
                    <a:pt x="1284047" y="254203"/>
                  </a:lnTo>
                  <a:lnTo>
                    <a:pt x="1284097" y="254203"/>
                  </a:lnTo>
                  <a:lnTo>
                    <a:pt x="1284097" y="253505"/>
                  </a:lnTo>
                  <a:lnTo>
                    <a:pt x="1284097" y="254203"/>
                  </a:lnTo>
                  <a:lnTo>
                    <a:pt x="1284097" y="253505"/>
                  </a:lnTo>
                  <a:lnTo>
                    <a:pt x="1284148" y="253505"/>
                  </a:lnTo>
                  <a:lnTo>
                    <a:pt x="1284148" y="252806"/>
                  </a:lnTo>
                  <a:lnTo>
                    <a:pt x="1284148" y="253505"/>
                  </a:lnTo>
                  <a:lnTo>
                    <a:pt x="1284148" y="250088"/>
                  </a:lnTo>
                  <a:lnTo>
                    <a:pt x="1284250" y="251422"/>
                  </a:lnTo>
                  <a:lnTo>
                    <a:pt x="1284250" y="249390"/>
                  </a:lnTo>
                  <a:lnTo>
                    <a:pt x="1284250" y="251422"/>
                  </a:lnTo>
                  <a:lnTo>
                    <a:pt x="1284250" y="250088"/>
                  </a:lnTo>
                  <a:lnTo>
                    <a:pt x="1284250" y="251422"/>
                  </a:lnTo>
                  <a:lnTo>
                    <a:pt x="1284288" y="251422"/>
                  </a:lnTo>
                  <a:lnTo>
                    <a:pt x="1284288" y="250088"/>
                  </a:lnTo>
                  <a:lnTo>
                    <a:pt x="1284288" y="252806"/>
                  </a:lnTo>
                  <a:lnTo>
                    <a:pt x="1284288" y="252120"/>
                  </a:lnTo>
                  <a:lnTo>
                    <a:pt x="1284339" y="252120"/>
                  </a:lnTo>
                  <a:lnTo>
                    <a:pt x="1284339" y="253505"/>
                  </a:lnTo>
                  <a:lnTo>
                    <a:pt x="1284339" y="252806"/>
                  </a:lnTo>
                  <a:lnTo>
                    <a:pt x="1284390" y="252806"/>
                  </a:lnTo>
                  <a:lnTo>
                    <a:pt x="1284390" y="253505"/>
                  </a:lnTo>
                  <a:lnTo>
                    <a:pt x="1284390" y="252806"/>
                  </a:lnTo>
                  <a:lnTo>
                    <a:pt x="1284491" y="252806"/>
                  </a:lnTo>
                  <a:lnTo>
                    <a:pt x="1284491" y="253505"/>
                  </a:lnTo>
                  <a:lnTo>
                    <a:pt x="1284491" y="252806"/>
                  </a:lnTo>
                  <a:lnTo>
                    <a:pt x="1284491" y="253505"/>
                  </a:lnTo>
                  <a:lnTo>
                    <a:pt x="1284491" y="252806"/>
                  </a:lnTo>
                  <a:lnTo>
                    <a:pt x="1284491" y="253505"/>
                  </a:lnTo>
                  <a:lnTo>
                    <a:pt x="1284542" y="253505"/>
                  </a:lnTo>
                  <a:lnTo>
                    <a:pt x="1284542" y="254203"/>
                  </a:lnTo>
                  <a:lnTo>
                    <a:pt x="1284542" y="253505"/>
                  </a:lnTo>
                  <a:lnTo>
                    <a:pt x="1284593" y="253505"/>
                  </a:lnTo>
                  <a:lnTo>
                    <a:pt x="1284593" y="252806"/>
                  </a:lnTo>
                  <a:lnTo>
                    <a:pt x="1284593" y="253505"/>
                  </a:lnTo>
                  <a:lnTo>
                    <a:pt x="1284593" y="252120"/>
                  </a:lnTo>
                  <a:lnTo>
                    <a:pt x="1284593" y="252806"/>
                  </a:lnTo>
                  <a:lnTo>
                    <a:pt x="1284593" y="252120"/>
                  </a:lnTo>
                  <a:lnTo>
                    <a:pt x="1284694" y="252120"/>
                  </a:lnTo>
                  <a:lnTo>
                    <a:pt x="1284694" y="249390"/>
                  </a:lnTo>
                  <a:lnTo>
                    <a:pt x="1284745" y="249390"/>
                  </a:lnTo>
                  <a:lnTo>
                    <a:pt x="1284745" y="250088"/>
                  </a:lnTo>
                  <a:lnTo>
                    <a:pt x="1284745" y="248691"/>
                  </a:lnTo>
                  <a:lnTo>
                    <a:pt x="1284796" y="248691"/>
                  </a:lnTo>
                  <a:lnTo>
                    <a:pt x="1284796" y="252120"/>
                  </a:lnTo>
                  <a:lnTo>
                    <a:pt x="1284796" y="250088"/>
                  </a:lnTo>
                  <a:lnTo>
                    <a:pt x="1284834" y="250088"/>
                  </a:lnTo>
                  <a:lnTo>
                    <a:pt x="1284834" y="251422"/>
                  </a:lnTo>
                  <a:lnTo>
                    <a:pt x="1284834" y="250088"/>
                  </a:lnTo>
                  <a:lnTo>
                    <a:pt x="1284834" y="251422"/>
                  </a:lnTo>
                  <a:lnTo>
                    <a:pt x="1284834" y="250088"/>
                  </a:lnTo>
                  <a:lnTo>
                    <a:pt x="1284834" y="251422"/>
                  </a:lnTo>
                  <a:lnTo>
                    <a:pt x="1284936" y="251422"/>
                  </a:lnTo>
                  <a:lnTo>
                    <a:pt x="1284936" y="250088"/>
                  </a:lnTo>
                  <a:lnTo>
                    <a:pt x="1284936" y="251422"/>
                  </a:lnTo>
                  <a:lnTo>
                    <a:pt x="1284987" y="252120"/>
                  </a:lnTo>
                  <a:lnTo>
                    <a:pt x="1284987" y="251422"/>
                  </a:lnTo>
                  <a:lnTo>
                    <a:pt x="1284987" y="252806"/>
                  </a:lnTo>
                  <a:lnTo>
                    <a:pt x="1284987" y="252120"/>
                  </a:lnTo>
                  <a:lnTo>
                    <a:pt x="1284987" y="252806"/>
                  </a:lnTo>
                  <a:lnTo>
                    <a:pt x="1284987" y="252120"/>
                  </a:lnTo>
                  <a:lnTo>
                    <a:pt x="1284987" y="252806"/>
                  </a:lnTo>
                  <a:lnTo>
                    <a:pt x="1284987" y="252120"/>
                  </a:lnTo>
                  <a:lnTo>
                    <a:pt x="1284987" y="252806"/>
                  </a:lnTo>
                  <a:lnTo>
                    <a:pt x="1285037" y="252806"/>
                  </a:lnTo>
                  <a:lnTo>
                    <a:pt x="1285037" y="252120"/>
                  </a:lnTo>
                  <a:lnTo>
                    <a:pt x="1285037" y="252806"/>
                  </a:lnTo>
                  <a:lnTo>
                    <a:pt x="1285037" y="252120"/>
                  </a:lnTo>
                  <a:lnTo>
                    <a:pt x="1285037" y="252806"/>
                  </a:lnTo>
                  <a:lnTo>
                    <a:pt x="1285139" y="252806"/>
                  </a:lnTo>
                  <a:lnTo>
                    <a:pt x="1285139" y="252120"/>
                  </a:lnTo>
                  <a:lnTo>
                    <a:pt x="1285139" y="252806"/>
                  </a:lnTo>
                  <a:lnTo>
                    <a:pt x="1285139" y="251422"/>
                  </a:lnTo>
                  <a:lnTo>
                    <a:pt x="1285139" y="252120"/>
                  </a:lnTo>
                  <a:lnTo>
                    <a:pt x="1285190" y="252120"/>
                  </a:lnTo>
                  <a:lnTo>
                    <a:pt x="1285190" y="251422"/>
                  </a:lnTo>
                  <a:lnTo>
                    <a:pt x="1285190" y="252120"/>
                  </a:lnTo>
                  <a:lnTo>
                    <a:pt x="1285190" y="249390"/>
                  </a:lnTo>
                  <a:lnTo>
                    <a:pt x="1285240" y="248691"/>
                  </a:lnTo>
                  <a:lnTo>
                    <a:pt x="1285240" y="250088"/>
                  </a:lnTo>
                  <a:lnTo>
                    <a:pt x="1285240" y="248691"/>
                  </a:lnTo>
                  <a:lnTo>
                    <a:pt x="1285291" y="248691"/>
                  </a:lnTo>
                  <a:lnTo>
                    <a:pt x="1285291" y="251422"/>
                  </a:lnTo>
                  <a:lnTo>
                    <a:pt x="1285291" y="249390"/>
                  </a:lnTo>
                  <a:lnTo>
                    <a:pt x="1285380" y="249390"/>
                  </a:lnTo>
                  <a:lnTo>
                    <a:pt x="1285380" y="251422"/>
                  </a:lnTo>
                  <a:lnTo>
                    <a:pt x="1285380" y="250088"/>
                  </a:lnTo>
                  <a:lnTo>
                    <a:pt x="1285431" y="250088"/>
                  </a:lnTo>
                  <a:lnTo>
                    <a:pt x="1285431" y="251422"/>
                  </a:lnTo>
                  <a:lnTo>
                    <a:pt x="1285482" y="251422"/>
                  </a:lnTo>
                  <a:lnTo>
                    <a:pt x="1285482" y="252120"/>
                  </a:lnTo>
                  <a:lnTo>
                    <a:pt x="1285533" y="252806"/>
                  </a:lnTo>
                  <a:lnTo>
                    <a:pt x="1285533" y="252120"/>
                  </a:lnTo>
                  <a:lnTo>
                    <a:pt x="1285533" y="252806"/>
                  </a:lnTo>
                  <a:lnTo>
                    <a:pt x="1285533" y="252120"/>
                  </a:lnTo>
                  <a:lnTo>
                    <a:pt x="1285634" y="252120"/>
                  </a:lnTo>
                  <a:lnTo>
                    <a:pt x="1285634" y="252806"/>
                  </a:lnTo>
                  <a:lnTo>
                    <a:pt x="1285634" y="251422"/>
                  </a:lnTo>
                  <a:lnTo>
                    <a:pt x="1285634" y="252120"/>
                  </a:lnTo>
                  <a:lnTo>
                    <a:pt x="1285685" y="252120"/>
                  </a:lnTo>
                  <a:lnTo>
                    <a:pt x="1285685" y="250088"/>
                  </a:lnTo>
                  <a:lnTo>
                    <a:pt x="1285685" y="251422"/>
                  </a:lnTo>
                  <a:lnTo>
                    <a:pt x="1285685" y="249390"/>
                  </a:lnTo>
                  <a:lnTo>
                    <a:pt x="1285685" y="250088"/>
                  </a:lnTo>
                  <a:lnTo>
                    <a:pt x="1285736" y="251422"/>
                  </a:lnTo>
                  <a:lnTo>
                    <a:pt x="1285736" y="250088"/>
                  </a:lnTo>
                  <a:lnTo>
                    <a:pt x="1285736" y="252806"/>
                  </a:lnTo>
                  <a:lnTo>
                    <a:pt x="1285837" y="252806"/>
                  </a:lnTo>
                  <a:lnTo>
                    <a:pt x="1285837" y="251422"/>
                  </a:lnTo>
                  <a:lnTo>
                    <a:pt x="1285837" y="252120"/>
                  </a:lnTo>
                  <a:lnTo>
                    <a:pt x="1285875" y="252120"/>
                  </a:lnTo>
                  <a:lnTo>
                    <a:pt x="1285875" y="252806"/>
                  </a:lnTo>
                  <a:lnTo>
                    <a:pt x="1285875" y="252120"/>
                  </a:lnTo>
                  <a:lnTo>
                    <a:pt x="1285875" y="252806"/>
                  </a:lnTo>
                  <a:lnTo>
                    <a:pt x="1285875" y="252120"/>
                  </a:lnTo>
                  <a:lnTo>
                    <a:pt x="1285875" y="252806"/>
                  </a:lnTo>
                  <a:lnTo>
                    <a:pt x="1285926" y="252806"/>
                  </a:lnTo>
                  <a:lnTo>
                    <a:pt x="1285926" y="252120"/>
                  </a:lnTo>
                  <a:lnTo>
                    <a:pt x="1285926" y="252806"/>
                  </a:lnTo>
                  <a:lnTo>
                    <a:pt x="1285926" y="252120"/>
                  </a:lnTo>
                  <a:lnTo>
                    <a:pt x="1285926" y="252806"/>
                  </a:lnTo>
                  <a:lnTo>
                    <a:pt x="1285926" y="252120"/>
                  </a:lnTo>
                  <a:lnTo>
                    <a:pt x="1285926" y="252806"/>
                  </a:lnTo>
                  <a:lnTo>
                    <a:pt x="1285926" y="252120"/>
                  </a:lnTo>
                  <a:lnTo>
                    <a:pt x="1285926" y="252806"/>
                  </a:lnTo>
                  <a:lnTo>
                    <a:pt x="1285977" y="252806"/>
                  </a:lnTo>
                  <a:lnTo>
                    <a:pt x="1285977" y="253505"/>
                  </a:lnTo>
                  <a:lnTo>
                    <a:pt x="1285977" y="252806"/>
                  </a:lnTo>
                  <a:lnTo>
                    <a:pt x="1285977" y="253505"/>
                  </a:lnTo>
                  <a:lnTo>
                    <a:pt x="1286079" y="252806"/>
                  </a:lnTo>
                  <a:lnTo>
                    <a:pt x="1286079" y="253505"/>
                  </a:lnTo>
                  <a:lnTo>
                    <a:pt x="1286079" y="252120"/>
                  </a:lnTo>
                  <a:lnTo>
                    <a:pt x="1286079" y="252806"/>
                  </a:lnTo>
                  <a:lnTo>
                    <a:pt x="1286079" y="252120"/>
                  </a:lnTo>
                  <a:lnTo>
                    <a:pt x="1286079" y="252806"/>
                  </a:lnTo>
                  <a:lnTo>
                    <a:pt x="1286130" y="252806"/>
                  </a:lnTo>
                  <a:lnTo>
                    <a:pt x="1286130" y="251422"/>
                  </a:lnTo>
                  <a:lnTo>
                    <a:pt x="1286180" y="251422"/>
                  </a:lnTo>
                  <a:lnTo>
                    <a:pt x="1286180" y="250088"/>
                  </a:lnTo>
                  <a:lnTo>
                    <a:pt x="1286180" y="251422"/>
                  </a:lnTo>
                  <a:lnTo>
                    <a:pt x="1286180" y="250088"/>
                  </a:lnTo>
                  <a:lnTo>
                    <a:pt x="1286180" y="251422"/>
                  </a:lnTo>
                  <a:lnTo>
                    <a:pt x="1286180" y="249390"/>
                  </a:lnTo>
                  <a:lnTo>
                    <a:pt x="1286180" y="250088"/>
                  </a:lnTo>
                  <a:lnTo>
                    <a:pt x="1286282" y="250088"/>
                  </a:lnTo>
                  <a:lnTo>
                    <a:pt x="1286282" y="252120"/>
                  </a:lnTo>
                  <a:lnTo>
                    <a:pt x="1286282" y="249390"/>
                  </a:lnTo>
                  <a:lnTo>
                    <a:pt x="1286282" y="252806"/>
                  </a:lnTo>
                  <a:lnTo>
                    <a:pt x="1286333" y="252806"/>
                  </a:lnTo>
                  <a:lnTo>
                    <a:pt x="1286333" y="251422"/>
                  </a:lnTo>
                  <a:lnTo>
                    <a:pt x="1286333" y="252120"/>
                  </a:lnTo>
                  <a:lnTo>
                    <a:pt x="1286333" y="251422"/>
                  </a:lnTo>
                  <a:lnTo>
                    <a:pt x="1286333" y="252806"/>
                  </a:lnTo>
                  <a:lnTo>
                    <a:pt x="1286384" y="252806"/>
                  </a:lnTo>
                  <a:lnTo>
                    <a:pt x="1286384" y="252120"/>
                  </a:lnTo>
                  <a:lnTo>
                    <a:pt x="1286384" y="252806"/>
                  </a:lnTo>
                  <a:lnTo>
                    <a:pt x="1286422" y="252806"/>
                  </a:lnTo>
                  <a:lnTo>
                    <a:pt x="1286422" y="252120"/>
                  </a:lnTo>
                  <a:lnTo>
                    <a:pt x="1286422" y="252806"/>
                  </a:lnTo>
                  <a:lnTo>
                    <a:pt x="1286422" y="252120"/>
                  </a:lnTo>
                  <a:lnTo>
                    <a:pt x="1286422" y="252806"/>
                  </a:lnTo>
                  <a:lnTo>
                    <a:pt x="1286422" y="252120"/>
                  </a:lnTo>
                  <a:lnTo>
                    <a:pt x="1286422" y="252806"/>
                  </a:lnTo>
                  <a:lnTo>
                    <a:pt x="1286523" y="252806"/>
                  </a:lnTo>
                  <a:lnTo>
                    <a:pt x="1286523" y="252120"/>
                  </a:lnTo>
                  <a:lnTo>
                    <a:pt x="1286523" y="252806"/>
                  </a:lnTo>
                  <a:lnTo>
                    <a:pt x="1286523" y="252120"/>
                  </a:lnTo>
                  <a:lnTo>
                    <a:pt x="1286523" y="252806"/>
                  </a:lnTo>
                  <a:lnTo>
                    <a:pt x="1286574" y="252806"/>
                  </a:lnTo>
                  <a:lnTo>
                    <a:pt x="1286574" y="252120"/>
                  </a:lnTo>
                  <a:lnTo>
                    <a:pt x="1286574" y="252806"/>
                  </a:lnTo>
                  <a:lnTo>
                    <a:pt x="1286574" y="252120"/>
                  </a:lnTo>
                  <a:lnTo>
                    <a:pt x="1286574" y="252806"/>
                  </a:lnTo>
                  <a:lnTo>
                    <a:pt x="1286574" y="252120"/>
                  </a:lnTo>
                  <a:lnTo>
                    <a:pt x="1286625" y="252120"/>
                  </a:lnTo>
                  <a:lnTo>
                    <a:pt x="1286625" y="252806"/>
                  </a:lnTo>
                  <a:lnTo>
                    <a:pt x="1286625" y="251422"/>
                  </a:lnTo>
                  <a:lnTo>
                    <a:pt x="1286726" y="251422"/>
                  </a:lnTo>
                  <a:lnTo>
                    <a:pt x="1286726" y="249390"/>
                  </a:lnTo>
                  <a:lnTo>
                    <a:pt x="1286726" y="250088"/>
                  </a:lnTo>
                  <a:lnTo>
                    <a:pt x="1286726" y="249390"/>
                  </a:lnTo>
                  <a:lnTo>
                    <a:pt x="1286726" y="252120"/>
                  </a:lnTo>
                  <a:lnTo>
                    <a:pt x="1286726" y="251422"/>
                  </a:lnTo>
                  <a:lnTo>
                    <a:pt x="1286777" y="251422"/>
                  </a:lnTo>
                  <a:lnTo>
                    <a:pt x="1286777" y="249390"/>
                  </a:lnTo>
                  <a:lnTo>
                    <a:pt x="1286777" y="253505"/>
                  </a:lnTo>
                  <a:lnTo>
                    <a:pt x="1286777" y="252120"/>
                  </a:lnTo>
                  <a:lnTo>
                    <a:pt x="1286828" y="252120"/>
                  </a:lnTo>
                  <a:lnTo>
                    <a:pt x="1286828" y="251422"/>
                  </a:lnTo>
                  <a:lnTo>
                    <a:pt x="1286828" y="252806"/>
                  </a:lnTo>
                  <a:lnTo>
                    <a:pt x="1286828" y="252120"/>
                  </a:lnTo>
                  <a:lnTo>
                    <a:pt x="1286879" y="252120"/>
                  </a:lnTo>
                  <a:lnTo>
                    <a:pt x="1286879" y="253505"/>
                  </a:lnTo>
                  <a:lnTo>
                    <a:pt x="1286879" y="252806"/>
                  </a:lnTo>
                  <a:lnTo>
                    <a:pt x="1286879" y="253505"/>
                  </a:lnTo>
                  <a:lnTo>
                    <a:pt x="1286879" y="252806"/>
                  </a:lnTo>
                  <a:lnTo>
                    <a:pt x="1286968" y="252806"/>
                  </a:lnTo>
                  <a:lnTo>
                    <a:pt x="1286968" y="253505"/>
                  </a:lnTo>
                  <a:lnTo>
                    <a:pt x="1286968" y="252806"/>
                  </a:lnTo>
                  <a:lnTo>
                    <a:pt x="1287019" y="253505"/>
                  </a:lnTo>
                  <a:lnTo>
                    <a:pt x="1287019" y="252806"/>
                  </a:lnTo>
                  <a:lnTo>
                    <a:pt x="1287019" y="253505"/>
                  </a:lnTo>
                  <a:lnTo>
                    <a:pt x="1287019" y="252806"/>
                  </a:lnTo>
                  <a:lnTo>
                    <a:pt x="1287019" y="253505"/>
                  </a:lnTo>
                  <a:lnTo>
                    <a:pt x="1287019" y="252806"/>
                  </a:lnTo>
                  <a:lnTo>
                    <a:pt x="1287069" y="252806"/>
                  </a:lnTo>
                  <a:lnTo>
                    <a:pt x="1287069" y="252120"/>
                  </a:lnTo>
                  <a:lnTo>
                    <a:pt x="1287120" y="252120"/>
                  </a:lnTo>
                  <a:lnTo>
                    <a:pt x="1287120" y="251422"/>
                  </a:lnTo>
                  <a:lnTo>
                    <a:pt x="1287120" y="252120"/>
                  </a:lnTo>
                  <a:lnTo>
                    <a:pt x="1287120" y="250088"/>
                  </a:lnTo>
                  <a:lnTo>
                    <a:pt x="1287120" y="251422"/>
                  </a:lnTo>
                  <a:lnTo>
                    <a:pt x="1287222" y="250088"/>
                  </a:lnTo>
                  <a:lnTo>
                    <a:pt x="1287222" y="252120"/>
                  </a:lnTo>
                  <a:lnTo>
                    <a:pt x="1287222" y="249390"/>
                  </a:lnTo>
                  <a:lnTo>
                    <a:pt x="1287272" y="249390"/>
                  </a:lnTo>
                  <a:lnTo>
                    <a:pt x="1287272" y="248691"/>
                  </a:lnTo>
                  <a:lnTo>
                    <a:pt x="1287272" y="253505"/>
                  </a:lnTo>
                  <a:lnTo>
                    <a:pt x="1287272" y="252120"/>
                  </a:lnTo>
                  <a:lnTo>
                    <a:pt x="1287323" y="251422"/>
                  </a:lnTo>
                  <a:lnTo>
                    <a:pt x="1287323" y="253505"/>
                  </a:lnTo>
                  <a:lnTo>
                    <a:pt x="1287323" y="252806"/>
                  </a:lnTo>
                  <a:lnTo>
                    <a:pt x="1287323" y="253505"/>
                  </a:lnTo>
                  <a:lnTo>
                    <a:pt x="1287323" y="252806"/>
                  </a:lnTo>
                  <a:lnTo>
                    <a:pt x="1287425" y="252806"/>
                  </a:lnTo>
                  <a:lnTo>
                    <a:pt x="1287425" y="253505"/>
                  </a:lnTo>
                  <a:lnTo>
                    <a:pt x="1287425" y="252806"/>
                  </a:lnTo>
                  <a:lnTo>
                    <a:pt x="1287425" y="253505"/>
                  </a:lnTo>
                  <a:lnTo>
                    <a:pt x="1287425" y="252806"/>
                  </a:lnTo>
                  <a:lnTo>
                    <a:pt x="1287425" y="253505"/>
                  </a:lnTo>
                  <a:lnTo>
                    <a:pt x="1287425" y="252806"/>
                  </a:lnTo>
                  <a:lnTo>
                    <a:pt x="1287463" y="252806"/>
                  </a:lnTo>
                  <a:lnTo>
                    <a:pt x="1287463" y="253505"/>
                  </a:lnTo>
                  <a:lnTo>
                    <a:pt x="1287463" y="252806"/>
                  </a:lnTo>
                  <a:lnTo>
                    <a:pt x="1287463" y="253505"/>
                  </a:lnTo>
                  <a:lnTo>
                    <a:pt x="1287514" y="253505"/>
                  </a:lnTo>
                  <a:lnTo>
                    <a:pt x="1287514" y="252806"/>
                  </a:lnTo>
                  <a:lnTo>
                    <a:pt x="1287514" y="253505"/>
                  </a:lnTo>
                  <a:lnTo>
                    <a:pt x="1287514" y="252806"/>
                  </a:lnTo>
                  <a:lnTo>
                    <a:pt x="1287514" y="253505"/>
                  </a:lnTo>
                  <a:lnTo>
                    <a:pt x="1287514" y="252806"/>
                  </a:lnTo>
                  <a:lnTo>
                    <a:pt x="1287514" y="253505"/>
                  </a:lnTo>
                  <a:lnTo>
                    <a:pt x="1287514" y="252806"/>
                  </a:lnTo>
                  <a:lnTo>
                    <a:pt x="1287565" y="253505"/>
                  </a:lnTo>
                  <a:lnTo>
                    <a:pt x="1287565" y="252806"/>
                  </a:lnTo>
                  <a:lnTo>
                    <a:pt x="1287565" y="253505"/>
                  </a:lnTo>
                  <a:lnTo>
                    <a:pt x="1287565" y="252806"/>
                  </a:lnTo>
                  <a:lnTo>
                    <a:pt x="1287565" y="253505"/>
                  </a:lnTo>
                  <a:lnTo>
                    <a:pt x="1287565" y="252806"/>
                  </a:lnTo>
                  <a:lnTo>
                    <a:pt x="1287565" y="253505"/>
                  </a:lnTo>
                  <a:lnTo>
                    <a:pt x="1287565" y="252120"/>
                  </a:lnTo>
                  <a:lnTo>
                    <a:pt x="1287565" y="252806"/>
                  </a:lnTo>
                  <a:lnTo>
                    <a:pt x="1287666" y="252806"/>
                  </a:lnTo>
                  <a:lnTo>
                    <a:pt x="1287666" y="250088"/>
                  </a:lnTo>
                  <a:lnTo>
                    <a:pt x="1287717" y="250088"/>
                  </a:lnTo>
                  <a:lnTo>
                    <a:pt x="1287717" y="251422"/>
                  </a:lnTo>
                  <a:lnTo>
                    <a:pt x="1287717" y="248691"/>
                  </a:lnTo>
                  <a:lnTo>
                    <a:pt x="1287717" y="249390"/>
                  </a:lnTo>
                  <a:lnTo>
                    <a:pt x="1287717" y="248691"/>
                  </a:lnTo>
                  <a:lnTo>
                    <a:pt x="1287717" y="251422"/>
                  </a:lnTo>
                  <a:lnTo>
                    <a:pt x="1287717" y="250088"/>
                  </a:lnTo>
                  <a:lnTo>
                    <a:pt x="1287768" y="249390"/>
                  </a:lnTo>
                  <a:lnTo>
                    <a:pt x="1287768" y="248691"/>
                  </a:lnTo>
                  <a:lnTo>
                    <a:pt x="1287768" y="252120"/>
                  </a:lnTo>
                  <a:lnTo>
                    <a:pt x="1287768" y="251422"/>
                  </a:lnTo>
                  <a:lnTo>
                    <a:pt x="1287869" y="251422"/>
                  </a:lnTo>
                  <a:lnTo>
                    <a:pt x="1287869" y="252806"/>
                  </a:lnTo>
                  <a:lnTo>
                    <a:pt x="1287869" y="252120"/>
                  </a:lnTo>
                  <a:lnTo>
                    <a:pt x="1287920" y="252120"/>
                  </a:lnTo>
                  <a:lnTo>
                    <a:pt x="1287920" y="252806"/>
                  </a:lnTo>
                  <a:lnTo>
                    <a:pt x="1287971" y="252806"/>
                  </a:lnTo>
                  <a:lnTo>
                    <a:pt x="1287971" y="252120"/>
                  </a:lnTo>
                  <a:lnTo>
                    <a:pt x="1287971" y="253505"/>
                  </a:lnTo>
                  <a:lnTo>
                    <a:pt x="1287971" y="252806"/>
                  </a:lnTo>
                  <a:lnTo>
                    <a:pt x="1287971" y="253505"/>
                  </a:lnTo>
                  <a:lnTo>
                    <a:pt x="1288009" y="253505"/>
                  </a:lnTo>
                  <a:lnTo>
                    <a:pt x="1288009" y="254203"/>
                  </a:lnTo>
                  <a:lnTo>
                    <a:pt x="1288009" y="253505"/>
                  </a:lnTo>
                  <a:lnTo>
                    <a:pt x="1288009" y="254203"/>
                  </a:lnTo>
                  <a:lnTo>
                    <a:pt x="1288009" y="253505"/>
                  </a:lnTo>
                  <a:lnTo>
                    <a:pt x="1288009" y="254203"/>
                  </a:lnTo>
                  <a:lnTo>
                    <a:pt x="1288111" y="254203"/>
                  </a:lnTo>
                  <a:lnTo>
                    <a:pt x="1288111" y="253505"/>
                  </a:lnTo>
                  <a:lnTo>
                    <a:pt x="1288111" y="254203"/>
                  </a:lnTo>
                  <a:lnTo>
                    <a:pt x="1288111" y="252806"/>
                  </a:lnTo>
                  <a:lnTo>
                    <a:pt x="1288111" y="253505"/>
                  </a:lnTo>
                  <a:lnTo>
                    <a:pt x="1288111" y="252806"/>
                  </a:lnTo>
                  <a:lnTo>
                    <a:pt x="1288162" y="252806"/>
                  </a:lnTo>
                  <a:lnTo>
                    <a:pt x="1288162" y="250088"/>
                  </a:lnTo>
                  <a:lnTo>
                    <a:pt x="1288212" y="250088"/>
                  </a:lnTo>
                  <a:lnTo>
                    <a:pt x="1288212" y="251422"/>
                  </a:lnTo>
                  <a:lnTo>
                    <a:pt x="1288212" y="249390"/>
                  </a:lnTo>
                  <a:lnTo>
                    <a:pt x="1288212" y="250088"/>
                  </a:lnTo>
                  <a:lnTo>
                    <a:pt x="1288212" y="249390"/>
                  </a:lnTo>
                  <a:lnTo>
                    <a:pt x="1288212" y="250088"/>
                  </a:lnTo>
                  <a:lnTo>
                    <a:pt x="1288212" y="249390"/>
                  </a:lnTo>
                  <a:lnTo>
                    <a:pt x="1288314" y="249390"/>
                  </a:lnTo>
                  <a:lnTo>
                    <a:pt x="1288314" y="250088"/>
                  </a:lnTo>
                  <a:lnTo>
                    <a:pt x="1288314" y="249390"/>
                  </a:lnTo>
                  <a:lnTo>
                    <a:pt x="1288314" y="252120"/>
                  </a:lnTo>
                  <a:lnTo>
                    <a:pt x="1288314" y="250088"/>
                  </a:lnTo>
                  <a:lnTo>
                    <a:pt x="1288314" y="251422"/>
                  </a:lnTo>
                  <a:lnTo>
                    <a:pt x="1288314" y="250088"/>
                  </a:lnTo>
                  <a:lnTo>
                    <a:pt x="1288365" y="250088"/>
                  </a:lnTo>
                  <a:lnTo>
                    <a:pt x="1288365" y="251422"/>
                  </a:lnTo>
                  <a:lnTo>
                    <a:pt x="1288365" y="250088"/>
                  </a:lnTo>
                  <a:lnTo>
                    <a:pt x="1288365" y="251422"/>
                  </a:lnTo>
                  <a:lnTo>
                    <a:pt x="1288365" y="250088"/>
                  </a:lnTo>
                  <a:lnTo>
                    <a:pt x="1288365" y="251422"/>
                  </a:lnTo>
                  <a:lnTo>
                    <a:pt x="1288365" y="250088"/>
                  </a:lnTo>
                  <a:lnTo>
                    <a:pt x="1288415" y="250088"/>
                  </a:lnTo>
                  <a:lnTo>
                    <a:pt x="1288415" y="252120"/>
                  </a:lnTo>
                  <a:lnTo>
                    <a:pt x="1288415" y="251422"/>
                  </a:lnTo>
                  <a:lnTo>
                    <a:pt x="1288466" y="251422"/>
                  </a:lnTo>
                  <a:lnTo>
                    <a:pt x="1288466" y="252120"/>
                  </a:lnTo>
                  <a:lnTo>
                    <a:pt x="1288555" y="252120"/>
                  </a:lnTo>
                  <a:lnTo>
                    <a:pt x="1288555" y="252806"/>
                  </a:lnTo>
                  <a:lnTo>
                    <a:pt x="1288606" y="252806"/>
                  </a:lnTo>
                  <a:lnTo>
                    <a:pt x="1288606" y="252120"/>
                  </a:lnTo>
                  <a:lnTo>
                    <a:pt x="1288606" y="252806"/>
                  </a:lnTo>
                  <a:lnTo>
                    <a:pt x="1288606" y="252120"/>
                  </a:lnTo>
                  <a:lnTo>
                    <a:pt x="1288657" y="252806"/>
                  </a:lnTo>
                  <a:lnTo>
                    <a:pt x="1288657" y="251422"/>
                  </a:lnTo>
                  <a:lnTo>
                    <a:pt x="1288657" y="252120"/>
                  </a:lnTo>
                  <a:lnTo>
                    <a:pt x="1288657" y="250088"/>
                  </a:lnTo>
                  <a:lnTo>
                    <a:pt x="1288708" y="250088"/>
                  </a:lnTo>
                  <a:lnTo>
                    <a:pt x="1288708" y="252806"/>
                  </a:lnTo>
                  <a:lnTo>
                    <a:pt x="1288708" y="250088"/>
                  </a:lnTo>
                  <a:lnTo>
                    <a:pt x="1288708" y="251422"/>
                  </a:lnTo>
                  <a:lnTo>
                    <a:pt x="1288708" y="250088"/>
                  </a:lnTo>
                  <a:lnTo>
                    <a:pt x="1288708" y="251422"/>
                  </a:lnTo>
                  <a:lnTo>
                    <a:pt x="1288809" y="251422"/>
                  </a:lnTo>
                  <a:lnTo>
                    <a:pt x="1288809" y="254203"/>
                  </a:lnTo>
                  <a:lnTo>
                    <a:pt x="1288809" y="252120"/>
                  </a:lnTo>
                  <a:lnTo>
                    <a:pt x="1288860" y="252120"/>
                  </a:lnTo>
                  <a:lnTo>
                    <a:pt x="1288860" y="253505"/>
                  </a:lnTo>
                  <a:lnTo>
                    <a:pt x="1288860" y="252120"/>
                  </a:lnTo>
                  <a:lnTo>
                    <a:pt x="1288911" y="252806"/>
                  </a:lnTo>
                  <a:lnTo>
                    <a:pt x="1288911" y="252120"/>
                  </a:lnTo>
                  <a:lnTo>
                    <a:pt x="1288911" y="252806"/>
                  </a:lnTo>
                  <a:lnTo>
                    <a:pt x="1288911" y="252120"/>
                  </a:lnTo>
                  <a:lnTo>
                    <a:pt x="1288911" y="252806"/>
                  </a:lnTo>
                  <a:lnTo>
                    <a:pt x="1288911" y="252120"/>
                  </a:lnTo>
                  <a:lnTo>
                    <a:pt x="1289012" y="252120"/>
                  </a:lnTo>
                  <a:lnTo>
                    <a:pt x="1289012" y="252806"/>
                  </a:lnTo>
                  <a:lnTo>
                    <a:pt x="1289012" y="252120"/>
                  </a:lnTo>
                  <a:lnTo>
                    <a:pt x="1289012" y="253505"/>
                  </a:lnTo>
                  <a:lnTo>
                    <a:pt x="1289012" y="252806"/>
                  </a:lnTo>
                  <a:lnTo>
                    <a:pt x="1289050" y="252806"/>
                  </a:lnTo>
                  <a:lnTo>
                    <a:pt x="1289050" y="253505"/>
                  </a:lnTo>
                  <a:lnTo>
                    <a:pt x="1289050" y="252806"/>
                  </a:lnTo>
                  <a:lnTo>
                    <a:pt x="1289050" y="253505"/>
                  </a:lnTo>
                  <a:lnTo>
                    <a:pt x="1289050" y="252806"/>
                  </a:lnTo>
                  <a:lnTo>
                    <a:pt x="1289101" y="252806"/>
                  </a:lnTo>
                  <a:lnTo>
                    <a:pt x="1289101" y="252120"/>
                  </a:lnTo>
                  <a:lnTo>
                    <a:pt x="1289101" y="252806"/>
                  </a:lnTo>
                  <a:lnTo>
                    <a:pt x="1289101" y="252120"/>
                  </a:lnTo>
                  <a:lnTo>
                    <a:pt x="1289152" y="252120"/>
                  </a:lnTo>
                  <a:lnTo>
                    <a:pt x="1289152" y="251422"/>
                  </a:lnTo>
                  <a:lnTo>
                    <a:pt x="1289152" y="252120"/>
                  </a:lnTo>
                  <a:lnTo>
                    <a:pt x="1289152" y="250088"/>
                  </a:lnTo>
                  <a:lnTo>
                    <a:pt x="1289152" y="252120"/>
                  </a:lnTo>
                  <a:lnTo>
                    <a:pt x="1289254" y="252806"/>
                  </a:lnTo>
                  <a:lnTo>
                    <a:pt x="1289254" y="250088"/>
                  </a:lnTo>
                  <a:lnTo>
                    <a:pt x="1289254" y="251422"/>
                  </a:lnTo>
                  <a:lnTo>
                    <a:pt x="1289254" y="250088"/>
                  </a:lnTo>
                  <a:lnTo>
                    <a:pt x="1289254" y="254203"/>
                  </a:lnTo>
                  <a:lnTo>
                    <a:pt x="1289254" y="253505"/>
                  </a:lnTo>
                  <a:lnTo>
                    <a:pt x="1289305" y="253505"/>
                  </a:lnTo>
                  <a:lnTo>
                    <a:pt x="1289305" y="252806"/>
                  </a:lnTo>
                  <a:lnTo>
                    <a:pt x="1289305" y="254203"/>
                  </a:lnTo>
                  <a:lnTo>
                    <a:pt x="1289355" y="254203"/>
                  </a:lnTo>
                  <a:lnTo>
                    <a:pt x="1289355" y="252806"/>
                  </a:lnTo>
                  <a:lnTo>
                    <a:pt x="1289355" y="253505"/>
                  </a:lnTo>
                  <a:lnTo>
                    <a:pt x="1289355" y="252806"/>
                  </a:lnTo>
                  <a:lnTo>
                    <a:pt x="1289355" y="254203"/>
                  </a:lnTo>
                  <a:lnTo>
                    <a:pt x="1289355" y="253505"/>
                  </a:lnTo>
                  <a:lnTo>
                    <a:pt x="1289355" y="254203"/>
                  </a:lnTo>
                  <a:lnTo>
                    <a:pt x="1289457" y="253505"/>
                  </a:lnTo>
                  <a:lnTo>
                    <a:pt x="1289457" y="252806"/>
                  </a:lnTo>
                  <a:lnTo>
                    <a:pt x="1289508" y="252806"/>
                  </a:lnTo>
                  <a:lnTo>
                    <a:pt x="1289508" y="253505"/>
                  </a:lnTo>
                  <a:lnTo>
                    <a:pt x="1289508" y="252806"/>
                  </a:lnTo>
                  <a:lnTo>
                    <a:pt x="1289508" y="253505"/>
                  </a:lnTo>
                  <a:lnTo>
                    <a:pt x="1289508" y="252806"/>
                  </a:lnTo>
                  <a:lnTo>
                    <a:pt x="1289508" y="253505"/>
                  </a:lnTo>
                  <a:lnTo>
                    <a:pt x="1289508" y="252806"/>
                  </a:lnTo>
                  <a:lnTo>
                    <a:pt x="1289508" y="253505"/>
                  </a:lnTo>
                  <a:lnTo>
                    <a:pt x="1289508" y="252806"/>
                  </a:lnTo>
                  <a:lnTo>
                    <a:pt x="1289559" y="252806"/>
                  </a:lnTo>
                  <a:lnTo>
                    <a:pt x="1289559" y="253505"/>
                  </a:lnTo>
                  <a:lnTo>
                    <a:pt x="1289559" y="252120"/>
                  </a:lnTo>
                  <a:lnTo>
                    <a:pt x="1289597" y="252120"/>
                  </a:lnTo>
                  <a:lnTo>
                    <a:pt x="1289597" y="251422"/>
                  </a:lnTo>
                  <a:lnTo>
                    <a:pt x="1289597" y="252120"/>
                  </a:lnTo>
                  <a:lnTo>
                    <a:pt x="1289597" y="250088"/>
                  </a:lnTo>
                  <a:lnTo>
                    <a:pt x="1289698" y="250088"/>
                  </a:lnTo>
                  <a:lnTo>
                    <a:pt x="1289698" y="251422"/>
                  </a:lnTo>
                  <a:lnTo>
                    <a:pt x="1289698" y="249390"/>
                  </a:lnTo>
                  <a:lnTo>
                    <a:pt x="1289698" y="250088"/>
                  </a:lnTo>
                  <a:lnTo>
                    <a:pt x="1289749" y="251422"/>
                  </a:lnTo>
                  <a:lnTo>
                    <a:pt x="1289749" y="252120"/>
                  </a:lnTo>
                  <a:lnTo>
                    <a:pt x="1289749" y="249390"/>
                  </a:lnTo>
                  <a:lnTo>
                    <a:pt x="1289749" y="253505"/>
                  </a:lnTo>
                  <a:lnTo>
                    <a:pt x="1289800" y="253505"/>
                  </a:lnTo>
                  <a:lnTo>
                    <a:pt x="1289800" y="251422"/>
                  </a:lnTo>
                  <a:lnTo>
                    <a:pt x="1289800" y="253505"/>
                  </a:lnTo>
                  <a:lnTo>
                    <a:pt x="1289901" y="253505"/>
                  </a:lnTo>
                  <a:lnTo>
                    <a:pt x="1289901" y="252120"/>
                  </a:lnTo>
                  <a:lnTo>
                    <a:pt x="1289901" y="253505"/>
                  </a:lnTo>
                  <a:lnTo>
                    <a:pt x="1289901" y="252806"/>
                  </a:lnTo>
                  <a:lnTo>
                    <a:pt x="1289952" y="252806"/>
                  </a:lnTo>
                  <a:lnTo>
                    <a:pt x="1289952" y="253505"/>
                  </a:lnTo>
                  <a:lnTo>
                    <a:pt x="1290003" y="253505"/>
                  </a:lnTo>
                  <a:lnTo>
                    <a:pt x="1290003" y="252806"/>
                  </a:lnTo>
                  <a:lnTo>
                    <a:pt x="1290003" y="253505"/>
                  </a:lnTo>
                  <a:lnTo>
                    <a:pt x="1290003" y="252806"/>
                  </a:lnTo>
                  <a:lnTo>
                    <a:pt x="1290003" y="254203"/>
                  </a:lnTo>
                  <a:lnTo>
                    <a:pt x="1290003" y="253505"/>
                  </a:lnTo>
                  <a:lnTo>
                    <a:pt x="1290003" y="254203"/>
                  </a:lnTo>
                  <a:lnTo>
                    <a:pt x="1290003" y="253505"/>
                  </a:lnTo>
                  <a:lnTo>
                    <a:pt x="1290054" y="253505"/>
                  </a:lnTo>
                  <a:lnTo>
                    <a:pt x="1290054" y="252806"/>
                  </a:lnTo>
                  <a:lnTo>
                    <a:pt x="1290143" y="252120"/>
                  </a:lnTo>
                  <a:lnTo>
                    <a:pt x="1290143" y="252806"/>
                  </a:lnTo>
                  <a:lnTo>
                    <a:pt x="1290143" y="252120"/>
                  </a:lnTo>
                  <a:lnTo>
                    <a:pt x="1290143" y="252806"/>
                  </a:lnTo>
                  <a:lnTo>
                    <a:pt x="1290143" y="252120"/>
                  </a:lnTo>
                  <a:lnTo>
                    <a:pt x="1290143" y="252806"/>
                  </a:lnTo>
                  <a:lnTo>
                    <a:pt x="1290143" y="251422"/>
                  </a:lnTo>
                  <a:lnTo>
                    <a:pt x="1290143" y="252120"/>
                  </a:lnTo>
                  <a:lnTo>
                    <a:pt x="1290143" y="250088"/>
                  </a:lnTo>
                  <a:lnTo>
                    <a:pt x="1290194" y="250088"/>
                  </a:lnTo>
                  <a:lnTo>
                    <a:pt x="1290194" y="249390"/>
                  </a:lnTo>
                  <a:lnTo>
                    <a:pt x="1290194" y="250088"/>
                  </a:lnTo>
                  <a:lnTo>
                    <a:pt x="1290194" y="249390"/>
                  </a:lnTo>
                  <a:lnTo>
                    <a:pt x="1290194" y="251422"/>
                  </a:lnTo>
                  <a:lnTo>
                    <a:pt x="1290194" y="250088"/>
                  </a:lnTo>
                  <a:lnTo>
                    <a:pt x="1290244" y="250088"/>
                  </a:lnTo>
                  <a:lnTo>
                    <a:pt x="1290244" y="248691"/>
                  </a:lnTo>
                  <a:lnTo>
                    <a:pt x="1290244" y="251422"/>
                  </a:lnTo>
                  <a:lnTo>
                    <a:pt x="1290295" y="251422"/>
                  </a:lnTo>
                  <a:lnTo>
                    <a:pt x="1290295" y="250088"/>
                  </a:lnTo>
                  <a:lnTo>
                    <a:pt x="1290295" y="252120"/>
                  </a:lnTo>
                  <a:lnTo>
                    <a:pt x="1290397" y="252120"/>
                  </a:lnTo>
                  <a:lnTo>
                    <a:pt x="1290397" y="251422"/>
                  </a:lnTo>
                  <a:lnTo>
                    <a:pt x="1290397" y="252806"/>
                  </a:lnTo>
                  <a:lnTo>
                    <a:pt x="1290447" y="252806"/>
                  </a:lnTo>
                  <a:lnTo>
                    <a:pt x="1290447" y="252120"/>
                  </a:lnTo>
                  <a:lnTo>
                    <a:pt x="1290447" y="252806"/>
                  </a:lnTo>
                  <a:lnTo>
                    <a:pt x="1290447" y="252120"/>
                  </a:lnTo>
                  <a:lnTo>
                    <a:pt x="1290447" y="252806"/>
                  </a:lnTo>
                  <a:lnTo>
                    <a:pt x="1290498" y="252806"/>
                  </a:lnTo>
                  <a:lnTo>
                    <a:pt x="1290498" y="253505"/>
                  </a:lnTo>
                  <a:lnTo>
                    <a:pt x="1290498" y="252806"/>
                  </a:lnTo>
                  <a:lnTo>
                    <a:pt x="1290600" y="252806"/>
                  </a:lnTo>
                  <a:lnTo>
                    <a:pt x="1290600" y="252120"/>
                  </a:lnTo>
                  <a:lnTo>
                    <a:pt x="1290638" y="252120"/>
                  </a:lnTo>
                  <a:lnTo>
                    <a:pt x="1290638" y="250088"/>
                  </a:lnTo>
                  <a:lnTo>
                    <a:pt x="1290638" y="251422"/>
                  </a:lnTo>
                  <a:lnTo>
                    <a:pt x="1290638" y="250088"/>
                  </a:lnTo>
                  <a:lnTo>
                    <a:pt x="1290638" y="251422"/>
                  </a:lnTo>
                  <a:lnTo>
                    <a:pt x="1290638" y="250088"/>
                  </a:lnTo>
                  <a:lnTo>
                    <a:pt x="1290689" y="250088"/>
                  </a:lnTo>
                  <a:lnTo>
                    <a:pt x="1290689" y="251422"/>
                  </a:lnTo>
                  <a:lnTo>
                    <a:pt x="1290689" y="249390"/>
                  </a:lnTo>
                  <a:lnTo>
                    <a:pt x="1290689" y="251422"/>
                  </a:lnTo>
                  <a:lnTo>
                    <a:pt x="1290689" y="250088"/>
                  </a:lnTo>
                  <a:lnTo>
                    <a:pt x="1290740" y="250088"/>
                  </a:lnTo>
                  <a:lnTo>
                    <a:pt x="1290740" y="249390"/>
                  </a:lnTo>
                  <a:lnTo>
                    <a:pt x="1290740" y="253505"/>
                  </a:lnTo>
                  <a:lnTo>
                    <a:pt x="1290740" y="251422"/>
                  </a:lnTo>
                  <a:lnTo>
                    <a:pt x="1290841" y="251422"/>
                  </a:lnTo>
                  <a:lnTo>
                    <a:pt x="1290841" y="250088"/>
                  </a:lnTo>
                  <a:lnTo>
                    <a:pt x="1290841" y="252806"/>
                  </a:lnTo>
                  <a:lnTo>
                    <a:pt x="1290841" y="251422"/>
                  </a:lnTo>
                  <a:lnTo>
                    <a:pt x="1290892" y="250088"/>
                  </a:lnTo>
                  <a:lnTo>
                    <a:pt x="1290892" y="252120"/>
                  </a:lnTo>
                  <a:lnTo>
                    <a:pt x="1290892" y="251422"/>
                  </a:lnTo>
                  <a:lnTo>
                    <a:pt x="1290892" y="252120"/>
                  </a:lnTo>
                  <a:lnTo>
                    <a:pt x="1290892" y="251422"/>
                  </a:lnTo>
                  <a:lnTo>
                    <a:pt x="1290892" y="252120"/>
                  </a:lnTo>
                  <a:lnTo>
                    <a:pt x="1290892" y="251422"/>
                  </a:lnTo>
                  <a:lnTo>
                    <a:pt x="1290943" y="252120"/>
                  </a:lnTo>
                  <a:lnTo>
                    <a:pt x="1290943" y="251422"/>
                  </a:lnTo>
                  <a:lnTo>
                    <a:pt x="1290943" y="252806"/>
                  </a:lnTo>
                  <a:lnTo>
                    <a:pt x="1290943" y="252120"/>
                  </a:lnTo>
                  <a:lnTo>
                    <a:pt x="1290943" y="252806"/>
                  </a:lnTo>
                  <a:lnTo>
                    <a:pt x="1290943" y="252120"/>
                  </a:lnTo>
                  <a:lnTo>
                    <a:pt x="1291044" y="252120"/>
                  </a:lnTo>
                  <a:lnTo>
                    <a:pt x="1291044" y="252806"/>
                  </a:lnTo>
                  <a:lnTo>
                    <a:pt x="1291044" y="252120"/>
                  </a:lnTo>
                  <a:lnTo>
                    <a:pt x="1291044" y="252806"/>
                  </a:lnTo>
                  <a:lnTo>
                    <a:pt x="1291095" y="252806"/>
                  </a:lnTo>
                  <a:lnTo>
                    <a:pt x="1291095" y="251422"/>
                  </a:lnTo>
                  <a:lnTo>
                    <a:pt x="1291146" y="251422"/>
                  </a:lnTo>
                  <a:lnTo>
                    <a:pt x="1291146" y="250088"/>
                  </a:lnTo>
                  <a:lnTo>
                    <a:pt x="1291146" y="251422"/>
                  </a:lnTo>
                  <a:lnTo>
                    <a:pt x="1291146" y="249390"/>
                  </a:lnTo>
                  <a:lnTo>
                    <a:pt x="1291184" y="249390"/>
                  </a:lnTo>
                  <a:lnTo>
                    <a:pt x="1291184" y="251422"/>
                  </a:lnTo>
                  <a:lnTo>
                    <a:pt x="1291184" y="248691"/>
                  </a:lnTo>
                  <a:lnTo>
                    <a:pt x="1291184" y="249390"/>
                  </a:lnTo>
                  <a:lnTo>
                    <a:pt x="1291286" y="250088"/>
                  </a:lnTo>
                  <a:lnTo>
                    <a:pt x="1291286" y="252806"/>
                  </a:lnTo>
                  <a:lnTo>
                    <a:pt x="1291286" y="250088"/>
                  </a:lnTo>
                  <a:lnTo>
                    <a:pt x="1291286" y="251422"/>
                  </a:lnTo>
                  <a:lnTo>
                    <a:pt x="1291337" y="251422"/>
                  </a:lnTo>
                  <a:lnTo>
                    <a:pt x="1291337" y="252806"/>
                  </a:lnTo>
                  <a:lnTo>
                    <a:pt x="1291337" y="250088"/>
                  </a:lnTo>
                  <a:lnTo>
                    <a:pt x="1291337" y="251422"/>
                  </a:lnTo>
                  <a:lnTo>
                    <a:pt x="1291387" y="251422"/>
                  </a:lnTo>
                  <a:lnTo>
                    <a:pt x="1291387" y="252120"/>
                  </a:lnTo>
                  <a:lnTo>
                    <a:pt x="1291387" y="251422"/>
                  </a:lnTo>
                  <a:lnTo>
                    <a:pt x="1291387" y="252120"/>
                  </a:lnTo>
                  <a:lnTo>
                    <a:pt x="1291387" y="251422"/>
                  </a:lnTo>
                  <a:lnTo>
                    <a:pt x="1291489" y="251422"/>
                  </a:lnTo>
                  <a:lnTo>
                    <a:pt x="1291489" y="252806"/>
                  </a:lnTo>
                  <a:lnTo>
                    <a:pt x="1291540" y="252120"/>
                  </a:lnTo>
                  <a:lnTo>
                    <a:pt x="1291540" y="253505"/>
                  </a:lnTo>
                  <a:lnTo>
                    <a:pt x="1291540" y="252120"/>
                  </a:lnTo>
                  <a:lnTo>
                    <a:pt x="1291590" y="252120"/>
                  </a:lnTo>
                  <a:lnTo>
                    <a:pt x="1291590" y="251422"/>
                  </a:lnTo>
                  <a:lnTo>
                    <a:pt x="1291590" y="252120"/>
                  </a:lnTo>
                  <a:lnTo>
                    <a:pt x="1291590" y="251422"/>
                  </a:lnTo>
                  <a:lnTo>
                    <a:pt x="1291590" y="252120"/>
                  </a:lnTo>
                  <a:lnTo>
                    <a:pt x="1291590" y="250088"/>
                  </a:lnTo>
                  <a:lnTo>
                    <a:pt x="1291590" y="251422"/>
                  </a:lnTo>
                  <a:lnTo>
                    <a:pt x="1291641" y="250088"/>
                  </a:lnTo>
                  <a:lnTo>
                    <a:pt x="1291641" y="249390"/>
                  </a:lnTo>
                  <a:lnTo>
                    <a:pt x="1291641" y="250088"/>
                  </a:lnTo>
                  <a:lnTo>
                    <a:pt x="1291641" y="249390"/>
                  </a:lnTo>
                  <a:lnTo>
                    <a:pt x="1291641" y="250088"/>
                  </a:lnTo>
                  <a:lnTo>
                    <a:pt x="1291641" y="249390"/>
                  </a:lnTo>
                  <a:lnTo>
                    <a:pt x="1291641" y="251422"/>
                  </a:lnTo>
                  <a:lnTo>
                    <a:pt x="1291730" y="250088"/>
                  </a:lnTo>
                  <a:lnTo>
                    <a:pt x="1291730" y="251422"/>
                  </a:lnTo>
                  <a:lnTo>
                    <a:pt x="1291730" y="249390"/>
                  </a:lnTo>
                  <a:lnTo>
                    <a:pt x="1291730" y="252806"/>
                  </a:lnTo>
                  <a:lnTo>
                    <a:pt x="1291781" y="252806"/>
                  </a:lnTo>
                  <a:lnTo>
                    <a:pt x="1291781" y="253505"/>
                  </a:lnTo>
                  <a:lnTo>
                    <a:pt x="1291781" y="252120"/>
                  </a:lnTo>
                  <a:lnTo>
                    <a:pt x="1291781" y="253505"/>
                  </a:lnTo>
                  <a:lnTo>
                    <a:pt x="1291832" y="253505"/>
                  </a:lnTo>
                  <a:lnTo>
                    <a:pt x="1291832" y="252806"/>
                  </a:lnTo>
                  <a:lnTo>
                    <a:pt x="1291832" y="253505"/>
                  </a:lnTo>
                  <a:lnTo>
                    <a:pt x="1291832" y="252120"/>
                  </a:lnTo>
                  <a:lnTo>
                    <a:pt x="1291832" y="253505"/>
                  </a:lnTo>
                  <a:lnTo>
                    <a:pt x="1291832" y="252806"/>
                  </a:lnTo>
                  <a:lnTo>
                    <a:pt x="1291883" y="252806"/>
                  </a:lnTo>
                  <a:lnTo>
                    <a:pt x="1291883" y="253505"/>
                  </a:lnTo>
                  <a:lnTo>
                    <a:pt x="1291883" y="252806"/>
                  </a:lnTo>
                  <a:lnTo>
                    <a:pt x="1291883" y="253505"/>
                  </a:lnTo>
                  <a:lnTo>
                    <a:pt x="1291883" y="252806"/>
                  </a:lnTo>
                  <a:lnTo>
                    <a:pt x="1292035" y="252806"/>
                  </a:lnTo>
                  <a:lnTo>
                    <a:pt x="1292035" y="253505"/>
                  </a:lnTo>
                  <a:lnTo>
                    <a:pt x="1292035" y="252806"/>
                  </a:lnTo>
                  <a:lnTo>
                    <a:pt x="1292035" y="253505"/>
                  </a:lnTo>
                  <a:lnTo>
                    <a:pt x="1292035" y="252806"/>
                  </a:lnTo>
                  <a:lnTo>
                    <a:pt x="1292086" y="253505"/>
                  </a:lnTo>
                  <a:lnTo>
                    <a:pt x="1292086" y="251422"/>
                  </a:lnTo>
                  <a:lnTo>
                    <a:pt x="1292187" y="251422"/>
                  </a:lnTo>
                  <a:lnTo>
                    <a:pt x="1292187" y="250088"/>
                  </a:lnTo>
                  <a:lnTo>
                    <a:pt x="1292187" y="251422"/>
                  </a:lnTo>
                  <a:lnTo>
                    <a:pt x="1292187" y="250088"/>
                  </a:lnTo>
                  <a:lnTo>
                    <a:pt x="1292187" y="252120"/>
                  </a:lnTo>
                  <a:lnTo>
                    <a:pt x="1292187" y="251422"/>
                  </a:lnTo>
                  <a:lnTo>
                    <a:pt x="1292225" y="252120"/>
                  </a:lnTo>
                  <a:lnTo>
                    <a:pt x="1292225" y="251422"/>
                  </a:lnTo>
                  <a:lnTo>
                    <a:pt x="1292225" y="253505"/>
                  </a:lnTo>
                  <a:lnTo>
                    <a:pt x="1292225" y="252806"/>
                  </a:lnTo>
                  <a:lnTo>
                    <a:pt x="1292225" y="253505"/>
                  </a:lnTo>
                  <a:lnTo>
                    <a:pt x="1292225" y="252120"/>
                  </a:lnTo>
                  <a:lnTo>
                    <a:pt x="1292276" y="252120"/>
                  </a:lnTo>
                  <a:lnTo>
                    <a:pt x="1292276" y="253505"/>
                  </a:lnTo>
                  <a:lnTo>
                    <a:pt x="1292276" y="252806"/>
                  </a:lnTo>
                  <a:lnTo>
                    <a:pt x="1292327" y="252806"/>
                  </a:lnTo>
                  <a:lnTo>
                    <a:pt x="1292327" y="253505"/>
                  </a:lnTo>
                  <a:lnTo>
                    <a:pt x="1292327" y="252806"/>
                  </a:lnTo>
                  <a:lnTo>
                    <a:pt x="1292327" y="253505"/>
                  </a:lnTo>
                  <a:lnTo>
                    <a:pt x="1292327" y="252806"/>
                  </a:lnTo>
                  <a:lnTo>
                    <a:pt x="1292327" y="253505"/>
                  </a:lnTo>
                  <a:lnTo>
                    <a:pt x="1292327" y="252806"/>
                  </a:lnTo>
                  <a:lnTo>
                    <a:pt x="1292429" y="252806"/>
                  </a:lnTo>
                  <a:lnTo>
                    <a:pt x="1292429" y="253505"/>
                  </a:lnTo>
                  <a:lnTo>
                    <a:pt x="1292429" y="252806"/>
                  </a:lnTo>
                  <a:lnTo>
                    <a:pt x="1292429" y="253505"/>
                  </a:lnTo>
                  <a:lnTo>
                    <a:pt x="1292429" y="252806"/>
                  </a:lnTo>
                  <a:lnTo>
                    <a:pt x="1292429" y="253505"/>
                  </a:lnTo>
                  <a:lnTo>
                    <a:pt x="1292429" y="252806"/>
                  </a:lnTo>
                  <a:lnTo>
                    <a:pt x="1292429" y="253505"/>
                  </a:lnTo>
                  <a:lnTo>
                    <a:pt x="1292480" y="253505"/>
                  </a:lnTo>
                  <a:lnTo>
                    <a:pt x="1292480" y="252806"/>
                  </a:lnTo>
                  <a:lnTo>
                    <a:pt x="1292480" y="253505"/>
                  </a:lnTo>
                  <a:lnTo>
                    <a:pt x="1292480" y="252806"/>
                  </a:lnTo>
                  <a:lnTo>
                    <a:pt x="1292530" y="252806"/>
                  </a:lnTo>
                  <a:lnTo>
                    <a:pt x="1292530" y="252120"/>
                  </a:lnTo>
                  <a:lnTo>
                    <a:pt x="1292530" y="252806"/>
                  </a:lnTo>
                  <a:lnTo>
                    <a:pt x="1292530" y="251422"/>
                  </a:lnTo>
                  <a:lnTo>
                    <a:pt x="1292530" y="252120"/>
                  </a:lnTo>
                  <a:lnTo>
                    <a:pt x="1292530" y="251422"/>
                  </a:lnTo>
                  <a:lnTo>
                    <a:pt x="1292632" y="252120"/>
                  </a:lnTo>
                  <a:lnTo>
                    <a:pt x="1292632" y="249390"/>
                  </a:lnTo>
                  <a:lnTo>
                    <a:pt x="1292683" y="249390"/>
                  </a:lnTo>
                  <a:lnTo>
                    <a:pt x="1292683" y="251422"/>
                  </a:lnTo>
                  <a:lnTo>
                    <a:pt x="1292683" y="250088"/>
                  </a:lnTo>
                  <a:lnTo>
                    <a:pt x="1292683" y="251422"/>
                  </a:lnTo>
                  <a:lnTo>
                    <a:pt x="1292683" y="250088"/>
                  </a:lnTo>
                  <a:lnTo>
                    <a:pt x="1292734" y="250088"/>
                  </a:lnTo>
                  <a:lnTo>
                    <a:pt x="1292734" y="252806"/>
                  </a:lnTo>
                  <a:lnTo>
                    <a:pt x="1292734" y="251422"/>
                  </a:lnTo>
                  <a:lnTo>
                    <a:pt x="1292734" y="252120"/>
                  </a:lnTo>
                  <a:lnTo>
                    <a:pt x="1292772" y="252120"/>
                  </a:lnTo>
                  <a:lnTo>
                    <a:pt x="1292772" y="252806"/>
                  </a:lnTo>
                  <a:lnTo>
                    <a:pt x="1292772" y="252120"/>
                  </a:lnTo>
                  <a:lnTo>
                    <a:pt x="1292772" y="252806"/>
                  </a:lnTo>
                  <a:lnTo>
                    <a:pt x="1292772" y="252120"/>
                  </a:lnTo>
                  <a:lnTo>
                    <a:pt x="1292873" y="252806"/>
                  </a:lnTo>
                  <a:lnTo>
                    <a:pt x="1292873" y="252120"/>
                  </a:lnTo>
                  <a:lnTo>
                    <a:pt x="1292873" y="252806"/>
                  </a:lnTo>
                  <a:lnTo>
                    <a:pt x="1292873" y="252120"/>
                  </a:lnTo>
                  <a:lnTo>
                    <a:pt x="1292873" y="252806"/>
                  </a:lnTo>
                  <a:lnTo>
                    <a:pt x="1292873" y="252120"/>
                  </a:lnTo>
                  <a:lnTo>
                    <a:pt x="1292873" y="252806"/>
                  </a:lnTo>
                  <a:lnTo>
                    <a:pt x="1292924" y="252806"/>
                  </a:lnTo>
                  <a:lnTo>
                    <a:pt x="1292924" y="252120"/>
                  </a:lnTo>
                  <a:lnTo>
                    <a:pt x="1292924" y="252806"/>
                  </a:lnTo>
                  <a:lnTo>
                    <a:pt x="1292924" y="252120"/>
                  </a:lnTo>
                  <a:lnTo>
                    <a:pt x="1292924" y="253505"/>
                  </a:lnTo>
                  <a:lnTo>
                    <a:pt x="1292924" y="252806"/>
                  </a:lnTo>
                  <a:lnTo>
                    <a:pt x="1292924" y="253505"/>
                  </a:lnTo>
                  <a:lnTo>
                    <a:pt x="1292924" y="252806"/>
                  </a:lnTo>
                  <a:lnTo>
                    <a:pt x="1292924" y="253505"/>
                  </a:lnTo>
                  <a:lnTo>
                    <a:pt x="1292924" y="252806"/>
                  </a:lnTo>
                  <a:lnTo>
                    <a:pt x="1292975" y="252806"/>
                  </a:lnTo>
                  <a:lnTo>
                    <a:pt x="1292975" y="253505"/>
                  </a:lnTo>
                  <a:lnTo>
                    <a:pt x="1292975" y="252120"/>
                  </a:lnTo>
                  <a:lnTo>
                    <a:pt x="1292975" y="252806"/>
                  </a:lnTo>
                  <a:lnTo>
                    <a:pt x="1292975" y="252120"/>
                  </a:lnTo>
                  <a:lnTo>
                    <a:pt x="1292975" y="252806"/>
                  </a:lnTo>
                  <a:lnTo>
                    <a:pt x="1293076" y="252806"/>
                  </a:lnTo>
                  <a:lnTo>
                    <a:pt x="1293076" y="251422"/>
                  </a:lnTo>
                  <a:lnTo>
                    <a:pt x="1293127" y="251422"/>
                  </a:lnTo>
                  <a:lnTo>
                    <a:pt x="1293127" y="249390"/>
                  </a:lnTo>
                  <a:lnTo>
                    <a:pt x="1293127" y="251422"/>
                  </a:lnTo>
                  <a:lnTo>
                    <a:pt x="1293178" y="251422"/>
                  </a:lnTo>
                  <a:lnTo>
                    <a:pt x="1293178" y="249390"/>
                  </a:lnTo>
                  <a:lnTo>
                    <a:pt x="1293178" y="252806"/>
                  </a:lnTo>
                  <a:lnTo>
                    <a:pt x="1293229" y="252120"/>
                  </a:lnTo>
                  <a:lnTo>
                    <a:pt x="1293229" y="251422"/>
                  </a:lnTo>
                  <a:lnTo>
                    <a:pt x="1293229" y="252806"/>
                  </a:lnTo>
                  <a:lnTo>
                    <a:pt x="1293318" y="252120"/>
                  </a:lnTo>
                  <a:lnTo>
                    <a:pt x="1293318" y="252806"/>
                  </a:lnTo>
                  <a:lnTo>
                    <a:pt x="1293318" y="252120"/>
                  </a:lnTo>
                  <a:lnTo>
                    <a:pt x="1293318" y="252806"/>
                  </a:lnTo>
                  <a:lnTo>
                    <a:pt x="1293369" y="252806"/>
                  </a:lnTo>
                  <a:lnTo>
                    <a:pt x="1293369" y="253505"/>
                  </a:lnTo>
                  <a:lnTo>
                    <a:pt x="1293369" y="252806"/>
                  </a:lnTo>
                  <a:lnTo>
                    <a:pt x="1293369" y="253505"/>
                  </a:lnTo>
                  <a:lnTo>
                    <a:pt x="1293419" y="253505"/>
                  </a:lnTo>
                  <a:lnTo>
                    <a:pt x="1293419" y="252806"/>
                  </a:lnTo>
                  <a:lnTo>
                    <a:pt x="1293419" y="253505"/>
                  </a:lnTo>
                  <a:lnTo>
                    <a:pt x="1293419" y="252806"/>
                  </a:lnTo>
                  <a:lnTo>
                    <a:pt x="1293419" y="253505"/>
                  </a:lnTo>
                  <a:lnTo>
                    <a:pt x="1293470" y="252806"/>
                  </a:lnTo>
                  <a:lnTo>
                    <a:pt x="1293470" y="253505"/>
                  </a:lnTo>
                  <a:lnTo>
                    <a:pt x="1293470" y="252806"/>
                  </a:lnTo>
                  <a:lnTo>
                    <a:pt x="1293470" y="253505"/>
                  </a:lnTo>
                  <a:lnTo>
                    <a:pt x="1293470" y="252806"/>
                  </a:lnTo>
                  <a:lnTo>
                    <a:pt x="1293572" y="252806"/>
                  </a:lnTo>
                  <a:lnTo>
                    <a:pt x="1293572" y="251422"/>
                  </a:lnTo>
                  <a:lnTo>
                    <a:pt x="1293572" y="252120"/>
                  </a:lnTo>
                  <a:lnTo>
                    <a:pt x="1293572" y="250088"/>
                  </a:lnTo>
                  <a:lnTo>
                    <a:pt x="1293622" y="249390"/>
                  </a:lnTo>
                  <a:lnTo>
                    <a:pt x="1293622" y="248691"/>
                  </a:lnTo>
                  <a:lnTo>
                    <a:pt x="1293622" y="249390"/>
                  </a:lnTo>
                  <a:lnTo>
                    <a:pt x="1293622" y="248044"/>
                  </a:lnTo>
                  <a:lnTo>
                    <a:pt x="1293622" y="248691"/>
                  </a:lnTo>
                  <a:lnTo>
                    <a:pt x="1293673" y="248044"/>
                  </a:lnTo>
                  <a:lnTo>
                    <a:pt x="1293673" y="250088"/>
                  </a:lnTo>
                  <a:lnTo>
                    <a:pt x="1293673" y="249390"/>
                  </a:lnTo>
                  <a:lnTo>
                    <a:pt x="1293673" y="250088"/>
                  </a:lnTo>
                  <a:lnTo>
                    <a:pt x="1293673" y="248044"/>
                  </a:lnTo>
                  <a:lnTo>
                    <a:pt x="1293673" y="249390"/>
                  </a:lnTo>
                  <a:lnTo>
                    <a:pt x="1293775" y="250088"/>
                  </a:lnTo>
                  <a:lnTo>
                    <a:pt x="1293775" y="252120"/>
                  </a:lnTo>
                  <a:lnTo>
                    <a:pt x="1293775" y="249390"/>
                  </a:lnTo>
                  <a:lnTo>
                    <a:pt x="1293775" y="250088"/>
                  </a:lnTo>
                  <a:lnTo>
                    <a:pt x="1293775" y="249390"/>
                  </a:lnTo>
                  <a:lnTo>
                    <a:pt x="1293775" y="251422"/>
                  </a:lnTo>
                  <a:lnTo>
                    <a:pt x="1293813" y="251422"/>
                  </a:lnTo>
                  <a:lnTo>
                    <a:pt x="1293813" y="252120"/>
                  </a:lnTo>
                  <a:lnTo>
                    <a:pt x="1293813" y="251422"/>
                  </a:lnTo>
                  <a:lnTo>
                    <a:pt x="1293813" y="252120"/>
                  </a:lnTo>
                  <a:lnTo>
                    <a:pt x="1293813" y="251422"/>
                  </a:lnTo>
                  <a:lnTo>
                    <a:pt x="1293813" y="252120"/>
                  </a:lnTo>
                  <a:lnTo>
                    <a:pt x="1293864" y="252120"/>
                  </a:lnTo>
                  <a:lnTo>
                    <a:pt x="1293864" y="252806"/>
                  </a:lnTo>
                  <a:lnTo>
                    <a:pt x="1293864" y="252120"/>
                  </a:lnTo>
                  <a:lnTo>
                    <a:pt x="1293864" y="252806"/>
                  </a:lnTo>
                  <a:lnTo>
                    <a:pt x="1293864" y="252120"/>
                  </a:lnTo>
                  <a:lnTo>
                    <a:pt x="1293864" y="252806"/>
                  </a:lnTo>
                  <a:lnTo>
                    <a:pt x="1293915" y="252806"/>
                  </a:lnTo>
                  <a:lnTo>
                    <a:pt x="1293915" y="253505"/>
                  </a:lnTo>
                  <a:lnTo>
                    <a:pt x="1293915" y="252806"/>
                  </a:lnTo>
                  <a:lnTo>
                    <a:pt x="1293915" y="253505"/>
                  </a:lnTo>
                  <a:lnTo>
                    <a:pt x="1294016" y="253505"/>
                  </a:lnTo>
                  <a:lnTo>
                    <a:pt x="1294016" y="252120"/>
                  </a:lnTo>
                  <a:lnTo>
                    <a:pt x="1294016" y="252806"/>
                  </a:lnTo>
                  <a:lnTo>
                    <a:pt x="1294067" y="252806"/>
                  </a:lnTo>
                  <a:lnTo>
                    <a:pt x="1294067" y="252120"/>
                  </a:lnTo>
                  <a:lnTo>
                    <a:pt x="1294067" y="252806"/>
                  </a:lnTo>
                  <a:lnTo>
                    <a:pt x="1294067" y="252120"/>
                  </a:lnTo>
                  <a:lnTo>
                    <a:pt x="1294067" y="252806"/>
                  </a:lnTo>
                  <a:lnTo>
                    <a:pt x="1294067" y="251422"/>
                  </a:lnTo>
                  <a:lnTo>
                    <a:pt x="1294118" y="251422"/>
                  </a:lnTo>
                  <a:lnTo>
                    <a:pt x="1294118" y="250088"/>
                  </a:lnTo>
                  <a:lnTo>
                    <a:pt x="1294118" y="251422"/>
                  </a:lnTo>
                  <a:lnTo>
                    <a:pt x="1294118" y="248691"/>
                  </a:lnTo>
                  <a:lnTo>
                    <a:pt x="1294118" y="249390"/>
                  </a:lnTo>
                  <a:lnTo>
                    <a:pt x="1294219" y="249390"/>
                  </a:lnTo>
                  <a:lnTo>
                    <a:pt x="1294219" y="248044"/>
                  </a:lnTo>
                  <a:lnTo>
                    <a:pt x="1294270" y="248044"/>
                  </a:lnTo>
                  <a:lnTo>
                    <a:pt x="1294270" y="249390"/>
                  </a:lnTo>
                  <a:lnTo>
                    <a:pt x="1294270" y="248691"/>
                  </a:lnTo>
                  <a:lnTo>
                    <a:pt x="1294321" y="248691"/>
                  </a:lnTo>
                  <a:lnTo>
                    <a:pt x="1294321" y="250088"/>
                  </a:lnTo>
                  <a:lnTo>
                    <a:pt x="1294359" y="250088"/>
                  </a:lnTo>
                  <a:lnTo>
                    <a:pt x="1294359" y="251422"/>
                  </a:lnTo>
                  <a:lnTo>
                    <a:pt x="1294359" y="250088"/>
                  </a:lnTo>
                  <a:lnTo>
                    <a:pt x="1294359" y="251422"/>
                  </a:lnTo>
                  <a:lnTo>
                    <a:pt x="1294359" y="250088"/>
                  </a:lnTo>
                  <a:lnTo>
                    <a:pt x="1294359" y="251422"/>
                  </a:lnTo>
                  <a:lnTo>
                    <a:pt x="1294461" y="251422"/>
                  </a:lnTo>
                  <a:lnTo>
                    <a:pt x="1294461" y="252120"/>
                  </a:lnTo>
                  <a:lnTo>
                    <a:pt x="1294461" y="251422"/>
                  </a:lnTo>
                  <a:lnTo>
                    <a:pt x="1294461" y="252806"/>
                  </a:lnTo>
                  <a:lnTo>
                    <a:pt x="1294461" y="252120"/>
                  </a:lnTo>
                  <a:lnTo>
                    <a:pt x="1294512" y="252120"/>
                  </a:lnTo>
                  <a:lnTo>
                    <a:pt x="1294512" y="252806"/>
                  </a:lnTo>
                  <a:lnTo>
                    <a:pt x="1294512" y="252120"/>
                  </a:lnTo>
                  <a:lnTo>
                    <a:pt x="1294512" y="253505"/>
                  </a:lnTo>
                  <a:lnTo>
                    <a:pt x="1294512" y="252806"/>
                  </a:lnTo>
                  <a:lnTo>
                    <a:pt x="1294562" y="252806"/>
                  </a:lnTo>
                  <a:lnTo>
                    <a:pt x="1294562" y="251422"/>
                  </a:lnTo>
                  <a:lnTo>
                    <a:pt x="1294562" y="252120"/>
                  </a:lnTo>
                  <a:lnTo>
                    <a:pt x="1294562" y="251422"/>
                  </a:lnTo>
                  <a:lnTo>
                    <a:pt x="1294562" y="252120"/>
                  </a:lnTo>
                  <a:lnTo>
                    <a:pt x="1294562" y="251422"/>
                  </a:lnTo>
                  <a:lnTo>
                    <a:pt x="1294664" y="251422"/>
                  </a:lnTo>
                  <a:lnTo>
                    <a:pt x="1294664" y="252120"/>
                  </a:lnTo>
                  <a:lnTo>
                    <a:pt x="1294664" y="250088"/>
                  </a:lnTo>
                  <a:lnTo>
                    <a:pt x="1294664" y="251422"/>
                  </a:lnTo>
                  <a:lnTo>
                    <a:pt x="1294664" y="250088"/>
                  </a:lnTo>
                  <a:lnTo>
                    <a:pt x="1294715" y="250088"/>
                  </a:lnTo>
                  <a:lnTo>
                    <a:pt x="1294715" y="251422"/>
                  </a:lnTo>
                  <a:lnTo>
                    <a:pt x="1294715" y="249390"/>
                  </a:lnTo>
                  <a:lnTo>
                    <a:pt x="1294715" y="251422"/>
                  </a:lnTo>
                  <a:lnTo>
                    <a:pt x="1294765" y="251422"/>
                  </a:lnTo>
                  <a:lnTo>
                    <a:pt x="1294765" y="252120"/>
                  </a:lnTo>
                  <a:lnTo>
                    <a:pt x="1294765" y="250088"/>
                  </a:lnTo>
                  <a:lnTo>
                    <a:pt x="1294765" y="251422"/>
                  </a:lnTo>
                  <a:lnTo>
                    <a:pt x="1294816" y="251422"/>
                  </a:lnTo>
                  <a:lnTo>
                    <a:pt x="1294816" y="252120"/>
                  </a:lnTo>
                  <a:lnTo>
                    <a:pt x="1294816" y="251422"/>
                  </a:lnTo>
                  <a:lnTo>
                    <a:pt x="1294816" y="252120"/>
                  </a:lnTo>
                  <a:lnTo>
                    <a:pt x="1294816" y="251422"/>
                  </a:lnTo>
                  <a:lnTo>
                    <a:pt x="1294816" y="252120"/>
                  </a:lnTo>
                  <a:lnTo>
                    <a:pt x="1294816" y="251422"/>
                  </a:lnTo>
                  <a:lnTo>
                    <a:pt x="1294816" y="252120"/>
                  </a:lnTo>
                  <a:lnTo>
                    <a:pt x="1294905" y="251422"/>
                  </a:lnTo>
                  <a:lnTo>
                    <a:pt x="1294905" y="252120"/>
                  </a:lnTo>
                  <a:lnTo>
                    <a:pt x="1294956" y="252120"/>
                  </a:lnTo>
                  <a:lnTo>
                    <a:pt x="1294956" y="251422"/>
                  </a:lnTo>
                  <a:lnTo>
                    <a:pt x="1295007" y="252120"/>
                  </a:lnTo>
                  <a:lnTo>
                    <a:pt x="1295007" y="251422"/>
                  </a:lnTo>
                  <a:lnTo>
                    <a:pt x="1295007" y="252120"/>
                  </a:lnTo>
                  <a:lnTo>
                    <a:pt x="1295007" y="251422"/>
                  </a:lnTo>
                  <a:lnTo>
                    <a:pt x="1295007" y="252120"/>
                  </a:lnTo>
                  <a:lnTo>
                    <a:pt x="1295007" y="251422"/>
                  </a:lnTo>
                  <a:lnTo>
                    <a:pt x="1295007" y="252806"/>
                  </a:lnTo>
                  <a:lnTo>
                    <a:pt x="1295007" y="252120"/>
                  </a:lnTo>
                  <a:lnTo>
                    <a:pt x="1295007" y="252806"/>
                  </a:lnTo>
                  <a:lnTo>
                    <a:pt x="1295007" y="252120"/>
                  </a:lnTo>
                  <a:lnTo>
                    <a:pt x="1295058" y="252120"/>
                  </a:lnTo>
                  <a:lnTo>
                    <a:pt x="1295058" y="251422"/>
                  </a:lnTo>
                  <a:lnTo>
                    <a:pt x="1295159" y="251422"/>
                  </a:lnTo>
                  <a:lnTo>
                    <a:pt x="1295159" y="250088"/>
                  </a:lnTo>
                  <a:lnTo>
                    <a:pt x="1295159" y="251422"/>
                  </a:lnTo>
                  <a:lnTo>
                    <a:pt x="1295159" y="249390"/>
                  </a:lnTo>
                  <a:lnTo>
                    <a:pt x="1295159" y="250088"/>
                  </a:lnTo>
                  <a:lnTo>
                    <a:pt x="1295210" y="251422"/>
                  </a:lnTo>
                  <a:lnTo>
                    <a:pt x="1295210" y="248691"/>
                  </a:lnTo>
                  <a:lnTo>
                    <a:pt x="1295210" y="252120"/>
                  </a:lnTo>
                  <a:lnTo>
                    <a:pt x="1295261" y="252120"/>
                  </a:lnTo>
                  <a:lnTo>
                    <a:pt x="1295261" y="252806"/>
                  </a:lnTo>
                  <a:lnTo>
                    <a:pt x="1295261" y="251422"/>
                  </a:lnTo>
                  <a:lnTo>
                    <a:pt x="1295261" y="252120"/>
                  </a:lnTo>
                  <a:lnTo>
                    <a:pt x="1295261" y="251422"/>
                  </a:lnTo>
                  <a:lnTo>
                    <a:pt x="1295261" y="252120"/>
                  </a:lnTo>
                  <a:lnTo>
                    <a:pt x="1295362" y="252120"/>
                  </a:lnTo>
                  <a:lnTo>
                    <a:pt x="1295362" y="251422"/>
                  </a:lnTo>
                  <a:lnTo>
                    <a:pt x="1295362" y="252120"/>
                  </a:lnTo>
                  <a:lnTo>
                    <a:pt x="1295362" y="251422"/>
                  </a:lnTo>
                  <a:lnTo>
                    <a:pt x="1295362" y="252120"/>
                  </a:lnTo>
                  <a:lnTo>
                    <a:pt x="1295362" y="251422"/>
                  </a:lnTo>
                  <a:lnTo>
                    <a:pt x="1295362" y="252120"/>
                  </a:lnTo>
                  <a:lnTo>
                    <a:pt x="1295400" y="252120"/>
                  </a:lnTo>
                  <a:lnTo>
                    <a:pt x="1295400" y="251422"/>
                  </a:lnTo>
                  <a:lnTo>
                    <a:pt x="1295400" y="252806"/>
                  </a:lnTo>
                  <a:lnTo>
                    <a:pt x="1295451" y="252120"/>
                  </a:lnTo>
                  <a:lnTo>
                    <a:pt x="1295451" y="252806"/>
                  </a:lnTo>
                  <a:lnTo>
                    <a:pt x="1295451" y="251422"/>
                  </a:lnTo>
                  <a:lnTo>
                    <a:pt x="1295451" y="252120"/>
                  </a:lnTo>
                  <a:lnTo>
                    <a:pt x="1295502" y="252120"/>
                  </a:lnTo>
                  <a:lnTo>
                    <a:pt x="1295604" y="251422"/>
                  </a:lnTo>
                  <a:lnTo>
                    <a:pt x="1295604" y="252120"/>
                  </a:lnTo>
                  <a:lnTo>
                    <a:pt x="1295604" y="250088"/>
                  </a:lnTo>
                  <a:lnTo>
                    <a:pt x="1295604" y="251422"/>
                  </a:lnTo>
                  <a:lnTo>
                    <a:pt x="1295604" y="249390"/>
                  </a:lnTo>
                  <a:lnTo>
                    <a:pt x="1295604" y="250088"/>
                  </a:lnTo>
                  <a:lnTo>
                    <a:pt x="1295655" y="250088"/>
                  </a:lnTo>
                  <a:lnTo>
                    <a:pt x="1295655" y="249390"/>
                  </a:lnTo>
                  <a:lnTo>
                    <a:pt x="1295655" y="250088"/>
                  </a:lnTo>
                  <a:lnTo>
                    <a:pt x="1295655" y="249390"/>
                  </a:lnTo>
                  <a:lnTo>
                    <a:pt x="1295655" y="251422"/>
                  </a:lnTo>
                  <a:lnTo>
                    <a:pt x="1295655" y="250088"/>
                  </a:lnTo>
                  <a:lnTo>
                    <a:pt x="1295655" y="251422"/>
                  </a:lnTo>
                  <a:lnTo>
                    <a:pt x="1295705" y="251422"/>
                  </a:lnTo>
                  <a:lnTo>
                    <a:pt x="1295705" y="250088"/>
                  </a:lnTo>
                  <a:lnTo>
                    <a:pt x="1295705" y="252120"/>
                  </a:lnTo>
                  <a:lnTo>
                    <a:pt x="1295807" y="252120"/>
                  </a:lnTo>
                  <a:lnTo>
                    <a:pt x="1295807" y="253505"/>
                  </a:lnTo>
                  <a:lnTo>
                    <a:pt x="1295807" y="252806"/>
                  </a:lnTo>
                  <a:lnTo>
                    <a:pt x="1295858" y="253505"/>
                  </a:lnTo>
                  <a:lnTo>
                    <a:pt x="1295858" y="252806"/>
                  </a:lnTo>
                  <a:lnTo>
                    <a:pt x="1295858" y="253505"/>
                  </a:lnTo>
                  <a:lnTo>
                    <a:pt x="1295858" y="252806"/>
                  </a:lnTo>
                  <a:lnTo>
                    <a:pt x="1295858" y="253505"/>
                  </a:lnTo>
                  <a:lnTo>
                    <a:pt x="1295858" y="252806"/>
                  </a:lnTo>
                  <a:lnTo>
                    <a:pt x="1295909" y="252806"/>
                  </a:lnTo>
                  <a:lnTo>
                    <a:pt x="1295909" y="253505"/>
                  </a:lnTo>
                  <a:lnTo>
                    <a:pt x="1295909" y="252806"/>
                  </a:lnTo>
                  <a:lnTo>
                    <a:pt x="1295909" y="253505"/>
                  </a:lnTo>
                  <a:lnTo>
                    <a:pt x="1295909" y="252806"/>
                  </a:lnTo>
                  <a:lnTo>
                    <a:pt x="1295909" y="253505"/>
                  </a:lnTo>
                  <a:lnTo>
                    <a:pt x="1295909" y="252806"/>
                  </a:lnTo>
                  <a:lnTo>
                    <a:pt x="1295947" y="252806"/>
                  </a:lnTo>
                  <a:lnTo>
                    <a:pt x="1295947" y="253505"/>
                  </a:lnTo>
                  <a:lnTo>
                    <a:pt x="1295947" y="252806"/>
                  </a:lnTo>
                  <a:lnTo>
                    <a:pt x="1295947" y="253505"/>
                  </a:lnTo>
                  <a:lnTo>
                    <a:pt x="1295947" y="252806"/>
                  </a:lnTo>
                  <a:lnTo>
                    <a:pt x="1295947" y="253505"/>
                  </a:lnTo>
                  <a:lnTo>
                    <a:pt x="1296048" y="252806"/>
                  </a:lnTo>
                  <a:lnTo>
                    <a:pt x="1296048" y="253505"/>
                  </a:lnTo>
                  <a:lnTo>
                    <a:pt x="1296048" y="252120"/>
                  </a:lnTo>
                  <a:lnTo>
                    <a:pt x="1296048" y="252806"/>
                  </a:lnTo>
                  <a:lnTo>
                    <a:pt x="1296048" y="252120"/>
                  </a:lnTo>
                  <a:lnTo>
                    <a:pt x="1296099" y="252120"/>
                  </a:lnTo>
                  <a:lnTo>
                    <a:pt x="1296099" y="250088"/>
                  </a:lnTo>
                  <a:lnTo>
                    <a:pt x="1296099" y="251422"/>
                  </a:lnTo>
                  <a:lnTo>
                    <a:pt x="1296099" y="250088"/>
                  </a:lnTo>
                  <a:lnTo>
                    <a:pt x="1296150" y="250088"/>
                  </a:lnTo>
                  <a:lnTo>
                    <a:pt x="1296150" y="248691"/>
                  </a:lnTo>
                  <a:lnTo>
                    <a:pt x="1296150" y="251422"/>
                  </a:lnTo>
                  <a:lnTo>
                    <a:pt x="1296251" y="250088"/>
                  </a:lnTo>
                  <a:lnTo>
                    <a:pt x="1296251" y="248691"/>
                  </a:lnTo>
                  <a:lnTo>
                    <a:pt x="1296251" y="252120"/>
                  </a:lnTo>
                  <a:lnTo>
                    <a:pt x="1296251" y="251422"/>
                  </a:lnTo>
                  <a:lnTo>
                    <a:pt x="1296302" y="250088"/>
                  </a:lnTo>
                  <a:lnTo>
                    <a:pt x="1296302" y="251422"/>
                  </a:lnTo>
                  <a:lnTo>
                    <a:pt x="1296302" y="250088"/>
                  </a:lnTo>
                  <a:lnTo>
                    <a:pt x="1296302" y="252806"/>
                  </a:lnTo>
                  <a:lnTo>
                    <a:pt x="1296302" y="252120"/>
                  </a:lnTo>
                  <a:lnTo>
                    <a:pt x="1296353" y="252120"/>
                  </a:lnTo>
                  <a:lnTo>
                    <a:pt x="1296353" y="251422"/>
                  </a:lnTo>
                  <a:lnTo>
                    <a:pt x="1296353" y="252806"/>
                  </a:lnTo>
                  <a:lnTo>
                    <a:pt x="1296353" y="252120"/>
                  </a:lnTo>
                  <a:lnTo>
                    <a:pt x="1296404" y="252120"/>
                  </a:lnTo>
                  <a:lnTo>
                    <a:pt x="1296404" y="253505"/>
                  </a:lnTo>
                  <a:lnTo>
                    <a:pt x="1296404" y="252806"/>
                  </a:lnTo>
                  <a:lnTo>
                    <a:pt x="1296493" y="252806"/>
                  </a:lnTo>
                  <a:lnTo>
                    <a:pt x="1296493" y="253505"/>
                  </a:lnTo>
                  <a:lnTo>
                    <a:pt x="1296493" y="252806"/>
                  </a:lnTo>
                  <a:lnTo>
                    <a:pt x="1296493" y="253505"/>
                  </a:lnTo>
                  <a:lnTo>
                    <a:pt x="1296544" y="252806"/>
                  </a:lnTo>
                  <a:lnTo>
                    <a:pt x="1296544" y="253505"/>
                  </a:lnTo>
                  <a:lnTo>
                    <a:pt x="1296544" y="252806"/>
                  </a:lnTo>
                  <a:lnTo>
                    <a:pt x="1296594" y="252806"/>
                  </a:lnTo>
                  <a:lnTo>
                    <a:pt x="1296594" y="251422"/>
                  </a:lnTo>
                  <a:lnTo>
                    <a:pt x="1296594" y="252120"/>
                  </a:lnTo>
                  <a:lnTo>
                    <a:pt x="1296594" y="250088"/>
                  </a:lnTo>
                  <a:lnTo>
                    <a:pt x="1296645" y="250088"/>
                  </a:lnTo>
                  <a:lnTo>
                    <a:pt x="1296645" y="248691"/>
                  </a:lnTo>
                  <a:lnTo>
                    <a:pt x="1296645" y="249390"/>
                  </a:lnTo>
                  <a:lnTo>
                    <a:pt x="1296645" y="248691"/>
                  </a:lnTo>
                  <a:lnTo>
                    <a:pt x="1296645" y="250088"/>
                  </a:lnTo>
                  <a:lnTo>
                    <a:pt x="1296645" y="249390"/>
                  </a:lnTo>
                  <a:lnTo>
                    <a:pt x="1296747" y="249390"/>
                  </a:lnTo>
                  <a:lnTo>
                    <a:pt x="1296747" y="248691"/>
                  </a:lnTo>
                  <a:lnTo>
                    <a:pt x="1296747" y="249390"/>
                  </a:lnTo>
                  <a:lnTo>
                    <a:pt x="1296747" y="248691"/>
                  </a:lnTo>
                  <a:lnTo>
                    <a:pt x="1296747" y="252120"/>
                  </a:lnTo>
                  <a:lnTo>
                    <a:pt x="1296747" y="250088"/>
                  </a:lnTo>
                  <a:lnTo>
                    <a:pt x="1296797" y="250088"/>
                  </a:lnTo>
                  <a:lnTo>
                    <a:pt x="1296797" y="252806"/>
                  </a:lnTo>
                  <a:lnTo>
                    <a:pt x="1296797" y="251422"/>
                  </a:lnTo>
                  <a:lnTo>
                    <a:pt x="1296797" y="252120"/>
                  </a:lnTo>
                  <a:lnTo>
                    <a:pt x="1296848" y="251422"/>
                  </a:lnTo>
                  <a:lnTo>
                    <a:pt x="1296848" y="252120"/>
                  </a:lnTo>
                  <a:lnTo>
                    <a:pt x="1296950" y="252806"/>
                  </a:lnTo>
                  <a:lnTo>
                    <a:pt x="1296950" y="252120"/>
                  </a:lnTo>
                  <a:lnTo>
                    <a:pt x="1296950" y="252806"/>
                  </a:lnTo>
                  <a:lnTo>
                    <a:pt x="1296950" y="252120"/>
                  </a:lnTo>
                  <a:lnTo>
                    <a:pt x="1296950" y="253505"/>
                  </a:lnTo>
                  <a:lnTo>
                    <a:pt x="1296950" y="252120"/>
                  </a:lnTo>
                  <a:lnTo>
                    <a:pt x="1296988" y="252120"/>
                  </a:lnTo>
                  <a:lnTo>
                    <a:pt x="1296988" y="252806"/>
                  </a:lnTo>
                  <a:lnTo>
                    <a:pt x="1296988" y="252120"/>
                  </a:lnTo>
                  <a:lnTo>
                    <a:pt x="1296988" y="252806"/>
                  </a:lnTo>
                  <a:lnTo>
                    <a:pt x="1296988" y="252120"/>
                  </a:lnTo>
                  <a:lnTo>
                    <a:pt x="1296988" y="253505"/>
                  </a:lnTo>
                  <a:lnTo>
                    <a:pt x="1296988" y="252806"/>
                  </a:lnTo>
                  <a:lnTo>
                    <a:pt x="1297039" y="252806"/>
                  </a:lnTo>
                  <a:lnTo>
                    <a:pt x="1297039" y="252120"/>
                  </a:lnTo>
                  <a:lnTo>
                    <a:pt x="1297039" y="252806"/>
                  </a:lnTo>
                  <a:lnTo>
                    <a:pt x="1297039" y="252120"/>
                  </a:lnTo>
                  <a:lnTo>
                    <a:pt x="1297090" y="252806"/>
                  </a:lnTo>
                  <a:lnTo>
                    <a:pt x="1297090" y="252120"/>
                  </a:lnTo>
                  <a:lnTo>
                    <a:pt x="1297090" y="252806"/>
                  </a:lnTo>
                  <a:lnTo>
                    <a:pt x="1297090" y="250088"/>
                  </a:lnTo>
                  <a:lnTo>
                    <a:pt x="1297191" y="251422"/>
                  </a:lnTo>
                  <a:lnTo>
                    <a:pt x="1297191" y="252120"/>
                  </a:lnTo>
                  <a:lnTo>
                    <a:pt x="1297191" y="250088"/>
                  </a:lnTo>
                  <a:lnTo>
                    <a:pt x="1297191" y="251422"/>
                  </a:lnTo>
                  <a:lnTo>
                    <a:pt x="1297191" y="250088"/>
                  </a:lnTo>
                  <a:lnTo>
                    <a:pt x="1297191" y="251422"/>
                  </a:lnTo>
                  <a:lnTo>
                    <a:pt x="1297191" y="250088"/>
                  </a:lnTo>
                  <a:lnTo>
                    <a:pt x="1297191" y="251422"/>
                  </a:lnTo>
                  <a:lnTo>
                    <a:pt x="1297242" y="252120"/>
                  </a:lnTo>
                  <a:lnTo>
                    <a:pt x="1297242" y="252806"/>
                  </a:lnTo>
                  <a:lnTo>
                    <a:pt x="1297242" y="251422"/>
                  </a:lnTo>
                  <a:lnTo>
                    <a:pt x="1297242" y="252120"/>
                  </a:lnTo>
                  <a:lnTo>
                    <a:pt x="1297293" y="252120"/>
                  </a:lnTo>
                  <a:lnTo>
                    <a:pt x="1297293" y="252806"/>
                  </a:lnTo>
                  <a:lnTo>
                    <a:pt x="1297293" y="251422"/>
                  </a:lnTo>
                  <a:lnTo>
                    <a:pt x="1297394" y="251422"/>
                  </a:lnTo>
                  <a:lnTo>
                    <a:pt x="1297394" y="252120"/>
                  </a:lnTo>
                  <a:lnTo>
                    <a:pt x="1297394" y="251422"/>
                  </a:lnTo>
                  <a:lnTo>
                    <a:pt x="1297394" y="252120"/>
                  </a:lnTo>
                  <a:lnTo>
                    <a:pt x="1297445" y="251422"/>
                  </a:lnTo>
                  <a:lnTo>
                    <a:pt x="1297445" y="252120"/>
                  </a:lnTo>
                  <a:lnTo>
                    <a:pt x="1297445" y="251422"/>
                  </a:lnTo>
                  <a:lnTo>
                    <a:pt x="1297445" y="252120"/>
                  </a:lnTo>
                  <a:lnTo>
                    <a:pt x="1297496" y="252120"/>
                  </a:lnTo>
                  <a:lnTo>
                    <a:pt x="1297496" y="252806"/>
                  </a:lnTo>
                  <a:lnTo>
                    <a:pt x="1297496" y="251422"/>
                  </a:lnTo>
                  <a:lnTo>
                    <a:pt x="1297496" y="252806"/>
                  </a:lnTo>
                  <a:lnTo>
                    <a:pt x="1297496" y="252120"/>
                  </a:lnTo>
                  <a:lnTo>
                    <a:pt x="1297534" y="252120"/>
                  </a:lnTo>
                  <a:lnTo>
                    <a:pt x="1297534" y="251422"/>
                  </a:lnTo>
                  <a:lnTo>
                    <a:pt x="1297534" y="252120"/>
                  </a:lnTo>
                  <a:lnTo>
                    <a:pt x="1297534" y="250088"/>
                  </a:lnTo>
                  <a:lnTo>
                    <a:pt x="1297636" y="250088"/>
                  </a:lnTo>
                  <a:lnTo>
                    <a:pt x="1297636" y="249390"/>
                  </a:lnTo>
                  <a:lnTo>
                    <a:pt x="1297636" y="250088"/>
                  </a:lnTo>
                  <a:lnTo>
                    <a:pt x="1297636" y="249390"/>
                  </a:lnTo>
                  <a:lnTo>
                    <a:pt x="1297636" y="251422"/>
                  </a:lnTo>
                  <a:lnTo>
                    <a:pt x="1297636" y="250088"/>
                  </a:lnTo>
                  <a:lnTo>
                    <a:pt x="1297687" y="250088"/>
                  </a:lnTo>
                  <a:lnTo>
                    <a:pt x="1297687" y="249390"/>
                  </a:lnTo>
                  <a:lnTo>
                    <a:pt x="1297687" y="252806"/>
                  </a:lnTo>
                  <a:lnTo>
                    <a:pt x="1297687" y="252120"/>
                  </a:lnTo>
                  <a:lnTo>
                    <a:pt x="1297737" y="252120"/>
                  </a:lnTo>
                  <a:lnTo>
                    <a:pt x="1297737" y="251422"/>
                  </a:lnTo>
                  <a:lnTo>
                    <a:pt x="1297737" y="252806"/>
                  </a:lnTo>
                  <a:lnTo>
                    <a:pt x="1297839" y="252806"/>
                  </a:lnTo>
                  <a:lnTo>
                    <a:pt x="1297839" y="251422"/>
                  </a:lnTo>
                  <a:lnTo>
                    <a:pt x="1297839" y="252806"/>
                  </a:lnTo>
                  <a:lnTo>
                    <a:pt x="1297839" y="252120"/>
                  </a:lnTo>
                  <a:lnTo>
                    <a:pt x="1297890" y="252120"/>
                  </a:lnTo>
                  <a:lnTo>
                    <a:pt x="1297890" y="252806"/>
                  </a:lnTo>
                  <a:lnTo>
                    <a:pt x="1297890" y="252120"/>
                  </a:lnTo>
                  <a:lnTo>
                    <a:pt x="1297940" y="252120"/>
                  </a:lnTo>
                  <a:lnTo>
                    <a:pt x="1297940" y="252806"/>
                  </a:lnTo>
                  <a:lnTo>
                    <a:pt x="1297940" y="252120"/>
                  </a:lnTo>
                  <a:lnTo>
                    <a:pt x="1297940" y="252806"/>
                  </a:lnTo>
                  <a:lnTo>
                    <a:pt x="1297940" y="251422"/>
                  </a:lnTo>
                  <a:lnTo>
                    <a:pt x="1297940" y="252806"/>
                  </a:lnTo>
                  <a:lnTo>
                    <a:pt x="1297991" y="252120"/>
                  </a:lnTo>
                  <a:lnTo>
                    <a:pt x="1297991" y="251422"/>
                  </a:lnTo>
                  <a:lnTo>
                    <a:pt x="1297991" y="252120"/>
                  </a:lnTo>
                  <a:lnTo>
                    <a:pt x="1297991" y="251422"/>
                  </a:lnTo>
                  <a:lnTo>
                    <a:pt x="1298080" y="251422"/>
                  </a:lnTo>
                  <a:lnTo>
                    <a:pt x="1298080" y="249390"/>
                  </a:lnTo>
                  <a:lnTo>
                    <a:pt x="1298131" y="248691"/>
                  </a:lnTo>
                  <a:lnTo>
                    <a:pt x="1298131" y="251422"/>
                  </a:lnTo>
                  <a:lnTo>
                    <a:pt x="1298131" y="249390"/>
                  </a:lnTo>
                  <a:lnTo>
                    <a:pt x="1298182" y="249390"/>
                  </a:lnTo>
                  <a:lnTo>
                    <a:pt x="1298182" y="248691"/>
                  </a:lnTo>
                  <a:lnTo>
                    <a:pt x="1298182" y="253505"/>
                  </a:lnTo>
                  <a:lnTo>
                    <a:pt x="1298182" y="250088"/>
                  </a:lnTo>
                  <a:lnTo>
                    <a:pt x="1298233" y="251422"/>
                  </a:lnTo>
                  <a:lnTo>
                    <a:pt x="1298233" y="252120"/>
                  </a:lnTo>
                  <a:lnTo>
                    <a:pt x="1298233" y="251422"/>
                  </a:lnTo>
                  <a:lnTo>
                    <a:pt x="1298233" y="252806"/>
                  </a:lnTo>
                  <a:lnTo>
                    <a:pt x="1298233" y="252120"/>
                  </a:lnTo>
                  <a:lnTo>
                    <a:pt x="1298334" y="252120"/>
                  </a:lnTo>
                  <a:lnTo>
                    <a:pt x="1298334" y="252806"/>
                  </a:lnTo>
                  <a:lnTo>
                    <a:pt x="1298334" y="251422"/>
                  </a:lnTo>
                  <a:lnTo>
                    <a:pt x="1298385" y="252120"/>
                  </a:lnTo>
                  <a:lnTo>
                    <a:pt x="1298385" y="252806"/>
                  </a:lnTo>
                  <a:lnTo>
                    <a:pt x="1298436" y="252806"/>
                  </a:lnTo>
                  <a:lnTo>
                    <a:pt x="1298436" y="252120"/>
                  </a:lnTo>
                  <a:lnTo>
                    <a:pt x="1298436" y="252806"/>
                  </a:lnTo>
                  <a:lnTo>
                    <a:pt x="1298436" y="252120"/>
                  </a:lnTo>
                  <a:lnTo>
                    <a:pt x="1298436" y="252806"/>
                  </a:lnTo>
                  <a:lnTo>
                    <a:pt x="1298436" y="252120"/>
                  </a:lnTo>
                  <a:lnTo>
                    <a:pt x="1298436" y="252806"/>
                  </a:lnTo>
                  <a:lnTo>
                    <a:pt x="1298436" y="252120"/>
                  </a:lnTo>
                  <a:lnTo>
                    <a:pt x="1298436" y="252806"/>
                  </a:lnTo>
                  <a:lnTo>
                    <a:pt x="1298436" y="252120"/>
                  </a:lnTo>
                  <a:lnTo>
                    <a:pt x="1298537" y="252806"/>
                  </a:lnTo>
                  <a:lnTo>
                    <a:pt x="1298537" y="252120"/>
                  </a:lnTo>
                  <a:lnTo>
                    <a:pt x="1298537" y="252806"/>
                  </a:lnTo>
                  <a:lnTo>
                    <a:pt x="1298537" y="251422"/>
                  </a:lnTo>
                  <a:lnTo>
                    <a:pt x="1298537" y="252120"/>
                  </a:lnTo>
                  <a:lnTo>
                    <a:pt x="1298537" y="251422"/>
                  </a:lnTo>
                  <a:lnTo>
                    <a:pt x="1298575" y="251422"/>
                  </a:lnTo>
                  <a:lnTo>
                    <a:pt x="1298575" y="248691"/>
                  </a:lnTo>
                  <a:lnTo>
                    <a:pt x="1298575" y="249390"/>
                  </a:lnTo>
                  <a:lnTo>
                    <a:pt x="1298575" y="248691"/>
                  </a:lnTo>
                  <a:lnTo>
                    <a:pt x="1298626" y="248691"/>
                  </a:lnTo>
                  <a:lnTo>
                    <a:pt x="1298626" y="251422"/>
                  </a:lnTo>
                  <a:lnTo>
                    <a:pt x="1298626" y="248691"/>
                  </a:lnTo>
                  <a:lnTo>
                    <a:pt x="1298626" y="250088"/>
                  </a:lnTo>
                  <a:lnTo>
                    <a:pt x="1298677" y="251422"/>
                  </a:lnTo>
                  <a:lnTo>
                    <a:pt x="1298677" y="252806"/>
                  </a:lnTo>
                  <a:lnTo>
                    <a:pt x="1298677" y="250088"/>
                  </a:lnTo>
                  <a:lnTo>
                    <a:pt x="1298677" y="252120"/>
                  </a:lnTo>
                  <a:lnTo>
                    <a:pt x="1298779" y="252806"/>
                  </a:lnTo>
                  <a:lnTo>
                    <a:pt x="1298779" y="251422"/>
                  </a:lnTo>
                  <a:lnTo>
                    <a:pt x="1298779" y="252806"/>
                  </a:lnTo>
                  <a:lnTo>
                    <a:pt x="1298830" y="252806"/>
                  </a:lnTo>
                  <a:lnTo>
                    <a:pt x="1298830" y="252120"/>
                  </a:lnTo>
                  <a:lnTo>
                    <a:pt x="1298830" y="252806"/>
                  </a:lnTo>
                  <a:lnTo>
                    <a:pt x="1298830" y="252120"/>
                  </a:lnTo>
                  <a:lnTo>
                    <a:pt x="1298830" y="252806"/>
                  </a:lnTo>
                  <a:lnTo>
                    <a:pt x="1298830" y="252120"/>
                  </a:lnTo>
                  <a:lnTo>
                    <a:pt x="1298830" y="252806"/>
                  </a:lnTo>
                  <a:lnTo>
                    <a:pt x="1298830" y="252120"/>
                  </a:lnTo>
                  <a:lnTo>
                    <a:pt x="1298880" y="252120"/>
                  </a:lnTo>
                  <a:lnTo>
                    <a:pt x="1298880" y="252806"/>
                  </a:lnTo>
                  <a:lnTo>
                    <a:pt x="1298880" y="252120"/>
                  </a:lnTo>
                  <a:lnTo>
                    <a:pt x="1298880" y="252806"/>
                  </a:lnTo>
                  <a:lnTo>
                    <a:pt x="1298880" y="252120"/>
                  </a:lnTo>
                  <a:lnTo>
                    <a:pt x="1298880" y="252806"/>
                  </a:lnTo>
                  <a:lnTo>
                    <a:pt x="1298982" y="252806"/>
                  </a:lnTo>
                  <a:lnTo>
                    <a:pt x="1298982" y="252120"/>
                  </a:lnTo>
                  <a:lnTo>
                    <a:pt x="1298982" y="252806"/>
                  </a:lnTo>
                  <a:lnTo>
                    <a:pt x="1298982" y="251422"/>
                  </a:lnTo>
                  <a:lnTo>
                    <a:pt x="1298982" y="252120"/>
                  </a:lnTo>
                  <a:lnTo>
                    <a:pt x="1298982" y="251422"/>
                  </a:lnTo>
                  <a:lnTo>
                    <a:pt x="1298982" y="252120"/>
                  </a:lnTo>
                  <a:lnTo>
                    <a:pt x="1299033" y="252120"/>
                  </a:lnTo>
                  <a:lnTo>
                    <a:pt x="1299033" y="251422"/>
                  </a:lnTo>
                  <a:lnTo>
                    <a:pt x="1299033" y="252120"/>
                  </a:lnTo>
                  <a:lnTo>
                    <a:pt x="1299033" y="249390"/>
                  </a:lnTo>
                  <a:lnTo>
                    <a:pt x="1299084" y="249390"/>
                  </a:lnTo>
                  <a:lnTo>
                    <a:pt x="1299084" y="248044"/>
                  </a:lnTo>
                  <a:lnTo>
                    <a:pt x="1299084" y="249390"/>
                  </a:lnTo>
                  <a:lnTo>
                    <a:pt x="1299122" y="249390"/>
                  </a:lnTo>
                  <a:lnTo>
                    <a:pt x="1299122" y="250088"/>
                  </a:lnTo>
                  <a:lnTo>
                    <a:pt x="1299122" y="248691"/>
                  </a:lnTo>
                  <a:lnTo>
                    <a:pt x="1299122" y="252120"/>
                  </a:lnTo>
                  <a:lnTo>
                    <a:pt x="1299223" y="251422"/>
                  </a:lnTo>
                  <a:lnTo>
                    <a:pt x="1299223" y="252120"/>
                  </a:lnTo>
                  <a:lnTo>
                    <a:pt x="1299223" y="249390"/>
                  </a:lnTo>
                  <a:lnTo>
                    <a:pt x="1299223" y="252120"/>
                  </a:lnTo>
                  <a:lnTo>
                    <a:pt x="1299274" y="251422"/>
                  </a:lnTo>
                  <a:lnTo>
                    <a:pt x="1299274" y="250088"/>
                  </a:lnTo>
                  <a:lnTo>
                    <a:pt x="1299274" y="252120"/>
                  </a:lnTo>
                  <a:lnTo>
                    <a:pt x="1299325" y="251422"/>
                  </a:lnTo>
                  <a:lnTo>
                    <a:pt x="1299325" y="252120"/>
                  </a:lnTo>
                  <a:lnTo>
                    <a:pt x="1299325" y="250088"/>
                  </a:lnTo>
                  <a:lnTo>
                    <a:pt x="1299325" y="251422"/>
                  </a:lnTo>
                  <a:lnTo>
                    <a:pt x="1299426" y="251422"/>
                  </a:lnTo>
                  <a:lnTo>
                    <a:pt x="1299426" y="252120"/>
                  </a:lnTo>
                  <a:lnTo>
                    <a:pt x="1299426" y="251422"/>
                  </a:lnTo>
                  <a:lnTo>
                    <a:pt x="1299426" y="252806"/>
                  </a:lnTo>
                  <a:lnTo>
                    <a:pt x="1299426" y="252120"/>
                  </a:lnTo>
                  <a:lnTo>
                    <a:pt x="1299477" y="252120"/>
                  </a:lnTo>
                  <a:lnTo>
                    <a:pt x="1299477" y="251422"/>
                  </a:lnTo>
                  <a:lnTo>
                    <a:pt x="1299477" y="252120"/>
                  </a:lnTo>
                  <a:lnTo>
                    <a:pt x="1299477" y="251422"/>
                  </a:lnTo>
                  <a:lnTo>
                    <a:pt x="1299477" y="252120"/>
                  </a:lnTo>
                  <a:lnTo>
                    <a:pt x="1299528" y="252120"/>
                  </a:lnTo>
                  <a:lnTo>
                    <a:pt x="1299528" y="250088"/>
                  </a:lnTo>
                  <a:lnTo>
                    <a:pt x="1299528" y="251422"/>
                  </a:lnTo>
                  <a:lnTo>
                    <a:pt x="1299528" y="249390"/>
                  </a:lnTo>
                  <a:lnTo>
                    <a:pt x="1299528" y="250088"/>
                  </a:lnTo>
                  <a:lnTo>
                    <a:pt x="1299528" y="249390"/>
                  </a:lnTo>
                  <a:lnTo>
                    <a:pt x="1299579" y="249390"/>
                  </a:lnTo>
                  <a:lnTo>
                    <a:pt x="1299579" y="246659"/>
                  </a:lnTo>
                  <a:lnTo>
                    <a:pt x="1299579" y="248691"/>
                  </a:lnTo>
                  <a:lnTo>
                    <a:pt x="1299668" y="248691"/>
                  </a:lnTo>
                  <a:lnTo>
                    <a:pt x="1299668" y="249390"/>
                  </a:lnTo>
                  <a:lnTo>
                    <a:pt x="1299668" y="246659"/>
                  </a:lnTo>
                  <a:lnTo>
                    <a:pt x="1299668" y="250088"/>
                  </a:lnTo>
                  <a:lnTo>
                    <a:pt x="1299719" y="250088"/>
                  </a:lnTo>
                  <a:lnTo>
                    <a:pt x="1299719" y="248691"/>
                  </a:lnTo>
                  <a:lnTo>
                    <a:pt x="1299719" y="251422"/>
                  </a:lnTo>
                  <a:lnTo>
                    <a:pt x="1299719" y="250088"/>
                  </a:lnTo>
                  <a:lnTo>
                    <a:pt x="1299769" y="250088"/>
                  </a:lnTo>
                  <a:lnTo>
                    <a:pt x="1299769" y="249390"/>
                  </a:lnTo>
                  <a:lnTo>
                    <a:pt x="1299769" y="251422"/>
                  </a:lnTo>
                  <a:lnTo>
                    <a:pt x="1299769" y="250088"/>
                  </a:lnTo>
                  <a:lnTo>
                    <a:pt x="1299820" y="249390"/>
                  </a:lnTo>
                  <a:lnTo>
                    <a:pt x="1299820" y="251422"/>
                  </a:lnTo>
                  <a:lnTo>
                    <a:pt x="1299820" y="250088"/>
                  </a:lnTo>
                  <a:lnTo>
                    <a:pt x="1299820" y="251422"/>
                  </a:lnTo>
                  <a:lnTo>
                    <a:pt x="1299820" y="250088"/>
                  </a:lnTo>
                  <a:lnTo>
                    <a:pt x="1299820" y="251422"/>
                  </a:lnTo>
                  <a:lnTo>
                    <a:pt x="1299922" y="251422"/>
                  </a:lnTo>
                  <a:lnTo>
                    <a:pt x="1299922" y="252806"/>
                  </a:lnTo>
                  <a:lnTo>
                    <a:pt x="1299922" y="252120"/>
                  </a:lnTo>
                  <a:lnTo>
                    <a:pt x="1299972" y="252120"/>
                  </a:lnTo>
                  <a:lnTo>
                    <a:pt x="1299972" y="252806"/>
                  </a:lnTo>
                  <a:lnTo>
                    <a:pt x="1299972" y="252120"/>
                  </a:lnTo>
                  <a:lnTo>
                    <a:pt x="1299972" y="252806"/>
                  </a:lnTo>
                  <a:lnTo>
                    <a:pt x="1299972" y="251422"/>
                  </a:lnTo>
                  <a:lnTo>
                    <a:pt x="1299972" y="252120"/>
                  </a:lnTo>
                  <a:lnTo>
                    <a:pt x="1300023" y="251422"/>
                  </a:lnTo>
                  <a:lnTo>
                    <a:pt x="1300023" y="249390"/>
                  </a:lnTo>
                  <a:lnTo>
                    <a:pt x="1300125" y="249390"/>
                  </a:lnTo>
                  <a:lnTo>
                    <a:pt x="1300125" y="248044"/>
                  </a:lnTo>
                  <a:lnTo>
                    <a:pt x="1300125" y="249390"/>
                  </a:lnTo>
                  <a:lnTo>
                    <a:pt x="1300125" y="248691"/>
                  </a:lnTo>
                  <a:lnTo>
                    <a:pt x="1300163" y="248691"/>
                  </a:lnTo>
                  <a:lnTo>
                    <a:pt x="1300163" y="248044"/>
                  </a:lnTo>
                  <a:lnTo>
                    <a:pt x="1300163" y="251422"/>
                  </a:lnTo>
                  <a:lnTo>
                    <a:pt x="1300163" y="250088"/>
                  </a:lnTo>
                  <a:lnTo>
                    <a:pt x="1300214" y="250088"/>
                  </a:lnTo>
                  <a:lnTo>
                    <a:pt x="1300214" y="249390"/>
                  </a:lnTo>
                  <a:lnTo>
                    <a:pt x="1300214" y="250088"/>
                  </a:lnTo>
                  <a:lnTo>
                    <a:pt x="1300214" y="249390"/>
                  </a:lnTo>
                  <a:lnTo>
                    <a:pt x="1300265" y="249390"/>
                  </a:lnTo>
                  <a:lnTo>
                    <a:pt x="1300265" y="250088"/>
                  </a:lnTo>
                  <a:lnTo>
                    <a:pt x="1300265" y="249390"/>
                  </a:lnTo>
                  <a:lnTo>
                    <a:pt x="1300265" y="250088"/>
                  </a:lnTo>
                  <a:lnTo>
                    <a:pt x="1300265" y="249390"/>
                  </a:lnTo>
                  <a:lnTo>
                    <a:pt x="1300366" y="250088"/>
                  </a:lnTo>
                  <a:lnTo>
                    <a:pt x="1300366" y="249390"/>
                  </a:lnTo>
                  <a:lnTo>
                    <a:pt x="1300366" y="250088"/>
                  </a:lnTo>
                  <a:lnTo>
                    <a:pt x="1300366" y="249390"/>
                  </a:lnTo>
                  <a:lnTo>
                    <a:pt x="1300366" y="251422"/>
                  </a:lnTo>
                  <a:lnTo>
                    <a:pt x="1300366" y="250088"/>
                  </a:lnTo>
                  <a:lnTo>
                    <a:pt x="1300366" y="251422"/>
                  </a:lnTo>
                  <a:lnTo>
                    <a:pt x="1300417" y="251422"/>
                  </a:lnTo>
                  <a:lnTo>
                    <a:pt x="1300417" y="252120"/>
                  </a:lnTo>
                  <a:lnTo>
                    <a:pt x="1300417" y="251422"/>
                  </a:lnTo>
                  <a:lnTo>
                    <a:pt x="1300468" y="251422"/>
                  </a:lnTo>
                  <a:lnTo>
                    <a:pt x="1300468" y="252120"/>
                  </a:lnTo>
                  <a:lnTo>
                    <a:pt x="1300468" y="251422"/>
                  </a:lnTo>
                  <a:lnTo>
                    <a:pt x="1300569" y="251422"/>
                  </a:lnTo>
                  <a:lnTo>
                    <a:pt x="1300569" y="249390"/>
                  </a:lnTo>
                  <a:lnTo>
                    <a:pt x="1300620" y="249390"/>
                  </a:lnTo>
                  <a:lnTo>
                    <a:pt x="1300620" y="250088"/>
                  </a:lnTo>
                  <a:lnTo>
                    <a:pt x="1300620" y="249390"/>
                  </a:lnTo>
                  <a:lnTo>
                    <a:pt x="1300620" y="250088"/>
                  </a:lnTo>
                  <a:lnTo>
                    <a:pt x="1300620" y="249390"/>
                  </a:lnTo>
                  <a:lnTo>
                    <a:pt x="1300620" y="250088"/>
                  </a:lnTo>
                  <a:lnTo>
                    <a:pt x="1300671" y="250088"/>
                  </a:lnTo>
                  <a:lnTo>
                    <a:pt x="1300671" y="249390"/>
                  </a:lnTo>
                  <a:lnTo>
                    <a:pt x="1300671" y="252120"/>
                  </a:lnTo>
                  <a:lnTo>
                    <a:pt x="1300671" y="251422"/>
                  </a:lnTo>
                  <a:lnTo>
                    <a:pt x="1300671" y="252120"/>
                  </a:lnTo>
                  <a:lnTo>
                    <a:pt x="1300671" y="251422"/>
                  </a:lnTo>
                  <a:lnTo>
                    <a:pt x="1300709" y="251422"/>
                  </a:lnTo>
                  <a:lnTo>
                    <a:pt x="1300709" y="250088"/>
                  </a:lnTo>
                  <a:lnTo>
                    <a:pt x="1300709" y="251422"/>
                  </a:lnTo>
                  <a:lnTo>
                    <a:pt x="1300811" y="250088"/>
                  </a:lnTo>
                  <a:lnTo>
                    <a:pt x="1300811" y="251422"/>
                  </a:lnTo>
                  <a:lnTo>
                    <a:pt x="1300811" y="250088"/>
                  </a:lnTo>
                  <a:lnTo>
                    <a:pt x="1300811" y="251422"/>
                  </a:lnTo>
                  <a:lnTo>
                    <a:pt x="1300862" y="251422"/>
                  </a:lnTo>
                  <a:lnTo>
                    <a:pt x="1300862" y="252120"/>
                  </a:lnTo>
                  <a:lnTo>
                    <a:pt x="1300862" y="251422"/>
                  </a:lnTo>
                  <a:lnTo>
                    <a:pt x="1300862" y="252120"/>
                  </a:lnTo>
                  <a:lnTo>
                    <a:pt x="1300912" y="251422"/>
                  </a:lnTo>
                  <a:lnTo>
                    <a:pt x="1300912" y="252120"/>
                  </a:lnTo>
                  <a:lnTo>
                    <a:pt x="1300912" y="251422"/>
                  </a:lnTo>
                  <a:lnTo>
                    <a:pt x="1300912" y="252120"/>
                  </a:lnTo>
                  <a:lnTo>
                    <a:pt x="1300912" y="251422"/>
                  </a:lnTo>
                  <a:lnTo>
                    <a:pt x="1300912" y="252120"/>
                  </a:lnTo>
                  <a:lnTo>
                    <a:pt x="1301014" y="251422"/>
                  </a:lnTo>
                  <a:lnTo>
                    <a:pt x="1301014" y="250088"/>
                  </a:lnTo>
                  <a:lnTo>
                    <a:pt x="1301014" y="251422"/>
                  </a:lnTo>
                  <a:lnTo>
                    <a:pt x="1301014" y="250088"/>
                  </a:lnTo>
                  <a:lnTo>
                    <a:pt x="1301065" y="250088"/>
                  </a:lnTo>
                  <a:lnTo>
                    <a:pt x="1301065" y="248691"/>
                  </a:lnTo>
                  <a:lnTo>
                    <a:pt x="1301065" y="249390"/>
                  </a:lnTo>
                  <a:lnTo>
                    <a:pt x="1301065" y="248691"/>
                  </a:lnTo>
                  <a:lnTo>
                    <a:pt x="1301115" y="248691"/>
                  </a:lnTo>
                  <a:lnTo>
                    <a:pt x="1301115" y="248044"/>
                  </a:lnTo>
                  <a:lnTo>
                    <a:pt x="1301115" y="250088"/>
                  </a:lnTo>
                  <a:lnTo>
                    <a:pt x="1301115" y="248691"/>
                  </a:lnTo>
                  <a:lnTo>
                    <a:pt x="1301166" y="248691"/>
                  </a:lnTo>
                  <a:lnTo>
                    <a:pt x="1301166" y="252120"/>
                  </a:lnTo>
                  <a:lnTo>
                    <a:pt x="1301166" y="250088"/>
                  </a:lnTo>
                  <a:lnTo>
                    <a:pt x="1301166" y="251422"/>
                  </a:lnTo>
                  <a:lnTo>
                    <a:pt x="1301166" y="250088"/>
                  </a:lnTo>
                  <a:lnTo>
                    <a:pt x="1301166" y="251422"/>
                  </a:lnTo>
                  <a:lnTo>
                    <a:pt x="1301255" y="251422"/>
                  </a:lnTo>
                  <a:lnTo>
                    <a:pt x="1301255" y="250088"/>
                  </a:lnTo>
                  <a:lnTo>
                    <a:pt x="1301255" y="251422"/>
                  </a:lnTo>
                  <a:lnTo>
                    <a:pt x="1301255" y="250088"/>
                  </a:lnTo>
                  <a:lnTo>
                    <a:pt x="1301306" y="250088"/>
                  </a:lnTo>
                  <a:lnTo>
                    <a:pt x="1301306" y="251422"/>
                  </a:lnTo>
                  <a:lnTo>
                    <a:pt x="1301306" y="250088"/>
                  </a:lnTo>
                  <a:lnTo>
                    <a:pt x="1301306" y="251422"/>
                  </a:lnTo>
                  <a:lnTo>
                    <a:pt x="1301306" y="250088"/>
                  </a:lnTo>
                  <a:lnTo>
                    <a:pt x="1301306" y="251422"/>
                  </a:lnTo>
                  <a:lnTo>
                    <a:pt x="1301357" y="251422"/>
                  </a:lnTo>
                  <a:lnTo>
                    <a:pt x="1301357" y="250088"/>
                  </a:lnTo>
                  <a:lnTo>
                    <a:pt x="1301357" y="252120"/>
                  </a:lnTo>
                  <a:lnTo>
                    <a:pt x="1301357" y="251422"/>
                  </a:lnTo>
                  <a:lnTo>
                    <a:pt x="1301408" y="251422"/>
                  </a:lnTo>
                  <a:lnTo>
                    <a:pt x="1301408" y="250088"/>
                  </a:lnTo>
                  <a:lnTo>
                    <a:pt x="1301408" y="252120"/>
                  </a:lnTo>
                  <a:lnTo>
                    <a:pt x="1301408" y="250088"/>
                  </a:lnTo>
                  <a:lnTo>
                    <a:pt x="1301509" y="251422"/>
                  </a:lnTo>
                  <a:lnTo>
                    <a:pt x="1301509" y="250088"/>
                  </a:lnTo>
                  <a:lnTo>
                    <a:pt x="1301509" y="251422"/>
                  </a:lnTo>
                  <a:lnTo>
                    <a:pt x="1301509" y="249390"/>
                  </a:lnTo>
                  <a:lnTo>
                    <a:pt x="1301560" y="249390"/>
                  </a:lnTo>
                  <a:lnTo>
                    <a:pt x="1301560" y="248044"/>
                  </a:lnTo>
                  <a:lnTo>
                    <a:pt x="1301611" y="248691"/>
                  </a:lnTo>
                  <a:lnTo>
                    <a:pt x="1301611" y="249390"/>
                  </a:lnTo>
                  <a:lnTo>
                    <a:pt x="1301611" y="248691"/>
                  </a:lnTo>
                  <a:lnTo>
                    <a:pt x="1301611" y="249390"/>
                  </a:lnTo>
                  <a:lnTo>
                    <a:pt x="1301611" y="248691"/>
                  </a:lnTo>
                  <a:lnTo>
                    <a:pt x="1301611" y="250088"/>
                  </a:lnTo>
                  <a:lnTo>
                    <a:pt x="1301712" y="250088"/>
                  </a:lnTo>
                  <a:lnTo>
                    <a:pt x="1301712" y="251422"/>
                  </a:lnTo>
                  <a:lnTo>
                    <a:pt x="1301712" y="250088"/>
                  </a:lnTo>
                  <a:lnTo>
                    <a:pt x="1301712" y="251422"/>
                  </a:lnTo>
                  <a:lnTo>
                    <a:pt x="1301712" y="249390"/>
                  </a:lnTo>
                  <a:lnTo>
                    <a:pt x="1301712" y="251422"/>
                  </a:lnTo>
                  <a:lnTo>
                    <a:pt x="1301801" y="251422"/>
                  </a:lnTo>
                  <a:lnTo>
                    <a:pt x="1301801" y="252120"/>
                  </a:lnTo>
                  <a:lnTo>
                    <a:pt x="1301801" y="251422"/>
                  </a:lnTo>
                  <a:lnTo>
                    <a:pt x="1301801" y="252120"/>
                  </a:lnTo>
                  <a:lnTo>
                    <a:pt x="1301801" y="251422"/>
                  </a:lnTo>
                  <a:lnTo>
                    <a:pt x="1301801" y="252120"/>
                  </a:lnTo>
                  <a:lnTo>
                    <a:pt x="1301852" y="252120"/>
                  </a:lnTo>
                  <a:lnTo>
                    <a:pt x="1301852" y="251422"/>
                  </a:lnTo>
                  <a:lnTo>
                    <a:pt x="1301852" y="252120"/>
                  </a:lnTo>
                  <a:lnTo>
                    <a:pt x="1301852" y="251422"/>
                  </a:lnTo>
                  <a:lnTo>
                    <a:pt x="1301954" y="251422"/>
                  </a:lnTo>
                  <a:lnTo>
                    <a:pt x="1301954" y="252120"/>
                  </a:lnTo>
                  <a:lnTo>
                    <a:pt x="1301954" y="251422"/>
                  </a:lnTo>
                  <a:lnTo>
                    <a:pt x="1301954" y="252120"/>
                  </a:lnTo>
                  <a:lnTo>
                    <a:pt x="1301954" y="251422"/>
                  </a:lnTo>
                  <a:lnTo>
                    <a:pt x="1302005" y="251422"/>
                  </a:lnTo>
                  <a:lnTo>
                    <a:pt x="1302005" y="249390"/>
                  </a:lnTo>
                  <a:lnTo>
                    <a:pt x="1302005" y="250088"/>
                  </a:lnTo>
                  <a:lnTo>
                    <a:pt x="1302005" y="249390"/>
                  </a:lnTo>
                  <a:lnTo>
                    <a:pt x="1302005" y="250088"/>
                  </a:lnTo>
                  <a:lnTo>
                    <a:pt x="1302005" y="249390"/>
                  </a:lnTo>
                  <a:lnTo>
                    <a:pt x="1302005" y="250088"/>
                  </a:lnTo>
                  <a:lnTo>
                    <a:pt x="1302005" y="249390"/>
                  </a:lnTo>
                  <a:lnTo>
                    <a:pt x="1302005" y="250088"/>
                  </a:lnTo>
                  <a:lnTo>
                    <a:pt x="1302005" y="249390"/>
                  </a:lnTo>
                  <a:lnTo>
                    <a:pt x="1302055" y="249390"/>
                  </a:lnTo>
                  <a:lnTo>
                    <a:pt x="1302055" y="248691"/>
                  </a:lnTo>
                  <a:lnTo>
                    <a:pt x="1302055" y="249390"/>
                  </a:lnTo>
                  <a:lnTo>
                    <a:pt x="1302055" y="248691"/>
                  </a:lnTo>
                  <a:lnTo>
                    <a:pt x="1302055" y="249390"/>
                  </a:lnTo>
                  <a:lnTo>
                    <a:pt x="1302055" y="248691"/>
                  </a:lnTo>
                  <a:lnTo>
                    <a:pt x="1302055" y="249390"/>
                  </a:lnTo>
                  <a:lnTo>
                    <a:pt x="1302055" y="248691"/>
                  </a:lnTo>
                  <a:lnTo>
                    <a:pt x="1302157" y="249390"/>
                  </a:lnTo>
                  <a:lnTo>
                    <a:pt x="1302157" y="248691"/>
                  </a:lnTo>
                  <a:lnTo>
                    <a:pt x="1302157" y="250088"/>
                  </a:lnTo>
                  <a:lnTo>
                    <a:pt x="1302208" y="250088"/>
                  </a:lnTo>
                  <a:lnTo>
                    <a:pt x="1302208" y="251422"/>
                  </a:lnTo>
                  <a:lnTo>
                    <a:pt x="1302208" y="250088"/>
                  </a:lnTo>
                  <a:lnTo>
                    <a:pt x="1302208" y="251422"/>
                  </a:lnTo>
                  <a:lnTo>
                    <a:pt x="1302259" y="251422"/>
                  </a:lnTo>
                  <a:lnTo>
                    <a:pt x="1302259" y="250088"/>
                  </a:lnTo>
                  <a:lnTo>
                    <a:pt x="1302259" y="251422"/>
                  </a:lnTo>
                  <a:lnTo>
                    <a:pt x="1302259" y="250088"/>
                  </a:lnTo>
                  <a:lnTo>
                    <a:pt x="1302259" y="251422"/>
                  </a:lnTo>
                  <a:lnTo>
                    <a:pt x="1302297" y="251422"/>
                  </a:lnTo>
                  <a:lnTo>
                    <a:pt x="1302297" y="252120"/>
                  </a:lnTo>
                  <a:lnTo>
                    <a:pt x="1302297" y="251422"/>
                  </a:lnTo>
                  <a:lnTo>
                    <a:pt x="1302297" y="252120"/>
                  </a:lnTo>
                  <a:lnTo>
                    <a:pt x="1302297" y="251422"/>
                  </a:lnTo>
                  <a:lnTo>
                    <a:pt x="1302297" y="252120"/>
                  </a:lnTo>
                  <a:lnTo>
                    <a:pt x="1302297" y="251422"/>
                  </a:lnTo>
                  <a:lnTo>
                    <a:pt x="1302398" y="251422"/>
                  </a:lnTo>
                  <a:lnTo>
                    <a:pt x="1302398" y="252120"/>
                  </a:lnTo>
                  <a:lnTo>
                    <a:pt x="1302398" y="251422"/>
                  </a:lnTo>
                  <a:lnTo>
                    <a:pt x="1302398" y="252120"/>
                  </a:lnTo>
                  <a:lnTo>
                    <a:pt x="1302398" y="251422"/>
                  </a:lnTo>
                  <a:lnTo>
                    <a:pt x="1302449" y="251422"/>
                  </a:lnTo>
                  <a:lnTo>
                    <a:pt x="1302449" y="252120"/>
                  </a:lnTo>
                  <a:lnTo>
                    <a:pt x="1302449" y="249390"/>
                  </a:lnTo>
                  <a:lnTo>
                    <a:pt x="1302449" y="250088"/>
                  </a:lnTo>
                  <a:lnTo>
                    <a:pt x="1302449" y="249390"/>
                  </a:lnTo>
                  <a:lnTo>
                    <a:pt x="1302500" y="249390"/>
                  </a:lnTo>
                  <a:lnTo>
                    <a:pt x="1302500" y="250088"/>
                  </a:lnTo>
                  <a:lnTo>
                    <a:pt x="1302500" y="248691"/>
                  </a:lnTo>
                  <a:lnTo>
                    <a:pt x="1302500" y="249390"/>
                  </a:lnTo>
                  <a:lnTo>
                    <a:pt x="1302500" y="248691"/>
                  </a:lnTo>
                  <a:lnTo>
                    <a:pt x="1302601" y="248691"/>
                  </a:lnTo>
                  <a:lnTo>
                    <a:pt x="1302601" y="246659"/>
                  </a:lnTo>
                  <a:lnTo>
                    <a:pt x="1302601" y="249390"/>
                  </a:lnTo>
                  <a:lnTo>
                    <a:pt x="1302601" y="248691"/>
                  </a:lnTo>
                  <a:lnTo>
                    <a:pt x="1302652" y="248044"/>
                  </a:lnTo>
                  <a:lnTo>
                    <a:pt x="1302652" y="246659"/>
                  </a:lnTo>
                  <a:lnTo>
                    <a:pt x="1302652" y="250088"/>
                  </a:lnTo>
                  <a:lnTo>
                    <a:pt x="1302652" y="248691"/>
                  </a:lnTo>
                  <a:lnTo>
                    <a:pt x="1302703" y="248691"/>
                  </a:lnTo>
                  <a:lnTo>
                    <a:pt x="1302703" y="250088"/>
                  </a:lnTo>
                  <a:lnTo>
                    <a:pt x="1302703" y="249390"/>
                  </a:lnTo>
                  <a:lnTo>
                    <a:pt x="1302703" y="250088"/>
                  </a:lnTo>
                  <a:lnTo>
                    <a:pt x="1302703" y="249390"/>
                  </a:lnTo>
                  <a:lnTo>
                    <a:pt x="1302703" y="250088"/>
                  </a:lnTo>
                  <a:lnTo>
                    <a:pt x="1302703" y="249390"/>
                  </a:lnTo>
                  <a:lnTo>
                    <a:pt x="1302754" y="249390"/>
                  </a:lnTo>
                  <a:lnTo>
                    <a:pt x="1302754" y="250088"/>
                  </a:lnTo>
                  <a:lnTo>
                    <a:pt x="1302754" y="249390"/>
                  </a:lnTo>
                  <a:lnTo>
                    <a:pt x="1302754" y="250088"/>
                  </a:lnTo>
                  <a:lnTo>
                    <a:pt x="1302843" y="250088"/>
                  </a:lnTo>
                  <a:lnTo>
                    <a:pt x="1302843" y="251422"/>
                  </a:lnTo>
                  <a:lnTo>
                    <a:pt x="1302843" y="250088"/>
                  </a:lnTo>
                  <a:lnTo>
                    <a:pt x="1302894" y="251422"/>
                  </a:lnTo>
                  <a:lnTo>
                    <a:pt x="1302894" y="250088"/>
                  </a:lnTo>
                  <a:lnTo>
                    <a:pt x="1302894" y="251422"/>
                  </a:lnTo>
                  <a:lnTo>
                    <a:pt x="1302894" y="250088"/>
                  </a:lnTo>
                  <a:lnTo>
                    <a:pt x="1302944" y="250088"/>
                  </a:lnTo>
                  <a:lnTo>
                    <a:pt x="1302944" y="249390"/>
                  </a:lnTo>
                  <a:lnTo>
                    <a:pt x="1302995" y="248691"/>
                  </a:lnTo>
                  <a:lnTo>
                    <a:pt x="1302995" y="249390"/>
                  </a:lnTo>
                  <a:lnTo>
                    <a:pt x="1302995" y="248044"/>
                  </a:lnTo>
                  <a:lnTo>
                    <a:pt x="1302995" y="248691"/>
                  </a:lnTo>
                  <a:lnTo>
                    <a:pt x="1303097" y="249390"/>
                  </a:lnTo>
                  <a:lnTo>
                    <a:pt x="1303097" y="248044"/>
                  </a:lnTo>
                  <a:lnTo>
                    <a:pt x="1303097" y="249390"/>
                  </a:lnTo>
                  <a:lnTo>
                    <a:pt x="1303147" y="250088"/>
                  </a:lnTo>
                  <a:lnTo>
                    <a:pt x="1303147" y="249390"/>
                  </a:lnTo>
                  <a:lnTo>
                    <a:pt x="1303147" y="250088"/>
                  </a:lnTo>
                  <a:lnTo>
                    <a:pt x="1303147" y="249390"/>
                  </a:lnTo>
                  <a:lnTo>
                    <a:pt x="1303147" y="250088"/>
                  </a:lnTo>
                  <a:lnTo>
                    <a:pt x="1303147" y="248691"/>
                  </a:lnTo>
                  <a:lnTo>
                    <a:pt x="1303147" y="250088"/>
                  </a:lnTo>
                  <a:lnTo>
                    <a:pt x="1303198" y="250088"/>
                  </a:lnTo>
                  <a:lnTo>
                    <a:pt x="1303198" y="249390"/>
                  </a:lnTo>
                  <a:lnTo>
                    <a:pt x="1303198" y="250088"/>
                  </a:lnTo>
                  <a:lnTo>
                    <a:pt x="1303198" y="249390"/>
                  </a:lnTo>
                  <a:lnTo>
                    <a:pt x="1303300" y="249390"/>
                  </a:lnTo>
                  <a:lnTo>
                    <a:pt x="1303300" y="248691"/>
                  </a:lnTo>
                  <a:lnTo>
                    <a:pt x="1303300" y="250088"/>
                  </a:lnTo>
                  <a:lnTo>
                    <a:pt x="1303300" y="249390"/>
                  </a:lnTo>
                  <a:lnTo>
                    <a:pt x="1303300" y="250088"/>
                  </a:lnTo>
                  <a:lnTo>
                    <a:pt x="1303300" y="249390"/>
                  </a:lnTo>
                  <a:lnTo>
                    <a:pt x="1303338" y="249390"/>
                  </a:lnTo>
                  <a:lnTo>
                    <a:pt x="1303338" y="250088"/>
                  </a:lnTo>
                  <a:lnTo>
                    <a:pt x="1303338" y="249390"/>
                  </a:lnTo>
                  <a:lnTo>
                    <a:pt x="1303389" y="249390"/>
                  </a:lnTo>
                  <a:lnTo>
                    <a:pt x="1303389" y="248691"/>
                  </a:lnTo>
                  <a:lnTo>
                    <a:pt x="1303389" y="249390"/>
                  </a:lnTo>
                  <a:lnTo>
                    <a:pt x="1303389" y="248691"/>
                  </a:lnTo>
                  <a:lnTo>
                    <a:pt x="1303389" y="249390"/>
                  </a:lnTo>
                  <a:lnTo>
                    <a:pt x="1303389" y="248691"/>
                  </a:lnTo>
                  <a:lnTo>
                    <a:pt x="1303440" y="248691"/>
                  </a:lnTo>
                  <a:lnTo>
                    <a:pt x="1303440" y="246659"/>
                  </a:lnTo>
                  <a:lnTo>
                    <a:pt x="1303541" y="246659"/>
                  </a:lnTo>
                  <a:lnTo>
                    <a:pt x="1303541" y="248691"/>
                  </a:lnTo>
                  <a:lnTo>
                    <a:pt x="1303541" y="246659"/>
                  </a:lnTo>
                  <a:lnTo>
                    <a:pt x="1303592" y="246659"/>
                  </a:lnTo>
                  <a:lnTo>
                    <a:pt x="1303592" y="251422"/>
                  </a:lnTo>
                  <a:lnTo>
                    <a:pt x="1303592" y="248691"/>
                  </a:lnTo>
                  <a:lnTo>
                    <a:pt x="1303643" y="248691"/>
                  </a:lnTo>
                  <a:lnTo>
                    <a:pt x="1303643" y="250088"/>
                  </a:lnTo>
                  <a:lnTo>
                    <a:pt x="1303643" y="248691"/>
                  </a:lnTo>
                  <a:lnTo>
                    <a:pt x="1303744" y="248691"/>
                  </a:lnTo>
                  <a:lnTo>
                    <a:pt x="1303744" y="250088"/>
                  </a:lnTo>
                  <a:lnTo>
                    <a:pt x="1303744" y="248691"/>
                  </a:lnTo>
                  <a:lnTo>
                    <a:pt x="1303744" y="250088"/>
                  </a:lnTo>
                  <a:lnTo>
                    <a:pt x="1303795" y="249390"/>
                  </a:lnTo>
                  <a:lnTo>
                    <a:pt x="1303795" y="250088"/>
                  </a:lnTo>
                  <a:lnTo>
                    <a:pt x="1303795" y="249390"/>
                  </a:lnTo>
                  <a:lnTo>
                    <a:pt x="1303795" y="250088"/>
                  </a:lnTo>
                  <a:lnTo>
                    <a:pt x="1303795" y="249390"/>
                  </a:lnTo>
                  <a:lnTo>
                    <a:pt x="1303795" y="250088"/>
                  </a:lnTo>
                  <a:lnTo>
                    <a:pt x="1303846" y="250088"/>
                  </a:lnTo>
                  <a:lnTo>
                    <a:pt x="1303846" y="249390"/>
                  </a:lnTo>
                  <a:lnTo>
                    <a:pt x="1303884" y="249390"/>
                  </a:lnTo>
                  <a:lnTo>
                    <a:pt x="1303884" y="248044"/>
                  </a:lnTo>
                  <a:lnTo>
                    <a:pt x="1303986" y="248044"/>
                  </a:lnTo>
                  <a:lnTo>
                    <a:pt x="1303986" y="248691"/>
                  </a:lnTo>
                  <a:lnTo>
                    <a:pt x="1303986" y="245961"/>
                  </a:lnTo>
                  <a:lnTo>
                    <a:pt x="1303986" y="246659"/>
                  </a:lnTo>
                  <a:lnTo>
                    <a:pt x="1303986" y="245961"/>
                  </a:lnTo>
                  <a:lnTo>
                    <a:pt x="1304037" y="245961"/>
                  </a:lnTo>
                  <a:lnTo>
                    <a:pt x="1304037" y="246659"/>
                  </a:lnTo>
                  <a:lnTo>
                    <a:pt x="1304037" y="245961"/>
                  </a:lnTo>
                  <a:lnTo>
                    <a:pt x="1304087" y="245961"/>
                  </a:lnTo>
                  <a:lnTo>
                    <a:pt x="1304087" y="248691"/>
                  </a:lnTo>
                  <a:lnTo>
                    <a:pt x="1304087" y="248044"/>
                  </a:lnTo>
                  <a:lnTo>
                    <a:pt x="1304087" y="248691"/>
                  </a:lnTo>
                  <a:lnTo>
                    <a:pt x="1304087" y="246659"/>
                  </a:lnTo>
                  <a:lnTo>
                    <a:pt x="1304189" y="246659"/>
                  </a:lnTo>
                  <a:lnTo>
                    <a:pt x="1304189" y="249390"/>
                  </a:lnTo>
                  <a:lnTo>
                    <a:pt x="1304189" y="248691"/>
                  </a:lnTo>
                  <a:lnTo>
                    <a:pt x="1304189" y="249390"/>
                  </a:lnTo>
                  <a:lnTo>
                    <a:pt x="1304189" y="248044"/>
                  </a:lnTo>
                  <a:lnTo>
                    <a:pt x="1304189" y="248691"/>
                  </a:lnTo>
                  <a:lnTo>
                    <a:pt x="1304189" y="248044"/>
                  </a:lnTo>
                  <a:lnTo>
                    <a:pt x="1304189" y="248691"/>
                  </a:lnTo>
                  <a:lnTo>
                    <a:pt x="1304240" y="248691"/>
                  </a:lnTo>
                  <a:lnTo>
                    <a:pt x="1304240" y="249390"/>
                  </a:lnTo>
                  <a:lnTo>
                    <a:pt x="1304240" y="248691"/>
                  </a:lnTo>
                  <a:lnTo>
                    <a:pt x="1304240" y="249390"/>
                  </a:lnTo>
                  <a:lnTo>
                    <a:pt x="1304240" y="248691"/>
                  </a:lnTo>
                  <a:lnTo>
                    <a:pt x="1304290" y="248691"/>
                  </a:lnTo>
                  <a:lnTo>
                    <a:pt x="1304290" y="249390"/>
                  </a:lnTo>
                  <a:lnTo>
                    <a:pt x="1304341" y="249390"/>
                  </a:lnTo>
                  <a:lnTo>
                    <a:pt x="1304341" y="248691"/>
                  </a:lnTo>
                  <a:lnTo>
                    <a:pt x="1304341" y="249390"/>
                  </a:lnTo>
                  <a:lnTo>
                    <a:pt x="1304341" y="248691"/>
                  </a:lnTo>
                  <a:lnTo>
                    <a:pt x="1304430" y="248691"/>
                  </a:lnTo>
                  <a:lnTo>
                    <a:pt x="1304430" y="248044"/>
                  </a:lnTo>
                  <a:lnTo>
                    <a:pt x="1304430" y="248691"/>
                  </a:lnTo>
                  <a:lnTo>
                    <a:pt x="1304430" y="246659"/>
                  </a:lnTo>
                  <a:lnTo>
                    <a:pt x="1304481" y="246659"/>
                  </a:lnTo>
                  <a:lnTo>
                    <a:pt x="1304481" y="248044"/>
                  </a:lnTo>
                  <a:lnTo>
                    <a:pt x="1304481" y="245326"/>
                  </a:lnTo>
                  <a:lnTo>
                    <a:pt x="1304532" y="244627"/>
                  </a:lnTo>
                  <a:lnTo>
                    <a:pt x="1304532" y="245961"/>
                  </a:lnTo>
                  <a:lnTo>
                    <a:pt x="1304532" y="245326"/>
                  </a:lnTo>
                  <a:lnTo>
                    <a:pt x="1304532" y="245961"/>
                  </a:lnTo>
                  <a:lnTo>
                    <a:pt x="1304532" y="244627"/>
                  </a:lnTo>
                  <a:lnTo>
                    <a:pt x="1304583" y="244627"/>
                  </a:lnTo>
                  <a:lnTo>
                    <a:pt x="1304583" y="246659"/>
                  </a:lnTo>
                  <a:lnTo>
                    <a:pt x="1304583" y="245961"/>
                  </a:lnTo>
                  <a:lnTo>
                    <a:pt x="1304684" y="245961"/>
                  </a:lnTo>
                  <a:lnTo>
                    <a:pt x="1304684" y="248044"/>
                  </a:lnTo>
                  <a:lnTo>
                    <a:pt x="1304684" y="246659"/>
                  </a:lnTo>
                  <a:lnTo>
                    <a:pt x="1304684" y="248044"/>
                  </a:lnTo>
                  <a:lnTo>
                    <a:pt x="1304735" y="248044"/>
                  </a:lnTo>
                  <a:lnTo>
                    <a:pt x="1304735" y="248691"/>
                  </a:lnTo>
                  <a:lnTo>
                    <a:pt x="1304735" y="248044"/>
                  </a:lnTo>
                  <a:lnTo>
                    <a:pt x="1304735" y="248691"/>
                  </a:lnTo>
                  <a:lnTo>
                    <a:pt x="1304786" y="248691"/>
                  </a:lnTo>
                  <a:lnTo>
                    <a:pt x="1304786" y="249390"/>
                  </a:lnTo>
                  <a:lnTo>
                    <a:pt x="1304887" y="249390"/>
                  </a:lnTo>
                  <a:lnTo>
                    <a:pt x="1304887" y="248691"/>
                  </a:lnTo>
                  <a:lnTo>
                    <a:pt x="1304887" y="249390"/>
                  </a:lnTo>
                  <a:lnTo>
                    <a:pt x="1304887" y="248691"/>
                  </a:lnTo>
                  <a:lnTo>
                    <a:pt x="1304887" y="249390"/>
                  </a:lnTo>
                  <a:lnTo>
                    <a:pt x="1304887" y="248691"/>
                  </a:lnTo>
                  <a:lnTo>
                    <a:pt x="1304887" y="249390"/>
                  </a:lnTo>
                  <a:lnTo>
                    <a:pt x="1304925" y="248691"/>
                  </a:lnTo>
                  <a:lnTo>
                    <a:pt x="1304925" y="248044"/>
                  </a:lnTo>
                  <a:lnTo>
                    <a:pt x="1304925" y="248691"/>
                  </a:lnTo>
                  <a:lnTo>
                    <a:pt x="1304976" y="248691"/>
                  </a:lnTo>
                  <a:lnTo>
                    <a:pt x="1304976" y="245961"/>
                  </a:lnTo>
                  <a:lnTo>
                    <a:pt x="1304976" y="246659"/>
                  </a:lnTo>
                  <a:lnTo>
                    <a:pt x="1305027" y="246659"/>
                  </a:lnTo>
                  <a:lnTo>
                    <a:pt x="1305027" y="248044"/>
                  </a:lnTo>
                  <a:lnTo>
                    <a:pt x="1305027" y="245961"/>
                  </a:lnTo>
                  <a:lnTo>
                    <a:pt x="1305027" y="249390"/>
                  </a:lnTo>
                  <a:lnTo>
                    <a:pt x="1305129" y="248691"/>
                  </a:lnTo>
                  <a:lnTo>
                    <a:pt x="1305129" y="246659"/>
                  </a:lnTo>
                  <a:lnTo>
                    <a:pt x="1305129" y="248691"/>
                  </a:lnTo>
                  <a:lnTo>
                    <a:pt x="1305180" y="248691"/>
                  </a:lnTo>
                  <a:lnTo>
                    <a:pt x="1305180" y="248044"/>
                  </a:lnTo>
                  <a:lnTo>
                    <a:pt x="1305180" y="248691"/>
                  </a:lnTo>
                  <a:lnTo>
                    <a:pt x="1305180" y="246659"/>
                  </a:lnTo>
                  <a:lnTo>
                    <a:pt x="1305180" y="248691"/>
                  </a:lnTo>
                  <a:lnTo>
                    <a:pt x="1305230" y="248691"/>
                  </a:lnTo>
                  <a:lnTo>
                    <a:pt x="1305230" y="248044"/>
                  </a:lnTo>
                  <a:lnTo>
                    <a:pt x="1305230" y="248691"/>
                  </a:lnTo>
                  <a:lnTo>
                    <a:pt x="1305332" y="248044"/>
                  </a:lnTo>
                  <a:lnTo>
                    <a:pt x="1305332" y="248691"/>
                  </a:lnTo>
                  <a:lnTo>
                    <a:pt x="1305383" y="248691"/>
                  </a:lnTo>
                  <a:lnTo>
                    <a:pt x="1305383" y="248044"/>
                  </a:lnTo>
                  <a:lnTo>
                    <a:pt x="1305383" y="248691"/>
                  </a:lnTo>
                  <a:lnTo>
                    <a:pt x="1305383" y="248044"/>
                  </a:lnTo>
                  <a:lnTo>
                    <a:pt x="1305434" y="248044"/>
                  </a:lnTo>
                  <a:lnTo>
                    <a:pt x="1305434" y="246659"/>
                  </a:lnTo>
                  <a:lnTo>
                    <a:pt x="1305434" y="248044"/>
                  </a:lnTo>
                  <a:lnTo>
                    <a:pt x="1305434" y="246659"/>
                  </a:lnTo>
                  <a:lnTo>
                    <a:pt x="1305434" y="248044"/>
                  </a:lnTo>
                  <a:lnTo>
                    <a:pt x="1305434" y="246659"/>
                  </a:lnTo>
                  <a:lnTo>
                    <a:pt x="1305472" y="246659"/>
                  </a:lnTo>
                  <a:lnTo>
                    <a:pt x="1305472" y="243929"/>
                  </a:lnTo>
                  <a:lnTo>
                    <a:pt x="1305573" y="243929"/>
                  </a:lnTo>
                  <a:lnTo>
                    <a:pt x="1305573" y="245326"/>
                  </a:lnTo>
                  <a:lnTo>
                    <a:pt x="1305573" y="243929"/>
                  </a:lnTo>
                  <a:lnTo>
                    <a:pt x="1305624" y="244627"/>
                  </a:lnTo>
                  <a:lnTo>
                    <a:pt x="1305624" y="246659"/>
                  </a:lnTo>
                  <a:lnTo>
                    <a:pt x="1305624" y="245326"/>
                  </a:lnTo>
                  <a:lnTo>
                    <a:pt x="1305675" y="245961"/>
                  </a:lnTo>
                  <a:lnTo>
                    <a:pt x="1305675" y="246659"/>
                  </a:lnTo>
                  <a:lnTo>
                    <a:pt x="1305776" y="246659"/>
                  </a:lnTo>
                  <a:lnTo>
                    <a:pt x="1305776" y="248044"/>
                  </a:lnTo>
                  <a:lnTo>
                    <a:pt x="1305776" y="246659"/>
                  </a:lnTo>
                  <a:lnTo>
                    <a:pt x="1305776" y="248044"/>
                  </a:lnTo>
                  <a:lnTo>
                    <a:pt x="1305776" y="246659"/>
                  </a:lnTo>
                  <a:lnTo>
                    <a:pt x="1305776" y="248044"/>
                  </a:lnTo>
                  <a:lnTo>
                    <a:pt x="1305776" y="246659"/>
                  </a:lnTo>
                  <a:lnTo>
                    <a:pt x="1305827" y="246659"/>
                  </a:lnTo>
                  <a:lnTo>
                    <a:pt x="1305827" y="248691"/>
                  </a:lnTo>
                  <a:lnTo>
                    <a:pt x="1305827" y="248044"/>
                  </a:lnTo>
                  <a:lnTo>
                    <a:pt x="1305827" y="248691"/>
                  </a:lnTo>
                  <a:lnTo>
                    <a:pt x="1305827" y="248044"/>
                  </a:lnTo>
                  <a:lnTo>
                    <a:pt x="1305878" y="248044"/>
                  </a:lnTo>
                  <a:lnTo>
                    <a:pt x="1305878" y="248691"/>
                  </a:lnTo>
                  <a:lnTo>
                    <a:pt x="1305878" y="248044"/>
                  </a:lnTo>
                  <a:lnTo>
                    <a:pt x="1305878" y="248691"/>
                  </a:lnTo>
                  <a:lnTo>
                    <a:pt x="1305929" y="248044"/>
                  </a:lnTo>
                  <a:lnTo>
                    <a:pt x="1305929" y="246659"/>
                  </a:lnTo>
                  <a:lnTo>
                    <a:pt x="1305929" y="248044"/>
                  </a:lnTo>
                  <a:lnTo>
                    <a:pt x="1305929" y="246659"/>
                  </a:lnTo>
                  <a:lnTo>
                    <a:pt x="1305929" y="248044"/>
                  </a:lnTo>
                  <a:lnTo>
                    <a:pt x="1305929" y="246659"/>
                  </a:lnTo>
                  <a:lnTo>
                    <a:pt x="1306018" y="246659"/>
                  </a:lnTo>
                  <a:lnTo>
                    <a:pt x="1306018" y="242595"/>
                  </a:lnTo>
                  <a:lnTo>
                    <a:pt x="1306069" y="242595"/>
                  </a:lnTo>
                  <a:lnTo>
                    <a:pt x="1306069" y="241198"/>
                  </a:lnTo>
                  <a:lnTo>
                    <a:pt x="1306069" y="243929"/>
                  </a:lnTo>
                  <a:lnTo>
                    <a:pt x="1306069" y="241198"/>
                  </a:lnTo>
                  <a:lnTo>
                    <a:pt x="1306119" y="241198"/>
                  </a:lnTo>
                  <a:lnTo>
                    <a:pt x="1306119" y="244627"/>
                  </a:lnTo>
                  <a:lnTo>
                    <a:pt x="1306119" y="242595"/>
                  </a:lnTo>
                  <a:lnTo>
                    <a:pt x="1306170" y="242595"/>
                  </a:lnTo>
                  <a:lnTo>
                    <a:pt x="1306170" y="244627"/>
                  </a:lnTo>
                  <a:lnTo>
                    <a:pt x="1306170" y="242595"/>
                  </a:lnTo>
                  <a:lnTo>
                    <a:pt x="1306170" y="244627"/>
                  </a:lnTo>
                  <a:lnTo>
                    <a:pt x="1306272" y="243929"/>
                  </a:lnTo>
                  <a:lnTo>
                    <a:pt x="1306272" y="244627"/>
                  </a:lnTo>
                  <a:lnTo>
                    <a:pt x="1306272" y="243929"/>
                  </a:lnTo>
                  <a:lnTo>
                    <a:pt x="1306272" y="245326"/>
                  </a:lnTo>
                  <a:lnTo>
                    <a:pt x="1306322" y="245326"/>
                  </a:lnTo>
                  <a:lnTo>
                    <a:pt x="1306322" y="244627"/>
                  </a:lnTo>
                  <a:lnTo>
                    <a:pt x="1306322" y="246659"/>
                  </a:lnTo>
                  <a:lnTo>
                    <a:pt x="1306322" y="245961"/>
                  </a:lnTo>
                  <a:lnTo>
                    <a:pt x="1306322" y="246659"/>
                  </a:lnTo>
                  <a:lnTo>
                    <a:pt x="1306373" y="248044"/>
                  </a:lnTo>
                  <a:lnTo>
                    <a:pt x="1306373" y="246659"/>
                  </a:lnTo>
                  <a:lnTo>
                    <a:pt x="1306373" y="248044"/>
                  </a:lnTo>
                  <a:lnTo>
                    <a:pt x="1306373" y="246659"/>
                  </a:lnTo>
                  <a:lnTo>
                    <a:pt x="1306373" y="248044"/>
                  </a:lnTo>
                  <a:lnTo>
                    <a:pt x="1306373" y="246659"/>
                  </a:lnTo>
                  <a:lnTo>
                    <a:pt x="1306373" y="248044"/>
                  </a:lnTo>
                  <a:lnTo>
                    <a:pt x="1306475" y="248044"/>
                  </a:lnTo>
                  <a:lnTo>
                    <a:pt x="1306475" y="246659"/>
                  </a:lnTo>
                  <a:lnTo>
                    <a:pt x="1306475" y="248044"/>
                  </a:lnTo>
                  <a:lnTo>
                    <a:pt x="1306475" y="246659"/>
                  </a:lnTo>
                  <a:lnTo>
                    <a:pt x="1306513" y="246659"/>
                  </a:lnTo>
                  <a:lnTo>
                    <a:pt x="1306513" y="243929"/>
                  </a:lnTo>
                  <a:lnTo>
                    <a:pt x="1306513" y="244627"/>
                  </a:lnTo>
                  <a:lnTo>
                    <a:pt x="1306564" y="244627"/>
                  </a:lnTo>
                  <a:lnTo>
                    <a:pt x="1306564" y="245961"/>
                  </a:lnTo>
                  <a:lnTo>
                    <a:pt x="1306564" y="242595"/>
                  </a:lnTo>
                  <a:lnTo>
                    <a:pt x="1306564" y="245326"/>
                  </a:lnTo>
                  <a:lnTo>
                    <a:pt x="1306615" y="245961"/>
                  </a:lnTo>
                  <a:lnTo>
                    <a:pt x="1306615" y="248044"/>
                  </a:lnTo>
                  <a:lnTo>
                    <a:pt x="1306615" y="245326"/>
                  </a:lnTo>
                  <a:lnTo>
                    <a:pt x="1306615" y="246659"/>
                  </a:lnTo>
                  <a:lnTo>
                    <a:pt x="1306716" y="246659"/>
                  </a:lnTo>
                  <a:lnTo>
                    <a:pt x="1306716" y="245961"/>
                  </a:lnTo>
                  <a:lnTo>
                    <a:pt x="1306716" y="246659"/>
                  </a:lnTo>
                  <a:lnTo>
                    <a:pt x="1306716" y="245961"/>
                  </a:lnTo>
                  <a:lnTo>
                    <a:pt x="1306716" y="246659"/>
                  </a:lnTo>
                  <a:lnTo>
                    <a:pt x="1306716" y="245961"/>
                  </a:lnTo>
                  <a:lnTo>
                    <a:pt x="1306716" y="246659"/>
                  </a:lnTo>
                  <a:lnTo>
                    <a:pt x="1306716" y="245961"/>
                  </a:lnTo>
                  <a:lnTo>
                    <a:pt x="1306767" y="246659"/>
                  </a:lnTo>
                  <a:lnTo>
                    <a:pt x="1306767" y="245961"/>
                  </a:lnTo>
                  <a:lnTo>
                    <a:pt x="1306767" y="246659"/>
                  </a:lnTo>
                  <a:lnTo>
                    <a:pt x="1306767" y="245961"/>
                  </a:lnTo>
                  <a:lnTo>
                    <a:pt x="1306767" y="246659"/>
                  </a:lnTo>
                  <a:lnTo>
                    <a:pt x="1306818" y="246659"/>
                  </a:lnTo>
                  <a:lnTo>
                    <a:pt x="1306818" y="245961"/>
                  </a:lnTo>
                  <a:lnTo>
                    <a:pt x="1306818" y="248044"/>
                  </a:lnTo>
                  <a:lnTo>
                    <a:pt x="1306818" y="246659"/>
                  </a:lnTo>
                  <a:lnTo>
                    <a:pt x="1306919" y="246659"/>
                  </a:lnTo>
                  <a:lnTo>
                    <a:pt x="1306919" y="248044"/>
                  </a:lnTo>
                  <a:lnTo>
                    <a:pt x="1306919" y="246659"/>
                  </a:lnTo>
                  <a:lnTo>
                    <a:pt x="1306919" y="248044"/>
                  </a:lnTo>
                  <a:lnTo>
                    <a:pt x="1306919" y="246659"/>
                  </a:lnTo>
                  <a:lnTo>
                    <a:pt x="1306970" y="245961"/>
                  </a:lnTo>
                  <a:lnTo>
                    <a:pt x="1306970" y="246659"/>
                  </a:lnTo>
                  <a:lnTo>
                    <a:pt x="1306970" y="245326"/>
                  </a:lnTo>
                  <a:lnTo>
                    <a:pt x="1307021" y="245326"/>
                  </a:lnTo>
                  <a:lnTo>
                    <a:pt x="1307021" y="243929"/>
                  </a:lnTo>
                  <a:lnTo>
                    <a:pt x="1307021" y="245961"/>
                  </a:lnTo>
                  <a:lnTo>
                    <a:pt x="1307021" y="245326"/>
                  </a:lnTo>
                  <a:lnTo>
                    <a:pt x="1307059" y="245326"/>
                  </a:lnTo>
                  <a:lnTo>
                    <a:pt x="1307059" y="244627"/>
                  </a:lnTo>
                  <a:lnTo>
                    <a:pt x="1307059" y="248044"/>
                  </a:lnTo>
                  <a:lnTo>
                    <a:pt x="1307059" y="246659"/>
                  </a:lnTo>
                  <a:lnTo>
                    <a:pt x="1307161" y="245961"/>
                  </a:lnTo>
                  <a:lnTo>
                    <a:pt x="1307161" y="248044"/>
                  </a:lnTo>
                  <a:lnTo>
                    <a:pt x="1307212" y="248044"/>
                  </a:lnTo>
                  <a:lnTo>
                    <a:pt x="1307212" y="246659"/>
                  </a:lnTo>
                  <a:lnTo>
                    <a:pt x="1307212" y="248691"/>
                  </a:lnTo>
                  <a:lnTo>
                    <a:pt x="1307212" y="245961"/>
                  </a:lnTo>
                  <a:lnTo>
                    <a:pt x="1307262" y="246659"/>
                  </a:lnTo>
                  <a:lnTo>
                    <a:pt x="1307262" y="248044"/>
                  </a:lnTo>
                  <a:lnTo>
                    <a:pt x="1307262" y="245961"/>
                  </a:lnTo>
                  <a:lnTo>
                    <a:pt x="1307262" y="246659"/>
                  </a:lnTo>
                  <a:lnTo>
                    <a:pt x="1307262" y="245961"/>
                  </a:lnTo>
                  <a:lnTo>
                    <a:pt x="1307364" y="246659"/>
                  </a:lnTo>
                  <a:lnTo>
                    <a:pt x="1307364" y="245961"/>
                  </a:lnTo>
                  <a:lnTo>
                    <a:pt x="1307415" y="245961"/>
                  </a:lnTo>
                  <a:lnTo>
                    <a:pt x="1307415" y="246659"/>
                  </a:lnTo>
                  <a:lnTo>
                    <a:pt x="1307415" y="245961"/>
                  </a:lnTo>
                  <a:lnTo>
                    <a:pt x="1307465" y="245961"/>
                  </a:lnTo>
                  <a:lnTo>
                    <a:pt x="1307465" y="246659"/>
                  </a:lnTo>
                  <a:lnTo>
                    <a:pt x="1307465" y="242595"/>
                  </a:lnTo>
                  <a:lnTo>
                    <a:pt x="1307516" y="242595"/>
                  </a:lnTo>
                  <a:lnTo>
                    <a:pt x="1307516" y="244627"/>
                  </a:lnTo>
                  <a:lnTo>
                    <a:pt x="1307516" y="243929"/>
                  </a:lnTo>
                  <a:lnTo>
                    <a:pt x="1307605" y="242595"/>
                  </a:lnTo>
                  <a:lnTo>
                    <a:pt x="1307605" y="248044"/>
                  </a:lnTo>
                  <a:lnTo>
                    <a:pt x="1307605" y="245961"/>
                  </a:lnTo>
                  <a:lnTo>
                    <a:pt x="1307605" y="246659"/>
                  </a:lnTo>
                  <a:lnTo>
                    <a:pt x="1307656" y="245961"/>
                  </a:lnTo>
                  <a:lnTo>
                    <a:pt x="1307656" y="248691"/>
                  </a:lnTo>
                  <a:lnTo>
                    <a:pt x="1307656" y="246659"/>
                  </a:lnTo>
                  <a:lnTo>
                    <a:pt x="1307656" y="248044"/>
                  </a:lnTo>
                  <a:lnTo>
                    <a:pt x="1307707" y="248691"/>
                  </a:lnTo>
                  <a:lnTo>
                    <a:pt x="1307707" y="248044"/>
                  </a:lnTo>
                  <a:lnTo>
                    <a:pt x="1307707" y="248691"/>
                  </a:lnTo>
                  <a:lnTo>
                    <a:pt x="1307707" y="248044"/>
                  </a:lnTo>
                  <a:lnTo>
                    <a:pt x="1307707" y="248691"/>
                  </a:lnTo>
                  <a:lnTo>
                    <a:pt x="1307707" y="248044"/>
                  </a:lnTo>
                  <a:lnTo>
                    <a:pt x="1307707" y="248691"/>
                  </a:lnTo>
                  <a:lnTo>
                    <a:pt x="1307707" y="248044"/>
                  </a:lnTo>
                  <a:lnTo>
                    <a:pt x="1307758" y="248691"/>
                  </a:lnTo>
                  <a:lnTo>
                    <a:pt x="1307758" y="248044"/>
                  </a:lnTo>
                  <a:lnTo>
                    <a:pt x="1307758" y="248691"/>
                  </a:lnTo>
                  <a:lnTo>
                    <a:pt x="1307758" y="248044"/>
                  </a:lnTo>
                  <a:lnTo>
                    <a:pt x="1307758" y="248691"/>
                  </a:lnTo>
                  <a:lnTo>
                    <a:pt x="1307758" y="248044"/>
                  </a:lnTo>
                  <a:lnTo>
                    <a:pt x="1307758" y="248691"/>
                  </a:lnTo>
                  <a:lnTo>
                    <a:pt x="1307758" y="248044"/>
                  </a:lnTo>
                  <a:lnTo>
                    <a:pt x="1307758" y="248691"/>
                  </a:lnTo>
                  <a:lnTo>
                    <a:pt x="1307859" y="248691"/>
                  </a:lnTo>
                  <a:lnTo>
                    <a:pt x="1307859" y="248044"/>
                  </a:lnTo>
                  <a:lnTo>
                    <a:pt x="1307859" y="248691"/>
                  </a:lnTo>
                  <a:lnTo>
                    <a:pt x="1307859" y="248044"/>
                  </a:lnTo>
                  <a:lnTo>
                    <a:pt x="1307859" y="248691"/>
                  </a:lnTo>
                  <a:lnTo>
                    <a:pt x="1307859" y="248044"/>
                  </a:lnTo>
                  <a:lnTo>
                    <a:pt x="1307859" y="248691"/>
                  </a:lnTo>
                  <a:lnTo>
                    <a:pt x="1307859" y="248044"/>
                  </a:lnTo>
                  <a:lnTo>
                    <a:pt x="1307910" y="248044"/>
                  </a:lnTo>
                  <a:lnTo>
                    <a:pt x="1307910" y="245961"/>
                  </a:lnTo>
                  <a:lnTo>
                    <a:pt x="1307961" y="245961"/>
                  </a:lnTo>
                  <a:lnTo>
                    <a:pt x="1307961" y="245326"/>
                  </a:lnTo>
                  <a:lnTo>
                    <a:pt x="1307961" y="245961"/>
                  </a:lnTo>
                  <a:lnTo>
                    <a:pt x="1307961" y="242595"/>
                  </a:lnTo>
                  <a:lnTo>
                    <a:pt x="1308062" y="242595"/>
                  </a:lnTo>
                  <a:lnTo>
                    <a:pt x="1308062" y="241897"/>
                  </a:lnTo>
                  <a:lnTo>
                    <a:pt x="1308062" y="244627"/>
                  </a:lnTo>
                  <a:lnTo>
                    <a:pt x="1308062" y="241198"/>
                  </a:lnTo>
                  <a:lnTo>
                    <a:pt x="1308062" y="241897"/>
                  </a:lnTo>
                  <a:lnTo>
                    <a:pt x="1308100" y="242595"/>
                  </a:lnTo>
                  <a:lnTo>
                    <a:pt x="1308100" y="244627"/>
                  </a:lnTo>
                  <a:lnTo>
                    <a:pt x="1308100" y="243929"/>
                  </a:lnTo>
                  <a:lnTo>
                    <a:pt x="1308151" y="244627"/>
                  </a:lnTo>
                  <a:lnTo>
                    <a:pt x="1308151" y="245961"/>
                  </a:lnTo>
                  <a:lnTo>
                    <a:pt x="1308151" y="244627"/>
                  </a:lnTo>
                  <a:lnTo>
                    <a:pt x="1308151" y="245961"/>
                  </a:lnTo>
                  <a:lnTo>
                    <a:pt x="1308202" y="245326"/>
                  </a:lnTo>
                  <a:lnTo>
                    <a:pt x="1308202" y="246659"/>
                  </a:lnTo>
                  <a:lnTo>
                    <a:pt x="1308202" y="245961"/>
                  </a:lnTo>
                  <a:lnTo>
                    <a:pt x="1308202" y="246659"/>
                  </a:lnTo>
                  <a:lnTo>
                    <a:pt x="1308202" y="245961"/>
                  </a:lnTo>
                  <a:lnTo>
                    <a:pt x="1308202" y="246659"/>
                  </a:lnTo>
                  <a:lnTo>
                    <a:pt x="1308202" y="245961"/>
                  </a:lnTo>
                  <a:lnTo>
                    <a:pt x="1308202" y="246659"/>
                  </a:lnTo>
                  <a:lnTo>
                    <a:pt x="1308202" y="245961"/>
                  </a:lnTo>
                  <a:lnTo>
                    <a:pt x="1308202" y="246659"/>
                  </a:lnTo>
                  <a:lnTo>
                    <a:pt x="1308304" y="246659"/>
                  </a:lnTo>
                  <a:lnTo>
                    <a:pt x="1308304" y="248044"/>
                  </a:lnTo>
                  <a:lnTo>
                    <a:pt x="1308304" y="246659"/>
                  </a:lnTo>
                  <a:lnTo>
                    <a:pt x="1308355" y="246659"/>
                  </a:lnTo>
                  <a:lnTo>
                    <a:pt x="1308355" y="248044"/>
                  </a:lnTo>
                  <a:lnTo>
                    <a:pt x="1308405" y="248044"/>
                  </a:lnTo>
                  <a:lnTo>
                    <a:pt x="1308405" y="245961"/>
                  </a:lnTo>
                  <a:lnTo>
                    <a:pt x="1308405" y="246659"/>
                  </a:lnTo>
                  <a:lnTo>
                    <a:pt x="1308405" y="245961"/>
                  </a:lnTo>
                  <a:lnTo>
                    <a:pt x="1308507" y="245961"/>
                  </a:lnTo>
                  <a:lnTo>
                    <a:pt x="1308507" y="243929"/>
                  </a:lnTo>
                  <a:lnTo>
                    <a:pt x="1308507" y="244627"/>
                  </a:lnTo>
                  <a:lnTo>
                    <a:pt x="1308507" y="242595"/>
                  </a:lnTo>
                  <a:lnTo>
                    <a:pt x="1308558" y="241897"/>
                  </a:lnTo>
                  <a:lnTo>
                    <a:pt x="1308558" y="244627"/>
                  </a:lnTo>
                  <a:lnTo>
                    <a:pt x="1308558" y="241897"/>
                  </a:lnTo>
                  <a:lnTo>
                    <a:pt x="1308558" y="242595"/>
                  </a:lnTo>
                  <a:lnTo>
                    <a:pt x="1308609" y="243929"/>
                  </a:lnTo>
                  <a:lnTo>
                    <a:pt x="1308609" y="245961"/>
                  </a:lnTo>
                  <a:lnTo>
                    <a:pt x="1308609" y="243929"/>
                  </a:lnTo>
                  <a:lnTo>
                    <a:pt x="1308609" y="244627"/>
                  </a:lnTo>
                  <a:lnTo>
                    <a:pt x="1308647" y="244627"/>
                  </a:lnTo>
                  <a:lnTo>
                    <a:pt x="1308647" y="245961"/>
                  </a:lnTo>
                  <a:lnTo>
                    <a:pt x="1308647" y="244627"/>
                  </a:lnTo>
                  <a:lnTo>
                    <a:pt x="1308647" y="245326"/>
                  </a:lnTo>
                  <a:lnTo>
                    <a:pt x="1308748" y="245961"/>
                  </a:lnTo>
                  <a:lnTo>
                    <a:pt x="1308799" y="246659"/>
                  </a:lnTo>
                  <a:lnTo>
                    <a:pt x="1308799" y="245961"/>
                  </a:lnTo>
                  <a:lnTo>
                    <a:pt x="1308799" y="248691"/>
                  </a:lnTo>
                  <a:lnTo>
                    <a:pt x="1308850" y="248691"/>
                  </a:lnTo>
                  <a:lnTo>
                    <a:pt x="1308850" y="248044"/>
                  </a:lnTo>
                  <a:lnTo>
                    <a:pt x="1308951" y="248044"/>
                  </a:lnTo>
                  <a:lnTo>
                    <a:pt x="1308951" y="248691"/>
                  </a:lnTo>
                  <a:lnTo>
                    <a:pt x="1308951" y="246659"/>
                  </a:lnTo>
                  <a:lnTo>
                    <a:pt x="1309002" y="246659"/>
                  </a:lnTo>
                  <a:lnTo>
                    <a:pt x="1309002" y="243929"/>
                  </a:lnTo>
                  <a:lnTo>
                    <a:pt x="1309002" y="245326"/>
                  </a:lnTo>
                  <a:lnTo>
                    <a:pt x="1309053" y="245961"/>
                  </a:lnTo>
                  <a:lnTo>
                    <a:pt x="1309053" y="242595"/>
                  </a:lnTo>
                  <a:lnTo>
                    <a:pt x="1309053" y="246659"/>
                  </a:lnTo>
                  <a:lnTo>
                    <a:pt x="1309104" y="246659"/>
                  </a:lnTo>
                  <a:lnTo>
                    <a:pt x="1309104" y="244627"/>
                  </a:lnTo>
                  <a:lnTo>
                    <a:pt x="1309104" y="245961"/>
                  </a:lnTo>
                  <a:lnTo>
                    <a:pt x="1309193" y="245326"/>
                  </a:lnTo>
                  <a:lnTo>
                    <a:pt x="1309193" y="244627"/>
                  </a:lnTo>
                  <a:lnTo>
                    <a:pt x="1309193" y="245961"/>
                  </a:lnTo>
                  <a:lnTo>
                    <a:pt x="1309244" y="245326"/>
                  </a:lnTo>
                  <a:lnTo>
                    <a:pt x="1309244" y="245961"/>
                  </a:lnTo>
                  <a:lnTo>
                    <a:pt x="1309244" y="245326"/>
                  </a:lnTo>
                  <a:lnTo>
                    <a:pt x="1309244" y="245961"/>
                  </a:lnTo>
                  <a:lnTo>
                    <a:pt x="1309294" y="245961"/>
                  </a:lnTo>
                  <a:lnTo>
                    <a:pt x="1309294" y="246659"/>
                  </a:lnTo>
                  <a:lnTo>
                    <a:pt x="1309294" y="245961"/>
                  </a:lnTo>
                  <a:lnTo>
                    <a:pt x="1309294" y="246659"/>
                  </a:lnTo>
                  <a:lnTo>
                    <a:pt x="1309294" y="245961"/>
                  </a:lnTo>
                  <a:lnTo>
                    <a:pt x="1309294" y="246659"/>
                  </a:lnTo>
                  <a:lnTo>
                    <a:pt x="1309294" y="245961"/>
                  </a:lnTo>
                  <a:lnTo>
                    <a:pt x="1309345" y="245961"/>
                  </a:lnTo>
                  <a:lnTo>
                    <a:pt x="1309345" y="246659"/>
                  </a:lnTo>
                  <a:lnTo>
                    <a:pt x="1309345" y="245961"/>
                  </a:lnTo>
                  <a:lnTo>
                    <a:pt x="1309447" y="245961"/>
                  </a:lnTo>
                  <a:lnTo>
                    <a:pt x="1309447" y="243929"/>
                  </a:lnTo>
                  <a:lnTo>
                    <a:pt x="1309497" y="242595"/>
                  </a:lnTo>
                  <a:lnTo>
                    <a:pt x="1309497" y="241198"/>
                  </a:lnTo>
                  <a:lnTo>
                    <a:pt x="1309497" y="243929"/>
                  </a:lnTo>
                  <a:lnTo>
                    <a:pt x="1309548" y="242595"/>
                  </a:lnTo>
                  <a:lnTo>
                    <a:pt x="1309548" y="241897"/>
                  </a:lnTo>
                  <a:lnTo>
                    <a:pt x="1309548" y="242595"/>
                  </a:lnTo>
                  <a:lnTo>
                    <a:pt x="1309548" y="241897"/>
                  </a:lnTo>
                  <a:lnTo>
                    <a:pt x="1309548" y="245326"/>
                  </a:lnTo>
                  <a:lnTo>
                    <a:pt x="1309548" y="244627"/>
                  </a:lnTo>
                  <a:lnTo>
                    <a:pt x="1309650" y="244627"/>
                  </a:lnTo>
                  <a:lnTo>
                    <a:pt x="1309650" y="242595"/>
                  </a:lnTo>
                  <a:lnTo>
                    <a:pt x="1309650" y="244627"/>
                  </a:lnTo>
                  <a:lnTo>
                    <a:pt x="1309650" y="243929"/>
                  </a:lnTo>
                  <a:lnTo>
                    <a:pt x="1309688" y="243929"/>
                  </a:lnTo>
                  <a:lnTo>
                    <a:pt x="1309688" y="242595"/>
                  </a:lnTo>
                  <a:lnTo>
                    <a:pt x="1309688" y="243929"/>
                  </a:lnTo>
                  <a:lnTo>
                    <a:pt x="1309688" y="242595"/>
                  </a:lnTo>
                  <a:lnTo>
                    <a:pt x="1309688" y="243929"/>
                  </a:lnTo>
                  <a:lnTo>
                    <a:pt x="1309688" y="242595"/>
                  </a:lnTo>
                  <a:lnTo>
                    <a:pt x="1309688" y="243929"/>
                  </a:lnTo>
                  <a:lnTo>
                    <a:pt x="1309688" y="242595"/>
                  </a:lnTo>
                  <a:lnTo>
                    <a:pt x="1309739" y="243929"/>
                  </a:lnTo>
                  <a:lnTo>
                    <a:pt x="1309739" y="242595"/>
                  </a:lnTo>
                  <a:lnTo>
                    <a:pt x="1309739" y="243929"/>
                  </a:lnTo>
                  <a:lnTo>
                    <a:pt x="1309739" y="242595"/>
                  </a:lnTo>
                  <a:lnTo>
                    <a:pt x="1309739" y="243929"/>
                  </a:lnTo>
                  <a:lnTo>
                    <a:pt x="1309739" y="242595"/>
                  </a:lnTo>
                  <a:lnTo>
                    <a:pt x="1309739" y="243929"/>
                  </a:lnTo>
                  <a:lnTo>
                    <a:pt x="1309790" y="243929"/>
                  </a:lnTo>
                  <a:lnTo>
                    <a:pt x="1309790" y="244627"/>
                  </a:lnTo>
                  <a:lnTo>
                    <a:pt x="1309790" y="243929"/>
                  </a:lnTo>
                  <a:lnTo>
                    <a:pt x="1309790" y="244627"/>
                  </a:lnTo>
                  <a:lnTo>
                    <a:pt x="1309790" y="243929"/>
                  </a:lnTo>
                  <a:lnTo>
                    <a:pt x="1309891" y="243929"/>
                  </a:lnTo>
                  <a:lnTo>
                    <a:pt x="1309891" y="242595"/>
                  </a:lnTo>
                  <a:lnTo>
                    <a:pt x="1309891" y="243929"/>
                  </a:lnTo>
                  <a:lnTo>
                    <a:pt x="1309891" y="242595"/>
                  </a:lnTo>
                  <a:lnTo>
                    <a:pt x="1309942" y="242595"/>
                  </a:lnTo>
                  <a:lnTo>
                    <a:pt x="1309942" y="241897"/>
                  </a:lnTo>
                  <a:lnTo>
                    <a:pt x="1309942" y="242595"/>
                  </a:lnTo>
                  <a:lnTo>
                    <a:pt x="1309942" y="241198"/>
                  </a:lnTo>
                  <a:lnTo>
                    <a:pt x="1309993" y="241198"/>
                  </a:lnTo>
                  <a:lnTo>
                    <a:pt x="1309993" y="240512"/>
                  </a:lnTo>
                  <a:lnTo>
                    <a:pt x="1309993" y="241198"/>
                  </a:lnTo>
                  <a:lnTo>
                    <a:pt x="1309993" y="240512"/>
                  </a:lnTo>
                  <a:lnTo>
                    <a:pt x="1309993" y="241198"/>
                  </a:lnTo>
                  <a:lnTo>
                    <a:pt x="1309993" y="240512"/>
                  </a:lnTo>
                  <a:lnTo>
                    <a:pt x="1309993" y="242595"/>
                  </a:lnTo>
                  <a:lnTo>
                    <a:pt x="1309993" y="241897"/>
                  </a:lnTo>
                  <a:lnTo>
                    <a:pt x="1310094" y="241198"/>
                  </a:lnTo>
                  <a:lnTo>
                    <a:pt x="1310094" y="244627"/>
                  </a:lnTo>
                  <a:lnTo>
                    <a:pt x="1310094" y="242595"/>
                  </a:lnTo>
                  <a:lnTo>
                    <a:pt x="1310145" y="242595"/>
                  </a:lnTo>
                  <a:lnTo>
                    <a:pt x="1310145" y="244627"/>
                  </a:lnTo>
                  <a:lnTo>
                    <a:pt x="1310145" y="242595"/>
                  </a:lnTo>
                  <a:lnTo>
                    <a:pt x="1310145" y="243929"/>
                  </a:lnTo>
                  <a:lnTo>
                    <a:pt x="1310145" y="242595"/>
                  </a:lnTo>
                  <a:lnTo>
                    <a:pt x="1310196" y="243929"/>
                  </a:lnTo>
                  <a:lnTo>
                    <a:pt x="1310196" y="242595"/>
                  </a:lnTo>
                  <a:lnTo>
                    <a:pt x="1310196" y="244627"/>
                  </a:lnTo>
                  <a:lnTo>
                    <a:pt x="1310196" y="243929"/>
                  </a:lnTo>
                  <a:lnTo>
                    <a:pt x="1310234" y="243929"/>
                  </a:lnTo>
                  <a:lnTo>
                    <a:pt x="1310234" y="244627"/>
                  </a:lnTo>
                  <a:lnTo>
                    <a:pt x="1310234" y="242595"/>
                  </a:lnTo>
                  <a:lnTo>
                    <a:pt x="1310234" y="244627"/>
                  </a:lnTo>
                  <a:lnTo>
                    <a:pt x="1310336" y="244627"/>
                  </a:lnTo>
                  <a:lnTo>
                    <a:pt x="1310336" y="245326"/>
                  </a:lnTo>
                  <a:lnTo>
                    <a:pt x="1310336" y="243929"/>
                  </a:lnTo>
                  <a:lnTo>
                    <a:pt x="1310336" y="244627"/>
                  </a:lnTo>
                  <a:lnTo>
                    <a:pt x="1310336" y="243929"/>
                  </a:lnTo>
                  <a:lnTo>
                    <a:pt x="1310387" y="243929"/>
                  </a:lnTo>
                  <a:lnTo>
                    <a:pt x="1310387" y="241897"/>
                  </a:lnTo>
                  <a:lnTo>
                    <a:pt x="1310437" y="241897"/>
                  </a:lnTo>
                  <a:lnTo>
                    <a:pt x="1310437" y="242595"/>
                  </a:lnTo>
                  <a:lnTo>
                    <a:pt x="1310437" y="241897"/>
                  </a:lnTo>
                  <a:lnTo>
                    <a:pt x="1310437" y="242595"/>
                  </a:lnTo>
                  <a:lnTo>
                    <a:pt x="1310437" y="241897"/>
                  </a:lnTo>
                  <a:lnTo>
                    <a:pt x="1310437" y="242595"/>
                  </a:lnTo>
                  <a:lnTo>
                    <a:pt x="1310437" y="241198"/>
                  </a:lnTo>
                  <a:lnTo>
                    <a:pt x="1310539" y="241897"/>
                  </a:lnTo>
                  <a:lnTo>
                    <a:pt x="1310539" y="241198"/>
                  </a:lnTo>
                  <a:lnTo>
                    <a:pt x="1310539" y="243929"/>
                  </a:lnTo>
                  <a:lnTo>
                    <a:pt x="1310539" y="241198"/>
                  </a:lnTo>
                  <a:lnTo>
                    <a:pt x="1310539" y="241897"/>
                  </a:lnTo>
                  <a:lnTo>
                    <a:pt x="1310590" y="242595"/>
                  </a:lnTo>
                  <a:lnTo>
                    <a:pt x="1310590" y="245961"/>
                  </a:lnTo>
                  <a:lnTo>
                    <a:pt x="1310590" y="243929"/>
                  </a:lnTo>
                  <a:lnTo>
                    <a:pt x="1310590" y="244627"/>
                  </a:lnTo>
                  <a:lnTo>
                    <a:pt x="1310640" y="244627"/>
                  </a:lnTo>
                  <a:lnTo>
                    <a:pt x="1310640" y="245326"/>
                  </a:lnTo>
                  <a:lnTo>
                    <a:pt x="1310640" y="243929"/>
                  </a:lnTo>
                  <a:lnTo>
                    <a:pt x="1310640" y="244627"/>
                  </a:lnTo>
                  <a:lnTo>
                    <a:pt x="1310640" y="243929"/>
                  </a:lnTo>
                  <a:lnTo>
                    <a:pt x="1310640" y="244627"/>
                  </a:lnTo>
                  <a:lnTo>
                    <a:pt x="1310691" y="244627"/>
                  </a:lnTo>
                  <a:lnTo>
                    <a:pt x="1310691" y="245326"/>
                  </a:lnTo>
                  <a:lnTo>
                    <a:pt x="1310691" y="244627"/>
                  </a:lnTo>
                  <a:lnTo>
                    <a:pt x="1310691" y="245326"/>
                  </a:lnTo>
                  <a:lnTo>
                    <a:pt x="1310780" y="245326"/>
                  </a:lnTo>
                  <a:lnTo>
                    <a:pt x="1310780" y="244627"/>
                  </a:lnTo>
                  <a:lnTo>
                    <a:pt x="1310780" y="245961"/>
                  </a:lnTo>
                  <a:lnTo>
                    <a:pt x="1310831" y="245961"/>
                  </a:lnTo>
                  <a:lnTo>
                    <a:pt x="1310831" y="245326"/>
                  </a:lnTo>
                  <a:lnTo>
                    <a:pt x="1310831" y="245961"/>
                  </a:lnTo>
                  <a:lnTo>
                    <a:pt x="1310831" y="245326"/>
                  </a:lnTo>
                  <a:lnTo>
                    <a:pt x="1310831" y="245961"/>
                  </a:lnTo>
                  <a:lnTo>
                    <a:pt x="1310831" y="244627"/>
                  </a:lnTo>
                  <a:lnTo>
                    <a:pt x="1310882" y="244627"/>
                  </a:lnTo>
                  <a:lnTo>
                    <a:pt x="1310882" y="242595"/>
                  </a:lnTo>
                  <a:lnTo>
                    <a:pt x="1310933" y="242595"/>
                  </a:lnTo>
                  <a:lnTo>
                    <a:pt x="1310933" y="241198"/>
                  </a:lnTo>
                  <a:lnTo>
                    <a:pt x="1310933" y="241897"/>
                  </a:lnTo>
                  <a:lnTo>
                    <a:pt x="1310933" y="241198"/>
                  </a:lnTo>
                  <a:lnTo>
                    <a:pt x="1310933" y="243929"/>
                  </a:lnTo>
                  <a:lnTo>
                    <a:pt x="1310933" y="242595"/>
                  </a:lnTo>
                  <a:lnTo>
                    <a:pt x="1311034" y="243929"/>
                  </a:lnTo>
                  <a:lnTo>
                    <a:pt x="1311034" y="241198"/>
                  </a:lnTo>
                  <a:lnTo>
                    <a:pt x="1311034" y="245961"/>
                  </a:lnTo>
                  <a:lnTo>
                    <a:pt x="1311034" y="245326"/>
                  </a:lnTo>
                  <a:lnTo>
                    <a:pt x="1311085" y="245326"/>
                  </a:lnTo>
                  <a:lnTo>
                    <a:pt x="1311085" y="242595"/>
                  </a:lnTo>
                  <a:lnTo>
                    <a:pt x="1311085" y="244627"/>
                  </a:lnTo>
                  <a:lnTo>
                    <a:pt x="1311136" y="243929"/>
                  </a:lnTo>
                  <a:lnTo>
                    <a:pt x="1311136" y="242595"/>
                  </a:lnTo>
                  <a:lnTo>
                    <a:pt x="1311136" y="244627"/>
                  </a:lnTo>
                  <a:lnTo>
                    <a:pt x="1311136" y="243929"/>
                  </a:lnTo>
                  <a:lnTo>
                    <a:pt x="1311136" y="244627"/>
                  </a:lnTo>
                  <a:lnTo>
                    <a:pt x="1311136" y="243929"/>
                  </a:lnTo>
                  <a:lnTo>
                    <a:pt x="1311237" y="243929"/>
                  </a:lnTo>
                  <a:lnTo>
                    <a:pt x="1311237" y="245326"/>
                  </a:lnTo>
                  <a:lnTo>
                    <a:pt x="1311275" y="245326"/>
                  </a:lnTo>
                  <a:lnTo>
                    <a:pt x="1311275" y="244627"/>
                  </a:lnTo>
                  <a:lnTo>
                    <a:pt x="1311275" y="245326"/>
                  </a:lnTo>
                  <a:lnTo>
                    <a:pt x="1311275" y="244627"/>
                  </a:lnTo>
                  <a:lnTo>
                    <a:pt x="1311275" y="245326"/>
                  </a:lnTo>
                  <a:lnTo>
                    <a:pt x="1311275" y="244627"/>
                  </a:lnTo>
                  <a:lnTo>
                    <a:pt x="1311275" y="245961"/>
                  </a:lnTo>
                  <a:lnTo>
                    <a:pt x="1311275" y="245326"/>
                  </a:lnTo>
                  <a:lnTo>
                    <a:pt x="1311326" y="245326"/>
                  </a:lnTo>
                  <a:lnTo>
                    <a:pt x="1311326" y="243929"/>
                  </a:lnTo>
                  <a:lnTo>
                    <a:pt x="1311377" y="243929"/>
                  </a:lnTo>
                  <a:lnTo>
                    <a:pt x="1311377" y="241897"/>
                  </a:lnTo>
                  <a:lnTo>
                    <a:pt x="1311377" y="242595"/>
                  </a:lnTo>
                  <a:lnTo>
                    <a:pt x="1311377" y="241897"/>
                  </a:lnTo>
                  <a:lnTo>
                    <a:pt x="1311479" y="241897"/>
                  </a:lnTo>
                  <a:lnTo>
                    <a:pt x="1311479" y="240512"/>
                  </a:lnTo>
                  <a:lnTo>
                    <a:pt x="1311479" y="241198"/>
                  </a:lnTo>
                  <a:lnTo>
                    <a:pt x="1311479" y="240512"/>
                  </a:lnTo>
                  <a:lnTo>
                    <a:pt x="1311479" y="242595"/>
                  </a:lnTo>
                  <a:lnTo>
                    <a:pt x="1311530" y="242595"/>
                  </a:lnTo>
                  <a:lnTo>
                    <a:pt x="1311530" y="240512"/>
                  </a:lnTo>
                  <a:lnTo>
                    <a:pt x="1311530" y="244627"/>
                  </a:lnTo>
                  <a:lnTo>
                    <a:pt x="1311580" y="244627"/>
                  </a:lnTo>
                  <a:lnTo>
                    <a:pt x="1311580" y="242595"/>
                  </a:lnTo>
                  <a:lnTo>
                    <a:pt x="1311580" y="244627"/>
                  </a:lnTo>
                  <a:lnTo>
                    <a:pt x="1311580" y="243929"/>
                  </a:lnTo>
                  <a:lnTo>
                    <a:pt x="1311682" y="243929"/>
                  </a:lnTo>
                  <a:lnTo>
                    <a:pt x="1311682" y="242595"/>
                  </a:lnTo>
                  <a:lnTo>
                    <a:pt x="1311682" y="245326"/>
                  </a:lnTo>
                  <a:lnTo>
                    <a:pt x="1311682" y="244627"/>
                  </a:lnTo>
                  <a:lnTo>
                    <a:pt x="1311733" y="244627"/>
                  </a:lnTo>
                  <a:lnTo>
                    <a:pt x="1311733" y="245961"/>
                  </a:lnTo>
                  <a:lnTo>
                    <a:pt x="1311733" y="245326"/>
                  </a:lnTo>
                  <a:lnTo>
                    <a:pt x="1311733" y="245961"/>
                  </a:lnTo>
                  <a:lnTo>
                    <a:pt x="1311784" y="245961"/>
                  </a:lnTo>
                  <a:lnTo>
                    <a:pt x="1311784" y="246659"/>
                  </a:lnTo>
                  <a:lnTo>
                    <a:pt x="1311784" y="245961"/>
                  </a:lnTo>
                  <a:lnTo>
                    <a:pt x="1311822" y="245961"/>
                  </a:lnTo>
                  <a:lnTo>
                    <a:pt x="1311822" y="246659"/>
                  </a:lnTo>
                  <a:lnTo>
                    <a:pt x="1311822" y="245326"/>
                  </a:lnTo>
                  <a:lnTo>
                    <a:pt x="1311923" y="244627"/>
                  </a:lnTo>
                  <a:lnTo>
                    <a:pt x="1311923" y="242595"/>
                  </a:lnTo>
                  <a:lnTo>
                    <a:pt x="1311974" y="242595"/>
                  </a:lnTo>
                  <a:lnTo>
                    <a:pt x="1311974" y="241198"/>
                  </a:lnTo>
                  <a:lnTo>
                    <a:pt x="1311974" y="241897"/>
                  </a:lnTo>
                  <a:lnTo>
                    <a:pt x="1311974" y="241198"/>
                  </a:lnTo>
                  <a:lnTo>
                    <a:pt x="1311974" y="241897"/>
                  </a:lnTo>
                  <a:lnTo>
                    <a:pt x="1311974" y="241198"/>
                  </a:lnTo>
                  <a:lnTo>
                    <a:pt x="1311974" y="242595"/>
                  </a:lnTo>
                  <a:lnTo>
                    <a:pt x="1312025" y="242595"/>
                  </a:lnTo>
                  <a:lnTo>
                    <a:pt x="1312025" y="239166"/>
                  </a:lnTo>
                  <a:lnTo>
                    <a:pt x="1312025" y="243929"/>
                  </a:lnTo>
                  <a:lnTo>
                    <a:pt x="1312025" y="242595"/>
                  </a:lnTo>
                  <a:lnTo>
                    <a:pt x="1312126" y="241897"/>
                  </a:lnTo>
                  <a:lnTo>
                    <a:pt x="1312126" y="243929"/>
                  </a:lnTo>
                  <a:lnTo>
                    <a:pt x="1312126" y="242595"/>
                  </a:lnTo>
                  <a:lnTo>
                    <a:pt x="1312177" y="242595"/>
                  </a:lnTo>
                  <a:lnTo>
                    <a:pt x="1312177" y="241897"/>
                  </a:lnTo>
                  <a:lnTo>
                    <a:pt x="1312177" y="244627"/>
                  </a:lnTo>
                  <a:lnTo>
                    <a:pt x="1312228" y="244627"/>
                  </a:lnTo>
                  <a:lnTo>
                    <a:pt x="1312228" y="243929"/>
                  </a:lnTo>
                  <a:lnTo>
                    <a:pt x="1312228" y="244627"/>
                  </a:lnTo>
                  <a:lnTo>
                    <a:pt x="1312279" y="244627"/>
                  </a:lnTo>
                  <a:lnTo>
                    <a:pt x="1312279" y="243929"/>
                  </a:lnTo>
                  <a:lnTo>
                    <a:pt x="1312279" y="245326"/>
                  </a:lnTo>
                  <a:lnTo>
                    <a:pt x="1312279" y="244627"/>
                  </a:lnTo>
                  <a:lnTo>
                    <a:pt x="1312368" y="244627"/>
                  </a:lnTo>
                  <a:lnTo>
                    <a:pt x="1312368" y="245961"/>
                  </a:lnTo>
                  <a:lnTo>
                    <a:pt x="1312368" y="245326"/>
                  </a:lnTo>
                  <a:lnTo>
                    <a:pt x="1312368" y="245961"/>
                  </a:lnTo>
                  <a:lnTo>
                    <a:pt x="1312419" y="245961"/>
                  </a:lnTo>
                  <a:lnTo>
                    <a:pt x="1312419" y="243929"/>
                  </a:lnTo>
                  <a:lnTo>
                    <a:pt x="1312419" y="244627"/>
                  </a:lnTo>
                  <a:lnTo>
                    <a:pt x="1312419" y="243929"/>
                  </a:lnTo>
                  <a:lnTo>
                    <a:pt x="1312469" y="242595"/>
                  </a:lnTo>
                  <a:lnTo>
                    <a:pt x="1312469" y="244627"/>
                  </a:lnTo>
                  <a:lnTo>
                    <a:pt x="1312469" y="243929"/>
                  </a:lnTo>
                  <a:lnTo>
                    <a:pt x="1312520" y="243929"/>
                  </a:lnTo>
                  <a:lnTo>
                    <a:pt x="1312520" y="241897"/>
                  </a:lnTo>
                  <a:lnTo>
                    <a:pt x="1312520" y="245326"/>
                  </a:lnTo>
                  <a:lnTo>
                    <a:pt x="1312520" y="243929"/>
                  </a:lnTo>
                  <a:lnTo>
                    <a:pt x="1312622" y="243929"/>
                  </a:lnTo>
                  <a:lnTo>
                    <a:pt x="1312622" y="242595"/>
                  </a:lnTo>
                  <a:lnTo>
                    <a:pt x="1312622" y="244627"/>
                  </a:lnTo>
                  <a:lnTo>
                    <a:pt x="1312622" y="243929"/>
                  </a:lnTo>
                  <a:lnTo>
                    <a:pt x="1312672" y="243929"/>
                  </a:lnTo>
                  <a:lnTo>
                    <a:pt x="1312672" y="244627"/>
                  </a:lnTo>
                  <a:lnTo>
                    <a:pt x="1312672" y="243929"/>
                  </a:lnTo>
                  <a:lnTo>
                    <a:pt x="1312723" y="243929"/>
                  </a:lnTo>
                  <a:lnTo>
                    <a:pt x="1312723" y="244627"/>
                  </a:lnTo>
                  <a:lnTo>
                    <a:pt x="1312723" y="243929"/>
                  </a:lnTo>
                  <a:lnTo>
                    <a:pt x="1312723" y="244627"/>
                  </a:lnTo>
                  <a:lnTo>
                    <a:pt x="1312723" y="243929"/>
                  </a:lnTo>
                  <a:lnTo>
                    <a:pt x="1312723" y="244627"/>
                  </a:lnTo>
                  <a:lnTo>
                    <a:pt x="1312825" y="244627"/>
                  </a:lnTo>
                  <a:lnTo>
                    <a:pt x="1312825" y="245326"/>
                  </a:lnTo>
                  <a:lnTo>
                    <a:pt x="1312825" y="244627"/>
                  </a:lnTo>
                  <a:lnTo>
                    <a:pt x="1312863" y="244627"/>
                  </a:lnTo>
                  <a:lnTo>
                    <a:pt x="1312863" y="243929"/>
                  </a:lnTo>
                  <a:lnTo>
                    <a:pt x="1312863" y="244627"/>
                  </a:lnTo>
                  <a:lnTo>
                    <a:pt x="1312914" y="244627"/>
                  </a:lnTo>
                  <a:lnTo>
                    <a:pt x="1312914" y="242595"/>
                  </a:lnTo>
                  <a:lnTo>
                    <a:pt x="1312914" y="243929"/>
                  </a:lnTo>
                  <a:lnTo>
                    <a:pt x="1312914" y="242595"/>
                  </a:lnTo>
                  <a:lnTo>
                    <a:pt x="1312965" y="242595"/>
                  </a:lnTo>
                  <a:lnTo>
                    <a:pt x="1312965" y="241897"/>
                  </a:lnTo>
                  <a:lnTo>
                    <a:pt x="1312965" y="242595"/>
                  </a:lnTo>
                  <a:lnTo>
                    <a:pt x="1313066" y="242595"/>
                  </a:lnTo>
                  <a:lnTo>
                    <a:pt x="1313066" y="241897"/>
                  </a:lnTo>
                  <a:lnTo>
                    <a:pt x="1313066" y="242595"/>
                  </a:lnTo>
                  <a:lnTo>
                    <a:pt x="1313066" y="241897"/>
                  </a:lnTo>
                  <a:lnTo>
                    <a:pt x="1313066" y="243929"/>
                  </a:lnTo>
                  <a:lnTo>
                    <a:pt x="1313117" y="242595"/>
                  </a:lnTo>
                  <a:lnTo>
                    <a:pt x="1313117" y="244627"/>
                  </a:lnTo>
                  <a:lnTo>
                    <a:pt x="1313117" y="243929"/>
                  </a:lnTo>
                  <a:lnTo>
                    <a:pt x="1313117" y="244627"/>
                  </a:lnTo>
                  <a:lnTo>
                    <a:pt x="1313117" y="243929"/>
                  </a:lnTo>
                  <a:lnTo>
                    <a:pt x="1313168" y="243929"/>
                  </a:lnTo>
                  <a:lnTo>
                    <a:pt x="1313168" y="242595"/>
                  </a:lnTo>
                  <a:lnTo>
                    <a:pt x="1313168" y="244627"/>
                  </a:lnTo>
                  <a:lnTo>
                    <a:pt x="1313269" y="244627"/>
                  </a:lnTo>
                  <a:lnTo>
                    <a:pt x="1313269" y="245326"/>
                  </a:lnTo>
                  <a:lnTo>
                    <a:pt x="1313269" y="244627"/>
                  </a:lnTo>
                  <a:lnTo>
                    <a:pt x="1313320" y="244627"/>
                  </a:lnTo>
                  <a:lnTo>
                    <a:pt x="1313320" y="245326"/>
                  </a:lnTo>
                  <a:lnTo>
                    <a:pt x="1313320" y="244627"/>
                  </a:lnTo>
                  <a:lnTo>
                    <a:pt x="1313371" y="244627"/>
                  </a:lnTo>
                  <a:lnTo>
                    <a:pt x="1313371" y="245326"/>
                  </a:lnTo>
                  <a:lnTo>
                    <a:pt x="1313371" y="244627"/>
                  </a:lnTo>
                  <a:lnTo>
                    <a:pt x="1313409" y="244627"/>
                  </a:lnTo>
                  <a:lnTo>
                    <a:pt x="1313409" y="242595"/>
                  </a:lnTo>
                  <a:lnTo>
                    <a:pt x="1313511" y="242595"/>
                  </a:lnTo>
                  <a:lnTo>
                    <a:pt x="1313511" y="241897"/>
                  </a:lnTo>
                  <a:lnTo>
                    <a:pt x="1313511" y="242595"/>
                  </a:lnTo>
                  <a:lnTo>
                    <a:pt x="1313511" y="241897"/>
                  </a:lnTo>
                  <a:lnTo>
                    <a:pt x="1313511" y="243929"/>
                  </a:lnTo>
                  <a:lnTo>
                    <a:pt x="1313511" y="242595"/>
                  </a:lnTo>
                  <a:lnTo>
                    <a:pt x="1313562" y="242595"/>
                  </a:lnTo>
                  <a:lnTo>
                    <a:pt x="1313562" y="244627"/>
                  </a:lnTo>
                  <a:lnTo>
                    <a:pt x="1313612" y="244627"/>
                  </a:lnTo>
                  <a:lnTo>
                    <a:pt x="1313612" y="243929"/>
                  </a:lnTo>
                  <a:lnTo>
                    <a:pt x="1313612" y="245961"/>
                  </a:lnTo>
                  <a:lnTo>
                    <a:pt x="1313612" y="244627"/>
                  </a:lnTo>
                  <a:lnTo>
                    <a:pt x="1313714" y="244627"/>
                  </a:lnTo>
                  <a:lnTo>
                    <a:pt x="1313714" y="245961"/>
                  </a:lnTo>
                  <a:lnTo>
                    <a:pt x="1313765" y="245961"/>
                  </a:lnTo>
                  <a:lnTo>
                    <a:pt x="1313765" y="245326"/>
                  </a:lnTo>
                  <a:lnTo>
                    <a:pt x="1313765" y="246659"/>
                  </a:lnTo>
                  <a:lnTo>
                    <a:pt x="1313765" y="245961"/>
                  </a:lnTo>
                  <a:lnTo>
                    <a:pt x="1313765" y="246659"/>
                  </a:lnTo>
                  <a:lnTo>
                    <a:pt x="1313815" y="246659"/>
                  </a:lnTo>
                  <a:lnTo>
                    <a:pt x="1313815" y="245961"/>
                  </a:lnTo>
                  <a:lnTo>
                    <a:pt x="1313815" y="246659"/>
                  </a:lnTo>
                  <a:lnTo>
                    <a:pt x="1313815" y="245961"/>
                  </a:lnTo>
                  <a:lnTo>
                    <a:pt x="1313866" y="245961"/>
                  </a:lnTo>
                  <a:lnTo>
                    <a:pt x="1313866" y="246659"/>
                  </a:lnTo>
                  <a:lnTo>
                    <a:pt x="1313866" y="244627"/>
                  </a:lnTo>
                  <a:lnTo>
                    <a:pt x="1313866" y="245326"/>
                  </a:lnTo>
                  <a:lnTo>
                    <a:pt x="1313955" y="245326"/>
                  </a:lnTo>
                  <a:lnTo>
                    <a:pt x="1313955" y="242595"/>
                  </a:lnTo>
                  <a:lnTo>
                    <a:pt x="1314006" y="242595"/>
                  </a:lnTo>
                  <a:lnTo>
                    <a:pt x="1314006" y="241897"/>
                  </a:lnTo>
                  <a:lnTo>
                    <a:pt x="1314006" y="242595"/>
                  </a:lnTo>
                  <a:lnTo>
                    <a:pt x="1314006" y="241897"/>
                  </a:lnTo>
                  <a:lnTo>
                    <a:pt x="1314006" y="242595"/>
                  </a:lnTo>
                  <a:lnTo>
                    <a:pt x="1314006" y="241897"/>
                  </a:lnTo>
                  <a:lnTo>
                    <a:pt x="1314057" y="241897"/>
                  </a:lnTo>
                  <a:lnTo>
                    <a:pt x="1314057" y="244627"/>
                  </a:lnTo>
                  <a:lnTo>
                    <a:pt x="1314057" y="242595"/>
                  </a:lnTo>
                  <a:lnTo>
                    <a:pt x="1314108" y="242595"/>
                  </a:lnTo>
                  <a:lnTo>
                    <a:pt x="1314108" y="244627"/>
                  </a:lnTo>
                  <a:lnTo>
                    <a:pt x="1314108" y="243929"/>
                  </a:lnTo>
                  <a:lnTo>
                    <a:pt x="1314209" y="243929"/>
                  </a:lnTo>
                  <a:lnTo>
                    <a:pt x="1314209" y="245961"/>
                  </a:lnTo>
                  <a:lnTo>
                    <a:pt x="1314260" y="245961"/>
                  </a:lnTo>
                  <a:lnTo>
                    <a:pt x="1314260" y="245326"/>
                  </a:lnTo>
                  <a:lnTo>
                    <a:pt x="1314260" y="245961"/>
                  </a:lnTo>
                  <a:lnTo>
                    <a:pt x="1314311" y="245961"/>
                  </a:lnTo>
                  <a:lnTo>
                    <a:pt x="1314311" y="246659"/>
                  </a:lnTo>
                  <a:lnTo>
                    <a:pt x="1314311" y="245961"/>
                  </a:lnTo>
                  <a:lnTo>
                    <a:pt x="1314311" y="246659"/>
                  </a:lnTo>
                  <a:lnTo>
                    <a:pt x="1314311" y="245961"/>
                  </a:lnTo>
                  <a:lnTo>
                    <a:pt x="1314412" y="246659"/>
                  </a:lnTo>
                  <a:lnTo>
                    <a:pt x="1314412" y="244627"/>
                  </a:lnTo>
                  <a:lnTo>
                    <a:pt x="1314450" y="244627"/>
                  </a:lnTo>
                  <a:lnTo>
                    <a:pt x="1314450" y="242595"/>
                  </a:lnTo>
                  <a:lnTo>
                    <a:pt x="1314450" y="243929"/>
                  </a:lnTo>
                  <a:lnTo>
                    <a:pt x="1314450" y="241897"/>
                  </a:lnTo>
                  <a:lnTo>
                    <a:pt x="1314501" y="241897"/>
                  </a:lnTo>
                  <a:lnTo>
                    <a:pt x="1314501" y="241198"/>
                  </a:lnTo>
                  <a:lnTo>
                    <a:pt x="1314501" y="242595"/>
                  </a:lnTo>
                  <a:lnTo>
                    <a:pt x="1314501" y="241198"/>
                  </a:lnTo>
                  <a:lnTo>
                    <a:pt x="1314552" y="241198"/>
                  </a:lnTo>
                  <a:lnTo>
                    <a:pt x="1314552" y="243929"/>
                  </a:lnTo>
                  <a:lnTo>
                    <a:pt x="1314552" y="242595"/>
                  </a:lnTo>
                  <a:lnTo>
                    <a:pt x="1314654" y="243929"/>
                  </a:lnTo>
                  <a:lnTo>
                    <a:pt x="1314654" y="242595"/>
                  </a:lnTo>
                  <a:lnTo>
                    <a:pt x="1314654" y="244627"/>
                  </a:lnTo>
                  <a:lnTo>
                    <a:pt x="1314654" y="243929"/>
                  </a:lnTo>
                  <a:lnTo>
                    <a:pt x="1314705" y="243929"/>
                  </a:lnTo>
                  <a:lnTo>
                    <a:pt x="1314705" y="244627"/>
                  </a:lnTo>
                  <a:lnTo>
                    <a:pt x="1314705" y="243929"/>
                  </a:lnTo>
                  <a:lnTo>
                    <a:pt x="1314705" y="244627"/>
                  </a:lnTo>
                  <a:lnTo>
                    <a:pt x="1314705" y="243929"/>
                  </a:lnTo>
                  <a:lnTo>
                    <a:pt x="1314705" y="244627"/>
                  </a:lnTo>
                  <a:lnTo>
                    <a:pt x="1314705" y="243929"/>
                  </a:lnTo>
                  <a:lnTo>
                    <a:pt x="1314755" y="244627"/>
                  </a:lnTo>
                  <a:lnTo>
                    <a:pt x="1314755" y="243929"/>
                  </a:lnTo>
                  <a:lnTo>
                    <a:pt x="1314755" y="244627"/>
                  </a:lnTo>
                  <a:lnTo>
                    <a:pt x="1314755" y="243929"/>
                  </a:lnTo>
                  <a:lnTo>
                    <a:pt x="1314857" y="244627"/>
                  </a:lnTo>
                  <a:lnTo>
                    <a:pt x="1314857" y="245961"/>
                  </a:lnTo>
                  <a:lnTo>
                    <a:pt x="1314857" y="245326"/>
                  </a:lnTo>
                  <a:lnTo>
                    <a:pt x="1314857" y="245961"/>
                  </a:lnTo>
                  <a:lnTo>
                    <a:pt x="1314857" y="245326"/>
                  </a:lnTo>
                  <a:lnTo>
                    <a:pt x="1314857" y="245961"/>
                  </a:lnTo>
                  <a:lnTo>
                    <a:pt x="1314908" y="245961"/>
                  </a:lnTo>
                  <a:lnTo>
                    <a:pt x="1314908" y="245326"/>
                  </a:lnTo>
                  <a:lnTo>
                    <a:pt x="1314908" y="245961"/>
                  </a:lnTo>
                  <a:lnTo>
                    <a:pt x="1314908" y="243929"/>
                  </a:lnTo>
                  <a:lnTo>
                    <a:pt x="1314959" y="243929"/>
                  </a:lnTo>
                  <a:lnTo>
                    <a:pt x="1314959" y="242595"/>
                  </a:lnTo>
                  <a:lnTo>
                    <a:pt x="1314997" y="242595"/>
                  </a:lnTo>
                  <a:lnTo>
                    <a:pt x="1314997" y="241897"/>
                  </a:lnTo>
                  <a:lnTo>
                    <a:pt x="1314997" y="242595"/>
                  </a:lnTo>
                  <a:lnTo>
                    <a:pt x="1314997" y="241897"/>
                  </a:lnTo>
                  <a:lnTo>
                    <a:pt x="1314997" y="243929"/>
                  </a:lnTo>
                  <a:lnTo>
                    <a:pt x="1315098" y="244627"/>
                  </a:lnTo>
                  <a:lnTo>
                    <a:pt x="1315098" y="243929"/>
                  </a:lnTo>
                  <a:lnTo>
                    <a:pt x="1315098" y="244627"/>
                  </a:lnTo>
                  <a:lnTo>
                    <a:pt x="1315098" y="242595"/>
                  </a:lnTo>
                  <a:lnTo>
                    <a:pt x="1315098" y="244627"/>
                  </a:lnTo>
                  <a:lnTo>
                    <a:pt x="1315149" y="244627"/>
                  </a:lnTo>
                  <a:lnTo>
                    <a:pt x="1315149" y="243929"/>
                  </a:lnTo>
                  <a:lnTo>
                    <a:pt x="1315149" y="244627"/>
                  </a:lnTo>
                  <a:lnTo>
                    <a:pt x="1315149" y="243929"/>
                  </a:lnTo>
                  <a:lnTo>
                    <a:pt x="1315149" y="244627"/>
                  </a:lnTo>
                  <a:lnTo>
                    <a:pt x="1315149" y="243929"/>
                  </a:lnTo>
                  <a:lnTo>
                    <a:pt x="1315149" y="244627"/>
                  </a:lnTo>
                  <a:lnTo>
                    <a:pt x="1315200" y="244627"/>
                  </a:lnTo>
                  <a:lnTo>
                    <a:pt x="1315200" y="243929"/>
                  </a:lnTo>
                  <a:lnTo>
                    <a:pt x="1315200" y="244627"/>
                  </a:lnTo>
                  <a:lnTo>
                    <a:pt x="1315200" y="243929"/>
                  </a:lnTo>
                  <a:lnTo>
                    <a:pt x="1315200" y="244627"/>
                  </a:lnTo>
                  <a:lnTo>
                    <a:pt x="1315301" y="244627"/>
                  </a:lnTo>
                  <a:lnTo>
                    <a:pt x="1315301" y="243929"/>
                  </a:lnTo>
                  <a:lnTo>
                    <a:pt x="1315301" y="244627"/>
                  </a:lnTo>
                  <a:lnTo>
                    <a:pt x="1315301" y="243929"/>
                  </a:lnTo>
                  <a:lnTo>
                    <a:pt x="1315301" y="244627"/>
                  </a:lnTo>
                  <a:lnTo>
                    <a:pt x="1315403" y="244627"/>
                  </a:lnTo>
                  <a:lnTo>
                    <a:pt x="1315403" y="242595"/>
                  </a:lnTo>
                  <a:lnTo>
                    <a:pt x="1315454" y="242595"/>
                  </a:lnTo>
                  <a:lnTo>
                    <a:pt x="1315454" y="244627"/>
                  </a:lnTo>
                  <a:lnTo>
                    <a:pt x="1315454" y="241897"/>
                  </a:lnTo>
                  <a:lnTo>
                    <a:pt x="1315454" y="242595"/>
                  </a:lnTo>
                  <a:lnTo>
                    <a:pt x="1315543" y="242595"/>
                  </a:lnTo>
                  <a:lnTo>
                    <a:pt x="1315543" y="246659"/>
                  </a:lnTo>
                  <a:lnTo>
                    <a:pt x="1315543" y="245326"/>
                  </a:lnTo>
                  <a:lnTo>
                    <a:pt x="1315594" y="245326"/>
                  </a:lnTo>
                  <a:lnTo>
                    <a:pt x="1315594" y="248044"/>
                  </a:lnTo>
                  <a:lnTo>
                    <a:pt x="1315594" y="245961"/>
                  </a:lnTo>
                  <a:lnTo>
                    <a:pt x="1315644" y="245961"/>
                  </a:lnTo>
                  <a:lnTo>
                    <a:pt x="1315644" y="246659"/>
                  </a:lnTo>
                  <a:lnTo>
                    <a:pt x="1315644" y="245961"/>
                  </a:lnTo>
                  <a:lnTo>
                    <a:pt x="1315644" y="246659"/>
                  </a:lnTo>
                  <a:lnTo>
                    <a:pt x="1315695" y="245961"/>
                  </a:lnTo>
                  <a:lnTo>
                    <a:pt x="1315695" y="246659"/>
                  </a:lnTo>
                  <a:lnTo>
                    <a:pt x="1315695" y="245961"/>
                  </a:lnTo>
                  <a:lnTo>
                    <a:pt x="1315797" y="245961"/>
                  </a:lnTo>
                  <a:lnTo>
                    <a:pt x="1315797" y="245326"/>
                  </a:lnTo>
                  <a:lnTo>
                    <a:pt x="1315797" y="246659"/>
                  </a:lnTo>
                  <a:lnTo>
                    <a:pt x="1315797" y="245961"/>
                  </a:lnTo>
                  <a:lnTo>
                    <a:pt x="1315847" y="245961"/>
                  </a:lnTo>
                  <a:lnTo>
                    <a:pt x="1315847" y="245326"/>
                  </a:lnTo>
                  <a:lnTo>
                    <a:pt x="1315847" y="245961"/>
                  </a:lnTo>
                  <a:lnTo>
                    <a:pt x="1315847" y="245326"/>
                  </a:lnTo>
                  <a:lnTo>
                    <a:pt x="1315847" y="245961"/>
                  </a:lnTo>
                  <a:lnTo>
                    <a:pt x="1315847" y="245326"/>
                  </a:lnTo>
                  <a:lnTo>
                    <a:pt x="1315847" y="245961"/>
                  </a:lnTo>
                  <a:lnTo>
                    <a:pt x="1315847" y="245326"/>
                  </a:lnTo>
                  <a:lnTo>
                    <a:pt x="1315898" y="244627"/>
                  </a:lnTo>
                  <a:lnTo>
                    <a:pt x="1315898" y="242595"/>
                  </a:lnTo>
                  <a:lnTo>
                    <a:pt x="1315898" y="243929"/>
                  </a:lnTo>
                  <a:lnTo>
                    <a:pt x="1315898" y="242595"/>
                  </a:lnTo>
                  <a:lnTo>
                    <a:pt x="1315898" y="243929"/>
                  </a:lnTo>
                  <a:lnTo>
                    <a:pt x="1315898" y="242595"/>
                  </a:lnTo>
                  <a:lnTo>
                    <a:pt x="1315898" y="244627"/>
                  </a:lnTo>
                  <a:lnTo>
                    <a:pt x="1316000" y="244627"/>
                  </a:lnTo>
                  <a:lnTo>
                    <a:pt x="1316000" y="245326"/>
                  </a:lnTo>
                  <a:lnTo>
                    <a:pt x="1316000" y="243929"/>
                  </a:lnTo>
                  <a:lnTo>
                    <a:pt x="1316000" y="248044"/>
                  </a:lnTo>
                  <a:lnTo>
                    <a:pt x="1316038" y="248044"/>
                  </a:lnTo>
                  <a:lnTo>
                    <a:pt x="1316038" y="245961"/>
                  </a:lnTo>
                  <a:lnTo>
                    <a:pt x="1316038" y="248044"/>
                  </a:lnTo>
                  <a:lnTo>
                    <a:pt x="1316089" y="248044"/>
                  </a:lnTo>
                  <a:lnTo>
                    <a:pt x="1316089" y="246659"/>
                  </a:lnTo>
                  <a:lnTo>
                    <a:pt x="1316089" y="248044"/>
                  </a:lnTo>
                  <a:lnTo>
                    <a:pt x="1316089" y="246659"/>
                  </a:lnTo>
                  <a:lnTo>
                    <a:pt x="1316089" y="248044"/>
                  </a:lnTo>
                  <a:lnTo>
                    <a:pt x="1316140" y="246659"/>
                  </a:lnTo>
                  <a:lnTo>
                    <a:pt x="1316140" y="248044"/>
                  </a:lnTo>
                  <a:lnTo>
                    <a:pt x="1316140" y="246659"/>
                  </a:lnTo>
                  <a:lnTo>
                    <a:pt x="1316241" y="246659"/>
                  </a:lnTo>
                  <a:lnTo>
                    <a:pt x="1316241" y="245961"/>
                  </a:lnTo>
                  <a:lnTo>
                    <a:pt x="1316241" y="246659"/>
                  </a:lnTo>
                  <a:lnTo>
                    <a:pt x="1316241" y="245961"/>
                  </a:lnTo>
                  <a:lnTo>
                    <a:pt x="1316292" y="246659"/>
                  </a:lnTo>
                  <a:lnTo>
                    <a:pt x="1316292" y="244627"/>
                  </a:lnTo>
                  <a:lnTo>
                    <a:pt x="1316343" y="244627"/>
                  </a:lnTo>
                  <a:lnTo>
                    <a:pt x="1316343" y="241897"/>
                  </a:lnTo>
                  <a:lnTo>
                    <a:pt x="1316444" y="241897"/>
                  </a:lnTo>
                  <a:lnTo>
                    <a:pt x="1316444" y="241198"/>
                  </a:lnTo>
                  <a:lnTo>
                    <a:pt x="1316444" y="242595"/>
                  </a:lnTo>
                  <a:lnTo>
                    <a:pt x="1316444" y="241897"/>
                  </a:lnTo>
                  <a:lnTo>
                    <a:pt x="1316495" y="241897"/>
                  </a:lnTo>
                  <a:lnTo>
                    <a:pt x="1316495" y="244627"/>
                  </a:lnTo>
                  <a:lnTo>
                    <a:pt x="1316495" y="243929"/>
                  </a:lnTo>
                  <a:lnTo>
                    <a:pt x="1316546" y="243929"/>
                  </a:lnTo>
                  <a:lnTo>
                    <a:pt x="1316546" y="245326"/>
                  </a:lnTo>
                  <a:lnTo>
                    <a:pt x="1316546" y="243929"/>
                  </a:lnTo>
                  <a:lnTo>
                    <a:pt x="1316584" y="244627"/>
                  </a:lnTo>
                  <a:lnTo>
                    <a:pt x="1316584" y="245961"/>
                  </a:lnTo>
                  <a:lnTo>
                    <a:pt x="1316584" y="245326"/>
                  </a:lnTo>
                  <a:lnTo>
                    <a:pt x="1316584" y="245961"/>
                  </a:lnTo>
                  <a:lnTo>
                    <a:pt x="1316737" y="245961"/>
                  </a:lnTo>
                  <a:lnTo>
                    <a:pt x="1316737" y="246659"/>
                  </a:lnTo>
                  <a:lnTo>
                    <a:pt x="1316737" y="245961"/>
                  </a:lnTo>
                  <a:lnTo>
                    <a:pt x="1316787" y="245961"/>
                  </a:lnTo>
                  <a:lnTo>
                    <a:pt x="1316787" y="243929"/>
                  </a:lnTo>
                  <a:lnTo>
                    <a:pt x="1316889" y="243929"/>
                  </a:lnTo>
                  <a:lnTo>
                    <a:pt x="1316889" y="240512"/>
                  </a:lnTo>
                  <a:lnTo>
                    <a:pt x="1316889" y="241198"/>
                  </a:lnTo>
                  <a:lnTo>
                    <a:pt x="1316940" y="241198"/>
                  </a:lnTo>
                  <a:lnTo>
                    <a:pt x="1316940" y="242595"/>
                  </a:lnTo>
                  <a:lnTo>
                    <a:pt x="1316940" y="241198"/>
                  </a:lnTo>
                  <a:lnTo>
                    <a:pt x="1316940" y="241897"/>
                  </a:lnTo>
                  <a:lnTo>
                    <a:pt x="1316940" y="241198"/>
                  </a:lnTo>
                  <a:lnTo>
                    <a:pt x="1316940" y="242595"/>
                  </a:lnTo>
                  <a:lnTo>
                    <a:pt x="1316990" y="242595"/>
                  </a:lnTo>
                  <a:lnTo>
                    <a:pt x="1316990" y="243929"/>
                  </a:lnTo>
                  <a:lnTo>
                    <a:pt x="1316990" y="242595"/>
                  </a:lnTo>
                  <a:lnTo>
                    <a:pt x="1316990" y="243929"/>
                  </a:lnTo>
                  <a:lnTo>
                    <a:pt x="1316990" y="241897"/>
                  </a:lnTo>
                  <a:lnTo>
                    <a:pt x="1317041" y="242595"/>
                  </a:lnTo>
                  <a:lnTo>
                    <a:pt x="1317041" y="243929"/>
                  </a:lnTo>
                  <a:lnTo>
                    <a:pt x="1317041" y="242595"/>
                  </a:lnTo>
                  <a:lnTo>
                    <a:pt x="1317041" y="243929"/>
                  </a:lnTo>
                  <a:lnTo>
                    <a:pt x="1317041" y="242595"/>
                  </a:lnTo>
                  <a:lnTo>
                    <a:pt x="1317041" y="243929"/>
                  </a:lnTo>
                  <a:lnTo>
                    <a:pt x="1317041" y="242595"/>
                  </a:lnTo>
                  <a:lnTo>
                    <a:pt x="1317130" y="242595"/>
                  </a:lnTo>
                  <a:lnTo>
                    <a:pt x="1317130" y="243929"/>
                  </a:lnTo>
                  <a:lnTo>
                    <a:pt x="1317181" y="243929"/>
                  </a:lnTo>
                  <a:lnTo>
                    <a:pt x="1317181" y="242595"/>
                  </a:lnTo>
                  <a:lnTo>
                    <a:pt x="1317181" y="244627"/>
                  </a:lnTo>
                  <a:lnTo>
                    <a:pt x="1317181" y="243929"/>
                  </a:lnTo>
                  <a:lnTo>
                    <a:pt x="1317181" y="244627"/>
                  </a:lnTo>
                  <a:lnTo>
                    <a:pt x="1317181" y="243929"/>
                  </a:lnTo>
                  <a:lnTo>
                    <a:pt x="1317181" y="244627"/>
                  </a:lnTo>
                  <a:lnTo>
                    <a:pt x="1317181" y="243929"/>
                  </a:lnTo>
                  <a:lnTo>
                    <a:pt x="1317232" y="243929"/>
                  </a:lnTo>
                  <a:lnTo>
                    <a:pt x="1317232" y="244627"/>
                  </a:lnTo>
                  <a:lnTo>
                    <a:pt x="1317232" y="243929"/>
                  </a:lnTo>
                  <a:lnTo>
                    <a:pt x="1317232" y="244627"/>
                  </a:lnTo>
                  <a:lnTo>
                    <a:pt x="1317232" y="242595"/>
                  </a:lnTo>
                  <a:lnTo>
                    <a:pt x="1317232" y="244627"/>
                  </a:lnTo>
                  <a:lnTo>
                    <a:pt x="1317232" y="243929"/>
                  </a:lnTo>
                  <a:lnTo>
                    <a:pt x="1317283" y="243929"/>
                  </a:lnTo>
                  <a:lnTo>
                    <a:pt x="1317283" y="242595"/>
                  </a:lnTo>
                  <a:lnTo>
                    <a:pt x="1317283" y="243929"/>
                  </a:lnTo>
                  <a:lnTo>
                    <a:pt x="1317283" y="241897"/>
                  </a:lnTo>
                  <a:lnTo>
                    <a:pt x="1317283" y="242595"/>
                  </a:lnTo>
                  <a:lnTo>
                    <a:pt x="1317384" y="242595"/>
                  </a:lnTo>
                  <a:lnTo>
                    <a:pt x="1317384" y="239166"/>
                  </a:lnTo>
                  <a:lnTo>
                    <a:pt x="1317435" y="238480"/>
                  </a:lnTo>
                  <a:lnTo>
                    <a:pt x="1317435" y="241198"/>
                  </a:lnTo>
                  <a:lnTo>
                    <a:pt x="1317435" y="238480"/>
                  </a:lnTo>
                  <a:lnTo>
                    <a:pt x="1317435" y="239166"/>
                  </a:lnTo>
                  <a:lnTo>
                    <a:pt x="1317435" y="238480"/>
                  </a:lnTo>
                  <a:lnTo>
                    <a:pt x="1317435" y="239166"/>
                  </a:lnTo>
                  <a:lnTo>
                    <a:pt x="1317486" y="238480"/>
                  </a:lnTo>
                  <a:lnTo>
                    <a:pt x="1317486" y="241897"/>
                  </a:lnTo>
                  <a:lnTo>
                    <a:pt x="1317486" y="240512"/>
                  </a:lnTo>
                  <a:lnTo>
                    <a:pt x="1317587" y="241198"/>
                  </a:lnTo>
                  <a:lnTo>
                    <a:pt x="1317587" y="242595"/>
                  </a:lnTo>
                  <a:lnTo>
                    <a:pt x="1317587" y="241897"/>
                  </a:lnTo>
                  <a:lnTo>
                    <a:pt x="1317625" y="241897"/>
                  </a:lnTo>
                  <a:lnTo>
                    <a:pt x="1317625" y="242595"/>
                  </a:lnTo>
                  <a:lnTo>
                    <a:pt x="1317676" y="243929"/>
                  </a:lnTo>
                  <a:lnTo>
                    <a:pt x="1317676" y="242595"/>
                  </a:lnTo>
                  <a:lnTo>
                    <a:pt x="1317676" y="243929"/>
                  </a:lnTo>
                  <a:lnTo>
                    <a:pt x="1317676" y="242595"/>
                  </a:lnTo>
                  <a:lnTo>
                    <a:pt x="1317676" y="244627"/>
                  </a:lnTo>
                  <a:lnTo>
                    <a:pt x="1317727" y="244627"/>
                  </a:lnTo>
                  <a:lnTo>
                    <a:pt x="1317727" y="243929"/>
                  </a:lnTo>
                  <a:lnTo>
                    <a:pt x="1317829" y="243929"/>
                  </a:lnTo>
                  <a:lnTo>
                    <a:pt x="1317829" y="242595"/>
                  </a:lnTo>
                  <a:lnTo>
                    <a:pt x="1317829" y="243929"/>
                  </a:lnTo>
                  <a:lnTo>
                    <a:pt x="1317829" y="242595"/>
                  </a:lnTo>
                  <a:lnTo>
                    <a:pt x="1317829" y="243929"/>
                  </a:lnTo>
                  <a:lnTo>
                    <a:pt x="1317829" y="242595"/>
                  </a:lnTo>
                  <a:lnTo>
                    <a:pt x="1317880" y="242595"/>
                  </a:lnTo>
                  <a:lnTo>
                    <a:pt x="1317880" y="239166"/>
                  </a:lnTo>
                  <a:lnTo>
                    <a:pt x="1317930" y="240512"/>
                  </a:lnTo>
                  <a:lnTo>
                    <a:pt x="1317930" y="239166"/>
                  </a:lnTo>
                  <a:lnTo>
                    <a:pt x="1317930" y="241198"/>
                  </a:lnTo>
                  <a:lnTo>
                    <a:pt x="1317930" y="239166"/>
                  </a:lnTo>
                  <a:lnTo>
                    <a:pt x="1317930" y="240512"/>
                  </a:lnTo>
                  <a:lnTo>
                    <a:pt x="1318032" y="241198"/>
                  </a:lnTo>
                  <a:lnTo>
                    <a:pt x="1318032" y="242595"/>
                  </a:lnTo>
                  <a:lnTo>
                    <a:pt x="1318032" y="240512"/>
                  </a:lnTo>
                  <a:lnTo>
                    <a:pt x="1318032" y="241198"/>
                  </a:lnTo>
                  <a:lnTo>
                    <a:pt x="1318083" y="241198"/>
                  </a:lnTo>
                  <a:lnTo>
                    <a:pt x="1318083" y="241897"/>
                  </a:lnTo>
                  <a:lnTo>
                    <a:pt x="1318083" y="240512"/>
                  </a:lnTo>
                  <a:lnTo>
                    <a:pt x="1318083" y="241198"/>
                  </a:lnTo>
                  <a:lnTo>
                    <a:pt x="1318134" y="241198"/>
                  </a:lnTo>
                  <a:lnTo>
                    <a:pt x="1318134" y="241897"/>
                  </a:lnTo>
                  <a:lnTo>
                    <a:pt x="1318134" y="241198"/>
                  </a:lnTo>
                  <a:lnTo>
                    <a:pt x="1318134" y="242595"/>
                  </a:lnTo>
                  <a:lnTo>
                    <a:pt x="1318172" y="241897"/>
                  </a:lnTo>
                  <a:lnTo>
                    <a:pt x="1318172" y="243929"/>
                  </a:lnTo>
                  <a:lnTo>
                    <a:pt x="1318273" y="242595"/>
                  </a:lnTo>
                  <a:lnTo>
                    <a:pt x="1318273" y="243929"/>
                  </a:lnTo>
                  <a:lnTo>
                    <a:pt x="1318273" y="242595"/>
                  </a:lnTo>
                  <a:lnTo>
                    <a:pt x="1318273" y="243929"/>
                  </a:lnTo>
                  <a:lnTo>
                    <a:pt x="1318273" y="242595"/>
                  </a:lnTo>
                  <a:lnTo>
                    <a:pt x="1318273" y="243929"/>
                  </a:lnTo>
                  <a:lnTo>
                    <a:pt x="1318324" y="243929"/>
                  </a:lnTo>
                  <a:lnTo>
                    <a:pt x="1318324" y="242595"/>
                  </a:lnTo>
                  <a:lnTo>
                    <a:pt x="1318324" y="243929"/>
                  </a:lnTo>
                  <a:lnTo>
                    <a:pt x="1318324" y="241897"/>
                  </a:lnTo>
                  <a:lnTo>
                    <a:pt x="1318375" y="241897"/>
                  </a:lnTo>
                  <a:lnTo>
                    <a:pt x="1318375" y="240512"/>
                  </a:lnTo>
                  <a:lnTo>
                    <a:pt x="1318375" y="242595"/>
                  </a:lnTo>
                  <a:lnTo>
                    <a:pt x="1318476" y="242595"/>
                  </a:lnTo>
                  <a:lnTo>
                    <a:pt x="1318476" y="240512"/>
                  </a:lnTo>
                  <a:lnTo>
                    <a:pt x="1318476" y="244627"/>
                  </a:lnTo>
                  <a:lnTo>
                    <a:pt x="1318476" y="243929"/>
                  </a:lnTo>
                  <a:lnTo>
                    <a:pt x="1318527" y="243929"/>
                  </a:lnTo>
                  <a:lnTo>
                    <a:pt x="1318527" y="241897"/>
                  </a:lnTo>
                  <a:lnTo>
                    <a:pt x="1318527" y="242595"/>
                  </a:lnTo>
                  <a:lnTo>
                    <a:pt x="1318578" y="242595"/>
                  </a:lnTo>
                  <a:lnTo>
                    <a:pt x="1318578" y="241897"/>
                  </a:lnTo>
                  <a:lnTo>
                    <a:pt x="1318578" y="242595"/>
                  </a:lnTo>
                  <a:lnTo>
                    <a:pt x="1318578" y="241897"/>
                  </a:lnTo>
                  <a:lnTo>
                    <a:pt x="1318578" y="242595"/>
                  </a:lnTo>
                  <a:lnTo>
                    <a:pt x="1318578" y="241897"/>
                  </a:lnTo>
                  <a:lnTo>
                    <a:pt x="1318629" y="242595"/>
                  </a:lnTo>
                  <a:lnTo>
                    <a:pt x="1318629" y="241198"/>
                  </a:lnTo>
                  <a:lnTo>
                    <a:pt x="1318629" y="242595"/>
                  </a:lnTo>
                  <a:lnTo>
                    <a:pt x="1318629" y="241897"/>
                  </a:lnTo>
                  <a:lnTo>
                    <a:pt x="1318718" y="241897"/>
                  </a:lnTo>
                  <a:lnTo>
                    <a:pt x="1318718" y="242595"/>
                  </a:lnTo>
                  <a:lnTo>
                    <a:pt x="1318718" y="241897"/>
                  </a:lnTo>
                  <a:lnTo>
                    <a:pt x="1318769" y="241897"/>
                  </a:lnTo>
                  <a:lnTo>
                    <a:pt x="1318769" y="242595"/>
                  </a:lnTo>
                  <a:lnTo>
                    <a:pt x="1318769" y="241198"/>
                  </a:lnTo>
                  <a:lnTo>
                    <a:pt x="1318769" y="241897"/>
                  </a:lnTo>
                  <a:lnTo>
                    <a:pt x="1318769" y="241198"/>
                  </a:lnTo>
                  <a:lnTo>
                    <a:pt x="1318819" y="241198"/>
                  </a:lnTo>
                  <a:lnTo>
                    <a:pt x="1318819" y="241897"/>
                  </a:lnTo>
                  <a:lnTo>
                    <a:pt x="1318819" y="239166"/>
                  </a:lnTo>
                  <a:lnTo>
                    <a:pt x="1318870" y="239166"/>
                  </a:lnTo>
                  <a:lnTo>
                    <a:pt x="1318870" y="240512"/>
                  </a:lnTo>
                  <a:lnTo>
                    <a:pt x="1318870" y="239166"/>
                  </a:lnTo>
                  <a:lnTo>
                    <a:pt x="1318870" y="241198"/>
                  </a:lnTo>
                  <a:lnTo>
                    <a:pt x="1318972" y="241198"/>
                  </a:lnTo>
                  <a:lnTo>
                    <a:pt x="1318972" y="239166"/>
                  </a:lnTo>
                  <a:lnTo>
                    <a:pt x="1318972" y="243929"/>
                  </a:lnTo>
                  <a:lnTo>
                    <a:pt x="1318972" y="242595"/>
                  </a:lnTo>
                  <a:lnTo>
                    <a:pt x="1319022" y="241897"/>
                  </a:lnTo>
                  <a:lnTo>
                    <a:pt x="1319022" y="241198"/>
                  </a:lnTo>
                  <a:lnTo>
                    <a:pt x="1319022" y="242595"/>
                  </a:lnTo>
                  <a:lnTo>
                    <a:pt x="1319073" y="241897"/>
                  </a:lnTo>
                  <a:lnTo>
                    <a:pt x="1319073" y="241198"/>
                  </a:lnTo>
                  <a:lnTo>
                    <a:pt x="1319073" y="241897"/>
                  </a:lnTo>
                  <a:lnTo>
                    <a:pt x="1319073" y="241198"/>
                  </a:lnTo>
                  <a:lnTo>
                    <a:pt x="1319073" y="242595"/>
                  </a:lnTo>
                  <a:lnTo>
                    <a:pt x="1319073" y="241897"/>
                  </a:lnTo>
                  <a:lnTo>
                    <a:pt x="1319175" y="241897"/>
                  </a:lnTo>
                  <a:lnTo>
                    <a:pt x="1319175" y="242595"/>
                  </a:lnTo>
                  <a:lnTo>
                    <a:pt x="1319175" y="241897"/>
                  </a:lnTo>
                  <a:lnTo>
                    <a:pt x="1319175" y="242595"/>
                  </a:lnTo>
                  <a:lnTo>
                    <a:pt x="1319175" y="241897"/>
                  </a:lnTo>
                  <a:lnTo>
                    <a:pt x="1319175" y="243929"/>
                  </a:lnTo>
                  <a:lnTo>
                    <a:pt x="1319175" y="242595"/>
                  </a:lnTo>
                  <a:lnTo>
                    <a:pt x="1319213" y="242595"/>
                  </a:lnTo>
                  <a:lnTo>
                    <a:pt x="1319213" y="243929"/>
                  </a:lnTo>
                  <a:lnTo>
                    <a:pt x="1319213" y="242595"/>
                  </a:lnTo>
                  <a:lnTo>
                    <a:pt x="1319213" y="243929"/>
                  </a:lnTo>
                  <a:lnTo>
                    <a:pt x="1319213" y="242595"/>
                  </a:lnTo>
                  <a:lnTo>
                    <a:pt x="1319213" y="243929"/>
                  </a:lnTo>
                  <a:lnTo>
                    <a:pt x="1319213" y="242595"/>
                  </a:lnTo>
                  <a:lnTo>
                    <a:pt x="1319264" y="242595"/>
                  </a:lnTo>
                  <a:lnTo>
                    <a:pt x="1319264" y="241897"/>
                  </a:lnTo>
                  <a:lnTo>
                    <a:pt x="1319264" y="242595"/>
                  </a:lnTo>
                  <a:lnTo>
                    <a:pt x="1319264" y="241897"/>
                  </a:lnTo>
                  <a:lnTo>
                    <a:pt x="1319315" y="241897"/>
                  </a:lnTo>
                  <a:lnTo>
                    <a:pt x="1319315" y="240512"/>
                  </a:lnTo>
                  <a:lnTo>
                    <a:pt x="1319315" y="241198"/>
                  </a:lnTo>
                  <a:lnTo>
                    <a:pt x="1319315" y="239166"/>
                  </a:lnTo>
                  <a:lnTo>
                    <a:pt x="1319416" y="240512"/>
                  </a:lnTo>
                  <a:lnTo>
                    <a:pt x="1319416" y="238480"/>
                  </a:lnTo>
                  <a:lnTo>
                    <a:pt x="1319416" y="241198"/>
                  </a:lnTo>
                  <a:lnTo>
                    <a:pt x="1319467" y="241198"/>
                  </a:lnTo>
                  <a:lnTo>
                    <a:pt x="1319467" y="239166"/>
                  </a:lnTo>
                  <a:lnTo>
                    <a:pt x="1319467" y="242595"/>
                  </a:lnTo>
                  <a:lnTo>
                    <a:pt x="1319467" y="241897"/>
                  </a:lnTo>
                  <a:lnTo>
                    <a:pt x="1319518" y="241198"/>
                  </a:lnTo>
                  <a:lnTo>
                    <a:pt x="1319518" y="240512"/>
                  </a:lnTo>
                  <a:lnTo>
                    <a:pt x="1319518" y="241897"/>
                  </a:lnTo>
                  <a:lnTo>
                    <a:pt x="1319619" y="241897"/>
                  </a:lnTo>
                  <a:lnTo>
                    <a:pt x="1319619" y="241198"/>
                  </a:lnTo>
                  <a:lnTo>
                    <a:pt x="1319619" y="241897"/>
                  </a:lnTo>
                  <a:lnTo>
                    <a:pt x="1319670" y="241897"/>
                  </a:lnTo>
                  <a:lnTo>
                    <a:pt x="1319670" y="242595"/>
                  </a:lnTo>
                  <a:lnTo>
                    <a:pt x="1319670" y="241897"/>
                  </a:lnTo>
                  <a:lnTo>
                    <a:pt x="1319670" y="242595"/>
                  </a:lnTo>
                  <a:lnTo>
                    <a:pt x="1319670" y="241897"/>
                  </a:lnTo>
                  <a:lnTo>
                    <a:pt x="1319670" y="242595"/>
                  </a:lnTo>
                  <a:lnTo>
                    <a:pt x="1319670" y="241897"/>
                  </a:lnTo>
                  <a:lnTo>
                    <a:pt x="1319721" y="242595"/>
                  </a:lnTo>
                  <a:lnTo>
                    <a:pt x="1319721" y="241897"/>
                  </a:lnTo>
                  <a:lnTo>
                    <a:pt x="1319721" y="242595"/>
                  </a:lnTo>
                  <a:lnTo>
                    <a:pt x="1319721" y="241897"/>
                  </a:lnTo>
                  <a:lnTo>
                    <a:pt x="1319759" y="241897"/>
                  </a:lnTo>
                  <a:lnTo>
                    <a:pt x="1319759" y="242595"/>
                  </a:lnTo>
                  <a:lnTo>
                    <a:pt x="1319759" y="241198"/>
                  </a:lnTo>
                  <a:lnTo>
                    <a:pt x="1319861" y="241198"/>
                  </a:lnTo>
                  <a:lnTo>
                    <a:pt x="1319861" y="240512"/>
                  </a:lnTo>
                  <a:lnTo>
                    <a:pt x="1319861" y="241198"/>
                  </a:lnTo>
                  <a:lnTo>
                    <a:pt x="1319861" y="239166"/>
                  </a:lnTo>
                  <a:lnTo>
                    <a:pt x="1319912" y="239166"/>
                  </a:lnTo>
                  <a:lnTo>
                    <a:pt x="1319912" y="237782"/>
                  </a:lnTo>
                  <a:lnTo>
                    <a:pt x="1319912" y="239166"/>
                  </a:lnTo>
                  <a:lnTo>
                    <a:pt x="1319962" y="238480"/>
                  </a:lnTo>
                  <a:lnTo>
                    <a:pt x="1319962" y="240512"/>
                  </a:lnTo>
                  <a:lnTo>
                    <a:pt x="1319962" y="239166"/>
                  </a:lnTo>
                  <a:lnTo>
                    <a:pt x="1319962" y="240512"/>
                  </a:lnTo>
                  <a:lnTo>
                    <a:pt x="1320064" y="239166"/>
                  </a:lnTo>
                  <a:lnTo>
                    <a:pt x="1320064" y="240512"/>
                  </a:lnTo>
                  <a:lnTo>
                    <a:pt x="1320064" y="239166"/>
                  </a:lnTo>
                  <a:lnTo>
                    <a:pt x="1320064" y="240512"/>
                  </a:lnTo>
                  <a:lnTo>
                    <a:pt x="1320064" y="239166"/>
                  </a:lnTo>
                  <a:lnTo>
                    <a:pt x="1320115" y="239166"/>
                  </a:lnTo>
                  <a:lnTo>
                    <a:pt x="1320115" y="241198"/>
                  </a:lnTo>
                  <a:lnTo>
                    <a:pt x="1320165" y="240512"/>
                  </a:lnTo>
                  <a:lnTo>
                    <a:pt x="1320165" y="241897"/>
                  </a:lnTo>
                  <a:lnTo>
                    <a:pt x="1320165" y="241198"/>
                  </a:lnTo>
                  <a:lnTo>
                    <a:pt x="1320165" y="241897"/>
                  </a:lnTo>
                  <a:lnTo>
                    <a:pt x="1320305" y="241897"/>
                  </a:lnTo>
                  <a:lnTo>
                    <a:pt x="1320305" y="240512"/>
                  </a:lnTo>
                  <a:lnTo>
                    <a:pt x="1320356" y="240512"/>
                  </a:lnTo>
                  <a:lnTo>
                    <a:pt x="1320356" y="241198"/>
                  </a:lnTo>
                  <a:lnTo>
                    <a:pt x="1320356" y="240512"/>
                  </a:lnTo>
                  <a:lnTo>
                    <a:pt x="1320356" y="241198"/>
                  </a:lnTo>
                  <a:lnTo>
                    <a:pt x="1320356" y="239166"/>
                  </a:lnTo>
                  <a:lnTo>
                    <a:pt x="1320407" y="239166"/>
                  </a:lnTo>
                  <a:lnTo>
                    <a:pt x="1320407" y="237782"/>
                  </a:lnTo>
                  <a:lnTo>
                    <a:pt x="1320407" y="239166"/>
                  </a:lnTo>
                  <a:lnTo>
                    <a:pt x="1320407" y="238480"/>
                  </a:lnTo>
                  <a:lnTo>
                    <a:pt x="1320458" y="238480"/>
                  </a:lnTo>
                  <a:lnTo>
                    <a:pt x="1320458" y="237782"/>
                  </a:lnTo>
                  <a:lnTo>
                    <a:pt x="1320458" y="238480"/>
                  </a:lnTo>
                  <a:lnTo>
                    <a:pt x="1320458" y="237782"/>
                  </a:lnTo>
                  <a:lnTo>
                    <a:pt x="1320458" y="240512"/>
                  </a:lnTo>
                  <a:lnTo>
                    <a:pt x="1320458" y="238480"/>
                  </a:lnTo>
                  <a:lnTo>
                    <a:pt x="1320559" y="238480"/>
                  </a:lnTo>
                  <a:lnTo>
                    <a:pt x="1320559" y="239166"/>
                  </a:lnTo>
                  <a:lnTo>
                    <a:pt x="1320559" y="238480"/>
                  </a:lnTo>
                  <a:lnTo>
                    <a:pt x="1320559" y="240512"/>
                  </a:lnTo>
                  <a:lnTo>
                    <a:pt x="1320559" y="239166"/>
                  </a:lnTo>
                  <a:lnTo>
                    <a:pt x="1320610" y="239166"/>
                  </a:lnTo>
                  <a:lnTo>
                    <a:pt x="1320610" y="240512"/>
                  </a:lnTo>
                  <a:lnTo>
                    <a:pt x="1320661" y="240512"/>
                  </a:lnTo>
                  <a:lnTo>
                    <a:pt x="1320661" y="241198"/>
                  </a:lnTo>
                  <a:lnTo>
                    <a:pt x="1320661" y="240512"/>
                  </a:lnTo>
                  <a:lnTo>
                    <a:pt x="1320661" y="241198"/>
                  </a:lnTo>
                  <a:lnTo>
                    <a:pt x="1320661" y="240512"/>
                  </a:lnTo>
                  <a:lnTo>
                    <a:pt x="1320661" y="241198"/>
                  </a:lnTo>
                  <a:lnTo>
                    <a:pt x="1320661" y="240512"/>
                  </a:lnTo>
                  <a:lnTo>
                    <a:pt x="1320661" y="241198"/>
                  </a:lnTo>
                  <a:lnTo>
                    <a:pt x="1320762" y="241198"/>
                  </a:lnTo>
                  <a:lnTo>
                    <a:pt x="1320762" y="241897"/>
                  </a:lnTo>
                  <a:lnTo>
                    <a:pt x="1320800" y="241897"/>
                  </a:lnTo>
                  <a:lnTo>
                    <a:pt x="1320800" y="240512"/>
                  </a:lnTo>
                  <a:lnTo>
                    <a:pt x="1320851" y="241198"/>
                  </a:lnTo>
                  <a:lnTo>
                    <a:pt x="1320851" y="240512"/>
                  </a:lnTo>
                  <a:lnTo>
                    <a:pt x="1320851" y="241198"/>
                  </a:lnTo>
                  <a:lnTo>
                    <a:pt x="1320851" y="240512"/>
                  </a:lnTo>
                  <a:lnTo>
                    <a:pt x="1320851" y="241198"/>
                  </a:lnTo>
                  <a:lnTo>
                    <a:pt x="1320851" y="239166"/>
                  </a:lnTo>
                  <a:lnTo>
                    <a:pt x="1320902" y="239166"/>
                  </a:lnTo>
                  <a:lnTo>
                    <a:pt x="1320902" y="238480"/>
                  </a:lnTo>
                  <a:lnTo>
                    <a:pt x="1320902" y="239166"/>
                  </a:lnTo>
                  <a:lnTo>
                    <a:pt x="1320902" y="238480"/>
                  </a:lnTo>
                  <a:lnTo>
                    <a:pt x="1320902" y="239166"/>
                  </a:lnTo>
                  <a:lnTo>
                    <a:pt x="1320902" y="238480"/>
                  </a:lnTo>
                  <a:lnTo>
                    <a:pt x="1320902" y="239166"/>
                  </a:lnTo>
                  <a:lnTo>
                    <a:pt x="1320902" y="238480"/>
                  </a:lnTo>
                  <a:lnTo>
                    <a:pt x="1320902" y="239166"/>
                  </a:lnTo>
                  <a:lnTo>
                    <a:pt x="1320902" y="238480"/>
                  </a:lnTo>
                  <a:lnTo>
                    <a:pt x="1320902" y="239166"/>
                  </a:lnTo>
                  <a:lnTo>
                    <a:pt x="1320902" y="238480"/>
                  </a:lnTo>
                  <a:lnTo>
                    <a:pt x="1321004" y="238480"/>
                  </a:lnTo>
                  <a:lnTo>
                    <a:pt x="1321004" y="237782"/>
                  </a:lnTo>
                  <a:lnTo>
                    <a:pt x="1321004" y="240512"/>
                  </a:lnTo>
                  <a:lnTo>
                    <a:pt x="1321055" y="239166"/>
                  </a:lnTo>
                  <a:lnTo>
                    <a:pt x="1321055" y="238480"/>
                  </a:lnTo>
                  <a:lnTo>
                    <a:pt x="1321055" y="240512"/>
                  </a:lnTo>
                  <a:lnTo>
                    <a:pt x="1321055" y="239166"/>
                  </a:lnTo>
                  <a:lnTo>
                    <a:pt x="1321055" y="240512"/>
                  </a:lnTo>
                  <a:lnTo>
                    <a:pt x="1321105" y="239166"/>
                  </a:lnTo>
                  <a:lnTo>
                    <a:pt x="1321105" y="240512"/>
                  </a:lnTo>
                  <a:lnTo>
                    <a:pt x="1321207" y="240512"/>
                  </a:lnTo>
                  <a:lnTo>
                    <a:pt x="1321207" y="241198"/>
                  </a:lnTo>
                  <a:lnTo>
                    <a:pt x="1321207" y="240512"/>
                  </a:lnTo>
                  <a:lnTo>
                    <a:pt x="1321258" y="241198"/>
                  </a:lnTo>
                  <a:lnTo>
                    <a:pt x="1321258" y="240512"/>
                  </a:lnTo>
                  <a:lnTo>
                    <a:pt x="1321258" y="241897"/>
                  </a:lnTo>
                  <a:lnTo>
                    <a:pt x="1321309" y="241897"/>
                  </a:lnTo>
                  <a:lnTo>
                    <a:pt x="1321309" y="240512"/>
                  </a:lnTo>
                  <a:lnTo>
                    <a:pt x="1321309" y="241897"/>
                  </a:lnTo>
                  <a:lnTo>
                    <a:pt x="1321309" y="241198"/>
                  </a:lnTo>
                  <a:lnTo>
                    <a:pt x="1321347" y="241198"/>
                  </a:lnTo>
                  <a:lnTo>
                    <a:pt x="1321347" y="240512"/>
                  </a:lnTo>
                  <a:lnTo>
                    <a:pt x="1321448" y="240512"/>
                  </a:lnTo>
                  <a:lnTo>
                    <a:pt x="1321448" y="239166"/>
                  </a:lnTo>
                  <a:lnTo>
                    <a:pt x="1321448" y="240512"/>
                  </a:lnTo>
                  <a:lnTo>
                    <a:pt x="1321448" y="239166"/>
                  </a:lnTo>
                  <a:lnTo>
                    <a:pt x="1321448" y="241198"/>
                  </a:lnTo>
                  <a:lnTo>
                    <a:pt x="1321448" y="239166"/>
                  </a:lnTo>
                  <a:lnTo>
                    <a:pt x="1321499" y="239166"/>
                  </a:lnTo>
                  <a:lnTo>
                    <a:pt x="1321499" y="241198"/>
                  </a:lnTo>
                  <a:lnTo>
                    <a:pt x="1321499" y="240512"/>
                  </a:lnTo>
                  <a:lnTo>
                    <a:pt x="1321550" y="240512"/>
                  </a:lnTo>
                  <a:lnTo>
                    <a:pt x="1321550" y="239166"/>
                  </a:lnTo>
                  <a:lnTo>
                    <a:pt x="1321550" y="241897"/>
                  </a:lnTo>
                  <a:lnTo>
                    <a:pt x="1321550" y="240512"/>
                  </a:lnTo>
                  <a:lnTo>
                    <a:pt x="1321550" y="241198"/>
                  </a:lnTo>
                  <a:lnTo>
                    <a:pt x="1321651" y="241198"/>
                  </a:lnTo>
                  <a:lnTo>
                    <a:pt x="1321651" y="241897"/>
                  </a:lnTo>
                  <a:lnTo>
                    <a:pt x="1321651" y="241198"/>
                  </a:lnTo>
                  <a:lnTo>
                    <a:pt x="1321702" y="241897"/>
                  </a:lnTo>
                  <a:lnTo>
                    <a:pt x="1321702" y="241198"/>
                  </a:lnTo>
                  <a:lnTo>
                    <a:pt x="1321753" y="241198"/>
                  </a:lnTo>
                  <a:lnTo>
                    <a:pt x="1321753" y="240512"/>
                  </a:lnTo>
                  <a:lnTo>
                    <a:pt x="1321753" y="241198"/>
                  </a:lnTo>
                  <a:lnTo>
                    <a:pt x="1321804" y="241198"/>
                  </a:lnTo>
                  <a:lnTo>
                    <a:pt x="1321804" y="240512"/>
                  </a:lnTo>
                  <a:lnTo>
                    <a:pt x="1321804" y="241198"/>
                  </a:lnTo>
                  <a:lnTo>
                    <a:pt x="1321804" y="240512"/>
                  </a:lnTo>
                  <a:lnTo>
                    <a:pt x="1321893" y="240512"/>
                  </a:lnTo>
                  <a:lnTo>
                    <a:pt x="1321893" y="239166"/>
                  </a:lnTo>
                  <a:lnTo>
                    <a:pt x="1321893" y="240512"/>
                  </a:lnTo>
                  <a:lnTo>
                    <a:pt x="1321893" y="239166"/>
                  </a:lnTo>
                  <a:lnTo>
                    <a:pt x="1321944" y="240512"/>
                  </a:lnTo>
                  <a:lnTo>
                    <a:pt x="1321944" y="241198"/>
                  </a:lnTo>
                  <a:lnTo>
                    <a:pt x="1321944" y="240512"/>
                  </a:lnTo>
                  <a:lnTo>
                    <a:pt x="1321944" y="241897"/>
                  </a:lnTo>
                  <a:lnTo>
                    <a:pt x="1321994" y="241897"/>
                  </a:lnTo>
                  <a:lnTo>
                    <a:pt x="1321994" y="242595"/>
                  </a:lnTo>
                  <a:lnTo>
                    <a:pt x="1321994" y="241897"/>
                  </a:lnTo>
                  <a:lnTo>
                    <a:pt x="1321994" y="242595"/>
                  </a:lnTo>
                  <a:lnTo>
                    <a:pt x="1322045" y="242595"/>
                  </a:lnTo>
                  <a:lnTo>
                    <a:pt x="1322045" y="241897"/>
                  </a:lnTo>
                  <a:lnTo>
                    <a:pt x="1322045" y="242595"/>
                  </a:lnTo>
                  <a:lnTo>
                    <a:pt x="1322045" y="241897"/>
                  </a:lnTo>
                  <a:lnTo>
                    <a:pt x="1322147" y="241897"/>
                  </a:lnTo>
                  <a:lnTo>
                    <a:pt x="1322147" y="242595"/>
                  </a:lnTo>
                  <a:lnTo>
                    <a:pt x="1322147" y="241897"/>
                  </a:lnTo>
                  <a:lnTo>
                    <a:pt x="1322248" y="241897"/>
                  </a:lnTo>
                  <a:lnTo>
                    <a:pt x="1322248" y="241198"/>
                  </a:lnTo>
                  <a:lnTo>
                    <a:pt x="1322248" y="241897"/>
                  </a:lnTo>
                  <a:lnTo>
                    <a:pt x="1322248" y="241198"/>
                  </a:lnTo>
                  <a:lnTo>
                    <a:pt x="1322248" y="241897"/>
                  </a:lnTo>
                  <a:lnTo>
                    <a:pt x="1322350" y="241198"/>
                  </a:lnTo>
                  <a:lnTo>
                    <a:pt x="1322350" y="240512"/>
                  </a:lnTo>
                  <a:lnTo>
                    <a:pt x="1322388" y="239166"/>
                  </a:lnTo>
                  <a:lnTo>
                    <a:pt x="1322388" y="238480"/>
                  </a:lnTo>
                  <a:lnTo>
                    <a:pt x="1322388" y="241198"/>
                  </a:lnTo>
                  <a:lnTo>
                    <a:pt x="1322439" y="240512"/>
                  </a:lnTo>
                  <a:lnTo>
                    <a:pt x="1322439" y="238480"/>
                  </a:lnTo>
                  <a:lnTo>
                    <a:pt x="1322439" y="241198"/>
                  </a:lnTo>
                  <a:lnTo>
                    <a:pt x="1322490" y="240512"/>
                  </a:lnTo>
                  <a:lnTo>
                    <a:pt x="1322490" y="239166"/>
                  </a:lnTo>
                  <a:lnTo>
                    <a:pt x="1322490" y="241897"/>
                  </a:lnTo>
                  <a:lnTo>
                    <a:pt x="1322591" y="241198"/>
                  </a:lnTo>
                  <a:lnTo>
                    <a:pt x="1322591" y="242595"/>
                  </a:lnTo>
                  <a:lnTo>
                    <a:pt x="1322591" y="241897"/>
                  </a:lnTo>
                  <a:lnTo>
                    <a:pt x="1322642" y="241198"/>
                  </a:lnTo>
                  <a:lnTo>
                    <a:pt x="1322642" y="241897"/>
                  </a:lnTo>
                  <a:lnTo>
                    <a:pt x="1322642" y="241198"/>
                  </a:lnTo>
                  <a:lnTo>
                    <a:pt x="1322642" y="241897"/>
                  </a:lnTo>
                  <a:lnTo>
                    <a:pt x="1322693" y="241198"/>
                  </a:lnTo>
                  <a:lnTo>
                    <a:pt x="1322693" y="241897"/>
                  </a:lnTo>
                  <a:lnTo>
                    <a:pt x="1322693" y="241198"/>
                  </a:lnTo>
                  <a:lnTo>
                    <a:pt x="1322693" y="241897"/>
                  </a:lnTo>
                  <a:lnTo>
                    <a:pt x="1322693" y="241198"/>
                  </a:lnTo>
                  <a:lnTo>
                    <a:pt x="1322693" y="241897"/>
                  </a:lnTo>
                  <a:lnTo>
                    <a:pt x="1322794" y="241198"/>
                  </a:lnTo>
                  <a:lnTo>
                    <a:pt x="1322794" y="241897"/>
                  </a:lnTo>
                  <a:lnTo>
                    <a:pt x="1322794" y="240512"/>
                  </a:lnTo>
                  <a:lnTo>
                    <a:pt x="1322845" y="240512"/>
                  </a:lnTo>
                  <a:lnTo>
                    <a:pt x="1322845" y="239166"/>
                  </a:lnTo>
                  <a:lnTo>
                    <a:pt x="1322845" y="240512"/>
                  </a:lnTo>
                  <a:lnTo>
                    <a:pt x="1322845" y="238480"/>
                  </a:lnTo>
                  <a:lnTo>
                    <a:pt x="1322896" y="238480"/>
                  </a:lnTo>
                  <a:lnTo>
                    <a:pt x="1322896" y="240512"/>
                  </a:lnTo>
                  <a:lnTo>
                    <a:pt x="1322896" y="238480"/>
                  </a:lnTo>
                  <a:lnTo>
                    <a:pt x="1322934" y="238480"/>
                  </a:lnTo>
                  <a:lnTo>
                    <a:pt x="1322934" y="241897"/>
                  </a:lnTo>
                  <a:lnTo>
                    <a:pt x="1322934" y="240512"/>
                  </a:lnTo>
                  <a:lnTo>
                    <a:pt x="1323036" y="240512"/>
                  </a:lnTo>
                  <a:lnTo>
                    <a:pt x="1323036" y="241897"/>
                  </a:lnTo>
                  <a:lnTo>
                    <a:pt x="1323036" y="241198"/>
                  </a:lnTo>
                  <a:lnTo>
                    <a:pt x="1323087" y="241198"/>
                  </a:lnTo>
                  <a:lnTo>
                    <a:pt x="1323087" y="242595"/>
                  </a:lnTo>
                  <a:lnTo>
                    <a:pt x="1323087" y="241198"/>
                  </a:lnTo>
                  <a:lnTo>
                    <a:pt x="1323087" y="241897"/>
                  </a:lnTo>
                  <a:lnTo>
                    <a:pt x="1323137" y="241897"/>
                  </a:lnTo>
                  <a:lnTo>
                    <a:pt x="1323137" y="241198"/>
                  </a:lnTo>
                  <a:lnTo>
                    <a:pt x="1323239" y="241198"/>
                  </a:lnTo>
                  <a:lnTo>
                    <a:pt x="1323239" y="241897"/>
                  </a:lnTo>
                  <a:lnTo>
                    <a:pt x="1323239" y="241198"/>
                  </a:lnTo>
                  <a:lnTo>
                    <a:pt x="1323239" y="241897"/>
                  </a:lnTo>
                  <a:lnTo>
                    <a:pt x="1323239" y="241198"/>
                  </a:lnTo>
                  <a:lnTo>
                    <a:pt x="1323290" y="241198"/>
                  </a:lnTo>
                  <a:lnTo>
                    <a:pt x="1323290" y="240512"/>
                  </a:lnTo>
                  <a:lnTo>
                    <a:pt x="1323340" y="240512"/>
                  </a:lnTo>
                  <a:lnTo>
                    <a:pt x="1323340" y="238480"/>
                  </a:lnTo>
                  <a:lnTo>
                    <a:pt x="1323340" y="239166"/>
                  </a:lnTo>
                  <a:lnTo>
                    <a:pt x="1323340" y="237782"/>
                  </a:lnTo>
                  <a:lnTo>
                    <a:pt x="1323391" y="238480"/>
                  </a:lnTo>
                  <a:lnTo>
                    <a:pt x="1323391" y="239166"/>
                  </a:lnTo>
                  <a:lnTo>
                    <a:pt x="1323391" y="238480"/>
                  </a:lnTo>
                  <a:lnTo>
                    <a:pt x="1323391" y="239166"/>
                  </a:lnTo>
                  <a:lnTo>
                    <a:pt x="1323480" y="240512"/>
                  </a:lnTo>
                  <a:lnTo>
                    <a:pt x="1323480" y="241198"/>
                  </a:lnTo>
                  <a:lnTo>
                    <a:pt x="1323480" y="239166"/>
                  </a:lnTo>
                  <a:lnTo>
                    <a:pt x="1323480" y="240512"/>
                  </a:lnTo>
                  <a:lnTo>
                    <a:pt x="1323480" y="239166"/>
                  </a:lnTo>
                  <a:lnTo>
                    <a:pt x="1323480" y="241198"/>
                  </a:lnTo>
                  <a:lnTo>
                    <a:pt x="1323531" y="241198"/>
                  </a:lnTo>
                  <a:lnTo>
                    <a:pt x="1323531" y="240512"/>
                  </a:lnTo>
                  <a:lnTo>
                    <a:pt x="1323531" y="241198"/>
                  </a:lnTo>
                  <a:lnTo>
                    <a:pt x="1323531" y="240512"/>
                  </a:lnTo>
                  <a:lnTo>
                    <a:pt x="1323531" y="241198"/>
                  </a:lnTo>
                  <a:lnTo>
                    <a:pt x="1323531" y="240512"/>
                  </a:lnTo>
                  <a:lnTo>
                    <a:pt x="1323531" y="241198"/>
                  </a:lnTo>
                  <a:lnTo>
                    <a:pt x="1323633" y="241198"/>
                  </a:lnTo>
                  <a:lnTo>
                    <a:pt x="1323633" y="241897"/>
                  </a:lnTo>
                  <a:lnTo>
                    <a:pt x="1323633" y="241198"/>
                  </a:lnTo>
                  <a:lnTo>
                    <a:pt x="1323633" y="241897"/>
                  </a:lnTo>
                  <a:lnTo>
                    <a:pt x="1323734" y="241897"/>
                  </a:lnTo>
                  <a:lnTo>
                    <a:pt x="1323734" y="241198"/>
                  </a:lnTo>
                  <a:lnTo>
                    <a:pt x="1323734" y="241897"/>
                  </a:lnTo>
                  <a:lnTo>
                    <a:pt x="1323734" y="241198"/>
                  </a:lnTo>
                  <a:lnTo>
                    <a:pt x="1323734" y="241897"/>
                  </a:lnTo>
                  <a:lnTo>
                    <a:pt x="1323734" y="241198"/>
                  </a:lnTo>
                  <a:lnTo>
                    <a:pt x="1323785" y="241198"/>
                  </a:lnTo>
                  <a:lnTo>
                    <a:pt x="1323785" y="239166"/>
                  </a:lnTo>
                  <a:lnTo>
                    <a:pt x="1323785" y="240512"/>
                  </a:lnTo>
                  <a:lnTo>
                    <a:pt x="1323785" y="239166"/>
                  </a:lnTo>
                  <a:lnTo>
                    <a:pt x="1323836" y="239166"/>
                  </a:lnTo>
                  <a:lnTo>
                    <a:pt x="1323836" y="237782"/>
                  </a:lnTo>
                  <a:lnTo>
                    <a:pt x="1323836" y="239166"/>
                  </a:lnTo>
                  <a:lnTo>
                    <a:pt x="1323937" y="239166"/>
                  </a:lnTo>
                  <a:lnTo>
                    <a:pt x="1323937" y="237782"/>
                  </a:lnTo>
                  <a:lnTo>
                    <a:pt x="1323937" y="241198"/>
                  </a:lnTo>
                  <a:lnTo>
                    <a:pt x="1323937" y="240512"/>
                  </a:lnTo>
                  <a:lnTo>
                    <a:pt x="1323975" y="240512"/>
                  </a:lnTo>
                  <a:lnTo>
                    <a:pt x="1323975" y="239166"/>
                  </a:lnTo>
                  <a:lnTo>
                    <a:pt x="1323975" y="240512"/>
                  </a:lnTo>
                  <a:lnTo>
                    <a:pt x="1323975" y="239166"/>
                  </a:lnTo>
                  <a:lnTo>
                    <a:pt x="1323975" y="241198"/>
                  </a:lnTo>
                  <a:lnTo>
                    <a:pt x="1323975" y="240512"/>
                  </a:lnTo>
                  <a:lnTo>
                    <a:pt x="1324026" y="240512"/>
                  </a:lnTo>
                  <a:lnTo>
                    <a:pt x="1324026" y="241198"/>
                  </a:lnTo>
                  <a:lnTo>
                    <a:pt x="1324026" y="240512"/>
                  </a:lnTo>
                  <a:lnTo>
                    <a:pt x="1324026" y="241198"/>
                  </a:lnTo>
                  <a:lnTo>
                    <a:pt x="1324026" y="240512"/>
                  </a:lnTo>
                  <a:lnTo>
                    <a:pt x="1324026" y="241198"/>
                  </a:lnTo>
                  <a:lnTo>
                    <a:pt x="1324077" y="241198"/>
                  </a:lnTo>
                  <a:lnTo>
                    <a:pt x="1324077" y="241897"/>
                  </a:lnTo>
                  <a:lnTo>
                    <a:pt x="1324077" y="241198"/>
                  </a:lnTo>
                  <a:lnTo>
                    <a:pt x="1324179" y="241198"/>
                  </a:lnTo>
                  <a:lnTo>
                    <a:pt x="1324179" y="240512"/>
                  </a:lnTo>
                  <a:lnTo>
                    <a:pt x="1324179" y="241198"/>
                  </a:lnTo>
                  <a:lnTo>
                    <a:pt x="1324230" y="241198"/>
                  </a:lnTo>
                  <a:lnTo>
                    <a:pt x="1324230" y="240512"/>
                  </a:lnTo>
                  <a:lnTo>
                    <a:pt x="1324230" y="241198"/>
                  </a:lnTo>
                  <a:lnTo>
                    <a:pt x="1324230" y="240512"/>
                  </a:lnTo>
                  <a:lnTo>
                    <a:pt x="1324280" y="240512"/>
                  </a:lnTo>
                  <a:lnTo>
                    <a:pt x="1324280" y="241198"/>
                  </a:lnTo>
                  <a:lnTo>
                    <a:pt x="1324280" y="239166"/>
                  </a:lnTo>
                  <a:lnTo>
                    <a:pt x="1324382" y="239166"/>
                  </a:lnTo>
                  <a:lnTo>
                    <a:pt x="1324382" y="240512"/>
                  </a:lnTo>
                  <a:lnTo>
                    <a:pt x="1324382" y="239166"/>
                  </a:lnTo>
                  <a:lnTo>
                    <a:pt x="1324382" y="240512"/>
                  </a:lnTo>
                  <a:lnTo>
                    <a:pt x="1324433" y="241198"/>
                  </a:lnTo>
                  <a:lnTo>
                    <a:pt x="1324433" y="241897"/>
                  </a:lnTo>
                  <a:lnTo>
                    <a:pt x="1324433" y="240512"/>
                  </a:lnTo>
                  <a:lnTo>
                    <a:pt x="1324433" y="241897"/>
                  </a:lnTo>
                  <a:lnTo>
                    <a:pt x="1324484" y="242595"/>
                  </a:lnTo>
                  <a:lnTo>
                    <a:pt x="1324484" y="240512"/>
                  </a:lnTo>
                  <a:lnTo>
                    <a:pt x="1324484" y="241897"/>
                  </a:lnTo>
                  <a:lnTo>
                    <a:pt x="1324484" y="241198"/>
                  </a:lnTo>
                  <a:lnTo>
                    <a:pt x="1324484" y="241897"/>
                  </a:lnTo>
                  <a:lnTo>
                    <a:pt x="1324522" y="241897"/>
                  </a:lnTo>
                  <a:lnTo>
                    <a:pt x="1324522" y="241198"/>
                  </a:lnTo>
                  <a:lnTo>
                    <a:pt x="1324522" y="241897"/>
                  </a:lnTo>
                  <a:lnTo>
                    <a:pt x="1324522" y="241198"/>
                  </a:lnTo>
                  <a:lnTo>
                    <a:pt x="1324623" y="241198"/>
                  </a:lnTo>
                  <a:lnTo>
                    <a:pt x="1324623" y="241897"/>
                  </a:lnTo>
                  <a:lnTo>
                    <a:pt x="1324623" y="241198"/>
                  </a:lnTo>
                  <a:lnTo>
                    <a:pt x="1324674" y="240512"/>
                  </a:lnTo>
                  <a:lnTo>
                    <a:pt x="1324674" y="241198"/>
                  </a:lnTo>
                  <a:lnTo>
                    <a:pt x="1324674" y="240512"/>
                  </a:lnTo>
                  <a:lnTo>
                    <a:pt x="1324674" y="241198"/>
                  </a:lnTo>
                  <a:lnTo>
                    <a:pt x="1324674" y="240512"/>
                  </a:lnTo>
                  <a:lnTo>
                    <a:pt x="1324725" y="240512"/>
                  </a:lnTo>
                  <a:lnTo>
                    <a:pt x="1324725" y="238480"/>
                  </a:lnTo>
                  <a:lnTo>
                    <a:pt x="1324725" y="239166"/>
                  </a:lnTo>
                  <a:lnTo>
                    <a:pt x="1324725" y="238480"/>
                  </a:lnTo>
                  <a:lnTo>
                    <a:pt x="1324826" y="238480"/>
                  </a:lnTo>
                  <a:lnTo>
                    <a:pt x="1324826" y="239166"/>
                  </a:lnTo>
                  <a:lnTo>
                    <a:pt x="1324826" y="237782"/>
                  </a:lnTo>
                  <a:lnTo>
                    <a:pt x="1324826" y="239166"/>
                  </a:lnTo>
                  <a:lnTo>
                    <a:pt x="1324877" y="239166"/>
                  </a:lnTo>
                  <a:lnTo>
                    <a:pt x="1324877" y="237782"/>
                  </a:lnTo>
                  <a:lnTo>
                    <a:pt x="1324877" y="238480"/>
                  </a:lnTo>
                  <a:lnTo>
                    <a:pt x="1324877" y="237782"/>
                  </a:lnTo>
                  <a:lnTo>
                    <a:pt x="1324877" y="240512"/>
                  </a:lnTo>
                  <a:lnTo>
                    <a:pt x="1324928" y="241198"/>
                  </a:lnTo>
                  <a:lnTo>
                    <a:pt x="1324928" y="239166"/>
                  </a:lnTo>
                  <a:lnTo>
                    <a:pt x="1324928" y="241198"/>
                  </a:lnTo>
                  <a:lnTo>
                    <a:pt x="1324979" y="241198"/>
                  </a:lnTo>
                  <a:lnTo>
                    <a:pt x="1324979" y="240512"/>
                  </a:lnTo>
                  <a:lnTo>
                    <a:pt x="1324979" y="241897"/>
                  </a:lnTo>
                  <a:lnTo>
                    <a:pt x="1325068" y="241198"/>
                  </a:lnTo>
                  <a:lnTo>
                    <a:pt x="1325068" y="241897"/>
                  </a:lnTo>
                  <a:lnTo>
                    <a:pt x="1325068" y="241198"/>
                  </a:lnTo>
                  <a:lnTo>
                    <a:pt x="1325119" y="241198"/>
                  </a:lnTo>
                  <a:lnTo>
                    <a:pt x="1325119" y="240512"/>
                  </a:lnTo>
                  <a:lnTo>
                    <a:pt x="1325119" y="241198"/>
                  </a:lnTo>
                  <a:lnTo>
                    <a:pt x="1325119" y="240512"/>
                  </a:lnTo>
                  <a:lnTo>
                    <a:pt x="1325119" y="241198"/>
                  </a:lnTo>
                  <a:lnTo>
                    <a:pt x="1325119" y="240512"/>
                  </a:lnTo>
                  <a:lnTo>
                    <a:pt x="1325119" y="241198"/>
                  </a:lnTo>
                  <a:lnTo>
                    <a:pt x="1325169" y="241198"/>
                  </a:lnTo>
                  <a:lnTo>
                    <a:pt x="1325169" y="239166"/>
                  </a:lnTo>
                  <a:lnTo>
                    <a:pt x="1325169" y="240512"/>
                  </a:lnTo>
                  <a:lnTo>
                    <a:pt x="1325169" y="239166"/>
                  </a:lnTo>
                  <a:lnTo>
                    <a:pt x="1325169" y="240512"/>
                  </a:lnTo>
                  <a:lnTo>
                    <a:pt x="1325220" y="239166"/>
                  </a:lnTo>
                  <a:lnTo>
                    <a:pt x="1325220" y="238480"/>
                  </a:lnTo>
                  <a:lnTo>
                    <a:pt x="1325220" y="239166"/>
                  </a:lnTo>
                  <a:lnTo>
                    <a:pt x="1325220" y="238480"/>
                  </a:lnTo>
                  <a:lnTo>
                    <a:pt x="1325322" y="237782"/>
                  </a:lnTo>
                  <a:lnTo>
                    <a:pt x="1325322" y="237134"/>
                  </a:lnTo>
                  <a:lnTo>
                    <a:pt x="1325322" y="237782"/>
                  </a:lnTo>
                  <a:lnTo>
                    <a:pt x="1325322" y="237134"/>
                  </a:lnTo>
                  <a:lnTo>
                    <a:pt x="1325322" y="238480"/>
                  </a:lnTo>
                  <a:lnTo>
                    <a:pt x="1325322" y="237782"/>
                  </a:lnTo>
                  <a:lnTo>
                    <a:pt x="1325372" y="237782"/>
                  </a:lnTo>
                  <a:lnTo>
                    <a:pt x="1325372" y="240512"/>
                  </a:lnTo>
                  <a:lnTo>
                    <a:pt x="1325423" y="239166"/>
                  </a:lnTo>
                  <a:lnTo>
                    <a:pt x="1325423" y="238480"/>
                  </a:lnTo>
                  <a:lnTo>
                    <a:pt x="1325423" y="241198"/>
                  </a:lnTo>
                  <a:lnTo>
                    <a:pt x="1325423" y="240512"/>
                  </a:lnTo>
                  <a:lnTo>
                    <a:pt x="1325423" y="241198"/>
                  </a:lnTo>
                  <a:lnTo>
                    <a:pt x="1325423" y="239166"/>
                  </a:lnTo>
                  <a:lnTo>
                    <a:pt x="1325423" y="240512"/>
                  </a:lnTo>
                  <a:lnTo>
                    <a:pt x="1325525" y="239166"/>
                  </a:lnTo>
                  <a:lnTo>
                    <a:pt x="1325525" y="241198"/>
                  </a:lnTo>
                  <a:lnTo>
                    <a:pt x="1325525" y="240512"/>
                  </a:lnTo>
                  <a:lnTo>
                    <a:pt x="1325525" y="241198"/>
                  </a:lnTo>
                  <a:lnTo>
                    <a:pt x="1325563" y="241198"/>
                  </a:lnTo>
                  <a:lnTo>
                    <a:pt x="1325563" y="240512"/>
                  </a:lnTo>
                  <a:lnTo>
                    <a:pt x="1325563" y="241198"/>
                  </a:lnTo>
                  <a:lnTo>
                    <a:pt x="1325563" y="240512"/>
                  </a:lnTo>
                  <a:lnTo>
                    <a:pt x="1325614" y="241198"/>
                  </a:lnTo>
                  <a:lnTo>
                    <a:pt x="1325614" y="240512"/>
                  </a:lnTo>
                  <a:lnTo>
                    <a:pt x="1325614" y="241198"/>
                  </a:lnTo>
                  <a:lnTo>
                    <a:pt x="1325614" y="240512"/>
                  </a:lnTo>
                  <a:lnTo>
                    <a:pt x="1325614" y="241198"/>
                  </a:lnTo>
                  <a:lnTo>
                    <a:pt x="1325614" y="240512"/>
                  </a:lnTo>
                  <a:lnTo>
                    <a:pt x="1325665" y="240512"/>
                  </a:lnTo>
                  <a:lnTo>
                    <a:pt x="1325665" y="241198"/>
                  </a:lnTo>
                  <a:lnTo>
                    <a:pt x="1325665" y="238480"/>
                  </a:lnTo>
                  <a:lnTo>
                    <a:pt x="1325766" y="238480"/>
                  </a:lnTo>
                  <a:lnTo>
                    <a:pt x="1325766" y="237134"/>
                  </a:lnTo>
                  <a:lnTo>
                    <a:pt x="1325817" y="237134"/>
                  </a:lnTo>
                  <a:lnTo>
                    <a:pt x="1325817" y="235001"/>
                  </a:lnTo>
                  <a:lnTo>
                    <a:pt x="1325817" y="236436"/>
                  </a:lnTo>
                  <a:lnTo>
                    <a:pt x="1325817" y="235001"/>
                  </a:lnTo>
                  <a:lnTo>
                    <a:pt x="1325817" y="236436"/>
                  </a:lnTo>
                  <a:lnTo>
                    <a:pt x="1325868" y="235001"/>
                  </a:lnTo>
                  <a:lnTo>
                    <a:pt x="1325868" y="237782"/>
                  </a:lnTo>
                  <a:lnTo>
                    <a:pt x="1325868" y="237134"/>
                  </a:lnTo>
                  <a:lnTo>
                    <a:pt x="1325969" y="236436"/>
                  </a:lnTo>
                  <a:lnTo>
                    <a:pt x="1325969" y="237782"/>
                  </a:lnTo>
                  <a:lnTo>
                    <a:pt x="1325969" y="237134"/>
                  </a:lnTo>
                  <a:lnTo>
                    <a:pt x="1325969" y="237782"/>
                  </a:lnTo>
                  <a:lnTo>
                    <a:pt x="1325969" y="237134"/>
                  </a:lnTo>
                  <a:lnTo>
                    <a:pt x="1326020" y="237134"/>
                  </a:lnTo>
                  <a:lnTo>
                    <a:pt x="1326020" y="237782"/>
                  </a:lnTo>
                  <a:lnTo>
                    <a:pt x="1326071" y="237782"/>
                  </a:lnTo>
                  <a:lnTo>
                    <a:pt x="1326071" y="238480"/>
                  </a:lnTo>
                  <a:lnTo>
                    <a:pt x="1326071" y="237782"/>
                  </a:lnTo>
                  <a:lnTo>
                    <a:pt x="1326071" y="238480"/>
                  </a:lnTo>
                  <a:lnTo>
                    <a:pt x="1326071" y="237782"/>
                  </a:lnTo>
                  <a:lnTo>
                    <a:pt x="1326071" y="238480"/>
                  </a:lnTo>
                  <a:lnTo>
                    <a:pt x="1326109" y="238480"/>
                  </a:lnTo>
                  <a:lnTo>
                    <a:pt x="1326109" y="237782"/>
                  </a:lnTo>
                  <a:lnTo>
                    <a:pt x="1326109" y="238480"/>
                  </a:lnTo>
                  <a:lnTo>
                    <a:pt x="1326109" y="237782"/>
                  </a:lnTo>
                  <a:lnTo>
                    <a:pt x="1326109" y="238480"/>
                  </a:lnTo>
                  <a:lnTo>
                    <a:pt x="1326211" y="238480"/>
                  </a:lnTo>
                  <a:lnTo>
                    <a:pt x="1326211" y="237782"/>
                  </a:lnTo>
                  <a:lnTo>
                    <a:pt x="1326211" y="238480"/>
                  </a:lnTo>
                  <a:lnTo>
                    <a:pt x="1326211" y="237782"/>
                  </a:lnTo>
                  <a:lnTo>
                    <a:pt x="1326211" y="238480"/>
                  </a:lnTo>
                  <a:lnTo>
                    <a:pt x="1326211" y="237782"/>
                  </a:lnTo>
                  <a:lnTo>
                    <a:pt x="1326262" y="237782"/>
                  </a:lnTo>
                  <a:lnTo>
                    <a:pt x="1326262" y="235001"/>
                  </a:lnTo>
                  <a:lnTo>
                    <a:pt x="1326312" y="235001"/>
                  </a:lnTo>
                  <a:lnTo>
                    <a:pt x="1326312" y="234302"/>
                  </a:lnTo>
                  <a:lnTo>
                    <a:pt x="1326312" y="235001"/>
                  </a:lnTo>
                  <a:lnTo>
                    <a:pt x="1326312" y="233718"/>
                  </a:lnTo>
                  <a:lnTo>
                    <a:pt x="1326414" y="233718"/>
                  </a:lnTo>
                  <a:lnTo>
                    <a:pt x="1326414" y="236436"/>
                  </a:lnTo>
                  <a:lnTo>
                    <a:pt x="1326414" y="235001"/>
                  </a:lnTo>
                  <a:lnTo>
                    <a:pt x="1326465" y="235001"/>
                  </a:lnTo>
                  <a:lnTo>
                    <a:pt x="1326465" y="237134"/>
                  </a:lnTo>
                  <a:lnTo>
                    <a:pt x="1326465" y="235001"/>
                  </a:lnTo>
                  <a:lnTo>
                    <a:pt x="1326515" y="235001"/>
                  </a:lnTo>
                  <a:lnTo>
                    <a:pt x="1326515" y="236436"/>
                  </a:lnTo>
                  <a:lnTo>
                    <a:pt x="1326566" y="237134"/>
                  </a:lnTo>
                  <a:lnTo>
                    <a:pt x="1326566" y="236436"/>
                  </a:lnTo>
                  <a:lnTo>
                    <a:pt x="1326566" y="237134"/>
                  </a:lnTo>
                  <a:lnTo>
                    <a:pt x="1326566" y="236436"/>
                  </a:lnTo>
                  <a:lnTo>
                    <a:pt x="1326566" y="237134"/>
                  </a:lnTo>
                  <a:lnTo>
                    <a:pt x="1326566" y="236436"/>
                  </a:lnTo>
                  <a:lnTo>
                    <a:pt x="1326566" y="237134"/>
                  </a:lnTo>
                  <a:lnTo>
                    <a:pt x="1326566" y="236436"/>
                  </a:lnTo>
                  <a:lnTo>
                    <a:pt x="1326566" y="237134"/>
                  </a:lnTo>
                  <a:lnTo>
                    <a:pt x="1326655" y="237134"/>
                  </a:lnTo>
                  <a:lnTo>
                    <a:pt x="1326706" y="237782"/>
                  </a:lnTo>
                  <a:lnTo>
                    <a:pt x="1326706" y="236436"/>
                  </a:lnTo>
                  <a:lnTo>
                    <a:pt x="1326706" y="237134"/>
                  </a:lnTo>
                  <a:lnTo>
                    <a:pt x="1326706" y="236436"/>
                  </a:lnTo>
                  <a:lnTo>
                    <a:pt x="1326757" y="236436"/>
                  </a:lnTo>
                  <a:lnTo>
                    <a:pt x="1326757" y="237134"/>
                  </a:lnTo>
                  <a:lnTo>
                    <a:pt x="1326757" y="235001"/>
                  </a:lnTo>
                  <a:lnTo>
                    <a:pt x="1326757" y="236436"/>
                  </a:lnTo>
                  <a:lnTo>
                    <a:pt x="1326757" y="234302"/>
                  </a:lnTo>
                  <a:lnTo>
                    <a:pt x="1326808" y="234302"/>
                  </a:lnTo>
                  <a:lnTo>
                    <a:pt x="1326808" y="233718"/>
                  </a:lnTo>
                  <a:lnTo>
                    <a:pt x="1326808" y="235001"/>
                  </a:lnTo>
                  <a:lnTo>
                    <a:pt x="1326808" y="234302"/>
                  </a:lnTo>
                  <a:lnTo>
                    <a:pt x="1326808" y="235001"/>
                  </a:lnTo>
                  <a:lnTo>
                    <a:pt x="1326808" y="233718"/>
                  </a:lnTo>
                  <a:lnTo>
                    <a:pt x="1326909" y="233019"/>
                  </a:lnTo>
                  <a:lnTo>
                    <a:pt x="1326909" y="236436"/>
                  </a:lnTo>
                  <a:lnTo>
                    <a:pt x="1326909" y="235001"/>
                  </a:lnTo>
                  <a:lnTo>
                    <a:pt x="1326960" y="234302"/>
                  </a:lnTo>
                  <a:lnTo>
                    <a:pt x="1326960" y="236436"/>
                  </a:lnTo>
                  <a:lnTo>
                    <a:pt x="1326960" y="235001"/>
                  </a:lnTo>
                  <a:lnTo>
                    <a:pt x="1327011" y="235001"/>
                  </a:lnTo>
                  <a:lnTo>
                    <a:pt x="1327011" y="236436"/>
                  </a:lnTo>
                  <a:lnTo>
                    <a:pt x="1327011" y="235001"/>
                  </a:lnTo>
                  <a:lnTo>
                    <a:pt x="1327011" y="236436"/>
                  </a:lnTo>
                  <a:lnTo>
                    <a:pt x="1327112" y="236436"/>
                  </a:lnTo>
                  <a:lnTo>
                    <a:pt x="1327112" y="235001"/>
                  </a:lnTo>
                  <a:lnTo>
                    <a:pt x="1327112" y="236436"/>
                  </a:lnTo>
                  <a:lnTo>
                    <a:pt x="1327112" y="235001"/>
                  </a:lnTo>
                  <a:lnTo>
                    <a:pt x="1327112" y="236436"/>
                  </a:lnTo>
                  <a:lnTo>
                    <a:pt x="1327150" y="236436"/>
                  </a:lnTo>
                  <a:lnTo>
                    <a:pt x="1327150" y="237134"/>
                  </a:lnTo>
                  <a:lnTo>
                    <a:pt x="1327150" y="236436"/>
                  </a:lnTo>
                  <a:lnTo>
                    <a:pt x="1327150" y="237134"/>
                  </a:lnTo>
                  <a:lnTo>
                    <a:pt x="1327150" y="236436"/>
                  </a:lnTo>
                  <a:lnTo>
                    <a:pt x="1327201" y="237134"/>
                  </a:lnTo>
                  <a:lnTo>
                    <a:pt x="1327201" y="236436"/>
                  </a:lnTo>
                  <a:lnTo>
                    <a:pt x="1327201" y="237134"/>
                  </a:lnTo>
                  <a:lnTo>
                    <a:pt x="1327201" y="236436"/>
                  </a:lnTo>
                  <a:lnTo>
                    <a:pt x="1327201" y="237134"/>
                  </a:lnTo>
                  <a:lnTo>
                    <a:pt x="1327201" y="236436"/>
                  </a:lnTo>
                  <a:lnTo>
                    <a:pt x="1327201" y="237134"/>
                  </a:lnTo>
                  <a:lnTo>
                    <a:pt x="1327201" y="236436"/>
                  </a:lnTo>
                  <a:lnTo>
                    <a:pt x="1327252" y="236436"/>
                  </a:lnTo>
                  <a:lnTo>
                    <a:pt x="1327252" y="234302"/>
                  </a:lnTo>
                  <a:lnTo>
                    <a:pt x="1327354" y="234302"/>
                  </a:lnTo>
                  <a:lnTo>
                    <a:pt x="1327354" y="236436"/>
                  </a:lnTo>
                  <a:lnTo>
                    <a:pt x="1327354" y="234302"/>
                  </a:lnTo>
                  <a:lnTo>
                    <a:pt x="1327354" y="235001"/>
                  </a:lnTo>
                  <a:lnTo>
                    <a:pt x="1327354" y="234302"/>
                  </a:lnTo>
                  <a:lnTo>
                    <a:pt x="1327405" y="234302"/>
                  </a:lnTo>
                  <a:lnTo>
                    <a:pt x="1327405" y="237134"/>
                  </a:lnTo>
                  <a:lnTo>
                    <a:pt x="1327405" y="236436"/>
                  </a:lnTo>
                  <a:lnTo>
                    <a:pt x="1327405" y="237134"/>
                  </a:lnTo>
                  <a:lnTo>
                    <a:pt x="1327405" y="236436"/>
                  </a:lnTo>
                  <a:lnTo>
                    <a:pt x="1327405" y="237134"/>
                  </a:lnTo>
                  <a:lnTo>
                    <a:pt x="1327405" y="236436"/>
                  </a:lnTo>
                  <a:lnTo>
                    <a:pt x="1327455" y="236436"/>
                  </a:lnTo>
                  <a:lnTo>
                    <a:pt x="1327455" y="237134"/>
                  </a:lnTo>
                  <a:lnTo>
                    <a:pt x="1327455" y="236436"/>
                  </a:lnTo>
                  <a:lnTo>
                    <a:pt x="1327557" y="236436"/>
                  </a:lnTo>
                  <a:lnTo>
                    <a:pt x="1327557" y="237134"/>
                  </a:lnTo>
                  <a:lnTo>
                    <a:pt x="1327557" y="236436"/>
                  </a:lnTo>
                  <a:lnTo>
                    <a:pt x="1327557" y="237134"/>
                  </a:lnTo>
                  <a:lnTo>
                    <a:pt x="1327557" y="236436"/>
                  </a:lnTo>
                  <a:lnTo>
                    <a:pt x="1327557" y="237134"/>
                  </a:lnTo>
                  <a:lnTo>
                    <a:pt x="1327557" y="236436"/>
                  </a:lnTo>
                  <a:lnTo>
                    <a:pt x="1327608" y="236436"/>
                  </a:lnTo>
                  <a:lnTo>
                    <a:pt x="1327608" y="237134"/>
                  </a:lnTo>
                  <a:lnTo>
                    <a:pt x="1327608" y="236436"/>
                  </a:lnTo>
                  <a:lnTo>
                    <a:pt x="1327608" y="237134"/>
                  </a:lnTo>
                  <a:lnTo>
                    <a:pt x="1327659" y="237134"/>
                  </a:lnTo>
                  <a:lnTo>
                    <a:pt x="1327659" y="236436"/>
                  </a:lnTo>
                  <a:lnTo>
                    <a:pt x="1327659" y="237134"/>
                  </a:lnTo>
                  <a:lnTo>
                    <a:pt x="1327697" y="237134"/>
                  </a:lnTo>
                  <a:lnTo>
                    <a:pt x="1327697" y="236436"/>
                  </a:lnTo>
                  <a:lnTo>
                    <a:pt x="1327697" y="237134"/>
                  </a:lnTo>
                  <a:lnTo>
                    <a:pt x="1327697" y="235001"/>
                  </a:lnTo>
                  <a:lnTo>
                    <a:pt x="1327697" y="236436"/>
                  </a:lnTo>
                  <a:lnTo>
                    <a:pt x="1327697" y="235001"/>
                  </a:lnTo>
                  <a:lnTo>
                    <a:pt x="1327798" y="235001"/>
                  </a:lnTo>
                  <a:lnTo>
                    <a:pt x="1327798" y="234302"/>
                  </a:lnTo>
                  <a:lnTo>
                    <a:pt x="1327798" y="235001"/>
                  </a:lnTo>
                  <a:lnTo>
                    <a:pt x="1327798" y="233019"/>
                  </a:lnTo>
                  <a:lnTo>
                    <a:pt x="1327849" y="233718"/>
                  </a:lnTo>
                  <a:lnTo>
                    <a:pt x="1327849" y="233019"/>
                  </a:lnTo>
                  <a:lnTo>
                    <a:pt x="1327849" y="234302"/>
                  </a:lnTo>
                  <a:lnTo>
                    <a:pt x="1327849" y="233019"/>
                  </a:lnTo>
                  <a:lnTo>
                    <a:pt x="1327849" y="234302"/>
                  </a:lnTo>
                  <a:lnTo>
                    <a:pt x="1327900" y="235001"/>
                  </a:lnTo>
                  <a:lnTo>
                    <a:pt x="1327900" y="236436"/>
                  </a:lnTo>
                  <a:lnTo>
                    <a:pt x="1327900" y="234302"/>
                  </a:lnTo>
                  <a:lnTo>
                    <a:pt x="1327900" y="235001"/>
                  </a:lnTo>
                  <a:lnTo>
                    <a:pt x="1328001" y="236436"/>
                  </a:lnTo>
                  <a:lnTo>
                    <a:pt x="1328001" y="234302"/>
                  </a:lnTo>
                  <a:lnTo>
                    <a:pt x="1328001" y="235001"/>
                  </a:lnTo>
                  <a:lnTo>
                    <a:pt x="1328103" y="235001"/>
                  </a:lnTo>
                  <a:lnTo>
                    <a:pt x="1328103" y="234302"/>
                  </a:lnTo>
                  <a:lnTo>
                    <a:pt x="1328103" y="235001"/>
                  </a:lnTo>
                  <a:lnTo>
                    <a:pt x="1328243" y="235001"/>
                  </a:lnTo>
                  <a:lnTo>
                    <a:pt x="1328243" y="233718"/>
                  </a:lnTo>
                  <a:lnTo>
                    <a:pt x="1328294" y="233718"/>
                  </a:lnTo>
                  <a:lnTo>
                    <a:pt x="1328294" y="232270"/>
                  </a:lnTo>
                  <a:lnTo>
                    <a:pt x="1328294" y="233019"/>
                  </a:lnTo>
                  <a:lnTo>
                    <a:pt x="1328294" y="232270"/>
                  </a:lnTo>
                  <a:lnTo>
                    <a:pt x="1328294" y="234302"/>
                  </a:lnTo>
                  <a:lnTo>
                    <a:pt x="1328344" y="234302"/>
                  </a:lnTo>
                  <a:lnTo>
                    <a:pt x="1328344" y="232270"/>
                  </a:lnTo>
                  <a:lnTo>
                    <a:pt x="1328344" y="236436"/>
                  </a:lnTo>
                  <a:lnTo>
                    <a:pt x="1328395" y="235001"/>
                  </a:lnTo>
                  <a:lnTo>
                    <a:pt x="1328395" y="233718"/>
                  </a:lnTo>
                  <a:lnTo>
                    <a:pt x="1328395" y="236436"/>
                  </a:lnTo>
                  <a:lnTo>
                    <a:pt x="1328395" y="235001"/>
                  </a:lnTo>
                  <a:lnTo>
                    <a:pt x="1328497" y="235001"/>
                  </a:lnTo>
                  <a:lnTo>
                    <a:pt x="1328497" y="234302"/>
                  </a:lnTo>
                  <a:lnTo>
                    <a:pt x="1328497" y="235001"/>
                  </a:lnTo>
                  <a:lnTo>
                    <a:pt x="1328497" y="234302"/>
                  </a:lnTo>
                  <a:lnTo>
                    <a:pt x="1328497" y="235001"/>
                  </a:lnTo>
                  <a:lnTo>
                    <a:pt x="1328547" y="235001"/>
                  </a:lnTo>
                  <a:lnTo>
                    <a:pt x="1328547" y="234302"/>
                  </a:lnTo>
                  <a:lnTo>
                    <a:pt x="1328547" y="235001"/>
                  </a:lnTo>
                  <a:lnTo>
                    <a:pt x="1328547" y="234302"/>
                  </a:lnTo>
                  <a:lnTo>
                    <a:pt x="1328547" y="236436"/>
                  </a:lnTo>
                  <a:lnTo>
                    <a:pt x="1328547" y="235001"/>
                  </a:lnTo>
                  <a:lnTo>
                    <a:pt x="1328547" y="236436"/>
                  </a:lnTo>
                  <a:lnTo>
                    <a:pt x="1328598" y="236436"/>
                  </a:lnTo>
                  <a:lnTo>
                    <a:pt x="1328598" y="235001"/>
                  </a:lnTo>
                  <a:lnTo>
                    <a:pt x="1328598" y="236436"/>
                  </a:lnTo>
                  <a:lnTo>
                    <a:pt x="1328598" y="235001"/>
                  </a:lnTo>
                  <a:lnTo>
                    <a:pt x="1328700" y="235001"/>
                  </a:lnTo>
                  <a:lnTo>
                    <a:pt x="1328700" y="236436"/>
                  </a:lnTo>
                  <a:lnTo>
                    <a:pt x="1328700" y="235001"/>
                  </a:lnTo>
                  <a:lnTo>
                    <a:pt x="1328700" y="236436"/>
                  </a:lnTo>
                  <a:lnTo>
                    <a:pt x="1328700" y="234302"/>
                  </a:lnTo>
                  <a:lnTo>
                    <a:pt x="1328738" y="234302"/>
                  </a:lnTo>
                  <a:lnTo>
                    <a:pt x="1328738" y="235001"/>
                  </a:lnTo>
                  <a:lnTo>
                    <a:pt x="1328738" y="233718"/>
                  </a:lnTo>
                  <a:lnTo>
                    <a:pt x="1328738" y="234302"/>
                  </a:lnTo>
                  <a:lnTo>
                    <a:pt x="1328738" y="233718"/>
                  </a:lnTo>
                  <a:lnTo>
                    <a:pt x="1328789" y="233019"/>
                  </a:lnTo>
                  <a:lnTo>
                    <a:pt x="1328789" y="233718"/>
                  </a:lnTo>
                  <a:lnTo>
                    <a:pt x="1328789" y="233019"/>
                  </a:lnTo>
                  <a:lnTo>
                    <a:pt x="1328789" y="235001"/>
                  </a:lnTo>
                  <a:lnTo>
                    <a:pt x="1328789" y="233019"/>
                  </a:lnTo>
                  <a:lnTo>
                    <a:pt x="1328789" y="233718"/>
                  </a:lnTo>
                  <a:lnTo>
                    <a:pt x="1328840" y="233718"/>
                  </a:lnTo>
                  <a:lnTo>
                    <a:pt x="1328840" y="237134"/>
                  </a:lnTo>
                  <a:lnTo>
                    <a:pt x="1328840" y="235001"/>
                  </a:lnTo>
                  <a:lnTo>
                    <a:pt x="1328941" y="235001"/>
                  </a:lnTo>
                  <a:lnTo>
                    <a:pt x="1328941" y="237134"/>
                  </a:lnTo>
                  <a:lnTo>
                    <a:pt x="1328941" y="236436"/>
                  </a:lnTo>
                  <a:lnTo>
                    <a:pt x="1328992" y="236436"/>
                  </a:lnTo>
                  <a:lnTo>
                    <a:pt x="1328992" y="237134"/>
                  </a:lnTo>
                  <a:lnTo>
                    <a:pt x="1328992" y="236436"/>
                  </a:lnTo>
                  <a:lnTo>
                    <a:pt x="1328992" y="237134"/>
                  </a:lnTo>
                  <a:lnTo>
                    <a:pt x="1328992" y="235001"/>
                  </a:lnTo>
                  <a:lnTo>
                    <a:pt x="1328992" y="236436"/>
                  </a:lnTo>
                  <a:lnTo>
                    <a:pt x="1328992" y="235001"/>
                  </a:lnTo>
                  <a:lnTo>
                    <a:pt x="1328992" y="236436"/>
                  </a:lnTo>
                  <a:lnTo>
                    <a:pt x="1329043" y="237134"/>
                  </a:lnTo>
                  <a:lnTo>
                    <a:pt x="1329043" y="236436"/>
                  </a:lnTo>
                  <a:lnTo>
                    <a:pt x="1329043" y="237134"/>
                  </a:lnTo>
                  <a:lnTo>
                    <a:pt x="1329043" y="236436"/>
                  </a:lnTo>
                  <a:lnTo>
                    <a:pt x="1329043" y="237134"/>
                  </a:lnTo>
                  <a:lnTo>
                    <a:pt x="1329043" y="236436"/>
                  </a:lnTo>
                  <a:lnTo>
                    <a:pt x="1329043" y="237134"/>
                  </a:lnTo>
                  <a:lnTo>
                    <a:pt x="1329144" y="237134"/>
                  </a:lnTo>
                  <a:lnTo>
                    <a:pt x="1329144" y="236436"/>
                  </a:lnTo>
                  <a:lnTo>
                    <a:pt x="1329144" y="237134"/>
                  </a:lnTo>
                  <a:lnTo>
                    <a:pt x="1329144" y="236436"/>
                  </a:lnTo>
                  <a:lnTo>
                    <a:pt x="1329144" y="237134"/>
                  </a:lnTo>
                  <a:lnTo>
                    <a:pt x="1329195" y="237134"/>
                  </a:lnTo>
                  <a:lnTo>
                    <a:pt x="1329195" y="234302"/>
                  </a:lnTo>
                  <a:lnTo>
                    <a:pt x="1329195" y="235001"/>
                  </a:lnTo>
                  <a:lnTo>
                    <a:pt x="1329246" y="235001"/>
                  </a:lnTo>
                  <a:lnTo>
                    <a:pt x="1329246" y="233019"/>
                  </a:lnTo>
                  <a:lnTo>
                    <a:pt x="1329246" y="233718"/>
                  </a:lnTo>
                  <a:lnTo>
                    <a:pt x="1329284" y="233718"/>
                  </a:lnTo>
                  <a:lnTo>
                    <a:pt x="1329284" y="235001"/>
                  </a:lnTo>
                  <a:lnTo>
                    <a:pt x="1329284" y="233718"/>
                  </a:lnTo>
                  <a:lnTo>
                    <a:pt x="1329386" y="233718"/>
                  </a:lnTo>
                  <a:lnTo>
                    <a:pt x="1329386" y="237134"/>
                  </a:lnTo>
                  <a:lnTo>
                    <a:pt x="1329386" y="234302"/>
                  </a:lnTo>
                  <a:lnTo>
                    <a:pt x="1329386" y="235001"/>
                  </a:lnTo>
                  <a:lnTo>
                    <a:pt x="1329437" y="236436"/>
                  </a:lnTo>
                  <a:lnTo>
                    <a:pt x="1329437" y="237134"/>
                  </a:lnTo>
                  <a:lnTo>
                    <a:pt x="1329437" y="235001"/>
                  </a:lnTo>
                  <a:lnTo>
                    <a:pt x="1329437" y="236436"/>
                  </a:lnTo>
                  <a:lnTo>
                    <a:pt x="1329487" y="236436"/>
                  </a:lnTo>
                  <a:lnTo>
                    <a:pt x="1329487" y="237134"/>
                  </a:lnTo>
                  <a:lnTo>
                    <a:pt x="1329487" y="236436"/>
                  </a:lnTo>
                  <a:lnTo>
                    <a:pt x="1329487" y="237134"/>
                  </a:lnTo>
                  <a:lnTo>
                    <a:pt x="1329589" y="237134"/>
                  </a:lnTo>
                  <a:lnTo>
                    <a:pt x="1329589" y="237782"/>
                  </a:lnTo>
                  <a:lnTo>
                    <a:pt x="1329589" y="236436"/>
                  </a:lnTo>
                  <a:lnTo>
                    <a:pt x="1329589" y="237134"/>
                  </a:lnTo>
                  <a:lnTo>
                    <a:pt x="1329640" y="236436"/>
                  </a:lnTo>
                  <a:lnTo>
                    <a:pt x="1329640" y="237134"/>
                  </a:lnTo>
                  <a:lnTo>
                    <a:pt x="1329640" y="236436"/>
                  </a:lnTo>
                  <a:lnTo>
                    <a:pt x="1329640" y="237134"/>
                  </a:lnTo>
                  <a:lnTo>
                    <a:pt x="1329640" y="236436"/>
                  </a:lnTo>
                  <a:lnTo>
                    <a:pt x="1329640" y="237134"/>
                  </a:lnTo>
                  <a:lnTo>
                    <a:pt x="1329640" y="236436"/>
                  </a:lnTo>
                  <a:lnTo>
                    <a:pt x="1329690" y="236436"/>
                  </a:lnTo>
                  <a:lnTo>
                    <a:pt x="1329690" y="234302"/>
                  </a:lnTo>
                  <a:lnTo>
                    <a:pt x="1329690" y="235001"/>
                  </a:lnTo>
                  <a:lnTo>
                    <a:pt x="1329690" y="233718"/>
                  </a:lnTo>
                  <a:lnTo>
                    <a:pt x="1329741" y="234302"/>
                  </a:lnTo>
                  <a:lnTo>
                    <a:pt x="1329741" y="232270"/>
                  </a:lnTo>
                  <a:lnTo>
                    <a:pt x="1329741" y="233718"/>
                  </a:lnTo>
                  <a:lnTo>
                    <a:pt x="1329830" y="233718"/>
                  </a:lnTo>
                  <a:lnTo>
                    <a:pt x="1329830" y="233019"/>
                  </a:lnTo>
                  <a:lnTo>
                    <a:pt x="1329830" y="235001"/>
                  </a:lnTo>
                  <a:lnTo>
                    <a:pt x="1329881" y="235001"/>
                  </a:lnTo>
                  <a:lnTo>
                    <a:pt x="1329881" y="233718"/>
                  </a:lnTo>
                  <a:lnTo>
                    <a:pt x="1329881" y="235001"/>
                  </a:lnTo>
                  <a:lnTo>
                    <a:pt x="1329932" y="235001"/>
                  </a:lnTo>
                  <a:lnTo>
                    <a:pt x="1329932" y="234302"/>
                  </a:lnTo>
                  <a:lnTo>
                    <a:pt x="1329932" y="235001"/>
                  </a:lnTo>
                  <a:lnTo>
                    <a:pt x="1329932" y="234302"/>
                  </a:lnTo>
                  <a:lnTo>
                    <a:pt x="1329932" y="235001"/>
                  </a:lnTo>
                  <a:lnTo>
                    <a:pt x="1329932" y="233718"/>
                  </a:lnTo>
                  <a:lnTo>
                    <a:pt x="1329932" y="235001"/>
                  </a:lnTo>
                  <a:lnTo>
                    <a:pt x="1329983" y="235001"/>
                  </a:lnTo>
                  <a:lnTo>
                    <a:pt x="1329983" y="236436"/>
                  </a:lnTo>
                  <a:lnTo>
                    <a:pt x="1330084" y="236436"/>
                  </a:lnTo>
                  <a:lnTo>
                    <a:pt x="1330084" y="237134"/>
                  </a:lnTo>
                  <a:lnTo>
                    <a:pt x="1330084" y="236436"/>
                  </a:lnTo>
                  <a:lnTo>
                    <a:pt x="1330135" y="236436"/>
                  </a:lnTo>
                  <a:lnTo>
                    <a:pt x="1330135" y="235001"/>
                  </a:lnTo>
                  <a:lnTo>
                    <a:pt x="1330135" y="236436"/>
                  </a:lnTo>
                  <a:lnTo>
                    <a:pt x="1330135" y="235001"/>
                  </a:lnTo>
                  <a:lnTo>
                    <a:pt x="1330135" y="236436"/>
                  </a:lnTo>
                  <a:lnTo>
                    <a:pt x="1330135" y="235001"/>
                  </a:lnTo>
                  <a:lnTo>
                    <a:pt x="1330135" y="236436"/>
                  </a:lnTo>
                  <a:lnTo>
                    <a:pt x="1330135" y="235001"/>
                  </a:lnTo>
                  <a:lnTo>
                    <a:pt x="1330186" y="236436"/>
                  </a:lnTo>
                  <a:lnTo>
                    <a:pt x="1330186" y="234302"/>
                  </a:lnTo>
                  <a:lnTo>
                    <a:pt x="1330186" y="235001"/>
                  </a:lnTo>
                  <a:lnTo>
                    <a:pt x="1330186" y="233718"/>
                  </a:lnTo>
                  <a:lnTo>
                    <a:pt x="1330287" y="233718"/>
                  </a:lnTo>
                  <a:lnTo>
                    <a:pt x="1330287" y="233019"/>
                  </a:lnTo>
                  <a:lnTo>
                    <a:pt x="1330287" y="235001"/>
                  </a:lnTo>
                  <a:lnTo>
                    <a:pt x="1330287" y="234302"/>
                  </a:lnTo>
                  <a:lnTo>
                    <a:pt x="1330325" y="234302"/>
                  </a:lnTo>
                  <a:lnTo>
                    <a:pt x="1330325" y="235001"/>
                  </a:lnTo>
                  <a:lnTo>
                    <a:pt x="1330325" y="233718"/>
                  </a:lnTo>
                  <a:lnTo>
                    <a:pt x="1330325" y="236436"/>
                  </a:lnTo>
                  <a:lnTo>
                    <a:pt x="1330325" y="235001"/>
                  </a:lnTo>
                  <a:lnTo>
                    <a:pt x="1330376" y="235001"/>
                  </a:lnTo>
                  <a:lnTo>
                    <a:pt x="1330376" y="234302"/>
                  </a:lnTo>
                  <a:lnTo>
                    <a:pt x="1330376" y="236436"/>
                  </a:lnTo>
                  <a:lnTo>
                    <a:pt x="1330376" y="235001"/>
                  </a:lnTo>
                  <a:lnTo>
                    <a:pt x="1330427" y="235001"/>
                  </a:lnTo>
                  <a:lnTo>
                    <a:pt x="1330427" y="234302"/>
                  </a:lnTo>
                  <a:lnTo>
                    <a:pt x="1330427" y="235001"/>
                  </a:lnTo>
                  <a:lnTo>
                    <a:pt x="1330529" y="235001"/>
                  </a:lnTo>
                  <a:lnTo>
                    <a:pt x="1330529" y="234302"/>
                  </a:lnTo>
                  <a:lnTo>
                    <a:pt x="1330529" y="236436"/>
                  </a:lnTo>
                  <a:lnTo>
                    <a:pt x="1330529" y="235001"/>
                  </a:lnTo>
                  <a:lnTo>
                    <a:pt x="1330529" y="236436"/>
                  </a:lnTo>
                  <a:lnTo>
                    <a:pt x="1330580" y="236436"/>
                  </a:lnTo>
                  <a:lnTo>
                    <a:pt x="1330580" y="235001"/>
                  </a:lnTo>
                  <a:lnTo>
                    <a:pt x="1330630" y="236436"/>
                  </a:lnTo>
                  <a:lnTo>
                    <a:pt x="1330630" y="234302"/>
                  </a:lnTo>
                  <a:lnTo>
                    <a:pt x="1330630" y="235001"/>
                  </a:lnTo>
                  <a:lnTo>
                    <a:pt x="1330630" y="234302"/>
                  </a:lnTo>
                  <a:lnTo>
                    <a:pt x="1330630" y="235001"/>
                  </a:lnTo>
                  <a:lnTo>
                    <a:pt x="1330630" y="234302"/>
                  </a:lnTo>
                  <a:lnTo>
                    <a:pt x="1330732" y="234302"/>
                  </a:lnTo>
                  <a:lnTo>
                    <a:pt x="1330732" y="233019"/>
                  </a:lnTo>
                  <a:lnTo>
                    <a:pt x="1330783" y="233019"/>
                  </a:lnTo>
                  <a:lnTo>
                    <a:pt x="1330783" y="232270"/>
                  </a:lnTo>
                  <a:lnTo>
                    <a:pt x="1330783" y="234302"/>
                  </a:lnTo>
                  <a:lnTo>
                    <a:pt x="1330783" y="233019"/>
                  </a:lnTo>
                  <a:lnTo>
                    <a:pt x="1330783" y="233718"/>
                  </a:lnTo>
                  <a:lnTo>
                    <a:pt x="1330834" y="233718"/>
                  </a:lnTo>
                  <a:lnTo>
                    <a:pt x="1330834" y="233019"/>
                  </a:lnTo>
                  <a:lnTo>
                    <a:pt x="1330834" y="235001"/>
                  </a:lnTo>
                  <a:lnTo>
                    <a:pt x="1330834" y="234302"/>
                  </a:lnTo>
                  <a:lnTo>
                    <a:pt x="1330872" y="234302"/>
                  </a:lnTo>
                  <a:lnTo>
                    <a:pt x="1330872" y="235001"/>
                  </a:lnTo>
                  <a:lnTo>
                    <a:pt x="1330872" y="234302"/>
                  </a:lnTo>
                  <a:lnTo>
                    <a:pt x="1330872" y="235001"/>
                  </a:lnTo>
                  <a:lnTo>
                    <a:pt x="1330973" y="234302"/>
                  </a:lnTo>
                  <a:lnTo>
                    <a:pt x="1330973" y="235001"/>
                  </a:lnTo>
                  <a:lnTo>
                    <a:pt x="1330973" y="234302"/>
                  </a:lnTo>
                  <a:lnTo>
                    <a:pt x="1330973" y="235001"/>
                  </a:lnTo>
                  <a:lnTo>
                    <a:pt x="1331024" y="235001"/>
                  </a:lnTo>
                  <a:lnTo>
                    <a:pt x="1331024" y="234302"/>
                  </a:lnTo>
                  <a:lnTo>
                    <a:pt x="1331024" y="235001"/>
                  </a:lnTo>
                  <a:lnTo>
                    <a:pt x="1331024" y="234302"/>
                  </a:lnTo>
                  <a:lnTo>
                    <a:pt x="1331024" y="235001"/>
                  </a:lnTo>
                  <a:lnTo>
                    <a:pt x="1331024" y="234302"/>
                  </a:lnTo>
                  <a:lnTo>
                    <a:pt x="1331024" y="236436"/>
                  </a:lnTo>
                  <a:lnTo>
                    <a:pt x="1331024" y="235001"/>
                  </a:lnTo>
                  <a:lnTo>
                    <a:pt x="1331024" y="236436"/>
                  </a:lnTo>
                  <a:lnTo>
                    <a:pt x="1331075" y="235001"/>
                  </a:lnTo>
                  <a:lnTo>
                    <a:pt x="1331075" y="236436"/>
                  </a:lnTo>
                  <a:lnTo>
                    <a:pt x="1331075" y="234302"/>
                  </a:lnTo>
                  <a:lnTo>
                    <a:pt x="1331075" y="235001"/>
                  </a:lnTo>
                  <a:lnTo>
                    <a:pt x="1331075" y="234302"/>
                  </a:lnTo>
                  <a:lnTo>
                    <a:pt x="1331176" y="234302"/>
                  </a:lnTo>
                  <a:lnTo>
                    <a:pt x="1331176" y="233718"/>
                  </a:lnTo>
                  <a:lnTo>
                    <a:pt x="1331176" y="234302"/>
                  </a:lnTo>
                  <a:lnTo>
                    <a:pt x="1331176" y="233718"/>
                  </a:lnTo>
                  <a:lnTo>
                    <a:pt x="1331227" y="233718"/>
                  </a:lnTo>
                  <a:lnTo>
                    <a:pt x="1331227" y="230987"/>
                  </a:lnTo>
                  <a:lnTo>
                    <a:pt x="1331227" y="232270"/>
                  </a:lnTo>
                  <a:lnTo>
                    <a:pt x="1331227" y="230987"/>
                  </a:lnTo>
                  <a:lnTo>
                    <a:pt x="1331278" y="230987"/>
                  </a:lnTo>
                  <a:lnTo>
                    <a:pt x="1331278" y="233718"/>
                  </a:lnTo>
                  <a:lnTo>
                    <a:pt x="1331278" y="232270"/>
                  </a:lnTo>
                  <a:lnTo>
                    <a:pt x="1331278" y="233019"/>
                  </a:lnTo>
                  <a:lnTo>
                    <a:pt x="1331329" y="233718"/>
                  </a:lnTo>
                  <a:lnTo>
                    <a:pt x="1331329" y="234302"/>
                  </a:lnTo>
                  <a:lnTo>
                    <a:pt x="1331329" y="233718"/>
                  </a:lnTo>
                  <a:lnTo>
                    <a:pt x="1331329" y="234302"/>
                  </a:lnTo>
                  <a:lnTo>
                    <a:pt x="1331418" y="233718"/>
                  </a:lnTo>
                  <a:lnTo>
                    <a:pt x="1331418" y="234302"/>
                  </a:lnTo>
                  <a:lnTo>
                    <a:pt x="1331418" y="233718"/>
                  </a:lnTo>
                  <a:lnTo>
                    <a:pt x="1331418" y="234302"/>
                  </a:lnTo>
                  <a:lnTo>
                    <a:pt x="1331418" y="233718"/>
                  </a:lnTo>
                  <a:lnTo>
                    <a:pt x="1331418" y="234302"/>
                  </a:lnTo>
                  <a:lnTo>
                    <a:pt x="1331469" y="234302"/>
                  </a:lnTo>
                  <a:lnTo>
                    <a:pt x="1331469" y="233718"/>
                  </a:lnTo>
                  <a:lnTo>
                    <a:pt x="1331469" y="235001"/>
                  </a:lnTo>
                  <a:lnTo>
                    <a:pt x="1331519" y="235001"/>
                  </a:lnTo>
                  <a:lnTo>
                    <a:pt x="1331519" y="234302"/>
                  </a:lnTo>
                  <a:lnTo>
                    <a:pt x="1331519" y="235001"/>
                  </a:lnTo>
                  <a:lnTo>
                    <a:pt x="1331570" y="235001"/>
                  </a:lnTo>
                  <a:lnTo>
                    <a:pt x="1331570" y="234302"/>
                  </a:lnTo>
                  <a:lnTo>
                    <a:pt x="1331570" y="235001"/>
                  </a:lnTo>
                  <a:lnTo>
                    <a:pt x="1331570" y="234302"/>
                  </a:lnTo>
                  <a:lnTo>
                    <a:pt x="1331570" y="235001"/>
                  </a:lnTo>
                  <a:lnTo>
                    <a:pt x="1331570" y="234302"/>
                  </a:lnTo>
                  <a:lnTo>
                    <a:pt x="1331672" y="234302"/>
                  </a:lnTo>
                  <a:lnTo>
                    <a:pt x="1331672" y="233718"/>
                  </a:lnTo>
                  <a:lnTo>
                    <a:pt x="1331672" y="234302"/>
                  </a:lnTo>
                  <a:lnTo>
                    <a:pt x="1331672" y="233019"/>
                  </a:lnTo>
                  <a:lnTo>
                    <a:pt x="1331722" y="233019"/>
                  </a:lnTo>
                  <a:lnTo>
                    <a:pt x="1331722" y="230987"/>
                  </a:lnTo>
                  <a:lnTo>
                    <a:pt x="1331722" y="232270"/>
                  </a:lnTo>
                  <a:lnTo>
                    <a:pt x="1331722" y="230987"/>
                  </a:lnTo>
                  <a:lnTo>
                    <a:pt x="1331773" y="230238"/>
                  </a:lnTo>
                  <a:lnTo>
                    <a:pt x="1331773" y="232270"/>
                  </a:lnTo>
                  <a:lnTo>
                    <a:pt x="1331773" y="230987"/>
                  </a:lnTo>
                  <a:lnTo>
                    <a:pt x="1331773" y="233718"/>
                  </a:lnTo>
                  <a:lnTo>
                    <a:pt x="1331875" y="233718"/>
                  </a:lnTo>
                  <a:lnTo>
                    <a:pt x="1331875" y="233019"/>
                  </a:lnTo>
                  <a:lnTo>
                    <a:pt x="1331875" y="233718"/>
                  </a:lnTo>
                  <a:lnTo>
                    <a:pt x="1331875" y="233019"/>
                  </a:lnTo>
                  <a:lnTo>
                    <a:pt x="1331875" y="233718"/>
                  </a:lnTo>
                  <a:lnTo>
                    <a:pt x="1331875" y="233019"/>
                  </a:lnTo>
                  <a:lnTo>
                    <a:pt x="1331875" y="233718"/>
                  </a:lnTo>
                  <a:lnTo>
                    <a:pt x="1331875" y="232270"/>
                  </a:lnTo>
                  <a:lnTo>
                    <a:pt x="1331875" y="233019"/>
                  </a:lnTo>
                  <a:lnTo>
                    <a:pt x="1331913" y="233718"/>
                  </a:lnTo>
                  <a:lnTo>
                    <a:pt x="1331913" y="233019"/>
                  </a:lnTo>
                  <a:lnTo>
                    <a:pt x="1331913" y="233718"/>
                  </a:lnTo>
                  <a:lnTo>
                    <a:pt x="1331913" y="233019"/>
                  </a:lnTo>
                  <a:lnTo>
                    <a:pt x="1331913" y="233718"/>
                  </a:lnTo>
                  <a:lnTo>
                    <a:pt x="1331964" y="233718"/>
                  </a:lnTo>
                  <a:lnTo>
                    <a:pt x="1331964" y="234302"/>
                  </a:lnTo>
                  <a:lnTo>
                    <a:pt x="1331964" y="233718"/>
                  </a:lnTo>
                  <a:lnTo>
                    <a:pt x="1331964" y="234302"/>
                  </a:lnTo>
                  <a:lnTo>
                    <a:pt x="1332015" y="234302"/>
                  </a:lnTo>
                  <a:lnTo>
                    <a:pt x="1332015" y="233718"/>
                  </a:lnTo>
                  <a:lnTo>
                    <a:pt x="1332015" y="234302"/>
                  </a:lnTo>
                  <a:lnTo>
                    <a:pt x="1332116" y="234302"/>
                  </a:lnTo>
                  <a:lnTo>
                    <a:pt x="1332116" y="235001"/>
                  </a:lnTo>
                  <a:lnTo>
                    <a:pt x="1332116" y="233718"/>
                  </a:lnTo>
                  <a:lnTo>
                    <a:pt x="1332167" y="233718"/>
                  </a:lnTo>
                  <a:lnTo>
                    <a:pt x="1332167" y="232270"/>
                  </a:lnTo>
                  <a:lnTo>
                    <a:pt x="1332167" y="233019"/>
                  </a:lnTo>
                  <a:lnTo>
                    <a:pt x="1332167" y="230987"/>
                  </a:lnTo>
                  <a:lnTo>
                    <a:pt x="1332218" y="230987"/>
                  </a:lnTo>
                  <a:lnTo>
                    <a:pt x="1332218" y="232270"/>
                  </a:lnTo>
                  <a:lnTo>
                    <a:pt x="1332218" y="230987"/>
                  </a:lnTo>
                  <a:lnTo>
                    <a:pt x="1332218" y="232270"/>
                  </a:lnTo>
                  <a:lnTo>
                    <a:pt x="1332218" y="229540"/>
                  </a:lnTo>
                  <a:lnTo>
                    <a:pt x="1332319" y="229540"/>
                  </a:lnTo>
                  <a:lnTo>
                    <a:pt x="1332319" y="232270"/>
                  </a:lnTo>
                  <a:lnTo>
                    <a:pt x="1332319" y="229540"/>
                  </a:lnTo>
                  <a:lnTo>
                    <a:pt x="1332319" y="230238"/>
                  </a:lnTo>
                  <a:lnTo>
                    <a:pt x="1332370" y="230238"/>
                  </a:lnTo>
                  <a:lnTo>
                    <a:pt x="1332370" y="233019"/>
                  </a:lnTo>
                  <a:lnTo>
                    <a:pt x="1332370" y="230238"/>
                  </a:lnTo>
                  <a:lnTo>
                    <a:pt x="1332370" y="230987"/>
                  </a:lnTo>
                  <a:lnTo>
                    <a:pt x="1332421" y="230987"/>
                  </a:lnTo>
                  <a:lnTo>
                    <a:pt x="1332421" y="232270"/>
                  </a:lnTo>
                  <a:lnTo>
                    <a:pt x="1332421" y="230987"/>
                  </a:lnTo>
                  <a:lnTo>
                    <a:pt x="1332421" y="233019"/>
                  </a:lnTo>
                  <a:lnTo>
                    <a:pt x="1332459" y="233019"/>
                  </a:lnTo>
                  <a:lnTo>
                    <a:pt x="1332459" y="233718"/>
                  </a:lnTo>
                  <a:lnTo>
                    <a:pt x="1332561" y="233718"/>
                  </a:lnTo>
                  <a:lnTo>
                    <a:pt x="1332561" y="233019"/>
                  </a:lnTo>
                  <a:lnTo>
                    <a:pt x="1332561" y="234302"/>
                  </a:lnTo>
                  <a:lnTo>
                    <a:pt x="1332561" y="233718"/>
                  </a:lnTo>
                  <a:lnTo>
                    <a:pt x="1332612" y="233718"/>
                  </a:lnTo>
                  <a:lnTo>
                    <a:pt x="1332612" y="234302"/>
                  </a:lnTo>
                  <a:lnTo>
                    <a:pt x="1332612" y="233019"/>
                  </a:lnTo>
                  <a:lnTo>
                    <a:pt x="1332612" y="234302"/>
                  </a:lnTo>
                  <a:lnTo>
                    <a:pt x="1332612" y="233019"/>
                  </a:lnTo>
                  <a:lnTo>
                    <a:pt x="1332612" y="233718"/>
                  </a:lnTo>
                  <a:lnTo>
                    <a:pt x="1332662" y="233718"/>
                  </a:lnTo>
                  <a:lnTo>
                    <a:pt x="1332662" y="233019"/>
                  </a:lnTo>
                  <a:lnTo>
                    <a:pt x="1332764" y="233019"/>
                  </a:lnTo>
                  <a:lnTo>
                    <a:pt x="1332764" y="230238"/>
                  </a:lnTo>
                  <a:lnTo>
                    <a:pt x="1332764" y="230987"/>
                  </a:lnTo>
                  <a:lnTo>
                    <a:pt x="1332764" y="230238"/>
                  </a:lnTo>
                  <a:lnTo>
                    <a:pt x="1332815" y="230238"/>
                  </a:lnTo>
                  <a:lnTo>
                    <a:pt x="1332815" y="232270"/>
                  </a:lnTo>
                  <a:lnTo>
                    <a:pt x="1332815" y="229540"/>
                  </a:lnTo>
                  <a:lnTo>
                    <a:pt x="1332865" y="230238"/>
                  </a:lnTo>
                  <a:lnTo>
                    <a:pt x="1332865" y="233019"/>
                  </a:lnTo>
                  <a:lnTo>
                    <a:pt x="1332865" y="230238"/>
                  </a:lnTo>
                  <a:lnTo>
                    <a:pt x="1332865" y="230987"/>
                  </a:lnTo>
                  <a:lnTo>
                    <a:pt x="1332916" y="230987"/>
                  </a:lnTo>
                  <a:lnTo>
                    <a:pt x="1332916" y="232270"/>
                  </a:lnTo>
                  <a:lnTo>
                    <a:pt x="1332916" y="230987"/>
                  </a:lnTo>
                  <a:lnTo>
                    <a:pt x="1332916" y="232270"/>
                  </a:lnTo>
                  <a:lnTo>
                    <a:pt x="1333005" y="232270"/>
                  </a:lnTo>
                  <a:lnTo>
                    <a:pt x="1333005" y="233019"/>
                  </a:lnTo>
                  <a:lnTo>
                    <a:pt x="1333005" y="232270"/>
                  </a:lnTo>
                  <a:lnTo>
                    <a:pt x="1333005" y="233019"/>
                  </a:lnTo>
                  <a:lnTo>
                    <a:pt x="1333005" y="232270"/>
                  </a:lnTo>
                  <a:lnTo>
                    <a:pt x="1333005" y="233019"/>
                  </a:lnTo>
                  <a:lnTo>
                    <a:pt x="1333056" y="233019"/>
                  </a:lnTo>
                  <a:lnTo>
                    <a:pt x="1333056" y="233718"/>
                  </a:lnTo>
                  <a:lnTo>
                    <a:pt x="1333056" y="233019"/>
                  </a:lnTo>
                  <a:lnTo>
                    <a:pt x="1333056" y="233718"/>
                  </a:lnTo>
                  <a:lnTo>
                    <a:pt x="1333056" y="233019"/>
                  </a:lnTo>
                  <a:lnTo>
                    <a:pt x="1333056" y="233718"/>
                  </a:lnTo>
                  <a:lnTo>
                    <a:pt x="1333158" y="233718"/>
                  </a:lnTo>
                  <a:lnTo>
                    <a:pt x="1333158" y="233019"/>
                  </a:lnTo>
                  <a:lnTo>
                    <a:pt x="1333158" y="233718"/>
                  </a:lnTo>
                  <a:lnTo>
                    <a:pt x="1333158" y="233019"/>
                  </a:lnTo>
                  <a:lnTo>
                    <a:pt x="1333259" y="233019"/>
                  </a:lnTo>
                  <a:lnTo>
                    <a:pt x="1333259" y="230987"/>
                  </a:lnTo>
                  <a:lnTo>
                    <a:pt x="1333259" y="232270"/>
                  </a:lnTo>
                  <a:lnTo>
                    <a:pt x="1333259" y="230987"/>
                  </a:lnTo>
                  <a:lnTo>
                    <a:pt x="1333310" y="230987"/>
                  </a:lnTo>
                  <a:lnTo>
                    <a:pt x="1333310" y="233019"/>
                  </a:lnTo>
                  <a:lnTo>
                    <a:pt x="1333310" y="230238"/>
                  </a:lnTo>
                  <a:lnTo>
                    <a:pt x="1333310" y="232270"/>
                  </a:lnTo>
                  <a:lnTo>
                    <a:pt x="1333361" y="233019"/>
                  </a:lnTo>
                  <a:lnTo>
                    <a:pt x="1333361" y="233718"/>
                  </a:lnTo>
                  <a:lnTo>
                    <a:pt x="1333361" y="230987"/>
                  </a:lnTo>
                  <a:lnTo>
                    <a:pt x="1333361" y="233019"/>
                  </a:lnTo>
                  <a:lnTo>
                    <a:pt x="1333462" y="233019"/>
                  </a:lnTo>
                  <a:lnTo>
                    <a:pt x="1333462" y="233718"/>
                  </a:lnTo>
                  <a:lnTo>
                    <a:pt x="1333462" y="232270"/>
                  </a:lnTo>
                  <a:lnTo>
                    <a:pt x="1333462" y="233019"/>
                  </a:lnTo>
                  <a:lnTo>
                    <a:pt x="1333500" y="233019"/>
                  </a:lnTo>
                  <a:lnTo>
                    <a:pt x="1333500" y="232270"/>
                  </a:lnTo>
                  <a:lnTo>
                    <a:pt x="1333500" y="233019"/>
                  </a:lnTo>
                  <a:lnTo>
                    <a:pt x="1333551" y="233019"/>
                  </a:lnTo>
                  <a:lnTo>
                    <a:pt x="1333551" y="233718"/>
                  </a:lnTo>
                  <a:lnTo>
                    <a:pt x="1333551" y="233019"/>
                  </a:lnTo>
                  <a:lnTo>
                    <a:pt x="1333551" y="233718"/>
                  </a:lnTo>
                  <a:lnTo>
                    <a:pt x="1333551" y="233019"/>
                  </a:lnTo>
                  <a:lnTo>
                    <a:pt x="1333602" y="233019"/>
                  </a:lnTo>
                  <a:lnTo>
                    <a:pt x="1333602" y="233718"/>
                  </a:lnTo>
                  <a:lnTo>
                    <a:pt x="1333602" y="233019"/>
                  </a:lnTo>
                  <a:lnTo>
                    <a:pt x="1333602" y="233718"/>
                  </a:lnTo>
                  <a:lnTo>
                    <a:pt x="1333704" y="233718"/>
                  </a:lnTo>
                  <a:lnTo>
                    <a:pt x="1333704" y="233019"/>
                  </a:lnTo>
                  <a:lnTo>
                    <a:pt x="1333704" y="233718"/>
                  </a:lnTo>
                  <a:lnTo>
                    <a:pt x="1333704" y="233019"/>
                  </a:lnTo>
                  <a:lnTo>
                    <a:pt x="1333755" y="233019"/>
                  </a:lnTo>
                  <a:lnTo>
                    <a:pt x="1333755" y="230987"/>
                  </a:lnTo>
                  <a:lnTo>
                    <a:pt x="1333755" y="232270"/>
                  </a:lnTo>
                  <a:lnTo>
                    <a:pt x="1333805" y="232270"/>
                  </a:lnTo>
                  <a:lnTo>
                    <a:pt x="1333805" y="233019"/>
                  </a:lnTo>
                  <a:lnTo>
                    <a:pt x="1333805" y="230238"/>
                  </a:lnTo>
                  <a:lnTo>
                    <a:pt x="1333805" y="233718"/>
                  </a:lnTo>
                  <a:lnTo>
                    <a:pt x="1333907" y="233718"/>
                  </a:lnTo>
                  <a:lnTo>
                    <a:pt x="1333907" y="232270"/>
                  </a:lnTo>
                  <a:lnTo>
                    <a:pt x="1333907" y="233718"/>
                  </a:lnTo>
                  <a:lnTo>
                    <a:pt x="1333958" y="233718"/>
                  </a:lnTo>
                  <a:lnTo>
                    <a:pt x="1333958" y="233019"/>
                  </a:lnTo>
                  <a:lnTo>
                    <a:pt x="1333958" y="233718"/>
                  </a:lnTo>
                  <a:lnTo>
                    <a:pt x="1333958" y="233019"/>
                  </a:lnTo>
                  <a:lnTo>
                    <a:pt x="1333958" y="233718"/>
                  </a:lnTo>
                  <a:lnTo>
                    <a:pt x="1333958" y="233019"/>
                  </a:lnTo>
                  <a:lnTo>
                    <a:pt x="1333958" y="233718"/>
                  </a:lnTo>
                  <a:lnTo>
                    <a:pt x="1334009" y="233718"/>
                  </a:lnTo>
                  <a:lnTo>
                    <a:pt x="1334009" y="233019"/>
                  </a:lnTo>
                  <a:lnTo>
                    <a:pt x="1334009" y="233718"/>
                  </a:lnTo>
                  <a:lnTo>
                    <a:pt x="1334009" y="233019"/>
                  </a:lnTo>
                  <a:lnTo>
                    <a:pt x="1334009" y="233718"/>
                  </a:lnTo>
                  <a:lnTo>
                    <a:pt x="1334009" y="233019"/>
                  </a:lnTo>
                  <a:lnTo>
                    <a:pt x="1334047" y="233718"/>
                  </a:lnTo>
                  <a:lnTo>
                    <a:pt x="1334047" y="233019"/>
                  </a:lnTo>
                  <a:lnTo>
                    <a:pt x="1334047" y="234302"/>
                  </a:lnTo>
                  <a:lnTo>
                    <a:pt x="1334047" y="233019"/>
                  </a:lnTo>
                  <a:lnTo>
                    <a:pt x="1334148" y="233019"/>
                  </a:lnTo>
                  <a:lnTo>
                    <a:pt x="1334148" y="233718"/>
                  </a:lnTo>
                  <a:lnTo>
                    <a:pt x="1334148" y="233019"/>
                  </a:lnTo>
                  <a:lnTo>
                    <a:pt x="1334148" y="233718"/>
                  </a:lnTo>
                  <a:lnTo>
                    <a:pt x="1334148" y="233019"/>
                  </a:lnTo>
                  <a:lnTo>
                    <a:pt x="1334148" y="233718"/>
                  </a:lnTo>
                  <a:lnTo>
                    <a:pt x="1334148" y="233019"/>
                  </a:lnTo>
                  <a:lnTo>
                    <a:pt x="1334199" y="233019"/>
                  </a:lnTo>
                  <a:lnTo>
                    <a:pt x="1334199" y="232270"/>
                  </a:lnTo>
                  <a:lnTo>
                    <a:pt x="1334250" y="230987"/>
                  </a:lnTo>
                  <a:lnTo>
                    <a:pt x="1334250" y="230238"/>
                  </a:lnTo>
                  <a:lnTo>
                    <a:pt x="1334250" y="233019"/>
                  </a:lnTo>
                  <a:lnTo>
                    <a:pt x="1334351" y="232270"/>
                  </a:lnTo>
                  <a:lnTo>
                    <a:pt x="1334351" y="230987"/>
                  </a:lnTo>
                  <a:lnTo>
                    <a:pt x="1334351" y="233019"/>
                  </a:lnTo>
                  <a:lnTo>
                    <a:pt x="1334402" y="232270"/>
                  </a:lnTo>
                  <a:lnTo>
                    <a:pt x="1334402" y="230987"/>
                  </a:lnTo>
                  <a:lnTo>
                    <a:pt x="1334402" y="232270"/>
                  </a:lnTo>
                  <a:lnTo>
                    <a:pt x="1334402" y="230987"/>
                  </a:lnTo>
                  <a:lnTo>
                    <a:pt x="1334453" y="230987"/>
                  </a:lnTo>
                  <a:lnTo>
                    <a:pt x="1334453" y="229540"/>
                  </a:lnTo>
                  <a:lnTo>
                    <a:pt x="1334453" y="230238"/>
                  </a:lnTo>
                  <a:lnTo>
                    <a:pt x="1334453" y="228854"/>
                  </a:lnTo>
                  <a:lnTo>
                    <a:pt x="1334504" y="227508"/>
                  </a:lnTo>
                  <a:lnTo>
                    <a:pt x="1334504" y="225476"/>
                  </a:lnTo>
                  <a:lnTo>
                    <a:pt x="1334593" y="224777"/>
                  </a:lnTo>
                  <a:lnTo>
                    <a:pt x="1334593" y="220015"/>
                  </a:lnTo>
                  <a:lnTo>
                    <a:pt x="1334644" y="220015"/>
                  </a:lnTo>
                  <a:lnTo>
                    <a:pt x="1334644" y="218630"/>
                  </a:lnTo>
                  <a:lnTo>
                    <a:pt x="1334644" y="219329"/>
                  </a:lnTo>
                  <a:lnTo>
                    <a:pt x="1334644" y="217246"/>
                  </a:lnTo>
                  <a:lnTo>
                    <a:pt x="1334694" y="217246"/>
                  </a:lnTo>
                  <a:lnTo>
                    <a:pt x="1334694" y="210451"/>
                  </a:lnTo>
                  <a:lnTo>
                    <a:pt x="1334745" y="209753"/>
                  </a:lnTo>
                  <a:lnTo>
                    <a:pt x="1334745" y="207022"/>
                  </a:lnTo>
                  <a:lnTo>
                    <a:pt x="1334745" y="207721"/>
                  </a:lnTo>
                  <a:lnTo>
                    <a:pt x="1334745" y="206324"/>
                  </a:lnTo>
                  <a:lnTo>
                    <a:pt x="1334847" y="204990"/>
                  </a:lnTo>
                  <a:lnTo>
                    <a:pt x="1334847" y="203594"/>
                  </a:lnTo>
                  <a:lnTo>
                    <a:pt x="1334847" y="204292"/>
                  </a:lnTo>
                  <a:lnTo>
                    <a:pt x="1334847" y="203594"/>
                  </a:lnTo>
                  <a:lnTo>
                    <a:pt x="1334847" y="204990"/>
                  </a:lnTo>
                  <a:lnTo>
                    <a:pt x="1334847" y="202959"/>
                  </a:lnTo>
                  <a:lnTo>
                    <a:pt x="1334897" y="202959"/>
                  </a:lnTo>
                  <a:lnTo>
                    <a:pt x="1334897" y="198831"/>
                  </a:lnTo>
                  <a:lnTo>
                    <a:pt x="1334948" y="198831"/>
                  </a:lnTo>
                  <a:lnTo>
                    <a:pt x="1334948" y="195415"/>
                  </a:lnTo>
                  <a:lnTo>
                    <a:pt x="1335050" y="195415"/>
                  </a:lnTo>
                  <a:lnTo>
                    <a:pt x="1335050" y="189954"/>
                  </a:lnTo>
                  <a:lnTo>
                    <a:pt x="1335088" y="189954"/>
                  </a:lnTo>
                  <a:lnTo>
                    <a:pt x="1335088" y="185191"/>
                  </a:lnTo>
                  <a:lnTo>
                    <a:pt x="1335088" y="185890"/>
                  </a:lnTo>
                  <a:lnTo>
                    <a:pt x="1335088" y="185191"/>
                  </a:lnTo>
                  <a:lnTo>
                    <a:pt x="1335139" y="184505"/>
                  </a:lnTo>
                  <a:lnTo>
                    <a:pt x="1335139" y="179743"/>
                  </a:lnTo>
                  <a:lnTo>
                    <a:pt x="1335190" y="179743"/>
                  </a:lnTo>
                  <a:lnTo>
                    <a:pt x="1335190" y="173533"/>
                  </a:lnTo>
                  <a:lnTo>
                    <a:pt x="1335291" y="173533"/>
                  </a:lnTo>
                  <a:lnTo>
                    <a:pt x="1335291" y="170116"/>
                  </a:lnTo>
                  <a:lnTo>
                    <a:pt x="1335291" y="170802"/>
                  </a:lnTo>
                  <a:lnTo>
                    <a:pt x="1335291" y="169418"/>
                  </a:lnTo>
                  <a:lnTo>
                    <a:pt x="1335342" y="169418"/>
                  </a:lnTo>
                  <a:lnTo>
                    <a:pt x="1335342" y="166687"/>
                  </a:lnTo>
                  <a:lnTo>
                    <a:pt x="1335342" y="168770"/>
                  </a:lnTo>
                  <a:lnTo>
                    <a:pt x="1335342" y="166687"/>
                  </a:lnTo>
                  <a:lnTo>
                    <a:pt x="1335393" y="166687"/>
                  </a:lnTo>
                  <a:lnTo>
                    <a:pt x="1335393" y="161925"/>
                  </a:lnTo>
                  <a:lnTo>
                    <a:pt x="1335494" y="161925"/>
                  </a:lnTo>
                  <a:lnTo>
                    <a:pt x="1335494" y="157810"/>
                  </a:lnTo>
                  <a:lnTo>
                    <a:pt x="1335545" y="157810"/>
                  </a:lnTo>
                  <a:lnTo>
                    <a:pt x="1335545" y="154432"/>
                  </a:lnTo>
                  <a:lnTo>
                    <a:pt x="1335545" y="155080"/>
                  </a:lnTo>
                  <a:lnTo>
                    <a:pt x="1335596" y="155080"/>
                  </a:lnTo>
                  <a:lnTo>
                    <a:pt x="1335596" y="151714"/>
                  </a:lnTo>
                  <a:lnTo>
                    <a:pt x="1335634" y="151714"/>
                  </a:lnTo>
                  <a:lnTo>
                    <a:pt x="1335634" y="146901"/>
                  </a:lnTo>
                  <a:lnTo>
                    <a:pt x="1335634" y="147586"/>
                  </a:lnTo>
                  <a:lnTo>
                    <a:pt x="1335634" y="146901"/>
                  </a:lnTo>
                  <a:lnTo>
                    <a:pt x="1335736" y="146901"/>
                  </a:lnTo>
                  <a:lnTo>
                    <a:pt x="1335736" y="140741"/>
                  </a:lnTo>
                  <a:lnTo>
                    <a:pt x="1335787" y="140094"/>
                  </a:lnTo>
                  <a:lnTo>
                    <a:pt x="1335787" y="139408"/>
                  </a:lnTo>
                  <a:lnTo>
                    <a:pt x="1335787" y="140094"/>
                  </a:lnTo>
                  <a:lnTo>
                    <a:pt x="1335787" y="135979"/>
                  </a:lnTo>
                  <a:lnTo>
                    <a:pt x="1335837" y="135979"/>
                  </a:lnTo>
                  <a:lnTo>
                    <a:pt x="1335837" y="135293"/>
                  </a:lnTo>
                  <a:lnTo>
                    <a:pt x="1335837" y="135979"/>
                  </a:lnTo>
                  <a:lnTo>
                    <a:pt x="1335837" y="133248"/>
                  </a:lnTo>
                  <a:lnTo>
                    <a:pt x="1335939" y="133248"/>
                  </a:lnTo>
                  <a:lnTo>
                    <a:pt x="1335939" y="132562"/>
                  </a:lnTo>
                  <a:lnTo>
                    <a:pt x="1335939" y="133248"/>
                  </a:lnTo>
                  <a:lnTo>
                    <a:pt x="1335939" y="130530"/>
                  </a:lnTo>
                  <a:lnTo>
                    <a:pt x="1335990" y="130530"/>
                  </a:lnTo>
                  <a:lnTo>
                    <a:pt x="1335990" y="127800"/>
                  </a:lnTo>
                  <a:lnTo>
                    <a:pt x="1335990" y="128486"/>
                  </a:lnTo>
                  <a:lnTo>
                    <a:pt x="1335990" y="127800"/>
                  </a:lnTo>
                  <a:lnTo>
                    <a:pt x="1335990" y="128486"/>
                  </a:lnTo>
                  <a:lnTo>
                    <a:pt x="1335990" y="127800"/>
                  </a:lnTo>
                  <a:lnTo>
                    <a:pt x="1336040" y="127800"/>
                  </a:lnTo>
                  <a:lnTo>
                    <a:pt x="1336040" y="125768"/>
                  </a:lnTo>
                  <a:lnTo>
                    <a:pt x="1336091" y="125768"/>
                  </a:lnTo>
                  <a:lnTo>
                    <a:pt x="1336091" y="125069"/>
                  </a:lnTo>
                  <a:lnTo>
                    <a:pt x="1336091" y="125768"/>
                  </a:lnTo>
                  <a:lnTo>
                    <a:pt x="1336091" y="124320"/>
                  </a:lnTo>
                  <a:lnTo>
                    <a:pt x="1336091" y="125069"/>
                  </a:lnTo>
                  <a:lnTo>
                    <a:pt x="1336091" y="123634"/>
                  </a:lnTo>
                  <a:lnTo>
                    <a:pt x="1336180" y="123037"/>
                  </a:lnTo>
                  <a:lnTo>
                    <a:pt x="1336180" y="119558"/>
                  </a:lnTo>
                  <a:lnTo>
                    <a:pt x="1336231" y="119558"/>
                  </a:lnTo>
                  <a:lnTo>
                    <a:pt x="1336231" y="116141"/>
                  </a:lnTo>
                  <a:lnTo>
                    <a:pt x="1336231" y="117526"/>
                  </a:lnTo>
                  <a:lnTo>
                    <a:pt x="1336282" y="117526"/>
                  </a:lnTo>
                  <a:lnTo>
                    <a:pt x="1336282" y="114109"/>
                  </a:lnTo>
                  <a:lnTo>
                    <a:pt x="1336282" y="117526"/>
                  </a:lnTo>
                  <a:lnTo>
                    <a:pt x="1336282" y="116827"/>
                  </a:lnTo>
                  <a:lnTo>
                    <a:pt x="1336333" y="116141"/>
                  </a:lnTo>
                  <a:lnTo>
                    <a:pt x="1336333" y="113411"/>
                  </a:lnTo>
                  <a:lnTo>
                    <a:pt x="1336333" y="114109"/>
                  </a:lnTo>
                  <a:lnTo>
                    <a:pt x="1336333" y="113411"/>
                  </a:lnTo>
                  <a:lnTo>
                    <a:pt x="1336434" y="112712"/>
                  </a:lnTo>
                  <a:lnTo>
                    <a:pt x="1336434" y="110680"/>
                  </a:lnTo>
                  <a:lnTo>
                    <a:pt x="1336485" y="109982"/>
                  </a:lnTo>
                  <a:lnTo>
                    <a:pt x="1336485" y="109296"/>
                  </a:lnTo>
                  <a:lnTo>
                    <a:pt x="1336485" y="109982"/>
                  </a:lnTo>
                  <a:lnTo>
                    <a:pt x="1336485" y="108648"/>
                  </a:lnTo>
                  <a:lnTo>
                    <a:pt x="1336485" y="109296"/>
                  </a:lnTo>
                  <a:lnTo>
                    <a:pt x="1336485" y="107950"/>
                  </a:lnTo>
                  <a:lnTo>
                    <a:pt x="1336536" y="107950"/>
                  </a:lnTo>
                  <a:lnTo>
                    <a:pt x="1336536" y="105219"/>
                  </a:lnTo>
                  <a:lnTo>
                    <a:pt x="1336637" y="105918"/>
                  </a:lnTo>
                  <a:lnTo>
                    <a:pt x="1336637" y="105219"/>
                  </a:lnTo>
                  <a:lnTo>
                    <a:pt x="1336637" y="105918"/>
                  </a:lnTo>
                  <a:lnTo>
                    <a:pt x="1336637" y="101803"/>
                  </a:lnTo>
                  <a:lnTo>
                    <a:pt x="1336675" y="101803"/>
                  </a:lnTo>
                  <a:lnTo>
                    <a:pt x="1336675" y="98374"/>
                  </a:lnTo>
                  <a:lnTo>
                    <a:pt x="1336726" y="98374"/>
                  </a:lnTo>
                  <a:lnTo>
                    <a:pt x="1336726" y="97739"/>
                  </a:lnTo>
                  <a:lnTo>
                    <a:pt x="1336726" y="100457"/>
                  </a:lnTo>
                  <a:lnTo>
                    <a:pt x="1336726" y="97739"/>
                  </a:lnTo>
                  <a:lnTo>
                    <a:pt x="1336777" y="97040"/>
                  </a:lnTo>
                  <a:lnTo>
                    <a:pt x="1336777" y="95644"/>
                  </a:lnTo>
                  <a:lnTo>
                    <a:pt x="1336777" y="99072"/>
                  </a:lnTo>
                  <a:lnTo>
                    <a:pt x="1336777" y="97040"/>
                  </a:lnTo>
                  <a:lnTo>
                    <a:pt x="1336879" y="97040"/>
                  </a:lnTo>
                  <a:lnTo>
                    <a:pt x="1336879" y="95644"/>
                  </a:lnTo>
                  <a:lnTo>
                    <a:pt x="1336879" y="97040"/>
                  </a:lnTo>
                  <a:lnTo>
                    <a:pt x="1336879" y="95644"/>
                  </a:lnTo>
                  <a:lnTo>
                    <a:pt x="1336879" y="97040"/>
                  </a:lnTo>
                  <a:lnTo>
                    <a:pt x="1336879" y="93611"/>
                  </a:lnTo>
                  <a:lnTo>
                    <a:pt x="1336930" y="93611"/>
                  </a:lnTo>
                  <a:lnTo>
                    <a:pt x="1336930" y="94310"/>
                  </a:lnTo>
                  <a:lnTo>
                    <a:pt x="1336930" y="90881"/>
                  </a:lnTo>
                  <a:lnTo>
                    <a:pt x="1336930" y="91580"/>
                  </a:lnTo>
                  <a:lnTo>
                    <a:pt x="1336980" y="90881"/>
                  </a:lnTo>
                  <a:lnTo>
                    <a:pt x="1336980" y="88163"/>
                  </a:lnTo>
                  <a:lnTo>
                    <a:pt x="1336980" y="89497"/>
                  </a:lnTo>
                  <a:lnTo>
                    <a:pt x="1336980" y="88163"/>
                  </a:lnTo>
                  <a:lnTo>
                    <a:pt x="1337082" y="88163"/>
                  </a:lnTo>
                  <a:lnTo>
                    <a:pt x="1337082" y="83401"/>
                  </a:lnTo>
                  <a:lnTo>
                    <a:pt x="1337133" y="83401"/>
                  </a:lnTo>
                  <a:lnTo>
                    <a:pt x="1337133" y="77940"/>
                  </a:lnTo>
                  <a:lnTo>
                    <a:pt x="1337184" y="76555"/>
                  </a:lnTo>
                  <a:lnTo>
                    <a:pt x="1337184" y="71094"/>
                  </a:lnTo>
                  <a:lnTo>
                    <a:pt x="1337222" y="71094"/>
                  </a:lnTo>
                  <a:lnTo>
                    <a:pt x="1337222" y="71793"/>
                  </a:lnTo>
                  <a:lnTo>
                    <a:pt x="1337222" y="68313"/>
                  </a:lnTo>
                  <a:lnTo>
                    <a:pt x="1337323" y="69062"/>
                  </a:lnTo>
                  <a:lnTo>
                    <a:pt x="1337323" y="66929"/>
                  </a:lnTo>
                  <a:lnTo>
                    <a:pt x="1337374" y="66929"/>
                  </a:lnTo>
                  <a:lnTo>
                    <a:pt x="1337374" y="63551"/>
                  </a:lnTo>
                  <a:lnTo>
                    <a:pt x="1337374" y="64198"/>
                  </a:lnTo>
                  <a:lnTo>
                    <a:pt x="1337374" y="63551"/>
                  </a:lnTo>
                  <a:lnTo>
                    <a:pt x="1337374" y="64198"/>
                  </a:lnTo>
                  <a:lnTo>
                    <a:pt x="1337425" y="64198"/>
                  </a:lnTo>
                  <a:lnTo>
                    <a:pt x="1337425" y="60820"/>
                  </a:lnTo>
                  <a:lnTo>
                    <a:pt x="1337425" y="61468"/>
                  </a:lnTo>
                  <a:lnTo>
                    <a:pt x="1337425" y="60820"/>
                  </a:lnTo>
                  <a:lnTo>
                    <a:pt x="1337526" y="60820"/>
                  </a:lnTo>
                  <a:lnTo>
                    <a:pt x="1337526" y="56705"/>
                  </a:lnTo>
                  <a:lnTo>
                    <a:pt x="1337577" y="56705"/>
                  </a:lnTo>
                  <a:lnTo>
                    <a:pt x="1337577" y="52590"/>
                  </a:lnTo>
                  <a:lnTo>
                    <a:pt x="1337628" y="52590"/>
                  </a:lnTo>
                  <a:lnTo>
                    <a:pt x="1337628" y="47828"/>
                  </a:lnTo>
                  <a:lnTo>
                    <a:pt x="1337628" y="48526"/>
                  </a:lnTo>
                  <a:lnTo>
                    <a:pt x="1337628" y="47828"/>
                  </a:lnTo>
                  <a:lnTo>
                    <a:pt x="1337679" y="47828"/>
                  </a:lnTo>
                  <a:lnTo>
                    <a:pt x="1337679" y="43764"/>
                  </a:lnTo>
                  <a:lnTo>
                    <a:pt x="1337679" y="44399"/>
                  </a:lnTo>
                  <a:lnTo>
                    <a:pt x="1337679" y="43764"/>
                  </a:lnTo>
                  <a:lnTo>
                    <a:pt x="1337768" y="43764"/>
                  </a:lnTo>
                  <a:lnTo>
                    <a:pt x="1337768" y="45097"/>
                  </a:lnTo>
                  <a:lnTo>
                    <a:pt x="1337768" y="41669"/>
                  </a:lnTo>
                  <a:lnTo>
                    <a:pt x="1337768" y="42367"/>
                  </a:lnTo>
                  <a:lnTo>
                    <a:pt x="1337819" y="43764"/>
                  </a:lnTo>
                  <a:lnTo>
                    <a:pt x="1337819" y="44399"/>
                  </a:lnTo>
                  <a:lnTo>
                    <a:pt x="1337819" y="41669"/>
                  </a:lnTo>
                  <a:lnTo>
                    <a:pt x="1337869" y="41669"/>
                  </a:lnTo>
                  <a:lnTo>
                    <a:pt x="1337869" y="38951"/>
                  </a:lnTo>
                  <a:lnTo>
                    <a:pt x="1337869" y="40335"/>
                  </a:lnTo>
                  <a:lnTo>
                    <a:pt x="1337869" y="38951"/>
                  </a:lnTo>
                  <a:lnTo>
                    <a:pt x="1337920" y="38951"/>
                  </a:lnTo>
                  <a:lnTo>
                    <a:pt x="1337920" y="37605"/>
                  </a:lnTo>
                  <a:lnTo>
                    <a:pt x="1338022" y="37605"/>
                  </a:lnTo>
                  <a:lnTo>
                    <a:pt x="1338022" y="34874"/>
                  </a:lnTo>
                  <a:lnTo>
                    <a:pt x="1338072" y="36220"/>
                  </a:lnTo>
                  <a:lnTo>
                    <a:pt x="1338072" y="33490"/>
                  </a:lnTo>
                  <a:lnTo>
                    <a:pt x="1338123" y="32791"/>
                  </a:lnTo>
                  <a:lnTo>
                    <a:pt x="1338123" y="27343"/>
                  </a:lnTo>
                  <a:lnTo>
                    <a:pt x="1338225" y="26695"/>
                  </a:lnTo>
                  <a:lnTo>
                    <a:pt x="1338225" y="23965"/>
                  </a:lnTo>
                  <a:lnTo>
                    <a:pt x="1338225" y="25298"/>
                  </a:lnTo>
                  <a:lnTo>
                    <a:pt x="1338263" y="25298"/>
                  </a:lnTo>
                  <a:lnTo>
                    <a:pt x="1338263" y="25997"/>
                  </a:lnTo>
                  <a:lnTo>
                    <a:pt x="1338263" y="23266"/>
                  </a:lnTo>
                  <a:lnTo>
                    <a:pt x="1338263" y="25997"/>
                  </a:lnTo>
                  <a:lnTo>
                    <a:pt x="1338314" y="25997"/>
                  </a:lnTo>
                  <a:lnTo>
                    <a:pt x="1338314" y="22580"/>
                  </a:lnTo>
                  <a:lnTo>
                    <a:pt x="1338314" y="23965"/>
                  </a:lnTo>
                  <a:lnTo>
                    <a:pt x="1338365" y="23266"/>
                  </a:lnTo>
                  <a:lnTo>
                    <a:pt x="1338365" y="21133"/>
                  </a:lnTo>
                  <a:lnTo>
                    <a:pt x="1338365" y="22580"/>
                  </a:lnTo>
                  <a:lnTo>
                    <a:pt x="1338466" y="22580"/>
                  </a:lnTo>
                  <a:lnTo>
                    <a:pt x="1338466" y="21133"/>
                  </a:lnTo>
                  <a:lnTo>
                    <a:pt x="1338466" y="21882"/>
                  </a:lnTo>
                  <a:lnTo>
                    <a:pt x="1338466" y="21133"/>
                  </a:lnTo>
                  <a:lnTo>
                    <a:pt x="1338466" y="21882"/>
                  </a:lnTo>
                  <a:lnTo>
                    <a:pt x="1338517" y="21133"/>
                  </a:lnTo>
                  <a:lnTo>
                    <a:pt x="1338517" y="19850"/>
                  </a:lnTo>
                  <a:lnTo>
                    <a:pt x="1338517" y="21133"/>
                  </a:lnTo>
                  <a:lnTo>
                    <a:pt x="1338517" y="19850"/>
                  </a:lnTo>
                  <a:lnTo>
                    <a:pt x="1338517" y="21133"/>
                  </a:lnTo>
                  <a:lnTo>
                    <a:pt x="1338517" y="19850"/>
                  </a:lnTo>
                  <a:lnTo>
                    <a:pt x="1338568" y="19850"/>
                  </a:lnTo>
                  <a:lnTo>
                    <a:pt x="1338568" y="19101"/>
                  </a:lnTo>
                  <a:lnTo>
                    <a:pt x="1338568" y="19850"/>
                  </a:lnTo>
                  <a:lnTo>
                    <a:pt x="1338568" y="18402"/>
                  </a:lnTo>
                  <a:lnTo>
                    <a:pt x="1338669" y="17818"/>
                  </a:lnTo>
                  <a:lnTo>
                    <a:pt x="1338669" y="15684"/>
                  </a:lnTo>
                  <a:lnTo>
                    <a:pt x="1338669" y="16370"/>
                  </a:lnTo>
                  <a:lnTo>
                    <a:pt x="1338669" y="15087"/>
                  </a:lnTo>
                  <a:lnTo>
                    <a:pt x="1338720" y="15087"/>
                  </a:lnTo>
                  <a:lnTo>
                    <a:pt x="1338720" y="13640"/>
                  </a:lnTo>
                  <a:lnTo>
                    <a:pt x="1338720" y="14338"/>
                  </a:lnTo>
                  <a:lnTo>
                    <a:pt x="1338720" y="13640"/>
                  </a:lnTo>
                  <a:lnTo>
                    <a:pt x="1338771" y="13640"/>
                  </a:lnTo>
                  <a:lnTo>
                    <a:pt x="1338771" y="11608"/>
                  </a:lnTo>
                  <a:lnTo>
                    <a:pt x="1338771" y="15087"/>
                  </a:lnTo>
                  <a:lnTo>
                    <a:pt x="1338771" y="13640"/>
                  </a:lnTo>
                  <a:lnTo>
                    <a:pt x="1338809" y="13640"/>
                  </a:lnTo>
                  <a:lnTo>
                    <a:pt x="1338809" y="12357"/>
                  </a:lnTo>
                  <a:lnTo>
                    <a:pt x="1338809" y="13640"/>
                  </a:lnTo>
                  <a:lnTo>
                    <a:pt x="1338809" y="11608"/>
                  </a:lnTo>
                  <a:lnTo>
                    <a:pt x="1338911" y="11608"/>
                  </a:lnTo>
                  <a:lnTo>
                    <a:pt x="1338911" y="12357"/>
                  </a:lnTo>
                  <a:lnTo>
                    <a:pt x="1338911" y="10922"/>
                  </a:lnTo>
                  <a:lnTo>
                    <a:pt x="1338911" y="11608"/>
                  </a:lnTo>
                  <a:lnTo>
                    <a:pt x="1338962" y="11608"/>
                  </a:lnTo>
                  <a:lnTo>
                    <a:pt x="1338962" y="12357"/>
                  </a:lnTo>
                  <a:lnTo>
                    <a:pt x="1338962" y="10922"/>
                  </a:lnTo>
                  <a:lnTo>
                    <a:pt x="1339012" y="11608"/>
                  </a:lnTo>
                  <a:lnTo>
                    <a:pt x="1339012" y="10922"/>
                  </a:lnTo>
                  <a:lnTo>
                    <a:pt x="1339012" y="11608"/>
                  </a:lnTo>
                  <a:lnTo>
                    <a:pt x="1339012" y="10922"/>
                  </a:lnTo>
                  <a:lnTo>
                    <a:pt x="1339012" y="12357"/>
                  </a:lnTo>
                  <a:lnTo>
                    <a:pt x="1339012" y="10922"/>
                  </a:lnTo>
                  <a:lnTo>
                    <a:pt x="1339012" y="11608"/>
                  </a:lnTo>
                  <a:lnTo>
                    <a:pt x="1339114" y="10922"/>
                  </a:lnTo>
                  <a:lnTo>
                    <a:pt x="1339114" y="10223"/>
                  </a:lnTo>
                  <a:lnTo>
                    <a:pt x="1339165" y="10223"/>
                  </a:lnTo>
                  <a:lnTo>
                    <a:pt x="1339165" y="8191"/>
                  </a:lnTo>
                  <a:lnTo>
                    <a:pt x="1339165" y="8877"/>
                  </a:lnTo>
                  <a:lnTo>
                    <a:pt x="1339165" y="7493"/>
                  </a:lnTo>
                  <a:lnTo>
                    <a:pt x="1339215" y="7493"/>
                  </a:lnTo>
                  <a:lnTo>
                    <a:pt x="1339215" y="8877"/>
                  </a:lnTo>
                  <a:lnTo>
                    <a:pt x="1339215" y="6845"/>
                  </a:lnTo>
                  <a:lnTo>
                    <a:pt x="1339266" y="6845"/>
                  </a:lnTo>
                  <a:lnTo>
                    <a:pt x="1339266" y="10223"/>
                  </a:lnTo>
                  <a:lnTo>
                    <a:pt x="1339266" y="7493"/>
                  </a:lnTo>
                  <a:lnTo>
                    <a:pt x="1339266" y="8191"/>
                  </a:lnTo>
                  <a:lnTo>
                    <a:pt x="1339355" y="8191"/>
                  </a:lnTo>
                  <a:lnTo>
                    <a:pt x="1339355" y="8877"/>
                  </a:lnTo>
                  <a:lnTo>
                    <a:pt x="1339355" y="6845"/>
                  </a:lnTo>
                  <a:lnTo>
                    <a:pt x="1339355" y="7493"/>
                  </a:lnTo>
                  <a:lnTo>
                    <a:pt x="1339406" y="7493"/>
                  </a:lnTo>
                  <a:lnTo>
                    <a:pt x="1339406" y="6845"/>
                  </a:lnTo>
                  <a:lnTo>
                    <a:pt x="1339406" y="7493"/>
                  </a:lnTo>
                  <a:lnTo>
                    <a:pt x="1339457" y="7493"/>
                  </a:lnTo>
                  <a:lnTo>
                    <a:pt x="1339457" y="6845"/>
                  </a:lnTo>
                  <a:lnTo>
                    <a:pt x="1339457" y="7493"/>
                  </a:lnTo>
                  <a:lnTo>
                    <a:pt x="1339457" y="6845"/>
                  </a:lnTo>
                  <a:lnTo>
                    <a:pt x="1339457" y="7493"/>
                  </a:lnTo>
                  <a:lnTo>
                    <a:pt x="1339457" y="6845"/>
                  </a:lnTo>
                  <a:lnTo>
                    <a:pt x="1339457" y="7493"/>
                  </a:lnTo>
                  <a:lnTo>
                    <a:pt x="1339457" y="6845"/>
                  </a:lnTo>
                  <a:lnTo>
                    <a:pt x="1339508" y="6845"/>
                  </a:lnTo>
                  <a:lnTo>
                    <a:pt x="1339508" y="6159"/>
                  </a:lnTo>
                  <a:lnTo>
                    <a:pt x="1339609" y="6159"/>
                  </a:lnTo>
                  <a:lnTo>
                    <a:pt x="1339609" y="4076"/>
                  </a:lnTo>
                  <a:lnTo>
                    <a:pt x="1339609" y="4762"/>
                  </a:lnTo>
                  <a:lnTo>
                    <a:pt x="1339609" y="4076"/>
                  </a:lnTo>
                  <a:lnTo>
                    <a:pt x="1339660" y="4076"/>
                  </a:lnTo>
                  <a:lnTo>
                    <a:pt x="1339660" y="2730"/>
                  </a:lnTo>
                  <a:lnTo>
                    <a:pt x="1339660" y="4076"/>
                  </a:lnTo>
                  <a:lnTo>
                    <a:pt x="1339711" y="4762"/>
                  </a:lnTo>
                  <a:lnTo>
                    <a:pt x="1339711" y="3429"/>
                  </a:lnTo>
                  <a:lnTo>
                    <a:pt x="1339711" y="6159"/>
                  </a:lnTo>
                  <a:lnTo>
                    <a:pt x="1339711" y="4762"/>
                  </a:lnTo>
                  <a:lnTo>
                    <a:pt x="1339711" y="6159"/>
                  </a:lnTo>
                  <a:lnTo>
                    <a:pt x="1339812" y="6159"/>
                  </a:lnTo>
                  <a:lnTo>
                    <a:pt x="1339812" y="4762"/>
                  </a:lnTo>
                  <a:lnTo>
                    <a:pt x="1339812" y="6159"/>
                  </a:lnTo>
                  <a:lnTo>
                    <a:pt x="1339812" y="4762"/>
                  </a:lnTo>
                  <a:lnTo>
                    <a:pt x="1339812" y="6159"/>
                  </a:lnTo>
                  <a:lnTo>
                    <a:pt x="1339812" y="4762"/>
                  </a:lnTo>
                  <a:lnTo>
                    <a:pt x="1339850" y="4762"/>
                  </a:lnTo>
                  <a:lnTo>
                    <a:pt x="1339850" y="4076"/>
                  </a:lnTo>
                  <a:lnTo>
                    <a:pt x="1339850" y="4762"/>
                  </a:lnTo>
                  <a:lnTo>
                    <a:pt x="1339901" y="4762"/>
                  </a:lnTo>
                  <a:lnTo>
                    <a:pt x="1339901" y="4076"/>
                  </a:lnTo>
                  <a:lnTo>
                    <a:pt x="1339901" y="4762"/>
                  </a:lnTo>
                  <a:lnTo>
                    <a:pt x="1339901" y="4076"/>
                  </a:lnTo>
                  <a:lnTo>
                    <a:pt x="1339901" y="4762"/>
                  </a:lnTo>
                  <a:lnTo>
                    <a:pt x="1339901" y="4076"/>
                  </a:lnTo>
                  <a:lnTo>
                    <a:pt x="1339901" y="4762"/>
                  </a:lnTo>
                  <a:lnTo>
                    <a:pt x="1339901" y="4076"/>
                  </a:lnTo>
                  <a:lnTo>
                    <a:pt x="1339901" y="4762"/>
                  </a:lnTo>
                  <a:lnTo>
                    <a:pt x="1339901" y="4076"/>
                  </a:lnTo>
                  <a:lnTo>
                    <a:pt x="1339901" y="4762"/>
                  </a:lnTo>
                  <a:lnTo>
                    <a:pt x="1339901" y="4076"/>
                  </a:lnTo>
                  <a:lnTo>
                    <a:pt x="1339952" y="4762"/>
                  </a:lnTo>
                  <a:lnTo>
                    <a:pt x="1339952" y="3429"/>
                  </a:lnTo>
                  <a:lnTo>
                    <a:pt x="1339952" y="4076"/>
                  </a:lnTo>
                  <a:lnTo>
                    <a:pt x="1340054" y="4076"/>
                  </a:lnTo>
                  <a:lnTo>
                    <a:pt x="1340054" y="2032"/>
                  </a:lnTo>
                  <a:lnTo>
                    <a:pt x="1340105" y="2730"/>
                  </a:lnTo>
                  <a:lnTo>
                    <a:pt x="1340105" y="698"/>
                  </a:lnTo>
                  <a:lnTo>
                    <a:pt x="1340155" y="698"/>
                  </a:lnTo>
                  <a:lnTo>
                    <a:pt x="1340155" y="0"/>
                  </a:lnTo>
                  <a:lnTo>
                    <a:pt x="1340155" y="2032"/>
                  </a:lnTo>
                  <a:lnTo>
                    <a:pt x="1340155" y="698"/>
                  </a:lnTo>
                  <a:lnTo>
                    <a:pt x="1340257" y="698"/>
                  </a:lnTo>
                  <a:lnTo>
                    <a:pt x="1340257" y="3429"/>
                  </a:lnTo>
                  <a:lnTo>
                    <a:pt x="1340257" y="2730"/>
                  </a:lnTo>
                  <a:lnTo>
                    <a:pt x="1340308" y="2730"/>
                  </a:lnTo>
                  <a:lnTo>
                    <a:pt x="1340308" y="3429"/>
                  </a:lnTo>
                  <a:lnTo>
                    <a:pt x="1340359" y="3429"/>
                  </a:lnTo>
                  <a:lnTo>
                    <a:pt x="1340359" y="4762"/>
                  </a:lnTo>
                  <a:lnTo>
                    <a:pt x="1340359" y="3429"/>
                  </a:lnTo>
                  <a:lnTo>
                    <a:pt x="1340359" y="4762"/>
                  </a:lnTo>
                  <a:lnTo>
                    <a:pt x="1340359" y="4076"/>
                  </a:lnTo>
                  <a:lnTo>
                    <a:pt x="1340397" y="4076"/>
                  </a:lnTo>
                  <a:lnTo>
                    <a:pt x="1340397" y="4762"/>
                  </a:lnTo>
                  <a:lnTo>
                    <a:pt x="1340397" y="4076"/>
                  </a:lnTo>
                  <a:lnTo>
                    <a:pt x="1340397" y="4762"/>
                  </a:lnTo>
                  <a:lnTo>
                    <a:pt x="1340397" y="4076"/>
                  </a:lnTo>
                  <a:lnTo>
                    <a:pt x="1340397" y="4762"/>
                  </a:lnTo>
                  <a:lnTo>
                    <a:pt x="1340397" y="4076"/>
                  </a:lnTo>
                  <a:lnTo>
                    <a:pt x="1340397" y="4762"/>
                  </a:lnTo>
                  <a:lnTo>
                    <a:pt x="1340397" y="4076"/>
                  </a:lnTo>
                  <a:lnTo>
                    <a:pt x="1340397" y="4762"/>
                  </a:lnTo>
                  <a:lnTo>
                    <a:pt x="1340498" y="4762"/>
                  </a:lnTo>
                  <a:lnTo>
                    <a:pt x="1340498" y="6159"/>
                  </a:lnTo>
                  <a:lnTo>
                    <a:pt x="1340498" y="4762"/>
                  </a:lnTo>
                  <a:lnTo>
                    <a:pt x="1340498" y="6159"/>
                  </a:lnTo>
                  <a:lnTo>
                    <a:pt x="1340498" y="4762"/>
                  </a:lnTo>
                  <a:lnTo>
                    <a:pt x="1340498" y="6159"/>
                  </a:lnTo>
                  <a:lnTo>
                    <a:pt x="1340498" y="4762"/>
                  </a:lnTo>
                  <a:lnTo>
                    <a:pt x="1340549" y="4762"/>
                  </a:lnTo>
                  <a:lnTo>
                    <a:pt x="1340549" y="6159"/>
                  </a:lnTo>
                  <a:lnTo>
                    <a:pt x="1340549" y="4076"/>
                  </a:lnTo>
                  <a:lnTo>
                    <a:pt x="1340549" y="4762"/>
                  </a:lnTo>
                  <a:lnTo>
                    <a:pt x="1340549" y="3429"/>
                  </a:lnTo>
                  <a:lnTo>
                    <a:pt x="1340549" y="4076"/>
                  </a:lnTo>
                  <a:lnTo>
                    <a:pt x="1340600" y="3429"/>
                  </a:lnTo>
                  <a:lnTo>
                    <a:pt x="1340600" y="4076"/>
                  </a:lnTo>
                  <a:lnTo>
                    <a:pt x="1340600" y="2730"/>
                  </a:lnTo>
                  <a:lnTo>
                    <a:pt x="1340600" y="4762"/>
                  </a:lnTo>
                  <a:lnTo>
                    <a:pt x="1340701" y="4762"/>
                  </a:lnTo>
                  <a:lnTo>
                    <a:pt x="1340701" y="3429"/>
                  </a:lnTo>
                  <a:lnTo>
                    <a:pt x="1340701" y="4076"/>
                  </a:lnTo>
                  <a:lnTo>
                    <a:pt x="1340701" y="3429"/>
                  </a:lnTo>
                  <a:lnTo>
                    <a:pt x="1340701" y="4076"/>
                  </a:lnTo>
                  <a:lnTo>
                    <a:pt x="1340701" y="3429"/>
                  </a:lnTo>
                  <a:lnTo>
                    <a:pt x="1340701" y="6845"/>
                  </a:lnTo>
                  <a:lnTo>
                    <a:pt x="1340752" y="6159"/>
                  </a:lnTo>
                  <a:lnTo>
                    <a:pt x="1340752" y="4762"/>
                  </a:lnTo>
                  <a:lnTo>
                    <a:pt x="1340752" y="6159"/>
                  </a:lnTo>
                  <a:lnTo>
                    <a:pt x="1340752" y="4762"/>
                  </a:lnTo>
                  <a:lnTo>
                    <a:pt x="1340752" y="6159"/>
                  </a:lnTo>
                  <a:lnTo>
                    <a:pt x="1340803" y="6159"/>
                  </a:lnTo>
                  <a:lnTo>
                    <a:pt x="1340803" y="4762"/>
                  </a:lnTo>
                  <a:lnTo>
                    <a:pt x="1340803" y="6159"/>
                  </a:lnTo>
                  <a:lnTo>
                    <a:pt x="1340803" y="4762"/>
                  </a:lnTo>
                  <a:lnTo>
                    <a:pt x="1340803" y="6845"/>
                  </a:lnTo>
                  <a:lnTo>
                    <a:pt x="1340803" y="6159"/>
                  </a:lnTo>
                  <a:lnTo>
                    <a:pt x="1340803" y="6845"/>
                  </a:lnTo>
                  <a:lnTo>
                    <a:pt x="1340803" y="6159"/>
                  </a:lnTo>
                  <a:lnTo>
                    <a:pt x="1340854" y="6845"/>
                  </a:lnTo>
                  <a:lnTo>
                    <a:pt x="1340854" y="6159"/>
                  </a:lnTo>
                  <a:lnTo>
                    <a:pt x="1340854" y="7493"/>
                  </a:lnTo>
                  <a:lnTo>
                    <a:pt x="1340854" y="6845"/>
                  </a:lnTo>
                  <a:lnTo>
                    <a:pt x="1340943" y="7493"/>
                  </a:lnTo>
                  <a:lnTo>
                    <a:pt x="1340943" y="6845"/>
                  </a:lnTo>
                  <a:lnTo>
                    <a:pt x="1340943" y="7493"/>
                  </a:lnTo>
                  <a:lnTo>
                    <a:pt x="1340943" y="6845"/>
                  </a:lnTo>
                  <a:lnTo>
                    <a:pt x="1340943" y="8191"/>
                  </a:lnTo>
                  <a:lnTo>
                    <a:pt x="1340943" y="7493"/>
                  </a:lnTo>
                  <a:lnTo>
                    <a:pt x="1340943" y="8191"/>
                  </a:lnTo>
                  <a:lnTo>
                    <a:pt x="1340943" y="7493"/>
                  </a:lnTo>
                  <a:lnTo>
                    <a:pt x="1340994" y="7493"/>
                  </a:lnTo>
                  <a:lnTo>
                    <a:pt x="1340994" y="8191"/>
                  </a:lnTo>
                  <a:lnTo>
                    <a:pt x="1340994" y="6845"/>
                  </a:lnTo>
                  <a:lnTo>
                    <a:pt x="1341044" y="6845"/>
                  </a:lnTo>
                  <a:lnTo>
                    <a:pt x="1341044" y="7493"/>
                  </a:lnTo>
                  <a:lnTo>
                    <a:pt x="1341044" y="6159"/>
                  </a:lnTo>
                  <a:lnTo>
                    <a:pt x="1341044" y="6845"/>
                  </a:lnTo>
                  <a:lnTo>
                    <a:pt x="1341044" y="6159"/>
                  </a:lnTo>
                  <a:lnTo>
                    <a:pt x="1341095" y="6159"/>
                  </a:lnTo>
                  <a:lnTo>
                    <a:pt x="1341095" y="4762"/>
                  </a:lnTo>
                  <a:lnTo>
                    <a:pt x="1341095" y="6159"/>
                  </a:lnTo>
                  <a:lnTo>
                    <a:pt x="1341095" y="4762"/>
                  </a:lnTo>
                  <a:lnTo>
                    <a:pt x="1341095" y="7493"/>
                  </a:lnTo>
                  <a:lnTo>
                    <a:pt x="1341095" y="6845"/>
                  </a:lnTo>
                  <a:lnTo>
                    <a:pt x="1341197" y="6845"/>
                  </a:lnTo>
                  <a:lnTo>
                    <a:pt x="1341197" y="6159"/>
                  </a:lnTo>
                  <a:lnTo>
                    <a:pt x="1341197" y="6845"/>
                  </a:lnTo>
                  <a:lnTo>
                    <a:pt x="1341197" y="6159"/>
                  </a:lnTo>
                  <a:lnTo>
                    <a:pt x="1341197" y="8877"/>
                  </a:lnTo>
                  <a:lnTo>
                    <a:pt x="1341197" y="8191"/>
                  </a:lnTo>
                  <a:lnTo>
                    <a:pt x="1341247" y="8191"/>
                  </a:lnTo>
                  <a:lnTo>
                    <a:pt x="1341247" y="10223"/>
                  </a:lnTo>
                  <a:lnTo>
                    <a:pt x="1341247" y="8877"/>
                  </a:lnTo>
                  <a:lnTo>
                    <a:pt x="1341247" y="10223"/>
                  </a:lnTo>
                  <a:lnTo>
                    <a:pt x="1341247" y="8877"/>
                  </a:lnTo>
                  <a:lnTo>
                    <a:pt x="1341298" y="8877"/>
                  </a:lnTo>
                  <a:lnTo>
                    <a:pt x="1341298" y="10223"/>
                  </a:lnTo>
                  <a:lnTo>
                    <a:pt x="1341298" y="8877"/>
                  </a:lnTo>
                  <a:lnTo>
                    <a:pt x="1341298" y="10223"/>
                  </a:lnTo>
                  <a:lnTo>
                    <a:pt x="1341298" y="8877"/>
                  </a:lnTo>
                  <a:lnTo>
                    <a:pt x="1341298" y="10922"/>
                  </a:lnTo>
                  <a:lnTo>
                    <a:pt x="1341438" y="10922"/>
                  </a:lnTo>
                  <a:lnTo>
                    <a:pt x="1341438" y="11608"/>
                  </a:lnTo>
                  <a:lnTo>
                    <a:pt x="1341489" y="11608"/>
                  </a:lnTo>
                  <a:lnTo>
                    <a:pt x="1341489" y="10223"/>
                  </a:lnTo>
                  <a:lnTo>
                    <a:pt x="1341489" y="10922"/>
                  </a:lnTo>
                  <a:lnTo>
                    <a:pt x="1341540" y="10223"/>
                  </a:lnTo>
                  <a:lnTo>
                    <a:pt x="1341540" y="10922"/>
                  </a:lnTo>
                  <a:lnTo>
                    <a:pt x="1341540" y="10223"/>
                  </a:lnTo>
                  <a:lnTo>
                    <a:pt x="1341540" y="10922"/>
                  </a:lnTo>
                  <a:lnTo>
                    <a:pt x="1341540" y="10223"/>
                  </a:lnTo>
                  <a:lnTo>
                    <a:pt x="1341641" y="10223"/>
                  </a:lnTo>
                  <a:lnTo>
                    <a:pt x="1341641" y="11608"/>
                  </a:lnTo>
                  <a:lnTo>
                    <a:pt x="1341641" y="10223"/>
                  </a:lnTo>
                  <a:lnTo>
                    <a:pt x="1341641" y="12357"/>
                  </a:lnTo>
                  <a:lnTo>
                    <a:pt x="1341692" y="13640"/>
                  </a:lnTo>
                  <a:lnTo>
                    <a:pt x="1341692" y="14338"/>
                  </a:lnTo>
                  <a:lnTo>
                    <a:pt x="1341692" y="11608"/>
                  </a:lnTo>
                  <a:lnTo>
                    <a:pt x="1341692" y="14338"/>
                  </a:lnTo>
                  <a:lnTo>
                    <a:pt x="1341743" y="14338"/>
                  </a:lnTo>
                  <a:lnTo>
                    <a:pt x="1341743" y="13640"/>
                  </a:lnTo>
                  <a:lnTo>
                    <a:pt x="1341743" y="14338"/>
                  </a:lnTo>
                  <a:lnTo>
                    <a:pt x="1341844" y="15087"/>
                  </a:lnTo>
                  <a:lnTo>
                    <a:pt x="1341844" y="14338"/>
                  </a:lnTo>
                  <a:lnTo>
                    <a:pt x="1341844" y="15684"/>
                  </a:lnTo>
                  <a:lnTo>
                    <a:pt x="1341895" y="15684"/>
                  </a:lnTo>
                  <a:lnTo>
                    <a:pt x="1341895" y="16370"/>
                  </a:lnTo>
                  <a:lnTo>
                    <a:pt x="1341895" y="15684"/>
                  </a:lnTo>
                  <a:lnTo>
                    <a:pt x="1341946" y="16370"/>
                  </a:lnTo>
                  <a:lnTo>
                    <a:pt x="1341946" y="15684"/>
                  </a:lnTo>
                  <a:lnTo>
                    <a:pt x="1341946" y="17818"/>
                  </a:lnTo>
                  <a:lnTo>
                    <a:pt x="1341946" y="16370"/>
                  </a:lnTo>
                  <a:lnTo>
                    <a:pt x="1341984" y="16370"/>
                  </a:lnTo>
                  <a:lnTo>
                    <a:pt x="1341984" y="15684"/>
                  </a:lnTo>
                  <a:lnTo>
                    <a:pt x="1342086" y="15684"/>
                  </a:lnTo>
                  <a:lnTo>
                    <a:pt x="1342086" y="16370"/>
                  </a:lnTo>
                  <a:lnTo>
                    <a:pt x="1342086" y="15684"/>
                  </a:lnTo>
                  <a:lnTo>
                    <a:pt x="1342086" y="18402"/>
                  </a:lnTo>
                  <a:lnTo>
                    <a:pt x="1342137" y="17818"/>
                  </a:lnTo>
                  <a:lnTo>
                    <a:pt x="1342137" y="16370"/>
                  </a:lnTo>
                  <a:lnTo>
                    <a:pt x="1342137" y="21882"/>
                  </a:lnTo>
                  <a:lnTo>
                    <a:pt x="1342137" y="19101"/>
                  </a:lnTo>
                  <a:lnTo>
                    <a:pt x="1342187" y="19101"/>
                  </a:lnTo>
                  <a:lnTo>
                    <a:pt x="1342187" y="21882"/>
                  </a:lnTo>
                  <a:lnTo>
                    <a:pt x="1342187" y="19850"/>
                  </a:lnTo>
                  <a:lnTo>
                    <a:pt x="1342289" y="19850"/>
                  </a:lnTo>
                  <a:lnTo>
                    <a:pt x="1342289" y="21882"/>
                  </a:lnTo>
                  <a:lnTo>
                    <a:pt x="1342289" y="21133"/>
                  </a:lnTo>
                  <a:lnTo>
                    <a:pt x="1342289" y="21882"/>
                  </a:lnTo>
                  <a:lnTo>
                    <a:pt x="1342289" y="21133"/>
                  </a:lnTo>
                  <a:lnTo>
                    <a:pt x="1342289" y="21882"/>
                  </a:lnTo>
                  <a:lnTo>
                    <a:pt x="1342340" y="21882"/>
                  </a:lnTo>
                  <a:lnTo>
                    <a:pt x="1342340" y="22580"/>
                  </a:lnTo>
                  <a:lnTo>
                    <a:pt x="1342390" y="22580"/>
                  </a:lnTo>
                  <a:lnTo>
                    <a:pt x="1342390" y="23266"/>
                  </a:lnTo>
                  <a:lnTo>
                    <a:pt x="1342390" y="22580"/>
                  </a:lnTo>
                  <a:lnTo>
                    <a:pt x="1342441" y="22580"/>
                  </a:lnTo>
                  <a:lnTo>
                    <a:pt x="1342441" y="21133"/>
                  </a:lnTo>
                  <a:lnTo>
                    <a:pt x="1342441" y="21882"/>
                  </a:lnTo>
                  <a:lnTo>
                    <a:pt x="1342530" y="21133"/>
                  </a:lnTo>
                  <a:lnTo>
                    <a:pt x="1342530" y="19101"/>
                  </a:lnTo>
                  <a:lnTo>
                    <a:pt x="1342530" y="19850"/>
                  </a:lnTo>
                  <a:lnTo>
                    <a:pt x="1342581" y="21133"/>
                  </a:lnTo>
                  <a:lnTo>
                    <a:pt x="1342581" y="22580"/>
                  </a:lnTo>
                  <a:lnTo>
                    <a:pt x="1342581" y="21133"/>
                  </a:lnTo>
                  <a:lnTo>
                    <a:pt x="1342581" y="21882"/>
                  </a:lnTo>
                  <a:lnTo>
                    <a:pt x="1342581" y="21133"/>
                  </a:lnTo>
                  <a:lnTo>
                    <a:pt x="1342581" y="21882"/>
                  </a:lnTo>
                  <a:lnTo>
                    <a:pt x="1342632" y="22580"/>
                  </a:lnTo>
                  <a:lnTo>
                    <a:pt x="1342632" y="23965"/>
                  </a:lnTo>
                  <a:lnTo>
                    <a:pt x="1342632" y="22580"/>
                  </a:lnTo>
                  <a:lnTo>
                    <a:pt x="1342632" y="23266"/>
                  </a:lnTo>
                  <a:lnTo>
                    <a:pt x="1342683" y="23965"/>
                  </a:lnTo>
                  <a:lnTo>
                    <a:pt x="1342683" y="23266"/>
                  </a:lnTo>
                  <a:lnTo>
                    <a:pt x="1342683" y="23965"/>
                  </a:lnTo>
                  <a:lnTo>
                    <a:pt x="1342784" y="23965"/>
                  </a:lnTo>
                  <a:lnTo>
                    <a:pt x="1342784" y="25298"/>
                  </a:lnTo>
                  <a:lnTo>
                    <a:pt x="1342784" y="23965"/>
                  </a:lnTo>
                  <a:lnTo>
                    <a:pt x="1342784" y="25298"/>
                  </a:lnTo>
                  <a:lnTo>
                    <a:pt x="1342784" y="23965"/>
                  </a:lnTo>
                  <a:lnTo>
                    <a:pt x="1342784" y="25298"/>
                  </a:lnTo>
                  <a:lnTo>
                    <a:pt x="1342784" y="23965"/>
                  </a:lnTo>
                  <a:lnTo>
                    <a:pt x="1342784" y="25298"/>
                  </a:lnTo>
                  <a:lnTo>
                    <a:pt x="1342835" y="25298"/>
                  </a:lnTo>
                  <a:lnTo>
                    <a:pt x="1342835" y="25997"/>
                  </a:lnTo>
                  <a:lnTo>
                    <a:pt x="1342835" y="25298"/>
                  </a:lnTo>
                  <a:lnTo>
                    <a:pt x="1342835" y="25997"/>
                  </a:lnTo>
                  <a:lnTo>
                    <a:pt x="1342886" y="25997"/>
                  </a:lnTo>
                  <a:lnTo>
                    <a:pt x="1342886" y="25298"/>
                  </a:lnTo>
                  <a:lnTo>
                    <a:pt x="1342886" y="25997"/>
                  </a:lnTo>
                  <a:lnTo>
                    <a:pt x="1342886" y="23965"/>
                  </a:lnTo>
                  <a:lnTo>
                    <a:pt x="1342886" y="25298"/>
                  </a:lnTo>
                  <a:lnTo>
                    <a:pt x="1342987" y="23965"/>
                  </a:lnTo>
                  <a:lnTo>
                    <a:pt x="1342987" y="25298"/>
                  </a:lnTo>
                  <a:lnTo>
                    <a:pt x="1342987" y="22580"/>
                  </a:lnTo>
                  <a:lnTo>
                    <a:pt x="1343025" y="22580"/>
                  </a:lnTo>
                  <a:lnTo>
                    <a:pt x="1343025" y="21882"/>
                  </a:lnTo>
                  <a:lnTo>
                    <a:pt x="1343025" y="25298"/>
                  </a:lnTo>
                  <a:lnTo>
                    <a:pt x="1343025" y="23965"/>
                  </a:lnTo>
                  <a:lnTo>
                    <a:pt x="1343076" y="23266"/>
                  </a:lnTo>
                  <a:lnTo>
                    <a:pt x="1343076" y="26695"/>
                  </a:lnTo>
                  <a:lnTo>
                    <a:pt x="1343076" y="25997"/>
                  </a:lnTo>
                  <a:lnTo>
                    <a:pt x="1343127" y="25997"/>
                  </a:lnTo>
                  <a:lnTo>
                    <a:pt x="1343127" y="25298"/>
                  </a:lnTo>
                  <a:lnTo>
                    <a:pt x="1343127" y="26695"/>
                  </a:lnTo>
                  <a:lnTo>
                    <a:pt x="1343127" y="25997"/>
                  </a:lnTo>
                  <a:lnTo>
                    <a:pt x="1343127" y="26695"/>
                  </a:lnTo>
                  <a:lnTo>
                    <a:pt x="1343127" y="25298"/>
                  </a:lnTo>
                  <a:lnTo>
                    <a:pt x="1343127" y="25997"/>
                  </a:lnTo>
                  <a:lnTo>
                    <a:pt x="1343229" y="25997"/>
                  </a:lnTo>
                  <a:lnTo>
                    <a:pt x="1343229" y="26695"/>
                  </a:lnTo>
                  <a:lnTo>
                    <a:pt x="1343229" y="25997"/>
                  </a:lnTo>
                  <a:lnTo>
                    <a:pt x="1343280" y="26695"/>
                  </a:lnTo>
                  <a:lnTo>
                    <a:pt x="1343280" y="27343"/>
                  </a:lnTo>
                  <a:lnTo>
                    <a:pt x="1343280" y="26695"/>
                  </a:lnTo>
                  <a:lnTo>
                    <a:pt x="1343280" y="27343"/>
                  </a:lnTo>
                  <a:lnTo>
                    <a:pt x="1343330" y="27343"/>
                  </a:lnTo>
                  <a:lnTo>
                    <a:pt x="1343330" y="26695"/>
                  </a:lnTo>
                  <a:lnTo>
                    <a:pt x="1343330" y="27343"/>
                  </a:lnTo>
                  <a:lnTo>
                    <a:pt x="1343330" y="26695"/>
                  </a:lnTo>
                  <a:lnTo>
                    <a:pt x="1343330" y="27343"/>
                  </a:lnTo>
                  <a:lnTo>
                    <a:pt x="1343432" y="27343"/>
                  </a:lnTo>
                  <a:lnTo>
                    <a:pt x="1343432" y="26695"/>
                  </a:lnTo>
                  <a:lnTo>
                    <a:pt x="1343432" y="27343"/>
                  </a:lnTo>
                  <a:lnTo>
                    <a:pt x="1343432" y="26695"/>
                  </a:lnTo>
                  <a:lnTo>
                    <a:pt x="1343432" y="27343"/>
                  </a:lnTo>
                  <a:lnTo>
                    <a:pt x="1343432" y="25997"/>
                  </a:lnTo>
                  <a:lnTo>
                    <a:pt x="1343432" y="26695"/>
                  </a:lnTo>
                  <a:lnTo>
                    <a:pt x="1343432" y="25997"/>
                  </a:lnTo>
                  <a:lnTo>
                    <a:pt x="1343432" y="26695"/>
                  </a:lnTo>
                  <a:lnTo>
                    <a:pt x="1343432" y="25997"/>
                  </a:lnTo>
                  <a:lnTo>
                    <a:pt x="1343483" y="25997"/>
                  </a:lnTo>
                  <a:lnTo>
                    <a:pt x="1343483" y="26695"/>
                  </a:lnTo>
                  <a:lnTo>
                    <a:pt x="1343483" y="25298"/>
                  </a:lnTo>
                  <a:lnTo>
                    <a:pt x="1343483" y="25997"/>
                  </a:lnTo>
                  <a:lnTo>
                    <a:pt x="1343483" y="23965"/>
                  </a:lnTo>
                  <a:lnTo>
                    <a:pt x="1343483" y="25298"/>
                  </a:lnTo>
                  <a:lnTo>
                    <a:pt x="1343534" y="25298"/>
                  </a:lnTo>
                  <a:lnTo>
                    <a:pt x="1343534" y="26695"/>
                  </a:lnTo>
                  <a:lnTo>
                    <a:pt x="1343534" y="25298"/>
                  </a:lnTo>
                  <a:lnTo>
                    <a:pt x="1343534" y="27343"/>
                  </a:lnTo>
                  <a:lnTo>
                    <a:pt x="1343572" y="27343"/>
                  </a:lnTo>
                  <a:lnTo>
                    <a:pt x="1343572" y="28727"/>
                  </a:lnTo>
                  <a:lnTo>
                    <a:pt x="1343572" y="27343"/>
                  </a:lnTo>
                  <a:lnTo>
                    <a:pt x="1343572" y="28727"/>
                  </a:lnTo>
                  <a:lnTo>
                    <a:pt x="1343673" y="29426"/>
                  </a:lnTo>
                  <a:lnTo>
                    <a:pt x="1343673" y="28727"/>
                  </a:lnTo>
                  <a:lnTo>
                    <a:pt x="1343673" y="29426"/>
                  </a:lnTo>
                  <a:lnTo>
                    <a:pt x="1343673" y="28727"/>
                  </a:lnTo>
                  <a:lnTo>
                    <a:pt x="1343673" y="29426"/>
                  </a:lnTo>
                  <a:lnTo>
                    <a:pt x="1343673" y="28727"/>
                  </a:lnTo>
                  <a:lnTo>
                    <a:pt x="1343724" y="28727"/>
                  </a:lnTo>
                  <a:lnTo>
                    <a:pt x="1343724" y="30061"/>
                  </a:lnTo>
                  <a:lnTo>
                    <a:pt x="1343775" y="30061"/>
                  </a:lnTo>
                  <a:lnTo>
                    <a:pt x="1343775" y="30759"/>
                  </a:lnTo>
                  <a:lnTo>
                    <a:pt x="1343775" y="30061"/>
                  </a:lnTo>
                  <a:lnTo>
                    <a:pt x="1343775" y="31458"/>
                  </a:lnTo>
                  <a:lnTo>
                    <a:pt x="1343876" y="31458"/>
                  </a:lnTo>
                  <a:lnTo>
                    <a:pt x="1343876" y="33490"/>
                  </a:lnTo>
                  <a:lnTo>
                    <a:pt x="1343876" y="32791"/>
                  </a:lnTo>
                  <a:lnTo>
                    <a:pt x="1343927" y="32791"/>
                  </a:lnTo>
                  <a:lnTo>
                    <a:pt x="1343927" y="31458"/>
                  </a:lnTo>
                  <a:lnTo>
                    <a:pt x="1343927" y="32791"/>
                  </a:lnTo>
                  <a:lnTo>
                    <a:pt x="1343927" y="30759"/>
                  </a:lnTo>
                  <a:lnTo>
                    <a:pt x="1343978" y="30759"/>
                  </a:lnTo>
                  <a:lnTo>
                    <a:pt x="1343978" y="29426"/>
                  </a:lnTo>
                  <a:lnTo>
                    <a:pt x="1343978" y="30061"/>
                  </a:lnTo>
                  <a:lnTo>
                    <a:pt x="1344029" y="30061"/>
                  </a:lnTo>
                  <a:lnTo>
                    <a:pt x="1344029" y="33490"/>
                  </a:lnTo>
                  <a:lnTo>
                    <a:pt x="1344118" y="33490"/>
                  </a:lnTo>
                  <a:lnTo>
                    <a:pt x="1344118" y="36220"/>
                  </a:lnTo>
                  <a:lnTo>
                    <a:pt x="1344169" y="36220"/>
                  </a:lnTo>
                  <a:lnTo>
                    <a:pt x="1344169" y="34874"/>
                  </a:lnTo>
                  <a:lnTo>
                    <a:pt x="1344169" y="36906"/>
                  </a:lnTo>
                  <a:lnTo>
                    <a:pt x="1344169" y="36220"/>
                  </a:lnTo>
                  <a:lnTo>
                    <a:pt x="1344169" y="36906"/>
                  </a:lnTo>
                  <a:lnTo>
                    <a:pt x="1344219" y="36906"/>
                  </a:lnTo>
                  <a:lnTo>
                    <a:pt x="1344219" y="38252"/>
                  </a:lnTo>
                  <a:lnTo>
                    <a:pt x="1344270" y="38252"/>
                  </a:lnTo>
                  <a:lnTo>
                    <a:pt x="1344270" y="40335"/>
                  </a:lnTo>
                  <a:lnTo>
                    <a:pt x="1344372" y="40335"/>
                  </a:lnTo>
                  <a:lnTo>
                    <a:pt x="1344372" y="38951"/>
                  </a:lnTo>
                  <a:lnTo>
                    <a:pt x="1344372" y="40335"/>
                  </a:lnTo>
                  <a:lnTo>
                    <a:pt x="1344372" y="38951"/>
                  </a:lnTo>
                  <a:lnTo>
                    <a:pt x="1344372" y="40335"/>
                  </a:lnTo>
                  <a:lnTo>
                    <a:pt x="1344422" y="40335"/>
                  </a:lnTo>
                  <a:lnTo>
                    <a:pt x="1344422" y="40983"/>
                  </a:lnTo>
                  <a:lnTo>
                    <a:pt x="1344422" y="38951"/>
                  </a:lnTo>
                  <a:lnTo>
                    <a:pt x="1344473" y="38951"/>
                  </a:lnTo>
                  <a:lnTo>
                    <a:pt x="1344473" y="38252"/>
                  </a:lnTo>
                  <a:lnTo>
                    <a:pt x="1344473" y="38951"/>
                  </a:lnTo>
                  <a:lnTo>
                    <a:pt x="1344473" y="37605"/>
                  </a:lnTo>
                  <a:lnTo>
                    <a:pt x="1344473" y="40335"/>
                  </a:lnTo>
                  <a:lnTo>
                    <a:pt x="1344575" y="40335"/>
                  </a:lnTo>
                  <a:lnTo>
                    <a:pt x="1344575" y="38252"/>
                  </a:lnTo>
                  <a:lnTo>
                    <a:pt x="1344575" y="41669"/>
                  </a:lnTo>
                  <a:lnTo>
                    <a:pt x="1344613" y="42367"/>
                  </a:lnTo>
                  <a:lnTo>
                    <a:pt x="1344613" y="40983"/>
                  </a:lnTo>
                  <a:lnTo>
                    <a:pt x="1344613" y="42367"/>
                  </a:lnTo>
                  <a:lnTo>
                    <a:pt x="1344664" y="42367"/>
                  </a:lnTo>
                  <a:lnTo>
                    <a:pt x="1344664" y="44399"/>
                  </a:lnTo>
                  <a:lnTo>
                    <a:pt x="1344715" y="44399"/>
                  </a:lnTo>
                  <a:lnTo>
                    <a:pt x="1344715" y="46482"/>
                  </a:lnTo>
                  <a:lnTo>
                    <a:pt x="1344816" y="46482"/>
                  </a:lnTo>
                  <a:lnTo>
                    <a:pt x="1344816" y="45796"/>
                  </a:lnTo>
                  <a:lnTo>
                    <a:pt x="1344816" y="47828"/>
                  </a:lnTo>
                  <a:lnTo>
                    <a:pt x="1344816" y="46482"/>
                  </a:lnTo>
                  <a:lnTo>
                    <a:pt x="1344816" y="47828"/>
                  </a:lnTo>
                  <a:lnTo>
                    <a:pt x="1344867" y="47828"/>
                  </a:lnTo>
                  <a:lnTo>
                    <a:pt x="1344867" y="48526"/>
                  </a:lnTo>
                  <a:lnTo>
                    <a:pt x="1344867" y="47828"/>
                  </a:lnTo>
                  <a:lnTo>
                    <a:pt x="1344867" y="48526"/>
                  </a:lnTo>
                  <a:lnTo>
                    <a:pt x="1344867" y="47828"/>
                  </a:lnTo>
                  <a:lnTo>
                    <a:pt x="1344918" y="47828"/>
                  </a:lnTo>
                  <a:lnTo>
                    <a:pt x="1344918" y="48526"/>
                  </a:lnTo>
                  <a:lnTo>
                    <a:pt x="1344918" y="46482"/>
                  </a:lnTo>
                  <a:lnTo>
                    <a:pt x="1345019" y="47828"/>
                  </a:lnTo>
                  <a:lnTo>
                    <a:pt x="1345019" y="46482"/>
                  </a:lnTo>
                  <a:lnTo>
                    <a:pt x="1345019" y="49212"/>
                  </a:lnTo>
                  <a:lnTo>
                    <a:pt x="1345070" y="49212"/>
                  </a:lnTo>
                  <a:lnTo>
                    <a:pt x="1345070" y="47828"/>
                  </a:lnTo>
                  <a:lnTo>
                    <a:pt x="1345070" y="51943"/>
                  </a:lnTo>
                  <a:lnTo>
                    <a:pt x="1345070" y="49860"/>
                  </a:lnTo>
                  <a:lnTo>
                    <a:pt x="1345121" y="49860"/>
                  </a:lnTo>
                  <a:lnTo>
                    <a:pt x="1345121" y="51943"/>
                  </a:lnTo>
                  <a:lnTo>
                    <a:pt x="1345159" y="51943"/>
                  </a:lnTo>
                  <a:lnTo>
                    <a:pt x="1345159" y="51244"/>
                  </a:lnTo>
                  <a:lnTo>
                    <a:pt x="1345159" y="52590"/>
                  </a:lnTo>
                  <a:lnTo>
                    <a:pt x="1345261" y="52590"/>
                  </a:lnTo>
                  <a:lnTo>
                    <a:pt x="1345261" y="53975"/>
                  </a:lnTo>
                  <a:lnTo>
                    <a:pt x="1345312" y="55321"/>
                  </a:lnTo>
                  <a:lnTo>
                    <a:pt x="1345312" y="53975"/>
                  </a:lnTo>
                  <a:lnTo>
                    <a:pt x="1345312" y="55321"/>
                  </a:lnTo>
                  <a:lnTo>
                    <a:pt x="1345362" y="55321"/>
                  </a:lnTo>
                  <a:lnTo>
                    <a:pt x="1345362" y="56007"/>
                  </a:lnTo>
                  <a:lnTo>
                    <a:pt x="1345362" y="55321"/>
                  </a:lnTo>
                  <a:lnTo>
                    <a:pt x="1345362" y="56007"/>
                  </a:lnTo>
                  <a:lnTo>
                    <a:pt x="1345464" y="55321"/>
                  </a:lnTo>
                  <a:lnTo>
                    <a:pt x="1345464" y="56007"/>
                  </a:lnTo>
                  <a:lnTo>
                    <a:pt x="1345464" y="55321"/>
                  </a:lnTo>
                  <a:lnTo>
                    <a:pt x="1345464" y="56007"/>
                  </a:lnTo>
                  <a:lnTo>
                    <a:pt x="1345464" y="55321"/>
                  </a:lnTo>
                  <a:lnTo>
                    <a:pt x="1345515" y="53975"/>
                  </a:lnTo>
                  <a:lnTo>
                    <a:pt x="1345515" y="57404"/>
                  </a:lnTo>
                  <a:lnTo>
                    <a:pt x="1345515" y="56705"/>
                  </a:lnTo>
                  <a:lnTo>
                    <a:pt x="1345565" y="56705"/>
                  </a:lnTo>
                  <a:lnTo>
                    <a:pt x="1345565" y="60134"/>
                  </a:lnTo>
                  <a:lnTo>
                    <a:pt x="1345565" y="59436"/>
                  </a:lnTo>
                  <a:lnTo>
                    <a:pt x="1345565" y="60134"/>
                  </a:lnTo>
                  <a:lnTo>
                    <a:pt x="1345565" y="59436"/>
                  </a:lnTo>
                  <a:lnTo>
                    <a:pt x="1345565" y="60134"/>
                  </a:lnTo>
                  <a:lnTo>
                    <a:pt x="1345616" y="60134"/>
                  </a:lnTo>
                  <a:lnTo>
                    <a:pt x="1345616" y="61468"/>
                  </a:lnTo>
                  <a:lnTo>
                    <a:pt x="1345705" y="61468"/>
                  </a:lnTo>
                  <a:lnTo>
                    <a:pt x="1345705" y="60820"/>
                  </a:lnTo>
                  <a:lnTo>
                    <a:pt x="1345705" y="62852"/>
                  </a:lnTo>
                  <a:lnTo>
                    <a:pt x="1345756" y="62852"/>
                  </a:lnTo>
                  <a:lnTo>
                    <a:pt x="1345756" y="64198"/>
                  </a:lnTo>
                  <a:lnTo>
                    <a:pt x="1345756" y="63551"/>
                  </a:lnTo>
                  <a:lnTo>
                    <a:pt x="1345756" y="64198"/>
                  </a:lnTo>
                  <a:lnTo>
                    <a:pt x="1345807" y="64198"/>
                  </a:lnTo>
                  <a:lnTo>
                    <a:pt x="1345807" y="63551"/>
                  </a:lnTo>
                  <a:lnTo>
                    <a:pt x="1345807" y="64198"/>
                  </a:lnTo>
                  <a:lnTo>
                    <a:pt x="1345858" y="64198"/>
                  </a:lnTo>
                  <a:lnTo>
                    <a:pt x="1345959" y="64897"/>
                  </a:lnTo>
                  <a:lnTo>
                    <a:pt x="1345959" y="63551"/>
                  </a:lnTo>
                  <a:lnTo>
                    <a:pt x="1345959" y="64198"/>
                  </a:lnTo>
                  <a:lnTo>
                    <a:pt x="1345959" y="63551"/>
                  </a:lnTo>
                  <a:lnTo>
                    <a:pt x="1346010" y="62852"/>
                  </a:lnTo>
                  <a:lnTo>
                    <a:pt x="1346010" y="63551"/>
                  </a:lnTo>
                  <a:lnTo>
                    <a:pt x="1346010" y="62852"/>
                  </a:lnTo>
                  <a:lnTo>
                    <a:pt x="1346010" y="63551"/>
                  </a:lnTo>
                  <a:lnTo>
                    <a:pt x="1346061" y="64198"/>
                  </a:lnTo>
                  <a:lnTo>
                    <a:pt x="1346061" y="63551"/>
                  </a:lnTo>
                  <a:lnTo>
                    <a:pt x="1346061" y="66332"/>
                  </a:lnTo>
                  <a:lnTo>
                    <a:pt x="1346162" y="66929"/>
                  </a:lnTo>
                  <a:lnTo>
                    <a:pt x="1346162" y="66332"/>
                  </a:lnTo>
                  <a:lnTo>
                    <a:pt x="1346162" y="66929"/>
                  </a:lnTo>
                  <a:lnTo>
                    <a:pt x="1346162" y="66332"/>
                  </a:lnTo>
                  <a:lnTo>
                    <a:pt x="1346162" y="68313"/>
                  </a:lnTo>
                  <a:lnTo>
                    <a:pt x="1346200" y="68313"/>
                  </a:lnTo>
                  <a:lnTo>
                    <a:pt x="1346200" y="70345"/>
                  </a:lnTo>
                  <a:lnTo>
                    <a:pt x="1346251" y="70345"/>
                  </a:lnTo>
                  <a:lnTo>
                    <a:pt x="1346251" y="71793"/>
                  </a:lnTo>
                  <a:lnTo>
                    <a:pt x="1346302" y="71793"/>
                  </a:lnTo>
                  <a:lnTo>
                    <a:pt x="1346302" y="72377"/>
                  </a:lnTo>
                  <a:lnTo>
                    <a:pt x="1346302" y="71793"/>
                  </a:lnTo>
                  <a:lnTo>
                    <a:pt x="1346404" y="71793"/>
                  </a:lnTo>
                  <a:lnTo>
                    <a:pt x="1346404" y="73825"/>
                  </a:lnTo>
                  <a:lnTo>
                    <a:pt x="1346404" y="72377"/>
                  </a:lnTo>
                  <a:lnTo>
                    <a:pt x="1346455" y="72377"/>
                  </a:lnTo>
                  <a:lnTo>
                    <a:pt x="1346455" y="73825"/>
                  </a:lnTo>
                  <a:lnTo>
                    <a:pt x="1346455" y="71793"/>
                  </a:lnTo>
                  <a:lnTo>
                    <a:pt x="1346505" y="71793"/>
                  </a:lnTo>
                  <a:lnTo>
                    <a:pt x="1346505" y="71094"/>
                  </a:lnTo>
                  <a:lnTo>
                    <a:pt x="1346505" y="71793"/>
                  </a:lnTo>
                  <a:lnTo>
                    <a:pt x="1346505" y="69062"/>
                  </a:lnTo>
                  <a:lnTo>
                    <a:pt x="1346607" y="69062"/>
                  </a:lnTo>
                  <a:lnTo>
                    <a:pt x="1346607" y="67615"/>
                  </a:lnTo>
                  <a:lnTo>
                    <a:pt x="1346607" y="69062"/>
                  </a:lnTo>
                  <a:lnTo>
                    <a:pt x="1346658" y="69062"/>
                  </a:lnTo>
                  <a:lnTo>
                    <a:pt x="1346658" y="67615"/>
                  </a:lnTo>
                  <a:lnTo>
                    <a:pt x="1346658" y="71094"/>
                  </a:lnTo>
                  <a:lnTo>
                    <a:pt x="1346709" y="71094"/>
                  </a:lnTo>
                  <a:lnTo>
                    <a:pt x="1346709" y="70345"/>
                  </a:lnTo>
                  <a:lnTo>
                    <a:pt x="1346709" y="72377"/>
                  </a:lnTo>
                  <a:lnTo>
                    <a:pt x="1346709" y="71793"/>
                  </a:lnTo>
                  <a:lnTo>
                    <a:pt x="1346747" y="72377"/>
                  </a:lnTo>
                  <a:lnTo>
                    <a:pt x="1346747" y="71793"/>
                  </a:lnTo>
                  <a:lnTo>
                    <a:pt x="1346747" y="73825"/>
                  </a:lnTo>
                  <a:lnTo>
                    <a:pt x="1346747" y="72377"/>
                  </a:lnTo>
                  <a:lnTo>
                    <a:pt x="1346747" y="73825"/>
                  </a:lnTo>
                  <a:lnTo>
                    <a:pt x="1346848" y="73825"/>
                  </a:lnTo>
                  <a:lnTo>
                    <a:pt x="1346848" y="75108"/>
                  </a:lnTo>
                  <a:lnTo>
                    <a:pt x="1346848" y="74511"/>
                  </a:lnTo>
                  <a:lnTo>
                    <a:pt x="1346848" y="75857"/>
                  </a:lnTo>
                  <a:lnTo>
                    <a:pt x="1346848" y="75108"/>
                  </a:lnTo>
                  <a:lnTo>
                    <a:pt x="1346848" y="75857"/>
                  </a:lnTo>
                  <a:lnTo>
                    <a:pt x="1346899" y="75857"/>
                  </a:lnTo>
                  <a:lnTo>
                    <a:pt x="1346899" y="76555"/>
                  </a:lnTo>
                  <a:lnTo>
                    <a:pt x="1346899" y="75857"/>
                  </a:lnTo>
                  <a:lnTo>
                    <a:pt x="1346899" y="78587"/>
                  </a:lnTo>
                  <a:lnTo>
                    <a:pt x="1346950" y="78587"/>
                  </a:lnTo>
                  <a:lnTo>
                    <a:pt x="1346950" y="77940"/>
                  </a:lnTo>
                  <a:lnTo>
                    <a:pt x="1346950" y="78587"/>
                  </a:lnTo>
                  <a:lnTo>
                    <a:pt x="1346950" y="77940"/>
                  </a:lnTo>
                  <a:lnTo>
                    <a:pt x="1347051" y="77940"/>
                  </a:lnTo>
                  <a:lnTo>
                    <a:pt x="1347051" y="75857"/>
                  </a:lnTo>
                  <a:lnTo>
                    <a:pt x="1347051" y="76555"/>
                  </a:lnTo>
                  <a:lnTo>
                    <a:pt x="1347051" y="75857"/>
                  </a:lnTo>
                  <a:lnTo>
                    <a:pt x="1347102" y="75108"/>
                  </a:lnTo>
                  <a:lnTo>
                    <a:pt x="1347102" y="74511"/>
                  </a:lnTo>
                  <a:lnTo>
                    <a:pt x="1347102" y="75857"/>
                  </a:lnTo>
                  <a:lnTo>
                    <a:pt x="1347153" y="75857"/>
                  </a:lnTo>
                  <a:lnTo>
                    <a:pt x="1347153" y="74511"/>
                  </a:lnTo>
                  <a:lnTo>
                    <a:pt x="1347153" y="77940"/>
                  </a:lnTo>
                  <a:lnTo>
                    <a:pt x="1347153" y="76555"/>
                  </a:lnTo>
                  <a:lnTo>
                    <a:pt x="1347153" y="77940"/>
                  </a:lnTo>
                  <a:lnTo>
                    <a:pt x="1347153" y="76555"/>
                  </a:lnTo>
                  <a:lnTo>
                    <a:pt x="1347204" y="76555"/>
                  </a:lnTo>
                  <a:lnTo>
                    <a:pt x="1347204" y="75857"/>
                  </a:lnTo>
                  <a:lnTo>
                    <a:pt x="1347204" y="77940"/>
                  </a:lnTo>
                  <a:lnTo>
                    <a:pt x="1347204" y="76555"/>
                  </a:lnTo>
                  <a:lnTo>
                    <a:pt x="1347204" y="77940"/>
                  </a:lnTo>
                  <a:lnTo>
                    <a:pt x="1347293" y="76555"/>
                  </a:lnTo>
                  <a:lnTo>
                    <a:pt x="1347293" y="77940"/>
                  </a:lnTo>
                  <a:lnTo>
                    <a:pt x="1347344" y="77940"/>
                  </a:lnTo>
                  <a:lnTo>
                    <a:pt x="1347344" y="79273"/>
                  </a:lnTo>
                  <a:lnTo>
                    <a:pt x="1347344" y="78587"/>
                  </a:lnTo>
                  <a:lnTo>
                    <a:pt x="1347344" y="79273"/>
                  </a:lnTo>
                  <a:lnTo>
                    <a:pt x="1347394" y="79273"/>
                  </a:lnTo>
                  <a:lnTo>
                    <a:pt x="1347394" y="82702"/>
                  </a:lnTo>
                  <a:lnTo>
                    <a:pt x="1347394" y="82004"/>
                  </a:lnTo>
                  <a:lnTo>
                    <a:pt x="1347445" y="82004"/>
                  </a:lnTo>
                  <a:lnTo>
                    <a:pt x="1347445" y="82702"/>
                  </a:lnTo>
                  <a:lnTo>
                    <a:pt x="1347445" y="82004"/>
                  </a:lnTo>
                  <a:lnTo>
                    <a:pt x="1347445" y="82702"/>
                  </a:lnTo>
                  <a:lnTo>
                    <a:pt x="1347445" y="82004"/>
                  </a:lnTo>
                  <a:lnTo>
                    <a:pt x="1347445" y="82702"/>
                  </a:lnTo>
                  <a:lnTo>
                    <a:pt x="1347445" y="82004"/>
                  </a:lnTo>
                  <a:lnTo>
                    <a:pt x="1347547" y="82004"/>
                  </a:lnTo>
                  <a:lnTo>
                    <a:pt x="1347547" y="81318"/>
                  </a:lnTo>
                  <a:lnTo>
                    <a:pt x="1347547" y="82004"/>
                  </a:lnTo>
                  <a:lnTo>
                    <a:pt x="1347597" y="82004"/>
                  </a:lnTo>
                  <a:lnTo>
                    <a:pt x="1347597" y="82702"/>
                  </a:lnTo>
                  <a:lnTo>
                    <a:pt x="1347597" y="82004"/>
                  </a:lnTo>
                  <a:lnTo>
                    <a:pt x="1347597" y="82702"/>
                  </a:lnTo>
                  <a:lnTo>
                    <a:pt x="1347597" y="81318"/>
                  </a:lnTo>
                  <a:lnTo>
                    <a:pt x="1347597" y="83401"/>
                  </a:lnTo>
                  <a:lnTo>
                    <a:pt x="1347648" y="84036"/>
                  </a:lnTo>
                  <a:lnTo>
                    <a:pt x="1347648" y="85433"/>
                  </a:lnTo>
                  <a:lnTo>
                    <a:pt x="1347648" y="82702"/>
                  </a:lnTo>
                  <a:lnTo>
                    <a:pt x="1347648" y="84036"/>
                  </a:lnTo>
                  <a:lnTo>
                    <a:pt x="1347750" y="84036"/>
                  </a:lnTo>
                  <a:lnTo>
                    <a:pt x="1347750" y="85433"/>
                  </a:lnTo>
                  <a:lnTo>
                    <a:pt x="1347750" y="82702"/>
                  </a:lnTo>
                  <a:lnTo>
                    <a:pt x="1347750" y="83401"/>
                  </a:lnTo>
                  <a:lnTo>
                    <a:pt x="1347788" y="84036"/>
                  </a:lnTo>
                  <a:lnTo>
                    <a:pt x="1347788" y="83401"/>
                  </a:lnTo>
                  <a:lnTo>
                    <a:pt x="1347788" y="84036"/>
                  </a:lnTo>
                  <a:lnTo>
                    <a:pt x="1347839" y="84036"/>
                  </a:lnTo>
                  <a:lnTo>
                    <a:pt x="1347839" y="86119"/>
                  </a:lnTo>
                  <a:lnTo>
                    <a:pt x="1347890" y="86119"/>
                  </a:lnTo>
                  <a:lnTo>
                    <a:pt x="1347890" y="86766"/>
                  </a:lnTo>
                  <a:lnTo>
                    <a:pt x="1347890" y="86119"/>
                  </a:lnTo>
                  <a:lnTo>
                    <a:pt x="1347890" y="86766"/>
                  </a:lnTo>
                  <a:lnTo>
                    <a:pt x="1347890" y="86119"/>
                  </a:lnTo>
                  <a:lnTo>
                    <a:pt x="1347890" y="86766"/>
                  </a:lnTo>
                  <a:lnTo>
                    <a:pt x="1347890" y="86119"/>
                  </a:lnTo>
                  <a:lnTo>
                    <a:pt x="1347890" y="87465"/>
                  </a:lnTo>
                  <a:lnTo>
                    <a:pt x="1347991" y="87465"/>
                  </a:lnTo>
                  <a:lnTo>
                    <a:pt x="1347991" y="86119"/>
                  </a:lnTo>
                  <a:lnTo>
                    <a:pt x="1347991" y="86766"/>
                  </a:lnTo>
                  <a:lnTo>
                    <a:pt x="1348042" y="86766"/>
                  </a:lnTo>
                  <a:lnTo>
                    <a:pt x="1348042" y="89497"/>
                  </a:lnTo>
                  <a:lnTo>
                    <a:pt x="1348042" y="88163"/>
                  </a:lnTo>
                  <a:lnTo>
                    <a:pt x="1348042" y="89497"/>
                  </a:lnTo>
                  <a:lnTo>
                    <a:pt x="1348042" y="88163"/>
                  </a:lnTo>
                  <a:lnTo>
                    <a:pt x="1348042" y="89497"/>
                  </a:lnTo>
                  <a:lnTo>
                    <a:pt x="1348093" y="89497"/>
                  </a:lnTo>
                  <a:lnTo>
                    <a:pt x="1348093" y="88163"/>
                  </a:lnTo>
                  <a:lnTo>
                    <a:pt x="1348093" y="92926"/>
                  </a:lnTo>
                  <a:lnTo>
                    <a:pt x="1348093" y="90881"/>
                  </a:lnTo>
                  <a:lnTo>
                    <a:pt x="1348093" y="91580"/>
                  </a:lnTo>
                  <a:lnTo>
                    <a:pt x="1348093" y="90881"/>
                  </a:lnTo>
                  <a:lnTo>
                    <a:pt x="1348194" y="91580"/>
                  </a:lnTo>
                  <a:lnTo>
                    <a:pt x="1348194" y="93611"/>
                  </a:lnTo>
                  <a:lnTo>
                    <a:pt x="1348194" y="92926"/>
                  </a:lnTo>
                  <a:lnTo>
                    <a:pt x="1348194" y="93611"/>
                  </a:lnTo>
                  <a:lnTo>
                    <a:pt x="1348194" y="92926"/>
                  </a:lnTo>
                  <a:lnTo>
                    <a:pt x="1348245" y="92926"/>
                  </a:lnTo>
                  <a:lnTo>
                    <a:pt x="1348245" y="93611"/>
                  </a:lnTo>
                  <a:lnTo>
                    <a:pt x="1348245" y="92926"/>
                  </a:lnTo>
                  <a:lnTo>
                    <a:pt x="1348245" y="93611"/>
                  </a:lnTo>
                  <a:lnTo>
                    <a:pt x="1348296" y="93611"/>
                  </a:lnTo>
                  <a:lnTo>
                    <a:pt x="1348296" y="92926"/>
                  </a:lnTo>
                  <a:lnTo>
                    <a:pt x="1348296" y="93611"/>
                  </a:lnTo>
                  <a:lnTo>
                    <a:pt x="1348296" y="92926"/>
                  </a:lnTo>
                  <a:lnTo>
                    <a:pt x="1348296" y="93611"/>
                  </a:lnTo>
                  <a:lnTo>
                    <a:pt x="1348334" y="94310"/>
                  </a:lnTo>
                  <a:lnTo>
                    <a:pt x="1348334" y="92926"/>
                  </a:lnTo>
                  <a:lnTo>
                    <a:pt x="1348334" y="94310"/>
                  </a:lnTo>
                  <a:lnTo>
                    <a:pt x="1348334" y="93611"/>
                  </a:lnTo>
                  <a:lnTo>
                    <a:pt x="1348334" y="94310"/>
                  </a:lnTo>
                  <a:lnTo>
                    <a:pt x="1348436" y="93611"/>
                  </a:lnTo>
                  <a:lnTo>
                    <a:pt x="1348436" y="92926"/>
                  </a:lnTo>
                  <a:lnTo>
                    <a:pt x="1348436" y="93611"/>
                  </a:lnTo>
                  <a:lnTo>
                    <a:pt x="1348436" y="91580"/>
                  </a:lnTo>
                  <a:lnTo>
                    <a:pt x="1348487" y="91580"/>
                  </a:lnTo>
                  <a:lnTo>
                    <a:pt x="1348487" y="90881"/>
                  </a:lnTo>
                  <a:lnTo>
                    <a:pt x="1348487" y="91580"/>
                  </a:lnTo>
                  <a:lnTo>
                    <a:pt x="1348487" y="90195"/>
                  </a:lnTo>
                  <a:lnTo>
                    <a:pt x="1348487" y="90881"/>
                  </a:lnTo>
                  <a:lnTo>
                    <a:pt x="1348537" y="91580"/>
                  </a:lnTo>
                  <a:lnTo>
                    <a:pt x="1348537" y="93611"/>
                  </a:lnTo>
                  <a:lnTo>
                    <a:pt x="1348537" y="92926"/>
                  </a:lnTo>
                  <a:lnTo>
                    <a:pt x="1348537" y="94310"/>
                  </a:lnTo>
                  <a:lnTo>
                    <a:pt x="1348639" y="95009"/>
                  </a:lnTo>
                  <a:lnTo>
                    <a:pt x="1348639" y="94310"/>
                  </a:lnTo>
                  <a:lnTo>
                    <a:pt x="1348639" y="97040"/>
                  </a:lnTo>
                  <a:lnTo>
                    <a:pt x="1348690" y="97040"/>
                  </a:lnTo>
                  <a:lnTo>
                    <a:pt x="1348690" y="97739"/>
                  </a:lnTo>
                  <a:lnTo>
                    <a:pt x="1348690" y="95644"/>
                  </a:lnTo>
                  <a:lnTo>
                    <a:pt x="1348690" y="97040"/>
                  </a:lnTo>
                  <a:lnTo>
                    <a:pt x="1348690" y="95644"/>
                  </a:lnTo>
                  <a:lnTo>
                    <a:pt x="1348690" y="97739"/>
                  </a:lnTo>
                  <a:lnTo>
                    <a:pt x="1348740" y="97040"/>
                  </a:lnTo>
                  <a:lnTo>
                    <a:pt x="1348740" y="97739"/>
                  </a:lnTo>
                  <a:lnTo>
                    <a:pt x="1348740" y="97040"/>
                  </a:lnTo>
                  <a:lnTo>
                    <a:pt x="1348740" y="98374"/>
                  </a:lnTo>
                  <a:lnTo>
                    <a:pt x="1348791" y="98374"/>
                  </a:lnTo>
                  <a:lnTo>
                    <a:pt x="1348791" y="99072"/>
                  </a:lnTo>
                  <a:lnTo>
                    <a:pt x="1348880" y="98374"/>
                  </a:lnTo>
                  <a:lnTo>
                    <a:pt x="1348880" y="99072"/>
                  </a:lnTo>
                  <a:lnTo>
                    <a:pt x="1348880" y="98374"/>
                  </a:lnTo>
                  <a:lnTo>
                    <a:pt x="1348880" y="99072"/>
                  </a:lnTo>
                  <a:lnTo>
                    <a:pt x="1348880" y="98374"/>
                  </a:lnTo>
                  <a:lnTo>
                    <a:pt x="1348880" y="99072"/>
                  </a:lnTo>
                  <a:lnTo>
                    <a:pt x="1348880" y="98374"/>
                  </a:lnTo>
                  <a:lnTo>
                    <a:pt x="1348931" y="98374"/>
                  </a:lnTo>
                  <a:lnTo>
                    <a:pt x="1348931" y="100457"/>
                  </a:lnTo>
                  <a:lnTo>
                    <a:pt x="1348982" y="100457"/>
                  </a:lnTo>
                  <a:lnTo>
                    <a:pt x="1348982" y="99072"/>
                  </a:lnTo>
                  <a:lnTo>
                    <a:pt x="1348982" y="102501"/>
                  </a:lnTo>
                  <a:lnTo>
                    <a:pt x="1348982" y="101803"/>
                  </a:lnTo>
                  <a:lnTo>
                    <a:pt x="1349033" y="101803"/>
                  </a:lnTo>
                  <a:lnTo>
                    <a:pt x="1349033" y="101105"/>
                  </a:lnTo>
                  <a:lnTo>
                    <a:pt x="1349033" y="103187"/>
                  </a:lnTo>
                  <a:lnTo>
                    <a:pt x="1349134" y="103187"/>
                  </a:lnTo>
                  <a:lnTo>
                    <a:pt x="1349134" y="102501"/>
                  </a:lnTo>
                  <a:lnTo>
                    <a:pt x="1349134" y="104534"/>
                  </a:lnTo>
                  <a:lnTo>
                    <a:pt x="1349134" y="102501"/>
                  </a:lnTo>
                  <a:lnTo>
                    <a:pt x="1349134" y="103187"/>
                  </a:lnTo>
                  <a:lnTo>
                    <a:pt x="1349185" y="103187"/>
                  </a:lnTo>
                  <a:lnTo>
                    <a:pt x="1349185" y="104534"/>
                  </a:lnTo>
                  <a:lnTo>
                    <a:pt x="1349185" y="103187"/>
                  </a:lnTo>
                  <a:lnTo>
                    <a:pt x="1349185" y="104534"/>
                  </a:lnTo>
                  <a:lnTo>
                    <a:pt x="1349337" y="104534"/>
                  </a:lnTo>
                  <a:lnTo>
                    <a:pt x="1349375" y="105219"/>
                  </a:lnTo>
                  <a:lnTo>
                    <a:pt x="1349375" y="106565"/>
                  </a:lnTo>
                  <a:lnTo>
                    <a:pt x="1349375" y="105219"/>
                  </a:lnTo>
                  <a:lnTo>
                    <a:pt x="1349375" y="107950"/>
                  </a:lnTo>
                  <a:lnTo>
                    <a:pt x="1349426" y="108648"/>
                  </a:lnTo>
                  <a:lnTo>
                    <a:pt x="1349426" y="109296"/>
                  </a:lnTo>
                  <a:lnTo>
                    <a:pt x="1349426" y="107950"/>
                  </a:lnTo>
                  <a:lnTo>
                    <a:pt x="1349426" y="109982"/>
                  </a:lnTo>
                  <a:lnTo>
                    <a:pt x="1349477" y="109982"/>
                  </a:lnTo>
                  <a:lnTo>
                    <a:pt x="1349477" y="109296"/>
                  </a:lnTo>
                  <a:lnTo>
                    <a:pt x="1349477" y="109982"/>
                  </a:lnTo>
                  <a:lnTo>
                    <a:pt x="1349579" y="110680"/>
                  </a:lnTo>
                  <a:lnTo>
                    <a:pt x="1349579" y="109982"/>
                  </a:lnTo>
                  <a:lnTo>
                    <a:pt x="1349579" y="110680"/>
                  </a:lnTo>
                  <a:lnTo>
                    <a:pt x="1349579" y="109982"/>
                  </a:lnTo>
                  <a:lnTo>
                    <a:pt x="1349579" y="110680"/>
                  </a:lnTo>
                  <a:lnTo>
                    <a:pt x="1349579" y="109982"/>
                  </a:lnTo>
                  <a:lnTo>
                    <a:pt x="1349579" y="110680"/>
                  </a:lnTo>
                  <a:lnTo>
                    <a:pt x="1349630" y="110680"/>
                  </a:lnTo>
                  <a:lnTo>
                    <a:pt x="1349630" y="109982"/>
                  </a:lnTo>
                  <a:lnTo>
                    <a:pt x="1349630" y="110680"/>
                  </a:lnTo>
                  <a:lnTo>
                    <a:pt x="1349630" y="109982"/>
                  </a:lnTo>
                  <a:lnTo>
                    <a:pt x="1349680" y="109982"/>
                  </a:lnTo>
                  <a:lnTo>
                    <a:pt x="1349680" y="109296"/>
                  </a:lnTo>
                  <a:lnTo>
                    <a:pt x="1349782" y="109296"/>
                  </a:lnTo>
                  <a:lnTo>
                    <a:pt x="1349782" y="108648"/>
                  </a:lnTo>
                  <a:lnTo>
                    <a:pt x="1349782" y="109296"/>
                  </a:lnTo>
                  <a:lnTo>
                    <a:pt x="1349782" y="108648"/>
                  </a:lnTo>
                  <a:lnTo>
                    <a:pt x="1349782" y="109296"/>
                  </a:lnTo>
                  <a:lnTo>
                    <a:pt x="1349782" y="108648"/>
                  </a:lnTo>
                  <a:lnTo>
                    <a:pt x="1349782" y="109296"/>
                  </a:lnTo>
                  <a:lnTo>
                    <a:pt x="1349782" y="107950"/>
                  </a:lnTo>
                  <a:lnTo>
                    <a:pt x="1349833" y="108648"/>
                  </a:lnTo>
                  <a:lnTo>
                    <a:pt x="1349833" y="107950"/>
                  </a:lnTo>
                  <a:lnTo>
                    <a:pt x="1349833" y="108648"/>
                  </a:lnTo>
                  <a:lnTo>
                    <a:pt x="1349833" y="106565"/>
                  </a:lnTo>
                  <a:lnTo>
                    <a:pt x="1349833" y="107950"/>
                  </a:lnTo>
                  <a:lnTo>
                    <a:pt x="1349884" y="107950"/>
                  </a:lnTo>
                  <a:lnTo>
                    <a:pt x="1349884" y="109296"/>
                  </a:lnTo>
                  <a:lnTo>
                    <a:pt x="1349884" y="107950"/>
                  </a:lnTo>
                  <a:lnTo>
                    <a:pt x="1349884" y="109982"/>
                  </a:lnTo>
                  <a:lnTo>
                    <a:pt x="1349922" y="109982"/>
                  </a:lnTo>
                  <a:lnTo>
                    <a:pt x="1349922" y="110680"/>
                  </a:lnTo>
                  <a:lnTo>
                    <a:pt x="1349922" y="109982"/>
                  </a:lnTo>
                  <a:lnTo>
                    <a:pt x="1349922" y="110680"/>
                  </a:lnTo>
                  <a:lnTo>
                    <a:pt x="1349922" y="109296"/>
                  </a:lnTo>
                  <a:lnTo>
                    <a:pt x="1349922" y="110680"/>
                  </a:lnTo>
                  <a:lnTo>
                    <a:pt x="1350023" y="110680"/>
                  </a:lnTo>
                  <a:lnTo>
                    <a:pt x="1350023" y="112712"/>
                  </a:lnTo>
                  <a:lnTo>
                    <a:pt x="1350074" y="112712"/>
                  </a:lnTo>
                  <a:lnTo>
                    <a:pt x="1350074" y="113411"/>
                  </a:lnTo>
                  <a:lnTo>
                    <a:pt x="1350125" y="113411"/>
                  </a:lnTo>
                  <a:lnTo>
                    <a:pt x="1350125" y="114109"/>
                  </a:lnTo>
                  <a:lnTo>
                    <a:pt x="1350125" y="113411"/>
                  </a:lnTo>
                  <a:lnTo>
                    <a:pt x="1350125" y="114109"/>
                  </a:lnTo>
                  <a:lnTo>
                    <a:pt x="1350226" y="114109"/>
                  </a:lnTo>
                  <a:lnTo>
                    <a:pt x="1350226" y="113411"/>
                  </a:lnTo>
                  <a:lnTo>
                    <a:pt x="1350226" y="114109"/>
                  </a:lnTo>
                  <a:lnTo>
                    <a:pt x="1350226" y="113411"/>
                  </a:lnTo>
                  <a:lnTo>
                    <a:pt x="1350277" y="113411"/>
                  </a:lnTo>
                  <a:lnTo>
                    <a:pt x="1350277" y="112065"/>
                  </a:lnTo>
                  <a:lnTo>
                    <a:pt x="1350328" y="112065"/>
                  </a:lnTo>
                  <a:lnTo>
                    <a:pt x="1350328" y="112712"/>
                  </a:lnTo>
                  <a:lnTo>
                    <a:pt x="1350328" y="110680"/>
                  </a:lnTo>
                  <a:lnTo>
                    <a:pt x="1350328" y="112712"/>
                  </a:lnTo>
                  <a:lnTo>
                    <a:pt x="1350328" y="112065"/>
                  </a:lnTo>
                  <a:lnTo>
                    <a:pt x="1350379" y="112065"/>
                  </a:lnTo>
                  <a:lnTo>
                    <a:pt x="1350379" y="110680"/>
                  </a:lnTo>
                  <a:lnTo>
                    <a:pt x="1350379" y="112712"/>
                  </a:lnTo>
                  <a:lnTo>
                    <a:pt x="1350468" y="112712"/>
                  </a:lnTo>
                  <a:lnTo>
                    <a:pt x="1350468" y="114109"/>
                  </a:lnTo>
                  <a:lnTo>
                    <a:pt x="1350468" y="113411"/>
                  </a:lnTo>
                  <a:lnTo>
                    <a:pt x="1350519" y="113411"/>
                  </a:lnTo>
                  <a:lnTo>
                    <a:pt x="1350519" y="114109"/>
                  </a:lnTo>
                  <a:lnTo>
                    <a:pt x="1350519" y="113411"/>
                  </a:lnTo>
                  <a:lnTo>
                    <a:pt x="1350519" y="116141"/>
                  </a:lnTo>
                  <a:lnTo>
                    <a:pt x="1350569" y="116141"/>
                  </a:lnTo>
                  <a:lnTo>
                    <a:pt x="1350569" y="117526"/>
                  </a:lnTo>
                  <a:lnTo>
                    <a:pt x="1350569" y="116827"/>
                  </a:lnTo>
                  <a:lnTo>
                    <a:pt x="1350569" y="117526"/>
                  </a:lnTo>
                  <a:lnTo>
                    <a:pt x="1350569" y="116827"/>
                  </a:lnTo>
                  <a:lnTo>
                    <a:pt x="1350569" y="117526"/>
                  </a:lnTo>
                  <a:lnTo>
                    <a:pt x="1350569" y="116827"/>
                  </a:lnTo>
                  <a:lnTo>
                    <a:pt x="1350620" y="116827"/>
                  </a:lnTo>
                  <a:lnTo>
                    <a:pt x="1350620" y="118173"/>
                  </a:lnTo>
                  <a:lnTo>
                    <a:pt x="1350620" y="117526"/>
                  </a:lnTo>
                  <a:lnTo>
                    <a:pt x="1350620" y="118173"/>
                  </a:lnTo>
                  <a:lnTo>
                    <a:pt x="1350620" y="117526"/>
                  </a:lnTo>
                  <a:lnTo>
                    <a:pt x="1350620" y="118173"/>
                  </a:lnTo>
                  <a:lnTo>
                    <a:pt x="1350722" y="118173"/>
                  </a:lnTo>
                  <a:lnTo>
                    <a:pt x="1350722" y="119558"/>
                  </a:lnTo>
                  <a:lnTo>
                    <a:pt x="1350772" y="119558"/>
                  </a:lnTo>
                  <a:lnTo>
                    <a:pt x="1350772" y="118173"/>
                  </a:lnTo>
                  <a:lnTo>
                    <a:pt x="1350772" y="119558"/>
                  </a:lnTo>
                  <a:lnTo>
                    <a:pt x="1350772" y="117526"/>
                  </a:lnTo>
                  <a:lnTo>
                    <a:pt x="1350823" y="117526"/>
                  </a:lnTo>
                  <a:lnTo>
                    <a:pt x="1350823" y="119558"/>
                  </a:lnTo>
                  <a:lnTo>
                    <a:pt x="1350823" y="116827"/>
                  </a:lnTo>
                  <a:lnTo>
                    <a:pt x="1350925" y="116141"/>
                  </a:lnTo>
                  <a:lnTo>
                    <a:pt x="1350925" y="120307"/>
                  </a:lnTo>
                  <a:lnTo>
                    <a:pt x="1350925" y="117526"/>
                  </a:lnTo>
                  <a:lnTo>
                    <a:pt x="1350925" y="118173"/>
                  </a:lnTo>
                  <a:lnTo>
                    <a:pt x="1350925" y="117526"/>
                  </a:lnTo>
                  <a:lnTo>
                    <a:pt x="1350925" y="118173"/>
                  </a:lnTo>
                  <a:lnTo>
                    <a:pt x="1350963" y="118173"/>
                  </a:lnTo>
                  <a:lnTo>
                    <a:pt x="1350963" y="120307"/>
                  </a:lnTo>
                  <a:lnTo>
                    <a:pt x="1350963" y="119558"/>
                  </a:lnTo>
                  <a:lnTo>
                    <a:pt x="1350963" y="120307"/>
                  </a:lnTo>
                  <a:lnTo>
                    <a:pt x="1351014" y="120307"/>
                  </a:lnTo>
                  <a:lnTo>
                    <a:pt x="1351014" y="120904"/>
                  </a:lnTo>
                  <a:lnTo>
                    <a:pt x="1351014" y="120307"/>
                  </a:lnTo>
                  <a:lnTo>
                    <a:pt x="1351014" y="120904"/>
                  </a:lnTo>
                  <a:lnTo>
                    <a:pt x="1351014" y="120307"/>
                  </a:lnTo>
                  <a:lnTo>
                    <a:pt x="1351014" y="121590"/>
                  </a:lnTo>
                  <a:lnTo>
                    <a:pt x="1351014" y="120904"/>
                  </a:lnTo>
                  <a:lnTo>
                    <a:pt x="1351065" y="120904"/>
                  </a:lnTo>
                  <a:lnTo>
                    <a:pt x="1351065" y="121590"/>
                  </a:lnTo>
                  <a:lnTo>
                    <a:pt x="1351065" y="120904"/>
                  </a:lnTo>
                  <a:lnTo>
                    <a:pt x="1351065" y="123037"/>
                  </a:lnTo>
                  <a:lnTo>
                    <a:pt x="1351166" y="123037"/>
                  </a:lnTo>
                  <a:lnTo>
                    <a:pt x="1351166" y="121590"/>
                  </a:lnTo>
                  <a:lnTo>
                    <a:pt x="1351166" y="123634"/>
                  </a:lnTo>
                  <a:lnTo>
                    <a:pt x="1351166" y="123037"/>
                  </a:lnTo>
                  <a:lnTo>
                    <a:pt x="1351217" y="123037"/>
                  </a:lnTo>
                  <a:lnTo>
                    <a:pt x="1351217" y="123634"/>
                  </a:lnTo>
                  <a:lnTo>
                    <a:pt x="1351217" y="123037"/>
                  </a:lnTo>
                  <a:lnTo>
                    <a:pt x="1351217" y="123634"/>
                  </a:lnTo>
                  <a:lnTo>
                    <a:pt x="1351217" y="123037"/>
                  </a:lnTo>
                  <a:lnTo>
                    <a:pt x="1351217" y="123634"/>
                  </a:lnTo>
                  <a:lnTo>
                    <a:pt x="1351217" y="123037"/>
                  </a:lnTo>
                  <a:lnTo>
                    <a:pt x="1351217" y="123634"/>
                  </a:lnTo>
                  <a:lnTo>
                    <a:pt x="1351268" y="123634"/>
                  </a:lnTo>
                  <a:lnTo>
                    <a:pt x="1351268" y="121590"/>
                  </a:lnTo>
                  <a:lnTo>
                    <a:pt x="1351268" y="123037"/>
                  </a:lnTo>
                  <a:lnTo>
                    <a:pt x="1351268" y="121590"/>
                  </a:lnTo>
                  <a:lnTo>
                    <a:pt x="1351268" y="123037"/>
                  </a:lnTo>
                  <a:lnTo>
                    <a:pt x="1351369" y="123037"/>
                  </a:lnTo>
                  <a:lnTo>
                    <a:pt x="1351369" y="124320"/>
                  </a:lnTo>
                  <a:lnTo>
                    <a:pt x="1351369" y="123037"/>
                  </a:lnTo>
                  <a:lnTo>
                    <a:pt x="1351369" y="123634"/>
                  </a:lnTo>
                  <a:lnTo>
                    <a:pt x="1351420" y="124320"/>
                  </a:lnTo>
                  <a:lnTo>
                    <a:pt x="1351420" y="125069"/>
                  </a:lnTo>
                  <a:lnTo>
                    <a:pt x="1351420" y="124320"/>
                  </a:lnTo>
                  <a:lnTo>
                    <a:pt x="1351420" y="125069"/>
                  </a:lnTo>
                  <a:lnTo>
                    <a:pt x="1351420" y="123634"/>
                  </a:lnTo>
                  <a:lnTo>
                    <a:pt x="1351420" y="125069"/>
                  </a:lnTo>
                  <a:lnTo>
                    <a:pt x="1351471" y="125069"/>
                  </a:lnTo>
                  <a:lnTo>
                    <a:pt x="1351471" y="125768"/>
                  </a:lnTo>
                  <a:lnTo>
                    <a:pt x="1351471" y="124320"/>
                  </a:lnTo>
                  <a:lnTo>
                    <a:pt x="1351471" y="127051"/>
                  </a:lnTo>
                  <a:lnTo>
                    <a:pt x="1351471" y="125768"/>
                  </a:lnTo>
                  <a:lnTo>
                    <a:pt x="1351509" y="125768"/>
                  </a:lnTo>
                  <a:lnTo>
                    <a:pt x="1351509" y="125069"/>
                  </a:lnTo>
                  <a:lnTo>
                    <a:pt x="1351509" y="127051"/>
                  </a:lnTo>
                  <a:lnTo>
                    <a:pt x="1351509" y="125768"/>
                  </a:lnTo>
                  <a:lnTo>
                    <a:pt x="1351611" y="125768"/>
                  </a:lnTo>
                  <a:lnTo>
                    <a:pt x="1351611" y="125069"/>
                  </a:lnTo>
                  <a:lnTo>
                    <a:pt x="1351611" y="125768"/>
                  </a:lnTo>
                  <a:lnTo>
                    <a:pt x="1351611" y="125069"/>
                  </a:lnTo>
                  <a:lnTo>
                    <a:pt x="1351611" y="125768"/>
                  </a:lnTo>
                  <a:lnTo>
                    <a:pt x="1351662" y="125069"/>
                  </a:lnTo>
                  <a:lnTo>
                    <a:pt x="1351662" y="125768"/>
                  </a:lnTo>
                  <a:lnTo>
                    <a:pt x="1351662" y="125069"/>
                  </a:lnTo>
                  <a:lnTo>
                    <a:pt x="1351662" y="125768"/>
                  </a:lnTo>
                  <a:lnTo>
                    <a:pt x="1351662" y="125069"/>
                  </a:lnTo>
                  <a:lnTo>
                    <a:pt x="1351662" y="125768"/>
                  </a:lnTo>
                  <a:lnTo>
                    <a:pt x="1351662" y="125069"/>
                  </a:lnTo>
                  <a:lnTo>
                    <a:pt x="1351712" y="125069"/>
                  </a:lnTo>
                  <a:lnTo>
                    <a:pt x="1351712" y="125768"/>
                  </a:lnTo>
                  <a:lnTo>
                    <a:pt x="1351712" y="125069"/>
                  </a:lnTo>
                  <a:lnTo>
                    <a:pt x="1351712" y="125768"/>
                  </a:lnTo>
                  <a:lnTo>
                    <a:pt x="1351712" y="125069"/>
                  </a:lnTo>
                  <a:lnTo>
                    <a:pt x="1351712" y="125768"/>
                  </a:lnTo>
                  <a:lnTo>
                    <a:pt x="1351712" y="125069"/>
                  </a:lnTo>
                  <a:lnTo>
                    <a:pt x="1351712" y="125768"/>
                  </a:lnTo>
                  <a:lnTo>
                    <a:pt x="1351712" y="125069"/>
                  </a:lnTo>
                  <a:lnTo>
                    <a:pt x="1351814" y="125069"/>
                  </a:lnTo>
                  <a:lnTo>
                    <a:pt x="1351814" y="124320"/>
                  </a:lnTo>
                  <a:lnTo>
                    <a:pt x="1351814" y="125069"/>
                  </a:lnTo>
                  <a:lnTo>
                    <a:pt x="1351814" y="123634"/>
                  </a:lnTo>
                  <a:lnTo>
                    <a:pt x="1351814" y="124320"/>
                  </a:lnTo>
                  <a:lnTo>
                    <a:pt x="1351814" y="123634"/>
                  </a:lnTo>
                  <a:lnTo>
                    <a:pt x="1351814" y="124320"/>
                  </a:lnTo>
                  <a:lnTo>
                    <a:pt x="1351814" y="123634"/>
                  </a:lnTo>
                  <a:lnTo>
                    <a:pt x="1351814" y="125069"/>
                  </a:lnTo>
                  <a:lnTo>
                    <a:pt x="1351865" y="125069"/>
                  </a:lnTo>
                  <a:lnTo>
                    <a:pt x="1351865" y="125768"/>
                  </a:lnTo>
                  <a:lnTo>
                    <a:pt x="1351865" y="124320"/>
                  </a:lnTo>
                  <a:lnTo>
                    <a:pt x="1351865" y="127051"/>
                  </a:lnTo>
                  <a:lnTo>
                    <a:pt x="1351915" y="127800"/>
                  </a:lnTo>
                  <a:lnTo>
                    <a:pt x="1351915" y="125768"/>
                  </a:lnTo>
                  <a:lnTo>
                    <a:pt x="1351915" y="128486"/>
                  </a:lnTo>
                  <a:lnTo>
                    <a:pt x="1351966" y="128486"/>
                  </a:lnTo>
                  <a:lnTo>
                    <a:pt x="1351966" y="127800"/>
                  </a:lnTo>
                  <a:lnTo>
                    <a:pt x="1351966" y="128486"/>
                  </a:lnTo>
                  <a:lnTo>
                    <a:pt x="1351966" y="127800"/>
                  </a:lnTo>
                  <a:lnTo>
                    <a:pt x="1351966" y="128486"/>
                  </a:lnTo>
                  <a:lnTo>
                    <a:pt x="1352055" y="129083"/>
                  </a:lnTo>
                  <a:lnTo>
                    <a:pt x="1352055" y="128486"/>
                  </a:lnTo>
                  <a:lnTo>
                    <a:pt x="1352055" y="129083"/>
                  </a:lnTo>
                  <a:lnTo>
                    <a:pt x="1352055" y="128486"/>
                  </a:lnTo>
                  <a:lnTo>
                    <a:pt x="1352106" y="128486"/>
                  </a:lnTo>
                  <a:lnTo>
                    <a:pt x="1352106" y="130530"/>
                  </a:lnTo>
                  <a:lnTo>
                    <a:pt x="1352106" y="129083"/>
                  </a:lnTo>
                  <a:lnTo>
                    <a:pt x="1352157" y="129083"/>
                  </a:lnTo>
                  <a:lnTo>
                    <a:pt x="1352157" y="128486"/>
                  </a:lnTo>
                  <a:lnTo>
                    <a:pt x="1352157" y="129083"/>
                  </a:lnTo>
                  <a:lnTo>
                    <a:pt x="1352157" y="128486"/>
                  </a:lnTo>
                  <a:lnTo>
                    <a:pt x="1352157" y="129083"/>
                  </a:lnTo>
                  <a:lnTo>
                    <a:pt x="1352208" y="129083"/>
                  </a:lnTo>
                  <a:lnTo>
                    <a:pt x="1352208" y="128486"/>
                  </a:lnTo>
                  <a:lnTo>
                    <a:pt x="1352208" y="129083"/>
                  </a:lnTo>
                  <a:lnTo>
                    <a:pt x="1352208" y="128486"/>
                  </a:lnTo>
                  <a:lnTo>
                    <a:pt x="1352208" y="129083"/>
                  </a:lnTo>
                  <a:lnTo>
                    <a:pt x="1352208" y="127800"/>
                  </a:lnTo>
                  <a:lnTo>
                    <a:pt x="1352309" y="127800"/>
                  </a:lnTo>
                  <a:lnTo>
                    <a:pt x="1352309" y="127051"/>
                  </a:lnTo>
                  <a:lnTo>
                    <a:pt x="1352309" y="128486"/>
                  </a:lnTo>
                  <a:lnTo>
                    <a:pt x="1352360" y="128486"/>
                  </a:lnTo>
                  <a:lnTo>
                    <a:pt x="1352360" y="127051"/>
                  </a:lnTo>
                  <a:lnTo>
                    <a:pt x="1352360" y="130530"/>
                  </a:lnTo>
                  <a:lnTo>
                    <a:pt x="1352360" y="129083"/>
                  </a:lnTo>
                  <a:lnTo>
                    <a:pt x="1352411" y="129083"/>
                  </a:lnTo>
                  <a:lnTo>
                    <a:pt x="1352411" y="128486"/>
                  </a:lnTo>
                  <a:lnTo>
                    <a:pt x="1352411" y="130530"/>
                  </a:lnTo>
                  <a:lnTo>
                    <a:pt x="1352411" y="129083"/>
                  </a:lnTo>
                  <a:lnTo>
                    <a:pt x="1352411" y="131216"/>
                  </a:lnTo>
                  <a:lnTo>
                    <a:pt x="1352411" y="130530"/>
                  </a:lnTo>
                  <a:lnTo>
                    <a:pt x="1352512" y="130530"/>
                  </a:lnTo>
                  <a:lnTo>
                    <a:pt x="1352512" y="131915"/>
                  </a:lnTo>
                  <a:lnTo>
                    <a:pt x="1352512" y="131216"/>
                  </a:lnTo>
                  <a:lnTo>
                    <a:pt x="1352550" y="131216"/>
                  </a:lnTo>
                  <a:lnTo>
                    <a:pt x="1352550" y="131915"/>
                  </a:lnTo>
                  <a:lnTo>
                    <a:pt x="1352550" y="131216"/>
                  </a:lnTo>
                  <a:lnTo>
                    <a:pt x="1352550" y="131915"/>
                  </a:lnTo>
                  <a:lnTo>
                    <a:pt x="1352550" y="131216"/>
                  </a:lnTo>
                  <a:lnTo>
                    <a:pt x="1352550" y="131915"/>
                  </a:lnTo>
                  <a:lnTo>
                    <a:pt x="1352601" y="131915"/>
                  </a:lnTo>
                  <a:lnTo>
                    <a:pt x="1352601" y="132562"/>
                  </a:lnTo>
                  <a:lnTo>
                    <a:pt x="1352601" y="131915"/>
                  </a:lnTo>
                  <a:lnTo>
                    <a:pt x="1352601" y="132562"/>
                  </a:lnTo>
                  <a:lnTo>
                    <a:pt x="1352601" y="131915"/>
                  </a:lnTo>
                  <a:lnTo>
                    <a:pt x="1352601" y="132562"/>
                  </a:lnTo>
                  <a:lnTo>
                    <a:pt x="1352652" y="132562"/>
                  </a:lnTo>
                  <a:lnTo>
                    <a:pt x="1352652" y="131915"/>
                  </a:lnTo>
                  <a:lnTo>
                    <a:pt x="1352652" y="132562"/>
                  </a:lnTo>
                  <a:lnTo>
                    <a:pt x="1352652" y="131915"/>
                  </a:lnTo>
                  <a:lnTo>
                    <a:pt x="1352754" y="132562"/>
                  </a:lnTo>
                  <a:lnTo>
                    <a:pt x="1352754" y="131216"/>
                  </a:lnTo>
                  <a:lnTo>
                    <a:pt x="1352805" y="131216"/>
                  </a:lnTo>
                  <a:lnTo>
                    <a:pt x="1352805" y="129083"/>
                  </a:lnTo>
                  <a:lnTo>
                    <a:pt x="1352805" y="130530"/>
                  </a:lnTo>
                  <a:lnTo>
                    <a:pt x="1352805" y="129083"/>
                  </a:lnTo>
                  <a:lnTo>
                    <a:pt x="1352855" y="130530"/>
                  </a:lnTo>
                  <a:lnTo>
                    <a:pt x="1352855" y="129083"/>
                  </a:lnTo>
                  <a:lnTo>
                    <a:pt x="1352855" y="130530"/>
                  </a:lnTo>
                  <a:lnTo>
                    <a:pt x="1352855" y="129083"/>
                  </a:lnTo>
                  <a:lnTo>
                    <a:pt x="1352855" y="130530"/>
                  </a:lnTo>
                  <a:lnTo>
                    <a:pt x="1352855" y="129083"/>
                  </a:lnTo>
                  <a:lnTo>
                    <a:pt x="1352855" y="131915"/>
                  </a:lnTo>
                  <a:lnTo>
                    <a:pt x="1352957" y="131915"/>
                  </a:lnTo>
                  <a:lnTo>
                    <a:pt x="1352957" y="131216"/>
                  </a:lnTo>
                  <a:lnTo>
                    <a:pt x="1352957" y="132562"/>
                  </a:lnTo>
                  <a:lnTo>
                    <a:pt x="1353008" y="132562"/>
                  </a:lnTo>
                  <a:lnTo>
                    <a:pt x="1353008" y="131915"/>
                  </a:lnTo>
                  <a:lnTo>
                    <a:pt x="1353008" y="133248"/>
                  </a:lnTo>
                  <a:lnTo>
                    <a:pt x="1353008" y="132562"/>
                  </a:lnTo>
                  <a:lnTo>
                    <a:pt x="1353059" y="132562"/>
                  </a:lnTo>
                  <a:lnTo>
                    <a:pt x="1353059" y="133248"/>
                  </a:lnTo>
                  <a:lnTo>
                    <a:pt x="1353059" y="132562"/>
                  </a:lnTo>
                  <a:lnTo>
                    <a:pt x="1353059" y="133248"/>
                  </a:lnTo>
                  <a:lnTo>
                    <a:pt x="1353097" y="133248"/>
                  </a:lnTo>
                  <a:lnTo>
                    <a:pt x="1353097" y="135293"/>
                  </a:lnTo>
                  <a:lnTo>
                    <a:pt x="1353198" y="134645"/>
                  </a:lnTo>
                  <a:lnTo>
                    <a:pt x="1353198" y="135293"/>
                  </a:lnTo>
                  <a:lnTo>
                    <a:pt x="1353198" y="134645"/>
                  </a:lnTo>
                  <a:lnTo>
                    <a:pt x="1353249" y="135293"/>
                  </a:lnTo>
                  <a:lnTo>
                    <a:pt x="1353249" y="134645"/>
                  </a:lnTo>
                  <a:lnTo>
                    <a:pt x="1353249" y="135293"/>
                  </a:lnTo>
                  <a:lnTo>
                    <a:pt x="1353249" y="133248"/>
                  </a:lnTo>
                  <a:lnTo>
                    <a:pt x="1353300" y="133248"/>
                  </a:lnTo>
                  <a:lnTo>
                    <a:pt x="1353300" y="131915"/>
                  </a:lnTo>
                  <a:lnTo>
                    <a:pt x="1353300" y="134645"/>
                  </a:lnTo>
                  <a:lnTo>
                    <a:pt x="1353401" y="134645"/>
                  </a:lnTo>
                  <a:lnTo>
                    <a:pt x="1353401" y="132562"/>
                  </a:lnTo>
                  <a:lnTo>
                    <a:pt x="1353401" y="135979"/>
                  </a:lnTo>
                  <a:lnTo>
                    <a:pt x="1353401" y="135293"/>
                  </a:lnTo>
                  <a:lnTo>
                    <a:pt x="1353452" y="134645"/>
                  </a:lnTo>
                  <a:lnTo>
                    <a:pt x="1353452" y="135979"/>
                  </a:lnTo>
                  <a:lnTo>
                    <a:pt x="1353452" y="135293"/>
                  </a:lnTo>
                  <a:lnTo>
                    <a:pt x="1353452" y="135979"/>
                  </a:lnTo>
                  <a:lnTo>
                    <a:pt x="1353452" y="135293"/>
                  </a:lnTo>
                  <a:lnTo>
                    <a:pt x="1353503" y="135293"/>
                  </a:lnTo>
                  <a:lnTo>
                    <a:pt x="1353503" y="135979"/>
                  </a:lnTo>
                  <a:lnTo>
                    <a:pt x="1353503" y="135293"/>
                  </a:lnTo>
                  <a:lnTo>
                    <a:pt x="1353503" y="135979"/>
                  </a:lnTo>
                  <a:lnTo>
                    <a:pt x="1353503" y="135293"/>
                  </a:lnTo>
                  <a:lnTo>
                    <a:pt x="1353503" y="135979"/>
                  </a:lnTo>
                  <a:lnTo>
                    <a:pt x="1353554" y="135979"/>
                  </a:lnTo>
                  <a:lnTo>
                    <a:pt x="1353554" y="136677"/>
                  </a:lnTo>
                  <a:lnTo>
                    <a:pt x="1353554" y="135979"/>
                  </a:lnTo>
                  <a:lnTo>
                    <a:pt x="1353554" y="136677"/>
                  </a:lnTo>
                  <a:lnTo>
                    <a:pt x="1353643" y="136677"/>
                  </a:lnTo>
                  <a:lnTo>
                    <a:pt x="1353643" y="138011"/>
                  </a:lnTo>
                  <a:lnTo>
                    <a:pt x="1353643" y="136677"/>
                  </a:lnTo>
                  <a:lnTo>
                    <a:pt x="1353643" y="138011"/>
                  </a:lnTo>
                  <a:lnTo>
                    <a:pt x="1353694" y="138011"/>
                  </a:lnTo>
                  <a:lnTo>
                    <a:pt x="1353694" y="139408"/>
                  </a:lnTo>
                  <a:lnTo>
                    <a:pt x="1353744" y="139408"/>
                  </a:lnTo>
                  <a:lnTo>
                    <a:pt x="1353744" y="138011"/>
                  </a:lnTo>
                  <a:lnTo>
                    <a:pt x="1353744" y="139408"/>
                  </a:lnTo>
                  <a:lnTo>
                    <a:pt x="1353795" y="139408"/>
                  </a:lnTo>
                  <a:lnTo>
                    <a:pt x="1353795" y="140094"/>
                  </a:lnTo>
                  <a:lnTo>
                    <a:pt x="1353795" y="138709"/>
                  </a:lnTo>
                  <a:lnTo>
                    <a:pt x="1353795" y="142824"/>
                  </a:lnTo>
                  <a:lnTo>
                    <a:pt x="1353897" y="142824"/>
                  </a:lnTo>
                  <a:lnTo>
                    <a:pt x="1353897" y="143472"/>
                  </a:lnTo>
                  <a:lnTo>
                    <a:pt x="1353897" y="140741"/>
                  </a:lnTo>
                  <a:lnTo>
                    <a:pt x="1353897" y="142824"/>
                  </a:lnTo>
                  <a:lnTo>
                    <a:pt x="1353947" y="143472"/>
                  </a:lnTo>
                  <a:lnTo>
                    <a:pt x="1353947" y="142824"/>
                  </a:lnTo>
                  <a:lnTo>
                    <a:pt x="1353947" y="143472"/>
                  </a:lnTo>
                  <a:lnTo>
                    <a:pt x="1353998" y="143472"/>
                  </a:lnTo>
                  <a:lnTo>
                    <a:pt x="1353998" y="142824"/>
                  </a:lnTo>
                  <a:lnTo>
                    <a:pt x="1353998" y="143472"/>
                  </a:lnTo>
                  <a:lnTo>
                    <a:pt x="1353998" y="142824"/>
                  </a:lnTo>
                  <a:lnTo>
                    <a:pt x="1353998" y="143472"/>
                  </a:lnTo>
                  <a:lnTo>
                    <a:pt x="1354100" y="143472"/>
                  </a:lnTo>
                  <a:lnTo>
                    <a:pt x="1354100" y="142824"/>
                  </a:lnTo>
                  <a:lnTo>
                    <a:pt x="1354100" y="143472"/>
                  </a:lnTo>
                  <a:lnTo>
                    <a:pt x="1354138" y="144170"/>
                  </a:lnTo>
                  <a:lnTo>
                    <a:pt x="1354138" y="143472"/>
                  </a:lnTo>
                  <a:lnTo>
                    <a:pt x="1354138" y="144170"/>
                  </a:lnTo>
                  <a:lnTo>
                    <a:pt x="1354138" y="143472"/>
                  </a:lnTo>
                  <a:lnTo>
                    <a:pt x="1354189" y="143472"/>
                  </a:lnTo>
                  <a:lnTo>
                    <a:pt x="1354189" y="142824"/>
                  </a:lnTo>
                  <a:lnTo>
                    <a:pt x="1354189" y="143472"/>
                  </a:lnTo>
                  <a:lnTo>
                    <a:pt x="1354189" y="142824"/>
                  </a:lnTo>
                  <a:lnTo>
                    <a:pt x="1354240" y="142824"/>
                  </a:lnTo>
                  <a:lnTo>
                    <a:pt x="1354240" y="145555"/>
                  </a:lnTo>
                  <a:lnTo>
                    <a:pt x="1354240" y="144170"/>
                  </a:lnTo>
                  <a:lnTo>
                    <a:pt x="1354341" y="144170"/>
                  </a:lnTo>
                  <a:lnTo>
                    <a:pt x="1354341" y="147586"/>
                  </a:lnTo>
                  <a:lnTo>
                    <a:pt x="1354341" y="146202"/>
                  </a:lnTo>
                  <a:lnTo>
                    <a:pt x="1354392" y="146202"/>
                  </a:lnTo>
                  <a:lnTo>
                    <a:pt x="1354392" y="147586"/>
                  </a:lnTo>
                  <a:lnTo>
                    <a:pt x="1354392" y="146901"/>
                  </a:lnTo>
                  <a:lnTo>
                    <a:pt x="1354392" y="147586"/>
                  </a:lnTo>
                  <a:lnTo>
                    <a:pt x="1354392" y="146901"/>
                  </a:lnTo>
                  <a:lnTo>
                    <a:pt x="1354443" y="147586"/>
                  </a:lnTo>
                  <a:lnTo>
                    <a:pt x="1354443" y="146901"/>
                  </a:lnTo>
                  <a:lnTo>
                    <a:pt x="1354443" y="147586"/>
                  </a:lnTo>
                  <a:lnTo>
                    <a:pt x="1354544" y="147586"/>
                  </a:lnTo>
                  <a:lnTo>
                    <a:pt x="1354544" y="146901"/>
                  </a:lnTo>
                  <a:lnTo>
                    <a:pt x="1354544" y="147586"/>
                  </a:lnTo>
                  <a:lnTo>
                    <a:pt x="1354544" y="146901"/>
                  </a:lnTo>
                  <a:lnTo>
                    <a:pt x="1354544" y="147586"/>
                  </a:lnTo>
                  <a:lnTo>
                    <a:pt x="1354595" y="147586"/>
                  </a:lnTo>
                  <a:lnTo>
                    <a:pt x="1354595" y="146901"/>
                  </a:lnTo>
                  <a:lnTo>
                    <a:pt x="1354595" y="147586"/>
                  </a:lnTo>
                  <a:lnTo>
                    <a:pt x="1354595" y="146901"/>
                  </a:lnTo>
                  <a:lnTo>
                    <a:pt x="1354595" y="147586"/>
                  </a:lnTo>
                  <a:lnTo>
                    <a:pt x="1354595" y="146901"/>
                  </a:lnTo>
                  <a:lnTo>
                    <a:pt x="1354595" y="147586"/>
                  </a:lnTo>
                  <a:lnTo>
                    <a:pt x="1354646" y="146901"/>
                  </a:lnTo>
                  <a:lnTo>
                    <a:pt x="1354646" y="147586"/>
                  </a:lnTo>
                  <a:lnTo>
                    <a:pt x="1354646" y="146202"/>
                  </a:lnTo>
                  <a:lnTo>
                    <a:pt x="1354646" y="146901"/>
                  </a:lnTo>
                  <a:lnTo>
                    <a:pt x="1354646" y="146202"/>
                  </a:lnTo>
                  <a:lnTo>
                    <a:pt x="1354684" y="146202"/>
                  </a:lnTo>
                  <a:lnTo>
                    <a:pt x="1354684" y="143472"/>
                  </a:lnTo>
                  <a:lnTo>
                    <a:pt x="1354684" y="144170"/>
                  </a:lnTo>
                  <a:lnTo>
                    <a:pt x="1354786" y="145555"/>
                  </a:lnTo>
                  <a:lnTo>
                    <a:pt x="1354786" y="146202"/>
                  </a:lnTo>
                  <a:lnTo>
                    <a:pt x="1354786" y="145555"/>
                  </a:lnTo>
                  <a:lnTo>
                    <a:pt x="1354786" y="147586"/>
                  </a:lnTo>
                  <a:lnTo>
                    <a:pt x="1354837" y="147586"/>
                  </a:lnTo>
                  <a:lnTo>
                    <a:pt x="1354837" y="148285"/>
                  </a:lnTo>
                  <a:lnTo>
                    <a:pt x="1354837" y="147586"/>
                  </a:lnTo>
                  <a:lnTo>
                    <a:pt x="1354837" y="148285"/>
                  </a:lnTo>
                  <a:lnTo>
                    <a:pt x="1354887" y="149619"/>
                  </a:lnTo>
                  <a:lnTo>
                    <a:pt x="1354887" y="150317"/>
                  </a:lnTo>
                  <a:lnTo>
                    <a:pt x="1354887" y="149619"/>
                  </a:lnTo>
                  <a:lnTo>
                    <a:pt x="1354887" y="150317"/>
                  </a:lnTo>
                  <a:lnTo>
                    <a:pt x="1354989" y="150317"/>
                  </a:lnTo>
                  <a:lnTo>
                    <a:pt x="1354989" y="151015"/>
                  </a:lnTo>
                  <a:lnTo>
                    <a:pt x="1354989" y="150317"/>
                  </a:lnTo>
                  <a:lnTo>
                    <a:pt x="1354989" y="151015"/>
                  </a:lnTo>
                  <a:lnTo>
                    <a:pt x="1354989" y="150317"/>
                  </a:lnTo>
                  <a:lnTo>
                    <a:pt x="1354989" y="151015"/>
                  </a:lnTo>
                  <a:lnTo>
                    <a:pt x="1354989" y="150317"/>
                  </a:lnTo>
                  <a:lnTo>
                    <a:pt x="1354989" y="151015"/>
                  </a:lnTo>
                  <a:lnTo>
                    <a:pt x="1355040" y="150317"/>
                  </a:lnTo>
                  <a:lnTo>
                    <a:pt x="1355040" y="151714"/>
                  </a:lnTo>
                  <a:lnTo>
                    <a:pt x="1355040" y="151015"/>
                  </a:lnTo>
                  <a:lnTo>
                    <a:pt x="1355040" y="151714"/>
                  </a:lnTo>
                  <a:lnTo>
                    <a:pt x="1355090" y="151714"/>
                  </a:lnTo>
                  <a:lnTo>
                    <a:pt x="1355090" y="151015"/>
                  </a:lnTo>
                  <a:lnTo>
                    <a:pt x="1355090" y="151714"/>
                  </a:lnTo>
                  <a:lnTo>
                    <a:pt x="1355090" y="151015"/>
                  </a:lnTo>
                  <a:lnTo>
                    <a:pt x="1355090" y="151714"/>
                  </a:lnTo>
                  <a:lnTo>
                    <a:pt x="1355090" y="151015"/>
                  </a:lnTo>
                  <a:lnTo>
                    <a:pt x="1355141" y="151714"/>
                  </a:lnTo>
                  <a:lnTo>
                    <a:pt x="1355141" y="150317"/>
                  </a:lnTo>
                  <a:lnTo>
                    <a:pt x="1355230" y="149619"/>
                  </a:lnTo>
                  <a:lnTo>
                    <a:pt x="1355230" y="148285"/>
                  </a:lnTo>
                  <a:lnTo>
                    <a:pt x="1355230" y="150317"/>
                  </a:lnTo>
                  <a:lnTo>
                    <a:pt x="1355281" y="150317"/>
                  </a:lnTo>
                  <a:lnTo>
                    <a:pt x="1355281" y="148285"/>
                  </a:lnTo>
                  <a:lnTo>
                    <a:pt x="1355281" y="151015"/>
                  </a:lnTo>
                  <a:lnTo>
                    <a:pt x="1355281" y="150317"/>
                  </a:lnTo>
                  <a:lnTo>
                    <a:pt x="1355281" y="151015"/>
                  </a:lnTo>
                  <a:lnTo>
                    <a:pt x="1355332" y="151015"/>
                  </a:lnTo>
                  <a:lnTo>
                    <a:pt x="1355332" y="150317"/>
                  </a:lnTo>
                  <a:lnTo>
                    <a:pt x="1355332" y="151714"/>
                  </a:lnTo>
                  <a:lnTo>
                    <a:pt x="1355383" y="151015"/>
                  </a:lnTo>
                  <a:lnTo>
                    <a:pt x="1355383" y="151714"/>
                  </a:lnTo>
                  <a:lnTo>
                    <a:pt x="1355383" y="151015"/>
                  </a:lnTo>
                  <a:lnTo>
                    <a:pt x="1355383" y="151714"/>
                  </a:lnTo>
                  <a:lnTo>
                    <a:pt x="1355383" y="151015"/>
                  </a:lnTo>
                  <a:lnTo>
                    <a:pt x="1355383" y="151714"/>
                  </a:lnTo>
                  <a:lnTo>
                    <a:pt x="1355383" y="151015"/>
                  </a:lnTo>
                  <a:lnTo>
                    <a:pt x="1355383" y="151714"/>
                  </a:lnTo>
                  <a:lnTo>
                    <a:pt x="1355484" y="151714"/>
                  </a:lnTo>
                  <a:lnTo>
                    <a:pt x="1355484" y="151015"/>
                  </a:lnTo>
                  <a:lnTo>
                    <a:pt x="1355484" y="151714"/>
                  </a:lnTo>
                  <a:lnTo>
                    <a:pt x="1355484" y="151015"/>
                  </a:lnTo>
                  <a:lnTo>
                    <a:pt x="1355484" y="153047"/>
                  </a:lnTo>
                  <a:lnTo>
                    <a:pt x="1355484" y="151714"/>
                  </a:lnTo>
                  <a:lnTo>
                    <a:pt x="1355484" y="153047"/>
                  </a:lnTo>
                  <a:lnTo>
                    <a:pt x="1355535" y="151714"/>
                  </a:lnTo>
                  <a:lnTo>
                    <a:pt x="1355535" y="153746"/>
                  </a:lnTo>
                  <a:lnTo>
                    <a:pt x="1355535" y="153047"/>
                  </a:lnTo>
                  <a:lnTo>
                    <a:pt x="1355586" y="153047"/>
                  </a:lnTo>
                  <a:lnTo>
                    <a:pt x="1355586" y="154432"/>
                  </a:lnTo>
                  <a:lnTo>
                    <a:pt x="1355586" y="153047"/>
                  </a:lnTo>
                  <a:lnTo>
                    <a:pt x="1355586" y="153746"/>
                  </a:lnTo>
                  <a:lnTo>
                    <a:pt x="1355586" y="153047"/>
                  </a:lnTo>
                  <a:lnTo>
                    <a:pt x="1355687" y="153047"/>
                  </a:lnTo>
                  <a:lnTo>
                    <a:pt x="1355687" y="151714"/>
                  </a:lnTo>
                  <a:lnTo>
                    <a:pt x="1355687" y="153047"/>
                  </a:lnTo>
                  <a:lnTo>
                    <a:pt x="1355687" y="151015"/>
                  </a:lnTo>
                  <a:lnTo>
                    <a:pt x="1355725" y="151015"/>
                  </a:lnTo>
                  <a:lnTo>
                    <a:pt x="1355725" y="150317"/>
                  </a:lnTo>
                  <a:lnTo>
                    <a:pt x="1355725" y="151714"/>
                  </a:lnTo>
                  <a:lnTo>
                    <a:pt x="1355725" y="151015"/>
                  </a:lnTo>
                  <a:lnTo>
                    <a:pt x="1355776" y="151714"/>
                  </a:lnTo>
                  <a:lnTo>
                    <a:pt x="1355776" y="151015"/>
                  </a:lnTo>
                  <a:lnTo>
                    <a:pt x="1355776" y="153746"/>
                  </a:lnTo>
                  <a:lnTo>
                    <a:pt x="1355776" y="153047"/>
                  </a:lnTo>
                  <a:lnTo>
                    <a:pt x="1355827" y="153746"/>
                  </a:lnTo>
                  <a:lnTo>
                    <a:pt x="1355827" y="153047"/>
                  </a:lnTo>
                  <a:lnTo>
                    <a:pt x="1355827" y="154432"/>
                  </a:lnTo>
                  <a:lnTo>
                    <a:pt x="1355827" y="153746"/>
                  </a:lnTo>
                  <a:lnTo>
                    <a:pt x="1355827" y="154432"/>
                  </a:lnTo>
                  <a:lnTo>
                    <a:pt x="1355827" y="153746"/>
                  </a:lnTo>
                  <a:lnTo>
                    <a:pt x="1355929" y="153746"/>
                  </a:lnTo>
                  <a:lnTo>
                    <a:pt x="1355929" y="154432"/>
                  </a:lnTo>
                  <a:lnTo>
                    <a:pt x="1355929" y="153746"/>
                  </a:lnTo>
                  <a:lnTo>
                    <a:pt x="1355929" y="154432"/>
                  </a:lnTo>
                  <a:lnTo>
                    <a:pt x="1355980" y="154432"/>
                  </a:lnTo>
                  <a:lnTo>
                    <a:pt x="1355980" y="155080"/>
                  </a:lnTo>
                  <a:lnTo>
                    <a:pt x="1355980" y="154432"/>
                  </a:lnTo>
                  <a:lnTo>
                    <a:pt x="1355980" y="155778"/>
                  </a:lnTo>
                  <a:lnTo>
                    <a:pt x="1356030" y="155778"/>
                  </a:lnTo>
                  <a:lnTo>
                    <a:pt x="1356030" y="155080"/>
                  </a:lnTo>
                  <a:lnTo>
                    <a:pt x="1356030" y="155778"/>
                  </a:lnTo>
                  <a:lnTo>
                    <a:pt x="1356030" y="155080"/>
                  </a:lnTo>
                  <a:lnTo>
                    <a:pt x="1356030" y="157162"/>
                  </a:lnTo>
                  <a:lnTo>
                    <a:pt x="1356132" y="157162"/>
                  </a:lnTo>
                  <a:lnTo>
                    <a:pt x="1356132" y="155080"/>
                  </a:lnTo>
                  <a:lnTo>
                    <a:pt x="1356132" y="155778"/>
                  </a:lnTo>
                  <a:lnTo>
                    <a:pt x="1356132" y="155080"/>
                  </a:lnTo>
                  <a:lnTo>
                    <a:pt x="1356132" y="155778"/>
                  </a:lnTo>
                  <a:lnTo>
                    <a:pt x="1356183" y="155778"/>
                  </a:lnTo>
                  <a:lnTo>
                    <a:pt x="1356183" y="154432"/>
                  </a:lnTo>
                  <a:lnTo>
                    <a:pt x="1356183" y="155080"/>
                  </a:lnTo>
                  <a:lnTo>
                    <a:pt x="1356183" y="153746"/>
                  </a:lnTo>
                  <a:lnTo>
                    <a:pt x="1356183" y="154432"/>
                  </a:lnTo>
                  <a:lnTo>
                    <a:pt x="1356183" y="153746"/>
                  </a:lnTo>
                  <a:lnTo>
                    <a:pt x="1356234" y="153746"/>
                  </a:lnTo>
                  <a:lnTo>
                    <a:pt x="1356234" y="153047"/>
                  </a:lnTo>
                  <a:lnTo>
                    <a:pt x="1356234" y="154432"/>
                  </a:lnTo>
                  <a:lnTo>
                    <a:pt x="1356234" y="153047"/>
                  </a:lnTo>
                  <a:lnTo>
                    <a:pt x="1356272" y="153047"/>
                  </a:lnTo>
                  <a:lnTo>
                    <a:pt x="1356272" y="155080"/>
                  </a:lnTo>
                  <a:lnTo>
                    <a:pt x="1356272" y="153746"/>
                  </a:lnTo>
                  <a:lnTo>
                    <a:pt x="1356373" y="153746"/>
                  </a:lnTo>
                  <a:lnTo>
                    <a:pt x="1356373" y="155080"/>
                  </a:lnTo>
                  <a:lnTo>
                    <a:pt x="1356373" y="154432"/>
                  </a:lnTo>
                  <a:lnTo>
                    <a:pt x="1356424" y="154432"/>
                  </a:lnTo>
                  <a:lnTo>
                    <a:pt x="1356424" y="155080"/>
                  </a:lnTo>
                  <a:lnTo>
                    <a:pt x="1356475" y="154432"/>
                  </a:lnTo>
                  <a:lnTo>
                    <a:pt x="1356475" y="157162"/>
                  </a:lnTo>
                  <a:lnTo>
                    <a:pt x="1356576" y="157162"/>
                  </a:lnTo>
                  <a:lnTo>
                    <a:pt x="1356576" y="155778"/>
                  </a:lnTo>
                  <a:lnTo>
                    <a:pt x="1356576" y="157162"/>
                  </a:lnTo>
                  <a:lnTo>
                    <a:pt x="1356576" y="155778"/>
                  </a:lnTo>
                  <a:lnTo>
                    <a:pt x="1356576" y="157162"/>
                  </a:lnTo>
                  <a:lnTo>
                    <a:pt x="1356627" y="157162"/>
                  </a:lnTo>
                  <a:lnTo>
                    <a:pt x="1356627" y="155778"/>
                  </a:lnTo>
                  <a:lnTo>
                    <a:pt x="1356678" y="155778"/>
                  </a:lnTo>
                  <a:lnTo>
                    <a:pt x="1356678" y="155080"/>
                  </a:lnTo>
                  <a:lnTo>
                    <a:pt x="1356678" y="155778"/>
                  </a:lnTo>
                  <a:lnTo>
                    <a:pt x="1356678" y="153746"/>
                  </a:lnTo>
                  <a:lnTo>
                    <a:pt x="1356678" y="154432"/>
                  </a:lnTo>
                  <a:lnTo>
                    <a:pt x="1356729" y="154432"/>
                  </a:lnTo>
                  <a:lnTo>
                    <a:pt x="1356729" y="155778"/>
                  </a:lnTo>
                  <a:lnTo>
                    <a:pt x="1356729" y="154432"/>
                  </a:lnTo>
                  <a:lnTo>
                    <a:pt x="1356729" y="155080"/>
                  </a:lnTo>
                  <a:lnTo>
                    <a:pt x="1356818" y="155080"/>
                  </a:lnTo>
                  <a:lnTo>
                    <a:pt x="1356818" y="157810"/>
                  </a:lnTo>
                  <a:lnTo>
                    <a:pt x="1356818" y="155778"/>
                  </a:lnTo>
                  <a:lnTo>
                    <a:pt x="1356818" y="157162"/>
                  </a:lnTo>
                  <a:lnTo>
                    <a:pt x="1356818" y="155778"/>
                  </a:lnTo>
                  <a:lnTo>
                    <a:pt x="1356818" y="157162"/>
                  </a:lnTo>
                  <a:lnTo>
                    <a:pt x="1356869" y="157162"/>
                  </a:lnTo>
                  <a:lnTo>
                    <a:pt x="1356869" y="158509"/>
                  </a:lnTo>
                  <a:lnTo>
                    <a:pt x="1356869" y="157162"/>
                  </a:lnTo>
                  <a:lnTo>
                    <a:pt x="1356869" y="157810"/>
                  </a:lnTo>
                  <a:lnTo>
                    <a:pt x="1356869" y="157162"/>
                  </a:lnTo>
                  <a:lnTo>
                    <a:pt x="1356869" y="157810"/>
                  </a:lnTo>
                  <a:lnTo>
                    <a:pt x="1356869" y="157162"/>
                  </a:lnTo>
                  <a:lnTo>
                    <a:pt x="1356919" y="157810"/>
                  </a:lnTo>
                  <a:lnTo>
                    <a:pt x="1356919" y="158509"/>
                  </a:lnTo>
                  <a:lnTo>
                    <a:pt x="1356919" y="157162"/>
                  </a:lnTo>
                  <a:lnTo>
                    <a:pt x="1356919" y="157810"/>
                  </a:lnTo>
                  <a:lnTo>
                    <a:pt x="1356970" y="157810"/>
                  </a:lnTo>
                  <a:lnTo>
                    <a:pt x="1356970" y="159194"/>
                  </a:lnTo>
                  <a:lnTo>
                    <a:pt x="1356970" y="158509"/>
                  </a:lnTo>
                  <a:lnTo>
                    <a:pt x="1356970" y="159194"/>
                  </a:lnTo>
                  <a:lnTo>
                    <a:pt x="1357122" y="159194"/>
                  </a:lnTo>
                  <a:lnTo>
                    <a:pt x="1357122" y="158509"/>
                  </a:lnTo>
                  <a:lnTo>
                    <a:pt x="1357122" y="159194"/>
                  </a:lnTo>
                  <a:lnTo>
                    <a:pt x="1357122" y="158509"/>
                  </a:lnTo>
                  <a:lnTo>
                    <a:pt x="1357173" y="158509"/>
                  </a:lnTo>
                  <a:lnTo>
                    <a:pt x="1357173" y="157162"/>
                  </a:lnTo>
                  <a:lnTo>
                    <a:pt x="1357275" y="157162"/>
                  </a:lnTo>
                  <a:lnTo>
                    <a:pt x="1357275" y="158509"/>
                  </a:lnTo>
                  <a:lnTo>
                    <a:pt x="1357275" y="157810"/>
                  </a:lnTo>
                  <a:lnTo>
                    <a:pt x="1357275" y="158509"/>
                  </a:lnTo>
                  <a:lnTo>
                    <a:pt x="1357313" y="157810"/>
                  </a:lnTo>
                  <a:lnTo>
                    <a:pt x="1357313" y="160540"/>
                  </a:lnTo>
                  <a:lnTo>
                    <a:pt x="1357313" y="158509"/>
                  </a:lnTo>
                  <a:lnTo>
                    <a:pt x="1357313" y="159194"/>
                  </a:lnTo>
                  <a:lnTo>
                    <a:pt x="1357313" y="158509"/>
                  </a:lnTo>
                  <a:lnTo>
                    <a:pt x="1357364" y="159194"/>
                  </a:lnTo>
                  <a:lnTo>
                    <a:pt x="1357364" y="160540"/>
                  </a:lnTo>
                  <a:lnTo>
                    <a:pt x="1357364" y="159194"/>
                  </a:lnTo>
                  <a:lnTo>
                    <a:pt x="1357364" y="160540"/>
                  </a:lnTo>
                  <a:lnTo>
                    <a:pt x="1357364" y="159194"/>
                  </a:lnTo>
                  <a:lnTo>
                    <a:pt x="1357364" y="160540"/>
                  </a:lnTo>
                  <a:lnTo>
                    <a:pt x="1357415" y="160540"/>
                  </a:lnTo>
                  <a:lnTo>
                    <a:pt x="1357415" y="161239"/>
                  </a:lnTo>
                  <a:lnTo>
                    <a:pt x="1357415" y="160540"/>
                  </a:lnTo>
                  <a:lnTo>
                    <a:pt x="1357415" y="161239"/>
                  </a:lnTo>
                  <a:lnTo>
                    <a:pt x="1357516" y="161239"/>
                  </a:lnTo>
                  <a:lnTo>
                    <a:pt x="1357516" y="160540"/>
                  </a:lnTo>
                  <a:lnTo>
                    <a:pt x="1357516" y="161925"/>
                  </a:lnTo>
                  <a:lnTo>
                    <a:pt x="1357567" y="161925"/>
                  </a:lnTo>
                  <a:lnTo>
                    <a:pt x="1357567" y="161239"/>
                  </a:lnTo>
                  <a:lnTo>
                    <a:pt x="1357567" y="161925"/>
                  </a:lnTo>
                  <a:lnTo>
                    <a:pt x="1357567" y="161239"/>
                  </a:lnTo>
                  <a:lnTo>
                    <a:pt x="1357567" y="161925"/>
                  </a:lnTo>
                  <a:lnTo>
                    <a:pt x="1357567" y="161239"/>
                  </a:lnTo>
                  <a:lnTo>
                    <a:pt x="1357618" y="161239"/>
                  </a:lnTo>
                  <a:lnTo>
                    <a:pt x="1357618" y="159194"/>
                  </a:lnTo>
                  <a:lnTo>
                    <a:pt x="1357719" y="159194"/>
                  </a:lnTo>
                  <a:lnTo>
                    <a:pt x="1357719" y="160540"/>
                  </a:lnTo>
                  <a:lnTo>
                    <a:pt x="1357719" y="158509"/>
                  </a:lnTo>
                  <a:lnTo>
                    <a:pt x="1357719" y="159194"/>
                  </a:lnTo>
                  <a:lnTo>
                    <a:pt x="1357719" y="158509"/>
                  </a:lnTo>
                  <a:lnTo>
                    <a:pt x="1357719" y="159194"/>
                  </a:lnTo>
                  <a:lnTo>
                    <a:pt x="1357770" y="160540"/>
                  </a:lnTo>
                  <a:lnTo>
                    <a:pt x="1357770" y="161239"/>
                  </a:lnTo>
                  <a:lnTo>
                    <a:pt x="1357770" y="160540"/>
                  </a:lnTo>
                  <a:lnTo>
                    <a:pt x="1357770" y="162623"/>
                  </a:lnTo>
                  <a:lnTo>
                    <a:pt x="1357821" y="162623"/>
                  </a:lnTo>
                  <a:lnTo>
                    <a:pt x="1357821" y="161239"/>
                  </a:lnTo>
                  <a:lnTo>
                    <a:pt x="1357821" y="162623"/>
                  </a:lnTo>
                  <a:lnTo>
                    <a:pt x="1357859" y="162623"/>
                  </a:lnTo>
                  <a:lnTo>
                    <a:pt x="1357859" y="161925"/>
                  </a:lnTo>
                  <a:lnTo>
                    <a:pt x="1357859" y="162623"/>
                  </a:lnTo>
                  <a:lnTo>
                    <a:pt x="1357859" y="161925"/>
                  </a:lnTo>
                  <a:lnTo>
                    <a:pt x="1357859" y="163271"/>
                  </a:lnTo>
                  <a:lnTo>
                    <a:pt x="1357859" y="162623"/>
                  </a:lnTo>
                  <a:lnTo>
                    <a:pt x="1357961" y="162623"/>
                  </a:lnTo>
                  <a:lnTo>
                    <a:pt x="1357961" y="163271"/>
                  </a:lnTo>
                  <a:lnTo>
                    <a:pt x="1357961" y="162623"/>
                  </a:lnTo>
                  <a:lnTo>
                    <a:pt x="1357961" y="163271"/>
                  </a:lnTo>
                  <a:lnTo>
                    <a:pt x="1358012" y="162623"/>
                  </a:lnTo>
                  <a:lnTo>
                    <a:pt x="1358012" y="164655"/>
                  </a:lnTo>
                  <a:lnTo>
                    <a:pt x="1358012" y="163271"/>
                  </a:lnTo>
                  <a:lnTo>
                    <a:pt x="1358062" y="163271"/>
                  </a:lnTo>
                  <a:lnTo>
                    <a:pt x="1358062" y="162623"/>
                  </a:lnTo>
                  <a:lnTo>
                    <a:pt x="1358164" y="162623"/>
                  </a:lnTo>
                  <a:lnTo>
                    <a:pt x="1358164" y="161925"/>
                  </a:lnTo>
                  <a:lnTo>
                    <a:pt x="1358164" y="162623"/>
                  </a:lnTo>
                  <a:lnTo>
                    <a:pt x="1358164" y="161239"/>
                  </a:lnTo>
                  <a:lnTo>
                    <a:pt x="1358215" y="161239"/>
                  </a:lnTo>
                  <a:lnTo>
                    <a:pt x="1358215" y="163271"/>
                  </a:lnTo>
                  <a:lnTo>
                    <a:pt x="1358215" y="162623"/>
                  </a:lnTo>
                  <a:lnTo>
                    <a:pt x="1358265" y="162623"/>
                  </a:lnTo>
                  <a:lnTo>
                    <a:pt x="1358265" y="161239"/>
                  </a:lnTo>
                  <a:lnTo>
                    <a:pt x="1358265" y="166040"/>
                  </a:lnTo>
                  <a:lnTo>
                    <a:pt x="1358265" y="163271"/>
                  </a:lnTo>
                  <a:lnTo>
                    <a:pt x="1358316" y="163271"/>
                  </a:lnTo>
                  <a:lnTo>
                    <a:pt x="1358316" y="162623"/>
                  </a:lnTo>
                  <a:lnTo>
                    <a:pt x="1358316" y="163271"/>
                  </a:lnTo>
                  <a:lnTo>
                    <a:pt x="1358316" y="162623"/>
                  </a:lnTo>
                  <a:lnTo>
                    <a:pt x="1358316" y="165354"/>
                  </a:lnTo>
                  <a:lnTo>
                    <a:pt x="1358316" y="163271"/>
                  </a:lnTo>
                  <a:lnTo>
                    <a:pt x="1358405" y="163271"/>
                  </a:lnTo>
                  <a:lnTo>
                    <a:pt x="1358405" y="165354"/>
                  </a:lnTo>
                  <a:lnTo>
                    <a:pt x="1358405" y="164655"/>
                  </a:lnTo>
                  <a:lnTo>
                    <a:pt x="1358405" y="165354"/>
                  </a:lnTo>
                  <a:lnTo>
                    <a:pt x="1358456" y="165354"/>
                  </a:lnTo>
                  <a:lnTo>
                    <a:pt x="1358456" y="166687"/>
                  </a:lnTo>
                  <a:lnTo>
                    <a:pt x="1358456" y="166040"/>
                  </a:lnTo>
                  <a:lnTo>
                    <a:pt x="1358456" y="166687"/>
                  </a:lnTo>
                  <a:lnTo>
                    <a:pt x="1358507" y="166687"/>
                  </a:lnTo>
                  <a:lnTo>
                    <a:pt x="1358507" y="167386"/>
                  </a:lnTo>
                  <a:lnTo>
                    <a:pt x="1358507" y="166687"/>
                  </a:lnTo>
                  <a:lnTo>
                    <a:pt x="1358507" y="167386"/>
                  </a:lnTo>
                  <a:lnTo>
                    <a:pt x="1358558" y="166687"/>
                  </a:lnTo>
                  <a:lnTo>
                    <a:pt x="1358558" y="166040"/>
                  </a:lnTo>
                  <a:lnTo>
                    <a:pt x="1358558" y="166687"/>
                  </a:lnTo>
                  <a:lnTo>
                    <a:pt x="1358558" y="166040"/>
                  </a:lnTo>
                  <a:lnTo>
                    <a:pt x="1358659" y="166040"/>
                  </a:lnTo>
                  <a:lnTo>
                    <a:pt x="1358659" y="163271"/>
                  </a:lnTo>
                  <a:lnTo>
                    <a:pt x="1358659" y="164655"/>
                  </a:lnTo>
                  <a:lnTo>
                    <a:pt x="1358659" y="163271"/>
                  </a:lnTo>
                  <a:lnTo>
                    <a:pt x="1358710" y="163271"/>
                  </a:lnTo>
                  <a:lnTo>
                    <a:pt x="1358710" y="161925"/>
                  </a:lnTo>
                  <a:lnTo>
                    <a:pt x="1358710" y="164655"/>
                  </a:lnTo>
                  <a:lnTo>
                    <a:pt x="1358761" y="164655"/>
                  </a:lnTo>
                  <a:lnTo>
                    <a:pt x="1358761" y="161925"/>
                  </a:lnTo>
                  <a:lnTo>
                    <a:pt x="1358761" y="166040"/>
                  </a:lnTo>
                  <a:lnTo>
                    <a:pt x="1358761" y="165354"/>
                  </a:lnTo>
                  <a:lnTo>
                    <a:pt x="1358862" y="165354"/>
                  </a:lnTo>
                  <a:lnTo>
                    <a:pt x="1358862" y="164655"/>
                  </a:lnTo>
                  <a:lnTo>
                    <a:pt x="1358862" y="167386"/>
                  </a:lnTo>
                  <a:lnTo>
                    <a:pt x="1358862" y="166687"/>
                  </a:lnTo>
                  <a:lnTo>
                    <a:pt x="1358900" y="166687"/>
                  </a:lnTo>
                  <a:lnTo>
                    <a:pt x="1358900" y="168770"/>
                  </a:lnTo>
                  <a:lnTo>
                    <a:pt x="1358900" y="167386"/>
                  </a:lnTo>
                  <a:lnTo>
                    <a:pt x="1358951" y="167386"/>
                  </a:lnTo>
                  <a:lnTo>
                    <a:pt x="1358951" y="169418"/>
                  </a:lnTo>
                  <a:lnTo>
                    <a:pt x="1358951" y="168770"/>
                  </a:lnTo>
                  <a:lnTo>
                    <a:pt x="1358951" y="169418"/>
                  </a:lnTo>
                  <a:lnTo>
                    <a:pt x="1359002" y="169418"/>
                  </a:lnTo>
                  <a:lnTo>
                    <a:pt x="1359002" y="170116"/>
                  </a:lnTo>
                  <a:lnTo>
                    <a:pt x="1359002" y="169418"/>
                  </a:lnTo>
                  <a:lnTo>
                    <a:pt x="1359002" y="170116"/>
                  </a:lnTo>
                  <a:lnTo>
                    <a:pt x="1359002" y="169418"/>
                  </a:lnTo>
                  <a:lnTo>
                    <a:pt x="1359104" y="169418"/>
                  </a:lnTo>
                  <a:lnTo>
                    <a:pt x="1359104" y="168770"/>
                  </a:lnTo>
                  <a:lnTo>
                    <a:pt x="1359104" y="169418"/>
                  </a:lnTo>
                  <a:lnTo>
                    <a:pt x="1359104" y="168770"/>
                  </a:lnTo>
                  <a:lnTo>
                    <a:pt x="1359155" y="168770"/>
                  </a:lnTo>
                  <a:lnTo>
                    <a:pt x="1359155" y="166687"/>
                  </a:lnTo>
                  <a:lnTo>
                    <a:pt x="1359205" y="166687"/>
                  </a:lnTo>
                  <a:lnTo>
                    <a:pt x="1359205" y="166040"/>
                  </a:lnTo>
                  <a:lnTo>
                    <a:pt x="1359205" y="166687"/>
                  </a:lnTo>
                  <a:lnTo>
                    <a:pt x="1359205" y="166040"/>
                  </a:lnTo>
                  <a:lnTo>
                    <a:pt x="1359307" y="166040"/>
                  </a:lnTo>
                  <a:lnTo>
                    <a:pt x="1359307" y="166687"/>
                  </a:lnTo>
                  <a:lnTo>
                    <a:pt x="1359307" y="166040"/>
                  </a:lnTo>
                  <a:lnTo>
                    <a:pt x="1359307" y="168770"/>
                  </a:lnTo>
                  <a:lnTo>
                    <a:pt x="1359307" y="166687"/>
                  </a:lnTo>
                  <a:lnTo>
                    <a:pt x="1359358" y="166687"/>
                  </a:lnTo>
                  <a:lnTo>
                    <a:pt x="1359358" y="168770"/>
                  </a:lnTo>
                  <a:lnTo>
                    <a:pt x="1359358" y="167386"/>
                  </a:lnTo>
                  <a:lnTo>
                    <a:pt x="1359409" y="167386"/>
                  </a:lnTo>
                  <a:lnTo>
                    <a:pt x="1359409" y="168770"/>
                  </a:lnTo>
                  <a:lnTo>
                    <a:pt x="1359409" y="167386"/>
                  </a:lnTo>
                  <a:lnTo>
                    <a:pt x="1359409" y="168770"/>
                  </a:lnTo>
                  <a:lnTo>
                    <a:pt x="1359447" y="169418"/>
                  </a:lnTo>
                  <a:lnTo>
                    <a:pt x="1359447" y="170116"/>
                  </a:lnTo>
                  <a:lnTo>
                    <a:pt x="1359447" y="169418"/>
                  </a:lnTo>
                  <a:lnTo>
                    <a:pt x="1359548" y="170116"/>
                  </a:lnTo>
                  <a:lnTo>
                    <a:pt x="1359548" y="170802"/>
                  </a:lnTo>
                  <a:lnTo>
                    <a:pt x="1359548" y="170116"/>
                  </a:lnTo>
                  <a:lnTo>
                    <a:pt x="1359548" y="170802"/>
                  </a:lnTo>
                  <a:lnTo>
                    <a:pt x="1359548" y="170116"/>
                  </a:lnTo>
                  <a:lnTo>
                    <a:pt x="1359599" y="170116"/>
                  </a:lnTo>
                  <a:lnTo>
                    <a:pt x="1359599" y="169418"/>
                  </a:lnTo>
                  <a:lnTo>
                    <a:pt x="1359599" y="170116"/>
                  </a:lnTo>
                  <a:lnTo>
                    <a:pt x="1359599" y="169418"/>
                  </a:lnTo>
                  <a:lnTo>
                    <a:pt x="1359599" y="170116"/>
                  </a:lnTo>
                  <a:lnTo>
                    <a:pt x="1359650" y="170116"/>
                  </a:lnTo>
                  <a:lnTo>
                    <a:pt x="1359650" y="169418"/>
                  </a:lnTo>
                  <a:lnTo>
                    <a:pt x="1359650" y="170116"/>
                  </a:lnTo>
                  <a:lnTo>
                    <a:pt x="1359650" y="168770"/>
                  </a:lnTo>
                  <a:lnTo>
                    <a:pt x="1359650" y="169418"/>
                  </a:lnTo>
                  <a:lnTo>
                    <a:pt x="1359650" y="167386"/>
                  </a:lnTo>
                  <a:lnTo>
                    <a:pt x="1359751" y="168770"/>
                  </a:lnTo>
                  <a:lnTo>
                    <a:pt x="1359751" y="167386"/>
                  </a:lnTo>
                  <a:lnTo>
                    <a:pt x="1359751" y="170116"/>
                  </a:lnTo>
                  <a:lnTo>
                    <a:pt x="1359751" y="167386"/>
                  </a:lnTo>
                  <a:lnTo>
                    <a:pt x="1359802" y="167386"/>
                  </a:lnTo>
                  <a:lnTo>
                    <a:pt x="1359802" y="172148"/>
                  </a:lnTo>
                  <a:lnTo>
                    <a:pt x="1359802" y="169418"/>
                  </a:lnTo>
                  <a:lnTo>
                    <a:pt x="1359802" y="170116"/>
                  </a:lnTo>
                  <a:lnTo>
                    <a:pt x="1359853" y="170116"/>
                  </a:lnTo>
                  <a:lnTo>
                    <a:pt x="1359853" y="172148"/>
                  </a:lnTo>
                  <a:lnTo>
                    <a:pt x="1359853" y="170116"/>
                  </a:lnTo>
                  <a:lnTo>
                    <a:pt x="1359853" y="170802"/>
                  </a:lnTo>
                  <a:lnTo>
                    <a:pt x="1359904" y="170802"/>
                  </a:lnTo>
                  <a:lnTo>
                    <a:pt x="1359904" y="172148"/>
                  </a:lnTo>
                  <a:lnTo>
                    <a:pt x="1359904" y="170802"/>
                  </a:lnTo>
                  <a:lnTo>
                    <a:pt x="1359904" y="172148"/>
                  </a:lnTo>
                  <a:lnTo>
                    <a:pt x="1359993" y="172148"/>
                  </a:lnTo>
                  <a:lnTo>
                    <a:pt x="1359993" y="170802"/>
                  </a:lnTo>
                  <a:lnTo>
                    <a:pt x="1359993" y="172148"/>
                  </a:lnTo>
                  <a:lnTo>
                    <a:pt x="1359993" y="170802"/>
                  </a:lnTo>
                  <a:lnTo>
                    <a:pt x="1359993" y="172148"/>
                  </a:lnTo>
                  <a:lnTo>
                    <a:pt x="1360044" y="172148"/>
                  </a:lnTo>
                  <a:lnTo>
                    <a:pt x="1360044" y="170802"/>
                  </a:lnTo>
                  <a:lnTo>
                    <a:pt x="1360044" y="172847"/>
                  </a:lnTo>
                  <a:lnTo>
                    <a:pt x="1360044" y="172148"/>
                  </a:lnTo>
                  <a:lnTo>
                    <a:pt x="1360094" y="172148"/>
                  </a:lnTo>
                  <a:lnTo>
                    <a:pt x="1360094" y="172847"/>
                  </a:lnTo>
                  <a:lnTo>
                    <a:pt x="1360094" y="170802"/>
                  </a:lnTo>
                  <a:lnTo>
                    <a:pt x="1360094" y="172148"/>
                  </a:lnTo>
                  <a:lnTo>
                    <a:pt x="1360145" y="172148"/>
                  </a:lnTo>
                  <a:lnTo>
                    <a:pt x="1360145" y="170802"/>
                  </a:lnTo>
                  <a:lnTo>
                    <a:pt x="1360145" y="172148"/>
                  </a:lnTo>
                  <a:lnTo>
                    <a:pt x="1360145" y="170116"/>
                  </a:lnTo>
                  <a:lnTo>
                    <a:pt x="1360145" y="170802"/>
                  </a:lnTo>
                  <a:lnTo>
                    <a:pt x="1360247" y="172148"/>
                  </a:lnTo>
                  <a:lnTo>
                    <a:pt x="1360247" y="170116"/>
                  </a:lnTo>
                  <a:lnTo>
                    <a:pt x="1360247" y="172847"/>
                  </a:lnTo>
                  <a:lnTo>
                    <a:pt x="1360297" y="173533"/>
                  </a:lnTo>
                  <a:lnTo>
                    <a:pt x="1360297" y="170802"/>
                  </a:lnTo>
                  <a:lnTo>
                    <a:pt x="1360297" y="173533"/>
                  </a:lnTo>
                  <a:lnTo>
                    <a:pt x="1360348" y="173533"/>
                  </a:lnTo>
                  <a:lnTo>
                    <a:pt x="1360348" y="172847"/>
                  </a:lnTo>
                  <a:lnTo>
                    <a:pt x="1360348" y="173533"/>
                  </a:lnTo>
                  <a:lnTo>
                    <a:pt x="1360488" y="173533"/>
                  </a:lnTo>
                  <a:lnTo>
                    <a:pt x="1360488" y="174282"/>
                  </a:lnTo>
                  <a:lnTo>
                    <a:pt x="1360488" y="173533"/>
                  </a:lnTo>
                  <a:lnTo>
                    <a:pt x="1360488" y="174282"/>
                  </a:lnTo>
                  <a:lnTo>
                    <a:pt x="1360539" y="174282"/>
                  </a:lnTo>
                  <a:lnTo>
                    <a:pt x="1360539" y="173533"/>
                  </a:lnTo>
                  <a:lnTo>
                    <a:pt x="1360539" y="174282"/>
                  </a:lnTo>
                  <a:lnTo>
                    <a:pt x="1360539" y="173533"/>
                  </a:lnTo>
                  <a:lnTo>
                    <a:pt x="1360590" y="173533"/>
                  </a:lnTo>
                  <a:lnTo>
                    <a:pt x="1360590" y="172847"/>
                  </a:lnTo>
                  <a:lnTo>
                    <a:pt x="1360590" y="173533"/>
                  </a:lnTo>
                  <a:lnTo>
                    <a:pt x="1360590" y="172148"/>
                  </a:lnTo>
                  <a:lnTo>
                    <a:pt x="1360691" y="172148"/>
                  </a:lnTo>
                  <a:lnTo>
                    <a:pt x="1360691" y="172847"/>
                  </a:lnTo>
                  <a:lnTo>
                    <a:pt x="1360691" y="170116"/>
                  </a:lnTo>
                  <a:lnTo>
                    <a:pt x="1360691" y="170802"/>
                  </a:lnTo>
                  <a:lnTo>
                    <a:pt x="1360742" y="172148"/>
                  </a:lnTo>
                  <a:lnTo>
                    <a:pt x="1360742" y="172847"/>
                  </a:lnTo>
                  <a:lnTo>
                    <a:pt x="1360742" y="170802"/>
                  </a:lnTo>
                  <a:lnTo>
                    <a:pt x="1360742" y="174282"/>
                  </a:lnTo>
                  <a:lnTo>
                    <a:pt x="1360793" y="174282"/>
                  </a:lnTo>
                  <a:lnTo>
                    <a:pt x="1360793" y="172847"/>
                  </a:lnTo>
                  <a:lnTo>
                    <a:pt x="1360793" y="174282"/>
                  </a:lnTo>
                  <a:lnTo>
                    <a:pt x="1360894" y="174282"/>
                  </a:lnTo>
                  <a:lnTo>
                    <a:pt x="1360894" y="174879"/>
                  </a:lnTo>
                  <a:lnTo>
                    <a:pt x="1360894" y="174282"/>
                  </a:lnTo>
                  <a:lnTo>
                    <a:pt x="1360894" y="177012"/>
                  </a:lnTo>
                  <a:lnTo>
                    <a:pt x="1360894" y="176263"/>
                  </a:lnTo>
                  <a:lnTo>
                    <a:pt x="1360945" y="176263"/>
                  </a:lnTo>
                  <a:lnTo>
                    <a:pt x="1360945" y="174879"/>
                  </a:lnTo>
                  <a:lnTo>
                    <a:pt x="1360945" y="177012"/>
                  </a:lnTo>
                  <a:lnTo>
                    <a:pt x="1360945" y="176263"/>
                  </a:lnTo>
                  <a:lnTo>
                    <a:pt x="1360996" y="176263"/>
                  </a:lnTo>
                  <a:lnTo>
                    <a:pt x="1360996" y="177012"/>
                  </a:lnTo>
                  <a:lnTo>
                    <a:pt x="1360996" y="176263"/>
                  </a:lnTo>
                  <a:lnTo>
                    <a:pt x="1360996" y="177012"/>
                  </a:lnTo>
                  <a:lnTo>
                    <a:pt x="1360996" y="176263"/>
                  </a:lnTo>
                  <a:lnTo>
                    <a:pt x="1360996" y="177012"/>
                  </a:lnTo>
                  <a:lnTo>
                    <a:pt x="1361034" y="177012"/>
                  </a:lnTo>
                  <a:lnTo>
                    <a:pt x="1361034" y="176263"/>
                  </a:lnTo>
                  <a:lnTo>
                    <a:pt x="1361034" y="177012"/>
                  </a:lnTo>
                  <a:lnTo>
                    <a:pt x="1361034" y="176263"/>
                  </a:lnTo>
                  <a:lnTo>
                    <a:pt x="1361136" y="176263"/>
                  </a:lnTo>
                  <a:lnTo>
                    <a:pt x="1361136" y="174879"/>
                  </a:lnTo>
                  <a:lnTo>
                    <a:pt x="1361136" y="176263"/>
                  </a:lnTo>
                  <a:lnTo>
                    <a:pt x="1361136" y="174879"/>
                  </a:lnTo>
                  <a:lnTo>
                    <a:pt x="1361136" y="176263"/>
                  </a:lnTo>
                  <a:lnTo>
                    <a:pt x="1361136" y="174879"/>
                  </a:lnTo>
                  <a:lnTo>
                    <a:pt x="1361187" y="174879"/>
                  </a:lnTo>
                  <a:lnTo>
                    <a:pt x="1361187" y="173533"/>
                  </a:lnTo>
                  <a:lnTo>
                    <a:pt x="1361187" y="174282"/>
                  </a:lnTo>
                  <a:lnTo>
                    <a:pt x="1361187" y="173533"/>
                  </a:lnTo>
                  <a:lnTo>
                    <a:pt x="1361187" y="174282"/>
                  </a:lnTo>
                  <a:lnTo>
                    <a:pt x="1361187" y="173533"/>
                  </a:lnTo>
                  <a:lnTo>
                    <a:pt x="1361187" y="174282"/>
                  </a:lnTo>
                  <a:lnTo>
                    <a:pt x="1361187" y="173533"/>
                  </a:lnTo>
                  <a:lnTo>
                    <a:pt x="1361187" y="174282"/>
                  </a:lnTo>
                  <a:lnTo>
                    <a:pt x="1361237" y="174282"/>
                  </a:lnTo>
                  <a:lnTo>
                    <a:pt x="1361237" y="173533"/>
                  </a:lnTo>
                  <a:lnTo>
                    <a:pt x="1361237" y="174282"/>
                  </a:lnTo>
                  <a:lnTo>
                    <a:pt x="1361237" y="173533"/>
                  </a:lnTo>
                  <a:lnTo>
                    <a:pt x="1361237" y="176263"/>
                  </a:lnTo>
                  <a:lnTo>
                    <a:pt x="1361339" y="176263"/>
                  </a:lnTo>
                  <a:lnTo>
                    <a:pt x="1361339" y="174879"/>
                  </a:lnTo>
                  <a:lnTo>
                    <a:pt x="1361339" y="176263"/>
                  </a:lnTo>
                  <a:lnTo>
                    <a:pt x="1361390" y="176263"/>
                  </a:lnTo>
                  <a:lnTo>
                    <a:pt x="1361390" y="177012"/>
                  </a:lnTo>
                  <a:lnTo>
                    <a:pt x="1361390" y="176263"/>
                  </a:lnTo>
                  <a:lnTo>
                    <a:pt x="1361440" y="177012"/>
                  </a:lnTo>
                  <a:lnTo>
                    <a:pt x="1361440" y="176263"/>
                  </a:lnTo>
                  <a:lnTo>
                    <a:pt x="1361440" y="177609"/>
                  </a:lnTo>
                  <a:lnTo>
                    <a:pt x="1361440" y="177012"/>
                  </a:lnTo>
                  <a:lnTo>
                    <a:pt x="1361440" y="177609"/>
                  </a:lnTo>
                  <a:lnTo>
                    <a:pt x="1361491" y="177012"/>
                  </a:lnTo>
                  <a:lnTo>
                    <a:pt x="1361491" y="177609"/>
                  </a:lnTo>
                  <a:lnTo>
                    <a:pt x="1361491" y="177012"/>
                  </a:lnTo>
                  <a:lnTo>
                    <a:pt x="1361491" y="177609"/>
                  </a:lnTo>
                  <a:lnTo>
                    <a:pt x="1361631" y="177609"/>
                  </a:lnTo>
                  <a:lnTo>
                    <a:pt x="1361631" y="177012"/>
                  </a:lnTo>
                  <a:lnTo>
                    <a:pt x="1361631" y="177609"/>
                  </a:lnTo>
                  <a:lnTo>
                    <a:pt x="1361631" y="174879"/>
                  </a:lnTo>
                  <a:lnTo>
                    <a:pt x="1361682" y="174879"/>
                  </a:lnTo>
                  <a:lnTo>
                    <a:pt x="1361682" y="174282"/>
                  </a:lnTo>
                  <a:lnTo>
                    <a:pt x="1361682" y="174879"/>
                  </a:lnTo>
                  <a:lnTo>
                    <a:pt x="1361682" y="174282"/>
                  </a:lnTo>
                  <a:lnTo>
                    <a:pt x="1361682" y="174879"/>
                  </a:lnTo>
                  <a:lnTo>
                    <a:pt x="1361733" y="174879"/>
                  </a:lnTo>
                  <a:lnTo>
                    <a:pt x="1361733" y="174282"/>
                  </a:lnTo>
                  <a:lnTo>
                    <a:pt x="1361733" y="174879"/>
                  </a:lnTo>
                  <a:lnTo>
                    <a:pt x="1361733" y="173533"/>
                  </a:lnTo>
                  <a:lnTo>
                    <a:pt x="1361733" y="177012"/>
                  </a:lnTo>
                  <a:lnTo>
                    <a:pt x="1361733" y="176263"/>
                  </a:lnTo>
                  <a:lnTo>
                    <a:pt x="1361733" y="177012"/>
                  </a:lnTo>
                  <a:lnTo>
                    <a:pt x="1361834" y="176263"/>
                  </a:lnTo>
                  <a:lnTo>
                    <a:pt x="1361834" y="177012"/>
                  </a:lnTo>
                  <a:lnTo>
                    <a:pt x="1361834" y="174879"/>
                  </a:lnTo>
                  <a:lnTo>
                    <a:pt x="1361834" y="177609"/>
                  </a:lnTo>
                  <a:lnTo>
                    <a:pt x="1361834" y="177012"/>
                  </a:lnTo>
                  <a:lnTo>
                    <a:pt x="1361885" y="177012"/>
                  </a:lnTo>
                  <a:lnTo>
                    <a:pt x="1361885" y="177609"/>
                  </a:lnTo>
                  <a:lnTo>
                    <a:pt x="1361885" y="177012"/>
                  </a:lnTo>
                  <a:lnTo>
                    <a:pt x="1361885" y="177609"/>
                  </a:lnTo>
                  <a:lnTo>
                    <a:pt x="1361885" y="177012"/>
                  </a:lnTo>
                  <a:lnTo>
                    <a:pt x="1361885" y="177609"/>
                  </a:lnTo>
                  <a:lnTo>
                    <a:pt x="1361936" y="177609"/>
                  </a:lnTo>
                  <a:lnTo>
                    <a:pt x="1361936" y="178295"/>
                  </a:lnTo>
                  <a:lnTo>
                    <a:pt x="1362037" y="178295"/>
                  </a:lnTo>
                  <a:lnTo>
                    <a:pt x="1362037" y="179743"/>
                  </a:lnTo>
                  <a:lnTo>
                    <a:pt x="1362037" y="178295"/>
                  </a:lnTo>
                  <a:lnTo>
                    <a:pt x="1362037" y="179743"/>
                  </a:lnTo>
                  <a:lnTo>
                    <a:pt x="1362037" y="178295"/>
                  </a:lnTo>
                  <a:lnTo>
                    <a:pt x="1362075" y="179743"/>
                  </a:lnTo>
                  <a:lnTo>
                    <a:pt x="1362075" y="178295"/>
                  </a:lnTo>
                  <a:lnTo>
                    <a:pt x="1362075" y="179743"/>
                  </a:lnTo>
                  <a:lnTo>
                    <a:pt x="1362075" y="178295"/>
                  </a:lnTo>
                  <a:lnTo>
                    <a:pt x="1362126" y="178295"/>
                  </a:lnTo>
                  <a:lnTo>
                    <a:pt x="1362126" y="177012"/>
                  </a:lnTo>
                  <a:lnTo>
                    <a:pt x="1362126" y="177609"/>
                  </a:lnTo>
                  <a:lnTo>
                    <a:pt x="1362126" y="177012"/>
                  </a:lnTo>
                  <a:lnTo>
                    <a:pt x="1362177" y="177609"/>
                  </a:lnTo>
                  <a:lnTo>
                    <a:pt x="1362177" y="177012"/>
                  </a:lnTo>
                  <a:lnTo>
                    <a:pt x="1362177" y="177609"/>
                  </a:lnTo>
                  <a:lnTo>
                    <a:pt x="1362177" y="177012"/>
                  </a:lnTo>
                  <a:lnTo>
                    <a:pt x="1362177" y="177609"/>
                  </a:lnTo>
                  <a:lnTo>
                    <a:pt x="1362177" y="177012"/>
                  </a:lnTo>
                  <a:lnTo>
                    <a:pt x="1362279" y="176263"/>
                  </a:lnTo>
                  <a:lnTo>
                    <a:pt x="1362279" y="178295"/>
                  </a:lnTo>
                  <a:lnTo>
                    <a:pt x="1362279" y="177609"/>
                  </a:lnTo>
                  <a:lnTo>
                    <a:pt x="1362330" y="177609"/>
                  </a:lnTo>
                  <a:lnTo>
                    <a:pt x="1362330" y="178295"/>
                  </a:lnTo>
                  <a:lnTo>
                    <a:pt x="1362330" y="177609"/>
                  </a:lnTo>
                  <a:lnTo>
                    <a:pt x="1362330" y="178295"/>
                  </a:lnTo>
                  <a:lnTo>
                    <a:pt x="1362330" y="177609"/>
                  </a:lnTo>
                  <a:lnTo>
                    <a:pt x="1362380" y="177609"/>
                  </a:lnTo>
                  <a:lnTo>
                    <a:pt x="1362380" y="178295"/>
                  </a:lnTo>
                  <a:lnTo>
                    <a:pt x="1362380" y="177609"/>
                  </a:lnTo>
                  <a:lnTo>
                    <a:pt x="1362380" y="178295"/>
                  </a:lnTo>
                  <a:lnTo>
                    <a:pt x="1362380" y="177609"/>
                  </a:lnTo>
                  <a:lnTo>
                    <a:pt x="1362380" y="178295"/>
                  </a:lnTo>
                  <a:lnTo>
                    <a:pt x="1362380" y="177609"/>
                  </a:lnTo>
                  <a:lnTo>
                    <a:pt x="1362482" y="178295"/>
                  </a:lnTo>
                  <a:lnTo>
                    <a:pt x="1362533" y="178295"/>
                  </a:lnTo>
                  <a:lnTo>
                    <a:pt x="1362533" y="177609"/>
                  </a:lnTo>
                  <a:lnTo>
                    <a:pt x="1362533" y="179743"/>
                  </a:lnTo>
                  <a:lnTo>
                    <a:pt x="1362584" y="179743"/>
                  </a:lnTo>
                  <a:lnTo>
                    <a:pt x="1362584" y="180327"/>
                  </a:lnTo>
                  <a:lnTo>
                    <a:pt x="1362584" y="178295"/>
                  </a:lnTo>
                  <a:lnTo>
                    <a:pt x="1362584" y="179743"/>
                  </a:lnTo>
                  <a:lnTo>
                    <a:pt x="1362622" y="178295"/>
                  </a:lnTo>
                  <a:lnTo>
                    <a:pt x="1362622" y="177012"/>
                  </a:lnTo>
                  <a:lnTo>
                    <a:pt x="1362622" y="179743"/>
                  </a:lnTo>
                  <a:lnTo>
                    <a:pt x="1362723" y="178295"/>
                  </a:lnTo>
                  <a:lnTo>
                    <a:pt x="1362723" y="177609"/>
                  </a:lnTo>
                  <a:lnTo>
                    <a:pt x="1362723" y="180327"/>
                  </a:lnTo>
                  <a:lnTo>
                    <a:pt x="1362774" y="181026"/>
                  </a:lnTo>
                  <a:lnTo>
                    <a:pt x="1362774" y="180327"/>
                  </a:lnTo>
                  <a:lnTo>
                    <a:pt x="1362774" y="181026"/>
                  </a:lnTo>
                  <a:lnTo>
                    <a:pt x="1362774" y="179743"/>
                  </a:lnTo>
                  <a:lnTo>
                    <a:pt x="1362774" y="181026"/>
                  </a:lnTo>
                  <a:lnTo>
                    <a:pt x="1362825" y="181026"/>
                  </a:lnTo>
                  <a:lnTo>
                    <a:pt x="1362825" y="180327"/>
                  </a:lnTo>
                  <a:lnTo>
                    <a:pt x="1362825" y="181026"/>
                  </a:lnTo>
                  <a:lnTo>
                    <a:pt x="1362825" y="180327"/>
                  </a:lnTo>
                  <a:lnTo>
                    <a:pt x="1362825" y="181026"/>
                  </a:lnTo>
                  <a:lnTo>
                    <a:pt x="1362926" y="181026"/>
                  </a:lnTo>
                  <a:lnTo>
                    <a:pt x="1362926" y="180327"/>
                  </a:lnTo>
                  <a:lnTo>
                    <a:pt x="1362926" y="181026"/>
                  </a:lnTo>
                  <a:lnTo>
                    <a:pt x="1362926" y="180327"/>
                  </a:lnTo>
                  <a:lnTo>
                    <a:pt x="1362926" y="181026"/>
                  </a:lnTo>
                  <a:lnTo>
                    <a:pt x="1363028" y="181026"/>
                  </a:lnTo>
                  <a:lnTo>
                    <a:pt x="1363028" y="180327"/>
                  </a:lnTo>
                  <a:lnTo>
                    <a:pt x="1363028" y="181026"/>
                  </a:lnTo>
                  <a:lnTo>
                    <a:pt x="1363028" y="180327"/>
                  </a:lnTo>
                  <a:lnTo>
                    <a:pt x="1363028" y="181026"/>
                  </a:lnTo>
                  <a:lnTo>
                    <a:pt x="1363028" y="180327"/>
                  </a:lnTo>
                  <a:lnTo>
                    <a:pt x="1363028" y="181026"/>
                  </a:lnTo>
                  <a:lnTo>
                    <a:pt x="1363079" y="181026"/>
                  </a:lnTo>
                  <a:lnTo>
                    <a:pt x="1363079" y="181775"/>
                  </a:lnTo>
                  <a:lnTo>
                    <a:pt x="1363079" y="179743"/>
                  </a:lnTo>
                  <a:lnTo>
                    <a:pt x="1363168" y="179743"/>
                  </a:lnTo>
                  <a:lnTo>
                    <a:pt x="1363168" y="178295"/>
                  </a:lnTo>
                  <a:lnTo>
                    <a:pt x="1363168" y="181775"/>
                  </a:lnTo>
                  <a:lnTo>
                    <a:pt x="1363168" y="180327"/>
                  </a:lnTo>
                  <a:lnTo>
                    <a:pt x="1363219" y="180327"/>
                  </a:lnTo>
                  <a:lnTo>
                    <a:pt x="1363219" y="182461"/>
                  </a:lnTo>
                  <a:lnTo>
                    <a:pt x="1363219" y="181026"/>
                  </a:lnTo>
                  <a:lnTo>
                    <a:pt x="1363219" y="181775"/>
                  </a:lnTo>
                  <a:lnTo>
                    <a:pt x="1363269" y="181775"/>
                  </a:lnTo>
                  <a:lnTo>
                    <a:pt x="1363269" y="183807"/>
                  </a:lnTo>
                  <a:lnTo>
                    <a:pt x="1363269" y="182461"/>
                  </a:lnTo>
                  <a:lnTo>
                    <a:pt x="1363269" y="183807"/>
                  </a:lnTo>
                  <a:lnTo>
                    <a:pt x="1363320" y="183807"/>
                  </a:lnTo>
                  <a:lnTo>
                    <a:pt x="1363320" y="184505"/>
                  </a:lnTo>
                  <a:lnTo>
                    <a:pt x="1363320" y="182461"/>
                  </a:lnTo>
                  <a:lnTo>
                    <a:pt x="1363320" y="183807"/>
                  </a:lnTo>
                  <a:lnTo>
                    <a:pt x="1363422" y="183807"/>
                  </a:lnTo>
                  <a:lnTo>
                    <a:pt x="1363422" y="182461"/>
                  </a:lnTo>
                  <a:lnTo>
                    <a:pt x="1363422" y="183807"/>
                  </a:lnTo>
                  <a:lnTo>
                    <a:pt x="1363472" y="183807"/>
                  </a:lnTo>
                  <a:lnTo>
                    <a:pt x="1363472" y="182461"/>
                  </a:lnTo>
                  <a:lnTo>
                    <a:pt x="1363472" y="183807"/>
                  </a:lnTo>
                  <a:lnTo>
                    <a:pt x="1363472" y="182461"/>
                  </a:lnTo>
                  <a:lnTo>
                    <a:pt x="1363523" y="182461"/>
                  </a:lnTo>
                  <a:lnTo>
                    <a:pt x="1363523" y="183807"/>
                  </a:lnTo>
                  <a:lnTo>
                    <a:pt x="1363523" y="181775"/>
                  </a:lnTo>
                  <a:lnTo>
                    <a:pt x="1363625" y="181775"/>
                  </a:lnTo>
                  <a:lnTo>
                    <a:pt x="1363625" y="181026"/>
                  </a:lnTo>
                  <a:lnTo>
                    <a:pt x="1363625" y="181775"/>
                  </a:lnTo>
                  <a:lnTo>
                    <a:pt x="1363625" y="180327"/>
                  </a:lnTo>
                  <a:lnTo>
                    <a:pt x="1363625" y="181026"/>
                  </a:lnTo>
                  <a:lnTo>
                    <a:pt x="1363625" y="179743"/>
                  </a:lnTo>
                  <a:lnTo>
                    <a:pt x="1363663" y="179743"/>
                  </a:lnTo>
                  <a:lnTo>
                    <a:pt x="1363663" y="181775"/>
                  </a:lnTo>
                  <a:lnTo>
                    <a:pt x="1363663" y="180327"/>
                  </a:lnTo>
                  <a:lnTo>
                    <a:pt x="1363663" y="181026"/>
                  </a:lnTo>
                  <a:lnTo>
                    <a:pt x="1363714" y="181775"/>
                  </a:lnTo>
                  <a:lnTo>
                    <a:pt x="1363714" y="183807"/>
                  </a:lnTo>
                  <a:lnTo>
                    <a:pt x="1363714" y="181026"/>
                  </a:lnTo>
                  <a:lnTo>
                    <a:pt x="1363714" y="182461"/>
                  </a:lnTo>
                  <a:lnTo>
                    <a:pt x="1363765" y="183807"/>
                  </a:lnTo>
                  <a:lnTo>
                    <a:pt x="1363765" y="182461"/>
                  </a:lnTo>
                  <a:lnTo>
                    <a:pt x="1363765" y="183807"/>
                  </a:lnTo>
                  <a:lnTo>
                    <a:pt x="1363765" y="182461"/>
                  </a:lnTo>
                  <a:lnTo>
                    <a:pt x="1363765" y="183807"/>
                  </a:lnTo>
                  <a:lnTo>
                    <a:pt x="1363866" y="183807"/>
                  </a:lnTo>
                  <a:lnTo>
                    <a:pt x="1363866" y="184505"/>
                  </a:lnTo>
                  <a:lnTo>
                    <a:pt x="1363866" y="183807"/>
                  </a:lnTo>
                  <a:lnTo>
                    <a:pt x="1363866" y="184505"/>
                  </a:lnTo>
                  <a:lnTo>
                    <a:pt x="1363866" y="183807"/>
                  </a:lnTo>
                  <a:lnTo>
                    <a:pt x="1363866" y="184505"/>
                  </a:lnTo>
                  <a:lnTo>
                    <a:pt x="1363917" y="184505"/>
                  </a:lnTo>
                  <a:lnTo>
                    <a:pt x="1363917" y="183807"/>
                  </a:lnTo>
                  <a:lnTo>
                    <a:pt x="1363917" y="184505"/>
                  </a:lnTo>
                  <a:lnTo>
                    <a:pt x="1363968" y="185191"/>
                  </a:lnTo>
                  <a:lnTo>
                    <a:pt x="1363968" y="184505"/>
                  </a:lnTo>
                  <a:lnTo>
                    <a:pt x="1363968" y="185191"/>
                  </a:lnTo>
                  <a:lnTo>
                    <a:pt x="1363968" y="184505"/>
                  </a:lnTo>
                  <a:lnTo>
                    <a:pt x="1364069" y="184505"/>
                  </a:lnTo>
                  <a:lnTo>
                    <a:pt x="1364069" y="183807"/>
                  </a:lnTo>
                  <a:lnTo>
                    <a:pt x="1364069" y="184505"/>
                  </a:lnTo>
                  <a:lnTo>
                    <a:pt x="1364069" y="183807"/>
                  </a:lnTo>
                  <a:lnTo>
                    <a:pt x="1364069" y="184505"/>
                  </a:lnTo>
                  <a:lnTo>
                    <a:pt x="1364069" y="182461"/>
                  </a:lnTo>
                  <a:lnTo>
                    <a:pt x="1364120" y="182461"/>
                  </a:lnTo>
                  <a:lnTo>
                    <a:pt x="1364120" y="181775"/>
                  </a:lnTo>
                  <a:lnTo>
                    <a:pt x="1364120" y="182461"/>
                  </a:lnTo>
                  <a:lnTo>
                    <a:pt x="1364120" y="181026"/>
                  </a:lnTo>
                  <a:lnTo>
                    <a:pt x="1364120" y="182461"/>
                  </a:lnTo>
                  <a:lnTo>
                    <a:pt x="1364171" y="182461"/>
                  </a:lnTo>
                  <a:lnTo>
                    <a:pt x="1364171" y="181775"/>
                  </a:lnTo>
                  <a:lnTo>
                    <a:pt x="1364171" y="182461"/>
                  </a:lnTo>
                  <a:lnTo>
                    <a:pt x="1364171" y="181026"/>
                  </a:lnTo>
                  <a:lnTo>
                    <a:pt x="1364171" y="184505"/>
                  </a:lnTo>
                  <a:lnTo>
                    <a:pt x="1364171" y="183807"/>
                  </a:lnTo>
                  <a:lnTo>
                    <a:pt x="1364209" y="183807"/>
                  </a:lnTo>
                  <a:lnTo>
                    <a:pt x="1364209" y="185191"/>
                  </a:lnTo>
                  <a:lnTo>
                    <a:pt x="1364209" y="184505"/>
                  </a:lnTo>
                  <a:lnTo>
                    <a:pt x="1364311" y="184505"/>
                  </a:lnTo>
                  <a:lnTo>
                    <a:pt x="1364311" y="183807"/>
                  </a:lnTo>
                  <a:lnTo>
                    <a:pt x="1364311" y="185191"/>
                  </a:lnTo>
                  <a:lnTo>
                    <a:pt x="1364362" y="184505"/>
                  </a:lnTo>
                  <a:lnTo>
                    <a:pt x="1364362" y="185191"/>
                  </a:lnTo>
                  <a:lnTo>
                    <a:pt x="1364412" y="185191"/>
                  </a:lnTo>
                  <a:lnTo>
                    <a:pt x="1364412" y="185890"/>
                  </a:lnTo>
                  <a:lnTo>
                    <a:pt x="1364412" y="185191"/>
                  </a:lnTo>
                  <a:lnTo>
                    <a:pt x="1364412" y="185890"/>
                  </a:lnTo>
                  <a:lnTo>
                    <a:pt x="1364412" y="185191"/>
                  </a:lnTo>
                  <a:lnTo>
                    <a:pt x="1364514" y="185191"/>
                  </a:lnTo>
                  <a:lnTo>
                    <a:pt x="1364514" y="185890"/>
                  </a:lnTo>
                  <a:lnTo>
                    <a:pt x="1364514" y="185191"/>
                  </a:lnTo>
                  <a:lnTo>
                    <a:pt x="1364514" y="185890"/>
                  </a:lnTo>
                  <a:lnTo>
                    <a:pt x="1364514" y="185191"/>
                  </a:lnTo>
                  <a:lnTo>
                    <a:pt x="1364514" y="185890"/>
                  </a:lnTo>
                  <a:lnTo>
                    <a:pt x="1364514" y="185191"/>
                  </a:lnTo>
                  <a:lnTo>
                    <a:pt x="1364565" y="185191"/>
                  </a:lnTo>
                  <a:lnTo>
                    <a:pt x="1364565" y="183807"/>
                  </a:lnTo>
                  <a:lnTo>
                    <a:pt x="1364565" y="184505"/>
                  </a:lnTo>
                  <a:lnTo>
                    <a:pt x="1364565" y="182461"/>
                  </a:lnTo>
                  <a:lnTo>
                    <a:pt x="1364565" y="183807"/>
                  </a:lnTo>
                  <a:lnTo>
                    <a:pt x="1364615" y="182461"/>
                  </a:lnTo>
                  <a:lnTo>
                    <a:pt x="1364615" y="183807"/>
                  </a:lnTo>
                  <a:lnTo>
                    <a:pt x="1364615" y="181775"/>
                  </a:lnTo>
                  <a:lnTo>
                    <a:pt x="1364615" y="182461"/>
                  </a:lnTo>
                  <a:lnTo>
                    <a:pt x="1364666" y="182461"/>
                  </a:lnTo>
                  <a:lnTo>
                    <a:pt x="1364666" y="181775"/>
                  </a:lnTo>
                  <a:lnTo>
                    <a:pt x="1364666" y="182461"/>
                  </a:lnTo>
                  <a:lnTo>
                    <a:pt x="1364666" y="181775"/>
                  </a:lnTo>
                  <a:lnTo>
                    <a:pt x="1364666" y="184505"/>
                  </a:lnTo>
                  <a:lnTo>
                    <a:pt x="1364666" y="183807"/>
                  </a:lnTo>
                  <a:lnTo>
                    <a:pt x="1364755" y="183807"/>
                  </a:lnTo>
                  <a:lnTo>
                    <a:pt x="1364755" y="185191"/>
                  </a:lnTo>
                  <a:lnTo>
                    <a:pt x="1364806" y="185191"/>
                  </a:lnTo>
                  <a:lnTo>
                    <a:pt x="1364806" y="184505"/>
                  </a:lnTo>
                  <a:lnTo>
                    <a:pt x="1364806" y="185191"/>
                  </a:lnTo>
                  <a:lnTo>
                    <a:pt x="1364806" y="184505"/>
                  </a:lnTo>
                  <a:lnTo>
                    <a:pt x="1364806" y="185890"/>
                  </a:lnTo>
                  <a:lnTo>
                    <a:pt x="1364857" y="185191"/>
                  </a:lnTo>
                  <a:lnTo>
                    <a:pt x="1364857" y="185890"/>
                  </a:lnTo>
                  <a:lnTo>
                    <a:pt x="1364857" y="185191"/>
                  </a:lnTo>
                  <a:lnTo>
                    <a:pt x="1364857" y="185890"/>
                  </a:lnTo>
                  <a:lnTo>
                    <a:pt x="1364857" y="185191"/>
                  </a:lnTo>
                  <a:lnTo>
                    <a:pt x="1364857" y="185890"/>
                  </a:lnTo>
                  <a:lnTo>
                    <a:pt x="1364908" y="185890"/>
                  </a:lnTo>
                  <a:lnTo>
                    <a:pt x="1364908" y="187223"/>
                  </a:lnTo>
                  <a:lnTo>
                    <a:pt x="1364908" y="185890"/>
                  </a:lnTo>
                  <a:lnTo>
                    <a:pt x="1364908" y="187223"/>
                  </a:lnTo>
                  <a:lnTo>
                    <a:pt x="1364908" y="185890"/>
                  </a:lnTo>
                  <a:lnTo>
                    <a:pt x="1364908" y="187223"/>
                  </a:lnTo>
                  <a:lnTo>
                    <a:pt x="1364908" y="185890"/>
                  </a:lnTo>
                  <a:lnTo>
                    <a:pt x="1364908" y="187223"/>
                  </a:lnTo>
                  <a:lnTo>
                    <a:pt x="1364908" y="185890"/>
                  </a:lnTo>
                  <a:lnTo>
                    <a:pt x="1364908" y="187223"/>
                  </a:lnTo>
                  <a:lnTo>
                    <a:pt x="1365009" y="187223"/>
                  </a:lnTo>
                  <a:lnTo>
                    <a:pt x="1365009" y="185890"/>
                  </a:lnTo>
                  <a:lnTo>
                    <a:pt x="1365009" y="187223"/>
                  </a:lnTo>
                  <a:lnTo>
                    <a:pt x="1365009" y="185890"/>
                  </a:lnTo>
                  <a:lnTo>
                    <a:pt x="1365009" y="187223"/>
                  </a:lnTo>
                  <a:lnTo>
                    <a:pt x="1365009" y="185890"/>
                  </a:lnTo>
                  <a:lnTo>
                    <a:pt x="1365009" y="187223"/>
                  </a:lnTo>
                  <a:lnTo>
                    <a:pt x="1365009" y="185890"/>
                  </a:lnTo>
                  <a:lnTo>
                    <a:pt x="1365060" y="185890"/>
                  </a:lnTo>
                  <a:lnTo>
                    <a:pt x="1365060" y="185191"/>
                  </a:lnTo>
                  <a:lnTo>
                    <a:pt x="1365111" y="185191"/>
                  </a:lnTo>
                  <a:lnTo>
                    <a:pt x="1365111" y="182461"/>
                  </a:lnTo>
                  <a:lnTo>
                    <a:pt x="1365111" y="183807"/>
                  </a:lnTo>
                  <a:lnTo>
                    <a:pt x="1365212" y="184505"/>
                  </a:lnTo>
                  <a:lnTo>
                    <a:pt x="1365212" y="183807"/>
                  </a:lnTo>
                  <a:lnTo>
                    <a:pt x="1365212" y="184505"/>
                  </a:lnTo>
                  <a:lnTo>
                    <a:pt x="1365212" y="183807"/>
                  </a:lnTo>
                  <a:lnTo>
                    <a:pt x="1365212" y="185191"/>
                  </a:lnTo>
                  <a:lnTo>
                    <a:pt x="1365250" y="185191"/>
                  </a:lnTo>
                  <a:lnTo>
                    <a:pt x="1365250" y="184505"/>
                  </a:lnTo>
                  <a:lnTo>
                    <a:pt x="1365250" y="185191"/>
                  </a:lnTo>
                  <a:lnTo>
                    <a:pt x="1365250" y="184505"/>
                  </a:lnTo>
                  <a:lnTo>
                    <a:pt x="1365250" y="185890"/>
                  </a:lnTo>
                  <a:lnTo>
                    <a:pt x="1365250" y="185191"/>
                  </a:lnTo>
                  <a:lnTo>
                    <a:pt x="1365301" y="185191"/>
                  </a:lnTo>
                  <a:lnTo>
                    <a:pt x="1365301" y="184505"/>
                  </a:lnTo>
                  <a:lnTo>
                    <a:pt x="1365301" y="185890"/>
                  </a:lnTo>
                  <a:lnTo>
                    <a:pt x="1365301" y="185191"/>
                  </a:lnTo>
                  <a:lnTo>
                    <a:pt x="1365352" y="185191"/>
                  </a:lnTo>
                  <a:lnTo>
                    <a:pt x="1365352" y="187223"/>
                  </a:lnTo>
                  <a:lnTo>
                    <a:pt x="1365352" y="185890"/>
                  </a:lnTo>
                  <a:lnTo>
                    <a:pt x="1365352" y="187223"/>
                  </a:lnTo>
                  <a:lnTo>
                    <a:pt x="1365352" y="185890"/>
                  </a:lnTo>
                  <a:lnTo>
                    <a:pt x="1365352" y="187223"/>
                  </a:lnTo>
                  <a:lnTo>
                    <a:pt x="1365352" y="185890"/>
                  </a:lnTo>
                  <a:lnTo>
                    <a:pt x="1365454" y="185890"/>
                  </a:lnTo>
                  <a:lnTo>
                    <a:pt x="1365454" y="187922"/>
                  </a:lnTo>
                  <a:lnTo>
                    <a:pt x="1365454" y="187223"/>
                  </a:lnTo>
                  <a:lnTo>
                    <a:pt x="1365505" y="187922"/>
                  </a:lnTo>
                  <a:lnTo>
                    <a:pt x="1365505" y="185890"/>
                  </a:lnTo>
                  <a:lnTo>
                    <a:pt x="1365555" y="187223"/>
                  </a:lnTo>
                  <a:lnTo>
                    <a:pt x="1365555" y="185890"/>
                  </a:lnTo>
                  <a:lnTo>
                    <a:pt x="1365555" y="187223"/>
                  </a:lnTo>
                  <a:lnTo>
                    <a:pt x="1365555" y="185890"/>
                  </a:lnTo>
                  <a:lnTo>
                    <a:pt x="1365555" y="187223"/>
                  </a:lnTo>
                  <a:lnTo>
                    <a:pt x="1365555" y="185890"/>
                  </a:lnTo>
                  <a:lnTo>
                    <a:pt x="1365555" y="187223"/>
                  </a:lnTo>
                  <a:lnTo>
                    <a:pt x="1365555" y="185890"/>
                  </a:lnTo>
                  <a:lnTo>
                    <a:pt x="1365555" y="187223"/>
                  </a:lnTo>
                  <a:lnTo>
                    <a:pt x="1365555" y="185191"/>
                  </a:lnTo>
                  <a:lnTo>
                    <a:pt x="1365657" y="185191"/>
                  </a:lnTo>
                  <a:lnTo>
                    <a:pt x="1365657" y="187223"/>
                  </a:lnTo>
                  <a:lnTo>
                    <a:pt x="1365657" y="185890"/>
                  </a:lnTo>
                  <a:lnTo>
                    <a:pt x="1365708" y="185890"/>
                  </a:lnTo>
                  <a:lnTo>
                    <a:pt x="1365708" y="187922"/>
                  </a:lnTo>
                  <a:lnTo>
                    <a:pt x="1365708" y="187223"/>
                  </a:lnTo>
                  <a:lnTo>
                    <a:pt x="1365759" y="187223"/>
                  </a:lnTo>
                  <a:lnTo>
                    <a:pt x="1365759" y="187922"/>
                  </a:lnTo>
                  <a:lnTo>
                    <a:pt x="1365759" y="185890"/>
                  </a:lnTo>
                  <a:lnTo>
                    <a:pt x="1365759" y="187223"/>
                  </a:lnTo>
                  <a:lnTo>
                    <a:pt x="1365797" y="187223"/>
                  </a:lnTo>
                  <a:lnTo>
                    <a:pt x="1365797" y="188620"/>
                  </a:lnTo>
                  <a:lnTo>
                    <a:pt x="1365898" y="187922"/>
                  </a:lnTo>
                  <a:lnTo>
                    <a:pt x="1365898" y="187223"/>
                  </a:lnTo>
                  <a:lnTo>
                    <a:pt x="1365898" y="187922"/>
                  </a:lnTo>
                  <a:lnTo>
                    <a:pt x="1365898" y="187223"/>
                  </a:lnTo>
                  <a:lnTo>
                    <a:pt x="1365898" y="187922"/>
                  </a:lnTo>
                  <a:lnTo>
                    <a:pt x="1365898" y="187223"/>
                  </a:lnTo>
                  <a:lnTo>
                    <a:pt x="1365898" y="187922"/>
                  </a:lnTo>
                  <a:lnTo>
                    <a:pt x="1366000" y="187922"/>
                  </a:lnTo>
                  <a:lnTo>
                    <a:pt x="1366000" y="187223"/>
                  </a:lnTo>
                  <a:lnTo>
                    <a:pt x="1366000" y="187922"/>
                  </a:lnTo>
                  <a:lnTo>
                    <a:pt x="1366000" y="185890"/>
                  </a:lnTo>
                  <a:lnTo>
                    <a:pt x="1366000" y="187223"/>
                  </a:lnTo>
                  <a:lnTo>
                    <a:pt x="1366101" y="185890"/>
                  </a:lnTo>
                  <a:lnTo>
                    <a:pt x="1366101" y="185191"/>
                  </a:lnTo>
                  <a:lnTo>
                    <a:pt x="1366101" y="185890"/>
                  </a:lnTo>
                  <a:lnTo>
                    <a:pt x="1366152" y="185890"/>
                  </a:lnTo>
                  <a:lnTo>
                    <a:pt x="1366152" y="187223"/>
                  </a:lnTo>
                  <a:lnTo>
                    <a:pt x="1366152" y="185191"/>
                  </a:lnTo>
                  <a:lnTo>
                    <a:pt x="1366152" y="187223"/>
                  </a:lnTo>
                  <a:lnTo>
                    <a:pt x="1366152" y="185890"/>
                  </a:lnTo>
                  <a:lnTo>
                    <a:pt x="1366152" y="187223"/>
                  </a:lnTo>
                  <a:lnTo>
                    <a:pt x="1366203" y="187922"/>
                  </a:lnTo>
                  <a:lnTo>
                    <a:pt x="1366203" y="188620"/>
                  </a:lnTo>
                  <a:lnTo>
                    <a:pt x="1366203" y="187922"/>
                  </a:lnTo>
                  <a:lnTo>
                    <a:pt x="1366203" y="188620"/>
                  </a:lnTo>
                  <a:lnTo>
                    <a:pt x="1366254" y="188620"/>
                  </a:lnTo>
                  <a:lnTo>
                    <a:pt x="1366254" y="187223"/>
                  </a:lnTo>
                  <a:lnTo>
                    <a:pt x="1366254" y="187922"/>
                  </a:lnTo>
                  <a:lnTo>
                    <a:pt x="1366343" y="188620"/>
                  </a:lnTo>
                  <a:lnTo>
                    <a:pt x="1366343" y="187922"/>
                  </a:lnTo>
                  <a:lnTo>
                    <a:pt x="1366343" y="188620"/>
                  </a:lnTo>
                  <a:lnTo>
                    <a:pt x="1366343" y="187922"/>
                  </a:lnTo>
                  <a:lnTo>
                    <a:pt x="1366343" y="188620"/>
                  </a:lnTo>
                  <a:lnTo>
                    <a:pt x="1366394" y="188620"/>
                  </a:lnTo>
                  <a:lnTo>
                    <a:pt x="1366394" y="187922"/>
                  </a:lnTo>
                  <a:lnTo>
                    <a:pt x="1366394" y="188620"/>
                  </a:lnTo>
                  <a:lnTo>
                    <a:pt x="1366394" y="187922"/>
                  </a:lnTo>
                  <a:lnTo>
                    <a:pt x="1366394" y="188620"/>
                  </a:lnTo>
                  <a:lnTo>
                    <a:pt x="1366394" y="187922"/>
                  </a:lnTo>
                  <a:lnTo>
                    <a:pt x="1366444" y="188620"/>
                  </a:lnTo>
                  <a:lnTo>
                    <a:pt x="1366444" y="187922"/>
                  </a:lnTo>
                  <a:lnTo>
                    <a:pt x="1366495" y="187922"/>
                  </a:lnTo>
                  <a:lnTo>
                    <a:pt x="1366495" y="185890"/>
                  </a:lnTo>
                  <a:lnTo>
                    <a:pt x="1366495" y="187223"/>
                  </a:lnTo>
                  <a:lnTo>
                    <a:pt x="1366495" y="185890"/>
                  </a:lnTo>
                  <a:lnTo>
                    <a:pt x="1366597" y="185890"/>
                  </a:lnTo>
                  <a:lnTo>
                    <a:pt x="1366597" y="185191"/>
                  </a:lnTo>
                  <a:lnTo>
                    <a:pt x="1366597" y="188620"/>
                  </a:lnTo>
                  <a:lnTo>
                    <a:pt x="1366647" y="187922"/>
                  </a:lnTo>
                  <a:lnTo>
                    <a:pt x="1366647" y="185890"/>
                  </a:lnTo>
                  <a:lnTo>
                    <a:pt x="1366647" y="187223"/>
                  </a:lnTo>
                  <a:lnTo>
                    <a:pt x="1366647" y="185890"/>
                  </a:lnTo>
                  <a:lnTo>
                    <a:pt x="1366647" y="189268"/>
                  </a:lnTo>
                  <a:lnTo>
                    <a:pt x="1366698" y="188620"/>
                  </a:lnTo>
                  <a:lnTo>
                    <a:pt x="1366698" y="187922"/>
                  </a:lnTo>
                  <a:lnTo>
                    <a:pt x="1366698" y="189268"/>
                  </a:lnTo>
                  <a:lnTo>
                    <a:pt x="1366698" y="188620"/>
                  </a:lnTo>
                  <a:lnTo>
                    <a:pt x="1366800" y="188620"/>
                  </a:lnTo>
                  <a:lnTo>
                    <a:pt x="1366800" y="189268"/>
                  </a:lnTo>
                  <a:lnTo>
                    <a:pt x="1366838" y="189268"/>
                  </a:lnTo>
                  <a:lnTo>
                    <a:pt x="1366838" y="189954"/>
                  </a:lnTo>
                  <a:lnTo>
                    <a:pt x="1366838" y="189268"/>
                  </a:lnTo>
                  <a:lnTo>
                    <a:pt x="1366838" y="189954"/>
                  </a:lnTo>
                  <a:lnTo>
                    <a:pt x="1366838" y="189268"/>
                  </a:lnTo>
                  <a:lnTo>
                    <a:pt x="1366889" y="189954"/>
                  </a:lnTo>
                  <a:lnTo>
                    <a:pt x="1366889" y="189268"/>
                  </a:lnTo>
                  <a:lnTo>
                    <a:pt x="1366889" y="189954"/>
                  </a:lnTo>
                  <a:lnTo>
                    <a:pt x="1366889" y="189268"/>
                  </a:lnTo>
                  <a:lnTo>
                    <a:pt x="1366889" y="189954"/>
                  </a:lnTo>
                  <a:lnTo>
                    <a:pt x="1366889" y="189268"/>
                  </a:lnTo>
                  <a:lnTo>
                    <a:pt x="1366889" y="189954"/>
                  </a:lnTo>
                  <a:lnTo>
                    <a:pt x="1366889" y="189268"/>
                  </a:lnTo>
                  <a:lnTo>
                    <a:pt x="1366889" y="189954"/>
                  </a:lnTo>
                  <a:lnTo>
                    <a:pt x="1366940" y="189268"/>
                  </a:lnTo>
                  <a:lnTo>
                    <a:pt x="1366940" y="189954"/>
                  </a:lnTo>
                  <a:lnTo>
                    <a:pt x="1366940" y="188620"/>
                  </a:lnTo>
                  <a:lnTo>
                    <a:pt x="1366940" y="189268"/>
                  </a:lnTo>
                  <a:lnTo>
                    <a:pt x="1367041" y="189268"/>
                  </a:lnTo>
                  <a:lnTo>
                    <a:pt x="1367041" y="187922"/>
                  </a:lnTo>
                  <a:lnTo>
                    <a:pt x="1367041" y="189268"/>
                  </a:lnTo>
                  <a:lnTo>
                    <a:pt x="1367041" y="187223"/>
                  </a:lnTo>
                  <a:lnTo>
                    <a:pt x="1367092" y="187223"/>
                  </a:lnTo>
                  <a:lnTo>
                    <a:pt x="1367092" y="185191"/>
                  </a:lnTo>
                  <a:lnTo>
                    <a:pt x="1367092" y="188620"/>
                  </a:lnTo>
                  <a:lnTo>
                    <a:pt x="1367092" y="187223"/>
                  </a:lnTo>
                  <a:lnTo>
                    <a:pt x="1367143" y="187223"/>
                  </a:lnTo>
                  <a:lnTo>
                    <a:pt x="1367143" y="185890"/>
                  </a:lnTo>
                  <a:lnTo>
                    <a:pt x="1367143" y="187223"/>
                  </a:lnTo>
                  <a:lnTo>
                    <a:pt x="1367143" y="185890"/>
                  </a:lnTo>
                  <a:lnTo>
                    <a:pt x="1367143" y="189268"/>
                  </a:lnTo>
                  <a:lnTo>
                    <a:pt x="1367143" y="187922"/>
                  </a:lnTo>
                  <a:lnTo>
                    <a:pt x="1367244" y="187922"/>
                  </a:lnTo>
                  <a:lnTo>
                    <a:pt x="1367244" y="187223"/>
                  </a:lnTo>
                  <a:lnTo>
                    <a:pt x="1367244" y="189268"/>
                  </a:lnTo>
                  <a:lnTo>
                    <a:pt x="1367244" y="188620"/>
                  </a:lnTo>
                  <a:lnTo>
                    <a:pt x="1367295" y="188620"/>
                  </a:lnTo>
                  <a:lnTo>
                    <a:pt x="1367295" y="189268"/>
                  </a:lnTo>
                  <a:lnTo>
                    <a:pt x="1367295" y="188620"/>
                  </a:lnTo>
                  <a:lnTo>
                    <a:pt x="1367295" y="189268"/>
                  </a:lnTo>
                  <a:lnTo>
                    <a:pt x="1367295" y="188620"/>
                  </a:lnTo>
                  <a:lnTo>
                    <a:pt x="1367295" y="189268"/>
                  </a:lnTo>
                  <a:lnTo>
                    <a:pt x="1367346" y="189268"/>
                  </a:lnTo>
                  <a:lnTo>
                    <a:pt x="1367346" y="189954"/>
                  </a:lnTo>
                  <a:lnTo>
                    <a:pt x="1367346" y="189268"/>
                  </a:lnTo>
                  <a:lnTo>
                    <a:pt x="1367384" y="189268"/>
                  </a:lnTo>
                  <a:lnTo>
                    <a:pt x="1367384" y="189954"/>
                  </a:lnTo>
                  <a:lnTo>
                    <a:pt x="1367486" y="189954"/>
                  </a:lnTo>
                  <a:lnTo>
                    <a:pt x="1367486" y="189268"/>
                  </a:lnTo>
                  <a:lnTo>
                    <a:pt x="1367486" y="189954"/>
                  </a:lnTo>
                  <a:lnTo>
                    <a:pt x="1367486" y="189268"/>
                  </a:lnTo>
                  <a:lnTo>
                    <a:pt x="1367486" y="189954"/>
                  </a:lnTo>
                  <a:lnTo>
                    <a:pt x="1367486" y="189268"/>
                  </a:lnTo>
                  <a:lnTo>
                    <a:pt x="1367537" y="189268"/>
                  </a:lnTo>
                  <a:lnTo>
                    <a:pt x="1367537" y="187223"/>
                  </a:lnTo>
                  <a:lnTo>
                    <a:pt x="1367537" y="187922"/>
                  </a:lnTo>
                  <a:lnTo>
                    <a:pt x="1367587" y="187922"/>
                  </a:lnTo>
                  <a:lnTo>
                    <a:pt x="1367587" y="185890"/>
                  </a:lnTo>
                  <a:lnTo>
                    <a:pt x="1367587" y="189268"/>
                  </a:lnTo>
                  <a:lnTo>
                    <a:pt x="1367587" y="187922"/>
                  </a:lnTo>
                  <a:lnTo>
                    <a:pt x="1367689" y="187922"/>
                  </a:lnTo>
                  <a:lnTo>
                    <a:pt x="1367689" y="185890"/>
                  </a:lnTo>
                  <a:lnTo>
                    <a:pt x="1367689" y="189954"/>
                  </a:lnTo>
                  <a:lnTo>
                    <a:pt x="1367689" y="188620"/>
                  </a:lnTo>
                  <a:lnTo>
                    <a:pt x="1367740" y="187922"/>
                  </a:lnTo>
                  <a:lnTo>
                    <a:pt x="1367740" y="189268"/>
                  </a:lnTo>
                  <a:lnTo>
                    <a:pt x="1367740" y="188620"/>
                  </a:lnTo>
                  <a:lnTo>
                    <a:pt x="1367740" y="189268"/>
                  </a:lnTo>
                  <a:lnTo>
                    <a:pt x="1367740" y="188620"/>
                  </a:lnTo>
                  <a:lnTo>
                    <a:pt x="1367740" y="189268"/>
                  </a:lnTo>
                  <a:lnTo>
                    <a:pt x="1367740" y="188620"/>
                  </a:lnTo>
                  <a:lnTo>
                    <a:pt x="1367740" y="189268"/>
                  </a:lnTo>
                  <a:lnTo>
                    <a:pt x="1367790" y="188620"/>
                  </a:lnTo>
                  <a:lnTo>
                    <a:pt x="1367790" y="189954"/>
                  </a:lnTo>
                  <a:lnTo>
                    <a:pt x="1367790" y="189268"/>
                  </a:lnTo>
                  <a:lnTo>
                    <a:pt x="1367841" y="189954"/>
                  </a:lnTo>
                  <a:lnTo>
                    <a:pt x="1367841" y="191351"/>
                  </a:lnTo>
                  <a:lnTo>
                    <a:pt x="1367930" y="191351"/>
                  </a:lnTo>
                  <a:lnTo>
                    <a:pt x="1367930" y="189954"/>
                  </a:lnTo>
                  <a:lnTo>
                    <a:pt x="1367930" y="191351"/>
                  </a:lnTo>
                  <a:lnTo>
                    <a:pt x="1367930" y="189954"/>
                  </a:lnTo>
                  <a:lnTo>
                    <a:pt x="1367930" y="191351"/>
                  </a:lnTo>
                  <a:lnTo>
                    <a:pt x="1367981" y="189954"/>
                  </a:lnTo>
                  <a:lnTo>
                    <a:pt x="1367981" y="191351"/>
                  </a:lnTo>
                  <a:lnTo>
                    <a:pt x="1367981" y="189954"/>
                  </a:lnTo>
                  <a:lnTo>
                    <a:pt x="1368032" y="189954"/>
                  </a:lnTo>
                  <a:lnTo>
                    <a:pt x="1368032" y="187922"/>
                  </a:lnTo>
                  <a:lnTo>
                    <a:pt x="1368032" y="188620"/>
                  </a:lnTo>
                  <a:lnTo>
                    <a:pt x="1368032" y="187223"/>
                  </a:lnTo>
                  <a:lnTo>
                    <a:pt x="1368083" y="187223"/>
                  </a:lnTo>
                  <a:lnTo>
                    <a:pt x="1368083" y="189268"/>
                  </a:lnTo>
                  <a:lnTo>
                    <a:pt x="1368083" y="187223"/>
                  </a:lnTo>
                  <a:lnTo>
                    <a:pt x="1368184" y="187223"/>
                  </a:lnTo>
                  <a:lnTo>
                    <a:pt x="1368184" y="189954"/>
                  </a:lnTo>
                  <a:lnTo>
                    <a:pt x="1368184" y="187922"/>
                  </a:lnTo>
                  <a:lnTo>
                    <a:pt x="1368235" y="187922"/>
                  </a:lnTo>
                  <a:lnTo>
                    <a:pt x="1368235" y="189954"/>
                  </a:lnTo>
                  <a:lnTo>
                    <a:pt x="1368235" y="188620"/>
                  </a:lnTo>
                  <a:lnTo>
                    <a:pt x="1368235" y="189268"/>
                  </a:lnTo>
                  <a:lnTo>
                    <a:pt x="1368235" y="188620"/>
                  </a:lnTo>
                  <a:lnTo>
                    <a:pt x="1368235" y="189268"/>
                  </a:lnTo>
                  <a:lnTo>
                    <a:pt x="1368235" y="188620"/>
                  </a:lnTo>
                  <a:lnTo>
                    <a:pt x="1368286" y="188620"/>
                  </a:lnTo>
                  <a:lnTo>
                    <a:pt x="1368286" y="189268"/>
                  </a:lnTo>
                  <a:lnTo>
                    <a:pt x="1368286" y="188620"/>
                  </a:lnTo>
                  <a:lnTo>
                    <a:pt x="1368286" y="189954"/>
                  </a:lnTo>
                  <a:lnTo>
                    <a:pt x="1368387" y="189954"/>
                  </a:lnTo>
                  <a:lnTo>
                    <a:pt x="1368387" y="189268"/>
                  </a:lnTo>
                  <a:lnTo>
                    <a:pt x="1368387" y="189954"/>
                  </a:lnTo>
                  <a:lnTo>
                    <a:pt x="1368387" y="189268"/>
                  </a:lnTo>
                  <a:lnTo>
                    <a:pt x="1368387" y="191351"/>
                  </a:lnTo>
                  <a:lnTo>
                    <a:pt x="1368425" y="189954"/>
                  </a:lnTo>
                  <a:lnTo>
                    <a:pt x="1368476" y="189954"/>
                  </a:lnTo>
                  <a:lnTo>
                    <a:pt x="1368476" y="189268"/>
                  </a:lnTo>
                  <a:lnTo>
                    <a:pt x="1368476" y="189954"/>
                  </a:lnTo>
                  <a:lnTo>
                    <a:pt x="1368476" y="189268"/>
                  </a:lnTo>
                  <a:lnTo>
                    <a:pt x="1368527" y="189268"/>
                  </a:lnTo>
                  <a:lnTo>
                    <a:pt x="1368527" y="187922"/>
                  </a:lnTo>
                  <a:lnTo>
                    <a:pt x="1368527" y="188620"/>
                  </a:lnTo>
                  <a:lnTo>
                    <a:pt x="1368629" y="188620"/>
                  </a:lnTo>
                  <a:lnTo>
                    <a:pt x="1368629" y="189954"/>
                  </a:lnTo>
                  <a:lnTo>
                    <a:pt x="1368629" y="187922"/>
                  </a:lnTo>
                  <a:lnTo>
                    <a:pt x="1368629" y="189954"/>
                  </a:lnTo>
                  <a:lnTo>
                    <a:pt x="1368680" y="191351"/>
                  </a:lnTo>
                  <a:lnTo>
                    <a:pt x="1368680" y="188620"/>
                  </a:lnTo>
                  <a:lnTo>
                    <a:pt x="1368680" y="189954"/>
                  </a:lnTo>
                  <a:lnTo>
                    <a:pt x="1368680" y="189268"/>
                  </a:lnTo>
                  <a:lnTo>
                    <a:pt x="1368680" y="191351"/>
                  </a:lnTo>
                  <a:lnTo>
                    <a:pt x="1368730" y="191351"/>
                  </a:lnTo>
                  <a:lnTo>
                    <a:pt x="1368730" y="189954"/>
                  </a:lnTo>
                  <a:lnTo>
                    <a:pt x="1368730" y="191351"/>
                  </a:lnTo>
                  <a:lnTo>
                    <a:pt x="1368730" y="189954"/>
                  </a:lnTo>
                  <a:lnTo>
                    <a:pt x="1368832" y="189954"/>
                  </a:lnTo>
                  <a:lnTo>
                    <a:pt x="1368832" y="191351"/>
                  </a:lnTo>
                  <a:lnTo>
                    <a:pt x="1368832" y="189954"/>
                  </a:lnTo>
                  <a:lnTo>
                    <a:pt x="1368832" y="191351"/>
                  </a:lnTo>
                  <a:lnTo>
                    <a:pt x="1368832" y="189954"/>
                  </a:lnTo>
                  <a:lnTo>
                    <a:pt x="1368832" y="191351"/>
                  </a:lnTo>
                  <a:lnTo>
                    <a:pt x="1368883" y="191351"/>
                  </a:lnTo>
                  <a:lnTo>
                    <a:pt x="1368883" y="191986"/>
                  </a:lnTo>
                  <a:lnTo>
                    <a:pt x="1368883" y="191351"/>
                  </a:lnTo>
                  <a:lnTo>
                    <a:pt x="1368883" y="191986"/>
                  </a:lnTo>
                  <a:lnTo>
                    <a:pt x="1368934" y="192684"/>
                  </a:lnTo>
                  <a:lnTo>
                    <a:pt x="1368934" y="191986"/>
                  </a:lnTo>
                  <a:lnTo>
                    <a:pt x="1368934" y="192684"/>
                  </a:lnTo>
                  <a:lnTo>
                    <a:pt x="1368972" y="192684"/>
                  </a:lnTo>
                  <a:lnTo>
                    <a:pt x="1368972" y="191986"/>
                  </a:lnTo>
                  <a:lnTo>
                    <a:pt x="1368972" y="192684"/>
                  </a:lnTo>
                  <a:lnTo>
                    <a:pt x="1368972" y="191351"/>
                  </a:lnTo>
                  <a:lnTo>
                    <a:pt x="1369073" y="189954"/>
                  </a:lnTo>
                  <a:lnTo>
                    <a:pt x="1369073" y="188620"/>
                  </a:lnTo>
                  <a:lnTo>
                    <a:pt x="1369073" y="189268"/>
                  </a:lnTo>
                  <a:lnTo>
                    <a:pt x="1369124" y="189268"/>
                  </a:lnTo>
                  <a:lnTo>
                    <a:pt x="1369124" y="189954"/>
                  </a:lnTo>
                  <a:lnTo>
                    <a:pt x="1369124" y="189268"/>
                  </a:lnTo>
                  <a:lnTo>
                    <a:pt x="1369124" y="191351"/>
                  </a:lnTo>
                  <a:lnTo>
                    <a:pt x="1369175" y="191351"/>
                  </a:lnTo>
                  <a:lnTo>
                    <a:pt x="1369175" y="189268"/>
                  </a:lnTo>
                  <a:lnTo>
                    <a:pt x="1369175" y="191351"/>
                  </a:lnTo>
                  <a:lnTo>
                    <a:pt x="1369276" y="191351"/>
                  </a:lnTo>
                  <a:lnTo>
                    <a:pt x="1369276" y="189954"/>
                  </a:lnTo>
                  <a:lnTo>
                    <a:pt x="1369276" y="191351"/>
                  </a:lnTo>
                  <a:lnTo>
                    <a:pt x="1369276" y="189954"/>
                  </a:lnTo>
                  <a:lnTo>
                    <a:pt x="1369276" y="191986"/>
                  </a:lnTo>
                  <a:lnTo>
                    <a:pt x="1369327" y="191986"/>
                  </a:lnTo>
                  <a:lnTo>
                    <a:pt x="1369327" y="192684"/>
                  </a:lnTo>
                  <a:lnTo>
                    <a:pt x="1369327" y="191986"/>
                  </a:lnTo>
                  <a:lnTo>
                    <a:pt x="1369327" y="192684"/>
                  </a:lnTo>
                  <a:lnTo>
                    <a:pt x="1369378" y="192684"/>
                  </a:lnTo>
                  <a:lnTo>
                    <a:pt x="1369378" y="193383"/>
                  </a:lnTo>
                  <a:lnTo>
                    <a:pt x="1369378" y="192684"/>
                  </a:lnTo>
                  <a:lnTo>
                    <a:pt x="1369378" y="193383"/>
                  </a:lnTo>
                  <a:lnTo>
                    <a:pt x="1369378" y="192684"/>
                  </a:lnTo>
                  <a:lnTo>
                    <a:pt x="1369378" y="193383"/>
                  </a:lnTo>
                  <a:lnTo>
                    <a:pt x="1369429" y="192684"/>
                  </a:lnTo>
                  <a:lnTo>
                    <a:pt x="1369429" y="193383"/>
                  </a:lnTo>
                  <a:lnTo>
                    <a:pt x="1369429" y="192684"/>
                  </a:lnTo>
                  <a:lnTo>
                    <a:pt x="1369429" y="193383"/>
                  </a:lnTo>
                  <a:lnTo>
                    <a:pt x="1369429" y="192684"/>
                  </a:lnTo>
                  <a:lnTo>
                    <a:pt x="1369518" y="192684"/>
                  </a:lnTo>
                  <a:lnTo>
                    <a:pt x="1369518" y="193383"/>
                  </a:lnTo>
                  <a:lnTo>
                    <a:pt x="1369518" y="191986"/>
                  </a:lnTo>
                  <a:lnTo>
                    <a:pt x="1369518" y="192684"/>
                  </a:lnTo>
                  <a:lnTo>
                    <a:pt x="1369518" y="191351"/>
                  </a:lnTo>
                  <a:lnTo>
                    <a:pt x="1369569" y="191351"/>
                  </a:lnTo>
                  <a:lnTo>
                    <a:pt x="1369569" y="189268"/>
                  </a:lnTo>
                  <a:lnTo>
                    <a:pt x="1369569" y="191351"/>
                  </a:lnTo>
                  <a:lnTo>
                    <a:pt x="1369619" y="191351"/>
                  </a:lnTo>
                  <a:lnTo>
                    <a:pt x="1369619" y="189954"/>
                  </a:lnTo>
                  <a:lnTo>
                    <a:pt x="1369619" y="192684"/>
                  </a:lnTo>
                  <a:lnTo>
                    <a:pt x="1369670" y="192684"/>
                  </a:lnTo>
                  <a:lnTo>
                    <a:pt x="1369670" y="191986"/>
                  </a:lnTo>
                  <a:lnTo>
                    <a:pt x="1369670" y="192684"/>
                  </a:lnTo>
                  <a:lnTo>
                    <a:pt x="1369670" y="191351"/>
                  </a:lnTo>
                  <a:lnTo>
                    <a:pt x="1369670" y="193383"/>
                  </a:lnTo>
                  <a:lnTo>
                    <a:pt x="1369772" y="193383"/>
                  </a:lnTo>
                  <a:lnTo>
                    <a:pt x="1369772" y="194716"/>
                  </a:lnTo>
                  <a:lnTo>
                    <a:pt x="1369822" y="194716"/>
                  </a:lnTo>
                  <a:lnTo>
                    <a:pt x="1369822" y="193383"/>
                  </a:lnTo>
                  <a:lnTo>
                    <a:pt x="1369822" y="195415"/>
                  </a:lnTo>
                  <a:lnTo>
                    <a:pt x="1369822" y="194716"/>
                  </a:lnTo>
                  <a:lnTo>
                    <a:pt x="1369822" y="195415"/>
                  </a:lnTo>
                  <a:lnTo>
                    <a:pt x="1369873" y="194716"/>
                  </a:lnTo>
                  <a:lnTo>
                    <a:pt x="1369873" y="195415"/>
                  </a:lnTo>
                  <a:lnTo>
                    <a:pt x="1369975" y="195415"/>
                  </a:lnTo>
                  <a:lnTo>
                    <a:pt x="1369975" y="194716"/>
                  </a:lnTo>
                  <a:lnTo>
                    <a:pt x="1369975" y="195415"/>
                  </a:lnTo>
                  <a:lnTo>
                    <a:pt x="1370013" y="195415"/>
                  </a:lnTo>
                  <a:lnTo>
                    <a:pt x="1370013" y="193383"/>
                  </a:lnTo>
                  <a:lnTo>
                    <a:pt x="1370064" y="192684"/>
                  </a:lnTo>
                  <a:lnTo>
                    <a:pt x="1370064" y="194716"/>
                  </a:lnTo>
                  <a:lnTo>
                    <a:pt x="1370064" y="192684"/>
                  </a:lnTo>
                  <a:lnTo>
                    <a:pt x="1370115" y="192684"/>
                  </a:lnTo>
                  <a:lnTo>
                    <a:pt x="1370115" y="191986"/>
                  </a:lnTo>
                  <a:lnTo>
                    <a:pt x="1370115" y="196799"/>
                  </a:lnTo>
                  <a:lnTo>
                    <a:pt x="1370115" y="194716"/>
                  </a:lnTo>
                  <a:lnTo>
                    <a:pt x="1370216" y="194716"/>
                  </a:lnTo>
                  <a:lnTo>
                    <a:pt x="1370216" y="196113"/>
                  </a:lnTo>
                  <a:lnTo>
                    <a:pt x="1370216" y="195415"/>
                  </a:lnTo>
                  <a:lnTo>
                    <a:pt x="1370267" y="196113"/>
                  </a:lnTo>
                  <a:lnTo>
                    <a:pt x="1370267" y="196799"/>
                  </a:lnTo>
                  <a:lnTo>
                    <a:pt x="1370267" y="195415"/>
                  </a:lnTo>
                  <a:lnTo>
                    <a:pt x="1370267" y="196113"/>
                  </a:lnTo>
                  <a:lnTo>
                    <a:pt x="1370318" y="196113"/>
                  </a:lnTo>
                  <a:lnTo>
                    <a:pt x="1370318" y="195415"/>
                  </a:lnTo>
                  <a:lnTo>
                    <a:pt x="1370318" y="196113"/>
                  </a:lnTo>
                  <a:lnTo>
                    <a:pt x="1370419" y="196113"/>
                  </a:lnTo>
                  <a:lnTo>
                    <a:pt x="1370419" y="196799"/>
                  </a:lnTo>
                  <a:lnTo>
                    <a:pt x="1370419" y="196113"/>
                  </a:lnTo>
                  <a:lnTo>
                    <a:pt x="1370419" y="196799"/>
                  </a:lnTo>
                  <a:lnTo>
                    <a:pt x="1370419" y="196113"/>
                  </a:lnTo>
                  <a:lnTo>
                    <a:pt x="1370419" y="196799"/>
                  </a:lnTo>
                  <a:lnTo>
                    <a:pt x="1370419" y="196113"/>
                  </a:lnTo>
                  <a:lnTo>
                    <a:pt x="1370470" y="196113"/>
                  </a:lnTo>
                  <a:lnTo>
                    <a:pt x="1370470" y="195415"/>
                  </a:lnTo>
                  <a:lnTo>
                    <a:pt x="1370521" y="195415"/>
                  </a:lnTo>
                  <a:lnTo>
                    <a:pt x="1370521" y="193383"/>
                  </a:lnTo>
                  <a:lnTo>
                    <a:pt x="1370521" y="194716"/>
                  </a:lnTo>
                  <a:lnTo>
                    <a:pt x="1370521" y="192684"/>
                  </a:lnTo>
                  <a:lnTo>
                    <a:pt x="1370559" y="192684"/>
                  </a:lnTo>
                  <a:lnTo>
                    <a:pt x="1370559" y="195415"/>
                  </a:lnTo>
                  <a:lnTo>
                    <a:pt x="1370559" y="192684"/>
                  </a:lnTo>
                  <a:lnTo>
                    <a:pt x="1370661" y="193383"/>
                  </a:lnTo>
                  <a:lnTo>
                    <a:pt x="1370661" y="196799"/>
                  </a:lnTo>
                  <a:lnTo>
                    <a:pt x="1370661" y="195415"/>
                  </a:lnTo>
                  <a:lnTo>
                    <a:pt x="1370661" y="196113"/>
                  </a:lnTo>
                  <a:lnTo>
                    <a:pt x="1370661" y="195415"/>
                  </a:lnTo>
                  <a:lnTo>
                    <a:pt x="1370661" y="196113"/>
                  </a:lnTo>
                  <a:lnTo>
                    <a:pt x="1370712" y="196113"/>
                  </a:lnTo>
                  <a:lnTo>
                    <a:pt x="1370712" y="196799"/>
                  </a:lnTo>
                  <a:lnTo>
                    <a:pt x="1370712" y="196113"/>
                  </a:lnTo>
                  <a:lnTo>
                    <a:pt x="1370712" y="197447"/>
                  </a:lnTo>
                  <a:lnTo>
                    <a:pt x="1370762" y="197447"/>
                  </a:lnTo>
                  <a:lnTo>
                    <a:pt x="1370762" y="196799"/>
                  </a:lnTo>
                  <a:lnTo>
                    <a:pt x="1370762" y="197447"/>
                  </a:lnTo>
                  <a:lnTo>
                    <a:pt x="1370762" y="196799"/>
                  </a:lnTo>
                  <a:lnTo>
                    <a:pt x="1370762" y="197447"/>
                  </a:lnTo>
                  <a:lnTo>
                    <a:pt x="1370762" y="196799"/>
                  </a:lnTo>
                  <a:lnTo>
                    <a:pt x="1370762" y="198831"/>
                  </a:lnTo>
                  <a:lnTo>
                    <a:pt x="1370864" y="197447"/>
                  </a:lnTo>
                  <a:lnTo>
                    <a:pt x="1370864" y="196799"/>
                  </a:lnTo>
                  <a:lnTo>
                    <a:pt x="1370864" y="197447"/>
                  </a:lnTo>
                  <a:lnTo>
                    <a:pt x="1370915" y="197447"/>
                  </a:lnTo>
                  <a:lnTo>
                    <a:pt x="1370915" y="198831"/>
                  </a:lnTo>
                  <a:lnTo>
                    <a:pt x="1370915" y="196799"/>
                  </a:lnTo>
                  <a:lnTo>
                    <a:pt x="1370915" y="197447"/>
                  </a:lnTo>
                  <a:lnTo>
                    <a:pt x="1370965" y="197447"/>
                  </a:lnTo>
                  <a:lnTo>
                    <a:pt x="1370965" y="196799"/>
                  </a:lnTo>
                  <a:lnTo>
                    <a:pt x="1370965" y="197447"/>
                  </a:lnTo>
                  <a:lnTo>
                    <a:pt x="1370965" y="196799"/>
                  </a:lnTo>
                  <a:lnTo>
                    <a:pt x="1371016" y="196113"/>
                  </a:lnTo>
                  <a:lnTo>
                    <a:pt x="1371016" y="196799"/>
                  </a:lnTo>
                  <a:lnTo>
                    <a:pt x="1371016" y="195415"/>
                  </a:lnTo>
                  <a:lnTo>
                    <a:pt x="1371016" y="197447"/>
                  </a:lnTo>
                  <a:lnTo>
                    <a:pt x="1371016" y="196799"/>
                  </a:lnTo>
                  <a:lnTo>
                    <a:pt x="1371105" y="196799"/>
                  </a:lnTo>
                  <a:lnTo>
                    <a:pt x="1371105" y="195415"/>
                  </a:lnTo>
                  <a:lnTo>
                    <a:pt x="1371105" y="198831"/>
                  </a:lnTo>
                  <a:lnTo>
                    <a:pt x="1371105" y="197447"/>
                  </a:lnTo>
                  <a:lnTo>
                    <a:pt x="1371156" y="197447"/>
                  </a:lnTo>
                  <a:lnTo>
                    <a:pt x="1371156" y="196113"/>
                  </a:lnTo>
                  <a:lnTo>
                    <a:pt x="1371156" y="198831"/>
                  </a:lnTo>
                  <a:lnTo>
                    <a:pt x="1371207" y="197447"/>
                  </a:lnTo>
                  <a:lnTo>
                    <a:pt x="1371207" y="198831"/>
                  </a:lnTo>
                  <a:lnTo>
                    <a:pt x="1371207" y="197447"/>
                  </a:lnTo>
                  <a:lnTo>
                    <a:pt x="1371207" y="199530"/>
                  </a:lnTo>
                  <a:lnTo>
                    <a:pt x="1371207" y="198831"/>
                  </a:lnTo>
                  <a:lnTo>
                    <a:pt x="1371258" y="198831"/>
                  </a:lnTo>
                  <a:lnTo>
                    <a:pt x="1371258" y="199530"/>
                  </a:lnTo>
                  <a:lnTo>
                    <a:pt x="1371258" y="198831"/>
                  </a:lnTo>
                  <a:lnTo>
                    <a:pt x="1371258" y="199530"/>
                  </a:lnTo>
                  <a:lnTo>
                    <a:pt x="1371258" y="198831"/>
                  </a:lnTo>
                  <a:lnTo>
                    <a:pt x="1371258" y="199530"/>
                  </a:lnTo>
                  <a:lnTo>
                    <a:pt x="1371359" y="199530"/>
                  </a:lnTo>
                  <a:lnTo>
                    <a:pt x="1371359" y="200228"/>
                  </a:lnTo>
                  <a:lnTo>
                    <a:pt x="1371359" y="199530"/>
                  </a:lnTo>
                  <a:lnTo>
                    <a:pt x="1371410" y="200228"/>
                  </a:lnTo>
                  <a:lnTo>
                    <a:pt x="1371410" y="199530"/>
                  </a:lnTo>
                  <a:lnTo>
                    <a:pt x="1371410" y="200228"/>
                  </a:lnTo>
                  <a:lnTo>
                    <a:pt x="1371410" y="198831"/>
                  </a:lnTo>
                  <a:lnTo>
                    <a:pt x="1371461" y="198831"/>
                  </a:lnTo>
                  <a:lnTo>
                    <a:pt x="1371461" y="196799"/>
                  </a:lnTo>
                  <a:lnTo>
                    <a:pt x="1371562" y="196799"/>
                  </a:lnTo>
                  <a:lnTo>
                    <a:pt x="1371562" y="199530"/>
                  </a:lnTo>
                  <a:lnTo>
                    <a:pt x="1371562" y="197447"/>
                  </a:lnTo>
                  <a:lnTo>
                    <a:pt x="1371600" y="197447"/>
                  </a:lnTo>
                  <a:lnTo>
                    <a:pt x="1371600" y="200876"/>
                  </a:lnTo>
                  <a:lnTo>
                    <a:pt x="1371600" y="199530"/>
                  </a:lnTo>
                  <a:lnTo>
                    <a:pt x="1371600" y="200228"/>
                  </a:lnTo>
                  <a:lnTo>
                    <a:pt x="1371600" y="199530"/>
                  </a:lnTo>
                  <a:lnTo>
                    <a:pt x="1371651" y="199530"/>
                  </a:lnTo>
                  <a:lnTo>
                    <a:pt x="1371651" y="200876"/>
                  </a:lnTo>
                  <a:lnTo>
                    <a:pt x="1371651" y="200228"/>
                  </a:lnTo>
                  <a:lnTo>
                    <a:pt x="1371651" y="200876"/>
                  </a:lnTo>
                  <a:lnTo>
                    <a:pt x="1371702" y="200876"/>
                  </a:lnTo>
                  <a:lnTo>
                    <a:pt x="1371702" y="200228"/>
                  </a:lnTo>
                  <a:lnTo>
                    <a:pt x="1371702" y="200876"/>
                  </a:lnTo>
                  <a:lnTo>
                    <a:pt x="1371702" y="200228"/>
                  </a:lnTo>
                  <a:lnTo>
                    <a:pt x="1371702" y="200876"/>
                  </a:lnTo>
                  <a:lnTo>
                    <a:pt x="1371702" y="200228"/>
                  </a:lnTo>
                  <a:lnTo>
                    <a:pt x="1371702" y="200876"/>
                  </a:lnTo>
                  <a:lnTo>
                    <a:pt x="1371804" y="200876"/>
                  </a:lnTo>
                  <a:lnTo>
                    <a:pt x="1371804" y="202260"/>
                  </a:lnTo>
                  <a:lnTo>
                    <a:pt x="1371804" y="200876"/>
                  </a:lnTo>
                  <a:lnTo>
                    <a:pt x="1371804" y="202260"/>
                  </a:lnTo>
                  <a:lnTo>
                    <a:pt x="1371804" y="200876"/>
                  </a:lnTo>
                  <a:lnTo>
                    <a:pt x="1371855" y="200228"/>
                  </a:lnTo>
                  <a:lnTo>
                    <a:pt x="1371855" y="202260"/>
                  </a:lnTo>
                  <a:lnTo>
                    <a:pt x="1371855" y="200876"/>
                  </a:lnTo>
                  <a:lnTo>
                    <a:pt x="1371905" y="200876"/>
                  </a:lnTo>
                  <a:lnTo>
                    <a:pt x="1371905" y="200228"/>
                  </a:lnTo>
                  <a:lnTo>
                    <a:pt x="1372007" y="200228"/>
                  </a:lnTo>
                  <a:lnTo>
                    <a:pt x="1372007" y="199530"/>
                  </a:lnTo>
                  <a:lnTo>
                    <a:pt x="1372007" y="200228"/>
                  </a:lnTo>
                  <a:lnTo>
                    <a:pt x="1372007" y="198831"/>
                  </a:lnTo>
                  <a:lnTo>
                    <a:pt x="1372007" y="199530"/>
                  </a:lnTo>
                  <a:lnTo>
                    <a:pt x="1372007" y="197447"/>
                  </a:lnTo>
                  <a:lnTo>
                    <a:pt x="1372058" y="198831"/>
                  </a:lnTo>
                  <a:lnTo>
                    <a:pt x="1372058" y="200228"/>
                  </a:lnTo>
                  <a:lnTo>
                    <a:pt x="1372058" y="198831"/>
                  </a:lnTo>
                  <a:lnTo>
                    <a:pt x="1372058" y="200228"/>
                  </a:lnTo>
                  <a:lnTo>
                    <a:pt x="1372109" y="200228"/>
                  </a:lnTo>
                  <a:lnTo>
                    <a:pt x="1372109" y="200876"/>
                  </a:lnTo>
                  <a:lnTo>
                    <a:pt x="1372109" y="199530"/>
                  </a:lnTo>
                  <a:lnTo>
                    <a:pt x="1372109" y="200876"/>
                  </a:lnTo>
                  <a:lnTo>
                    <a:pt x="1372147" y="200876"/>
                  </a:lnTo>
                  <a:lnTo>
                    <a:pt x="1372147" y="200228"/>
                  </a:lnTo>
                  <a:lnTo>
                    <a:pt x="1372147" y="200876"/>
                  </a:lnTo>
                  <a:lnTo>
                    <a:pt x="1372147" y="200228"/>
                  </a:lnTo>
                  <a:lnTo>
                    <a:pt x="1372147" y="200876"/>
                  </a:lnTo>
                  <a:lnTo>
                    <a:pt x="1372147" y="200228"/>
                  </a:lnTo>
                  <a:lnTo>
                    <a:pt x="1372147" y="200876"/>
                  </a:lnTo>
                  <a:lnTo>
                    <a:pt x="1372147" y="200228"/>
                  </a:lnTo>
                  <a:lnTo>
                    <a:pt x="1372147" y="200876"/>
                  </a:lnTo>
                  <a:lnTo>
                    <a:pt x="1372248" y="200876"/>
                  </a:lnTo>
                  <a:lnTo>
                    <a:pt x="1372248" y="200228"/>
                  </a:lnTo>
                  <a:lnTo>
                    <a:pt x="1372248" y="200876"/>
                  </a:lnTo>
                  <a:lnTo>
                    <a:pt x="1372299" y="200876"/>
                  </a:lnTo>
                  <a:lnTo>
                    <a:pt x="1372299" y="202260"/>
                  </a:lnTo>
                  <a:lnTo>
                    <a:pt x="1372299" y="200876"/>
                  </a:lnTo>
                  <a:lnTo>
                    <a:pt x="1372299" y="202260"/>
                  </a:lnTo>
                  <a:lnTo>
                    <a:pt x="1372299" y="200876"/>
                  </a:lnTo>
                  <a:lnTo>
                    <a:pt x="1372350" y="200876"/>
                  </a:lnTo>
                  <a:lnTo>
                    <a:pt x="1372350" y="200228"/>
                  </a:lnTo>
                  <a:lnTo>
                    <a:pt x="1372350" y="200876"/>
                  </a:lnTo>
                  <a:lnTo>
                    <a:pt x="1372350" y="200228"/>
                  </a:lnTo>
                  <a:lnTo>
                    <a:pt x="1372350" y="200876"/>
                  </a:lnTo>
                  <a:lnTo>
                    <a:pt x="1372350" y="200228"/>
                  </a:lnTo>
                  <a:lnTo>
                    <a:pt x="1372451" y="200228"/>
                  </a:lnTo>
                  <a:lnTo>
                    <a:pt x="1372451" y="199530"/>
                  </a:lnTo>
                  <a:lnTo>
                    <a:pt x="1372451" y="200228"/>
                  </a:lnTo>
                  <a:lnTo>
                    <a:pt x="1372451" y="198831"/>
                  </a:lnTo>
                  <a:lnTo>
                    <a:pt x="1372502" y="198831"/>
                  </a:lnTo>
                  <a:lnTo>
                    <a:pt x="1372502" y="196799"/>
                  </a:lnTo>
                  <a:lnTo>
                    <a:pt x="1372502" y="198831"/>
                  </a:lnTo>
                  <a:lnTo>
                    <a:pt x="1372553" y="198831"/>
                  </a:lnTo>
                  <a:lnTo>
                    <a:pt x="1372553" y="197447"/>
                  </a:lnTo>
                  <a:lnTo>
                    <a:pt x="1372553" y="200228"/>
                  </a:lnTo>
                  <a:lnTo>
                    <a:pt x="1372553" y="199530"/>
                  </a:lnTo>
                  <a:lnTo>
                    <a:pt x="1372604" y="200228"/>
                  </a:lnTo>
                  <a:lnTo>
                    <a:pt x="1372604" y="199530"/>
                  </a:lnTo>
                  <a:lnTo>
                    <a:pt x="1372604" y="200876"/>
                  </a:lnTo>
                  <a:lnTo>
                    <a:pt x="1372604" y="200228"/>
                  </a:lnTo>
                  <a:lnTo>
                    <a:pt x="1372693" y="200228"/>
                  </a:lnTo>
                  <a:lnTo>
                    <a:pt x="1372693" y="200876"/>
                  </a:lnTo>
                  <a:lnTo>
                    <a:pt x="1372693" y="200228"/>
                  </a:lnTo>
                  <a:lnTo>
                    <a:pt x="1372693" y="200876"/>
                  </a:lnTo>
                  <a:lnTo>
                    <a:pt x="1372693" y="200228"/>
                  </a:lnTo>
                  <a:lnTo>
                    <a:pt x="1372744" y="200876"/>
                  </a:lnTo>
                  <a:lnTo>
                    <a:pt x="1372744" y="202260"/>
                  </a:lnTo>
                  <a:lnTo>
                    <a:pt x="1372744" y="200876"/>
                  </a:lnTo>
                  <a:lnTo>
                    <a:pt x="1372744" y="202260"/>
                  </a:lnTo>
                  <a:lnTo>
                    <a:pt x="1372794" y="202260"/>
                  </a:lnTo>
                  <a:lnTo>
                    <a:pt x="1372794" y="200876"/>
                  </a:lnTo>
                  <a:lnTo>
                    <a:pt x="1372794" y="202260"/>
                  </a:lnTo>
                  <a:lnTo>
                    <a:pt x="1372794" y="200876"/>
                  </a:lnTo>
                  <a:lnTo>
                    <a:pt x="1372794" y="202260"/>
                  </a:lnTo>
                  <a:lnTo>
                    <a:pt x="1372845" y="200876"/>
                  </a:lnTo>
                  <a:lnTo>
                    <a:pt x="1372845" y="202260"/>
                  </a:lnTo>
                  <a:lnTo>
                    <a:pt x="1372845" y="200876"/>
                  </a:lnTo>
                  <a:lnTo>
                    <a:pt x="1372845" y="202260"/>
                  </a:lnTo>
                  <a:lnTo>
                    <a:pt x="1372845" y="200228"/>
                  </a:lnTo>
                  <a:lnTo>
                    <a:pt x="1372947" y="200228"/>
                  </a:lnTo>
                  <a:lnTo>
                    <a:pt x="1372947" y="198831"/>
                  </a:lnTo>
                  <a:lnTo>
                    <a:pt x="1372997" y="199530"/>
                  </a:lnTo>
                  <a:lnTo>
                    <a:pt x="1372997" y="197447"/>
                  </a:lnTo>
                  <a:lnTo>
                    <a:pt x="1372997" y="199530"/>
                  </a:lnTo>
                  <a:lnTo>
                    <a:pt x="1373048" y="199530"/>
                  </a:lnTo>
                  <a:lnTo>
                    <a:pt x="1373048" y="196799"/>
                  </a:lnTo>
                  <a:lnTo>
                    <a:pt x="1373048" y="200876"/>
                  </a:lnTo>
                  <a:lnTo>
                    <a:pt x="1373048" y="200228"/>
                  </a:lnTo>
                  <a:lnTo>
                    <a:pt x="1373150" y="200228"/>
                  </a:lnTo>
                  <a:lnTo>
                    <a:pt x="1373150" y="198831"/>
                  </a:lnTo>
                  <a:lnTo>
                    <a:pt x="1373150" y="200228"/>
                  </a:lnTo>
                  <a:lnTo>
                    <a:pt x="1373188" y="200228"/>
                  </a:lnTo>
                  <a:lnTo>
                    <a:pt x="1373188" y="199530"/>
                  </a:lnTo>
                  <a:lnTo>
                    <a:pt x="1373188" y="200876"/>
                  </a:lnTo>
                  <a:lnTo>
                    <a:pt x="1373239" y="200876"/>
                  </a:lnTo>
                  <a:lnTo>
                    <a:pt x="1373239" y="199530"/>
                  </a:lnTo>
                  <a:lnTo>
                    <a:pt x="1373239" y="202260"/>
                  </a:lnTo>
                  <a:lnTo>
                    <a:pt x="1373290" y="200876"/>
                  </a:lnTo>
                  <a:lnTo>
                    <a:pt x="1373290" y="202260"/>
                  </a:lnTo>
                  <a:lnTo>
                    <a:pt x="1373290" y="200876"/>
                  </a:lnTo>
                  <a:lnTo>
                    <a:pt x="1373391" y="200876"/>
                  </a:lnTo>
                  <a:lnTo>
                    <a:pt x="1373391" y="202260"/>
                  </a:lnTo>
                  <a:lnTo>
                    <a:pt x="1373391" y="200876"/>
                  </a:lnTo>
                  <a:lnTo>
                    <a:pt x="1373442" y="200876"/>
                  </a:lnTo>
                  <a:lnTo>
                    <a:pt x="1373442" y="199530"/>
                  </a:lnTo>
                  <a:lnTo>
                    <a:pt x="1373493" y="199530"/>
                  </a:lnTo>
                  <a:lnTo>
                    <a:pt x="1373493" y="196799"/>
                  </a:lnTo>
                  <a:lnTo>
                    <a:pt x="1373493" y="199530"/>
                  </a:lnTo>
                  <a:lnTo>
                    <a:pt x="1373594" y="199530"/>
                  </a:lnTo>
                  <a:lnTo>
                    <a:pt x="1373594" y="196799"/>
                  </a:lnTo>
                  <a:lnTo>
                    <a:pt x="1373594" y="200228"/>
                  </a:lnTo>
                  <a:lnTo>
                    <a:pt x="1373645" y="200228"/>
                  </a:lnTo>
                  <a:lnTo>
                    <a:pt x="1373645" y="198831"/>
                  </a:lnTo>
                  <a:lnTo>
                    <a:pt x="1373645" y="200228"/>
                  </a:lnTo>
                  <a:lnTo>
                    <a:pt x="1373734" y="200228"/>
                  </a:lnTo>
                  <a:lnTo>
                    <a:pt x="1373734" y="202260"/>
                  </a:lnTo>
                  <a:lnTo>
                    <a:pt x="1373734" y="200876"/>
                  </a:lnTo>
                  <a:lnTo>
                    <a:pt x="1373734" y="202260"/>
                  </a:lnTo>
                  <a:lnTo>
                    <a:pt x="1373734" y="200876"/>
                  </a:lnTo>
                  <a:lnTo>
                    <a:pt x="1373734" y="202260"/>
                  </a:lnTo>
                  <a:lnTo>
                    <a:pt x="1373836" y="202260"/>
                  </a:lnTo>
                  <a:lnTo>
                    <a:pt x="1373836" y="202959"/>
                  </a:lnTo>
                  <a:lnTo>
                    <a:pt x="1373887" y="202260"/>
                  </a:lnTo>
                  <a:lnTo>
                    <a:pt x="1373887" y="200876"/>
                  </a:lnTo>
                  <a:lnTo>
                    <a:pt x="1373937" y="202260"/>
                  </a:lnTo>
                  <a:lnTo>
                    <a:pt x="1373937" y="200228"/>
                  </a:lnTo>
                  <a:lnTo>
                    <a:pt x="1373937" y="200876"/>
                  </a:lnTo>
                  <a:lnTo>
                    <a:pt x="1373937" y="199530"/>
                  </a:lnTo>
                  <a:lnTo>
                    <a:pt x="1374039" y="199530"/>
                  </a:lnTo>
                  <a:lnTo>
                    <a:pt x="1374039" y="200228"/>
                  </a:lnTo>
                  <a:lnTo>
                    <a:pt x="1374039" y="198831"/>
                  </a:lnTo>
                  <a:lnTo>
                    <a:pt x="1374039" y="199530"/>
                  </a:lnTo>
                  <a:lnTo>
                    <a:pt x="1374090" y="199530"/>
                  </a:lnTo>
                  <a:lnTo>
                    <a:pt x="1374090" y="196799"/>
                  </a:lnTo>
                  <a:lnTo>
                    <a:pt x="1374090" y="202260"/>
                  </a:lnTo>
                  <a:lnTo>
                    <a:pt x="1374090" y="200876"/>
                  </a:lnTo>
                  <a:lnTo>
                    <a:pt x="1374140" y="200228"/>
                  </a:lnTo>
                  <a:lnTo>
                    <a:pt x="1374140" y="198831"/>
                  </a:lnTo>
                  <a:lnTo>
                    <a:pt x="1374140" y="200876"/>
                  </a:lnTo>
                  <a:lnTo>
                    <a:pt x="1374140" y="200228"/>
                  </a:lnTo>
                  <a:lnTo>
                    <a:pt x="1374191" y="199530"/>
                  </a:lnTo>
                  <a:lnTo>
                    <a:pt x="1374191" y="200876"/>
                  </a:lnTo>
                  <a:lnTo>
                    <a:pt x="1374191" y="200228"/>
                  </a:lnTo>
                  <a:lnTo>
                    <a:pt x="1374280" y="200228"/>
                  </a:lnTo>
                  <a:lnTo>
                    <a:pt x="1374280" y="200876"/>
                  </a:lnTo>
                  <a:lnTo>
                    <a:pt x="1374280" y="200228"/>
                  </a:lnTo>
                  <a:lnTo>
                    <a:pt x="1374280" y="200876"/>
                  </a:lnTo>
                  <a:lnTo>
                    <a:pt x="1374280" y="200228"/>
                  </a:lnTo>
                  <a:lnTo>
                    <a:pt x="1374280" y="202260"/>
                  </a:lnTo>
                  <a:lnTo>
                    <a:pt x="1374331" y="202260"/>
                  </a:lnTo>
                  <a:lnTo>
                    <a:pt x="1374331" y="200876"/>
                  </a:lnTo>
                  <a:lnTo>
                    <a:pt x="1374331" y="202260"/>
                  </a:lnTo>
                  <a:lnTo>
                    <a:pt x="1374331" y="200876"/>
                  </a:lnTo>
                  <a:lnTo>
                    <a:pt x="1374331" y="202959"/>
                  </a:lnTo>
                  <a:lnTo>
                    <a:pt x="1374331" y="202260"/>
                  </a:lnTo>
                  <a:lnTo>
                    <a:pt x="1374382" y="202260"/>
                  </a:lnTo>
                  <a:lnTo>
                    <a:pt x="1374382" y="202959"/>
                  </a:lnTo>
                  <a:lnTo>
                    <a:pt x="1374382" y="202260"/>
                  </a:lnTo>
                  <a:lnTo>
                    <a:pt x="1374433" y="202260"/>
                  </a:lnTo>
                  <a:lnTo>
                    <a:pt x="1374433" y="200876"/>
                  </a:lnTo>
                  <a:lnTo>
                    <a:pt x="1374534" y="200876"/>
                  </a:lnTo>
                  <a:lnTo>
                    <a:pt x="1374534" y="199530"/>
                  </a:lnTo>
                  <a:lnTo>
                    <a:pt x="1374534" y="200876"/>
                  </a:lnTo>
                  <a:lnTo>
                    <a:pt x="1374534" y="200228"/>
                  </a:lnTo>
                  <a:lnTo>
                    <a:pt x="1374585" y="200228"/>
                  </a:lnTo>
                  <a:lnTo>
                    <a:pt x="1374585" y="199530"/>
                  </a:lnTo>
                  <a:lnTo>
                    <a:pt x="1374585" y="202959"/>
                  </a:lnTo>
                  <a:lnTo>
                    <a:pt x="1374585" y="200876"/>
                  </a:lnTo>
                  <a:lnTo>
                    <a:pt x="1374636" y="200228"/>
                  </a:lnTo>
                  <a:lnTo>
                    <a:pt x="1374636" y="202260"/>
                  </a:lnTo>
                  <a:lnTo>
                    <a:pt x="1374636" y="200876"/>
                  </a:lnTo>
                  <a:lnTo>
                    <a:pt x="1374737" y="200876"/>
                  </a:lnTo>
                  <a:lnTo>
                    <a:pt x="1374737" y="202260"/>
                  </a:lnTo>
                  <a:lnTo>
                    <a:pt x="1374737" y="200876"/>
                  </a:lnTo>
                  <a:lnTo>
                    <a:pt x="1374737" y="202260"/>
                  </a:lnTo>
                  <a:lnTo>
                    <a:pt x="1374775" y="202260"/>
                  </a:lnTo>
                  <a:lnTo>
                    <a:pt x="1374775" y="202959"/>
                  </a:lnTo>
                  <a:lnTo>
                    <a:pt x="1374775" y="202260"/>
                  </a:lnTo>
                  <a:lnTo>
                    <a:pt x="1374775" y="202959"/>
                  </a:lnTo>
                  <a:lnTo>
                    <a:pt x="1374826" y="202959"/>
                  </a:lnTo>
                  <a:lnTo>
                    <a:pt x="1374826" y="203594"/>
                  </a:lnTo>
                  <a:lnTo>
                    <a:pt x="1374826" y="202959"/>
                  </a:lnTo>
                  <a:lnTo>
                    <a:pt x="1374826" y="203594"/>
                  </a:lnTo>
                  <a:lnTo>
                    <a:pt x="1374877" y="202959"/>
                  </a:lnTo>
                  <a:lnTo>
                    <a:pt x="1374877" y="203594"/>
                  </a:lnTo>
                  <a:lnTo>
                    <a:pt x="1374877" y="202959"/>
                  </a:lnTo>
                  <a:lnTo>
                    <a:pt x="1374877" y="203594"/>
                  </a:lnTo>
                  <a:lnTo>
                    <a:pt x="1374877" y="202959"/>
                  </a:lnTo>
                  <a:lnTo>
                    <a:pt x="1374877" y="203594"/>
                  </a:lnTo>
                  <a:lnTo>
                    <a:pt x="1374877" y="202959"/>
                  </a:lnTo>
                  <a:lnTo>
                    <a:pt x="1374877" y="203594"/>
                  </a:lnTo>
                  <a:lnTo>
                    <a:pt x="1374979" y="202959"/>
                  </a:lnTo>
                  <a:lnTo>
                    <a:pt x="1374979" y="202260"/>
                  </a:lnTo>
                  <a:lnTo>
                    <a:pt x="1374979" y="202959"/>
                  </a:lnTo>
                  <a:lnTo>
                    <a:pt x="1374979" y="200876"/>
                  </a:lnTo>
                  <a:lnTo>
                    <a:pt x="1375030" y="200876"/>
                  </a:lnTo>
                  <a:lnTo>
                    <a:pt x="1375030" y="202260"/>
                  </a:lnTo>
                  <a:lnTo>
                    <a:pt x="1375030" y="200876"/>
                  </a:lnTo>
                  <a:lnTo>
                    <a:pt x="1375030" y="202260"/>
                  </a:lnTo>
                  <a:lnTo>
                    <a:pt x="1375030" y="200876"/>
                  </a:lnTo>
                  <a:lnTo>
                    <a:pt x="1375030" y="202260"/>
                  </a:lnTo>
                  <a:lnTo>
                    <a:pt x="1375080" y="202260"/>
                  </a:lnTo>
                  <a:lnTo>
                    <a:pt x="1375080" y="200876"/>
                  </a:lnTo>
                  <a:lnTo>
                    <a:pt x="1375080" y="203594"/>
                  </a:lnTo>
                  <a:lnTo>
                    <a:pt x="1375080" y="202260"/>
                  </a:lnTo>
                  <a:lnTo>
                    <a:pt x="1375080" y="202959"/>
                  </a:lnTo>
                  <a:lnTo>
                    <a:pt x="1375080" y="202260"/>
                  </a:lnTo>
                  <a:lnTo>
                    <a:pt x="1375182" y="202260"/>
                  </a:lnTo>
                  <a:lnTo>
                    <a:pt x="1375182" y="203594"/>
                  </a:lnTo>
                  <a:lnTo>
                    <a:pt x="1375182" y="202959"/>
                  </a:lnTo>
                  <a:lnTo>
                    <a:pt x="1375182" y="203594"/>
                  </a:lnTo>
                  <a:lnTo>
                    <a:pt x="1375182" y="202959"/>
                  </a:lnTo>
                  <a:lnTo>
                    <a:pt x="1375233" y="202959"/>
                  </a:lnTo>
                  <a:lnTo>
                    <a:pt x="1375233" y="203594"/>
                  </a:lnTo>
                  <a:lnTo>
                    <a:pt x="1375233" y="202959"/>
                  </a:lnTo>
                  <a:lnTo>
                    <a:pt x="1375233" y="203594"/>
                  </a:lnTo>
                  <a:lnTo>
                    <a:pt x="1375233" y="202959"/>
                  </a:lnTo>
                  <a:lnTo>
                    <a:pt x="1375233" y="203594"/>
                  </a:lnTo>
                  <a:lnTo>
                    <a:pt x="1375233" y="202959"/>
                  </a:lnTo>
                  <a:lnTo>
                    <a:pt x="1375233" y="203594"/>
                  </a:lnTo>
                  <a:lnTo>
                    <a:pt x="1375233" y="202959"/>
                  </a:lnTo>
                  <a:lnTo>
                    <a:pt x="1375233" y="203594"/>
                  </a:lnTo>
                  <a:lnTo>
                    <a:pt x="1375233" y="202959"/>
                  </a:lnTo>
                  <a:lnTo>
                    <a:pt x="1375284" y="202959"/>
                  </a:lnTo>
                  <a:lnTo>
                    <a:pt x="1375284" y="203594"/>
                  </a:lnTo>
                  <a:lnTo>
                    <a:pt x="1375423" y="203594"/>
                  </a:lnTo>
                  <a:lnTo>
                    <a:pt x="1375423" y="202959"/>
                  </a:lnTo>
                  <a:lnTo>
                    <a:pt x="1375423" y="203594"/>
                  </a:lnTo>
                  <a:lnTo>
                    <a:pt x="1375423" y="202959"/>
                  </a:lnTo>
                  <a:lnTo>
                    <a:pt x="1375423" y="203594"/>
                  </a:lnTo>
                  <a:lnTo>
                    <a:pt x="1375423" y="202260"/>
                  </a:lnTo>
                  <a:lnTo>
                    <a:pt x="1375423" y="202959"/>
                  </a:lnTo>
                  <a:lnTo>
                    <a:pt x="1375423" y="202260"/>
                  </a:lnTo>
                  <a:lnTo>
                    <a:pt x="1375423" y="202959"/>
                  </a:lnTo>
                  <a:lnTo>
                    <a:pt x="1375474" y="202959"/>
                  </a:lnTo>
                  <a:lnTo>
                    <a:pt x="1375474" y="202260"/>
                  </a:lnTo>
                  <a:lnTo>
                    <a:pt x="1375474" y="202959"/>
                  </a:lnTo>
                  <a:lnTo>
                    <a:pt x="1375474" y="200876"/>
                  </a:lnTo>
                  <a:lnTo>
                    <a:pt x="1375474" y="202260"/>
                  </a:lnTo>
                  <a:lnTo>
                    <a:pt x="1375525" y="200876"/>
                  </a:lnTo>
                  <a:lnTo>
                    <a:pt x="1375525" y="199530"/>
                  </a:lnTo>
                  <a:lnTo>
                    <a:pt x="1375525" y="202260"/>
                  </a:lnTo>
                  <a:lnTo>
                    <a:pt x="1375525" y="200876"/>
                  </a:lnTo>
                  <a:lnTo>
                    <a:pt x="1375525" y="202260"/>
                  </a:lnTo>
                  <a:lnTo>
                    <a:pt x="1375525" y="200876"/>
                  </a:lnTo>
                  <a:lnTo>
                    <a:pt x="1375626" y="200876"/>
                  </a:lnTo>
                  <a:lnTo>
                    <a:pt x="1375626" y="200228"/>
                  </a:lnTo>
                  <a:lnTo>
                    <a:pt x="1375626" y="203594"/>
                  </a:lnTo>
                  <a:lnTo>
                    <a:pt x="1375626" y="202260"/>
                  </a:lnTo>
                  <a:lnTo>
                    <a:pt x="1375677" y="202260"/>
                  </a:lnTo>
                  <a:lnTo>
                    <a:pt x="1375677" y="203594"/>
                  </a:lnTo>
                  <a:lnTo>
                    <a:pt x="1375677" y="202959"/>
                  </a:lnTo>
                  <a:lnTo>
                    <a:pt x="1375677" y="203594"/>
                  </a:lnTo>
                  <a:lnTo>
                    <a:pt x="1375728" y="202959"/>
                  </a:lnTo>
                  <a:lnTo>
                    <a:pt x="1375728" y="203594"/>
                  </a:lnTo>
                  <a:lnTo>
                    <a:pt x="1375728" y="202959"/>
                  </a:lnTo>
                  <a:lnTo>
                    <a:pt x="1375728" y="203594"/>
                  </a:lnTo>
                  <a:lnTo>
                    <a:pt x="1375728" y="202959"/>
                  </a:lnTo>
                  <a:lnTo>
                    <a:pt x="1375779" y="203594"/>
                  </a:lnTo>
                  <a:lnTo>
                    <a:pt x="1375779" y="204292"/>
                  </a:lnTo>
                  <a:lnTo>
                    <a:pt x="1375779" y="203594"/>
                  </a:lnTo>
                  <a:lnTo>
                    <a:pt x="1375779" y="204292"/>
                  </a:lnTo>
                  <a:lnTo>
                    <a:pt x="1375779" y="203594"/>
                  </a:lnTo>
                  <a:lnTo>
                    <a:pt x="1375779" y="204292"/>
                  </a:lnTo>
                  <a:lnTo>
                    <a:pt x="1375868" y="204292"/>
                  </a:lnTo>
                  <a:lnTo>
                    <a:pt x="1375868" y="203594"/>
                  </a:lnTo>
                  <a:lnTo>
                    <a:pt x="1375868" y="204292"/>
                  </a:lnTo>
                  <a:lnTo>
                    <a:pt x="1375868" y="203594"/>
                  </a:lnTo>
                  <a:lnTo>
                    <a:pt x="1375919" y="203594"/>
                  </a:lnTo>
                  <a:lnTo>
                    <a:pt x="1375919" y="202959"/>
                  </a:lnTo>
                  <a:lnTo>
                    <a:pt x="1375919" y="203594"/>
                  </a:lnTo>
                  <a:lnTo>
                    <a:pt x="1375919" y="202959"/>
                  </a:lnTo>
                  <a:lnTo>
                    <a:pt x="1375969" y="202959"/>
                  </a:lnTo>
                  <a:lnTo>
                    <a:pt x="1375969" y="200876"/>
                  </a:lnTo>
                  <a:lnTo>
                    <a:pt x="1375969" y="202959"/>
                  </a:lnTo>
                  <a:lnTo>
                    <a:pt x="1376020" y="202959"/>
                  </a:lnTo>
                  <a:lnTo>
                    <a:pt x="1376020" y="200876"/>
                  </a:lnTo>
                  <a:lnTo>
                    <a:pt x="1376020" y="203594"/>
                  </a:lnTo>
                  <a:lnTo>
                    <a:pt x="1376122" y="203594"/>
                  </a:lnTo>
                  <a:lnTo>
                    <a:pt x="1376122" y="202959"/>
                  </a:lnTo>
                  <a:lnTo>
                    <a:pt x="1376122" y="203594"/>
                  </a:lnTo>
                  <a:lnTo>
                    <a:pt x="1376172" y="203594"/>
                  </a:lnTo>
                  <a:lnTo>
                    <a:pt x="1376172" y="204292"/>
                  </a:lnTo>
                  <a:lnTo>
                    <a:pt x="1376172" y="202959"/>
                  </a:lnTo>
                  <a:lnTo>
                    <a:pt x="1376172" y="204292"/>
                  </a:lnTo>
                  <a:lnTo>
                    <a:pt x="1376223" y="204292"/>
                  </a:lnTo>
                  <a:lnTo>
                    <a:pt x="1376223" y="203594"/>
                  </a:lnTo>
                  <a:lnTo>
                    <a:pt x="1376223" y="204292"/>
                  </a:lnTo>
                  <a:lnTo>
                    <a:pt x="1376223" y="203594"/>
                  </a:lnTo>
                  <a:lnTo>
                    <a:pt x="1376223" y="204292"/>
                  </a:lnTo>
                  <a:lnTo>
                    <a:pt x="1376223" y="203594"/>
                  </a:lnTo>
                  <a:lnTo>
                    <a:pt x="1376223" y="204292"/>
                  </a:lnTo>
                  <a:lnTo>
                    <a:pt x="1376223" y="203594"/>
                  </a:lnTo>
                  <a:lnTo>
                    <a:pt x="1376325" y="203594"/>
                  </a:lnTo>
                  <a:lnTo>
                    <a:pt x="1376325" y="204292"/>
                  </a:lnTo>
                  <a:lnTo>
                    <a:pt x="1376325" y="203594"/>
                  </a:lnTo>
                  <a:lnTo>
                    <a:pt x="1376363" y="203594"/>
                  </a:lnTo>
                  <a:lnTo>
                    <a:pt x="1376363" y="204292"/>
                  </a:lnTo>
                  <a:lnTo>
                    <a:pt x="1376363" y="203594"/>
                  </a:lnTo>
                  <a:lnTo>
                    <a:pt x="1376363" y="204292"/>
                  </a:lnTo>
                  <a:lnTo>
                    <a:pt x="1376363" y="203594"/>
                  </a:lnTo>
                  <a:lnTo>
                    <a:pt x="1376363" y="204292"/>
                  </a:lnTo>
                  <a:lnTo>
                    <a:pt x="1376363" y="203594"/>
                  </a:lnTo>
                  <a:lnTo>
                    <a:pt x="1376414" y="203594"/>
                  </a:lnTo>
                  <a:lnTo>
                    <a:pt x="1376414" y="202959"/>
                  </a:lnTo>
                  <a:lnTo>
                    <a:pt x="1376414" y="203594"/>
                  </a:lnTo>
                  <a:lnTo>
                    <a:pt x="1376414" y="202260"/>
                  </a:lnTo>
                  <a:lnTo>
                    <a:pt x="1376414" y="202959"/>
                  </a:lnTo>
                  <a:lnTo>
                    <a:pt x="1376465" y="202959"/>
                  </a:lnTo>
                  <a:lnTo>
                    <a:pt x="1376465" y="199530"/>
                  </a:lnTo>
                  <a:lnTo>
                    <a:pt x="1376465" y="200228"/>
                  </a:lnTo>
                  <a:lnTo>
                    <a:pt x="1376566" y="200228"/>
                  </a:lnTo>
                  <a:lnTo>
                    <a:pt x="1376566" y="202260"/>
                  </a:lnTo>
                  <a:lnTo>
                    <a:pt x="1376566" y="200228"/>
                  </a:lnTo>
                  <a:lnTo>
                    <a:pt x="1376566" y="202260"/>
                  </a:lnTo>
                  <a:lnTo>
                    <a:pt x="1376617" y="202959"/>
                  </a:lnTo>
                  <a:lnTo>
                    <a:pt x="1376617" y="203594"/>
                  </a:lnTo>
                  <a:lnTo>
                    <a:pt x="1376617" y="202260"/>
                  </a:lnTo>
                  <a:lnTo>
                    <a:pt x="1376617" y="202959"/>
                  </a:lnTo>
                  <a:lnTo>
                    <a:pt x="1376668" y="203594"/>
                  </a:lnTo>
                  <a:lnTo>
                    <a:pt x="1376668" y="204292"/>
                  </a:lnTo>
                  <a:lnTo>
                    <a:pt x="1376668" y="202959"/>
                  </a:lnTo>
                  <a:lnTo>
                    <a:pt x="1376668" y="204292"/>
                  </a:lnTo>
                  <a:lnTo>
                    <a:pt x="1376769" y="204292"/>
                  </a:lnTo>
                  <a:lnTo>
                    <a:pt x="1376769" y="203594"/>
                  </a:lnTo>
                  <a:lnTo>
                    <a:pt x="1376769" y="204990"/>
                  </a:lnTo>
                  <a:lnTo>
                    <a:pt x="1376820" y="204292"/>
                  </a:lnTo>
                  <a:lnTo>
                    <a:pt x="1376820" y="204990"/>
                  </a:lnTo>
                  <a:lnTo>
                    <a:pt x="1376820" y="204292"/>
                  </a:lnTo>
                  <a:lnTo>
                    <a:pt x="1376820" y="204990"/>
                  </a:lnTo>
                  <a:lnTo>
                    <a:pt x="1376820" y="204292"/>
                  </a:lnTo>
                  <a:lnTo>
                    <a:pt x="1376871" y="204990"/>
                  </a:lnTo>
                  <a:lnTo>
                    <a:pt x="1376871" y="204292"/>
                  </a:lnTo>
                  <a:lnTo>
                    <a:pt x="1376871" y="204990"/>
                  </a:lnTo>
                  <a:lnTo>
                    <a:pt x="1376871" y="204292"/>
                  </a:lnTo>
                  <a:lnTo>
                    <a:pt x="1376871" y="204990"/>
                  </a:lnTo>
                  <a:lnTo>
                    <a:pt x="1376909" y="204990"/>
                  </a:lnTo>
                  <a:lnTo>
                    <a:pt x="1376909" y="203594"/>
                  </a:lnTo>
                  <a:lnTo>
                    <a:pt x="1376909" y="204292"/>
                  </a:lnTo>
                  <a:lnTo>
                    <a:pt x="1376909" y="203594"/>
                  </a:lnTo>
                  <a:lnTo>
                    <a:pt x="1377011" y="203594"/>
                  </a:lnTo>
                  <a:lnTo>
                    <a:pt x="1377011" y="202959"/>
                  </a:lnTo>
                  <a:lnTo>
                    <a:pt x="1377011" y="203594"/>
                  </a:lnTo>
                  <a:lnTo>
                    <a:pt x="1377011" y="202260"/>
                  </a:lnTo>
                  <a:lnTo>
                    <a:pt x="1377011" y="203594"/>
                  </a:lnTo>
                  <a:lnTo>
                    <a:pt x="1377011" y="202959"/>
                  </a:lnTo>
                  <a:lnTo>
                    <a:pt x="1377062" y="202260"/>
                  </a:lnTo>
                  <a:lnTo>
                    <a:pt x="1377062" y="202959"/>
                  </a:lnTo>
                  <a:lnTo>
                    <a:pt x="1377062" y="202260"/>
                  </a:lnTo>
                  <a:lnTo>
                    <a:pt x="1377062" y="204292"/>
                  </a:lnTo>
                  <a:lnTo>
                    <a:pt x="1377062" y="203594"/>
                  </a:lnTo>
                  <a:lnTo>
                    <a:pt x="1377112" y="203594"/>
                  </a:lnTo>
                  <a:lnTo>
                    <a:pt x="1377112" y="204292"/>
                  </a:lnTo>
                  <a:lnTo>
                    <a:pt x="1377112" y="203594"/>
                  </a:lnTo>
                  <a:lnTo>
                    <a:pt x="1377112" y="204292"/>
                  </a:lnTo>
                  <a:lnTo>
                    <a:pt x="1377214" y="203594"/>
                  </a:lnTo>
                  <a:lnTo>
                    <a:pt x="1377214" y="204292"/>
                  </a:lnTo>
                  <a:lnTo>
                    <a:pt x="1377214" y="203594"/>
                  </a:lnTo>
                  <a:lnTo>
                    <a:pt x="1377214" y="204292"/>
                  </a:lnTo>
                  <a:lnTo>
                    <a:pt x="1377214" y="203594"/>
                  </a:lnTo>
                  <a:lnTo>
                    <a:pt x="1377214" y="204292"/>
                  </a:lnTo>
                  <a:lnTo>
                    <a:pt x="1377265" y="204292"/>
                  </a:lnTo>
                  <a:lnTo>
                    <a:pt x="1377265" y="203594"/>
                  </a:lnTo>
                  <a:lnTo>
                    <a:pt x="1377265" y="204990"/>
                  </a:lnTo>
                  <a:lnTo>
                    <a:pt x="1377315" y="204990"/>
                  </a:lnTo>
                  <a:lnTo>
                    <a:pt x="1377315" y="206324"/>
                  </a:lnTo>
                  <a:lnTo>
                    <a:pt x="1377315" y="204990"/>
                  </a:lnTo>
                  <a:lnTo>
                    <a:pt x="1377366" y="204990"/>
                  </a:lnTo>
                  <a:lnTo>
                    <a:pt x="1377366" y="204292"/>
                  </a:lnTo>
                  <a:lnTo>
                    <a:pt x="1377366" y="204990"/>
                  </a:lnTo>
                  <a:lnTo>
                    <a:pt x="1377366" y="204292"/>
                  </a:lnTo>
                  <a:lnTo>
                    <a:pt x="1377455" y="204292"/>
                  </a:lnTo>
                  <a:lnTo>
                    <a:pt x="1377455" y="202959"/>
                  </a:lnTo>
                  <a:lnTo>
                    <a:pt x="1377506" y="202959"/>
                  </a:lnTo>
                  <a:lnTo>
                    <a:pt x="1377506" y="204990"/>
                  </a:lnTo>
                  <a:lnTo>
                    <a:pt x="1377506" y="203594"/>
                  </a:lnTo>
                  <a:lnTo>
                    <a:pt x="1377506" y="204292"/>
                  </a:lnTo>
                  <a:lnTo>
                    <a:pt x="1377557" y="204990"/>
                  </a:lnTo>
                  <a:lnTo>
                    <a:pt x="1377557" y="206324"/>
                  </a:lnTo>
                  <a:lnTo>
                    <a:pt x="1377557" y="204292"/>
                  </a:lnTo>
                  <a:lnTo>
                    <a:pt x="1377557" y="206324"/>
                  </a:lnTo>
                  <a:lnTo>
                    <a:pt x="1377608" y="206324"/>
                  </a:lnTo>
                  <a:lnTo>
                    <a:pt x="1377608" y="207022"/>
                  </a:lnTo>
                  <a:lnTo>
                    <a:pt x="1377608" y="204990"/>
                  </a:lnTo>
                  <a:lnTo>
                    <a:pt x="1377608" y="206324"/>
                  </a:lnTo>
                  <a:lnTo>
                    <a:pt x="1377608" y="204990"/>
                  </a:lnTo>
                  <a:lnTo>
                    <a:pt x="1377608" y="206324"/>
                  </a:lnTo>
                  <a:lnTo>
                    <a:pt x="1377709" y="206324"/>
                  </a:lnTo>
                  <a:lnTo>
                    <a:pt x="1377709" y="207022"/>
                  </a:lnTo>
                  <a:lnTo>
                    <a:pt x="1377709" y="206324"/>
                  </a:lnTo>
                  <a:lnTo>
                    <a:pt x="1377709" y="207022"/>
                  </a:lnTo>
                  <a:lnTo>
                    <a:pt x="1377760" y="206324"/>
                  </a:lnTo>
                  <a:lnTo>
                    <a:pt x="1377760" y="204990"/>
                  </a:lnTo>
                  <a:lnTo>
                    <a:pt x="1377760" y="206324"/>
                  </a:lnTo>
                  <a:lnTo>
                    <a:pt x="1377912" y="206324"/>
                  </a:lnTo>
                  <a:lnTo>
                    <a:pt x="1377912" y="204990"/>
                  </a:lnTo>
                  <a:lnTo>
                    <a:pt x="1377950" y="204292"/>
                  </a:lnTo>
                  <a:lnTo>
                    <a:pt x="1377950" y="204990"/>
                  </a:lnTo>
                  <a:lnTo>
                    <a:pt x="1377950" y="204292"/>
                  </a:lnTo>
                  <a:lnTo>
                    <a:pt x="1377950" y="207022"/>
                  </a:lnTo>
                  <a:lnTo>
                    <a:pt x="1377950" y="206324"/>
                  </a:lnTo>
                  <a:lnTo>
                    <a:pt x="1378001" y="206324"/>
                  </a:lnTo>
                  <a:lnTo>
                    <a:pt x="1378001" y="204292"/>
                  </a:lnTo>
                  <a:lnTo>
                    <a:pt x="1378001" y="208407"/>
                  </a:lnTo>
                  <a:lnTo>
                    <a:pt x="1378001" y="207721"/>
                  </a:lnTo>
                  <a:lnTo>
                    <a:pt x="1378052" y="207721"/>
                  </a:lnTo>
                  <a:lnTo>
                    <a:pt x="1378052" y="206324"/>
                  </a:lnTo>
                  <a:lnTo>
                    <a:pt x="1378052" y="207721"/>
                  </a:lnTo>
                  <a:lnTo>
                    <a:pt x="1378154" y="207721"/>
                  </a:lnTo>
                  <a:lnTo>
                    <a:pt x="1378154" y="207022"/>
                  </a:lnTo>
                  <a:lnTo>
                    <a:pt x="1378154" y="207721"/>
                  </a:lnTo>
                  <a:lnTo>
                    <a:pt x="1378154" y="207022"/>
                  </a:lnTo>
                  <a:lnTo>
                    <a:pt x="1378154" y="207721"/>
                  </a:lnTo>
                  <a:lnTo>
                    <a:pt x="1378205" y="207721"/>
                  </a:lnTo>
                  <a:lnTo>
                    <a:pt x="1378205" y="207022"/>
                  </a:lnTo>
                  <a:lnTo>
                    <a:pt x="1378205" y="207721"/>
                  </a:lnTo>
                  <a:lnTo>
                    <a:pt x="1378205" y="207022"/>
                  </a:lnTo>
                  <a:lnTo>
                    <a:pt x="1378255" y="207022"/>
                  </a:lnTo>
                  <a:lnTo>
                    <a:pt x="1378255" y="207721"/>
                  </a:lnTo>
                  <a:lnTo>
                    <a:pt x="1378255" y="207022"/>
                  </a:lnTo>
                  <a:lnTo>
                    <a:pt x="1378357" y="207022"/>
                  </a:lnTo>
                  <a:lnTo>
                    <a:pt x="1378357" y="206324"/>
                  </a:lnTo>
                  <a:lnTo>
                    <a:pt x="1378357" y="207022"/>
                  </a:lnTo>
                  <a:lnTo>
                    <a:pt x="1378357" y="206324"/>
                  </a:lnTo>
                  <a:lnTo>
                    <a:pt x="1378357" y="207022"/>
                  </a:lnTo>
                  <a:lnTo>
                    <a:pt x="1378357" y="206324"/>
                  </a:lnTo>
                  <a:lnTo>
                    <a:pt x="1378408" y="206324"/>
                  </a:lnTo>
                  <a:lnTo>
                    <a:pt x="1378408" y="204292"/>
                  </a:lnTo>
                  <a:lnTo>
                    <a:pt x="1378408" y="204990"/>
                  </a:lnTo>
                  <a:lnTo>
                    <a:pt x="1378408" y="203594"/>
                  </a:lnTo>
                  <a:lnTo>
                    <a:pt x="1378459" y="204292"/>
                  </a:lnTo>
                  <a:lnTo>
                    <a:pt x="1378459" y="202959"/>
                  </a:lnTo>
                  <a:lnTo>
                    <a:pt x="1378459" y="204990"/>
                  </a:lnTo>
                  <a:lnTo>
                    <a:pt x="1378459" y="204292"/>
                  </a:lnTo>
                  <a:lnTo>
                    <a:pt x="1378497" y="203594"/>
                  </a:lnTo>
                  <a:lnTo>
                    <a:pt x="1378497" y="204292"/>
                  </a:lnTo>
                  <a:lnTo>
                    <a:pt x="1378497" y="203594"/>
                  </a:lnTo>
                  <a:lnTo>
                    <a:pt x="1378497" y="207022"/>
                  </a:lnTo>
                  <a:lnTo>
                    <a:pt x="1378497" y="206324"/>
                  </a:lnTo>
                  <a:lnTo>
                    <a:pt x="1378497" y="207022"/>
                  </a:lnTo>
                  <a:lnTo>
                    <a:pt x="1378497" y="204990"/>
                  </a:lnTo>
                  <a:lnTo>
                    <a:pt x="1378598" y="204990"/>
                  </a:lnTo>
                  <a:lnTo>
                    <a:pt x="1378598" y="207721"/>
                  </a:lnTo>
                  <a:lnTo>
                    <a:pt x="1378598" y="207022"/>
                  </a:lnTo>
                  <a:lnTo>
                    <a:pt x="1378649" y="206324"/>
                  </a:lnTo>
                  <a:lnTo>
                    <a:pt x="1378649" y="207022"/>
                  </a:lnTo>
                  <a:lnTo>
                    <a:pt x="1378649" y="206324"/>
                  </a:lnTo>
                  <a:lnTo>
                    <a:pt x="1378649" y="207721"/>
                  </a:lnTo>
                  <a:lnTo>
                    <a:pt x="1378649" y="207022"/>
                  </a:lnTo>
                  <a:lnTo>
                    <a:pt x="1378649" y="207721"/>
                  </a:lnTo>
                  <a:lnTo>
                    <a:pt x="1378801" y="207721"/>
                  </a:lnTo>
                  <a:lnTo>
                    <a:pt x="1378801" y="208407"/>
                  </a:lnTo>
                  <a:lnTo>
                    <a:pt x="1378801" y="207721"/>
                  </a:lnTo>
                  <a:lnTo>
                    <a:pt x="1378801" y="208407"/>
                  </a:lnTo>
                  <a:lnTo>
                    <a:pt x="1378801" y="207721"/>
                  </a:lnTo>
                  <a:lnTo>
                    <a:pt x="1378801" y="208407"/>
                  </a:lnTo>
                  <a:lnTo>
                    <a:pt x="1378801" y="207721"/>
                  </a:lnTo>
                  <a:lnTo>
                    <a:pt x="1378801" y="208407"/>
                  </a:lnTo>
                  <a:lnTo>
                    <a:pt x="1378801" y="207721"/>
                  </a:lnTo>
                  <a:lnTo>
                    <a:pt x="1378852" y="207022"/>
                  </a:lnTo>
                  <a:lnTo>
                    <a:pt x="1378852" y="207721"/>
                  </a:lnTo>
                  <a:lnTo>
                    <a:pt x="1378852" y="206324"/>
                  </a:lnTo>
                  <a:lnTo>
                    <a:pt x="1378903" y="206324"/>
                  </a:lnTo>
                  <a:lnTo>
                    <a:pt x="1378903" y="204292"/>
                  </a:lnTo>
                  <a:lnTo>
                    <a:pt x="1378954" y="204292"/>
                  </a:lnTo>
                  <a:lnTo>
                    <a:pt x="1378954" y="206324"/>
                  </a:lnTo>
                  <a:lnTo>
                    <a:pt x="1378954" y="203594"/>
                  </a:lnTo>
                  <a:lnTo>
                    <a:pt x="1378954" y="204292"/>
                  </a:lnTo>
                  <a:lnTo>
                    <a:pt x="1379043" y="204292"/>
                  </a:lnTo>
                  <a:lnTo>
                    <a:pt x="1379043" y="207022"/>
                  </a:lnTo>
                  <a:lnTo>
                    <a:pt x="1379043" y="204990"/>
                  </a:lnTo>
                  <a:lnTo>
                    <a:pt x="1379043" y="206324"/>
                  </a:lnTo>
                  <a:lnTo>
                    <a:pt x="1379094" y="207022"/>
                  </a:lnTo>
                  <a:lnTo>
                    <a:pt x="1379094" y="206324"/>
                  </a:lnTo>
                  <a:lnTo>
                    <a:pt x="1379094" y="207022"/>
                  </a:lnTo>
                  <a:lnTo>
                    <a:pt x="1379094" y="206324"/>
                  </a:lnTo>
                  <a:lnTo>
                    <a:pt x="1379094" y="207022"/>
                  </a:lnTo>
                  <a:lnTo>
                    <a:pt x="1379094" y="206324"/>
                  </a:lnTo>
                  <a:lnTo>
                    <a:pt x="1379144" y="207022"/>
                  </a:lnTo>
                  <a:lnTo>
                    <a:pt x="1379144" y="206324"/>
                  </a:lnTo>
                  <a:lnTo>
                    <a:pt x="1379144" y="207022"/>
                  </a:lnTo>
                  <a:lnTo>
                    <a:pt x="1379144" y="206324"/>
                  </a:lnTo>
                  <a:lnTo>
                    <a:pt x="1379144" y="207022"/>
                  </a:lnTo>
                  <a:lnTo>
                    <a:pt x="1379195" y="207022"/>
                  </a:lnTo>
                  <a:lnTo>
                    <a:pt x="1379195" y="207721"/>
                  </a:lnTo>
                  <a:lnTo>
                    <a:pt x="1379195" y="207022"/>
                  </a:lnTo>
                  <a:lnTo>
                    <a:pt x="1379195" y="207721"/>
                  </a:lnTo>
                  <a:lnTo>
                    <a:pt x="1379297" y="207721"/>
                  </a:lnTo>
                  <a:lnTo>
                    <a:pt x="1379297" y="206324"/>
                  </a:lnTo>
                  <a:lnTo>
                    <a:pt x="1379297" y="207721"/>
                  </a:lnTo>
                  <a:lnTo>
                    <a:pt x="1379347" y="207022"/>
                  </a:lnTo>
                  <a:lnTo>
                    <a:pt x="1379347" y="206324"/>
                  </a:lnTo>
                  <a:lnTo>
                    <a:pt x="1379347" y="207022"/>
                  </a:lnTo>
                  <a:lnTo>
                    <a:pt x="1379347" y="206324"/>
                  </a:lnTo>
                  <a:lnTo>
                    <a:pt x="1379398" y="206324"/>
                  </a:lnTo>
                  <a:lnTo>
                    <a:pt x="1379398" y="202959"/>
                  </a:lnTo>
                  <a:lnTo>
                    <a:pt x="1379500" y="202959"/>
                  </a:lnTo>
                  <a:lnTo>
                    <a:pt x="1379500" y="204990"/>
                  </a:lnTo>
                  <a:lnTo>
                    <a:pt x="1379500" y="202260"/>
                  </a:lnTo>
                  <a:lnTo>
                    <a:pt x="1379538" y="202959"/>
                  </a:lnTo>
                  <a:lnTo>
                    <a:pt x="1379538" y="204990"/>
                  </a:lnTo>
                  <a:lnTo>
                    <a:pt x="1379538" y="203594"/>
                  </a:lnTo>
                  <a:lnTo>
                    <a:pt x="1379538" y="204292"/>
                  </a:lnTo>
                  <a:lnTo>
                    <a:pt x="1379589" y="204292"/>
                  </a:lnTo>
                  <a:lnTo>
                    <a:pt x="1379589" y="206324"/>
                  </a:lnTo>
                  <a:lnTo>
                    <a:pt x="1379589" y="204292"/>
                  </a:lnTo>
                  <a:lnTo>
                    <a:pt x="1379589" y="204990"/>
                  </a:lnTo>
                  <a:lnTo>
                    <a:pt x="1379589" y="204292"/>
                  </a:lnTo>
                  <a:lnTo>
                    <a:pt x="1379589" y="204990"/>
                  </a:lnTo>
                  <a:lnTo>
                    <a:pt x="1379640" y="204990"/>
                  </a:lnTo>
                  <a:lnTo>
                    <a:pt x="1379640" y="206324"/>
                  </a:lnTo>
                  <a:lnTo>
                    <a:pt x="1379640" y="204990"/>
                  </a:lnTo>
                  <a:lnTo>
                    <a:pt x="1379640" y="206324"/>
                  </a:lnTo>
                  <a:lnTo>
                    <a:pt x="1379741" y="206324"/>
                  </a:lnTo>
                  <a:lnTo>
                    <a:pt x="1379741" y="207022"/>
                  </a:lnTo>
                  <a:lnTo>
                    <a:pt x="1379741" y="206324"/>
                  </a:lnTo>
                  <a:lnTo>
                    <a:pt x="1379792" y="207022"/>
                  </a:lnTo>
                  <a:lnTo>
                    <a:pt x="1379792" y="207721"/>
                  </a:lnTo>
                  <a:lnTo>
                    <a:pt x="1379792" y="207022"/>
                  </a:lnTo>
                  <a:lnTo>
                    <a:pt x="1379843" y="207022"/>
                  </a:lnTo>
                  <a:lnTo>
                    <a:pt x="1379843" y="204990"/>
                  </a:lnTo>
                  <a:lnTo>
                    <a:pt x="1379944" y="204990"/>
                  </a:lnTo>
                  <a:lnTo>
                    <a:pt x="1379944" y="204292"/>
                  </a:lnTo>
                  <a:lnTo>
                    <a:pt x="1379944" y="204990"/>
                  </a:lnTo>
                  <a:lnTo>
                    <a:pt x="1379944" y="203594"/>
                  </a:lnTo>
                  <a:lnTo>
                    <a:pt x="1379944" y="204292"/>
                  </a:lnTo>
                  <a:lnTo>
                    <a:pt x="1379995" y="203594"/>
                  </a:lnTo>
                  <a:lnTo>
                    <a:pt x="1379995" y="204292"/>
                  </a:lnTo>
                  <a:lnTo>
                    <a:pt x="1379995" y="203594"/>
                  </a:lnTo>
                  <a:lnTo>
                    <a:pt x="1379995" y="204292"/>
                  </a:lnTo>
                  <a:lnTo>
                    <a:pt x="1380046" y="204292"/>
                  </a:lnTo>
                  <a:lnTo>
                    <a:pt x="1380046" y="204990"/>
                  </a:lnTo>
                  <a:lnTo>
                    <a:pt x="1380046" y="204292"/>
                  </a:lnTo>
                  <a:lnTo>
                    <a:pt x="1380084" y="204292"/>
                  </a:lnTo>
                  <a:lnTo>
                    <a:pt x="1380084" y="206324"/>
                  </a:lnTo>
                  <a:lnTo>
                    <a:pt x="1380084" y="204292"/>
                  </a:lnTo>
                  <a:lnTo>
                    <a:pt x="1380084" y="204990"/>
                  </a:lnTo>
                  <a:lnTo>
                    <a:pt x="1380186" y="204990"/>
                  </a:lnTo>
                  <a:lnTo>
                    <a:pt x="1380186" y="206324"/>
                  </a:lnTo>
                  <a:lnTo>
                    <a:pt x="1380186" y="204292"/>
                  </a:lnTo>
                  <a:lnTo>
                    <a:pt x="1380186" y="207022"/>
                  </a:lnTo>
                  <a:lnTo>
                    <a:pt x="1380237" y="206324"/>
                  </a:lnTo>
                  <a:lnTo>
                    <a:pt x="1380237" y="207022"/>
                  </a:lnTo>
                  <a:lnTo>
                    <a:pt x="1380287" y="207022"/>
                  </a:lnTo>
                  <a:lnTo>
                    <a:pt x="1380287" y="206324"/>
                  </a:lnTo>
                  <a:lnTo>
                    <a:pt x="1380287" y="207721"/>
                  </a:lnTo>
                  <a:lnTo>
                    <a:pt x="1380287" y="207022"/>
                  </a:lnTo>
                  <a:lnTo>
                    <a:pt x="1380389" y="207022"/>
                  </a:lnTo>
                  <a:lnTo>
                    <a:pt x="1380389" y="206324"/>
                  </a:lnTo>
                  <a:lnTo>
                    <a:pt x="1380440" y="206324"/>
                  </a:lnTo>
                  <a:lnTo>
                    <a:pt x="1380440" y="204292"/>
                  </a:lnTo>
                  <a:lnTo>
                    <a:pt x="1380440" y="206324"/>
                  </a:lnTo>
                  <a:lnTo>
                    <a:pt x="1380490" y="206324"/>
                  </a:lnTo>
                  <a:lnTo>
                    <a:pt x="1380490" y="204292"/>
                  </a:lnTo>
                  <a:lnTo>
                    <a:pt x="1380490" y="207721"/>
                  </a:lnTo>
                  <a:lnTo>
                    <a:pt x="1380541" y="207721"/>
                  </a:lnTo>
                  <a:lnTo>
                    <a:pt x="1380541" y="206324"/>
                  </a:lnTo>
                  <a:lnTo>
                    <a:pt x="1380541" y="207022"/>
                  </a:lnTo>
                  <a:lnTo>
                    <a:pt x="1380630" y="207022"/>
                  </a:lnTo>
                  <a:lnTo>
                    <a:pt x="1380630" y="206324"/>
                  </a:lnTo>
                  <a:lnTo>
                    <a:pt x="1380630" y="207022"/>
                  </a:lnTo>
                  <a:lnTo>
                    <a:pt x="1380630" y="206324"/>
                  </a:lnTo>
                  <a:lnTo>
                    <a:pt x="1380630" y="207721"/>
                  </a:lnTo>
                  <a:lnTo>
                    <a:pt x="1380630" y="207022"/>
                  </a:lnTo>
                  <a:lnTo>
                    <a:pt x="1380681" y="207022"/>
                  </a:lnTo>
                  <a:lnTo>
                    <a:pt x="1380681" y="208407"/>
                  </a:lnTo>
                  <a:lnTo>
                    <a:pt x="1380681" y="207721"/>
                  </a:lnTo>
                  <a:lnTo>
                    <a:pt x="1380732" y="207721"/>
                  </a:lnTo>
                  <a:lnTo>
                    <a:pt x="1380732" y="208407"/>
                  </a:lnTo>
                  <a:lnTo>
                    <a:pt x="1380732" y="207721"/>
                  </a:lnTo>
                  <a:lnTo>
                    <a:pt x="1380732" y="208407"/>
                  </a:lnTo>
                  <a:lnTo>
                    <a:pt x="1380732" y="207721"/>
                  </a:lnTo>
                  <a:lnTo>
                    <a:pt x="1380732" y="208407"/>
                  </a:lnTo>
                  <a:lnTo>
                    <a:pt x="1380732" y="207721"/>
                  </a:lnTo>
                  <a:lnTo>
                    <a:pt x="1380783" y="208407"/>
                  </a:lnTo>
                  <a:lnTo>
                    <a:pt x="1380783" y="207721"/>
                  </a:lnTo>
                  <a:lnTo>
                    <a:pt x="1380783" y="208407"/>
                  </a:lnTo>
                  <a:lnTo>
                    <a:pt x="1380884" y="207721"/>
                  </a:lnTo>
                  <a:lnTo>
                    <a:pt x="1380884" y="208407"/>
                  </a:lnTo>
                  <a:lnTo>
                    <a:pt x="1380884" y="207721"/>
                  </a:lnTo>
                  <a:lnTo>
                    <a:pt x="1380884" y="208407"/>
                  </a:lnTo>
                  <a:lnTo>
                    <a:pt x="1380884" y="207022"/>
                  </a:lnTo>
                  <a:lnTo>
                    <a:pt x="1380884" y="207721"/>
                  </a:lnTo>
                  <a:lnTo>
                    <a:pt x="1380884" y="207022"/>
                  </a:lnTo>
                  <a:lnTo>
                    <a:pt x="1380935" y="207022"/>
                  </a:lnTo>
                  <a:lnTo>
                    <a:pt x="1380935" y="206324"/>
                  </a:lnTo>
                  <a:lnTo>
                    <a:pt x="1380935" y="207721"/>
                  </a:lnTo>
                  <a:lnTo>
                    <a:pt x="1380986" y="207721"/>
                  </a:lnTo>
                  <a:lnTo>
                    <a:pt x="1380986" y="208407"/>
                  </a:lnTo>
                  <a:lnTo>
                    <a:pt x="1380986" y="207721"/>
                  </a:lnTo>
                  <a:lnTo>
                    <a:pt x="1380986" y="209753"/>
                  </a:lnTo>
                  <a:lnTo>
                    <a:pt x="1380986" y="208407"/>
                  </a:lnTo>
                  <a:lnTo>
                    <a:pt x="1381087" y="208407"/>
                  </a:lnTo>
                  <a:lnTo>
                    <a:pt x="1381087" y="209753"/>
                  </a:lnTo>
                  <a:lnTo>
                    <a:pt x="1381176" y="209753"/>
                  </a:lnTo>
                  <a:lnTo>
                    <a:pt x="1381176" y="210451"/>
                  </a:lnTo>
                  <a:lnTo>
                    <a:pt x="1381176" y="209753"/>
                  </a:lnTo>
                  <a:lnTo>
                    <a:pt x="1381227" y="210451"/>
                  </a:lnTo>
                  <a:lnTo>
                    <a:pt x="1381227" y="209753"/>
                  </a:lnTo>
                  <a:lnTo>
                    <a:pt x="1381227" y="210451"/>
                  </a:lnTo>
                  <a:lnTo>
                    <a:pt x="1381227" y="208407"/>
                  </a:lnTo>
                  <a:lnTo>
                    <a:pt x="1381227" y="209753"/>
                  </a:lnTo>
                  <a:lnTo>
                    <a:pt x="1381329" y="209753"/>
                  </a:lnTo>
                  <a:lnTo>
                    <a:pt x="1381329" y="208407"/>
                  </a:lnTo>
                  <a:lnTo>
                    <a:pt x="1381329" y="209753"/>
                  </a:lnTo>
                  <a:lnTo>
                    <a:pt x="1381329" y="208407"/>
                  </a:lnTo>
                  <a:lnTo>
                    <a:pt x="1381380" y="208407"/>
                  </a:lnTo>
                  <a:lnTo>
                    <a:pt x="1381380" y="207022"/>
                  </a:lnTo>
                  <a:lnTo>
                    <a:pt x="1381380" y="207721"/>
                  </a:lnTo>
                  <a:lnTo>
                    <a:pt x="1381430" y="207721"/>
                  </a:lnTo>
                  <a:lnTo>
                    <a:pt x="1381430" y="207022"/>
                  </a:lnTo>
                  <a:lnTo>
                    <a:pt x="1381430" y="208407"/>
                  </a:lnTo>
                  <a:lnTo>
                    <a:pt x="1381532" y="207721"/>
                  </a:lnTo>
                  <a:lnTo>
                    <a:pt x="1381532" y="207022"/>
                  </a:lnTo>
                  <a:lnTo>
                    <a:pt x="1381532" y="210451"/>
                  </a:lnTo>
                  <a:lnTo>
                    <a:pt x="1381532" y="209753"/>
                  </a:lnTo>
                  <a:lnTo>
                    <a:pt x="1381583" y="209753"/>
                  </a:lnTo>
                  <a:lnTo>
                    <a:pt x="1381583" y="211137"/>
                  </a:lnTo>
                  <a:lnTo>
                    <a:pt x="1381583" y="210451"/>
                  </a:lnTo>
                  <a:lnTo>
                    <a:pt x="1381583" y="211137"/>
                  </a:lnTo>
                  <a:lnTo>
                    <a:pt x="1381634" y="211137"/>
                  </a:lnTo>
                  <a:lnTo>
                    <a:pt x="1381634" y="211785"/>
                  </a:lnTo>
                  <a:lnTo>
                    <a:pt x="1381634" y="211137"/>
                  </a:lnTo>
                  <a:lnTo>
                    <a:pt x="1381672" y="211137"/>
                  </a:lnTo>
                  <a:lnTo>
                    <a:pt x="1381672" y="212484"/>
                  </a:lnTo>
                  <a:lnTo>
                    <a:pt x="1381672" y="211785"/>
                  </a:lnTo>
                  <a:lnTo>
                    <a:pt x="1381773" y="211785"/>
                  </a:lnTo>
                  <a:lnTo>
                    <a:pt x="1381773" y="211137"/>
                  </a:lnTo>
                  <a:lnTo>
                    <a:pt x="1381773" y="211785"/>
                  </a:lnTo>
                  <a:lnTo>
                    <a:pt x="1381824" y="211785"/>
                  </a:lnTo>
                  <a:lnTo>
                    <a:pt x="1381824" y="211137"/>
                  </a:lnTo>
                  <a:lnTo>
                    <a:pt x="1381824" y="211785"/>
                  </a:lnTo>
                  <a:lnTo>
                    <a:pt x="1381824" y="211137"/>
                  </a:lnTo>
                  <a:lnTo>
                    <a:pt x="1381875" y="210451"/>
                  </a:lnTo>
                  <a:lnTo>
                    <a:pt x="1381875" y="209753"/>
                  </a:lnTo>
                  <a:lnTo>
                    <a:pt x="1381875" y="210451"/>
                  </a:lnTo>
                  <a:lnTo>
                    <a:pt x="1381875" y="209753"/>
                  </a:lnTo>
                  <a:lnTo>
                    <a:pt x="1381875" y="211137"/>
                  </a:lnTo>
                  <a:lnTo>
                    <a:pt x="1381976" y="211785"/>
                  </a:lnTo>
                  <a:lnTo>
                    <a:pt x="1381976" y="209753"/>
                  </a:lnTo>
                  <a:lnTo>
                    <a:pt x="1381976" y="213868"/>
                  </a:lnTo>
                  <a:lnTo>
                    <a:pt x="1382027" y="213868"/>
                  </a:lnTo>
                  <a:lnTo>
                    <a:pt x="1382027" y="211137"/>
                  </a:lnTo>
                  <a:lnTo>
                    <a:pt x="1382027" y="213868"/>
                  </a:lnTo>
                  <a:lnTo>
                    <a:pt x="1382078" y="213868"/>
                  </a:lnTo>
                  <a:lnTo>
                    <a:pt x="1382078" y="211785"/>
                  </a:lnTo>
                  <a:lnTo>
                    <a:pt x="1382078" y="213868"/>
                  </a:lnTo>
                  <a:lnTo>
                    <a:pt x="1382129" y="213868"/>
                  </a:lnTo>
                  <a:lnTo>
                    <a:pt x="1382129" y="212484"/>
                  </a:lnTo>
                  <a:lnTo>
                    <a:pt x="1382129" y="213868"/>
                  </a:lnTo>
                  <a:lnTo>
                    <a:pt x="1382218" y="213868"/>
                  </a:lnTo>
                  <a:lnTo>
                    <a:pt x="1382218" y="214515"/>
                  </a:lnTo>
                  <a:lnTo>
                    <a:pt x="1382218" y="213868"/>
                  </a:lnTo>
                  <a:lnTo>
                    <a:pt x="1382269" y="213868"/>
                  </a:lnTo>
                  <a:lnTo>
                    <a:pt x="1382269" y="214515"/>
                  </a:lnTo>
                  <a:lnTo>
                    <a:pt x="1382269" y="212484"/>
                  </a:lnTo>
                  <a:lnTo>
                    <a:pt x="1382269" y="213868"/>
                  </a:lnTo>
                  <a:lnTo>
                    <a:pt x="1382269" y="212484"/>
                  </a:lnTo>
                  <a:lnTo>
                    <a:pt x="1382319" y="212484"/>
                  </a:lnTo>
                  <a:lnTo>
                    <a:pt x="1382319" y="211785"/>
                  </a:lnTo>
                  <a:lnTo>
                    <a:pt x="1382319" y="212484"/>
                  </a:lnTo>
                  <a:lnTo>
                    <a:pt x="1382319" y="211785"/>
                  </a:lnTo>
                  <a:lnTo>
                    <a:pt x="1382319" y="212484"/>
                  </a:lnTo>
                  <a:lnTo>
                    <a:pt x="1382319" y="211137"/>
                  </a:lnTo>
                  <a:lnTo>
                    <a:pt x="1382370" y="211137"/>
                  </a:lnTo>
                  <a:lnTo>
                    <a:pt x="1382370" y="210451"/>
                  </a:lnTo>
                  <a:lnTo>
                    <a:pt x="1382370" y="211137"/>
                  </a:lnTo>
                  <a:lnTo>
                    <a:pt x="1382370" y="209753"/>
                  </a:lnTo>
                  <a:lnTo>
                    <a:pt x="1382370" y="211785"/>
                  </a:lnTo>
                  <a:lnTo>
                    <a:pt x="1382472" y="211137"/>
                  </a:lnTo>
                  <a:lnTo>
                    <a:pt x="1382472" y="210451"/>
                  </a:lnTo>
                  <a:lnTo>
                    <a:pt x="1382472" y="213868"/>
                  </a:lnTo>
                  <a:lnTo>
                    <a:pt x="1382522" y="212484"/>
                  </a:lnTo>
                  <a:lnTo>
                    <a:pt x="1382522" y="211785"/>
                  </a:lnTo>
                  <a:lnTo>
                    <a:pt x="1382522" y="213868"/>
                  </a:lnTo>
                  <a:lnTo>
                    <a:pt x="1382522" y="212484"/>
                  </a:lnTo>
                  <a:lnTo>
                    <a:pt x="1382522" y="213868"/>
                  </a:lnTo>
                  <a:lnTo>
                    <a:pt x="1382573" y="212484"/>
                  </a:lnTo>
                  <a:lnTo>
                    <a:pt x="1382573" y="211785"/>
                  </a:lnTo>
                  <a:lnTo>
                    <a:pt x="1382573" y="213868"/>
                  </a:lnTo>
                  <a:lnTo>
                    <a:pt x="1382675" y="213868"/>
                  </a:lnTo>
                  <a:lnTo>
                    <a:pt x="1382675" y="214515"/>
                  </a:lnTo>
                  <a:lnTo>
                    <a:pt x="1382713" y="213868"/>
                  </a:lnTo>
                  <a:lnTo>
                    <a:pt x="1382713" y="214515"/>
                  </a:lnTo>
                  <a:lnTo>
                    <a:pt x="1382713" y="213868"/>
                  </a:lnTo>
                  <a:lnTo>
                    <a:pt x="1382713" y="215214"/>
                  </a:lnTo>
                  <a:lnTo>
                    <a:pt x="1382713" y="214515"/>
                  </a:lnTo>
                  <a:lnTo>
                    <a:pt x="1382713" y="215214"/>
                  </a:lnTo>
                  <a:lnTo>
                    <a:pt x="1382713" y="214515"/>
                  </a:lnTo>
                  <a:lnTo>
                    <a:pt x="1382713" y="215214"/>
                  </a:lnTo>
                  <a:lnTo>
                    <a:pt x="1382713" y="213868"/>
                  </a:lnTo>
                  <a:lnTo>
                    <a:pt x="1382713" y="214515"/>
                  </a:lnTo>
                  <a:lnTo>
                    <a:pt x="1382764" y="213868"/>
                  </a:lnTo>
                  <a:lnTo>
                    <a:pt x="1382764" y="214515"/>
                  </a:lnTo>
                  <a:lnTo>
                    <a:pt x="1382764" y="213868"/>
                  </a:lnTo>
                  <a:lnTo>
                    <a:pt x="1382764" y="214515"/>
                  </a:lnTo>
                  <a:lnTo>
                    <a:pt x="1382764" y="212484"/>
                  </a:lnTo>
                  <a:lnTo>
                    <a:pt x="1382815" y="212484"/>
                  </a:lnTo>
                  <a:lnTo>
                    <a:pt x="1382815" y="213868"/>
                  </a:lnTo>
                  <a:lnTo>
                    <a:pt x="1382815" y="211785"/>
                  </a:lnTo>
                  <a:lnTo>
                    <a:pt x="1382916" y="211137"/>
                  </a:lnTo>
                  <a:lnTo>
                    <a:pt x="1382916" y="210451"/>
                  </a:lnTo>
                  <a:lnTo>
                    <a:pt x="1382916" y="211785"/>
                  </a:lnTo>
                  <a:lnTo>
                    <a:pt x="1382916" y="211137"/>
                  </a:lnTo>
                  <a:lnTo>
                    <a:pt x="1382916" y="211785"/>
                  </a:lnTo>
                  <a:lnTo>
                    <a:pt x="1382967" y="211137"/>
                  </a:lnTo>
                  <a:lnTo>
                    <a:pt x="1382967" y="209753"/>
                  </a:lnTo>
                  <a:lnTo>
                    <a:pt x="1382967" y="213868"/>
                  </a:lnTo>
                  <a:lnTo>
                    <a:pt x="1382967" y="211785"/>
                  </a:lnTo>
                  <a:lnTo>
                    <a:pt x="1383018" y="211785"/>
                  </a:lnTo>
                  <a:lnTo>
                    <a:pt x="1383018" y="211137"/>
                  </a:lnTo>
                  <a:lnTo>
                    <a:pt x="1383018" y="211785"/>
                  </a:lnTo>
                  <a:lnTo>
                    <a:pt x="1383119" y="211785"/>
                  </a:lnTo>
                  <a:lnTo>
                    <a:pt x="1383119" y="211137"/>
                  </a:lnTo>
                  <a:lnTo>
                    <a:pt x="1383119" y="212484"/>
                  </a:lnTo>
                  <a:lnTo>
                    <a:pt x="1383119" y="211785"/>
                  </a:lnTo>
                  <a:lnTo>
                    <a:pt x="1383170" y="211785"/>
                  </a:lnTo>
                  <a:lnTo>
                    <a:pt x="1383170" y="212484"/>
                  </a:lnTo>
                  <a:lnTo>
                    <a:pt x="1383170" y="211785"/>
                  </a:lnTo>
                  <a:lnTo>
                    <a:pt x="1383170" y="212484"/>
                  </a:lnTo>
                  <a:lnTo>
                    <a:pt x="1383259" y="212484"/>
                  </a:lnTo>
                  <a:lnTo>
                    <a:pt x="1383259" y="211785"/>
                  </a:lnTo>
                  <a:lnTo>
                    <a:pt x="1383259" y="212484"/>
                  </a:lnTo>
                  <a:lnTo>
                    <a:pt x="1383259" y="211785"/>
                  </a:lnTo>
                  <a:lnTo>
                    <a:pt x="1383259" y="212484"/>
                  </a:lnTo>
                  <a:lnTo>
                    <a:pt x="1383361" y="212484"/>
                  </a:lnTo>
                  <a:lnTo>
                    <a:pt x="1383361" y="211137"/>
                  </a:lnTo>
                  <a:lnTo>
                    <a:pt x="1383361" y="211785"/>
                  </a:lnTo>
                  <a:lnTo>
                    <a:pt x="1383361" y="210451"/>
                  </a:lnTo>
                  <a:lnTo>
                    <a:pt x="1383412" y="210451"/>
                  </a:lnTo>
                  <a:lnTo>
                    <a:pt x="1383412" y="211785"/>
                  </a:lnTo>
                  <a:lnTo>
                    <a:pt x="1383412" y="210451"/>
                  </a:lnTo>
                  <a:lnTo>
                    <a:pt x="1383462" y="210451"/>
                  </a:lnTo>
                  <a:lnTo>
                    <a:pt x="1383462" y="213868"/>
                  </a:lnTo>
                  <a:lnTo>
                    <a:pt x="1383462" y="211137"/>
                  </a:lnTo>
                  <a:lnTo>
                    <a:pt x="1383462" y="211785"/>
                  </a:lnTo>
                  <a:lnTo>
                    <a:pt x="1383564" y="211785"/>
                  </a:lnTo>
                  <a:lnTo>
                    <a:pt x="1383564" y="212484"/>
                  </a:lnTo>
                  <a:lnTo>
                    <a:pt x="1383564" y="211785"/>
                  </a:lnTo>
                  <a:lnTo>
                    <a:pt x="1383615" y="211785"/>
                  </a:lnTo>
                  <a:lnTo>
                    <a:pt x="1383615" y="212484"/>
                  </a:lnTo>
                  <a:lnTo>
                    <a:pt x="1383615" y="211785"/>
                  </a:lnTo>
                  <a:lnTo>
                    <a:pt x="1383615" y="212484"/>
                  </a:lnTo>
                  <a:lnTo>
                    <a:pt x="1383615" y="211785"/>
                  </a:lnTo>
                  <a:lnTo>
                    <a:pt x="1383615" y="212484"/>
                  </a:lnTo>
                  <a:lnTo>
                    <a:pt x="1383615" y="211785"/>
                  </a:lnTo>
                  <a:lnTo>
                    <a:pt x="1383615" y="212484"/>
                  </a:lnTo>
                  <a:lnTo>
                    <a:pt x="1383665" y="212484"/>
                  </a:lnTo>
                  <a:lnTo>
                    <a:pt x="1383665" y="211785"/>
                  </a:lnTo>
                  <a:lnTo>
                    <a:pt x="1383665" y="212484"/>
                  </a:lnTo>
                  <a:lnTo>
                    <a:pt x="1383716" y="212484"/>
                  </a:lnTo>
                  <a:lnTo>
                    <a:pt x="1383716" y="213868"/>
                  </a:lnTo>
                  <a:lnTo>
                    <a:pt x="1383716" y="212484"/>
                  </a:lnTo>
                  <a:lnTo>
                    <a:pt x="1383805" y="212484"/>
                  </a:lnTo>
                  <a:lnTo>
                    <a:pt x="1383805" y="211785"/>
                  </a:lnTo>
                  <a:lnTo>
                    <a:pt x="1383856" y="211785"/>
                  </a:lnTo>
                  <a:lnTo>
                    <a:pt x="1383856" y="210451"/>
                  </a:lnTo>
                  <a:lnTo>
                    <a:pt x="1383856" y="211137"/>
                  </a:lnTo>
                  <a:lnTo>
                    <a:pt x="1383907" y="211137"/>
                  </a:lnTo>
                  <a:lnTo>
                    <a:pt x="1383907" y="211785"/>
                  </a:lnTo>
                  <a:lnTo>
                    <a:pt x="1383907" y="211137"/>
                  </a:lnTo>
                  <a:lnTo>
                    <a:pt x="1383907" y="211785"/>
                  </a:lnTo>
                  <a:lnTo>
                    <a:pt x="1383907" y="209753"/>
                  </a:lnTo>
                  <a:lnTo>
                    <a:pt x="1383907" y="211785"/>
                  </a:lnTo>
                  <a:lnTo>
                    <a:pt x="1383958" y="212484"/>
                  </a:lnTo>
                  <a:lnTo>
                    <a:pt x="1383958" y="213868"/>
                  </a:lnTo>
                  <a:lnTo>
                    <a:pt x="1383958" y="211137"/>
                  </a:lnTo>
                  <a:lnTo>
                    <a:pt x="1383958" y="212484"/>
                  </a:lnTo>
                  <a:lnTo>
                    <a:pt x="1384059" y="212484"/>
                  </a:lnTo>
                  <a:lnTo>
                    <a:pt x="1384059" y="213868"/>
                  </a:lnTo>
                  <a:lnTo>
                    <a:pt x="1384059" y="211785"/>
                  </a:lnTo>
                  <a:lnTo>
                    <a:pt x="1384059" y="213868"/>
                  </a:lnTo>
                  <a:lnTo>
                    <a:pt x="1384059" y="212484"/>
                  </a:lnTo>
                  <a:lnTo>
                    <a:pt x="1384059" y="213868"/>
                  </a:lnTo>
                  <a:lnTo>
                    <a:pt x="1384110" y="212484"/>
                  </a:lnTo>
                  <a:lnTo>
                    <a:pt x="1384110" y="213868"/>
                  </a:lnTo>
                  <a:lnTo>
                    <a:pt x="1384110" y="212484"/>
                  </a:lnTo>
                  <a:lnTo>
                    <a:pt x="1384110" y="213868"/>
                  </a:lnTo>
                  <a:lnTo>
                    <a:pt x="1384161" y="212484"/>
                  </a:lnTo>
                  <a:lnTo>
                    <a:pt x="1384161" y="213868"/>
                  </a:lnTo>
                  <a:lnTo>
                    <a:pt x="1384161" y="212484"/>
                  </a:lnTo>
                  <a:lnTo>
                    <a:pt x="1384262" y="212484"/>
                  </a:lnTo>
                  <a:lnTo>
                    <a:pt x="1384262" y="211785"/>
                  </a:lnTo>
                  <a:lnTo>
                    <a:pt x="1384262" y="212484"/>
                  </a:lnTo>
                  <a:lnTo>
                    <a:pt x="1384262" y="211785"/>
                  </a:lnTo>
                  <a:lnTo>
                    <a:pt x="1384262" y="212484"/>
                  </a:lnTo>
                  <a:lnTo>
                    <a:pt x="1384300" y="212484"/>
                  </a:lnTo>
                  <a:lnTo>
                    <a:pt x="1384300" y="210451"/>
                  </a:lnTo>
                  <a:lnTo>
                    <a:pt x="1384351" y="210451"/>
                  </a:lnTo>
                  <a:lnTo>
                    <a:pt x="1384351" y="211137"/>
                  </a:lnTo>
                  <a:lnTo>
                    <a:pt x="1384351" y="208407"/>
                  </a:lnTo>
                  <a:lnTo>
                    <a:pt x="1384402" y="209753"/>
                  </a:lnTo>
                  <a:lnTo>
                    <a:pt x="1384402" y="210451"/>
                  </a:lnTo>
                  <a:lnTo>
                    <a:pt x="1384402" y="208407"/>
                  </a:lnTo>
                  <a:lnTo>
                    <a:pt x="1384402" y="209753"/>
                  </a:lnTo>
                  <a:lnTo>
                    <a:pt x="1384504" y="210451"/>
                  </a:lnTo>
                  <a:lnTo>
                    <a:pt x="1384504" y="211785"/>
                  </a:lnTo>
                  <a:lnTo>
                    <a:pt x="1384504" y="210451"/>
                  </a:lnTo>
                  <a:lnTo>
                    <a:pt x="1384504" y="211137"/>
                  </a:lnTo>
                  <a:lnTo>
                    <a:pt x="1384555" y="211785"/>
                  </a:lnTo>
                  <a:lnTo>
                    <a:pt x="1384555" y="212484"/>
                  </a:lnTo>
                  <a:lnTo>
                    <a:pt x="1384555" y="211785"/>
                  </a:lnTo>
                  <a:lnTo>
                    <a:pt x="1384555" y="212484"/>
                  </a:lnTo>
                  <a:lnTo>
                    <a:pt x="1384605" y="212484"/>
                  </a:lnTo>
                  <a:lnTo>
                    <a:pt x="1384605" y="213868"/>
                  </a:lnTo>
                  <a:lnTo>
                    <a:pt x="1384605" y="212484"/>
                  </a:lnTo>
                  <a:lnTo>
                    <a:pt x="1384605" y="213868"/>
                  </a:lnTo>
                  <a:lnTo>
                    <a:pt x="1384605" y="212484"/>
                  </a:lnTo>
                  <a:lnTo>
                    <a:pt x="1384605" y="213868"/>
                  </a:lnTo>
                  <a:lnTo>
                    <a:pt x="1384605" y="212484"/>
                  </a:lnTo>
                  <a:lnTo>
                    <a:pt x="1384707" y="212484"/>
                  </a:lnTo>
                  <a:lnTo>
                    <a:pt x="1384707" y="213868"/>
                  </a:lnTo>
                  <a:lnTo>
                    <a:pt x="1384707" y="212484"/>
                  </a:lnTo>
                  <a:lnTo>
                    <a:pt x="1384707" y="214515"/>
                  </a:lnTo>
                  <a:lnTo>
                    <a:pt x="1384707" y="213868"/>
                  </a:lnTo>
                  <a:lnTo>
                    <a:pt x="1384707" y="214515"/>
                  </a:lnTo>
                  <a:lnTo>
                    <a:pt x="1384758" y="214515"/>
                  </a:lnTo>
                  <a:lnTo>
                    <a:pt x="1384758" y="213868"/>
                  </a:lnTo>
                  <a:lnTo>
                    <a:pt x="1384758" y="214515"/>
                  </a:lnTo>
                  <a:lnTo>
                    <a:pt x="1384758" y="213868"/>
                  </a:lnTo>
                  <a:lnTo>
                    <a:pt x="1384758" y="214515"/>
                  </a:lnTo>
                  <a:lnTo>
                    <a:pt x="1384758" y="213868"/>
                  </a:lnTo>
                  <a:lnTo>
                    <a:pt x="1384809" y="213868"/>
                  </a:lnTo>
                  <a:lnTo>
                    <a:pt x="1384809" y="212484"/>
                  </a:lnTo>
                  <a:lnTo>
                    <a:pt x="1384809" y="213868"/>
                  </a:lnTo>
                  <a:lnTo>
                    <a:pt x="1384809" y="212484"/>
                  </a:lnTo>
                  <a:lnTo>
                    <a:pt x="1384809" y="213868"/>
                  </a:lnTo>
                  <a:lnTo>
                    <a:pt x="1384809" y="211785"/>
                  </a:lnTo>
                  <a:lnTo>
                    <a:pt x="1384847" y="211785"/>
                  </a:lnTo>
                  <a:lnTo>
                    <a:pt x="1384847" y="211137"/>
                  </a:lnTo>
                  <a:lnTo>
                    <a:pt x="1384847" y="211785"/>
                  </a:lnTo>
                  <a:lnTo>
                    <a:pt x="1384847" y="209753"/>
                  </a:lnTo>
                  <a:lnTo>
                    <a:pt x="1384948" y="208407"/>
                  </a:lnTo>
                  <a:lnTo>
                    <a:pt x="1384948" y="211137"/>
                  </a:lnTo>
                  <a:lnTo>
                    <a:pt x="1384948" y="209753"/>
                  </a:lnTo>
                  <a:lnTo>
                    <a:pt x="1384948" y="210451"/>
                  </a:lnTo>
                  <a:lnTo>
                    <a:pt x="1384999" y="211137"/>
                  </a:lnTo>
                  <a:lnTo>
                    <a:pt x="1384999" y="211785"/>
                  </a:lnTo>
                  <a:lnTo>
                    <a:pt x="1384999" y="210451"/>
                  </a:lnTo>
                  <a:lnTo>
                    <a:pt x="1384999" y="211785"/>
                  </a:lnTo>
                  <a:lnTo>
                    <a:pt x="1384999" y="211137"/>
                  </a:lnTo>
                  <a:lnTo>
                    <a:pt x="1385050" y="211785"/>
                  </a:lnTo>
                  <a:lnTo>
                    <a:pt x="1385050" y="212484"/>
                  </a:lnTo>
                  <a:lnTo>
                    <a:pt x="1385050" y="211137"/>
                  </a:lnTo>
                  <a:lnTo>
                    <a:pt x="1385050" y="212484"/>
                  </a:lnTo>
                  <a:lnTo>
                    <a:pt x="1385151" y="212484"/>
                  </a:lnTo>
                  <a:lnTo>
                    <a:pt x="1385151" y="213868"/>
                  </a:lnTo>
                  <a:lnTo>
                    <a:pt x="1385151" y="211785"/>
                  </a:lnTo>
                  <a:lnTo>
                    <a:pt x="1385151" y="213868"/>
                  </a:lnTo>
                  <a:lnTo>
                    <a:pt x="1385202" y="213868"/>
                  </a:lnTo>
                  <a:lnTo>
                    <a:pt x="1385202" y="212484"/>
                  </a:lnTo>
                  <a:lnTo>
                    <a:pt x="1385202" y="213868"/>
                  </a:lnTo>
                  <a:lnTo>
                    <a:pt x="1385202" y="212484"/>
                  </a:lnTo>
                  <a:lnTo>
                    <a:pt x="1385202" y="213868"/>
                  </a:lnTo>
                  <a:lnTo>
                    <a:pt x="1385253" y="213868"/>
                  </a:lnTo>
                  <a:lnTo>
                    <a:pt x="1385253" y="214515"/>
                  </a:lnTo>
                  <a:lnTo>
                    <a:pt x="1385253" y="213868"/>
                  </a:lnTo>
                  <a:lnTo>
                    <a:pt x="1385253" y="214515"/>
                  </a:lnTo>
                  <a:lnTo>
                    <a:pt x="1385253" y="213868"/>
                  </a:lnTo>
                  <a:lnTo>
                    <a:pt x="1385253" y="214515"/>
                  </a:lnTo>
                  <a:lnTo>
                    <a:pt x="1385253" y="213868"/>
                  </a:lnTo>
                  <a:lnTo>
                    <a:pt x="1385253" y="214515"/>
                  </a:lnTo>
                  <a:lnTo>
                    <a:pt x="1385253" y="213868"/>
                  </a:lnTo>
                  <a:lnTo>
                    <a:pt x="1385304" y="214515"/>
                  </a:lnTo>
                  <a:lnTo>
                    <a:pt x="1385304" y="212484"/>
                  </a:lnTo>
                  <a:lnTo>
                    <a:pt x="1385393" y="212484"/>
                  </a:lnTo>
                  <a:lnTo>
                    <a:pt x="1385393" y="209753"/>
                  </a:lnTo>
                  <a:lnTo>
                    <a:pt x="1385444" y="209753"/>
                  </a:lnTo>
                  <a:lnTo>
                    <a:pt x="1385444" y="210451"/>
                  </a:lnTo>
                  <a:lnTo>
                    <a:pt x="1385444" y="209753"/>
                  </a:lnTo>
                  <a:lnTo>
                    <a:pt x="1385494" y="209753"/>
                  </a:lnTo>
                  <a:lnTo>
                    <a:pt x="1385494" y="211785"/>
                  </a:lnTo>
                  <a:lnTo>
                    <a:pt x="1385494" y="211137"/>
                  </a:lnTo>
                  <a:lnTo>
                    <a:pt x="1385545" y="211137"/>
                  </a:lnTo>
                  <a:lnTo>
                    <a:pt x="1385545" y="211785"/>
                  </a:lnTo>
                  <a:lnTo>
                    <a:pt x="1385545" y="211137"/>
                  </a:lnTo>
                  <a:lnTo>
                    <a:pt x="1385545" y="211785"/>
                  </a:lnTo>
                  <a:lnTo>
                    <a:pt x="1385545" y="211137"/>
                  </a:lnTo>
                  <a:lnTo>
                    <a:pt x="1385647" y="211137"/>
                  </a:lnTo>
                  <a:lnTo>
                    <a:pt x="1385647" y="213868"/>
                  </a:lnTo>
                  <a:lnTo>
                    <a:pt x="1385647" y="212484"/>
                  </a:lnTo>
                  <a:lnTo>
                    <a:pt x="1385697" y="213868"/>
                  </a:lnTo>
                  <a:lnTo>
                    <a:pt x="1385697" y="212484"/>
                  </a:lnTo>
                  <a:lnTo>
                    <a:pt x="1385697" y="214515"/>
                  </a:lnTo>
                  <a:lnTo>
                    <a:pt x="1385697" y="213868"/>
                  </a:lnTo>
                  <a:lnTo>
                    <a:pt x="1385697" y="214515"/>
                  </a:lnTo>
                  <a:lnTo>
                    <a:pt x="1385748" y="214515"/>
                  </a:lnTo>
                  <a:lnTo>
                    <a:pt x="1385748" y="213868"/>
                  </a:lnTo>
                  <a:lnTo>
                    <a:pt x="1385748" y="215214"/>
                  </a:lnTo>
                  <a:lnTo>
                    <a:pt x="1385748" y="214515"/>
                  </a:lnTo>
                  <a:lnTo>
                    <a:pt x="1385850" y="214515"/>
                  </a:lnTo>
                  <a:lnTo>
                    <a:pt x="1385850" y="213868"/>
                  </a:lnTo>
                  <a:lnTo>
                    <a:pt x="1385850" y="214515"/>
                  </a:lnTo>
                  <a:lnTo>
                    <a:pt x="1385850" y="213868"/>
                  </a:lnTo>
                  <a:lnTo>
                    <a:pt x="1385850" y="214515"/>
                  </a:lnTo>
                  <a:lnTo>
                    <a:pt x="1385850" y="213868"/>
                  </a:lnTo>
                  <a:lnTo>
                    <a:pt x="1385888" y="212484"/>
                  </a:lnTo>
                  <a:lnTo>
                    <a:pt x="1385888" y="213868"/>
                  </a:lnTo>
                  <a:lnTo>
                    <a:pt x="1385888" y="211785"/>
                  </a:lnTo>
                  <a:lnTo>
                    <a:pt x="1385888" y="213868"/>
                  </a:lnTo>
                  <a:lnTo>
                    <a:pt x="1385888" y="212484"/>
                  </a:lnTo>
                  <a:lnTo>
                    <a:pt x="1385888" y="213868"/>
                  </a:lnTo>
                  <a:lnTo>
                    <a:pt x="1385939" y="213868"/>
                  </a:lnTo>
                  <a:lnTo>
                    <a:pt x="1385939" y="210451"/>
                  </a:lnTo>
                  <a:lnTo>
                    <a:pt x="1385939" y="215214"/>
                  </a:lnTo>
                  <a:lnTo>
                    <a:pt x="1385939" y="214515"/>
                  </a:lnTo>
                  <a:lnTo>
                    <a:pt x="1385990" y="213868"/>
                  </a:lnTo>
                  <a:lnTo>
                    <a:pt x="1385990" y="211785"/>
                  </a:lnTo>
                  <a:lnTo>
                    <a:pt x="1385990" y="214515"/>
                  </a:lnTo>
                  <a:lnTo>
                    <a:pt x="1385990" y="213868"/>
                  </a:lnTo>
                  <a:lnTo>
                    <a:pt x="1386091" y="213868"/>
                  </a:lnTo>
                  <a:lnTo>
                    <a:pt x="1386091" y="211785"/>
                  </a:lnTo>
                  <a:lnTo>
                    <a:pt x="1386091" y="213868"/>
                  </a:lnTo>
                  <a:lnTo>
                    <a:pt x="1386091" y="212484"/>
                  </a:lnTo>
                  <a:lnTo>
                    <a:pt x="1386142" y="212484"/>
                  </a:lnTo>
                  <a:lnTo>
                    <a:pt x="1386142" y="213868"/>
                  </a:lnTo>
                  <a:lnTo>
                    <a:pt x="1386142" y="212484"/>
                  </a:lnTo>
                  <a:lnTo>
                    <a:pt x="1386142" y="213868"/>
                  </a:lnTo>
                  <a:lnTo>
                    <a:pt x="1386142" y="212484"/>
                  </a:lnTo>
                  <a:lnTo>
                    <a:pt x="1386142" y="213868"/>
                  </a:lnTo>
                  <a:lnTo>
                    <a:pt x="1386193" y="212484"/>
                  </a:lnTo>
                  <a:lnTo>
                    <a:pt x="1386193" y="213868"/>
                  </a:lnTo>
                  <a:lnTo>
                    <a:pt x="1386294" y="213868"/>
                  </a:lnTo>
                  <a:lnTo>
                    <a:pt x="1386294" y="214515"/>
                  </a:lnTo>
                  <a:lnTo>
                    <a:pt x="1386294" y="213868"/>
                  </a:lnTo>
                  <a:lnTo>
                    <a:pt x="1386294" y="214515"/>
                  </a:lnTo>
                  <a:lnTo>
                    <a:pt x="1386294" y="213868"/>
                  </a:lnTo>
                  <a:lnTo>
                    <a:pt x="1386294" y="214515"/>
                  </a:lnTo>
                  <a:lnTo>
                    <a:pt x="1386294" y="213868"/>
                  </a:lnTo>
                  <a:lnTo>
                    <a:pt x="1386345" y="213868"/>
                  </a:lnTo>
                  <a:lnTo>
                    <a:pt x="1386345" y="212484"/>
                  </a:lnTo>
                  <a:lnTo>
                    <a:pt x="1386396" y="212484"/>
                  </a:lnTo>
                  <a:lnTo>
                    <a:pt x="1386396" y="211785"/>
                  </a:lnTo>
                  <a:lnTo>
                    <a:pt x="1386396" y="213868"/>
                  </a:lnTo>
                  <a:lnTo>
                    <a:pt x="1386396" y="212484"/>
                  </a:lnTo>
                  <a:lnTo>
                    <a:pt x="1386434" y="212484"/>
                  </a:lnTo>
                  <a:lnTo>
                    <a:pt x="1386434" y="211785"/>
                  </a:lnTo>
                  <a:lnTo>
                    <a:pt x="1386434" y="215900"/>
                  </a:lnTo>
                  <a:lnTo>
                    <a:pt x="1386434" y="213868"/>
                  </a:lnTo>
                  <a:lnTo>
                    <a:pt x="1386536" y="212484"/>
                  </a:lnTo>
                  <a:lnTo>
                    <a:pt x="1386536" y="215214"/>
                  </a:lnTo>
                  <a:lnTo>
                    <a:pt x="1386536" y="214515"/>
                  </a:lnTo>
                  <a:lnTo>
                    <a:pt x="1386536" y="215214"/>
                  </a:lnTo>
                  <a:lnTo>
                    <a:pt x="1386536" y="213868"/>
                  </a:lnTo>
                  <a:lnTo>
                    <a:pt x="1386587" y="213868"/>
                  </a:lnTo>
                  <a:lnTo>
                    <a:pt x="1386587" y="215214"/>
                  </a:lnTo>
                  <a:lnTo>
                    <a:pt x="1386587" y="214515"/>
                  </a:lnTo>
                  <a:lnTo>
                    <a:pt x="1386637" y="213868"/>
                  </a:lnTo>
                  <a:lnTo>
                    <a:pt x="1386637" y="214515"/>
                  </a:lnTo>
                  <a:lnTo>
                    <a:pt x="1386739" y="214515"/>
                  </a:lnTo>
                  <a:lnTo>
                    <a:pt x="1386739" y="215214"/>
                  </a:lnTo>
                  <a:lnTo>
                    <a:pt x="1386739" y="214515"/>
                  </a:lnTo>
                  <a:lnTo>
                    <a:pt x="1386790" y="214515"/>
                  </a:lnTo>
                  <a:lnTo>
                    <a:pt x="1386790" y="213868"/>
                  </a:lnTo>
                  <a:lnTo>
                    <a:pt x="1386790" y="214515"/>
                  </a:lnTo>
                  <a:lnTo>
                    <a:pt x="1386790" y="213868"/>
                  </a:lnTo>
                  <a:lnTo>
                    <a:pt x="1386840" y="213868"/>
                  </a:lnTo>
                  <a:lnTo>
                    <a:pt x="1386840" y="211785"/>
                  </a:lnTo>
                  <a:lnTo>
                    <a:pt x="1386840" y="212484"/>
                  </a:lnTo>
                  <a:lnTo>
                    <a:pt x="1386840" y="211785"/>
                  </a:lnTo>
                  <a:lnTo>
                    <a:pt x="1386891" y="211785"/>
                  </a:lnTo>
                  <a:lnTo>
                    <a:pt x="1386891" y="214515"/>
                  </a:lnTo>
                  <a:lnTo>
                    <a:pt x="1386891" y="212484"/>
                  </a:lnTo>
                  <a:lnTo>
                    <a:pt x="1386980" y="211785"/>
                  </a:lnTo>
                  <a:lnTo>
                    <a:pt x="1386980" y="215214"/>
                  </a:lnTo>
                  <a:lnTo>
                    <a:pt x="1386980" y="213868"/>
                  </a:lnTo>
                  <a:lnTo>
                    <a:pt x="1386980" y="214515"/>
                  </a:lnTo>
                  <a:lnTo>
                    <a:pt x="1386980" y="213868"/>
                  </a:lnTo>
                  <a:lnTo>
                    <a:pt x="1386980" y="214515"/>
                  </a:lnTo>
                  <a:lnTo>
                    <a:pt x="1387031" y="214515"/>
                  </a:lnTo>
                  <a:lnTo>
                    <a:pt x="1387031" y="215900"/>
                  </a:lnTo>
                  <a:lnTo>
                    <a:pt x="1387031" y="214515"/>
                  </a:lnTo>
                  <a:lnTo>
                    <a:pt x="1387031" y="215214"/>
                  </a:lnTo>
                  <a:lnTo>
                    <a:pt x="1387082" y="215214"/>
                  </a:lnTo>
                  <a:lnTo>
                    <a:pt x="1387082" y="214515"/>
                  </a:lnTo>
                  <a:lnTo>
                    <a:pt x="1387133" y="215214"/>
                  </a:lnTo>
                  <a:lnTo>
                    <a:pt x="1387133" y="215900"/>
                  </a:lnTo>
                  <a:lnTo>
                    <a:pt x="1387133" y="215214"/>
                  </a:lnTo>
                  <a:lnTo>
                    <a:pt x="1387234" y="215214"/>
                  </a:lnTo>
                  <a:lnTo>
                    <a:pt x="1387234" y="214515"/>
                  </a:lnTo>
                  <a:lnTo>
                    <a:pt x="1387234" y="215214"/>
                  </a:lnTo>
                  <a:lnTo>
                    <a:pt x="1387234" y="214515"/>
                  </a:lnTo>
                  <a:lnTo>
                    <a:pt x="1387234" y="215214"/>
                  </a:lnTo>
                  <a:lnTo>
                    <a:pt x="1387234" y="214515"/>
                  </a:lnTo>
                  <a:lnTo>
                    <a:pt x="1387234" y="215214"/>
                  </a:lnTo>
                  <a:lnTo>
                    <a:pt x="1387234" y="214515"/>
                  </a:lnTo>
                  <a:lnTo>
                    <a:pt x="1387285" y="214515"/>
                  </a:lnTo>
                  <a:lnTo>
                    <a:pt x="1387285" y="213868"/>
                  </a:lnTo>
                  <a:lnTo>
                    <a:pt x="1387285" y="214515"/>
                  </a:lnTo>
                  <a:lnTo>
                    <a:pt x="1387285" y="212484"/>
                  </a:lnTo>
                  <a:lnTo>
                    <a:pt x="1387285" y="213868"/>
                  </a:lnTo>
                  <a:lnTo>
                    <a:pt x="1387285" y="212484"/>
                  </a:lnTo>
                  <a:lnTo>
                    <a:pt x="1387336" y="212484"/>
                  </a:lnTo>
                  <a:lnTo>
                    <a:pt x="1387336" y="211137"/>
                  </a:lnTo>
                  <a:lnTo>
                    <a:pt x="1387336" y="212484"/>
                  </a:lnTo>
                  <a:lnTo>
                    <a:pt x="1387437" y="213868"/>
                  </a:lnTo>
                  <a:lnTo>
                    <a:pt x="1387437" y="211785"/>
                  </a:lnTo>
                  <a:lnTo>
                    <a:pt x="1387437" y="214515"/>
                  </a:lnTo>
                  <a:lnTo>
                    <a:pt x="1387475" y="214515"/>
                  </a:lnTo>
                  <a:lnTo>
                    <a:pt x="1387475" y="212484"/>
                  </a:lnTo>
                  <a:lnTo>
                    <a:pt x="1387475" y="213868"/>
                  </a:lnTo>
                  <a:lnTo>
                    <a:pt x="1387475" y="212484"/>
                  </a:lnTo>
                  <a:lnTo>
                    <a:pt x="1387475" y="215214"/>
                  </a:lnTo>
                  <a:lnTo>
                    <a:pt x="1387526" y="214515"/>
                  </a:lnTo>
                  <a:lnTo>
                    <a:pt x="1387526" y="215214"/>
                  </a:lnTo>
                  <a:lnTo>
                    <a:pt x="1387526" y="213868"/>
                  </a:lnTo>
                  <a:lnTo>
                    <a:pt x="1387526" y="214515"/>
                  </a:lnTo>
                  <a:lnTo>
                    <a:pt x="1387526" y="213868"/>
                  </a:lnTo>
                  <a:lnTo>
                    <a:pt x="1387526" y="215214"/>
                  </a:lnTo>
                  <a:lnTo>
                    <a:pt x="1387577" y="215214"/>
                  </a:lnTo>
                  <a:lnTo>
                    <a:pt x="1387577" y="214515"/>
                  </a:lnTo>
                  <a:lnTo>
                    <a:pt x="1387577" y="215214"/>
                  </a:lnTo>
                  <a:lnTo>
                    <a:pt x="1387679" y="215214"/>
                  </a:lnTo>
                  <a:lnTo>
                    <a:pt x="1387679" y="214515"/>
                  </a:lnTo>
                  <a:lnTo>
                    <a:pt x="1387679" y="215214"/>
                  </a:lnTo>
                  <a:lnTo>
                    <a:pt x="1387730" y="214515"/>
                  </a:lnTo>
                  <a:lnTo>
                    <a:pt x="1387730" y="215214"/>
                  </a:lnTo>
                  <a:lnTo>
                    <a:pt x="1387730" y="214515"/>
                  </a:lnTo>
                  <a:lnTo>
                    <a:pt x="1387730" y="215214"/>
                  </a:lnTo>
                  <a:lnTo>
                    <a:pt x="1387730" y="214515"/>
                  </a:lnTo>
                  <a:lnTo>
                    <a:pt x="1387730" y="215214"/>
                  </a:lnTo>
                  <a:lnTo>
                    <a:pt x="1387730" y="214515"/>
                  </a:lnTo>
                  <a:lnTo>
                    <a:pt x="1387780" y="214515"/>
                  </a:lnTo>
                  <a:lnTo>
                    <a:pt x="1387780" y="213868"/>
                  </a:lnTo>
                  <a:lnTo>
                    <a:pt x="1387780" y="214515"/>
                  </a:lnTo>
                  <a:lnTo>
                    <a:pt x="1387780" y="213868"/>
                  </a:lnTo>
                  <a:lnTo>
                    <a:pt x="1387780" y="214515"/>
                  </a:lnTo>
                  <a:lnTo>
                    <a:pt x="1387780" y="211785"/>
                  </a:lnTo>
                  <a:lnTo>
                    <a:pt x="1387882" y="211785"/>
                  </a:lnTo>
                  <a:lnTo>
                    <a:pt x="1387882" y="211137"/>
                  </a:lnTo>
                  <a:lnTo>
                    <a:pt x="1387882" y="213868"/>
                  </a:lnTo>
                  <a:lnTo>
                    <a:pt x="1387882" y="212484"/>
                  </a:lnTo>
                  <a:lnTo>
                    <a:pt x="1387933" y="212484"/>
                  </a:lnTo>
                  <a:lnTo>
                    <a:pt x="1387933" y="211785"/>
                  </a:lnTo>
                  <a:lnTo>
                    <a:pt x="1387933" y="215900"/>
                  </a:lnTo>
                  <a:lnTo>
                    <a:pt x="1387933" y="213868"/>
                  </a:lnTo>
                  <a:lnTo>
                    <a:pt x="1387984" y="213868"/>
                  </a:lnTo>
                  <a:lnTo>
                    <a:pt x="1387984" y="212484"/>
                  </a:lnTo>
                  <a:lnTo>
                    <a:pt x="1387984" y="215214"/>
                  </a:lnTo>
                  <a:lnTo>
                    <a:pt x="1387984" y="213868"/>
                  </a:lnTo>
                  <a:lnTo>
                    <a:pt x="1388022" y="213868"/>
                  </a:lnTo>
                  <a:lnTo>
                    <a:pt x="1388022" y="215214"/>
                  </a:lnTo>
                  <a:lnTo>
                    <a:pt x="1388022" y="214515"/>
                  </a:lnTo>
                  <a:lnTo>
                    <a:pt x="1388123" y="214515"/>
                  </a:lnTo>
                  <a:lnTo>
                    <a:pt x="1388123" y="215900"/>
                  </a:lnTo>
                  <a:lnTo>
                    <a:pt x="1388123" y="214515"/>
                  </a:lnTo>
                  <a:lnTo>
                    <a:pt x="1388123" y="215214"/>
                  </a:lnTo>
                  <a:lnTo>
                    <a:pt x="1388174" y="215214"/>
                  </a:lnTo>
                  <a:lnTo>
                    <a:pt x="1388174" y="214515"/>
                  </a:lnTo>
                  <a:lnTo>
                    <a:pt x="1388174" y="215214"/>
                  </a:lnTo>
                  <a:lnTo>
                    <a:pt x="1388225" y="215214"/>
                  </a:lnTo>
                  <a:lnTo>
                    <a:pt x="1388225" y="214515"/>
                  </a:lnTo>
                  <a:lnTo>
                    <a:pt x="1388225" y="215214"/>
                  </a:lnTo>
                  <a:lnTo>
                    <a:pt x="1388225" y="213868"/>
                  </a:lnTo>
                  <a:lnTo>
                    <a:pt x="1388225" y="214515"/>
                  </a:lnTo>
                  <a:lnTo>
                    <a:pt x="1388225" y="213868"/>
                  </a:lnTo>
                  <a:lnTo>
                    <a:pt x="1388225" y="214515"/>
                  </a:lnTo>
                  <a:lnTo>
                    <a:pt x="1388225" y="213868"/>
                  </a:lnTo>
                  <a:lnTo>
                    <a:pt x="1388326" y="213868"/>
                  </a:lnTo>
                  <a:lnTo>
                    <a:pt x="1388326" y="214515"/>
                  </a:lnTo>
                  <a:lnTo>
                    <a:pt x="1388326" y="212484"/>
                  </a:lnTo>
                  <a:lnTo>
                    <a:pt x="1388326" y="213868"/>
                  </a:lnTo>
                  <a:lnTo>
                    <a:pt x="1388326" y="211785"/>
                  </a:lnTo>
                  <a:lnTo>
                    <a:pt x="1388377" y="211137"/>
                  </a:lnTo>
                  <a:lnTo>
                    <a:pt x="1388377" y="213868"/>
                  </a:lnTo>
                  <a:lnTo>
                    <a:pt x="1388377" y="211785"/>
                  </a:lnTo>
                  <a:lnTo>
                    <a:pt x="1388377" y="212484"/>
                  </a:lnTo>
                  <a:lnTo>
                    <a:pt x="1388428" y="213868"/>
                  </a:lnTo>
                  <a:lnTo>
                    <a:pt x="1388428" y="215214"/>
                  </a:lnTo>
                  <a:lnTo>
                    <a:pt x="1388428" y="213868"/>
                  </a:lnTo>
                  <a:lnTo>
                    <a:pt x="1388428" y="214515"/>
                  </a:lnTo>
                  <a:lnTo>
                    <a:pt x="1388479" y="214515"/>
                  </a:lnTo>
                  <a:lnTo>
                    <a:pt x="1388479" y="215214"/>
                  </a:lnTo>
                  <a:lnTo>
                    <a:pt x="1388479" y="214515"/>
                  </a:lnTo>
                  <a:lnTo>
                    <a:pt x="1388568" y="214515"/>
                  </a:lnTo>
                  <a:lnTo>
                    <a:pt x="1388568" y="215214"/>
                  </a:lnTo>
                  <a:lnTo>
                    <a:pt x="1388568" y="214515"/>
                  </a:lnTo>
                  <a:lnTo>
                    <a:pt x="1388568" y="215214"/>
                  </a:lnTo>
                  <a:lnTo>
                    <a:pt x="1388619" y="215214"/>
                  </a:lnTo>
                  <a:lnTo>
                    <a:pt x="1388619" y="215900"/>
                  </a:lnTo>
                  <a:lnTo>
                    <a:pt x="1388619" y="215214"/>
                  </a:lnTo>
                  <a:lnTo>
                    <a:pt x="1388619" y="215900"/>
                  </a:lnTo>
                  <a:lnTo>
                    <a:pt x="1388619" y="215214"/>
                  </a:lnTo>
                  <a:lnTo>
                    <a:pt x="1388619" y="215900"/>
                  </a:lnTo>
                  <a:lnTo>
                    <a:pt x="1388619" y="215214"/>
                  </a:lnTo>
                  <a:lnTo>
                    <a:pt x="1388619" y="215900"/>
                  </a:lnTo>
                  <a:lnTo>
                    <a:pt x="1388669" y="215900"/>
                  </a:lnTo>
                  <a:lnTo>
                    <a:pt x="1388669" y="217246"/>
                  </a:lnTo>
                  <a:lnTo>
                    <a:pt x="1388669" y="215214"/>
                  </a:lnTo>
                  <a:lnTo>
                    <a:pt x="1388669" y="215900"/>
                  </a:lnTo>
                  <a:lnTo>
                    <a:pt x="1388669" y="215214"/>
                  </a:lnTo>
                  <a:lnTo>
                    <a:pt x="1388720" y="215214"/>
                  </a:lnTo>
                  <a:lnTo>
                    <a:pt x="1388720" y="214515"/>
                  </a:lnTo>
                  <a:lnTo>
                    <a:pt x="1388720" y="215214"/>
                  </a:lnTo>
                  <a:lnTo>
                    <a:pt x="1388720" y="214515"/>
                  </a:lnTo>
                  <a:lnTo>
                    <a:pt x="1388822" y="214515"/>
                  </a:lnTo>
                  <a:lnTo>
                    <a:pt x="1388822" y="212484"/>
                  </a:lnTo>
                  <a:lnTo>
                    <a:pt x="1388822" y="213868"/>
                  </a:lnTo>
                  <a:lnTo>
                    <a:pt x="1388822" y="211785"/>
                  </a:lnTo>
                  <a:lnTo>
                    <a:pt x="1388822" y="212484"/>
                  </a:lnTo>
                  <a:lnTo>
                    <a:pt x="1388822" y="211785"/>
                  </a:lnTo>
                  <a:lnTo>
                    <a:pt x="1388822" y="212484"/>
                  </a:lnTo>
                  <a:lnTo>
                    <a:pt x="1388872" y="212484"/>
                  </a:lnTo>
                  <a:lnTo>
                    <a:pt x="1388872" y="213868"/>
                  </a:lnTo>
                  <a:lnTo>
                    <a:pt x="1388872" y="211785"/>
                  </a:lnTo>
                  <a:lnTo>
                    <a:pt x="1388872" y="214515"/>
                  </a:lnTo>
                  <a:lnTo>
                    <a:pt x="1388923" y="215214"/>
                  </a:lnTo>
                  <a:lnTo>
                    <a:pt x="1388923" y="212484"/>
                  </a:lnTo>
                  <a:lnTo>
                    <a:pt x="1388923" y="214515"/>
                  </a:lnTo>
                  <a:lnTo>
                    <a:pt x="1389025" y="214515"/>
                  </a:lnTo>
                  <a:lnTo>
                    <a:pt x="1389025" y="215214"/>
                  </a:lnTo>
                  <a:lnTo>
                    <a:pt x="1389025" y="213868"/>
                  </a:lnTo>
                  <a:lnTo>
                    <a:pt x="1389025" y="214515"/>
                  </a:lnTo>
                  <a:lnTo>
                    <a:pt x="1389063" y="215214"/>
                  </a:lnTo>
                  <a:lnTo>
                    <a:pt x="1389063" y="214515"/>
                  </a:lnTo>
                  <a:lnTo>
                    <a:pt x="1389063" y="215214"/>
                  </a:lnTo>
                  <a:lnTo>
                    <a:pt x="1389063" y="214515"/>
                  </a:lnTo>
                  <a:lnTo>
                    <a:pt x="1389063" y="215214"/>
                  </a:lnTo>
                  <a:lnTo>
                    <a:pt x="1389063" y="214515"/>
                  </a:lnTo>
                  <a:lnTo>
                    <a:pt x="1389063" y="215214"/>
                  </a:lnTo>
                  <a:lnTo>
                    <a:pt x="1389114" y="215214"/>
                  </a:lnTo>
                  <a:lnTo>
                    <a:pt x="1389114" y="214515"/>
                  </a:lnTo>
                  <a:lnTo>
                    <a:pt x="1389114" y="215214"/>
                  </a:lnTo>
                  <a:lnTo>
                    <a:pt x="1389114" y="214515"/>
                  </a:lnTo>
                  <a:lnTo>
                    <a:pt x="1389114" y="215214"/>
                  </a:lnTo>
                  <a:lnTo>
                    <a:pt x="1389114" y="214515"/>
                  </a:lnTo>
                  <a:lnTo>
                    <a:pt x="1389114" y="215214"/>
                  </a:lnTo>
                  <a:lnTo>
                    <a:pt x="1389165" y="214515"/>
                  </a:lnTo>
                  <a:lnTo>
                    <a:pt x="1389165" y="215214"/>
                  </a:lnTo>
                  <a:lnTo>
                    <a:pt x="1389165" y="214515"/>
                  </a:lnTo>
                  <a:lnTo>
                    <a:pt x="1389165" y="215214"/>
                  </a:lnTo>
                  <a:lnTo>
                    <a:pt x="1389165" y="214515"/>
                  </a:lnTo>
                  <a:lnTo>
                    <a:pt x="1389165" y="215214"/>
                  </a:lnTo>
                  <a:lnTo>
                    <a:pt x="1389165" y="214515"/>
                  </a:lnTo>
                  <a:lnTo>
                    <a:pt x="1389266" y="214515"/>
                  </a:lnTo>
                  <a:lnTo>
                    <a:pt x="1389266" y="213868"/>
                  </a:lnTo>
                  <a:lnTo>
                    <a:pt x="1389317" y="213868"/>
                  </a:lnTo>
                  <a:lnTo>
                    <a:pt x="1389317" y="212484"/>
                  </a:lnTo>
                  <a:lnTo>
                    <a:pt x="1389317" y="214515"/>
                  </a:lnTo>
                  <a:lnTo>
                    <a:pt x="1389368" y="213868"/>
                  </a:lnTo>
                  <a:lnTo>
                    <a:pt x="1389368" y="212484"/>
                  </a:lnTo>
                  <a:lnTo>
                    <a:pt x="1389368" y="215900"/>
                  </a:lnTo>
                  <a:lnTo>
                    <a:pt x="1389368" y="215214"/>
                  </a:lnTo>
                  <a:lnTo>
                    <a:pt x="1389469" y="215214"/>
                  </a:lnTo>
                  <a:lnTo>
                    <a:pt x="1389469" y="213868"/>
                  </a:lnTo>
                  <a:lnTo>
                    <a:pt x="1389469" y="215214"/>
                  </a:lnTo>
                  <a:lnTo>
                    <a:pt x="1389520" y="215214"/>
                  </a:lnTo>
                  <a:lnTo>
                    <a:pt x="1389520" y="214515"/>
                  </a:lnTo>
                  <a:lnTo>
                    <a:pt x="1389520" y="215214"/>
                  </a:lnTo>
                  <a:lnTo>
                    <a:pt x="1389520" y="214515"/>
                  </a:lnTo>
                  <a:lnTo>
                    <a:pt x="1389520" y="215214"/>
                  </a:lnTo>
                  <a:lnTo>
                    <a:pt x="1389571" y="215900"/>
                  </a:lnTo>
                  <a:lnTo>
                    <a:pt x="1389571" y="215214"/>
                  </a:lnTo>
                  <a:lnTo>
                    <a:pt x="1389571" y="215900"/>
                  </a:lnTo>
                  <a:lnTo>
                    <a:pt x="1389571" y="215214"/>
                  </a:lnTo>
                  <a:lnTo>
                    <a:pt x="1389609" y="215214"/>
                  </a:lnTo>
                  <a:lnTo>
                    <a:pt x="1389609" y="215900"/>
                  </a:lnTo>
                  <a:lnTo>
                    <a:pt x="1389609" y="215214"/>
                  </a:lnTo>
                  <a:lnTo>
                    <a:pt x="1389609" y="215900"/>
                  </a:lnTo>
                  <a:lnTo>
                    <a:pt x="1389609" y="215214"/>
                  </a:lnTo>
                  <a:lnTo>
                    <a:pt x="1389609" y="215900"/>
                  </a:lnTo>
                  <a:lnTo>
                    <a:pt x="1389711" y="215900"/>
                  </a:lnTo>
                  <a:lnTo>
                    <a:pt x="1389711" y="215214"/>
                  </a:lnTo>
                  <a:lnTo>
                    <a:pt x="1389711" y="215900"/>
                  </a:lnTo>
                  <a:lnTo>
                    <a:pt x="1389711" y="214515"/>
                  </a:lnTo>
                  <a:lnTo>
                    <a:pt x="1389762" y="214515"/>
                  </a:lnTo>
                  <a:lnTo>
                    <a:pt x="1389762" y="212484"/>
                  </a:lnTo>
                  <a:lnTo>
                    <a:pt x="1389812" y="212484"/>
                  </a:lnTo>
                  <a:lnTo>
                    <a:pt x="1389812" y="215214"/>
                  </a:lnTo>
                  <a:lnTo>
                    <a:pt x="1389812" y="213868"/>
                  </a:lnTo>
                  <a:lnTo>
                    <a:pt x="1389812" y="214515"/>
                  </a:lnTo>
                  <a:lnTo>
                    <a:pt x="1389914" y="214515"/>
                  </a:lnTo>
                  <a:lnTo>
                    <a:pt x="1389914" y="215900"/>
                  </a:lnTo>
                  <a:lnTo>
                    <a:pt x="1389914" y="214515"/>
                  </a:lnTo>
                  <a:lnTo>
                    <a:pt x="1389914" y="215214"/>
                  </a:lnTo>
                  <a:lnTo>
                    <a:pt x="1389965" y="215214"/>
                  </a:lnTo>
                  <a:lnTo>
                    <a:pt x="1389965" y="215900"/>
                  </a:lnTo>
                  <a:lnTo>
                    <a:pt x="1389965" y="215214"/>
                  </a:lnTo>
                  <a:lnTo>
                    <a:pt x="1389965" y="215900"/>
                  </a:lnTo>
                  <a:lnTo>
                    <a:pt x="1389965" y="215214"/>
                  </a:lnTo>
                  <a:lnTo>
                    <a:pt x="1389965" y="215900"/>
                  </a:lnTo>
                  <a:lnTo>
                    <a:pt x="1390015" y="215900"/>
                  </a:lnTo>
                  <a:lnTo>
                    <a:pt x="1390015" y="215214"/>
                  </a:lnTo>
                  <a:lnTo>
                    <a:pt x="1390015" y="215900"/>
                  </a:lnTo>
                  <a:lnTo>
                    <a:pt x="1390015" y="215214"/>
                  </a:lnTo>
                  <a:lnTo>
                    <a:pt x="1390015" y="215900"/>
                  </a:lnTo>
                  <a:lnTo>
                    <a:pt x="1390015" y="215214"/>
                  </a:lnTo>
                  <a:lnTo>
                    <a:pt x="1390015" y="215900"/>
                  </a:lnTo>
                  <a:lnTo>
                    <a:pt x="1390066" y="215900"/>
                  </a:lnTo>
                  <a:lnTo>
                    <a:pt x="1390066" y="215214"/>
                  </a:lnTo>
                  <a:lnTo>
                    <a:pt x="1390066" y="215900"/>
                  </a:lnTo>
                  <a:lnTo>
                    <a:pt x="1390066" y="215214"/>
                  </a:lnTo>
                  <a:lnTo>
                    <a:pt x="1390066" y="215900"/>
                  </a:lnTo>
                  <a:lnTo>
                    <a:pt x="1390066" y="215214"/>
                  </a:lnTo>
                  <a:lnTo>
                    <a:pt x="1390066" y="215900"/>
                  </a:lnTo>
                  <a:lnTo>
                    <a:pt x="1390155" y="215214"/>
                  </a:lnTo>
                  <a:lnTo>
                    <a:pt x="1390155" y="215900"/>
                  </a:lnTo>
                  <a:lnTo>
                    <a:pt x="1390155" y="215214"/>
                  </a:lnTo>
                  <a:lnTo>
                    <a:pt x="1390155" y="215900"/>
                  </a:lnTo>
                  <a:lnTo>
                    <a:pt x="1390155" y="215214"/>
                  </a:lnTo>
                  <a:lnTo>
                    <a:pt x="1390206" y="214515"/>
                  </a:lnTo>
                  <a:lnTo>
                    <a:pt x="1390206" y="215214"/>
                  </a:lnTo>
                  <a:lnTo>
                    <a:pt x="1390206" y="213868"/>
                  </a:lnTo>
                  <a:lnTo>
                    <a:pt x="1390257" y="213868"/>
                  </a:lnTo>
                  <a:lnTo>
                    <a:pt x="1390257" y="212484"/>
                  </a:lnTo>
                  <a:lnTo>
                    <a:pt x="1390257" y="213868"/>
                  </a:lnTo>
                  <a:lnTo>
                    <a:pt x="1390257" y="211785"/>
                  </a:lnTo>
                  <a:lnTo>
                    <a:pt x="1390308" y="211785"/>
                  </a:lnTo>
                  <a:lnTo>
                    <a:pt x="1390308" y="213868"/>
                  </a:lnTo>
                  <a:lnTo>
                    <a:pt x="1390308" y="212484"/>
                  </a:lnTo>
                  <a:lnTo>
                    <a:pt x="1390308" y="213868"/>
                  </a:lnTo>
                  <a:lnTo>
                    <a:pt x="1390308" y="211785"/>
                  </a:lnTo>
                  <a:lnTo>
                    <a:pt x="1390308" y="212484"/>
                  </a:lnTo>
                  <a:lnTo>
                    <a:pt x="1390409" y="212484"/>
                  </a:lnTo>
                  <a:lnTo>
                    <a:pt x="1390409" y="215214"/>
                  </a:lnTo>
                  <a:lnTo>
                    <a:pt x="1390409" y="213868"/>
                  </a:lnTo>
                  <a:lnTo>
                    <a:pt x="1390409" y="214515"/>
                  </a:lnTo>
                  <a:lnTo>
                    <a:pt x="1390460" y="214515"/>
                  </a:lnTo>
                  <a:lnTo>
                    <a:pt x="1390460" y="215214"/>
                  </a:lnTo>
                  <a:lnTo>
                    <a:pt x="1390460" y="214515"/>
                  </a:lnTo>
                  <a:lnTo>
                    <a:pt x="1390460" y="215214"/>
                  </a:lnTo>
                  <a:lnTo>
                    <a:pt x="1390511" y="215214"/>
                  </a:lnTo>
                  <a:lnTo>
                    <a:pt x="1390511" y="215900"/>
                  </a:lnTo>
                  <a:lnTo>
                    <a:pt x="1390511" y="215214"/>
                  </a:lnTo>
                  <a:lnTo>
                    <a:pt x="1390511" y="215900"/>
                  </a:lnTo>
                  <a:lnTo>
                    <a:pt x="1390511" y="215214"/>
                  </a:lnTo>
                  <a:lnTo>
                    <a:pt x="1390511" y="215900"/>
                  </a:lnTo>
                  <a:lnTo>
                    <a:pt x="1390511" y="215214"/>
                  </a:lnTo>
                  <a:lnTo>
                    <a:pt x="1390511" y="215900"/>
                  </a:lnTo>
                  <a:lnTo>
                    <a:pt x="1390612" y="215900"/>
                  </a:lnTo>
                  <a:lnTo>
                    <a:pt x="1390612" y="217246"/>
                  </a:lnTo>
                  <a:lnTo>
                    <a:pt x="1390612" y="215900"/>
                  </a:lnTo>
                  <a:lnTo>
                    <a:pt x="1390650" y="215900"/>
                  </a:lnTo>
                  <a:lnTo>
                    <a:pt x="1390650" y="217246"/>
                  </a:lnTo>
                  <a:lnTo>
                    <a:pt x="1390650" y="215900"/>
                  </a:lnTo>
                  <a:lnTo>
                    <a:pt x="1390650" y="217246"/>
                  </a:lnTo>
                  <a:lnTo>
                    <a:pt x="1390650" y="215900"/>
                  </a:lnTo>
                  <a:lnTo>
                    <a:pt x="1390650" y="217246"/>
                  </a:lnTo>
                  <a:lnTo>
                    <a:pt x="1390650" y="215900"/>
                  </a:lnTo>
                  <a:lnTo>
                    <a:pt x="1390701" y="215900"/>
                  </a:lnTo>
                  <a:lnTo>
                    <a:pt x="1390701" y="214515"/>
                  </a:lnTo>
                  <a:lnTo>
                    <a:pt x="1390701" y="215214"/>
                  </a:lnTo>
                  <a:lnTo>
                    <a:pt x="1390752" y="215214"/>
                  </a:lnTo>
                  <a:lnTo>
                    <a:pt x="1390752" y="214515"/>
                  </a:lnTo>
                  <a:lnTo>
                    <a:pt x="1390752" y="215214"/>
                  </a:lnTo>
                  <a:lnTo>
                    <a:pt x="1390752" y="213868"/>
                  </a:lnTo>
                  <a:lnTo>
                    <a:pt x="1390752" y="214515"/>
                  </a:lnTo>
                  <a:lnTo>
                    <a:pt x="1390752" y="212484"/>
                  </a:lnTo>
                  <a:lnTo>
                    <a:pt x="1390854" y="211785"/>
                  </a:lnTo>
                  <a:lnTo>
                    <a:pt x="1390854" y="214515"/>
                  </a:lnTo>
                  <a:lnTo>
                    <a:pt x="1390854" y="211785"/>
                  </a:lnTo>
                  <a:lnTo>
                    <a:pt x="1390905" y="212484"/>
                  </a:lnTo>
                  <a:lnTo>
                    <a:pt x="1390905" y="215214"/>
                  </a:lnTo>
                  <a:lnTo>
                    <a:pt x="1390905" y="212484"/>
                  </a:lnTo>
                  <a:lnTo>
                    <a:pt x="1390905" y="213868"/>
                  </a:lnTo>
                  <a:lnTo>
                    <a:pt x="1390955" y="213868"/>
                  </a:lnTo>
                  <a:lnTo>
                    <a:pt x="1390955" y="215214"/>
                  </a:lnTo>
                  <a:lnTo>
                    <a:pt x="1390955" y="214515"/>
                  </a:lnTo>
                  <a:lnTo>
                    <a:pt x="1390955" y="215214"/>
                  </a:lnTo>
                  <a:lnTo>
                    <a:pt x="1391057" y="215214"/>
                  </a:lnTo>
                  <a:lnTo>
                    <a:pt x="1391057" y="215900"/>
                  </a:lnTo>
                  <a:lnTo>
                    <a:pt x="1391057" y="215214"/>
                  </a:lnTo>
                  <a:lnTo>
                    <a:pt x="1391057" y="215900"/>
                  </a:lnTo>
                  <a:lnTo>
                    <a:pt x="1391057" y="215214"/>
                  </a:lnTo>
                  <a:lnTo>
                    <a:pt x="1391108" y="215900"/>
                  </a:lnTo>
                  <a:lnTo>
                    <a:pt x="1391108" y="217246"/>
                  </a:lnTo>
                  <a:lnTo>
                    <a:pt x="1391159" y="217246"/>
                  </a:lnTo>
                  <a:lnTo>
                    <a:pt x="1391159" y="215900"/>
                  </a:lnTo>
                  <a:lnTo>
                    <a:pt x="1391159" y="217246"/>
                  </a:lnTo>
                  <a:lnTo>
                    <a:pt x="1391159" y="215900"/>
                  </a:lnTo>
                  <a:lnTo>
                    <a:pt x="1391197" y="217246"/>
                  </a:lnTo>
                  <a:lnTo>
                    <a:pt x="1391197" y="215214"/>
                  </a:lnTo>
                  <a:lnTo>
                    <a:pt x="1391197" y="217246"/>
                  </a:lnTo>
                  <a:lnTo>
                    <a:pt x="1391197" y="215214"/>
                  </a:lnTo>
                  <a:lnTo>
                    <a:pt x="1391197" y="215900"/>
                  </a:lnTo>
                  <a:lnTo>
                    <a:pt x="1391197" y="215214"/>
                  </a:lnTo>
                  <a:lnTo>
                    <a:pt x="1391298" y="215214"/>
                  </a:lnTo>
                  <a:lnTo>
                    <a:pt x="1391298" y="212484"/>
                  </a:lnTo>
                  <a:lnTo>
                    <a:pt x="1391349" y="212484"/>
                  </a:lnTo>
                  <a:lnTo>
                    <a:pt x="1391349" y="211137"/>
                  </a:lnTo>
                  <a:lnTo>
                    <a:pt x="1391349" y="211785"/>
                  </a:lnTo>
                  <a:lnTo>
                    <a:pt x="1391349" y="211137"/>
                  </a:lnTo>
                  <a:lnTo>
                    <a:pt x="1391349" y="211785"/>
                  </a:lnTo>
                  <a:lnTo>
                    <a:pt x="1391400" y="211785"/>
                  </a:lnTo>
                  <a:lnTo>
                    <a:pt x="1391400" y="211137"/>
                  </a:lnTo>
                  <a:lnTo>
                    <a:pt x="1391400" y="213868"/>
                  </a:lnTo>
                  <a:lnTo>
                    <a:pt x="1391400" y="212484"/>
                  </a:lnTo>
                  <a:lnTo>
                    <a:pt x="1391501" y="212484"/>
                  </a:lnTo>
                  <a:lnTo>
                    <a:pt x="1391501" y="213868"/>
                  </a:lnTo>
                  <a:lnTo>
                    <a:pt x="1391552" y="213868"/>
                  </a:lnTo>
                  <a:lnTo>
                    <a:pt x="1391552" y="214515"/>
                  </a:lnTo>
                  <a:lnTo>
                    <a:pt x="1391552" y="213868"/>
                  </a:lnTo>
                  <a:lnTo>
                    <a:pt x="1391552" y="214515"/>
                  </a:lnTo>
                  <a:lnTo>
                    <a:pt x="1391603" y="214515"/>
                  </a:lnTo>
                  <a:lnTo>
                    <a:pt x="1391603" y="213868"/>
                  </a:lnTo>
                  <a:lnTo>
                    <a:pt x="1391603" y="215214"/>
                  </a:lnTo>
                  <a:lnTo>
                    <a:pt x="1391603" y="214515"/>
                  </a:lnTo>
                  <a:lnTo>
                    <a:pt x="1391603" y="215900"/>
                  </a:lnTo>
                  <a:lnTo>
                    <a:pt x="1391654" y="215214"/>
                  </a:lnTo>
                  <a:lnTo>
                    <a:pt x="1391654" y="217246"/>
                  </a:lnTo>
                  <a:lnTo>
                    <a:pt x="1391654" y="215900"/>
                  </a:lnTo>
                  <a:lnTo>
                    <a:pt x="1391654" y="217246"/>
                  </a:lnTo>
                  <a:lnTo>
                    <a:pt x="1391654" y="215900"/>
                  </a:lnTo>
                  <a:lnTo>
                    <a:pt x="1391743" y="217246"/>
                  </a:lnTo>
                  <a:lnTo>
                    <a:pt x="1391743" y="215214"/>
                  </a:lnTo>
                  <a:lnTo>
                    <a:pt x="1391743" y="215900"/>
                  </a:lnTo>
                  <a:lnTo>
                    <a:pt x="1391743" y="215214"/>
                  </a:lnTo>
                  <a:lnTo>
                    <a:pt x="1391794" y="215214"/>
                  </a:lnTo>
                  <a:lnTo>
                    <a:pt x="1391794" y="215900"/>
                  </a:lnTo>
                  <a:lnTo>
                    <a:pt x="1391794" y="214515"/>
                  </a:lnTo>
                  <a:lnTo>
                    <a:pt x="1391794" y="215214"/>
                  </a:lnTo>
                  <a:lnTo>
                    <a:pt x="1391794" y="213868"/>
                  </a:lnTo>
                  <a:lnTo>
                    <a:pt x="1391844" y="213868"/>
                  </a:lnTo>
                  <a:lnTo>
                    <a:pt x="1391844" y="212484"/>
                  </a:lnTo>
                  <a:lnTo>
                    <a:pt x="1391844" y="213868"/>
                  </a:lnTo>
                  <a:lnTo>
                    <a:pt x="1391844" y="211137"/>
                  </a:lnTo>
                  <a:lnTo>
                    <a:pt x="1391844" y="212484"/>
                  </a:lnTo>
                  <a:lnTo>
                    <a:pt x="1391895" y="212484"/>
                  </a:lnTo>
                  <a:lnTo>
                    <a:pt x="1391895" y="210451"/>
                  </a:lnTo>
                  <a:lnTo>
                    <a:pt x="1391895" y="213868"/>
                  </a:lnTo>
                  <a:lnTo>
                    <a:pt x="1391997" y="213868"/>
                  </a:lnTo>
                  <a:lnTo>
                    <a:pt x="1391997" y="211137"/>
                  </a:lnTo>
                  <a:lnTo>
                    <a:pt x="1391997" y="213868"/>
                  </a:lnTo>
                  <a:lnTo>
                    <a:pt x="1391997" y="212484"/>
                  </a:lnTo>
                  <a:lnTo>
                    <a:pt x="1392047" y="212484"/>
                  </a:lnTo>
                  <a:lnTo>
                    <a:pt x="1392047" y="211785"/>
                  </a:lnTo>
                  <a:lnTo>
                    <a:pt x="1392047" y="213868"/>
                  </a:lnTo>
                  <a:lnTo>
                    <a:pt x="1392047" y="212484"/>
                  </a:lnTo>
                  <a:lnTo>
                    <a:pt x="1392047" y="213868"/>
                  </a:lnTo>
                  <a:lnTo>
                    <a:pt x="1392047" y="212484"/>
                  </a:lnTo>
                  <a:lnTo>
                    <a:pt x="1392047" y="213868"/>
                  </a:lnTo>
                  <a:lnTo>
                    <a:pt x="1392047" y="212484"/>
                  </a:lnTo>
                  <a:lnTo>
                    <a:pt x="1392098" y="212484"/>
                  </a:lnTo>
                  <a:lnTo>
                    <a:pt x="1392098" y="214515"/>
                  </a:lnTo>
                  <a:lnTo>
                    <a:pt x="1392200" y="214515"/>
                  </a:lnTo>
                  <a:lnTo>
                    <a:pt x="1392200" y="215214"/>
                  </a:lnTo>
                  <a:lnTo>
                    <a:pt x="1392200" y="214515"/>
                  </a:lnTo>
                  <a:lnTo>
                    <a:pt x="1392200" y="215214"/>
                  </a:lnTo>
                  <a:lnTo>
                    <a:pt x="1392238" y="215214"/>
                  </a:lnTo>
                  <a:lnTo>
                    <a:pt x="1392238" y="215900"/>
                  </a:lnTo>
                  <a:lnTo>
                    <a:pt x="1392238" y="214515"/>
                  </a:lnTo>
                  <a:lnTo>
                    <a:pt x="1392238" y="215214"/>
                  </a:lnTo>
                  <a:lnTo>
                    <a:pt x="1392289" y="215214"/>
                  </a:lnTo>
                  <a:lnTo>
                    <a:pt x="1392289" y="214515"/>
                  </a:lnTo>
                  <a:lnTo>
                    <a:pt x="1392340" y="214515"/>
                  </a:lnTo>
                  <a:lnTo>
                    <a:pt x="1392340" y="212484"/>
                  </a:lnTo>
                  <a:lnTo>
                    <a:pt x="1392340" y="214515"/>
                  </a:lnTo>
                  <a:lnTo>
                    <a:pt x="1392340" y="213868"/>
                  </a:lnTo>
                  <a:lnTo>
                    <a:pt x="1392441" y="213868"/>
                  </a:lnTo>
                  <a:lnTo>
                    <a:pt x="1392441" y="211785"/>
                  </a:lnTo>
                  <a:lnTo>
                    <a:pt x="1392441" y="212484"/>
                  </a:lnTo>
                  <a:lnTo>
                    <a:pt x="1392441" y="211785"/>
                  </a:lnTo>
                  <a:lnTo>
                    <a:pt x="1392441" y="215214"/>
                  </a:lnTo>
                  <a:lnTo>
                    <a:pt x="1392441" y="213868"/>
                  </a:lnTo>
                  <a:lnTo>
                    <a:pt x="1392492" y="213868"/>
                  </a:lnTo>
                  <a:lnTo>
                    <a:pt x="1392492" y="212484"/>
                  </a:lnTo>
                  <a:lnTo>
                    <a:pt x="1392492" y="213868"/>
                  </a:lnTo>
                  <a:lnTo>
                    <a:pt x="1392492" y="211785"/>
                  </a:lnTo>
                  <a:lnTo>
                    <a:pt x="1392492" y="214515"/>
                  </a:lnTo>
                  <a:lnTo>
                    <a:pt x="1392492" y="213868"/>
                  </a:lnTo>
                  <a:lnTo>
                    <a:pt x="1392492" y="214515"/>
                  </a:lnTo>
                  <a:lnTo>
                    <a:pt x="1392543" y="214515"/>
                  </a:lnTo>
                  <a:lnTo>
                    <a:pt x="1392543" y="212484"/>
                  </a:lnTo>
                  <a:lnTo>
                    <a:pt x="1392543" y="214515"/>
                  </a:lnTo>
                  <a:lnTo>
                    <a:pt x="1392543" y="213868"/>
                  </a:lnTo>
                  <a:lnTo>
                    <a:pt x="1392644" y="213868"/>
                  </a:lnTo>
                  <a:lnTo>
                    <a:pt x="1392644" y="214515"/>
                  </a:lnTo>
                  <a:lnTo>
                    <a:pt x="1392644" y="213868"/>
                  </a:lnTo>
                  <a:lnTo>
                    <a:pt x="1392644" y="214515"/>
                  </a:lnTo>
                  <a:lnTo>
                    <a:pt x="1392695" y="214515"/>
                  </a:lnTo>
                  <a:lnTo>
                    <a:pt x="1392695" y="215214"/>
                  </a:lnTo>
                  <a:lnTo>
                    <a:pt x="1392746" y="215214"/>
                  </a:lnTo>
                  <a:lnTo>
                    <a:pt x="1392746" y="214515"/>
                  </a:lnTo>
                  <a:lnTo>
                    <a:pt x="1392746" y="215214"/>
                  </a:lnTo>
                  <a:lnTo>
                    <a:pt x="1392784" y="215214"/>
                  </a:lnTo>
                  <a:lnTo>
                    <a:pt x="1392784" y="215900"/>
                  </a:lnTo>
                  <a:lnTo>
                    <a:pt x="1392784" y="213868"/>
                  </a:lnTo>
                  <a:lnTo>
                    <a:pt x="1392886" y="213868"/>
                  </a:lnTo>
                  <a:lnTo>
                    <a:pt x="1392886" y="212484"/>
                  </a:lnTo>
                  <a:lnTo>
                    <a:pt x="1392886" y="215214"/>
                  </a:lnTo>
                  <a:lnTo>
                    <a:pt x="1392886" y="214515"/>
                  </a:lnTo>
                  <a:lnTo>
                    <a:pt x="1392937" y="213868"/>
                  </a:lnTo>
                  <a:lnTo>
                    <a:pt x="1392937" y="215900"/>
                  </a:lnTo>
                  <a:lnTo>
                    <a:pt x="1392937" y="215214"/>
                  </a:lnTo>
                  <a:lnTo>
                    <a:pt x="1392987" y="215214"/>
                  </a:lnTo>
                  <a:lnTo>
                    <a:pt x="1392987" y="214515"/>
                  </a:lnTo>
                  <a:lnTo>
                    <a:pt x="1392987" y="215214"/>
                  </a:lnTo>
                  <a:lnTo>
                    <a:pt x="1392987" y="214515"/>
                  </a:lnTo>
                  <a:lnTo>
                    <a:pt x="1392987" y="215900"/>
                  </a:lnTo>
                  <a:lnTo>
                    <a:pt x="1392987" y="215214"/>
                  </a:lnTo>
                  <a:lnTo>
                    <a:pt x="1393089" y="215214"/>
                  </a:lnTo>
                  <a:lnTo>
                    <a:pt x="1393089" y="215900"/>
                  </a:lnTo>
                  <a:lnTo>
                    <a:pt x="1393089" y="214515"/>
                  </a:lnTo>
                  <a:lnTo>
                    <a:pt x="1393089" y="215214"/>
                  </a:lnTo>
                  <a:lnTo>
                    <a:pt x="1393089" y="214515"/>
                  </a:lnTo>
                  <a:lnTo>
                    <a:pt x="1393089" y="215214"/>
                  </a:lnTo>
                  <a:lnTo>
                    <a:pt x="1393140" y="215214"/>
                  </a:lnTo>
                  <a:lnTo>
                    <a:pt x="1393140" y="214515"/>
                  </a:lnTo>
                  <a:lnTo>
                    <a:pt x="1393140" y="215214"/>
                  </a:lnTo>
                  <a:lnTo>
                    <a:pt x="1393190" y="215214"/>
                  </a:lnTo>
                  <a:lnTo>
                    <a:pt x="1393190" y="215900"/>
                  </a:lnTo>
                  <a:lnTo>
                    <a:pt x="1393190" y="215214"/>
                  </a:lnTo>
                  <a:lnTo>
                    <a:pt x="1393241" y="215214"/>
                  </a:lnTo>
                  <a:lnTo>
                    <a:pt x="1393241" y="214515"/>
                  </a:lnTo>
                  <a:lnTo>
                    <a:pt x="1393241" y="215214"/>
                  </a:lnTo>
                  <a:lnTo>
                    <a:pt x="1393241" y="214515"/>
                  </a:lnTo>
                  <a:lnTo>
                    <a:pt x="1393241" y="215214"/>
                  </a:lnTo>
                  <a:lnTo>
                    <a:pt x="1393241" y="214515"/>
                  </a:lnTo>
                  <a:lnTo>
                    <a:pt x="1393330" y="214515"/>
                  </a:lnTo>
                  <a:lnTo>
                    <a:pt x="1393330" y="215214"/>
                  </a:lnTo>
                  <a:lnTo>
                    <a:pt x="1393330" y="212484"/>
                  </a:lnTo>
                  <a:lnTo>
                    <a:pt x="1393330" y="213868"/>
                  </a:lnTo>
                  <a:lnTo>
                    <a:pt x="1393381" y="213868"/>
                  </a:lnTo>
                  <a:lnTo>
                    <a:pt x="1393381" y="215214"/>
                  </a:lnTo>
                  <a:lnTo>
                    <a:pt x="1393381" y="213868"/>
                  </a:lnTo>
                  <a:lnTo>
                    <a:pt x="1393381" y="215900"/>
                  </a:lnTo>
                  <a:lnTo>
                    <a:pt x="1393432" y="215900"/>
                  </a:lnTo>
                  <a:lnTo>
                    <a:pt x="1393432" y="217246"/>
                  </a:lnTo>
                  <a:lnTo>
                    <a:pt x="1393432" y="215214"/>
                  </a:lnTo>
                  <a:lnTo>
                    <a:pt x="1393432" y="217246"/>
                  </a:lnTo>
                  <a:lnTo>
                    <a:pt x="1393483" y="217246"/>
                  </a:lnTo>
                  <a:lnTo>
                    <a:pt x="1393483" y="217932"/>
                  </a:lnTo>
                  <a:lnTo>
                    <a:pt x="1393483" y="215900"/>
                  </a:lnTo>
                  <a:lnTo>
                    <a:pt x="1393483" y="217246"/>
                  </a:lnTo>
                  <a:lnTo>
                    <a:pt x="1393584" y="217246"/>
                  </a:lnTo>
                  <a:lnTo>
                    <a:pt x="1393584" y="215900"/>
                  </a:lnTo>
                  <a:lnTo>
                    <a:pt x="1393584" y="217246"/>
                  </a:lnTo>
                  <a:lnTo>
                    <a:pt x="1393584" y="215900"/>
                  </a:lnTo>
                  <a:lnTo>
                    <a:pt x="1393584" y="217246"/>
                  </a:lnTo>
                  <a:lnTo>
                    <a:pt x="1393635" y="215900"/>
                  </a:lnTo>
                  <a:lnTo>
                    <a:pt x="1393635" y="217246"/>
                  </a:lnTo>
                  <a:lnTo>
                    <a:pt x="1393635" y="215900"/>
                  </a:lnTo>
                  <a:lnTo>
                    <a:pt x="1393635" y="217246"/>
                  </a:lnTo>
                  <a:lnTo>
                    <a:pt x="1393635" y="215900"/>
                  </a:lnTo>
                  <a:lnTo>
                    <a:pt x="1393635" y="217246"/>
                  </a:lnTo>
                  <a:lnTo>
                    <a:pt x="1393635" y="215900"/>
                  </a:lnTo>
                  <a:lnTo>
                    <a:pt x="1393635" y="217246"/>
                  </a:lnTo>
                  <a:lnTo>
                    <a:pt x="1393635" y="215900"/>
                  </a:lnTo>
                  <a:lnTo>
                    <a:pt x="1393635" y="217246"/>
                  </a:lnTo>
                  <a:lnTo>
                    <a:pt x="1393686" y="215900"/>
                  </a:lnTo>
                  <a:lnTo>
                    <a:pt x="1393686" y="217246"/>
                  </a:lnTo>
                  <a:lnTo>
                    <a:pt x="1393686" y="215900"/>
                  </a:lnTo>
                  <a:lnTo>
                    <a:pt x="1393787" y="215900"/>
                  </a:lnTo>
                  <a:lnTo>
                    <a:pt x="1393787" y="215214"/>
                  </a:lnTo>
                  <a:lnTo>
                    <a:pt x="1393787" y="215900"/>
                  </a:lnTo>
                  <a:lnTo>
                    <a:pt x="1393787" y="215214"/>
                  </a:lnTo>
                  <a:lnTo>
                    <a:pt x="1393787" y="215900"/>
                  </a:lnTo>
                  <a:lnTo>
                    <a:pt x="1393787" y="214515"/>
                  </a:lnTo>
                  <a:lnTo>
                    <a:pt x="1393825" y="214515"/>
                  </a:lnTo>
                  <a:lnTo>
                    <a:pt x="1393825" y="212484"/>
                  </a:lnTo>
                  <a:lnTo>
                    <a:pt x="1393825" y="215214"/>
                  </a:lnTo>
                  <a:lnTo>
                    <a:pt x="1393876" y="215214"/>
                  </a:lnTo>
                  <a:lnTo>
                    <a:pt x="1393876" y="213868"/>
                  </a:lnTo>
                  <a:lnTo>
                    <a:pt x="1393876" y="217246"/>
                  </a:lnTo>
                  <a:lnTo>
                    <a:pt x="1393927" y="215900"/>
                  </a:lnTo>
                  <a:lnTo>
                    <a:pt x="1393927" y="215214"/>
                  </a:lnTo>
                  <a:lnTo>
                    <a:pt x="1393927" y="215900"/>
                  </a:lnTo>
                  <a:lnTo>
                    <a:pt x="1393927" y="215214"/>
                  </a:lnTo>
                  <a:lnTo>
                    <a:pt x="1393927" y="217246"/>
                  </a:lnTo>
                  <a:lnTo>
                    <a:pt x="1394029" y="217246"/>
                  </a:lnTo>
                  <a:lnTo>
                    <a:pt x="1394029" y="215900"/>
                  </a:lnTo>
                  <a:lnTo>
                    <a:pt x="1394029" y="217932"/>
                  </a:lnTo>
                  <a:lnTo>
                    <a:pt x="1394029" y="217246"/>
                  </a:lnTo>
                  <a:lnTo>
                    <a:pt x="1394029" y="217932"/>
                  </a:lnTo>
                  <a:lnTo>
                    <a:pt x="1394029" y="217246"/>
                  </a:lnTo>
                  <a:lnTo>
                    <a:pt x="1394029" y="217932"/>
                  </a:lnTo>
                  <a:lnTo>
                    <a:pt x="1394080" y="217932"/>
                  </a:lnTo>
                  <a:lnTo>
                    <a:pt x="1394080" y="217246"/>
                  </a:lnTo>
                  <a:lnTo>
                    <a:pt x="1394080" y="217932"/>
                  </a:lnTo>
                  <a:lnTo>
                    <a:pt x="1394080" y="217246"/>
                  </a:lnTo>
                  <a:lnTo>
                    <a:pt x="1394080" y="217932"/>
                  </a:lnTo>
                  <a:lnTo>
                    <a:pt x="1394080" y="217246"/>
                  </a:lnTo>
                  <a:lnTo>
                    <a:pt x="1394080" y="217932"/>
                  </a:lnTo>
                  <a:lnTo>
                    <a:pt x="1394130" y="217932"/>
                  </a:lnTo>
                  <a:lnTo>
                    <a:pt x="1394130" y="217246"/>
                  </a:lnTo>
                  <a:lnTo>
                    <a:pt x="1394130" y="217932"/>
                  </a:lnTo>
                  <a:lnTo>
                    <a:pt x="1394130" y="217246"/>
                  </a:lnTo>
                  <a:lnTo>
                    <a:pt x="1394130" y="217932"/>
                  </a:lnTo>
                  <a:lnTo>
                    <a:pt x="1394130" y="217246"/>
                  </a:lnTo>
                  <a:lnTo>
                    <a:pt x="1394130" y="217932"/>
                  </a:lnTo>
                  <a:lnTo>
                    <a:pt x="1394232" y="217932"/>
                  </a:lnTo>
                  <a:lnTo>
                    <a:pt x="1394232" y="217246"/>
                  </a:lnTo>
                  <a:lnTo>
                    <a:pt x="1394232" y="217932"/>
                  </a:lnTo>
                  <a:lnTo>
                    <a:pt x="1394232" y="217246"/>
                  </a:lnTo>
                  <a:lnTo>
                    <a:pt x="1394232" y="217932"/>
                  </a:lnTo>
                  <a:lnTo>
                    <a:pt x="1394232" y="215900"/>
                  </a:lnTo>
                  <a:lnTo>
                    <a:pt x="1394232" y="217246"/>
                  </a:lnTo>
                  <a:lnTo>
                    <a:pt x="1394283" y="217246"/>
                  </a:lnTo>
                  <a:lnTo>
                    <a:pt x="1394283" y="215900"/>
                  </a:lnTo>
                  <a:lnTo>
                    <a:pt x="1394283" y="217246"/>
                  </a:lnTo>
                  <a:lnTo>
                    <a:pt x="1394283" y="214515"/>
                  </a:lnTo>
                  <a:lnTo>
                    <a:pt x="1394334" y="214515"/>
                  </a:lnTo>
                  <a:lnTo>
                    <a:pt x="1394334" y="213868"/>
                  </a:lnTo>
                  <a:lnTo>
                    <a:pt x="1394334" y="214515"/>
                  </a:lnTo>
                  <a:lnTo>
                    <a:pt x="1394334" y="213868"/>
                  </a:lnTo>
                  <a:lnTo>
                    <a:pt x="1394334" y="215214"/>
                  </a:lnTo>
                  <a:lnTo>
                    <a:pt x="1394372" y="214515"/>
                  </a:lnTo>
                  <a:lnTo>
                    <a:pt x="1394372" y="215214"/>
                  </a:lnTo>
                  <a:lnTo>
                    <a:pt x="1394372" y="213868"/>
                  </a:lnTo>
                  <a:lnTo>
                    <a:pt x="1394372" y="217246"/>
                  </a:lnTo>
                  <a:lnTo>
                    <a:pt x="1394473" y="215900"/>
                  </a:lnTo>
                  <a:lnTo>
                    <a:pt x="1394473" y="215214"/>
                  </a:lnTo>
                  <a:lnTo>
                    <a:pt x="1394473" y="217932"/>
                  </a:lnTo>
                  <a:lnTo>
                    <a:pt x="1394524" y="217246"/>
                  </a:lnTo>
                  <a:lnTo>
                    <a:pt x="1394524" y="215900"/>
                  </a:lnTo>
                  <a:lnTo>
                    <a:pt x="1394524" y="217246"/>
                  </a:lnTo>
                  <a:lnTo>
                    <a:pt x="1394524" y="215900"/>
                  </a:lnTo>
                  <a:lnTo>
                    <a:pt x="1394524" y="217932"/>
                  </a:lnTo>
                  <a:lnTo>
                    <a:pt x="1394524" y="217246"/>
                  </a:lnTo>
                  <a:lnTo>
                    <a:pt x="1394524" y="217932"/>
                  </a:lnTo>
                  <a:lnTo>
                    <a:pt x="1394524" y="217246"/>
                  </a:lnTo>
                  <a:lnTo>
                    <a:pt x="1394575" y="217246"/>
                  </a:lnTo>
                  <a:lnTo>
                    <a:pt x="1394575" y="217932"/>
                  </a:lnTo>
                  <a:lnTo>
                    <a:pt x="1394575" y="217246"/>
                  </a:lnTo>
                  <a:lnTo>
                    <a:pt x="1394575" y="217932"/>
                  </a:lnTo>
                  <a:lnTo>
                    <a:pt x="1394676" y="217932"/>
                  </a:lnTo>
                  <a:lnTo>
                    <a:pt x="1394676" y="218630"/>
                  </a:lnTo>
                  <a:lnTo>
                    <a:pt x="1394676" y="217932"/>
                  </a:lnTo>
                  <a:lnTo>
                    <a:pt x="1394676" y="218630"/>
                  </a:lnTo>
                  <a:lnTo>
                    <a:pt x="1394676" y="217932"/>
                  </a:lnTo>
                  <a:lnTo>
                    <a:pt x="1394676" y="218630"/>
                  </a:lnTo>
                  <a:lnTo>
                    <a:pt x="1394676" y="217932"/>
                  </a:lnTo>
                  <a:lnTo>
                    <a:pt x="1394676" y="218630"/>
                  </a:lnTo>
                  <a:lnTo>
                    <a:pt x="1394676" y="217932"/>
                  </a:lnTo>
                  <a:lnTo>
                    <a:pt x="1394727" y="217932"/>
                  </a:lnTo>
                  <a:lnTo>
                    <a:pt x="1394727" y="218630"/>
                  </a:lnTo>
                  <a:lnTo>
                    <a:pt x="1394727" y="217932"/>
                  </a:lnTo>
                  <a:lnTo>
                    <a:pt x="1394727" y="218630"/>
                  </a:lnTo>
                  <a:lnTo>
                    <a:pt x="1394727" y="217932"/>
                  </a:lnTo>
                  <a:lnTo>
                    <a:pt x="1394727" y="218630"/>
                  </a:lnTo>
                  <a:lnTo>
                    <a:pt x="1394727" y="217932"/>
                  </a:lnTo>
                  <a:lnTo>
                    <a:pt x="1394727" y="218630"/>
                  </a:lnTo>
                  <a:lnTo>
                    <a:pt x="1394727" y="217932"/>
                  </a:lnTo>
                  <a:lnTo>
                    <a:pt x="1394778" y="217246"/>
                  </a:lnTo>
                  <a:lnTo>
                    <a:pt x="1394778" y="217932"/>
                  </a:lnTo>
                  <a:lnTo>
                    <a:pt x="1394778" y="217246"/>
                  </a:lnTo>
                  <a:lnTo>
                    <a:pt x="1394778" y="217932"/>
                  </a:lnTo>
                  <a:lnTo>
                    <a:pt x="1394778" y="215900"/>
                  </a:lnTo>
                  <a:lnTo>
                    <a:pt x="1394778" y="217246"/>
                  </a:lnTo>
                  <a:lnTo>
                    <a:pt x="1394829" y="215900"/>
                  </a:lnTo>
                  <a:lnTo>
                    <a:pt x="1394829" y="215214"/>
                  </a:lnTo>
                  <a:lnTo>
                    <a:pt x="1394829" y="217932"/>
                  </a:lnTo>
                  <a:lnTo>
                    <a:pt x="1394829" y="215214"/>
                  </a:lnTo>
                  <a:lnTo>
                    <a:pt x="1394918" y="215214"/>
                  </a:lnTo>
                  <a:lnTo>
                    <a:pt x="1394918" y="217932"/>
                  </a:lnTo>
                  <a:lnTo>
                    <a:pt x="1394918" y="215900"/>
                  </a:lnTo>
                  <a:lnTo>
                    <a:pt x="1394918" y="217246"/>
                  </a:lnTo>
                  <a:lnTo>
                    <a:pt x="1394918" y="215900"/>
                  </a:lnTo>
                  <a:lnTo>
                    <a:pt x="1394969" y="217246"/>
                  </a:lnTo>
                  <a:lnTo>
                    <a:pt x="1394969" y="217932"/>
                  </a:lnTo>
                  <a:lnTo>
                    <a:pt x="1394969" y="217246"/>
                  </a:lnTo>
                  <a:lnTo>
                    <a:pt x="1394969" y="217932"/>
                  </a:lnTo>
                  <a:lnTo>
                    <a:pt x="1394969" y="217246"/>
                  </a:lnTo>
                  <a:lnTo>
                    <a:pt x="1394969" y="217932"/>
                  </a:lnTo>
                  <a:lnTo>
                    <a:pt x="1394969" y="217246"/>
                  </a:lnTo>
                  <a:lnTo>
                    <a:pt x="1394969" y="217932"/>
                  </a:lnTo>
                  <a:lnTo>
                    <a:pt x="1395019" y="217932"/>
                  </a:lnTo>
                  <a:lnTo>
                    <a:pt x="1395019" y="217246"/>
                  </a:lnTo>
                  <a:lnTo>
                    <a:pt x="1395019" y="217932"/>
                  </a:lnTo>
                  <a:lnTo>
                    <a:pt x="1395070" y="217932"/>
                  </a:lnTo>
                  <a:lnTo>
                    <a:pt x="1395070" y="218630"/>
                  </a:lnTo>
                  <a:lnTo>
                    <a:pt x="1395070" y="217932"/>
                  </a:lnTo>
                  <a:lnTo>
                    <a:pt x="1395070" y="218630"/>
                  </a:lnTo>
                  <a:lnTo>
                    <a:pt x="1395070" y="217932"/>
                  </a:lnTo>
                  <a:lnTo>
                    <a:pt x="1395070" y="218630"/>
                  </a:lnTo>
                  <a:lnTo>
                    <a:pt x="1395070" y="217932"/>
                  </a:lnTo>
                  <a:lnTo>
                    <a:pt x="1395172" y="217932"/>
                  </a:lnTo>
                  <a:lnTo>
                    <a:pt x="1395172" y="218630"/>
                  </a:lnTo>
                  <a:lnTo>
                    <a:pt x="1395172" y="217932"/>
                  </a:lnTo>
                  <a:lnTo>
                    <a:pt x="1395172" y="218630"/>
                  </a:lnTo>
                  <a:lnTo>
                    <a:pt x="1395172" y="217932"/>
                  </a:lnTo>
                  <a:lnTo>
                    <a:pt x="1395172" y="218630"/>
                  </a:lnTo>
                  <a:lnTo>
                    <a:pt x="1395172" y="217932"/>
                  </a:lnTo>
                  <a:lnTo>
                    <a:pt x="1395172" y="218630"/>
                  </a:lnTo>
                  <a:lnTo>
                    <a:pt x="1395222" y="217932"/>
                  </a:lnTo>
                  <a:lnTo>
                    <a:pt x="1395222" y="218630"/>
                  </a:lnTo>
                  <a:lnTo>
                    <a:pt x="1395222" y="217932"/>
                  </a:lnTo>
                  <a:lnTo>
                    <a:pt x="1395222" y="218630"/>
                  </a:lnTo>
                  <a:lnTo>
                    <a:pt x="1395222" y="217246"/>
                  </a:lnTo>
                  <a:lnTo>
                    <a:pt x="1395222" y="217932"/>
                  </a:lnTo>
                  <a:lnTo>
                    <a:pt x="1395222" y="217246"/>
                  </a:lnTo>
                  <a:lnTo>
                    <a:pt x="1395273" y="217246"/>
                  </a:lnTo>
                  <a:lnTo>
                    <a:pt x="1395273" y="219329"/>
                  </a:lnTo>
                  <a:lnTo>
                    <a:pt x="1395273" y="218630"/>
                  </a:lnTo>
                  <a:lnTo>
                    <a:pt x="1395273" y="219329"/>
                  </a:lnTo>
                  <a:lnTo>
                    <a:pt x="1395273" y="218630"/>
                  </a:lnTo>
                  <a:lnTo>
                    <a:pt x="1395273" y="219329"/>
                  </a:lnTo>
                  <a:lnTo>
                    <a:pt x="1395273" y="218630"/>
                  </a:lnTo>
                  <a:lnTo>
                    <a:pt x="1395273" y="219329"/>
                  </a:lnTo>
                  <a:lnTo>
                    <a:pt x="1395273" y="217932"/>
                  </a:lnTo>
                  <a:lnTo>
                    <a:pt x="1395273" y="218630"/>
                  </a:lnTo>
                  <a:lnTo>
                    <a:pt x="1395273" y="217932"/>
                  </a:lnTo>
                  <a:lnTo>
                    <a:pt x="1395273" y="218630"/>
                  </a:lnTo>
                  <a:lnTo>
                    <a:pt x="1395375" y="217932"/>
                  </a:lnTo>
                  <a:lnTo>
                    <a:pt x="1395375" y="221361"/>
                  </a:lnTo>
                  <a:lnTo>
                    <a:pt x="1395375" y="218630"/>
                  </a:lnTo>
                  <a:lnTo>
                    <a:pt x="1395375" y="219329"/>
                  </a:lnTo>
                  <a:lnTo>
                    <a:pt x="1395413" y="219329"/>
                  </a:lnTo>
                  <a:lnTo>
                    <a:pt x="1395413" y="221361"/>
                  </a:lnTo>
                  <a:lnTo>
                    <a:pt x="1395413" y="220015"/>
                  </a:lnTo>
                  <a:lnTo>
                    <a:pt x="1395464" y="220015"/>
                  </a:lnTo>
                  <a:lnTo>
                    <a:pt x="1395464" y="221361"/>
                  </a:lnTo>
                  <a:lnTo>
                    <a:pt x="1395464" y="220015"/>
                  </a:lnTo>
                  <a:lnTo>
                    <a:pt x="1395616" y="220015"/>
                  </a:lnTo>
                  <a:lnTo>
                    <a:pt x="1395616" y="219329"/>
                  </a:lnTo>
                  <a:lnTo>
                    <a:pt x="1395616" y="220015"/>
                  </a:lnTo>
                  <a:lnTo>
                    <a:pt x="1395616" y="218630"/>
                  </a:lnTo>
                  <a:lnTo>
                    <a:pt x="1395616" y="219329"/>
                  </a:lnTo>
                  <a:lnTo>
                    <a:pt x="1395616" y="218630"/>
                  </a:lnTo>
                  <a:lnTo>
                    <a:pt x="1395667" y="218630"/>
                  </a:lnTo>
                  <a:lnTo>
                    <a:pt x="1395667" y="219329"/>
                  </a:lnTo>
                  <a:lnTo>
                    <a:pt x="1395667" y="218630"/>
                  </a:lnTo>
                  <a:lnTo>
                    <a:pt x="1395667" y="219329"/>
                  </a:lnTo>
                  <a:lnTo>
                    <a:pt x="1395667" y="217932"/>
                  </a:lnTo>
                  <a:lnTo>
                    <a:pt x="1395667" y="218630"/>
                  </a:lnTo>
                  <a:lnTo>
                    <a:pt x="1395667" y="217932"/>
                  </a:lnTo>
                  <a:lnTo>
                    <a:pt x="1395718" y="218630"/>
                  </a:lnTo>
                  <a:lnTo>
                    <a:pt x="1395718" y="217932"/>
                  </a:lnTo>
                  <a:lnTo>
                    <a:pt x="1395718" y="218630"/>
                  </a:lnTo>
                  <a:lnTo>
                    <a:pt x="1395819" y="218630"/>
                  </a:lnTo>
                  <a:lnTo>
                    <a:pt x="1395819" y="219329"/>
                  </a:lnTo>
                  <a:lnTo>
                    <a:pt x="1395819" y="218630"/>
                  </a:lnTo>
                  <a:lnTo>
                    <a:pt x="1395819" y="219329"/>
                  </a:lnTo>
                  <a:lnTo>
                    <a:pt x="1395819" y="217932"/>
                  </a:lnTo>
                  <a:lnTo>
                    <a:pt x="1395819" y="218630"/>
                  </a:lnTo>
                  <a:lnTo>
                    <a:pt x="1395819" y="217932"/>
                  </a:lnTo>
                  <a:lnTo>
                    <a:pt x="1395819" y="221361"/>
                  </a:lnTo>
                  <a:lnTo>
                    <a:pt x="1395870" y="221361"/>
                  </a:lnTo>
                  <a:lnTo>
                    <a:pt x="1395870" y="219329"/>
                  </a:lnTo>
                  <a:lnTo>
                    <a:pt x="1395870" y="221361"/>
                  </a:lnTo>
                  <a:lnTo>
                    <a:pt x="1395921" y="221361"/>
                  </a:lnTo>
                  <a:lnTo>
                    <a:pt x="1395921" y="220015"/>
                  </a:lnTo>
                  <a:lnTo>
                    <a:pt x="1395921" y="221361"/>
                  </a:lnTo>
                  <a:lnTo>
                    <a:pt x="1395921" y="220015"/>
                  </a:lnTo>
                  <a:lnTo>
                    <a:pt x="1395921" y="221361"/>
                  </a:lnTo>
                  <a:lnTo>
                    <a:pt x="1395959" y="221361"/>
                  </a:lnTo>
                  <a:lnTo>
                    <a:pt x="1395959" y="220015"/>
                  </a:lnTo>
                  <a:lnTo>
                    <a:pt x="1395959" y="221361"/>
                  </a:lnTo>
                  <a:lnTo>
                    <a:pt x="1396061" y="220015"/>
                  </a:lnTo>
                  <a:lnTo>
                    <a:pt x="1396061" y="221361"/>
                  </a:lnTo>
                  <a:lnTo>
                    <a:pt x="1396061" y="220015"/>
                  </a:lnTo>
                  <a:lnTo>
                    <a:pt x="1396061" y="221361"/>
                  </a:lnTo>
                  <a:lnTo>
                    <a:pt x="1396061" y="220015"/>
                  </a:lnTo>
                  <a:lnTo>
                    <a:pt x="1396112" y="220015"/>
                  </a:lnTo>
                  <a:lnTo>
                    <a:pt x="1396112" y="219329"/>
                  </a:lnTo>
                  <a:lnTo>
                    <a:pt x="1396112" y="220015"/>
                  </a:lnTo>
                  <a:lnTo>
                    <a:pt x="1396112" y="219329"/>
                  </a:lnTo>
                  <a:lnTo>
                    <a:pt x="1396112" y="220015"/>
                  </a:lnTo>
                  <a:lnTo>
                    <a:pt x="1396112" y="219329"/>
                  </a:lnTo>
                  <a:lnTo>
                    <a:pt x="1396112" y="220015"/>
                  </a:lnTo>
                  <a:lnTo>
                    <a:pt x="1396112" y="219329"/>
                  </a:lnTo>
                  <a:lnTo>
                    <a:pt x="1396162" y="219329"/>
                  </a:lnTo>
                  <a:lnTo>
                    <a:pt x="1396162" y="218630"/>
                  </a:lnTo>
                  <a:lnTo>
                    <a:pt x="1396162" y="219329"/>
                  </a:lnTo>
                  <a:lnTo>
                    <a:pt x="1396162" y="217932"/>
                  </a:lnTo>
                  <a:lnTo>
                    <a:pt x="1396162" y="218630"/>
                  </a:lnTo>
                  <a:lnTo>
                    <a:pt x="1396162" y="217932"/>
                  </a:lnTo>
                  <a:lnTo>
                    <a:pt x="1396264" y="217932"/>
                  </a:lnTo>
                  <a:lnTo>
                    <a:pt x="1396264" y="217246"/>
                  </a:lnTo>
                  <a:lnTo>
                    <a:pt x="1396264" y="217932"/>
                  </a:lnTo>
                  <a:lnTo>
                    <a:pt x="1396264" y="217246"/>
                  </a:lnTo>
                  <a:lnTo>
                    <a:pt x="1396264" y="217932"/>
                  </a:lnTo>
                  <a:lnTo>
                    <a:pt x="1396264" y="217246"/>
                  </a:lnTo>
                  <a:lnTo>
                    <a:pt x="1396264" y="217932"/>
                  </a:lnTo>
                  <a:lnTo>
                    <a:pt x="1396315" y="217932"/>
                  </a:lnTo>
                  <a:lnTo>
                    <a:pt x="1396315" y="219329"/>
                  </a:lnTo>
                  <a:lnTo>
                    <a:pt x="1396315" y="218630"/>
                  </a:lnTo>
                  <a:lnTo>
                    <a:pt x="1396315" y="219329"/>
                  </a:lnTo>
                  <a:lnTo>
                    <a:pt x="1396315" y="218630"/>
                  </a:lnTo>
                  <a:lnTo>
                    <a:pt x="1396315" y="219329"/>
                  </a:lnTo>
                  <a:lnTo>
                    <a:pt x="1396315" y="218630"/>
                  </a:lnTo>
                  <a:lnTo>
                    <a:pt x="1396365" y="218630"/>
                  </a:lnTo>
                  <a:lnTo>
                    <a:pt x="1396365" y="219329"/>
                  </a:lnTo>
                  <a:lnTo>
                    <a:pt x="1396365" y="218630"/>
                  </a:lnTo>
                  <a:lnTo>
                    <a:pt x="1396365" y="219329"/>
                  </a:lnTo>
                  <a:lnTo>
                    <a:pt x="1396365" y="218630"/>
                  </a:lnTo>
                  <a:lnTo>
                    <a:pt x="1396365" y="219329"/>
                  </a:lnTo>
                  <a:lnTo>
                    <a:pt x="1396365" y="218630"/>
                  </a:lnTo>
                  <a:lnTo>
                    <a:pt x="1396365" y="219329"/>
                  </a:lnTo>
                  <a:lnTo>
                    <a:pt x="1396365" y="218630"/>
                  </a:lnTo>
                  <a:lnTo>
                    <a:pt x="1396365" y="219329"/>
                  </a:lnTo>
                  <a:lnTo>
                    <a:pt x="1396365" y="218630"/>
                  </a:lnTo>
                  <a:lnTo>
                    <a:pt x="1396365" y="219329"/>
                  </a:lnTo>
                  <a:lnTo>
                    <a:pt x="1396365" y="218630"/>
                  </a:lnTo>
                  <a:lnTo>
                    <a:pt x="1396416" y="219329"/>
                  </a:lnTo>
                  <a:lnTo>
                    <a:pt x="1396416" y="220015"/>
                  </a:lnTo>
                  <a:lnTo>
                    <a:pt x="1396416" y="219329"/>
                  </a:lnTo>
                  <a:lnTo>
                    <a:pt x="1396416" y="220015"/>
                  </a:lnTo>
                  <a:lnTo>
                    <a:pt x="1396416" y="219329"/>
                  </a:lnTo>
                  <a:lnTo>
                    <a:pt x="1396416" y="220015"/>
                  </a:lnTo>
                  <a:lnTo>
                    <a:pt x="1396416" y="219329"/>
                  </a:lnTo>
                  <a:lnTo>
                    <a:pt x="1396416" y="220015"/>
                  </a:lnTo>
                  <a:lnTo>
                    <a:pt x="1396505" y="220015"/>
                  </a:lnTo>
                  <a:lnTo>
                    <a:pt x="1396505" y="221361"/>
                  </a:lnTo>
                  <a:lnTo>
                    <a:pt x="1396556" y="221361"/>
                  </a:lnTo>
                  <a:lnTo>
                    <a:pt x="1396556" y="220015"/>
                  </a:lnTo>
                  <a:lnTo>
                    <a:pt x="1396556" y="221361"/>
                  </a:lnTo>
                  <a:lnTo>
                    <a:pt x="1396556" y="220015"/>
                  </a:lnTo>
                  <a:lnTo>
                    <a:pt x="1396556" y="221361"/>
                  </a:lnTo>
                  <a:lnTo>
                    <a:pt x="1396556" y="220015"/>
                  </a:lnTo>
                  <a:lnTo>
                    <a:pt x="1396607" y="220015"/>
                  </a:lnTo>
                  <a:lnTo>
                    <a:pt x="1396607" y="218630"/>
                  </a:lnTo>
                  <a:lnTo>
                    <a:pt x="1396607" y="219329"/>
                  </a:lnTo>
                  <a:lnTo>
                    <a:pt x="1396607" y="218630"/>
                  </a:lnTo>
                  <a:lnTo>
                    <a:pt x="1396607" y="219329"/>
                  </a:lnTo>
                  <a:lnTo>
                    <a:pt x="1396607" y="218630"/>
                  </a:lnTo>
                  <a:lnTo>
                    <a:pt x="1396607" y="219329"/>
                  </a:lnTo>
                  <a:lnTo>
                    <a:pt x="1396607" y="218630"/>
                  </a:lnTo>
                  <a:lnTo>
                    <a:pt x="1396607" y="219329"/>
                  </a:lnTo>
                  <a:lnTo>
                    <a:pt x="1396607" y="218630"/>
                  </a:lnTo>
                  <a:lnTo>
                    <a:pt x="1396607" y="219329"/>
                  </a:lnTo>
                  <a:lnTo>
                    <a:pt x="1396658" y="218630"/>
                  </a:lnTo>
                  <a:lnTo>
                    <a:pt x="1396658" y="217932"/>
                  </a:lnTo>
                  <a:lnTo>
                    <a:pt x="1396658" y="218630"/>
                  </a:lnTo>
                  <a:lnTo>
                    <a:pt x="1396658" y="217246"/>
                  </a:lnTo>
                  <a:lnTo>
                    <a:pt x="1396759" y="217246"/>
                  </a:lnTo>
                  <a:lnTo>
                    <a:pt x="1396759" y="217932"/>
                  </a:lnTo>
                  <a:lnTo>
                    <a:pt x="1396759" y="217246"/>
                  </a:lnTo>
                  <a:lnTo>
                    <a:pt x="1396759" y="217932"/>
                  </a:lnTo>
                  <a:lnTo>
                    <a:pt x="1396759" y="217246"/>
                  </a:lnTo>
                  <a:lnTo>
                    <a:pt x="1396759" y="217932"/>
                  </a:lnTo>
                  <a:lnTo>
                    <a:pt x="1396759" y="217246"/>
                  </a:lnTo>
                  <a:lnTo>
                    <a:pt x="1396759" y="218630"/>
                  </a:lnTo>
                  <a:lnTo>
                    <a:pt x="1396810" y="218630"/>
                  </a:lnTo>
                  <a:lnTo>
                    <a:pt x="1396810" y="219329"/>
                  </a:lnTo>
                  <a:lnTo>
                    <a:pt x="1396810" y="217932"/>
                  </a:lnTo>
                  <a:lnTo>
                    <a:pt x="1396810" y="218630"/>
                  </a:lnTo>
                  <a:lnTo>
                    <a:pt x="1396810" y="217932"/>
                  </a:lnTo>
                  <a:lnTo>
                    <a:pt x="1396810" y="218630"/>
                  </a:lnTo>
                  <a:lnTo>
                    <a:pt x="1396810" y="217932"/>
                  </a:lnTo>
                  <a:lnTo>
                    <a:pt x="1396810" y="218630"/>
                  </a:lnTo>
                  <a:lnTo>
                    <a:pt x="1396861" y="218630"/>
                  </a:lnTo>
                  <a:lnTo>
                    <a:pt x="1396861" y="217932"/>
                  </a:lnTo>
                  <a:lnTo>
                    <a:pt x="1396861" y="218630"/>
                  </a:lnTo>
                  <a:lnTo>
                    <a:pt x="1396861" y="217932"/>
                  </a:lnTo>
                  <a:lnTo>
                    <a:pt x="1396861" y="218630"/>
                  </a:lnTo>
                  <a:lnTo>
                    <a:pt x="1396861" y="217932"/>
                  </a:lnTo>
                  <a:lnTo>
                    <a:pt x="1396861" y="218630"/>
                  </a:lnTo>
                  <a:lnTo>
                    <a:pt x="1396962" y="218630"/>
                  </a:lnTo>
                  <a:lnTo>
                    <a:pt x="1396962" y="217932"/>
                  </a:lnTo>
                  <a:lnTo>
                    <a:pt x="1396962" y="219329"/>
                  </a:lnTo>
                  <a:lnTo>
                    <a:pt x="1396962" y="218630"/>
                  </a:lnTo>
                  <a:lnTo>
                    <a:pt x="1396962" y="219329"/>
                  </a:lnTo>
                  <a:lnTo>
                    <a:pt x="1396962" y="218630"/>
                  </a:lnTo>
                  <a:lnTo>
                    <a:pt x="1397000" y="218630"/>
                  </a:lnTo>
                  <a:lnTo>
                    <a:pt x="1397000" y="219329"/>
                  </a:lnTo>
                  <a:lnTo>
                    <a:pt x="1397000" y="218630"/>
                  </a:lnTo>
                  <a:lnTo>
                    <a:pt x="1397000" y="219329"/>
                  </a:lnTo>
                  <a:lnTo>
                    <a:pt x="1397000" y="218630"/>
                  </a:lnTo>
                  <a:lnTo>
                    <a:pt x="1397000" y="219329"/>
                  </a:lnTo>
                  <a:lnTo>
                    <a:pt x="1397000" y="218630"/>
                  </a:lnTo>
                  <a:lnTo>
                    <a:pt x="1397000" y="220015"/>
                  </a:lnTo>
                  <a:lnTo>
                    <a:pt x="1397051" y="219329"/>
                  </a:lnTo>
                  <a:lnTo>
                    <a:pt x="1397051" y="218630"/>
                  </a:lnTo>
                  <a:lnTo>
                    <a:pt x="1397051" y="219329"/>
                  </a:lnTo>
                  <a:lnTo>
                    <a:pt x="1397051" y="218630"/>
                  </a:lnTo>
                  <a:lnTo>
                    <a:pt x="1397051" y="219329"/>
                  </a:lnTo>
                  <a:lnTo>
                    <a:pt x="1397051" y="218630"/>
                  </a:lnTo>
                  <a:lnTo>
                    <a:pt x="1397102" y="219329"/>
                  </a:lnTo>
                  <a:lnTo>
                    <a:pt x="1397102" y="218630"/>
                  </a:lnTo>
                  <a:lnTo>
                    <a:pt x="1397102" y="219329"/>
                  </a:lnTo>
                  <a:lnTo>
                    <a:pt x="1397102" y="217932"/>
                  </a:lnTo>
                  <a:lnTo>
                    <a:pt x="1397102" y="218630"/>
                  </a:lnTo>
                  <a:lnTo>
                    <a:pt x="1397102" y="217932"/>
                  </a:lnTo>
                  <a:lnTo>
                    <a:pt x="1397102" y="218630"/>
                  </a:lnTo>
                  <a:lnTo>
                    <a:pt x="1397102" y="217932"/>
                  </a:lnTo>
                  <a:lnTo>
                    <a:pt x="1397204" y="217932"/>
                  </a:lnTo>
                  <a:lnTo>
                    <a:pt x="1397204" y="215214"/>
                  </a:lnTo>
                  <a:lnTo>
                    <a:pt x="1397255" y="215900"/>
                  </a:lnTo>
                  <a:lnTo>
                    <a:pt x="1397255" y="217932"/>
                  </a:lnTo>
                  <a:lnTo>
                    <a:pt x="1397305" y="217932"/>
                  </a:lnTo>
                  <a:lnTo>
                    <a:pt x="1397305" y="217246"/>
                  </a:lnTo>
                  <a:lnTo>
                    <a:pt x="1397305" y="217932"/>
                  </a:lnTo>
                  <a:lnTo>
                    <a:pt x="1397305" y="217246"/>
                  </a:lnTo>
                  <a:lnTo>
                    <a:pt x="1397305" y="217932"/>
                  </a:lnTo>
                  <a:lnTo>
                    <a:pt x="1397305" y="217246"/>
                  </a:lnTo>
                  <a:lnTo>
                    <a:pt x="1397407" y="217246"/>
                  </a:lnTo>
                  <a:lnTo>
                    <a:pt x="1397407" y="217932"/>
                  </a:lnTo>
                  <a:lnTo>
                    <a:pt x="1397407" y="217246"/>
                  </a:lnTo>
                  <a:lnTo>
                    <a:pt x="1397407" y="217932"/>
                  </a:lnTo>
                  <a:lnTo>
                    <a:pt x="1397458" y="217932"/>
                  </a:lnTo>
                  <a:lnTo>
                    <a:pt x="1397458" y="217246"/>
                  </a:lnTo>
                  <a:lnTo>
                    <a:pt x="1397458" y="217932"/>
                  </a:lnTo>
                  <a:lnTo>
                    <a:pt x="1397458" y="217246"/>
                  </a:lnTo>
                  <a:lnTo>
                    <a:pt x="1397458" y="218630"/>
                  </a:lnTo>
                  <a:lnTo>
                    <a:pt x="1397458" y="217932"/>
                  </a:lnTo>
                  <a:lnTo>
                    <a:pt x="1397509" y="218630"/>
                  </a:lnTo>
                  <a:lnTo>
                    <a:pt x="1397509" y="217932"/>
                  </a:lnTo>
                  <a:lnTo>
                    <a:pt x="1397509" y="218630"/>
                  </a:lnTo>
                  <a:lnTo>
                    <a:pt x="1397509" y="217932"/>
                  </a:lnTo>
                  <a:lnTo>
                    <a:pt x="1397509" y="219329"/>
                  </a:lnTo>
                  <a:lnTo>
                    <a:pt x="1397509" y="218630"/>
                  </a:lnTo>
                  <a:lnTo>
                    <a:pt x="1397547" y="218630"/>
                  </a:lnTo>
                  <a:lnTo>
                    <a:pt x="1397547" y="217932"/>
                  </a:lnTo>
                  <a:lnTo>
                    <a:pt x="1397547" y="218630"/>
                  </a:lnTo>
                  <a:lnTo>
                    <a:pt x="1397547" y="217932"/>
                  </a:lnTo>
                  <a:lnTo>
                    <a:pt x="1397547" y="218630"/>
                  </a:lnTo>
                  <a:lnTo>
                    <a:pt x="1397547" y="217932"/>
                  </a:lnTo>
                  <a:lnTo>
                    <a:pt x="1397547" y="218630"/>
                  </a:lnTo>
                  <a:lnTo>
                    <a:pt x="1397547" y="217932"/>
                  </a:lnTo>
                  <a:lnTo>
                    <a:pt x="1397547" y="218630"/>
                  </a:lnTo>
                  <a:lnTo>
                    <a:pt x="1397547" y="217932"/>
                  </a:lnTo>
                  <a:lnTo>
                    <a:pt x="1397648" y="217932"/>
                  </a:lnTo>
                  <a:lnTo>
                    <a:pt x="1397648" y="218630"/>
                  </a:lnTo>
                  <a:lnTo>
                    <a:pt x="1397648" y="217246"/>
                  </a:lnTo>
                  <a:lnTo>
                    <a:pt x="1397648" y="217932"/>
                  </a:lnTo>
                  <a:lnTo>
                    <a:pt x="1397648" y="217246"/>
                  </a:lnTo>
                  <a:lnTo>
                    <a:pt x="1397648" y="217932"/>
                  </a:lnTo>
                  <a:lnTo>
                    <a:pt x="1397648" y="217246"/>
                  </a:lnTo>
                  <a:lnTo>
                    <a:pt x="1397648" y="217932"/>
                  </a:lnTo>
                  <a:lnTo>
                    <a:pt x="1397648" y="217246"/>
                  </a:lnTo>
                  <a:lnTo>
                    <a:pt x="1397648" y="217932"/>
                  </a:lnTo>
                  <a:lnTo>
                    <a:pt x="1397648" y="217246"/>
                  </a:lnTo>
                  <a:lnTo>
                    <a:pt x="1397699" y="217246"/>
                  </a:lnTo>
                  <a:lnTo>
                    <a:pt x="1397699" y="215214"/>
                  </a:lnTo>
                  <a:lnTo>
                    <a:pt x="1397699" y="217246"/>
                  </a:lnTo>
                  <a:lnTo>
                    <a:pt x="1397750" y="215900"/>
                  </a:lnTo>
                  <a:lnTo>
                    <a:pt x="1397750" y="213868"/>
                  </a:lnTo>
                  <a:lnTo>
                    <a:pt x="1397750" y="217932"/>
                  </a:lnTo>
                  <a:lnTo>
                    <a:pt x="1397750" y="217246"/>
                  </a:lnTo>
                  <a:lnTo>
                    <a:pt x="1397851" y="217246"/>
                  </a:lnTo>
                  <a:lnTo>
                    <a:pt x="1397851" y="215900"/>
                  </a:lnTo>
                  <a:lnTo>
                    <a:pt x="1397851" y="217246"/>
                  </a:lnTo>
                  <a:lnTo>
                    <a:pt x="1397851" y="215900"/>
                  </a:lnTo>
                  <a:lnTo>
                    <a:pt x="1397851" y="217246"/>
                  </a:lnTo>
                  <a:lnTo>
                    <a:pt x="1397902" y="217246"/>
                  </a:lnTo>
                  <a:lnTo>
                    <a:pt x="1397902" y="215900"/>
                  </a:lnTo>
                  <a:lnTo>
                    <a:pt x="1397902" y="217932"/>
                  </a:lnTo>
                  <a:lnTo>
                    <a:pt x="1397953" y="217932"/>
                  </a:lnTo>
                  <a:lnTo>
                    <a:pt x="1397953" y="217246"/>
                  </a:lnTo>
                  <a:lnTo>
                    <a:pt x="1397953" y="217932"/>
                  </a:lnTo>
                  <a:lnTo>
                    <a:pt x="1397953" y="217246"/>
                  </a:lnTo>
                  <a:lnTo>
                    <a:pt x="1398004" y="217246"/>
                  </a:lnTo>
                  <a:lnTo>
                    <a:pt x="1398004" y="218630"/>
                  </a:lnTo>
                  <a:lnTo>
                    <a:pt x="1398004" y="217932"/>
                  </a:lnTo>
                  <a:lnTo>
                    <a:pt x="1398093" y="217932"/>
                  </a:lnTo>
                  <a:lnTo>
                    <a:pt x="1398093" y="217246"/>
                  </a:lnTo>
                  <a:lnTo>
                    <a:pt x="1398093" y="217932"/>
                  </a:lnTo>
                  <a:lnTo>
                    <a:pt x="1398144" y="217932"/>
                  </a:lnTo>
                  <a:lnTo>
                    <a:pt x="1398144" y="217246"/>
                  </a:lnTo>
                  <a:lnTo>
                    <a:pt x="1398144" y="217932"/>
                  </a:lnTo>
                  <a:lnTo>
                    <a:pt x="1398144" y="217246"/>
                  </a:lnTo>
                  <a:lnTo>
                    <a:pt x="1398194" y="217246"/>
                  </a:lnTo>
                  <a:lnTo>
                    <a:pt x="1398194" y="215900"/>
                  </a:lnTo>
                  <a:lnTo>
                    <a:pt x="1398194" y="217246"/>
                  </a:lnTo>
                  <a:lnTo>
                    <a:pt x="1398194" y="215900"/>
                  </a:lnTo>
                  <a:lnTo>
                    <a:pt x="1398194" y="217246"/>
                  </a:lnTo>
                  <a:lnTo>
                    <a:pt x="1398194" y="215900"/>
                  </a:lnTo>
                  <a:lnTo>
                    <a:pt x="1398245" y="217246"/>
                  </a:lnTo>
                  <a:lnTo>
                    <a:pt x="1398245" y="215214"/>
                  </a:lnTo>
                  <a:lnTo>
                    <a:pt x="1398245" y="217932"/>
                  </a:lnTo>
                  <a:lnTo>
                    <a:pt x="1398347" y="217932"/>
                  </a:lnTo>
                  <a:lnTo>
                    <a:pt x="1398347" y="217246"/>
                  </a:lnTo>
                  <a:lnTo>
                    <a:pt x="1398347" y="217932"/>
                  </a:lnTo>
                  <a:lnTo>
                    <a:pt x="1398397" y="217932"/>
                  </a:lnTo>
                  <a:lnTo>
                    <a:pt x="1398397" y="217246"/>
                  </a:lnTo>
                  <a:lnTo>
                    <a:pt x="1398397" y="217932"/>
                  </a:lnTo>
                  <a:lnTo>
                    <a:pt x="1398397" y="217246"/>
                  </a:lnTo>
                  <a:lnTo>
                    <a:pt x="1398397" y="218630"/>
                  </a:lnTo>
                  <a:lnTo>
                    <a:pt x="1398397" y="217932"/>
                  </a:lnTo>
                  <a:lnTo>
                    <a:pt x="1398448" y="217932"/>
                  </a:lnTo>
                  <a:lnTo>
                    <a:pt x="1398448" y="218630"/>
                  </a:lnTo>
                  <a:lnTo>
                    <a:pt x="1398448" y="217932"/>
                  </a:lnTo>
                  <a:lnTo>
                    <a:pt x="1398448" y="218630"/>
                  </a:lnTo>
                  <a:lnTo>
                    <a:pt x="1398448" y="217932"/>
                  </a:lnTo>
                  <a:lnTo>
                    <a:pt x="1398448" y="218630"/>
                  </a:lnTo>
                  <a:lnTo>
                    <a:pt x="1398448" y="217932"/>
                  </a:lnTo>
                  <a:lnTo>
                    <a:pt x="1398448" y="218630"/>
                  </a:lnTo>
                  <a:lnTo>
                    <a:pt x="1398448" y="217932"/>
                  </a:lnTo>
                  <a:lnTo>
                    <a:pt x="1398448" y="218630"/>
                  </a:lnTo>
                  <a:lnTo>
                    <a:pt x="1398448" y="217932"/>
                  </a:lnTo>
                  <a:lnTo>
                    <a:pt x="1398448" y="218630"/>
                  </a:lnTo>
                  <a:lnTo>
                    <a:pt x="1398448" y="217932"/>
                  </a:lnTo>
                  <a:lnTo>
                    <a:pt x="1398448" y="218630"/>
                  </a:lnTo>
                  <a:lnTo>
                    <a:pt x="1398448" y="217932"/>
                  </a:lnTo>
                  <a:lnTo>
                    <a:pt x="1398550" y="217932"/>
                  </a:lnTo>
                  <a:lnTo>
                    <a:pt x="1398550" y="218630"/>
                  </a:lnTo>
                  <a:lnTo>
                    <a:pt x="1398550" y="217932"/>
                  </a:lnTo>
                  <a:lnTo>
                    <a:pt x="1398550" y="218630"/>
                  </a:lnTo>
                  <a:lnTo>
                    <a:pt x="1398550" y="217932"/>
                  </a:lnTo>
                  <a:lnTo>
                    <a:pt x="1398550" y="218630"/>
                  </a:lnTo>
                  <a:lnTo>
                    <a:pt x="1398550" y="217932"/>
                  </a:lnTo>
                  <a:lnTo>
                    <a:pt x="1398550" y="218630"/>
                  </a:lnTo>
                  <a:lnTo>
                    <a:pt x="1398588" y="218630"/>
                  </a:lnTo>
                  <a:lnTo>
                    <a:pt x="1398588" y="217932"/>
                  </a:lnTo>
                  <a:lnTo>
                    <a:pt x="1398588" y="218630"/>
                  </a:lnTo>
                  <a:lnTo>
                    <a:pt x="1398588" y="217932"/>
                  </a:lnTo>
                  <a:lnTo>
                    <a:pt x="1398639" y="217932"/>
                  </a:lnTo>
                  <a:lnTo>
                    <a:pt x="1398639" y="215900"/>
                  </a:lnTo>
                  <a:lnTo>
                    <a:pt x="1398690" y="215900"/>
                  </a:lnTo>
                  <a:lnTo>
                    <a:pt x="1398690" y="214515"/>
                  </a:lnTo>
                  <a:lnTo>
                    <a:pt x="1398690" y="217246"/>
                  </a:lnTo>
                  <a:lnTo>
                    <a:pt x="1398791" y="217246"/>
                  </a:lnTo>
                  <a:lnTo>
                    <a:pt x="1398791" y="215214"/>
                  </a:lnTo>
                  <a:lnTo>
                    <a:pt x="1398791" y="218630"/>
                  </a:lnTo>
                  <a:lnTo>
                    <a:pt x="1398791" y="217246"/>
                  </a:lnTo>
                  <a:lnTo>
                    <a:pt x="1398842" y="217246"/>
                  </a:lnTo>
                  <a:lnTo>
                    <a:pt x="1398842" y="217932"/>
                  </a:lnTo>
                  <a:lnTo>
                    <a:pt x="1398842" y="217246"/>
                  </a:lnTo>
                  <a:lnTo>
                    <a:pt x="1398842" y="217932"/>
                  </a:lnTo>
                  <a:lnTo>
                    <a:pt x="1398842" y="217246"/>
                  </a:lnTo>
                  <a:lnTo>
                    <a:pt x="1398893" y="215900"/>
                  </a:lnTo>
                  <a:lnTo>
                    <a:pt x="1398893" y="217932"/>
                  </a:lnTo>
                  <a:lnTo>
                    <a:pt x="1398994" y="217932"/>
                  </a:lnTo>
                  <a:lnTo>
                    <a:pt x="1398994" y="217246"/>
                  </a:lnTo>
                  <a:lnTo>
                    <a:pt x="1398994" y="217932"/>
                  </a:lnTo>
                  <a:lnTo>
                    <a:pt x="1398994" y="217246"/>
                  </a:lnTo>
                  <a:lnTo>
                    <a:pt x="1398994" y="217932"/>
                  </a:lnTo>
                  <a:lnTo>
                    <a:pt x="1398994" y="217246"/>
                  </a:lnTo>
                  <a:lnTo>
                    <a:pt x="1398994" y="217932"/>
                  </a:lnTo>
                  <a:lnTo>
                    <a:pt x="1398994" y="217246"/>
                  </a:lnTo>
                  <a:lnTo>
                    <a:pt x="1398994" y="217932"/>
                  </a:lnTo>
                  <a:lnTo>
                    <a:pt x="1398994" y="217246"/>
                  </a:lnTo>
                  <a:lnTo>
                    <a:pt x="1398994" y="217932"/>
                  </a:lnTo>
                  <a:lnTo>
                    <a:pt x="1399045" y="217932"/>
                  </a:lnTo>
                  <a:lnTo>
                    <a:pt x="1399045" y="217246"/>
                  </a:lnTo>
                  <a:lnTo>
                    <a:pt x="1399045" y="217932"/>
                  </a:lnTo>
                  <a:lnTo>
                    <a:pt x="1399045" y="217246"/>
                  </a:lnTo>
                  <a:lnTo>
                    <a:pt x="1399045" y="217932"/>
                  </a:lnTo>
                  <a:lnTo>
                    <a:pt x="1399045" y="217246"/>
                  </a:lnTo>
                  <a:lnTo>
                    <a:pt x="1399045" y="217932"/>
                  </a:lnTo>
                  <a:lnTo>
                    <a:pt x="1399045" y="217246"/>
                  </a:lnTo>
                  <a:lnTo>
                    <a:pt x="1399096" y="217932"/>
                  </a:lnTo>
                  <a:lnTo>
                    <a:pt x="1399096" y="217246"/>
                  </a:lnTo>
                  <a:lnTo>
                    <a:pt x="1399096" y="217932"/>
                  </a:lnTo>
                  <a:lnTo>
                    <a:pt x="1399096" y="217246"/>
                  </a:lnTo>
                  <a:lnTo>
                    <a:pt x="1399096" y="217932"/>
                  </a:lnTo>
                  <a:lnTo>
                    <a:pt x="1399096" y="217246"/>
                  </a:lnTo>
                  <a:lnTo>
                    <a:pt x="1399134" y="217246"/>
                  </a:lnTo>
                  <a:lnTo>
                    <a:pt x="1399134" y="215214"/>
                  </a:lnTo>
                  <a:lnTo>
                    <a:pt x="1399134" y="215900"/>
                  </a:lnTo>
                  <a:lnTo>
                    <a:pt x="1399134" y="214515"/>
                  </a:lnTo>
                  <a:lnTo>
                    <a:pt x="1399236" y="215214"/>
                  </a:lnTo>
                  <a:lnTo>
                    <a:pt x="1399236" y="212484"/>
                  </a:lnTo>
                  <a:lnTo>
                    <a:pt x="1399236" y="215214"/>
                  </a:lnTo>
                  <a:lnTo>
                    <a:pt x="1399236" y="214515"/>
                  </a:lnTo>
                  <a:lnTo>
                    <a:pt x="1399287" y="214515"/>
                  </a:lnTo>
                  <a:lnTo>
                    <a:pt x="1399287" y="212484"/>
                  </a:lnTo>
                  <a:lnTo>
                    <a:pt x="1399287" y="217246"/>
                  </a:lnTo>
                  <a:lnTo>
                    <a:pt x="1399287" y="215900"/>
                  </a:lnTo>
                  <a:lnTo>
                    <a:pt x="1399337" y="215214"/>
                  </a:lnTo>
                  <a:lnTo>
                    <a:pt x="1399337" y="217246"/>
                  </a:lnTo>
                  <a:lnTo>
                    <a:pt x="1399337" y="215900"/>
                  </a:lnTo>
                  <a:lnTo>
                    <a:pt x="1399439" y="215900"/>
                  </a:lnTo>
                  <a:lnTo>
                    <a:pt x="1399439" y="215214"/>
                  </a:lnTo>
                  <a:lnTo>
                    <a:pt x="1399439" y="217246"/>
                  </a:lnTo>
                  <a:lnTo>
                    <a:pt x="1399439" y="215900"/>
                  </a:lnTo>
                  <a:lnTo>
                    <a:pt x="1399439" y="217246"/>
                  </a:lnTo>
                  <a:lnTo>
                    <a:pt x="1399439" y="215900"/>
                  </a:lnTo>
                  <a:lnTo>
                    <a:pt x="1399490" y="215900"/>
                  </a:lnTo>
                  <a:lnTo>
                    <a:pt x="1399490" y="217246"/>
                  </a:lnTo>
                  <a:lnTo>
                    <a:pt x="1399490" y="215900"/>
                  </a:lnTo>
                  <a:lnTo>
                    <a:pt x="1399490" y="217246"/>
                  </a:lnTo>
                  <a:lnTo>
                    <a:pt x="1399490" y="215900"/>
                  </a:lnTo>
                  <a:lnTo>
                    <a:pt x="1399490" y="217246"/>
                  </a:lnTo>
                  <a:lnTo>
                    <a:pt x="1399540" y="217246"/>
                  </a:lnTo>
                  <a:lnTo>
                    <a:pt x="1399540" y="215900"/>
                  </a:lnTo>
                  <a:lnTo>
                    <a:pt x="1399540" y="217246"/>
                  </a:lnTo>
                  <a:lnTo>
                    <a:pt x="1399540" y="215900"/>
                  </a:lnTo>
                  <a:lnTo>
                    <a:pt x="1399540" y="217246"/>
                  </a:lnTo>
                  <a:lnTo>
                    <a:pt x="1399591" y="217246"/>
                  </a:lnTo>
                  <a:lnTo>
                    <a:pt x="1399591" y="215900"/>
                  </a:lnTo>
                  <a:lnTo>
                    <a:pt x="1399591" y="217246"/>
                  </a:lnTo>
                  <a:lnTo>
                    <a:pt x="1399591" y="215900"/>
                  </a:lnTo>
                  <a:lnTo>
                    <a:pt x="1399591" y="217246"/>
                  </a:lnTo>
                  <a:lnTo>
                    <a:pt x="1399591" y="215214"/>
                  </a:lnTo>
                  <a:lnTo>
                    <a:pt x="1399591" y="215900"/>
                  </a:lnTo>
                  <a:lnTo>
                    <a:pt x="1399680" y="215900"/>
                  </a:lnTo>
                  <a:lnTo>
                    <a:pt x="1399680" y="213868"/>
                  </a:lnTo>
                  <a:lnTo>
                    <a:pt x="1399680" y="214515"/>
                  </a:lnTo>
                  <a:lnTo>
                    <a:pt x="1399731" y="215214"/>
                  </a:lnTo>
                  <a:lnTo>
                    <a:pt x="1399731" y="215900"/>
                  </a:lnTo>
                  <a:lnTo>
                    <a:pt x="1399731" y="214515"/>
                  </a:lnTo>
                  <a:lnTo>
                    <a:pt x="1399731" y="215900"/>
                  </a:lnTo>
                  <a:lnTo>
                    <a:pt x="1399782" y="215900"/>
                  </a:lnTo>
                  <a:lnTo>
                    <a:pt x="1399782" y="217246"/>
                  </a:lnTo>
                  <a:lnTo>
                    <a:pt x="1399782" y="215900"/>
                  </a:lnTo>
                  <a:lnTo>
                    <a:pt x="1399782" y="217246"/>
                  </a:lnTo>
                  <a:lnTo>
                    <a:pt x="1399833" y="217246"/>
                  </a:lnTo>
                  <a:lnTo>
                    <a:pt x="1399833" y="215900"/>
                  </a:lnTo>
                  <a:lnTo>
                    <a:pt x="1399833" y="217246"/>
                  </a:lnTo>
                  <a:lnTo>
                    <a:pt x="1399934" y="217246"/>
                  </a:lnTo>
                  <a:lnTo>
                    <a:pt x="1399934" y="215900"/>
                  </a:lnTo>
                  <a:lnTo>
                    <a:pt x="1399934" y="217246"/>
                  </a:lnTo>
                  <a:lnTo>
                    <a:pt x="1399934" y="215900"/>
                  </a:lnTo>
                  <a:lnTo>
                    <a:pt x="1399934" y="217246"/>
                  </a:lnTo>
                  <a:lnTo>
                    <a:pt x="1399934" y="215900"/>
                  </a:lnTo>
                  <a:lnTo>
                    <a:pt x="1399934" y="217246"/>
                  </a:lnTo>
                  <a:lnTo>
                    <a:pt x="1399985" y="217246"/>
                  </a:lnTo>
                  <a:lnTo>
                    <a:pt x="1399985" y="215900"/>
                  </a:lnTo>
                  <a:lnTo>
                    <a:pt x="1399985" y="217246"/>
                  </a:lnTo>
                  <a:lnTo>
                    <a:pt x="1399985" y="215900"/>
                  </a:lnTo>
                  <a:lnTo>
                    <a:pt x="1399985" y="217246"/>
                  </a:lnTo>
                  <a:lnTo>
                    <a:pt x="1399985" y="215900"/>
                  </a:lnTo>
                  <a:lnTo>
                    <a:pt x="1400036" y="217246"/>
                  </a:lnTo>
                  <a:lnTo>
                    <a:pt x="1400036" y="215900"/>
                  </a:lnTo>
                  <a:lnTo>
                    <a:pt x="1400036" y="217246"/>
                  </a:lnTo>
                  <a:lnTo>
                    <a:pt x="1400036" y="215900"/>
                  </a:lnTo>
                  <a:lnTo>
                    <a:pt x="1400137" y="215900"/>
                  </a:lnTo>
                  <a:lnTo>
                    <a:pt x="1400137" y="214515"/>
                  </a:lnTo>
                  <a:lnTo>
                    <a:pt x="1400137" y="215214"/>
                  </a:lnTo>
                  <a:lnTo>
                    <a:pt x="1400137" y="214515"/>
                  </a:lnTo>
                  <a:lnTo>
                    <a:pt x="1400175" y="214515"/>
                  </a:lnTo>
                  <a:lnTo>
                    <a:pt x="1400175" y="213868"/>
                  </a:lnTo>
                  <a:lnTo>
                    <a:pt x="1400175" y="214515"/>
                  </a:lnTo>
                  <a:lnTo>
                    <a:pt x="1400175" y="212484"/>
                  </a:lnTo>
                  <a:lnTo>
                    <a:pt x="1400175" y="213868"/>
                  </a:lnTo>
                  <a:lnTo>
                    <a:pt x="1400226" y="213868"/>
                  </a:lnTo>
                  <a:lnTo>
                    <a:pt x="1400226" y="214515"/>
                  </a:lnTo>
                  <a:lnTo>
                    <a:pt x="1400226" y="212484"/>
                  </a:lnTo>
                  <a:lnTo>
                    <a:pt x="1400226" y="213868"/>
                  </a:lnTo>
                  <a:lnTo>
                    <a:pt x="1400226" y="212484"/>
                  </a:lnTo>
                  <a:lnTo>
                    <a:pt x="1400226" y="215214"/>
                  </a:lnTo>
                  <a:lnTo>
                    <a:pt x="1400277" y="215900"/>
                  </a:lnTo>
                  <a:lnTo>
                    <a:pt x="1400277" y="217246"/>
                  </a:lnTo>
                  <a:lnTo>
                    <a:pt x="1400277" y="214515"/>
                  </a:lnTo>
                  <a:lnTo>
                    <a:pt x="1400277" y="215900"/>
                  </a:lnTo>
                  <a:lnTo>
                    <a:pt x="1400379" y="215900"/>
                  </a:lnTo>
                  <a:lnTo>
                    <a:pt x="1400379" y="217246"/>
                  </a:lnTo>
                  <a:lnTo>
                    <a:pt x="1400379" y="215214"/>
                  </a:lnTo>
                  <a:lnTo>
                    <a:pt x="1400379" y="217246"/>
                  </a:lnTo>
                  <a:lnTo>
                    <a:pt x="1400379" y="215900"/>
                  </a:lnTo>
                  <a:lnTo>
                    <a:pt x="1400430" y="217246"/>
                  </a:lnTo>
                  <a:lnTo>
                    <a:pt x="1400430" y="215900"/>
                  </a:lnTo>
                  <a:lnTo>
                    <a:pt x="1400430" y="217246"/>
                  </a:lnTo>
                  <a:lnTo>
                    <a:pt x="1400430" y="215900"/>
                  </a:lnTo>
                  <a:lnTo>
                    <a:pt x="1400430" y="217246"/>
                  </a:lnTo>
                  <a:lnTo>
                    <a:pt x="1400480" y="217246"/>
                  </a:lnTo>
                  <a:lnTo>
                    <a:pt x="1400480" y="217932"/>
                  </a:lnTo>
                  <a:lnTo>
                    <a:pt x="1400480" y="217246"/>
                  </a:lnTo>
                  <a:lnTo>
                    <a:pt x="1400582" y="215900"/>
                  </a:lnTo>
                  <a:lnTo>
                    <a:pt x="1400582" y="217932"/>
                  </a:lnTo>
                  <a:lnTo>
                    <a:pt x="1400582" y="217246"/>
                  </a:lnTo>
                  <a:lnTo>
                    <a:pt x="1400582" y="217932"/>
                  </a:lnTo>
                  <a:lnTo>
                    <a:pt x="1400582" y="217246"/>
                  </a:lnTo>
                  <a:lnTo>
                    <a:pt x="1400582" y="217932"/>
                  </a:lnTo>
                  <a:lnTo>
                    <a:pt x="1400582" y="215900"/>
                  </a:lnTo>
                  <a:lnTo>
                    <a:pt x="1400582" y="217246"/>
                  </a:lnTo>
                  <a:lnTo>
                    <a:pt x="1400633" y="217246"/>
                  </a:lnTo>
                  <a:lnTo>
                    <a:pt x="1400633" y="214515"/>
                  </a:lnTo>
                  <a:lnTo>
                    <a:pt x="1400633" y="215214"/>
                  </a:lnTo>
                  <a:lnTo>
                    <a:pt x="1400633" y="214515"/>
                  </a:lnTo>
                  <a:lnTo>
                    <a:pt x="1400684" y="214515"/>
                  </a:lnTo>
                  <a:lnTo>
                    <a:pt x="1400684" y="212484"/>
                  </a:lnTo>
                  <a:lnTo>
                    <a:pt x="1400684" y="214515"/>
                  </a:lnTo>
                  <a:lnTo>
                    <a:pt x="1400684" y="213868"/>
                  </a:lnTo>
                  <a:lnTo>
                    <a:pt x="1400684" y="214515"/>
                  </a:lnTo>
                  <a:lnTo>
                    <a:pt x="1400722" y="214515"/>
                  </a:lnTo>
                  <a:lnTo>
                    <a:pt x="1400722" y="213868"/>
                  </a:lnTo>
                  <a:lnTo>
                    <a:pt x="1400722" y="215900"/>
                  </a:lnTo>
                  <a:lnTo>
                    <a:pt x="1400823" y="215900"/>
                  </a:lnTo>
                  <a:lnTo>
                    <a:pt x="1400823" y="214515"/>
                  </a:lnTo>
                  <a:lnTo>
                    <a:pt x="1400823" y="215900"/>
                  </a:lnTo>
                  <a:lnTo>
                    <a:pt x="1400874" y="215214"/>
                  </a:lnTo>
                  <a:lnTo>
                    <a:pt x="1400874" y="215900"/>
                  </a:lnTo>
                  <a:lnTo>
                    <a:pt x="1400874" y="215214"/>
                  </a:lnTo>
                  <a:lnTo>
                    <a:pt x="1400925" y="215900"/>
                  </a:lnTo>
                  <a:lnTo>
                    <a:pt x="1400925" y="217246"/>
                  </a:lnTo>
                  <a:lnTo>
                    <a:pt x="1401026" y="215900"/>
                  </a:lnTo>
                  <a:lnTo>
                    <a:pt x="1401026" y="217246"/>
                  </a:lnTo>
                  <a:lnTo>
                    <a:pt x="1401026" y="215900"/>
                  </a:lnTo>
                  <a:lnTo>
                    <a:pt x="1401077" y="215900"/>
                  </a:lnTo>
                  <a:lnTo>
                    <a:pt x="1401077" y="217246"/>
                  </a:lnTo>
                  <a:lnTo>
                    <a:pt x="1401077" y="215900"/>
                  </a:lnTo>
                  <a:lnTo>
                    <a:pt x="1401128" y="215900"/>
                  </a:lnTo>
                  <a:lnTo>
                    <a:pt x="1401128" y="215214"/>
                  </a:lnTo>
                  <a:lnTo>
                    <a:pt x="1401128" y="215900"/>
                  </a:lnTo>
                  <a:lnTo>
                    <a:pt x="1401128" y="214515"/>
                  </a:lnTo>
                  <a:lnTo>
                    <a:pt x="1401179" y="213868"/>
                  </a:lnTo>
                  <a:lnTo>
                    <a:pt x="1401179" y="212484"/>
                  </a:lnTo>
                  <a:lnTo>
                    <a:pt x="1401179" y="215214"/>
                  </a:lnTo>
                  <a:lnTo>
                    <a:pt x="1401179" y="214515"/>
                  </a:lnTo>
                  <a:lnTo>
                    <a:pt x="1401268" y="214515"/>
                  </a:lnTo>
                  <a:lnTo>
                    <a:pt x="1401268" y="213868"/>
                  </a:lnTo>
                  <a:lnTo>
                    <a:pt x="1401268" y="215900"/>
                  </a:lnTo>
                  <a:lnTo>
                    <a:pt x="1401268" y="215214"/>
                  </a:lnTo>
                  <a:lnTo>
                    <a:pt x="1401319" y="215214"/>
                  </a:lnTo>
                  <a:lnTo>
                    <a:pt x="1401319" y="214515"/>
                  </a:lnTo>
                  <a:lnTo>
                    <a:pt x="1401319" y="215900"/>
                  </a:lnTo>
                  <a:lnTo>
                    <a:pt x="1401369" y="215214"/>
                  </a:lnTo>
                  <a:lnTo>
                    <a:pt x="1401369" y="215900"/>
                  </a:lnTo>
                  <a:lnTo>
                    <a:pt x="1401369" y="215214"/>
                  </a:lnTo>
                  <a:lnTo>
                    <a:pt x="1401369" y="215900"/>
                  </a:lnTo>
                  <a:lnTo>
                    <a:pt x="1401420" y="215900"/>
                  </a:lnTo>
                  <a:lnTo>
                    <a:pt x="1401420" y="217246"/>
                  </a:lnTo>
                  <a:lnTo>
                    <a:pt x="1401420" y="215900"/>
                  </a:lnTo>
                  <a:lnTo>
                    <a:pt x="1401420" y="217246"/>
                  </a:lnTo>
                  <a:lnTo>
                    <a:pt x="1401522" y="217246"/>
                  </a:lnTo>
                  <a:lnTo>
                    <a:pt x="1401522" y="215900"/>
                  </a:lnTo>
                  <a:lnTo>
                    <a:pt x="1401522" y="217246"/>
                  </a:lnTo>
                  <a:lnTo>
                    <a:pt x="1401522" y="215900"/>
                  </a:lnTo>
                  <a:lnTo>
                    <a:pt x="1401522" y="217246"/>
                  </a:lnTo>
                  <a:lnTo>
                    <a:pt x="1401572" y="217246"/>
                  </a:lnTo>
                  <a:lnTo>
                    <a:pt x="1401572" y="217932"/>
                  </a:lnTo>
                  <a:lnTo>
                    <a:pt x="1401572" y="215900"/>
                  </a:lnTo>
                  <a:lnTo>
                    <a:pt x="1401572" y="217246"/>
                  </a:lnTo>
                  <a:lnTo>
                    <a:pt x="1401572" y="215900"/>
                  </a:lnTo>
                  <a:lnTo>
                    <a:pt x="1401623" y="215900"/>
                  </a:lnTo>
                  <a:lnTo>
                    <a:pt x="1401623" y="213868"/>
                  </a:lnTo>
                  <a:lnTo>
                    <a:pt x="1401725" y="213868"/>
                  </a:lnTo>
                  <a:lnTo>
                    <a:pt x="1401725" y="215214"/>
                  </a:lnTo>
                  <a:lnTo>
                    <a:pt x="1401725" y="214515"/>
                  </a:lnTo>
                  <a:lnTo>
                    <a:pt x="1401763" y="214515"/>
                  </a:lnTo>
                  <a:lnTo>
                    <a:pt x="1401763" y="217932"/>
                  </a:lnTo>
                  <a:lnTo>
                    <a:pt x="1401763" y="215214"/>
                  </a:lnTo>
                  <a:lnTo>
                    <a:pt x="1401814" y="215900"/>
                  </a:lnTo>
                  <a:lnTo>
                    <a:pt x="1401814" y="217932"/>
                  </a:lnTo>
                  <a:lnTo>
                    <a:pt x="1401814" y="217246"/>
                  </a:lnTo>
                  <a:lnTo>
                    <a:pt x="1401814" y="217932"/>
                  </a:lnTo>
                  <a:lnTo>
                    <a:pt x="1401814" y="215214"/>
                  </a:lnTo>
                  <a:lnTo>
                    <a:pt x="1401865" y="215214"/>
                  </a:lnTo>
                  <a:lnTo>
                    <a:pt x="1401865" y="217246"/>
                  </a:lnTo>
                  <a:lnTo>
                    <a:pt x="1401865" y="215900"/>
                  </a:lnTo>
                  <a:lnTo>
                    <a:pt x="1401865" y="217246"/>
                  </a:lnTo>
                  <a:lnTo>
                    <a:pt x="1401865" y="215900"/>
                  </a:lnTo>
                  <a:lnTo>
                    <a:pt x="1401865" y="217246"/>
                  </a:lnTo>
                  <a:lnTo>
                    <a:pt x="1401966" y="217246"/>
                  </a:lnTo>
                  <a:lnTo>
                    <a:pt x="1401966" y="215900"/>
                  </a:lnTo>
                  <a:lnTo>
                    <a:pt x="1401966" y="217246"/>
                  </a:lnTo>
                  <a:lnTo>
                    <a:pt x="1401966" y="215900"/>
                  </a:lnTo>
                  <a:lnTo>
                    <a:pt x="1401966" y="217246"/>
                  </a:lnTo>
                  <a:lnTo>
                    <a:pt x="1402017" y="217246"/>
                  </a:lnTo>
                  <a:lnTo>
                    <a:pt x="1402017" y="215900"/>
                  </a:lnTo>
                  <a:lnTo>
                    <a:pt x="1402017" y="217246"/>
                  </a:lnTo>
                  <a:lnTo>
                    <a:pt x="1402017" y="215900"/>
                  </a:lnTo>
                  <a:lnTo>
                    <a:pt x="1402068" y="215900"/>
                  </a:lnTo>
                  <a:lnTo>
                    <a:pt x="1402068" y="217246"/>
                  </a:lnTo>
                  <a:lnTo>
                    <a:pt x="1402068" y="215900"/>
                  </a:lnTo>
                  <a:lnTo>
                    <a:pt x="1402068" y="217246"/>
                  </a:lnTo>
                  <a:lnTo>
                    <a:pt x="1402068" y="215214"/>
                  </a:lnTo>
                  <a:lnTo>
                    <a:pt x="1402169" y="215214"/>
                  </a:lnTo>
                  <a:lnTo>
                    <a:pt x="1402169" y="214515"/>
                  </a:lnTo>
                  <a:lnTo>
                    <a:pt x="1402169" y="215214"/>
                  </a:lnTo>
                  <a:lnTo>
                    <a:pt x="1402169" y="213868"/>
                  </a:lnTo>
                  <a:lnTo>
                    <a:pt x="1402169" y="215900"/>
                  </a:lnTo>
                  <a:lnTo>
                    <a:pt x="1402220" y="215900"/>
                  </a:lnTo>
                  <a:lnTo>
                    <a:pt x="1402220" y="215214"/>
                  </a:lnTo>
                  <a:lnTo>
                    <a:pt x="1402220" y="215900"/>
                  </a:lnTo>
                  <a:lnTo>
                    <a:pt x="1402220" y="215214"/>
                  </a:lnTo>
                  <a:lnTo>
                    <a:pt x="1402220" y="218630"/>
                  </a:lnTo>
                  <a:lnTo>
                    <a:pt x="1402220" y="217246"/>
                  </a:lnTo>
                  <a:lnTo>
                    <a:pt x="1402271" y="217932"/>
                  </a:lnTo>
                  <a:lnTo>
                    <a:pt x="1402271" y="215900"/>
                  </a:lnTo>
                  <a:lnTo>
                    <a:pt x="1402271" y="218630"/>
                  </a:lnTo>
                  <a:lnTo>
                    <a:pt x="1402271" y="217246"/>
                  </a:lnTo>
                  <a:lnTo>
                    <a:pt x="1402309" y="217932"/>
                  </a:lnTo>
                  <a:lnTo>
                    <a:pt x="1402309" y="217246"/>
                  </a:lnTo>
                  <a:lnTo>
                    <a:pt x="1402309" y="217932"/>
                  </a:lnTo>
                  <a:lnTo>
                    <a:pt x="1402309" y="217246"/>
                  </a:lnTo>
                  <a:lnTo>
                    <a:pt x="1402309" y="217932"/>
                  </a:lnTo>
                  <a:lnTo>
                    <a:pt x="1402411" y="217246"/>
                  </a:lnTo>
                  <a:lnTo>
                    <a:pt x="1402411" y="217932"/>
                  </a:lnTo>
                  <a:lnTo>
                    <a:pt x="1402411" y="217246"/>
                  </a:lnTo>
                  <a:lnTo>
                    <a:pt x="1402411" y="217932"/>
                  </a:lnTo>
                  <a:lnTo>
                    <a:pt x="1402411" y="217246"/>
                  </a:lnTo>
                  <a:lnTo>
                    <a:pt x="1402411" y="217932"/>
                  </a:lnTo>
                  <a:lnTo>
                    <a:pt x="1402411" y="217246"/>
                  </a:lnTo>
                  <a:lnTo>
                    <a:pt x="1402411" y="217932"/>
                  </a:lnTo>
                  <a:lnTo>
                    <a:pt x="1402411" y="217246"/>
                  </a:lnTo>
                  <a:lnTo>
                    <a:pt x="1402411" y="217932"/>
                  </a:lnTo>
                  <a:lnTo>
                    <a:pt x="1402462" y="217932"/>
                  </a:lnTo>
                  <a:lnTo>
                    <a:pt x="1402462" y="217246"/>
                  </a:lnTo>
                  <a:lnTo>
                    <a:pt x="1402462" y="217932"/>
                  </a:lnTo>
                  <a:lnTo>
                    <a:pt x="1402462" y="217246"/>
                  </a:lnTo>
                  <a:lnTo>
                    <a:pt x="1402462" y="217932"/>
                  </a:lnTo>
                  <a:lnTo>
                    <a:pt x="1402462" y="217246"/>
                  </a:lnTo>
                  <a:lnTo>
                    <a:pt x="1402462" y="217932"/>
                  </a:lnTo>
                  <a:lnTo>
                    <a:pt x="1402462" y="217246"/>
                  </a:lnTo>
                  <a:lnTo>
                    <a:pt x="1402462" y="217932"/>
                  </a:lnTo>
                  <a:lnTo>
                    <a:pt x="1402462" y="217246"/>
                  </a:lnTo>
                  <a:lnTo>
                    <a:pt x="1402512" y="217932"/>
                  </a:lnTo>
                  <a:lnTo>
                    <a:pt x="1402512" y="217246"/>
                  </a:lnTo>
                  <a:lnTo>
                    <a:pt x="1402512" y="217932"/>
                  </a:lnTo>
                  <a:lnTo>
                    <a:pt x="1402512" y="215900"/>
                  </a:lnTo>
                  <a:lnTo>
                    <a:pt x="1402512" y="217246"/>
                  </a:lnTo>
                  <a:lnTo>
                    <a:pt x="1402614" y="215900"/>
                  </a:lnTo>
                  <a:lnTo>
                    <a:pt x="1402614" y="217246"/>
                  </a:lnTo>
                  <a:lnTo>
                    <a:pt x="1402614" y="214515"/>
                  </a:lnTo>
                  <a:lnTo>
                    <a:pt x="1402614" y="215214"/>
                  </a:lnTo>
                  <a:lnTo>
                    <a:pt x="1402614" y="213868"/>
                  </a:lnTo>
                  <a:lnTo>
                    <a:pt x="1402665" y="213868"/>
                  </a:lnTo>
                  <a:lnTo>
                    <a:pt x="1402665" y="214515"/>
                  </a:lnTo>
                  <a:lnTo>
                    <a:pt x="1402665" y="212484"/>
                  </a:lnTo>
                  <a:lnTo>
                    <a:pt x="1402665" y="215214"/>
                  </a:lnTo>
                  <a:lnTo>
                    <a:pt x="1402715" y="215214"/>
                  </a:lnTo>
                  <a:lnTo>
                    <a:pt x="1402715" y="213868"/>
                  </a:lnTo>
                  <a:lnTo>
                    <a:pt x="1402715" y="215900"/>
                  </a:lnTo>
                  <a:lnTo>
                    <a:pt x="1402715" y="215214"/>
                  </a:lnTo>
                  <a:lnTo>
                    <a:pt x="1402766" y="215214"/>
                  </a:lnTo>
                  <a:lnTo>
                    <a:pt x="1402766" y="217246"/>
                  </a:lnTo>
                  <a:lnTo>
                    <a:pt x="1402766" y="215900"/>
                  </a:lnTo>
                  <a:lnTo>
                    <a:pt x="1402855" y="215900"/>
                  </a:lnTo>
                  <a:lnTo>
                    <a:pt x="1402855" y="215214"/>
                  </a:lnTo>
                  <a:lnTo>
                    <a:pt x="1402906" y="215214"/>
                  </a:lnTo>
                  <a:lnTo>
                    <a:pt x="1402906" y="217246"/>
                  </a:lnTo>
                  <a:lnTo>
                    <a:pt x="1402906" y="215900"/>
                  </a:lnTo>
                  <a:lnTo>
                    <a:pt x="1402906" y="217246"/>
                  </a:lnTo>
                  <a:lnTo>
                    <a:pt x="1402906" y="215900"/>
                  </a:lnTo>
                  <a:lnTo>
                    <a:pt x="1402957" y="217246"/>
                  </a:lnTo>
                  <a:lnTo>
                    <a:pt x="1402957" y="215900"/>
                  </a:lnTo>
                  <a:lnTo>
                    <a:pt x="1403008" y="215900"/>
                  </a:lnTo>
                  <a:lnTo>
                    <a:pt x="1403008" y="215214"/>
                  </a:lnTo>
                  <a:lnTo>
                    <a:pt x="1403109" y="215214"/>
                  </a:lnTo>
                  <a:lnTo>
                    <a:pt x="1403109" y="212484"/>
                  </a:lnTo>
                  <a:lnTo>
                    <a:pt x="1403160" y="212484"/>
                  </a:lnTo>
                  <a:lnTo>
                    <a:pt x="1403160" y="211137"/>
                  </a:lnTo>
                  <a:lnTo>
                    <a:pt x="1403160" y="213868"/>
                  </a:lnTo>
                  <a:lnTo>
                    <a:pt x="1403160" y="212484"/>
                  </a:lnTo>
                  <a:lnTo>
                    <a:pt x="1403211" y="212484"/>
                  </a:lnTo>
                  <a:lnTo>
                    <a:pt x="1403211" y="211785"/>
                  </a:lnTo>
                  <a:lnTo>
                    <a:pt x="1403211" y="214515"/>
                  </a:lnTo>
                  <a:lnTo>
                    <a:pt x="1403211" y="213868"/>
                  </a:lnTo>
                  <a:lnTo>
                    <a:pt x="1403211" y="214515"/>
                  </a:lnTo>
                  <a:lnTo>
                    <a:pt x="1403312" y="214515"/>
                  </a:lnTo>
                  <a:lnTo>
                    <a:pt x="1403312" y="212484"/>
                  </a:lnTo>
                  <a:lnTo>
                    <a:pt x="1403312" y="214515"/>
                  </a:lnTo>
                  <a:lnTo>
                    <a:pt x="1403350" y="214515"/>
                  </a:lnTo>
                  <a:lnTo>
                    <a:pt x="1403350" y="213868"/>
                  </a:lnTo>
                  <a:lnTo>
                    <a:pt x="1403350" y="214515"/>
                  </a:lnTo>
                  <a:lnTo>
                    <a:pt x="1403350" y="213868"/>
                  </a:lnTo>
                  <a:lnTo>
                    <a:pt x="1403350" y="214515"/>
                  </a:lnTo>
                  <a:lnTo>
                    <a:pt x="1403401" y="214515"/>
                  </a:lnTo>
                  <a:lnTo>
                    <a:pt x="1403401" y="215900"/>
                  </a:lnTo>
                  <a:lnTo>
                    <a:pt x="1403401" y="215214"/>
                  </a:lnTo>
                  <a:lnTo>
                    <a:pt x="1403452" y="215214"/>
                  </a:lnTo>
                  <a:lnTo>
                    <a:pt x="1403452" y="215900"/>
                  </a:lnTo>
                  <a:lnTo>
                    <a:pt x="1403452" y="215214"/>
                  </a:lnTo>
                  <a:lnTo>
                    <a:pt x="1403452" y="215900"/>
                  </a:lnTo>
                  <a:lnTo>
                    <a:pt x="1403554" y="215900"/>
                  </a:lnTo>
                  <a:lnTo>
                    <a:pt x="1403554" y="215214"/>
                  </a:lnTo>
                  <a:lnTo>
                    <a:pt x="1403554" y="215900"/>
                  </a:lnTo>
                  <a:lnTo>
                    <a:pt x="1403554" y="215214"/>
                  </a:lnTo>
                  <a:lnTo>
                    <a:pt x="1403605" y="214515"/>
                  </a:lnTo>
                  <a:lnTo>
                    <a:pt x="1403605" y="215214"/>
                  </a:lnTo>
                  <a:lnTo>
                    <a:pt x="1403605" y="212484"/>
                  </a:lnTo>
                  <a:lnTo>
                    <a:pt x="1403655" y="212484"/>
                  </a:lnTo>
                  <a:lnTo>
                    <a:pt x="1403655" y="211785"/>
                  </a:lnTo>
                  <a:lnTo>
                    <a:pt x="1403655" y="213868"/>
                  </a:lnTo>
                  <a:lnTo>
                    <a:pt x="1403655" y="212484"/>
                  </a:lnTo>
                  <a:lnTo>
                    <a:pt x="1403757" y="212484"/>
                  </a:lnTo>
                  <a:lnTo>
                    <a:pt x="1403757" y="211785"/>
                  </a:lnTo>
                  <a:lnTo>
                    <a:pt x="1403757" y="214515"/>
                  </a:lnTo>
                  <a:lnTo>
                    <a:pt x="1403757" y="213868"/>
                  </a:lnTo>
                  <a:lnTo>
                    <a:pt x="1403757" y="214515"/>
                  </a:lnTo>
                  <a:lnTo>
                    <a:pt x="1403757" y="213868"/>
                  </a:lnTo>
                  <a:lnTo>
                    <a:pt x="1403808" y="213868"/>
                  </a:lnTo>
                  <a:lnTo>
                    <a:pt x="1403808" y="212484"/>
                  </a:lnTo>
                  <a:lnTo>
                    <a:pt x="1403808" y="214515"/>
                  </a:lnTo>
                  <a:lnTo>
                    <a:pt x="1403808" y="213868"/>
                  </a:lnTo>
                  <a:lnTo>
                    <a:pt x="1403859" y="213868"/>
                  </a:lnTo>
                  <a:lnTo>
                    <a:pt x="1403859" y="214515"/>
                  </a:lnTo>
                  <a:lnTo>
                    <a:pt x="1403859" y="213868"/>
                  </a:lnTo>
                  <a:lnTo>
                    <a:pt x="1403897" y="213868"/>
                  </a:lnTo>
                  <a:lnTo>
                    <a:pt x="1403897" y="214515"/>
                  </a:lnTo>
                  <a:lnTo>
                    <a:pt x="1403897" y="213868"/>
                  </a:lnTo>
                  <a:lnTo>
                    <a:pt x="1403897" y="214515"/>
                  </a:lnTo>
                  <a:lnTo>
                    <a:pt x="1403897" y="213868"/>
                  </a:lnTo>
                  <a:lnTo>
                    <a:pt x="1403897" y="214515"/>
                  </a:lnTo>
                  <a:lnTo>
                    <a:pt x="1403998" y="214515"/>
                  </a:lnTo>
                  <a:lnTo>
                    <a:pt x="1403998" y="215214"/>
                  </a:lnTo>
                  <a:lnTo>
                    <a:pt x="1403998" y="214515"/>
                  </a:lnTo>
                  <a:lnTo>
                    <a:pt x="1403998" y="215214"/>
                  </a:lnTo>
                  <a:lnTo>
                    <a:pt x="1404049" y="214515"/>
                  </a:lnTo>
                  <a:lnTo>
                    <a:pt x="1404049" y="213868"/>
                  </a:lnTo>
                  <a:lnTo>
                    <a:pt x="1404100" y="213868"/>
                  </a:lnTo>
                  <a:lnTo>
                    <a:pt x="1404100" y="214515"/>
                  </a:lnTo>
                  <a:lnTo>
                    <a:pt x="1404201" y="214515"/>
                  </a:lnTo>
                  <a:lnTo>
                    <a:pt x="1404201" y="213868"/>
                  </a:lnTo>
                  <a:lnTo>
                    <a:pt x="1404201" y="217246"/>
                  </a:lnTo>
                  <a:lnTo>
                    <a:pt x="1404252" y="215900"/>
                  </a:lnTo>
                  <a:lnTo>
                    <a:pt x="1404252" y="217246"/>
                  </a:lnTo>
                  <a:lnTo>
                    <a:pt x="1404252" y="215214"/>
                  </a:lnTo>
                  <a:lnTo>
                    <a:pt x="1404252" y="217246"/>
                  </a:lnTo>
                  <a:lnTo>
                    <a:pt x="1404252" y="215900"/>
                  </a:lnTo>
                  <a:lnTo>
                    <a:pt x="1404303" y="215900"/>
                  </a:lnTo>
                  <a:lnTo>
                    <a:pt x="1404303" y="214515"/>
                  </a:lnTo>
                  <a:lnTo>
                    <a:pt x="1404303" y="215900"/>
                  </a:lnTo>
                  <a:lnTo>
                    <a:pt x="1404303" y="215214"/>
                  </a:lnTo>
                  <a:lnTo>
                    <a:pt x="1404354" y="215214"/>
                  </a:lnTo>
                  <a:lnTo>
                    <a:pt x="1404354" y="215900"/>
                  </a:lnTo>
                  <a:lnTo>
                    <a:pt x="1404354" y="215214"/>
                  </a:lnTo>
                  <a:lnTo>
                    <a:pt x="1404354" y="215900"/>
                  </a:lnTo>
                  <a:lnTo>
                    <a:pt x="1404354" y="215214"/>
                  </a:lnTo>
                  <a:lnTo>
                    <a:pt x="1404354" y="215900"/>
                  </a:lnTo>
                  <a:lnTo>
                    <a:pt x="1404354" y="215214"/>
                  </a:lnTo>
                  <a:lnTo>
                    <a:pt x="1404354" y="215900"/>
                  </a:lnTo>
                  <a:lnTo>
                    <a:pt x="1404354" y="215214"/>
                  </a:lnTo>
                  <a:lnTo>
                    <a:pt x="1404354" y="215900"/>
                  </a:lnTo>
                  <a:lnTo>
                    <a:pt x="1404354" y="215214"/>
                  </a:lnTo>
                  <a:lnTo>
                    <a:pt x="1404443" y="215214"/>
                  </a:lnTo>
                  <a:lnTo>
                    <a:pt x="1404443" y="215900"/>
                  </a:lnTo>
                  <a:lnTo>
                    <a:pt x="1404443" y="215214"/>
                  </a:lnTo>
                  <a:lnTo>
                    <a:pt x="1404443" y="215900"/>
                  </a:lnTo>
                  <a:lnTo>
                    <a:pt x="1404443" y="215214"/>
                  </a:lnTo>
                  <a:lnTo>
                    <a:pt x="1404443" y="215900"/>
                  </a:lnTo>
                  <a:lnTo>
                    <a:pt x="1404443" y="215214"/>
                  </a:lnTo>
                  <a:lnTo>
                    <a:pt x="1404443" y="215900"/>
                  </a:lnTo>
                  <a:lnTo>
                    <a:pt x="1404443" y="215214"/>
                  </a:lnTo>
                  <a:lnTo>
                    <a:pt x="1404494" y="215900"/>
                  </a:lnTo>
                  <a:lnTo>
                    <a:pt x="1404494" y="215214"/>
                  </a:lnTo>
                  <a:lnTo>
                    <a:pt x="1404494" y="215900"/>
                  </a:lnTo>
                  <a:lnTo>
                    <a:pt x="1404494" y="215214"/>
                  </a:lnTo>
                  <a:lnTo>
                    <a:pt x="1404494" y="215900"/>
                  </a:lnTo>
                  <a:lnTo>
                    <a:pt x="1404494" y="215214"/>
                  </a:lnTo>
                  <a:lnTo>
                    <a:pt x="1404544" y="214515"/>
                  </a:lnTo>
                  <a:lnTo>
                    <a:pt x="1404544" y="213868"/>
                  </a:lnTo>
                  <a:lnTo>
                    <a:pt x="1404595" y="212484"/>
                  </a:lnTo>
                  <a:lnTo>
                    <a:pt x="1404595" y="215214"/>
                  </a:lnTo>
                  <a:lnTo>
                    <a:pt x="1404595" y="212484"/>
                  </a:lnTo>
                  <a:lnTo>
                    <a:pt x="1404697" y="212484"/>
                  </a:lnTo>
                  <a:lnTo>
                    <a:pt x="1404697" y="215900"/>
                  </a:lnTo>
                  <a:lnTo>
                    <a:pt x="1404697" y="215214"/>
                  </a:lnTo>
                  <a:lnTo>
                    <a:pt x="1404697" y="215900"/>
                  </a:lnTo>
                  <a:lnTo>
                    <a:pt x="1404697" y="215214"/>
                  </a:lnTo>
                  <a:lnTo>
                    <a:pt x="1404747" y="215214"/>
                  </a:lnTo>
                  <a:lnTo>
                    <a:pt x="1404747" y="217246"/>
                  </a:lnTo>
                  <a:lnTo>
                    <a:pt x="1404747" y="215214"/>
                  </a:lnTo>
                  <a:lnTo>
                    <a:pt x="1404747" y="215900"/>
                  </a:lnTo>
                  <a:lnTo>
                    <a:pt x="1404798" y="215900"/>
                  </a:lnTo>
                  <a:lnTo>
                    <a:pt x="1404798" y="217246"/>
                  </a:lnTo>
                  <a:lnTo>
                    <a:pt x="1404798" y="215900"/>
                  </a:lnTo>
                  <a:lnTo>
                    <a:pt x="1404798" y="217246"/>
                  </a:lnTo>
                  <a:lnTo>
                    <a:pt x="1404798" y="215900"/>
                  </a:lnTo>
                  <a:lnTo>
                    <a:pt x="1404798" y="217246"/>
                  </a:lnTo>
                  <a:lnTo>
                    <a:pt x="1404798" y="215900"/>
                  </a:lnTo>
                  <a:lnTo>
                    <a:pt x="1404798" y="217246"/>
                  </a:lnTo>
                  <a:lnTo>
                    <a:pt x="1404798" y="215900"/>
                  </a:lnTo>
                  <a:lnTo>
                    <a:pt x="1404900" y="215900"/>
                  </a:lnTo>
                  <a:lnTo>
                    <a:pt x="1404900" y="215214"/>
                  </a:lnTo>
                  <a:lnTo>
                    <a:pt x="1404900" y="217246"/>
                  </a:lnTo>
                  <a:lnTo>
                    <a:pt x="1404900" y="215900"/>
                  </a:lnTo>
                  <a:lnTo>
                    <a:pt x="1404900" y="217246"/>
                  </a:lnTo>
                  <a:lnTo>
                    <a:pt x="1404900" y="215900"/>
                  </a:lnTo>
                  <a:lnTo>
                    <a:pt x="1404900" y="217246"/>
                  </a:lnTo>
                  <a:lnTo>
                    <a:pt x="1404938" y="215900"/>
                  </a:lnTo>
                  <a:lnTo>
                    <a:pt x="1404938" y="215214"/>
                  </a:lnTo>
                  <a:lnTo>
                    <a:pt x="1404938" y="215900"/>
                  </a:lnTo>
                  <a:lnTo>
                    <a:pt x="1404938" y="215214"/>
                  </a:lnTo>
                  <a:lnTo>
                    <a:pt x="1404989" y="215214"/>
                  </a:lnTo>
                  <a:lnTo>
                    <a:pt x="1404989" y="212484"/>
                  </a:lnTo>
                  <a:lnTo>
                    <a:pt x="1404989" y="213868"/>
                  </a:lnTo>
                  <a:lnTo>
                    <a:pt x="1404989" y="212484"/>
                  </a:lnTo>
                  <a:lnTo>
                    <a:pt x="1405040" y="212484"/>
                  </a:lnTo>
                  <a:lnTo>
                    <a:pt x="1405040" y="213868"/>
                  </a:lnTo>
                  <a:lnTo>
                    <a:pt x="1405040" y="212484"/>
                  </a:lnTo>
                  <a:lnTo>
                    <a:pt x="1405040" y="213868"/>
                  </a:lnTo>
                  <a:lnTo>
                    <a:pt x="1405040" y="211137"/>
                  </a:lnTo>
                  <a:lnTo>
                    <a:pt x="1405141" y="211785"/>
                  </a:lnTo>
                  <a:lnTo>
                    <a:pt x="1405141" y="210451"/>
                  </a:lnTo>
                  <a:lnTo>
                    <a:pt x="1405141" y="211137"/>
                  </a:lnTo>
                  <a:lnTo>
                    <a:pt x="1405141" y="210451"/>
                  </a:lnTo>
                  <a:lnTo>
                    <a:pt x="1405141" y="212484"/>
                  </a:lnTo>
                  <a:lnTo>
                    <a:pt x="1405141" y="211785"/>
                  </a:lnTo>
                  <a:lnTo>
                    <a:pt x="1405192" y="211137"/>
                  </a:lnTo>
                  <a:lnTo>
                    <a:pt x="1405192" y="213868"/>
                  </a:lnTo>
                  <a:lnTo>
                    <a:pt x="1405192" y="212484"/>
                  </a:lnTo>
                  <a:lnTo>
                    <a:pt x="1405243" y="212484"/>
                  </a:lnTo>
                  <a:lnTo>
                    <a:pt x="1405243" y="211785"/>
                  </a:lnTo>
                  <a:lnTo>
                    <a:pt x="1405243" y="213868"/>
                  </a:lnTo>
                  <a:lnTo>
                    <a:pt x="1405243" y="212484"/>
                  </a:lnTo>
                  <a:lnTo>
                    <a:pt x="1405243" y="213868"/>
                  </a:lnTo>
                  <a:lnTo>
                    <a:pt x="1405344" y="213868"/>
                  </a:lnTo>
                  <a:lnTo>
                    <a:pt x="1405344" y="214515"/>
                  </a:lnTo>
                  <a:lnTo>
                    <a:pt x="1405344" y="213868"/>
                  </a:lnTo>
                  <a:lnTo>
                    <a:pt x="1405395" y="213868"/>
                  </a:lnTo>
                  <a:lnTo>
                    <a:pt x="1405395" y="214515"/>
                  </a:lnTo>
                  <a:lnTo>
                    <a:pt x="1405395" y="213868"/>
                  </a:lnTo>
                  <a:lnTo>
                    <a:pt x="1405395" y="214515"/>
                  </a:lnTo>
                  <a:lnTo>
                    <a:pt x="1405446" y="214515"/>
                  </a:lnTo>
                  <a:lnTo>
                    <a:pt x="1405446" y="213868"/>
                  </a:lnTo>
                  <a:lnTo>
                    <a:pt x="1405484" y="213868"/>
                  </a:lnTo>
                  <a:lnTo>
                    <a:pt x="1405484" y="211785"/>
                  </a:lnTo>
                  <a:lnTo>
                    <a:pt x="1405586" y="211137"/>
                  </a:lnTo>
                  <a:lnTo>
                    <a:pt x="1405586" y="211785"/>
                  </a:lnTo>
                  <a:lnTo>
                    <a:pt x="1405586" y="208407"/>
                  </a:lnTo>
                  <a:lnTo>
                    <a:pt x="1405586" y="209753"/>
                  </a:lnTo>
                  <a:lnTo>
                    <a:pt x="1405637" y="208407"/>
                  </a:lnTo>
                  <a:lnTo>
                    <a:pt x="1405637" y="210451"/>
                  </a:lnTo>
                  <a:lnTo>
                    <a:pt x="1405637" y="207721"/>
                  </a:lnTo>
                  <a:lnTo>
                    <a:pt x="1405687" y="208407"/>
                  </a:lnTo>
                  <a:lnTo>
                    <a:pt x="1405687" y="210451"/>
                  </a:lnTo>
                  <a:lnTo>
                    <a:pt x="1405687" y="208407"/>
                  </a:lnTo>
                  <a:lnTo>
                    <a:pt x="1405687" y="209753"/>
                  </a:lnTo>
                  <a:lnTo>
                    <a:pt x="1405789" y="210451"/>
                  </a:lnTo>
                  <a:lnTo>
                    <a:pt x="1405789" y="208407"/>
                  </a:lnTo>
                  <a:lnTo>
                    <a:pt x="1405789" y="209753"/>
                  </a:lnTo>
                  <a:lnTo>
                    <a:pt x="1405840" y="209753"/>
                  </a:lnTo>
                  <a:lnTo>
                    <a:pt x="1405840" y="210451"/>
                  </a:lnTo>
                  <a:lnTo>
                    <a:pt x="1405840" y="209753"/>
                  </a:lnTo>
                  <a:lnTo>
                    <a:pt x="1405840" y="210451"/>
                  </a:lnTo>
                  <a:lnTo>
                    <a:pt x="1405890" y="210451"/>
                  </a:lnTo>
                  <a:lnTo>
                    <a:pt x="1405890" y="209753"/>
                  </a:lnTo>
                  <a:lnTo>
                    <a:pt x="1405890" y="210451"/>
                  </a:lnTo>
                  <a:lnTo>
                    <a:pt x="1405890" y="208407"/>
                  </a:lnTo>
                  <a:lnTo>
                    <a:pt x="1405890" y="210451"/>
                  </a:lnTo>
                  <a:lnTo>
                    <a:pt x="1405890" y="209753"/>
                  </a:lnTo>
                  <a:lnTo>
                    <a:pt x="1405890" y="210451"/>
                  </a:lnTo>
                  <a:lnTo>
                    <a:pt x="1405941" y="210451"/>
                  </a:lnTo>
                  <a:lnTo>
                    <a:pt x="1405941" y="209753"/>
                  </a:lnTo>
                  <a:lnTo>
                    <a:pt x="1405941" y="210451"/>
                  </a:lnTo>
                  <a:lnTo>
                    <a:pt x="1405941" y="208407"/>
                  </a:lnTo>
                  <a:lnTo>
                    <a:pt x="1405941" y="209753"/>
                  </a:lnTo>
                  <a:lnTo>
                    <a:pt x="1405941" y="208407"/>
                  </a:lnTo>
                  <a:lnTo>
                    <a:pt x="1405941" y="209753"/>
                  </a:lnTo>
                  <a:lnTo>
                    <a:pt x="1405941" y="208407"/>
                  </a:lnTo>
                  <a:lnTo>
                    <a:pt x="1406030" y="208407"/>
                  </a:lnTo>
                  <a:lnTo>
                    <a:pt x="1406030" y="207721"/>
                  </a:lnTo>
                  <a:lnTo>
                    <a:pt x="1406030" y="208407"/>
                  </a:lnTo>
                  <a:lnTo>
                    <a:pt x="1406030" y="207721"/>
                  </a:lnTo>
                  <a:lnTo>
                    <a:pt x="1406030" y="208407"/>
                  </a:lnTo>
                  <a:lnTo>
                    <a:pt x="1406030" y="206324"/>
                  </a:lnTo>
                  <a:lnTo>
                    <a:pt x="1406081" y="207022"/>
                  </a:lnTo>
                  <a:lnTo>
                    <a:pt x="1406081" y="204292"/>
                  </a:lnTo>
                  <a:lnTo>
                    <a:pt x="1406081" y="204990"/>
                  </a:lnTo>
                  <a:lnTo>
                    <a:pt x="1406081" y="203594"/>
                  </a:lnTo>
                  <a:lnTo>
                    <a:pt x="1406132" y="203594"/>
                  </a:lnTo>
                  <a:lnTo>
                    <a:pt x="1406132" y="202959"/>
                  </a:lnTo>
                  <a:lnTo>
                    <a:pt x="1406132" y="203594"/>
                  </a:lnTo>
                  <a:lnTo>
                    <a:pt x="1406132" y="202959"/>
                  </a:lnTo>
                  <a:lnTo>
                    <a:pt x="1406132" y="204292"/>
                  </a:lnTo>
                  <a:lnTo>
                    <a:pt x="1406132" y="202959"/>
                  </a:lnTo>
                  <a:lnTo>
                    <a:pt x="1406183" y="202260"/>
                  </a:lnTo>
                  <a:lnTo>
                    <a:pt x="1406183" y="204292"/>
                  </a:lnTo>
                  <a:lnTo>
                    <a:pt x="1406183" y="202959"/>
                  </a:lnTo>
                  <a:lnTo>
                    <a:pt x="1406284" y="203594"/>
                  </a:lnTo>
                  <a:lnTo>
                    <a:pt x="1406284" y="204292"/>
                  </a:lnTo>
                  <a:lnTo>
                    <a:pt x="1406284" y="202959"/>
                  </a:lnTo>
                  <a:lnTo>
                    <a:pt x="1406284" y="203594"/>
                  </a:lnTo>
                  <a:lnTo>
                    <a:pt x="1406335" y="203594"/>
                  </a:lnTo>
                  <a:lnTo>
                    <a:pt x="1406335" y="204292"/>
                  </a:lnTo>
                  <a:lnTo>
                    <a:pt x="1406335" y="203594"/>
                  </a:lnTo>
                  <a:lnTo>
                    <a:pt x="1406335" y="204292"/>
                  </a:lnTo>
                  <a:lnTo>
                    <a:pt x="1406386" y="204292"/>
                  </a:lnTo>
                  <a:lnTo>
                    <a:pt x="1406386" y="202959"/>
                  </a:lnTo>
                  <a:lnTo>
                    <a:pt x="1406386" y="204292"/>
                  </a:lnTo>
                  <a:lnTo>
                    <a:pt x="1406487" y="204292"/>
                  </a:lnTo>
                  <a:lnTo>
                    <a:pt x="1406487" y="203594"/>
                  </a:lnTo>
                  <a:lnTo>
                    <a:pt x="1406525" y="203594"/>
                  </a:lnTo>
                  <a:lnTo>
                    <a:pt x="1406525" y="202260"/>
                  </a:lnTo>
                  <a:lnTo>
                    <a:pt x="1406525" y="202959"/>
                  </a:lnTo>
                  <a:lnTo>
                    <a:pt x="1406525" y="202260"/>
                  </a:lnTo>
                  <a:lnTo>
                    <a:pt x="1406576" y="202260"/>
                  </a:lnTo>
                  <a:lnTo>
                    <a:pt x="1406576" y="198831"/>
                  </a:lnTo>
                  <a:lnTo>
                    <a:pt x="1406627" y="198831"/>
                  </a:lnTo>
                  <a:lnTo>
                    <a:pt x="1406627" y="199530"/>
                  </a:lnTo>
                  <a:lnTo>
                    <a:pt x="1406627" y="198831"/>
                  </a:lnTo>
                  <a:lnTo>
                    <a:pt x="1406627" y="199530"/>
                  </a:lnTo>
                  <a:lnTo>
                    <a:pt x="1406627" y="197447"/>
                  </a:lnTo>
                  <a:lnTo>
                    <a:pt x="1406729" y="197447"/>
                  </a:lnTo>
                  <a:lnTo>
                    <a:pt x="1406729" y="199530"/>
                  </a:lnTo>
                  <a:lnTo>
                    <a:pt x="1406729" y="198831"/>
                  </a:lnTo>
                  <a:lnTo>
                    <a:pt x="1406729" y="199530"/>
                  </a:lnTo>
                  <a:lnTo>
                    <a:pt x="1406729" y="197447"/>
                  </a:lnTo>
                  <a:lnTo>
                    <a:pt x="1406780" y="197447"/>
                  </a:lnTo>
                  <a:lnTo>
                    <a:pt x="1406780" y="198831"/>
                  </a:lnTo>
                  <a:lnTo>
                    <a:pt x="1406780" y="196799"/>
                  </a:lnTo>
                  <a:lnTo>
                    <a:pt x="1406780" y="198831"/>
                  </a:lnTo>
                  <a:lnTo>
                    <a:pt x="1406830" y="198831"/>
                  </a:lnTo>
                  <a:lnTo>
                    <a:pt x="1406830" y="197447"/>
                  </a:lnTo>
                  <a:lnTo>
                    <a:pt x="1406830" y="198831"/>
                  </a:lnTo>
                  <a:lnTo>
                    <a:pt x="1406830" y="197447"/>
                  </a:lnTo>
                  <a:lnTo>
                    <a:pt x="1406830" y="198831"/>
                  </a:lnTo>
                  <a:lnTo>
                    <a:pt x="1406830" y="197447"/>
                  </a:lnTo>
                  <a:lnTo>
                    <a:pt x="1406932" y="197447"/>
                  </a:lnTo>
                  <a:lnTo>
                    <a:pt x="1406932" y="196799"/>
                  </a:lnTo>
                  <a:lnTo>
                    <a:pt x="1406932" y="197447"/>
                  </a:lnTo>
                  <a:lnTo>
                    <a:pt x="1406983" y="197447"/>
                  </a:lnTo>
                  <a:lnTo>
                    <a:pt x="1406983" y="196113"/>
                  </a:lnTo>
                  <a:lnTo>
                    <a:pt x="1406983" y="197447"/>
                  </a:lnTo>
                  <a:lnTo>
                    <a:pt x="1406983" y="196799"/>
                  </a:lnTo>
                  <a:lnTo>
                    <a:pt x="1407034" y="196799"/>
                  </a:lnTo>
                  <a:lnTo>
                    <a:pt x="1407034" y="196113"/>
                  </a:lnTo>
                  <a:lnTo>
                    <a:pt x="1407034" y="196799"/>
                  </a:lnTo>
                  <a:lnTo>
                    <a:pt x="1407034" y="195415"/>
                  </a:lnTo>
                  <a:lnTo>
                    <a:pt x="1407034" y="196113"/>
                  </a:lnTo>
                  <a:lnTo>
                    <a:pt x="1407034" y="195415"/>
                  </a:lnTo>
                  <a:lnTo>
                    <a:pt x="1407072" y="195415"/>
                  </a:lnTo>
                  <a:lnTo>
                    <a:pt x="1407072" y="192684"/>
                  </a:lnTo>
                  <a:lnTo>
                    <a:pt x="1407173" y="192684"/>
                  </a:lnTo>
                  <a:lnTo>
                    <a:pt x="1407173" y="193383"/>
                  </a:lnTo>
                  <a:lnTo>
                    <a:pt x="1407173" y="192684"/>
                  </a:lnTo>
                  <a:lnTo>
                    <a:pt x="1407173" y="193383"/>
                  </a:lnTo>
                  <a:lnTo>
                    <a:pt x="1407173" y="191986"/>
                  </a:lnTo>
                  <a:lnTo>
                    <a:pt x="1407173" y="193383"/>
                  </a:lnTo>
                  <a:lnTo>
                    <a:pt x="1407224" y="193383"/>
                  </a:lnTo>
                  <a:lnTo>
                    <a:pt x="1407224" y="194716"/>
                  </a:lnTo>
                  <a:lnTo>
                    <a:pt x="1407224" y="193383"/>
                  </a:lnTo>
                  <a:lnTo>
                    <a:pt x="1407224" y="194716"/>
                  </a:lnTo>
                  <a:lnTo>
                    <a:pt x="1407224" y="192684"/>
                  </a:lnTo>
                  <a:lnTo>
                    <a:pt x="1407224" y="194716"/>
                  </a:lnTo>
                  <a:lnTo>
                    <a:pt x="1407275" y="194716"/>
                  </a:lnTo>
                  <a:lnTo>
                    <a:pt x="1407275" y="192684"/>
                  </a:lnTo>
                  <a:lnTo>
                    <a:pt x="1407275" y="194716"/>
                  </a:lnTo>
                  <a:lnTo>
                    <a:pt x="1407275" y="193383"/>
                  </a:lnTo>
                  <a:lnTo>
                    <a:pt x="1407376" y="193383"/>
                  </a:lnTo>
                  <a:lnTo>
                    <a:pt x="1407376" y="191986"/>
                  </a:lnTo>
                  <a:lnTo>
                    <a:pt x="1407376" y="194716"/>
                  </a:lnTo>
                  <a:lnTo>
                    <a:pt x="1407376" y="193383"/>
                  </a:lnTo>
                  <a:lnTo>
                    <a:pt x="1407427" y="193383"/>
                  </a:lnTo>
                  <a:lnTo>
                    <a:pt x="1407427" y="191986"/>
                  </a:lnTo>
                  <a:lnTo>
                    <a:pt x="1407427" y="192684"/>
                  </a:lnTo>
                  <a:lnTo>
                    <a:pt x="1407427" y="191986"/>
                  </a:lnTo>
                  <a:lnTo>
                    <a:pt x="1407427" y="193383"/>
                  </a:lnTo>
                  <a:lnTo>
                    <a:pt x="1407427" y="192684"/>
                  </a:lnTo>
                  <a:lnTo>
                    <a:pt x="1407478" y="192684"/>
                  </a:lnTo>
                  <a:lnTo>
                    <a:pt x="1407478" y="191986"/>
                  </a:lnTo>
                  <a:lnTo>
                    <a:pt x="1407478" y="192684"/>
                  </a:lnTo>
                  <a:lnTo>
                    <a:pt x="1407478" y="191986"/>
                  </a:lnTo>
                  <a:lnTo>
                    <a:pt x="1407529" y="191986"/>
                  </a:lnTo>
                  <a:lnTo>
                    <a:pt x="1407529" y="189268"/>
                  </a:lnTo>
                  <a:lnTo>
                    <a:pt x="1407529" y="189954"/>
                  </a:lnTo>
                  <a:lnTo>
                    <a:pt x="1407529" y="189268"/>
                  </a:lnTo>
                  <a:lnTo>
                    <a:pt x="1407618" y="189268"/>
                  </a:lnTo>
                  <a:lnTo>
                    <a:pt x="1407618" y="187922"/>
                  </a:lnTo>
                  <a:lnTo>
                    <a:pt x="1407618" y="189268"/>
                  </a:lnTo>
                  <a:lnTo>
                    <a:pt x="1407618" y="188620"/>
                  </a:lnTo>
                  <a:lnTo>
                    <a:pt x="1407669" y="188620"/>
                  </a:lnTo>
                  <a:lnTo>
                    <a:pt x="1407669" y="187223"/>
                  </a:lnTo>
                  <a:lnTo>
                    <a:pt x="1407669" y="189954"/>
                  </a:lnTo>
                  <a:lnTo>
                    <a:pt x="1407669" y="189268"/>
                  </a:lnTo>
                  <a:lnTo>
                    <a:pt x="1407669" y="189954"/>
                  </a:lnTo>
                  <a:lnTo>
                    <a:pt x="1407669" y="189268"/>
                  </a:lnTo>
                  <a:lnTo>
                    <a:pt x="1407719" y="189268"/>
                  </a:lnTo>
                  <a:lnTo>
                    <a:pt x="1407719" y="188620"/>
                  </a:lnTo>
                  <a:lnTo>
                    <a:pt x="1407719" y="189268"/>
                  </a:lnTo>
                  <a:lnTo>
                    <a:pt x="1407719" y="188620"/>
                  </a:lnTo>
                  <a:lnTo>
                    <a:pt x="1407719" y="189268"/>
                  </a:lnTo>
                  <a:lnTo>
                    <a:pt x="1407719" y="188620"/>
                  </a:lnTo>
                  <a:lnTo>
                    <a:pt x="1407719" y="189268"/>
                  </a:lnTo>
                  <a:lnTo>
                    <a:pt x="1407770" y="189268"/>
                  </a:lnTo>
                  <a:lnTo>
                    <a:pt x="1407770" y="187922"/>
                  </a:lnTo>
                  <a:lnTo>
                    <a:pt x="1407770" y="188620"/>
                  </a:lnTo>
                  <a:lnTo>
                    <a:pt x="1407872" y="188620"/>
                  </a:lnTo>
                  <a:lnTo>
                    <a:pt x="1407872" y="187922"/>
                  </a:lnTo>
                  <a:lnTo>
                    <a:pt x="1407872" y="188620"/>
                  </a:lnTo>
                  <a:lnTo>
                    <a:pt x="1407872" y="187223"/>
                  </a:lnTo>
                  <a:lnTo>
                    <a:pt x="1407922" y="187223"/>
                  </a:lnTo>
                  <a:lnTo>
                    <a:pt x="1407922" y="187922"/>
                  </a:lnTo>
                  <a:lnTo>
                    <a:pt x="1407922" y="187223"/>
                  </a:lnTo>
                  <a:lnTo>
                    <a:pt x="1407973" y="187223"/>
                  </a:lnTo>
                  <a:lnTo>
                    <a:pt x="1407973" y="185890"/>
                  </a:lnTo>
                  <a:lnTo>
                    <a:pt x="1408075" y="185191"/>
                  </a:lnTo>
                  <a:lnTo>
                    <a:pt x="1408075" y="182461"/>
                  </a:lnTo>
                  <a:lnTo>
                    <a:pt x="1408113" y="183807"/>
                  </a:lnTo>
                  <a:lnTo>
                    <a:pt x="1408113" y="182461"/>
                  </a:lnTo>
                  <a:lnTo>
                    <a:pt x="1408113" y="185191"/>
                  </a:lnTo>
                  <a:lnTo>
                    <a:pt x="1408113" y="183807"/>
                  </a:lnTo>
                  <a:lnTo>
                    <a:pt x="1408164" y="183807"/>
                  </a:lnTo>
                  <a:lnTo>
                    <a:pt x="1408164" y="185191"/>
                  </a:lnTo>
                  <a:lnTo>
                    <a:pt x="1408164" y="184505"/>
                  </a:lnTo>
                  <a:lnTo>
                    <a:pt x="1408164" y="185890"/>
                  </a:lnTo>
                  <a:lnTo>
                    <a:pt x="1408164" y="184505"/>
                  </a:lnTo>
                  <a:lnTo>
                    <a:pt x="1408164" y="185890"/>
                  </a:lnTo>
                  <a:lnTo>
                    <a:pt x="1408164" y="185191"/>
                  </a:lnTo>
                  <a:lnTo>
                    <a:pt x="1408215" y="185191"/>
                  </a:lnTo>
                  <a:lnTo>
                    <a:pt x="1408215" y="185890"/>
                  </a:lnTo>
                  <a:lnTo>
                    <a:pt x="1408215" y="185191"/>
                  </a:lnTo>
                  <a:lnTo>
                    <a:pt x="1408215" y="185890"/>
                  </a:lnTo>
                  <a:lnTo>
                    <a:pt x="1408215" y="185191"/>
                  </a:lnTo>
                  <a:lnTo>
                    <a:pt x="1408316" y="185890"/>
                  </a:lnTo>
                  <a:lnTo>
                    <a:pt x="1408316" y="185191"/>
                  </a:lnTo>
                  <a:lnTo>
                    <a:pt x="1408316" y="185890"/>
                  </a:lnTo>
                  <a:lnTo>
                    <a:pt x="1408316" y="185191"/>
                  </a:lnTo>
                  <a:lnTo>
                    <a:pt x="1408367" y="185191"/>
                  </a:lnTo>
                  <a:lnTo>
                    <a:pt x="1408367" y="185890"/>
                  </a:lnTo>
                  <a:lnTo>
                    <a:pt x="1408367" y="184505"/>
                  </a:lnTo>
                  <a:lnTo>
                    <a:pt x="1408367" y="185191"/>
                  </a:lnTo>
                  <a:lnTo>
                    <a:pt x="1408418" y="184505"/>
                  </a:lnTo>
                  <a:lnTo>
                    <a:pt x="1408418" y="183807"/>
                  </a:lnTo>
                  <a:lnTo>
                    <a:pt x="1408519" y="183807"/>
                  </a:lnTo>
                  <a:lnTo>
                    <a:pt x="1408519" y="184505"/>
                  </a:lnTo>
                  <a:lnTo>
                    <a:pt x="1408519" y="181775"/>
                  </a:lnTo>
                  <a:lnTo>
                    <a:pt x="1408570" y="181775"/>
                  </a:lnTo>
                  <a:lnTo>
                    <a:pt x="1408570" y="180327"/>
                  </a:lnTo>
                  <a:lnTo>
                    <a:pt x="1408570" y="181026"/>
                  </a:lnTo>
                  <a:lnTo>
                    <a:pt x="1408570" y="178295"/>
                  </a:lnTo>
                  <a:lnTo>
                    <a:pt x="1408621" y="179743"/>
                  </a:lnTo>
                  <a:lnTo>
                    <a:pt x="1408621" y="180327"/>
                  </a:lnTo>
                  <a:lnTo>
                    <a:pt x="1408621" y="178295"/>
                  </a:lnTo>
                  <a:lnTo>
                    <a:pt x="1408621" y="179743"/>
                  </a:lnTo>
                  <a:lnTo>
                    <a:pt x="1408659" y="180327"/>
                  </a:lnTo>
                  <a:lnTo>
                    <a:pt x="1408659" y="181026"/>
                  </a:lnTo>
                  <a:lnTo>
                    <a:pt x="1408659" y="180327"/>
                  </a:lnTo>
                  <a:lnTo>
                    <a:pt x="1408761" y="181026"/>
                  </a:lnTo>
                  <a:lnTo>
                    <a:pt x="1408761" y="180327"/>
                  </a:lnTo>
                  <a:lnTo>
                    <a:pt x="1408761" y="181026"/>
                  </a:lnTo>
                  <a:lnTo>
                    <a:pt x="1408761" y="180327"/>
                  </a:lnTo>
                  <a:lnTo>
                    <a:pt x="1408761" y="181026"/>
                  </a:lnTo>
                  <a:lnTo>
                    <a:pt x="1408812" y="181026"/>
                  </a:lnTo>
                  <a:lnTo>
                    <a:pt x="1408812" y="180327"/>
                  </a:lnTo>
                  <a:lnTo>
                    <a:pt x="1408812" y="181026"/>
                  </a:lnTo>
                  <a:lnTo>
                    <a:pt x="1408862" y="181775"/>
                  </a:lnTo>
                  <a:lnTo>
                    <a:pt x="1408862" y="181026"/>
                  </a:lnTo>
                  <a:lnTo>
                    <a:pt x="1408862" y="181775"/>
                  </a:lnTo>
                  <a:lnTo>
                    <a:pt x="1408862" y="181026"/>
                  </a:lnTo>
                  <a:lnTo>
                    <a:pt x="1408862" y="181775"/>
                  </a:lnTo>
                  <a:lnTo>
                    <a:pt x="1408862" y="181026"/>
                  </a:lnTo>
                  <a:lnTo>
                    <a:pt x="1408862" y="181775"/>
                  </a:lnTo>
                  <a:lnTo>
                    <a:pt x="1408862" y="181026"/>
                  </a:lnTo>
                  <a:lnTo>
                    <a:pt x="1408964" y="181026"/>
                  </a:lnTo>
                  <a:lnTo>
                    <a:pt x="1408964" y="181775"/>
                  </a:lnTo>
                  <a:lnTo>
                    <a:pt x="1408964" y="180327"/>
                  </a:lnTo>
                  <a:lnTo>
                    <a:pt x="1408964" y="181026"/>
                  </a:lnTo>
                  <a:lnTo>
                    <a:pt x="1408964" y="180327"/>
                  </a:lnTo>
                  <a:lnTo>
                    <a:pt x="1408964" y="181026"/>
                  </a:lnTo>
                  <a:lnTo>
                    <a:pt x="1408964" y="180327"/>
                  </a:lnTo>
                  <a:lnTo>
                    <a:pt x="1408964" y="181026"/>
                  </a:lnTo>
                  <a:lnTo>
                    <a:pt x="1408964" y="180327"/>
                  </a:lnTo>
                  <a:lnTo>
                    <a:pt x="1408964" y="181026"/>
                  </a:lnTo>
                  <a:lnTo>
                    <a:pt x="1409015" y="180327"/>
                  </a:lnTo>
                  <a:lnTo>
                    <a:pt x="1409015" y="179743"/>
                  </a:lnTo>
                  <a:lnTo>
                    <a:pt x="1409015" y="180327"/>
                  </a:lnTo>
                  <a:lnTo>
                    <a:pt x="1409015" y="179743"/>
                  </a:lnTo>
                  <a:lnTo>
                    <a:pt x="1409015" y="180327"/>
                  </a:lnTo>
                  <a:lnTo>
                    <a:pt x="1409015" y="178295"/>
                  </a:lnTo>
                  <a:lnTo>
                    <a:pt x="1409065" y="178295"/>
                  </a:lnTo>
                  <a:lnTo>
                    <a:pt x="1409065" y="177012"/>
                  </a:lnTo>
                  <a:lnTo>
                    <a:pt x="1409065" y="177609"/>
                  </a:lnTo>
                  <a:lnTo>
                    <a:pt x="1409065" y="176263"/>
                  </a:lnTo>
                  <a:lnTo>
                    <a:pt x="1409065" y="177012"/>
                  </a:lnTo>
                  <a:lnTo>
                    <a:pt x="1409065" y="176263"/>
                  </a:lnTo>
                  <a:lnTo>
                    <a:pt x="1409116" y="177012"/>
                  </a:lnTo>
                  <a:lnTo>
                    <a:pt x="1409116" y="177609"/>
                  </a:lnTo>
                  <a:lnTo>
                    <a:pt x="1409116" y="176263"/>
                  </a:lnTo>
                  <a:lnTo>
                    <a:pt x="1409116" y="178295"/>
                  </a:lnTo>
                  <a:lnTo>
                    <a:pt x="1409205" y="179743"/>
                  </a:lnTo>
                  <a:lnTo>
                    <a:pt x="1409205" y="177609"/>
                  </a:lnTo>
                  <a:lnTo>
                    <a:pt x="1409205" y="180327"/>
                  </a:lnTo>
                  <a:lnTo>
                    <a:pt x="1409256" y="179743"/>
                  </a:lnTo>
                  <a:lnTo>
                    <a:pt x="1409256" y="180327"/>
                  </a:lnTo>
                  <a:lnTo>
                    <a:pt x="1409256" y="177609"/>
                  </a:lnTo>
                  <a:lnTo>
                    <a:pt x="1409256" y="178295"/>
                  </a:lnTo>
                  <a:lnTo>
                    <a:pt x="1409307" y="178295"/>
                  </a:lnTo>
                  <a:lnTo>
                    <a:pt x="1409307" y="177609"/>
                  </a:lnTo>
                  <a:lnTo>
                    <a:pt x="1409307" y="179743"/>
                  </a:lnTo>
                  <a:lnTo>
                    <a:pt x="1409307" y="178295"/>
                  </a:lnTo>
                  <a:lnTo>
                    <a:pt x="1409307" y="179743"/>
                  </a:lnTo>
                  <a:lnTo>
                    <a:pt x="1409307" y="178295"/>
                  </a:lnTo>
                  <a:lnTo>
                    <a:pt x="1409307" y="179743"/>
                  </a:lnTo>
                  <a:lnTo>
                    <a:pt x="1409358" y="179743"/>
                  </a:lnTo>
                  <a:lnTo>
                    <a:pt x="1409358" y="178295"/>
                  </a:lnTo>
                  <a:lnTo>
                    <a:pt x="1409358" y="179743"/>
                  </a:lnTo>
                  <a:lnTo>
                    <a:pt x="1409358" y="178295"/>
                  </a:lnTo>
                  <a:lnTo>
                    <a:pt x="1409358" y="179743"/>
                  </a:lnTo>
                  <a:lnTo>
                    <a:pt x="1409358" y="178295"/>
                  </a:lnTo>
                  <a:lnTo>
                    <a:pt x="1409358" y="179743"/>
                  </a:lnTo>
                  <a:lnTo>
                    <a:pt x="1409358" y="178295"/>
                  </a:lnTo>
                  <a:lnTo>
                    <a:pt x="1409459" y="178295"/>
                  </a:lnTo>
                  <a:lnTo>
                    <a:pt x="1409459" y="179743"/>
                  </a:lnTo>
                  <a:lnTo>
                    <a:pt x="1409459" y="178295"/>
                  </a:lnTo>
                  <a:lnTo>
                    <a:pt x="1409459" y="179743"/>
                  </a:lnTo>
                  <a:lnTo>
                    <a:pt x="1409459" y="178295"/>
                  </a:lnTo>
                  <a:lnTo>
                    <a:pt x="1409510" y="178295"/>
                  </a:lnTo>
                  <a:lnTo>
                    <a:pt x="1409510" y="177012"/>
                  </a:lnTo>
                  <a:lnTo>
                    <a:pt x="1409510" y="177609"/>
                  </a:lnTo>
                  <a:lnTo>
                    <a:pt x="1409510" y="177012"/>
                  </a:lnTo>
                  <a:lnTo>
                    <a:pt x="1409510" y="177609"/>
                  </a:lnTo>
                  <a:lnTo>
                    <a:pt x="1409510" y="177012"/>
                  </a:lnTo>
                  <a:lnTo>
                    <a:pt x="1409561" y="176263"/>
                  </a:lnTo>
                  <a:lnTo>
                    <a:pt x="1409561" y="173533"/>
                  </a:lnTo>
                  <a:lnTo>
                    <a:pt x="1409662" y="172847"/>
                  </a:lnTo>
                  <a:lnTo>
                    <a:pt x="1409662" y="174282"/>
                  </a:lnTo>
                  <a:lnTo>
                    <a:pt x="1409662" y="173533"/>
                  </a:lnTo>
                  <a:lnTo>
                    <a:pt x="1409662" y="174282"/>
                  </a:lnTo>
                  <a:lnTo>
                    <a:pt x="1409662" y="172148"/>
                  </a:lnTo>
                  <a:lnTo>
                    <a:pt x="1409662" y="172847"/>
                  </a:lnTo>
                  <a:lnTo>
                    <a:pt x="1409662" y="172148"/>
                  </a:lnTo>
                  <a:lnTo>
                    <a:pt x="1409662" y="172847"/>
                  </a:lnTo>
                  <a:lnTo>
                    <a:pt x="1409700" y="172847"/>
                  </a:lnTo>
                  <a:lnTo>
                    <a:pt x="1409700" y="174282"/>
                  </a:lnTo>
                  <a:lnTo>
                    <a:pt x="1409700" y="172847"/>
                  </a:lnTo>
                  <a:lnTo>
                    <a:pt x="1409700" y="173533"/>
                  </a:lnTo>
                  <a:lnTo>
                    <a:pt x="1409751" y="173533"/>
                  </a:lnTo>
                  <a:lnTo>
                    <a:pt x="1409751" y="174282"/>
                  </a:lnTo>
                  <a:lnTo>
                    <a:pt x="1409751" y="173533"/>
                  </a:lnTo>
                  <a:lnTo>
                    <a:pt x="1409802" y="173533"/>
                  </a:lnTo>
                  <a:lnTo>
                    <a:pt x="1409802" y="174282"/>
                  </a:lnTo>
                  <a:lnTo>
                    <a:pt x="1409802" y="173533"/>
                  </a:lnTo>
                  <a:lnTo>
                    <a:pt x="1409802" y="174879"/>
                  </a:lnTo>
                  <a:lnTo>
                    <a:pt x="1409802" y="174282"/>
                  </a:lnTo>
                  <a:lnTo>
                    <a:pt x="1409904" y="174282"/>
                  </a:lnTo>
                  <a:lnTo>
                    <a:pt x="1409904" y="174879"/>
                  </a:lnTo>
                  <a:lnTo>
                    <a:pt x="1409955" y="174282"/>
                  </a:lnTo>
                  <a:lnTo>
                    <a:pt x="1409955" y="174879"/>
                  </a:lnTo>
                  <a:lnTo>
                    <a:pt x="1410005" y="174879"/>
                  </a:lnTo>
                  <a:lnTo>
                    <a:pt x="1410005" y="173533"/>
                  </a:lnTo>
                  <a:lnTo>
                    <a:pt x="1410107" y="173533"/>
                  </a:lnTo>
                  <a:lnTo>
                    <a:pt x="1410107" y="172148"/>
                  </a:lnTo>
                  <a:lnTo>
                    <a:pt x="1410107" y="172847"/>
                  </a:lnTo>
                  <a:lnTo>
                    <a:pt x="1410107" y="172148"/>
                  </a:lnTo>
                  <a:lnTo>
                    <a:pt x="1410107" y="173533"/>
                  </a:lnTo>
                  <a:lnTo>
                    <a:pt x="1410158" y="173533"/>
                  </a:lnTo>
                  <a:lnTo>
                    <a:pt x="1410158" y="172148"/>
                  </a:lnTo>
                  <a:lnTo>
                    <a:pt x="1410158" y="174282"/>
                  </a:lnTo>
                  <a:lnTo>
                    <a:pt x="1410209" y="174282"/>
                  </a:lnTo>
                  <a:lnTo>
                    <a:pt x="1410209" y="173533"/>
                  </a:lnTo>
                  <a:lnTo>
                    <a:pt x="1410209" y="174282"/>
                  </a:lnTo>
                  <a:lnTo>
                    <a:pt x="1410209" y="173533"/>
                  </a:lnTo>
                  <a:lnTo>
                    <a:pt x="1410209" y="174879"/>
                  </a:lnTo>
                  <a:lnTo>
                    <a:pt x="1410209" y="174282"/>
                  </a:lnTo>
                  <a:lnTo>
                    <a:pt x="1410247" y="174282"/>
                  </a:lnTo>
                  <a:lnTo>
                    <a:pt x="1410247" y="173533"/>
                  </a:lnTo>
                  <a:lnTo>
                    <a:pt x="1410247" y="174282"/>
                  </a:lnTo>
                  <a:lnTo>
                    <a:pt x="1410247" y="173533"/>
                  </a:lnTo>
                  <a:lnTo>
                    <a:pt x="1410348" y="173533"/>
                  </a:lnTo>
                  <a:lnTo>
                    <a:pt x="1410348" y="174282"/>
                  </a:lnTo>
                  <a:lnTo>
                    <a:pt x="1410348" y="173533"/>
                  </a:lnTo>
                  <a:lnTo>
                    <a:pt x="1410348" y="174282"/>
                  </a:lnTo>
                  <a:lnTo>
                    <a:pt x="1410348" y="173533"/>
                  </a:lnTo>
                  <a:lnTo>
                    <a:pt x="1410348" y="174282"/>
                  </a:lnTo>
                  <a:lnTo>
                    <a:pt x="1410399" y="174282"/>
                  </a:lnTo>
                  <a:lnTo>
                    <a:pt x="1410399" y="173533"/>
                  </a:lnTo>
                  <a:lnTo>
                    <a:pt x="1410399" y="174282"/>
                  </a:lnTo>
                  <a:lnTo>
                    <a:pt x="1410399" y="173533"/>
                  </a:lnTo>
                  <a:lnTo>
                    <a:pt x="1410399" y="174282"/>
                  </a:lnTo>
                  <a:lnTo>
                    <a:pt x="1410399" y="173533"/>
                  </a:lnTo>
                  <a:lnTo>
                    <a:pt x="1410450" y="173533"/>
                  </a:lnTo>
                  <a:lnTo>
                    <a:pt x="1410450" y="174879"/>
                  </a:lnTo>
                  <a:lnTo>
                    <a:pt x="1410450" y="173533"/>
                  </a:lnTo>
                  <a:lnTo>
                    <a:pt x="1410450" y="174282"/>
                  </a:lnTo>
                  <a:lnTo>
                    <a:pt x="1410450" y="173533"/>
                  </a:lnTo>
                  <a:lnTo>
                    <a:pt x="1410551" y="173533"/>
                  </a:lnTo>
                  <a:lnTo>
                    <a:pt x="1410551" y="172148"/>
                  </a:lnTo>
                  <a:lnTo>
                    <a:pt x="1410551" y="172847"/>
                  </a:lnTo>
                  <a:lnTo>
                    <a:pt x="1410602" y="172847"/>
                  </a:lnTo>
                  <a:lnTo>
                    <a:pt x="1410602" y="173533"/>
                  </a:lnTo>
                  <a:lnTo>
                    <a:pt x="1410602" y="172847"/>
                  </a:lnTo>
                  <a:lnTo>
                    <a:pt x="1410602" y="174282"/>
                  </a:lnTo>
                  <a:lnTo>
                    <a:pt x="1410653" y="174879"/>
                  </a:lnTo>
                  <a:lnTo>
                    <a:pt x="1410653" y="173533"/>
                  </a:lnTo>
                  <a:lnTo>
                    <a:pt x="1410653" y="174879"/>
                  </a:lnTo>
                  <a:lnTo>
                    <a:pt x="1410704" y="174879"/>
                  </a:lnTo>
                  <a:lnTo>
                    <a:pt x="1410704" y="173533"/>
                  </a:lnTo>
                  <a:lnTo>
                    <a:pt x="1410704" y="174282"/>
                  </a:lnTo>
                  <a:lnTo>
                    <a:pt x="1410793" y="174282"/>
                  </a:lnTo>
                  <a:lnTo>
                    <a:pt x="1410793" y="172847"/>
                  </a:lnTo>
                  <a:lnTo>
                    <a:pt x="1410793" y="173533"/>
                  </a:lnTo>
                  <a:lnTo>
                    <a:pt x="1410793" y="172847"/>
                  </a:lnTo>
                  <a:lnTo>
                    <a:pt x="1410793" y="173533"/>
                  </a:lnTo>
                  <a:lnTo>
                    <a:pt x="1410793" y="172847"/>
                  </a:lnTo>
                  <a:lnTo>
                    <a:pt x="1410844" y="172847"/>
                  </a:lnTo>
                  <a:lnTo>
                    <a:pt x="1410844" y="173533"/>
                  </a:lnTo>
                  <a:lnTo>
                    <a:pt x="1410844" y="172148"/>
                  </a:lnTo>
                  <a:lnTo>
                    <a:pt x="1410894" y="172847"/>
                  </a:lnTo>
                  <a:lnTo>
                    <a:pt x="1410894" y="170802"/>
                  </a:lnTo>
                  <a:lnTo>
                    <a:pt x="1410894" y="172148"/>
                  </a:lnTo>
                  <a:lnTo>
                    <a:pt x="1410945" y="172148"/>
                  </a:lnTo>
                  <a:lnTo>
                    <a:pt x="1410945" y="169418"/>
                  </a:lnTo>
                  <a:lnTo>
                    <a:pt x="1411047" y="169418"/>
                  </a:lnTo>
                  <a:lnTo>
                    <a:pt x="1411047" y="167386"/>
                  </a:lnTo>
                  <a:lnTo>
                    <a:pt x="1411047" y="170802"/>
                  </a:lnTo>
                  <a:lnTo>
                    <a:pt x="1411047" y="170116"/>
                  </a:lnTo>
                  <a:lnTo>
                    <a:pt x="1411047" y="170802"/>
                  </a:lnTo>
                  <a:lnTo>
                    <a:pt x="1411047" y="170116"/>
                  </a:lnTo>
                  <a:lnTo>
                    <a:pt x="1411097" y="170116"/>
                  </a:lnTo>
                  <a:lnTo>
                    <a:pt x="1411097" y="169418"/>
                  </a:lnTo>
                  <a:lnTo>
                    <a:pt x="1411097" y="172847"/>
                  </a:lnTo>
                  <a:lnTo>
                    <a:pt x="1411097" y="170802"/>
                  </a:lnTo>
                  <a:lnTo>
                    <a:pt x="1411148" y="172148"/>
                  </a:lnTo>
                  <a:lnTo>
                    <a:pt x="1411148" y="173533"/>
                  </a:lnTo>
                  <a:lnTo>
                    <a:pt x="1411148" y="172847"/>
                  </a:lnTo>
                  <a:lnTo>
                    <a:pt x="1411250" y="172847"/>
                  </a:lnTo>
                  <a:lnTo>
                    <a:pt x="1411250" y="173533"/>
                  </a:lnTo>
                  <a:lnTo>
                    <a:pt x="1411250" y="172847"/>
                  </a:lnTo>
                  <a:lnTo>
                    <a:pt x="1411250" y="173533"/>
                  </a:lnTo>
                  <a:lnTo>
                    <a:pt x="1411250" y="172847"/>
                  </a:lnTo>
                  <a:lnTo>
                    <a:pt x="1411250" y="173533"/>
                  </a:lnTo>
                  <a:lnTo>
                    <a:pt x="1411250" y="172847"/>
                  </a:lnTo>
                  <a:lnTo>
                    <a:pt x="1411250" y="173533"/>
                  </a:lnTo>
                  <a:lnTo>
                    <a:pt x="1411288" y="173533"/>
                  </a:lnTo>
                  <a:lnTo>
                    <a:pt x="1411288" y="172847"/>
                  </a:lnTo>
                  <a:lnTo>
                    <a:pt x="1411288" y="173533"/>
                  </a:lnTo>
                  <a:lnTo>
                    <a:pt x="1411288" y="172847"/>
                  </a:lnTo>
                  <a:lnTo>
                    <a:pt x="1411288" y="173533"/>
                  </a:lnTo>
                  <a:lnTo>
                    <a:pt x="1411339" y="172847"/>
                  </a:lnTo>
                  <a:lnTo>
                    <a:pt x="1411339" y="172148"/>
                  </a:lnTo>
                  <a:lnTo>
                    <a:pt x="1411339" y="172847"/>
                  </a:lnTo>
                  <a:lnTo>
                    <a:pt x="1411339" y="172148"/>
                  </a:lnTo>
                  <a:lnTo>
                    <a:pt x="1411390" y="172148"/>
                  </a:lnTo>
                  <a:lnTo>
                    <a:pt x="1411390" y="170116"/>
                  </a:lnTo>
                  <a:lnTo>
                    <a:pt x="1411491" y="170116"/>
                  </a:lnTo>
                  <a:lnTo>
                    <a:pt x="1411491" y="167386"/>
                  </a:lnTo>
                  <a:lnTo>
                    <a:pt x="1411542" y="167386"/>
                  </a:lnTo>
                  <a:lnTo>
                    <a:pt x="1411542" y="169418"/>
                  </a:lnTo>
                  <a:lnTo>
                    <a:pt x="1411542" y="167386"/>
                  </a:lnTo>
                  <a:lnTo>
                    <a:pt x="1411542" y="168770"/>
                  </a:lnTo>
                  <a:lnTo>
                    <a:pt x="1411593" y="169418"/>
                  </a:lnTo>
                  <a:lnTo>
                    <a:pt x="1411593" y="170802"/>
                  </a:lnTo>
                  <a:lnTo>
                    <a:pt x="1411593" y="169418"/>
                  </a:lnTo>
                  <a:lnTo>
                    <a:pt x="1411593" y="170116"/>
                  </a:lnTo>
                  <a:lnTo>
                    <a:pt x="1411745" y="170116"/>
                  </a:lnTo>
                  <a:lnTo>
                    <a:pt x="1411745" y="170802"/>
                  </a:lnTo>
                  <a:lnTo>
                    <a:pt x="1411745" y="170116"/>
                  </a:lnTo>
                  <a:lnTo>
                    <a:pt x="1411745" y="170802"/>
                  </a:lnTo>
                  <a:lnTo>
                    <a:pt x="1411745" y="170116"/>
                  </a:lnTo>
                  <a:lnTo>
                    <a:pt x="1411745" y="170802"/>
                  </a:lnTo>
                  <a:lnTo>
                    <a:pt x="1411796" y="170116"/>
                  </a:lnTo>
                  <a:lnTo>
                    <a:pt x="1411796" y="172148"/>
                  </a:lnTo>
                  <a:lnTo>
                    <a:pt x="1411796" y="170802"/>
                  </a:lnTo>
                  <a:lnTo>
                    <a:pt x="1411796" y="172148"/>
                  </a:lnTo>
                  <a:lnTo>
                    <a:pt x="1411796" y="170802"/>
                  </a:lnTo>
                  <a:lnTo>
                    <a:pt x="1411834" y="170802"/>
                  </a:lnTo>
                  <a:lnTo>
                    <a:pt x="1411834" y="172148"/>
                  </a:lnTo>
                  <a:lnTo>
                    <a:pt x="1411834" y="170116"/>
                  </a:lnTo>
                  <a:lnTo>
                    <a:pt x="1411834" y="170802"/>
                  </a:lnTo>
                  <a:lnTo>
                    <a:pt x="1411834" y="170116"/>
                  </a:lnTo>
                  <a:lnTo>
                    <a:pt x="1411936" y="170802"/>
                  </a:lnTo>
                  <a:lnTo>
                    <a:pt x="1411936" y="169418"/>
                  </a:lnTo>
                  <a:lnTo>
                    <a:pt x="1411936" y="170116"/>
                  </a:lnTo>
                  <a:lnTo>
                    <a:pt x="1411936" y="168770"/>
                  </a:lnTo>
                  <a:lnTo>
                    <a:pt x="1411987" y="168770"/>
                  </a:lnTo>
                  <a:lnTo>
                    <a:pt x="1411987" y="163271"/>
                  </a:lnTo>
                  <a:lnTo>
                    <a:pt x="1412037" y="164655"/>
                  </a:lnTo>
                  <a:lnTo>
                    <a:pt x="1412037" y="163271"/>
                  </a:lnTo>
                  <a:lnTo>
                    <a:pt x="1412037" y="166687"/>
                  </a:lnTo>
                  <a:lnTo>
                    <a:pt x="1412037" y="163271"/>
                  </a:lnTo>
                  <a:lnTo>
                    <a:pt x="1412037" y="164655"/>
                  </a:lnTo>
                  <a:lnTo>
                    <a:pt x="1412037" y="163271"/>
                  </a:lnTo>
                  <a:lnTo>
                    <a:pt x="1412037" y="165354"/>
                  </a:lnTo>
                  <a:lnTo>
                    <a:pt x="1412139" y="166040"/>
                  </a:lnTo>
                  <a:lnTo>
                    <a:pt x="1412139" y="167386"/>
                  </a:lnTo>
                  <a:lnTo>
                    <a:pt x="1412139" y="166687"/>
                  </a:lnTo>
                  <a:lnTo>
                    <a:pt x="1412139" y="167386"/>
                  </a:lnTo>
                  <a:lnTo>
                    <a:pt x="1412139" y="166040"/>
                  </a:lnTo>
                  <a:lnTo>
                    <a:pt x="1412139" y="166687"/>
                  </a:lnTo>
                  <a:lnTo>
                    <a:pt x="1412139" y="166040"/>
                  </a:lnTo>
                  <a:lnTo>
                    <a:pt x="1412139" y="167386"/>
                  </a:lnTo>
                  <a:lnTo>
                    <a:pt x="1412190" y="166687"/>
                  </a:lnTo>
                  <a:lnTo>
                    <a:pt x="1412190" y="167386"/>
                  </a:lnTo>
                  <a:lnTo>
                    <a:pt x="1412190" y="166687"/>
                  </a:lnTo>
                  <a:lnTo>
                    <a:pt x="1412190" y="167386"/>
                  </a:lnTo>
                  <a:lnTo>
                    <a:pt x="1412190" y="166687"/>
                  </a:lnTo>
                  <a:lnTo>
                    <a:pt x="1412190" y="167386"/>
                  </a:lnTo>
                  <a:lnTo>
                    <a:pt x="1412240" y="168770"/>
                  </a:lnTo>
                  <a:lnTo>
                    <a:pt x="1412240" y="167386"/>
                  </a:lnTo>
                  <a:lnTo>
                    <a:pt x="1412240" y="168770"/>
                  </a:lnTo>
                  <a:lnTo>
                    <a:pt x="1412291" y="168770"/>
                  </a:lnTo>
                  <a:lnTo>
                    <a:pt x="1412291" y="169418"/>
                  </a:lnTo>
                  <a:lnTo>
                    <a:pt x="1412291" y="168770"/>
                  </a:lnTo>
                  <a:lnTo>
                    <a:pt x="1412380" y="169418"/>
                  </a:lnTo>
                  <a:lnTo>
                    <a:pt x="1412380" y="168770"/>
                  </a:lnTo>
                  <a:lnTo>
                    <a:pt x="1412380" y="169418"/>
                  </a:lnTo>
                  <a:lnTo>
                    <a:pt x="1412380" y="168770"/>
                  </a:lnTo>
                  <a:lnTo>
                    <a:pt x="1412431" y="169418"/>
                  </a:lnTo>
                  <a:lnTo>
                    <a:pt x="1412431" y="166687"/>
                  </a:lnTo>
                  <a:lnTo>
                    <a:pt x="1412431" y="167386"/>
                  </a:lnTo>
                  <a:lnTo>
                    <a:pt x="1412431" y="166687"/>
                  </a:lnTo>
                  <a:lnTo>
                    <a:pt x="1412482" y="166687"/>
                  </a:lnTo>
                  <a:lnTo>
                    <a:pt x="1412482" y="163271"/>
                  </a:lnTo>
                  <a:lnTo>
                    <a:pt x="1412482" y="165354"/>
                  </a:lnTo>
                  <a:lnTo>
                    <a:pt x="1412533" y="166040"/>
                  </a:lnTo>
                  <a:lnTo>
                    <a:pt x="1412533" y="162623"/>
                  </a:lnTo>
                  <a:lnTo>
                    <a:pt x="1412533" y="166687"/>
                  </a:lnTo>
                  <a:lnTo>
                    <a:pt x="1412533" y="166040"/>
                  </a:lnTo>
                  <a:lnTo>
                    <a:pt x="1412634" y="166687"/>
                  </a:lnTo>
                  <a:lnTo>
                    <a:pt x="1412634" y="165354"/>
                  </a:lnTo>
                  <a:lnTo>
                    <a:pt x="1412634" y="166687"/>
                  </a:lnTo>
                  <a:lnTo>
                    <a:pt x="1412634" y="166040"/>
                  </a:lnTo>
                  <a:lnTo>
                    <a:pt x="1412685" y="166040"/>
                  </a:lnTo>
                  <a:lnTo>
                    <a:pt x="1412685" y="164655"/>
                  </a:lnTo>
                  <a:lnTo>
                    <a:pt x="1412685" y="166040"/>
                  </a:lnTo>
                  <a:lnTo>
                    <a:pt x="1412685" y="164655"/>
                  </a:lnTo>
                  <a:lnTo>
                    <a:pt x="1412736" y="164655"/>
                  </a:lnTo>
                  <a:lnTo>
                    <a:pt x="1412736" y="163271"/>
                  </a:lnTo>
                  <a:lnTo>
                    <a:pt x="1412736" y="164655"/>
                  </a:lnTo>
                  <a:lnTo>
                    <a:pt x="1412837" y="164655"/>
                  </a:lnTo>
                  <a:lnTo>
                    <a:pt x="1412837" y="166687"/>
                  </a:lnTo>
                  <a:lnTo>
                    <a:pt x="1412837" y="166040"/>
                  </a:lnTo>
                  <a:lnTo>
                    <a:pt x="1412875" y="166040"/>
                  </a:lnTo>
                  <a:lnTo>
                    <a:pt x="1412875" y="166687"/>
                  </a:lnTo>
                  <a:lnTo>
                    <a:pt x="1412875" y="166040"/>
                  </a:lnTo>
                  <a:lnTo>
                    <a:pt x="1412926" y="166040"/>
                  </a:lnTo>
                  <a:lnTo>
                    <a:pt x="1412926" y="165354"/>
                  </a:lnTo>
                  <a:lnTo>
                    <a:pt x="1412926" y="166040"/>
                  </a:lnTo>
                  <a:lnTo>
                    <a:pt x="1412926" y="163271"/>
                  </a:lnTo>
                  <a:lnTo>
                    <a:pt x="1412977" y="162623"/>
                  </a:lnTo>
                  <a:lnTo>
                    <a:pt x="1412977" y="165354"/>
                  </a:lnTo>
                  <a:lnTo>
                    <a:pt x="1412977" y="162623"/>
                  </a:lnTo>
                  <a:lnTo>
                    <a:pt x="1413079" y="162623"/>
                  </a:lnTo>
                  <a:lnTo>
                    <a:pt x="1413079" y="167386"/>
                  </a:lnTo>
                  <a:lnTo>
                    <a:pt x="1413079" y="166040"/>
                  </a:lnTo>
                  <a:lnTo>
                    <a:pt x="1413079" y="166687"/>
                  </a:lnTo>
                  <a:lnTo>
                    <a:pt x="1413079" y="164655"/>
                  </a:lnTo>
                  <a:lnTo>
                    <a:pt x="1413079" y="165354"/>
                  </a:lnTo>
                  <a:lnTo>
                    <a:pt x="1413130" y="166040"/>
                  </a:lnTo>
                  <a:lnTo>
                    <a:pt x="1413130" y="167386"/>
                  </a:lnTo>
                  <a:lnTo>
                    <a:pt x="1413130" y="166040"/>
                  </a:lnTo>
                  <a:lnTo>
                    <a:pt x="1413130" y="166687"/>
                  </a:lnTo>
                  <a:lnTo>
                    <a:pt x="1413130" y="166040"/>
                  </a:lnTo>
                  <a:lnTo>
                    <a:pt x="1413180" y="166687"/>
                  </a:lnTo>
                  <a:lnTo>
                    <a:pt x="1413180" y="167386"/>
                  </a:lnTo>
                  <a:lnTo>
                    <a:pt x="1413180" y="166040"/>
                  </a:lnTo>
                  <a:lnTo>
                    <a:pt x="1413180" y="166687"/>
                  </a:lnTo>
                  <a:lnTo>
                    <a:pt x="1413180" y="166040"/>
                  </a:lnTo>
                  <a:lnTo>
                    <a:pt x="1413180" y="166687"/>
                  </a:lnTo>
                  <a:lnTo>
                    <a:pt x="1413282" y="166687"/>
                  </a:lnTo>
                  <a:lnTo>
                    <a:pt x="1413282" y="166040"/>
                  </a:lnTo>
                  <a:lnTo>
                    <a:pt x="1413282" y="166687"/>
                  </a:lnTo>
                  <a:lnTo>
                    <a:pt x="1413282" y="166040"/>
                  </a:lnTo>
                  <a:lnTo>
                    <a:pt x="1413282" y="166687"/>
                  </a:lnTo>
                  <a:lnTo>
                    <a:pt x="1413282" y="166040"/>
                  </a:lnTo>
                  <a:lnTo>
                    <a:pt x="1413282" y="166687"/>
                  </a:lnTo>
                  <a:lnTo>
                    <a:pt x="1413333" y="166040"/>
                  </a:lnTo>
                  <a:lnTo>
                    <a:pt x="1413333" y="166687"/>
                  </a:lnTo>
                  <a:lnTo>
                    <a:pt x="1413333" y="166040"/>
                  </a:lnTo>
                  <a:lnTo>
                    <a:pt x="1413333" y="166687"/>
                  </a:lnTo>
                  <a:lnTo>
                    <a:pt x="1413333" y="166040"/>
                  </a:lnTo>
                  <a:lnTo>
                    <a:pt x="1413333" y="166687"/>
                  </a:lnTo>
                  <a:lnTo>
                    <a:pt x="1413333" y="166040"/>
                  </a:lnTo>
                  <a:lnTo>
                    <a:pt x="1413333" y="166687"/>
                  </a:lnTo>
                  <a:lnTo>
                    <a:pt x="1413333" y="166040"/>
                  </a:lnTo>
                  <a:lnTo>
                    <a:pt x="1413333" y="166687"/>
                  </a:lnTo>
                  <a:lnTo>
                    <a:pt x="1413333" y="166040"/>
                  </a:lnTo>
                  <a:lnTo>
                    <a:pt x="1413384" y="166040"/>
                  </a:lnTo>
                  <a:lnTo>
                    <a:pt x="1413384" y="165354"/>
                  </a:lnTo>
                  <a:lnTo>
                    <a:pt x="1413384" y="166040"/>
                  </a:lnTo>
                  <a:lnTo>
                    <a:pt x="1413384" y="162623"/>
                  </a:lnTo>
                  <a:lnTo>
                    <a:pt x="1413422" y="162623"/>
                  </a:lnTo>
                  <a:lnTo>
                    <a:pt x="1413422" y="163271"/>
                  </a:lnTo>
                  <a:lnTo>
                    <a:pt x="1413422" y="161239"/>
                  </a:lnTo>
                  <a:lnTo>
                    <a:pt x="1413523" y="160540"/>
                  </a:lnTo>
                  <a:lnTo>
                    <a:pt x="1413523" y="161239"/>
                  </a:lnTo>
                  <a:lnTo>
                    <a:pt x="1413523" y="160540"/>
                  </a:lnTo>
                  <a:lnTo>
                    <a:pt x="1413523" y="161239"/>
                  </a:lnTo>
                  <a:lnTo>
                    <a:pt x="1413574" y="161239"/>
                  </a:lnTo>
                  <a:lnTo>
                    <a:pt x="1413574" y="161925"/>
                  </a:lnTo>
                  <a:lnTo>
                    <a:pt x="1413574" y="161239"/>
                  </a:lnTo>
                  <a:lnTo>
                    <a:pt x="1413574" y="163271"/>
                  </a:lnTo>
                  <a:lnTo>
                    <a:pt x="1413574" y="162623"/>
                  </a:lnTo>
                  <a:lnTo>
                    <a:pt x="1413574" y="163271"/>
                  </a:lnTo>
                  <a:lnTo>
                    <a:pt x="1413574" y="161925"/>
                  </a:lnTo>
                  <a:lnTo>
                    <a:pt x="1413625" y="162623"/>
                  </a:lnTo>
                  <a:lnTo>
                    <a:pt x="1413625" y="161925"/>
                  </a:lnTo>
                  <a:lnTo>
                    <a:pt x="1413726" y="161925"/>
                  </a:lnTo>
                  <a:lnTo>
                    <a:pt x="1413726" y="162623"/>
                  </a:lnTo>
                  <a:lnTo>
                    <a:pt x="1413726" y="161925"/>
                  </a:lnTo>
                  <a:lnTo>
                    <a:pt x="1413726" y="162623"/>
                  </a:lnTo>
                  <a:lnTo>
                    <a:pt x="1413777" y="162623"/>
                  </a:lnTo>
                  <a:lnTo>
                    <a:pt x="1413777" y="163271"/>
                  </a:lnTo>
                  <a:lnTo>
                    <a:pt x="1413777" y="162623"/>
                  </a:lnTo>
                  <a:lnTo>
                    <a:pt x="1413777" y="163271"/>
                  </a:lnTo>
                  <a:lnTo>
                    <a:pt x="1413828" y="163271"/>
                  </a:lnTo>
                  <a:lnTo>
                    <a:pt x="1413828" y="162623"/>
                  </a:lnTo>
                  <a:lnTo>
                    <a:pt x="1413828" y="163271"/>
                  </a:lnTo>
                  <a:lnTo>
                    <a:pt x="1413828" y="162623"/>
                  </a:lnTo>
                  <a:lnTo>
                    <a:pt x="1413879" y="162623"/>
                  </a:lnTo>
                  <a:lnTo>
                    <a:pt x="1413879" y="161239"/>
                  </a:lnTo>
                  <a:lnTo>
                    <a:pt x="1413968" y="161239"/>
                  </a:lnTo>
                  <a:lnTo>
                    <a:pt x="1413968" y="160540"/>
                  </a:lnTo>
                  <a:lnTo>
                    <a:pt x="1413968" y="161239"/>
                  </a:lnTo>
                  <a:lnTo>
                    <a:pt x="1413968" y="159194"/>
                  </a:lnTo>
                  <a:lnTo>
                    <a:pt x="1413968" y="160540"/>
                  </a:lnTo>
                  <a:lnTo>
                    <a:pt x="1413968" y="158509"/>
                  </a:lnTo>
                  <a:lnTo>
                    <a:pt x="1414019" y="158509"/>
                  </a:lnTo>
                  <a:lnTo>
                    <a:pt x="1414019" y="159194"/>
                  </a:lnTo>
                  <a:lnTo>
                    <a:pt x="1414019" y="155778"/>
                  </a:lnTo>
                  <a:lnTo>
                    <a:pt x="1414069" y="157162"/>
                  </a:lnTo>
                  <a:lnTo>
                    <a:pt x="1414069" y="158509"/>
                  </a:lnTo>
                  <a:lnTo>
                    <a:pt x="1414069" y="155778"/>
                  </a:lnTo>
                  <a:lnTo>
                    <a:pt x="1414069" y="158509"/>
                  </a:lnTo>
                  <a:lnTo>
                    <a:pt x="1414120" y="158509"/>
                  </a:lnTo>
                  <a:lnTo>
                    <a:pt x="1414120" y="159194"/>
                  </a:lnTo>
                  <a:lnTo>
                    <a:pt x="1414120" y="157810"/>
                  </a:lnTo>
                  <a:lnTo>
                    <a:pt x="1414120" y="159194"/>
                  </a:lnTo>
                  <a:lnTo>
                    <a:pt x="1414222" y="160540"/>
                  </a:lnTo>
                  <a:lnTo>
                    <a:pt x="1414222" y="159194"/>
                  </a:lnTo>
                  <a:lnTo>
                    <a:pt x="1414222" y="160540"/>
                  </a:lnTo>
                  <a:lnTo>
                    <a:pt x="1414222" y="159194"/>
                  </a:lnTo>
                  <a:lnTo>
                    <a:pt x="1414222" y="160540"/>
                  </a:lnTo>
                  <a:lnTo>
                    <a:pt x="1414272" y="160540"/>
                  </a:lnTo>
                  <a:lnTo>
                    <a:pt x="1414272" y="161925"/>
                  </a:lnTo>
                  <a:lnTo>
                    <a:pt x="1414272" y="160540"/>
                  </a:lnTo>
                  <a:lnTo>
                    <a:pt x="1414272" y="161925"/>
                  </a:lnTo>
                  <a:lnTo>
                    <a:pt x="1414323" y="161925"/>
                  </a:lnTo>
                  <a:lnTo>
                    <a:pt x="1414323" y="162623"/>
                  </a:lnTo>
                  <a:lnTo>
                    <a:pt x="1414425" y="161925"/>
                  </a:lnTo>
                  <a:lnTo>
                    <a:pt x="1414425" y="162623"/>
                  </a:lnTo>
                  <a:lnTo>
                    <a:pt x="1414425" y="161239"/>
                  </a:lnTo>
                  <a:lnTo>
                    <a:pt x="1414463" y="161239"/>
                  </a:lnTo>
                  <a:lnTo>
                    <a:pt x="1414463" y="161925"/>
                  </a:lnTo>
                  <a:lnTo>
                    <a:pt x="1414463" y="160540"/>
                  </a:lnTo>
                  <a:lnTo>
                    <a:pt x="1414514" y="160540"/>
                  </a:lnTo>
                  <a:lnTo>
                    <a:pt x="1414514" y="157162"/>
                  </a:lnTo>
                  <a:lnTo>
                    <a:pt x="1414514" y="157810"/>
                  </a:lnTo>
                  <a:lnTo>
                    <a:pt x="1414514" y="157162"/>
                  </a:lnTo>
                  <a:lnTo>
                    <a:pt x="1414565" y="157162"/>
                  </a:lnTo>
                  <a:lnTo>
                    <a:pt x="1414565" y="154432"/>
                  </a:lnTo>
                  <a:lnTo>
                    <a:pt x="1414565" y="155080"/>
                  </a:lnTo>
                  <a:lnTo>
                    <a:pt x="1414666" y="155080"/>
                  </a:lnTo>
                  <a:lnTo>
                    <a:pt x="1414666" y="153746"/>
                  </a:lnTo>
                  <a:lnTo>
                    <a:pt x="1414666" y="155778"/>
                  </a:lnTo>
                  <a:lnTo>
                    <a:pt x="1414666" y="155080"/>
                  </a:lnTo>
                  <a:lnTo>
                    <a:pt x="1414666" y="155778"/>
                  </a:lnTo>
                  <a:lnTo>
                    <a:pt x="1414717" y="155778"/>
                  </a:lnTo>
                  <a:lnTo>
                    <a:pt x="1414717" y="155080"/>
                  </a:lnTo>
                  <a:lnTo>
                    <a:pt x="1414717" y="157162"/>
                  </a:lnTo>
                  <a:lnTo>
                    <a:pt x="1414768" y="157162"/>
                  </a:lnTo>
                  <a:lnTo>
                    <a:pt x="1414768" y="155778"/>
                  </a:lnTo>
                  <a:lnTo>
                    <a:pt x="1414768" y="157810"/>
                  </a:lnTo>
                  <a:lnTo>
                    <a:pt x="1414768" y="157162"/>
                  </a:lnTo>
                  <a:lnTo>
                    <a:pt x="1414768" y="158509"/>
                  </a:lnTo>
                  <a:lnTo>
                    <a:pt x="1414869" y="158509"/>
                  </a:lnTo>
                  <a:lnTo>
                    <a:pt x="1414869" y="157810"/>
                  </a:lnTo>
                  <a:lnTo>
                    <a:pt x="1414869" y="160540"/>
                  </a:lnTo>
                  <a:lnTo>
                    <a:pt x="1414869" y="159194"/>
                  </a:lnTo>
                  <a:lnTo>
                    <a:pt x="1414869" y="160540"/>
                  </a:lnTo>
                  <a:lnTo>
                    <a:pt x="1414920" y="160540"/>
                  </a:lnTo>
                  <a:lnTo>
                    <a:pt x="1414920" y="161239"/>
                  </a:lnTo>
                  <a:lnTo>
                    <a:pt x="1414920" y="160540"/>
                  </a:lnTo>
                  <a:lnTo>
                    <a:pt x="1414971" y="161239"/>
                  </a:lnTo>
                  <a:lnTo>
                    <a:pt x="1414971" y="161925"/>
                  </a:lnTo>
                  <a:lnTo>
                    <a:pt x="1414971" y="160540"/>
                  </a:lnTo>
                  <a:lnTo>
                    <a:pt x="1414971" y="161239"/>
                  </a:lnTo>
                  <a:lnTo>
                    <a:pt x="1415009" y="161239"/>
                  </a:lnTo>
                  <a:lnTo>
                    <a:pt x="1415009" y="158509"/>
                  </a:lnTo>
                  <a:lnTo>
                    <a:pt x="1415111" y="157810"/>
                  </a:lnTo>
                  <a:lnTo>
                    <a:pt x="1415111" y="155778"/>
                  </a:lnTo>
                  <a:lnTo>
                    <a:pt x="1415111" y="157810"/>
                  </a:lnTo>
                  <a:lnTo>
                    <a:pt x="1415111" y="155778"/>
                  </a:lnTo>
                  <a:lnTo>
                    <a:pt x="1415162" y="155778"/>
                  </a:lnTo>
                  <a:lnTo>
                    <a:pt x="1415162" y="155080"/>
                  </a:lnTo>
                  <a:lnTo>
                    <a:pt x="1415162" y="158509"/>
                  </a:lnTo>
                  <a:lnTo>
                    <a:pt x="1415162" y="157162"/>
                  </a:lnTo>
                  <a:lnTo>
                    <a:pt x="1415212" y="157162"/>
                  </a:lnTo>
                  <a:lnTo>
                    <a:pt x="1415212" y="158509"/>
                  </a:lnTo>
                  <a:lnTo>
                    <a:pt x="1415212" y="157810"/>
                  </a:lnTo>
                  <a:lnTo>
                    <a:pt x="1415212" y="158509"/>
                  </a:lnTo>
                  <a:lnTo>
                    <a:pt x="1415212" y="157162"/>
                  </a:lnTo>
                  <a:lnTo>
                    <a:pt x="1415212" y="157810"/>
                  </a:lnTo>
                  <a:lnTo>
                    <a:pt x="1415212" y="157162"/>
                  </a:lnTo>
                  <a:lnTo>
                    <a:pt x="1415314" y="157162"/>
                  </a:lnTo>
                  <a:lnTo>
                    <a:pt x="1415314" y="157810"/>
                  </a:lnTo>
                  <a:lnTo>
                    <a:pt x="1415314" y="157162"/>
                  </a:lnTo>
                  <a:lnTo>
                    <a:pt x="1415314" y="157810"/>
                  </a:lnTo>
                  <a:lnTo>
                    <a:pt x="1415365" y="157810"/>
                  </a:lnTo>
                  <a:lnTo>
                    <a:pt x="1415365" y="158509"/>
                  </a:lnTo>
                  <a:lnTo>
                    <a:pt x="1415365" y="157810"/>
                  </a:lnTo>
                  <a:lnTo>
                    <a:pt x="1415365" y="158509"/>
                  </a:lnTo>
                  <a:lnTo>
                    <a:pt x="1415365" y="157810"/>
                  </a:lnTo>
                  <a:lnTo>
                    <a:pt x="1415365" y="158509"/>
                  </a:lnTo>
                  <a:lnTo>
                    <a:pt x="1415365" y="157810"/>
                  </a:lnTo>
                  <a:lnTo>
                    <a:pt x="1415365" y="158509"/>
                  </a:lnTo>
                  <a:lnTo>
                    <a:pt x="1415415" y="158509"/>
                  </a:lnTo>
                  <a:lnTo>
                    <a:pt x="1415415" y="160540"/>
                  </a:lnTo>
                  <a:lnTo>
                    <a:pt x="1415415" y="159194"/>
                  </a:lnTo>
                  <a:lnTo>
                    <a:pt x="1415466" y="159194"/>
                  </a:lnTo>
                  <a:lnTo>
                    <a:pt x="1415466" y="160540"/>
                  </a:lnTo>
                  <a:lnTo>
                    <a:pt x="1415466" y="159194"/>
                  </a:lnTo>
                  <a:lnTo>
                    <a:pt x="1415555" y="159194"/>
                  </a:lnTo>
                  <a:lnTo>
                    <a:pt x="1415555" y="158509"/>
                  </a:lnTo>
                  <a:lnTo>
                    <a:pt x="1415555" y="159194"/>
                  </a:lnTo>
                  <a:lnTo>
                    <a:pt x="1415555" y="158509"/>
                  </a:lnTo>
                  <a:lnTo>
                    <a:pt x="1415555" y="159194"/>
                  </a:lnTo>
                  <a:lnTo>
                    <a:pt x="1415555" y="157162"/>
                  </a:lnTo>
                  <a:lnTo>
                    <a:pt x="1415606" y="157162"/>
                  </a:lnTo>
                  <a:lnTo>
                    <a:pt x="1415606" y="155778"/>
                  </a:lnTo>
                  <a:lnTo>
                    <a:pt x="1415606" y="158509"/>
                  </a:lnTo>
                  <a:lnTo>
                    <a:pt x="1415606" y="155778"/>
                  </a:lnTo>
                  <a:lnTo>
                    <a:pt x="1415657" y="155778"/>
                  </a:lnTo>
                  <a:lnTo>
                    <a:pt x="1415657" y="158509"/>
                  </a:lnTo>
                  <a:lnTo>
                    <a:pt x="1415657" y="157162"/>
                  </a:lnTo>
                  <a:lnTo>
                    <a:pt x="1415657" y="157810"/>
                  </a:lnTo>
                  <a:lnTo>
                    <a:pt x="1415708" y="157810"/>
                  </a:lnTo>
                  <a:lnTo>
                    <a:pt x="1415708" y="158509"/>
                  </a:lnTo>
                  <a:lnTo>
                    <a:pt x="1415708" y="157810"/>
                  </a:lnTo>
                  <a:lnTo>
                    <a:pt x="1415809" y="157810"/>
                  </a:lnTo>
                  <a:lnTo>
                    <a:pt x="1415809" y="157162"/>
                  </a:lnTo>
                  <a:lnTo>
                    <a:pt x="1415809" y="157810"/>
                  </a:lnTo>
                  <a:lnTo>
                    <a:pt x="1415860" y="157810"/>
                  </a:lnTo>
                  <a:lnTo>
                    <a:pt x="1415860" y="157162"/>
                  </a:lnTo>
                  <a:lnTo>
                    <a:pt x="1415860" y="157810"/>
                  </a:lnTo>
                  <a:lnTo>
                    <a:pt x="1415860" y="157162"/>
                  </a:lnTo>
                  <a:lnTo>
                    <a:pt x="1415860" y="157810"/>
                  </a:lnTo>
                  <a:lnTo>
                    <a:pt x="1415860" y="157162"/>
                  </a:lnTo>
                  <a:lnTo>
                    <a:pt x="1415860" y="157810"/>
                  </a:lnTo>
                  <a:lnTo>
                    <a:pt x="1415911" y="157810"/>
                  </a:lnTo>
                  <a:lnTo>
                    <a:pt x="1415911" y="158509"/>
                  </a:lnTo>
                  <a:lnTo>
                    <a:pt x="1415911" y="157810"/>
                  </a:lnTo>
                  <a:lnTo>
                    <a:pt x="1415911" y="158509"/>
                  </a:lnTo>
                  <a:lnTo>
                    <a:pt x="1415911" y="157810"/>
                  </a:lnTo>
                  <a:lnTo>
                    <a:pt x="1415911" y="158509"/>
                  </a:lnTo>
                  <a:lnTo>
                    <a:pt x="1415911" y="157810"/>
                  </a:lnTo>
                  <a:lnTo>
                    <a:pt x="1415911" y="159194"/>
                  </a:lnTo>
                  <a:lnTo>
                    <a:pt x="1415911" y="158509"/>
                  </a:lnTo>
                  <a:lnTo>
                    <a:pt x="1416012" y="158509"/>
                  </a:lnTo>
                  <a:lnTo>
                    <a:pt x="1416012" y="159194"/>
                  </a:lnTo>
                  <a:lnTo>
                    <a:pt x="1416012" y="158509"/>
                  </a:lnTo>
                  <a:lnTo>
                    <a:pt x="1416012" y="159194"/>
                  </a:lnTo>
                  <a:lnTo>
                    <a:pt x="1416012" y="158509"/>
                  </a:lnTo>
                  <a:lnTo>
                    <a:pt x="1416050" y="158509"/>
                  </a:lnTo>
                  <a:lnTo>
                    <a:pt x="1416050" y="157162"/>
                  </a:lnTo>
                  <a:lnTo>
                    <a:pt x="1416050" y="158509"/>
                  </a:lnTo>
                  <a:lnTo>
                    <a:pt x="1416101" y="158509"/>
                  </a:lnTo>
                  <a:lnTo>
                    <a:pt x="1416101" y="157162"/>
                  </a:lnTo>
                  <a:lnTo>
                    <a:pt x="1416101" y="160540"/>
                  </a:lnTo>
                  <a:lnTo>
                    <a:pt x="1416152" y="160540"/>
                  </a:lnTo>
                  <a:lnTo>
                    <a:pt x="1416152" y="158509"/>
                  </a:lnTo>
                  <a:lnTo>
                    <a:pt x="1416152" y="160540"/>
                  </a:lnTo>
                  <a:lnTo>
                    <a:pt x="1416254" y="160540"/>
                  </a:lnTo>
                  <a:lnTo>
                    <a:pt x="1416254" y="159194"/>
                  </a:lnTo>
                  <a:lnTo>
                    <a:pt x="1416254" y="160540"/>
                  </a:lnTo>
                  <a:lnTo>
                    <a:pt x="1416254" y="159194"/>
                  </a:lnTo>
                  <a:lnTo>
                    <a:pt x="1416254" y="160540"/>
                  </a:lnTo>
                  <a:lnTo>
                    <a:pt x="1416254" y="159194"/>
                  </a:lnTo>
                  <a:lnTo>
                    <a:pt x="1416254" y="160540"/>
                  </a:lnTo>
                  <a:lnTo>
                    <a:pt x="1416305" y="160540"/>
                  </a:lnTo>
                  <a:lnTo>
                    <a:pt x="1416305" y="158509"/>
                  </a:lnTo>
                  <a:lnTo>
                    <a:pt x="1416305" y="159194"/>
                  </a:lnTo>
                  <a:lnTo>
                    <a:pt x="1416305" y="158509"/>
                  </a:lnTo>
                  <a:lnTo>
                    <a:pt x="1416355" y="158509"/>
                  </a:lnTo>
                  <a:lnTo>
                    <a:pt x="1416355" y="159194"/>
                  </a:lnTo>
                  <a:lnTo>
                    <a:pt x="1416355" y="158509"/>
                  </a:lnTo>
                  <a:lnTo>
                    <a:pt x="1416355" y="159194"/>
                  </a:lnTo>
                  <a:lnTo>
                    <a:pt x="1416355" y="158509"/>
                  </a:lnTo>
                  <a:lnTo>
                    <a:pt x="1416355" y="159194"/>
                  </a:lnTo>
                  <a:lnTo>
                    <a:pt x="1416457" y="159194"/>
                  </a:lnTo>
                  <a:lnTo>
                    <a:pt x="1416457" y="158509"/>
                  </a:lnTo>
                  <a:lnTo>
                    <a:pt x="1416457" y="159194"/>
                  </a:lnTo>
                  <a:lnTo>
                    <a:pt x="1416508" y="159194"/>
                  </a:lnTo>
                  <a:lnTo>
                    <a:pt x="1416508" y="158509"/>
                  </a:lnTo>
                  <a:lnTo>
                    <a:pt x="1416508" y="159194"/>
                  </a:lnTo>
                  <a:lnTo>
                    <a:pt x="1416508" y="157162"/>
                  </a:lnTo>
                  <a:lnTo>
                    <a:pt x="1416559" y="157162"/>
                  </a:lnTo>
                  <a:lnTo>
                    <a:pt x="1416559" y="155778"/>
                  </a:lnTo>
                  <a:lnTo>
                    <a:pt x="1416559" y="158509"/>
                  </a:lnTo>
                  <a:lnTo>
                    <a:pt x="1416559" y="157810"/>
                  </a:lnTo>
                  <a:lnTo>
                    <a:pt x="1416597" y="157810"/>
                  </a:lnTo>
                  <a:lnTo>
                    <a:pt x="1416597" y="157162"/>
                  </a:lnTo>
                  <a:lnTo>
                    <a:pt x="1416597" y="161239"/>
                  </a:lnTo>
                  <a:lnTo>
                    <a:pt x="1416597" y="159194"/>
                  </a:lnTo>
                  <a:lnTo>
                    <a:pt x="1416597" y="160540"/>
                  </a:lnTo>
                  <a:lnTo>
                    <a:pt x="1416698" y="160540"/>
                  </a:lnTo>
                  <a:lnTo>
                    <a:pt x="1416698" y="159194"/>
                  </a:lnTo>
                  <a:lnTo>
                    <a:pt x="1416698" y="161239"/>
                  </a:lnTo>
                  <a:lnTo>
                    <a:pt x="1416698" y="160540"/>
                  </a:lnTo>
                  <a:lnTo>
                    <a:pt x="1416749" y="160540"/>
                  </a:lnTo>
                  <a:lnTo>
                    <a:pt x="1416749" y="161925"/>
                  </a:lnTo>
                  <a:lnTo>
                    <a:pt x="1416749" y="160540"/>
                  </a:lnTo>
                  <a:lnTo>
                    <a:pt x="1416749" y="161239"/>
                  </a:lnTo>
                  <a:lnTo>
                    <a:pt x="1416800" y="161239"/>
                  </a:lnTo>
                  <a:lnTo>
                    <a:pt x="1416800" y="160540"/>
                  </a:lnTo>
                  <a:lnTo>
                    <a:pt x="1416800" y="161239"/>
                  </a:lnTo>
                  <a:lnTo>
                    <a:pt x="1416901" y="161239"/>
                  </a:lnTo>
                  <a:lnTo>
                    <a:pt x="1416901" y="160540"/>
                  </a:lnTo>
                  <a:lnTo>
                    <a:pt x="1416901" y="161239"/>
                  </a:lnTo>
                  <a:lnTo>
                    <a:pt x="1416952" y="161239"/>
                  </a:lnTo>
                  <a:lnTo>
                    <a:pt x="1416952" y="160540"/>
                  </a:lnTo>
                  <a:lnTo>
                    <a:pt x="1416952" y="161239"/>
                  </a:lnTo>
                  <a:lnTo>
                    <a:pt x="1416952" y="159194"/>
                  </a:lnTo>
                  <a:lnTo>
                    <a:pt x="1416952" y="160540"/>
                  </a:lnTo>
                  <a:lnTo>
                    <a:pt x="1416952" y="159194"/>
                  </a:lnTo>
                  <a:lnTo>
                    <a:pt x="1416952" y="160540"/>
                  </a:lnTo>
                  <a:lnTo>
                    <a:pt x="1417003" y="160540"/>
                  </a:lnTo>
                  <a:lnTo>
                    <a:pt x="1417003" y="161925"/>
                  </a:lnTo>
                  <a:lnTo>
                    <a:pt x="1417003" y="161239"/>
                  </a:lnTo>
                  <a:lnTo>
                    <a:pt x="1417003" y="161925"/>
                  </a:lnTo>
                  <a:lnTo>
                    <a:pt x="1417003" y="160540"/>
                  </a:lnTo>
                  <a:lnTo>
                    <a:pt x="1417003" y="161239"/>
                  </a:lnTo>
                  <a:lnTo>
                    <a:pt x="1417003" y="160540"/>
                  </a:lnTo>
                  <a:lnTo>
                    <a:pt x="1417003" y="161239"/>
                  </a:lnTo>
                  <a:lnTo>
                    <a:pt x="1417054" y="161925"/>
                  </a:lnTo>
                  <a:lnTo>
                    <a:pt x="1417054" y="162623"/>
                  </a:lnTo>
                  <a:lnTo>
                    <a:pt x="1417054" y="161925"/>
                  </a:lnTo>
                  <a:lnTo>
                    <a:pt x="1417054" y="162623"/>
                  </a:lnTo>
                  <a:lnTo>
                    <a:pt x="1417054" y="161925"/>
                  </a:lnTo>
                  <a:lnTo>
                    <a:pt x="1417054" y="163271"/>
                  </a:lnTo>
                  <a:lnTo>
                    <a:pt x="1417143" y="163271"/>
                  </a:lnTo>
                  <a:lnTo>
                    <a:pt x="1417143" y="162623"/>
                  </a:lnTo>
                  <a:lnTo>
                    <a:pt x="1417143" y="163271"/>
                  </a:lnTo>
                  <a:lnTo>
                    <a:pt x="1417194" y="163271"/>
                  </a:lnTo>
                  <a:lnTo>
                    <a:pt x="1417194" y="162623"/>
                  </a:lnTo>
                  <a:lnTo>
                    <a:pt x="1417194" y="163271"/>
                  </a:lnTo>
                  <a:lnTo>
                    <a:pt x="1417244" y="163271"/>
                  </a:lnTo>
                  <a:lnTo>
                    <a:pt x="1417244" y="162623"/>
                  </a:lnTo>
                  <a:lnTo>
                    <a:pt x="1417295" y="161925"/>
                  </a:lnTo>
                  <a:lnTo>
                    <a:pt x="1417295" y="161239"/>
                  </a:lnTo>
                  <a:lnTo>
                    <a:pt x="1417295" y="161925"/>
                  </a:lnTo>
                  <a:lnTo>
                    <a:pt x="1417295" y="161239"/>
                  </a:lnTo>
                  <a:lnTo>
                    <a:pt x="1417295" y="161925"/>
                  </a:lnTo>
                  <a:lnTo>
                    <a:pt x="1417295" y="161239"/>
                  </a:lnTo>
                  <a:lnTo>
                    <a:pt x="1417295" y="161925"/>
                  </a:lnTo>
                  <a:lnTo>
                    <a:pt x="1417295" y="161239"/>
                  </a:lnTo>
                  <a:lnTo>
                    <a:pt x="1417397" y="161239"/>
                  </a:lnTo>
                  <a:lnTo>
                    <a:pt x="1417397" y="160540"/>
                  </a:lnTo>
                  <a:lnTo>
                    <a:pt x="1417397" y="163271"/>
                  </a:lnTo>
                  <a:lnTo>
                    <a:pt x="1417397" y="162623"/>
                  </a:lnTo>
                  <a:lnTo>
                    <a:pt x="1417447" y="161925"/>
                  </a:lnTo>
                  <a:lnTo>
                    <a:pt x="1417447" y="161239"/>
                  </a:lnTo>
                  <a:lnTo>
                    <a:pt x="1417447" y="166040"/>
                  </a:lnTo>
                  <a:lnTo>
                    <a:pt x="1417447" y="164655"/>
                  </a:lnTo>
                  <a:lnTo>
                    <a:pt x="1417498" y="164655"/>
                  </a:lnTo>
                  <a:lnTo>
                    <a:pt x="1417498" y="163271"/>
                  </a:lnTo>
                  <a:lnTo>
                    <a:pt x="1417498" y="166040"/>
                  </a:lnTo>
                  <a:lnTo>
                    <a:pt x="1417498" y="165354"/>
                  </a:lnTo>
                  <a:lnTo>
                    <a:pt x="1417600" y="165354"/>
                  </a:lnTo>
                  <a:lnTo>
                    <a:pt x="1417600" y="164655"/>
                  </a:lnTo>
                  <a:lnTo>
                    <a:pt x="1417600" y="166040"/>
                  </a:lnTo>
                  <a:lnTo>
                    <a:pt x="1417600" y="165354"/>
                  </a:lnTo>
                  <a:lnTo>
                    <a:pt x="1417600" y="166040"/>
                  </a:lnTo>
                  <a:lnTo>
                    <a:pt x="1417638" y="166040"/>
                  </a:lnTo>
                  <a:lnTo>
                    <a:pt x="1417638" y="166687"/>
                  </a:lnTo>
                  <a:lnTo>
                    <a:pt x="1417638" y="166040"/>
                  </a:lnTo>
                  <a:lnTo>
                    <a:pt x="1417638" y="166687"/>
                  </a:lnTo>
                  <a:lnTo>
                    <a:pt x="1417638" y="166040"/>
                  </a:lnTo>
                  <a:lnTo>
                    <a:pt x="1417638" y="166687"/>
                  </a:lnTo>
                  <a:lnTo>
                    <a:pt x="1417638" y="165354"/>
                  </a:lnTo>
                  <a:lnTo>
                    <a:pt x="1417638" y="166040"/>
                  </a:lnTo>
                  <a:lnTo>
                    <a:pt x="1417689" y="166040"/>
                  </a:lnTo>
                  <a:lnTo>
                    <a:pt x="1417689" y="165354"/>
                  </a:lnTo>
                  <a:lnTo>
                    <a:pt x="1417689" y="166040"/>
                  </a:lnTo>
                  <a:lnTo>
                    <a:pt x="1417689" y="164655"/>
                  </a:lnTo>
                  <a:lnTo>
                    <a:pt x="1417689" y="165354"/>
                  </a:lnTo>
                  <a:lnTo>
                    <a:pt x="1417689" y="164655"/>
                  </a:lnTo>
                  <a:lnTo>
                    <a:pt x="1417740" y="164655"/>
                  </a:lnTo>
                  <a:lnTo>
                    <a:pt x="1417740" y="161239"/>
                  </a:lnTo>
                  <a:lnTo>
                    <a:pt x="1417740" y="161925"/>
                  </a:lnTo>
                  <a:lnTo>
                    <a:pt x="1417841" y="161239"/>
                  </a:lnTo>
                  <a:lnTo>
                    <a:pt x="1417841" y="161925"/>
                  </a:lnTo>
                  <a:lnTo>
                    <a:pt x="1417841" y="159194"/>
                  </a:lnTo>
                  <a:lnTo>
                    <a:pt x="1417892" y="159194"/>
                  </a:lnTo>
                  <a:lnTo>
                    <a:pt x="1417892" y="158509"/>
                  </a:lnTo>
                  <a:lnTo>
                    <a:pt x="1417892" y="160540"/>
                  </a:lnTo>
                  <a:lnTo>
                    <a:pt x="1417892" y="159194"/>
                  </a:lnTo>
                  <a:lnTo>
                    <a:pt x="1417943" y="159194"/>
                  </a:lnTo>
                  <a:lnTo>
                    <a:pt x="1417943" y="157810"/>
                  </a:lnTo>
                  <a:lnTo>
                    <a:pt x="1417943" y="161925"/>
                  </a:lnTo>
                  <a:lnTo>
                    <a:pt x="1417943" y="159194"/>
                  </a:lnTo>
                  <a:lnTo>
                    <a:pt x="1418044" y="159194"/>
                  </a:lnTo>
                  <a:lnTo>
                    <a:pt x="1418044" y="161925"/>
                  </a:lnTo>
                  <a:lnTo>
                    <a:pt x="1418044" y="161239"/>
                  </a:lnTo>
                  <a:lnTo>
                    <a:pt x="1418044" y="161925"/>
                  </a:lnTo>
                  <a:lnTo>
                    <a:pt x="1418044" y="160540"/>
                  </a:lnTo>
                  <a:lnTo>
                    <a:pt x="1418095" y="161239"/>
                  </a:lnTo>
                  <a:lnTo>
                    <a:pt x="1418095" y="162623"/>
                  </a:lnTo>
                  <a:lnTo>
                    <a:pt x="1418095" y="161239"/>
                  </a:lnTo>
                  <a:lnTo>
                    <a:pt x="1418095" y="161925"/>
                  </a:lnTo>
                  <a:lnTo>
                    <a:pt x="1418146" y="161925"/>
                  </a:lnTo>
                  <a:lnTo>
                    <a:pt x="1418146" y="163271"/>
                  </a:lnTo>
                  <a:lnTo>
                    <a:pt x="1418146" y="162623"/>
                  </a:lnTo>
                  <a:lnTo>
                    <a:pt x="1418146" y="163271"/>
                  </a:lnTo>
                  <a:lnTo>
                    <a:pt x="1418146" y="162623"/>
                  </a:lnTo>
                  <a:lnTo>
                    <a:pt x="1418184" y="162623"/>
                  </a:lnTo>
                  <a:lnTo>
                    <a:pt x="1418184" y="161925"/>
                  </a:lnTo>
                  <a:lnTo>
                    <a:pt x="1418184" y="162623"/>
                  </a:lnTo>
                  <a:lnTo>
                    <a:pt x="1418184" y="161925"/>
                  </a:lnTo>
                  <a:lnTo>
                    <a:pt x="1418286" y="161925"/>
                  </a:lnTo>
                  <a:lnTo>
                    <a:pt x="1418286" y="160540"/>
                  </a:lnTo>
                  <a:lnTo>
                    <a:pt x="1418286" y="161239"/>
                  </a:lnTo>
                  <a:lnTo>
                    <a:pt x="1418337" y="160540"/>
                  </a:lnTo>
                  <a:lnTo>
                    <a:pt x="1418337" y="157810"/>
                  </a:lnTo>
                  <a:lnTo>
                    <a:pt x="1418387" y="158509"/>
                  </a:lnTo>
                  <a:lnTo>
                    <a:pt x="1418387" y="157810"/>
                  </a:lnTo>
                  <a:lnTo>
                    <a:pt x="1418387" y="158509"/>
                  </a:lnTo>
                  <a:lnTo>
                    <a:pt x="1418387" y="157810"/>
                  </a:lnTo>
                  <a:lnTo>
                    <a:pt x="1418387" y="158509"/>
                  </a:lnTo>
                  <a:lnTo>
                    <a:pt x="1418387" y="157162"/>
                  </a:lnTo>
                  <a:lnTo>
                    <a:pt x="1418387" y="157810"/>
                  </a:lnTo>
                  <a:lnTo>
                    <a:pt x="1418387" y="157162"/>
                  </a:lnTo>
                  <a:lnTo>
                    <a:pt x="1418387" y="157810"/>
                  </a:lnTo>
                  <a:lnTo>
                    <a:pt x="1418489" y="157810"/>
                  </a:lnTo>
                  <a:lnTo>
                    <a:pt x="1418489" y="159194"/>
                  </a:lnTo>
                  <a:lnTo>
                    <a:pt x="1418489" y="157810"/>
                  </a:lnTo>
                  <a:lnTo>
                    <a:pt x="1418489" y="158509"/>
                  </a:lnTo>
                  <a:lnTo>
                    <a:pt x="1418540" y="158509"/>
                  </a:lnTo>
                  <a:lnTo>
                    <a:pt x="1418540" y="157810"/>
                  </a:lnTo>
                  <a:lnTo>
                    <a:pt x="1418540" y="158509"/>
                  </a:lnTo>
                  <a:lnTo>
                    <a:pt x="1418540" y="157810"/>
                  </a:lnTo>
                  <a:lnTo>
                    <a:pt x="1418540" y="158509"/>
                  </a:lnTo>
                  <a:lnTo>
                    <a:pt x="1418540" y="157810"/>
                  </a:lnTo>
                  <a:lnTo>
                    <a:pt x="1418540" y="158509"/>
                  </a:lnTo>
                  <a:lnTo>
                    <a:pt x="1418590" y="158509"/>
                  </a:lnTo>
                  <a:lnTo>
                    <a:pt x="1418590" y="159194"/>
                  </a:lnTo>
                  <a:lnTo>
                    <a:pt x="1418641" y="159194"/>
                  </a:lnTo>
                  <a:lnTo>
                    <a:pt x="1418641" y="160540"/>
                  </a:lnTo>
                  <a:lnTo>
                    <a:pt x="1418641" y="159194"/>
                  </a:lnTo>
                  <a:lnTo>
                    <a:pt x="1418641" y="160540"/>
                  </a:lnTo>
                  <a:lnTo>
                    <a:pt x="1418641" y="159194"/>
                  </a:lnTo>
                  <a:lnTo>
                    <a:pt x="1418641" y="160540"/>
                  </a:lnTo>
                  <a:lnTo>
                    <a:pt x="1418641" y="159194"/>
                  </a:lnTo>
                  <a:lnTo>
                    <a:pt x="1418641" y="160540"/>
                  </a:lnTo>
                  <a:lnTo>
                    <a:pt x="1418641" y="159194"/>
                  </a:lnTo>
                  <a:lnTo>
                    <a:pt x="1418730" y="159194"/>
                  </a:lnTo>
                  <a:lnTo>
                    <a:pt x="1418730" y="160540"/>
                  </a:lnTo>
                  <a:lnTo>
                    <a:pt x="1418730" y="159194"/>
                  </a:lnTo>
                  <a:lnTo>
                    <a:pt x="1418781" y="159194"/>
                  </a:lnTo>
                  <a:lnTo>
                    <a:pt x="1418781" y="158509"/>
                  </a:lnTo>
                  <a:lnTo>
                    <a:pt x="1418781" y="159194"/>
                  </a:lnTo>
                  <a:lnTo>
                    <a:pt x="1418781" y="158509"/>
                  </a:lnTo>
                  <a:lnTo>
                    <a:pt x="1418781" y="159194"/>
                  </a:lnTo>
                  <a:lnTo>
                    <a:pt x="1418781" y="157810"/>
                  </a:lnTo>
                  <a:lnTo>
                    <a:pt x="1418832" y="157810"/>
                  </a:lnTo>
                  <a:lnTo>
                    <a:pt x="1418832" y="157162"/>
                  </a:lnTo>
                  <a:lnTo>
                    <a:pt x="1418832" y="159194"/>
                  </a:lnTo>
                  <a:lnTo>
                    <a:pt x="1418832" y="158509"/>
                  </a:lnTo>
                  <a:lnTo>
                    <a:pt x="1418883" y="158509"/>
                  </a:lnTo>
                  <a:lnTo>
                    <a:pt x="1418883" y="157162"/>
                  </a:lnTo>
                  <a:lnTo>
                    <a:pt x="1418883" y="157810"/>
                  </a:lnTo>
                  <a:lnTo>
                    <a:pt x="1418883" y="157162"/>
                  </a:lnTo>
                  <a:lnTo>
                    <a:pt x="1418883" y="157810"/>
                  </a:lnTo>
                  <a:lnTo>
                    <a:pt x="1418883" y="157162"/>
                  </a:lnTo>
                  <a:lnTo>
                    <a:pt x="1418883" y="160540"/>
                  </a:lnTo>
                  <a:lnTo>
                    <a:pt x="1418883" y="159194"/>
                  </a:lnTo>
                  <a:lnTo>
                    <a:pt x="1418984" y="158509"/>
                  </a:lnTo>
                  <a:lnTo>
                    <a:pt x="1418984" y="157810"/>
                  </a:lnTo>
                  <a:lnTo>
                    <a:pt x="1418984" y="160540"/>
                  </a:lnTo>
                  <a:lnTo>
                    <a:pt x="1418984" y="158509"/>
                  </a:lnTo>
                  <a:lnTo>
                    <a:pt x="1419035" y="158509"/>
                  </a:lnTo>
                  <a:lnTo>
                    <a:pt x="1419035" y="159194"/>
                  </a:lnTo>
                  <a:lnTo>
                    <a:pt x="1419035" y="158509"/>
                  </a:lnTo>
                  <a:lnTo>
                    <a:pt x="1419086" y="158509"/>
                  </a:lnTo>
                  <a:lnTo>
                    <a:pt x="1419086" y="159194"/>
                  </a:lnTo>
                  <a:lnTo>
                    <a:pt x="1419086" y="158509"/>
                  </a:lnTo>
                  <a:lnTo>
                    <a:pt x="1419086" y="159194"/>
                  </a:lnTo>
                  <a:lnTo>
                    <a:pt x="1419086" y="158509"/>
                  </a:lnTo>
                  <a:lnTo>
                    <a:pt x="1419187" y="158509"/>
                  </a:lnTo>
                  <a:lnTo>
                    <a:pt x="1419187" y="159194"/>
                  </a:lnTo>
                  <a:lnTo>
                    <a:pt x="1419187" y="158509"/>
                  </a:lnTo>
                  <a:lnTo>
                    <a:pt x="1419187" y="159194"/>
                  </a:lnTo>
                  <a:lnTo>
                    <a:pt x="1419187" y="158509"/>
                  </a:lnTo>
                  <a:lnTo>
                    <a:pt x="1419225" y="158509"/>
                  </a:lnTo>
                  <a:lnTo>
                    <a:pt x="1419225" y="157810"/>
                  </a:lnTo>
                  <a:lnTo>
                    <a:pt x="1419225" y="158509"/>
                  </a:lnTo>
                  <a:lnTo>
                    <a:pt x="1419225" y="157810"/>
                  </a:lnTo>
                  <a:lnTo>
                    <a:pt x="1419225" y="158509"/>
                  </a:lnTo>
                  <a:lnTo>
                    <a:pt x="1419225" y="157810"/>
                  </a:lnTo>
                  <a:lnTo>
                    <a:pt x="1419225" y="158509"/>
                  </a:lnTo>
                  <a:lnTo>
                    <a:pt x="1419225" y="157810"/>
                  </a:lnTo>
                  <a:lnTo>
                    <a:pt x="1419276" y="157810"/>
                  </a:lnTo>
                  <a:lnTo>
                    <a:pt x="1419276" y="157162"/>
                  </a:lnTo>
                  <a:lnTo>
                    <a:pt x="1419327" y="157162"/>
                  </a:lnTo>
                  <a:lnTo>
                    <a:pt x="1419327" y="155080"/>
                  </a:lnTo>
                  <a:lnTo>
                    <a:pt x="1419327" y="157810"/>
                  </a:lnTo>
                  <a:lnTo>
                    <a:pt x="1419327" y="157162"/>
                  </a:lnTo>
                  <a:lnTo>
                    <a:pt x="1419429" y="157162"/>
                  </a:lnTo>
                  <a:lnTo>
                    <a:pt x="1419429" y="155778"/>
                  </a:lnTo>
                  <a:lnTo>
                    <a:pt x="1419429" y="158509"/>
                  </a:lnTo>
                  <a:lnTo>
                    <a:pt x="1419429" y="157810"/>
                  </a:lnTo>
                  <a:lnTo>
                    <a:pt x="1419480" y="157810"/>
                  </a:lnTo>
                  <a:lnTo>
                    <a:pt x="1419480" y="157162"/>
                  </a:lnTo>
                  <a:lnTo>
                    <a:pt x="1419480" y="158509"/>
                  </a:lnTo>
                  <a:lnTo>
                    <a:pt x="1419480" y="157810"/>
                  </a:lnTo>
                  <a:lnTo>
                    <a:pt x="1419480" y="158509"/>
                  </a:lnTo>
                  <a:lnTo>
                    <a:pt x="1419480" y="157810"/>
                  </a:lnTo>
                  <a:lnTo>
                    <a:pt x="1419530" y="157810"/>
                  </a:lnTo>
                  <a:lnTo>
                    <a:pt x="1419530" y="158509"/>
                  </a:lnTo>
                  <a:lnTo>
                    <a:pt x="1419632" y="158509"/>
                  </a:lnTo>
                  <a:lnTo>
                    <a:pt x="1419632" y="157810"/>
                  </a:lnTo>
                  <a:lnTo>
                    <a:pt x="1419632" y="158509"/>
                  </a:lnTo>
                  <a:lnTo>
                    <a:pt x="1419683" y="158509"/>
                  </a:lnTo>
                  <a:lnTo>
                    <a:pt x="1419683" y="159194"/>
                  </a:lnTo>
                  <a:lnTo>
                    <a:pt x="1419683" y="157810"/>
                  </a:lnTo>
                  <a:lnTo>
                    <a:pt x="1419683" y="158509"/>
                  </a:lnTo>
                  <a:lnTo>
                    <a:pt x="1419683" y="157810"/>
                  </a:lnTo>
                  <a:lnTo>
                    <a:pt x="1419734" y="157810"/>
                  </a:lnTo>
                  <a:lnTo>
                    <a:pt x="1419734" y="157162"/>
                  </a:lnTo>
                  <a:lnTo>
                    <a:pt x="1419734" y="157810"/>
                  </a:lnTo>
                  <a:lnTo>
                    <a:pt x="1419734" y="157162"/>
                  </a:lnTo>
                  <a:lnTo>
                    <a:pt x="1419772" y="157162"/>
                  </a:lnTo>
                  <a:lnTo>
                    <a:pt x="1419772" y="155080"/>
                  </a:lnTo>
                  <a:lnTo>
                    <a:pt x="1419873" y="155080"/>
                  </a:lnTo>
                  <a:lnTo>
                    <a:pt x="1419873" y="154432"/>
                  </a:lnTo>
                  <a:lnTo>
                    <a:pt x="1419873" y="155080"/>
                  </a:lnTo>
                  <a:lnTo>
                    <a:pt x="1419873" y="154432"/>
                  </a:lnTo>
                  <a:lnTo>
                    <a:pt x="1419873" y="157162"/>
                  </a:lnTo>
                  <a:lnTo>
                    <a:pt x="1419873" y="155080"/>
                  </a:lnTo>
                  <a:lnTo>
                    <a:pt x="1419924" y="155080"/>
                  </a:lnTo>
                  <a:lnTo>
                    <a:pt x="1419924" y="154432"/>
                  </a:lnTo>
                  <a:lnTo>
                    <a:pt x="1419924" y="157810"/>
                  </a:lnTo>
                  <a:lnTo>
                    <a:pt x="1419924" y="155778"/>
                  </a:lnTo>
                  <a:lnTo>
                    <a:pt x="1419975" y="155080"/>
                  </a:lnTo>
                  <a:lnTo>
                    <a:pt x="1419975" y="157810"/>
                  </a:lnTo>
                  <a:lnTo>
                    <a:pt x="1419975" y="157162"/>
                  </a:lnTo>
                  <a:lnTo>
                    <a:pt x="1420076" y="157162"/>
                  </a:lnTo>
                  <a:lnTo>
                    <a:pt x="1420076" y="158509"/>
                  </a:lnTo>
                  <a:lnTo>
                    <a:pt x="1420076" y="157162"/>
                  </a:lnTo>
                  <a:lnTo>
                    <a:pt x="1420076" y="157810"/>
                  </a:lnTo>
                  <a:lnTo>
                    <a:pt x="1420127" y="157810"/>
                  </a:lnTo>
                  <a:lnTo>
                    <a:pt x="1420127" y="158509"/>
                  </a:lnTo>
                  <a:lnTo>
                    <a:pt x="1420127" y="157810"/>
                  </a:lnTo>
                  <a:lnTo>
                    <a:pt x="1420127" y="158509"/>
                  </a:lnTo>
                  <a:lnTo>
                    <a:pt x="1420178" y="159194"/>
                  </a:lnTo>
                  <a:lnTo>
                    <a:pt x="1420178" y="158509"/>
                  </a:lnTo>
                  <a:lnTo>
                    <a:pt x="1420178" y="159194"/>
                  </a:lnTo>
                  <a:lnTo>
                    <a:pt x="1420178" y="157162"/>
                  </a:lnTo>
                  <a:lnTo>
                    <a:pt x="1420178" y="157810"/>
                  </a:lnTo>
                  <a:lnTo>
                    <a:pt x="1420229" y="157810"/>
                  </a:lnTo>
                  <a:lnTo>
                    <a:pt x="1420229" y="158509"/>
                  </a:lnTo>
                  <a:lnTo>
                    <a:pt x="1420229" y="157162"/>
                  </a:lnTo>
                  <a:lnTo>
                    <a:pt x="1420318" y="157810"/>
                  </a:lnTo>
                  <a:lnTo>
                    <a:pt x="1420318" y="155080"/>
                  </a:lnTo>
                  <a:lnTo>
                    <a:pt x="1420369" y="155080"/>
                  </a:lnTo>
                  <a:lnTo>
                    <a:pt x="1420369" y="154432"/>
                  </a:lnTo>
                  <a:lnTo>
                    <a:pt x="1420369" y="155778"/>
                  </a:lnTo>
                  <a:lnTo>
                    <a:pt x="1420369" y="155080"/>
                  </a:lnTo>
                  <a:lnTo>
                    <a:pt x="1420419" y="155080"/>
                  </a:lnTo>
                  <a:lnTo>
                    <a:pt x="1420419" y="154432"/>
                  </a:lnTo>
                  <a:lnTo>
                    <a:pt x="1420419" y="157162"/>
                  </a:lnTo>
                  <a:lnTo>
                    <a:pt x="1420419" y="155778"/>
                  </a:lnTo>
                  <a:lnTo>
                    <a:pt x="1420419" y="157162"/>
                  </a:lnTo>
                  <a:lnTo>
                    <a:pt x="1420419" y="155778"/>
                  </a:lnTo>
                  <a:lnTo>
                    <a:pt x="1420470" y="155778"/>
                  </a:lnTo>
                  <a:lnTo>
                    <a:pt x="1420470" y="157810"/>
                  </a:lnTo>
                  <a:lnTo>
                    <a:pt x="1420470" y="157162"/>
                  </a:lnTo>
                  <a:lnTo>
                    <a:pt x="1420470" y="157810"/>
                  </a:lnTo>
                  <a:lnTo>
                    <a:pt x="1420470" y="157162"/>
                  </a:lnTo>
                  <a:lnTo>
                    <a:pt x="1420470" y="157810"/>
                  </a:lnTo>
                  <a:lnTo>
                    <a:pt x="1420470" y="157162"/>
                  </a:lnTo>
                  <a:lnTo>
                    <a:pt x="1420470" y="157810"/>
                  </a:lnTo>
                  <a:lnTo>
                    <a:pt x="1420572" y="157810"/>
                  </a:lnTo>
                  <a:lnTo>
                    <a:pt x="1420572" y="157162"/>
                  </a:lnTo>
                  <a:lnTo>
                    <a:pt x="1420572" y="158509"/>
                  </a:lnTo>
                  <a:lnTo>
                    <a:pt x="1420572" y="157810"/>
                  </a:lnTo>
                  <a:lnTo>
                    <a:pt x="1420572" y="158509"/>
                  </a:lnTo>
                  <a:lnTo>
                    <a:pt x="1420572" y="157810"/>
                  </a:lnTo>
                  <a:lnTo>
                    <a:pt x="1420622" y="157810"/>
                  </a:lnTo>
                  <a:lnTo>
                    <a:pt x="1420622" y="158509"/>
                  </a:lnTo>
                  <a:lnTo>
                    <a:pt x="1420622" y="157810"/>
                  </a:lnTo>
                  <a:lnTo>
                    <a:pt x="1420622" y="158509"/>
                  </a:lnTo>
                  <a:lnTo>
                    <a:pt x="1420673" y="157810"/>
                  </a:lnTo>
                  <a:lnTo>
                    <a:pt x="1420673" y="158509"/>
                  </a:lnTo>
                  <a:lnTo>
                    <a:pt x="1420673" y="157810"/>
                  </a:lnTo>
                  <a:lnTo>
                    <a:pt x="1420673" y="158509"/>
                  </a:lnTo>
                  <a:lnTo>
                    <a:pt x="1420673" y="157810"/>
                  </a:lnTo>
                  <a:lnTo>
                    <a:pt x="1420673" y="158509"/>
                  </a:lnTo>
                  <a:lnTo>
                    <a:pt x="1420673" y="157810"/>
                  </a:lnTo>
                  <a:lnTo>
                    <a:pt x="1420775" y="157810"/>
                  </a:lnTo>
                  <a:lnTo>
                    <a:pt x="1420775" y="158509"/>
                  </a:lnTo>
                  <a:lnTo>
                    <a:pt x="1420775" y="157810"/>
                  </a:lnTo>
                  <a:lnTo>
                    <a:pt x="1420775" y="158509"/>
                  </a:lnTo>
                  <a:lnTo>
                    <a:pt x="1420775" y="157810"/>
                  </a:lnTo>
                  <a:lnTo>
                    <a:pt x="1420813" y="157810"/>
                  </a:lnTo>
                  <a:lnTo>
                    <a:pt x="1420813" y="154432"/>
                  </a:lnTo>
                  <a:lnTo>
                    <a:pt x="1420813" y="155080"/>
                  </a:lnTo>
                  <a:lnTo>
                    <a:pt x="1420864" y="155080"/>
                  </a:lnTo>
                  <a:lnTo>
                    <a:pt x="1420864" y="154432"/>
                  </a:lnTo>
                  <a:lnTo>
                    <a:pt x="1420864" y="155778"/>
                  </a:lnTo>
                  <a:lnTo>
                    <a:pt x="1420864" y="154432"/>
                  </a:lnTo>
                  <a:lnTo>
                    <a:pt x="1420864" y="155080"/>
                  </a:lnTo>
                  <a:lnTo>
                    <a:pt x="1420915" y="155080"/>
                  </a:lnTo>
                  <a:lnTo>
                    <a:pt x="1420915" y="157162"/>
                  </a:lnTo>
                  <a:lnTo>
                    <a:pt x="1420915" y="155778"/>
                  </a:lnTo>
                  <a:lnTo>
                    <a:pt x="1421016" y="155778"/>
                  </a:lnTo>
                  <a:lnTo>
                    <a:pt x="1421016" y="157162"/>
                  </a:lnTo>
                  <a:lnTo>
                    <a:pt x="1421016" y="155778"/>
                  </a:lnTo>
                  <a:lnTo>
                    <a:pt x="1421016" y="157162"/>
                  </a:lnTo>
                  <a:lnTo>
                    <a:pt x="1421016" y="155778"/>
                  </a:lnTo>
                  <a:lnTo>
                    <a:pt x="1421016" y="157162"/>
                  </a:lnTo>
                  <a:lnTo>
                    <a:pt x="1421067" y="157162"/>
                  </a:lnTo>
                  <a:lnTo>
                    <a:pt x="1421067" y="157810"/>
                  </a:lnTo>
                  <a:lnTo>
                    <a:pt x="1421067" y="155778"/>
                  </a:lnTo>
                  <a:lnTo>
                    <a:pt x="1421067" y="157810"/>
                  </a:lnTo>
                  <a:lnTo>
                    <a:pt x="1421118" y="157810"/>
                  </a:lnTo>
                  <a:lnTo>
                    <a:pt x="1421118" y="157162"/>
                  </a:lnTo>
                  <a:lnTo>
                    <a:pt x="1421118" y="158509"/>
                  </a:lnTo>
                  <a:lnTo>
                    <a:pt x="1421118" y="157810"/>
                  </a:lnTo>
                  <a:lnTo>
                    <a:pt x="1421118" y="158509"/>
                  </a:lnTo>
                  <a:lnTo>
                    <a:pt x="1421219" y="158509"/>
                  </a:lnTo>
                  <a:lnTo>
                    <a:pt x="1421219" y="157162"/>
                  </a:lnTo>
                  <a:lnTo>
                    <a:pt x="1421219" y="157810"/>
                  </a:lnTo>
                  <a:lnTo>
                    <a:pt x="1421219" y="157162"/>
                  </a:lnTo>
                  <a:lnTo>
                    <a:pt x="1421270" y="157162"/>
                  </a:lnTo>
                  <a:lnTo>
                    <a:pt x="1421270" y="157810"/>
                  </a:lnTo>
                  <a:lnTo>
                    <a:pt x="1421270" y="157162"/>
                  </a:lnTo>
                  <a:lnTo>
                    <a:pt x="1421270" y="157810"/>
                  </a:lnTo>
                  <a:lnTo>
                    <a:pt x="1421270" y="157162"/>
                  </a:lnTo>
                  <a:lnTo>
                    <a:pt x="1421270" y="157810"/>
                  </a:lnTo>
                  <a:lnTo>
                    <a:pt x="1421270" y="157162"/>
                  </a:lnTo>
                  <a:lnTo>
                    <a:pt x="1421270" y="157810"/>
                  </a:lnTo>
                  <a:lnTo>
                    <a:pt x="1421270" y="157162"/>
                  </a:lnTo>
                  <a:lnTo>
                    <a:pt x="1421321" y="157162"/>
                  </a:lnTo>
                  <a:lnTo>
                    <a:pt x="1421321" y="155778"/>
                  </a:lnTo>
                  <a:lnTo>
                    <a:pt x="1421321" y="157162"/>
                  </a:lnTo>
                  <a:lnTo>
                    <a:pt x="1421321" y="155080"/>
                  </a:lnTo>
                  <a:lnTo>
                    <a:pt x="1421321" y="155778"/>
                  </a:lnTo>
                  <a:lnTo>
                    <a:pt x="1421321" y="154432"/>
                  </a:lnTo>
                  <a:lnTo>
                    <a:pt x="1421321" y="155778"/>
                  </a:lnTo>
                  <a:lnTo>
                    <a:pt x="1421359" y="155778"/>
                  </a:lnTo>
                  <a:lnTo>
                    <a:pt x="1421359" y="154432"/>
                  </a:lnTo>
                  <a:lnTo>
                    <a:pt x="1421359" y="157162"/>
                  </a:lnTo>
                  <a:lnTo>
                    <a:pt x="1421461" y="157162"/>
                  </a:lnTo>
                  <a:lnTo>
                    <a:pt x="1421461" y="157810"/>
                  </a:lnTo>
                  <a:lnTo>
                    <a:pt x="1421461" y="155080"/>
                  </a:lnTo>
                  <a:lnTo>
                    <a:pt x="1421461" y="155778"/>
                  </a:lnTo>
                  <a:lnTo>
                    <a:pt x="1421461" y="155080"/>
                  </a:lnTo>
                  <a:lnTo>
                    <a:pt x="1421461" y="157162"/>
                  </a:lnTo>
                  <a:lnTo>
                    <a:pt x="1421512" y="157162"/>
                  </a:lnTo>
                  <a:lnTo>
                    <a:pt x="1421512" y="155778"/>
                  </a:lnTo>
                  <a:lnTo>
                    <a:pt x="1421512" y="157810"/>
                  </a:lnTo>
                  <a:lnTo>
                    <a:pt x="1421512" y="157162"/>
                  </a:lnTo>
                  <a:lnTo>
                    <a:pt x="1421664" y="157162"/>
                  </a:lnTo>
                  <a:lnTo>
                    <a:pt x="1421664" y="157810"/>
                  </a:lnTo>
                  <a:lnTo>
                    <a:pt x="1421664" y="157162"/>
                  </a:lnTo>
                  <a:lnTo>
                    <a:pt x="1421664" y="157810"/>
                  </a:lnTo>
                  <a:lnTo>
                    <a:pt x="1421715" y="157810"/>
                  </a:lnTo>
                  <a:lnTo>
                    <a:pt x="1421715" y="157162"/>
                  </a:lnTo>
                  <a:lnTo>
                    <a:pt x="1421715" y="157810"/>
                  </a:lnTo>
                  <a:lnTo>
                    <a:pt x="1421715" y="157162"/>
                  </a:lnTo>
                  <a:lnTo>
                    <a:pt x="1421715" y="157810"/>
                  </a:lnTo>
                  <a:lnTo>
                    <a:pt x="1421765" y="157810"/>
                  </a:lnTo>
                  <a:lnTo>
                    <a:pt x="1421765" y="157162"/>
                  </a:lnTo>
                  <a:lnTo>
                    <a:pt x="1421765" y="157810"/>
                  </a:lnTo>
                  <a:lnTo>
                    <a:pt x="1421765" y="157162"/>
                  </a:lnTo>
                  <a:lnTo>
                    <a:pt x="1421765" y="157810"/>
                  </a:lnTo>
                  <a:lnTo>
                    <a:pt x="1421765" y="155778"/>
                  </a:lnTo>
                  <a:lnTo>
                    <a:pt x="1421765" y="157162"/>
                  </a:lnTo>
                  <a:lnTo>
                    <a:pt x="1421765" y="155778"/>
                  </a:lnTo>
                  <a:lnTo>
                    <a:pt x="1421816" y="155778"/>
                  </a:lnTo>
                  <a:lnTo>
                    <a:pt x="1421816" y="155080"/>
                  </a:lnTo>
                  <a:lnTo>
                    <a:pt x="1421816" y="157162"/>
                  </a:lnTo>
                  <a:lnTo>
                    <a:pt x="1421905" y="155778"/>
                  </a:lnTo>
                  <a:lnTo>
                    <a:pt x="1421905" y="154432"/>
                  </a:lnTo>
                  <a:lnTo>
                    <a:pt x="1421905" y="158509"/>
                  </a:lnTo>
                  <a:lnTo>
                    <a:pt x="1421905" y="157810"/>
                  </a:lnTo>
                  <a:lnTo>
                    <a:pt x="1421956" y="157810"/>
                  </a:lnTo>
                  <a:lnTo>
                    <a:pt x="1421956" y="157162"/>
                  </a:lnTo>
                  <a:lnTo>
                    <a:pt x="1421956" y="158509"/>
                  </a:lnTo>
                  <a:lnTo>
                    <a:pt x="1421956" y="157162"/>
                  </a:lnTo>
                  <a:lnTo>
                    <a:pt x="1422007" y="157162"/>
                  </a:lnTo>
                  <a:lnTo>
                    <a:pt x="1422007" y="158509"/>
                  </a:lnTo>
                  <a:lnTo>
                    <a:pt x="1422007" y="157810"/>
                  </a:lnTo>
                  <a:lnTo>
                    <a:pt x="1422058" y="157810"/>
                  </a:lnTo>
                  <a:lnTo>
                    <a:pt x="1422058" y="158509"/>
                  </a:lnTo>
                  <a:lnTo>
                    <a:pt x="1422058" y="157810"/>
                  </a:lnTo>
                  <a:lnTo>
                    <a:pt x="1422159" y="157810"/>
                  </a:lnTo>
                  <a:lnTo>
                    <a:pt x="1422159" y="158509"/>
                  </a:lnTo>
                  <a:lnTo>
                    <a:pt x="1422159" y="157810"/>
                  </a:lnTo>
                  <a:lnTo>
                    <a:pt x="1422159" y="158509"/>
                  </a:lnTo>
                  <a:lnTo>
                    <a:pt x="1422159" y="157810"/>
                  </a:lnTo>
                  <a:lnTo>
                    <a:pt x="1422210" y="158509"/>
                  </a:lnTo>
                  <a:lnTo>
                    <a:pt x="1422210" y="157810"/>
                  </a:lnTo>
                  <a:lnTo>
                    <a:pt x="1422210" y="158509"/>
                  </a:lnTo>
                  <a:lnTo>
                    <a:pt x="1422210" y="157162"/>
                  </a:lnTo>
                  <a:lnTo>
                    <a:pt x="1422261" y="157162"/>
                  </a:lnTo>
                  <a:lnTo>
                    <a:pt x="1422261" y="157810"/>
                  </a:lnTo>
                  <a:lnTo>
                    <a:pt x="1422261" y="155778"/>
                  </a:lnTo>
                  <a:lnTo>
                    <a:pt x="1422362" y="155778"/>
                  </a:lnTo>
                  <a:lnTo>
                    <a:pt x="1422362" y="154432"/>
                  </a:lnTo>
                  <a:lnTo>
                    <a:pt x="1422362" y="157162"/>
                  </a:lnTo>
                  <a:lnTo>
                    <a:pt x="1422362" y="155080"/>
                  </a:lnTo>
                  <a:lnTo>
                    <a:pt x="1422400" y="155080"/>
                  </a:lnTo>
                  <a:lnTo>
                    <a:pt x="1422400" y="158509"/>
                  </a:lnTo>
                  <a:lnTo>
                    <a:pt x="1422400" y="157810"/>
                  </a:lnTo>
                  <a:lnTo>
                    <a:pt x="1422400" y="158509"/>
                  </a:lnTo>
                  <a:lnTo>
                    <a:pt x="1422400" y="157162"/>
                  </a:lnTo>
                  <a:lnTo>
                    <a:pt x="1422400" y="157810"/>
                  </a:lnTo>
                  <a:lnTo>
                    <a:pt x="1422451" y="157810"/>
                  </a:lnTo>
                  <a:lnTo>
                    <a:pt x="1422451" y="158509"/>
                  </a:lnTo>
                  <a:lnTo>
                    <a:pt x="1422451" y="157810"/>
                  </a:lnTo>
                  <a:lnTo>
                    <a:pt x="1422502" y="158509"/>
                  </a:lnTo>
                  <a:lnTo>
                    <a:pt x="1422502" y="157810"/>
                  </a:lnTo>
                  <a:lnTo>
                    <a:pt x="1422502" y="158509"/>
                  </a:lnTo>
                  <a:lnTo>
                    <a:pt x="1422502" y="157810"/>
                  </a:lnTo>
                  <a:lnTo>
                    <a:pt x="1422502" y="158509"/>
                  </a:lnTo>
                  <a:lnTo>
                    <a:pt x="1422502" y="157810"/>
                  </a:lnTo>
                  <a:lnTo>
                    <a:pt x="1422502" y="158509"/>
                  </a:lnTo>
                  <a:lnTo>
                    <a:pt x="1422502" y="157810"/>
                  </a:lnTo>
                  <a:lnTo>
                    <a:pt x="1422502" y="158509"/>
                  </a:lnTo>
                  <a:lnTo>
                    <a:pt x="1422502" y="157810"/>
                  </a:lnTo>
                  <a:lnTo>
                    <a:pt x="1422604" y="157810"/>
                  </a:lnTo>
                  <a:lnTo>
                    <a:pt x="1422604" y="158509"/>
                  </a:lnTo>
                  <a:lnTo>
                    <a:pt x="1422604" y="157810"/>
                  </a:lnTo>
                  <a:lnTo>
                    <a:pt x="1422655" y="157810"/>
                  </a:lnTo>
                  <a:lnTo>
                    <a:pt x="1422655" y="158509"/>
                  </a:lnTo>
                  <a:lnTo>
                    <a:pt x="1422655" y="157810"/>
                  </a:lnTo>
                  <a:lnTo>
                    <a:pt x="1422705" y="157810"/>
                  </a:lnTo>
                  <a:lnTo>
                    <a:pt x="1422705" y="157162"/>
                  </a:lnTo>
                  <a:lnTo>
                    <a:pt x="1422705" y="157810"/>
                  </a:lnTo>
                  <a:lnTo>
                    <a:pt x="1422705" y="155778"/>
                  </a:lnTo>
                  <a:lnTo>
                    <a:pt x="1422807" y="155778"/>
                  </a:lnTo>
                  <a:lnTo>
                    <a:pt x="1422807" y="155080"/>
                  </a:lnTo>
                  <a:lnTo>
                    <a:pt x="1422807" y="155778"/>
                  </a:lnTo>
                  <a:lnTo>
                    <a:pt x="1422807" y="154432"/>
                  </a:lnTo>
                  <a:lnTo>
                    <a:pt x="1422858" y="153746"/>
                  </a:lnTo>
                  <a:lnTo>
                    <a:pt x="1422858" y="155080"/>
                  </a:lnTo>
                  <a:lnTo>
                    <a:pt x="1422858" y="153746"/>
                  </a:lnTo>
                  <a:lnTo>
                    <a:pt x="1422909" y="153047"/>
                  </a:lnTo>
                  <a:lnTo>
                    <a:pt x="1422909" y="157162"/>
                  </a:lnTo>
                  <a:lnTo>
                    <a:pt x="1422909" y="154432"/>
                  </a:lnTo>
                  <a:lnTo>
                    <a:pt x="1422947" y="154432"/>
                  </a:lnTo>
                  <a:lnTo>
                    <a:pt x="1422947" y="157162"/>
                  </a:lnTo>
                  <a:lnTo>
                    <a:pt x="1422947" y="155080"/>
                  </a:lnTo>
                  <a:lnTo>
                    <a:pt x="1422947" y="155778"/>
                  </a:lnTo>
                  <a:lnTo>
                    <a:pt x="1423048" y="155778"/>
                  </a:lnTo>
                  <a:lnTo>
                    <a:pt x="1423048" y="157162"/>
                  </a:lnTo>
                  <a:lnTo>
                    <a:pt x="1423048" y="155778"/>
                  </a:lnTo>
                  <a:lnTo>
                    <a:pt x="1423048" y="157162"/>
                  </a:lnTo>
                  <a:lnTo>
                    <a:pt x="1423099" y="157162"/>
                  </a:lnTo>
                  <a:lnTo>
                    <a:pt x="1423099" y="157810"/>
                  </a:lnTo>
                  <a:lnTo>
                    <a:pt x="1423099" y="157162"/>
                  </a:lnTo>
                  <a:lnTo>
                    <a:pt x="1423150" y="157162"/>
                  </a:lnTo>
                  <a:lnTo>
                    <a:pt x="1423150" y="157810"/>
                  </a:lnTo>
                  <a:lnTo>
                    <a:pt x="1423150" y="157162"/>
                  </a:lnTo>
                  <a:lnTo>
                    <a:pt x="1423150" y="157810"/>
                  </a:lnTo>
                  <a:lnTo>
                    <a:pt x="1423251" y="157810"/>
                  </a:lnTo>
                  <a:lnTo>
                    <a:pt x="1423251" y="157162"/>
                  </a:lnTo>
                  <a:lnTo>
                    <a:pt x="1423251" y="157810"/>
                  </a:lnTo>
                  <a:lnTo>
                    <a:pt x="1423251" y="155778"/>
                  </a:lnTo>
                  <a:lnTo>
                    <a:pt x="1423251" y="157162"/>
                  </a:lnTo>
                  <a:lnTo>
                    <a:pt x="1423302" y="155778"/>
                  </a:lnTo>
                  <a:lnTo>
                    <a:pt x="1423302" y="154432"/>
                  </a:lnTo>
                  <a:lnTo>
                    <a:pt x="1423302" y="155080"/>
                  </a:lnTo>
                  <a:lnTo>
                    <a:pt x="1423302" y="153746"/>
                  </a:lnTo>
                  <a:lnTo>
                    <a:pt x="1423353" y="153746"/>
                  </a:lnTo>
                  <a:lnTo>
                    <a:pt x="1423353" y="155778"/>
                  </a:lnTo>
                  <a:lnTo>
                    <a:pt x="1423353" y="153746"/>
                  </a:lnTo>
                  <a:lnTo>
                    <a:pt x="1423353" y="155080"/>
                  </a:lnTo>
                  <a:lnTo>
                    <a:pt x="1423404" y="155778"/>
                  </a:lnTo>
                  <a:lnTo>
                    <a:pt x="1423404" y="157162"/>
                  </a:lnTo>
                  <a:lnTo>
                    <a:pt x="1423404" y="155080"/>
                  </a:lnTo>
                  <a:lnTo>
                    <a:pt x="1423404" y="155778"/>
                  </a:lnTo>
                  <a:lnTo>
                    <a:pt x="1423493" y="155778"/>
                  </a:lnTo>
                  <a:lnTo>
                    <a:pt x="1423493" y="157162"/>
                  </a:lnTo>
                  <a:lnTo>
                    <a:pt x="1423493" y="155080"/>
                  </a:lnTo>
                  <a:lnTo>
                    <a:pt x="1423493" y="155778"/>
                  </a:lnTo>
                  <a:lnTo>
                    <a:pt x="1423493" y="155080"/>
                  </a:lnTo>
                  <a:lnTo>
                    <a:pt x="1423493" y="155778"/>
                  </a:lnTo>
                  <a:lnTo>
                    <a:pt x="1423544" y="157162"/>
                  </a:lnTo>
                  <a:lnTo>
                    <a:pt x="1423544" y="155778"/>
                  </a:lnTo>
                  <a:lnTo>
                    <a:pt x="1423544" y="157162"/>
                  </a:lnTo>
                  <a:lnTo>
                    <a:pt x="1423594" y="157162"/>
                  </a:lnTo>
                  <a:lnTo>
                    <a:pt x="1423594" y="155778"/>
                  </a:lnTo>
                  <a:lnTo>
                    <a:pt x="1423594" y="157810"/>
                  </a:lnTo>
                  <a:lnTo>
                    <a:pt x="1423594" y="157162"/>
                  </a:lnTo>
                  <a:lnTo>
                    <a:pt x="1423645" y="157162"/>
                  </a:lnTo>
                  <a:lnTo>
                    <a:pt x="1423645" y="157810"/>
                  </a:lnTo>
                  <a:lnTo>
                    <a:pt x="1423645" y="157162"/>
                  </a:lnTo>
                  <a:lnTo>
                    <a:pt x="1423645" y="157810"/>
                  </a:lnTo>
                  <a:lnTo>
                    <a:pt x="1423645" y="157162"/>
                  </a:lnTo>
                  <a:lnTo>
                    <a:pt x="1423645" y="157810"/>
                  </a:lnTo>
                  <a:lnTo>
                    <a:pt x="1423645" y="157162"/>
                  </a:lnTo>
                  <a:lnTo>
                    <a:pt x="1423645" y="157810"/>
                  </a:lnTo>
                  <a:lnTo>
                    <a:pt x="1423645" y="157162"/>
                  </a:lnTo>
                  <a:lnTo>
                    <a:pt x="1423747" y="157162"/>
                  </a:lnTo>
                  <a:lnTo>
                    <a:pt x="1423747" y="155080"/>
                  </a:lnTo>
                  <a:lnTo>
                    <a:pt x="1423747" y="155778"/>
                  </a:lnTo>
                  <a:lnTo>
                    <a:pt x="1423747" y="155080"/>
                  </a:lnTo>
                  <a:lnTo>
                    <a:pt x="1423797" y="155080"/>
                  </a:lnTo>
                  <a:lnTo>
                    <a:pt x="1423797" y="153746"/>
                  </a:lnTo>
                  <a:lnTo>
                    <a:pt x="1423848" y="153746"/>
                  </a:lnTo>
                  <a:lnTo>
                    <a:pt x="1423848" y="154432"/>
                  </a:lnTo>
                  <a:lnTo>
                    <a:pt x="1423848" y="153746"/>
                  </a:lnTo>
                  <a:lnTo>
                    <a:pt x="1423848" y="154432"/>
                  </a:lnTo>
                  <a:lnTo>
                    <a:pt x="1423848" y="153746"/>
                  </a:lnTo>
                  <a:lnTo>
                    <a:pt x="1423848" y="154432"/>
                  </a:lnTo>
                  <a:lnTo>
                    <a:pt x="1423950" y="154432"/>
                  </a:lnTo>
                  <a:lnTo>
                    <a:pt x="1423950" y="155778"/>
                  </a:lnTo>
                  <a:lnTo>
                    <a:pt x="1423950" y="155080"/>
                  </a:lnTo>
                  <a:lnTo>
                    <a:pt x="1423950" y="155778"/>
                  </a:lnTo>
                  <a:lnTo>
                    <a:pt x="1423950" y="155080"/>
                  </a:lnTo>
                  <a:lnTo>
                    <a:pt x="1423950" y="155778"/>
                  </a:lnTo>
                  <a:lnTo>
                    <a:pt x="1423988" y="155080"/>
                  </a:lnTo>
                  <a:lnTo>
                    <a:pt x="1423988" y="157162"/>
                  </a:lnTo>
                  <a:lnTo>
                    <a:pt x="1423988" y="154432"/>
                  </a:lnTo>
                  <a:lnTo>
                    <a:pt x="1423988" y="155778"/>
                  </a:lnTo>
                  <a:lnTo>
                    <a:pt x="1424090" y="155778"/>
                  </a:lnTo>
                  <a:lnTo>
                    <a:pt x="1424090" y="157162"/>
                  </a:lnTo>
                  <a:lnTo>
                    <a:pt x="1424090" y="155778"/>
                  </a:lnTo>
                  <a:lnTo>
                    <a:pt x="1424090" y="157162"/>
                  </a:lnTo>
                  <a:lnTo>
                    <a:pt x="1424191" y="157162"/>
                  </a:lnTo>
                  <a:lnTo>
                    <a:pt x="1424191" y="157810"/>
                  </a:lnTo>
                  <a:lnTo>
                    <a:pt x="1424191" y="157162"/>
                  </a:lnTo>
                  <a:lnTo>
                    <a:pt x="1424242" y="157162"/>
                  </a:lnTo>
                  <a:lnTo>
                    <a:pt x="1424242" y="155080"/>
                  </a:lnTo>
                  <a:lnTo>
                    <a:pt x="1424242" y="155778"/>
                  </a:lnTo>
                  <a:lnTo>
                    <a:pt x="1424242" y="155080"/>
                  </a:lnTo>
                  <a:lnTo>
                    <a:pt x="1424293" y="155080"/>
                  </a:lnTo>
                  <a:lnTo>
                    <a:pt x="1424293" y="153746"/>
                  </a:lnTo>
                  <a:lnTo>
                    <a:pt x="1424293" y="154432"/>
                  </a:lnTo>
                  <a:lnTo>
                    <a:pt x="1424293" y="153746"/>
                  </a:lnTo>
                  <a:lnTo>
                    <a:pt x="1424394" y="153746"/>
                  </a:lnTo>
                  <a:lnTo>
                    <a:pt x="1424394" y="154432"/>
                  </a:lnTo>
                  <a:lnTo>
                    <a:pt x="1424394" y="153746"/>
                  </a:lnTo>
                  <a:lnTo>
                    <a:pt x="1424394" y="155080"/>
                  </a:lnTo>
                  <a:lnTo>
                    <a:pt x="1424445" y="155080"/>
                  </a:lnTo>
                  <a:lnTo>
                    <a:pt x="1424445" y="155778"/>
                  </a:lnTo>
                  <a:lnTo>
                    <a:pt x="1424445" y="155080"/>
                  </a:lnTo>
                  <a:lnTo>
                    <a:pt x="1424445" y="155778"/>
                  </a:lnTo>
                  <a:lnTo>
                    <a:pt x="1424496" y="155080"/>
                  </a:lnTo>
                  <a:lnTo>
                    <a:pt x="1424496" y="154432"/>
                  </a:lnTo>
                  <a:lnTo>
                    <a:pt x="1424496" y="155080"/>
                  </a:lnTo>
                  <a:lnTo>
                    <a:pt x="1424496" y="154432"/>
                  </a:lnTo>
                  <a:lnTo>
                    <a:pt x="1424496" y="155080"/>
                  </a:lnTo>
                  <a:lnTo>
                    <a:pt x="1424534" y="155080"/>
                  </a:lnTo>
                  <a:lnTo>
                    <a:pt x="1424534" y="155778"/>
                  </a:lnTo>
                  <a:lnTo>
                    <a:pt x="1424534" y="155080"/>
                  </a:lnTo>
                  <a:lnTo>
                    <a:pt x="1424636" y="155080"/>
                  </a:lnTo>
                  <a:lnTo>
                    <a:pt x="1424636" y="157162"/>
                  </a:lnTo>
                  <a:lnTo>
                    <a:pt x="1424687" y="157162"/>
                  </a:lnTo>
                  <a:lnTo>
                    <a:pt x="1424687" y="155778"/>
                  </a:lnTo>
                  <a:lnTo>
                    <a:pt x="1424687" y="157162"/>
                  </a:lnTo>
                  <a:lnTo>
                    <a:pt x="1424687" y="155778"/>
                  </a:lnTo>
                  <a:lnTo>
                    <a:pt x="1424687" y="157162"/>
                  </a:lnTo>
                  <a:lnTo>
                    <a:pt x="1424687" y="155778"/>
                  </a:lnTo>
                  <a:lnTo>
                    <a:pt x="1424737" y="155778"/>
                  </a:lnTo>
                  <a:lnTo>
                    <a:pt x="1424737" y="155080"/>
                  </a:lnTo>
                  <a:lnTo>
                    <a:pt x="1424737" y="155778"/>
                  </a:lnTo>
                  <a:lnTo>
                    <a:pt x="1424737" y="154432"/>
                  </a:lnTo>
                  <a:lnTo>
                    <a:pt x="1424839" y="154432"/>
                  </a:lnTo>
                  <a:lnTo>
                    <a:pt x="1424839" y="153746"/>
                  </a:lnTo>
                  <a:lnTo>
                    <a:pt x="1424839" y="155778"/>
                  </a:lnTo>
                  <a:lnTo>
                    <a:pt x="1424839" y="154432"/>
                  </a:lnTo>
                  <a:lnTo>
                    <a:pt x="1424890" y="154432"/>
                  </a:lnTo>
                  <a:lnTo>
                    <a:pt x="1424890" y="157162"/>
                  </a:lnTo>
                  <a:lnTo>
                    <a:pt x="1424890" y="155778"/>
                  </a:lnTo>
                  <a:lnTo>
                    <a:pt x="1424890" y="157162"/>
                  </a:lnTo>
                  <a:lnTo>
                    <a:pt x="1424940" y="155778"/>
                  </a:lnTo>
                  <a:lnTo>
                    <a:pt x="1424940" y="157810"/>
                  </a:lnTo>
                  <a:lnTo>
                    <a:pt x="1424940" y="155778"/>
                  </a:lnTo>
                  <a:lnTo>
                    <a:pt x="1424991" y="157162"/>
                  </a:lnTo>
                  <a:lnTo>
                    <a:pt x="1424991" y="155778"/>
                  </a:lnTo>
                  <a:lnTo>
                    <a:pt x="1424991" y="157162"/>
                  </a:lnTo>
                  <a:lnTo>
                    <a:pt x="1425080" y="157162"/>
                  </a:lnTo>
                  <a:lnTo>
                    <a:pt x="1425080" y="157810"/>
                  </a:lnTo>
                  <a:lnTo>
                    <a:pt x="1425080" y="157162"/>
                  </a:lnTo>
                  <a:lnTo>
                    <a:pt x="1425080" y="157810"/>
                  </a:lnTo>
                  <a:lnTo>
                    <a:pt x="1425080" y="157162"/>
                  </a:lnTo>
                  <a:lnTo>
                    <a:pt x="1425080" y="157810"/>
                  </a:lnTo>
                  <a:lnTo>
                    <a:pt x="1425080" y="157162"/>
                  </a:lnTo>
                  <a:lnTo>
                    <a:pt x="1425080" y="157810"/>
                  </a:lnTo>
                  <a:lnTo>
                    <a:pt x="1425131" y="157810"/>
                  </a:lnTo>
                  <a:lnTo>
                    <a:pt x="1425131" y="157162"/>
                  </a:lnTo>
                  <a:lnTo>
                    <a:pt x="1425131" y="157810"/>
                  </a:lnTo>
                  <a:lnTo>
                    <a:pt x="1425131" y="157162"/>
                  </a:lnTo>
                  <a:lnTo>
                    <a:pt x="1425131" y="158509"/>
                  </a:lnTo>
                  <a:lnTo>
                    <a:pt x="1425131" y="157810"/>
                  </a:lnTo>
                  <a:lnTo>
                    <a:pt x="1425182" y="157810"/>
                  </a:lnTo>
                  <a:lnTo>
                    <a:pt x="1425182" y="157162"/>
                  </a:lnTo>
                  <a:lnTo>
                    <a:pt x="1425182" y="157810"/>
                  </a:lnTo>
                  <a:lnTo>
                    <a:pt x="1425182" y="157162"/>
                  </a:lnTo>
                  <a:lnTo>
                    <a:pt x="1425182" y="157810"/>
                  </a:lnTo>
                  <a:lnTo>
                    <a:pt x="1425182" y="157162"/>
                  </a:lnTo>
                  <a:lnTo>
                    <a:pt x="1425233" y="157162"/>
                  </a:lnTo>
                  <a:lnTo>
                    <a:pt x="1425233" y="154432"/>
                  </a:lnTo>
                  <a:lnTo>
                    <a:pt x="1425334" y="154432"/>
                  </a:lnTo>
                  <a:lnTo>
                    <a:pt x="1425334" y="157162"/>
                  </a:lnTo>
                  <a:lnTo>
                    <a:pt x="1425334" y="155080"/>
                  </a:lnTo>
                  <a:lnTo>
                    <a:pt x="1425334" y="155778"/>
                  </a:lnTo>
                  <a:lnTo>
                    <a:pt x="1425385" y="155778"/>
                  </a:lnTo>
                  <a:lnTo>
                    <a:pt x="1425385" y="158509"/>
                  </a:lnTo>
                  <a:lnTo>
                    <a:pt x="1425385" y="157162"/>
                  </a:lnTo>
                  <a:lnTo>
                    <a:pt x="1425436" y="157810"/>
                  </a:lnTo>
                  <a:lnTo>
                    <a:pt x="1425436" y="158509"/>
                  </a:lnTo>
                  <a:lnTo>
                    <a:pt x="1425436" y="157810"/>
                  </a:lnTo>
                  <a:lnTo>
                    <a:pt x="1425575" y="157810"/>
                  </a:lnTo>
                  <a:lnTo>
                    <a:pt x="1425575" y="158509"/>
                  </a:lnTo>
                  <a:lnTo>
                    <a:pt x="1425575" y="157810"/>
                  </a:lnTo>
                  <a:lnTo>
                    <a:pt x="1425575" y="158509"/>
                  </a:lnTo>
                  <a:lnTo>
                    <a:pt x="1425575" y="157810"/>
                  </a:lnTo>
                  <a:lnTo>
                    <a:pt x="1425575" y="158509"/>
                  </a:lnTo>
                  <a:lnTo>
                    <a:pt x="1425575" y="157810"/>
                  </a:lnTo>
                  <a:lnTo>
                    <a:pt x="1425575" y="158509"/>
                  </a:lnTo>
                  <a:lnTo>
                    <a:pt x="1425626" y="158509"/>
                  </a:lnTo>
                  <a:lnTo>
                    <a:pt x="1425626" y="157810"/>
                  </a:lnTo>
                  <a:lnTo>
                    <a:pt x="1425626" y="158509"/>
                  </a:lnTo>
                  <a:lnTo>
                    <a:pt x="1425626" y="157810"/>
                  </a:lnTo>
                  <a:lnTo>
                    <a:pt x="1425626" y="158509"/>
                  </a:lnTo>
                  <a:lnTo>
                    <a:pt x="1425626" y="157810"/>
                  </a:lnTo>
                  <a:lnTo>
                    <a:pt x="1425677" y="157162"/>
                  </a:lnTo>
                  <a:lnTo>
                    <a:pt x="1425677" y="157810"/>
                  </a:lnTo>
                  <a:lnTo>
                    <a:pt x="1425677" y="155778"/>
                  </a:lnTo>
                  <a:lnTo>
                    <a:pt x="1425677" y="157162"/>
                  </a:lnTo>
                  <a:lnTo>
                    <a:pt x="1425677" y="155778"/>
                  </a:lnTo>
                  <a:lnTo>
                    <a:pt x="1425779" y="155778"/>
                  </a:lnTo>
                  <a:lnTo>
                    <a:pt x="1425779" y="154432"/>
                  </a:lnTo>
                  <a:lnTo>
                    <a:pt x="1425779" y="155080"/>
                  </a:lnTo>
                  <a:lnTo>
                    <a:pt x="1425779" y="153746"/>
                  </a:lnTo>
                  <a:lnTo>
                    <a:pt x="1425779" y="154432"/>
                  </a:lnTo>
                  <a:lnTo>
                    <a:pt x="1425779" y="153746"/>
                  </a:lnTo>
                  <a:lnTo>
                    <a:pt x="1425779" y="155080"/>
                  </a:lnTo>
                  <a:lnTo>
                    <a:pt x="1425830" y="155778"/>
                  </a:lnTo>
                  <a:lnTo>
                    <a:pt x="1425830" y="157162"/>
                  </a:lnTo>
                  <a:lnTo>
                    <a:pt x="1425830" y="154432"/>
                  </a:lnTo>
                  <a:lnTo>
                    <a:pt x="1425830" y="158509"/>
                  </a:lnTo>
                  <a:lnTo>
                    <a:pt x="1425880" y="158509"/>
                  </a:lnTo>
                  <a:lnTo>
                    <a:pt x="1425880" y="157162"/>
                  </a:lnTo>
                  <a:lnTo>
                    <a:pt x="1425880" y="158509"/>
                  </a:lnTo>
                  <a:lnTo>
                    <a:pt x="1425982" y="158509"/>
                  </a:lnTo>
                  <a:lnTo>
                    <a:pt x="1425982" y="157810"/>
                  </a:lnTo>
                  <a:lnTo>
                    <a:pt x="1425982" y="159194"/>
                  </a:lnTo>
                  <a:lnTo>
                    <a:pt x="1425982" y="158509"/>
                  </a:lnTo>
                  <a:lnTo>
                    <a:pt x="1426033" y="158509"/>
                  </a:lnTo>
                  <a:lnTo>
                    <a:pt x="1426033" y="159194"/>
                  </a:lnTo>
                  <a:lnTo>
                    <a:pt x="1426033" y="158509"/>
                  </a:lnTo>
                  <a:lnTo>
                    <a:pt x="1426033" y="159194"/>
                  </a:lnTo>
                  <a:lnTo>
                    <a:pt x="1426033" y="158509"/>
                  </a:lnTo>
                  <a:lnTo>
                    <a:pt x="1426033" y="159194"/>
                  </a:lnTo>
                  <a:lnTo>
                    <a:pt x="1426033" y="158509"/>
                  </a:lnTo>
                  <a:lnTo>
                    <a:pt x="1426033" y="159194"/>
                  </a:lnTo>
                  <a:lnTo>
                    <a:pt x="1426033" y="158509"/>
                  </a:lnTo>
                  <a:lnTo>
                    <a:pt x="1426033" y="159194"/>
                  </a:lnTo>
                  <a:lnTo>
                    <a:pt x="1426084" y="158509"/>
                  </a:lnTo>
                  <a:lnTo>
                    <a:pt x="1426084" y="160540"/>
                  </a:lnTo>
                  <a:lnTo>
                    <a:pt x="1426084" y="159194"/>
                  </a:lnTo>
                  <a:lnTo>
                    <a:pt x="1426122" y="159194"/>
                  </a:lnTo>
                  <a:lnTo>
                    <a:pt x="1426122" y="158509"/>
                  </a:lnTo>
                  <a:lnTo>
                    <a:pt x="1426223" y="158509"/>
                  </a:lnTo>
                  <a:lnTo>
                    <a:pt x="1426223" y="157810"/>
                  </a:lnTo>
                  <a:lnTo>
                    <a:pt x="1426223" y="158509"/>
                  </a:lnTo>
                  <a:lnTo>
                    <a:pt x="1426223" y="155778"/>
                  </a:lnTo>
                  <a:lnTo>
                    <a:pt x="1426274" y="157162"/>
                  </a:lnTo>
                  <a:lnTo>
                    <a:pt x="1426274" y="158509"/>
                  </a:lnTo>
                  <a:lnTo>
                    <a:pt x="1426274" y="157810"/>
                  </a:lnTo>
                  <a:lnTo>
                    <a:pt x="1426325" y="158509"/>
                  </a:lnTo>
                  <a:lnTo>
                    <a:pt x="1426325" y="161239"/>
                  </a:lnTo>
                  <a:lnTo>
                    <a:pt x="1426325" y="159194"/>
                  </a:lnTo>
                  <a:lnTo>
                    <a:pt x="1426426" y="159194"/>
                  </a:lnTo>
                  <a:lnTo>
                    <a:pt x="1426426" y="160540"/>
                  </a:lnTo>
                  <a:lnTo>
                    <a:pt x="1426426" y="159194"/>
                  </a:lnTo>
                  <a:lnTo>
                    <a:pt x="1426477" y="160540"/>
                  </a:lnTo>
                  <a:lnTo>
                    <a:pt x="1426477" y="159194"/>
                  </a:lnTo>
                  <a:lnTo>
                    <a:pt x="1426477" y="160540"/>
                  </a:lnTo>
                  <a:lnTo>
                    <a:pt x="1426477" y="159194"/>
                  </a:lnTo>
                  <a:lnTo>
                    <a:pt x="1426528" y="159194"/>
                  </a:lnTo>
                  <a:lnTo>
                    <a:pt x="1426528" y="160540"/>
                  </a:lnTo>
                  <a:lnTo>
                    <a:pt x="1426528" y="159194"/>
                  </a:lnTo>
                  <a:lnTo>
                    <a:pt x="1426528" y="160540"/>
                  </a:lnTo>
                  <a:lnTo>
                    <a:pt x="1426528" y="159194"/>
                  </a:lnTo>
                  <a:lnTo>
                    <a:pt x="1426528" y="160540"/>
                  </a:lnTo>
                  <a:lnTo>
                    <a:pt x="1426528" y="159194"/>
                  </a:lnTo>
                  <a:lnTo>
                    <a:pt x="1426528" y="160540"/>
                  </a:lnTo>
                  <a:lnTo>
                    <a:pt x="1426579" y="160540"/>
                  </a:lnTo>
                  <a:lnTo>
                    <a:pt x="1426579" y="161239"/>
                  </a:lnTo>
                  <a:lnTo>
                    <a:pt x="1426579" y="160540"/>
                  </a:lnTo>
                  <a:lnTo>
                    <a:pt x="1426668" y="160540"/>
                  </a:lnTo>
                  <a:lnTo>
                    <a:pt x="1426668" y="157810"/>
                  </a:lnTo>
                  <a:lnTo>
                    <a:pt x="1426719" y="158509"/>
                  </a:lnTo>
                  <a:lnTo>
                    <a:pt x="1426719" y="157162"/>
                  </a:lnTo>
                  <a:lnTo>
                    <a:pt x="1426719" y="157810"/>
                  </a:lnTo>
                  <a:lnTo>
                    <a:pt x="1426719" y="155778"/>
                  </a:lnTo>
                  <a:lnTo>
                    <a:pt x="1426769" y="155778"/>
                  </a:lnTo>
                  <a:lnTo>
                    <a:pt x="1426769" y="157810"/>
                  </a:lnTo>
                  <a:lnTo>
                    <a:pt x="1426769" y="157162"/>
                  </a:lnTo>
                  <a:lnTo>
                    <a:pt x="1426769" y="157810"/>
                  </a:lnTo>
                  <a:lnTo>
                    <a:pt x="1426769" y="157162"/>
                  </a:lnTo>
                  <a:lnTo>
                    <a:pt x="1426769" y="157810"/>
                  </a:lnTo>
                  <a:lnTo>
                    <a:pt x="1426820" y="158509"/>
                  </a:lnTo>
                  <a:lnTo>
                    <a:pt x="1426820" y="160540"/>
                  </a:lnTo>
                  <a:lnTo>
                    <a:pt x="1426820" y="157810"/>
                  </a:lnTo>
                  <a:lnTo>
                    <a:pt x="1426820" y="159194"/>
                  </a:lnTo>
                  <a:lnTo>
                    <a:pt x="1426922" y="159194"/>
                  </a:lnTo>
                  <a:lnTo>
                    <a:pt x="1426922" y="160540"/>
                  </a:lnTo>
                  <a:lnTo>
                    <a:pt x="1426922" y="159194"/>
                  </a:lnTo>
                  <a:lnTo>
                    <a:pt x="1426922" y="160540"/>
                  </a:lnTo>
                  <a:lnTo>
                    <a:pt x="1426922" y="159194"/>
                  </a:lnTo>
                  <a:lnTo>
                    <a:pt x="1426922" y="160540"/>
                  </a:lnTo>
                  <a:lnTo>
                    <a:pt x="1426922" y="158509"/>
                  </a:lnTo>
                  <a:lnTo>
                    <a:pt x="1426922" y="159194"/>
                  </a:lnTo>
                  <a:lnTo>
                    <a:pt x="1426922" y="158509"/>
                  </a:lnTo>
                  <a:lnTo>
                    <a:pt x="1426922" y="159194"/>
                  </a:lnTo>
                  <a:lnTo>
                    <a:pt x="1426972" y="159194"/>
                  </a:lnTo>
                  <a:lnTo>
                    <a:pt x="1426972" y="160540"/>
                  </a:lnTo>
                  <a:lnTo>
                    <a:pt x="1426972" y="159194"/>
                  </a:lnTo>
                  <a:lnTo>
                    <a:pt x="1426972" y="160540"/>
                  </a:lnTo>
                  <a:lnTo>
                    <a:pt x="1427023" y="160540"/>
                  </a:lnTo>
                  <a:lnTo>
                    <a:pt x="1427023" y="161239"/>
                  </a:lnTo>
                  <a:lnTo>
                    <a:pt x="1427023" y="159194"/>
                  </a:lnTo>
                  <a:lnTo>
                    <a:pt x="1427023" y="161239"/>
                  </a:lnTo>
                  <a:lnTo>
                    <a:pt x="1427023" y="160540"/>
                  </a:lnTo>
                  <a:lnTo>
                    <a:pt x="1427023" y="161239"/>
                  </a:lnTo>
                  <a:lnTo>
                    <a:pt x="1427023" y="160540"/>
                  </a:lnTo>
                  <a:lnTo>
                    <a:pt x="1427023" y="161239"/>
                  </a:lnTo>
                  <a:lnTo>
                    <a:pt x="1427125" y="160540"/>
                  </a:lnTo>
                  <a:lnTo>
                    <a:pt x="1427125" y="159194"/>
                  </a:lnTo>
                  <a:lnTo>
                    <a:pt x="1427163" y="159194"/>
                  </a:lnTo>
                  <a:lnTo>
                    <a:pt x="1427163" y="157810"/>
                  </a:lnTo>
                  <a:lnTo>
                    <a:pt x="1427214" y="157810"/>
                  </a:lnTo>
                  <a:lnTo>
                    <a:pt x="1427214" y="157162"/>
                  </a:lnTo>
                  <a:lnTo>
                    <a:pt x="1427214" y="157810"/>
                  </a:lnTo>
                  <a:lnTo>
                    <a:pt x="1427214" y="155778"/>
                  </a:lnTo>
                  <a:lnTo>
                    <a:pt x="1427214" y="157162"/>
                  </a:lnTo>
                  <a:lnTo>
                    <a:pt x="1427265" y="157162"/>
                  </a:lnTo>
                  <a:lnTo>
                    <a:pt x="1427265" y="157810"/>
                  </a:lnTo>
                  <a:lnTo>
                    <a:pt x="1427265" y="157162"/>
                  </a:lnTo>
                  <a:lnTo>
                    <a:pt x="1427265" y="157810"/>
                  </a:lnTo>
                  <a:lnTo>
                    <a:pt x="1427265" y="155080"/>
                  </a:lnTo>
                  <a:lnTo>
                    <a:pt x="1427265" y="158509"/>
                  </a:lnTo>
                  <a:lnTo>
                    <a:pt x="1427366" y="159194"/>
                  </a:lnTo>
                  <a:lnTo>
                    <a:pt x="1427366" y="157162"/>
                  </a:lnTo>
                  <a:lnTo>
                    <a:pt x="1427366" y="158509"/>
                  </a:lnTo>
                  <a:lnTo>
                    <a:pt x="1427417" y="159194"/>
                  </a:lnTo>
                  <a:lnTo>
                    <a:pt x="1427417" y="157810"/>
                  </a:lnTo>
                  <a:lnTo>
                    <a:pt x="1427417" y="158509"/>
                  </a:lnTo>
                  <a:lnTo>
                    <a:pt x="1427468" y="158509"/>
                  </a:lnTo>
                  <a:lnTo>
                    <a:pt x="1427468" y="157810"/>
                  </a:lnTo>
                  <a:lnTo>
                    <a:pt x="1427468" y="158509"/>
                  </a:lnTo>
                  <a:lnTo>
                    <a:pt x="1427569" y="158509"/>
                  </a:lnTo>
                  <a:lnTo>
                    <a:pt x="1427569" y="159194"/>
                  </a:lnTo>
                  <a:lnTo>
                    <a:pt x="1427620" y="159194"/>
                  </a:lnTo>
                  <a:lnTo>
                    <a:pt x="1427620" y="158509"/>
                  </a:lnTo>
                  <a:lnTo>
                    <a:pt x="1427620" y="159194"/>
                  </a:lnTo>
                  <a:lnTo>
                    <a:pt x="1427620" y="158509"/>
                  </a:lnTo>
                  <a:lnTo>
                    <a:pt x="1427620" y="159194"/>
                  </a:lnTo>
                  <a:lnTo>
                    <a:pt x="1427620" y="158509"/>
                  </a:lnTo>
                  <a:lnTo>
                    <a:pt x="1427671" y="158509"/>
                  </a:lnTo>
                  <a:lnTo>
                    <a:pt x="1427671" y="157810"/>
                  </a:lnTo>
                  <a:lnTo>
                    <a:pt x="1427671" y="158509"/>
                  </a:lnTo>
                  <a:lnTo>
                    <a:pt x="1427671" y="157810"/>
                  </a:lnTo>
                  <a:lnTo>
                    <a:pt x="1427671" y="158509"/>
                  </a:lnTo>
                  <a:lnTo>
                    <a:pt x="1427671" y="157162"/>
                  </a:lnTo>
                  <a:lnTo>
                    <a:pt x="1427671" y="157810"/>
                  </a:lnTo>
                  <a:lnTo>
                    <a:pt x="1427671" y="157162"/>
                  </a:lnTo>
                  <a:lnTo>
                    <a:pt x="1427709" y="157162"/>
                  </a:lnTo>
                  <a:lnTo>
                    <a:pt x="1427709" y="155778"/>
                  </a:lnTo>
                  <a:lnTo>
                    <a:pt x="1427709" y="158509"/>
                  </a:lnTo>
                  <a:lnTo>
                    <a:pt x="1427709" y="157162"/>
                  </a:lnTo>
                  <a:lnTo>
                    <a:pt x="1427811" y="157162"/>
                  </a:lnTo>
                  <a:lnTo>
                    <a:pt x="1427811" y="160540"/>
                  </a:lnTo>
                  <a:lnTo>
                    <a:pt x="1427811" y="158509"/>
                  </a:lnTo>
                  <a:lnTo>
                    <a:pt x="1427862" y="158509"/>
                  </a:lnTo>
                  <a:lnTo>
                    <a:pt x="1427862" y="159194"/>
                  </a:lnTo>
                  <a:lnTo>
                    <a:pt x="1427862" y="158509"/>
                  </a:lnTo>
                  <a:lnTo>
                    <a:pt x="1427862" y="159194"/>
                  </a:lnTo>
                  <a:lnTo>
                    <a:pt x="1427862" y="158509"/>
                  </a:lnTo>
                  <a:lnTo>
                    <a:pt x="1427862" y="159194"/>
                  </a:lnTo>
                  <a:lnTo>
                    <a:pt x="1427862" y="158509"/>
                  </a:lnTo>
                  <a:lnTo>
                    <a:pt x="1427862" y="159194"/>
                  </a:lnTo>
                  <a:lnTo>
                    <a:pt x="1427912" y="159194"/>
                  </a:lnTo>
                  <a:lnTo>
                    <a:pt x="1427912" y="158509"/>
                  </a:lnTo>
                  <a:lnTo>
                    <a:pt x="1427912" y="159194"/>
                  </a:lnTo>
                  <a:lnTo>
                    <a:pt x="1428014" y="159194"/>
                  </a:lnTo>
                  <a:lnTo>
                    <a:pt x="1428014" y="160540"/>
                  </a:lnTo>
                  <a:lnTo>
                    <a:pt x="1428014" y="159194"/>
                  </a:lnTo>
                  <a:lnTo>
                    <a:pt x="1428065" y="160540"/>
                  </a:lnTo>
                  <a:lnTo>
                    <a:pt x="1428065" y="159194"/>
                  </a:lnTo>
                  <a:lnTo>
                    <a:pt x="1428065" y="160540"/>
                  </a:lnTo>
                  <a:lnTo>
                    <a:pt x="1428065" y="159194"/>
                  </a:lnTo>
                  <a:lnTo>
                    <a:pt x="1428065" y="160540"/>
                  </a:lnTo>
                  <a:lnTo>
                    <a:pt x="1428065" y="159194"/>
                  </a:lnTo>
                  <a:lnTo>
                    <a:pt x="1428115" y="160540"/>
                  </a:lnTo>
                  <a:lnTo>
                    <a:pt x="1428115" y="158509"/>
                  </a:lnTo>
                  <a:lnTo>
                    <a:pt x="1428115" y="159194"/>
                  </a:lnTo>
                  <a:lnTo>
                    <a:pt x="1428115" y="158509"/>
                  </a:lnTo>
                  <a:lnTo>
                    <a:pt x="1428166" y="158509"/>
                  </a:lnTo>
                  <a:lnTo>
                    <a:pt x="1428166" y="157810"/>
                  </a:lnTo>
                  <a:lnTo>
                    <a:pt x="1428166" y="158509"/>
                  </a:lnTo>
                  <a:lnTo>
                    <a:pt x="1428166" y="157162"/>
                  </a:lnTo>
                  <a:lnTo>
                    <a:pt x="1428166" y="157810"/>
                  </a:lnTo>
                  <a:lnTo>
                    <a:pt x="1428166" y="157162"/>
                  </a:lnTo>
                  <a:lnTo>
                    <a:pt x="1428166" y="157810"/>
                  </a:lnTo>
                  <a:lnTo>
                    <a:pt x="1428255" y="157810"/>
                  </a:lnTo>
                  <a:lnTo>
                    <a:pt x="1428255" y="158509"/>
                  </a:lnTo>
                  <a:lnTo>
                    <a:pt x="1428255" y="157810"/>
                  </a:lnTo>
                  <a:lnTo>
                    <a:pt x="1428255" y="160540"/>
                  </a:lnTo>
                  <a:lnTo>
                    <a:pt x="1428306" y="160540"/>
                  </a:lnTo>
                  <a:lnTo>
                    <a:pt x="1428306" y="159194"/>
                  </a:lnTo>
                  <a:lnTo>
                    <a:pt x="1428306" y="160540"/>
                  </a:lnTo>
                  <a:lnTo>
                    <a:pt x="1428306" y="159194"/>
                  </a:lnTo>
                  <a:lnTo>
                    <a:pt x="1428306" y="160540"/>
                  </a:lnTo>
                  <a:lnTo>
                    <a:pt x="1428306" y="159194"/>
                  </a:lnTo>
                  <a:lnTo>
                    <a:pt x="1428306" y="160540"/>
                  </a:lnTo>
                  <a:lnTo>
                    <a:pt x="1428306" y="159194"/>
                  </a:lnTo>
                  <a:lnTo>
                    <a:pt x="1428306" y="160540"/>
                  </a:lnTo>
                  <a:lnTo>
                    <a:pt x="1428357" y="160540"/>
                  </a:lnTo>
                  <a:lnTo>
                    <a:pt x="1428357" y="159194"/>
                  </a:lnTo>
                  <a:lnTo>
                    <a:pt x="1428357" y="160540"/>
                  </a:lnTo>
                  <a:lnTo>
                    <a:pt x="1428357" y="159194"/>
                  </a:lnTo>
                  <a:lnTo>
                    <a:pt x="1428408" y="159194"/>
                  </a:lnTo>
                  <a:lnTo>
                    <a:pt x="1428408" y="160540"/>
                  </a:lnTo>
                  <a:lnTo>
                    <a:pt x="1428408" y="159194"/>
                  </a:lnTo>
                  <a:lnTo>
                    <a:pt x="1428408" y="160540"/>
                  </a:lnTo>
                  <a:lnTo>
                    <a:pt x="1428509" y="160540"/>
                  </a:lnTo>
                  <a:lnTo>
                    <a:pt x="1428509" y="159194"/>
                  </a:lnTo>
                  <a:lnTo>
                    <a:pt x="1428509" y="160540"/>
                  </a:lnTo>
                  <a:lnTo>
                    <a:pt x="1428509" y="159194"/>
                  </a:lnTo>
                  <a:lnTo>
                    <a:pt x="1428509" y="160540"/>
                  </a:lnTo>
                  <a:lnTo>
                    <a:pt x="1428560" y="160540"/>
                  </a:lnTo>
                  <a:lnTo>
                    <a:pt x="1428560" y="158509"/>
                  </a:lnTo>
                  <a:lnTo>
                    <a:pt x="1428611" y="158509"/>
                  </a:lnTo>
                  <a:lnTo>
                    <a:pt x="1428611" y="157162"/>
                  </a:lnTo>
                  <a:lnTo>
                    <a:pt x="1428712" y="157162"/>
                  </a:lnTo>
                  <a:lnTo>
                    <a:pt x="1428712" y="155778"/>
                  </a:lnTo>
                  <a:lnTo>
                    <a:pt x="1428712" y="157162"/>
                  </a:lnTo>
                  <a:lnTo>
                    <a:pt x="1428712" y="155080"/>
                  </a:lnTo>
                  <a:lnTo>
                    <a:pt x="1428750" y="155080"/>
                  </a:lnTo>
                  <a:lnTo>
                    <a:pt x="1428750" y="157810"/>
                  </a:lnTo>
                  <a:lnTo>
                    <a:pt x="1428750" y="155080"/>
                  </a:lnTo>
                  <a:lnTo>
                    <a:pt x="1428750" y="155778"/>
                  </a:lnTo>
                  <a:lnTo>
                    <a:pt x="1428801" y="157162"/>
                  </a:lnTo>
                  <a:lnTo>
                    <a:pt x="1428801" y="158509"/>
                  </a:lnTo>
                  <a:lnTo>
                    <a:pt x="1428801" y="157162"/>
                  </a:lnTo>
                  <a:lnTo>
                    <a:pt x="1428801" y="157810"/>
                  </a:lnTo>
                  <a:lnTo>
                    <a:pt x="1428852" y="157810"/>
                  </a:lnTo>
                  <a:lnTo>
                    <a:pt x="1428852" y="158509"/>
                  </a:lnTo>
                  <a:lnTo>
                    <a:pt x="1428852" y="157162"/>
                  </a:lnTo>
                  <a:lnTo>
                    <a:pt x="1428852" y="158509"/>
                  </a:lnTo>
                  <a:lnTo>
                    <a:pt x="1428852" y="157810"/>
                  </a:lnTo>
                  <a:lnTo>
                    <a:pt x="1428954" y="158509"/>
                  </a:lnTo>
                  <a:lnTo>
                    <a:pt x="1428954" y="159194"/>
                  </a:lnTo>
                  <a:lnTo>
                    <a:pt x="1429005" y="159194"/>
                  </a:lnTo>
                  <a:lnTo>
                    <a:pt x="1429005" y="158509"/>
                  </a:lnTo>
                  <a:lnTo>
                    <a:pt x="1429005" y="160540"/>
                  </a:lnTo>
                  <a:lnTo>
                    <a:pt x="1429005" y="159194"/>
                  </a:lnTo>
                  <a:lnTo>
                    <a:pt x="1429005" y="160540"/>
                  </a:lnTo>
                  <a:lnTo>
                    <a:pt x="1429005" y="159194"/>
                  </a:lnTo>
                  <a:lnTo>
                    <a:pt x="1429055" y="159194"/>
                  </a:lnTo>
                  <a:lnTo>
                    <a:pt x="1429055" y="158509"/>
                  </a:lnTo>
                  <a:lnTo>
                    <a:pt x="1429055" y="159194"/>
                  </a:lnTo>
                  <a:lnTo>
                    <a:pt x="1429055" y="158509"/>
                  </a:lnTo>
                  <a:lnTo>
                    <a:pt x="1429157" y="158509"/>
                  </a:lnTo>
                  <a:lnTo>
                    <a:pt x="1429157" y="157810"/>
                  </a:lnTo>
                  <a:lnTo>
                    <a:pt x="1429157" y="158509"/>
                  </a:lnTo>
                  <a:lnTo>
                    <a:pt x="1429157" y="157162"/>
                  </a:lnTo>
                  <a:lnTo>
                    <a:pt x="1429208" y="157162"/>
                  </a:lnTo>
                  <a:lnTo>
                    <a:pt x="1429208" y="154432"/>
                  </a:lnTo>
                  <a:lnTo>
                    <a:pt x="1429259" y="154432"/>
                  </a:lnTo>
                  <a:lnTo>
                    <a:pt x="1429259" y="155778"/>
                  </a:lnTo>
                  <a:lnTo>
                    <a:pt x="1429259" y="153746"/>
                  </a:lnTo>
                  <a:lnTo>
                    <a:pt x="1429259" y="155080"/>
                  </a:lnTo>
                  <a:lnTo>
                    <a:pt x="1429297" y="155080"/>
                  </a:lnTo>
                  <a:lnTo>
                    <a:pt x="1429297" y="157162"/>
                  </a:lnTo>
                  <a:lnTo>
                    <a:pt x="1429297" y="154432"/>
                  </a:lnTo>
                  <a:lnTo>
                    <a:pt x="1429297" y="155778"/>
                  </a:lnTo>
                  <a:lnTo>
                    <a:pt x="1429398" y="155778"/>
                  </a:lnTo>
                  <a:lnTo>
                    <a:pt x="1429398" y="157162"/>
                  </a:lnTo>
                  <a:lnTo>
                    <a:pt x="1429398" y="155080"/>
                  </a:lnTo>
                  <a:lnTo>
                    <a:pt x="1429398" y="157162"/>
                  </a:lnTo>
                  <a:lnTo>
                    <a:pt x="1429449" y="157162"/>
                  </a:lnTo>
                  <a:lnTo>
                    <a:pt x="1429449" y="158509"/>
                  </a:lnTo>
                  <a:lnTo>
                    <a:pt x="1429500" y="158509"/>
                  </a:lnTo>
                  <a:lnTo>
                    <a:pt x="1429500" y="157810"/>
                  </a:lnTo>
                  <a:lnTo>
                    <a:pt x="1429500" y="158509"/>
                  </a:lnTo>
                  <a:lnTo>
                    <a:pt x="1429601" y="157810"/>
                  </a:lnTo>
                  <a:lnTo>
                    <a:pt x="1429601" y="158509"/>
                  </a:lnTo>
                  <a:lnTo>
                    <a:pt x="1429601" y="157810"/>
                  </a:lnTo>
                  <a:lnTo>
                    <a:pt x="1429601" y="158509"/>
                  </a:lnTo>
                  <a:lnTo>
                    <a:pt x="1429601" y="157810"/>
                  </a:lnTo>
                  <a:lnTo>
                    <a:pt x="1429601" y="158509"/>
                  </a:lnTo>
                  <a:lnTo>
                    <a:pt x="1429601" y="157810"/>
                  </a:lnTo>
                  <a:lnTo>
                    <a:pt x="1429652" y="157810"/>
                  </a:lnTo>
                  <a:lnTo>
                    <a:pt x="1429652" y="158509"/>
                  </a:lnTo>
                  <a:lnTo>
                    <a:pt x="1429652" y="157162"/>
                  </a:lnTo>
                  <a:lnTo>
                    <a:pt x="1429703" y="155778"/>
                  </a:lnTo>
                  <a:lnTo>
                    <a:pt x="1429703" y="157162"/>
                  </a:lnTo>
                  <a:lnTo>
                    <a:pt x="1429703" y="154432"/>
                  </a:lnTo>
                  <a:lnTo>
                    <a:pt x="1429703" y="155080"/>
                  </a:lnTo>
                  <a:lnTo>
                    <a:pt x="1429754" y="154432"/>
                  </a:lnTo>
                  <a:lnTo>
                    <a:pt x="1429754" y="155080"/>
                  </a:lnTo>
                  <a:lnTo>
                    <a:pt x="1429754" y="154432"/>
                  </a:lnTo>
                  <a:lnTo>
                    <a:pt x="1429754" y="155080"/>
                  </a:lnTo>
                  <a:lnTo>
                    <a:pt x="1429754" y="154432"/>
                  </a:lnTo>
                  <a:lnTo>
                    <a:pt x="1429843" y="154432"/>
                  </a:lnTo>
                  <a:lnTo>
                    <a:pt x="1429843" y="155778"/>
                  </a:lnTo>
                  <a:lnTo>
                    <a:pt x="1429843" y="155080"/>
                  </a:lnTo>
                  <a:lnTo>
                    <a:pt x="1429843" y="155778"/>
                  </a:lnTo>
                  <a:lnTo>
                    <a:pt x="1429843" y="154432"/>
                  </a:lnTo>
                  <a:lnTo>
                    <a:pt x="1429843" y="155080"/>
                  </a:lnTo>
                  <a:lnTo>
                    <a:pt x="1429894" y="155080"/>
                  </a:lnTo>
                  <a:lnTo>
                    <a:pt x="1429894" y="157162"/>
                  </a:lnTo>
                  <a:lnTo>
                    <a:pt x="1429894" y="155778"/>
                  </a:lnTo>
                  <a:lnTo>
                    <a:pt x="1429944" y="157162"/>
                  </a:lnTo>
                  <a:lnTo>
                    <a:pt x="1429944" y="157810"/>
                  </a:lnTo>
                  <a:lnTo>
                    <a:pt x="1429944" y="157162"/>
                  </a:lnTo>
                  <a:lnTo>
                    <a:pt x="1429944" y="157810"/>
                  </a:lnTo>
                  <a:lnTo>
                    <a:pt x="1429995" y="157810"/>
                  </a:lnTo>
                  <a:lnTo>
                    <a:pt x="1429995" y="158509"/>
                  </a:lnTo>
                  <a:lnTo>
                    <a:pt x="1429995" y="157810"/>
                  </a:lnTo>
                  <a:lnTo>
                    <a:pt x="1429995" y="158509"/>
                  </a:lnTo>
                  <a:lnTo>
                    <a:pt x="1430097" y="158509"/>
                  </a:lnTo>
                  <a:lnTo>
                    <a:pt x="1430097" y="157810"/>
                  </a:lnTo>
                  <a:lnTo>
                    <a:pt x="1430097" y="159194"/>
                  </a:lnTo>
                  <a:lnTo>
                    <a:pt x="1430097" y="158509"/>
                  </a:lnTo>
                  <a:lnTo>
                    <a:pt x="1430147" y="158509"/>
                  </a:lnTo>
                  <a:lnTo>
                    <a:pt x="1430147" y="157162"/>
                  </a:lnTo>
                  <a:lnTo>
                    <a:pt x="1430147" y="157810"/>
                  </a:lnTo>
                  <a:lnTo>
                    <a:pt x="1430147" y="157162"/>
                  </a:lnTo>
                  <a:lnTo>
                    <a:pt x="1430198" y="157162"/>
                  </a:lnTo>
                  <a:lnTo>
                    <a:pt x="1430198" y="157810"/>
                  </a:lnTo>
                  <a:lnTo>
                    <a:pt x="1430198" y="155778"/>
                  </a:lnTo>
                  <a:lnTo>
                    <a:pt x="1430198" y="157162"/>
                  </a:lnTo>
                  <a:lnTo>
                    <a:pt x="1430198" y="155778"/>
                  </a:lnTo>
                  <a:lnTo>
                    <a:pt x="1430300" y="155778"/>
                  </a:lnTo>
                  <a:lnTo>
                    <a:pt x="1430300" y="154432"/>
                  </a:lnTo>
                  <a:lnTo>
                    <a:pt x="1430300" y="155778"/>
                  </a:lnTo>
                  <a:lnTo>
                    <a:pt x="1430338" y="157162"/>
                  </a:lnTo>
                  <a:lnTo>
                    <a:pt x="1430338" y="155778"/>
                  </a:lnTo>
                  <a:lnTo>
                    <a:pt x="1430338" y="157162"/>
                  </a:lnTo>
                  <a:lnTo>
                    <a:pt x="1430389" y="157162"/>
                  </a:lnTo>
                  <a:lnTo>
                    <a:pt x="1430389" y="155080"/>
                  </a:lnTo>
                  <a:lnTo>
                    <a:pt x="1430389" y="155778"/>
                  </a:lnTo>
                  <a:lnTo>
                    <a:pt x="1430440" y="157162"/>
                  </a:lnTo>
                  <a:lnTo>
                    <a:pt x="1430440" y="155778"/>
                  </a:lnTo>
                  <a:lnTo>
                    <a:pt x="1430440" y="157162"/>
                  </a:lnTo>
                  <a:lnTo>
                    <a:pt x="1430440" y="155778"/>
                  </a:lnTo>
                  <a:lnTo>
                    <a:pt x="1430440" y="157810"/>
                  </a:lnTo>
                  <a:lnTo>
                    <a:pt x="1430440" y="157162"/>
                  </a:lnTo>
                  <a:lnTo>
                    <a:pt x="1430440" y="157810"/>
                  </a:lnTo>
                  <a:lnTo>
                    <a:pt x="1430440" y="157162"/>
                  </a:lnTo>
                  <a:lnTo>
                    <a:pt x="1430541" y="157162"/>
                  </a:lnTo>
                  <a:lnTo>
                    <a:pt x="1430541" y="157810"/>
                  </a:lnTo>
                  <a:lnTo>
                    <a:pt x="1430541" y="157162"/>
                  </a:lnTo>
                  <a:lnTo>
                    <a:pt x="1430541" y="157810"/>
                  </a:lnTo>
                  <a:lnTo>
                    <a:pt x="1430541" y="157162"/>
                  </a:lnTo>
                  <a:lnTo>
                    <a:pt x="1430592" y="157162"/>
                  </a:lnTo>
                  <a:lnTo>
                    <a:pt x="1430592" y="157810"/>
                  </a:lnTo>
                  <a:lnTo>
                    <a:pt x="1430592" y="157162"/>
                  </a:lnTo>
                  <a:lnTo>
                    <a:pt x="1430592" y="157810"/>
                  </a:lnTo>
                  <a:lnTo>
                    <a:pt x="1430643" y="157810"/>
                  </a:lnTo>
                  <a:lnTo>
                    <a:pt x="1430643" y="157162"/>
                  </a:lnTo>
                  <a:lnTo>
                    <a:pt x="1430643" y="157810"/>
                  </a:lnTo>
                  <a:lnTo>
                    <a:pt x="1430643" y="157162"/>
                  </a:lnTo>
                  <a:lnTo>
                    <a:pt x="1430643" y="157810"/>
                  </a:lnTo>
                  <a:lnTo>
                    <a:pt x="1430643" y="157162"/>
                  </a:lnTo>
                  <a:lnTo>
                    <a:pt x="1430643" y="157810"/>
                  </a:lnTo>
                  <a:lnTo>
                    <a:pt x="1430643" y="157162"/>
                  </a:lnTo>
                  <a:lnTo>
                    <a:pt x="1430744" y="157162"/>
                  </a:lnTo>
                  <a:lnTo>
                    <a:pt x="1430744" y="159194"/>
                  </a:lnTo>
                  <a:lnTo>
                    <a:pt x="1430744" y="157810"/>
                  </a:lnTo>
                  <a:lnTo>
                    <a:pt x="1430795" y="157810"/>
                  </a:lnTo>
                  <a:lnTo>
                    <a:pt x="1430795" y="160540"/>
                  </a:lnTo>
                  <a:lnTo>
                    <a:pt x="1430795" y="158509"/>
                  </a:lnTo>
                  <a:lnTo>
                    <a:pt x="1430795" y="159194"/>
                  </a:lnTo>
                  <a:lnTo>
                    <a:pt x="1430795" y="158509"/>
                  </a:lnTo>
                  <a:lnTo>
                    <a:pt x="1430846" y="159194"/>
                  </a:lnTo>
                  <a:lnTo>
                    <a:pt x="1430846" y="160540"/>
                  </a:lnTo>
                  <a:lnTo>
                    <a:pt x="1430846" y="159194"/>
                  </a:lnTo>
                  <a:lnTo>
                    <a:pt x="1430846" y="160540"/>
                  </a:lnTo>
                  <a:lnTo>
                    <a:pt x="1430846" y="159194"/>
                  </a:lnTo>
                  <a:lnTo>
                    <a:pt x="1430846" y="160540"/>
                  </a:lnTo>
                  <a:lnTo>
                    <a:pt x="1430846" y="159194"/>
                  </a:lnTo>
                  <a:lnTo>
                    <a:pt x="1430846" y="160540"/>
                  </a:lnTo>
                  <a:lnTo>
                    <a:pt x="1430884" y="160540"/>
                  </a:lnTo>
                  <a:lnTo>
                    <a:pt x="1430884" y="159194"/>
                  </a:lnTo>
                  <a:lnTo>
                    <a:pt x="1430884" y="160540"/>
                  </a:lnTo>
                  <a:lnTo>
                    <a:pt x="1430986" y="160540"/>
                  </a:lnTo>
                  <a:lnTo>
                    <a:pt x="1430986" y="161239"/>
                  </a:lnTo>
                  <a:lnTo>
                    <a:pt x="1430986" y="159194"/>
                  </a:lnTo>
                  <a:lnTo>
                    <a:pt x="1430986" y="160540"/>
                  </a:lnTo>
                  <a:lnTo>
                    <a:pt x="1431037" y="160540"/>
                  </a:lnTo>
                  <a:lnTo>
                    <a:pt x="1431037" y="159194"/>
                  </a:lnTo>
                  <a:lnTo>
                    <a:pt x="1431037" y="160540"/>
                  </a:lnTo>
                  <a:lnTo>
                    <a:pt x="1431037" y="159194"/>
                  </a:lnTo>
                  <a:lnTo>
                    <a:pt x="1431037" y="160540"/>
                  </a:lnTo>
                  <a:lnTo>
                    <a:pt x="1431037" y="159194"/>
                  </a:lnTo>
                  <a:lnTo>
                    <a:pt x="1431087" y="159194"/>
                  </a:lnTo>
                  <a:lnTo>
                    <a:pt x="1431087" y="158509"/>
                  </a:lnTo>
                  <a:lnTo>
                    <a:pt x="1431189" y="158509"/>
                  </a:lnTo>
                  <a:lnTo>
                    <a:pt x="1431189" y="157162"/>
                  </a:lnTo>
                  <a:lnTo>
                    <a:pt x="1431189" y="157810"/>
                  </a:lnTo>
                  <a:lnTo>
                    <a:pt x="1431189" y="157162"/>
                  </a:lnTo>
                  <a:lnTo>
                    <a:pt x="1431189" y="157810"/>
                  </a:lnTo>
                  <a:lnTo>
                    <a:pt x="1431240" y="158509"/>
                  </a:lnTo>
                  <a:lnTo>
                    <a:pt x="1431240" y="160540"/>
                  </a:lnTo>
                  <a:lnTo>
                    <a:pt x="1431240" y="157810"/>
                  </a:lnTo>
                  <a:lnTo>
                    <a:pt x="1431240" y="161925"/>
                  </a:lnTo>
                  <a:lnTo>
                    <a:pt x="1431290" y="161925"/>
                  </a:lnTo>
                  <a:lnTo>
                    <a:pt x="1431290" y="159194"/>
                  </a:lnTo>
                  <a:lnTo>
                    <a:pt x="1431290" y="161239"/>
                  </a:lnTo>
                  <a:lnTo>
                    <a:pt x="1431290" y="160540"/>
                  </a:lnTo>
                  <a:lnTo>
                    <a:pt x="1431290" y="161239"/>
                  </a:lnTo>
                  <a:lnTo>
                    <a:pt x="1431341" y="161925"/>
                  </a:lnTo>
                  <a:lnTo>
                    <a:pt x="1431341" y="160540"/>
                  </a:lnTo>
                  <a:lnTo>
                    <a:pt x="1431341" y="161925"/>
                  </a:lnTo>
                  <a:lnTo>
                    <a:pt x="1431341" y="161239"/>
                  </a:lnTo>
                  <a:lnTo>
                    <a:pt x="1431430" y="161239"/>
                  </a:lnTo>
                  <a:lnTo>
                    <a:pt x="1431430" y="161925"/>
                  </a:lnTo>
                  <a:lnTo>
                    <a:pt x="1431430" y="161239"/>
                  </a:lnTo>
                  <a:lnTo>
                    <a:pt x="1431430" y="161925"/>
                  </a:lnTo>
                  <a:lnTo>
                    <a:pt x="1431481" y="161239"/>
                  </a:lnTo>
                  <a:lnTo>
                    <a:pt x="1431481" y="160540"/>
                  </a:lnTo>
                  <a:lnTo>
                    <a:pt x="1431481" y="161239"/>
                  </a:lnTo>
                  <a:lnTo>
                    <a:pt x="1431532" y="161239"/>
                  </a:lnTo>
                  <a:lnTo>
                    <a:pt x="1431532" y="159194"/>
                  </a:lnTo>
                  <a:lnTo>
                    <a:pt x="1431583" y="159194"/>
                  </a:lnTo>
                  <a:lnTo>
                    <a:pt x="1431583" y="157810"/>
                  </a:lnTo>
                  <a:lnTo>
                    <a:pt x="1431583" y="158509"/>
                  </a:lnTo>
                  <a:lnTo>
                    <a:pt x="1431583" y="157810"/>
                  </a:lnTo>
                  <a:lnTo>
                    <a:pt x="1431684" y="157810"/>
                  </a:lnTo>
                  <a:lnTo>
                    <a:pt x="1431684" y="155778"/>
                  </a:lnTo>
                  <a:lnTo>
                    <a:pt x="1431684" y="158509"/>
                  </a:lnTo>
                  <a:lnTo>
                    <a:pt x="1431735" y="157810"/>
                  </a:lnTo>
                  <a:lnTo>
                    <a:pt x="1431735" y="157162"/>
                  </a:lnTo>
                  <a:lnTo>
                    <a:pt x="1431735" y="160540"/>
                  </a:lnTo>
                  <a:lnTo>
                    <a:pt x="1431735" y="159194"/>
                  </a:lnTo>
                  <a:lnTo>
                    <a:pt x="1431786" y="159194"/>
                  </a:lnTo>
                  <a:lnTo>
                    <a:pt x="1431786" y="158509"/>
                  </a:lnTo>
                  <a:lnTo>
                    <a:pt x="1431786" y="160540"/>
                  </a:lnTo>
                  <a:lnTo>
                    <a:pt x="1431786" y="159194"/>
                  </a:lnTo>
                  <a:lnTo>
                    <a:pt x="1431887" y="159194"/>
                  </a:lnTo>
                  <a:lnTo>
                    <a:pt x="1431887" y="160540"/>
                  </a:lnTo>
                  <a:lnTo>
                    <a:pt x="1431887" y="159194"/>
                  </a:lnTo>
                  <a:lnTo>
                    <a:pt x="1431887" y="161239"/>
                  </a:lnTo>
                  <a:lnTo>
                    <a:pt x="1431925" y="161239"/>
                  </a:lnTo>
                  <a:lnTo>
                    <a:pt x="1431925" y="160540"/>
                  </a:lnTo>
                  <a:lnTo>
                    <a:pt x="1431925" y="161239"/>
                  </a:lnTo>
                  <a:lnTo>
                    <a:pt x="1431925" y="160540"/>
                  </a:lnTo>
                  <a:lnTo>
                    <a:pt x="1431925" y="161239"/>
                  </a:lnTo>
                  <a:lnTo>
                    <a:pt x="1431976" y="161239"/>
                  </a:lnTo>
                  <a:lnTo>
                    <a:pt x="1431976" y="160540"/>
                  </a:lnTo>
                  <a:lnTo>
                    <a:pt x="1431976" y="161925"/>
                  </a:lnTo>
                  <a:lnTo>
                    <a:pt x="1431976" y="161239"/>
                  </a:lnTo>
                  <a:lnTo>
                    <a:pt x="1431976" y="161925"/>
                  </a:lnTo>
                  <a:lnTo>
                    <a:pt x="1431976" y="161239"/>
                  </a:lnTo>
                  <a:lnTo>
                    <a:pt x="1431976" y="161925"/>
                  </a:lnTo>
                  <a:lnTo>
                    <a:pt x="1432027" y="161239"/>
                  </a:lnTo>
                  <a:lnTo>
                    <a:pt x="1432027" y="160540"/>
                  </a:lnTo>
                  <a:lnTo>
                    <a:pt x="1432027" y="161239"/>
                  </a:lnTo>
                  <a:lnTo>
                    <a:pt x="1432027" y="160540"/>
                  </a:lnTo>
                  <a:lnTo>
                    <a:pt x="1432027" y="161239"/>
                  </a:lnTo>
                  <a:lnTo>
                    <a:pt x="1432027" y="160540"/>
                  </a:lnTo>
                  <a:lnTo>
                    <a:pt x="1432129" y="160540"/>
                  </a:lnTo>
                  <a:lnTo>
                    <a:pt x="1432129" y="159194"/>
                  </a:lnTo>
                  <a:lnTo>
                    <a:pt x="1432129" y="160540"/>
                  </a:lnTo>
                  <a:lnTo>
                    <a:pt x="1432129" y="158509"/>
                  </a:lnTo>
                  <a:lnTo>
                    <a:pt x="1432180" y="157810"/>
                  </a:lnTo>
                  <a:lnTo>
                    <a:pt x="1432180" y="158509"/>
                  </a:lnTo>
                  <a:lnTo>
                    <a:pt x="1432230" y="157810"/>
                  </a:lnTo>
                  <a:lnTo>
                    <a:pt x="1432230" y="159194"/>
                  </a:lnTo>
                  <a:lnTo>
                    <a:pt x="1432332" y="159194"/>
                  </a:lnTo>
                  <a:lnTo>
                    <a:pt x="1432332" y="160540"/>
                  </a:lnTo>
                  <a:lnTo>
                    <a:pt x="1432332" y="159194"/>
                  </a:lnTo>
                  <a:lnTo>
                    <a:pt x="1432332" y="160540"/>
                  </a:lnTo>
                  <a:lnTo>
                    <a:pt x="1432332" y="159194"/>
                  </a:lnTo>
                  <a:lnTo>
                    <a:pt x="1432332" y="160540"/>
                  </a:lnTo>
                  <a:lnTo>
                    <a:pt x="1432332" y="159194"/>
                  </a:lnTo>
                  <a:lnTo>
                    <a:pt x="1432332" y="160540"/>
                  </a:lnTo>
                  <a:lnTo>
                    <a:pt x="1432332" y="159194"/>
                  </a:lnTo>
                  <a:lnTo>
                    <a:pt x="1432383" y="159194"/>
                  </a:lnTo>
                  <a:lnTo>
                    <a:pt x="1432383" y="160540"/>
                  </a:lnTo>
                  <a:lnTo>
                    <a:pt x="1432383" y="159194"/>
                  </a:lnTo>
                  <a:lnTo>
                    <a:pt x="1432383" y="160540"/>
                  </a:lnTo>
                  <a:lnTo>
                    <a:pt x="1432434" y="160540"/>
                  </a:lnTo>
                  <a:lnTo>
                    <a:pt x="1432434" y="161239"/>
                  </a:lnTo>
                  <a:lnTo>
                    <a:pt x="1432434" y="160540"/>
                  </a:lnTo>
                  <a:lnTo>
                    <a:pt x="1432434" y="161239"/>
                  </a:lnTo>
                  <a:lnTo>
                    <a:pt x="1432472" y="161239"/>
                  </a:lnTo>
                  <a:lnTo>
                    <a:pt x="1432472" y="160540"/>
                  </a:lnTo>
                  <a:lnTo>
                    <a:pt x="1432472" y="161239"/>
                  </a:lnTo>
                  <a:lnTo>
                    <a:pt x="1432472" y="160540"/>
                  </a:lnTo>
                  <a:lnTo>
                    <a:pt x="1432472" y="161239"/>
                  </a:lnTo>
                  <a:lnTo>
                    <a:pt x="1432472" y="160540"/>
                  </a:lnTo>
                  <a:lnTo>
                    <a:pt x="1432472" y="161239"/>
                  </a:lnTo>
                  <a:lnTo>
                    <a:pt x="1432472" y="160540"/>
                  </a:lnTo>
                  <a:lnTo>
                    <a:pt x="1432472" y="161239"/>
                  </a:lnTo>
                  <a:lnTo>
                    <a:pt x="1432573" y="160540"/>
                  </a:lnTo>
                  <a:lnTo>
                    <a:pt x="1432573" y="159194"/>
                  </a:lnTo>
                  <a:lnTo>
                    <a:pt x="1432573" y="160540"/>
                  </a:lnTo>
                  <a:lnTo>
                    <a:pt x="1432573" y="159194"/>
                  </a:lnTo>
                  <a:lnTo>
                    <a:pt x="1432624" y="159194"/>
                  </a:lnTo>
                  <a:lnTo>
                    <a:pt x="1432624" y="157810"/>
                  </a:lnTo>
                  <a:lnTo>
                    <a:pt x="1432675" y="157810"/>
                  </a:lnTo>
                  <a:lnTo>
                    <a:pt x="1432675" y="158509"/>
                  </a:lnTo>
                  <a:lnTo>
                    <a:pt x="1432675" y="157162"/>
                  </a:lnTo>
                  <a:lnTo>
                    <a:pt x="1432675" y="157810"/>
                  </a:lnTo>
                  <a:lnTo>
                    <a:pt x="1432776" y="157810"/>
                  </a:lnTo>
                  <a:lnTo>
                    <a:pt x="1432776" y="160540"/>
                  </a:lnTo>
                  <a:lnTo>
                    <a:pt x="1432776" y="158509"/>
                  </a:lnTo>
                  <a:lnTo>
                    <a:pt x="1432776" y="159194"/>
                  </a:lnTo>
                  <a:lnTo>
                    <a:pt x="1432827" y="159194"/>
                  </a:lnTo>
                  <a:lnTo>
                    <a:pt x="1432827" y="160540"/>
                  </a:lnTo>
                  <a:lnTo>
                    <a:pt x="1432827" y="158509"/>
                  </a:lnTo>
                  <a:lnTo>
                    <a:pt x="1432827" y="160540"/>
                  </a:lnTo>
                  <a:lnTo>
                    <a:pt x="1432878" y="159194"/>
                  </a:lnTo>
                  <a:lnTo>
                    <a:pt x="1432878" y="160540"/>
                  </a:lnTo>
                  <a:lnTo>
                    <a:pt x="1432878" y="159194"/>
                  </a:lnTo>
                  <a:lnTo>
                    <a:pt x="1432878" y="160540"/>
                  </a:lnTo>
                  <a:lnTo>
                    <a:pt x="1432878" y="159194"/>
                  </a:lnTo>
                  <a:lnTo>
                    <a:pt x="1432878" y="160540"/>
                  </a:lnTo>
                  <a:lnTo>
                    <a:pt x="1432878" y="159194"/>
                  </a:lnTo>
                  <a:lnTo>
                    <a:pt x="1432929" y="159194"/>
                  </a:lnTo>
                  <a:lnTo>
                    <a:pt x="1432929" y="161239"/>
                  </a:lnTo>
                  <a:lnTo>
                    <a:pt x="1432929" y="160540"/>
                  </a:lnTo>
                  <a:lnTo>
                    <a:pt x="1433018" y="160540"/>
                  </a:lnTo>
                  <a:lnTo>
                    <a:pt x="1433018" y="161239"/>
                  </a:lnTo>
                  <a:lnTo>
                    <a:pt x="1433018" y="160540"/>
                  </a:lnTo>
                  <a:lnTo>
                    <a:pt x="1433018" y="161239"/>
                  </a:lnTo>
                  <a:lnTo>
                    <a:pt x="1433018" y="160540"/>
                  </a:lnTo>
                  <a:lnTo>
                    <a:pt x="1433069" y="160540"/>
                  </a:lnTo>
                  <a:lnTo>
                    <a:pt x="1433069" y="159194"/>
                  </a:lnTo>
                  <a:lnTo>
                    <a:pt x="1433069" y="160540"/>
                  </a:lnTo>
                  <a:lnTo>
                    <a:pt x="1433069" y="159194"/>
                  </a:lnTo>
                  <a:lnTo>
                    <a:pt x="1433069" y="160540"/>
                  </a:lnTo>
                  <a:lnTo>
                    <a:pt x="1433069" y="158509"/>
                  </a:lnTo>
                  <a:lnTo>
                    <a:pt x="1433069" y="159194"/>
                  </a:lnTo>
                  <a:lnTo>
                    <a:pt x="1433119" y="158509"/>
                  </a:lnTo>
                  <a:lnTo>
                    <a:pt x="1433119" y="157162"/>
                  </a:lnTo>
                  <a:lnTo>
                    <a:pt x="1433170" y="157162"/>
                  </a:lnTo>
                  <a:lnTo>
                    <a:pt x="1433170" y="157810"/>
                  </a:lnTo>
                  <a:lnTo>
                    <a:pt x="1433272" y="157810"/>
                  </a:lnTo>
                  <a:lnTo>
                    <a:pt x="1433272" y="158509"/>
                  </a:lnTo>
                  <a:lnTo>
                    <a:pt x="1433272" y="157810"/>
                  </a:lnTo>
                  <a:lnTo>
                    <a:pt x="1433272" y="158509"/>
                  </a:lnTo>
                  <a:lnTo>
                    <a:pt x="1433272" y="157810"/>
                  </a:lnTo>
                  <a:lnTo>
                    <a:pt x="1433272" y="158509"/>
                  </a:lnTo>
                  <a:lnTo>
                    <a:pt x="1433272" y="157810"/>
                  </a:lnTo>
                  <a:lnTo>
                    <a:pt x="1433272" y="158509"/>
                  </a:lnTo>
                  <a:lnTo>
                    <a:pt x="1433272" y="157810"/>
                  </a:lnTo>
                  <a:lnTo>
                    <a:pt x="1433272" y="158509"/>
                  </a:lnTo>
                  <a:lnTo>
                    <a:pt x="1433322" y="158509"/>
                  </a:lnTo>
                  <a:lnTo>
                    <a:pt x="1433322" y="157810"/>
                  </a:lnTo>
                  <a:lnTo>
                    <a:pt x="1433322" y="158509"/>
                  </a:lnTo>
                  <a:lnTo>
                    <a:pt x="1433373" y="159194"/>
                  </a:lnTo>
                  <a:lnTo>
                    <a:pt x="1433373" y="158509"/>
                  </a:lnTo>
                  <a:lnTo>
                    <a:pt x="1433373" y="159194"/>
                  </a:lnTo>
                  <a:lnTo>
                    <a:pt x="1433373" y="158509"/>
                  </a:lnTo>
                  <a:lnTo>
                    <a:pt x="1433373" y="159194"/>
                  </a:lnTo>
                  <a:lnTo>
                    <a:pt x="1433475" y="159194"/>
                  </a:lnTo>
                  <a:lnTo>
                    <a:pt x="1433475" y="158509"/>
                  </a:lnTo>
                  <a:lnTo>
                    <a:pt x="1433475" y="159194"/>
                  </a:lnTo>
                  <a:lnTo>
                    <a:pt x="1433475" y="158509"/>
                  </a:lnTo>
                  <a:lnTo>
                    <a:pt x="1433475" y="159194"/>
                  </a:lnTo>
                  <a:lnTo>
                    <a:pt x="1433513" y="159194"/>
                  </a:lnTo>
                  <a:lnTo>
                    <a:pt x="1433513" y="160540"/>
                  </a:lnTo>
                  <a:lnTo>
                    <a:pt x="1433513" y="159194"/>
                  </a:lnTo>
                  <a:lnTo>
                    <a:pt x="1433513" y="160540"/>
                  </a:lnTo>
                  <a:lnTo>
                    <a:pt x="1433513" y="159194"/>
                  </a:lnTo>
                  <a:lnTo>
                    <a:pt x="1433513" y="160540"/>
                  </a:lnTo>
                  <a:lnTo>
                    <a:pt x="1433513" y="159194"/>
                  </a:lnTo>
                  <a:lnTo>
                    <a:pt x="1433564" y="159194"/>
                  </a:lnTo>
                  <a:lnTo>
                    <a:pt x="1433564" y="158509"/>
                  </a:lnTo>
                  <a:lnTo>
                    <a:pt x="1433564" y="159194"/>
                  </a:lnTo>
                  <a:lnTo>
                    <a:pt x="1433564" y="158509"/>
                  </a:lnTo>
                  <a:lnTo>
                    <a:pt x="1433615" y="158509"/>
                  </a:lnTo>
                  <a:lnTo>
                    <a:pt x="1433615" y="157162"/>
                  </a:lnTo>
                  <a:lnTo>
                    <a:pt x="1433615" y="157810"/>
                  </a:lnTo>
                  <a:lnTo>
                    <a:pt x="1433716" y="157162"/>
                  </a:lnTo>
                  <a:lnTo>
                    <a:pt x="1433716" y="157810"/>
                  </a:lnTo>
                  <a:lnTo>
                    <a:pt x="1433716" y="157162"/>
                  </a:lnTo>
                  <a:lnTo>
                    <a:pt x="1433716" y="158509"/>
                  </a:lnTo>
                  <a:lnTo>
                    <a:pt x="1433767" y="158509"/>
                  </a:lnTo>
                  <a:lnTo>
                    <a:pt x="1433767" y="159194"/>
                  </a:lnTo>
                  <a:lnTo>
                    <a:pt x="1433767" y="158509"/>
                  </a:lnTo>
                  <a:lnTo>
                    <a:pt x="1433767" y="159194"/>
                  </a:lnTo>
                  <a:lnTo>
                    <a:pt x="1433818" y="160540"/>
                  </a:lnTo>
                  <a:lnTo>
                    <a:pt x="1433818" y="159194"/>
                  </a:lnTo>
                  <a:lnTo>
                    <a:pt x="1433818" y="160540"/>
                  </a:lnTo>
                  <a:lnTo>
                    <a:pt x="1433818" y="158509"/>
                  </a:lnTo>
                  <a:lnTo>
                    <a:pt x="1433818" y="160540"/>
                  </a:lnTo>
                  <a:lnTo>
                    <a:pt x="1433818" y="159194"/>
                  </a:lnTo>
                  <a:lnTo>
                    <a:pt x="1433919" y="159194"/>
                  </a:lnTo>
                  <a:lnTo>
                    <a:pt x="1433919" y="160540"/>
                  </a:lnTo>
                  <a:lnTo>
                    <a:pt x="1433919" y="159194"/>
                  </a:lnTo>
                  <a:lnTo>
                    <a:pt x="1433919" y="161239"/>
                  </a:lnTo>
                  <a:lnTo>
                    <a:pt x="1433919" y="160540"/>
                  </a:lnTo>
                  <a:lnTo>
                    <a:pt x="1433970" y="160540"/>
                  </a:lnTo>
                  <a:lnTo>
                    <a:pt x="1433970" y="161239"/>
                  </a:lnTo>
                  <a:lnTo>
                    <a:pt x="1433970" y="160540"/>
                  </a:lnTo>
                  <a:lnTo>
                    <a:pt x="1434021" y="160540"/>
                  </a:lnTo>
                  <a:lnTo>
                    <a:pt x="1434021" y="161239"/>
                  </a:lnTo>
                  <a:lnTo>
                    <a:pt x="1434021" y="160540"/>
                  </a:lnTo>
                  <a:lnTo>
                    <a:pt x="1434021" y="161239"/>
                  </a:lnTo>
                  <a:lnTo>
                    <a:pt x="1434021" y="160540"/>
                  </a:lnTo>
                  <a:lnTo>
                    <a:pt x="1434021" y="161239"/>
                  </a:lnTo>
                  <a:lnTo>
                    <a:pt x="1434021" y="160540"/>
                  </a:lnTo>
                  <a:lnTo>
                    <a:pt x="1434059" y="160540"/>
                  </a:lnTo>
                  <a:lnTo>
                    <a:pt x="1434059" y="159194"/>
                  </a:lnTo>
                  <a:lnTo>
                    <a:pt x="1434059" y="160540"/>
                  </a:lnTo>
                  <a:lnTo>
                    <a:pt x="1434059" y="159194"/>
                  </a:lnTo>
                  <a:lnTo>
                    <a:pt x="1434161" y="159194"/>
                  </a:lnTo>
                  <a:lnTo>
                    <a:pt x="1434161" y="157162"/>
                  </a:lnTo>
                  <a:lnTo>
                    <a:pt x="1434212" y="157162"/>
                  </a:lnTo>
                  <a:lnTo>
                    <a:pt x="1434212" y="159194"/>
                  </a:lnTo>
                  <a:lnTo>
                    <a:pt x="1434212" y="157810"/>
                  </a:lnTo>
                  <a:lnTo>
                    <a:pt x="1434212" y="159194"/>
                  </a:lnTo>
                  <a:lnTo>
                    <a:pt x="1434262" y="159194"/>
                  </a:lnTo>
                  <a:lnTo>
                    <a:pt x="1434262" y="160540"/>
                  </a:lnTo>
                  <a:lnTo>
                    <a:pt x="1434262" y="159194"/>
                  </a:lnTo>
                  <a:lnTo>
                    <a:pt x="1434262" y="160540"/>
                  </a:lnTo>
                  <a:lnTo>
                    <a:pt x="1434364" y="160540"/>
                  </a:lnTo>
                  <a:lnTo>
                    <a:pt x="1434364" y="161239"/>
                  </a:lnTo>
                  <a:lnTo>
                    <a:pt x="1434364" y="159194"/>
                  </a:lnTo>
                  <a:lnTo>
                    <a:pt x="1434364" y="160540"/>
                  </a:lnTo>
                  <a:lnTo>
                    <a:pt x="1434415" y="160540"/>
                  </a:lnTo>
                  <a:lnTo>
                    <a:pt x="1434415" y="161239"/>
                  </a:lnTo>
                  <a:lnTo>
                    <a:pt x="1434415" y="160540"/>
                  </a:lnTo>
                  <a:lnTo>
                    <a:pt x="1434465" y="160540"/>
                  </a:lnTo>
                  <a:lnTo>
                    <a:pt x="1434465" y="161239"/>
                  </a:lnTo>
                  <a:lnTo>
                    <a:pt x="1434465" y="160540"/>
                  </a:lnTo>
                  <a:lnTo>
                    <a:pt x="1434465" y="161239"/>
                  </a:lnTo>
                  <a:lnTo>
                    <a:pt x="1434465" y="160540"/>
                  </a:lnTo>
                  <a:lnTo>
                    <a:pt x="1434516" y="160540"/>
                  </a:lnTo>
                  <a:lnTo>
                    <a:pt x="1434516" y="161925"/>
                  </a:lnTo>
                  <a:lnTo>
                    <a:pt x="1434516" y="161239"/>
                  </a:lnTo>
                  <a:lnTo>
                    <a:pt x="1434516" y="161925"/>
                  </a:lnTo>
                  <a:lnTo>
                    <a:pt x="1434516" y="160540"/>
                  </a:lnTo>
                  <a:lnTo>
                    <a:pt x="1434605" y="160540"/>
                  </a:lnTo>
                  <a:lnTo>
                    <a:pt x="1434605" y="161239"/>
                  </a:lnTo>
                  <a:lnTo>
                    <a:pt x="1434605" y="159194"/>
                  </a:lnTo>
                  <a:lnTo>
                    <a:pt x="1434656" y="159194"/>
                  </a:lnTo>
                  <a:lnTo>
                    <a:pt x="1434656" y="158509"/>
                  </a:lnTo>
                  <a:lnTo>
                    <a:pt x="1434656" y="159194"/>
                  </a:lnTo>
                  <a:lnTo>
                    <a:pt x="1434656" y="157810"/>
                  </a:lnTo>
                  <a:lnTo>
                    <a:pt x="1434656" y="158509"/>
                  </a:lnTo>
                  <a:lnTo>
                    <a:pt x="1434707" y="159194"/>
                  </a:lnTo>
                  <a:lnTo>
                    <a:pt x="1434707" y="158509"/>
                  </a:lnTo>
                  <a:lnTo>
                    <a:pt x="1434707" y="161239"/>
                  </a:lnTo>
                  <a:lnTo>
                    <a:pt x="1434758" y="161239"/>
                  </a:lnTo>
                  <a:lnTo>
                    <a:pt x="1434758" y="159194"/>
                  </a:lnTo>
                  <a:lnTo>
                    <a:pt x="1434758" y="160540"/>
                  </a:lnTo>
                  <a:lnTo>
                    <a:pt x="1434758" y="159194"/>
                  </a:lnTo>
                  <a:lnTo>
                    <a:pt x="1434758" y="161239"/>
                  </a:lnTo>
                  <a:lnTo>
                    <a:pt x="1434758" y="160540"/>
                  </a:lnTo>
                  <a:lnTo>
                    <a:pt x="1434859" y="161239"/>
                  </a:lnTo>
                  <a:lnTo>
                    <a:pt x="1434859" y="160540"/>
                  </a:lnTo>
                  <a:lnTo>
                    <a:pt x="1434859" y="161239"/>
                  </a:lnTo>
                  <a:lnTo>
                    <a:pt x="1434859" y="160540"/>
                  </a:lnTo>
                  <a:lnTo>
                    <a:pt x="1434910" y="160540"/>
                  </a:lnTo>
                  <a:lnTo>
                    <a:pt x="1434910" y="159194"/>
                  </a:lnTo>
                  <a:lnTo>
                    <a:pt x="1434910" y="160540"/>
                  </a:lnTo>
                  <a:lnTo>
                    <a:pt x="1434910" y="159194"/>
                  </a:lnTo>
                  <a:lnTo>
                    <a:pt x="1434910" y="161239"/>
                  </a:lnTo>
                  <a:lnTo>
                    <a:pt x="1434910" y="160540"/>
                  </a:lnTo>
                  <a:lnTo>
                    <a:pt x="1434910" y="161239"/>
                  </a:lnTo>
                  <a:lnTo>
                    <a:pt x="1434961" y="161239"/>
                  </a:lnTo>
                  <a:lnTo>
                    <a:pt x="1434961" y="161925"/>
                  </a:lnTo>
                  <a:lnTo>
                    <a:pt x="1435062" y="161925"/>
                  </a:lnTo>
                  <a:lnTo>
                    <a:pt x="1435062" y="161239"/>
                  </a:lnTo>
                  <a:lnTo>
                    <a:pt x="1435062" y="161925"/>
                  </a:lnTo>
                  <a:lnTo>
                    <a:pt x="1435062" y="160540"/>
                  </a:lnTo>
                  <a:lnTo>
                    <a:pt x="1435100" y="160540"/>
                  </a:lnTo>
                  <a:lnTo>
                    <a:pt x="1435100" y="159194"/>
                  </a:lnTo>
                  <a:lnTo>
                    <a:pt x="1435151" y="159194"/>
                  </a:lnTo>
                  <a:lnTo>
                    <a:pt x="1435151" y="158509"/>
                  </a:lnTo>
                  <a:lnTo>
                    <a:pt x="1435151" y="160540"/>
                  </a:lnTo>
                  <a:lnTo>
                    <a:pt x="1435202" y="159194"/>
                  </a:lnTo>
                  <a:lnTo>
                    <a:pt x="1435202" y="161925"/>
                  </a:lnTo>
                  <a:lnTo>
                    <a:pt x="1435202" y="161239"/>
                  </a:lnTo>
                  <a:lnTo>
                    <a:pt x="1435202" y="161925"/>
                  </a:lnTo>
                  <a:lnTo>
                    <a:pt x="1435202" y="161239"/>
                  </a:lnTo>
                  <a:lnTo>
                    <a:pt x="1435202" y="161925"/>
                  </a:lnTo>
                  <a:lnTo>
                    <a:pt x="1435202" y="161239"/>
                  </a:lnTo>
                  <a:lnTo>
                    <a:pt x="1435304" y="161239"/>
                  </a:lnTo>
                  <a:lnTo>
                    <a:pt x="1435304" y="162623"/>
                  </a:lnTo>
                  <a:lnTo>
                    <a:pt x="1435304" y="161239"/>
                  </a:lnTo>
                  <a:lnTo>
                    <a:pt x="1435304" y="161925"/>
                  </a:lnTo>
                  <a:lnTo>
                    <a:pt x="1435355" y="161925"/>
                  </a:lnTo>
                  <a:lnTo>
                    <a:pt x="1435355" y="161239"/>
                  </a:lnTo>
                  <a:lnTo>
                    <a:pt x="1435355" y="161925"/>
                  </a:lnTo>
                  <a:lnTo>
                    <a:pt x="1435507" y="161925"/>
                  </a:lnTo>
                  <a:lnTo>
                    <a:pt x="1435507" y="161239"/>
                  </a:lnTo>
                  <a:lnTo>
                    <a:pt x="1435507" y="162623"/>
                  </a:lnTo>
                  <a:lnTo>
                    <a:pt x="1435507" y="161925"/>
                  </a:lnTo>
                  <a:lnTo>
                    <a:pt x="1435558" y="161925"/>
                  </a:lnTo>
                  <a:lnTo>
                    <a:pt x="1435558" y="161239"/>
                  </a:lnTo>
                  <a:lnTo>
                    <a:pt x="1435558" y="161925"/>
                  </a:lnTo>
                  <a:lnTo>
                    <a:pt x="1435558" y="161239"/>
                  </a:lnTo>
                  <a:lnTo>
                    <a:pt x="1435558" y="161925"/>
                  </a:lnTo>
                  <a:lnTo>
                    <a:pt x="1435558" y="161239"/>
                  </a:lnTo>
                  <a:lnTo>
                    <a:pt x="1435609" y="161239"/>
                  </a:lnTo>
                  <a:lnTo>
                    <a:pt x="1435609" y="158509"/>
                  </a:lnTo>
                  <a:lnTo>
                    <a:pt x="1435647" y="158509"/>
                  </a:lnTo>
                  <a:lnTo>
                    <a:pt x="1435647" y="160540"/>
                  </a:lnTo>
                  <a:lnTo>
                    <a:pt x="1435647" y="159194"/>
                  </a:lnTo>
                  <a:lnTo>
                    <a:pt x="1435748" y="159194"/>
                  </a:lnTo>
                  <a:lnTo>
                    <a:pt x="1435748" y="158509"/>
                  </a:lnTo>
                  <a:lnTo>
                    <a:pt x="1435748" y="162623"/>
                  </a:lnTo>
                  <a:lnTo>
                    <a:pt x="1435748" y="161239"/>
                  </a:lnTo>
                  <a:lnTo>
                    <a:pt x="1435799" y="161239"/>
                  </a:lnTo>
                  <a:lnTo>
                    <a:pt x="1435799" y="162623"/>
                  </a:lnTo>
                  <a:lnTo>
                    <a:pt x="1435799" y="161925"/>
                  </a:lnTo>
                  <a:lnTo>
                    <a:pt x="1435799" y="162623"/>
                  </a:lnTo>
                  <a:lnTo>
                    <a:pt x="1435850" y="162623"/>
                  </a:lnTo>
                  <a:lnTo>
                    <a:pt x="1435850" y="161925"/>
                  </a:lnTo>
                  <a:lnTo>
                    <a:pt x="1435850" y="162623"/>
                  </a:lnTo>
                  <a:lnTo>
                    <a:pt x="1435951" y="162623"/>
                  </a:lnTo>
                  <a:lnTo>
                    <a:pt x="1435951" y="163271"/>
                  </a:lnTo>
                  <a:lnTo>
                    <a:pt x="1436002" y="163271"/>
                  </a:lnTo>
                  <a:lnTo>
                    <a:pt x="1436002" y="164655"/>
                  </a:lnTo>
                  <a:lnTo>
                    <a:pt x="1436002" y="163271"/>
                  </a:lnTo>
                  <a:lnTo>
                    <a:pt x="1436053" y="163271"/>
                  </a:lnTo>
                  <a:lnTo>
                    <a:pt x="1436053" y="162623"/>
                  </a:lnTo>
                  <a:lnTo>
                    <a:pt x="1436053" y="163271"/>
                  </a:lnTo>
                  <a:lnTo>
                    <a:pt x="1436053" y="161925"/>
                  </a:lnTo>
                  <a:lnTo>
                    <a:pt x="1436104" y="161925"/>
                  </a:lnTo>
                  <a:lnTo>
                    <a:pt x="1436104" y="162623"/>
                  </a:lnTo>
                  <a:lnTo>
                    <a:pt x="1436104" y="160540"/>
                  </a:lnTo>
                  <a:lnTo>
                    <a:pt x="1436193" y="160540"/>
                  </a:lnTo>
                  <a:lnTo>
                    <a:pt x="1436193" y="161239"/>
                  </a:lnTo>
                  <a:lnTo>
                    <a:pt x="1436193" y="159194"/>
                  </a:lnTo>
                  <a:lnTo>
                    <a:pt x="1436193" y="160540"/>
                  </a:lnTo>
                  <a:lnTo>
                    <a:pt x="1436244" y="161239"/>
                  </a:lnTo>
                  <a:lnTo>
                    <a:pt x="1436244" y="161925"/>
                  </a:lnTo>
                  <a:lnTo>
                    <a:pt x="1436244" y="161239"/>
                  </a:lnTo>
                  <a:lnTo>
                    <a:pt x="1436244" y="161925"/>
                  </a:lnTo>
                  <a:lnTo>
                    <a:pt x="1436244" y="161239"/>
                  </a:lnTo>
                  <a:lnTo>
                    <a:pt x="1436244" y="161925"/>
                  </a:lnTo>
                  <a:lnTo>
                    <a:pt x="1436294" y="161925"/>
                  </a:lnTo>
                  <a:lnTo>
                    <a:pt x="1436294" y="162623"/>
                  </a:lnTo>
                  <a:lnTo>
                    <a:pt x="1436294" y="161925"/>
                  </a:lnTo>
                  <a:lnTo>
                    <a:pt x="1436345" y="162623"/>
                  </a:lnTo>
                  <a:lnTo>
                    <a:pt x="1436345" y="161925"/>
                  </a:lnTo>
                  <a:lnTo>
                    <a:pt x="1436345" y="162623"/>
                  </a:lnTo>
                  <a:lnTo>
                    <a:pt x="1436447" y="162623"/>
                  </a:lnTo>
                  <a:lnTo>
                    <a:pt x="1436447" y="163271"/>
                  </a:lnTo>
                  <a:lnTo>
                    <a:pt x="1436447" y="162623"/>
                  </a:lnTo>
                  <a:lnTo>
                    <a:pt x="1436447" y="163271"/>
                  </a:lnTo>
                  <a:lnTo>
                    <a:pt x="1436548" y="163271"/>
                  </a:lnTo>
                  <a:lnTo>
                    <a:pt x="1436548" y="161925"/>
                  </a:lnTo>
                  <a:lnTo>
                    <a:pt x="1436548" y="162623"/>
                  </a:lnTo>
                  <a:lnTo>
                    <a:pt x="1436650" y="161925"/>
                  </a:lnTo>
                  <a:lnTo>
                    <a:pt x="1436650" y="161239"/>
                  </a:lnTo>
                  <a:lnTo>
                    <a:pt x="1436650" y="161925"/>
                  </a:lnTo>
                  <a:lnTo>
                    <a:pt x="1436650" y="161239"/>
                  </a:lnTo>
                  <a:lnTo>
                    <a:pt x="1436650" y="163271"/>
                  </a:lnTo>
                  <a:lnTo>
                    <a:pt x="1436650" y="162623"/>
                  </a:lnTo>
                  <a:lnTo>
                    <a:pt x="1436688" y="162623"/>
                  </a:lnTo>
                  <a:lnTo>
                    <a:pt x="1436688" y="161239"/>
                  </a:lnTo>
                  <a:lnTo>
                    <a:pt x="1436688" y="165354"/>
                  </a:lnTo>
                  <a:lnTo>
                    <a:pt x="1436739" y="165354"/>
                  </a:lnTo>
                  <a:lnTo>
                    <a:pt x="1436739" y="163271"/>
                  </a:lnTo>
                  <a:lnTo>
                    <a:pt x="1436739" y="164655"/>
                  </a:lnTo>
                  <a:lnTo>
                    <a:pt x="1436790" y="164655"/>
                  </a:lnTo>
                  <a:lnTo>
                    <a:pt x="1436790" y="163271"/>
                  </a:lnTo>
                  <a:lnTo>
                    <a:pt x="1436790" y="164655"/>
                  </a:lnTo>
                  <a:lnTo>
                    <a:pt x="1436790" y="163271"/>
                  </a:lnTo>
                  <a:lnTo>
                    <a:pt x="1436891" y="164655"/>
                  </a:lnTo>
                  <a:lnTo>
                    <a:pt x="1436891" y="163271"/>
                  </a:lnTo>
                  <a:lnTo>
                    <a:pt x="1436891" y="164655"/>
                  </a:lnTo>
                  <a:lnTo>
                    <a:pt x="1436891" y="163271"/>
                  </a:lnTo>
                  <a:lnTo>
                    <a:pt x="1436891" y="164655"/>
                  </a:lnTo>
                  <a:lnTo>
                    <a:pt x="1436942" y="164655"/>
                  </a:lnTo>
                  <a:lnTo>
                    <a:pt x="1436942" y="166040"/>
                  </a:lnTo>
                  <a:lnTo>
                    <a:pt x="1436942" y="165354"/>
                  </a:lnTo>
                  <a:lnTo>
                    <a:pt x="1436942" y="166040"/>
                  </a:lnTo>
                  <a:lnTo>
                    <a:pt x="1436993" y="166040"/>
                  </a:lnTo>
                  <a:lnTo>
                    <a:pt x="1436993" y="165354"/>
                  </a:lnTo>
                  <a:lnTo>
                    <a:pt x="1436993" y="166040"/>
                  </a:lnTo>
                  <a:lnTo>
                    <a:pt x="1436993" y="164655"/>
                  </a:lnTo>
                  <a:lnTo>
                    <a:pt x="1437094" y="164655"/>
                  </a:lnTo>
                  <a:lnTo>
                    <a:pt x="1437094" y="165354"/>
                  </a:lnTo>
                  <a:lnTo>
                    <a:pt x="1437094" y="162623"/>
                  </a:lnTo>
                  <a:lnTo>
                    <a:pt x="1437145" y="162623"/>
                  </a:lnTo>
                  <a:lnTo>
                    <a:pt x="1437145" y="163271"/>
                  </a:lnTo>
                  <a:lnTo>
                    <a:pt x="1437145" y="162623"/>
                  </a:lnTo>
                  <a:lnTo>
                    <a:pt x="1437145" y="163271"/>
                  </a:lnTo>
                  <a:lnTo>
                    <a:pt x="1437196" y="163271"/>
                  </a:lnTo>
                  <a:lnTo>
                    <a:pt x="1437196" y="166687"/>
                  </a:lnTo>
                  <a:lnTo>
                    <a:pt x="1437196" y="166040"/>
                  </a:lnTo>
                  <a:lnTo>
                    <a:pt x="1437196" y="166687"/>
                  </a:lnTo>
                  <a:lnTo>
                    <a:pt x="1437196" y="165354"/>
                  </a:lnTo>
                  <a:lnTo>
                    <a:pt x="1437196" y="166040"/>
                  </a:lnTo>
                  <a:lnTo>
                    <a:pt x="1437234" y="166040"/>
                  </a:lnTo>
                  <a:lnTo>
                    <a:pt x="1437234" y="167386"/>
                  </a:lnTo>
                  <a:lnTo>
                    <a:pt x="1437234" y="166687"/>
                  </a:lnTo>
                  <a:lnTo>
                    <a:pt x="1437234" y="167386"/>
                  </a:lnTo>
                  <a:lnTo>
                    <a:pt x="1437336" y="167386"/>
                  </a:lnTo>
                  <a:lnTo>
                    <a:pt x="1437336" y="166687"/>
                  </a:lnTo>
                  <a:lnTo>
                    <a:pt x="1437336" y="167386"/>
                  </a:lnTo>
                  <a:lnTo>
                    <a:pt x="1437336" y="166687"/>
                  </a:lnTo>
                  <a:lnTo>
                    <a:pt x="1437336" y="167386"/>
                  </a:lnTo>
                  <a:lnTo>
                    <a:pt x="1437336" y="166687"/>
                  </a:lnTo>
                  <a:lnTo>
                    <a:pt x="1437387" y="166687"/>
                  </a:lnTo>
                  <a:lnTo>
                    <a:pt x="1437387" y="167386"/>
                  </a:lnTo>
                  <a:lnTo>
                    <a:pt x="1437387" y="166687"/>
                  </a:lnTo>
                  <a:lnTo>
                    <a:pt x="1437387" y="167386"/>
                  </a:lnTo>
                  <a:lnTo>
                    <a:pt x="1437437" y="167386"/>
                  </a:lnTo>
                  <a:lnTo>
                    <a:pt x="1437437" y="166040"/>
                  </a:lnTo>
                  <a:lnTo>
                    <a:pt x="1437539" y="166040"/>
                  </a:lnTo>
                  <a:lnTo>
                    <a:pt x="1437539" y="163271"/>
                  </a:lnTo>
                  <a:lnTo>
                    <a:pt x="1437590" y="163271"/>
                  </a:lnTo>
                  <a:lnTo>
                    <a:pt x="1437590" y="161925"/>
                  </a:lnTo>
                  <a:lnTo>
                    <a:pt x="1437590" y="162623"/>
                  </a:lnTo>
                  <a:lnTo>
                    <a:pt x="1437590" y="161239"/>
                  </a:lnTo>
                  <a:lnTo>
                    <a:pt x="1437590" y="161925"/>
                  </a:lnTo>
                  <a:lnTo>
                    <a:pt x="1437640" y="161925"/>
                  </a:lnTo>
                  <a:lnTo>
                    <a:pt x="1437640" y="163271"/>
                  </a:lnTo>
                  <a:lnTo>
                    <a:pt x="1437640" y="161239"/>
                  </a:lnTo>
                  <a:lnTo>
                    <a:pt x="1437640" y="163271"/>
                  </a:lnTo>
                  <a:lnTo>
                    <a:pt x="1437691" y="164655"/>
                  </a:lnTo>
                  <a:lnTo>
                    <a:pt x="1437691" y="165354"/>
                  </a:lnTo>
                  <a:lnTo>
                    <a:pt x="1437691" y="164655"/>
                  </a:lnTo>
                  <a:lnTo>
                    <a:pt x="1437691" y="165354"/>
                  </a:lnTo>
                  <a:lnTo>
                    <a:pt x="1437780" y="165354"/>
                  </a:lnTo>
                  <a:lnTo>
                    <a:pt x="1437780" y="166040"/>
                  </a:lnTo>
                  <a:lnTo>
                    <a:pt x="1437780" y="165354"/>
                  </a:lnTo>
                  <a:lnTo>
                    <a:pt x="1437780" y="166040"/>
                  </a:lnTo>
                  <a:lnTo>
                    <a:pt x="1437780" y="165354"/>
                  </a:lnTo>
                  <a:lnTo>
                    <a:pt x="1437780" y="166687"/>
                  </a:lnTo>
                  <a:lnTo>
                    <a:pt x="1437831" y="166687"/>
                  </a:lnTo>
                  <a:lnTo>
                    <a:pt x="1437831" y="166040"/>
                  </a:lnTo>
                  <a:lnTo>
                    <a:pt x="1437831" y="166687"/>
                  </a:lnTo>
                  <a:lnTo>
                    <a:pt x="1437831" y="166040"/>
                  </a:lnTo>
                  <a:lnTo>
                    <a:pt x="1437831" y="166687"/>
                  </a:lnTo>
                  <a:lnTo>
                    <a:pt x="1437831" y="166040"/>
                  </a:lnTo>
                  <a:lnTo>
                    <a:pt x="1437831" y="166687"/>
                  </a:lnTo>
                  <a:lnTo>
                    <a:pt x="1437831" y="166040"/>
                  </a:lnTo>
                  <a:lnTo>
                    <a:pt x="1437831" y="166687"/>
                  </a:lnTo>
                  <a:lnTo>
                    <a:pt x="1437831" y="166040"/>
                  </a:lnTo>
                  <a:lnTo>
                    <a:pt x="1437882" y="166040"/>
                  </a:lnTo>
                  <a:lnTo>
                    <a:pt x="1437882" y="167386"/>
                  </a:lnTo>
                  <a:lnTo>
                    <a:pt x="1437882" y="166687"/>
                  </a:lnTo>
                  <a:lnTo>
                    <a:pt x="1437882" y="167386"/>
                  </a:lnTo>
                  <a:lnTo>
                    <a:pt x="1437882" y="166687"/>
                  </a:lnTo>
                  <a:lnTo>
                    <a:pt x="1437933" y="166687"/>
                  </a:lnTo>
                  <a:lnTo>
                    <a:pt x="1437933" y="167386"/>
                  </a:lnTo>
                  <a:lnTo>
                    <a:pt x="1437933" y="166687"/>
                  </a:lnTo>
                  <a:lnTo>
                    <a:pt x="1437933" y="167386"/>
                  </a:lnTo>
                  <a:lnTo>
                    <a:pt x="1437933" y="166687"/>
                  </a:lnTo>
                  <a:lnTo>
                    <a:pt x="1438034" y="166687"/>
                  </a:lnTo>
                  <a:lnTo>
                    <a:pt x="1438034" y="165354"/>
                  </a:lnTo>
                  <a:lnTo>
                    <a:pt x="1438034" y="166040"/>
                  </a:lnTo>
                  <a:lnTo>
                    <a:pt x="1438034" y="165354"/>
                  </a:lnTo>
                  <a:lnTo>
                    <a:pt x="1438085" y="164655"/>
                  </a:lnTo>
                  <a:lnTo>
                    <a:pt x="1438085" y="161925"/>
                  </a:lnTo>
                  <a:lnTo>
                    <a:pt x="1438136" y="161925"/>
                  </a:lnTo>
                  <a:lnTo>
                    <a:pt x="1438136" y="162623"/>
                  </a:lnTo>
                  <a:lnTo>
                    <a:pt x="1438136" y="161925"/>
                  </a:lnTo>
                  <a:lnTo>
                    <a:pt x="1438136" y="163271"/>
                  </a:lnTo>
                  <a:lnTo>
                    <a:pt x="1438237" y="163271"/>
                  </a:lnTo>
                  <a:lnTo>
                    <a:pt x="1438237" y="164655"/>
                  </a:lnTo>
                  <a:lnTo>
                    <a:pt x="1438237" y="162623"/>
                  </a:lnTo>
                  <a:lnTo>
                    <a:pt x="1438237" y="163271"/>
                  </a:lnTo>
                  <a:lnTo>
                    <a:pt x="1438237" y="162623"/>
                  </a:lnTo>
                  <a:lnTo>
                    <a:pt x="1438237" y="163271"/>
                  </a:lnTo>
                  <a:lnTo>
                    <a:pt x="1438326" y="163271"/>
                  </a:lnTo>
                  <a:lnTo>
                    <a:pt x="1438326" y="164655"/>
                  </a:lnTo>
                  <a:lnTo>
                    <a:pt x="1438326" y="163271"/>
                  </a:lnTo>
                  <a:lnTo>
                    <a:pt x="1438326" y="165354"/>
                  </a:lnTo>
                  <a:lnTo>
                    <a:pt x="1438326" y="164655"/>
                  </a:lnTo>
                  <a:lnTo>
                    <a:pt x="1438326" y="166040"/>
                  </a:lnTo>
                  <a:lnTo>
                    <a:pt x="1438326" y="165354"/>
                  </a:lnTo>
                  <a:lnTo>
                    <a:pt x="1438326" y="166040"/>
                  </a:lnTo>
                  <a:lnTo>
                    <a:pt x="1438377" y="166040"/>
                  </a:lnTo>
                  <a:lnTo>
                    <a:pt x="1438377" y="167386"/>
                  </a:lnTo>
                  <a:lnTo>
                    <a:pt x="1438377" y="166687"/>
                  </a:lnTo>
                  <a:lnTo>
                    <a:pt x="1438479" y="166687"/>
                  </a:lnTo>
                  <a:lnTo>
                    <a:pt x="1438479" y="166040"/>
                  </a:lnTo>
                  <a:lnTo>
                    <a:pt x="1438530" y="166040"/>
                  </a:lnTo>
                  <a:lnTo>
                    <a:pt x="1438530" y="163271"/>
                  </a:lnTo>
                  <a:lnTo>
                    <a:pt x="1438530" y="164655"/>
                  </a:lnTo>
                  <a:lnTo>
                    <a:pt x="1438530" y="162623"/>
                  </a:lnTo>
                  <a:lnTo>
                    <a:pt x="1438580" y="162623"/>
                  </a:lnTo>
                  <a:lnTo>
                    <a:pt x="1438580" y="163271"/>
                  </a:lnTo>
                  <a:lnTo>
                    <a:pt x="1438580" y="161925"/>
                  </a:lnTo>
                  <a:lnTo>
                    <a:pt x="1438580" y="162623"/>
                  </a:lnTo>
                  <a:lnTo>
                    <a:pt x="1438580" y="160540"/>
                  </a:lnTo>
                  <a:lnTo>
                    <a:pt x="1438580" y="161239"/>
                  </a:lnTo>
                  <a:lnTo>
                    <a:pt x="1438580" y="160540"/>
                  </a:lnTo>
                  <a:lnTo>
                    <a:pt x="1438682" y="160540"/>
                  </a:lnTo>
                  <a:lnTo>
                    <a:pt x="1438682" y="162623"/>
                  </a:lnTo>
                  <a:lnTo>
                    <a:pt x="1438682" y="161239"/>
                  </a:lnTo>
                  <a:lnTo>
                    <a:pt x="1438682" y="162623"/>
                  </a:lnTo>
                  <a:lnTo>
                    <a:pt x="1438733" y="162623"/>
                  </a:lnTo>
                  <a:lnTo>
                    <a:pt x="1438733" y="163271"/>
                  </a:lnTo>
                  <a:lnTo>
                    <a:pt x="1438733" y="162623"/>
                  </a:lnTo>
                  <a:lnTo>
                    <a:pt x="1438733" y="163271"/>
                  </a:lnTo>
                  <a:lnTo>
                    <a:pt x="1438733" y="161925"/>
                  </a:lnTo>
                  <a:lnTo>
                    <a:pt x="1438733" y="163271"/>
                  </a:lnTo>
                  <a:lnTo>
                    <a:pt x="1438784" y="163271"/>
                  </a:lnTo>
                  <a:lnTo>
                    <a:pt x="1438784" y="162623"/>
                  </a:lnTo>
                  <a:lnTo>
                    <a:pt x="1438784" y="163271"/>
                  </a:lnTo>
                  <a:lnTo>
                    <a:pt x="1438784" y="161925"/>
                  </a:lnTo>
                  <a:lnTo>
                    <a:pt x="1438784" y="162623"/>
                  </a:lnTo>
                  <a:lnTo>
                    <a:pt x="1438784" y="161925"/>
                  </a:lnTo>
                  <a:lnTo>
                    <a:pt x="1438784" y="163271"/>
                  </a:lnTo>
                  <a:lnTo>
                    <a:pt x="1438822" y="163271"/>
                  </a:lnTo>
                  <a:lnTo>
                    <a:pt x="1438822" y="164655"/>
                  </a:lnTo>
                  <a:lnTo>
                    <a:pt x="1438822" y="163271"/>
                  </a:lnTo>
                  <a:lnTo>
                    <a:pt x="1438822" y="164655"/>
                  </a:lnTo>
                  <a:lnTo>
                    <a:pt x="1438923" y="164655"/>
                  </a:lnTo>
                  <a:lnTo>
                    <a:pt x="1438923" y="165354"/>
                  </a:lnTo>
                  <a:lnTo>
                    <a:pt x="1438923" y="164655"/>
                  </a:lnTo>
                  <a:lnTo>
                    <a:pt x="1438923" y="166040"/>
                  </a:lnTo>
                  <a:lnTo>
                    <a:pt x="1438974" y="166040"/>
                  </a:lnTo>
                  <a:lnTo>
                    <a:pt x="1438974" y="165354"/>
                  </a:lnTo>
                  <a:lnTo>
                    <a:pt x="1438974" y="166040"/>
                  </a:lnTo>
                  <a:lnTo>
                    <a:pt x="1438974" y="165354"/>
                  </a:lnTo>
                  <a:lnTo>
                    <a:pt x="1438974" y="166040"/>
                  </a:lnTo>
                  <a:lnTo>
                    <a:pt x="1438974" y="165354"/>
                  </a:lnTo>
                  <a:lnTo>
                    <a:pt x="1438974" y="166040"/>
                  </a:lnTo>
                  <a:lnTo>
                    <a:pt x="1438974" y="165354"/>
                  </a:lnTo>
                  <a:lnTo>
                    <a:pt x="1439025" y="164655"/>
                  </a:lnTo>
                  <a:lnTo>
                    <a:pt x="1439025" y="165354"/>
                  </a:lnTo>
                  <a:lnTo>
                    <a:pt x="1439025" y="163271"/>
                  </a:lnTo>
                  <a:lnTo>
                    <a:pt x="1439025" y="164655"/>
                  </a:lnTo>
                  <a:lnTo>
                    <a:pt x="1439025" y="163271"/>
                  </a:lnTo>
                  <a:lnTo>
                    <a:pt x="1439126" y="163271"/>
                  </a:lnTo>
                  <a:lnTo>
                    <a:pt x="1439126" y="162623"/>
                  </a:lnTo>
                  <a:lnTo>
                    <a:pt x="1439126" y="163271"/>
                  </a:lnTo>
                  <a:lnTo>
                    <a:pt x="1439126" y="161239"/>
                  </a:lnTo>
                  <a:lnTo>
                    <a:pt x="1439126" y="161925"/>
                  </a:lnTo>
                  <a:lnTo>
                    <a:pt x="1439177" y="162623"/>
                  </a:lnTo>
                  <a:lnTo>
                    <a:pt x="1439177" y="159194"/>
                  </a:lnTo>
                  <a:lnTo>
                    <a:pt x="1439177" y="162623"/>
                  </a:lnTo>
                  <a:lnTo>
                    <a:pt x="1439228" y="163271"/>
                  </a:lnTo>
                  <a:lnTo>
                    <a:pt x="1439228" y="160540"/>
                  </a:lnTo>
                  <a:lnTo>
                    <a:pt x="1439228" y="161925"/>
                  </a:lnTo>
                  <a:lnTo>
                    <a:pt x="1439279" y="161925"/>
                  </a:lnTo>
                  <a:lnTo>
                    <a:pt x="1439279" y="161239"/>
                  </a:lnTo>
                  <a:lnTo>
                    <a:pt x="1439279" y="162623"/>
                  </a:lnTo>
                  <a:lnTo>
                    <a:pt x="1439368" y="162623"/>
                  </a:lnTo>
                  <a:lnTo>
                    <a:pt x="1439368" y="163271"/>
                  </a:lnTo>
                  <a:lnTo>
                    <a:pt x="1439368" y="162623"/>
                  </a:lnTo>
                  <a:lnTo>
                    <a:pt x="1439419" y="162623"/>
                  </a:lnTo>
                  <a:lnTo>
                    <a:pt x="1439419" y="163271"/>
                  </a:lnTo>
                  <a:lnTo>
                    <a:pt x="1439419" y="162623"/>
                  </a:lnTo>
                  <a:lnTo>
                    <a:pt x="1439419" y="164655"/>
                  </a:lnTo>
                  <a:lnTo>
                    <a:pt x="1439419" y="163271"/>
                  </a:lnTo>
                  <a:lnTo>
                    <a:pt x="1439419" y="164655"/>
                  </a:lnTo>
                  <a:lnTo>
                    <a:pt x="1439419" y="163271"/>
                  </a:lnTo>
                  <a:lnTo>
                    <a:pt x="1439469" y="164655"/>
                  </a:lnTo>
                  <a:lnTo>
                    <a:pt x="1439469" y="163271"/>
                  </a:lnTo>
                  <a:lnTo>
                    <a:pt x="1439469" y="164655"/>
                  </a:lnTo>
                  <a:lnTo>
                    <a:pt x="1439469" y="163271"/>
                  </a:lnTo>
                  <a:lnTo>
                    <a:pt x="1439469" y="164655"/>
                  </a:lnTo>
                  <a:lnTo>
                    <a:pt x="1439469" y="163271"/>
                  </a:lnTo>
                  <a:lnTo>
                    <a:pt x="1439520" y="163271"/>
                  </a:lnTo>
                  <a:lnTo>
                    <a:pt x="1439520" y="162623"/>
                  </a:lnTo>
                  <a:lnTo>
                    <a:pt x="1439520" y="163271"/>
                  </a:lnTo>
                  <a:lnTo>
                    <a:pt x="1439520" y="162623"/>
                  </a:lnTo>
                  <a:lnTo>
                    <a:pt x="1439520" y="163271"/>
                  </a:lnTo>
                  <a:lnTo>
                    <a:pt x="1439622" y="163271"/>
                  </a:lnTo>
                  <a:lnTo>
                    <a:pt x="1439622" y="162623"/>
                  </a:lnTo>
                  <a:lnTo>
                    <a:pt x="1439622" y="164655"/>
                  </a:lnTo>
                  <a:lnTo>
                    <a:pt x="1439622" y="163271"/>
                  </a:lnTo>
                  <a:lnTo>
                    <a:pt x="1439672" y="163271"/>
                  </a:lnTo>
                  <a:lnTo>
                    <a:pt x="1439672" y="161925"/>
                  </a:lnTo>
                  <a:lnTo>
                    <a:pt x="1439672" y="166040"/>
                  </a:lnTo>
                  <a:lnTo>
                    <a:pt x="1439672" y="164655"/>
                  </a:lnTo>
                  <a:lnTo>
                    <a:pt x="1439723" y="163271"/>
                  </a:lnTo>
                  <a:lnTo>
                    <a:pt x="1439723" y="166040"/>
                  </a:lnTo>
                  <a:lnTo>
                    <a:pt x="1439723" y="164655"/>
                  </a:lnTo>
                  <a:lnTo>
                    <a:pt x="1439825" y="164655"/>
                  </a:lnTo>
                  <a:lnTo>
                    <a:pt x="1439825" y="166040"/>
                  </a:lnTo>
                  <a:lnTo>
                    <a:pt x="1439863" y="166040"/>
                  </a:lnTo>
                  <a:lnTo>
                    <a:pt x="1439863" y="166687"/>
                  </a:lnTo>
                  <a:lnTo>
                    <a:pt x="1439863" y="166040"/>
                  </a:lnTo>
                  <a:lnTo>
                    <a:pt x="1439914" y="166040"/>
                  </a:lnTo>
                  <a:lnTo>
                    <a:pt x="1439914" y="166687"/>
                  </a:lnTo>
                  <a:lnTo>
                    <a:pt x="1439914" y="166040"/>
                  </a:lnTo>
                  <a:lnTo>
                    <a:pt x="1439914" y="166687"/>
                  </a:lnTo>
                  <a:lnTo>
                    <a:pt x="1439914" y="166040"/>
                  </a:lnTo>
                  <a:lnTo>
                    <a:pt x="1439914" y="166687"/>
                  </a:lnTo>
                  <a:lnTo>
                    <a:pt x="1439965" y="166687"/>
                  </a:lnTo>
                  <a:lnTo>
                    <a:pt x="1439965" y="165354"/>
                  </a:lnTo>
                  <a:lnTo>
                    <a:pt x="1439965" y="166040"/>
                  </a:lnTo>
                  <a:lnTo>
                    <a:pt x="1440066" y="165354"/>
                  </a:lnTo>
                  <a:lnTo>
                    <a:pt x="1440066" y="166040"/>
                  </a:lnTo>
                  <a:lnTo>
                    <a:pt x="1440066" y="165354"/>
                  </a:lnTo>
                  <a:lnTo>
                    <a:pt x="1440066" y="166040"/>
                  </a:lnTo>
                  <a:lnTo>
                    <a:pt x="1440066" y="163271"/>
                  </a:lnTo>
                  <a:lnTo>
                    <a:pt x="1440066" y="164655"/>
                  </a:lnTo>
                  <a:lnTo>
                    <a:pt x="1440066" y="163271"/>
                  </a:lnTo>
                  <a:lnTo>
                    <a:pt x="1440117" y="163271"/>
                  </a:lnTo>
                  <a:lnTo>
                    <a:pt x="1440117" y="166687"/>
                  </a:lnTo>
                  <a:lnTo>
                    <a:pt x="1440117" y="163271"/>
                  </a:lnTo>
                  <a:lnTo>
                    <a:pt x="1440168" y="164655"/>
                  </a:lnTo>
                  <a:lnTo>
                    <a:pt x="1440168" y="167386"/>
                  </a:lnTo>
                  <a:lnTo>
                    <a:pt x="1440168" y="166687"/>
                  </a:lnTo>
                  <a:lnTo>
                    <a:pt x="1440269" y="166687"/>
                  </a:lnTo>
                  <a:lnTo>
                    <a:pt x="1440269" y="167386"/>
                  </a:lnTo>
                  <a:lnTo>
                    <a:pt x="1440269" y="166687"/>
                  </a:lnTo>
                  <a:lnTo>
                    <a:pt x="1440269" y="167386"/>
                  </a:lnTo>
                  <a:lnTo>
                    <a:pt x="1440320" y="167386"/>
                  </a:lnTo>
                  <a:lnTo>
                    <a:pt x="1440320" y="168770"/>
                  </a:lnTo>
                  <a:lnTo>
                    <a:pt x="1440320" y="167386"/>
                  </a:lnTo>
                  <a:lnTo>
                    <a:pt x="1440320" y="168770"/>
                  </a:lnTo>
                  <a:lnTo>
                    <a:pt x="1440371" y="168770"/>
                  </a:lnTo>
                  <a:lnTo>
                    <a:pt x="1440371" y="167386"/>
                  </a:lnTo>
                  <a:lnTo>
                    <a:pt x="1440371" y="168770"/>
                  </a:lnTo>
                  <a:lnTo>
                    <a:pt x="1440371" y="166687"/>
                  </a:lnTo>
                  <a:lnTo>
                    <a:pt x="1440409" y="166687"/>
                  </a:lnTo>
                  <a:lnTo>
                    <a:pt x="1440409" y="167386"/>
                  </a:lnTo>
                  <a:lnTo>
                    <a:pt x="1440409" y="166687"/>
                  </a:lnTo>
                  <a:lnTo>
                    <a:pt x="1440511" y="166687"/>
                  </a:lnTo>
                  <a:lnTo>
                    <a:pt x="1440511" y="165354"/>
                  </a:lnTo>
                  <a:lnTo>
                    <a:pt x="1440511" y="166040"/>
                  </a:lnTo>
                  <a:lnTo>
                    <a:pt x="1440511" y="164655"/>
                  </a:lnTo>
                  <a:lnTo>
                    <a:pt x="1440511" y="165354"/>
                  </a:lnTo>
                  <a:lnTo>
                    <a:pt x="1440562" y="165354"/>
                  </a:lnTo>
                  <a:lnTo>
                    <a:pt x="1440562" y="161925"/>
                  </a:lnTo>
                  <a:lnTo>
                    <a:pt x="1440612" y="161925"/>
                  </a:lnTo>
                  <a:lnTo>
                    <a:pt x="1440612" y="164655"/>
                  </a:lnTo>
                  <a:lnTo>
                    <a:pt x="1440612" y="162623"/>
                  </a:lnTo>
                  <a:lnTo>
                    <a:pt x="1440714" y="163271"/>
                  </a:lnTo>
                  <a:lnTo>
                    <a:pt x="1440714" y="166040"/>
                  </a:lnTo>
                  <a:lnTo>
                    <a:pt x="1440714" y="165354"/>
                  </a:lnTo>
                  <a:lnTo>
                    <a:pt x="1440714" y="166040"/>
                  </a:lnTo>
                  <a:lnTo>
                    <a:pt x="1440714" y="164655"/>
                  </a:lnTo>
                  <a:lnTo>
                    <a:pt x="1440714" y="166040"/>
                  </a:lnTo>
                  <a:lnTo>
                    <a:pt x="1440765" y="166687"/>
                  </a:lnTo>
                  <a:lnTo>
                    <a:pt x="1440765" y="166040"/>
                  </a:lnTo>
                  <a:lnTo>
                    <a:pt x="1440765" y="166687"/>
                  </a:lnTo>
                  <a:lnTo>
                    <a:pt x="1440765" y="166040"/>
                  </a:lnTo>
                  <a:lnTo>
                    <a:pt x="1440765" y="167386"/>
                  </a:lnTo>
                  <a:lnTo>
                    <a:pt x="1440815" y="167386"/>
                  </a:lnTo>
                  <a:lnTo>
                    <a:pt x="1440815" y="168770"/>
                  </a:lnTo>
                  <a:lnTo>
                    <a:pt x="1440815" y="167386"/>
                  </a:lnTo>
                  <a:lnTo>
                    <a:pt x="1440815" y="168770"/>
                  </a:lnTo>
                  <a:lnTo>
                    <a:pt x="1440866" y="168770"/>
                  </a:lnTo>
                  <a:lnTo>
                    <a:pt x="1440866" y="167386"/>
                  </a:lnTo>
                  <a:lnTo>
                    <a:pt x="1440866" y="168770"/>
                  </a:lnTo>
                  <a:lnTo>
                    <a:pt x="1440866" y="167386"/>
                  </a:lnTo>
                  <a:lnTo>
                    <a:pt x="1440955" y="167386"/>
                  </a:lnTo>
                  <a:lnTo>
                    <a:pt x="1440955" y="168770"/>
                  </a:lnTo>
                  <a:lnTo>
                    <a:pt x="1440955" y="167386"/>
                  </a:lnTo>
                  <a:lnTo>
                    <a:pt x="1440955" y="168770"/>
                  </a:lnTo>
                  <a:lnTo>
                    <a:pt x="1440955" y="167386"/>
                  </a:lnTo>
                  <a:lnTo>
                    <a:pt x="1440955" y="168770"/>
                  </a:lnTo>
                  <a:lnTo>
                    <a:pt x="1440955" y="167386"/>
                  </a:lnTo>
                  <a:lnTo>
                    <a:pt x="1441006" y="167386"/>
                  </a:lnTo>
                  <a:lnTo>
                    <a:pt x="1441006" y="166687"/>
                  </a:lnTo>
                  <a:lnTo>
                    <a:pt x="1441057" y="166687"/>
                  </a:lnTo>
                  <a:lnTo>
                    <a:pt x="1441057" y="166040"/>
                  </a:lnTo>
                  <a:lnTo>
                    <a:pt x="1441057" y="166687"/>
                  </a:lnTo>
                  <a:lnTo>
                    <a:pt x="1441057" y="164655"/>
                  </a:lnTo>
                  <a:lnTo>
                    <a:pt x="1441057" y="166687"/>
                  </a:lnTo>
                  <a:lnTo>
                    <a:pt x="1441108" y="166687"/>
                  </a:lnTo>
                  <a:lnTo>
                    <a:pt x="1441108" y="163271"/>
                  </a:lnTo>
                  <a:lnTo>
                    <a:pt x="1441108" y="166687"/>
                  </a:lnTo>
                  <a:lnTo>
                    <a:pt x="1441209" y="166687"/>
                  </a:lnTo>
                  <a:lnTo>
                    <a:pt x="1441209" y="166040"/>
                  </a:lnTo>
                  <a:lnTo>
                    <a:pt x="1441209" y="167386"/>
                  </a:lnTo>
                  <a:lnTo>
                    <a:pt x="1441260" y="166687"/>
                  </a:lnTo>
                  <a:lnTo>
                    <a:pt x="1441260" y="167386"/>
                  </a:lnTo>
                  <a:lnTo>
                    <a:pt x="1441260" y="166687"/>
                  </a:lnTo>
                  <a:lnTo>
                    <a:pt x="1441260" y="168770"/>
                  </a:lnTo>
                  <a:lnTo>
                    <a:pt x="1441311" y="168770"/>
                  </a:lnTo>
                  <a:lnTo>
                    <a:pt x="1441311" y="167386"/>
                  </a:lnTo>
                  <a:lnTo>
                    <a:pt x="1441311" y="169418"/>
                  </a:lnTo>
                  <a:lnTo>
                    <a:pt x="1441311" y="168770"/>
                  </a:lnTo>
                  <a:lnTo>
                    <a:pt x="1441311" y="169418"/>
                  </a:lnTo>
                  <a:lnTo>
                    <a:pt x="1441412" y="169418"/>
                  </a:lnTo>
                  <a:lnTo>
                    <a:pt x="1441412" y="168770"/>
                  </a:lnTo>
                  <a:lnTo>
                    <a:pt x="1441450" y="168770"/>
                  </a:lnTo>
                  <a:lnTo>
                    <a:pt x="1441450" y="167386"/>
                  </a:lnTo>
                  <a:lnTo>
                    <a:pt x="1441501" y="167386"/>
                  </a:lnTo>
                  <a:lnTo>
                    <a:pt x="1441501" y="166687"/>
                  </a:lnTo>
                  <a:lnTo>
                    <a:pt x="1441501" y="167386"/>
                  </a:lnTo>
                  <a:lnTo>
                    <a:pt x="1441501" y="166040"/>
                  </a:lnTo>
                  <a:lnTo>
                    <a:pt x="1441552" y="166687"/>
                  </a:lnTo>
                  <a:lnTo>
                    <a:pt x="1441552" y="166040"/>
                  </a:lnTo>
                  <a:lnTo>
                    <a:pt x="1441552" y="166687"/>
                  </a:lnTo>
                  <a:lnTo>
                    <a:pt x="1441552" y="164655"/>
                  </a:lnTo>
                  <a:lnTo>
                    <a:pt x="1441552" y="166040"/>
                  </a:lnTo>
                  <a:lnTo>
                    <a:pt x="1441654" y="166040"/>
                  </a:lnTo>
                  <a:lnTo>
                    <a:pt x="1441654" y="163271"/>
                  </a:lnTo>
                  <a:lnTo>
                    <a:pt x="1441654" y="166687"/>
                  </a:lnTo>
                  <a:lnTo>
                    <a:pt x="1441705" y="166687"/>
                  </a:lnTo>
                  <a:lnTo>
                    <a:pt x="1441705" y="166040"/>
                  </a:lnTo>
                  <a:lnTo>
                    <a:pt x="1441705" y="167386"/>
                  </a:lnTo>
                  <a:lnTo>
                    <a:pt x="1441755" y="167386"/>
                  </a:lnTo>
                  <a:lnTo>
                    <a:pt x="1441755" y="168770"/>
                  </a:lnTo>
                  <a:lnTo>
                    <a:pt x="1441755" y="167386"/>
                  </a:lnTo>
                  <a:lnTo>
                    <a:pt x="1441755" y="168770"/>
                  </a:lnTo>
                  <a:lnTo>
                    <a:pt x="1441857" y="168770"/>
                  </a:lnTo>
                  <a:lnTo>
                    <a:pt x="1441857" y="169418"/>
                  </a:lnTo>
                  <a:lnTo>
                    <a:pt x="1441857" y="168770"/>
                  </a:lnTo>
                  <a:lnTo>
                    <a:pt x="1441857" y="169418"/>
                  </a:lnTo>
                  <a:lnTo>
                    <a:pt x="1441857" y="168770"/>
                  </a:lnTo>
                  <a:lnTo>
                    <a:pt x="1441857" y="169418"/>
                  </a:lnTo>
                  <a:lnTo>
                    <a:pt x="1441857" y="168770"/>
                  </a:lnTo>
                  <a:lnTo>
                    <a:pt x="1441908" y="168770"/>
                  </a:lnTo>
                  <a:lnTo>
                    <a:pt x="1441908" y="169418"/>
                  </a:lnTo>
                  <a:lnTo>
                    <a:pt x="1441908" y="168770"/>
                  </a:lnTo>
                  <a:lnTo>
                    <a:pt x="1441908" y="169418"/>
                  </a:lnTo>
                  <a:lnTo>
                    <a:pt x="1441908" y="168770"/>
                  </a:lnTo>
                  <a:lnTo>
                    <a:pt x="1441959" y="168770"/>
                  </a:lnTo>
                  <a:lnTo>
                    <a:pt x="1441959" y="169418"/>
                  </a:lnTo>
                  <a:lnTo>
                    <a:pt x="1441959" y="167386"/>
                  </a:lnTo>
                  <a:lnTo>
                    <a:pt x="1441959" y="168770"/>
                  </a:lnTo>
                  <a:lnTo>
                    <a:pt x="1441997" y="168770"/>
                  </a:lnTo>
                  <a:lnTo>
                    <a:pt x="1441997" y="166687"/>
                  </a:lnTo>
                  <a:lnTo>
                    <a:pt x="1441997" y="167386"/>
                  </a:lnTo>
                  <a:lnTo>
                    <a:pt x="1441997" y="166687"/>
                  </a:lnTo>
                  <a:lnTo>
                    <a:pt x="1441997" y="167386"/>
                  </a:lnTo>
                  <a:lnTo>
                    <a:pt x="1442098" y="166687"/>
                  </a:lnTo>
                  <a:lnTo>
                    <a:pt x="1442098" y="166040"/>
                  </a:lnTo>
                  <a:lnTo>
                    <a:pt x="1442098" y="167386"/>
                  </a:lnTo>
                  <a:lnTo>
                    <a:pt x="1442098" y="165354"/>
                  </a:lnTo>
                  <a:lnTo>
                    <a:pt x="1442149" y="165354"/>
                  </a:lnTo>
                  <a:lnTo>
                    <a:pt x="1442149" y="168770"/>
                  </a:lnTo>
                  <a:lnTo>
                    <a:pt x="1442149" y="166040"/>
                  </a:lnTo>
                  <a:lnTo>
                    <a:pt x="1442200" y="166040"/>
                  </a:lnTo>
                  <a:lnTo>
                    <a:pt x="1442200" y="168770"/>
                  </a:lnTo>
                  <a:lnTo>
                    <a:pt x="1442200" y="167386"/>
                  </a:lnTo>
                  <a:lnTo>
                    <a:pt x="1442301" y="167386"/>
                  </a:lnTo>
                  <a:lnTo>
                    <a:pt x="1442301" y="168770"/>
                  </a:lnTo>
                  <a:lnTo>
                    <a:pt x="1442301" y="167386"/>
                  </a:lnTo>
                  <a:lnTo>
                    <a:pt x="1442301" y="168770"/>
                  </a:lnTo>
                  <a:lnTo>
                    <a:pt x="1442352" y="168770"/>
                  </a:lnTo>
                  <a:lnTo>
                    <a:pt x="1442352" y="167386"/>
                  </a:lnTo>
                  <a:lnTo>
                    <a:pt x="1442352" y="168770"/>
                  </a:lnTo>
                  <a:lnTo>
                    <a:pt x="1442403" y="168770"/>
                  </a:lnTo>
                  <a:lnTo>
                    <a:pt x="1442403" y="167386"/>
                  </a:lnTo>
                  <a:lnTo>
                    <a:pt x="1442403" y="168770"/>
                  </a:lnTo>
                  <a:lnTo>
                    <a:pt x="1442454" y="168770"/>
                  </a:lnTo>
                  <a:lnTo>
                    <a:pt x="1442454" y="167386"/>
                  </a:lnTo>
                  <a:lnTo>
                    <a:pt x="1442543" y="167386"/>
                  </a:lnTo>
                  <a:lnTo>
                    <a:pt x="1442543" y="166040"/>
                  </a:lnTo>
                  <a:lnTo>
                    <a:pt x="1442543" y="167386"/>
                  </a:lnTo>
                  <a:lnTo>
                    <a:pt x="1442594" y="168770"/>
                  </a:lnTo>
                  <a:lnTo>
                    <a:pt x="1442594" y="167386"/>
                  </a:lnTo>
                  <a:lnTo>
                    <a:pt x="1442594" y="168770"/>
                  </a:lnTo>
                  <a:lnTo>
                    <a:pt x="1442594" y="166040"/>
                  </a:lnTo>
                  <a:lnTo>
                    <a:pt x="1442594" y="169418"/>
                  </a:lnTo>
                  <a:lnTo>
                    <a:pt x="1442644" y="170116"/>
                  </a:lnTo>
                  <a:lnTo>
                    <a:pt x="1442644" y="167386"/>
                  </a:lnTo>
                  <a:lnTo>
                    <a:pt x="1442644" y="170116"/>
                  </a:lnTo>
                  <a:lnTo>
                    <a:pt x="1442695" y="170116"/>
                  </a:lnTo>
                  <a:lnTo>
                    <a:pt x="1442695" y="169418"/>
                  </a:lnTo>
                  <a:lnTo>
                    <a:pt x="1442695" y="170116"/>
                  </a:lnTo>
                  <a:lnTo>
                    <a:pt x="1442797" y="170116"/>
                  </a:lnTo>
                  <a:lnTo>
                    <a:pt x="1442797" y="169418"/>
                  </a:lnTo>
                  <a:lnTo>
                    <a:pt x="1442797" y="170116"/>
                  </a:lnTo>
                  <a:lnTo>
                    <a:pt x="1442797" y="169418"/>
                  </a:lnTo>
                  <a:lnTo>
                    <a:pt x="1442797" y="170116"/>
                  </a:lnTo>
                  <a:lnTo>
                    <a:pt x="1442898" y="170116"/>
                  </a:lnTo>
                  <a:lnTo>
                    <a:pt x="1442898" y="169418"/>
                  </a:lnTo>
                  <a:lnTo>
                    <a:pt x="1442898" y="170116"/>
                  </a:lnTo>
                  <a:lnTo>
                    <a:pt x="1442898" y="169418"/>
                  </a:lnTo>
                  <a:lnTo>
                    <a:pt x="1442898" y="170116"/>
                  </a:lnTo>
                  <a:lnTo>
                    <a:pt x="1442898" y="169418"/>
                  </a:lnTo>
                  <a:lnTo>
                    <a:pt x="1442898" y="170116"/>
                  </a:lnTo>
                  <a:lnTo>
                    <a:pt x="1442898" y="169418"/>
                  </a:lnTo>
                  <a:lnTo>
                    <a:pt x="1442898" y="170116"/>
                  </a:lnTo>
                  <a:lnTo>
                    <a:pt x="1443000" y="170116"/>
                  </a:lnTo>
                  <a:lnTo>
                    <a:pt x="1443000" y="169418"/>
                  </a:lnTo>
                  <a:lnTo>
                    <a:pt x="1443000" y="170116"/>
                  </a:lnTo>
                  <a:lnTo>
                    <a:pt x="1443000" y="168770"/>
                  </a:lnTo>
                  <a:lnTo>
                    <a:pt x="1443000" y="169418"/>
                  </a:lnTo>
                  <a:lnTo>
                    <a:pt x="1443038" y="168770"/>
                  </a:lnTo>
                  <a:lnTo>
                    <a:pt x="1443038" y="167386"/>
                  </a:lnTo>
                  <a:lnTo>
                    <a:pt x="1443038" y="170116"/>
                  </a:lnTo>
                  <a:lnTo>
                    <a:pt x="1443038" y="169418"/>
                  </a:lnTo>
                  <a:lnTo>
                    <a:pt x="1443089" y="168770"/>
                  </a:lnTo>
                  <a:lnTo>
                    <a:pt x="1443089" y="172148"/>
                  </a:lnTo>
                  <a:lnTo>
                    <a:pt x="1443089" y="170116"/>
                  </a:lnTo>
                  <a:lnTo>
                    <a:pt x="1443140" y="170116"/>
                  </a:lnTo>
                  <a:lnTo>
                    <a:pt x="1443140" y="172148"/>
                  </a:lnTo>
                  <a:lnTo>
                    <a:pt x="1443140" y="170802"/>
                  </a:lnTo>
                  <a:lnTo>
                    <a:pt x="1443241" y="170802"/>
                  </a:lnTo>
                  <a:lnTo>
                    <a:pt x="1443241" y="172847"/>
                  </a:lnTo>
                  <a:lnTo>
                    <a:pt x="1443241" y="170802"/>
                  </a:lnTo>
                  <a:lnTo>
                    <a:pt x="1443241" y="172148"/>
                  </a:lnTo>
                  <a:lnTo>
                    <a:pt x="1443292" y="170802"/>
                  </a:lnTo>
                  <a:lnTo>
                    <a:pt x="1443292" y="172148"/>
                  </a:lnTo>
                  <a:lnTo>
                    <a:pt x="1443292" y="170802"/>
                  </a:lnTo>
                  <a:lnTo>
                    <a:pt x="1443292" y="172148"/>
                  </a:lnTo>
                  <a:lnTo>
                    <a:pt x="1443292" y="170802"/>
                  </a:lnTo>
                  <a:lnTo>
                    <a:pt x="1443343" y="170802"/>
                  </a:lnTo>
                  <a:lnTo>
                    <a:pt x="1443343" y="170116"/>
                  </a:lnTo>
                  <a:lnTo>
                    <a:pt x="1443343" y="170802"/>
                  </a:lnTo>
                  <a:lnTo>
                    <a:pt x="1443343" y="170116"/>
                  </a:lnTo>
                  <a:lnTo>
                    <a:pt x="1443444" y="170116"/>
                  </a:lnTo>
                  <a:lnTo>
                    <a:pt x="1443444" y="170802"/>
                  </a:lnTo>
                  <a:lnTo>
                    <a:pt x="1443444" y="170116"/>
                  </a:lnTo>
                  <a:lnTo>
                    <a:pt x="1443444" y="170802"/>
                  </a:lnTo>
                  <a:lnTo>
                    <a:pt x="1443444" y="170116"/>
                  </a:lnTo>
                  <a:lnTo>
                    <a:pt x="1443495" y="170116"/>
                  </a:lnTo>
                  <a:lnTo>
                    <a:pt x="1443495" y="167386"/>
                  </a:lnTo>
                  <a:lnTo>
                    <a:pt x="1443546" y="167386"/>
                  </a:lnTo>
                  <a:lnTo>
                    <a:pt x="1443546" y="169418"/>
                  </a:lnTo>
                  <a:lnTo>
                    <a:pt x="1443546" y="167386"/>
                  </a:lnTo>
                  <a:lnTo>
                    <a:pt x="1443584" y="167386"/>
                  </a:lnTo>
                  <a:lnTo>
                    <a:pt x="1443584" y="170802"/>
                  </a:lnTo>
                  <a:lnTo>
                    <a:pt x="1443584" y="169418"/>
                  </a:lnTo>
                  <a:lnTo>
                    <a:pt x="1443686" y="170116"/>
                  </a:lnTo>
                  <a:lnTo>
                    <a:pt x="1443686" y="172148"/>
                  </a:lnTo>
                  <a:lnTo>
                    <a:pt x="1443686" y="170802"/>
                  </a:lnTo>
                  <a:lnTo>
                    <a:pt x="1443686" y="172148"/>
                  </a:lnTo>
                  <a:lnTo>
                    <a:pt x="1443737" y="172148"/>
                  </a:lnTo>
                  <a:lnTo>
                    <a:pt x="1443737" y="172847"/>
                  </a:lnTo>
                  <a:lnTo>
                    <a:pt x="1443737" y="172148"/>
                  </a:lnTo>
                  <a:lnTo>
                    <a:pt x="1443737" y="172847"/>
                  </a:lnTo>
                  <a:lnTo>
                    <a:pt x="1443737" y="172148"/>
                  </a:lnTo>
                  <a:lnTo>
                    <a:pt x="1443737" y="172847"/>
                  </a:lnTo>
                  <a:lnTo>
                    <a:pt x="1443737" y="172148"/>
                  </a:lnTo>
                  <a:lnTo>
                    <a:pt x="1443787" y="172148"/>
                  </a:lnTo>
                  <a:lnTo>
                    <a:pt x="1443787" y="172847"/>
                  </a:lnTo>
                  <a:lnTo>
                    <a:pt x="1443889" y="172847"/>
                  </a:lnTo>
                  <a:lnTo>
                    <a:pt x="1443889" y="172148"/>
                  </a:lnTo>
                  <a:lnTo>
                    <a:pt x="1443889" y="172847"/>
                  </a:lnTo>
                  <a:lnTo>
                    <a:pt x="1443889" y="172148"/>
                  </a:lnTo>
                  <a:lnTo>
                    <a:pt x="1443889" y="172847"/>
                  </a:lnTo>
                  <a:lnTo>
                    <a:pt x="1443889" y="172148"/>
                  </a:lnTo>
                  <a:lnTo>
                    <a:pt x="1443940" y="172148"/>
                  </a:lnTo>
                  <a:lnTo>
                    <a:pt x="1443940" y="170802"/>
                  </a:lnTo>
                  <a:lnTo>
                    <a:pt x="1443940" y="172148"/>
                  </a:lnTo>
                  <a:lnTo>
                    <a:pt x="1443940" y="170802"/>
                  </a:lnTo>
                  <a:lnTo>
                    <a:pt x="1443940" y="172148"/>
                  </a:lnTo>
                  <a:lnTo>
                    <a:pt x="1443940" y="170802"/>
                  </a:lnTo>
                  <a:lnTo>
                    <a:pt x="1443990" y="170802"/>
                  </a:lnTo>
                  <a:lnTo>
                    <a:pt x="1443990" y="170116"/>
                  </a:lnTo>
                  <a:lnTo>
                    <a:pt x="1443990" y="170802"/>
                  </a:lnTo>
                  <a:lnTo>
                    <a:pt x="1443990" y="169418"/>
                  </a:lnTo>
                  <a:lnTo>
                    <a:pt x="1443990" y="170116"/>
                  </a:lnTo>
                  <a:lnTo>
                    <a:pt x="1444041" y="170116"/>
                  </a:lnTo>
                  <a:lnTo>
                    <a:pt x="1444041" y="170802"/>
                  </a:lnTo>
                  <a:lnTo>
                    <a:pt x="1444041" y="169418"/>
                  </a:lnTo>
                  <a:lnTo>
                    <a:pt x="1444041" y="172148"/>
                  </a:lnTo>
                  <a:lnTo>
                    <a:pt x="1444130" y="172148"/>
                  </a:lnTo>
                  <a:lnTo>
                    <a:pt x="1444130" y="170116"/>
                  </a:lnTo>
                  <a:lnTo>
                    <a:pt x="1444130" y="172148"/>
                  </a:lnTo>
                  <a:lnTo>
                    <a:pt x="1444181" y="172148"/>
                  </a:lnTo>
                  <a:lnTo>
                    <a:pt x="1444181" y="170802"/>
                  </a:lnTo>
                  <a:lnTo>
                    <a:pt x="1444181" y="172847"/>
                  </a:lnTo>
                  <a:lnTo>
                    <a:pt x="1444232" y="172847"/>
                  </a:lnTo>
                  <a:lnTo>
                    <a:pt x="1444232" y="172148"/>
                  </a:lnTo>
                  <a:lnTo>
                    <a:pt x="1444232" y="172847"/>
                  </a:lnTo>
                  <a:lnTo>
                    <a:pt x="1444232" y="172148"/>
                  </a:lnTo>
                  <a:lnTo>
                    <a:pt x="1444232" y="172847"/>
                  </a:lnTo>
                  <a:lnTo>
                    <a:pt x="1444384" y="172847"/>
                  </a:lnTo>
                  <a:lnTo>
                    <a:pt x="1444384" y="173533"/>
                  </a:lnTo>
                  <a:lnTo>
                    <a:pt x="1444384" y="172847"/>
                  </a:lnTo>
                  <a:lnTo>
                    <a:pt x="1444384" y="173533"/>
                  </a:lnTo>
                  <a:lnTo>
                    <a:pt x="1444384" y="172847"/>
                  </a:lnTo>
                  <a:lnTo>
                    <a:pt x="1444435" y="172847"/>
                  </a:lnTo>
                  <a:lnTo>
                    <a:pt x="1444435" y="170802"/>
                  </a:lnTo>
                  <a:lnTo>
                    <a:pt x="1444486" y="170802"/>
                  </a:lnTo>
                  <a:lnTo>
                    <a:pt x="1444486" y="169418"/>
                  </a:lnTo>
                  <a:lnTo>
                    <a:pt x="1444486" y="170116"/>
                  </a:lnTo>
                  <a:lnTo>
                    <a:pt x="1444587" y="170116"/>
                  </a:lnTo>
                  <a:lnTo>
                    <a:pt x="1444587" y="170802"/>
                  </a:lnTo>
                  <a:lnTo>
                    <a:pt x="1444587" y="168770"/>
                  </a:lnTo>
                  <a:lnTo>
                    <a:pt x="1444587" y="169418"/>
                  </a:lnTo>
                  <a:lnTo>
                    <a:pt x="1444587" y="168770"/>
                  </a:lnTo>
                  <a:lnTo>
                    <a:pt x="1444587" y="172148"/>
                  </a:lnTo>
                  <a:lnTo>
                    <a:pt x="1444625" y="172148"/>
                  </a:lnTo>
                  <a:lnTo>
                    <a:pt x="1444625" y="170802"/>
                  </a:lnTo>
                  <a:lnTo>
                    <a:pt x="1444625" y="172148"/>
                  </a:lnTo>
                  <a:lnTo>
                    <a:pt x="1444625" y="170802"/>
                  </a:lnTo>
                  <a:lnTo>
                    <a:pt x="1444625" y="172847"/>
                  </a:lnTo>
                  <a:lnTo>
                    <a:pt x="1444625" y="172148"/>
                  </a:lnTo>
                  <a:lnTo>
                    <a:pt x="1444676" y="172148"/>
                  </a:lnTo>
                  <a:lnTo>
                    <a:pt x="1444676" y="172847"/>
                  </a:lnTo>
                  <a:lnTo>
                    <a:pt x="1444676" y="172148"/>
                  </a:lnTo>
                  <a:lnTo>
                    <a:pt x="1444676" y="172847"/>
                  </a:lnTo>
                  <a:lnTo>
                    <a:pt x="1444676" y="172148"/>
                  </a:lnTo>
                  <a:lnTo>
                    <a:pt x="1444676" y="172847"/>
                  </a:lnTo>
                  <a:lnTo>
                    <a:pt x="1444676" y="172148"/>
                  </a:lnTo>
                  <a:lnTo>
                    <a:pt x="1444676" y="172847"/>
                  </a:lnTo>
                  <a:lnTo>
                    <a:pt x="1444676" y="172148"/>
                  </a:lnTo>
                  <a:lnTo>
                    <a:pt x="1444676" y="172847"/>
                  </a:lnTo>
                  <a:lnTo>
                    <a:pt x="1444727" y="172847"/>
                  </a:lnTo>
                  <a:lnTo>
                    <a:pt x="1444727" y="172148"/>
                  </a:lnTo>
                  <a:lnTo>
                    <a:pt x="1444727" y="173533"/>
                  </a:lnTo>
                  <a:lnTo>
                    <a:pt x="1444727" y="172847"/>
                  </a:lnTo>
                  <a:lnTo>
                    <a:pt x="1444727" y="173533"/>
                  </a:lnTo>
                  <a:lnTo>
                    <a:pt x="1444829" y="173533"/>
                  </a:lnTo>
                  <a:lnTo>
                    <a:pt x="1444829" y="172847"/>
                  </a:lnTo>
                  <a:lnTo>
                    <a:pt x="1444829" y="173533"/>
                  </a:lnTo>
                  <a:lnTo>
                    <a:pt x="1444829" y="172847"/>
                  </a:lnTo>
                  <a:lnTo>
                    <a:pt x="1444829" y="174282"/>
                  </a:lnTo>
                  <a:lnTo>
                    <a:pt x="1444829" y="173533"/>
                  </a:lnTo>
                  <a:lnTo>
                    <a:pt x="1444880" y="173533"/>
                  </a:lnTo>
                  <a:lnTo>
                    <a:pt x="1444880" y="174282"/>
                  </a:lnTo>
                  <a:lnTo>
                    <a:pt x="1444880" y="173533"/>
                  </a:lnTo>
                  <a:lnTo>
                    <a:pt x="1444880" y="174282"/>
                  </a:lnTo>
                  <a:lnTo>
                    <a:pt x="1444880" y="173533"/>
                  </a:lnTo>
                  <a:lnTo>
                    <a:pt x="1444930" y="173533"/>
                  </a:lnTo>
                  <a:lnTo>
                    <a:pt x="1444930" y="172847"/>
                  </a:lnTo>
                  <a:lnTo>
                    <a:pt x="1444930" y="173533"/>
                  </a:lnTo>
                  <a:lnTo>
                    <a:pt x="1444930" y="172148"/>
                  </a:lnTo>
                  <a:lnTo>
                    <a:pt x="1445032" y="170802"/>
                  </a:lnTo>
                  <a:lnTo>
                    <a:pt x="1445032" y="170116"/>
                  </a:lnTo>
                  <a:lnTo>
                    <a:pt x="1445032" y="170802"/>
                  </a:lnTo>
                  <a:lnTo>
                    <a:pt x="1445032" y="169418"/>
                  </a:lnTo>
                  <a:lnTo>
                    <a:pt x="1445032" y="170802"/>
                  </a:lnTo>
                  <a:lnTo>
                    <a:pt x="1445032" y="170116"/>
                  </a:lnTo>
                  <a:lnTo>
                    <a:pt x="1445032" y="170802"/>
                  </a:lnTo>
                  <a:lnTo>
                    <a:pt x="1445083" y="170116"/>
                  </a:lnTo>
                  <a:lnTo>
                    <a:pt x="1445083" y="170802"/>
                  </a:lnTo>
                  <a:lnTo>
                    <a:pt x="1445083" y="169418"/>
                  </a:lnTo>
                  <a:lnTo>
                    <a:pt x="1445083" y="172148"/>
                  </a:lnTo>
                  <a:lnTo>
                    <a:pt x="1445134" y="172148"/>
                  </a:lnTo>
                  <a:lnTo>
                    <a:pt x="1445134" y="170802"/>
                  </a:lnTo>
                  <a:lnTo>
                    <a:pt x="1445134" y="172148"/>
                  </a:lnTo>
                  <a:lnTo>
                    <a:pt x="1445172" y="172148"/>
                  </a:lnTo>
                  <a:lnTo>
                    <a:pt x="1445172" y="170802"/>
                  </a:lnTo>
                  <a:lnTo>
                    <a:pt x="1445172" y="172148"/>
                  </a:lnTo>
                  <a:lnTo>
                    <a:pt x="1445172" y="170802"/>
                  </a:lnTo>
                  <a:lnTo>
                    <a:pt x="1445172" y="172148"/>
                  </a:lnTo>
                  <a:lnTo>
                    <a:pt x="1445172" y="170802"/>
                  </a:lnTo>
                  <a:lnTo>
                    <a:pt x="1445172" y="172148"/>
                  </a:lnTo>
                  <a:lnTo>
                    <a:pt x="1445273" y="172148"/>
                  </a:lnTo>
                  <a:lnTo>
                    <a:pt x="1445273" y="170802"/>
                  </a:lnTo>
                  <a:lnTo>
                    <a:pt x="1445273" y="172148"/>
                  </a:lnTo>
                  <a:lnTo>
                    <a:pt x="1445273" y="170802"/>
                  </a:lnTo>
                  <a:lnTo>
                    <a:pt x="1445273" y="172148"/>
                  </a:lnTo>
                  <a:lnTo>
                    <a:pt x="1445324" y="172148"/>
                  </a:lnTo>
                  <a:lnTo>
                    <a:pt x="1445324" y="172847"/>
                  </a:lnTo>
                  <a:lnTo>
                    <a:pt x="1445324" y="172148"/>
                  </a:lnTo>
                  <a:lnTo>
                    <a:pt x="1445324" y="173533"/>
                  </a:lnTo>
                  <a:lnTo>
                    <a:pt x="1445324" y="172847"/>
                  </a:lnTo>
                  <a:lnTo>
                    <a:pt x="1445324" y="173533"/>
                  </a:lnTo>
                  <a:lnTo>
                    <a:pt x="1445375" y="173533"/>
                  </a:lnTo>
                  <a:lnTo>
                    <a:pt x="1445375" y="172847"/>
                  </a:lnTo>
                  <a:lnTo>
                    <a:pt x="1445375" y="173533"/>
                  </a:lnTo>
                  <a:lnTo>
                    <a:pt x="1445375" y="172847"/>
                  </a:lnTo>
                  <a:lnTo>
                    <a:pt x="1445375" y="173533"/>
                  </a:lnTo>
                  <a:lnTo>
                    <a:pt x="1445375" y="172148"/>
                  </a:lnTo>
                  <a:lnTo>
                    <a:pt x="1445476" y="172847"/>
                  </a:lnTo>
                  <a:lnTo>
                    <a:pt x="1445476" y="172148"/>
                  </a:lnTo>
                  <a:lnTo>
                    <a:pt x="1445476" y="172847"/>
                  </a:lnTo>
                  <a:lnTo>
                    <a:pt x="1445476" y="170802"/>
                  </a:lnTo>
                  <a:lnTo>
                    <a:pt x="1445527" y="170116"/>
                  </a:lnTo>
                  <a:lnTo>
                    <a:pt x="1445527" y="172847"/>
                  </a:lnTo>
                  <a:lnTo>
                    <a:pt x="1445527" y="170116"/>
                  </a:lnTo>
                  <a:lnTo>
                    <a:pt x="1445578" y="170116"/>
                  </a:lnTo>
                  <a:lnTo>
                    <a:pt x="1445578" y="174282"/>
                  </a:lnTo>
                  <a:lnTo>
                    <a:pt x="1445578" y="172148"/>
                  </a:lnTo>
                  <a:lnTo>
                    <a:pt x="1445578" y="172847"/>
                  </a:lnTo>
                  <a:lnTo>
                    <a:pt x="1445578" y="172148"/>
                  </a:lnTo>
                  <a:lnTo>
                    <a:pt x="1445578" y="172847"/>
                  </a:lnTo>
                  <a:lnTo>
                    <a:pt x="1445629" y="172847"/>
                  </a:lnTo>
                  <a:lnTo>
                    <a:pt x="1445629" y="173533"/>
                  </a:lnTo>
                  <a:lnTo>
                    <a:pt x="1445629" y="172847"/>
                  </a:lnTo>
                  <a:lnTo>
                    <a:pt x="1445629" y="173533"/>
                  </a:lnTo>
                  <a:lnTo>
                    <a:pt x="1445629" y="172847"/>
                  </a:lnTo>
                  <a:lnTo>
                    <a:pt x="1445629" y="173533"/>
                  </a:lnTo>
                  <a:lnTo>
                    <a:pt x="1445718" y="172847"/>
                  </a:lnTo>
                  <a:lnTo>
                    <a:pt x="1445718" y="173533"/>
                  </a:lnTo>
                  <a:lnTo>
                    <a:pt x="1445718" y="172847"/>
                  </a:lnTo>
                  <a:lnTo>
                    <a:pt x="1445718" y="173533"/>
                  </a:lnTo>
                  <a:lnTo>
                    <a:pt x="1445718" y="172847"/>
                  </a:lnTo>
                  <a:lnTo>
                    <a:pt x="1445718" y="173533"/>
                  </a:lnTo>
                  <a:lnTo>
                    <a:pt x="1445718" y="172847"/>
                  </a:lnTo>
                  <a:lnTo>
                    <a:pt x="1445769" y="173533"/>
                  </a:lnTo>
                  <a:lnTo>
                    <a:pt x="1445769" y="172847"/>
                  </a:lnTo>
                  <a:lnTo>
                    <a:pt x="1445769" y="173533"/>
                  </a:lnTo>
                  <a:lnTo>
                    <a:pt x="1445769" y="172847"/>
                  </a:lnTo>
                  <a:lnTo>
                    <a:pt x="1445769" y="173533"/>
                  </a:lnTo>
                  <a:lnTo>
                    <a:pt x="1445769" y="172847"/>
                  </a:lnTo>
                  <a:lnTo>
                    <a:pt x="1445769" y="173533"/>
                  </a:lnTo>
                  <a:lnTo>
                    <a:pt x="1445769" y="172847"/>
                  </a:lnTo>
                  <a:lnTo>
                    <a:pt x="1445769" y="173533"/>
                  </a:lnTo>
                  <a:lnTo>
                    <a:pt x="1445769" y="172847"/>
                  </a:lnTo>
                  <a:lnTo>
                    <a:pt x="1445769" y="173533"/>
                  </a:lnTo>
                  <a:lnTo>
                    <a:pt x="1445819" y="173533"/>
                  </a:lnTo>
                  <a:lnTo>
                    <a:pt x="1445819" y="172847"/>
                  </a:lnTo>
                  <a:lnTo>
                    <a:pt x="1445819" y="173533"/>
                  </a:lnTo>
                  <a:lnTo>
                    <a:pt x="1445819" y="172847"/>
                  </a:lnTo>
                  <a:lnTo>
                    <a:pt x="1445819" y="173533"/>
                  </a:lnTo>
                  <a:lnTo>
                    <a:pt x="1445870" y="173533"/>
                  </a:lnTo>
                  <a:lnTo>
                    <a:pt x="1445870" y="174282"/>
                  </a:lnTo>
                  <a:lnTo>
                    <a:pt x="1445870" y="172847"/>
                  </a:lnTo>
                  <a:lnTo>
                    <a:pt x="1445870" y="173533"/>
                  </a:lnTo>
                  <a:lnTo>
                    <a:pt x="1445870" y="172847"/>
                  </a:lnTo>
                  <a:lnTo>
                    <a:pt x="1445870" y="173533"/>
                  </a:lnTo>
                  <a:lnTo>
                    <a:pt x="1445870" y="172847"/>
                  </a:lnTo>
                  <a:lnTo>
                    <a:pt x="1445972" y="172847"/>
                  </a:lnTo>
                  <a:lnTo>
                    <a:pt x="1445972" y="170116"/>
                  </a:lnTo>
                  <a:lnTo>
                    <a:pt x="1445972" y="170802"/>
                  </a:lnTo>
                  <a:lnTo>
                    <a:pt x="1446022" y="170116"/>
                  </a:lnTo>
                  <a:lnTo>
                    <a:pt x="1446022" y="169418"/>
                  </a:lnTo>
                  <a:lnTo>
                    <a:pt x="1446022" y="170802"/>
                  </a:lnTo>
                  <a:lnTo>
                    <a:pt x="1446022" y="170116"/>
                  </a:lnTo>
                  <a:lnTo>
                    <a:pt x="1446073" y="170802"/>
                  </a:lnTo>
                  <a:lnTo>
                    <a:pt x="1446073" y="173533"/>
                  </a:lnTo>
                  <a:lnTo>
                    <a:pt x="1446073" y="172847"/>
                  </a:lnTo>
                  <a:lnTo>
                    <a:pt x="1446073" y="173533"/>
                  </a:lnTo>
                  <a:lnTo>
                    <a:pt x="1446073" y="172847"/>
                  </a:lnTo>
                  <a:lnTo>
                    <a:pt x="1446175" y="172847"/>
                  </a:lnTo>
                  <a:lnTo>
                    <a:pt x="1446175" y="174282"/>
                  </a:lnTo>
                  <a:lnTo>
                    <a:pt x="1446175" y="172148"/>
                  </a:lnTo>
                  <a:lnTo>
                    <a:pt x="1446175" y="172847"/>
                  </a:lnTo>
                  <a:lnTo>
                    <a:pt x="1446213" y="172847"/>
                  </a:lnTo>
                  <a:lnTo>
                    <a:pt x="1446213" y="173533"/>
                  </a:lnTo>
                  <a:lnTo>
                    <a:pt x="1446213" y="172847"/>
                  </a:lnTo>
                  <a:lnTo>
                    <a:pt x="1446264" y="172847"/>
                  </a:lnTo>
                  <a:lnTo>
                    <a:pt x="1446264" y="173533"/>
                  </a:lnTo>
                  <a:lnTo>
                    <a:pt x="1446264" y="172847"/>
                  </a:lnTo>
                  <a:lnTo>
                    <a:pt x="1446264" y="173533"/>
                  </a:lnTo>
                  <a:lnTo>
                    <a:pt x="1446315" y="172847"/>
                  </a:lnTo>
                  <a:lnTo>
                    <a:pt x="1446315" y="173533"/>
                  </a:lnTo>
                  <a:lnTo>
                    <a:pt x="1446315" y="172847"/>
                  </a:lnTo>
                  <a:lnTo>
                    <a:pt x="1446315" y="173533"/>
                  </a:lnTo>
                  <a:lnTo>
                    <a:pt x="1446315" y="172847"/>
                  </a:lnTo>
                  <a:lnTo>
                    <a:pt x="1446315" y="173533"/>
                  </a:lnTo>
                  <a:lnTo>
                    <a:pt x="1446315" y="172847"/>
                  </a:lnTo>
                  <a:lnTo>
                    <a:pt x="1446416" y="172847"/>
                  </a:lnTo>
                  <a:lnTo>
                    <a:pt x="1446416" y="170802"/>
                  </a:lnTo>
                  <a:lnTo>
                    <a:pt x="1446416" y="172148"/>
                  </a:lnTo>
                  <a:lnTo>
                    <a:pt x="1446416" y="170802"/>
                  </a:lnTo>
                  <a:lnTo>
                    <a:pt x="1446416" y="172148"/>
                  </a:lnTo>
                  <a:lnTo>
                    <a:pt x="1446416" y="170116"/>
                  </a:lnTo>
                  <a:lnTo>
                    <a:pt x="1446467" y="170116"/>
                  </a:lnTo>
                  <a:lnTo>
                    <a:pt x="1446467" y="168770"/>
                  </a:lnTo>
                  <a:lnTo>
                    <a:pt x="1446467" y="169418"/>
                  </a:lnTo>
                  <a:lnTo>
                    <a:pt x="1446518" y="169418"/>
                  </a:lnTo>
                  <a:lnTo>
                    <a:pt x="1446518" y="168770"/>
                  </a:lnTo>
                  <a:lnTo>
                    <a:pt x="1446518" y="169418"/>
                  </a:lnTo>
                  <a:lnTo>
                    <a:pt x="1446619" y="169418"/>
                  </a:lnTo>
                  <a:lnTo>
                    <a:pt x="1446619" y="170802"/>
                  </a:lnTo>
                  <a:lnTo>
                    <a:pt x="1446619" y="170116"/>
                  </a:lnTo>
                  <a:lnTo>
                    <a:pt x="1446619" y="172148"/>
                  </a:lnTo>
                  <a:lnTo>
                    <a:pt x="1446670" y="172148"/>
                  </a:lnTo>
                  <a:lnTo>
                    <a:pt x="1446670" y="170116"/>
                  </a:lnTo>
                  <a:lnTo>
                    <a:pt x="1446670" y="170802"/>
                  </a:lnTo>
                  <a:lnTo>
                    <a:pt x="1446670" y="170116"/>
                  </a:lnTo>
                  <a:lnTo>
                    <a:pt x="1446670" y="170802"/>
                  </a:lnTo>
                  <a:lnTo>
                    <a:pt x="1446721" y="170802"/>
                  </a:lnTo>
                  <a:lnTo>
                    <a:pt x="1446721" y="172148"/>
                  </a:lnTo>
                  <a:lnTo>
                    <a:pt x="1446721" y="170802"/>
                  </a:lnTo>
                  <a:lnTo>
                    <a:pt x="1446721" y="172148"/>
                  </a:lnTo>
                  <a:lnTo>
                    <a:pt x="1446759" y="172148"/>
                  </a:lnTo>
                  <a:lnTo>
                    <a:pt x="1446759" y="172847"/>
                  </a:lnTo>
                  <a:lnTo>
                    <a:pt x="1446759" y="172148"/>
                  </a:lnTo>
                  <a:lnTo>
                    <a:pt x="1446759" y="172847"/>
                  </a:lnTo>
                  <a:lnTo>
                    <a:pt x="1446759" y="172148"/>
                  </a:lnTo>
                  <a:lnTo>
                    <a:pt x="1446759" y="172847"/>
                  </a:lnTo>
                  <a:lnTo>
                    <a:pt x="1446861" y="172847"/>
                  </a:lnTo>
                  <a:lnTo>
                    <a:pt x="1446861" y="172148"/>
                  </a:lnTo>
                  <a:lnTo>
                    <a:pt x="1446912" y="172148"/>
                  </a:lnTo>
                  <a:lnTo>
                    <a:pt x="1446912" y="170116"/>
                  </a:lnTo>
                  <a:lnTo>
                    <a:pt x="1446912" y="170802"/>
                  </a:lnTo>
                  <a:lnTo>
                    <a:pt x="1446912" y="170116"/>
                  </a:lnTo>
                  <a:lnTo>
                    <a:pt x="1446962" y="170116"/>
                  </a:lnTo>
                  <a:lnTo>
                    <a:pt x="1446962" y="169418"/>
                  </a:lnTo>
                  <a:lnTo>
                    <a:pt x="1446962" y="170116"/>
                  </a:lnTo>
                  <a:lnTo>
                    <a:pt x="1446962" y="169418"/>
                  </a:lnTo>
                  <a:lnTo>
                    <a:pt x="1446962" y="170116"/>
                  </a:lnTo>
                  <a:lnTo>
                    <a:pt x="1447064" y="170802"/>
                  </a:lnTo>
                  <a:lnTo>
                    <a:pt x="1447064" y="169418"/>
                  </a:lnTo>
                  <a:lnTo>
                    <a:pt x="1447064" y="172148"/>
                  </a:lnTo>
                  <a:lnTo>
                    <a:pt x="1447115" y="172148"/>
                  </a:lnTo>
                  <a:lnTo>
                    <a:pt x="1447115" y="170802"/>
                  </a:lnTo>
                  <a:lnTo>
                    <a:pt x="1447115" y="172148"/>
                  </a:lnTo>
                  <a:lnTo>
                    <a:pt x="1447165" y="172148"/>
                  </a:lnTo>
                  <a:lnTo>
                    <a:pt x="1447165" y="170802"/>
                  </a:lnTo>
                  <a:lnTo>
                    <a:pt x="1447165" y="172148"/>
                  </a:lnTo>
                  <a:lnTo>
                    <a:pt x="1447165" y="170802"/>
                  </a:lnTo>
                  <a:lnTo>
                    <a:pt x="1447216" y="172148"/>
                  </a:lnTo>
                  <a:lnTo>
                    <a:pt x="1447216" y="170802"/>
                  </a:lnTo>
                  <a:lnTo>
                    <a:pt x="1447216" y="172148"/>
                  </a:lnTo>
                  <a:lnTo>
                    <a:pt x="1447216" y="170802"/>
                  </a:lnTo>
                  <a:lnTo>
                    <a:pt x="1447216" y="172148"/>
                  </a:lnTo>
                  <a:lnTo>
                    <a:pt x="1447305" y="172148"/>
                  </a:lnTo>
                  <a:lnTo>
                    <a:pt x="1447305" y="172847"/>
                  </a:lnTo>
                  <a:lnTo>
                    <a:pt x="1447305" y="172148"/>
                  </a:lnTo>
                  <a:lnTo>
                    <a:pt x="1447305" y="172847"/>
                  </a:lnTo>
                  <a:lnTo>
                    <a:pt x="1447305" y="172148"/>
                  </a:lnTo>
                  <a:lnTo>
                    <a:pt x="1447356" y="172148"/>
                  </a:lnTo>
                  <a:lnTo>
                    <a:pt x="1447356" y="172847"/>
                  </a:lnTo>
                  <a:lnTo>
                    <a:pt x="1447356" y="172148"/>
                  </a:lnTo>
                  <a:lnTo>
                    <a:pt x="1447407" y="172148"/>
                  </a:lnTo>
                  <a:lnTo>
                    <a:pt x="1447407" y="169418"/>
                  </a:lnTo>
                  <a:lnTo>
                    <a:pt x="1447407" y="170116"/>
                  </a:lnTo>
                  <a:lnTo>
                    <a:pt x="1447407" y="169418"/>
                  </a:lnTo>
                  <a:lnTo>
                    <a:pt x="1447458" y="169418"/>
                  </a:lnTo>
                  <a:lnTo>
                    <a:pt x="1447458" y="168770"/>
                  </a:lnTo>
                  <a:lnTo>
                    <a:pt x="1447458" y="170116"/>
                  </a:lnTo>
                  <a:lnTo>
                    <a:pt x="1447559" y="170116"/>
                  </a:lnTo>
                  <a:lnTo>
                    <a:pt x="1447559" y="169418"/>
                  </a:lnTo>
                  <a:lnTo>
                    <a:pt x="1447559" y="172148"/>
                  </a:lnTo>
                  <a:lnTo>
                    <a:pt x="1447559" y="170802"/>
                  </a:lnTo>
                  <a:lnTo>
                    <a:pt x="1447610" y="172148"/>
                  </a:lnTo>
                  <a:lnTo>
                    <a:pt x="1447610" y="170802"/>
                  </a:lnTo>
                  <a:lnTo>
                    <a:pt x="1447610" y="172148"/>
                  </a:lnTo>
                  <a:lnTo>
                    <a:pt x="1447610" y="170802"/>
                  </a:lnTo>
                  <a:lnTo>
                    <a:pt x="1447661" y="170802"/>
                  </a:lnTo>
                  <a:lnTo>
                    <a:pt x="1447661" y="172148"/>
                  </a:lnTo>
                  <a:lnTo>
                    <a:pt x="1447661" y="170802"/>
                  </a:lnTo>
                  <a:lnTo>
                    <a:pt x="1447661" y="172847"/>
                  </a:lnTo>
                  <a:lnTo>
                    <a:pt x="1447661" y="170802"/>
                  </a:lnTo>
                  <a:lnTo>
                    <a:pt x="1447661" y="172148"/>
                  </a:lnTo>
                  <a:lnTo>
                    <a:pt x="1447762" y="172148"/>
                  </a:lnTo>
                  <a:lnTo>
                    <a:pt x="1447762" y="172847"/>
                  </a:lnTo>
                  <a:lnTo>
                    <a:pt x="1447762" y="172148"/>
                  </a:lnTo>
                  <a:lnTo>
                    <a:pt x="1447762" y="173533"/>
                  </a:lnTo>
                  <a:lnTo>
                    <a:pt x="1447762" y="172847"/>
                  </a:lnTo>
                  <a:lnTo>
                    <a:pt x="1447800" y="172847"/>
                  </a:lnTo>
                  <a:lnTo>
                    <a:pt x="1447800" y="173533"/>
                  </a:lnTo>
                  <a:lnTo>
                    <a:pt x="1447800" y="172847"/>
                  </a:lnTo>
                  <a:lnTo>
                    <a:pt x="1447800" y="173533"/>
                  </a:lnTo>
                  <a:lnTo>
                    <a:pt x="1447800" y="172847"/>
                  </a:lnTo>
                  <a:lnTo>
                    <a:pt x="1447851" y="173533"/>
                  </a:lnTo>
                  <a:lnTo>
                    <a:pt x="1447851" y="172847"/>
                  </a:lnTo>
                  <a:lnTo>
                    <a:pt x="1447851" y="173533"/>
                  </a:lnTo>
                  <a:lnTo>
                    <a:pt x="1447851" y="172847"/>
                  </a:lnTo>
                  <a:lnTo>
                    <a:pt x="1447851" y="173533"/>
                  </a:lnTo>
                  <a:lnTo>
                    <a:pt x="1447851" y="172148"/>
                  </a:lnTo>
                  <a:lnTo>
                    <a:pt x="1447902" y="172847"/>
                  </a:lnTo>
                  <a:lnTo>
                    <a:pt x="1447902" y="170802"/>
                  </a:lnTo>
                  <a:lnTo>
                    <a:pt x="1447902" y="172148"/>
                  </a:lnTo>
                  <a:lnTo>
                    <a:pt x="1447902" y="169418"/>
                  </a:lnTo>
                  <a:lnTo>
                    <a:pt x="1448004" y="169418"/>
                  </a:lnTo>
                  <a:lnTo>
                    <a:pt x="1448004" y="170116"/>
                  </a:lnTo>
                  <a:lnTo>
                    <a:pt x="1448004" y="169418"/>
                  </a:lnTo>
                  <a:lnTo>
                    <a:pt x="1448004" y="172148"/>
                  </a:lnTo>
                  <a:lnTo>
                    <a:pt x="1448004" y="170116"/>
                  </a:lnTo>
                  <a:lnTo>
                    <a:pt x="1448055" y="170116"/>
                  </a:lnTo>
                  <a:lnTo>
                    <a:pt x="1448055" y="172847"/>
                  </a:lnTo>
                  <a:lnTo>
                    <a:pt x="1448055" y="170802"/>
                  </a:lnTo>
                  <a:lnTo>
                    <a:pt x="1448055" y="172148"/>
                  </a:lnTo>
                  <a:lnTo>
                    <a:pt x="1448105" y="172148"/>
                  </a:lnTo>
                  <a:lnTo>
                    <a:pt x="1448105" y="173533"/>
                  </a:lnTo>
                  <a:lnTo>
                    <a:pt x="1448105" y="172148"/>
                  </a:lnTo>
                  <a:lnTo>
                    <a:pt x="1448207" y="172148"/>
                  </a:lnTo>
                  <a:lnTo>
                    <a:pt x="1448207" y="172847"/>
                  </a:lnTo>
                  <a:lnTo>
                    <a:pt x="1448207" y="172148"/>
                  </a:lnTo>
                  <a:lnTo>
                    <a:pt x="1448207" y="172847"/>
                  </a:lnTo>
                  <a:lnTo>
                    <a:pt x="1448258" y="172847"/>
                  </a:lnTo>
                  <a:lnTo>
                    <a:pt x="1448258" y="173533"/>
                  </a:lnTo>
                  <a:lnTo>
                    <a:pt x="1448258" y="172847"/>
                  </a:lnTo>
                  <a:lnTo>
                    <a:pt x="1448258" y="173533"/>
                  </a:lnTo>
                  <a:lnTo>
                    <a:pt x="1448258" y="172847"/>
                  </a:lnTo>
                  <a:lnTo>
                    <a:pt x="1448258" y="173533"/>
                  </a:lnTo>
                  <a:lnTo>
                    <a:pt x="1448309" y="173533"/>
                  </a:lnTo>
                  <a:lnTo>
                    <a:pt x="1448309" y="172847"/>
                  </a:lnTo>
                  <a:lnTo>
                    <a:pt x="1448309" y="173533"/>
                  </a:lnTo>
                  <a:lnTo>
                    <a:pt x="1448309" y="172847"/>
                  </a:lnTo>
                  <a:lnTo>
                    <a:pt x="1448309" y="173533"/>
                  </a:lnTo>
                  <a:lnTo>
                    <a:pt x="1448309" y="172847"/>
                  </a:lnTo>
                  <a:lnTo>
                    <a:pt x="1448347" y="173533"/>
                  </a:lnTo>
                  <a:lnTo>
                    <a:pt x="1448347" y="172148"/>
                  </a:lnTo>
                  <a:lnTo>
                    <a:pt x="1448448" y="172148"/>
                  </a:lnTo>
                  <a:lnTo>
                    <a:pt x="1448448" y="170116"/>
                  </a:lnTo>
                  <a:lnTo>
                    <a:pt x="1448448" y="172148"/>
                  </a:lnTo>
                  <a:lnTo>
                    <a:pt x="1448499" y="172148"/>
                  </a:lnTo>
                  <a:lnTo>
                    <a:pt x="1448499" y="172847"/>
                  </a:lnTo>
                  <a:lnTo>
                    <a:pt x="1448499" y="172148"/>
                  </a:lnTo>
                  <a:lnTo>
                    <a:pt x="1448499" y="173533"/>
                  </a:lnTo>
                  <a:lnTo>
                    <a:pt x="1448499" y="172847"/>
                  </a:lnTo>
                  <a:lnTo>
                    <a:pt x="1448499" y="173533"/>
                  </a:lnTo>
                  <a:lnTo>
                    <a:pt x="1448550" y="173533"/>
                  </a:lnTo>
                  <a:lnTo>
                    <a:pt x="1448550" y="172847"/>
                  </a:lnTo>
                  <a:lnTo>
                    <a:pt x="1448550" y="173533"/>
                  </a:lnTo>
                  <a:lnTo>
                    <a:pt x="1448651" y="174282"/>
                  </a:lnTo>
                  <a:lnTo>
                    <a:pt x="1448651" y="172847"/>
                  </a:lnTo>
                  <a:lnTo>
                    <a:pt x="1448651" y="173533"/>
                  </a:lnTo>
                  <a:lnTo>
                    <a:pt x="1448702" y="173533"/>
                  </a:lnTo>
                  <a:lnTo>
                    <a:pt x="1448702" y="174282"/>
                  </a:lnTo>
                  <a:lnTo>
                    <a:pt x="1448702" y="173533"/>
                  </a:lnTo>
                  <a:lnTo>
                    <a:pt x="1448702" y="174282"/>
                  </a:lnTo>
                  <a:lnTo>
                    <a:pt x="1448753" y="174282"/>
                  </a:lnTo>
                  <a:lnTo>
                    <a:pt x="1448753" y="174879"/>
                  </a:lnTo>
                  <a:lnTo>
                    <a:pt x="1448753" y="174282"/>
                  </a:lnTo>
                  <a:lnTo>
                    <a:pt x="1448753" y="174879"/>
                  </a:lnTo>
                  <a:lnTo>
                    <a:pt x="1448804" y="174879"/>
                  </a:lnTo>
                  <a:lnTo>
                    <a:pt x="1448804" y="173533"/>
                  </a:lnTo>
                  <a:lnTo>
                    <a:pt x="1448804" y="174282"/>
                  </a:lnTo>
                  <a:lnTo>
                    <a:pt x="1448893" y="174282"/>
                  </a:lnTo>
                  <a:lnTo>
                    <a:pt x="1448893" y="172847"/>
                  </a:lnTo>
                  <a:lnTo>
                    <a:pt x="1448944" y="172847"/>
                  </a:lnTo>
                  <a:lnTo>
                    <a:pt x="1448944" y="170802"/>
                  </a:lnTo>
                  <a:lnTo>
                    <a:pt x="1448944" y="173533"/>
                  </a:lnTo>
                  <a:lnTo>
                    <a:pt x="1448944" y="172847"/>
                  </a:lnTo>
                  <a:lnTo>
                    <a:pt x="1448994" y="172847"/>
                  </a:lnTo>
                  <a:lnTo>
                    <a:pt x="1448994" y="174879"/>
                  </a:lnTo>
                  <a:lnTo>
                    <a:pt x="1448994" y="174282"/>
                  </a:lnTo>
                  <a:lnTo>
                    <a:pt x="1449045" y="174282"/>
                  </a:lnTo>
                  <a:lnTo>
                    <a:pt x="1449045" y="173533"/>
                  </a:lnTo>
                  <a:lnTo>
                    <a:pt x="1449045" y="176263"/>
                  </a:lnTo>
                  <a:lnTo>
                    <a:pt x="1449045" y="174282"/>
                  </a:lnTo>
                  <a:lnTo>
                    <a:pt x="1449147" y="174282"/>
                  </a:lnTo>
                  <a:lnTo>
                    <a:pt x="1449147" y="174879"/>
                  </a:lnTo>
                  <a:lnTo>
                    <a:pt x="1449147" y="174282"/>
                  </a:lnTo>
                  <a:lnTo>
                    <a:pt x="1449147" y="174879"/>
                  </a:lnTo>
                  <a:lnTo>
                    <a:pt x="1449248" y="174879"/>
                  </a:lnTo>
                  <a:lnTo>
                    <a:pt x="1449248" y="176263"/>
                  </a:lnTo>
                  <a:lnTo>
                    <a:pt x="1449248" y="174879"/>
                  </a:lnTo>
                  <a:lnTo>
                    <a:pt x="1449350" y="174879"/>
                  </a:lnTo>
                  <a:lnTo>
                    <a:pt x="1449350" y="173533"/>
                  </a:lnTo>
                  <a:lnTo>
                    <a:pt x="1449388" y="172847"/>
                  </a:lnTo>
                  <a:lnTo>
                    <a:pt x="1449388" y="173533"/>
                  </a:lnTo>
                  <a:lnTo>
                    <a:pt x="1449388" y="172148"/>
                  </a:lnTo>
                  <a:lnTo>
                    <a:pt x="1449439" y="172148"/>
                  </a:lnTo>
                  <a:lnTo>
                    <a:pt x="1449439" y="173533"/>
                  </a:lnTo>
                  <a:lnTo>
                    <a:pt x="1449439" y="172148"/>
                  </a:lnTo>
                  <a:lnTo>
                    <a:pt x="1449439" y="174282"/>
                  </a:lnTo>
                  <a:lnTo>
                    <a:pt x="1449490" y="174282"/>
                  </a:lnTo>
                  <a:lnTo>
                    <a:pt x="1449490" y="176263"/>
                  </a:lnTo>
                  <a:lnTo>
                    <a:pt x="1449490" y="174282"/>
                  </a:lnTo>
                  <a:lnTo>
                    <a:pt x="1449490" y="174879"/>
                  </a:lnTo>
                  <a:lnTo>
                    <a:pt x="1449591" y="174879"/>
                  </a:lnTo>
                  <a:lnTo>
                    <a:pt x="1449591" y="176263"/>
                  </a:lnTo>
                  <a:lnTo>
                    <a:pt x="1449591" y="174282"/>
                  </a:lnTo>
                  <a:lnTo>
                    <a:pt x="1449591" y="174879"/>
                  </a:lnTo>
                  <a:lnTo>
                    <a:pt x="1449642" y="174879"/>
                  </a:lnTo>
                  <a:lnTo>
                    <a:pt x="1449642" y="176263"/>
                  </a:lnTo>
                  <a:lnTo>
                    <a:pt x="1449642" y="174879"/>
                  </a:lnTo>
                  <a:lnTo>
                    <a:pt x="1449642" y="176263"/>
                  </a:lnTo>
                  <a:lnTo>
                    <a:pt x="1449642" y="174879"/>
                  </a:lnTo>
                  <a:lnTo>
                    <a:pt x="1449642" y="176263"/>
                  </a:lnTo>
                  <a:lnTo>
                    <a:pt x="1449693" y="176263"/>
                  </a:lnTo>
                  <a:lnTo>
                    <a:pt x="1449693" y="174879"/>
                  </a:lnTo>
                  <a:lnTo>
                    <a:pt x="1449693" y="176263"/>
                  </a:lnTo>
                  <a:lnTo>
                    <a:pt x="1449693" y="174879"/>
                  </a:lnTo>
                  <a:lnTo>
                    <a:pt x="1449693" y="176263"/>
                  </a:lnTo>
                  <a:lnTo>
                    <a:pt x="1449693" y="174879"/>
                  </a:lnTo>
                  <a:lnTo>
                    <a:pt x="1449693" y="177012"/>
                  </a:lnTo>
                  <a:lnTo>
                    <a:pt x="1449794" y="176263"/>
                  </a:lnTo>
                  <a:lnTo>
                    <a:pt x="1449794" y="177012"/>
                  </a:lnTo>
                  <a:lnTo>
                    <a:pt x="1449794" y="176263"/>
                  </a:lnTo>
                  <a:lnTo>
                    <a:pt x="1449845" y="176263"/>
                  </a:lnTo>
                  <a:lnTo>
                    <a:pt x="1449845" y="174282"/>
                  </a:lnTo>
                  <a:lnTo>
                    <a:pt x="1449845" y="174879"/>
                  </a:lnTo>
                  <a:lnTo>
                    <a:pt x="1449845" y="174282"/>
                  </a:lnTo>
                  <a:lnTo>
                    <a:pt x="1449896" y="174282"/>
                  </a:lnTo>
                  <a:lnTo>
                    <a:pt x="1449896" y="172148"/>
                  </a:lnTo>
                  <a:lnTo>
                    <a:pt x="1449934" y="172148"/>
                  </a:lnTo>
                  <a:lnTo>
                    <a:pt x="1449934" y="174282"/>
                  </a:lnTo>
                  <a:lnTo>
                    <a:pt x="1449934" y="172847"/>
                  </a:lnTo>
                  <a:lnTo>
                    <a:pt x="1449934" y="174282"/>
                  </a:lnTo>
                  <a:lnTo>
                    <a:pt x="1450036" y="174879"/>
                  </a:lnTo>
                  <a:lnTo>
                    <a:pt x="1450036" y="176263"/>
                  </a:lnTo>
                  <a:lnTo>
                    <a:pt x="1450036" y="173533"/>
                  </a:lnTo>
                  <a:lnTo>
                    <a:pt x="1450036" y="174879"/>
                  </a:lnTo>
                  <a:lnTo>
                    <a:pt x="1450087" y="174879"/>
                  </a:lnTo>
                  <a:lnTo>
                    <a:pt x="1450087" y="174282"/>
                  </a:lnTo>
                  <a:lnTo>
                    <a:pt x="1450087" y="174879"/>
                  </a:lnTo>
                  <a:lnTo>
                    <a:pt x="1450137" y="174879"/>
                  </a:lnTo>
                  <a:lnTo>
                    <a:pt x="1450137" y="176263"/>
                  </a:lnTo>
                  <a:lnTo>
                    <a:pt x="1450137" y="174879"/>
                  </a:lnTo>
                  <a:lnTo>
                    <a:pt x="1450137" y="177012"/>
                  </a:lnTo>
                  <a:lnTo>
                    <a:pt x="1450137" y="176263"/>
                  </a:lnTo>
                  <a:lnTo>
                    <a:pt x="1450239" y="176263"/>
                  </a:lnTo>
                  <a:lnTo>
                    <a:pt x="1450239" y="177012"/>
                  </a:lnTo>
                  <a:lnTo>
                    <a:pt x="1450239" y="176263"/>
                  </a:lnTo>
                  <a:lnTo>
                    <a:pt x="1450239" y="177012"/>
                  </a:lnTo>
                  <a:lnTo>
                    <a:pt x="1450290" y="177012"/>
                  </a:lnTo>
                  <a:lnTo>
                    <a:pt x="1450290" y="176263"/>
                  </a:lnTo>
                  <a:lnTo>
                    <a:pt x="1450290" y="177012"/>
                  </a:lnTo>
                  <a:lnTo>
                    <a:pt x="1450290" y="174879"/>
                  </a:lnTo>
                  <a:lnTo>
                    <a:pt x="1450340" y="174879"/>
                  </a:lnTo>
                  <a:lnTo>
                    <a:pt x="1450340" y="174282"/>
                  </a:lnTo>
                  <a:lnTo>
                    <a:pt x="1450340" y="174879"/>
                  </a:lnTo>
                  <a:lnTo>
                    <a:pt x="1450340" y="174282"/>
                  </a:lnTo>
                  <a:lnTo>
                    <a:pt x="1450340" y="174879"/>
                  </a:lnTo>
                  <a:lnTo>
                    <a:pt x="1450340" y="174282"/>
                  </a:lnTo>
                  <a:lnTo>
                    <a:pt x="1450340" y="174879"/>
                  </a:lnTo>
                  <a:lnTo>
                    <a:pt x="1450340" y="174282"/>
                  </a:lnTo>
                  <a:lnTo>
                    <a:pt x="1450391" y="174282"/>
                  </a:lnTo>
                  <a:lnTo>
                    <a:pt x="1450391" y="173533"/>
                  </a:lnTo>
                  <a:lnTo>
                    <a:pt x="1450391" y="174282"/>
                  </a:lnTo>
                  <a:lnTo>
                    <a:pt x="1450391" y="172148"/>
                  </a:lnTo>
                  <a:lnTo>
                    <a:pt x="1450480" y="172847"/>
                  </a:lnTo>
                  <a:lnTo>
                    <a:pt x="1450480" y="173533"/>
                  </a:lnTo>
                  <a:lnTo>
                    <a:pt x="1450480" y="172847"/>
                  </a:lnTo>
                  <a:lnTo>
                    <a:pt x="1450480" y="174282"/>
                  </a:lnTo>
                  <a:lnTo>
                    <a:pt x="1450531" y="174282"/>
                  </a:lnTo>
                  <a:lnTo>
                    <a:pt x="1450531" y="173533"/>
                  </a:lnTo>
                  <a:lnTo>
                    <a:pt x="1450531" y="174282"/>
                  </a:lnTo>
                  <a:lnTo>
                    <a:pt x="1450531" y="172847"/>
                  </a:lnTo>
                  <a:lnTo>
                    <a:pt x="1450531" y="174282"/>
                  </a:lnTo>
                  <a:lnTo>
                    <a:pt x="1450531" y="173533"/>
                  </a:lnTo>
                  <a:lnTo>
                    <a:pt x="1450531" y="174282"/>
                  </a:lnTo>
                  <a:lnTo>
                    <a:pt x="1450582" y="174282"/>
                  </a:lnTo>
                  <a:lnTo>
                    <a:pt x="1450582" y="174879"/>
                  </a:lnTo>
                  <a:lnTo>
                    <a:pt x="1450582" y="174282"/>
                  </a:lnTo>
                  <a:lnTo>
                    <a:pt x="1450582" y="174879"/>
                  </a:lnTo>
                  <a:lnTo>
                    <a:pt x="1450582" y="174282"/>
                  </a:lnTo>
                  <a:lnTo>
                    <a:pt x="1450582" y="174879"/>
                  </a:lnTo>
                  <a:lnTo>
                    <a:pt x="1450633" y="174879"/>
                  </a:lnTo>
                  <a:lnTo>
                    <a:pt x="1450633" y="176263"/>
                  </a:lnTo>
                  <a:lnTo>
                    <a:pt x="1450734" y="176263"/>
                  </a:lnTo>
                  <a:lnTo>
                    <a:pt x="1450734" y="177012"/>
                  </a:lnTo>
                  <a:lnTo>
                    <a:pt x="1450785" y="176263"/>
                  </a:lnTo>
                  <a:lnTo>
                    <a:pt x="1450785" y="177012"/>
                  </a:lnTo>
                  <a:lnTo>
                    <a:pt x="1450785" y="174879"/>
                  </a:lnTo>
                  <a:lnTo>
                    <a:pt x="1450836" y="174879"/>
                  </a:lnTo>
                  <a:lnTo>
                    <a:pt x="1450836" y="174282"/>
                  </a:lnTo>
                  <a:lnTo>
                    <a:pt x="1450937" y="174282"/>
                  </a:lnTo>
                  <a:lnTo>
                    <a:pt x="1450937" y="172847"/>
                  </a:lnTo>
                  <a:lnTo>
                    <a:pt x="1450937" y="173533"/>
                  </a:lnTo>
                  <a:lnTo>
                    <a:pt x="1450975" y="173533"/>
                  </a:lnTo>
                  <a:lnTo>
                    <a:pt x="1450975" y="174282"/>
                  </a:lnTo>
                  <a:lnTo>
                    <a:pt x="1450975" y="170802"/>
                  </a:lnTo>
                  <a:lnTo>
                    <a:pt x="1450975" y="174282"/>
                  </a:lnTo>
                  <a:lnTo>
                    <a:pt x="1451026" y="174282"/>
                  </a:lnTo>
                  <a:lnTo>
                    <a:pt x="1451026" y="172148"/>
                  </a:lnTo>
                  <a:lnTo>
                    <a:pt x="1451026" y="173533"/>
                  </a:lnTo>
                  <a:lnTo>
                    <a:pt x="1451026" y="172847"/>
                  </a:lnTo>
                  <a:lnTo>
                    <a:pt x="1451026" y="173533"/>
                  </a:lnTo>
                  <a:lnTo>
                    <a:pt x="1451077" y="173533"/>
                  </a:lnTo>
                  <a:lnTo>
                    <a:pt x="1451077" y="172847"/>
                  </a:lnTo>
                  <a:lnTo>
                    <a:pt x="1451077" y="173533"/>
                  </a:lnTo>
                  <a:lnTo>
                    <a:pt x="1451077" y="172847"/>
                  </a:lnTo>
                  <a:lnTo>
                    <a:pt x="1451077" y="173533"/>
                  </a:lnTo>
                  <a:lnTo>
                    <a:pt x="1451179" y="174282"/>
                  </a:lnTo>
                  <a:lnTo>
                    <a:pt x="1451179" y="173533"/>
                  </a:lnTo>
                  <a:lnTo>
                    <a:pt x="1451179" y="174282"/>
                  </a:lnTo>
                  <a:lnTo>
                    <a:pt x="1451179" y="173533"/>
                  </a:lnTo>
                  <a:lnTo>
                    <a:pt x="1451179" y="174282"/>
                  </a:lnTo>
                  <a:lnTo>
                    <a:pt x="1451230" y="174282"/>
                  </a:lnTo>
                  <a:lnTo>
                    <a:pt x="1451230" y="174879"/>
                  </a:lnTo>
                  <a:lnTo>
                    <a:pt x="1451230" y="174282"/>
                  </a:lnTo>
                  <a:lnTo>
                    <a:pt x="1451230" y="174879"/>
                  </a:lnTo>
                  <a:lnTo>
                    <a:pt x="1451230" y="174282"/>
                  </a:lnTo>
                  <a:lnTo>
                    <a:pt x="1451280" y="174282"/>
                  </a:lnTo>
                  <a:lnTo>
                    <a:pt x="1451280" y="173533"/>
                  </a:lnTo>
                  <a:lnTo>
                    <a:pt x="1451280" y="174282"/>
                  </a:lnTo>
                  <a:lnTo>
                    <a:pt x="1451280" y="173533"/>
                  </a:lnTo>
                  <a:lnTo>
                    <a:pt x="1451382" y="173533"/>
                  </a:lnTo>
                  <a:lnTo>
                    <a:pt x="1451382" y="172847"/>
                  </a:lnTo>
                  <a:lnTo>
                    <a:pt x="1451433" y="172847"/>
                  </a:lnTo>
                  <a:lnTo>
                    <a:pt x="1451433" y="174282"/>
                  </a:lnTo>
                  <a:lnTo>
                    <a:pt x="1451433" y="173533"/>
                  </a:lnTo>
                  <a:lnTo>
                    <a:pt x="1451433" y="174282"/>
                  </a:lnTo>
                  <a:lnTo>
                    <a:pt x="1451433" y="172847"/>
                  </a:lnTo>
                  <a:lnTo>
                    <a:pt x="1451484" y="173533"/>
                  </a:lnTo>
                  <a:lnTo>
                    <a:pt x="1451484" y="176263"/>
                  </a:lnTo>
                  <a:lnTo>
                    <a:pt x="1451484" y="174282"/>
                  </a:lnTo>
                  <a:lnTo>
                    <a:pt x="1451522" y="174282"/>
                  </a:lnTo>
                  <a:lnTo>
                    <a:pt x="1451522" y="174879"/>
                  </a:lnTo>
                  <a:lnTo>
                    <a:pt x="1451522" y="174282"/>
                  </a:lnTo>
                  <a:lnTo>
                    <a:pt x="1451522" y="174879"/>
                  </a:lnTo>
                  <a:lnTo>
                    <a:pt x="1451522" y="174282"/>
                  </a:lnTo>
                  <a:lnTo>
                    <a:pt x="1451623" y="174879"/>
                  </a:lnTo>
                  <a:lnTo>
                    <a:pt x="1451674" y="174879"/>
                  </a:lnTo>
                  <a:lnTo>
                    <a:pt x="1451674" y="176263"/>
                  </a:lnTo>
                  <a:lnTo>
                    <a:pt x="1451674" y="174879"/>
                  </a:lnTo>
                  <a:lnTo>
                    <a:pt x="1451674" y="176263"/>
                  </a:lnTo>
                  <a:lnTo>
                    <a:pt x="1451674" y="174879"/>
                  </a:lnTo>
                  <a:lnTo>
                    <a:pt x="1451674" y="176263"/>
                  </a:lnTo>
                  <a:lnTo>
                    <a:pt x="1451674" y="174879"/>
                  </a:lnTo>
                  <a:lnTo>
                    <a:pt x="1451674" y="176263"/>
                  </a:lnTo>
                  <a:lnTo>
                    <a:pt x="1451674" y="174879"/>
                  </a:lnTo>
                  <a:lnTo>
                    <a:pt x="1451725" y="174879"/>
                  </a:lnTo>
                  <a:lnTo>
                    <a:pt x="1451725" y="176263"/>
                  </a:lnTo>
                  <a:lnTo>
                    <a:pt x="1451725" y="174879"/>
                  </a:lnTo>
                  <a:lnTo>
                    <a:pt x="1451826" y="174879"/>
                  </a:lnTo>
                  <a:lnTo>
                    <a:pt x="1451826" y="174282"/>
                  </a:lnTo>
                  <a:lnTo>
                    <a:pt x="1451826" y="174879"/>
                  </a:lnTo>
                  <a:lnTo>
                    <a:pt x="1451826" y="174282"/>
                  </a:lnTo>
                  <a:lnTo>
                    <a:pt x="1451877" y="174282"/>
                  </a:lnTo>
                  <a:lnTo>
                    <a:pt x="1451877" y="173533"/>
                  </a:lnTo>
                  <a:lnTo>
                    <a:pt x="1451877" y="174282"/>
                  </a:lnTo>
                  <a:lnTo>
                    <a:pt x="1451877" y="172847"/>
                  </a:lnTo>
                  <a:lnTo>
                    <a:pt x="1451877" y="174282"/>
                  </a:lnTo>
                  <a:lnTo>
                    <a:pt x="1451928" y="174282"/>
                  </a:lnTo>
                  <a:lnTo>
                    <a:pt x="1451928" y="174879"/>
                  </a:lnTo>
                  <a:lnTo>
                    <a:pt x="1451928" y="173533"/>
                  </a:lnTo>
                  <a:lnTo>
                    <a:pt x="1451928" y="177012"/>
                  </a:lnTo>
                  <a:lnTo>
                    <a:pt x="1451979" y="176263"/>
                  </a:lnTo>
                  <a:lnTo>
                    <a:pt x="1451979" y="174879"/>
                  </a:lnTo>
                  <a:lnTo>
                    <a:pt x="1451979" y="177012"/>
                  </a:lnTo>
                  <a:lnTo>
                    <a:pt x="1451979" y="176263"/>
                  </a:lnTo>
                  <a:lnTo>
                    <a:pt x="1452068" y="176263"/>
                  </a:lnTo>
                  <a:lnTo>
                    <a:pt x="1452068" y="174879"/>
                  </a:lnTo>
                  <a:lnTo>
                    <a:pt x="1452068" y="176263"/>
                  </a:lnTo>
                  <a:lnTo>
                    <a:pt x="1452068" y="174879"/>
                  </a:lnTo>
                  <a:lnTo>
                    <a:pt x="1452068" y="177012"/>
                  </a:lnTo>
                  <a:lnTo>
                    <a:pt x="1452119" y="176263"/>
                  </a:lnTo>
                  <a:lnTo>
                    <a:pt x="1452119" y="177012"/>
                  </a:lnTo>
                  <a:lnTo>
                    <a:pt x="1452119" y="176263"/>
                  </a:lnTo>
                  <a:lnTo>
                    <a:pt x="1452119" y="177012"/>
                  </a:lnTo>
                  <a:lnTo>
                    <a:pt x="1452119" y="176263"/>
                  </a:lnTo>
                  <a:lnTo>
                    <a:pt x="1452119" y="177609"/>
                  </a:lnTo>
                  <a:lnTo>
                    <a:pt x="1452119" y="177012"/>
                  </a:lnTo>
                  <a:lnTo>
                    <a:pt x="1452169" y="177012"/>
                  </a:lnTo>
                  <a:lnTo>
                    <a:pt x="1452169" y="176263"/>
                  </a:lnTo>
                  <a:lnTo>
                    <a:pt x="1452169" y="177012"/>
                  </a:lnTo>
                  <a:lnTo>
                    <a:pt x="1452169" y="176263"/>
                  </a:lnTo>
                  <a:lnTo>
                    <a:pt x="1452220" y="176263"/>
                  </a:lnTo>
                  <a:lnTo>
                    <a:pt x="1452220" y="174879"/>
                  </a:lnTo>
                  <a:lnTo>
                    <a:pt x="1452220" y="176263"/>
                  </a:lnTo>
                  <a:lnTo>
                    <a:pt x="1452220" y="174282"/>
                  </a:lnTo>
                  <a:lnTo>
                    <a:pt x="1452322" y="174879"/>
                  </a:lnTo>
                  <a:lnTo>
                    <a:pt x="1452322" y="173533"/>
                  </a:lnTo>
                  <a:lnTo>
                    <a:pt x="1452322" y="174282"/>
                  </a:lnTo>
                  <a:lnTo>
                    <a:pt x="1452322" y="173533"/>
                  </a:lnTo>
                  <a:lnTo>
                    <a:pt x="1452372" y="173533"/>
                  </a:lnTo>
                  <a:lnTo>
                    <a:pt x="1452372" y="172148"/>
                  </a:lnTo>
                  <a:lnTo>
                    <a:pt x="1452372" y="173533"/>
                  </a:lnTo>
                  <a:lnTo>
                    <a:pt x="1452423" y="174282"/>
                  </a:lnTo>
                  <a:lnTo>
                    <a:pt x="1452423" y="172847"/>
                  </a:lnTo>
                  <a:lnTo>
                    <a:pt x="1452423" y="174282"/>
                  </a:lnTo>
                  <a:lnTo>
                    <a:pt x="1452525" y="174282"/>
                  </a:lnTo>
                  <a:lnTo>
                    <a:pt x="1452525" y="173533"/>
                  </a:lnTo>
                  <a:lnTo>
                    <a:pt x="1452525" y="174282"/>
                  </a:lnTo>
                  <a:lnTo>
                    <a:pt x="1452525" y="173533"/>
                  </a:lnTo>
                  <a:lnTo>
                    <a:pt x="1452525" y="174879"/>
                  </a:lnTo>
                  <a:lnTo>
                    <a:pt x="1452563" y="174879"/>
                  </a:lnTo>
                  <a:lnTo>
                    <a:pt x="1452563" y="174282"/>
                  </a:lnTo>
                  <a:lnTo>
                    <a:pt x="1452563" y="174879"/>
                  </a:lnTo>
                  <a:lnTo>
                    <a:pt x="1452563" y="174282"/>
                  </a:lnTo>
                  <a:lnTo>
                    <a:pt x="1452563" y="174879"/>
                  </a:lnTo>
                  <a:lnTo>
                    <a:pt x="1452614" y="174879"/>
                  </a:lnTo>
                  <a:lnTo>
                    <a:pt x="1452614" y="177012"/>
                  </a:lnTo>
                  <a:lnTo>
                    <a:pt x="1452614" y="176263"/>
                  </a:lnTo>
                  <a:lnTo>
                    <a:pt x="1452614" y="177012"/>
                  </a:lnTo>
                  <a:lnTo>
                    <a:pt x="1452614" y="176263"/>
                  </a:lnTo>
                  <a:lnTo>
                    <a:pt x="1452614" y="177012"/>
                  </a:lnTo>
                  <a:lnTo>
                    <a:pt x="1452614" y="176263"/>
                  </a:lnTo>
                  <a:lnTo>
                    <a:pt x="1452614" y="177012"/>
                  </a:lnTo>
                  <a:lnTo>
                    <a:pt x="1452614" y="176263"/>
                  </a:lnTo>
                  <a:lnTo>
                    <a:pt x="1452665" y="176263"/>
                  </a:lnTo>
                  <a:lnTo>
                    <a:pt x="1452665" y="177012"/>
                  </a:lnTo>
                  <a:lnTo>
                    <a:pt x="1452665" y="176263"/>
                  </a:lnTo>
                  <a:lnTo>
                    <a:pt x="1452766" y="176263"/>
                  </a:lnTo>
                  <a:lnTo>
                    <a:pt x="1452766" y="174879"/>
                  </a:lnTo>
                  <a:lnTo>
                    <a:pt x="1452766" y="176263"/>
                  </a:lnTo>
                  <a:lnTo>
                    <a:pt x="1452766" y="174879"/>
                  </a:lnTo>
                  <a:lnTo>
                    <a:pt x="1452766" y="176263"/>
                  </a:lnTo>
                  <a:lnTo>
                    <a:pt x="1452817" y="176263"/>
                  </a:lnTo>
                  <a:lnTo>
                    <a:pt x="1452817" y="174879"/>
                  </a:lnTo>
                  <a:lnTo>
                    <a:pt x="1452817" y="176263"/>
                  </a:lnTo>
                  <a:lnTo>
                    <a:pt x="1452817" y="174282"/>
                  </a:lnTo>
                  <a:lnTo>
                    <a:pt x="1452817" y="174879"/>
                  </a:lnTo>
                  <a:lnTo>
                    <a:pt x="1452817" y="173533"/>
                  </a:lnTo>
                  <a:lnTo>
                    <a:pt x="1452868" y="173533"/>
                  </a:lnTo>
                  <a:lnTo>
                    <a:pt x="1452868" y="172847"/>
                  </a:lnTo>
                  <a:lnTo>
                    <a:pt x="1452868" y="174282"/>
                  </a:lnTo>
                  <a:lnTo>
                    <a:pt x="1452868" y="173533"/>
                  </a:lnTo>
                  <a:lnTo>
                    <a:pt x="1452969" y="173533"/>
                  </a:lnTo>
                  <a:lnTo>
                    <a:pt x="1452969" y="172847"/>
                  </a:lnTo>
                  <a:lnTo>
                    <a:pt x="1452969" y="174282"/>
                  </a:lnTo>
                  <a:lnTo>
                    <a:pt x="1453020" y="173533"/>
                  </a:lnTo>
                  <a:lnTo>
                    <a:pt x="1453020" y="174879"/>
                  </a:lnTo>
                  <a:lnTo>
                    <a:pt x="1453020" y="174282"/>
                  </a:lnTo>
                  <a:lnTo>
                    <a:pt x="1453071" y="174282"/>
                  </a:lnTo>
                  <a:lnTo>
                    <a:pt x="1453071" y="176263"/>
                  </a:lnTo>
                  <a:lnTo>
                    <a:pt x="1453071" y="174879"/>
                  </a:lnTo>
                  <a:lnTo>
                    <a:pt x="1453071" y="176263"/>
                  </a:lnTo>
                  <a:lnTo>
                    <a:pt x="1453109" y="176263"/>
                  </a:lnTo>
                  <a:lnTo>
                    <a:pt x="1453109" y="174879"/>
                  </a:lnTo>
                  <a:lnTo>
                    <a:pt x="1453109" y="177012"/>
                  </a:lnTo>
                  <a:lnTo>
                    <a:pt x="1453109" y="176263"/>
                  </a:lnTo>
                  <a:lnTo>
                    <a:pt x="1453211" y="176263"/>
                  </a:lnTo>
                  <a:lnTo>
                    <a:pt x="1453211" y="177012"/>
                  </a:lnTo>
                  <a:lnTo>
                    <a:pt x="1453211" y="176263"/>
                  </a:lnTo>
                  <a:lnTo>
                    <a:pt x="1453211" y="177012"/>
                  </a:lnTo>
                  <a:lnTo>
                    <a:pt x="1453211" y="176263"/>
                  </a:lnTo>
                  <a:lnTo>
                    <a:pt x="1453211" y="177012"/>
                  </a:lnTo>
                  <a:lnTo>
                    <a:pt x="1453211" y="176263"/>
                  </a:lnTo>
                  <a:lnTo>
                    <a:pt x="1453262" y="176263"/>
                  </a:lnTo>
                  <a:lnTo>
                    <a:pt x="1453262" y="174879"/>
                  </a:lnTo>
                  <a:lnTo>
                    <a:pt x="1453262" y="176263"/>
                  </a:lnTo>
                  <a:lnTo>
                    <a:pt x="1453262" y="174879"/>
                  </a:lnTo>
                  <a:lnTo>
                    <a:pt x="1453312" y="174879"/>
                  </a:lnTo>
                  <a:lnTo>
                    <a:pt x="1453312" y="176263"/>
                  </a:lnTo>
                  <a:lnTo>
                    <a:pt x="1453312" y="174282"/>
                  </a:lnTo>
                  <a:lnTo>
                    <a:pt x="1453312" y="174879"/>
                  </a:lnTo>
                  <a:lnTo>
                    <a:pt x="1453312" y="173533"/>
                  </a:lnTo>
                  <a:lnTo>
                    <a:pt x="1453414" y="173533"/>
                  </a:lnTo>
                  <a:lnTo>
                    <a:pt x="1453414" y="172847"/>
                  </a:lnTo>
                  <a:lnTo>
                    <a:pt x="1453414" y="174879"/>
                  </a:lnTo>
                  <a:lnTo>
                    <a:pt x="1453414" y="173533"/>
                  </a:lnTo>
                  <a:lnTo>
                    <a:pt x="1453465" y="173533"/>
                  </a:lnTo>
                  <a:lnTo>
                    <a:pt x="1453465" y="172847"/>
                  </a:lnTo>
                  <a:lnTo>
                    <a:pt x="1453465" y="174879"/>
                  </a:lnTo>
                  <a:lnTo>
                    <a:pt x="1453465" y="174282"/>
                  </a:lnTo>
                  <a:lnTo>
                    <a:pt x="1453515" y="174282"/>
                  </a:lnTo>
                  <a:lnTo>
                    <a:pt x="1453515" y="173533"/>
                  </a:lnTo>
                  <a:lnTo>
                    <a:pt x="1453515" y="174282"/>
                  </a:lnTo>
                  <a:lnTo>
                    <a:pt x="1453515" y="173533"/>
                  </a:lnTo>
                  <a:lnTo>
                    <a:pt x="1453515" y="176263"/>
                  </a:lnTo>
                  <a:lnTo>
                    <a:pt x="1453515" y="174879"/>
                  </a:lnTo>
                  <a:lnTo>
                    <a:pt x="1453566" y="174879"/>
                  </a:lnTo>
                  <a:lnTo>
                    <a:pt x="1453566" y="174282"/>
                  </a:lnTo>
                  <a:lnTo>
                    <a:pt x="1453566" y="176263"/>
                  </a:lnTo>
                  <a:lnTo>
                    <a:pt x="1453566" y="174879"/>
                  </a:lnTo>
                  <a:lnTo>
                    <a:pt x="1453566" y="176263"/>
                  </a:lnTo>
                  <a:lnTo>
                    <a:pt x="1453655" y="176263"/>
                  </a:lnTo>
                  <a:lnTo>
                    <a:pt x="1453655" y="177012"/>
                  </a:lnTo>
                  <a:lnTo>
                    <a:pt x="1453655" y="176263"/>
                  </a:lnTo>
                  <a:lnTo>
                    <a:pt x="1453655" y="177012"/>
                  </a:lnTo>
                  <a:lnTo>
                    <a:pt x="1453706" y="177012"/>
                  </a:lnTo>
                  <a:lnTo>
                    <a:pt x="1453706" y="176263"/>
                  </a:lnTo>
                  <a:lnTo>
                    <a:pt x="1453706" y="177012"/>
                  </a:lnTo>
                  <a:lnTo>
                    <a:pt x="1453706" y="176263"/>
                  </a:lnTo>
                  <a:lnTo>
                    <a:pt x="1453706" y="177012"/>
                  </a:lnTo>
                  <a:lnTo>
                    <a:pt x="1453706" y="176263"/>
                  </a:lnTo>
                  <a:lnTo>
                    <a:pt x="1453706" y="177012"/>
                  </a:lnTo>
                  <a:lnTo>
                    <a:pt x="1453706" y="176263"/>
                  </a:lnTo>
                  <a:lnTo>
                    <a:pt x="1453757" y="176263"/>
                  </a:lnTo>
                  <a:lnTo>
                    <a:pt x="1453757" y="177012"/>
                  </a:lnTo>
                  <a:lnTo>
                    <a:pt x="1453757" y="176263"/>
                  </a:lnTo>
                  <a:lnTo>
                    <a:pt x="1453757" y="177012"/>
                  </a:lnTo>
                  <a:lnTo>
                    <a:pt x="1453757" y="176263"/>
                  </a:lnTo>
                  <a:lnTo>
                    <a:pt x="1453757" y="177012"/>
                  </a:lnTo>
                  <a:lnTo>
                    <a:pt x="1453757" y="176263"/>
                  </a:lnTo>
                  <a:lnTo>
                    <a:pt x="1453808" y="176263"/>
                  </a:lnTo>
                  <a:lnTo>
                    <a:pt x="1453808" y="177012"/>
                  </a:lnTo>
                  <a:lnTo>
                    <a:pt x="1453808" y="174282"/>
                  </a:lnTo>
                  <a:lnTo>
                    <a:pt x="1453909" y="174282"/>
                  </a:lnTo>
                  <a:lnTo>
                    <a:pt x="1453909" y="173533"/>
                  </a:lnTo>
                  <a:lnTo>
                    <a:pt x="1453909" y="174282"/>
                  </a:lnTo>
                  <a:lnTo>
                    <a:pt x="1453909" y="173533"/>
                  </a:lnTo>
                  <a:lnTo>
                    <a:pt x="1453960" y="172847"/>
                  </a:lnTo>
                  <a:lnTo>
                    <a:pt x="1453960" y="174879"/>
                  </a:lnTo>
                  <a:lnTo>
                    <a:pt x="1453960" y="173533"/>
                  </a:lnTo>
                  <a:lnTo>
                    <a:pt x="1453960" y="174282"/>
                  </a:lnTo>
                  <a:lnTo>
                    <a:pt x="1453960" y="173533"/>
                  </a:lnTo>
                  <a:lnTo>
                    <a:pt x="1454011" y="173533"/>
                  </a:lnTo>
                  <a:lnTo>
                    <a:pt x="1454011" y="174879"/>
                  </a:lnTo>
                  <a:lnTo>
                    <a:pt x="1454112" y="174879"/>
                  </a:lnTo>
                  <a:lnTo>
                    <a:pt x="1454112" y="176263"/>
                  </a:lnTo>
                  <a:lnTo>
                    <a:pt x="1454112" y="174879"/>
                  </a:lnTo>
                  <a:lnTo>
                    <a:pt x="1454150" y="174879"/>
                  </a:lnTo>
                  <a:lnTo>
                    <a:pt x="1454150" y="176263"/>
                  </a:lnTo>
                  <a:lnTo>
                    <a:pt x="1454150" y="174879"/>
                  </a:lnTo>
                  <a:lnTo>
                    <a:pt x="1454150" y="176263"/>
                  </a:lnTo>
                  <a:lnTo>
                    <a:pt x="1454201" y="176263"/>
                  </a:lnTo>
                  <a:lnTo>
                    <a:pt x="1454201" y="174879"/>
                  </a:lnTo>
                  <a:lnTo>
                    <a:pt x="1454201" y="177012"/>
                  </a:lnTo>
                  <a:lnTo>
                    <a:pt x="1454252" y="177012"/>
                  </a:lnTo>
                  <a:lnTo>
                    <a:pt x="1454252" y="174879"/>
                  </a:lnTo>
                  <a:lnTo>
                    <a:pt x="1454354" y="174879"/>
                  </a:lnTo>
                  <a:lnTo>
                    <a:pt x="1454354" y="174282"/>
                  </a:lnTo>
                  <a:lnTo>
                    <a:pt x="1454354" y="174879"/>
                  </a:lnTo>
                  <a:lnTo>
                    <a:pt x="1454354" y="173533"/>
                  </a:lnTo>
                  <a:lnTo>
                    <a:pt x="1454354" y="174282"/>
                  </a:lnTo>
                  <a:lnTo>
                    <a:pt x="1454405" y="174282"/>
                  </a:lnTo>
                  <a:lnTo>
                    <a:pt x="1454405" y="174879"/>
                  </a:lnTo>
                  <a:lnTo>
                    <a:pt x="1454405" y="174282"/>
                  </a:lnTo>
                  <a:lnTo>
                    <a:pt x="1454405" y="176263"/>
                  </a:lnTo>
                  <a:lnTo>
                    <a:pt x="1454455" y="176263"/>
                  </a:lnTo>
                  <a:lnTo>
                    <a:pt x="1454455" y="177012"/>
                  </a:lnTo>
                  <a:lnTo>
                    <a:pt x="1454455" y="176263"/>
                  </a:lnTo>
                  <a:lnTo>
                    <a:pt x="1454455" y="177012"/>
                  </a:lnTo>
                  <a:lnTo>
                    <a:pt x="1454557" y="177012"/>
                  </a:lnTo>
                  <a:lnTo>
                    <a:pt x="1454557" y="177609"/>
                  </a:lnTo>
                  <a:lnTo>
                    <a:pt x="1454557" y="177012"/>
                  </a:lnTo>
                  <a:lnTo>
                    <a:pt x="1454608" y="177012"/>
                  </a:lnTo>
                  <a:lnTo>
                    <a:pt x="1454608" y="176263"/>
                  </a:lnTo>
                  <a:lnTo>
                    <a:pt x="1454608" y="177012"/>
                  </a:lnTo>
                  <a:lnTo>
                    <a:pt x="1454608" y="176263"/>
                  </a:lnTo>
                  <a:lnTo>
                    <a:pt x="1454608" y="177012"/>
                  </a:lnTo>
                  <a:lnTo>
                    <a:pt x="1454608" y="176263"/>
                  </a:lnTo>
                  <a:lnTo>
                    <a:pt x="1454608" y="177012"/>
                  </a:lnTo>
                  <a:lnTo>
                    <a:pt x="1454659" y="177012"/>
                  </a:lnTo>
                  <a:lnTo>
                    <a:pt x="1454659" y="176263"/>
                  </a:lnTo>
                  <a:lnTo>
                    <a:pt x="1454659" y="177012"/>
                  </a:lnTo>
                  <a:lnTo>
                    <a:pt x="1454697" y="176263"/>
                  </a:lnTo>
                  <a:lnTo>
                    <a:pt x="1454697" y="177012"/>
                  </a:lnTo>
                  <a:lnTo>
                    <a:pt x="1454697" y="176263"/>
                  </a:lnTo>
                  <a:lnTo>
                    <a:pt x="1454697" y="177012"/>
                  </a:lnTo>
                  <a:lnTo>
                    <a:pt x="1454697" y="176263"/>
                  </a:lnTo>
                  <a:lnTo>
                    <a:pt x="1454697" y="177012"/>
                  </a:lnTo>
                  <a:lnTo>
                    <a:pt x="1454798" y="177012"/>
                  </a:lnTo>
                  <a:lnTo>
                    <a:pt x="1454798" y="176263"/>
                  </a:lnTo>
                  <a:lnTo>
                    <a:pt x="1454798" y="177012"/>
                  </a:lnTo>
                  <a:lnTo>
                    <a:pt x="1454798" y="174879"/>
                  </a:lnTo>
                  <a:lnTo>
                    <a:pt x="1454798" y="176263"/>
                  </a:lnTo>
                  <a:lnTo>
                    <a:pt x="1454798" y="174879"/>
                  </a:lnTo>
                  <a:lnTo>
                    <a:pt x="1454849" y="174879"/>
                  </a:lnTo>
                  <a:lnTo>
                    <a:pt x="1454849" y="174282"/>
                  </a:lnTo>
                  <a:lnTo>
                    <a:pt x="1454849" y="174879"/>
                  </a:lnTo>
                  <a:lnTo>
                    <a:pt x="1454849" y="174282"/>
                  </a:lnTo>
                  <a:lnTo>
                    <a:pt x="1454849" y="174879"/>
                  </a:lnTo>
                  <a:lnTo>
                    <a:pt x="1454849" y="173533"/>
                  </a:lnTo>
                  <a:lnTo>
                    <a:pt x="1454849" y="174879"/>
                  </a:lnTo>
                  <a:lnTo>
                    <a:pt x="1454900" y="174879"/>
                  </a:lnTo>
                  <a:lnTo>
                    <a:pt x="1454900" y="173533"/>
                  </a:lnTo>
                  <a:lnTo>
                    <a:pt x="1454900" y="177012"/>
                  </a:lnTo>
                  <a:lnTo>
                    <a:pt x="1455001" y="177012"/>
                  </a:lnTo>
                  <a:lnTo>
                    <a:pt x="1455001" y="176263"/>
                  </a:lnTo>
                  <a:lnTo>
                    <a:pt x="1455001" y="177012"/>
                  </a:lnTo>
                  <a:lnTo>
                    <a:pt x="1455001" y="174879"/>
                  </a:lnTo>
                  <a:lnTo>
                    <a:pt x="1455001" y="177012"/>
                  </a:lnTo>
                  <a:lnTo>
                    <a:pt x="1455001" y="176263"/>
                  </a:lnTo>
                  <a:lnTo>
                    <a:pt x="1455001" y="177012"/>
                  </a:lnTo>
                  <a:lnTo>
                    <a:pt x="1455103" y="177012"/>
                  </a:lnTo>
                  <a:lnTo>
                    <a:pt x="1455103" y="176263"/>
                  </a:lnTo>
                  <a:lnTo>
                    <a:pt x="1455154" y="176263"/>
                  </a:lnTo>
                  <a:lnTo>
                    <a:pt x="1455154" y="177012"/>
                  </a:lnTo>
                  <a:lnTo>
                    <a:pt x="1455154" y="176263"/>
                  </a:lnTo>
                  <a:lnTo>
                    <a:pt x="1455154" y="177012"/>
                  </a:lnTo>
                  <a:lnTo>
                    <a:pt x="1455243" y="177012"/>
                  </a:lnTo>
                  <a:lnTo>
                    <a:pt x="1455243" y="176263"/>
                  </a:lnTo>
                  <a:lnTo>
                    <a:pt x="1455243" y="177012"/>
                  </a:lnTo>
                  <a:lnTo>
                    <a:pt x="1455243" y="174879"/>
                  </a:lnTo>
                  <a:lnTo>
                    <a:pt x="1455294" y="174879"/>
                  </a:lnTo>
                  <a:lnTo>
                    <a:pt x="1455294" y="174282"/>
                  </a:lnTo>
                  <a:lnTo>
                    <a:pt x="1455294" y="174879"/>
                  </a:lnTo>
                  <a:lnTo>
                    <a:pt x="1455294" y="173533"/>
                  </a:lnTo>
                  <a:lnTo>
                    <a:pt x="1455344" y="172847"/>
                  </a:lnTo>
                  <a:lnTo>
                    <a:pt x="1455344" y="174879"/>
                  </a:lnTo>
                  <a:lnTo>
                    <a:pt x="1455344" y="173533"/>
                  </a:lnTo>
                  <a:lnTo>
                    <a:pt x="1455344" y="174282"/>
                  </a:lnTo>
                  <a:lnTo>
                    <a:pt x="1455344" y="173533"/>
                  </a:lnTo>
                  <a:lnTo>
                    <a:pt x="1455395" y="173533"/>
                  </a:lnTo>
                  <a:lnTo>
                    <a:pt x="1455395" y="172847"/>
                  </a:lnTo>
                  <a:lnTo>
                    <a:pt x="1455395" y="176263"/>
                  </a:lnTo>
                  <a:lnTo>
                    <a:pt x="1455395" y="174282"/>
                  </a:lnTo>
                  <a:lnTo>
                    <a:pt x="1455497" y="174282"/>
                  </a:lnTo>
                  <a:lnTo>
                    <a:pt x="1455497" y="177012"/>
                  </a:lnTo>
                  <a:lnTo>
                    <a:pt x="1455497" y="176263"/>
                  </a:lnTo>
                  <a:lnTo>
                    <a:pt x="1455547" y="176263"/>
                  </a:lnTo>
                  <a:lnTo>
                    <a:pt x="1455547" y="177012"/>
                  </a:lnTo>
                  <a:lnTo>
                    <a:pt x="1455598" y="177012"/>
                  </a:lnTo>
                  <a:lnTo>
                    <a:pt x="1455598" y="176263"/>
                  </a:lnTo>
                  <a:lnTo>
                    <a:pt x="1455598" y="177012"/>
                  </a:lnTo>
                  <a:lnTo>
                    <a:pt x="1455700" y="177012"/>
                  </a:lnTo>
                  <a:lnTo>
                    <a:pt x="1455700" y="176263"/>
                  </a:lnTo>
                  <a:lnTo>
                    <a:pt x="1455700" y="177012"/>
                  </a:lnTo>
                  <a:lnTo>
                    <a:pt x="1455700" y="176263"/>
                  </a:lnTo>
                  <a:lnTo>
                    <a:pt x="1455700" y="177012"/>
                  </a:lnTo>
                  <a:lnTo>
                    <a:pt x="1455700" y="176263"/>
                  </a:lnTo>
                  <a:lnTo>
                    <a:pt x="1455700" y="177012"/>
                  </a:lnTo>
                  <a:lnTo>
                    <a:pt x="1455700" y="176263"/>
                  </a:lnTo>
                  <a:lnTo>
                    <a:pt x="1455700" y="177012"/>
                  </a:lnTo>
                  <a:lnTo>
                    <a:pt x="1455738" y="176263"/>
                  </a:lnTo>
                  <a:lnTo>
                    <a:pt x="1455738" y="177012"/>
                  </a:lnTo>
                  <a:lnTo>
                    <a:pt x="1455738" y="176263"/>
                  </a:lnTo>
                  <a:lnTo>
                    <a:pt x="1455738" y="177012"/>
                  </a:lnTo>
                  <a:lnTo>
                    <a:pt x="1455738" y="176263"/>
                  </a:lnTo>
                  <a:lnTo>
                    <a:pt x="1455789" y="176263"/>
                  </a:lnTo>
                  <a:lnTo>
                    <a:pt x="1455789" y="173533"/>
                  </a:lnTo>
                  <a:lnTo>
                    <a:pt x="1455840" y="173533"/>
                  </a:lnTo>
                  <a:lnTo>
                    <a:pt x="1455840" y="172847"/>
                  </a:lnTo>
                  <a:lnTo>
                    <a:pt x="1455840" y="173533"/>
                  </a:lnTo>
                  <a:lnTo>
                    <a:pt x="1455840" y="172847"/>
                  </a:lnTo>
                  <a:lnTo>
                    <a:pt x="1455840" y="174879"/>
                  </a:lnTo>
                  <a:lnTo>
                    <a:pt x="1455840" y="172847"/>
                  </a:lnTo>
                  <a:lnTo>
                    <a:pt x="1455941" y="173533"/>
                  </a:lnTo>
                  <a:lnTo>
                    <a:pt x="1455941" y="177012"/>
                  </a:lnTo>
                  <a:lnTo>
                    <a:pt x="1455941" y="174282"/>
                  </a:lnTo>
                  <a:lnTo>
                    <a:pt x="1455941" y="174879"/>
                  </a:lnTo>
                  <a:lnTo>
                    <a:pt x="1455992" y="174879"/>
                  </a:lnTo>
                  <a:lnTo>
                    <a:pt x="1455992" y="176263"/>
                  </a:lnTo>
                  <a:lnTo>
                    <a:pt x="1455992" y="174879"/>
                  </a:lnTo>
                  <a:lnTo>
                    <a:pt x="1455992" y="176263"/>
                  </a:lnTo>
                  <a:lnTo>
                    <a:pt x="1455992" y="174879"/>
                  </a:lnTo>
                  <a:lnTo>
                    <a:pt x="1455992" y="176263"/>
                  </a:lnTo>
                  <a:lnTo>
                    <a:pt x="1456043" y="176263"/>
                  </a:lnTo>
                  <a:lnTo>
                    <a:pt x="1456043" y="177012"/>
                  </a:lnTo>
                  <a:lnTo>
                    <a:pt x="1456043" y="176263"/>
                  </a:lnTo>
                  <a:lnTo>
                    <a:pt x="1456043" y="177012"/>
                  </a:lnTo>
                  <a:lnTo>
                    <a:pt x="1456043" y="176263"/>
                  </a:lnTo>
                  <a:lnTo>
                    <a:pt x="1456043" y="177012"/>
                  </a:lnTo>
                  <a:lnTo>
                    <a:pt x="1456043" y="176263"/>
                  </a:lnTo>
                  <a:lnTo>
                    <a:pt x="1456144" y="177012"/>
                  </a:lnTo>
                  <a:lnTo>
                    <a:pt x="1456144" y="176263"/>
                  </a:lnTo>
                  <a:lnTo>
                    <a:pt x="1456144" y="177609"/>
                  </a:lnTo>
                  <a:lnTo>
                    <a:pt x="1456144" y="177012"/>
                  </a:lnTo>
                  <a:lnTo>
                    <a:pt x="1456195" y="177609"/>
                  </a:lnTo>
                  <a:lnTo>
                    <a:pt x="1456195" y="177012"/>
                  </a:lnTo>
                  <a:lnTo>
                    <a:pt x="1456195" y="177609"/>
                  </a:lnTo>
                  <a:lnTo>
                    <a:pt x="1456195" y="177012"/>
                  </a:lnTo>
                  <a:lnTo>
                    <a:pt x="1456195" y="177609"/>
                  </a:lnTo>
                  <a:lnTo>
                    <a:pt x="1456195" y="177012"/>
                  </a:lnTo>
                  <a:lnTo>
                    <a:pt x="1456195" y="177609"/>
                  </a:lnTo>
                  <a:lnTo>
                    <a:pt x="1456195" y="177012"/>
                  </a:lnTo>
                  <a:lnTo>
                    <a:pt x="1456246" y="177609"/>
                  </a:lnTo>
                  <a:lnTo>
                    <a:pt x="1456246" y="176263"/>
                  </a:lnTo>
                  <a:lnTo>
                    <a:pt x="1456246" y="177012"/>
                  </a:lnTo>
                  <a:lnTo>
                    <a:pt x="1456246" y="176263"/>
                  </a:lnTo>
                  <a:lnTo>
                    <a:pt x="1456284" y="176263"/>
                  </a:lnTo>
                  <a:lnTo>
                    <a:pt x="1456284" y="172847"/>
                  </a:lnTo>
                  <a:lnTo>
                    <a:pt x="1456386" y="172148"/>
                  </a:lnTo>
                  <a:lnTo>
                    <a:pt x="1456386" y="174879"/>
                  </a:lnTo>
                  <a:lnTo>
                    <a:pt x="1456386" y="172847"/>
                  </a:lnTo>
                  <a:lnTo>
                    <a:pt x="1456437" y="173533"/>
                  </a:lnTo>
                  <a:lnTo>
                    <a:pt x="1456437" y="177012"/>
                  </a:lnTo>
                  <a:lnTo>
                    <a:pt x="1456437" y="174282"/>
                  </a:lnTo>
                  <a:lnTo>
                    <a:pt x="1456437" y="176263"/>
                  </a:lnTo>
                  <a:lnTo>
                    <a:pt x="1456487" y="176263"/>
                  </a:lnTo>
                  <a:lnTo>
                    <a:pt x="1456487" y="177012"/>
                  </a:lnTo>
                  <a:lnTo>
                    <a:pt x="1456487" y="174879"/>
                  </a:lnTo>
                  <a:lnTo>
                    <a:pt x="1456487" y="176263"/>
                  </a:lnTo>
                  <a:lnTo>
                    <a:pt x="1456487" y="174879"/>
                  </a:lnTo>
                  <a:lnTo>
                    <a:pt x="1456487" y="176263"/>
                  </a:lnTo>
                  <a:lnTo>
                    <a:pt x="1456487" y="174879"/>
                  </a:lnTo>
                  <a:lnTo>
                    <a:pt x="1456487" y="176263"/>
                  </a:lnTo>
                  <a:lnTo>
                    <a:pt x="1456589" y="177012"/>
                  </a:lnTo>
                  <a:lnTo>
                    <a:pt x="1456589" y="174879"/>
                  </a:lnTo>
                  <a:lnTo>
                    <a:pt x="1456589" y="177012"/>
                  </a:lnTo>
                  <a:lnTo>
                    <a:pt x="1456640" y="177012"/>
                  </a:lnTo>
                  <a:lnTo>
                    <a:pt x="1456640" y="176263"/>
                  </a:lnTo>
                  <a:lnTo>
                    <a:pt x="1456640" y="177012"/>
                  </a:lnTo>
                  <a:lnTo>
                    <a:pt x="1456640" y="176263"/>
                  </a:lnTo>
                  <a:lnTo>
                    <a:pt x="1456640" y="177012"/>
                  </a:lnTo>
                  <a:lnTo>
                    <a:pt x="1456690" y="177609"/>
                  </a:lnTo>
                  <a:lnTo>
                    <a:pt x="1456690" y="177012"/>
                  </a:lnTo>
                  <a:lnTo>
                    <a:pt x="1456690" y="178295"/>
                  </a:lnTo>
                  <a:lnTo>
                    <a:pt x="1456690" y="177012"/>
                  </a:lnTo>
                  <a:lnTo>
                    <a:pt x="1456741" y="177012"/>
                  </a:lnTo>
                  <a:lnTo>
                    <a:pt x="1456741" y="176263"/>
                  </a:lnTo>
                  <a:lnTo>
                    <a:pt x="1456830" y="174879"/>
                  </a:lnTo>
                  <a:lnTo>
                    <a:pt x="1456830" y="173533"/>
                  </a:lnTo>
                  <a:lnTo>
                    <a:pt x="1456830" y="174282"/>
                  </a:lnTo>
                  <a:lnTo>
                    <a:pt x="1456881" y="174282"/>
                  </a:lnTo>
                  <a:lnTo>
                    <a:pt x="1456881" y="174879"/>
                  </a:lnTo>
                  <a:lnTo>
                    <a:pt x="1456881" y="172847"/>
                  </a:lnTo>
                  <a:lnTo>
                    <a:pt x="1456881" y="173533"/>
                  </a:lnTo>
                  <a:lnTo>
                    <a:pt x="1456881" y="172847"/>
                  </a:lnTo>
                  <a:lnTo>
                    <a:pt x="1456881" y="174879"/>
                  </a:lnTo>
                  <a:lnTo>
                    <a:pt x="1456932" y="176263"/>
                  </a:lnTo>
                  <a:lnTo>
                    <a:pt x="1456932" y="174282"/>
                  </a:lnTo>
                  <a:lnTo>
                    <a:pt x="1456932" y="176263"/>
                  </a:lnTo>
                  <a:lnTo>
                    <a:pt x="1456983" y="174879"/>
                  </a:lnTo>
                  <a:lnTo>
                    <a:pt x="1456983" y="176263"/>
                  </a:lnTo>
                  <a:lnTo>
                    <a:pt x="1456983" y="173533"/>
                  </a:lnTo>
                  <a:lnTo>
                    <a:pt x="1456983" y="176263"/>
                  </a:lnTo>
                  <a:lnTo>
                    <a:pt x="1456983" y="174879"/>
                  </a:lnTo>
                  <a:lnTo>
                    <a:pt x="1457084" y="174879"/>
                  </a:lnTo>
                  <a:lnTo>
                    <a:pt x="1457084" y="174282"/>
                  </a:lnTo>
                  <a:lnTo>
                    <a:pt x="1457084" y="176263"/>
                  </a:lnTo>
                  <a:lnTo>
                    <a:pt x="1457135" y="174879"/>
                  </a:lnTo>
                  <a:lnTo>
                    <a:pt x="1457135" y="176263"/>
                  </a:lnTo>
                  <a:lnTo>
                    <a:pt x="1457135" y="174879"/>
                  </a:lnTo>
                  <a:lnTo>
                    <a:pt x="1457135" y="177012"/>
                  </a:lnTo>
                  <a:lnTo>
                    <a:pt x="1457135" y="176263"/>
                  </a:lnTo>
                  <a:lnTo>
                    <a:pt x="1457135" y="177012"/>
                  </a:lnTo>
                  <a:lnTo>
                    <a:pt x="1457186" y="177012"/>
                  </a:lnTo>
                  <a:lnTo>
                    <a:pt x="1457186" y="176263"/>
                  </a:lnTo>
                  <a:lnTo>
                    <a:pt x="1457186" y="177012"/>
                  </a:lnTo>
                  <a:lnTo>
                    <a:pt x="1457287" y="176263"/>
                  </a:lnTo>
                  <a:lnTo>
                    <a:pt x="1457287" y="177012"/>
                  </a:lnTo>
                  <a:lnTo>
                    <a:pt x="1457287" y="174879"/>
                  </a:lnTo>
                  <a:lnTo>
                    <a:pt x="1457287" y="176263"/>
                  </a:lnTo>
                  <a:lnTo>
                    <a:pt x="1457287" y="174282"/>
                  </a:lnTo>
                  <a:lnTo>
                    <a:pt x="1457325" y="174879"/>
                  </a:lnTo>
                  <a:lnTo>
                    <a:pt x="1457325" y="174282"/>
                  </a:lnTo>
                  <a:lnTo>
                    <a:pt x="1457325" y="174879"/>
                  </a:lnTo>
                  <a:lnTo>
                    <a:pt x="1457325" y="174282"/>
                  </a:lnTo>
                  <a:lnTo>
                    <a:pt x="1457325" y="176263"/>
                  </a:lnTo>
                  <a:lnTo>
                    <a:pt x="1457325" y="174282"/>
                  </a:lnTo>
                  <a:lnTo>
                    <a:pt x="1457376" y="174282"/>
                  </a:lnTo>
                  <a:lnTo>
                    <a:pt x="1457376" y="177609"/>
                  </a:lnTo>
                  <a:lnTo>
                    <a:pt x="1457376" y="177012"/>
                  </a:lnTo>
                  <a:lnTo>
                    <a:pt x="1457427" y="177012"/>
                  </a:lnTo>
                  <a:lnTo>
                    <a:pt x="1457427" y="176263"/>
                  </a:lnTo>
                  <a:lnTo>
                    <a:pt x="1457427" y="178295"/>
                  </a:lnTo>
                  <a:lnTo>
                    <a:pt x="1457427" y="177012"/>
                  </a:lnTo>
                  <a:lnTo>
                    <a:pt x="1457529" y="177012"/>
                  </a:lnTo>
                  <a:lnTo>
                    <a:pt x="1457529" y="176263"/>
                  </a:lnTo>
                  <a:lnTo>
                    <a:pt x="1457529" y="177609"/>
                  </a:lnTo>
                  <a:lnTo>
                    <a:pt x="1457529" y="177012"/>
                  </a:lnTo>
                  <a:lnTo>
                    <a:pt x="1457580" y="177012"/>
                  </a:lnTo>
                  <a:lnTo>
                    <a:pt x="1457580" y="176263"/>
                  </a:lnTo>
                  <a:lnTo>
                    <a:pt x="1457580" y="177609"/>
                  </a:lnTo>
                  <a:lnTo>
                    <a:pt x="1457630" y="177609"/>
                  </a:lnTo>
                  <a:lnTo>
                    <a:pt x="1457630" y="177012"/>
                  </a:lnTo>
                  <a:lnTo>
                    <a:pt x="1457630" y="178295"/>
                  </a:lnTo>
                  <a:lnTo>
                    <a:pt x="1457732" y="177609"/>
                  </a:lnTo>
                  <a:lnTo>
                    <a:pt x="1457732" y="177012"/>
                  </a:lnTo>
                  <a:lnTo>
                    <a:pt x="1457783" y="177012"/>
                  </a:lnTo>
                  <a:lnTo>
                    <a:pt x="1457783" y="176263"/>
                  </a:lnTo>
                  <a:lnTo>
                    <a:pt x="1457783" y="177012"/>
                  </a:lnTo>
                  <a:lnTo>
                    <a:pt x="1457783" y="176263"/>
                  </a:lnTo>
                  <a:lnTo>
                    <a:pt x="1457783" y="177012"/>
                  </a:lnTo>
                  <a:lnTo>
                    <a:pt x="1457783" y="174879"/>
                  </a:lnTo>
                  <a:lnTo>
                    <a:pt x="1457834" y="174879"/>
                  </a:lnTo>
                  <a:lnTo>
                    <a:pt x="1457834" y="174282"/>
                  </a:lnTo>
                  <a:lnTo>
                    <a:pt x="1457834" y="176263"/>
                  </a:lnTo>
                  <a:lnTo>
                    <a:pt x="1457872" y="176263"/>
                  </a:lnTo>
                  <a:lnTo>
                    <a:pt x="1457872" y="177012"/>
                  </a:lnTo>
                  <a:lnTo>
                    <a:pt x="1457872" y="176263"/>
                  </a:lnTo>
                  <a:lnTo>
                    <a:pt x="1457872" y="177609"/>
                  </a:lnTo>
                  <a:lnTo>
                    <a:pt x="1457872" y="177012"/>
                  </a:lnTo>
                  <a:lnTo>
                    <a:pt x="1457973" y="177012"/>
                  </a:lnTo>
                  <a:lnTo>
                    <a:pt x="1457973" y="177609"/>
                  </a:lnTo>
                  <a:lnTo>
                    <a:pt x="1457973" y="177012"/>
                  </a:lnTo>
                  <a:lnTo>
                    <a:pt x="1457973" y="177609"/>
                  </a:lnTo>
                  <a:lnTo>
                    <a:pt x="1457973" y="177012"/>
                  </a:lnTo>
                  <a:lnTo>
                    <a:pt x="1457973" y="177609"/>
                  </a:lnTo>
                  <a:lnTo>
                    <a:pt x="1458024" y="177012"/>
                  </a:lnTo>
                  <a:lnTo>
                    <a:pt x="1458024" y="177609"/>
                  </a:lnTo>
                  <a:lnTo>
                    <a:pt x="1458024" y="177012"/>
                  </a:lnTo>
                  <a:lnTo>
                    <a:pt x="1458024" y="177609"/>
                  </a:lnTo>
                  <a:lnTo>
                    <a:pt x="1458024" y="177012"/>
                  </a:lnTo>
                  <a:lnTo>
                    <a:pt x="1458024" y="177609"/>
                  </a:lnTo>
                  <a:lnTo>
                    <a:pt x="1458075" y="177609"/>
                  </a:lnTo>
                  <a:lnTo>
                    <a:pt x="1458075" y="178295"/>
                  </a:lnTo>
                  <a:lnTo>
                    <a:pt x="1458075" y="177609"/>
                  </a:lnTo>
                  <a:lnTo>
                    <a:pt x="1458176" y="177609"/>
                  </a:lnTo>
                  <a:lnTo>
                    <a:pt x="1458176" y="178295"/>
                  </a:lnTo>
                  <a:lnTo>
                    <a:pt x="1458176" y="177609"/>
                  </a:lnTo>
                  <a:lnTo>
                    <a:pt x="1458176" y="178295"/>
                  </a:lnTo>
                  <a:lnTo>
                    <a:pt x="1458227" y="178295"/>
                  </a:lnTo>
                  <a:lnTo>
                    <a:pt x="1458227" y="177012"/>
                  </a:lnTo>
                  <a:lnTo>
                    <a:pt x="1458227" y="177609"/>
                  </a:lnTo>
                  <a:lnTo>
                    <a:pt x="1458227" y="176263"/>
                  </a:lnTo>
                  <a:lnTo>
                    <a:pt x="1458278" y="176263"/>
                  </a:lnTo>
                  <a:lnTo>
                    <a:pt x="1458278" y="177012"/>
                  </a:lnTo>
                  <a:lnTo>
                    <a:pt x="1458278" y="174282"/>
                  </a:lnTo>
                  <a:lnTo>
                    <a:pt x="1458329" y="174282"/>
                  </a:lnTo>
                  <a:lnTo>
                    <a:pt x="1458329" y="176263"/>
                  </a:lnTo>
                  <a:lnTo>
                    <a:pt x="1458329" y="174282"/>
                  </a:lnTo>
                  <a:lnTo>
                    <a:pt x="1458329" y="174879"/>
                  </a:lnTo>
                  <a:lnTo>
                    <a:pt x="1458418" y="174879"/>
                  </a:lnTo>
                  <a:lnTo>
                    <a:pt x="1458418" y="177609"/>
                  </a:lnTo>
                  <a:lnTo>
                    <a:pt x="1458418" y="176263"/>
                  </a:lnTo>
                  <a:lnTo>
                    <a:pt x="1458418" y="177012"/>
                  </a:lnTo>
                  <a:lnTo>
                    <a:pt x="1458469" y="177012"/>
                  </a:lnTo>
                  <a:lnTo>
                    <a:pt x="1458469" y="176263"/>
                  </a:lnTo>
                  <a:lnTo>
                    <a:pt x="1458469" y="177609"/>
                  </a:lnTo>
                  <a:lnTo>
                    <a:pt x="1458469" y="174879"/>
                  </a:lnTo>
                  <a:lnTo>
                    <a:pt x="1458519" y="176263"/>
                  </a:lnTo>
                  <a:lnTo>
                    <a:pt x="1458519" y="177609"/>
                  </a:lnTo>
                  <a:lnTo>
                    <a:pt x="1458519" y="177012"/>
                  </a:lnTo>
                  <a:lnTo>
                    <a:pt x="1458570" y="177609"/>
                  </a:lnTo>
                  <a:lnTo>
                    <a:pt x="1458570" y="178295"/>
                  </a:lnTo>
                  <a:lnTo>
                    <a:pt x="1458570" y="177609"/>
                  </a:lnTo>
                  <a:lnTo>
                    <a:pt x="1458672" y="177609"/>
                  </a:lnTo>
                  <a:lnTo>
                    <a:pt x="1458672" y="178295"/>
                  </a:lnTo>
                  <a:lnTo>
                    <a:pt x="1458672" y="177609"/>
                  </a:lnTo>
                  <a:lnTo>
                    <a:pt x="1458672" y="178295"/>
                  </a:lnTo>
                  <a:lnTo>
                    <a:pt x="1458672" y="177609"/>
                  </a:lnTo>
                  <a:lnTo>
                    <a:pt x="1458722" y="177012"/>
                  </a:lnTo>
                  <a:lnTo>
                    <a:pt x="1458722" y="177609"/>
                  </a:lnTo>
                  <a:lnTo>
                    <a:pt x="1458722" y="177012"/>
                  </a:lnTo>
                  <a:lnTo>
                    <a:pt x="1458722" y="177609"/>
                  </a:lnTo>
                  <a:lnTo>
                    <a:pt x="1458722" y="176263"/>
                  </a:lnTo>
                  <a:lnTo>
                    <a:pt x="1458773" y="176263"/>
                  </a:lnTo>
                  <a:lnTo>
                    <a:pt x="1458773" y="174879"/>
                  </a:lnTo>
                  <a:lnTo>
                    <a:pt x="1458773" y="176263"/>
                  </a:lnTo>
                  <a:lnTo>
                    <a:pt x="1458773" y="174879"/>
                  </a:lnTo>
                  <a:lnTo>
                    <a:pt x="1458875" y="174879"/>
                  </a:lnTo>
                  <a:lnTo>
                    <a:pt x="1458875" y="177012"/>
                  </a:lnTo>
                  <a:lnTo>
                    <a:pt x="1458875" y="174879"/>
                  </a:lnTo>
                  <a:lnTo>
                    <a:pt x="1458875" y="176263"/>
                  </a:lnTo>
                  <a:lnTo>
                    <a:pt x="1458913" y="176263"/>
                  </a:lnTo>
                  <a:lnTo>
                    <a:pt x="1458913" y="177609"/>
                  </a:lnTo>
                  <a:lnTo>
                    <a:pt x="1458913" y="177012"/>
                  </a:lnTo>
                  <a:lnTo>
                    <a:pt x="1458913" y="177609"/>
                  </a:lnTo>
                  <a:lnTo>
                    <a:pt x="1458913" y="176263"/>
                  </a:lnTo>
                  <a:lnTo>
                    <a:pt x="1458913" y="177012"/>
                  </a:lnTo>
                  <a:lnTo>
                    <a:pt x="1458964" y="177012"/>
                  </a:lnTo>
                  <a:lnTo>
                    <a:pt x="1458964" y="177609"/>
                  </a:lnTo>
                  <a:lnTo>
                    <a:pt x="1458964" y="176263"/>
                  </a:lnTo>
                  <a:lnTo>
                    <a:pt x="1458964" y="177012"/>
                  </a:lnTo>
                  <a:lnTo>
                    <a:pt x="1459015" y="177012"/>
                  </a:lnTo>
                  <a:lnTo>
                    <a:pt x="1459015" y="177609"/>
                  </a:lnTo>
                  <a:lnTo>
                    <a:pt x="1459015" y="177012"/>
                  </a:lnTo>
                  <a:lnTo>
                    <a:pt x="1459015" y="177609"/>
                  </a:lnTo>
                  <a:lnTo>
                    <a:pt x="1459015" y="177012"/>
                  </a:lnTo>
                  <a:lnTo>
                    <a:pt x="1459015" y="177609"/>
                  </a:lnTo>
                  <a:lnTo>
                    <a:pt x="1459116" y="177609"/>
                  </a:lnTo>
                  <a:lnTo>
                    <a:pt x="1459116" y="178295"/>
                  </a:lnTo>
                  <a:lnTo>
                    <a:pt x="1459116" y="177609"/>
                  </a:lnTo>
                  <a:lnTo>
                    <a:pt x="1459116" y="178295"/>
                  </a:lnTo>
                  <a:lnTo>
                    <a:pt x="1459116" y="177609"/>
                  </a:lnTo>
                  <a:lnTo>
                    <a:pt x="1459167" y="177609"/>
                  </a:lnTo>
                  <a:lnTo>
                    <a:pt x="1459167" y="178295"/>
                  </a:lnTo>
                  <a:lnTo>
                    <a:pt x="1459167" y="177609"/>
                  </a:lnTo>
                  <a:lnTo>
                    <a:pt x="1459167" y="178295"/>
                  </a:lnTo>
                  <a:lnTo>
                    <a:pt x="1459218" y="177609"/>
                  </a:lnTo>
                  <a:lnTo>
                    <a:pt x="1459218" y="176263"/>
                  </a:lnTo>
                  <a:lnTo>
                    <a:pt x="1459218" y="177012"/>
                  </a:lnTo>
                  <a:lnTo>
                    <a:pt x="1459218" y="176263"/>
                  </a:lnTo>
                  <a:lnTo>
                    <a:pt x="1459319" y="174879"/>
                  </a:lnTo>
                  <a:lnTo>
                    <a:pt x="1459319" y="176263"/>
                  </a:lnTo>
                  <a:lnTo>
                    <a:pt x="1459319" y="173533"/>
                  </a:lnTo>
                  <a:lnTo>
                    <a:pt x="1459370" y="174282"/>
                  </a:lnTo>
                  <a:lnTo>
                    <a:pt x="1459370" y="176263"/>
                  </a:lnTo>
                  <a:lnTo>
                    <a:pt x="1459370" y="174282"/>
                  </a:lnTo>
                  <a:lnTo>
                    <a:pt x="1459370" y="174879"/>
                  </a:lnTo>
                  <a:lnTo>
                    <a:pt x="1459421" y="174879"/>
                  </a:lnTo>
                  <a:lnTo>
                    <a:pt x="1459421" y="177609"/>
                  </a:lnTo>
                  <a:lnTo>
                    <a:pt x="1459421" y="174879"/>
                  </a:lnTo>
                  <a:lnTo>
                    <a:pt x="1459421" y="177012"/>
                  </a:lnTo>
                  <a:lnTo>
                    <a:pt x="1459459" y="177609"/>
                  </a:lnTo>
                  <a:lnTo>
                    <a:pt x="1459459" y="174879"/>
                  </a:lnTo>
                  <a:lnTo>
                    <a:pt x="1459459" y="177012"/>
                  </a:lnTo>
                  <a:lnTo>
                    <a:pt x="1459561" y="177012"/>
                  </a:lnTo>
                  <a:lnTo>
                    <a:pt x="1459561" y="177609"/>
                  </a:lnTo>
                  <a:lnTo>
                    <a:pt x="1459561" y="177012"/>
                  </a:lnTo>
                  <a:lnTo>
                    <a:pt x="1459561" y="177609"/>
                  </a:lnTo>
                  <a:lnTo>
                    <a:pt x="1459561" y="177012"/>
                  </a:lnTo>
                  <a:lnTo>
                    <a:pt x="1459561" y="177609"/>
                  </a:lnTo>
                  <a:lnTo>
                    <a:pt x="1459561" y="177012"/>
                  </a:lnTo>
                  <a:lnTo>
                    <a:pt x="1459561" y="177609"/>
                  </a:lnTo>
                  <a:lnTo>
                    <a:pt x="1459561" y="177012"/>
                  </a:lnTo>
                  <a:lnTo>
                    <a:pt x="1459561" y="177609"/>
                  </a:lnTo>
                  <a:lnTo>
                    <a:pt x="1459561" y="177012"/>
                  </a:lnTo>
                  <a:lnTo>
                    <a:pt x="1459561" y="177609"/>
                  </a:lnTo>
                  <a:lnTo>
                    <a:pt x="1459612" y="177609"/>
                  </a:lnTo>
                  <a:lnTo>
                    <a:pt x="1459612" y="178295"/>
                  </a:lnTo>
                  <a:lnTo>
                    <a:pt x="1459612" y="177609"/>
                  </a:lnTo>
                  <a:lnTo>
                    <a:pt x="1459612" y="178295"/>
                  </a:lnTo>
                  <a:lnTo>
                    <a:pt x="1459612" y="177609"/>
                  </a:lnTo>
                  <a:lnTo>
                    <a:pt x="1459662" y="177609"/>
                  </a:lnTo>
                  <a:lnTo>
                    <a:pt x="1459662" y="178295"/>
                  </a:lnTo>
                  <a:lnTo>
                    <a:pt x="1459662" y="177609"/>
                  </a:lnTo>
                  <a:lnTo>
                    <a:pt x="1459764" y="177609"/>
                  </a:lnTo>
                  <a:lnTo>
                    <a:pt x="1459764" y="176263"/>
                  </a:lnTo>
                  <a:lnTo>
                    <a:pt x="1459815" y="176263"/>
                  </a:lnTo>
                  <a:lnTo>
                    <a:pt x="1459815" y="174879"/>
                  </a:lnTo>
                  <a:lnTo>
                    <a:pt x="1459815" y="176263"/>
                  </a:lnTo>
                  <a:lnTo>
                    <a:pt x="1459815" y="174879"/>
                  </a:lnTo>
                  <a:lnTo>
                    <a:pt x="1459815" y="176263"/>
                  </a:lnTo>
                  <a:lnTo>
                    <a:pt x="1459815" y="173533"/>
                  </a:lnTo>
                  <a:lnTo>
                    <a:pt x="1459865" y="173533"/>
                  </a:lnTo>
                  <a:lnTo>
                    <a:pt x="1459865" y="176263"/>
                  </a:lnTo>
                  <a:lnTo>
                    <a:pt x="1459865" y="173533"/>
                  </a:lnTo>
                  <a:lnTo>
                    <a:pt x="1459865" y="174282"/>
                  </a:lnTo>
                  <a:lnTo>
                    <a:pt x="1459916" y="174879"/>
                  </a:lnTo>
                  <a:lnTo>
                    <a:pt x="1459916" y="176263"/>
                  </a:lnTo>
                  <a:lnTo>
                    <a:pt x="1459916" y="174282"/>
                  </a:lnTo>
                  <a:lnTo>
                    <a:pt x="1459916" y="174879"/>
                  </a:lnTo>
                  <a:lnTo>
                    <a:pt x="1460005" y="176263"/>
                  </a:lnTo>
                  <a:lnTo>
                    <a:pt x="1460005" y="174879"/>
                  </a:lnTo>
                  <a:lnTo>
                    <a:pt x="1460056" y="176263"/>
                  </a:lnTo>
                  <a:lnTo>
                    <a:pt x="1460056" y="174879"/>
                  </a:lnTo>
                  <a:lnTo>
                    <a:pt x="1460056" y="177012"/>
                  </a:lnTo>
                  <a:lnTo>
                    <a:pt x="1460056" y="176263"/>
                  </a:lnTo>
                  <a:lnTo>
                    <a:pt x="1460056" y="177012"/>
                  </a:lnTo>
                  <a:lnTo>
                    <a:pt x="1460056" y="176263"/>
                  </a:lnTo>
                  <a:lnTo>
                    <a:pt x="1460107" y="177012"/>
                  </a:lnTo>
                  <a:lnTo>
                    <a:pt x="1460107" y="177609"/>
                  </a:lnTo>
                  <a:lnTo>
                    <a:pt x="1460107" y="177012"/>
                  </a:lnTo>
                  <a:lnTo>
                    <a:pt x="1460259" y="177012"/>
                  </a:lnTo>
                  <a:lnTo>
                    <a:pt x="1460259" y="176263"/>
                  </a:lnTo>
                  <a:lnTo>
                    <a:pt x="1460259" y="177012"/>
                  </a:lnTo>
                  <a:lnTo>
                    <a:pt x="1460259" y="176263"/>
                  </a:lnTo>
                  <a:lnTo>
                    <a:pt x="1460259" y="177012"/>
                  </a:lnTo>
                  <a:lnTo>
                    <a:pt x="1460259" y="174879"/>
                  </a:lnTo>
                  <a:lnTo>
                    <a:pt x="1460310" y="176263"/>
                  </a:lnTo>
                  <a:lnTo>
                    <a:pt x="1460310" y="174282"/>
                  </a:lnTo>
                  <a:lnTo>
                    <a:pt x="1460310" y="177012"/>
                  </a:lnTo>
                  <a:lnTo>
                    <a:pt x="1460361" y="177012"/>
                  </a:lnTo>
                  <a:lnTo>
                    <a:pt x="1460361" y="173533"/>
                  </a:lnTo>
                  <a:lnTo>
                    <a:pt x="1460361" y="177012"/>
                  </a:lnTo>
                  <a:lnTo>
                    <a:pt x="1460462" y="177012"/>
                  </a:lnTo>
                  <a:lnTo>
                    <a:pt x="1460462" y="174282"/>
                  </a:lnTo>
                  <a:lnTo>
                    <a:pt x="1460462" y="177609"/>
                  </a:lnTo>
                  <a:lnTo>
                    <a:pt x="1460462" y="177012"/>
                  </a:lnTo>
                  <a:lnTo>
                    <a:pt x="1460500" y="177012"/>
                  </a:lnTo>
                  <a:lnTo>
                    <a:pt x="1460500" y="174879"/>
                  </a:lnTo>
                  <a:lnTo>
                    <a:pt x="1460500" y="177012"/>
                  </a:lnTo>
                  <a:lnTo>
                    <a:pt x="1460551" y="177609"/>
                  </a:lnTo>
                  <a:lnTo>
                    <a:pt x="1460551" y="177012"/>
                  </a:lnTo>
                  <a:lnTo>
                    <a:pt x="1460551" y="177609"/>
                  </a:lnTo>
                  <a:lnTo>
                    <a:pt x="1460551" y="177012"/>
                  </a:lnTo>
                  <a:lnTo>
                    <a:pt x="1460602" y="177012"/>
                  </a:lnTo>
                  <a:lnTo>
                    <a:pt x="1460602" y="177609"/>
                  </a:lnTo>
                  <a:lnTo>
                    <a:pt x="1460602" y="177012"/>
                  </a:lnTo>
                  <a:lnTo>
                    <a:pt x="1460602" y="177609"/>
                  </a:lnTo>
                  <a:lnTo>
                    <a:pt x="1460602" y="177012"/>
                  </a:lnTo>
                  <a:lnTo>
                    <a:pt x="1460704" y="177012"/>
                  </a:lnTo>
                  <a:lnTo>
                    <a:pt x="1460755" y="177609"/>
                  </a:lnTo>
                  <a:lnTo>
                    <a:pt x="1460755" y="176263"/>
                  </a:lnTo>
                  <a:lnTo>
                    <a:pt x="1460755" y="177012"/>
                  </a:lnTo>
                  <a:lnTo>
                    <a:pt x="1460755" y="176263"/>
                  </a:lnTo>
                  <a:lnTo>
                    <a:pt x="1460755" y="177012"/>
                  </a:lnTo>
                  <a:lnTo>
                    <a:pt x="1460805" y="176263"/>
                  </a:lnTo>
                  <a:lnTo>
                    <a:pt x="1460805" y="174879"/>
                  </a:lnTo>
                  <a:lnTo>
                    <a:pt x="1460805" y="176263"/>
                  </a:lnTo>
                  <a:lnTo>
                    <a:pt x="1460805" y="174879"/>
                  </a:lnTo>
                  <a:lnTo>
                    <a:pt x="1460805" y="177609"/>
                  </a:lnTo>
                  <a:lnTo>
                    <a:pt x="1460805" y="177012"/>
                  </a:lnTo>
                  <a:lnTo>
                    <a:pt x="1460907" y="176263"/>
                  </a:lnTo>
                  <a:lnTo>
                    <a:pt x="1460907" y="174879"/>
                  </a:lnTo>
                  <a:lnTo>
                    <a:pt x="1460907" y="179743"/>
                  </a:lnTo>
                  <a:lnTo>
                    <a:pt x="1460907" y="177012"/>
                  </a:lnTo>
                  <a:lnTo>
                    <a:pt x="1460958" y="177012"/>
                  </a:lnTo>
                  <a:lnTo>
                    <a:pt x="1460958" y="178295"/>
                  </a:lnTo>
                  <a:lnTo>
                    <a:pt x="1460958" y="177012"/>
                  </a:lnTo>
                  <a:lnTo>
                    <a:pt x="1461009" y="177012"/>
                  </a:lnTo>
                  <a:lnTo>
                    <a:pt x="1461009" y="178295"/>
                  </a:lnTo>
                  <a:lnTo>
                    <a:pt x="1461009" y="177609"/>
                  </a:lnTo>
                  <a:lnTo>
                    <a:pt x="1461047" y="177609"/>
                  </a:lnTo>
                  <a:lnTo>
                    <a:pt x="1461047" y="178295"/>
                  </a:lnTo>
                  <a:lnTo>
                    <a:pt x="1461047" y="177609"/>
                  </a:lnTo>
                  <a:lnTo>
                    <a:pt x="1461047" y="178295"/>
                  </a:lnTo>
                  <a:lnTo>
                    <a:pt x="1461047" y="177609"/>
                  </a:lnTo>
                  <a:lnTo>
                    <a:pt x="1461148" y="177012"/>
                  </a:lnTo>
                  <a:lnTo>
                    <a:pt x="1461148" y="177609"/>
                  </a:lnTo>
                  <a:lnTo>
                    <a:pt x="1461148" y="177012"/>
                  </a:lnTo>
                  <a:lnTo>
                    <a:pt x="1461148" y="177609"/>
                  </a:lnTo>
                  <a:lnTo>
                    <a:pt x="1461148" y="177012"/>
                  </a:lnTo>
                  <a:lnTo>
                    <a:pt x="1461148" y="177609"/>
                  </a:lnTo>
                  <a:lnTo>
                    <a:pt x="1461148" y="177012"/>
                  </a:lnTo>
                  <a:lnTo>
                    <a:pt x="1461148" y="177609"/>
                  </a:lnTo>
                  <a:lnTo>
                    <a:pt x="1461148" y="177012"/>
                  </a:lnTo>
                  <a:lnTo>
                    <a:pt x="1461199" y="177012"/>
                  </a:lnTo>
                  <a:lnTo>
                    <a:pt x="1461199" y="177609"/>
                  </a:lnTo>
                  <a:lnTo>
                    <a:pt x="1461199" y="176263"/>
                  </a:lnTo>
                  <a:lnTo>
                    <a:pt x="1461250" y="176263"/>
                  </a:lnTo>
                  <a:lnTo>
                    <a:pt x="1461250" y="174879"/>
                  </a:lnTo>
                  <a:lnTo>
                    <a:pt x="1461250" y="176263"/>
                  </a:lnTo>
                  <a:lnTo>
                    <a:pt x="1461250" y="174282"/>
                  </a:lnTo>
                  <a:lnTo>
                    <a:pt x="1461351" y="174282"/>
                  </a:lnTo>
                  <a:lnTo>
                    <a:pt x="1461351" y="177012"/>
                  </a:lnTo>
                  <a:lnTo>
                    <a:pt x="1461351" y="174879"/>
                  </a:lnTo>
                  <a:lnTo>
                    <a:pt x="1461402" y="176263"/>
                  </a:lnTo>
                  <a:lnTo>
                    <a:pt x="1461402" y="177609"/>
                  </a:lnTo>
                  <a:lnTo>
                    <a:pt x="1461402" y="176263"/>
                  </a:lnTo>
                  <a:lnTo>
                    <a:pt x="1461402" y="177012"/>
                  </a:lnTo>
                  <a:lnTo>
                    <a:pt x="1461453" y="177012"/>
                  </a:lnTo>
                  <a:lnTo>
                    <a:pt x="1461453" y="177609"/>
                  </a:lnTo>
                  <a:lnTo>
                    <a:pt x="1461453" y="177012"/>
                  </a:lnTo>
                  <a:lnTo>
                    <a:pt x="1461453" y="178295"/>
                  </a:lnTo>
                  <a:lnTo>
                    <a:pt x="1461504" y="178295"/>
                  </a:lnTo>
                  <a:lnTo>
                    <a:pt x="1461504" y="177609"/>
                  </a:lnTo>
                  <a:lnTo>
                    <a:pt x="1461504" y="178295"/>
                  </a:lnTo>
                  <a:lnTo>
                    <a:pt x="1461504" y="177609"/>
                  </a:lnTo>
                  <a:lnTo>
                    <a:pt x="1461504" y="178295"/>
                  </a:lnTo>
                  <a:lnTo>
                    <a:pt x="1461593" y="178295"/>
                  </a:lnTo>
                  <a:lnTo>
                    <a:pt x="1461593" y="179743"/>
                  </a:lnTo>
                  <a:lnTo>
                    <a:pt x="1461593" y="178295"/>
                  </a:lnTo>
                  <a:lnTo>
                    <a:pt x="1461593" y="179743"/>
                  </a:lnTo>
                  <a:lnTo>
                    <a:pt x="1461593" y="178295"/>
                  </a:lnTo>
                  <a:lnTo>
                    <a:pt x="1461644" y="178295"/>
                  </a:lnTo>
                  <a:lnTo>
                    <a:pt x="1461644" y="177609"/>
                  </a:lnTo>
                  <a:lnTo>
                    <a:pt x="1461644" y="178295"/>
                  </a:lnTo>
                  <a:lnTo>
                    <a:pt x="1461644" y="177609"/>
                  </a:lnTo>
                  <a:lnTo>
                    <a:pt x="1461694" y="177609"/>
                  </a:lnTo>
                  <a:lnTo>
                    <a:pt x="1461694" y="177012"/>
                  </a:lnTo>
                  <a:lnTo>
                    <a:pt x="1461745" y="176263"/>
                  </a:lnTo>
                  <a:lnTo>
                    <a:pt x="1461745" y="174879"/>
                  </a:lnTo>
                  <a:lnTo>
                    <a:pt x="1461745" y="177609"/>
                  </a:lnTo>
                  <a:lnTo>
                    <a:pt x="1461847" y="177609"/>
                  </a:lnTo>
                  <a:lnTo>
                    <a:pt x="1461847" y="176263"/>
                  </a:lnTo>
                  <a:lnTo>
                    <a:pt x="1461847" y="178295"/>
                  </a:lnTo>
                  <a:lnTo>
                    <a:pt x="1461847" y="177609"/>
                  </a:lnTo>
                  <a:lnTo>
                    <a:pt x="1461847" y="178295"/>
                  </a:lnTo>
                  <a:lnTo>
                    <a:pt x="1461897" y="177609"/>
                  </a:lnTo>
                  <a:lnTo>
                    <a:pt x="1461897" y="177012"/>
                  </a:lnTo>
                  <a:lnTo>
                    <a:pt x="1461897" y="179743"/>
                  </a:lnTo>
                  <a:lnTo>
                    <a:pt x="1461897" y="178295"/>
                  </a:lnTo>
                  <a:lnTo>
                    <a:pt x="1461948" y="178295"/>
                  </a:lnTo>
                  <a:lnTo>
                    <a:pt x="1461948" y="177609"/>
                  </a:lnTo>
                  <a:lnTo>
                    <a:pt x="1461948" y="179743"/>
                  </a:lnTo>
                  <a:lnTo>
                    <a:pt x="1461948" y="178295"/>
                  </a:lnTo>
                  <a:lnTo>
                    <a:pt x="1462050" y="178295"/>
                  </a:lnTo>
                  <a:lnTo>
                    <a:pt x="1462050" y="179743"/>
                  </a:lnTo>
                  <a:lnTo>
                    <a:pt x="1462050" y="178295"/>
                  </a:lnTo>
                  <a:lnTo>
                    <a:pt x="1462088" y="178295"/>
                  </a:lnTo>
                  <a:lnTo>
                    <a:pt x="1462088" y="177609"/>
                  </a:lnTo>
                  <a:lnTo>
                    <a:pt x="1462088" y="179743"/>
                  </a:lnTo>
                  <a:lnTo>
                    <a:pt x="1462088" y="178295"/>
                  </a:lnTo>
                  <a:lnTo>
                    <a:pt x="1462139" y="178295"/>
                  </a:lnTo>
                  <a:lnTo>
                    <a:pt x="1462139" y="177609"/>
                  </a:lnTo>
                  <a:lnTo>
                    <a:pt x="1462190" y="177609"/>
                  </a:lnTo>
                  <a:lnTo>
                    <a:pt x="1462190" y="177012"/>
                  </a:lnTo>
                  <a:lnTo>
                    <a:pt x="1462190" y="177609"/>
                  </a:lnTo>
                  <a:lnTo>
                    <a:pt x="1462190" y="176263"/>
                  </a:lnTo>
                  <a:lnTo>
                    <a:pt x="1462291" y="176263"/>
                  </a:lnTo>
                  <a:lnTo>
                    <a:pt x="1462291" y="174879"/>
                  </a:lnTo>
                  <a:lnTo>
                    <a:pt x="1462291" y="177012"/>
                  </a:lnTo>
                  <a:lnTo>
                    <a:pt x="1462291" y="174879"/>
                  </a:lnTo>
                  <a:lnTo>
                    <a:pt x="1462342" y="176263"/>
                  </a:lnTo>
                  <a:lnTo>
                    <a:pt x="1462342" y="177609"/>
                  </a:lnTo>
                  <a:lnTo>
                    <a:pt x="1462342" y="177012"/>
                  </a:lnTo>
                  <a:lnTo>
                    <a:pt x="1462393" y="177012"/>
                  </a:lnTo>
                  <a:lnTo>
                    <a:pt x="1462393" y="177609"/>
                  </a:lnTo>
                  <a:lnTo>
                    <a:pt x="1462393" y="177012"/>
                  </a:lnTo>
                  <a:lnTo>
                    <a:pt x="1462393" y="178295"/>
                  </a:lnTo>
                  <a:lnTo>
                    <a:pt x="1462393" y="177609"/>
                  </a:lnTo>
                  <a:lnTo>
                    <a:pt x="1462494" y="178295"/>
                  </a:lnTo>
                  <a:lnTo>
                    <a:pt x="1462494" y="179743"/>
                  </a:lnTo>
                  <a:lnTo>
                    <a:pt x="1462494" y="178295"/>
                  </a:lnTo>
                  <a:lnTo>
                    <a:pt x="1462494" y="179743"/>
                  </a:lnTo>
                  <a:lnTo>
                    <a:pt x="1462545" y="178295"/>
                  </a:lnTo>
                  <a:lnTo>
                    <a:pt x="1462545" y="179743"/>
                  </a:lnTo>
                  <a:lnTo>
                    <a:pt x="1462545" y="178295"/>
                  </a:lnTo>
                  <a:lnTo>
                    <a:pt x="1462545" y="179743"/>
                  </a:lnTo>
                  <a:lnTo>
                    <a:pt x="1462596" y="180327"/>
                  </a:lnTo>
                  <a:lnTo>
                    <a:pt x="1462596" y="178295"/>
                  </a:lnTo>
                  <a:lnTo>
                    <a:pt x="1462596" y="179743"/>
                  </a:lnTo>
                  <a:lnTo>
                    <a:pt x="1462596" y="178295"/>
                  </a:lnTo>
                  <a:lnTo>
                    <a:pt x="1462596" y="179743"/>
                  </a:lnTo>
                  <a:lnTo>
                    <a:pt x="1462634" y="179743"/>
                  </a:lnTo>
                  <a:lnTo>
                    <a:pt x="1462634" y="178295"/>
                  </a:lnTo>
                  <a:lnTo>
                    <a:pt x="1462736" y="178295"/>
                  </a:lnTo>
                  <a:lnTo>
                    <a:pt x="1462736" y="177012"/>
                  </a:lnTo>
                  <a:lnTo>
                    <a:pt x="1462736" y="177609"/>
                  </a:lnTo>
                  <a:lnTo>
                    <a:pt x="1462787" y="177609"/>
                  </a:lnTo>
                  <a:lnTo>
                    <a:pt x="1462787" y="174879"/>
                  </a:lnTo>
                  <a:lnTo>
                    <a:pt x="1462787" y="178295"/>
                  </a:lnTo>
                  <a:lnTo>
                    <a:pt x="1462837" y="178295"/>
                  </a:lnTo>
                  <a:lnTo>
                    <a:pt x="1462837" y="177012"/>
                  </a:lnTo>
                  <a:lnTo>
                    <a:pt x="1462837" y="177609"/>
                  </a:lnTo>
                  <a:lnTo>
                    <a:pt x="1462939" y="177609"/>
                  </a:lnTo>
                  <a:lnTo>
                    <a:pt x="1462939" y="178295"/>
                  </a:lnTo>
                  <a:lnTo>
                    <a:pt x="1462939" y="177609"/>
                  </a:lnTo>
                  <a:lnTo>
                    <a:pt x="1462939" y="179743"/>
                  </a:lnTo>
                  <a:lnTo>
                    <a:pt x="1462939" y="178295"/>
                  </a:lnTo>
                  <a:lnTo>
                    <a:pt x="1462939" y="179743"/>
                  </a:lnTo>
                  <a:lnTo>
                    <a:pt x="1462990" y="179743"/>
                  </a:lnTo>
                  <a:lnTo>
                    <a:pt x="1462990" y="177609"/>
                  </a:lnTo>
                  <a:lnTo>
                    <a:pt x="1462990" y="179743"/>
                  </a:lnTo>
                  <a:lnTo>
                    <a:pt x="1463040" y="179743"/>
                  </a:lnTo>
                  <a:lnTo>
                    <a:pt x="1463040" y="177609"/>
                  </a:lnTo>
                  <a:lnTo>
                    <a:pt x="1463040" y="179743"/>
                  </a:lnTo>
                  <a:lnTo>
                    <a:pt x="1463040" y="178295"/>
                  </a:lnTo>
                  <a:lnTo>
                    <a:pt x="1463091" y="178295"/>
                  </a:lnTo>
                  <a:lnTo>
                    <a:pt x="1463091" y="177609"/>
                  </a:lnTo>
                  <a:lnTo>
                    <a:pt x="1463091" y="178295"/>
                  </a:lnTo>
                  <a:lnTo>
                    <a:pt x="1463180" y="178295"/>
                  </a:lnTo>
                  <a:lnTo>
                    <a:pt x="1463180" y="177609"/>
                  </a:lnTo>
                  <a:lnTo>
                    <a:pt x="1463180" y="178295"/>
                  </a:lnTo>
                  <a:lnTo>
                    <a:pt x="1463180" y="177609"/>
                  </a:lnTo>
                  <a:lnTo>
                    <a:pt x="1463180" y="178295"/>
                  </a:lnTo>
                  <a:lnTo>
                    <a:pt x="1463231" y="178295"/>
                  </a:lnTo>
                  <a:lnTo>
                    <a:pt x="1463231" y="177012"/>
                  </a:lnTo>
                  <a:lnTo>
                    <a:pt x="1463231" y="177609"/>
                  </a:lnTo>
                  <a:lnTo>
                    <a:pt x="1463231" y="177012"/>
                  </a:lnTo>
                  <a:lnTo>
                    <a:pt x="1463231" y="178295"/>
                  </a:lnTo>
                  <a:lnTo>
                    <a:pt x="1463282" y="178295"/>
                  </a:lnTo>
                  <a:lnTo>
                    <a:pt x="1463282" y="176263"/>
                  </a:lnTo>
                  <a:lnTo>
                    <a:pt x="1463282" y="180327"/>
                  </a:lnTo>
                  <a:lnTo>
                    <a:pt x="1463282" y="179743"/>
                  </a:lnTo>
                  <a:lnTo>
                    <a:pt x="1463282" y="180327"/>
                  </a:lnTo>
                  <a:lnTo>
                    <a:pt x="1463282" y="178295"/>
                  </a:lnTo>
                  <a:lnTo>
                    <a:pt x="1463333" y="178295"/>
                  </a:lnTo>
                  <a:lnTo>
                    <a:pt x="1463333" y="177609"/>
                  </a:lnTo>
                  <a:lnTo>
                    <a:pt x="1463333" y="179743"/>
                  </a:lnTo>
                  <a:lnTo>
                    <a:pt x="1463333" y="178295"/>
                  </a:lnTo>
                  <a:lnTo>
                    <a:pt x="1463434" y="178295"/>
                  </a:lnTo>
                  <a:lnTo>
                    <a:pt x="1463434" y="180327"/>
                  </a:lnTo>
                  <a:lnTo>
                    <a:pt x="1463434" y="179743"/>
                  </a:lnTo>
                  <a:lnTo>
                    <a:pt x="1463434" y="180327"/>
                  </a:lnTo>
                  <a:lnTo>
                    <a:pt x="1463485" y="180327"/>
                  </a:lnTo>
                  <a:lnTo>
                    <a:pt x="1463485" y="179743"/>
                  </a:lnTo>
                  <a:lnTo>
                    <a:pt x="1463485" y="180327"/>
                  </a:lnTo>
                  <a:lnTo>
                    <a:pt x="1463485" y="179743"/>
                  </a:lnTo>
                  <a:lnTo>
                    <a:pt x="1463536" y="179743"/>
                  </a:lnTo>
                  <a:lnTo>
                    <a:pt x="1463536" y="180327"/>
                  </a:lnTo>
                  <a:lnTo>
                    <a:pt x="1463536" y="179743"/>
                  </a:lnTo>
                  <a:lnTo>
                    <a:pt x="1463637" y="179743"/>
                  </a:lnTo>
                  <a:lnTo>
                    <a:pt x="1463637" y="180327"/>
                  </a:lnTo>
                  <a:lnTo>
                    <a:pt x="1463637" y="179743"/>
                  </a:lnTo>
                  <a:lnTo>
                    <a:pt x="1463637" y="180327"/>
                  </a:lnTo>
                  <a:lnTo>
                    <a:pt x="1463637" y="179743"/>
                  </a:lnTo>
                  <a:lnTo>
                    <a:pt x="1463637" y="180327"/>
                  </a:lnTo>
                  <a:lnTo>
                    <a:pt x="1463637" y="179743"/>
                  </a:lnTo>
                  <a:lnTo>
                    <a:pt x="1463637" y="180327"/>
                  </a:lnTo>
                  <a:lnTo>
                    <a:pt x="1463637" y="179743"/>
                  </a:lnTo>
                  <a:lnTo>
                    <a:pt x="1463675" y="179743"/>
                  </a:lnTo>
                  <a:lnTo>
                    <a:pt x="1463675" y="177609"/>
                  </a:lnTo>
                  <a:lnTo>
                    <a:pt x="1463675" y="178295"/>
                  </a:lnTo>
                  <a:lnTo>
                    <a:pt x="1463675" y="177609"/>
                  </a:lnTo>
                  <a:lnTo>
                    <a:pt x="1463675" y="178295"/>
                  </a:lnTo>
                  <a:lnTo>
                    <a:pt x="1463675" y="177609"/>
                  </a:lnTo>
                  <a:lnTo>
                    <a:pt x="1463726" y="177012"/>
                  </a:lnTo>
                  <a:lnTo>
                    <a:pt x="1463726" y="178295"/>
                  </a:lnTo>
                  <a:lnTo>
                    <a:pt x="1463726" y="177012"/>
                  </a:lnTo>
                  <a:lnTo>
                    <a:pt x="1463777" y="177012"/>
                  </a:lnTo>
                  <a:lnTo>
                    <a:pt x="1463777" y="176263"/>
                  </a:lnTo>
                  <a:lnTo>
                    <a:pt x="1463777" y="179743"/>
                  </a:lnTo>
                  <a:lnTo>
                    <a:pt x="1463777" y="178295"/>
                  </a:lnTo>
                  <a:lnTo>
                    <a:pt x="1463879" y="178295"/>
                  </a:lnTo>
                  <a:lnTo>
                    <a:pt x="1463879" y="179743"/>
                  </a:lnTo>
                  <a:lnTo>
                    <a:pt x="1463879" y="178295"/>
                  </a:lnTo>
                  <a:lnTo>
                    <a:pt x="1463879" y="180327"/>
                  </a:lnTo>
                  <a:lnTo>
                    <a:pt x="1463879" y="178295"/>
                  </a:lnTo>
                  <a:lnTo>
                    <a:pt x="1463930" y="178295"/>
                  </a:lnTo>
                  <a:lnTo>
                    <a:pt x="1463930" y="179743"/>
                  </a:lnTo>
                  <a:lnTo>
                    <a:pt x="1463930" y="178295"/>
                  </a:lnTo>
                  <a:lnTo>
                    <a:pt x="1463930" y="180327"/>
                  </a:lnTo>
                  <a:lnTo>
                    <a:pt x="1463930" y="179743"/>
                  </a:lnTo>
                  <a:lnTo>
                    <a:pt x="1463930" y="180327"/>
                  </a:lnTo>
                  <a:lnTo>
                    <a:pt x="1463930" y="179743"/>
                  </a:lnTo>
                  <a:lnTo>
                    <a:pt x="1463930" y="180327"/>
                  </a:lnTo>
                  <a:lnTo>
                    <a:pt x="1463980" y="180327"/>
                  </a:lnTo>
                  <a:lnTo>
                    <a:pt x="1463980" y="179743"/>
                  </a:lnTo>
                  <a:lnTo>
                    <a:pt x="1463980" y="180327"/>
                  </a:lnTo>
                  <a:lnTo>
                    <a:pt x="1463980" y="179743"/>
                  </a:lnTo>
                  <a:lnTo>
                    <a:pt x="1463980" y="180327"/>
                  </a:lnTo>
                  <a:lnTo>
                    <a:pt x="1463980" y="179743"/>
                  </a:lnTo>
                  <a:lnTo>
                    <a:pt x="1464082" y="179743"/>
                  </a:lnTo>
                  <a:lnTo>
                    <a:pt x="1464082" y="178295"/>
                  </a:lnTo>
                  <a:lnTo>
                    <a:pt x="1464082" y="179743"/>
                  </a:lnTo>
                  <a:lnTo>
                    <a:pt x="1464082" y="178295"/>
                  </a:lnTo>
                  <a:lnTo>
                    <a:pt x="1464133" y="178295"/>
                  </a:lnTo>
                  <a:lnTo>
                    <a:pt x="1464133" y="179743"/>
                  </a:lnTo>
                  <a:lnTo>
                    <a:pt x="1464133" y="178295"/>
                  </a:lnTo>
                  <a:lnTo>
                    <a:pt x="1464133" y="179743"/>
                  </a:lnTo>
                  <a:lnTo>
                    <a:pt x="1464133" y="177609"/>
                  </a:lnTo>
                  <a:lnTo>
                    <a:pt x="1464133" y="178295"/>
                  </a:lnTo>
                  <a:lnTo>
                    <a:pt x="1464184" y="178295"/>
                  </a:lnTo>
                  <a:lnTo>
                    <a:pt x="1464184" y="177609"/>
                  </a:lnTo>
                  <a:lnTo>
                    <a:pt x="1464184" y="178295"/>
                  </a:lnTo>
                  <a:lnTo>
                    <a:pt x="1464184" y="177012"/>
                  </a:lnTo>
                  <a:lnTo>
                    <a:pt x="1464184" y="177609"/>
                  </a:lnTo>
                  <a:lnTo>
                    <a:pt x="1464184" y="177012"/>
                  </a:lnTo>
                  <a:lnTo>
                    <a:pt x="1464222" y="177012"/>
                  </a:lnTo>
                  <a:lnTo>
                    <a:pt x="1464222" y="176263"/>
                  </a:lnTo>
                  <a:lnTo>
                    <a:pt x="1464222" y="177609"/>
                  </a:lnTo>
                  <a:lnTo>
                    <a:pt x="1464222" y="174879"/>
                  </a:lnTo>
                  <a:lnTo>
                    <a:pt x="1464323" y="174879"/>
                  </a:lnTo>
                  <a:lnTo>
                    <a:pt x="1464323" y="179743"/>
                  </a:lnTo>
                  <a:lnTo>
                    <a:pt x="1464323" y="177012"/>
                  </a:lnTo>
                  <a:lnTo>
                    <a:pt x="1464323" y="177609"/>
                  </a:lnTo>
                  <a:lnTo>
                    <a:pt x="1464374" y="178295"/>
                  </a:lnTo>
                  <a:lnTo>
                    <a:pt x="1464374" y="179743"/>
                  </a:lnTo>
                  <a:lnTo>
                    <a:pt x="1464374" y="178295"/>
                  </a:lnTo>
                  <a:lnTo>
                    <a:pt x="1464374" y="179743"/>
                  </a:lnTo>
                  <a:lnTo>
                    <a:pt x="1464374" y="177609"/>
                  </a:lnTo>
                  <a:lnTo>
                    <a:pt x="1464374" y="178295"/>
                  </a:lnTo>
                  <a:lnTo>
                    <a:pt x="1464374" y="177609"/>
                  </a:lnTo>
                  <a:lnTo>
                    <a:pt x="1464374" y="178295"/>
                  </a:lnTo>
                  <a:lnTo>
                    <a:pt x="1464425" y="178295"/>
                  </a:lnTo>
                  <a:lnTo>
                    <a:pt x="1464425" y="179743"/>
                  </a:lnTo>
                  <a:lnTo>
                    <a:pt x="1464425" y="178295"/>
                  </a:lnTo>
                  <a:lnTo>
                    <a:pt x="1464425" y="179743"/>
                  </a:lnTo>
                  <a:lnTo>
                    <a:pt x="1464425" y="178295"/>
                  </a:lnTo>
                  <a:lnTo>
                    <a:pt x="1464425" y="179743"/>
                  </a:lnTo>
                  <a:lnTo>
                    <a:pt x="1464526" y="179743"/>
                  </a:lnTo>
                  <a:lnTo>
                    <a:pt x="1464526" y="178295"/>
                  </a:lnTo>
                  <a:lnTo>
                    <a:pt x="1464526" y="179743"/>
                  </a:lnTo>
                  <a:lnTo>
                    <a:pt x="1464526" y="178295"/>
                  </a:lnTo>
                  <a:lnTo>
                    <a:pt x="1464526" y="179743"/>
                  </a:lnTo>
                  <a:lnTo>
                    <a:pt x="1464526" y="178295"/>
                  </a:lnTo>
                  <a:lnTo>
                    <a:pt x="1464526" y="179743"/>
                  </a:lnTo>
                  <a:lnTo>
                    <a:pt x="1464577" y="179743"/>
                  </a:lnTo>
                  <a:lnTo>
                    <a:pt x="1464577" y="178295"/>
                  </a:lnTo>
                  <a:lnTo>
                    <a:pt x="1464577" y="179743"/>
                  </a:lnTo>
                  <a:lnTo>
                    <a:pt x="1464577" y="178295"/>
                  </a:lnTo>
                  <a:lnTo>
                    <a:pt x="1464577" y="179743"/>
                  </a:lnTo>
                  <a:lnTo>
                    <a:pt x="1464577" y="178295"/>
                  </a:lnTo>
                  <a:lnTo>
                    <a:pt x="1464628" y="178295"/>
                  </a:lnTo>
                  <a:lnTo>
                    <a:pt x="1464628" y="177609"/>
                  </a:lnTo>
                  <a:lnTo>
                    <a:pt x="1464628" y="178295"/>
                  </a:lnTo>
                  <a:lnTo>
                    <a:pt x="1464628" y="177609"/>
                  </a:lnTo>
                  <a:lnTo>
                    <a:pt x="1464679" y="177609"/>
                  </a:lnTo>
                  <a:lnTo>
                    <a:pt x="1464679" y="174879"/>
                  </a:lnTo>
                  <a:lnTo>
                    <a:pt x="1464679" y="177012"/>
                  </a:lnTo>
                  <a:lnTo>
                    <a:pt x="1464768" y="176263"/>
                  </a:lnTo>
                  <a:lnTo>
                    <a:pt x="1464768" y="174879"/>
                  </a:lnTo>
                  <a:lnTo>
                    <a:pt x="1464768" y="176263"/>
                  </a:lnTo>
                  <a:lnTo>
                    <a:pt x="1464768" y="174879"/>
                  </a:lnTo>
                  <a:lnTo>
                    <a:pt x="1464768" y="176263"/>
                  </a:lnTo>
                  <a:lnTo>
                    <a:pt x="1464819" y="176263"/>
                  </a:lnTo>
                  <a:lnTo>
                    <a:pt x="1464819" y="177609"/>
                  </a:lnTo>
                  <a:lnTo>
                    <a:pt x="1464819" y="177012"/>
                  </a:lnTo>
                  <a:lnTo>
                    <a:pt x="1464819" y="177609"/>
                  </a:lnTo>
                  <a:lnTo>
                    <a:pt x="1464819" y="177012"/>
                  </a:lnTo>
                  <a:lnTo>
                    <a:pt x="1464819" y="177609"/>
                  </a:lnTo>
                  <a:lnTo>
                    <a:pt x="1464869" y="177609"/>
                  </a:lnTo>
                  <a:lnTo>
                    <a:pt x="1464869" y="178295"/>
                  </a:lnTo>
                  <a:lnTo>
                    <a:pt x="1464869" y="177609"/>
                  </a:lnTo>
                  <a:lnTo>
                    <a:pt x="1464869" y="178295"/>
                  </a:lnTo>
                  <a:lnTo>
                    <a:pt x="1464920" y="178295"/>
                  </a:lnTo>
                  <a:lnTo>
                    <a:pt x="1464920" y="177609"/>
                  </a:lnTo>
                  <a:lnTo>
                    <a:pt x="1464920" y="178295"/>
                  </a:lnTo>
                  <a:lnTo>
                    <a:pt x="1465022" y="178295"/>
                  </a:lnTo>
                  <a:lnTo>
                    <a:pt x="1465022" y="179743"/>
                  </a:lnTo>
                  <a:lnTo>
                    <a:pt x="1465022" y="178295"/>
                  </a:lnTo>
                  <a:lnTo>
                    <a:pt x="1465072" y="178295"/>
                  </a:lnTo>
                  <a:lnTo>
                    <a:pt x="1465072" y="177609"/>
                  </a:lnTo>
                  <a:lnTo>
                    <a:pt x="1465072" y="178295"/>
                  </a:lnTo>
                  <a:lnTo>
                    <a:pt x="1465123" y="179743"/>
                  </a:lnTo>
                  <a:lnTo>
                    <a:pt x="1465123" y="177609"/>
                  </a:lnTo>
                  <a:lnTo>
                    <a:pt x="1465123" y="178295"/>
                  </a:lnTo>
                  <a:lnTo>
                    <a:pt x="1465123" y="177609"/>
                  </a:lnTo>
                  <a:lnTo>
                    <a:pt x="1465123" y="178295"/>
                  </a:lnTo>
                  <a:lnTo>
                    <a:pt x="1465123" y="177609"/>
                  </a:lnTo>
                  <a:lnTo>
                    <a:pt x="1465225" y="177012"/>
                  </a:lnTo>
                  <a:lnTo>
                    <a:pt x="1465225" y="177609"/>
                  </a:lnTo>
                  <a:lnTo>
                    <a:pt x="1465225" y="176263"/>
                  </a:lnTo>
                  <a:lnTo>
                    <a:pt x="1465225" y="177012"/>
                  </a:lnTo>
                  <a:lnTo>
                    <a:pt x="1465225" y="174879"/>
                  </a:lnTo>
                  <a:lnTo>
                    <a:pt x="1465263" y="174879"/>
                  </a:lnTo>
                  <a:lnTo>
                    <a:pt x="1465263" y="173533"/>
                  </a:lnTo>
                  <a:lnTo>
                    <a:pt x="1465263" y="177012"/>
                  </a:lnTo>
                  <a:lnTo>
                    <a:pt x="1465263" y="173533"/>
                  </a:lnTo>
                  <a:lnTo>
                    <a:pt x="1465314" y="173533"/>
                  </a:lnTo>
                  <a:lnTo>
                    <a:pt x="1465314" y="177609"/>
                  </a:lnTo>
                  <a:lnTo>
                    <a:pt x="1465314" y="174879"/>
                  </a:lnTo>
                  <a:lnTo>
                    <a:pt x="1465365" y="176263"/>
                  </a:lnTo>
                  <a:lnTo>
                    <a:pt x="1465365" y="174879"/>
                  </a:lnTo>
                  <a:lnTo>
                    <a:pt x="1465365" y="177609"/>
                  </a:lnTo>
                  <a:lnTo>
                    <a:pt x="1465365" y="177012"/>
                  </a:lnTo>
                  <a:lnTo>
                    <a:pt x="1465466" y="177012"/>
                  </a:lnTo>
                  <a:lnTo>
                    <a:pt x="1465466" y="178295"/>
                  </a:lnTo>
                  <a:lnTo>
                    <a:pt x="1465466" y="177609"/>
                  </a:lnTo>
                  <a:lnTo>
                    <a:pt x="1465466" y="178295"/>
                  </a:lnTo>
                  <a:lnTo>
                    <a:pt x="1465466" y="177609"/>
                  </a:lnTo>
                  <a:lnTo>
                    <a:pt x="1465466" y="178295"/>
                  </a:lnTo>
                  <a:lnTo>
                    <a:pt x="1465517" y="178295"/>
                  </a:lnTo>
                  <a:lnTo>
                    <a:pt x="1465517" y="177609"/>
                  </a:lnTo>
                  <a:lnTo>
                    <a:pt x="1465517" y="179743"/>
                  </a:lnTo>
                  <a:lnTo>
                    <a:pt x="1465517" y="178295"/>
                  </a:lnTo>
                  <a:lnTo>
                    <a:pt x="1465517" y="179743"/>
                  </a:lnTo>
                  <a:lnTo>
                    <a:pt x="1465517" y="178295"/>
                  </a:lnTo>
                  <a:lnTo>
                    <a:pt x="1465517" y="179743"/>
                  </a:lnTo>
                  <a:lnTo>
                    <a:pt x="1465568" y="179743"/>
                  </a:lnTo>
                  <a:lnTo>
                    <a:pt x="1465568" y="178295"/>
                  </a:lnTo>
                  <a:lnTo>
                    <a:pt x="1465568" y="179743"/>
                  </a:lnTo>
                  <a:lnTo>
                    <a:pt x="1465669" y="179743"/>
                  </a:lnTo>
                  <a:lnTo>
                    <a:pt x="1465669" y="178295"/>
                  </a:lnTo>
                  <a:lnTo>
                    <a:pt x="1465669" y="179743"/>
                  </a:lnTo>
                  <a:lnTo>
                    <a:pt x="1465669" y="178295"/>
                  </a:lnTo>
                  <a:lnTo>
                    <a:pt x="1465669" y="179743"/>
                  </a:lnTo>
                  <a:lnTo>
                    <a:pt x="1465669" y="178295"/>
                  </a:lnTo>
                  <a:lnTo>
                    <a:pt x="1465720" y="178295"/>
                  </a:lnTo>
                  <a:lnTo>
                    <a:pt x="1465720" y="177012"/>
                  </a:lnTo>
                  <a:lnTo>
                    <a:pt x="1465720" y="177609"/>
                  </a:lnTo>
                  <a:lnTo>
                    <a:pt x="1465720" y="176263"/>
                  </a:lnTo>
                  <a:lnTo>
                    <a:pt x="1465720" y="177012"/>
                  </a:lnTo>
                  <a:lnTo>
                    <a:pt x="1465720" y="174879"/>
                  </a:lnTo>
                  <a:lnTo>
                    <a:pt x="1465771" y="174879"/>
                  </a:lnTo>
                  <a:lnTo>
                    <a:pt x="1465771" y="177609"/>
                  </a:lnTo>
                  <a:lnTo>
                    <a:pt x="1465771" y="174879"/>
                  </a:lnTo>
                  <a:lnTo>
                    <a:pt x="1465771" y="177012"/>
                  </a:lnTo>
                  <a:lnTo>
                    <a:pt x="1465809" y="177609"/>
                  </a:lnTo>
                  <a:lnTo>
                    <a:pt x="1465809" y="177012"/>
                  </a:lnTo>
                  <a:lnTo>
                    <a:pt x="1465809" y="177609"/>
                  </a:lnTo>
                  <a:lnTo>
                    <a:pt x="1465809" y="177012"/>
                  </a:lnTo>
                  <a:lnTo>
                    <a:pt x="1465809" y="177609"/>
                  </a:lnTo>
                  <a:lnTo>
                    <a:pt x="1465911" y="177609"/>
                  </a:lnTo>
                  <a:lnTo>
                    <a:pt x="1465911" y="178295"/>
                  </a:lnTo>
                  <a:lnTo>
                    <a:pt x="1465911" y="177609"/>
                  </a:lnTo>
                  <a:lnTo>
                    <a:pt x="1465911" y="178295"/>
                  </a:lnTo>
                  <a:lnTo>
                    <a:pt x="1465911" y="177012"/>
                  </a:lnTo>
                  <a:lnTo>
                    <a:pt x="1465911" y="177609"/>
                  </a:lnTo>
                  <a:lnTo>
                    <a:pt x="1465962" y="177609"/>
                  </a:lnTo>
                  <a:lnTo>
                    <a:pt x="1465962" y="178295"/>
                  </a:lnTo>
                  <a:lnTo>
                    <a:pt x="1465962" y="177609"/>
                  </a:lnTo>
                  <a:lnTo>
                    <a:pt x="1465962" y="178295"/>
                  </a:lnTo>
                  <a:lnTo>
                    <a:pt x="1466012" y="178295"/>
                  </a:lnTo>
                  <a:lnTo>
                    <a:pt x="1466012" y="177609"/>
                  </a:lnTo>
                  <a:lnTo>
                    <a:pt x="1466012" y="178295"/>
                  </a:lnTo>
                  <a:lnTo>
                    <a:pt x="1466012" y="177609"/>
                  </a:lnTo>
                  <a:lnTo>
                    <a:pt x="1466012" y="178295"/>
                  </a:lnTo>
                  <a:lnTo>
                    <a:pt x="1466012" y="177609"/>
                  </a:lnTo>
                  <a:lnTo>
                    <a:pt x="1466114" y="177609"/>
                  </a:lnTo>
                  <a:lnTo>
                    <a:pt x="1466114" y="178295"/>
                  </a:lnTo>
                  <a:lnTo>
                    <a:pt x="1466114" y="177609"/>
                  </a:lnTo>
                  <a:lnTo>
                    <a:pt x="1466114" y="178295"/>
                  </a:lnTo>
                  <a:lnTo>
                    <a:pt x="1466114" y="177609"/>
                  </a:lnTo>
                  <a:lnTo>
                    <a:pt x="1466165" y="178295"/>
                  </a:lnTo>
                  <a:lnTo>
                    <a:pt x="1466165" y="177012"/>
                  </a:lnTo>
                  <a:lnTo>
                    <a:pt x="1466165" y="177609"/>
                  </a:lnTo>
                  <a:lnTo>
                    <a:pt x="1466215" y="177609"/>
                  </a:lnTo>
                  <a:lnTo>
                    <a:pt x="1466215" y="177012"/>
                  </a:lnTo>
                  <a:lnTo>
                    <a:pt x="1466215" y="177609"/>
                  </a:lnTo>
                  <a:lnTo>
                    <a:pt x="1466215" y="177012"/>
                  </a:lnTo>
                  <a:lnTo>
                    <a:pt x="1466215" y="178295"/>
                  </a:lnTo>
                  <a:lnTo>
                    <a:pt x="1466215" y="177609"/>
                  </a:lnTo>
                  <a:lnTo>
                    <a:pt x="1466266" y="177609"/>
                  </a:lnTo>
                  <a:lnTo>
                    <a:pt x="1466266" y="178295"/>
                  </a:lnTo>
                  <a:lnTo>
                    <a:pt x="1466266" y="177609"/>
                  </a:lnTo>
                  <a:lnTo>
                    <a:pt x="1466266" y="179743"/>
                  </a:lnTo>
                  <a:lnTo>
                    <a:pt x="1466266" y="178295"/>
                  </a:lnTo>
                  <a:lnTo>
                    <a:pt x="1466266" y="179743"/>
                  </a:lnTo>
                  <a:lnTo>
                    <a:pt x="1466355" y="178295"/>
                  </a:lnTo>
                  <a:lnTo>
                    <a:pt x="1466355" y="179743"/>
                  </a:lnTo>
                  <a:lnTo>
                    <a:pt x="1466355" y="178295"/>
                  </a:lnTo>
                  <a:lnTo>
                    <a:pt x="1466355" y="179743"/>
                  </a:lnTo>
                  <a:lnTo>
                    <a:pt x="1466355" y="178295"/>
                  </a:lnTo>
                  <a:lnTo>
                    <a:pt x="1466355" y="179743"/>
                  </a:lnTo>
                  <a:lnTo>
                    <a:pt x="1466355" y="178295"/>
                  </a:lnTo>
                  <a:lnTo>
                    <a:pt x="1466406" y="179743"/>
                  </a:lnTo>
                  <a:lnTo>
                    <a:pt x="1466406" y="178295"/>
                  </a:lnTo>
                  <a:lnTo>
                    <a:pt x="1466406" y="179743"/>
                  </a:lnTo>
                  <a:lnTo>
                    <a:pt x="1466406" y="178295"/>
                  </a:lnTo>
                  <a:lnTo>
                    <a:pt x="1466406" y="179743"/>
                  </a:lnTo>
                  <a:lnTo>
                    <a:pt x="1466406" y="178295"/>
                  </a:lnTo>
                  <a:lnTo>
                    <a:pt x="1466457" y="178295"/>
                  </a:lnTo>
                  <a:lnTo>
                    <a:pt x="1466457" y="179743"/>
                  </a:lnTo>
                  <a:lnTo>
                    <a:pt x="1466457" y="178295"/>
                  </a:lnTo>
                  <a:lnTo>
                    <a:pt x="1466457" y="179743"/>
                  </a:lnTo>
                  <a:lnTo>
                    <a:pt x="1466508" y="179743"/>
                  </a:lnTo>
                  <a:lnTo>
                    <a:pt x="1466508" y="180327"/>
                  </a:lnTo>
                  <a:lnTo>
                    <a:pt x="1466508" y="178295"/>
                  </a:lnTo>
                  <a:lnTo>
                    <a:pt x="1466508" y="179743"/>
                  </a:lnTo>
                  <a:lnTo>
                    <a:pt x="1466609" y="179743"/>
                  </a:lnTo>
                  <a:lnTo>
                    <a:pt x="1466609" y="178295"/>
                  </a:lnTo>
                  <a:lnTo>
                    <a:pt x="1466609" y="179743"/>
                  </a:lnTo>
                  <a:lnTo>
                    <a:pt x="1466660" y="179743"/>
                  </a:lnTo>
                  <a:lnTo>
                    <a:pt x="1466660" y="177012"/>
                  </a:lnTo>
                  <a:lnTo>
                    <a:pt x="1466660" y="177609"/>
                  </a:lnTo>
                  <a:lnTo>
                    <a:pt x="1466711" y="177012"/>
                  </a:lnTo>
                  <a:lnTo>
                    <a:pt x="1466711" y="176263"/>
                  </a:lnTo>
                  <a:lnTo>
                    <a:pt x="1466711" y="178295"/>
                  </a:lnTo>
                  <a:lnTo>
                    <a:pt x="1466711" y="177609"/>
                  </a:lnTo>
                  <a:lnTo>
                    <a:pt x="1466711" y="178295"/>
                  </a:lnTo>
                  <a:lnTo>
                    <a:pt x="1466711" y="177609"/>
                  </a:lnTo>
                  <a:lnTo>
                    <a:pt x="1466812" y="177609"/>
                  </a:lnTo>
                  <a:lnTo>
                    <a:pt x="1466812" y="177012"/>
                  </a:lnTo>
                  <a:lnTo>
                    <a:pt x="1466812" y="180327"/>
                  </a:lnTo>
                  <a:lnTo>
                    <a:pt x="1466812" y="179743"/>
                  </a:lnTo>
                  <a:lnTo>
                    <a:pt x="1466850" y="178295"/>
                  </a:lnTo>
                  <a:lnTo>
                    <a:pt x="1466850" y="181026"/>
                  </a:lnTo>
                  <a:lnTo>
                    <a:pt x="1466850" y="179743"/>
                  </a:lnTo>
                  <a:lnTo>
                    <a:pt x="1466850" y="180327"/>
                  </a:lnTo>
                  <a:lnTo>
                    <a:pt x="1466901" y="179743"/>
                  </a:lnTo>
                  <a:lnTo>
                    <a:pt x="1466901" y="180327"/>
                  </a:lnTo>
                  <a:lnTo>
                    <a:pt x="1466901" y="179743"/>
                  </a:lnTo>
                  <a:lnTo>
                    <a:pt x="1466901" y="180327"/>
                  </a:lnTo>
                  <a:lnTo>
                    <a:pt x="1466901" y="179743"/>
                  </a:lnTo>
                  <a:lnTo>
                    <a:pt x="1466952" y="179743"/>
                  </a:lnTo>
                  <a:lnTo>
                    <a:pt x="1466952" y="180327"/>
                  </a:lnTo>
                  <a:lnTo>
                    <a:pt x="1467054" y="181026"/>
                  </a:lnTo>
                  <a:lnTo>
                    <a:pt x="1467054" y="179743"/>
                  </a:lnTo>
                  <a:lnTo>
                    <a:pt x="1467054" y="180327"/>
                  </a:lnTo>
                  <a:lnTo>
                    <a:pt x="1467054" y="179743"/>
                  </a:lnTo>
                  <a:lnTo>
                    <a:pt x="1467054" y="180327"/>
                  </a:lnTo>
                  <a:lnTo>
                    <a:pt x="1467054" y="179743"/>
                  </a:lnTo>
                  <a:lnTo>
                    <a:pt x="1467105" y="179743"/>
                  </a:lnTo>
                  <a:lnTo>
                    <a:pt x="1467105" y="178295"/>
                  </a:lnTo>
                  <a:lnTo>
                    <a:pt x="1467105" y="179743"/>
                  </a:lnTo>
                  <a:lnTo>
                    <a:pt x="1467105" y="178295"/>
                  </a:lnTo>
                  <a:lnTo>
                    <a:pt x="1467155" y="178295"/>
                  </a:lnTo>
                  <a:lnTo>
                    <a:pt x="1467155" y="176263"/>
                  </a:lnTo>
                  <a:lnTo>
                    <a:pt x="1467257" y="176263"/>
                  </a:lnTo>
                  <a:lnTo>
                    <a:pt x="1467257" y="177609"/>
                  </a:lnTo>
                  <a:lnTo>
                    <a:pt x="1467257" y="177012"/>
                  </a:lnTo>
                  <a:lnTo>
                    <a:pt x="1467308" y="177012"/>
                  </a:lnTo>
                  <a:lnTo>
                    <a:pt x="1467308" y="179743"/>
                  </a:lnTo>
                  <a:lnTo>
                    <a:pt x="1467308" y="178295"/>
                  </a:lnTo>
                  <a:lnTo>
                    <a:pt x="1467359" y="178295"/>
                  </a:lnTo>
                  <a:lnTo>
                    <a:pt x="1467359" y="179743"/>
                  </a:lnTo>
                  <a:lnTo>
                    <a:pt x="1467359" y="178295"/>
                  </a:lnTo>
                  <a:lnTo>
                    <a:pt x="1467359" y="179743"/>
                  </a:lnTo>
                  <a:lnTo>
                    <a:pt x="1467397" y="179743"/>
                  </a:lnTo>
                  <a:lnTo>
                    <a:pt x="1467397" y="178295"/>
                  </a:lnTo>
                  <a:lnTo>
                    <a:pt x="1467397" y="179743"/>
                  </a:lnTo>
                  <a:lnTo>
                    <a:pt x="1467498" y="180327"/>
                  </a:lnTo>
                  <a:lnTo>
                    <a:pt x="1467498" y="179743"/>
                  </a:lnTo>
                  <a:lnTo>
                    <a:pt x="1467498" y="181026"/>
                  </a:lnTo>
                  <a:lnTo>
                    <a:pt x="1467498" y="180327"/>
                  </a:lnTo>
                  <a:lnTo>
                    <a:pt x="1467498" y="181026"/>
                  </a:lnTo>
                  <a:lnTo>
                    <a:pt x="1467549" y="180327"/>
                  </a:lnTo>
                  <a:lnTo>
                    <a:pt x="1467549" y="181026"/>
                  </a:lnTo>
                  <a:lnTo>
                    <a:pt x="1467549" y="180327"/>
                  </a:lnTo>
                  <a:lnTo>
                    <a:pt x="1467600" y="180327"/>
                  </a:lnTo>
                  <a:lnTo>
                    <a:pt x="1467600" y="179743"/>
                  </a:lnTo>
                  <a:lnTo>
                    <a:pt x="1467600" y="180327"/>
                  </a:lnTo>
                  <a:lnTo>
                    <a:pt x="1467600" y="178295"/>
                  </a:lnTo>
                  <a:lnTo>
                    <a:pt x="1467701" y="178295"/>
                  </a:lnTo>
                  <a:lnTo>
                    <a:pt x="1467701" y="177609"/>
                  </a:lnTo>
                  <a:lnTo>
                    <a:pt x="1467701" y="178295"/>
                  </a:lnTo>
                  <a:lnTo>
                    <a:pt x="1467701" y="177609"/>
                  </a:lnTo>
                  <a:lnTo>
                    <a:pt x="1467701" y="178295"/>
                  </a:lnTo>
                  <a:lnTo>
                    <a:pt x="1467701" y="177012"/>
                  </a:lnTo>
                  <a:lnTo>
                    <a:pt x="1467701" y="177609"/>
                  </a:lnTo>
                  <a:lnTo>
                    <a:pt x="1467701" y="177012"/>
                  </a:lnTo>
                  <a:lnTo>
                    <a:pt x="1467752" y="177609"/>
                  </a:lnTo>
                  <a:lnTo>
                    <a:pt x="1467752" y="178295"/>
                  </a:lnTo>
                  <a:lnTo>
                    <a:pt x="1467752" y="177012"/>
                  </a:lnTo>
                  <a:lnTo>
                    <a:pt x="1467752" y="179743"/>
                  </a:lnTo>
                  <a:lnTo>
                    <a:pt x="1467803" y="179743"/>
                  </a:lnTo>
                  <a:lnTo>
                    <a:pt x="1467803" y="180327"/>
                  </a:lnTo>
                  <a:lnTo>
                    <a:pt x="1467803" y="177609"/>
                  </a:lnTo>
                  <a:lnTo>
                    <a:pt x="1467803" y="180327"/>
                  </a:lnTo>
                  <a:lnTo>
                    <a:pt x="1467854" y="179743"/>
                  </a:lnTo>
                  <a:lnTo>
                    <a:pt x="1467854" y="178295"/>
                  </a:lnTo>
                  <a:lnTo>
                    <a:pt x="1467854" y="179743"/>
                  </a:lnTo>
                  <a:lnTo>
                    <a:pt x="1467854" y="178295"/>
                  </a:lnTo>
                  <a:lnTo>
                    <a:pt x="1467854" y="180327"/>
                  </a:lnTo>
                  <a:lnTo>
                    <a:pt x="1467854" y="179743"/>
                  </a:lnTo>
                  <a:lnTo>
                    <a:pt x="1467943" y="179743"/>
                  </a:lnTo>
                  <a:lnTo>
                    <a:pt x="1467943" y="180327"/>
                  </a:lnTo>
                  <a:lnTo>
                    <a:pt x="1467943" y="179743"/>
                  </a:lnTo>
                  <a:lnTo>
                    <a:pt x="1467943" y="180327"/>
                  </a:lnTo>
                  <a:lnTo>
                    <a:pt x="1467994" y="180327"/>
                  </a:lnTo>
                  <a:lnTo>
                    <a:pt x="1467994" y="181026"/>
                  </a:lnTo>
                  <a:lnTo>
                    <a:pt x="1467994" y="180327"/>
                  </a:lnTo>
                  <a:lnTo>
                    <a:pt x="1467994" y="181026"/>
                  </a:lnTo>
                  <a:lnTo>
                    <a:pt x="1468044" y="180327"/>
                  </a:lnTo>
                  <a:lnTo>
                    <a:pt x="1468044" y="179743"/>
                  </a:lnTo>
                  <a:lnTo>
                    <a:pt x="1468044" y="180327"/>
                  </a:lnTo>
                  <a:lnTo>
                    <a:pt x="1468044" y="179743"/>
                  </a:lnTo>
                  <a:lnTo>
                    <a:pt x="1468095" y="179743"/>
                  </a:lnTo>
                  <a:lnTo>
                    <a:pt x="1468095" y="178295"/>
                  </a:lnTo>
                  <a:lnTo>
                    <a:pt x="1468197" y="178295"/>
                  </a:lnTo>
                  <a:lnTo>
                    <a:pt x="1468197" y="176263"/>
                  </a:lnTo>
                  <a:lnTo>
                    <a:pt x="1468197" y="177609"/>
                  </a:lnTo>
                  <a:lnTo>
                    <a:pt x="1468247" y="177609"/>
                  </a:lnTo>
                  <a:lnTo>
                    <a:pt x="1468247" y="178295"/>
                  </a:lnTo>
                  <a:lnTo>
                    <a:pt x="1468247" y="177012"/>
                  </a:lnTo>
                  <a:lnTo>
                    <a:pt x="1468247" y="177609"/>
                  </a:lnTo>
                  <a:lnTo>
                    <a:pt x="1468247" y="177012"/>
                  </a:lnTo>
                  <a:lnTo>
                    <a:pt x="1468247" y="179743"/>
                  </a:lnTo>
                  <a:lnTo>
                    <a:pt x="1468298" y="179743"/>
                  </a:lnTo>
                  <a:lnTo>
                    <a:pt x="1468298" y="178295"/>
                  </a:lnTo>
                  <a:lnTo>
                    <a:pt x="1468298" y="179743"/>
                  </a:lnTo>
                  <a:lnTo>
                    <a:pt x="1468400" y="179743"/>
                  </a:lnTo>
                  <a:lnTo>
                    <a:pt x="1468400" y="178295"/>
                  </a:lnTo>
                  <a:lnTo>
                    <a:pt x="1468400" y="179743"/>
                  </a:lnTo>
                  <a:lnTo>
                    <a:pt x="1468400" y="178295"/>
                  </a:lnTo>
                  <a:lnTo>
                    <a:pt x="1468400" y="179743"/>
                  </a:lnTo>
                  <a:lnTo>
                    <a:pt x="1468438" y="179743"/>
                  </a:lnTo>
                  <a:lnTo>
                    <a:pt x="1468438" y="180327"/>
                  </a:lnTo>
                  <a:lnTo>
                    <a:pt x="1468489" y="180327"/>
                  </a:lnTo>
                  <a:lnTo>
                    <a:pt x="1468489" y="181026"/>
                  </a:lnTo>
                  <a:lnTo>
                    <a:pt x="1468489" y="180327"/>
                  </a:lnTo>
                  <a:lnTo>
                    <a:pt x="1468489" y="181026"/>
                  </a:lnTo>
                  <a:lnTo>
                    <a:pt x="1468489" y="180327"/>
                  </a:lnTo>
                  <a:lnTo>
                    <a:pt x="1468489" y="181026"/>
                  </a:lnTo>
                  <a:lnTo>
                    <a:pt x="1468489" y="180327"/>
                  </a:lnTo>
                  <a:lnTo>
                    <a:pt x="1468489" y="181026"/>
                  </a:lnTo>
                  <a:lnTo>
                    <a:pt x="1468540" y="181026"/>
                  </a:lnTo>
                  <a:lnTo>
                    <a:pt x="1468540" y="180327"/>
                  </a:lnTo>
                  <a:lnTo>
                    <a:pt x="1468540" y="181026"/>
                  </a:lnTo>
                  <a:lnTo>
                    <a:pt x="1468540" y="179743"/>
                  </a:lnTo>
                  <a:lnTo>
                    <a:pt x="1468641" y="179743"/>
                  </a:lnTo>
                  <a:lnTo>
                    <a:pt x="1468641" y="177609"/>
                  </a:lnTo>
                  <a:lnTo>
                    <a:pt x="1468692" y="177609"/>
                  </a:lnTo>
                  <a:lnTo>
                    <a:pt x="1468692" y="178295"/>
                  </a:lnTo>
                  <a:lnTo>
                    <a:pt x="1468692" y="177012"/>
                  </a:lnTo>
                  <a:lnTo>
                    <a:pt x="1468692" y="177609"/>
                  </a:lnTo>
                  <a:lnTo>
                    <a:pt x="1468692" y="177012"/>
                  </a:lnTo>
                  <a:lnTo>
                    <a:pt x="1468692" y="178295"/>
                  </a:lnTo>
                  <a:lnTo>
                    <a:pt x="1468743" y="178295"/>
                  </a:lnTo>
                  <a:lnTo>
                    <a:pt x="1468743" y="176263"/>
                  </a:lnTo>
                  <a:lnTo>
                    <a:pt x="1468743" y="179743"/>
                  </a:lnTo>
                  <a:lnTo>
                    <a:pt x="1468844" y="178295"/>
                  </a:lnTo>
                  <a:lnTo>
                    <a:pt x="1468844" y="177012"/>
                  </a:lnTo>
                  <a:lnTo>
                    <a:pt x="1468844" y="178295"/>
                  </a:lnTo>
                  <a:lnTo>
                    <a:pt x="1468895" y="178295"/>
                  </a:lnTo>
                  <a:lnTo>
                    <a:pt x="1468895" y="177609"/>
                  </a:lnTo>
                  <a:lnTo>
                    <a:pt x="1468895" y="178295"/>
                  </a:lnTo>
                  <a:lnTo>
                    <a:pt x="1468895" y="177609"/>
                  </a:lnTo>
                  <a:lnTo>
                    <a:pt x="1468895" y="179743"/>
                  </a:lnTo>
                  <a:lnTo>
                    <a:pt x="1468895" y="178295"/>
                  </a:lnTo>
                  <a:lnTo>
                    <a:pt x="1468946" y="178295"/>
                  </a:lnTo>
                  <a:lnTo>
                    <a:pt x="1468946" y="179743"/>
                  </a:lnTo>
                  <a:lnTo>
                    <a:pt x="1468946" y="178295"/>
                  </a:lnTo>
                  <a:lnTo>
                    <a:pt x="1468946" y="179743"/>
                  </a:lnTo>
                  <a:lnTo>
                    <a:pt x="1468984" y="180327"/>
                  </a:lnTo>
                  <a:lnTo>
                    <a:pt x="1468984" y="179743"/>
                  </a:lnTo>
                  <a:lnTo>
                    <a:pt x="1468984" y="180327"/>
                  </a:lnTo>
                  <a:lnTo>
                    <a:pt x="1468984" y="179743"/>
                  </a:lnTo>
                  <a:lnTo>
                    <a:pt x="1468984" y="180327"/>
                  </a:lnTo>
                  <a:lnTo>
                    <a:pt x="1468984" y="179743"/>
                  </a:lnTo>
                  <a:lnTo>
                    <a:pt x="1469086" y="179743"/>
                  </a:lnTo>
                  <a:lnTo>
                    <a:pt x="1469086" y="180327"/>
                  </a:lnTo>
                  <a:lnTo>
                    <a:pt x="1469086" y="179743"/>
                  </a:lnTo>
                  <a:lnTo>
                    <a:pt x="1469086" y="180327"/>
                  </a:lnTo>
                  <a:lnTo>
                    <a:pt x="1469086" y="178295"/>
                  </a:lnTo>
                  <a:lnTo>
                    <a:pt x="1469086" y="179743"/>
                  </a:lnTo>
                  <a:lnTo>
                    <a:pt x="1469137" y="179743"/>
                  </a:lnTo>
                  <a:lnTo>
                    <a:pt x="1469137" y="177609"/>
                  </a:lnTo>
                  <a:lnTo>
                    <a:pt x="1469187" y="177609"/>
                  </a:lnTo>
                  <a:lnTo>
                    <a:pt x="1469187" y="179743"/>
                  </a:lnTo>
                  <a:lnTo>
                    <a:pt x="1469187" y="177609"/>
                  </a:lnTo>
                  <a:lnTo>
                    <a:pt x="1469289" y="178295"/>
                  </a:lnTo>
                  <a:lnTo>
                    <a:pt x="1469289" y="181026"/>
                  </a:lnTo>
                  <a:lnTo>
                    <a:pt x="1469289" y="179743"/>
                  </a:lnTo>
                  <a:lnTo>
                    <a:pt x="1469289" y="180327"/>
                  </a:lnTo>
                  <a:lnTo>
                    <a:pt x="1469289" y="179743"/>
                  </a:lnTo>
                  <a:lnTo>
                    <a:pt x="1469340" y="179743"/>
                  </a:lnTo>
                  <a:lnTo>
                    <a:pt x="1469340" y="181026"/>
                  </a:lnTo>
                  <a:lnTo>
                    <a:pt x="1469340" y="179743"/>
                  </a:lnTo>
                  <a:lnTo>
                    <a:pt x="1469340" y="180327"/>
                  </a:lnTo>
                  <a:lnTo>
                    <a:pt x="1469340" y="179743"/>
                  </a:lnTo>
                  <a:lnTo>
                    <a:pt x="1469390" y="179743"/>
                  </a:lnTo>
                  <a:lnTo>
                    <a:pt x="1469390" y="180327"/>
                  </a:lnTo>
                  <a:lnTo>
                    <a:pt x="1469390" y="179743"/>
                  </a:lnTo>
                  <a:lnTo>
                    <a:pt x="1469390" y="180327"/>
                  </a:lnTo>
                  <a:lnTo>
                    <a:pt x="1469441" y="180327"/>
                  </a:lnTo>
                  <a:lnTo>
                    <a:pt x="1469441" y="181026"/>
                  </a:lnTo>
                  <a:lnTo>
                    <a:pt x="1469441" y="180327"/>
                  </a:lnTo>
                  <a:lnTo>
                    <a:pt x="1469441" y="181026"/>
                  </a:lnTo>
                  <a:lnTo>
                    <a:pt x="1469530" y="181026"/>
                  </a:lnTo>
                  <a:lnTo>
                    <a:pt x="1469530" y="180327"/>
                  </a:lnTo>
                  <a:lnTo>
                    <a:pt x="1469530" y="181026"/>
                  </a:lnTo>
                  <a:lnTo>
                    <a:pt x="1469530" y="180327"/>
                  </a:lnTo>
                  <a:lnTo>
                    <a:pt x="1469530" y="181026"/>
                  </a:lnTo>
                  <a:lnTo>
                    <a:pt x="1469530" y="180327"/>
                  </a:lnTo>
                  <a:lnTo>
                    <a:pt x="1469530" y="181026"/>
                  </a:lnTo>
                  <a:lnTo>
                    <a:pt x="1469530" y="180327"/>
                  </a:lnTo>
                  <a:lnTo>
                    <a:pt x="1469581" y="180327"/>
                  </a:lnTo>
                  <a:lnTo>
                    <a:pt x="1469581" y="181026"/>
                  </a:lnTo>
                  <a:lnTo>
                    <a:pt x="1469581" y="180327"/>
                  </a:lnTo>
                  <a:lnTo>
                    <a:pt x="1469581" y="181026"/>
                  </a:lnTo>
                  <a:lnTo>
                    <a:pt x="1469581" y="179743"/>
                  </a:lnTo>
                  <a:lnTo>
                    <a:pt x="1469632" y="179743"/>
                  </a:lnTo>
                  <a:lnTo>
                    <a:pt x="1469632" y="178295"/>
                  </a:lnTo>
                  <a:lnTo>
                    <a:pt x="1469632" y="179743"/>
                  </a:lnTo>
                  <a:lnTo>
                    <a:pt x="1469632" y="178295"/>
                  </a:lnTo>
                  <a:lnTo>
                    <a:pt x="1469632" y="181026"/>
                  </a:lnTo>
                  <a:lnTo>
                    <a:pt x="1469683" y="181026"/>
                  </a:lnTo>
                  <a:lnTo>
                    <a:pt x="1469683" y="179743"/>
                  </a:lnTo>
                  <a:lnTo>
                    <a:pt x="1469683" y="183807"/>
                  </a:lnTo>
                  <a:lnTo>
                    <a:pt x="1469683" y="182461"/>
                  </a:lnTo>
                  <a:lnTo>
                    <a:pt x="1469784" y="182461"/>
                  </a:lnTo>
                  <a:lnTo>
                    <a:pt x="1469784" y="181026"/>
                  </a:lnTo>
                  <a:lnTo>
                    <a:pt x="1469784" y="182461"/>
                  </a:lnTo>
                  <a:lnTo>
                    <a:pt x="1469835" y="182461"/>
                  </a:lnTo>
                  <a:lnTo>
                    <a:pt x="1469835" y="181026"/>
                  </a:lnTo>
                  <a:lnTo>
                    <a:pt x="1469835" y="182461"/>
                  </a:lnTo>
                  <a:lnTo>
                    <a:pt x="1469835" y="181775"/>
                  </a:lnTo>
                  <a:lnTo>
                    <a:pt x="1469835" y="182461"/>
                  </a:lnTo>
                  <a:lnTo>
                    <a:pt x="1469835" y="181775"/>
                  </a:lnTo>
                  <a:lnTo>
                    <a:pt x="1469886" y="181775"/>
                  </a:lnTo>
                  <a:lnTo>
                    <a:pt x="1469886" y="181026"/>
                  </a:lnTo>
                  <a:lnTo>
                    <a:pt x="1469886" y="182461"/>
                  </a:lnTo>
                  <a:lnTo>
                    <a:pt x="1469886" y="181775"/>
                  </a:lnTo>
                  <a:lnTo>
                    <a:pt x="1469886" y="182461"/>
                  </a:lnTo>
                  <a:lnTo>
                    <a:pt x="1469886" y="181775"/>
                  </a:lnTo>
                  <a:lnTo>
                    <a:pt x="1469987" y="181775"/>
                  </a:lnTo>
                  <a:lnTo>
                    <a:pt x="1469987" y="181026"/>
                  </a:lnTo>
                  <a:lnTo>
                    <a:pt x="1469987" y="181775"/>
                  </a:lnTo>
                  <a:lnTo>
                    <a:pt x="1470025" y="181026"/>
                  </a:lnTo>
                  <a:lnTo>
                    <a:pt x="1470025" y="180327"/>
                  </a:lnTo>
                  <a:lnTo>
                    <a:pt x="1470076" y="179743"/>
                  </a:lnTo>
                  <a:lnTo>
                    <a:pt x="1470076" y="178295"/>
                  </a:lnTo>
                  <a:lnTo>
                    <a:pt x="1470127" y="178295"/>
                  </a:lnTo>
                  <a:lnTo>
                    <a:pt x="1470127" y="177609"/>
                  </a:lnTo>
                  <a:lnTo>
                    <a:pt x="1470127" y="179743"/>
                  </a:lnTo>
                  <a:lnTo>
                    <a:pt x="1470229" y="179743"/>
                  </a:lnTo>
                  <a:lnTo>
                    <a:pt x="1470229" y="177609"/>
                  </a:lnTo>
                  <a:lnTo>
                    <a:pt x="1470229" y="181026"/>
                  </a:lnTo>
                  <a:lnTo>
                    <a:pt x="1470229" y="180327"/>
                  </a:lnTo>
                  <a:lnTo>
                    <a:pt x="1470280" y="180327"/>
                  </a:lnTo>
                  <a:lnTo>
                    <a:pt x="1470280" y="179743"/>
                  </a:lnTo>
                  <a:lnTo>
                    <a:pt x="1470280" y="181026"/>
                  </a:lnTo>
                  <a:lnTo>
                    <a:pt x="1470280" y="180327"/>
                  </a:lnTo>
                  <a:lnTo>
                    <a:pt x="1470280" y="181026"/>
                  </a:lnTo>
                  <a:lnTo>
                    <a:pt x="1470280" y="180327"/>
                  </a:lnTo>
                  <a:lnTo>
                    <a:pt x="1470330" y="180327"/>
                  </a:lnTo>
                  <a:lnTo>
                    <a:pt x="1470330" y="181775"/>
                  </a:lnTo>
                  <a:lnTo>
                    <a:pt x="1470330" y="181026"/>
                  </a:lnTo>
                  <a:lnTo>
                    <a:pt x="1470432" y="181026"/>
                  </a:lnTo>
                  <a:lnTo>
                    <a:pt x="1470432" y="181775"/>
                  </a:lnTo>
                  <a:lnTo>
                    <a:pt x="1470432" y="181026"/>
                  </a:lnTo>
                  <a:lnTo>
                    <a:pt x="1470432" y="181775"/>
                  </a:lnTo>
                  <a:lnTo>
                    <a:pt x="1470432" y="181026"/>
                  </a:lnTo>
                  <a:lnTo>
                    <a:pt x="1470432" y="181775"/>
                  </a:lnTo>
                  <a:lnTo>
                    <a:pt x="1470483" y="181775"/>
                  </a:lnTo>
                  <a:lnTo>
                    <a:pt x="1470483" y="181026"/>
                  </a:lnTo>
                  <a:lnTo>
                    <a:pt x="1470483" y="181775"/>
                  </a:lnTo>
                  <a:lnTo>
                    <a:pt x="1470534" y="181026"/>
                  </a:lnTo>
                  <a:lnTo>
                    <a:pt x="1470534" y="181775"/>
                  </a:lnTo>
                  <a:lnTo>
                    <a:pt x="1470534" y="179743"/>
                  </a:lnTo>
                  <a:lnTo>
                    <a:pt x="1470534" y="180327"/>
                  </a:lnTo>
                  <a:lnTo>
                    <a:pt x="1470534" y="179743"/>
                  </a:lnTo>
                  <a:lnTo>
                    <a:pt x="1470572" y="180327"/>
                  </a:lnTo>
                  <a:lnTo>
                    <a:pt x="1470572" y="179743"/>
                  </a:lnTo>
                  <a:lnTo>
                    <a:pt x="1470572" y="180327"/>
                  </a:lnTo>
                  <a:lnTo>
                    <a:pt x="1470572" y="178295"/>
                  </a:lnTo>
                  <a:lnTo>
                    <a:pt x="1470572" y="179743"/>
                  </a:lnTo>
                  <a:lnTo>
                    <a:pt x="1470572" y="178295"/>
                  </a:lnTo>
                  <a:lnTo>
                    <a:pt x="1470673" y="178295"/>
                  </a:lnTo>
                  <a:lnTo>
                    <a:pt x="1470673" y="180327"/>
                  </a:lnTo>
                  <a:lnTo>
                    <a:pt x="1470673" y="177609"/>
                  </a:lnTo>
                  <a:lnTo>
                    <a:pt x="1470724" y="178295"/>
                  </a:lnTo>
                  <a:lnTo>
                    <a:pt x="1470724" y="181026"/>
                  </a:lnTo>
                  <a:lnTo>
                    <a:pt x="1470724" y="179743"/>
                  </a:lnTo>
                  <a:lnTo>
                    <a:pt x="1470724" y="180327"/>
                  </a:lnTo>
                  <a:lnTo>
                    <a:pt x="1470775" y="180327"/>
                  </a:lnTo>
                  <a:lnTo>
                    <a:pt x="1470775" y="181026"/>
                  </a:lnTo>
                  <a:lnTo>
                    <a:pt x="1470775" y="179743"/>
                  </a:lnTo>
                  <a:lnTo>
                    <a:pt x="1470775" y="180327"/>
                  </a:lnTo>
                  <a:lnTo>
                    <a:pt x="1470775" y="179743"/>
                  </a:lnTo>
                  <a:lnTo>
                    <a:pt x="1470876" y="180327"/>
                  </a:lnTo>
                  <a:lnTo>
                    <a:pt x="1470876" y="181026"/>
                  </a:lnTo>
                  <a:lnTo>
                    <a:pt x="1470876" y="180327"/>
                  </a:lnTo>
                  <a:lnTo>
                    <a:pt x="1470876" y="181026"/>
                  </a:lnTo>
                  <a:lnTo>
                    <a:pt x="1470927" y="181775"/>
                  </a:lnTo>
                  <a:lnTo>
                    <a:pt x="1470927" y="181026"/>
                  </a:lnTo>
                  <a:lnTo>
                    <a:pt x="1470927" y="181775"/>
                  </a:lnTo>
                  <a:lnTo>
                    <a:pt x="1470927" y="181026"/>
                  </a:lnTo>
                  <a:lnTo>
                    <a:pt x="1470927" y="181775"/>
                  </a:lnTo>
                  <a:lnTo>
                    <a:pt x="1470978" y="181775"/>
                  </a:lnTo>
                  <a:lnTo>
                    <a:pt x="1470978" y="181026"/>
                  </a:lnTo>
                  <a:lnTo>
                    <a:pt x="1470978" y="181775"/>
                  </a:lnTo>
                  <a:lnTo>
                    <a:pt x="1470978" y="181026"/>
                  </a:lnTo>
                  <a:lnTo>
                    <a:pt x="1471029" y="181026"/>
                  </a:lnTo>
                  <a:lnTo>
                    <a:pt x="1471029" y="180327"/>
                  </a:lnTo>
                  <a:lnTo>
                    <a:pt x="1471029" y="181026"/>
                  </a:lnTo>
                  <a:lnTo>
                    <a:pt x="1471029" y="179743"/>
                  </a:lnTo>
                  <a:lnTo>
                    <a:pt x="1471029" y="180327"/>
                  </a:lnTo>
                  <a:lnTo>
                    <a:pt x="1471029" y="179743"/>
                  </a:lnTo>
                  <a:lnTo>
                    <a:pt x="1471118" y="179743"/>
                  </a:lnTo>
                  <a:lnTo>
                    <a:pt x="1471118" y="178295"/>
                  </a:lnTo>
                  <a:lnTo>
                    <a:pt x="1471118" y="179743"/>
                  </a:lnTo>
                  <a:lnTo>
                    <a:pt x="1471118" y="177012"/>
                  </a:lnTo>
                  <a:lnTo>
                    <a:pt x="1471169" y="177012"/>
                  </a:lnTo>
                  <a:lnTo>
                    <a:pt x="1471169" y="179743"/>
                  </a:lnTo>
                  <a:lnTo>
                    <a:pt x="1471169" y="177012"/>
                  </a:lnTo>
                  <a:lnTo>
                    <a:pt x="1471219" y="177609"/>
                  </a:lnTo>
                  <a:lnTo>
                    <a:pt x="1471219" y="180327"/>
                  </a:lnTo>
                  <a:lnTo>
                    <a:pt x="1471219" y="178295"/>
                  </a:lnTo>
                  <a:lnTo>
                    <a:pt x="1471219" y="179743"/>
                  </a:lnTo>
                  <a:lnTo>
                    <a:pt x="1471270" y="179743"/>
                  </a:lnTo>
                  <a:lnTo>
                    <a:pt x="1471270" y="180327"/>
                  </a:lnTo>
                  <a:lnTo>
                    <a:pt x="1471270" y="179743"/>
                  </a:lnTo>
                  <a:lnTo>
                    <a:pt x="1471270" y="180327"/>
                  </a:lnTo>
                  <a:lnTo>
                    <a:pt x="1471270" y="179743"/>
                  </a:lnTo>
                  <a:lnTo>
                    <a:pt x="1471270" y="180327"/>
                  </a:lnTo>
                  <a:lnTo>
                    <a:pt x="1471372" y="180327"/>
                  </a:lnTo>
                  <a:lnTo>
                    <a:pt x="1471372" y="179743"/>
                  </a:lnTo>
                  <a:lnTo>
                    <a:pt x="1471372" y="180327"/>
                  </a:lnTo>
                  <a:lnTo>
                    <a:pt x="1471372" y="179743"/>
                  </a:lnTo>
                  <a:lnTo>
                    <a:pt x="1471372" y="181026"/>
                  </a:lnTo>
                  <a:lnTo>
                    <a:pt x="1471372" y="180327"/>
                  </a:lnTo>
                  <a:lnTo>
                    <a:pt x="1471422" y="181026"/>
                  </a:lnTo>
                  <a:lnTo>
                    <a:pt x="1471422" y="180327"/>
                  </a:lnTo>
                  <a:lnTo>
                    <a:pt x="1471422" y="181026"/>
                  </a:lnTo>
                  <a:lnTo>
                    <a:pt x="1471422" y="180327"/>
                  </a:lnTo>
                  <a:lnTo>
                    <a:pt x="1471422" y="181775"/>
                  </a:lnTo>
                  <a:lnTo>
                    <a:pt x="1471473" y="181775"/>
                  </a:lnTo>
                  <a:lnTo>
                    <a:pt x="1471473" y="180327"/>
                  </a:lnTo>
                  <a:lnTo>
                    <a:pt x="1471473" y="181026"/>
                  </a:lnTo>
                  <a:lnTo>
                    <a:pt x="1471473" y="180327"/>
                  </a:lnTo>
                  <a:lnTo>
                    <a:pt x="1471473" y="181026"/>
                  </a:lnTo>
                  <a:lnTo>
                    <a:pt x="1471575" y="181026"/>
                  </a:lnTo>
                  <a:lnTo>
                    <a:pt x="1471575" y="181775"/>
                  </a:lnTo>
                  <a:lnTo>
                    <a:pt x="1471575" y="180327"/>
                  </a:lnTo>
                  <a:lnTo>
                    <a:pt x="1471575" y="181026"/>
                  </a:lnTo>
                  <a:lnTo>
                    <a:pt x="1471575" y="179743"/>
                  </a:lnTo>
                  <a:lnTo>
                    <a:pt x="1471575" y="180327"/>
                  </a:lnTo>
                  <a:lnTo>
                    <a:pt x="1471613" y="180327"/>
                  </a:lnTo>
                  <a:lnTo>
                    <a:pt x="1471613" y="177609"/>
                  </a:lnTo>
                  <a:lnTo>
                    <a:pt x="1471664" y="178295"/>
                  </a:lnTo>
                  <a:lnTo>
                    <a:pt x="1471664" y="179743"/>
                  </a:lnTo>
                  <a:lnTo>
                    <a:pt x="1471664" y="177012"/>
                  </a:lnTo>
                  <a:lnTo>
                    <a:pt x="1471664" y="180327"/>
                  </a:lnTo>
                  <a:lnTo>
                    <a:pt x="1471715" y="180327"/>
                  </a:lnTo>
                  <a:lnTo>
                    <a:pt x="1471715" y="179743"/>
                  </a:lnTo>
                  <a:lnTo>
                    <a:pt x="1471715" y="180327"/>
                  </a:lnTo>
                  <a:lnTo>
                    <a:pt x="1471715" y="177609"/>
                  </a:lnTo>
                  <a:lnTo>
                    <a:pt x="1471715" y="178295"/>
                  </a:lnTo>
                  <a:lnTo>
                    <a:pt x="1471715" y="177609"/>
                  </a:lnTo>
                  <a:lnTo>
                    <a:pt x="1471715" y="179743"/>
                  </a:lnTo>
                  <a:lnTo>
                    <a:pt x="1471816" y="180327"/>
                  </a:lnTo>
                  <a:lnTo>
                    <a:pt x="1471816" y="179743"/>
                  </a:lnTo>
                  <a:lnTo>
                    <a:pt x="1471816" y="180327"/>
                  </a:lnTo>
                  <a:lnTo>
                    <a:pt x="1471816" y="178295"/>
                  </a:lnTo>
                  <a:lnTo>
                    <a:pt x="1471816" y="179743"/>
                  </a:lnTo>
                  <a:lnTo>
                    <a:pt x="1471867" y="179743"/>
                  </a:lnTo>
                  <a:lnTo>
                    <a:pt x="1471867" y="178295"/>
                  </a:lnTo>
                  <a:lnTo>
                    <a:pt x="1471867" y="180327"/>
                  </a:lnTo>
                  <a:lnTo>
                    <a:pt x="1471918" y="180327"/>
                  </a:lnTo>
                  <a:lnTo>
                    <a:pt x="1471918" y="179743"/>
                  </a:lnTo>
                  <a:lnTo>
                    <a:pt x="1471918" y="181026"/>
                  </a:lnTo>
                  <a:lnTo>
                    <a:pt x="1471918" y="180327"/>
                  </a:lnTo>
                  <a:lnTo>
                    <a:pt x="1472019" y="180327"/>
                  </a:lnTo>
                  <a:lnTo>
                    <a:pt x="1472019" y="179743"/>
                  </a:lnTo>
                  <a:lnTo>
                    <a:pt x="1472019" y="180327"/>
                  </a:lnTo>
                  <a:lnTo>
                    <a:pt x="1472019" y="179743"/>
                  </a:lnTo>
                  <a:lnTo>
                    <a:pt x="1472019" y="180327"/>
                  </a:lnTo>
                  <a:lnTo>
                    <a:pt x="1472019" y="179743"/>
                  </a:lnTo>
                  <a:lnTo>
                    <a:pt x="1472019" y="180327"/>
                  </a:lnTo>
                  <a:lnTo>
                    <a:pt x="1472070" y="180327"/>
                  </a:lnTo>
                  <a:lnTo>
                    <a:pt x="1472070" y="178295"/>
                  </a:lnTo>
                  <a:lnTo>
                    <a:pt x="1472070" y="179743"/>
                  </a:lnTo>
                  <a:lnTo>
                    <a:pt x="1472070" y="178295"/>
                  </a:lnTo>
                  <a:lnTo>
                    <a:pt x="1472070" y="179743"/>
                  </a:lnTo>
                  <a:lnTo>
                    <a:pt x="1472121" y="179743"/>
                  </a:lnTo>
                  <a:lnTo>
                    <a:pt x="1472121" y="177609"/>
                  </a:lnTo>
                  <a:lnTo>
                    <a:pt x="1472121" y="179743"/>
                  </a:lnTo>
                  <a:lnTo>
                    <a:pt x="1472159" y="179743"/>
                  </a:lnTo>
                  <a:lnTo>
                    <a:pt x="1472159" y="177609"/>
                  </a:lnTo>
                  <a:lnTo>
                    <a:pt x="1472159" y="181775"/>
                  </a:lnTo>
                  <a:lnTo>
                    <a:pt x="1472159" y="179743"/>
                  </a:lnTo>
                  <a:lnTo>
                    <a:pt x="1472261" y="179743"/>
                  </a:lnTo>
                  <a:lnTo>
                    <a:pt x="1472261" y="180327"/>
                  </a:lnTo>
                  <a:lnTo>
                    <a:pt x="1472261" y="179743"/>
                  </a:lnTo>
                  <a:lnTo>
                    <a:pt x="1472261" y="181775"/>
                  </a:lnTo>
                  <a:lnTo>
                    <a:pt x="1472261" y="180327"/>
                  </a:lnTo>
                  <a:lnTo>
                    <a:pt x="1472261" y="181026"/>
                  </a:lnTo>
                  <a:lnTo>
                    <a:pt x="1472312" y="181026"/>
                  </a:lnTo>
                  <a:lnTo>
                    <a:pt x="1472312" y="180327"/>
                  </a:lnTo>
                  <a:lnTo>
                    <a:pt x="1472312" y="181026"/>
                  </a:lnTo>
                  <a:lnTo>
                    <a:pt x="1472312" y="180327"/>
                  </a:lnTo>
                  <a:lnTo>
                    <a:pt x="1472312" y="181026"/>
                  </a:lnTo>
                  <a:lnTo>
                    <a:pt x="1472362" y="180327"/>
                  </a:lnTo>
                  <a:lnTo>
                    <a:pt x="1472362" y="181026"/>
                  </a:lnTo>
                  <a:lnTo>
                    <a:pt x="1472362" y="180327"/>
                  </a:lnTo>
                  <a:lnTo>
                    <a:pt x="1472362" y="181026"/>
                  </a:lnTo>
                  <a:lnTo>
                    <a:pt x="1472464" y="181026"/>
                  </a:lnTo>
                  <a:lnTo>
                    <a:pt x="1472464" y="180327"/>
                  </a:lnTo>
                  <a:lnTo>
                    <a:pt x="1472464" y="181026"/>
                  </a:lnTo>
                  <a:lnTo>
                    <a:pt x="1472464" y="180327"/>
                  </a:lnTo>
                  <a:lnTo>
                    <a:pt x="1472464" y="181026"/>
                  </a:lnTo>
                  <a:lnTo>
                    <a:pt x="1472464" y="180327"/>
                  </a:lnTo>
                  <a:lnTo>
                    <a:pt x="1472515" y="180327"/>
                  </a:lnTo>
                  <a:lnTo>
                    <a:pt x="1472565" y="179743"/>
                  </a:lnTo>
                  <a:lnTo>
                    <a:pt x="1472565" y="180327"/>
                  </a:lnTo>
                  <a:lnTo>
                    <a:pt x="1472565" y="179743"/>
                  </a:lnTo>
                  <a:lnTo>
                    <a:pt x="1472565" y="180327"/>
                  </a:lnTo>
                  <a:lnTo>
                    <a:pt x="1472565" y="179743"/>
                  </a:lnTo>
                  <a:lnTo>
                    <a:pt x="1472565" y="180327"/>
                  </a:lnTo>
                  <a:lnTo>
                    <a:pt x="1472565" y="177609"/>
                  </a:lnTo>
                  <a:lnTo>
                    <a:pt x="1472616" y="177609"/>
                  </a:lnTo>
                  <a:lnTo>
                    <a:pt x="1472616" y="178295"/>
                  </a:lnTo>
                  <a:lnTo>
                    <a:pt x="1472616" y="177609"/>
                  </a:lnTo>
                  <a:lnTo>
                    <a:pt x="1472616" y="181026"/>
                  </a:lnTo>
                  <a:lnTo>
                    <a:pt x="1472616" y="179743"/>
                  </a:lnTo>
                  <a:lnTo>
                    <a:pt x="1472705" y="178295"/>
                  </a:lnTo>
                  <a:lnTo>
                    <a:pt x="1472705" y="181775"/>
                  </a:lnTo>
                  <a:lnTo>
                    <a:pt x="1472705" y="179743"/>
                  </a:lnTo>
                  <a:lnTo>
                    <a:pt x="1472756" y="179743"/>
                  </a:lnTo>
                  <a:lnTo>
                    <a:pt x="1472756" y="181775"/>
                  </a:lnTo>
                  <a:lnTo>
                    <a:pt x="1472756" y="180327"/>
                  </a:lnTo>
                  <a:lnTo>
                    <a:pt x="1472756" y="181026"/>
                  </a:lnTo>
                  <a:lnTo>
                    <a:pt x="1472756" y="180327"/>
                  </a:lnTo>
                  <a:lnTo>
                    <a:pt x="1472807" y="180327"/>
                  </a:lnTo>
                  <a:lnTo>
                    <a:pt x="1472807" y="181026"/>
                  </a:lnTo>
                  <a:lnTo>
                    <a:pt x="1472807" y="180327"/>
                  </a:lnTo>
                  <a:lnTo>
                    <a:pt x="1472807" y="181026"/>
                  </a:lnTo>
                  <a:lnTo>
                    <a:pt x="1472858" y="181026"/>
                  </a:lnTo>
                  <a:lnTo>
                    <a:pt x="1472858" y="181775"/>
                  </a:lnTo>
                  <a:lnTo>
                    <a:pt x="1472858" y="181026"/>
                  </a:lnTo>
                  <a:lnTo>
                    <a:pt x="1472858" y="181775"/>
                  </a:lnTo>
                  <a:lnTo>
                    <a:pt x="1472858" y="181026"/>
                  </a:lnTo>
                  <a:lnTo>
                    <a:pt x="1472959" y="181026"/>
                  </a:lnTo>
                  <a:lnTo>
                    <a:pt x="1472959" y="180327"/>
                  </a:lnTo>
                  <a:lnTo>
                    <a:pt x="1473010" y="180327"/>
                  </a:lnTo>
                  <a:lnTo>
                    <a:pt x="1473010" y="179743"/>
                  </a:lnTo>
                  <a:lnTo>
                    <a:pt x="1473010" y="180327"/>
                  </a:lnTo>
                  <a:lnTo>
                    <a:pt x="1473010" y="179743"/>
                  </a:lnTo>
                  <a:lnTo>
                    <a:pt x="1473061" y="179743"/>
                  </a:lnTo>
                  <a:lnTo>
                    <a:pt x="1473061" y="177609"/>
                  </a:lnTo>
                  <a:lnTo>
                    <a:pt x="1473061" y="178295"/>
                  </a:lnTo>
                  <a:lnTo>
                    <a:pt x="1473061" y="177012"/>
                  </a:lnTo>
                  <a:lnTo>
                    <a:pt x="1473162" y="177012"/>
                  </a:lnTo>
                  <a:lnTo>
                    <a:pt x="1473162" y="179743"/>
                  </a:lnTo>
                  <a:lnTo>
                    <a:pt x="1473162" y="177012"/>
                  </a:lnTo>
                  <a:lnTo>
                    <a:pt x="1473162" y="178295"/>
                  </a:lnTo>
                  <a:lnTo>
                    <a:pt x="1473200" y="179743"/>
                  </a:lnTo>
                  <a:lnTo>
                    <a:pt x="1473200" y="180327"/>
                  </a:lnTo>
                  <a:lnTo>
                    <a:pt x="1473200" y="178295"/>
                  </a:lnTo>
                  <a:lnTo>
                    <a:pt x="1473200" y="179743"/>
                  </a:lnTo>
                  <a:lnTo>
                    <a:pt x="1473251" y="179743"/>
                  </a:lnTo>
                  <a:lnTo>
                    <a:pt x="1473251" y="181026"/>
                  </a:lnTo>
                  <a:lnTo>
                    <a:pt x="1473251" y="180327"/>
                  </a:lnTo>
                  <a:lnTo>
                    <a:pt x="1473251" y="181026"/>
                  </a:lnTo>
                  <a:lnTo>
                    <a:pt x="1473302" y="181026"/>
                  </a:lnTo>
                  <a:lnTo>
                    <a:pt x="1473302" y="181775"/>
                  </a:lnTo>
                  <a:lnTo>
                    <a:pt x="1473302" y="180327"/>
                  </a:lnTo>
                  <a:lnTo>
                    <a:pt x="1473302" y="181775"/>
                  </a:lnTo>
                  <a:lnTo>
                    <a:pt x="1473302" y="181026"/>
                  </a:lnTo>
                  <a:lnTo>
                    <a:pt x="1473404" y="181026"/>
                  </a:lnTo>
                  <a:lnTo>
                    <a:pt x="1473404" y="181775"/>
                  </a:lnTo>
                  <a:lnTo>
                    <a:pt x="1473404" y="181026"/>
                  </a:lnTo>
                  <a:lnTo>
                    <a:pt x="1473404" y="181775"/>
                  </a:lnTo>
                  <a:lnTo>
                    <a:pt x="1473404" y="181026"/>
                  </a:lnTo>
                  <a:lnTo>
                    <a:pt x="1473404" y="181775"/>
                  </a:lnTo>
                  <a:lnTo>
                    <a:pt x="1473404" y="181026"/>
                  </a:lnTo>
                  <a:lnTo>
                    <a:pt x="1473455" y="181026"/>
                  </a:lnTo>
                  <a:lnTo>
                    <a:pt x="1473455" y="180327"/>
                  </a:lnTo>
                  <a:lnTo>
                    <a:pt x="1473455" y="181026"/>
                  </a:lnTo>
                  <a:lnTo>
                    <a:pt x="1473455" y="180327"/>
                  </a:lnTo>
                  <a:lnTo>
                    <a:pt x="1473505" y="180327"/>
                  </a:lnTo>
                  <a:lnTo>
                    <a:pt x="1473505" y="181026"/>
                  </a:lnTo>
                  <a:lnTo>
                    <a:pt x="1473505" y="179743"/>
                  </a:lnTo>
                  <a:lnTo>
                    <a:pt x="1473505" y="180327"/>
                  </a:lnTo>
                  <a:lnTo>
                    <a:pt x="1473505" y="179743"/>
                  </a:lnTo>
                  <a:lnTo>
                    <a:pt x="1473607" y="179743"/>
                  </a:lnTo>
                  <a:lnTo>
                    <a:pt x="1473607" y="178295"/>
                  </a:lnTo>
                  <a:lnTo>
                    <a:pt x="1473607" y="179743"/>
                  </a:lnTo>
                  <a:lnTo>
                    <a:pt x="1473607" y="177609"/>
                  </a:lnTo>
                  <a:lnTo>
                    <a:pt x="1473607" y="178295"/>
                  </a:lnTo>
                  <a:lnTo>
                    <a:pt x="1473658" y="179743"/>
                  </a:lnTo>
                  <a:lnTo>
                    <a:pt x="1473658" y="177609"/>
                  </a:lnTo>
                  <a:lnTo>
                    <a:pt x="1473658" y="181026"/>
                  </a:lnTo>
                  <a:lnTo>
                    <a:pt x="1473709" y="180327"/>
                  </a:lnTo>
                  <a:lnTo>
                    <a:pt x="1473709" y="179743"/>
                  </a:lnTo>
                  <a:lnTo>
                    <a:pt x="1473709" y="180327"/>
                  </a:lnTo>
                  <a:lnTo>
                    <a:pt x="1473709" y="178295"/>
                  </a:lnTo>
                  <a:lnTo>
                    <a:pt x="1473709" y="180327"/>
                  </a:lnTo>
                  <a:lnTo>
                    <a:pt x="1473747" y="180327"/>
                  </a:lnTo>
                  <a:lnTo>
                    <a:pt x="1473747" y="179743"/>
                  </a:lnTo>
                  <a:lnTo>
                    <a:pt x="1473747" y="181026"/>
                  </a:lnTo>
                  <a:lnTo>
                    <a:pt x="1473848" y="181026"/>
                  </a:lnTo>
                  <a:lnTo>
                    <a:pt x="1473848" y="180327"/>
                  </a:lnTo>
                  <a:lnTo>
                    <a:pt x="1473848" y="181026"/>
                  </a:lnTo>
                  <a:lnTo>
                    <a:pt x="1473848" y="180327"/>
                  </a:lnTo>
                  <a:lnTo>
                    <a:pt x="1473899" y="181026"/>
                  </a:lnTo>
                  <a:lnTo>
                    <a:pt x="1473899" y="181775"/>
                  </a:lnTo>
                  <a:lnTo>
                    <a:pt x="1473899" y="181026"/>
                  </a:lnTo>
                  <a:lnTo>
                    <a:pt x="1473899" y="181775"/>
                  </a:lnTo>
                  <a:lnTo>
                    <a:pt x="1473899" y="181026"/>
                  </a:lnTo>
                  <a:lnTo>
                    <a:pt x="1473950" y="181026"/>
                  </a:lnTo>
                  <a:lnTo>
                    <a:pt x="1473950" y="180327"/>
                  </a:lnTo>
                  <a:lnTo>
                    <a:pt x="1473950" y="181026"/>
                  </a:lnTo>
                  <a:lnTo>
                    <a:pt x="1473950" y="180327"/>
                  </a:lnTo>
                  <a:lnTo>
                    <a:pt x="1473950" y="181026"/>
                  </a:lnTo>
                  <a:lnTo>
                    <a:pt x="1473950" y="180327"/>
                  </a:lnTo>
                  <a:lnTo>
                    <a:pt x="1473950" y="181026"/>
                  </a:lnTo>
                  <a:lnTo>
                    <a:pt x="1474051" y="181026"/>
                  </a:lnTo>
                  <a:lnTo>
                    <a:pt x="1474051" y="178295"/>
                  </a:lnTo>
                  <a:lnTo>
                    <a:pt x="1474102" y="178295"/>
                  </a:lnTo>
                  <a:lnTo>
                    <a:pt x="1474102" y="177609"/>
                  </a:lnTo>
                  <a:lnTo>
                    <a:pt x="1474102" y="179743"/>
                  </a:lnTo>
                  <a:lnTo>
                    <a:pt x="1474153" y="179743"/>
                  </a:lnTo>
                  <a:lnTo>
                    <a:pt x="1474153" y="178295"/>
                  </a:lnTo>
                  <a:lnTo>
                    <a:pt x="1474153" y="180327"/>
                  </a:lnTo>
                  <a:lnTo>
                    <a:pt x="1474204" y="179743"/>
                  </a:lnTo>
                  <a:lnTo>
                    <a:pt x="1474204" y="178295"/>
                  </a:lnTo>
                  <a:lnTo>
                    <a:pt x="1474204" y="181026"/>
                  </a:lnTo>
                  <a:lnTo>
                    <a:pt x="1474204" y="180327"/>
                  </a:lnTo>
                  <a:lnTo>
                    <a:pt x="1474293" y="181026"/>
                  </a:lnTo>
                  <a:lnTo>
                    <a:pt x="1474293" y="180327"/>
                  </a:lnTo>
                  <a:lnTo>
                    <a:pt x="1474293" y="181775"/>
                  </a:lnTo>
                  <a:lnTo>
                    <a:pt x="1474293" y="180327"/>
                  </a:lnTo>
                  <a:lnTo>
                    <a:pt x="1474344" y="181026"/>
                  </a:lnTo>
                  <a:lnTo>
                    <a:pt x="1474344" y="180327"/>
                  </a:lnTo>
                  <a:lnTo>
                    <a:pt x="1474344" y="181026"/>
                  </a:lnTo>
                  <a:lnTo>
                    <a:pt x="1474394" y="181026"/>
                  </a:lnTo>
                  <a:lnTo>
                    <a:pt x="1474394" y="181775"/>
                  </a:lnTo>
                  <a:lnTo>
                    <a:pt x="1474394" y="180327"/>
                  </a:lnTo>
                  <a:lnTo>
                    <a:pt x="1474445" y="181026"/>
                  </a:lnTo>
                  <a:lnTo>
                    <a:pt x="1474445" y="180327"/>
                  </a:lnTo>
                  <a:lnTo>
                    <a:pt x="1474445" y="181026"/>
                  </a:lnTo>
                  <a:lnTo>
                    <a:pt x="1474445" y="180327"/>
                  </a:lnTo>
                  <a:lnTo>
                    <a:pt x="1474445" y="181026"/>
                  </a:lnTo>
                  <a:lnTo>
                    <a:pt x="1474445" y="180327"/>
                  </a:lnTo>
                  <a:lnTo>
                    <a:pt x="1474547" y="180327"/>
                  </a:lnTo>
                  <a:lnTo>
                    <a:pt x="1474547" y="179743"/>
                  </a:lnTo>
                  <a:lnTo>
                    <a:pt x="1474547" y="180327"/>
                  </a:lnTo>
                  <a:lnTo>
                    <a:pt x="1474547" y="179743"/>
                  </a:lnTo>
                  <a:lnTo>
                    <a:pt x="1474547" y="180327"/>
                  </a:lnTo>
                  <a:lnTo>
                    <a:pt x="1474547" y="179743"/>
                  </a:lnTo>
                  <a:lnTo>
                    <a:pt x="1474597" y="178295"/>
                  </a:lnTo>
                  <a:lnTo>
                    <a:pt x="1474597" y="177012"/>
                  </a:lnTo>
                  <a:lnTo>
                    <a:pt x="1474597" y="179743"/>
                  </a:lnTo>
                  <a:lnTo>
                    <a:pt x="1474597" y="177609"/>
                  </a:lnTo>
                  <a:lnTo>
                    <a:pt x="1474648" y="177609"/>
                  </a:lnTo>
                  <a:lnTo>
                    <a:pt x="1474648" y="177012"/>
                  </a:lnTo>
                  <a:lnTo>
                    <a:pt x="1474648" y="181026"/>
                  </a:lnTo>
                  <a:lnTo>
                    <a:pt x="1474648" y="177609"/>
                  </a:lnTo>
                  <a:lnTo>
                    <a:pt x="1474750" y="177609"/>
                  </a:lnTo>
                  <a:lnTo>
                    <a:pt x="1474750" y="180327"/>
                  </a:lnTo>
                  <a:lnTo>
                    <a:pt x="1474750" y="179743"/>
                  </a:lnTo>
                  <a:lnTo>
                    <a:pt x="1474750" y="180327"/>
                  </a:lnTo>
                  <a:lnTo>
                    <a:pt x="1474750" y="179743"/>
                  </a:lnTo>
                  <a:lnTo>
                    <a:pt x="1474788" y="178295"/>
                  </a:lnTo>
                  <a:lnTo>
                    <a:pt x="1474788" y="180327"/>
                  </a:lnTo>
                  <a:lnTo>
                    <a:pt x="1474788" y="179743"/>
                  </a:lnTo>
                  <a:lnTo>
                    <a:pt x="1474788" y="180327"/>
                  </a:lnTo>
                  <a:lnTo>
                    <a:pt x="1474788" y="179743"/>
                  </a:lnTo>
                  <a:lnTo>
                    <a:pt x="1474839" y="179743"/>
                  </a:lnTo>
                  <a:lnTo>
                    <a:pt x="1474839" y="180327"/>
                  </a:lnTo>
                  <a:lnTo>
                    <a:pt x="1474839" y="179743"/>
                  </a:lnTo>
                  <a:lnTo>
                    <a:pt x="1474839" y="180327"/>
                  </a:lnTo>
                  <a:lnTo>
                    <a:pt x="1474839" y="179743"/>
                  </a:lnTo>
                  <a:lnTo>
                    <a:pt x="1474839" y="180327"/>
                  </a:lnTo>
                  <a:lnTo>
                    <a:pt x="1474839" y="179743"/>
                  </a:lnTo>
                  <a:lnTo>
                    <a:pt x="1474839" y="180327"/>
                  </a:lnTo>
                  <a:lnTo>
                    <a:pt x="1474991" y="180327"/>
                  </a:lnTo>
                  <a:lnTo>
                    <a:pt x="1474991" y="181026"/>
                  </a:lnTo>
                  <a:lnTo>
                    <a:pt x="1474991" y="179743"/>
                  </a:lnTo>
                  <a:lnTo>
                    <a:pt x="1474991" y="180327"/>
                  </a:lnTo>
                  <a:lnTo>
                    <a:pt x="1475042" y="180327"/>
                  </a:lnTo>
                  <a:lnTo>
                    <a:pt x="1475042" y="179743"/>
                  </a:lnTo>
                  <a:lnTo>
                    <a:pt x="1475042" y="180327"/>
                  </a:lnTo>
                  <a:lnTo>
                    <a:pt x="1475042" y="179743"/>
                  </a:lnTo>
                  <a:lnTo>
                    <a:pt x="1475042" y="180327"/>
                  </a:lnTo>
                  <a:lnTo>
                    <a:pt x="1475042" y="179743"/>
                  </a:lnTo>
                  <a:lnTo>
                    <a:pt x="1475042" y="180327"/>
                  </a:lnTo>
                  <a:lnTo>
                    <a:pt x="1475042" y="178295"/>
                  </a:lnTo>
                  <a:lnTo>
                    <a:pt x="1475042" y="179743"/>
                  </a:lnTo>
                  <a:lnTo>
                    <a:pt x="1475042" y="177609"/>
                  </a:lnTo>
                  <a:lnTo>
                    <a:pt x="1475093" y="177609"/>
                  </a:lnTo>
                  <a:lnTo>
                    <a:pt x="1475093" y="180327"/>
                  </a:lnTo>
                  <a:lnTo>
                    <a:pt x="1475093" y="177012"/>
                  </a:lnTo>
                  <a:lnTo>
                    <a:pt x="1475093" y="177609"/>
                  </a:lnTo>
                  <a:lnTo>
                    <a:pt x="1475194" y="177609"/>
                  </a:lnTo>
                  <a:lnTo>
                    <a:pt x="1475194" y="181026"/>
                  </a:lnTo>
                  <a:lnTo>
                    <a:pt x="1475194" y="178295"/>
                  </a:lnTo>
                  <a:lnTo>
                    <a:pt x="1475194" y="179743"/>
                  </a:lnTo>
                  <a:lnTo>
                    <a:pt x="1475245" y="179743"/>
                  </a:lnTo>
                  <a:lnTo>
                    <a:pt x="1475245" y="181026"/>
                  </a:lnTo>
                  <a:lnTo>
                    <a:pt x="1475245" y="179743"/>
                  </a:lnTo>
                  <a:lnTo>
                    <a:pt x="1475245" y="180327"/>
                  </a:lnTo>
                  <a:lnTo>
                    <a:pt x="1475296" y="180327"/>
                  </a:lnTo>
                  <a:lnTo>
                    <a:pt x="1475296" y="181026"/>
                  </a:lnTo>
                  <a:lnTo>
                    <a:pt x="1475296" y="180327"/>
                  </a:lnTo>
                  <a:lnTo>
                    <a:pt x="1475296" y="181026"/>
                  </a:lnTo>
                  <a:lnTo>
                    <a:pt x="1475296" y="180327"/>
                  </a:lnTo>
                  <a:lnTo>
                    <a:pt x="1475296" y="181026"/>
                  </a:lnTo>
                  <a:lnTo>
                    <a:pt x="1475334" y="181026"/>
                  </a:lnTo>
                  <a:lnTo>
                    <a:pt x="1475334" y="180327"/>
                  </a:lnTo>
                  <a:lnTo>
                    <a:pt x="1475334" y="181026"/>
                  </a:lnTo>
                  <a:lnTo>
                    <a:pt x="1475436" y="181026"/>
                  </a:lnTo>
                  <a:lnTo>
                    <a:pt x="1475436" y="180327"/>
                  </a:lnTo>
                  <a:lnTo>
                    <a:pt x="1475487" y="181026"/>
                  </a:lnTo>
                  <a:lnTo>
                    <a:pt x="1475487" y="179743"/>
                  </a:lnTo>
                  <a:lnTo>
                    <a:pt x="1475487" y="180327"/>
                  </a:lnTo>
                  <a:lnTo>
                    <a:pt x="1475537" y="179743"/>
                  </a:lnTo>
                  <a:lnTo>
                    <a:pt x="1475537" y="180327"/>
                  </a:lnTo>
                  <a:lnTo>
                    <a:pt x="1475537" y="178295"/>
                  </a:lnTo>
                  <a:lnTo>
                    <a:pt x="1475537" y="180327"/>
                  </a:lnTo>
                  <a:lnTo>
                    <a:pt x="1475639" y="180327"/>
                  </a:lnTo>
                  <a:lnTo>
                    <a:pt x="1475639" y="179743"/>
                  </a:lnTo>
                  <a:lnTo>
                    <a:pt x="1475639" y="181775"/>
                  </a:lnTo>
                  <a:lnTo>
                    <a:pt x="1475690" y="182461"/>
                  </a:lnTo>
                  <a:lnTo>
                    <a:pt x="1475690" y="180327"/>
                  </a:lnTo>
                  <a:lnTo>
                    <a:pt x="1475690" y="181775"/>
                  </a:lnTo>
                  <a:lnTo>
                    <a:pt x="1475740" y="181775"/>
                  </a:lnTo>
                  <a:lnTo>
                    <a:pt x="1475740" y="180327"/>
                  </a:lnTo>
                  <a:lnTo>
                    <a:pt x="1475740" y="181775"/>
                  </a:lnTo>
                  <a:lnTo>
                    <a:pt x="1475791" y="181775"/>
                  </a:lnTo>
                  <a:lnTo>
                    <a:pt x="1475791" y="181026"/>
                  </a:lnTo>
                  <a:lnTo>
                    <a:pt x="1475791" y="181775"/>
                  </a:lnTo>
                  <a:lnTo>
                    <a:pt x="1475791" y="181026"/>
                  </a:lnTo>
                  <a:lnTo>
                    <a:pt x="1475791" y="181775"/>
                  </a:lnTo>
                  <a:lnTo>
                    <a:pt x="1475791" y="181026"/>
                  </a:lnTo>
                  <a:lnTo>
                    <a:pt x="1475880" y="181775"/>
                  </a:lnTo>
                  <a:lnTo>
                    <a:pt x="1475880" y="180327"/>
                  </a:lnTo>
                  <a:lnTo>
                    <a:pt x="1475880" y="181775"/>
                  </a:lnTo>
                  <a:lnTo>
                    <a:pt x="1475880" y="181026"/>
                  </a:lnTo>
                  <a:lnTo>
                    <a:pt x="1475880" y="181775"/>
                  </a:lnTo>
                  <a:lnTo>
                    <a:pt x="1475931" y="181026"/>
                  </a:lnTo>
                  <a:lnTo>
                    <a:pt x="1475931" y="181775"/>
                  </a:lnTo>
                  <a:lnTo>
                    <a:pt x="1475931" y="180327"/>
                  </a:lnTo>
                  <a:lnTo>
                    <a:pt x="1475931" y="181026"/>
                  </a:lnTo>
                  <a:lnTo>
                    <a:pt x="1475931" y="180327"/>
                  </a:lnTo>
                  <a:lnTo>
                    <a:pt x="1475982" y="180327"/>
                  </a:lnTo>
                  <a:lnTo>
                    <a:pt x="1475982" y="179743"/>
                  </a:lnTo>
                  <a:lnTo>
                    <a:pt x="1476033" y="179743"/>
                  </a:lnTo>
                  <a:lnTo>
                    <a:pt x="1476033" y="177609"/>
                  </a:lnTo>
                  <a:lnTo>
                    <a:pt x="1476033" y="178295"/>
                  </a:lnTo>
                  <a:lnTo>
                    <a:pt x="1476033" y="177609"/>
                  </a:lnTo>
                  <a:lnTo>
                    <a:pt x="1476033" y="180327"/>
                  </a:lnTo>
                  <a:lnTo>
                    <a:pt x="1476033" y="179743"/>
                  </a:lnTo>
                  <a:lnTo>
                    <a:pt x="1476134" y="179743"/>
                  </a:lnTo>
                  <a:lnTo>
                    <a:pt x="1476134" y="178295"/>
                  </a:lnTo>
                  <a:lnTo>
                    <a:pt x="1476134" y="181775"/>
                  </a:lnTo>
                  <a:lnTo>
                    <a:pt x="1476134" y="180327"/>
                  </a:lnTo>
                  <a:lnTo>
                    <a:pt x="1476185" y="180327"/>
                  </a:lnTo>
                  <a:lnTo>
                    <a:pt x="1476185" y="179743"/>
                  </a:lnTo>
                  <a:lnTo>
                    <a:pt x="1476185" y="181775"/>
                  </a:lnTo>
                  <a:lnTo>
                    <a:pt x="1476185" y="181026"/>
                  </a:lnTo>
                  <a:lnTo>
                    <a:pt x="1476236" y="180327"/>
                  </a:lnTo>
                  <a:lnTo>
                    <a:pt x="1476236" y="181775"/>
                  </a:lnTo>
                  <a:lnTo>
                    <a:pt x="1476236" y="181026"/>
                  </a:lnTo>
                  <a:lnTo>
                    <a:pt x="1476337" y="181026"/>
                  </a:lnTo>
                  <a:lnTo>
                    <a:pt x="1476337" y="181775"/>
                  </a:lnTo>
                  <a:lnTo>
                    <a:pt x="1476337" y="181026"/>
                  </a:lnTo>
                  <a:lnTo>
                    <a:pt x="1476337" y="181775"/>
                  </a:lnTo>
                  <a:lnTo>
                    <a:pt x="1476337" y="181026"/>
                  </a:lnTo>
                  <a:lnTo>
                    <a:pt x="1476337" y="181775"/>
                  </a:lnTo>
                  <a:lnTo>
                    <a:pt x="1476337" y="181026"/>
                  </a:lnTo>
                  <a:lnTo>
                    <a:pt x="1476337" y="181775"/>
                  </a:lnTo>
                  <a:lnTo>
                    <a:pt x="1476375" y="181026"/>
                  </a:lnTo>
                  <a:lnTo>
                    <a:pt x="1476375" y="181775"/>
                  </a:lnTo>
                  <a:lnTo>
                    <a:pt x="1476375" y="181026"/>
                  </a:lnTo>
                  <a:lnTo>
                    <a:pt x="1476426" y="181026"/>
                  </a:lnTo>
                  <a:lnTo>
                    <a:pt x="1476426" y="180327"/>
                  </a:lnTo>
                  <a:lnTo>
                    <a:pt x="1476426" y="181026"/>
                  </a:lnTo>
                  <a:lnTo>
                    <a:pt x="1476426" y="180327"/>
                  </a:lnTo>
                  <a:lnTo>
                    <a:pt x="1476477" y="180327"/>
                  </a:lnTo>
                  <a:lnTo>
                    <a:pt x="1476477" y="178295"/>
                  </a:lnTo>
                  <a:lnTo>
                    <a:pt x="1476579" y="177609"/>
                  </a:lnTo>
                  <a:lnTo>
                    <a:pt x="1476579" y="179743"/>
                  </a:lnTo>
                  <a:lnTo>
                    <a:pt x="1476579" y="178295"/>
                  </a:lnTo>
                  <a:lnTo>
                    <a:pt x="1476579" y="179743"/>
                  </a:lnTo>
                  <a:lnTo>
                    <a:pt x="1476579" y="178295"/>
                  </a:lnTo>
                  <a:lnTo>
                    <a:pt x="1476579" y="179743"/>
                  </a:lnTo>
                  <a:lnTo>
                    <a:pt x="1476579" y="177609"/>
                  </a:lnTo>
                  <a:lnTo>
                    <a:pt x="1476630" y="177609"/>
                  </a:lnTo>
                  <a:lnTo>
                    <a:pt x="1476630" y="181026"/>
                  </a:lnTo>
                  <a:lnTo>
                    <a:pt x="1476630" y="179743"/>
                  </a:lnTo>
                  <a:lnTo>
                    <a:pt x="1476680" y="179743"/>
                  </a:lnTo>
                  <a:lnTo>
                    <a:pt x="1476680" y="181026"/>
                  </a:lnTo>
                  <a:lnTo>
                    <a:pt x="1476680" y="180327"/>
                  </a:lnTo>
                  <a:lnTo>
                    <a:pt x="1476782" y="180327"/>
                  </a:lnTo>
                  <a:lnTo>
                    <a:pt x="1476782" y="181775"/>
                  </a:lnTo>
                  <a:lnTo>
                    <a:pt x="1476782" y="181026"/>
                  </a:lnTo>
                  <a:lnTo>
                    <a:pt x="1476782" y="181775"/>
                  </a:lnTo>
                  <a:lnTo>
                    <a:pt x="1476782" y="181026"/>
                  </a:lnTo>
                  <a:lnTo>
                    <a:pt x="1476833" y="181775"/>
                  </a:lnTo>
                  <a:lnTo>
                    <a:pt x="1476833" y="181026"/>
                  </a:lnTo>
                  <a:lnTo>
                    <a:pt x="1476833" y="181775"/>
                  </a:lnTo>
                  <a:lnTo>
                    <a:pt x="1476833" y="181026"/>
                  </a:lnTo>
                  <a:lnTo>
                    <a:pt x="1476884" y="181026"/>
                  </a:lnTo>
                  <a:lnTo>
                    <a:pt x="1476884" y="181775"/>
                  </a:lnTo>
                  <a:lnTo>
                    <a:pt x="1476884" y="181026"/>
                  </a:lnTo>
                  <a:lnTo>
                    <a:pt x="1476922" y="181026"/>
                  </a:lnTo>
                  <a:lnTo>
                    <a:pt x="1476922" y="180327"/>
                  </a:lnTo>
                  <a:lnTo>
                    <a:pt x="1477023" y="180327"/>
                  </a:lnTo>
                  <a:lnTo>
                    <a:pt x="1477023" y="179743"/>
                  </a:lnTo>
                  <a:lnTo>
                    <a:pt x="1477023" y="180327"/>
                  </a:lnTo>
                  <a:lnTo>
                    <a:pt x="1477023" y="177609"/>
                  </a:lnTo>
                  <a:lnTo>
                    <a:pt x="1477074" y="177609"/>
                  </a:lnTo>
                  <a:lnTo>
                    <a:pt x="1477074" y="177012"/>
                  </a:lnTo>
                  <a:lnTo>
                    <a:pt x="1477074" y="178295"/>
                  </a:lnTo>
                  <a:lnTo>
                    <a:pt x="1477074" y="177012"/>
                  </a:lnTo>
                  <a:lnTo>
                    <a:pt x="1477125" y="177012"/>
                  </a:lnTo>
                  <a:lnTo>
                    <a:pt x="1477125" y="176263"/>
                  </a:lnTo>
                  <a:lnTo>
                    <a:pt x="1477125" y="180327"/>
                  </a:lnTo>
                  <a:lnTo>
                    <a:pt x="1477125" y="178295"/>
                  </a:lnTo>
                  <a:lnTo>
                    <a:pt x="1477226" y="178295"/>
                  </a:lnTo>
                  <a:lnTo>
                    <a:pt x="1477226" y="180327"/>
                  </a:lnTo>
                  <a:lnTo>
                    <a:pt x="1477226" y="179743"/>
                  </a:lnTo>
                  <a:lnTo>
                    <a:pt x="1477277" y="180327"/>
                  </a:lnTo>
                  <a:lnTo>
                    <a:pt x="1477277" y="179743"/>
                  </a:lnTo>
                  <a:lnTo>
                    <a:pt x="1477277" y="180327"/>
                  </a:lnTo>
                  <a:lnTo>
                    <a:pt x="1477277" y="179743"/>
                  </a:lnTo>
                  <a:lnTo>
                    <a:pt x="1477277" y="180327"/>
                  </a:lnTo>
                  <a:lnTo>
                    <a:pt x="1477328" y="180327"/>
                  </a:lnTo>
                  <a:lnTo>
                    <a:pt x="1477328" y="181775"/>
                  </a:lnTo>
                  <a:lnTo>
                    <a:pt x="1477379" y="181775"/>
                  </a:lnTo>
                  <a:lnTo>
                    <a:pt x="1477379" y="182461"/>
                  </a:lnTo>
                  <a:lnTo>
                    <a:pt x="1477379" y="181026"/>
                  </a:lnTo>
                  <a:lnTo>
                    <a:pt x="1477379" y="181775"/>
                  </a:lnTo>
                  <a:lnTo>
                    <a:pt x="1477379" y="181026"/>
                  </a:lnTo>
                  <a:lnTo>
                    <a:pt x="1477379" y="181775"/>
                  </a:lnTo>
                  <a:lnTo>
                    <a:pt x="1477379" y="181026"/>
                  </a:lnTo>
                  <a:lnTo>
                    <a:pt x="1477468" y="181775"/>
                  </a:lnTo>
                  <a:lnTo>
                    <a:pt x="1477468" y="180327"/>
                  </a:lnTo>
                  <a:lnTo>
                    <a:pt x="1477519" y="180327"/>
                  </a:lnTo>
                  <a:lnTo>
                    <a:pt x="1477519" y="178295"/>
                  </a:lnTo>
                  <a:lnTo>
                    <a:pt x="1477569" y="178295"/>
                  </a:lnTo>
                  <a:lnTo>
                    <a:pt x="1477569" y="177609"/>
                  </a:lnTo>
                  <a:lnTo>
                    <a:pt x="1477569" y="179743"/>
                  </a:lnTo>
                  <a:lnTo>
                    <a:pt x="1477569" y="177609"/>
                  </a:lnTo>
                  <a:lnTo>
                    <a:pt x="1477620" y="177609"/>
                  </a:lnTo>
                  <a:lnTo>
                    <a:pt x="1477620" y="180327"/>
                  </a:lnTo>
                  <a:lnTo>
                    <a:pt x="1477620" y="177609"/>
                  </a:lnTo>
                  <a:lnTo>
                    <a:pt x="1477620" y="178295"/>
                  </a:lnTo>
                  <a:lnTo>
                    <a:pt x="1477722" y="179743"/>
                  </a:lnTo>
                  <a:lnTo>
                    <a:pt x="1477722" y="180327"/>
                  </a:lnTo>
                  <a:lnTo>
                    <a:pt x="1477722" y="178295"/>
                  </a:lnTo>
                  <a:lnTo>
                    <a:pt x="1477722" y="179743"/>
                  </a:lnTo>
                  <a:lnTo>
                    <a:pt x="1477772" y="179743"/>
                  </a:lnTo>
                  <a:lnTo>
                    <a:pt x="1477772" y="180327"/>
                  </a:lnTo>
                  <a:lnTo>
                    <a:pt x="1477772" y="179743"/>
                  </a:lnTo>
                  <a:lnTo>
                    <a:pt x="1477772" y="180327"/>
                  </a:lnTo>
                  <a:lnTo>
                    <a:pt x="1477823" y="180327"/>
                  </a:lnTo>
                  <a:lnTo>
                    <a:pt x="1477823" y="179743"/>
                  </a:lnTo>
                  <a:lnTo>
                    <a:pt x="1477823" y="180327"/>
                  </a:lnTo>
                  <a:lnTo>
                    <a:pt x="1477823" y="179743"/>
                  </a:lnTo>
                  <a:lnTo>
                    <a:pt x="1477925" y="179743"/>
                  </a:lnTo>
                  <a:lnTo>
                    <a:pt x="1477925" y="181026"/>
                  </a:lnTo>
                  <a:lnTo>
                    <a:pt x="1477963" y="181026"/>
                  </a:lnTo>
                  <a:lnTo>
                    <a:pt x="1477963" y="180327"/>
                  </a:lnTo>
                  <a:lnTo>
                    <a:pt x="1477963" y="181026"/>
                  </a:lnTo>
                  <a:lnTo>
                    <a:pt x="1477963" y="180327"/>
                  </a:lnTo>
                  <a:lnTo>
                    <a:pt x="1478014" y="180327"/>
                  </a:lnTo>
                  <a:lnTo>
                    <a:pt x="1478014" y="178295"/>
                  </a:lnTo>
                  <a:lnTo>
                    <a:pt x="1478014" y="181026"/>
                  </a:lnTo>
                  <a:lnTo>
                    <a:pt x="1478065" y="180327"/>
                  </a:lnTo>
                  <a:lnTo>
                    <a:pt x="1478065" y="179743"/>
                  </a:lnTo>
                  <a:lnTo>
                    <a:pt x="1478065" y="180327"/>
                  </a:lnTo>
                  <a:lnTo>
                    <a:pt x="1478065" y="179743"/>
                  </a:lnTo>
                  <a:lnTo>
                    <a:pt x="1478065" y="181775"/>
                  </a:lnTo>
                  <a:lnTo>
                    <a:pt x="1478065" y="181026"/>
                  </a:lnTo>
                  <a:lnTo>
                    <a:pt x="1478166" y="181026"/>
                  </a:lnTo>
                  <a:lnTo>
                    <a:pt x="1478166" y="181775"/>
                  </a:lnTo>
                  <a:lnTo>
                    <a:pt x="1478166" y="181026"/>
                  </a:lnTo>
                  <a:lnTo>
                    <a:pt x="1478166" y="181775"/>
                  </a:lnTo>
                  <a:lnTo>
                    <a:pt x="1478166" y="181026"/>
                  </a:lnTo>
                  <a:lnTo>
                    <a:pt x="1478166" y="181775"/>
                  </a:lnTo>
                  <a:lnTo>
                    <a:pt x="1478166" y="181026"/>
                  </a:lnTo>
                  <a:lnTo>
                    <a:pt x="1478217" y="181775"/>
                  </a:lnTo>
                  <a:lnTo>
                    <a:pt x="1478217" y="181026"/>
                  </a:lnTo>
                  <a:lnTo>
                    <a:pt x="1478217" y="181775"/>
                  </a:lnTo>
                  <a:lnTo>
                    <a:pt x="1478217" y="181026"/>
                  </a:lnTo>
                  <a:lnTo>
                    <a:pt x="1478217" y="181775"/>
                  </a:lnTo>
                  <a:lnTo>
                    <a:pt x="1478217" y="181026"/>
                  </a:lnTo>
                  <a:lnTo>
                    <a:pt x="1478217" y="181775"/>
                  </a:lnTo>
                  <a:lnTo>
                    <a:pt x="1478268" y="181026"/>
                  </a:lnTo>
                  <a:lnTo>
                    <a:pt x="1478268" y="181775"/>
                  </a:lnTo>
                  <a:lnTo>
                    <a:pt x="1478268" y="181026"/>
                  </a:lnTo>
                  <a:lnTo>
                    <a:pt x="1478369" y="181026"/>
                  </a:lnTo>
                  <a:lnTo>
                    <a:pt x="1478369" y="181775"/>
                  </a:lnTo>
                  <a:lnTo>
                    <a:pt x="1478369" y="181026"/>
                  </a:lnTo>
                  <a:lnTo>
                    <a:pt x="1478369" y="181775"/>
                  </a:lnTo>
                  <a:lnTo>
                    <a:pt x="1478420" y="181775"/>
                  </a:lnTo>
                  <a:lnTo>
                    <a:pt x="1478420" y="181026"/>
                  </a:lnTo>
                  <a:lnTo>
                    <a:pt x="1478420" y="181775"/>
                  </a:lnTo>
                  <a:lnTo>
                    <a:pt x="1478420" y="180327"/>
                  </a:lnTo>
                  <a:lnTo>
                    <a:pt x="1478471" y="180327"/>
                  </a:lnTo>
                  <a:lnTo>
                    <a:pt x="1478471" y="179743"/>
                  </a:lnTo>
                  <a:lnTo>
                    <a:pt x="1478471" y="180327"/>
                  </a:lnTo>
                  <a:lnTo>
                    <a:pt x="1478471" y="178295"/>
                  </a:lnTo>
                  <a:lnTo>
                    <a:pt x="1478509" y="178295"/>
                  </a:lnTo>
                  <a:lnTo>
                    <a:pt x="1478509" y="177609"/>
                  </a:lnTo>
                  <a:lnTo>
                    <a:pt x="1478509" y="178295"/>
                  </a:lnTo>
                  <a:lnTo>
                    <a:pt x="1478509" y="177609"/>
                  </a:lnTo>
                  <a:lnTo>
                    <a:pt x="1478509" y="178295"/>
                  </a:lnTo>
                  <a:lnTo>
                    <a:pt x="1478509" y="177609"/>
                  </a:lnTo>
                  <a:lnTo>
                    <a:pt x="1478509" y="180327"/>
                  </a:lnTo>
                  <a:lnTo>
                    <a:pt x="1478509" y="179743"/>
                  </a:lnTo>
                  <a:lnTo>
                    <a:pt x="1478509" y="180327"/>
                  </a:lnTo>
                  <a:lnTo>
                    <a:pt x="1478509" y="179743"/>
                  </a:lnTo>
                  <a:lnTo>
                    <a:pt x="1478611" y="179743"/>
                  </a:lnTo>
                  <a:lnTo>
                    <a:pt x="1478611" y="181775"/>
                  </a:lnTo>
                  <a:lnTo>
                    <a:pt x="1478611" y="181026"/>
                  </a:lnTo>
                  <a:lnTo>
                    <a:pt x="1478662" y="181026"/>
                  </a:lnTo>
                  <a:lnTo>
                    <a:pt x="1478662" y="181775"/>
                  </a:lnTo>
                  <a:lnTo>
                    <a:pt x="1478662" y="181026"/>
                  </a:lnTo>
                  <a:lnTo>
                    <a:pt x="1478662" y="181775"/>
                  </a:lnTo>
                  <a:lnTo>
                    <a:pt x="1478662" y="181026"/>
                  </a:lnTo>
                  <a:lnTo>
                    <a:pt x="1478662" y="181775"/>
                  </a:lnTo>
                  <a:lnTo>
                    <a:pt x="1478662" y="181026"/>
                  </a:lnTo>
                  <a:lnTo>
                    <a:pt x="1478662" y="181775"/>
                  </a:lnTo>
                  <a:lnTo>
                    <a:pt x="1478814" y="181775"/>
                  </a:lnTo>
                  <a:lnTo>
                    <a:pt x="1478814" y="182461"/>
                  </a:lnTo>
                  <a:lnTo>
                    <a:pt x="1478814" y="181775"/>
                  </a:lnTo>
                  <a:lnTo>
                    <a:pt x="1478865" y="181775"/>
                  </a:lnTo>
                  <a:lnTo>
                    <a:pt x="1478865" y="181026"/>
                  </a:lnTo>
                  <a:lnTo>
                    <a:pt x="1478865" y="181775"/>
                  </a:lnTo>
                  <a:lnTo>
                    <a:pt x="1478865" y="181026"/>
                  </a:lnTo>
                  <a:lnTo>
                    <a:pt x="1478865" y="181775"/>
                  </a:lnTo>
                  <a:lnTo>
                    <a:pt x="1478865" y="181026"/>
                  </a:lnTo>
                  <a:lnTo>
                    <a:pt x="1478865" y="181775"/>
                  </a:lnTo>
                  <a:lnTo>
                    <a:pt x="1478915" y="181026"/>
                  </a:lnTo>
                  <a:lnTo>
                    <a:pt x="1478915" y="180327"/>
                  </a:lnTo>
                  <a:lnTo>
                    <a:pt x="1478966" y="180327"/>
                  </a:lnTo>
                  <a:lnTo>
                    <a:pt x="1478966" y="177609"/>
                  </a:lnTo>
                  <a:lnTo>
                    <a:pt x="1479055" y="177609"/>
                  </a:lnTo>
                  <a:lnTo>
                    <a:pt x="1479055" y="177012"/>
                  </a:lnTo>
                  <a:lnTo>
                    <a:pt x="1479055" y="178295"/>
                  </a:lnTo>
                  <a:lnTo>
                    <a:pt x="1479055" y="177609"/>
                  </a:lnTo>
                  <a:lnTo>
                    <a:pt x="1479055" y="178295"/>
                  </a:lnTo>
                  <a:lnTo>
                    <a:pt x="1479106" y="178295"/>
                  </a:lnTo>
                  <a:lnTo>
                    <a:pt x="1479106" y="177609"/>
                  </a:lnTo>
                  <a:lnTo>
                    <a:pt x="1479106" y="180327"/>
                  </a:lnTo>
                  <a:lnTo>
                    <a:pt x="1479106" y="179743"/>
                  </a:lnTo>
                  <a:lnTo>
                    <a:pt x="1479157" y="179743"/>
                  </a:lnTo>
                  <a:lnTo>
                    <a:pt x="1479157" y="180327"/>
                  </a:lnTo>
                  <a:lnTo>
                    <a:pt x="1479157" y="179743"/>
                  </a:lnTo>
                  <a:lnTo>
                    <a:pt x="1479157" y="181026"/>
                  </a:lnTo>
                  <a:lnTo>
                    <a:pt x="1479157" y="180327"/>
                  </a:lnTo>
                  <a:lnTo>
                    <a:pt x="1479208" y="180327"/>
                  </a:lnTo>
                  <a:lnTo>
                    <a:pt x="1479208" y="181026"/>
                  </a:lnTo>
                  <a:lnTo>
                    <a:pt x="1479208" y="180327"/>
                  </a:lnTo>
                  <a:lnTo>
                    <a:pt x="1479309" y="181026"/>
                  </a:lnTo>
                  <a:lnTo>
                    <a:pt x="1479309" y="181775"/>
                  </a:lnTo>
                  <a:lnTo>
                    <a:pt x="1479309" y="181026"/>
                  </a:lnTo>
                  <a:lnTo>
                    <a:pt x="1479309" y="181775"/>
                  </a:lnTo>
                  <a:lnTo>
                    <a:pt x="1479309" y="181026"/>
                  </a:lnTo>
                  <a:lnTo>
                    <a:pt x="1479309" y="181775"/>
                  </a:lnTo>
                  <a:lnTo>
                    <a:pt x="1479309" y="181026"/>
                  </a:lnTo>
                  <a:lnTo>
                    <a:pt x="1479309" y="181775"/>
                  </a:lnTo>
                  <a:lnTo>
                    <a:pt x="1479360" y="181775"/>
                  </a:lnTo>
                  <a:lnTo>
                    <a:pt x="1479360" y="181026"/>
                  </a:lnTo>
                  <a:lnTo>
                    <a:pt x="1479360" y="181775"/>
                  </a:lnTo>
                  <a:lnTo>
                    <a:pt x="1479360" y="181026"/>
                  </a:lnTo>
                  <a:lnTo>
                    <a:pt x="1479360" y="181775"/>
                  </a:lnTo>
                  <a:lnTo>
                    <a:pt x="1479360" y="181026"/>
                  </a:lnTo>
                  <a:lnTo>
                    <a:pt x="1479411" y="181775"/>
                  </a:lnTo>
                  <a:lnTo>
                    <a:pt x="1479411" y="180327"/>
                  </a:lnTo>
                  <a:lnTo>
                    <a:pt x="1479512" y="180327"/>
                  </a:lnTo>
                  <a:lnTo>
                    <a:pt x="1479512" y="177609"/>
                  </a:lnTo>
                  <a:lnTo>
                    <a:pt x="1479550" y="177609"/>
                  </a:lnTo>
                  <a:lnTo>
                    <a:pt x="1479550" y="177012"/>
                  </a:lnTo>
                  <a:lnTo>
                    <a:pt x="1479550" y="179743"/>
                  </a:lnTo>
                  <a:lnTo>
                    <a:pt x="1479550" y="177609"/>
                  </a:lnTo>
                  <a:lnTo>
                    <a:pt x="1479601" y="177609"/>
                  </a:lnTo>
                  <a:lnTo>
                    <a:pt x="1479601" y="180327"/>
                  </a:lnTo>
                  <a:lnTo>
                    <a:pt x="1479601" y="178295"/>
                  </a:lnTo>
                  <a:lnTo>
                    <a:pt x="1479652" y="178295"/>
                  </a:lnTo>
                  <a:lnTo>
                    <a:pt x="1479652" y="180327"/>
                  </a:lnTo>
                  <a:lnTo>
                    <a:pt x="1479652" y="179743"/>
                  </a:lnTo>
                  <a:lnTo>
                    <a:pt x="1479652" y="180327"/>
                  </a:lnTo>
                  <a:lnTo>
                    <a:pt x="1479754" y="180327"/>
                  </a:lnTo>
                  <a:lnTo>
                    <a:pt x="1479754" y="179743"/>
                  </a:lnTo>
                  <a:lnTo>
                    <a:pt x="1479754" y="180327"/>
                  </a:lnTo>
                  <a:lnTo>
                    <a:pt x="1479805" y="180327"/>
                  </a:lnTo>
                  <a:lnTo>
                    <a:pt x="1479805" y="181775"/>
                  </a:lnTo>
                  <a:lnTo>
                    <a:pt x="1479855" y="181775"/>
                  </a:lnTo>
                  <a:lnTo>
                    <a:pt x="1479855" y="181026"/>
                  </a:lnTo>
                  <a:lnTo>
                    <a:pt x="1479855" y="181775"/>
                  </a:lnTo>
                  <a:lnTo>
                    <a:pt x="1479855" y="181026"/>
                  </a:lnTo>
                  <a:lnTo>
                    <a:pt x="1479855" y="181775"/>
                  </a:lnTo>
                  <a:lnTo>
                    <a:pt x="1479957" y="181775"/>
                  </a:lnTo>
                  <a:lnTo>
                    <a:pt x="1479957" y="180327"/>
                  </a:lnTo>
                  <a:lnTo>
                    <a:pt x="1479957" y="181026"/>
                  </a:lnTo>
                  <a:lnTo>
                    <a:pt x="1479957" y="180327"/>
                  </a:lnTo>
                  <a:lnTo>
                    <a:pt x="1480008" y="180327"/>
                  </a:lnTo>
                  <a:lnTo>
                    <a:pt x="1480008" y="178295"/>
                  </a:lnTo>
                  <a:lnTo>
                    <a:pt x="1480008" y="179743"/>
                  </a:lnTo>
                  <a:lnTo>
                    <a:pt x="1480008" y="177609"/>
                  </a:lnTo>
                  <a:lnTo>
                    <a:pt x="1480059" y="177609"/>
                  </a:lnTo>
                  <a:lnTo>
                    <a:pt x="1480059" y="179743"/>
                  </a:lnTo>
                  <a:lnTo>
                    <a:pt x="1480059" y="177609"/>
                  </a:lnTo>
                  <a:lnTo>
                    <a:pt x="1480059" y="179743"/>
                  </a:lnTo>
                  <a:lnTo>
                    <a:pt x="1480097" y="179743"/>
                  </a:lnTo>
                  <a:lnTo>
                    <a:pt x="1480097" y="180327"/>
                  </a:lnTo>
                  <a:lnTo>
                    <a:pt x="1480097" y="178295"/>
                  </a:lnTo>
                  <a:lnTo>
                    <a:pt x="1480097" y="179743"/>
                  </a:lnTo>
                  <a:lnTo>
                    <a:pt x="1480198" y="179743"/>
                  </a:lnTo>
                  <a:lnTo>
                    <a:pt x="1480198" y="180327"/>
                  </a:lnTo>
                  <a:lnTo>
                    <a:pt x="1480198" y="179743"/>
                  </a:lnTo>
                  <a:lnTo>
                    <a:pt x="1480198" y="180327"/>
                  </a:lnTo>
                  <a:lnTo>
                    <a:pt x="1480198" y="179743"/>
                  </a:lnTo>
                  <a:lnTo>
                    <a:pt x="1480249" y="180327"/>
                  </a:lnTo>
                  <a:lnTo>
                    <a:pt x="1480249" y="181026"/>
                  </a:lnTo>
                  <a:lnTo>
                    <a:pt x="1480249" y="180327"/>
                  </a:lnTo>
                  <a:lnTo>
                    <a:pt x="1480249" y="181026"/>
                  </a:lnTo>
                  <a:lnTo>
                    <a:pt x="1480300" y="181026"/>
                  </a:lnTo>
                  <a:lnTo>
                    <a:pt x="1480300" y="180327"/>
                  </a:lnTo>
                  <a:lnTo>
                    <a:pt x="1480300" y="181026"/>
                  </a:lnTo>
                  <a:lnTo>
                    <a:pt x="1480300" y="180327"/>
                  </a:lnTo>
                  <a:lnTo>
                    <a:pt x="1480300" y="181775"/>
                  </a:lnTo>
                  <a:lnTo>
                    <a:pt x="1480401" y="181775"/>
                  </a:lnTo>
                  <a:lnTo>
                    <a:pt x="1480401" y="181026"/>
                  </a:lnTo>
                  <a:lnTo>
                    <a:pt x="1480401" y="181775"/>
                  </a:lnTo>
                  <a:lnTo>
                    <a:pt x="1480401" y="181026"/>
                  </a:lnTo>
                  <a:lnTo>
                    <a:pt x="1480401" y="181775"/>
                  </a:lnTo>
                  <a:lnTo>
                    <a:pt x="1480401" y="181026"/>
                  </a:lnTo>
                  <a:lnTo>
                    <a:pt x="1480452" y="181026"/>
                  </a:lnTo>
                  <a:lnTo>
                    <a:pt x="1480452" y="180327"/>
                  </a:lnTo>
                  <a:lnTo>
                    <a:pt x="1480452" y="181026"/>
                  </a:lnTo>
                  <a:lnTo>
                    <a:pt x="1480452" y="180327"/>
                  </a:lnTo>
                  <a:lnTo>
                    <a:pt x="1480503" y="180327"/>
                  </a:lnTo>
                  <a:lnTo>
                    <a:pt x="1480503" y="178295"/>
                  </a:lnTo>
                  <a:lnTo>
                    <a:pt x="1480503" y="179743"/>
                  </a:lnTo>
                  <a:lnTo>
                    <a:pt x="1480503" y="177609"/>
                  </a:lnTo>
                  <a:lnTo>
                    <a:pt x="1480503" y="179743"/>
                  </a:lnTo>
                  <a:lnTo>
                    <a:pt x="1480554" y="179743"/>
                  </a:lnTo>
                  <a:lnTo>
                    <a:pt x="1480554" y="178295"/>
                  </a:lnTo>
                  <a:lnTo>
                    <a:pt x="1480554" y="179743"/>
                  </a:lnTo>
                  <a:lnTo>
                    <a:pt x="1480554" y="177609"/>
                  </a:lnTo>
                  <a:lnTo>
                    <a:pt x="1480554" y="178295"/>
                  </a:lnTo>
                  <a:lnTo>
                    <a:pt x="1480554" y="177609"/>
                  </a:lnTo>
                  <a:lnTo>
                    <a:pt x="1480554" y="178295"/>
                  </a:lnTo>
                  <a:lnTo>
                    <a:pt x="1480643" y="179743"/>
                  </a:lnTo>
                  <a:lnTo>
                    <a:pt x="1480643" y="180327"/>
                  </a:lnTo>
                  <a:lnTo>
                    <a:pt x="1480643" y="178295"/>
                  </a:lnTo>
                  <a:lnTo>
                    <a:pt x="1480643" y="179743"/>
                  </a:lnTo>
                  <a:lnTo>
                    <a:pt x="1480643" y="178295"/>
                  </a:lnTo>
                  <a:lnTo>
                    <a:pt x="1480643" y="179743"/>
                  </a:lnTo>
                  <a:lnTo>
                    <a:pt x="1480694" y="180327"/>
                  </a:lnTo>
                  <a:lnTo>
                    <a:pt x="1480694" y="178295"/>
                  </a:lnTo>
                  <a:lnTo>
                    <a:pt x="1480694" y="180327"/>
                  </a:lnTo>
                  <a:lnTo>
                    <a:pt x="1480694" y="179743"/>
                  </a:lnTo>
                  <a:lnTo>
                    <a:pt x="1480744" y="179743"/>
                  </a:lnTo>
                  <a:lnTo>
                    <a:pt x="1480744" y="178295"/>
                  </a:lnTo>
                  <a:lnTo>
                    <a:pt x="1480744" y="180327"/>
                  </a:lnTo>
                  <a:lnTo>
                    <a:pt x="1480744" y="179743"/>
                  </a:lnTo>
                  <a:lnTo>
                    <a:pt x="1480744" y="180327"/>
                  </a:lnTo>
                  <a:lnTo>
                    <a:pt x="1480795" y="180327"/>
                  </a:lnTo>
                  <a:lnTo>
                    <a:pt x="1480795" y="179743"/>
                  </a:lnTo>
                  <a:lnTo>
                    <a:pt x="1480795" y="180327"/>
                  </a:lnTo>
                  <a:lnTo>
                    <a:pt x="1480897" y="180327"/>
                  </a:lnTo>
                  <a:lnTo>
                    <a:pt x="1480897" y="179743"/>
                  </a:lnTo>
                  <a:lnTo>
                    <a:pt x="1480897" y="180327"/>
                  </a:lnTo>
                  <a:lnTo>
                    <a:pt x="1480897" y="179743"/>
                  </a:lnTo>
                  <a:lnTo>
                    <a:pt x="1480897" y="180327"/>
                  </a:lnTo>
                  <a:lnTo>
                    <a:pt x="1480947" y="180327"/>
                  </a:lnTo>
                  <a:lnTo>
                    <a:pt x="1480947" y="181026"/>
                  </a:lnTo>
                  <a:lnTo>
                    <a:pt x="1480947" y="179743"/>
                  </a:lnTo>
                  <a:lnTo>
                    <a:pt x="1480998" y="178295"/>
                  </a:lnTo>
                  <a:lnTo>
                    <a:pt x="1480998" y="177609"/>
                  </a:lnTo>
                  <a:lnTo>
                    <a:pt x="1480998" y="179743"/>
                  </a:lnTo>
                  <a:lnTo>
                    <a:pt x="1481100" y="179743"/>
                  </a:lnTo>
                  <a:lnTo>
                    <a:pt x="1481100" y="177609"/>
                  </a:lnTo>
                  <a:lnTo>
                    <a:pt x="1481100" y="181026"/>
                  </a:lnTo>
                  <a:lnTo>
                    <a:pt x="1481138" y="181026"/>
                  </a:lnTo>
                  <a:lnTo>
                    <a:pt x="1481138" y="178295"/>
                  </a:lnTo>
                  <a:lnTo>
                    <a:pt x="1481138" y="181026"/>
                  </a:lnTo>
                  <a:lnTo>
                    <a:pt x="1481138" y="180327"/>
                  </a:lnTo>
                  <a:lnTo>
                    <a:pt x="1481189" y="181026"/>
                  </a:lnTo>
                  <a:lnTo>
                    <a:pt x="1481189" y="179743"/>
                  </a:lnTo>
                  <a:lnTo>
                    <a:pt x="1481189" y="181026"/>
                  </a:lnTo>
                  <a:lnTo>
                    <a:pt x="1481240" y="181026"/>
                  </a:lnTo>
                  <a:lnTo>
                    <a:pt x="1481240" y="180327"/>
                  </a:lnTo>
                  <a:lnTo>
                    <a:pt x="1481240" y="181026"/>
                  </a:lnTo>
                  <a:lnTo>
                    <a:pt x="1481341" y="181026"/>
                  </a:lnTo>
                  <a:lnTo>
                    <a:pt x="1481341" y="180327"/>
                  </a:lnTo>
                  <a:lnTo>
                    <a:pt x="1481341" y="181775"/>
                  </a:lnTo>
                  <a:lnTo>
                    <a:pt x="1481341" y="181026"/>
                  </a:lnTo>
                  <a:lnTo>
                    <a:pt x="1481392" y="181026"/>
                  </a:lnTo>
                  <a:lnTo>
                    <a:pt x="1481392" y="180327"/>
                  </a:lnTo>
                  <a:lnTo>
                    <a:pt x="1481443" y="180327"/>
                  </a:lnTo>
                  <a:lnTo>
                    <a:pt x="1481443" y="179743"/>
                  </a:lnTo>
                  <a:lnTo>
                    <a:pt x="1481443" y="180327"/>
                  </a:lnTo>
                  <a:lnTo>
                    <a:pt x="1481443" y="179743"/>
                  </a:lnTo>
                  <a:lnTo>
                    <a:pt x="1481443" y="180327"/>
                  </a:lnTo>
                  <a:lnTo>
                    <a:pt x="1481443" y="178295"/>
                  </a:lnTo>
                  <a:lnTo>
                    <a:pt x="1481443" y="179743"/>
                  </a:lnTo>
                  <a:lnTo>
                    <a:pt x="1481544" y="179743"/>
                  </a:lnTo>
                  <a:lnTo>
                    <a:pt x="1481544" y="177609"/>
                  </a:lnTo>
                  <a:lnTo>
                    <a:pt x="1481544" y="180327"/>
                  </a:lnTo>
                  <a:lnTo>
                    <a:pt x="1481595" y="180327"/>
                  </a:lnTo>
                  <a:lnTo>
                    <a:pt x="1481595" y="179743"/>
                  </a:lnTo>
                  <a:lnTo>
                    <a:pt x="1481595" y="180327"/>
                  </a:lnTo>
                  <a:lnTo>
                    <a:pt x="1481595" y="179743"/>
                  </a:lnTo>
                  <a:lnTo>
                    <a:pt x="1481595" y="181775"/>
                  </a:lnTo>
                  <a:lnTo>
                    <a:pt x="1481595" y="181026"/>
                  </a:lnTo>
                  <a:lnTo>
                    <a:pt x="1481595" y="181775"/>
                  </a:lnTo>
                  <a:lnTo>
                    <a:pt x="1481595" y="181026"/>
                  </a:lnTo>
                  <a:lnTo>
                    <a:pt x="1481646" y="181026"/>
                  </a:lnTo>
                  <a:lnTo>
                    <a:pt x="1481646" y="180327"/>
                  </a:lnTo>
                  <a:lnTo>
                    <a:pt x="1481646" y="181775"/>
                  </a:lnTo>
                  <a:lnTo>
                    <a:pt x="1481646" y="181026"/>
                  </a:lnTo>
                  <a:lnTo>
                    <a:pt x="1481646" y="181775"/>
                  </a:lnTo>
                  <a:lnTo>
                    <a:pt x="1481646" y="181026"/>
                  </a:lnTo>
                  <a:lnTo>
                    <a:pt x="1481684" y="181026"/>
                  </a:lnTo>
                  <a:lnTo>
                    <a:pt x="1481684" y="181775"/>
                  </a:lnTo>
                  <a:lnTo>
                    <a:pt x="1481684" y="181026"/>
                  </a:lnTo>
                  <a:lnTo>
                    <a:pt x="1481786" y="181026"/>
                  </a:lnTo>
                  <a:lnTo>
                    <a:pt x="1481786" y="181775"/>
                  </a:lnTo>
                  <a:lnTo>
                    <a:pt x="1481786" y="181026"/>
                  </a:lnTo>
                  <a:lnTo>
                    <a:pt x="1481786" y="181775"/>
                  </a:lnTo>
                  <a:lnTo>
                    <a:pt x="1481786" y="181026"/>
                  </a:lnTo>
                  <a:lnTo>
                    <a:pt x="1481837" y="181026"/>
                  </a:lnTo>
                  <a:lnTo>
                    <a:pt x="1481837" y="181775"/>
                  </a:lnTo>
                  <a:lnTo>
                    <a:pt x="1481837" y="181026"/>
                  </a:lnTo>
                  <a:lnTo>
                    <a:pt x="1481887" y="181026"/>
                  </a:lnTo>
                  <a:lnTo>
                    <a:pt x="1481887" y="180327"/>
                  </a:lnTo>
                  <a:lnTo>
                    <a:pt x="1481887" y="181026"/>
                  </a:lnTo>
                  <a:lnTo>
                    <a:pt x="1481887" y="180327"/>
                  </a:lnTo>
                  <a:lnTo>
                    <a:pt x="1481887" y="181026"/>
                  </a:lnTo>
                  <a:lnTo>
                    <a:pt x="1481887" y="180327"/>
                  </a:lnTo>
                  <a:lnTo>
                    <a:pt x="1481989" y="180327"/>
                  </a:lnTo>
                  <a:lnTo>
                    <a:pt x="1481989" y="178295"/>
                  </a:lnTo>
                  <a:lnTo>
                    <a:pt x="1481989" y="179743"/>
                  </a:lnTo>
                  <a:lnTo>
                    <a:pt x="1481989" y="178295"/>
                  </a:lnTo>
                  <a:lnTo>
                    <a:pt x="1481989" y="179743"/>
                  </a:lnTo>
                  <a:lnTo>
                    <a:pt x="1481989" y="178295"/>
                  </a:lnTo>
                  <a:lnTo>
                    <a:pt x="1481989" y="179743"/>
                  </a:lnTo>
                  <a:lnTo>
                    <a:pt x="1481989" y="178295"/>
                  </a:lnTo>
                  <a:lnTo>
                    <a:pt x="1481989" y="179743"/>
                  </a:lnTo>
                  <a:lnTo>
                    <a:pt x="1481989" y="178295"/>
                  </a:lnTo>
                  <a:lnTo>
                    <a:pt x="1482040" y="178295"/>
                  </a:lnTo>
                  <a:lnTo>
                    <a:pt x="1482040" y="177012"/>
                  </a:lnTo>
                  <a:lnTo>
                    <a:pt x="1482040" y="179743"/>
                  </a:lnTo>
                  <a:lnTo>
                    <a:pt x="1482040" y="177609"/>
                  </a:lnTo>
                  <a:lnTo>
                    <a:pt x="1482090" y="177609"/>
                  </a:lnTo>
                  <a:lnTo>
                    <a:pt x="1482090" y="181026"/>
                  </a:lnTo>
                  <a:lnTo>
                    <a:pt x="1482090" y="179743"/>
                  </a:lnTo>
                  <a:lnTo>
                    <a:pt x="1482141" y="179743"/>
                  </a:lnTo>
                  <a:lnTo>
                    <a:pt x="1482141" y="178295"/>
                  </a:lnTo>
                  <a:lnTo>
                    <a:pt x="1482141" y="181026"/>
                  </a:lnTo>
                  <a:lnTo>
                    <a:pt x="1482141" y="179743"/>
                  </a:lnTo>
                  <a:lnTo>
                    <a:pt x="1482141" y="180327"/>
                  </a:lnTo>
                  <a:lnTo>
                    <a:pt x="1482230" y="180327"/>
                  </a:lnTo>
                  <a:lnTo>
                    <a:pt x="1482230" y="181026"/>
                  </a:lnTo>
                  <a:lnTo>
                    <a:pt x="1482230" y="180327"/>
                  </a:lnTo>
                  <a:lnTo>
                    <a:pt x="1482230" y="181026"/>
                  </a:lnTo>
                  <a:lnTo>
                    <a:pt x="1482281" y="181026"/>
                  </a:lnTo>
                  <a:lnTo>
                    <a:pt x="1482281" y="181775"/>
                  </a:lnTo>
                  <a:lnTo>
                    <a:pt x="1482281" y="181026"/>
                  </a:lnTo>
                  <a:lnTo>
                    <a:pt x="1482281" y="181775"/>
                  </a:lnTo>
                  <a:lnTo>
                    <a:pt x="1482281" y="181026"/>
                  </a:lnTo>
                  <a:lnTo>
                    <a:pt x="1482281" y="181775"/>
                  </a:lnTo>
                  <a:lnTo>
                    <a:pt x="1482332" y="181775"/>
                  </a:lnTo>
                  <a:lnTo>
                    <a:pt x="1482332" y="181026"/>
                  </a:lnTo>
                  <a:lnTo>
                    <a:pt x="1482332" y="181775"/>
                  </a:lnTo>
                  <a:lnTo>
                    <a:pt x="1482332" y="181026"/>
                  </a:lnTo>
                  <a:lnTo>
                    <a:pt x="1482383" y="181026"/>
                  </a:lnTo>
                  <a:lnTo>
                    <a:pt x="1482383" y="179743"/>
                  </a:lnTo>
                  <a:lnTo>
                    <a:pt x="1482383" y="180327"/>
                  </a:lnTo>
                  <a:lnTo>
                    <a:pt x="1482484" y="180327"/>
                  </a:lnTo>
                  <a:lnTo>
                    <a:pt x="1482484" y="177609"/>
                  </a:lnTo>
                  <a:lnTo>
                    <a:pt x="1482484" y="178295"/>
                  </a:lnTo>
                  <a:lnTo>
                    <a:pt x="1482484" y="177609"/>
                  </a:lnTo>
                  <a:lnTo>
                    <a:pt x="1482535" y="177609"/>
                  </a:lnTo>
                  <a:lnTo>
                    <a:pt x="1482535" y="180327"/>
                  </a:lnTo>
                  <a:lnTo>
                    <a:pt x="1482535" y="177609"/>
                  </a:lnTo>
                  <a:lnTo>
                    <a:pt x="1482586" y="177609"/>
                  </a:lnTo>
                  <a:lnTo>
                    <a:pt x="1482586" y="181026"/>
                  </a:lnTo>
                  <a:lnTo>
                    <a:pt x="1482586" y="178295"/>
                  </a:lnTo>
                  <a:lnTo>
                    <a:pt x="1482586" y="179743"/>
                  </a:lnTo>
                  <a:lnTo>
                    <a:pt x="1482687" y="179743"/>
                  </a:lnTo>
                  <a:lnTo>
                    <a:pt x="1482687" y="180327"/>
                  </a:lnTo>
                  <a:lnTo>
                    <a:pt x="1482687" y="179743"/>
                  </a:lnTo>
                  <a:lnTo>
                    <a:pt x="1482687" y="180327"/>
                  </a:lnTo>
                  <a:lnTo>
                    <a:pt x="1482725" y="180327"/>
                  </a:lnTo>
                  <a:lnTo>
                    <a:pt x="1482725" y="181026"/>
                  </a:lnTo>
                  <a:lnTo>
                    <a:pt x="1482725" y="180327"/>
                  </a:lnTo>
                  <a:lnTo>
                    <a:pt x="1482725" y="181026"/>
                  </a:lnTo>
                  <a:lnTo>
                    <a:pt x="1482776" y="181026"/>
                  </a:lnTo>
                  <a:lnTo>
                    <a:pt x="1482827" y="181775"/>
                  </a:lnTo>
                  <a:lnTo>
                    <a:pt x="1482827" y="181026"/>
                  </a:lnTo>
                  <a:lnTo>
                    <a:pt x="1482827" y="181775"/>
                  </a:lnTo>
                  <a:lnTo>
                    <a:pt x="1482827" y="181026"/>
                  </a:lnTo>
                  <a:lnTo>
                    <a:pt x="1482827" y="181775"/>
                  </a:lnTo>
                  <a:lnTo>
                    <a:pt x="1482827" y="181026"/>
                  </a:lnTo>
                  <a:lnTo>
                    <a:pt x="1482929" y="181026"/>
                  </a:lnTo>
                  <a:lnTo>
                    <a:pt x="1482929" y="179743"/>
                  </a:lnTo>
                  <a:lnTo>
                    <a:pt x="1482980" y="179743"/>
                  </a:lnTo>
                  <a:lnTo>
                    <a:pt x="1482980" y="177609"/>
                  </a:lnTo>
                  <a:lnTo>
                    <a:pt x="1483030" y="177609"/>
                  </a:lnTo>
                  <a:lnTo>
                    <a:pt x="1483030" y="177012"/>
                  </a:lnTo>
                  <a:lnTo>
                    <a:pt x="1483030" y="178295"/>
                  </a:lnTo>
                  <a:lnTo>
                    <a:pt x="1483030" y="177012"/>
                  </a:lnTo>
                  <a:lnTo>
                    <a:pt x="1483132" y="177012"/>
                  </a:lnTo>
                  <a:lnTo>
                    <a:pt x="1483132" y="180327"/>
                  </a:lnTo>
                  <a:lnTo>
                    <a:pt x="1483132" y="179743"/>
                  </a:lnTo>
                  <a:lnTo>
                    <a:pt x="1483132" y="180327"/>
                  </a:lnTo>
                  <a:lnTo>
                    <a:pt x="1483132" y="177609"/>
                  </a:lnTo>
                  <a:lnTo>
                    <a:pt x="1483183" y="177609"/>
                  </a:lnTo>
                  <a:lnTo>
                    <a:pt x="1483183" y="180327"/>
                  </a:lnTo>
                  <a:lnTo>
                    <a:pt x="1483183" y="179743"/>
                  </a:lnTo>
                  <a:lnTo>
                    <a:pt x="1483183" y="180327"/>
                  </a:lnTo>
                  <a:lnTo>
                    <a:pt x="1483183" y="179743"/>
                  </a:lnTo>
                  <a:lnTo>
                    <a:pt x="1483234" y="178295"/>
                  </a:lnTo>
                  <a:lnTo>
                    <a:pt x="1483234" y="180327"/>
                  </a:lnTo>
                  <a:lnTo>
                    <a:pt x="1483272" y="180327"/>
                  </a:lnTo>
                  <a:lnTo>
                    <a:pt x="1483272" y="181775"/>
                  </a:lnTo>
                  <a:lnTo>
                    <a:pt x="1483373" y="181775"/>
                  </a:lnTo>
                  <a:lnTo>
                    <a:pt x="1483373" y="181026"/>
                  </a:lnTo>
                  <a:lnTo>
                    <a:pt x="1483373" y="181775"/>
                  </a:lnTo>
                  <a:lnTo>
                    <a:pt x="1483373" y="181026"/>
                  </a:lnTo>
                  <a:lnTo>
                    <a:pt x="1483424" y="181026"/>
                  </a:lnTo>
                  <a:lnTo>
                    <a:pt x="1483424" y="180327"/>
                  </a:lnTo>
                  <a:lnTo>
                    <a:pt x="1483475" y="180327"/>
                  </a:lnTo>
                  <a:lnTo>
                    <a:pt x="1483475" y="178295"/>
                  </a:lnTo>
                  <a:lnTo>
                    <a:pt x="1483576" y="178295"/>
                  </a:lnTo>
                  <a:lnTo>
                    <a:pt x="1483576" y="180327"/>
                  </a:lnTo>
                  <a:lnTo>
                    <a:pt x="1483576" y="177609"/>
                  </a:lnTo>
                  <a:lnTo>
                    <a:pt x="1483576" y="179743"/>
                  </a:lnTo>
                  <a:lnTo>
                    <a:pt x="1483627" y="179743"/>
                  </a:lnTo>
                  <a:lnTo>
                    <a:pt x="1483627" y="180327"/>
                  </a:lnTo>
                  <a:lnTo>
                    <a:pt x="1483627" y="178295"/>
                  </a:lnTo>
                  <a:lnTo>
                    <a:pt x="1483627" y="179743"/>
                  </a:lnTo>
                  <a:lnTo>
                    <a:pt x="1483678" y="179743"/>
                  </a:lnTo>
                  <a:lnTo>
                    <a:pt x="1483678" y="180327"/>
                  </a:lnTo>
                  <a:lnTo>
                    <a:pt x="1483678" y="179743"/>
                  </a:lnTo>
                  <a:lnTo>
                    <a:pt x="1483678" y="180327"/>
                  </a:lnTo>
                  <a:lnTo>
                    <a:pt x="1483729" y="180327"/>
                  </a:lnTo>
                  <a:lnTo>
                    <a:pt x="1483729" y="179743"/>
                  </a:lnTo>
                  <a:lnTo>
                    <a:pt x="1483729" y="180327"/>
                  </a:lnTo>
                  <a:lnTo>
                    <a:pt x="1483729" y="179743"/>
                  </a:lnTo>
                  <a:lnTo>
                    <a:pt x="1483729" y="180327"/>
                  </a:lnTo>
                  <a:lnTo>
                    <a:pt x="1483818" y="180327"/>
                  </a:lnTo>
                  <a:lnTo>
                    <a:pt x="1483818" y="179743"/>
                  </a:lnTo>
                  <a:lnTo>
                    <a:pt x="1483818" y="181026"/>
                  </a:lnTo>
                  <a:lnTo>
                    <a:pt x="1483869" y="180327"/>
                  </a:lnTo>
                  <a:lnTo>
                    <a:pt x="1483869" y="181026"/>
                  </a:lnTo>
                  <a:lnTo>
                    <a:pt x="1483869" y="180327"/>
                  </a:lnTo>
                  <a:lnTo>
                    <a:pt x="1483869" y="181026"/>
                  </a:lnTo>
                  <a:lnTo>
                    <a:pt x="1483869" y="180327"/>
                  </a:lnTo>
                  <a:lnTo>
                    <a:pt x="1483919" y="180327"/>
                  </a:lnTo>
                  <a:lnTo>
                    <a:pt x="1483919" y="181026"/>
                  </a:lnTo>
                  <a:lnTo>
                    <a:pt x="1483919" y="179743"/>
                  </a:lnTo>
                  <a:lnTo>
                    <a:pt x="1483919" y="180327"/>
                  </a:lnTo>
                  <a:lnTo>
                    <a:pt x="1483919" y="179743"/>
                  </a:lnTo>
                  <a:lnTo>
                    <a:pt x="1483919" y="180327"/>
                  </a:lnTo>
                  <a:lnTo>
                    <a:pt x="1483919" y="179743"/>
                  </a:lnTo>
                  <a:lnTo>
                    <a:pt x="1483919" y="180327"/>
                  </a:lnTo>
                  <a:lnTo>
                    <a:pt x="1483970" y="180327"/>
                  </a:lnTo>
                  <a:lnTo>
                    <a:pt x="1483970" y="177609"/>
                  </a:lnTo>
                  <a:lnTo>
                    <a:pt x="1483970" y="178295"/>
                  </a:lnTo>
                  <a:lnTo>
                    <a:pt x="1483970" y="177609"/>
                  </a:lnTo>
                  <a:lnTo>
                    <a:pt x="1483970" y="178295"/>
                  </a:lnTo>
                  <a:lnTo>
                    <a:pt x="1484072" y="178295"/>
                  </a:lnTo>
                  <a:lnTo>
                    <a:pt x="1484072" y="180327"/>
                  </a:lnTo>
                  <a:lnTo>
                    <a:pt x="1484072" y="177609"/>
                  </a:lnTo>
                  <a:lnTo>
                    <a:pt x="1484072" y="181026"/>
                  </a:lnTo>
                  <a:lnTo>
                    <a:pt x="1484122" y="181026"/>
                  </a:lnTo>
                  <a:lnTo>
                    <a:pt x="1484122" y="181775"/>
                  </a:lnTo>
                  <a:lnTo>
                    <a:pt x="1484122" y="179743"/>
                  </a:lnTo>
                  <a:lnTo>
                    <a:pt x="1484122" y="180327"/>
                  </a:lnTo>
                  <a:lnTo>
                    <a:pt x="1484173" y="181026"/>
                  </a:lnTo>
                  <a:lnTo>
                    <a:pt x="1484173" y="179743"/>
                  </a:lnTo>
                  <a:lnTo>
                    <a:pt x="1484173" y="181026"/>
                  </a:lnTo>
                  <a:lnTo>
                    <a:pt x="1484275" y="181026"/>
                  </a:lnTo>
                  <a:lnTo>
                    <a:pt x="1484275" y="180327"/>
                  </a:lnTo>
                  <a:lnTo>
                    <a:pt x="1484275" y="181026"/>
                  </a:lnTo>
                  <a:lnTo>
                    <a:pt x="1484313" y="181026"/>
                  </a:lnTo>
                  <a:lnTo>
                    <a:pt x="1484313" y="180327"/>
                  </a:lnTo>
                  <a:lnTo>
                    <a:pt x="1484313" y="181026"/>
                  </a:lnTo>
                  <a:lnTo>
                    <a:pt x="1484364" y="181026"/>
                  </a:lnTo>
                  <a:lnTo>
                    <a:pt x="1484364" y="181775"/>
                  </a:lnTo>
                  <a:lnTo>
                    <a:pt x="1484364" y="181026"/>
                  </a:lnTo>
                  <a:lnTo>
                    <a:pt x="1484364" y="181775"/>
                  </a:lnTo>
                  <a:lnTo>
                    <a:pt x="1484364" y="181026"/>
                  </a:lnTo>
                  <a:lnTo>
                    <a:pt x="1484364" y="181775"/>
                  </a:lnTo>
                  <a:lnTo>
                    <a:pt x="1484364" y="181026"/>
                  </a:lnTo>
                  <a:lnTo>
                    <a:pt x="1484415" y="181026"/>
                  </a:lnTo>
                  <a:lnTo>
                    <a:pt x="1484415" y="180327"/>
                  </a:lnTo>
                  <a:lnTo>
                    <a:pt x="1484516" y="179743"/>
                  </a:lnTo>
                  <a:lnTo>
                    <a:pt x="1484516" y="178295"/>
                  </a:lnTo>
                  <a:lnTo>
                    <a:pt x="1484516" y="179743"/>
                  </a:lnTo>
                  <a:lnTo>
                    <a:pt x="1484516" y="177609"/>
                  </a:lnTo>
                  <a:lnTo>
                    <a:pt x="1484516" y="180327"/>
                  </a:lnTo>
                  <a:lnTo>
                    <a:pt x="1484567" y="180327"/>
                  </a:lnTo>
                  <a:lnTo>
                    <a:pt x="1484567" y="178295"/>
                  </a:lnTo>
                  <a:lnTo>
                    <a:pt x="1484567" y="181775"/>
                  </a:lnTo>
                  <a:lnTo>
                    <a:pt x="1484567" y="181026"/>
                  </a:lnTo>
                  <a:lnTo>
                    <a:pt x="1484618" y="181775"/>
                  </a:lnTo>
                  <a:lnTo>
                    <a:pt x="1484618" y="180327"/>
                  </a:lnTo>
                  <a:lnTo>
                    <a:pt x="1484618" y="181775"/>
                  </a:lnTo>
                  <a:lnTo>
                    <a:pt x="1484618" y="181026"/>
                  </a:lnTo>
                  <a:lnTo>
                    <a:pt x="1484719" y="181026"/>
                  </a:lnTo>
                  <a:lnTo>
                    <a:pt x="1484719" y="180327"/>
                  </a:lnTo>
                  <a:lnTo>
                    <a:pt x="1484719" y="181775"/>
                  </a:lnTo>
                  <a:lnTo>
                    <a:pt x="1484770" y="181775"/>
                  </a:lnTo>
                  <a:lnTo>
                    <a:pt x="1484770" y="181026"/>
                  </a:lnTo>
                  <a:lnTo>
                    <a:pt x="1484770" y="181775"/>
                  </a:lnTo>
                  <a:lnTo>
                    <a:pt x="1484770" y="181026"/>
                  </a:lnTo>
                  <a:lnTo>
                    <a:pt x="1484821" y="181775"/>
                  </a:lnTo>
                  <a:lnTo>
                    <a:pt x="1484821" y="181026"/>
                  </a:lnTo>
                  <a:lnTo>
                    <a:pt x="1484821" y="181775"/>
                  </a:lnTo>
                  <a:lnTo>
                    <a:pt x="1484821" y="180327"/>
                  </a:lnTo>
                  <a:lnTo>
                    <a:pt x="1484821" y="181026"/>
                  </a:lnTo>
                  <a:lnTo>
                    <a:pt x="1484821" y="180327"/>
                  </a:lnTo>
                  <a:lnTo>
                    <a:pt x="1484821" y="181026"/>
                  </a:lnTo>
                  <a:lnTo>
                    <a:pt x="1484859" y="181026"/>
                  </a:lnTo>
                  <a:lnTo>
                    <a:pt x="1484859" y="180327"/>
                  </a:lnTo>
                  <a:lnTo>
                    <a:pt x="1484859" y="181026"/>
                  </a:lnTo>
                  <a:lnTo>
                    <a:pt x="1484859" y="180327"/>
                  </a:lnTo>
                  <a:lnTo>
                    <a:pt x="1484859" y="181026"/>
                  </a:lnTo>
                  <a:lnTo>
                    <a:pt x="1484859" y="179743"/>
                  </a:lnTo>
                  <a:lnTo>
                    <a:pt x="1484961" y="179743"/>
                  </a:lnTo>
                  <a:lnTo>
                    <a:pt x="1484961" y="180327"/>
                  </a:lnTo>
                  <a:lnTo>
                    <a:pt x="1484961" y="178295"/>
                  </a:lnTo>
                  <a:lnTo>
                    <a:pt x="1485012" y="178295"/>
                  </a:lnTo>
                  <a:lnTo>
                    <a:pt x="1485012" y="177609"/>
                  </a:lnTo>
                  <a:lnTo>
                    <a:pt x="1485012" y="180327"/>
                  </a:lnTo>
                  <a:lnTo>
                    <a:pt x="1485012" y="177609"/>
                  </a:lnTo>
                  <a:lnTo>
                    <a:pt x="1485062" y="177609"/>
                  </a:lnTo>
                  <a:lnTo>
                    <a:pt x="1485062" y="181026"/>
                  </a:lnTo>
                  <a:lnTo>
                    <a:pt x="1485062" y="180327"/>
                  </a:lnTo>
                  <a:lnTo>
                    <a:pt x="1485164" y="180327"/>
                  </a:lnTo>
                  <a:lnTo>
                    <a:pt x="1485164" y="181026"/>
                  </a:lnTo>
                  <a:lnTo>
                    <a:pt x="1485164" y="180327"/>
                  </a:lnTo>
                  <a:lnTo>
                    <a:pt x="1485164" y="181026"/>
                  </a:lnTo>
                  <a:lnTo>
                    <a:pt x="1485164" y="180327"/>
                  </a:lnTo>
                  <a:lnTo>
                    <a:pt x="1485215" y="180327"/>
                  </a:lnTo>
                  <a:lnTo>
                    <a:pt x="1485215" y="181775"/>
                  </a:lnTo>
                  <a:lnTo>
                    <a:pt x="1485215" y="181026"/>
                  </a:lnTo>
                  <a:lnTo>
                    <a:pt x="1485215" y="182461"/>
                  </a:lnTo>
                  <a:lnTo>
                    <a:pt x="1485215" y="181026"/>
                  </a:lnTo>
                  <a:lnTo>
                    <a:pt x="1485215" y="181775"/>
                  </a:lnTo>
                  <a:lnTo>
                    <a:pt x="1485215" y="181026"/>
                  </a:lnTo>
                  <a:lnTo>
                    <a:pt x="1485265" y="181775"/>
                  </a:lnTo>
                  <a:lnTo>
                    <a:pt x="1485265" y="181026"/>
                  </a:lnTo>
                  <a:lnTo>
                    <a:pt x="1485265" y="181775"/>
                  </a:lnTo>
                  <a:lnTo>
                    <a:pt x="1485316" y="181775"/>
                  </a:lnTo>
                  <a:lnTo>
                    <a:pt x="1485316" y="181026"/>
                  </a:lnTo>
                  <a:lnTo>
                    <a:pt x="1485316" y="181775"/>
                  </a:lnTo>
                  <a:lnTo>
                    <a:pt x="1485316" y="181026"/>
                  </a:lnTo>
                  <a:lnTo>
                    <a:pt x="1485316" y="181775"/>
                  </a:lnTo>
                  <a:lnTo>
                    <a:pt x="1485316" y="181026"/>
                  </a:lnTo>
                  <a:lnTo>
                    <a:pt x="1485316" y="181775"/>
                  </a:lnTo>
                  <a:lnTo>
                    <a:pt x="1485316" y="181026"/>
                  </a:lnTo>
                  <a:lnTo>
                    <a:pt x="1485405" y="181026"/>
                  </a:lnTo>
                  <a:lnTo>
                    <a:pt x="1485405" y="180327"/>
                  </a:lnTo>
                  <a:lnTo>
                    <a:pt x="1485405" y="181026"/>
                  </a:lnTo>
                  <a:lnTo>
                    <a:pt x="1485405" y="180327"/>
                  </a:lnTo>
                  <a:lnTo>
                    <a:pt x="1485405" y="181026"/>
                  </a:lnTo>
                  <a:lnTo>
                    <a:pt x="1485405" y="180327"/>
                  </a:lnTo>
                  <a:lnTo>
                    <a:pt x="1485405" y="181026"/>
                  </a:lnTo>
                  <a:lnTo>
                    <a:pt x="1485456" y="181026"/>
                  </a:lnTo>
                  <a:lnTo>
                    <a:pt x="1485456" y="178295"/>
                  </a:lnTo>
                  <a:lnTo>
                    <a:pt x="1485456" y="181026"/>
                  </a:lnTo>
                  <a:lnTo>
                    <a:pt x="1485507" y="181026"/>
                  </a:lnTo>
                  <a:lnTo>
                    <a:pt x="1485507" y="179743"/>
                  </a:lnTo>
                  <a:lnTo>
                    <a:pt x="1485507" y="180327"/>
                  </a:lnTo>
                  <a:lnTo>
                    <a:pt x="1485507" y="178295"/>
                  </a:lnTo>
                  <a:lnTo>
                    <a:pt x="1485507" y="181775"/>
                  </a:lnTo>
                  <a:lnTo>
                    <a:pt x="1485558" y="181775"/>
                  </a:lnTo>
                  <a:lnTo>
                    <a:pt x="1485558" y="181026"/>
                  </a:lnTo>
                  <a:lnTo>
                    <a:pt x="1485558" y="182461"/>
                  </a:lnTo>
                  <a:lnTo>
                    <a:pt x="1485558" y="181775"/>
                  </a:lnTo>
                  <a:lnTo>
                    <a:pt x="1485659" y="181775"/>
                  </a:lnTo>
                  <a:lnTo>
                    <a:pt x="1485659" y="181026"/>
                  </a:lnTo>
                  <a:lnTo>
                    <a:pt x="1485659" y="181775"/>
                  </a:lnTo>
                  <a:lnTo>
                    <a:pt x="1485659" y="181026"/>
                  </a:lnTo>
                  <a:lnTo>
                    <a:pt x="1485659" y="182461"/>
                  </a:lnTo>
                  <a:lnTo>
                    <a:pt x="1485659" y="181775"/>
                  </a:lnTo>
                  <a:lnTo>
                    <a:pt x="1485710" y="181775"/>
                  </a:lnTo>
                  <a:lnTo>
                    <a:pt x="1485710" y="182461"/>
                  </a:lnTo>
                  <a:lnTo>
                    <a:pt x="1485710" y="181775"/>
                  </a:lnTo>
                  <a:lnTo>
                    <a:pt x="1485761" y="181775"/>
                  </a:lnTo>
                  <a:lnTo>
                    <a:pt x="1485761" y="182461"/>
                  </a:lnTo>
                  <a:lnTo>
                    <a:pt x="1485761" y="181775"/>
                  </a:lnTo>
                  <a:lnTo>
                    <a:pt x="1485862" y="181775"/>
                  </a:lnTo>
                  <a:lnTo>
                    <a:pt x="1485862" y="181026"/>
                  </a:lnTo>
                  <a:lnTo>
                    <a:pt x="1485862" y="181775"/>
                  </a:lnTo>
                  <a:lnTo>
                    <a:pt x="1485862" y="181026"/>
                  </a:lnTo>
                  <a:lnTo>
                    <a:pt x="1485900" y="180327"/>
                  </a:lnTo>
                  <a:lnTo>
                    <a:pt x="1485900" y="181026"/>
                  </a:lnTo>
                  <a:lnTo>
                    <a:pt x="1485900" y="178295"/>
                  </a:lnTo>
                  <a:lnTo>
                    <a:pt x="1485900" y="180327"/>
                  </a:lnTo>
                  <a:lnTo>
                    <a:pt x="1485900" y="179743"/>
                  </a:lnTo>
                  <a:lnTo>
                    <a:pt x="1485951" y="179743"/>
                  </a:lnTo>
                  <a:lnTo>
                    <a:pt x="1485951" y="177609"/>
                  </a:lnTo>
                  <a:lnTo>
                    <a:pt x="1485951" y="179743"/>
                  </a:lnTo>
                  <a:lnTo>
                    <a:pt x="1486002" y="179743"/>
                  </a:lnTo>
                  <a:lnTo>
                    <a:pt x="1486002" y="177609"/>
                  </a:lnTo>
                  <a:lnTo>
                    <a:pt x="1486002" y="181026"/>
                  </a:lnTo>
                  <a:lnTo>
                    <a:pt x="1486002" y="180327"/>
                  </a:lnTo>
                  <a:lnTo>
                    <a:pt x="1486104" y="180327"/>
                  </a:lnTo>
                  <a:lnTo>
                    <a:pt x="1486104" y="179743"/>
                  </a:lnTo>
                  <a:lnTo>
                    <a:pt x="1486104" y="180327"/>
                  </a:lnTo>
                  <a:lnTo>
                    <a:pt x="1486104" y="179743"/>
                  </a:lnTo>
                  <a:lnTo>
                    <a:pt x="1486104" y="181026"/>
                  </a:lnTo>
                  <a:lnTo>
                    <a:pt x="1486155" y="181026"/>
                  </a:lnTo>
                  <a:lnTo>
                    <a:pt x="1486155" y="180327"/>
                  </a:lnTo>
                  <a:lnTo>
                    <a:pt x="1486155" y="181775"/>
                  </a:lnTo>
                  <a:lnTo>
                    <a:pt x="1486155" y="181026"/>
                  </a:lnTo>
                  <a:lnTo>
                    <a:pt x="1486155" y="181775"/>
                  </a:lnTo>
                  <a:lnTo>
                    <a:pt x="1486155" y="180327"/>
                  </a:lnTo>
                  <a:lnTo>
                    <a:pt x="1486155" y="181026"/>
                  </a:lnTo>
                  <a:lnTo>
                    <a:pt x="1486205" y="181026"/>
                  </a:lnTo>
                  <a:lnTo>
                    <a:pt x="1486205" y="181775"/>
                  </a:lnTo>
                  <a:lnTo>
                    <a:pt x="1486205" y="181026"/>
                  </a:lnTo>
                  <a:lnTo>
                    <a:pt x="1486205" y="181775"/>
                  </a:lnTo>
                  <a:lnTo>
                    <a:pt x="1486307" y="181026"/>
                  </a:lnTo>
                  <a:lnTo>
                    <a:pt x="1486307" y="181775"/>
                  </a:lnTo>
                  <a:lnTo>
                    <a:pt x="1486358" y="181775"/>
                  </a:lnTo>
                  <a:lnTo>
                    <a:pt x="1486358" y="181026"/>
                  </a:lnTo>
                  <a:lnTo>
                    <a:pt x="1486358" y="181775"/>
                  </a:lnTo>
                  <a:lnTo>
                    <a:pt x="1486358" y="181026"/>
                  </a:lnTo>
                  <a:lnTo>
                    <a:pt x="1486358" y="181775"/>
                  </a:lnTo>
                  <a:lnTo>
                    <a:pt x="1486358" y="181026"/>
                  </a:lnTo>
                  <a:lnTo>
                    <a:pt x="1486409" y="181026"/>
                  </a:lnTo>
                  <a:lnTo>
                    <a:pt x="1486409" y="180327"/>
                  </a:lnTo>
                  <a:lnTo>
                    <a:pt x="1486409" y="181026"/>
                  </a:lnTo>
                  <a:lnTo>
                    <a:pt x="1486409" y="180327"/>
                  </a:lnTo>
                  <a:lnTo>
                    <a:pt x="1486409" y="181026"/>
                  </a:lnTo>
                  <a:lnTo>
                    <a:pt x="1486409" y="177609"/>
                  </a:lnTo>
                  <a:lnTo>
                    <a:pt x="1486447" y="177609"/>
                  </a:lnTo>
                  <a:lnTo>
                    <a:pt x="1486447" y="179743"/>
                  </a:lnTo>
                  <a:lnTo>
                    <a:pt x="1486447" y="177609"/>
                  </a:lnTo>
                  <a:lnTo>
                    <a:pt x="1486548" y="177012"/>
                  </a:lnTo>
                  <a:lnTo>
                    <a:pt x="1486548" y="177609"/>
                  </a:lnTo>
                  <a:lnTo>
                    <a:pt x="1486548" y="177012"/>
                  </a:lnTo>
                  <a:lnTo>
                    <a:pt x="1486548" y="177609"/>
                  </a:lnTo>
                  <a:lnTo>
                    <a:pt x="1486548" y="177012"/>
                  </a:lnTo>
                  <a:lnTo>
                    <a:pt x="1486548" y="179743"/>
                  </a:lnTo>
                  <a:lnTo>
                    <a:pt x="1486548" y="178295"/>
                  </a:lnTo>
                  <a:lnTo>
                    <a:pt x="1486599" y="178295"/>
                  </a:lnTo>
                  <a:lnTo>
                    <a:pt x="1486599" y="180327"/>
                  </a:lnTo>
                  <a:lnTo>
                    <a:pt x="1486599" y="179743"/>
                  </a:lnTo>
                  <a:lnTo>
                    <a:pt x="1486650" y="179743"/>
                  </a:lnTo>
                  <a:lnTo>
                    <a:pt x="1486650" y="180327"/>
                  </a:lnTo>
                  <a:lnTo>
                    <a:pt x="1486650" y="179743"/>
                  </a:lnTo>
                  <a:lnTo>
                    <a:pt x="1486650" y="180327"/>
                  </a:lnTo>
                  <a:lnTo>
                    <a:pt x="1486650" y="179743"/>
                  </a:lnTo>
                  <a:lnTo>
                    <a:pt x="1486650" y="180327"/>
                  </a:lnTo>
                  <a:lnTo>
                    <a:pt x="1486650" y="179743"/>
                  </a:lnTo>
                  <a:lnTo>
                    <a:pt x="1486751" y="180327"/>
                  </a:lnTo>
                  <a:lnTo>
                    <a:pt x="1486751" y="181026"/>
                  </a:lnTo>
                  <a:lnTo>
                    <a:pt x="1486751" y="180327"/>
                  </a:lnTo>
                  <a:lnTo>
                    <a:pt x="1486751" y="181026"/>
                  </a:lnTo>
                  <a:lnTo>
                    <a:pt x="1486751" y="180327"/>
                  </a:lnTo>
                  <a:lnTo>
                    <a:pt x="1486751" y="181026"/>
                  </a:lnTo>
                  <a:lnTo>
                    <a:pt x="1486802" y="180327"/>
                  </a:lnTo>
                  <a:lnTo>
                    <a:pt x="1486802" y="181026"/>
                  </a:lnTo>
                  <a:lnTo>
                    <a:pt x="1486802" y="180327"/>
                  </a:lnTo>
                  <a:lnTo>
                    <a:pt x="1486802" y="181026"/>
                  </a:lnTo>
                  <a:lnTo>
                    <a:pt x="1486802" y="180327"/>
                  </a:lnTo>
                  <a:lnTo>
                    <a:pt x="1486853" y="181026"/>
                  </a:lnTo>
                  <a:lnTo>
                    <a:pt x="1486853" y="180327"/>
                  </a:lnTo>
                  <a:lnTo>
                    <a:pt x="1486853" y="181026"/>
                  </a:lnTo>
                  <a:lnTo>
                    <a:pt x="1486853" y="180327"/>
                  </a:lnTo>
                  <a:lnTo>
                    <a:pt x="1486904" y="180327"/>
                  </a:lnTo>
                  <a:lnTo>
                    <a:pt x="1486904" y="181026"/>
                  </a:lnTo>
                  <a:lnTo>
                    <a:pt x="1486904" y="180327"/>
                  </a:lnTo>
                  <a:lnTo>
                    <a:pt x="1486904" y="181026"/>
                  </a:lnTo>
                  <a:lnTo>
                    <a:pt x="1486904" y="178295"/>
                  </a:lnTo>
                  <a:lnTo>
                    <a:pt x="1486993" y="178295"/>
                  </a:lnTo>
                  <a:lnTo>
                    <a:pt x="1486993" y="180327"/>
                  </a:lnTo>
                  <a:lnTo>
                    <a:pt x="1486993" y="177609"/>
                  </a:lnTo>
                  <a:lnTo>
                    <a:pt x="1487044" y="178295"/>
                  </a:lnTo>
                  <a:lnTo>
                    <a:pt x="1487044" y="181775"/>
                  </a:lnTo>
                  <a:lnTo>
                    <a:pt x="1487044" y="179743"/>
                  </a:lnTo>
                  <a:lnTo>
                    <a:pt x="1487044" y="180327"/>
                  </a:lnTo>
                  <a:lnTo>
                    <a:pt x="1487044" y="179743"/>
                  </a:lnTo>
                  <a:lnTo>
                    <a:pt x="1487044" y="180327"/>
                  </a:lnTo>
                  <a:lnTo>
                    <a:pt x="1487094" y="180327"/>
                  </a:lnTo>
                  <a:lnTo>
                    <a:pt x="1487094" y="181026"/>
                  </a:lnTo>
                  <a:lnTo>
                    <a:pt x="1487094" y="180327"/>
                  </a:lnTo>
                  <a:lnTo>
                    <a:pt x="1487094" y="181026"/>
                  </a:lnTo>
                  <a:lnTo>
                    <a:pt x="1487145" y="181026"/>
                  </a:lnTo>
                  <a:lnTo>
                    <a:pt x="1487145" y="180327"/>
                  </a:lnTo>
                  <a:lnTo>
                    <a:pt x="1487247" y="181026"/>
                  </a:lnTo>
                  <a:lnTo>
                    <a:pt x="1487247" y="180327"/>
                  </a:lnTo>
                  <a:lnTo>
                    <a:pt x="1487247" y="181026"/>
                  </a:lnTo>
                  <a:lnTo>
                    <a:pt x="1487348" y="181026"/>
                  </a:lnTo>
                  <a:lnTo>
                    <a:pt x="1487348" y="180327"/>
                  </a:lnTo>
                  <a:lnTo>
                    <a:pt x="1487348" y="181026"/>
                  </a:lnTo>
                  <a:lnTo>
                    <a:pt x="1487348" y="180327"/>
                  </a:lnTo>
                  <a:lnTo>
                    <a:pt x="1487450" y="181026"/>
                  </a:lnTo>
                  <a:lnTo>
                    <a:pt x="1487450" y="179743"/>
                  </a:lnTo>
                  <a:lnTo>
                    <a:pt x="1487450" y="181775"/>
                  </a:lnTo>
                  <a:lnTo>
                    <a:pt x="1487450" y="181026"/>
                  </a:lnTo>
                  <a:lnTo>
                    <a:pt x="1487488" y="181026"/>
                  </a:lnTo>
                  <a:lnTo>
                    <a:pt x="1487488" y="180327"/>
                  </a:lnTo>
                  <a:lnTo>
                    <a:pt x="1487488" y="181026"/>
                  </a:lnTo>
                  <a:lnTo>
                    <a:pt x="1487488" y="180327"/>
                  </a:lnTo>
                  <a:lnTo>
                    <a:pt x="1487488" y="182461"/>
                  </a:lnTo>
                  <a:lnTo>
                    <a:pt x="1487488" y="181775"/>
                  </a:lnTo>
                  <a:lnTo>
                    <a:pt x="1487539" y="181775"/>
                  </a:lnTo>
                  <a:lnTo>
                    <a:pt x="1487539" y="182461"/>
                  </a:lnTo>
                  <a:lnTo>
                    <a:pt x="1487539" y="181775"/>
                  </a:lnTo>
                  <a:lnTo>
                    <a:pt x="1487539" y="182461"/>
                  </a:lnTo>
                  <a:lnTo>
                    <a:pt x="1487590" y="182461"/>
                  </a:lnTo>
                  <a:lnTo>
                    <a:pt x="1487590" y="181775"/>
                  </a:lnTo>
                  <a:lnTo>
                    <a:pt x="1487590" y="183807"/>
                  </a:lnTo>
                  <a:lnTo>
                    <a:pt x="1487590" y="181775"/>
                  </a:lnTo>
                  <a:lnTo>
                    <a:pt x="1487590" y="182461"/>
                  </a:lnTo>
                  <a:lnTo>
                    <a:pt x="1487590" y="181775"/>
                  </a:lnTo>
                  <a:lnTo>
                    <a:pt x="1487590" y="182461"/>
                  </a:lnTo>
                  <a:lnTo>
                    <a:pt x="1487691" y="181775"/>
                  </a:lnTo>
                  <a:lnTo>
                    <a:pt x="1487691" y="181026"/>
                  </a:lnTo>
                  <a:lnTo>
                    <a:pt x="1487691" y="182461"/>
                  </a:lnTo>
                  <a:lnTo>
                    <a:pt x="1487691" y="181775"/>
                  </a:lnTo>
                  <a:lnTo>
                    <a:pt x="1487742" y="181775"/>
                  </a:lnTo>
                  <a:lnTo>
                    <a:pt x="1487742" y="182461"/>
                  </a:lnTo>
                  <a:lnTo>
                    <a:pt x="1487742" y="181026"/>
                  </a:lnTo>
                  <a:lnTo>
                    <a:pt x="1487742" y="181775"/>
                  </a:lnTo>
                  <a:lnTo>
                    <a:pt x="1487793" y="181026"/>
                  </a:lnTo>
                  <a:lnTo>
                    <a:pt x="1487793" y="180327"/>
                  </a:lnTo>
                  <a:lnTo>
                    <a:pt x="1487793" y="181026"/>
                  </a:lnTo>
                  <a:lnTo>
                    <a:pt x="1487793" y="180327"/>
                  </a:lnTo>
                  <a:lnTo>
                    <a:pt x="1487894" y="179743"/>
                  </a:lnTo>
                  <a:lnTo>
                    <a:pt x="1487894" y="180327"/>
                  </a:lnTo>
                  <a:lnTo>
                    <a:pt x="1487894" y="178295"/>
                  </a:lnTo>
                  <a:lnTo>
                    <a:pt x="1487894" y="179743"/>
                  </a:lnTo>
                  <a:lnTo>
                    <a:pt x="1487945" y="178295"/>
                  </a:lnTo>
                  <a:lnTo>
                    <a:pt x="1487945" y="177609"/>
                  </a:lnTo>
                  <a:lnTo>
                    <a:pt x="1487945" y="179743"/>
                  </a:lnTo>
                  <a:lnTo>
                    <a:pt x="1487945" y="178295"/>
                  </a:lnTo>
                  <a:lnTo>
                    <a:pt x="1487996" y="178295"/>
                  </a:lnTo>
                  <a:lnTo>
                    <a:pt x="1487996" y="181026"/>
                  </a:lnTo>
                  <a:lnTo>
                    <a:pt x="1487996" y="180327"/>
                  </a:lnTo>
                  <a:lnTo>
                    <a:pt x="1488034" y="180327"/>
                  </a:lnTo>
                  <a:lnTo>
                    <a:pt x="1488034" y="179743"/>
                  </a:lnTo>
                  <a:lnTo>
                    <a:pt x="1488034" y="181775"/>
                  </a:lnTo>
                  <a:lnTo>
                    <a:pt x="1488034" y="181026"/>
                  </a:lnTo>
                  <a:lnTo>
                    <a:pt x="1488136" y="181026"/>
                  </a:lnTo>
                  <a:lnTo>
                    <a:pt x="1488136" y="181775"/>
                  </a:lnTo>
                  <a:lnTo>
                    <a:pt x="1488136" y="181026"/>
                  </a:lnTo>
                  <a:lnTo>
                    <a:pt x="1488187" y="181775"/>
                  </a:lnTo>
                  <a:lnTo>
                    <a:pt x="1488187" y="181026"/>
                  </a:lnTo>
                  <a:lnTo>
                    <a:pt x="1488187" y="181775"/>
                  </a:lnTo>
                  <a:lnTo>
                    <a:pt x="1488237" y="181775"/>
                  </a:lnTo>
                  <a:lnTo>
                    <a:pt x="1488237" y="181026"/>
                  </a:lnTo>
                  <a:lnTo>
                    <a:pt x="1488237" y="181775"/>
                  </a:lnTo>
                  <a:lnTo>
                    <a:pt x="1488339" y="181026"/>
                  </a:lnTo>
                  <a:lnTo>
                    <a:pt x="1488339" y="180327"/>
                  </a:lnTo>
                  <a:lnTo>
                    <a:pt x="1488390" y="180327"/>
                  </a:lnTo>
                  <a:lnTo>
                    <a:pt x="1488390" y="177609"/>
                  </a:lnTo>
                  <a:lnTo>
                    <a:pt x="1488440" y="177609"/>
                  </a:lnTo>
                  <a:lnTo>
                    <a:pt x="1488440" y="179743"/>
                  </a:lnTo>
                  <a:lnTo>
                    <a:pt x="1488440" y="177609"/>
                  </a:lnTo>
                  <a:lnTo>
                    <a:pt x="1488440" y="178295"/>
                  </a:lnTo>
                  <a:lnTo>
                    <a:pt x="1488491" y="178295"/>
                  </a:lnTo>
                  <a:lnTo>
                    <a:pt x="1488491" y="180327"/>
                  </a:lnTo>
                  <a:lnTo>
                    <a:pt x="1488491" y="179743"/>
                  </a:lnTo>
                  <a:lnTo>
                    <a:pt x="1488491" y="180327"/>
                  </a:lnTo>
                  <a:lnTo>
                    <a:pt x="1488580" y="180327"/>
                  </a:lnTo>
                  <a:lnTo>
                    <a:pt x="1488580" y="181026"/>
                  </a:lnTo>
                  <a:lnTo>
                    <a:pt x="1488580" y="180327"/>
                  </a:lnTo>
                  <a:lnTo>
                    <a:pt x="1488580" y="181026"/>
                  </a:lnTo>
                  <a:lnTo>
                    <a:pt x="1488580" y="180327"/>
                  </a:lnTo>
                  <a:lnTo>
                    <a:pt x="1488580" y="181026"/>
                  </a:lnTo>
                  <a:lnTo>
                    <a:pt x="1488631" y="181026"/>
                  </a:lnTo>
                  <a:lnTo>
                    <a:pt x="1488631" y="181775"/>
                  </a:lnTo>
                  <a:lnTo>
                    <a:pt x="1488631" y="180327"/>
                  </a:lnTo>
                  <a:lnTo>
                    <a:pt x="1488631" y="181775"/>
                  </a:lnTo>
                  <a:lnTo>
                    <a:pt x="1488631" y="181026"/>
                  </a:lnTo>
                  <a:lnTo>
                    <a:pt x="1488682" y="181026"/>
                  </a:lnTo>
                  <a:lnTo>
                    <a:pt x="1488682" y="181775"/>
                  </a:lnTo>
                  <a:lnTo>
                    <a:pt x="1488682" y="180327"/>
                  </a:lnTo>
                  <a:lnTo>
                    <a:pt x="1488682" y="181775"/>
                  </a:lnTo>
                  <a:lnTo>
                    <a:pt x="1488733" y="181775"/>
                  </a:lnTo>
                  <a:lnTo>
                    <a:pt x="1488733" y="181026"/>
                  </a:lnTo>
                  <a:lnTo>
                    <a:pt x="1488733" y="181775"/>
                  </a:lnTo>
                  <a:lnTo>
                    <a:pt x="1488733" y="181026"/>
                  </a:lnTo>
                  <a:lnTo>
                    <a:pt x="1488733" y="181775"/>
                  </a:lnTo>
                  <a:lnTo>
                    <a:pt x="1488733" y="181026"/>
                  </a:lnTo>
                  <a:lnTo>
                    <a:pt x="1488733" y="181775"/>
                  </a:lnTo>
                  <a:lnTo>
                    <a:pt x="1488733" y="181026"/>
                  </a:lnTo>
                  <a:lnTo>
                    <a:pt x="1488733" y="181775"/>
                  </a:lnTo>
                  <a:lnTo>
                    <a:pt x="1488733" y="181026"/>
                  </a:lnTo>
                  <a:lnTo>
                    <a:pt x="1488834" y="181026"/>
                  </a:lnTo>
                  <a:lnTo>
                    <a:pt x="1488834" y="180327"/>
                  </a:lnTo>
                  <a:lnTo>
                    <a:pt x="1488834" y="181026"/>
                  </a:lnTo>
                  <a:lnTo>
                    <a:pt x="1488834" y="179743"/>
                  </a:lnTo>
                  <a:lnTo>
                    <a:pt x="1488885" y="179743"/>
                  </a:lnTo>
                  <a:lnTo>
                    <a:pt x="1488885" y="178295"/>
                  </a:lnTo>
                  <a:lnTo>
                    <a:pt x="1488885" y="179743"/>
                  </a:lnTo>
                  <a:lnTo>
                    <a:pt x="1488885" y="177012"/>
                  </a:lnTo>
                  <a:lnTo>
                    <a:pt x="1488885" y="177609"/>
                  </a:lnTo>
                  <a:lnTo>
                    <a:pt x="1488936" y="177012"/>
                  </a:lnTo>
                  <a:lnTo>
                    <a:pt x="1488936" y="176263"/>
                  </a:lnTo>
                  <a:lnTo>
                    <a:pt x="1488936" y="178295"/>
                  </a:lnTo>
                  <a:lnTo>
                    <a:pt x="1488936" y="176263"/>
                  </a:lnTo>
                  <a:lnTo>
                    <a:pt x="1489037" y="177012"/>
                  </a:lnTo>
                  <a:lnTo>
                    <a:pt x="1489037" y="179743"/>
                  </a:lnTo>
                  <a:lnTo>
                    <a:pt x="1489037" y="178295"/>
                  </a:lnTo>
                  <a:lnTo>
                    <a:pt x="1489075" y="178295"/>
                  </a:lnTo>
                  <a:lnTo>
                    <a:pt x="1489075" y="180327"/>
                  </a:lnTo>
                  <a:lnTo>
                    <a:pt x="1489075" y="179743"/>
                  </a:lnTo>
                  <a:lnTo>
                    <a:pt x="1489126" y="179743"/>
                  </a:lnTo>
                  <a:lnTo>
                    <a:pt x="1489126" y="180327"/>
                  </a:lnTo>
                  <a:lnTo>
                    <a:pt x="1489126" y="179743"/>
                  </a:lnTo>
                  <a:lnTo>
                    <a:pt x="1489126" y="180327"/>
                  </a:lnTo>
                  <a:lnTo>
                    <a:pt x="1489126" y="179743"/>
                  </a:lnTo>
                  <a:lnTo>
                    <a:pt x="1489126" y="180327"/>
                  </a:lnTo>
                  <a:lnTo>
                    <a:pt x="1489177" y="180327"/>
                  </a:lnTo>
                  <a:lnTo>
                    <a:pt x="1489177" y="181026"/>
                  </a:lnTo>
                  <a:lnTo>
                    <a:pt x="1489177" y="180327"/>
                  </a:lnTo>
                  <a:lnTo>
                    <a:pt x="1489177" y="181026"/>
                  </a:lnTo>
                  <a:lnTo>
                    <a:pt x="1489177" y="180327"/>
                  </a:lnTo>
                  <a:lnTo>
                    <a:pt x="1489177" y="181026"/>
                  </a:lnTo>
                  <a:lnTo>
                    <a:pt x="1489279" y="181026"/>
                  </a:lnTo>
                  <a:lnTo>
                    <a:pt x="1489279" y="181775"/>
                  </a:lnTo>
                  <a:lnTo>
                    <a:pt x="1489279" y="181026"/>
                  </a:lnTo>
                  <a:lnTo>
                    <a:pt x="1489330" y="181026"/>
                  </a:lnTo>
                  <a:lnTo>
                    <a:pt x="1489330" y="180327"/>
                  </a:lnTo>
                  <a:lnTo>
                    <a:pt x="1489330" y="181026"/>
                  </a:lnTo>
                  <a:lnTo>
                    <a:pt x="1489330" y="180327"/>
                  </a:lnTo>
                  <a:lnTo>
                    <a:pt x="1489380" y="180327"/>
                  </a:lnTo>
                  <a:lnTo>
                    <a:pt x="1489380" y="178295"/>
                  </a:lnTo>
                  <a:lnTo>
                    <a:pt x="1489380" y="179743"/>
                  </a:lnTo>
                  <a:lnTo>
                    <a:pt x="1489380" y="177609"/>
                  </a:lnTo>
                  <a:lnTo>
                    <a:pt x="1489380" y="179743"/>
                  </a:lnTo>
                  <a:lnTo>
                    <a:pt x="1489482" y="179743"/>
                  </a:lnTo>
                  <a:lnTo>
                    <a:pt x="1489482" y="177609"/>
                  </a:lnTo>
                  <a:lnTo>
                    <a:pt x="1489482" y="179743"/>
                  </a:lnTo>
                  <a:lnTo>
                    <a:pt x="1489533" y="179743"/>
                  </a:lnTo>
                  <a:lnTo>
                    <a:pt x="1489533" y="178295"/>
                  </a:lnTo>
                  <a:lnTo>
                    <a:pt x="1489533" y="179743"/>
                  </a:lnTo>
                  <a:lnTo>
                    <a:pt x="1489584" y="179743"/>
                  </a:lnTo>
                  <a:lnTo>
                    <a:pt x="1489584" y="178295"/>
                  </a:lnTo>
                  <a:lnTo>
                    <a:pt x="1489584" y="179743"/>
                  </a:lnTo>
                  <a:lnTo>
                    <a:pt x="1489622" y="179743"/>
                  </a:lnTo>
                  <a:lnTo>
                    <a:pt x="1489622" y="178295"/>
                  </a:lnTo>
                  <a:lnTo>
                    <a:pt x="1489622" y="180327"/>
                  </a:lnTo>
                  <a:lnTo>
                    <a:pt x="1489622" y="179743"/>
                  </a:lnTo>
                  <a:lnTo>
                    <a:pt x="1489723" y="179743"/>
                  </a:lnTo>
                  <a:lnTo>
                    <a:pt x="1489723" y="178295"/>
                  </a:lnTo>
                  <a:lnTo>
                    <a:pt x="1489723" y="180327"/>
                  </a:lnTo>
                  <a:lnTo>
                    <a:pt x="1489723" y="179743"/>
                  </a:lnTo>
                  <a:lnTo>
                    <a:pt x="1489723" y="180327"/>
                  </a:lnTo>
                  <a:lnTo>
                    <a:pt x="1489723" y="179743"/>
                  </a:lnTo>
                  <a:lnTo>
                    <a:pt x="1489774" y="179743"/>
                  </a:lnTo>
                  <a:lnTo>
                    <a:pt x="1489774" y="180327"/>
                  </a:lnTo>
                  <a:lnTo>
                    <a:pt x="1489774" y="179743"/>
                  </a:lnTo>
                  <a:lnTo>
                    <a:pt x="1489825" y="179743"/>
                  </a:lnTo>
                  <a:lnTo>
                    <a:pt x="1489825" y="178295"/>
                  </a:lnTo>
                  <a:lnTo>
                    <a:pt x="1489926" y="177609"/>
                  </a:lnTo>
                  <a:lnTo>
                    <a:pt x="1489926" y="178295"/>
                  </a:lnTo>
                  <a:lnTo>
                    <a:pt x="1489926" y="177609"/>
                  </a:lnTo>
                  <a:lnTo>
                    <a:pt x="1489926" y="179743"/>
                  </a:lnTo>
                  <a:lnTo>
                    <a:pt x="1489926" y="178295"/>
                  </a:lnTo>
                  <a:lnTo>
                    <a:pt x="1489926" y="179743"/>
                  </a:lnTo>
                  <a:lnTo>
                    <a:pt x="1489926" y="178295"/>
                  </a:lnTo>
                  <a:lnTo>
                    <a:pt x="1489977" y="178295"/>
                  </a:lnTo>
                  <a:lnTo>
                    <a:pt x="1489977" y="177609"/>
                  </a:lnTo>
                  <a:lnTo>
                    <a:pt x="1489977" y="180327"/>
                  </a:lnTo>
                  <a:lnTo>
                    <a:pt x="1489977" y="179743"/>
                  </a:lnTo>
                  <a:lnTo>
                    <a:pt x="1489977" y="180327"/>
                  </a:lnTo>
                  <a:lnTo>
                    <a:pt x="1490028" y="180327"/>
                  </a:lnTo>
                  <a:lnTo>
                    <a:pt x="1490028" y="179743"/>
                  </a:lnTo>
                  <a:lnTo>
                    <a:pt x="1490028" y="180327"/>
                  </a:lnTo>
                  <a:lnTo>
                    <a:pt x="1490028" y="179743"/>
                  </a:lnTo>
                  <a:lnTo>
                    <a:pt x="1490028" y="181026"/>
                  </a:lnTo>
                  <a:lnTo>
                    <a:pt x="1490028" y="180327"/>
                  </a:lnTo>
                  <a:lnTo>
                    <a:pt x="1490079" y="180327"/>
                  </a:lnTo>
                  <a:lnTo>
                    <a:pt x="1490079" y="179743"/>
                  </a:lnTo>
                  <a:lnTo>
                    <a:pt x="1490079" y="180327"/>
                  </a:lnTo>
                  <a:lnTo>
                    <a:pt x="1490168" y="180327"/>
                  </a:lnTo>
                  <a:lnTo>
                    <a:pt x="1490168" y="181026"/>
                  </a:lnTo>
                  <a:lnTo>
                    <a:pt x="1490168" y="180327"/>
                  </a:lnTo>
                  <a:lnTo>
                    <a:pt x="1490168" y="181026"/>
                  </a:lnTo>
                  <a:lnTo>
                    <a:pt x="1490168" y="180327"/>
                  </a:lnTo>
                  <a:lnTo>
                    <a:pt x="1490168" y="181026"/>
                  </a:lnTo>
                  <a:lnTo>
                    <a:pt x="1490168" y="180327"/>
                  </a:lnTo>
                  <a:lnTo>
                    <a:pt x="1490269" y="180327"/>
                  </a:lnTo>
                  <a:lnTo>
                    <a:pt x="1490269" y="179743"/>
                  </a:lnTo>
                  <a:lnTo>
                    <a:pt x="1490269" y="180327"/>
                  </a:lnTo>
                  <a:lnTo>
                    <a:pt x="1490269" y="179743"/>
                  </a:lnTo>
                  <a:lnTo>
                    <a:pt x="1490320" y="179743"/>
                  </a:lnTo>
                  <a:lnTo>
                    <a:pt x="1490320" y="178295"/>
                  </a:lnTo>
                  <a:lnTo>
                    <a:pt x="1490320" y="179743"/>
                  </a:lnTo>
                  <a:lnTo>
                    <a:pt x="1490320" y="177609"/>
                  </a:lnTo>
                  <a:lnTo>
                    <a:pt x="1490320" y="178295"/>
                  </a:lnTo>
                  <a:lnTo>
                    <a:pt x="1490422" y="177609"/>
                  </a:lnTo>
                  <a:lnTo>
                    <a:pt x="1490422" y="177012"/>
                  </a:lnTo>
                  <a:lnTo>
                    <a:pt x="1490422" y="179743"/>
                  </a:lnTo>
                  <a:lnTo>
                    <a:pt x="1490422" y="177609"/>
                  </a:lnTo>
                  <a:lnTo>
                    <a:pt x="1490472" y="177609"/>
                  </a:lnTo>
                  <a:lnTo>
                    <a:pt x="1490472" y="177012"/>
                  </a:lnTo>
                  <a:lnTo>
                    <a:pt x="1490472" y="180327"/>
                  </a:lnTo>
                  <a:lnTo>
                    <a:pt x="1490472" y="179743"/>
                  </a:lnTo>
                  <a:lnTo>
                    <a:pt x="1490523" y="179743"/>
                  </a:lnTo>
                  <a:lnTo>
                    <a:pt x="1490523" y="180327"/>
                  </a:lnTo>
                  <a:lnTo>
                    <a:pt x="1490625" y="180327"/>
                  </a:lnTo>
                  <a:lnTo>
                    <a:pt x="1490625" y="179743"/>
                  </a:lnTo>
                  <a:lnTo>
                    <a:pt x="1490625" y="181026"/>
                  </a:lnTo>
                  <a:lnTo>
                    <a:pt x="1490625" y="180327"/>
                  </a:lnTo>
                  <a:lnTo>
                    <a:pt x="1490663" y="180327"/>
                  </a:lnTo>
                  <a:lnTo>
                    <a:pt x="1490663" y="181026"/>
                  </a:lnTo>
                  <a:lnTo>
                    <a:pt x="1490663" y="180327"/>
                  </a:lnTo>
                  <a:lnTo>
                    <a:pt x="1490714" y="180327"/>
                  </a:lnTo>
                  <a:lnTo>
                    <a:pt x="1490765" y="179743"/>
                  </a:lnTo>
                  <a:lnTo>
                    <a:pt x="1490765" y="178295"/>
                  </a:lnTo>
                  <a:lnTo>
                    <a:pt x="1490765" y="179743"/>
                  </a:lnTo>
                  <a:lnTo>
                    <a:pt x="1490765" y="177609"/>
                  </a:lnTo>
                  <a:lnTo>
                    <a:pt x="1490866" y="177609"/>
                  </a:lnTo>
                  <a:lnTo>
                    <a:pt x="1490866" y="177012"/>
                  </a:lnTo>
                  <a:lnTo>
                    <a:pt x="1490866" y="177609"/>
                  </a:lnTo>
                  <a:lnTo>
                    <a:pt x="1490866" y="177012"/>
                  </a:lnTo>
                  <a:lnTo>
                    <a:pt x="1490917" y="176263"/>
                  </a:lnTo>
                  <a:lnTo>
                    <a:pt x="1490917" y="174879"/>
                  </a:lnTo>
                  <a:lnTo>
                    <a:pt x="1490917" y="176263"/>
                  </a:lnTo>
                  <a:lnTo>
                    <a:pt x="1490917" y="174879"/>
                  </a:lnTo>
                  <a:lnTo>
                    <a:pt x="1490917" y="177609"/>
                  </a:lnTo>
                  <a:lnTo>
                    <a:pt x="1490917" y="174879"/>
                  </a:lnTo>
                  <a:lnTo>
                    <a:pt x="1490917" y="176263"/>
                  </a:lnTo>
                  <a:lnTo>
                    <a:pt x="1490968" y="176263"/>
                  </a:lnTo>
                  <a:lnTo>
                    <a:pt x="1490968" y="179743"/>
                  </a:lnTo>
                  <a:lnTo>
                    <a:pt x="1490968" y="177609"/>
                  </a:lnTo>
                  <a:lnTo>
                    <a:pt x="1491069" y="177609"/>
                  </a:lnTo>
                  <a:lnTo>
                    <a:pt x="1491069" y="179743"/>
                  </a:lnTo>
                  <a:lnTo>
                    <a:pt x="1491069" y="178295"/>
                  </a:lnTo>
                  <a:lnTo>
                    <a:pt x="1491069" y="179743"/>
                  </a:lnTo>
                  <a:lnTo>
                    <a:pt x="1491120" y="179743"/>
                  </a:lnTo>
                  <a:lnTo>
                    <a:pt x="1491120" y="178295"/>
                  </a:lnTo>
                  <a:lnTo>
                    <a:pt x="1491120" y="180327"/>
                  </a:lnTo>
                  <a:lnTo>
                    <a:pt x="1491120" y="179743"/>
                  </a:lnTo>
                  <a:lnTo>
                    <a:pt x="1491120" y="180327"/>
                  </a:lnTo>
                  <a:lnTo>
                    <a:pt x="1491171" y="180327"/>
                  </a:lnTo>
                  <a:lnTo>
                    <a:pt x="1491171" y="179743"/>
                  </a:lnTo>
                  <a:lnTo>
                    <a:pt x="1491171" y="180327"/>
                  </a:lnTo>
                  <a:lnTo>
                    <a:pt x="1491209" y="180327"/>
                  </a:lnTo>
                  <a:lnTo>
                    <a:pt x="1491311" y="179743"/>
                  </a:lnTo>
                  <a:lnTo>
                    <a:pt x="1491311" y="180327"/>
                  </a:lnTo>
                  <a:lnTo>
                    <a:pt x="1491311" y="179743"/>
                  </a:lnTo>
                  <a:lnTo>
                    <a:pt x="1491311" y="180327"/>
                  </a:lnTo>
                  <a:lnTo>
                    <a:pt x="1491311" y="178295"/>
                  </a:lnTo>
                  <a:lnTo>
                    <a:pt x="1491362" y="178295"/>
                  </a:lnTo>
                  <a:lnTo>
                    <a:pt x="1491362" y="177609"/>
                  </a:lnTo>
                  <a:lnTo>
                    <a:pt x="1491362" y="178295"/>
                  </a:lnTo>
                  <a:lnTo>
                    <a:pt x="1491362" y="177012"/>
                  </a:lnTo>
                  <a:lnTo>
                    <a:pt x="1491412" y="177609"/>
                  </a:lnTo>
                  <a:lnTo>
                    <a:pt x="1491412" y="179743"/>
                  </a:lnTo>
                  <a:lnTo>
                    <a:pt x="1491412" y="177012"/>
                  </a:lnTo>
                  <a:lnTo>
                    <a:pt x="1491412" y="179743"/>
                  </a:lnTo>
                  <a:lnTo>
                    <a:pt x="1491514" y="179743"/>
                  </a:lnTo>
                  <a:lnTo>
                    <a:pt x="1491514" y="177609"/>
                  </a:lnTo>
                  <a:lnTo>
                    <a:pt x="1491514" y="179743"/>
                  </a:lnTo>
                  <a:lnTo>
                    <a:pt x="1491565" y="179743"/>
                  </a:lnTo>
                  <a:lnTo>
                    <a:pt x="1491565" y="177609"/>
                  </a:lnTo>
                  <a:lnTo>
                    <a:pt x="1491565" y="179743"/>
                  </a:lnTo>
                  <a:lnTo>
                    <a:pt x="1491615" y="179743"/>
                  </a:lnTo>
                  <a:lnTo>
                    <a:pt x="1491615" y="178295"/>
                  </a:lnTo>
                  <a:lnTo>
                    <a:pt x="1491615" y="180327"/>
                  </a:lnTo>
                  <a:lnTo>
                    <a:pt x="1491615" y="179743"/>
                  </a:lnTo>
                  <a:lnTo>
                    <a:pt x="1491615" y="180327"/>
                  </a:lnTo>
                  <a:lnTo>
                    <a:pt x="1491666" y="180327"/>
                  </a:lnTo>
                  <a:lnTo>
                    <a:pt x="1491666" y="179743"/>
                  </a:lnTo>
                  <a:lnTo>
                    <a:pt x="1491666" y="180327"/>
                  </a:lnTo>
                  <a:lnTo>
                    <a:pt x="1491755" y="180327"/>
                  </a:lnTo>
                  <a:lnTo>
                    <a:pt x="1491755" y="179743"/>
                  </a:lnTo>
                  <a:lnTo>
                    <a:pt x="1491755" y="180327"/>
                  </a:lnTo>
                  <a:lnTo>
                    <a:pt x="1491755" y="179743"/>
                  </a:lnTo>
                  <a:lnTo>
                    <a:pt x="1491755" y="180327"/>
                  </a:lnTo>
                  <a:lnTo>
                    <a:pt x="1491755" y="179743"/>
                  </a:lnTo>
                  <a:lnTo>
                    <a:pt x="1491755" y="180327"/>
                  </a:lnTo>
                  <a:lnTo>
                    <a:pt x="1491755" y="179743"/>
                  </a:lnTo>
                  <a:lnTo>
                    <a:pt x="1491806" y="179743"/>
                  </a:lnTo>
                  <a:lnTo>
                    <a:pt x="1491806" y="177609"/>
                  </a:lnTo>
                  <a:lnTo>
                    <a:pt x="1491857" y="177012"/>
                  </a:lnTo>
                  <a:lnTo>
                    <a:pt x="1491857" y="177609"/>
                  </a:lnTo>
                  <a:lnTo>
                    <a:pt x="1491857" y="176263"/>
                  </a:lnTo>
                  <a:lnTo>
                    <a:pt x="1491857" y="177012"/>
                  </a:lnTo>
                  <a:lnTo>
                    <a:pt x="1491857" y="174879"/>
                  </a:lnTo>
                  <a:lnTo>
                    <a:pt x="1491857" y="176263"/>
                  </a:lnTo>
                  <a:lnTo>
                    <a:pt x="1491908" y="176263"/>
                  </a:lnTo>
                  <a:lnTo>
                    <a:pt x="1491908" y="177012"/>
                  </a:lnTo>
                  <a:lnTo>
                    <a:pt x="1491908" y="174879"/>
                  </a:lnTo>
                  <a:lnTo>
                    <a:pt x="1491908" y="177012"/>
                  </a:lnTo>
                  <a:lnTo>
                    <a:pt x="1492009" y="177609"/>
                  </a:lnTo>
                  <a:lnTo>
                    <a:pt x="1492009" y="178295"/>
                  </a:lnTo>
                  <a:lnTo>
                    <a:pt x="1492009" y="177609"/>
                  </a:lnTo>
                  <a:lnTo>
                    <a:pt x="1492009" y="178295"/>
                  </a:lnTo>
                  <a:lnTo>
                    <a:pt x="1492009" y="177012"/>
                  </a:lnTo>
                  <a:lnTo>
                    <a:pt x="1492009" y="177609"/>
                  </a:lnTo>
                  <a:lnTo>
                    <a:pt x="1492060" y="178295"/>
                  </a:lnTo>
                  <a:lnTo>
                    <a:pt x="1492060" y="177609"/>
                  </a:lnTo>
                  <a:lnTo>
                    <a:pt x="1492060" y="179743"/>
                  </a:lnTo>
                  <a:lnTo>
                    <a:pt x="1492060" y="178295"/>
                  </a:lnTo>
                  <a:lnTo>
                    <a:pt x="1492111" y="178295"/>
                  </a:lnTo>
                  <a:lnTo>
                    <a:pt x="1492111" y="179743"/>
                  </a:lnTo>
                  <a:lnTo>
                    <a:pt x="1492111" y="178295"/>
                  </a:lnTo>
                  <a:lnTo>
                    <a:pt x="1492111" y="179743"/>
                  </a:lnTo>
                  <a:lnTo>
                    <a:pt x="1492111" y="178295"/>
                  </a:lnTo>
                  <a:lnTo>
                    <a:pt x="1492111" y="179743"/>
                  </a:lnTo>
                  <a:lnTo>
                    <a:pt x="1492212" y="179743"/>
                  </a:lnTo>
                  <a:lnTo>
                    <a:pt x="1492212" y="180327"/>
                  </a:lnTo>
                  <a:lnTo>
                    <a:pt x="1492250" y="179743"/>
                  </a:lnTo>
                  <a:lnTo>
                    <a:pt x="1492250" y="178295"/>
                  </a:lnTo>
                  <a:lnTo>
                    <a:pt x="1492250" y="180327"/>
                  </a:lnTo>
                  <a:lnTo>
                    <a:pt x="1492250" y="179743"/>
                  </a:lnTo>
                  <a:lnTo>
                    <a:pt x="1492301" y="179743"/>
                  </a:lnTo>
                  <a:lnTo>
                    <a:pt x="1492301" y="177609"/>
                  </a:lnTo>
                  <a:lnTo>
                    <a:pt x="1492301" y="178295"/>
                  </a:lnTo>
                  <a:lnTo>
                    <a:pt x="1492301" y="177609"/>
                  </a:lnTo>
                  <a:lnTo>
                    <a:pt x="1492352" y="177609"/>
                  </a:lnTo>
                  <a:lnTo>
                    <a:pt x="1492352" y="177012"/>
                  </a:lnTo>
                  <a:lnTo>
                    <a:pt x="1492352" y="177609"/>
                  </a:lnTo>
                  <a:lnTo>
                    <a:pt x="1492454" y="177609"/>
                  </a:lnTo>
                  <a:lnTo>
                    <a:pt x="1492454" y="177012"/>
                  </a:lnTo>
                  <a:lnTo>
                    <a:pt x="1492454" y="179743"/>
                  </a:lnTo>
                  <a:lnTo>
                    <a:pt x="1492454" y="178295"/>
                  </a:lnTo>
                  <a:lnTo>
                    <a:pt x="1492505" y="177609"/>
                  </a:lnTo>
                  <a:lnTo>
                    <a:pt x="1492505" y="178295"/>
                  </a:lnTo>
                  <a:lnTo>
                    <a:pt x="1492505" y="177609"/>
                  </a:lnTo>
                  <a:lnTo>
                    <a:pt x="1492505" y="178295"/>
                  </a:lnTo>
                  <a:lnTo>
                    <a:pt x="1492505" y="177609"/>
                  </a:lnTo>
                  <a:lnTo>
                    <a:pt x="1492555" y="177609"/>
                  </a:lnTo>
                  <a:lnTo>
                    <a:pt x="1492555" y="177012"/>
                  </a:lnTo>
                  <a:lnTo>
                    <a:pt x="1492555" y="178295"/>
                  </a:lnTo>
                  <a:lnTo>
                    <a:pt x="1492555" y="177609"/>
                  </a:lnTo>
                  <a:lnTo>
                    <a:pt x="1492555" y="178295"/>
                  </a:lnTo>
                  <a:lnTo>
                    <a:pt x="1492657" y="177609"/>
                  </a:lnTo>
                  <a:lnTo>
                    <a:pt x="1492657" y="179743"/>
                  </a:lnTo>
                  <a:lnTo>
                    <a:pt x="1492657" y="178295"/>
                  </a:lnTo>
                  <a:lnTo>
                    <a:pt x="1492657" y="179743"/>
                  </a:lnTo>
                  <a:lnTo>
                    <a:pt x="1492708" y="178295"/>
                  </a:lnTo>
                  <a:lnTo>
                    <a:pt x="1492708" y="177609"/>
                  </a:lnTo>
                  <a:lnTo>
                    <a:pt x="1492708" y="179743"/>
                  </a:lnTo>
                  <a:lnTo>
                    <a:pt x="1492708" y="178295"/>
                  </a:lnTo>
                  <a:lnTo>
                    <a:pt x="1492759" y="178295"/>
                  </a:lnTo>
                  <a:lnTo>
                    <a:pt x="1492759" y="177609"/>
                  </a:lnTo>
                  <a:lnTo>
                    <a:pt x="1492797" y="177609"/>
                  </a:lnTo>
                  <a:lnTo>
                    <a:pt x="1492797" y="176263"/>
                  </a:lnTo>
                  <a:lnTo>
                    <a:pt x="1492898" y="176263"/>
                  </a:lnTo>
                  <a:lnTo>
                    <a:pt x="1492898" y="177012"/>
                  </a:lnTo>
                  <a:lnTo>
                    <a:pt x="1492898" y="176263"/>
                  </a:lnTo>
                  <a:lnTo>
                    <a:pt x="1492898" y="177609"/>
                  </a:lnTo>
                  <a:lnTo>
                    <a:pt x="1492898" y="177012"/>
                  </a:lnTo>
                  <a:lnTo>
                    <a:pt x="1492949" y="176263"/>
                  </a:lnTo>
                  <a:lnTo>
                    <a:pt x="1492949" y="178295"/>
                  </a:lnTo>
                  <a:lnTo>
                    <a:pt x="1492949" y="177609"/>
                  </a:lnTo>
                  <a:lnTo>
                    <a:pt x="1493000" y="177609"/>
                  </a:lnTo>
                  <a:lnTo>
                    <a:pt x="1493000" y="179743"/>
                  </a:lnTo>
                  <a:lnTo>
                    <a:pt x="1493000" y="177609"/>
                  </a:lnTo>
                  <a:lnTo>
                    <a:pt x="1493000" y="178295"/>
                  </a:lnTo>
                  <a:lnTo>
                    <a:pt x="1493000" y="177609"/>
                  </a:lnTo>
                  <a:lnTo>
                    <a:pt x="1493101" y="178295"/>
                  </a:lnTo>
                  <a:lnTo>
                    <a:pt x="1493101" y="179743"/>
                  </a:lnTo>
                  <a:lnTo>
                    <a:pt x="1493101" y="178295"/>
                  </a:lnTo>
                  <a:lnTo>
                    <a:pt x="1493152" y="178295"/>
                  </a:lnTo>
                  <a:lnTo>
                    <a:pt x="1493152" y="179743"/>
                  </a:lnTo>
                  <a:lnTo>
                    <a:pt x="1493152" y="178295"/>
                  </a:lnTo>
                  <a:lnTo>
                    <a:pt x="1493152" y="179743"/>
                  </a:lnTo>
                  <a:lnTo>
                    <a:pt x="1493152" y="178295"/>
                  </a:lnTo>
                  <a:lnTo>
                    <a:pt x="1493203" y="179743"/>
                  </a:lnTo>
                  <a:lnTo>
                    <a:pt x="1493203" y="178295"/>
                  </a:lnTo>
                  <a:lnTo>
                    <a:pt x="1493203" y="179743"/>
                  </a:lnTo>
                  <a:lnTo>
                    <a:pt x="1493203" y="177609"/>
                  </a:lnTo>
                  <a:lnTo>
                    <a:pt x="1493203" y="178295"/>
                  </a:lnTo>
                  <a:lnTo>
                    <a:pt x="1493254" y="178295"/>
                  </a:lnTo>
                  <a:lnTo>
                    <a:pt x="1493254" y="179743"/>
                  </a:lnTo>
                  <a:lnTo>
                    <a:pt x="1493254" y="178295"/>
                  </a:lnTo>
                  <a:lnTo>
                    <a:pt x="1493254" y="179743"/>
                  </a:lnTo>
                  <a:lnTo>
                    <a:pt x="1493254" y="177609"/>
                  </a:lnTo>
                  <a:lnTo>
                    <a:pt x="1493254" y="178295"/>
                  </a:lnTo>
                  <a:lnTo>
                    <a:pt x="1493254" y="177609"/>
                  </a:lnTo>
                  <a:lnTo>
                    <a:pt x="1493254" y="178295"/>
                  </a:lnTo>
                  <a:lnTo>
                    <a:pt x="1493343" y="178295"/>
                  </a:lnTo>
                  <a:lnTo>
                    <a:pt x="1493343" y="177012"/>
                  </a:lnTo>
                  <a:lnTo>
                    <a:pt x="1493343" y="178295"/>
                  </a:lnTo>
                  <a:lnTo>
                    <a:pt x="1493394" y="179743"/>
                  </a:lnTo>
                  <a:lnTo>
                    <a:pt x="1493394" y="177609"/>
                  </a:lnTo>
                  <a:lnTo>
                    <a:pt x="1493394" y="180327"/>
                  </a:lnTo>
                  <a:lnTo>
                    <a:pt x="1493394" y="179743"/>
                  </a:lnTo>
                  <a:lnTo>
                    <a:pt x="1493394" y="180327"/>
                  </a:lnTo>
                  <a:lnTo>
                    <a:pt x="1493444" y="181026"/>
                  </a:lnTo>
                  <a:lnTo>
                    <a:pt x="1493444" y="178295"/>
                  </a:lnTo>
                  <a:lnTo>
                    <a:pt x="1493444" y="180327"/>
                  </a:lnTo>
                  <a:lnTo>
                    <a:pt x="1493495" y="180327"/>
                  </a:lnTo>
                  <a:lnTo>
                    <a:pt x="1493495" y="179743"/>
                  </a:lnTo>
                  <a:lnTo>
                    <a:pt x="1493495" y="180327"/>
                  </a:lnTo>
                  <a:lnTo>
                    <a:pt x="1493495" y="179743"/>
                  </a:lnTo>
                  <a:lnTo>
                    <a:pt x="1493495" y="180327"/>
                  </a:lnTo>
                  <a:lnTo>
                    <a:pt x="1493597" y="180327"/>
                  </a:lnTo>
                  <a:lnTo>
                    <a:pt x="1493597" y="179743"/>
                  </a:lnTo>
                  <a:lnTo>
                    <a:pt x="1493597" y="180327"/>
                  </a:lnTo>
                  <a:lnTo>
                    <a:pt x="1493597" y="179743"/>
                  </a:lnTo>
                  <a:lnTo>
                    <a:pt x="1493597" y="180327"/>
                  </a:lnTo>
                  <a:lnTo>
                    <a:pt x="1493597" y="179743"/>
                  </a:lnTo>
                  <a:lnTo>
                    <a:pt x="1493597" y="180327"/>
                  </a:lnTo>
                  <a:lnTo>
                    <a:pt x="1493597" y="179743"/>
                  </a:lnTo>
                  <a:lnTo>
                    <a:pt x="1493597" y="180327"/>
                  </a:lnTo>
                  <a:lnTo>
                    <a:pt x="1493647" y="180327"/>
                  </a:lnTo>
                  <a:lnTo>
                    <a:pt x="1493647" y="179743"/>
                  </a:lnTo>
                  <a:lnTo>
                    <a:pt x="1493698" y="179743"/>
                  </a:lnTo>
                  <a:lnTo>
                    <a:pt x="1493698" y="178295"/>
                  </a:lnTo>
                  <a:lnTo>
                    <a:pt x="1493800" y="177609"/>
                  </a:lnTo>
                  <a:lnTo>
                    <a:pt x="1493800" y="178295"/>
                  </a:lnTo>
                  <a:lnTo>
                    <a:pt x="1493800" y="177609"/>
                  </a:lnTo>
                  <a:lnTo>
                    <a:pt x="1493800" y="178295"/>
                  </a:lnTo>
                  <a:lnTo>
                    <a:pt x="1493800" y="177012"/>
                  </a:lnTo>
                  <a:lnTo>
                    <a:pt x="1493838" y="177012"/>
                  </a:lnTo>
                  <a:lnTo>
                    <a:pt x="1493838" y="176263"/>
                  </a:lnTo>
                  <a:lnTo>
                    <a:pt x="1493838" y="177012"/>
                  </a:lnTo>
                  <a:lnTo>
                    <a:pt x="1493838" y="176263"/>
                  </a:lnTo>
                  <a:lnTo>
                    <a:pt x="1493838" y="177012"/>
                  </a:lnTo>
                  <a:lnTo>
                    <a:pt x="1493889" y="177012"/>
                  </a:lnTo>
                  <a:lnTo>
                    <a:pt x="1493889" y="176263"/>
                  </a:lnTo>
                  <a:lnTo>
                    <a:pt x="1493889" y="179743"/>
                  </a:lnTo>
                  <a:lnTo>
                    <a:pt x="1493889" y="178295"/>
                  </a:lnTo>
                  <a:lnTo>
                    <a:pt x="1493940" y="178295"/>
                  </a:lnTo>
                  <a:lnTo>
                    <a:pt x="1493940" y="177012"/>
                  </a:lnTo>
                  <a:lnTo>
                    <a:pt x="1493940" y="178295"/>
                  </a:lnTo>
                  <a:lnTo>
                    <a:pt x="1494041" y="178295"/>
                  </a:lnTo>
                  <a:lnTo>
                    <a:pt x="1494041" y="179743"/>
                  </a:lnTo>
                  <a:lnTo>
                    <a:pt x="1494092" y="178295"/>
                  </a:lnTo>
                  <a:lnTo>
                    <a:pt x="1494092" y="179743"/>
                  </a:lnTo>
                  <a:lnTo>
                    <a:pt x="1494092" y="178295"/>
                  </a:lnTo>
                  <a:lnTo>
                    <a:pt x="1494092" y="179743"/>
                  </a:lnTo>
                  <a:lnTo>
                    <a:pt x="1494143" y="179743"/>
                  </a:lnTo>
                  <a:lnTo>
                    <a:pt x="1494143" y="180327"/>
                  </a:lnTo>
                  <a:lnTo>
                    <a:pt x="1494143" y="178295"/>
                  </a:lnTo>
                  <a:lnTo>
                    <a:pt x="1494244" y="178295"/>
                  </a:lnTo>
                  <a:lnTo>
                    <a:pt x="1494244" y="177609"/>
                  </a:lnTo>
                  <a:lnTo>
                    <a:pt x="1494295" y="177609"/>
                  </a:lnTo>
                  <a:lnTo>
                    <a:pt x="1494295" y="178295"/>
                  </a:lnTo>
                  <a:lnTo>
                    <a:pt x="1494295" y="177012"/>
                  </a:lnTo>
                  <a:lnTo>
                    <a:pt x="1494346" y="177012"/>
                  </a:lnTo>
                  <a:lnTo>
                    <a:pt x="1494346" y="178295"/>
                  </a:lnTo>
                  <a:lnTo>
                    <a:pt x="1494346" y="176263"/>
                  </a:lnTo>
                  <a:lnTo>
                    <a:pt x="1494346" y="177012"/>
                  </a:lnTo>
                  <a:lnTo>
                    <a:pt x="1494346" y="176263"/>
                  </a:lnTo>
                  <a:lnTo>
                    <a:pt x="1494346" y="177609"/>
                  </a:lnTo>
                  <a:lnTo>
                    <a:pt x="1494384" y="177609"/>
                  </a:lnTo>
                  <a:lnTo>
                    <a:pt x="1494384" y="180327"/>
                  </a:lnTo>
                  <a:lnTo>
                    <a:pt x="1494384" y="177609"/>
                  </a:lnTo>
                  <a:lnTo>
                    <a:pt x="1494384" y="179743"/>
                  </a:lnTo>
                  <a:lnTo>
                    <a:pt x="1494486" y="180327"/>
                  </a:lnTo>
                  <a:lnTo>
                    <a:pt x="1494486" y="179743"/>
                  </a:lnTo>
                  <a:lnTo>
                    <a:pt x="1494486" y="180327"/>
                  </a:lnTo>
                  <a:lnTo>
                    <a:pt x="1494486" y="177609"/>
                  </a:lnTo>
                  <a:lnTo>
                    <a:pt x="1494486" y="179743"/>
                  </a:lnTo>
                  <a:lnTo>
                    <a:pt x="1494587" y="179743"/>
                  </a:lnTo>
                  <a:lnTo>
                    <a:pt x="1494587" y="180327"/>
                  </a:lnTo>
                  <a:lnTo>
                    <a:pt x="1494587" y="179743"/>
                  </a:lnTo>
                  <a:lnTo>
                    <a:pt x="1494689" y="179743"/>
                  </a:lnTo>
                  <a:lnTo>
                    <a:pt x="1494689" y="178295"/>
                  </a:lnTo>
                  <a:lnTo>
                    <a:pt x="1494689" y="179743"/>
                  </a:lnTo>
                  <a:lnTo>
                    <a:pt x="1494689" y="178295"/>
                  </a:lnTo>
                  <a:lnTo>
                    <a:pt x="1494689" y="179743"/>
                  </a:lnTo>
                  <a:lnTo>
                    <a:pt x="1494689" y="178295"/>
                  </a:lnTo>
                  <a:lnTo>
                    <a:pt x="1494740" y="178295"/>
                  </a:lnTo>
                  <a:lnTo>
                    <a:pt x="1494740" y="177609"/>
                  </a:lnTo>
                  <a:lnTo>
                    <a:pt x="1494740" y="178295"/>
                  </a:lnTo>
                  <a:lnTo>
                    <a:pt x="1494740" y="177012"/>
                  </a:lnTo>
                  <a:lnTo>
                    <a:pt x="1494740" y="177609"/>
                  </a:lnTo>
                  <a:lnTo>
                    <a:pt x="1494740" y="177012"/>
                  </a:lnTo>
                  <a:lnTo>
                    <a:pt x="1494790" y="177012"/>
                  </a:lnTo>
                  <a:lnTo>
                    <a:pt x="1494790" y="174282"/>
                  </a:lnTo>
                  <a:lnTo>
                    <a:pt x="1494841" y="174879"/>
                  </a:lnTo>
                  <a:lnTo>
                    <a:pt x="1494841" y="177012"/>
                  </a:lnTo>
                  <a:lnTo>
                    <a:pt x="1494841" y="174879"/>
                  </a:lnTo>
                  <a:lnTo>
                    <a:pt x="1494841" y="176263"/>
                  </a:lnTo>
                  <a:lnTo>
                    <a:pt x="1494930" y="177012"/>
                  </a:lnTo>
                  <a:lnTo>
                    <a:pt x="1494930" y="177609"/>
                  </a:lnTo>
                  <a:lnTo>
                    <a:pt x="1494930" y="176263"/>
                  </a:lnTo>
                  <a:lnTo>
                    <a:pt x="1494930" y="177012"/>
                  </a:lnTo>
                  <a:lnTo>
                    <a:pt x="1494930" y="176263"/>
                  </a:lnTo>
                  <a:lnTo>
                    <a:pt x="1494930" y="177609"/>
                  </a:lnTo>
                  <a:lnTo>
                    <a:pt x="1494981" y="178295"/>
                  </a:lnTo>
                  <a:lnTo>
                    <a:pt x="1494981" y="177609"/>
                  </a:lnTo>
                  <a:lnTo>
                    <a:pt x="1494981" y="178295"/>
                  </a:lnTo>
                  <a:lnTo>
                    <a:pt x="1494981" y="177012"/>
                  </a:lnTo>
                  <a:lnTo>
                    <a:pt x="1494981" y="178295"/>
                  </a:lnTo>
                  <a:lnTo>
                    <a:pt x="1495032" y="178295"/>
                  </a:lnTo>
                  <a:lnTo>
                    <a:pt x="1495032" y="179743"/>
                  </a:lnTo>
                  <a:lnTo>
                    <a:pt x="1495032" y="178295"/>
                  </a:lnTo>
                  <a:lnTo>
                    <a:pt x="1495032" y="179743"/>
                  </a:lnTo>
                  <a:lnTo>
                    <a:pt x="1495083" y="179743"/>
                  </a:lnTo>
                  <a:lnTo>
                    <a:pt x="1495083" y="178295"/>
                  </a:lnTo>
                  <a:lnTo>
                    <a:pt x="1495083" y="180327"/>
                  </a:lnTo>
                  <a:lnTo>
                    <a:pt x="1495083" y="179743"/>
                  </a:lnTo>
                  <a:lnTo>
                    <a:pt x="1495184" y="178295"/>
                  </a:lnTo>
                  <a:lnTo>
                    <a:pt x="1495184" y="179743"/>
                  </a:lnTo>
                  <a:lnTo>
                    <a:pt x="1495184" y="178295"/>
                  </a:lnTo>
                  <a:lnTo>
                    <a:pt x="1495184" y="179743"/>
                  </a:lnTo>
                  <a:lnTo>
                    <a:pt x="1495184" y="178295"/>
                  </a:lnTo>
                  <a:lnTo>
                    <a:pt x="1495235" y="178295"/>
                  </a:lnTo>
                  <a:lnTo>
                    <a:pt x="1495235" y="177609"/>
                  </a:lnTo>
                  <a:lnTo>
                    <a:pt x="1495286" y="177609"/>
                  </a:lnTo>
                  <a:lnTo>
                    <a:pt x="1495286" y="176263"/>
                  </a:lnTo>
                  <a:lnTo>
                    <a:pt x="1495286" y="177609"/>
                  </a:lnTo>
                  <a:lnTo>
                    <a:pt x="1495387" y="177609"/>
                  </a:lnTo>
                  <a:lnTo>
                    <a:pt x="1495387" y="174879"/>
                  </a:lnTo>
                  <a:lnTo>
                    <a:pt x="1495387" y="179743"/>
                  </a:lnTo>
                  <a:lnTo>
                    <a:pt x="1495387" y="178295"/>
                  </a:lnTo>
                  <a:lnTo>
                    <a:pt x="1495425" y="178295"/>
                  </a:lnTo>
                  <a:lnTo>
                    <a:pt x="1495425" y="176263"/>
                  </a:lnTo>
                  <a:lnTo>
                    <a:pt x="1495425" y="178295"/>
                  </a:lnTo>
                  <a:lnTo>
                    <a:pt x="1495425" y="177609"/>
                  </a:lnTo>
                  <a:lnTo>
                    <a:pt x="1495476" y="177012"/>
                  </a:lnTo>
                  <a:lnTo>
                    <a:pt x="1495476" y="176263"/>
                  </a:lnTo>
                  <a:lnTo>
                    <a:pt x="1495476" y="177012"/>
                  </a:lnTo>
                  <a:lnTo>
                    <a:pt x="1495476" y="176263"/>
                  </a:lnTo>
                  <a:lnTo>
                    <a:pt x="1495476" y="177609"/>
                  </a:lnTo>
                  <a:lnTo>
                    <a:pt x="1495527" y="177609"/>
                  </a:lnTo>
                  <a:lnTo>
                    <a:pt x="1495527" y="177012"/>
                  </a:lnTo>
                  <a:lnTo>
                    <a:pt x="1495527" y="177609"/>
                  </a:lnTo>
                  <a:lnTo>
                    <a:pt x="1495629" y="177609"/>
                  </a:lnTo>
                  <a:lnTo>
                    <a:pt x="1495629" y="178295"/>
                  </a:lnTo>
                  <a:lnTo>
                    <a:pt x="1495629" y="177609"/>
                  </a:lnTo>
                  <a:lnTo>
                    <a:pt x="1495680" y="178295"/>
                  </a:lnTo>
                  <a:lnTo>
                    <a:pt x="1495680" y="177609"/>
                  </a:lnTo>
                  <a:lnTo>
                    <a:pt x="1495730" y="177609"/>
                  </a:lnTo>
                  <a:lnTo>
                    <a:pt x="1495730" y="177012"/>
                  </a:lnTo>
                  <a:lnTo>
                    <a:pt x="1495730" y="177609"/>
                  </a:lnTo>
                  <a:lnTo>
                    <a:pt x="1495730" y="176263"/>
                  </a:lnTo>
                  <a:lnTo>
                    <a:pt x="1495730" y="177012"/>
                  </a:lnTo>
                  <a:lnTo>
                    <a:pt x="1495730" y="176263"/>
                  </a:lnTo>
                  <a:lnTo>
                    <a:pt x="1495832" y="176263"/>
                  </a:lnTo>
                  <a:lnTo>
                    <a:pt x="1495832" y="177012"/>
                  </a:lnTo>
                  <a:lnTo>
                    <a:pt x="1495832" y="176263"/>
                  </a:lnTo>
                  <a:lnTo>
                    <a:pt x="1495883" y="176263"/>
                  </a:lnTo>
                  <a:lnTo>
                    <a:pt x="1495883" y="178295"/>
                  </a:lnTo>
                  <a:lnTo>
                    <a:pt x="1495883" y="177012"/>
                  </a:lnTo>
                  <a:lnTo>
                    <a:pt x="1495934" y="177012"/>
                  </a:lnTo>
                  <a:lnTo>
                    <a:pt x="1495934" y="178295"/>
                  </a:lnTo>
                  <a:lnTo>
                    <a:pt x="1495934" y="177609"/>
                  </a:lnTo>
                  <a:lnTo>
                    <a:pt x="1495972" y="177609"/>
                  </a:lnTo>
                  <a:lnTo>
                    <a:pt x="1495972" y="178295"/>
                  </a:lnTo>
                  <a:lnTo>
                    <a:pt x="1495972" y="177609"/>
                  </a:lnTo>
                  <a:lnTo>
                    <a:pt x="1495972" y="178295"/>
                  </a:lnTo>
                  <a:lnTo>
                    <a:pt x="1495972" y="177609"/>
                  </a:lnTo>
                  <a:lnTo>
                    <a:pt x="1495972" y="178295"/>
                  </a:lnTo>
                  <a:lnTo>
                    <a:pt x="1496073" y="178295"/>
                  </a:lnTo>
                  <a:lnTo>
                    <a:pt x="1496073" y="177609"/>
                  </a:lnTo>
                  <a:lnTo>
                    <a:pt x="1496073" y="178295"/>
                  </a:lnTo>
                  <a:lnTo>
                    <a:pt x="1496124" y="178295"/>
                  </a:lnTo>
                  <a:lnTo>
                    <a:pt x="1496124" y="177609"/>
                  </a:lnTo>
                  <a:lnTo>
                    <a:pt x="1496124" y="178295"/>
                  </a:lnTo>
                  <a:lnTo>
                    <a:pt x="1496124" y="177609"/>
                  </a:lnTo>
                  <a:lnTo>
                    <a:pt x="1496175" y="177609"/>
                  </a:lnTo>
                  <a:lnTo>
                    <a:pt x="1496175" y="177012"/>
                  </a:lnTo>
                  <a:lnTo>
                    <a:pt x="1496175" y="177609"/>
                  </a:lnTo>
                  <a:lnTo>
                    <a:pt x="1496175" y="177012"/>
                  </a:lnTo>
                  <a:lnTo>
                    <a:pt x="1496175" y="177609"/>
                  </a:lnTo>
                  <a:lnTo>
                    <a:pt x="1496175" y="177012"/>
                  </a:lnTo>
                  <a:lnTo>
                    <a:pt x="1496276" y="177012"/>
                  </a:lnTo>
                  <a:lnTo>
                    <a:pt x="1496276" y="176263"/>
                  </a:lnTo>
                  <a:lnTo>
                    <a:pt x="1496276" y="177012"/>
                  </a:lnTo>
                  <a:lnTo>
                    <a:pt x="1496327" y="177012"/>
                  </a:lnTo>
                  <a:lnTo>
                    <a:pt x="1496327" y="176263"/>
                  </a:lnTo>
                  <a:lnTo>
                    <a:pt x="1496327" y="178295"/>
                  </a:lnTo>
                  <a:lnTo>
                    <a:pt x="1496378" y="178295"/>
                  </a:lnTo>
                  <a:lnTo>
                    <a:pt x="1496378" y="177609"/>
                  </a:lnTo>
                  <a:lnTo>
                    <a:pt x="1496378" y="178295"/>
                  </a:lnTo>
                  <a:lnTo>
                    <a:pt x="1496429" y="178295"/>
                  </a:lnTo>
                  <a:lnTo>
                    <a:pt x="1496429" y="179743"/>
                  </a:lnTo>
                  <a:lnTo>
                    <a:pt x="1496429" y="178295"/>
                  </a:lnTo>
                  <a:lnTo>
                    <a:pt x="1496518" y="178295"/>
                  </a:lnTo>
                  <a:lnTo>
                    <a:pt x="1496518" y="177609"/>
                  </a:lnTo>
                  <a:lnTo>
                    <a:pt x="1496518" y="178295"/>
                  </a:lnTo>
                  <a:lnTo>
                    <a:pt x="1496518" y="177609"/>
                  </a:lnTo>
                  <a:lnTo>
                    <a:pt x="1496518" y="178295"/>
                  </a:lnTo>
                  <a:lnTo>
                    <a:pt x="1496569" y="178295"/>
                  </a:lnTo>
                  <a:lnTo>
                    <a:pt x="1496569" y="179743"/>
                  </a:lnTo>
                  <a:lnTo>
                    <a:pt x="1496569" y="177609"/>
                  </a:lnTo>
                  <a:lnTo>
                    <a:pt x="1496619" y="178295"/>
                  </a:lnTo>
                  <a:lnTo>
                    <a:pt x="1496619" y="177609"/>
                  </a:lnTo>
                  <a:lnTo>
                    <a:pt x="1496619" y="178295"/>
                  </a:lnTo>
                  <a:lnTo>
                    <a:pt x="1496619" y="177012"/>
                  </a:lnTo>
                  <a:lnTo>
                    <a:pt x="1496670" y="177012"/>
                  </a:lnTo>
                  <a:lnTo>
                    <a:pt x="1496670" y="177609"/>
                  </a:lnTo>
                  <a:lnTo>
                    <a:pt x="1496670" y="176263"/>
                  </a:lnTo>
                  <a:lnTo>
                    <a:pt x="1496670" y="177012"/>
                  </a:lnTo>
                  <a:lnTo>
                    <a:pt x="1496670" y="176263"/>
                  </a:lnTo>
                  <a:lnTo>
                    <a:pt x="1496772" y="176263"/>
                  </a:lnTo>
                  <a:lnTo>
                    <a:pt x="1496772" y="174879"/>
                  </a:lnTo>
                  <a:lnTo>
                    <a:pt x="1496772" y="176263"/>
                  </a:lnTo>
                  <a:lnTo>
                    <a:pt x="1496772" y="174282"/>
                  </a:lnTo>
                  <a:lnTo>
                    <a:pt x="1496772" y="174879"/>
                  </a:lnTo>
                  <a:lnTo>
                    <a:pt x="1496772" y="174282"/>
                  </a:lnTo>
                  <a:lnTo>
                    <a:pt x="1496772" y="176263"/>
                  </a:lnTo>
                  <a:lnTo>
                    <a:pt x="1496822" y="176263"/>
                  </a:lnTo>
                  <a:lnTo>
                    <a:pt x="1496822" y="174282"/>
                  </a:lnTo>
                  <a:lnTo>
                    <a:pt x="1496822" y="177609"/>
                  </a:lnTo>
                  <a:lnTo>
                    <a:pt x="1496822" y="177012"/>
                  </a:lnTo>
                  <a:lnTo>
                    <a:pt x="1496873" y="176263"/>
                  </a:lnTo>
                  <a:lnTo>
                    <a:pt x="1496873" y="177012"/>
                  </a:lnTo>
                  <a:lnTo>
                    <a:pt x="1496975" y="177012"/>
                  </a:lnTo>
                  <a:lnTo>
                    <a:pt x="1496975" y="177609"/>
                  </a:lnTo>
                  <a:lnTo>
                    <a:pt x="1496975" y="177012"/>
                  </a:lnTo>
                  <a:lnTo>
                    <a:pt x="1496975" y="178295"/>
                  </a:lnTo>
                  <a:lnTo>
                    <a:pt x="1496975" y="177609"/>
                  </a:lnTo>
                  <a:lnTo>
                    <a:pt x="1497013" y="177609"/>
                  </a:lnTo>
                  <a:lnTo>
                    <a:pt x="1497013" y="178295"/>
                  </a:lnTo>
                  <a:lnTo>
                    <a:pt x="1497013" y="177609"/>
                  </a:lnTo>
                  <a:lnTo>
                    <a:pt x="1497013" y="178295"/>
                  </a:lnTo>
                  <a:lnTo>
                    <a:pt x="1497013" y="177609"/>
                  </a:lnTo>
                  <a:lnTo>
                    <a:pt x="1497013" y="178295"/>
                  </a:lnTo>
                  <a:lnTo>
                    <a:pt x="1497013" y="177609"/>
                  </a:lnTo>
                  <a:lnTo>
                    <a:pt x="1497064" y="177609"/>
                  </a:lnTo>
                  <a:lnTo>
                    <a:pt x="1497064" y="178295"/>
                  </a:lnTo>
                  <a:lnTo>
                    <a:pt x="1497064" y="177609"/>
                  </a:lnTo>
                  <a:lnTo>
                    <a:pt x="1497064" y="178295"/>
                  </a:lnTo>
                  <a:lnTo>
                    <a:pt x="1497064" y="177609"/>
                  </a:lnTo>
                  <a:lnTo>
                    <a:pt x="1497064" y="178295"/>
                  </a:lnTo>
                  <a:lnTo>
                    <a:pt x="1497064" y="177609"/>
                  </a:lnTo>
                  <a:lnTo>
                    <a:pt x="1497064" y="178295"/>
                  </a:lnTo>
                  <a:lnTo>
                    <a:pt x="1497115" y="178295"/>
                  </a:lnTo>
                  <a:lnTo>
                    <a:pt x="1497115" y="177012"/>
                  </a:lnTo>
                  <a:lnTo>
                    <a:pt x="1497216" y="177012"/>
                  </a:lnTo>
                  <a:lnTo>
                    <a:pt x="1497216" y="176263"/>
                  </a:lnTo>
                  <a:lnTo>
                    <a:pt x="1497216" y="177012"/>
                  </a:lnTo>
                  <a:lnTo>
                    <a:pt x="1497216" y="174879"/>
                  </a:lnTo>
                  <a:lnTo>
                    <a:pt x="1497216" y="176263"/>
                  </a:lnTo>
                  <a:lnTo>
                    <a:pt x="1497216" y="174879"/>
                  </a:lnTo>
                  <a:lnTo>
                    <a:pt x="1497267" y="174879"/>
                  </a:lnTo>
                  <a:lnTo>
                    <a:pt x="1497267" y="172847"/>
                  </a:lnTo>
                  <a:lnTo>
                    <a:pt x="1497267" y="174879"/>
                  </a:lnTo>
                  <a:lnTo>
                    <a:pt x="1497318" y="174879"/>
                  </a:lnTo>
                  <a:lnTo>
                    <a:pt x="1497318" y="173533"/>
                  </a:lnTo>
                  <a:lnTo>
                    <a:pt x="1497318" y="177012"/>
                  </a:lnTo>
                  <a:lnTo>
                    <a:pt x="1497318" y="176263"/>
                  </a:lnTo>
                  <a:lnTo>
                    <a:pt x="1497419" y="176263"/>
                  </a:lnTo>
                  <a:lnTo>
                    <a:pt x="1497419" y="174879"/>
                  </a:lnTo>
                  <a:lnTo>
                    <a:pt x="1497419" y="177012"/>
                  </a:lnTo>
                  <a:lnTo>
                    <a:pt x="1497419" y="176263"/>
                  </a:lnTo>
                  <a:lnTo>
                    <a:pt x="1497470" y="176263"/>
                  </a:lnTo>
                  <a:lnTo>
                    <a:pt x="1497470" y="174879"/>
                  </a:lnTo>
                  <a:lnTo>
                    <a:pt x="1497470" y="177012"/>
                  </a:lnTo>
                  <a:lnTo>
                    <a:pt x="1497470" y="176263"/>
                  </a:lnTo>
                  <a:lnTo>
                    <a:pt x="1497470" y="177012"/>
                  </a:lnTo>
                  <a:lnTo>
                    <a:pt x="1497521" y="176263"/>
                  </a:lnTo>
                  <a:lnTo>
                    <a:pt x="1497521" y="177012"/>
                  </a:lnTo>
                  <a:lnTo>
                    <a:pt x="1497521" y="176263"/>
                  </a:lnTo>
                  <a:lnTo>
                    <a:pt x="1497521" y="177609"/>
                  </a:lnTo>
                  <a:lnTo>
                    <a:pt x="1497559" y="177609"/>
                  </a:lnTo>
                  <a:lnTo>
                    <a:pt x="1497559" y="177012"/>
                  </a:lnTo>
                  <a:lnTo>
                    <a:pt x="1497559" y="177609"/>
                  </a:lnTo>
                  <a:lnTo>
                    <a:pt x="1497559" y="177012"/>
                  </a:lnTo>
                  <a:lnTo>
                    <a:pt x="1497559" y="177609"/>
                  </a:lnTo>
                  <a:lnTo>
                    <a:pt x="1497559" y="177012"/>
                  </a:lnTo>
                  <a:lnTo>
                    <a:pt x="1497661" y="177012"/>
                  </a:lnTo>
                  <a:lnTo>
                    <a:pt x="1497661" y="177609"/>
                  </a:lnTo>
                  <a:lnTo>
                    <a:pt x="1497661" y="176263"/>
                  </a:lnTo>
                  <a:lnTo>
                    <a:pt x="1497661" y="177012"/>
                  </a:lnTo>
                  <a:lnTo>
                    <a:pt x="1497712" y="177012"/>
                  </a:lnTo>
                  <a:lnTo>
                    <a:pt x="1497712" y="176263"/>
                  </a:lnTo>
                  <a:lnTo>
                    <a:pt x="1497712" y="177012"/>
                  </a:lnTo>
                  <a:lnTo>
                    <a:pt x="1497712" y="174282"/>
                  </a:lnTo>
                  <a:lnTo>
                    <a:pt x="1497712" y="174879"/>
                  </a:lnTo>
                  <a:lnTo>
                    <a:pt x="1497712" y="174282"/>
                  </a:lnTo>
                  <a:lnTo>
                    <a:pt x="1497762" y="174282"/>
                  </a:lnTo>
                  <a:lnTo>
                    <a:pt x="1497762" y="172148"/>
                  </a:lnTo>
                  <a:lnTo>
                    <a:pt x="1497762" y="174282"/>
                  </a:lnTo>
                  <a:lnTo>
                    <a:pt x="1497864" y="173533"/>
                  </a:lnTo>
                  <a:lnTo>
                    <a:pt x="1497864" y="172148"/>
                  </a:lnTo>
                  <a:lnTo>
                    <a:pt x="1497864" y="174879"/>
                  </a:lnTo>
                  <a:lnTo>
                    <a:pt x="1497915" y="174879"/>
                  </a:lnTo>
                  <a:lnTo>
                    <a:pt x="1497915" y="173533"/>
                  </a:lnTo>
                  <a:lnTo>
                    <a:pt x="1497915" y="174879"/>
                  </a:lnTo>
                  <a:lnTo>
                    <a:pt x="1497965" y="174282"/>
                  </a:lnTo>
                  <a:lnTo>
                    <a:pt x="1497965" y="173533"/>
                  </a:lnTo>
                  <a:lnTo>
                    <a:pt x="1497965" y="176263"/>
                  </a:lnTo>
                  <a:lnTo>
                    <a:pt x="1497965" y="174879"/>
                  </a:lnTo>
                  <a:lnTo>
                    <a:pt x="1498016" y="174879"/>
                  </a:lnTo>
                  <a:lnTo>
                    <a:pt x="1498016" y="174282"/>
                  </a:lnTo>
                  <a:lnTo>
                    <a:pt x="1498016" y="177012"/>
                  </a:lnTo>
                  <a:lnTo>
                    <a:pt x="1498016" y="176263"/>
                  </a:lnTo>
                  <a:lnTo>
                    <a:pt x="1498105" y="176263"/>
                  </a:lnTo>
                  <a:lnTo>
                    <a:pt x="1498105" y="177012"/>
                  </a:lnTo>
                  <a:lnTo>
                    <a:pt x="1498105" y="176263"/>
                  </a:lnTo>
                  <a:lnTo>
                    <a:pt x="1498105" y="177012"/>
                  </a:lnTo>
                  <a:lnTo>
                    <a:pt x="1498105" y="176263"/>
                  </a:lnTo>
                  <a:lnTo>
                    <a:pt x="1498105" y="177609"/>
                  </a:lnTo>
                  <a:lnTo>
                    <a:pt x="1498156" y="177012"/>
                  </a:lnTo>
                  <a:lnTo>
                    <a:pt x="1498207" y="177012"/>
                  </a:lnTo>
                  <a:lnTo>
                    <a:pt x="1498207" y="174282"/>
                  </a:lnTo>
                  <a:lnTo>
                    <a:pt x="1498258" y="174282"/>
                  </a:lnTo>
                  <a:lnTo>
                    <a:pt x="1498258" y="172847"/>
                  </a:lnTo>
                  <a:lnTo>
                    <a:pt x="1498258" y="173533"/>
                  </a:lnTo>
                  <a:lnTo>
                    <a:pt x="1498258" y="172847"/>
                  </a:lnTo>
                  <a:lnTo>
                    <a:pt x="1498258" y="173533"/>
                  </a:lnTo>
                  <a:lnTo>
                    <a:pt x="1498258" y="172847"/>
                  </a:lnTo>
                  <a:lnTo>
                    <a:pt x="1498359" y="172847"/>
                  </a:lnTo>
                  <a:lnTo>
                    <a:pt x="1498359" y="172148"/>
                  </a:lnTo>
                  <a:lnTo>
                    <a:pt x="1498359" y="174282"/>
                  </a:lnTo>
                  <a:lnTo>
                    <a:pt x="1498359" y="173533"/>
                  </a:lnTo>
                  <a:lnTo>
                    <a:pt x="1498359" y="174282"/>
                  </a:lnTo>
                  <a:lnTo>
                    <a:pt x="1498359" y="173533"/>
                  </a:lnTo>
                  <a:lnTo>
                    <a:pt x="1498410" y="173533"/>
                  </a:lnTo>
                  <a:lnTo>
                    <a:pt x="1498410" y="174282"/>
                  </a:lnTo>
                  <a:lnTo>
                    <a:pt x="1498461" y="174282"/>
                  </a:lnTo>
                  <a:lnTo>
                    <a:pt x="1498461" y="173533"/>
                  </a:lnTo>
                  <a:lnTo>
                    <a:pt x="1498461" y="174282"/>
                  </a:lnTo>
                  <a:lnTo>
                    <a:pt x="1498461" y="173533"/>
                  </a:lnTo>
                  <a:lnTo>
                    <a:pt x="1498461" y="174282"/>
                  </a:lnTo>
                  <a:lnTo>
                    <a:pt x="1498461" y="173533"/>
                  </a:lnTo>
                  <a:lnTo>
                    <a:pt x="1498562" y="173533"/>
                  </a:lnTo>
                  <a:lnTo>
                    <a:pt x="1498562" y="174282"/>
                  </a:lnTo>
                  <a:lnTo>
                    <a:pt x="1498562" y="173533"/>
                  </a:lnTo>
                  <a:lnTo>
                    <a:pt x="1498562" y="174879"/>
                  </a:lnTo>
                  <a:lnTo>
                    <a:pt x="1498562" y="174282"/>
                  </a:lnTo>
                  <a:lnTo>
                    <a:pt x="1498600" y="174282"/>
                  </a:lnTo>
                  <a:lnTo>
                    <a:pt x="1498600" y="174879"/>
                  </a:lnTo>
                  <a:lnTo>
                    <a:pt x="1498600" y="174282"/>
                  </a:lnTo>
                  <a:lnTo>
                    <a:pt x="1498600" y="174879"/>
                  </a:lnTo>
                  <a:lnTo>
                    <a:pt x="1498651" y="174879"/>
                  </a:lnTo>
                  <a:lnTo>
                    <a:pt x="1498651" y="176263"/>
                  </a:lnTo>
                  <a:lnTo>
                    <a:pt x="1498651" y="174879"/>
                  </a:lnTo>
                  <a:lnTo>
                    <a:pt x="1498651" y="176263"/>
                  </a:lnTo>
                  <a:lnTo>
                    <a:pt x="1498651" y="174879"/>
                  </a:lnTo>
                  <a:lnTo>
                    <a:pt x="1498651" y="176263"/>
                  </a:lnTo>
                  <a:lnTo>
                    <a:pt x="1498651" y="174879"/>
                  </a:lnTo>
                  <a:lnTo>
                    <a:pt x="1498702" y="174879"/>
                  </a:lnTo>
                  <a:lnTo>
                    <a:pt x="1498702" y="173533"/>
                  </a:lnTo>
                  <a:lnTo>
                    <a:pt x="1498804" y="174282"/>
                  </a:lnTo>
                  <a:lnTo>
                    <a:pt x="1498804" y="173533"/>
                  </a:lnTo>
                  <a:lnTo>
                    <a:pt x="1498804" y="174282"/>
                  </a:lnTo>
                  <a:lnTo>
                    <a:pt x="1498804" y="172847"/>
                  </a:lnTo>
                  <a:lnTo>
                    <a:pt x="1498804" y="174282"/>
                  </a:lnTo>
                  <a:lnTo>
                    <a:pt x="1498804" y="173533"/>
                  </a:lnTo>
                  <a:lnTo>
                    <a:pt x="1498855" y="172847"/>
                  </a:lnTo>
                  <a:lnTo>
                    <a:pt x="1498855" y="174879"/>
                  </a:lnTo>
                  <a:lnTo>
                    <a:pt x="1498855" y="174282"/>
                  </a:lnTo>
                  <a:lnTo>
                    <a:pt x="1498905" y="173533"/>
                  </a:lnTo>
                  <a:lnTo>
                    <a:pt x="1498905" y="174879"/>
                  </a:lnTo>
                  <a:lnTo>
                    <a:pt x="1498905" y="174282"/>
                  </a:lnTo>
                  <a:lnTo>
                    <a:pt x="1499007" y="174282"/>
                  </a:lnTo>
                  <a:lnTo>
                    <a:pt x="1499007" y="174879"/>
                  </a:lnTo>
                  <a:lnTo>
                    <a:pt x="1499007" y="174282"/>
                  </a:lnTo>
                  <a:lnTo>
                    <a:pt x="1499007" y="174879"/>
                  </a:lnTo>
                  <a:lnTo>
                    <a:pt x="1499007" y="174282"/>
                  </a:lnTo>
                  <a:lnTo>
                    <a:pt x="1499007" y="174879"/>
                  </a:lnTo>
                  <a:lnTo>
                    <a:pt x="1499007" y="174282"/>
                  </a:lnTo>
                  <a:lnTo>
                    <a:pt x="1499007" y="174879"/>
                  </a:lnTo>
                  <a:lnTo>
                    <a:pt x="1499007" y="174282"/>
                  </a:lnTo>
                  <a:lnTo>
                    <a:pt x="1499058" y="174282"/>
                  </a:lnTo>
                  <a:lnTo>
                    <a:pt x="1499058" y="174879"/>
                  </a:lnTo>
                  <a:lnTo>
                    <a:pt x="1499058" y="174282"/>
                  </a:lnTo>
                  <a:lnTo>
                    <a:pt x="1499058" y="176263"/>
                  </a:lnTo>
                  <a:lnTo>
                    <a:pt x="1499058" y="174879"/>
                  </a:lnTo>
                  <a:lnTo>
                    <a:pt x="1499058" y="176263"/>
                  </a:lnTo>
                  <a:lnTo>
                    <a:pt x="1499109" y="176263"/>
                  </a:lnTo>
                  <a:lnTo>
                    <a:pt x="1499109" y="174879"/>
                  </a:lnTo>
                  <a:lnTo>
                    <a:pt x="1499109" y="176263"/>
                  </a:lnTo>
                  <a:lnTo>
                    <a:pt x="1499109" y="174879"/>
                  </a:lnTo>
                  <a:lnTo>
                    <a:pt x="1499109" y="176263"/>
                  </a:lnTo>
                  <a:lnTo>
                    <a:pt x="1499147" y="176263"/>
                  </a:lnTo>
                  <a:lnTo>
                    <a:pt x="1499147" y="174879"/>
                  </a:lnTo>
                  <a:lnTo>
                    <a:pt x="1499147" y="176263"/>
                  </a:lnTo>
                  <a:lnTo>
                    <a:pt x="1499147" y="174879"/>
                  </a:lnTo>
                  <a:lnTo>
                    <a:pt x="1499248" y="174879"/>
                  </a:lnTo>
                  <a:lnTo>
                    <a:pt x="1499248" y="174282"/>
                  </a:lnTo>
                  <a:lnTo>
                    <a:pt x="1499248" y="174879"/>
                  </a:lnTo>
                  <a:lnTo>
                    <a:pt x="1499248" y="173533"/>
                  </a:lnTo>
                  <a:lnTo>
                    <a:pt x="1499299" y="172847"/>
                  </a:lnTo>
                  <a:lnTo>
                    <a:pt x="1499299" y="174879"/>
                  </a:lnTo>
                  <a:lnTo>
                    <a:pt x="1499299" y="174282"/>
                  </a:lnTo>
                  <a:lnTo>
                    <a:pt x="1499350" y="173533"/>
                  </a:lnTo>
                  <a:lnTo>
                    <a:pt x="1499350" y="177012"/>
                  </a:lnTo>
                  <a:lnTo>
                    <a:pt x="1499350" y="174282"/>
                  </a:lnTo>
                  <a:lnTo>
                    <a:pt x="1499451" y="174282"/>
                  </a:lnTo>
                  <a:lnTo>
                    <a:pt x="1499451" y="176263"/>
                  </a:lnTo>
                  <a:lnTo>
                    <a:pt x="1499451" y="174879"/>
                  </a:lnTo>
                  <a:lnTo>
                    <a:pt x="1499502" y="174879"/>
                  </a:lnTo>
                  <a:lnTo>
                    <a:pt x="1499502" y="176263"/>
                  </a:lnTo>
                  <a:lnTo>
                    <a:pt x="1499553" y="176263"/>
                  </a:lnTo>
                  <a:lnTo>
                    <a:pt x="1499553" y="174879"/>
                  </a:lnTo>
                  <a:lnTo>
                    <a:pt x="1499553" y="176263"/>
                  </a:lnTo>
                  <a:lnTo>
                    <a:pt x="1499553" y="174879"/>
                  </a:lnTo>
                  <a:lnTo>
                    <a:pt x="1499553" y="176263"/>
                  </a:lnTo>
                  <a:lnTo>
                    <a:pt x="1499553" y="174879"/>
                  </a:lnTo>
                  <a:lnTo>
                    <a:pt x="1499553" y="176263"/>
                  </a:lnTo>
                  <a:lnTo>
                    <a:pt x="1499604" y="176263"/>
                  </a:lnTo>
                  <a:lnTo>
                    <a:pt x="1499604" y="174879"/>
                  </a:lnTo>
                  <a:lnTo>
                    <a:pt x="1499693" y="174879"/>
                  </a:lnTo>
                  <a:lnTo>
                    <a:pt x="1499693" y="176263"/>
                  </a:lnTo>
                  <a:lnTo>
                    <a:pt x="1499693" y="174282"/>
                  </a:lnTo>
                  <a:lnTo>
                    <a:pt x="1499693" y="174879"/>
                  </a:lnTo>
                  <a:lnTo>
                    <a:pt x="1499693" y="174282"/>
                  </a:lnTo>
                  <a:lnTo>
                    <a:pt x="1499693" y="174879"/>
                  </a:lnTo>
                  <a:lnTo>
                    <a:pt x="1499693" y="174282"/>
                  </a:lnTo>
                  <a:lnTo>
                    <a:pt x="1499744" y="174282"/>
                  </a:lnTo>
                  <a:lnTo>
                    <a:pt x="1499744" y="172847"/>
                  </a:lnTo>
                  <a:lnTo>
                    <a:pt x="1499794" y="172847"/>
                  </a:lnTo>
                  <a:lnTo>
                    <a:pt x="1499794" y="172148"/>
                  </a:lnTo>
                  <a:lnTo>
                    <a:pt x="1499794" y="174282"/>
                  </a:lnTo>
                  <a:lnTo>
                    <a:pt x="1499794" y="172847"/>
                  </a:lnTo>
                  <a:lnTo>
                    <a:pt x="1499845" y="172847"/>
                  </a:lnTo>
                  <a:lnTo>
                    <a:pt x="1499845" y="174879"/>
                  </a:lnTo>
                  <a:lnTo>
                    <a:pt x="1499845" y="173533"/>
                  </a:lnTo>
                  <a:lnTo>
                    <a:pt x="1499947" y="173533"/>
                  </a:lnTo>
                  <a:lnTo>
                    <a:pt x="1499947" y="174879"/>
                  </a:lnTo>
                  <a:lnTo>
                    <a:pt x="1499947" y="174282"/>
                  </a:lnTo>
                  <a:lnTo>
                    <a:pt x="1499997" y="174879"/>
                  </a:lnTo>
                  <a:lnTo>
                    <a:pt x="1499997" y="174282"/>
                  </a:lnTo>
                  <a:lnTo>
                    <a:pt x="1499997" y="176263"/>
                  </a:lnTo>
                  <a:lnTo>
                    <a:pt x="1499997" y="174282"/>
                  </a:lnTo>
                  <a:lnTo>
                    <a:pt x="1499997" y="174879"/>
                  </a:lnTo>
                  <a:lnTo>
                    <a:pt x="1499997" y="174282"/>
                  </a:lnTo>
                  <a:lnTo>
                    <a:pt x="1499997" y="176263"/>
                  </a:lnTo>
                  <a:lnTo>
                    <a:pt x="1500048" y="176263"/>
                  </a:lnTo>
                  <a:lnTo>
                    <a:pt x="1500048" y="174879"/>
                  </a:lnTo>
                  <a:lnTo>
                    <a:pt x="1500048" y="176263"/>
                  </a:lnTo>
                  <a:lnTo>
                    <a:pt x="1500048" y="174879"/>
                  </a:lnTo>
                  <a:lnTo>
                    <a:pt x="1500048" y="176263"/>
                  </a:lnTo>
                  <a:lnTo>
                    <a:pt x="1500150" y="176263"/>
                  </a:lnTo>
                  <a:lnTo>
                    <a:pt x="1500150" y="174879"/>
                  </a:lnTo>
                  <a:lnTo>
                    <a:pt x="1500188" y="174879"/>
                  </a:lnTo>
                  <a:lnTo>
                    <a:pt x="1500188" y="174282"/>
                  </a:lnTo>
                  <a:lnTo>
                    <a:pt x="1500188" y="174879"/>
                  </a:lnTo>
                  <a:lnTo>
                    <a:pt x="1500188" y="174282"/>
                  </a:lnTo>
                  <a:lnTo>
                    <a:pt x="1500239" y="174282"/>
                  </a:lnTo>
                  <a:lnTo>
                    <a:pt x="1500239" y="172148"/>
                  </a:lnTo>
                  <a:lnTo>
                    <a:pt x="1500239" y="173533"/>
                  </a:lnTo>
                  <a:lnTo>
                    <a:pt x="1500290" y="173533"/>
                  </a:lnTo>
                  <a:lnTo>
                    <a:pt x="1500290" y="174282"/>
                  </a:lnTo>
                  <a:lnTo>
                    <a:pt x="1500290" y="172847"/>
                  </a:lnTo>
                  <a:lnTo>
                    <a:pt x="1500290" y="174879"/>
                  </a:lnTo>
                  <a:lnTo>
                    <a:pt x="1500391" y="174879"/>
                  </a:lnTo>
                  <a:lnTo>
                    <a:pt x="1500391" y="176263"/>
                  </a:lnTo>
                  <a:lnTo>
                    <a:pt x="1500391" y="174282"/>
                  </a:lnTo>
                  <a:lnTo>
                    <a:pt x="1500391" y="174879"/>
                  </a:lnTo>
                  <a:lnTo>
                    <a:pt x="1500391" y="174282"/>
                  </a:lnTo>
                  <a:lnTo>
                    <a:pt x="1500391" y="174879"/>
                  </a:lnTo>
                  <a:lnTo>
                    <a:pt x="1500391" y="174282"/>
                  </a:lnTo>
                  <a:lnTo>
                    <a:pt x="1500391" y="174879"/>
                  </a:lnTo>
                  <a:lnTo>
                    <a:pt x="1500442" y="174879"/>
                  </a:lnTo>
                  <a:lnTo>
                    <a:pt x="1500442" y="174282"/>
                  </a:lnTo>
                  <a:lnTo>
                    <a:pt x="1500442" y="176263"/>
                  </a:lnTo>
                  <a:lnTo>
                    <a:pt x="1500442" y="174879"/>
                  </a:lnTo>
                  <a:lnTo>
                    <a:pt x="1500493" y="174879"/>
                  </a:lnTo>
                  <a:lnTo>
                    <a:pt x="1500493" y="176263"/>
                  </a:lnTo>
                  <a:lnTo>
                    <a:pt x="1500493" y="174879"/>
                  </a:lnTo>
                  <a:lnTo>
                    <a:pt x="1500493" y="176263"/>
                  </a:lnTo>
                  <a:lnTo>
                    <a:pt x="1500493" y="174879"/>
                  </a:lnTo>
                  <a:lnTo>
                    <a:pt x="1500493" y="176263"/>
                  </a:lnTo>
                  <a:lnTo>
                    <a:pt x="1500493" y="174879"/>
                  </a:lnTo>
                  <a:lnTo>
                    <a:pt x="1500594" y="174879"/>
                  </a:lnTo>
                  <a:lnTo>
                    <a:pt x="1500594" y="176263"/>
                  </a:lnTo>
                  <a:lnTo>
                    <a:pt x="1500594" y="174879"/>
                  </a:lnTo>
                  <a:lnTo>
                    <a:pt x="1500594" y="176263"/>
                  </a:lnTo>
                  <a:lnTo>
                    <a:pt x="1500645" y="176263"/>
                  </a:lnTo>
                  <a:lnTo>
                    <a:pt x="1500645" y="174879"/>
                  </a:lnTo>
                  <a:lnTo>
                    <a:pt x="1500645" y="176263"/>
                  </a:lnTo>
                  <a:lnTo>
                    <a:pt x="1500645" y="174879"/>
                  </a:lnTo>
                  <a:lnTo>
                    <a:pt x="1500696" y="174879"/>
                  </a:lnTo>
                  <a:lnTo>
                    <a:pt x="1500696" y="173533"/>
                  </a:lnTo>
                  <a:lnTo>
                    <a:pt x="1500696" y="174282"/>
                  </a:lnTo>
                  <a:lnTo>
                    <a:pt x="1500696" y="173533"/>
                  </a:lnTo>
                  <a:lnTo>
                    <a:pt x="1500734" y="173533"/>
                  </a:lnTo>
                  <a:lnTo>
                    <a:pt x="1500734" y="172847"/>
                  </a:lnTo>
                  <a:lnTo>
                    <a:pt x="1500734" y="173533"/>
                  </a:lnTo>
                  <a:lnTo>
                    <a:pt x="1500734" y="170802"/>
                  </a:lnTo>
                  <a:lnTo>
                    <a:pt x="1500836" y="170802"/>
                  </a:lnTo>
                  <a:lnTo>
                    <a:pt x="1500836" y="172847"/>
                  </a:lnTo>
                  <a:lnTo>
                    <a:pt x="1500836" y="170802"/>
                  </a:lnTo>
                  <a:lnTo>
                    <a:pt x="1500836" y="172847"/>
                  </a:lnTo>
                  <a:lnTo>
                    <a:pt x="1500887" y="173533"/>
                  </a:lnTo>
                  <a:lnTo>
                    <a:pt x="1500887" y="174282"/>
                  </a:lnTo>
                  <a:lnTo>
                    <a:pt x="1500887" y="173533"/>
                  </a:lnTo>
                  <a:lnTo>
                    <a:pt x="1500887" y="174282"/>
                  </a:lnTo>
                  <a:lnTo>
                    <a:pt x="1500887" y="172847"/>
                  </a:lnTo>
                  <a:lnTo>
                    <a:pt x="1500887" y="173533"/>
                  </a:lnTo>
                  <a:lnTo>
                    <a:pt x="1500937" y="173533"/>
                  </a:lnTo>
                  <a:lnTo>
                    <a:pt x="1500937" y="174282"/>
                  </a:lnTo>
                  <a:lnTo>
                    <a:pt x="1500937" y="173533"/>
                  </a:lnTo>
                  <a:lnTo>
                    <a:pt x="1500937" y="174879"/>
                  </a:lnTo>
                  <a:lnTo>
                    <a:pt x="1501039" y="174879"/>
                  </a:lnTo>
                  <a:lnTo>
                    <a:pt x="1501039" y="174282"/>
                  </a:lnTo>
                  <a:lnTo>
                    <a:pt x="1501039" y="174879"/>
                  </a:lnTo>
                  <a:lnTo>
                    <a:pt x="1501039" y="174282"/>
                  </a:lnTo>
                  <a:lnTo>
                    <a:pt x="1501039" y="174879"/>
                  </a:lnTo>
                  <a:lnTo>
                    <a:pt x="1501090" y="174879"/>
                  </a:lnTo>
                  <a:lnTo>
                    <a:pt x="1501090" y="176263"/>
                  </a:lnTo>
                  <a:lnTo>
                    <a:pt x="1501140" y="176263"/>
                  </a:lnTo>
                  <a:lnTo>
                    <a:pt x="1501140" y="174879"/>
                  </a:lnTo>
                  <a:lnTo>
                    <a:pt x="1501140" y="176263"/>
                  </a:lnTo>
                  <a:lnTo>
                    <a:pt x="1501140" y="174879"/>
                  </a:lnTo>
                  <a:lnTo>
                    <a:pt x="1501191" y="174879"/>
                  </a:lnTo>
                  <a:lnTo>
                    <a:pt x="1501191" y="173533"/>
                  </a:lnTo>
                  <a:lnTo>
                    <a:pt x="1501191" y="174282"/>
                  </a:lnTo>
                  <a:lnTo>
                    <a:pt x="1501280" y="174282"/>
                  </a:lnTo>
                  <a:lnTo>
                    <a:pt x="1501280" y="172148"/>
                  </a:lnTo>
                  <a:lnTo>
                    <a:pt x="1501280" y="174282"/>
                  </a:lnTo>
                  <a:lnTo>
                    <a:pt x="1501331" y="173533"/>
                  </a:lnTo>
                  <a:lnTo>
                    <a:pt x="1501331" y="170802"/>
                  </a:lnTo>
                  <a:lnTo>
                    <a:pt x="1501331" y="174879"/>
                  </a:lnTo>
                  <a:lnTo>
                    <a:pt x="1501331" y="174282"/>
                  </a:lnTo>
                  <a:lnTo>
                    <a:pt x="1501382" y="174282"/>
                  </a:lnTo>
                  <a:lnTo>
                    <a:pt x="1501382" y="172847"/>
                  </a:lnTo>
                  <a:lnTo>
                    <a:pt x="1501382" y="174282"/>
                  </a:lnTo>
                  <a:lnTo>
                    <a:pt x="1501382" y="173533"/>
                  </a:lnTo>
                  <a:lnTo>
                    <a:pt x="1501433" y="173533"/>
                  </a:lnTo>
                  <a:lnTo>
                    <a:pt x="1501433" y="174282"/>
                  </a:lnTo>
                  <a:lnTo>
                    <a:pt x="1501433" y="173533"/>
                  </a:lnTo>
                  <a:lnTo>
                    <a:pt x="1501433" y="174282"/>
                  </a:lnTo>
                  <a:lnTo>
                    <a:pt x="1501433" y="173533"/>
                  </a:lnTo>
                  <a:lnTo>
                    <a:pt x="1501433" y="174282"/>
                  </a:lnTo>
                  <a:lnTo>
                    <a:pt x="1501534" y="174282"/>
                  </a:lnTo>
                  <a:lnTo>
                    <a:pt x="1501534" y="173533"/>
                  </a:lnTo>
                  <a:lnTo>
                    <a:pt x="1501534" y="174282"/>
                  </a:lnTo>
                  <a:lnTo>
                    <a:pt x="1501585" y="174282"/>
                  </a:lnTo>
                  <a:lnTo>
                    <a:pt x="1501585" y="174879"/>
                  </a:lnTo>
                  <a:lnTo>
                    <a:pt x="1501585" y="174282"/>
                  </a:lnTo>
                  <a:lnTo>
                    <a:pt x="1501585" y="174879"/>
                  </a:lnTo>
                  <a:lnTo>
                    <a:pt x="1501585" y="174282"/>
                  </a:lnTo>
                  <a:lnTo>
                    <a:pt x="1501636" y="174879"/>
                  </a:lnTo>
                  <a:lnTo>
                    <a:pt x="1501636" y="174282"/>
                  </a:lnTo>
                  <a:lnTo>
                    <a:pt x="1501636" y="174879"/>
                  </a:lnTo>
                  <a:lnTo>
                    <a:pt x="1501636" y="173533"/>
                  </a:lnTo>
                  <a:lnTo>
                    <a:pt x="1501636" y="174282"/>
                  </a:lnTo>
                  <a:lnTo>
                    <a:pt x="1501737" y="174282"/>
                  </a:lnTo>
                  <a:lnTo>
                    <a:pt x="1501737" y="172847"/>
                  </a:lnTo>
                  <a:lnTo>
                    <a:pt x="1501775" y="172847"/>
                  </a:lnTo>
                  <a:lnTo>
                    <a:pt x="1501775" y="172148"/>
                  </a:lnTo>
                  <a:lnTo>
                    <a:pt x="1501775" y="174282"/>
                  </a:lnTo>
                  <a:lnTo>
                    <a:pt x="1501775" y="172847"/>
                  </a:lnTo>
                  <a:lnTo>
                    <a:pt x="1501826" y="172847"/>
                  </a:lnTo>
                  <a:lnTo>
                    <a:pt x="1501826" y="172148"/>
                  </a:lnTo>
                  <a:lnTo>
                    <a:pt x="1501826" y="174879"/>
                  </a:lnTo>
                  <a:lnTo>
                    <a:pt x="1501826" y="174282"/>
                  </a:lnTo>
                  <a:lnTo>
                    <a:pt x="1501877" y="173533"/>
                  </a:lnTo>
                  <a:lnTo>
                    <a:pt x="1501877" y="174879"/>
                  </a:lnTo>
                  <a:lnTo>
                    <a:pt x="1501877" y="173533"/>
                  </a:lnTo>
                  <a:lnTo>
                    <a:pt x="1501877" y="174282"/>
                  </a:lnTo>
                  <a:lnTo>
                    <a:pt x="1501979" y="174282"/>
                  </a:lnTo>
                  <a:lnTo>
                    <a:pt x="1501979" y="173533"/>
                  </a:lnTo>
                  <a:lnTo>
                    <a:pt x="1501979" y="174879"/>
                  </a:lnTo>
                  <a:lnTo>
                    <a:pt x="1501979" y="174282"/>
                  </a:lnTo>
                  <a:lnTo>
                    <a:pt x="1501979" y="174879"/>
                  </a:lnTo>
                  <a:lnTo>
                    <a:pt x="1501979" y="174282"/>
                  </a:lnTo>
                  <a:lnTo>
                    <a:pt x="1502030" y="174282"/>
                  </a:lnTo>
                  <a:lnTo>
                    <a:pt x="1502030" y="174879"/>
                  </a:lnTo>
                  <a:lnTo>
                    <a:pt x="1502030" y="174282"/>
                  </a:lnTo>
                  <a:lnTo>
                    <a:pt x="1502030" y="174879"/>
                  </a:lnTo>
                  <a:lnTo>
                    <a:pt x="1502030" y="174282"/>
                  </a:lnTo>
                  <a:lnTo>
                    <a:pt x="1502030" y="174879"/>
                  </a:lnTo>
                  <a:lnTo>
                    <a:pt x="1502182" y="174879"/>
                  </a:lnTo>
                  <a:lnTo>
                    <a:pt x="1502182" y="174282"/>
                  </a:lnTo>
                  <a:lnTo>
                    <a:pt x="1502233" y="173533"/>
                  </a:lnTo>
                  <a:lnTo>
                    <a:pt x="1502233" y="174282"/>
                  </a:lnTo>
                  <a:lnTo>
                    <a:pt x="1502233" y="172847"/>
                  </a:lnTo>
                  <a:lnTo>
                    <a:pt x="1502284" y="172847"/>
                  </a:lnTo>
                  <a:lnTo>
                    <a:pt x="1502284" y="172148"/>
                  </a:lnTo>
                  <a:lnTo>
                    <a:pt x="1502284" y="174282"/>
                  </a:lnTo>
                  <a:lnTo>
                    <a:pt x="1502284" y="172148"/>
                  </a:lnTo>
                  <a:lnTo>
                    <a:pt x="1502322" y="172847"/>
                  </a:lnTo>
                  <a:lnTo>
                    <a:pt x="1502322" y="174879"/>
                  </a:lnTo>
                  <a:lnTo>
                    <a:pt x="1502322" y="173533"/>
                  </a:lnTo>
                  <a:lnTo>
                    <a:pt x="1502423" y="174282"/>
                  </a:lnTo>
                  <a:lnTo>
                    <a:pt x="1502423" y="174879"/>
                  </a:lnTo>
                  <a:lnTo>
                    <a:pt x="1502423" y="173533"/>
                  </a:lnTo>
                  <a:lnTo>
                    <a:pt x="1502423" y="174879"/>
                  </a:lnTo>
                  <a:lnTo>
                    <a:pt x="1502474" y="174879"/>
                  </a:lnTo>
                  <a:lnTo>
                    <a:pt x="1502474" y="176263"/>
                  </a:lnTo>
                  <a:lnTo>
                    <a:pt x="1502474" y="174282"/>
                  </a:lnTo>
                  <a:lnTo>
                    <a:pt x="1502474" y="174879"/>
                  </a:lnTo>
                  <a:lnTo>
                    <a:pt x="1502474" y="174282"/>
                  </a:lnTo>
                  <a:lnTo>
                    <a:pt x="1502474" y="174879"/>
                  </a:lnTo>
                  <a:lnTo>
                    <a:pt x="1502525" y="174879"/>
                  </a:lnTo>
                  <a:lnTo>
                    <a:pt x="1502525" y="174282"/>
                  </a:lnTo>
                  <a:lnTo>
                    <a:pt x="1502525" y="174879"/>
                  </a:lnTo>
                  <a:lnTo>
                    <a:pt x="1502626" y="174879"/>
                  </a:lnTo>
                  <a:lnTo>
                    <a:pt x="1502626" y="173533"/>
                  </a:lnTo>
                  <a:lnTo>
                    <a:pt x="1502626" y="174282"/>
                  </a:lnTo>
                  <a:lnTo>
                    <a:pt x="1502677" y="174282"/>
                  </a:lnTo>
                  <a:lnTo>
                    <a:pt x="1502677" y="172847"/>
                  </a:lnTo>
                  <a:lnTo>
                    <a:pt x="1502677" y="173533"/>
                  </a:lnTo>
                  <a:lnTo>
                    <a:pt x="1502677" y="172847"/>
                  </a:lnTo>
                  <a:lnTo>
                    <a:pt x="1502728" y="172847"/>
                  </a:lnTo>
                  <a:lnTo>
                    <a:pt x="1502728" y="172148"/>
                  </a:lnTo>
                  <a:lnTo>
                    <a:pt x="1502728" y="172847"/>
                  </a:lnTo>
                  <a:lnTo>
                    <a:pt x="1502728" y="172148"/>
                  </a:lnTo>
                  <a:lnTo>
                    <a:pt x="1502728" y="172847"/>
                  </a:lnTo>
                  <a:lnTo>
                    <a:pt x="1502779" y="172847"/>
                  </a:lnTo>
                  <a:lnTo>
                    <a:pt x="1502779" y="172148"/>
                  </a:lnTo>
                  <a:lnTo>
                    <a:pt x="1502779" y="174282"/>
                  </a:lnTo>
                  <a:lnTo>
                    <a:pt x="1502868" y="174879"/>
                  </a:lnTo>
                  <a:lnTo>
                    <a:pt x="1502868" y="173533"/>
                  </a:lnTo>
                  <a:lnTo>
                    <a:pt x="1502868" y="176263"/>
                  </a:lnTo>
                  <a:lnTo>
                    <a:pt x="1502868" y="174879"/>
                  </a:lnTo>
                  <a:lnTo>
                    <a:pt x="1502868" y="176263"/>
                  </a:lnTo>
                  <a:lnTo>
                    <a:pt x="1502919" y="174879"/>
                  </a:lnTo>
                  <a:lnTo>
                    <a:pt x="1502919" y="174282"/>
                  </a:lnTo>
                  <a:lnTo>
                    <a:pt x="1502919" y="174879"/>
                  </a:lnTo>
                  <a:lnTo>
                    <a:pt x="1502919" y="174282"/>
                  </a:lnTo>
                  <a:lnTo>
                    <a:pt x="1502919" y="174879"/>
                  </a:lnTo>
                  <a:lnTo>
                    <a:pt x="1502969" y="174879"/>
                  </a:lnTo>
                  <a:lnTo>
                    <a:pt x="1502969" y="174282"/>
                  </a:lnTo>
                  <a:lnTo>
                    <a:pt x="1502969" y="176263"/>
                  </a:lnTo>
                  <a:lnTo>
                    <a:pt x="1502969" y="174879"/>
                  </a:lnTo>
                  <a:lnTo>
                    <a:pt x="1503020" y="174879"/>
                  </a:lnTo>
                  <a:lnTo>
                    <a:pt x="1503020" y="174282"/>
                  </a:lnTo>
                  <a:lnTo>
                    <a:pt x="1503020" y="174879"/>
                  </a:lnTo>
                  <a:lnTo>
                    <a:pt x="1503020" y="174282"/>
                  </a:lnTo>
                  <a:lnTo>
                    <a:pt x="1503020" y="174879"/>
                  </a:lnTo>
                  <a:lnTo>
                    <a:pt x="1503020" y="174282"/>
                  </a:lnTo>
                  <a:lnTo>
                    <a:pt x="1503020" y="176263"/>
                  </a:lnTo>
                  <a:lnTo>
                    <a:pt x="1503122" y="176263"/>
                  </a:lnTo>
                  <a:lnTo>
                    <a:pt x="1503122" y="174282"/>
                  </a:lnTo>
                  <a:lnTo>
                    <a:pt x="1503122" y="174879"/>
                  </a:lnTo>
                  <a:lnTo>
                    <a:pt x="1503122" y="174282"/>
                  </a:lnTo>
                  <a:lnTo>
                    <a:pt x="1503172" y="174282"/>
                  </a:lnTo>
                  <a:lnTo>
                    <a:pt x="1503172" y="173533"/>
                  </a:lnTo>
                  <a:lnTo>
                    <a:pt x="1503172" y="174282"/>
                  </a:lnTo>
                  <a:lnTo>
                    <a:pt x="1503172" y="172847"/>
                  </a:lnTo>
                  <a:lnTo>
                    <a:pt x="1503172" y="173533"/>
                  </a:lnTo>
                  <a:lnTo>
                    <a:pt x="1503172" y="172847"/>
                  </a:lnTo>
                  <a:lnTo>
                    <a:pt x="1503223" y="172847"/>
                  </a:lnTo>
                  <a:lnTo>
                    <a:pt x="1503223" y="170802"/>
                  </a:lnTo>
                  <a:lnTo>
                    <a:pt x="1503223" y="172148"/>
                  </a:lnTo>
                  <a:lnTo>
                    <a:pt x="1503223" y="170802"/>
                  </a:lnTo>
                  <a:lnTo>
                    <a:pt x="1503223" y="173533"/>
                  </a:lnTo>
                  <a:lnTo>
                    <a:pt x="1503325" y="173533"/>
                  </a:lnTo>
                  <a:lnTo>
                    <a:pt x="1503325" y="170802"/>
                  </a:lnTo>
                  <a:lnTo>
                    <a:pt x="1503325" y="174282"/>
                  </a:lnTo>
                  <a:lnTo>
                    <a:pt x="1503325" y="173533"/>
                  </a:lnTo>
                  <a:lnTo>
                    <a:pt x="1503363" y="173533"/>
                  </a:lnTo>
                  <a:lnTo>
                    <a:pt x="1503363" y="172847"/>
                  </a:lnTo>
                  <a:lnTo>
                    <a:pt x="1503363" y="173533"/>
                  </a:lnTo>
                  <a:lnTo>
                    <a:pt x="1503363" y="172847"/>
                  </a:lnTo>
                  <a:lnTo>
                    <a:pt x="1503363" y="174282"/>
                  </a:lnTo>
                  <a:lnTo>
                    <a:pt x="1503363" y="173533"/>
                  </a:lnTo>
                  <a:lnTo>
                    <a:pt x="1503414" y="173533"/>
                  </a:lnTo>
                  <a:lnTo>
                    <a:pt x="1503414" y="174879"/>
                  </a:lnTo>
                  <a:lnTo>
                    <a:pt x="1503414" y="174282"/>
                  </a:lnTo>
                  <a:lnTo>
                    <a:pt x="1503465" y="174282"/>
                  </a:lnTo>
                  <a:lnTo>
                    <a:pt x="1503465" y="174879"/>
                  </a:lnTo>
                  <a:lnTo>
                    <a:pt x="1503465" y="174282"/>
                  </a:lnTo>
                  <a:lnTo>
                    <a:pt x="1503465" y="174879"/>
                  </a:lnTo>
                  <a:lnTo>
                    <a:pt x="1503465" y="174282"/>
                  </a:lnTo>
                  <a:lnTo>
                    <a:pt x="1503566" y="174879"/>
                  </a:lnTo>
                  <a:lnTo>
                    <a:pt x="1503566" y="174282"/>
                  </a:lnTo>
                  <a:lnTo>
                    <a:pt x="1503566" y="174879"/>
                  </a:lnTo>
                  <a:lnTo>
                    <a:pt x="1503566" y="174282"/>
                  </a:lnTo>
                  <a:lnTo>
                    <a:pt x="1503617" y="174282"/>
                  </a:lnTo>
                  <a:lnTo>
                    <a:pt x="1503617" y="173533"/>
                  </a:lnTo>
                  <a:lnTo>
                    <a:pt x="1503668" y="173533"/>
                  </a:lnTo>
                  <a:lnTo>
                    <a:pt x="1503668" y="172148"/>
                  </a:lnTo>
                  <a:lnTo>
                    <a:pt x="1503769" y="172148"/>
                  </a:lnTo>
                  <a:lnTo>
                    <a:pt x="1503769" y="169418"/>
                  </a:lnTo>
                  <a:lnTo>
                    <a:pt x="1503769" y="170802"/>
                  </a:lnTo>
                  <a:lnTo>
                    <a:pt x="1503820" y="170802"/>
                  </a:lnTo>
                  <a:lnTo>
                    <a:pt x="1503820" y="172148"/>
                  </a:lnTo>
                  <a:lnTo>
                    <a:pt x="1503820" y="169418"/>
                  </a:lnTo>
                  <a:lnTo>
                    <a:pt x="1503820" y="172847"/>
                  </a:lnTo>
                  <a:lnTo>
                    <a:pt x="1503871" y="172847"/>
                  </a:lnTo>
                  <a:lnTo>
                    <a:pt x="1503871" y="170116"/>
                  </a:lnTo>
                  <a:lnTo>
                    <a:pt x="1503871" y="173533"/>
                  </a:lnTo>
                  <a:lnTo>
                    <a:pt x="1503909" y="173533"/>
                  </a:lnTo>
                  <a:lnTo>
                    <a:pt x="1503909" y="172148"/>
                  </a:lnTo>
                  <a:lnTo>
                    <a:pt x="1503909" y="172847"/>
                  </a:lnTo>
                  <a:lnTo>
                    <a:pt x="1503909" y="172148"/>
                  </a:lnTo>
                  <a:lnTo>
                    <a:pt x="1503909" y="173533"/>
                  </a:lnTo>
                  <a:lnTo>
                    <a:pt x="1504011" y="173533"/>
                  </a:lnTo>
                  <a:lnTo>
                    <a:pt x="1504011" y="172847"/>
                  </a:lnTo>
                  <a:lnTo>
                    <a:pt x="1504011" y="173533"/>
                  </a:lnTo>
                  <a:lnTo>
                    <a:pt x="1504062" y="173533"/>
                  </a:lnTo>
                  <a:lnTo>
                    <a:pt x="1504062" y="174282"/>
                  </a:lnTo>
                  <a:lnTo>
                    <a:pt x="1504062" y="173533"/>
                  </a:lnTo>
                  <a:lnTo>
                    <a:pt x="1504062" y="174282"/>
                  </a:lnTo>
                  <a:lnTo>
                    <a:pt x="1504112" y="174282"/>
                  </a:lnTo>
                  <a:lnTo>
                    <a:pt x="1504112" y="173533"/>
                  </a:lnTo>
                  <a:lnTo>
                    <a:pt x="1504112" y="174282"/>
                  </a:lnTo>
                  <a:lnTo>
                    <a:pt x="1504112" y="173533"/>
                  </a:lnTo>
                  <a:lnTo>
                    <a:pt x="1504112" y="174879"/>
                  </a:lnTo>
                  <a:lnTo>
                    <a:pt x="1504112" y="173533"/>
                  </a:lnTo>
                  <a:lnTo>
                    <a:pt x="1504214" y="173533"/>
                  </a:lnTo>
                  <a:lnTo>
                    <a:pt x="1504214" y="172847"/>
                  </a:lnTo>
                  <a:lnTo>
                    <a:pt x="1504265" y="172148"/>
                  </a:lnTo>
                  <a:lnTo>
                    <a:pt x="1504265" y="172847"/>
                  </a:lnTo>
                  <a:lnTo>
                    <a:pt x="1504265" y="170116"/>
                  </a:lnTo>
                  <a:lnTo>
                    <a:pt x="1504265" y="172148"/>
                  </a:lnTo>
                  <a:lnTo>
                    <a:pt x="1504265" y="170802"/>
                  </a:lnTo>
                  <a:lnTo>
                    <a:pt x="1504315" y="170802"/>
                  </a:lnTo>
                  <a:lnTo>
                    <a:pt x="1504315" y="169418"/>
                  </a:lnTo>
                  <a:lnTo>
                    <a:pt x="1504315" y="172847"/>
                  </a:lnTo>
                  <a:lnTo>
                    <a:pt x="1504315" y="172148"/>
                  </a:lnTo>
                  <a:lnTo>
                    <a:pt x="1504366" y="172148"/>
                  </a:lnTo>
                  <a:lnTo>
                    <a:pt x="1504366" y="170116"/>
                  </a:lnTo>
                  <a:lnTo>
                    <a:pt x="1504366" y="172847"/>
                  </a:lnTo>
                  <a:lnTo>
                    <a:pt x="1504366" y="170802"/>
                  </a:lnTo>
                  <a:lnTo>
                    <a:pt x="1504455" y="170802"/>
                  </a:lnTo>
                  <a:lnTo>
                    <a:pt x="1504455" y="172148"/>
                  </a:lnTo>
                  <a:lnTo>
                    <a:pt x="1504455" y="170802"/>
                  </a:lnTo>
                  <a:lnTo>
                    <a:pt x="1504455" y="172148"/>
                  </a:lnTo>
                  <a:lnTo>
                    <a:pt x="1504506" y="172148"/>
                  </a:lnTo>
                  <a:lnTo>
                    <a:pt x="1504506" y="172847"/>
                  </a:lnTo>
                  <a:lnTo>
                    <a:pt x="1504506" y="172148"/>
                  </a:lnTo>
                  <a:lnTo>
                    <a:pt x="1504557" y="172148"/>
                  </a:lnTo>
                  <a:lnTo>
                    <a:pt x="1504557" y="173533"/>
                  </a:lnTo>
                  <a:lnTo>
                    <a:pt x="1504557" y="172847"/>
                  </a:lnTo>
                  <a:lnTo>
                    <a:pt x="1504557" y="173533"/>
                  </a:lnTo>
                  <a:lnTo>
                    <a:pt x="1504608" y="173533"/>
                  </a:lnTo>
                  <a:lnTo>
                    <a:pt x="1504608" y="172847"/>
                  </a:lnTo>
                  <a:lnTo>
                    <a:pt x="1504608" y="173533"/>
                  </a:lnTo>
                  <a:lnTo>
                    <a:pt x="1504608" y="172847"/>
                  </a:lnTo>
                  <a:lnTo>
                    <a:pt x="1504709" y="172847"/>
                  </a:lnTo>
                  <a:lnTo>
                    <a:pt x="1504709" y="172148"/>
                  </a:lnTo>
                  <a:lnTo>
                    <a:pt x="1504709" y="172847"/>
                  </a:lnTo>
                  <a:lnTo>
                    <a:pt x="1504709" y="172148"/>
                  </a:lnTo>
                  <a:lnTo>
                    <a:pt x="1504760" y="172148"/>
                  </a:lnTo>
                  <a:lnTo>
                    <a:pt x="1504760" y="170802"/>
                  </a:lnTo>
                  <a:lnTo>
                    <a:pt x="1504760" y="173533"/>
                  </a:lnTo>
                  <a:lnTo>
                    <a:pt x="1504760" y="170116"/>
                  </a:lnTo>
                  <a:lnTo>
                    <a:pt x="1504811" y="170802"/>
                  </a:lnTo>
                  <a:lnTo>
                    <a:pt x="1504811" y="174282"/>
                  </a:lnTo>
                  <a:lnTo>
                    <a:pt x="1504811" y="173533"/>
                  </a:lnTo>
                  <a:lnTo>
                    <a:pt x="1504811" y="174282"/>
                  </a:lnTo>
                  <a:lnTo>
                    <a:pt x="1504811" y="172847"/>
                  </a:lnTo>
                  <a:lnTo>
                    <a:pt x="1504912" y="172847"/>
                  </a:lnTo>
                  <a:lnTo>
                    <a:pt x="1504912" y="174282"/>
                  </a:lnTo>
                  <a:lnTo>
                    <a:pt x="1504912" y="173533"/>
                  </a:lnTo>
                  <a:lnTo>
                    <a:pt x="1504912" y="174282"/>
                  </a:lnTo>
                  <a:lnTo>
                    <a:pt x="1504912" y="172847"/>
                  </a:lnTo>
                  <a:lnTo>
                    <a:pt x="1504912" y="173533"/>
                  </a:lnTo>
                  <a:lnTo>
                    <a:pt x="1504950" y="173533"/>
                  </a:lnTo>
                  <a:lnTo>
                    <a:pt x="1504950" y="172847"/>
                  </a:lnTo>
                  <a:lnTo>
                    <a:pt x="1504950" y="173533"/>
                  </a:lnTo>
                  <a:lnTo>
                    <a:pt x="1505001" y="173533"/>
                  </a:lnTo>
                  <a:lnTo>
                    <a:pt x="1505001" y="172847"/>
                  </a:lnTo>
                  <a:lnTo>
                    <a:pt x="1505001" y="174282"/>
                  </a:lnTo>
                  <a:lnTo>
                    <a:pt x="1505052" y="174282"/>
                  </a:lnTo>
                  <a:lnTo>
                    <a:pt x="1505052" y="172847"/>
                  </a:lnTo>
                  <a:lnTo>
                    <a:pt x="1505052" y="173533"/>
                  </a:lnTo>
                  <a:lnTo>
                    <a:pt x="1505052" y="172847"/>
                  </a:lnTo>
                  <a:lnTo>
                    <a:pt x="1505052" y="173533"/>
                  </a:lnTo>
                  <a:lnTo>
                    <a:pt x="1505154" y="173533"/>
                  </a:lnTo>
                  <a:lnTo>
                    <a:pt x="1505154" y="174282"/>
                  </a:lnTo>
                  <a:lnTo>
                    <a:pt x="1505154" y="172847"/>
                  </a:lnTo>
                  <a:lnTo>
                    <a:pt x="1505205" y="172847"/>
                  </a:lnTo>
                  <a:lnTo>
                    <a:pt x="1505205" y="173533"/>
                  </a:lnTo>
                  <a:lnTo>
                    <a:pt x="1505205" y="172148"/>
                  </a:lnTo>
                  <a:lnTo>
                    <a:pt x="1505205" y="172847"/>
                  </a:lnTo>
                  <a:lnTo>
                    <a:pt x="1505205" y="172148"/>
                  </a:lnTo>
                  <a:lnTo>
                    <a:pt x="1505205" y="172847"/>
                  </a:lnTo>
                  <a:lnTo>
                    <a:pt x="1505255" y="173533"/>
                  </a:lnTo>
                  <a:lnTo>
                    <a:pt x="1505255" y="172847"/>
                  </a:lnTo>
                  <a:lnTo>
                    <a:pt x="1505255" y="173533"/>
                  </a:lnTo>
                  <a:lnTo>
                    <a:pt x="1505255" y="172148"/>
                  </a:lnTo>
                  <a:lnTo>
                    <a:pt x="1505255" y="174879"/>
                  </a:lnTo>
                  <a:lnTo>
                    <a:pt x="1505357" y="174879"/>
                  </a:lnTo>
                  <a:lnTo>
                    <a:pt x="1505357" y="173533"/>
                  </a:lnTo>
                  <a:lnTo>
                    <a:pt x="1505357" y="174282"/>
                  </a:lnTo>
                  <a:lnTo>
                    <a:pt x="1505357" y="173533"/>
                  </a:lnTo>
                  <a:lnTo>
                    <a:pt x="1505357" y="174879"/>
                  </a:lnTo>
                  <a:lnTo>
                    <a:pt x="1505408" y="174879"/>
                  </a:lnTo>
                  <a:lnTo>
                    <a:pt x="1505408" y="174282"/>
                  </a:lnTo>
                  <a:lnTo>
                    <a:pt x="1505408" y="174879"/>
                  </a:lnTo>
                  <a:lnTo>
                    <a:pt x="1505459" y="174879"/>
                  </a:lnTo>
                  <a:lnTo>
                    <a:pt x="1505459" y="174282"/>
                  </a:lnTo>
                  <a:lnTo>
                    <a:pt x="1505459" y="174879"/>
                  </a:lnTo>
                  <a:lnTo>
                    <a:pt x="1505459" y="174282"/>
                  </a:lnTo>
                  <a:lnTo>
                    <a:pt x="1505497" y="174282"/>
                  </a:lnTo>
                  <a:lnTo>
                    <a:pt x="1505497" y="174879"/>
                  </a:lnTo>
                  <a:lnTo>
                    <a:pt x="1505497" y="174282"/>
                  </a:lnTo>
                  <a:lnTo>
                    <a:pt x="1505497" y="174879"/>
                  </a:lnTo>
                  <a:lnTo>
                    <a:pt x="1505497" y="173533"/>
                  </a:lnTo>
                  <a:lnTo>
                    <a:pt x="1505497" y="174282"/>
                  </a:lnTo>
                  <a:lnTo>
                    <a:pt x="1505598" y="174282"/>
                  </a:lnTo>
                  <a:lnTo>
                    <a:pt x="1505598" y="172847"/>
                  </a:lnTo>
                  <a:lnTo>
                    <a:pt x="1505598" y="173533"/>
                  </a:lnTo>
                  <a:lnTo>
                    <a:pt x="1505649" y="173533"/>
                  </a:lnTo>
                  <a:lnTo>
                    <a:pt x="1505649" y="170802"/>
                  </a:lnTo>
                  <a:lnTo>
                    <a:pt x="1505649" y="172148"/>
                  </a:lnTo>
                  <a:lnTo>
                    <a:pt x="1505700" y="172148"/>
                  </a:lnTo>
                  <a:lnTo>
                    <a:pt x="1505700" y="169418"/>
                  </a:lnTo>
                  <a:lnTo>
                    <a:pt x="1505700" y="172847"/>
                  </a:lnTo>
                  <a:lnTo>
                    <a:pt x="1505801" y="172847"/>
                  </a:lnTo>
                  <a:lnTo>
                    <a:pt x="1505801" y="170802"/>
                  </a:lnTo>
                  <a:lnTo>
                    <a:pt x="1505801" y="172148"/>
                  </a:lnTo>
                  <a:lnTo>
                    <a:pt x="1505801" y="170116"/>
                  </a:lnTo>
                  <a:lnTo>
                    <a:pt x="1505801" y="173533"/>
                  </a:lnTo>
                  <a:lnTo>
                    <a:pt x="1505852" y="173533"/>
                  </a:lnTo>
                  <a:lnTo>
                    <a:pt x="1505852" y="172847"/>
                  </a:lnTo>
                  <a:lnTo>
                    <a:pt x="1505852" y="173533"/>
                  </a:lnTo>
                  <a:lnTo>
                    <a:pt x="1505903" y="173533"/>
                  </a:lnTo>
                  <a:lnTo>
                    <a:pt x="1505903" y="172847"/>
                  </a:lnTo>
                  <a:lnTo>
                    <a:pt x="1505903" y="174282"/>
                  </a:lnTo>
                  <a:lnTo>
                    <a:pt x="1505903" y="173533"/>
                  </a:lnTo>
                  <a:lnTo>
                    <a:pt x="1505954" y="173533"/>
                  </a:lnTo>
                  <a:lnTo>
                    <a:pt x="1505954" y="174282"/>
                  </a:lnTo>
                  <a:lnTo>
                    <a:pt x="1505954" y="173533"/>
                  </a:lnTo>
                  <a:lnTo>
                    <a:pt x="1505954" y="174282"/>
                  </a:lnTo>
                  <a:lnTo>
                    <a:pt x="1505954" y="173533"/>
                  </a:lnTo>
                  <a:lnTo>
                    <a:pt x="1506043" y="173533"/>
                  </a:lnTo>
                  <a:lnTo>
                    <a:pt x="1506043" y="174879"/>
                  </a:lnTo>
                  <a:lnTo>
                    <a:pt x="1506043" y="173533"/>
                  </a:lnTo>
                  <a:lnTo>
                    <a:pt x="1506094" y="173533"/>
                  </a:lnTo>
                  <a:lnTo>
                    <a:pt x="1506094" y="174282"/>
                  </a:lnTo>
                  <a:lnTo>
                    <a:pt x="1506094" y="173533"/>
                  </a:lnTo>
                  <a:lnTo>
                    <a:pt x="1506094" y="174282"/>
                  </a:lnTo>
                  <a:lnTo>
                    <a:pt x="1506094" y="172847"/>
                  </a:lnTo>
                  <a:lnTo>
                    <a:pt x="1506094" y="173533"/>
                  </a:lnTo>
                  <a:lnTo>
                    <a:pt x="1506144" y="172847"/>
                  </a:lnTo>
                  <a:lnTo>
                    <a:pt x="1506144" y="173533"/>
                  </a:lnTo>
                  <a:lnTo>
                    <a:pt x="1506144" y="172847"/>
                  </a:lnTo>
                  <a:lnTo>
                    <a:pt x="1506144" y="173533"/>
                  </a:lnTo>
                  <a:lnTo>
                    <a:pt x="1506144" y="172148"/>
                  </a:lnTo>
                  <a:lnTo>
                    <a:pt x="1506195" y="170802"/>
                  </a:lnTo>
                  <a:lnTo>
                    <a:pt x="1506195" y="170116"/>
                  </a:lnTo>
                  <a:lnTo>
                    <a:pt x="1506195" y="172847"/>
                  </a:lnTo>
                  <a:lnTo>
                    <a:pt x="1506195" y="170802"/>
                  </a:lnTo>
                  <a:lnTo>
                    <a:pt x="1506297" y="170116"/>
                  </a:lnTo>
                  <a:lnTo>
                    <a:pt x="1506297" y="173533"/>
                  </a:lnTo>
                  <a:lnTo>
                    <a:pt x="1506297" y="172847"/>
                  </a:lnTo>
                  <a:lnTo>
                    <a:pt x="1506297" y="173533"/>
                  </a:lnTo>
                  <a:lnTo>
                    <a:pt x="1506297" y="170802"/>
                  </a:lnTo>
                  <a:lnTo>
                    <a:pt x="1506347" y="170802"/>
                  </a:lnTo>
                  <a:lnTo>
                    <a:pt x="1506347" y="173533"/>
                  </a:lnTo>
                  <a:lnTo>
                    <a:pt x="1506347" y="172847"/>
                  </a:lnTo>
                  <a:lnTo>
                    <a:pt x="1506398" y="172847"/>
                  </a:lnTo>
                  <a:lnTo>
                    <a:pt x="1506398" y="173533"/>
                  </a:lnTo>
                  <a:lnTo>
                    <a:pt x="1506500" y="173533"/>
                  </a:lnTo>
                  <a:lnTo>
                    <a:pt x="1506500" y="174282"/>
                  </a:lnTo>
                  <a:lnTo>
                    <a:pt x="1506538" y="174282"/>
                  </a:lnTo>
                  <a:lnTo>
                    <a:pt x="1506538" y="173533"/>
                  </a:lnTo>
                  <a:lnTo>
                    <a:pt x="1506538" y="174282"/>
                  </a:lnTo>
                  <a:lnTo>
                    <a:pt x="1506538" y="173533"/>
                  </a:lnTo>
                  <a:lnTo>
                    <a:pt x="1506538" y="174282"/>
                  </a:lnTo>
                  <a:lnTo>
                    <a:pt x="1506589" y="174282"/>
                  </a:lnTo>
                  <a:lnTo>
                    <a:pt x="1506589" y="172847"/>
                  </a:lnTo>
                  <a:lnTo>
                    <a:pt x="1506589" y="173533"/>
                  </a:lnTo>
                  <a:lnTo>
                    <a:pt x="1506589" y="172847"/>
                  </a:lnTo>
                  <a:lnTo>
                    <a:pt x="1506589" y="173533"/>
                  </a:lnTo>
                  <a:lnTo>
                    <a:pt x="1506589" y="172847"/>
                  </a:lnTo>
                  <a:lnTo>
                    <a:pt x="1506589" y="173533"/>
                  </a:lnTo>
                  <a:lnTo>
                    <a:pt x="1506589" y="172847"/>
                  </a:lnTo>
                  <a:lnTo>
                    <a:pt x="1506640" y="172847"/>
                  </a:lnTo>
                  <a:lnTo>
                    <a:pt x="1506640" y="170116"/>
                  </a:lnTo>
                  <a:lnTo>
                    <a:pt x="1506640" y="170802"/>
                  </a:lnTo>
                  <a:lnTo>
                    <a:pt x="1506741" y="170116"/>
                  </a:lnTo>
                  <a:lnTo>
                    <a:pt x="1506741" y="169418"/>
                  </a:lnTo>
                  <a:lnTo>
                    <a:pt x="1506741" y="172148"/>
                  </a:lnTo>
                  <a:lnTo>
                    <a:pt x="1506741" y="169418"/>
                  </a:lnTo>
                  <a:lnTo>
                    <a:pt x="1506792" y="170116"/>
                  </a:lnTo>
                  <a:lnTo>
                    <a:pt x="1506792" y="173533"/>
                  </a:lnTo>
                  <a:lnTo>
                    <a:pt x="1506792" y="172148"/>
                  </a:lnTo>
                  <a:lnTo>
                    <a:pt x="1506792" y="172847"/>
                  </a:lnTo>
                  <a:lnTo>
                    <a:pt x="1506843" y="172148"/>
                  </a:lnTo>
                  <a:lnTo>
                    <a:pt x="1506843" y="173533"/>
                  </a:lnTo>
                  <a:lnTo>
                    <a:pt x="1506843" y="172847"/>
                  </a:lnTo>
                  <a:lnTo>
                    <a:pt x="1506843" y="173533"/>
                  </a:lnTo>
                  <a:lnTo>
                    <a:pt x="1506944" y="173533"/>
                  </a:lnTo>
                  <a:lnTo>
                    <a:pt x="1506944" y="172847"/>
                  </a:lnTo>
                  <a:lnTo>
                    <a:pt x="1506944" y="173533"/>
                  </a:lnTo>
                  <a:lnTo>
                    <a:pt x="1506995" y="173533"/>
                  </a:lnTo>
                  <a:lnTo>
                    <a:pt x="1506995" y="172847"/>
                  </a:lnTo>
                  <a:lnTo>
                    <a:pt x="1506995" y="174282"/>
                  </a:lnTo>
                  <a:lnTo>
                    <a:pt x="1507046" y="174282"/>
                  </a:lnTo>
                  <a:lnTo>
                    <a:pt x="1507046" y="174879"/>
                  </a:lnTo>
                  <a:lnTo>
                    <a:pt x="1507046" y="173533"/>
                  </a:lnTo>
                  <a:lnTo>
                    <a:pt x="1507084" y="173533"/>
                  </a:lnTo>
                  <a:lnTo>
                    <a:pt x="1507084" y="172847"/>
                  </a:lnTo>
                  <a:lnTo>
                    <a:pt x="1507186" y="172847"/>
                  </a:lnTo>
                  <a:lnTo>
                    <a:pt x="1507186" y="170116"/>
                  </a:lnTo>
                  <a:lnTo>
                    <a:pt x="1507186" y="170802"/>
                  </a:lnTo>
                  <a:lnTo>
                    <a:pt x="1507237" y="170802"/>
                  </a:lnTo>
                  <a:lnTo>
                    <a:pt x="1507237" y="172847"/>
                  </a:lnTo>
                  <a:lnTo>
                    <a:pt x="1507237" y="170116"/>
                  </a:lnTo>
                  <a:lnTo>
                    <a:pt x="1507237" y="173533"/>
                  </a:lnTo>
                  <a:lnTo>
                    <a:pt x="1507287" y="173533"/>
                  </a:lnTo>
                  <a:lnTo>
                    <a:pt x="1507287" y="172148"/>
                  </a:lnTo>
                  <a:lnTo>
                    <a:pt x="1507287" y="172847"/>
                  </a:lnTo>
                  <a:lnTo>
                    <a:pt x="1507389" y="172847"/>
                  </a:lnTo>
                  <a:lnTo>
                    <a:pt x="1507389" y="170802"/>
                  </a:lnTo>
                  <a:lnTo>
                    <a:pt x="1507389" y="172847"/>
                  </a:lnTo>
                  <a:lnTo>
                    <a:pt x="1507440" y="172847"/>
                  </a:lnTo>
                  <a:lnTo>
                    <a:pt x="1507440" y="172148"/>
                  </a:lnTo>
                  <a:lnTo>
                    <a:pt x="1507440" y="172847"/>
                  </a:lnTo>
                  <a:lnTo>
                    <a:pt x="1507490" y="172847"/>
                  </a:lnTo>
                  <a:lnTo>
                    <a:pt x="1507490" y="173533"/>
                  </a:lnTo>
                  <a:lnTo>
                    <a:pt x="1507490" y="172847"/>
                  </a:lnTo>
                  <a:lnTo>
                    <a:pt x="1507490" y="173533"/>
                  </a:lnTo>
                  <a:lnTo>
                    <a:pt x="1507490" y="172847"/>
                  </a:lnTo>
                  <a:lnTo>
                    <a:pt x="1507541" y="172847"/>
                  </a:lnTo>
                  <a:lnTo>
                    <a:pt x="1507541" y="173533"/>
                  </a:lnTo>
                  <a:lnTo>
                    <a:pt x="1507541" y="172847"/>
                  </a:lnTo>
                  <a:lnTo>
                    <a:pt x="1507541" y="173533"/>
                  </a:lnTo>
                  <a:lnTo>
                    <a:pt x="1507541" y="172148"/>
                  </a:lnTo>
                  <a:lnTo>
                    <a:pt x="1507630" y="172148"/>
                  </a:lnTo>
                  <a:lnTo>
                    <a:pt x="1507630" y="172847"/>
                  </a:lnTo>
                  <a:lnTo>
                    <a:pt x="1507630" y="170802"/>
                  </a:lnTo>
                  <a:lnTo>
                    <a:pt x="1507681" y="170802"/>
                  </a:lnTo>
                  <a:lnTo>
                    <a:pt x="1507681" y="172847"/>
                  </a:lnTo>
                  <a:lnTo>
                    <a:pt x="1507681" y="172148"/>
                  </a:lnTo>
                  <a:lnTo>
                    <a:pt x="1507732" y="170802"/>
                  </a:lnTo>
                  <a:lnTo>
                    <a:pt x="1507732" y="174282"/>
                  </a:lnTo>
                  <a:lnTo>
                    <a:pt x="1507732" y="173533"/>
                  </a:lnTo>
                  <a:lnTo>
                    <a:pt x="1507732" y="174282"/>
                  </a:lnTo>
                  <a:lnTo>
                    <a:pt x="1507732" y="173533"/>
                  </a:lnTo>
                  <a:lnTo>
                    <a:pt x="1507783" y="173533"/>
                  </a:lnTo>
                  <a:lnTo>
                    <a:pt x="1507783" y="174879"/>
                  </a:lnTo>
                  <a:lnTo>
                    <a:pt x="1507783" y="174282"/>
                  </a:lnTo>
                  <a:lnTo>
                    <a:pt x="1507783" y="174879"/>
                  </a:lnTo>
                  <a:lnTo>
                    <a:pt x="1507783" y="173533"/>
                  </a:lnTo>
                  <a:lnTo>
                    <a:pt x="1507783" y="174282"/>
                  </a:lnTo>
                  <a:lnTo>
                    <a:pt x="1507884" y="174282"/>
                  </a:lnTo>
                  <a:lnTo>
                    <a:pt x="1507884" y="174879"/>
                  </a:lnTo>
                  <a:lnTo>
                    <a:pt x="1507884" y="174282"/>
                  </a:lnTo>
                  <a:lnTo>
                    <a:pt x="1507935" y="174282"/>
                  </a:lnTo>
                  <a:lnTo>
                    <a:pt x="1507935" y="173533"/>
                  </a:lnTo>
                  <a:lnTo>
                    <a:pt x="1507935" y="174282"/>
                  </a:lnTo>
                  <a:lnTo>
                    <a:pt x="1507986" y="174282"/>
                  </a:lnTo>
                  <a:lnTo>
                    <a:pt x="1507986" y="173533"/>
                  </a:lnTo>
                  <a:lnTo>
                    <a:pt x="1507986" y="174282"/>
                  </a:lnTo>
                  <a:lnTo>
                    <a:pt x="1507986" y="173533"/>
                  </a:lnTo>
                  <a:lnTo>
                    <a:pt x="1507986" y="174282"/>
                  </a:lnTo>
                  <a:lnTo>
                    <a:pt x="1507986" y="173533"/>
                  </a:lnTo>
                  <a:lnTo>
                    <a:pt x="1507986" y="174282"/>
                  </a:lnTo>
                  <a:lnTo>
                    <a:pt x="1507986" y="173533"/>
                  </a:lnTo>
                  <a:lnTo>
                    <a:pt x="1508087" y="174282"/>
                  </a:lnTo>
                  <a:lnTo>
                    <a:pt x="1508087" y="172847"/>
                  </a:lnTo>
                  <a:lnTo>
                    <a:pt x="1508087" y="173533"/>
                  </a:lnTo>
                  <a:lnTo>
                    <a:pt x="1508087" y="172847"/>
                  </a:lnTo>
                  <a:lnTo>
                    <a:pt x="1508125" y="172847"/>
                  </a:lnTo>
                  <a:lnTo>
                    <a:pt x="1508125" y="170802"/>
                  </a:lnTo>
                  <a:lnTo>
                    <a:pt x="1508125" y="172148"/>
                  </a:lnTo>
                  <a:lnTo>
                    <a:pt x="1508125" y="170802"/>
                  </a:lnTo>
                  <a:lnTo>
                    <a:pt x="1508125" y="172148"/>
                  </a:lnTo>
                  <a:lnTo>
                    <a:pt x="1508125" y="170802"/>
                  </a:lnTo>
                  <a:lnTo>
                    <a:pt x="1508125" y="172148"/>
                  </a:lnTo>
                  <a:lnTo>
                    <a:pt x="1508176" y="172148"/>
                  </a:lnTo>
                  <a:lnTo>
                    <a:pt x="1508176" y="173533"/>
                  </a:lnTo>
                  <a:lnTo>
                    <a:pt x="1508176" y="172148"/>
                  </a:lnTo>
                  <a:lnTo>
                    <a:pt x="1508176" y="173533"/>
                  </a:lnTo>
                  <a:lnTo>
                    <a:pt x="1508227" y="173533"/>
                  </a:lnTo>
                  <a:lnTo>
                    <a:pt x="1508227" y="174282"/>
                  </a:lnTo>
                  <a:lnTo>
                    <a:pt x="1508227" y="172847"/>
                  </a:lnTo>
                  <a:lnTo>
                    <a:pt x="1508227" y="174879"/>
                  </a:lnTo>
                  <a:lnTo>
                    <a:pt x="1508329" y="174879"/>
                  </a:lnTo>
                  <a:lnTo>
                    <a:pt x="1508329" y="173533"/>
                  </a:lnTo>
                  <a:lnTo>
                    <a:pt x="1508329" y="174282"/>
                  </a:lnTo>
                  <a:lnTo>
                    <a:pt x="1508380" y="174282"/>
                  </a:lnTo>
                  <a:lnTo>
                    <a:pt x="1508380" y="173533"/>
                  </a:lnTo>
                  <a:lnTo>
                    <a:pt x="1508380" y="174879"/>
                  </a:lnTo>
                  <a:lnTo>
                    <a:pt x="1508380" y="174282"/>
                  </a:lnTo>
                  <a:lnTo>
                    <a:pt x="1508430" y="174282"/>
                  </a:lnTo>
                  <a:lnTo>
                    <a:pt x="1508430" y="174879"/>
                  </a:lnTo>
                  <a:lnTo>
                    <a:pt x="1508430" y="174282"/>
                  </a:lnTo>
                  <a:lnTo>
                    <a:pt x="1508430" y="174879"/>
                  </a:lnTo>
                  <a:lnTo>
                    <a:pt x="1508430" y="174282"/>
                  </a:lnTo>
                  <a:lnTo>
                    <a:pt x="1508430" y="174879"/>
                  </a:lnTo>
                  <a:lnTo>
                    <a:pt x="1508532" y="174282"/>
                  </a:lnTo>
                  <a:lnTo>
                    <a:pt x="1508532" y="173533"/>
                  </a:lnTo>
                  <a:lnTo>
                    <a:pt x="1508532" y="174282"/>
                  </a:lnTo>
                  <a:lnTo>
                    <a:pt x="1508532" y="173533"/>
                  </a:lnTo>
                  <a:lnTo>
                    <a:pt x="1508583" y="173533"/>
                  </a:lnTo>
                  <a:lnTo>
                    <a:pt x="1508583" y="174282"/>
                  </a:lnTo>
                  <a:lnTo>
                    <a:pt x="1508583" y="172847"/>
                  </a:lnTo>
                  <a:lnTo>
                    <a:pt x="1508583" y="173533"/>
                  </a:lnTo>
                  <a:lnTo>
                    <a:pt x="1508583" y="172148"/>
                  </a:lnTo>
                  <a:lnTo>
                    <a:pt x="1508634" y="172148"/>
                  </a:lnTo>
                  <a:lnTo>
                    <a:pt x="1508634" y="170802"/>
                  </a:lnTo>
                  <a:lnTo>
                    <a:pt x="1508634" y="172148"/>
                  </a:lnTo>
                  <a:lnTo>
                    <a:pt x="1508634" y="170802"/>
                  </a:lnTo>
                  <a:lnTo>
                    <a:pt x="1508634" y="172148"/>
                  </a:lnTo>
                  <a:lnTo>
                    <a:pt x="1508672" y="172847"/>
                  </a:lnTo>
                  <a:lnTo>
                    <a:pt x="1508672" y="170802"/>
                  </a:lnTo>
                  <a:lnTo>
                    <a:pt x="1508672" y="173533"/>
                  </a:lnTo>
                  <a:lnTo>
                    <a:pt x="1508773" y="173533"/>
                  </a:lnTo>
                  <a:lnTo>
                    <a:pt x="1508773" y="172847"/>
                  </a:lnTo>
                  <a:lnTo>
                    <a:pt x="1508773" y="173533"/>
                  </a:lnTo>
                  <a:lnTo>
                    <a:pt x="1508773" y="172847"/>
                  </a:lnTo>
                  <a:lnTo>
                    <a:pt x="1508773" y="174282"/>
                  </a:lnTo>
                  <a:lnTo>
                    <a:pt x="1508773" y="173533"/>
                  </a:lnTo>
                  <a:lnTo>
                    <a:pt x="1508773" y="174282"/>
                  </a:lnTo>
                  <a:lnTo>
                    <a:pt x="1508824" y="174282"/>
                  </a:lnTo>
                  <a:lnTo>
                    <a:pt x="1508824" y="173533"/>
                  </a:lnTo>
                  <a:lnTo>
                    <a:pt x="1508824" y="174879"/>
                  </a:lnTo>
                  <a:lnTo>
                    <a:pt x="1508824" y="174282"/>
                  </a:lnTo>
                  <a:lnTo>
                    <a:pt x="1508824" y="174879"/>
                  </a:lnTo>
                  <a:lnTo>
                    <a:pt x="1508875" y="174879"/>
                  </a:lnTo>
                  <a:lnTo>
                    <a:pt x="1508875" y="174282"/>
                  </a:lnTo>
                  <a:lnTo>
                    <a:pt x="1508875" y="174879"/>
                  </a:lnTo>
                  <a:lnTo>
                    <a:pt x="1508976" y="174879"/>
                  </a:lnTo>
                  <a:lnTo>
                    <a:pt x="1508976" y="176263"/>
                  </a:lnTo>
                  <a:lnTo>
                    <a:pt x="1508976" y="174879"/>
                  </a:lnTo>
                  <a:lnTo>
                    <a:pt x="1508976" y="176263"/>
                  </a:lnTo>
                  <a:lnTo>
                    <a:pt x="1508976" y="174879"/>
                  </a:lnTo>
                  <a:lnTo>
                    <a:pt x="1509027" y="174879"/>
                  </a:lnTo>
                  <a:lnTo>
                    <a:pt x="1509027" y="176263"/>
                  </a:lnTo>
                  <a:lnTo>
                    <a:pt x="1509027" y="174282"/>
                  </a:lnTo>
                  <a:lnTo>
                    <a:pt x="1509078" y="174282"/>
                  </a:lnTo>
                  <a:lnTo>
                    <a:pt x="1509078" y="174879"/>
                  </a:lnTo>
                  <a:lnTo>
                    <a:pt x="1509078" y="172847"/>
                  </a:lnTo>
                  <a:lnTo>
                    <a:pt x="1509129" y="172847"/>
                  </a:lnTo>
                  <a:lnTo>
                    <a:pt x="1509129" y="173533"/>
                  </a:lnTo>
                  <a:lnTo>
                    <a:pt x="1509129" y="172847"/>
                  </a:lnTo>
                  <a:lnTo>
                    <a:pt x="1509129" y="173533"/>
                  </a:lnTo>
                  <a:lnTo>
                    <a:pt x="1509129" y="172847"/>
                  </a:lnTo>
                  <a:lnTo>
                    <a:pt x="1509129" y="174282"/>
                  </a:lnTo>
                  <a:lnTo>
                    <a:pt x="1509129" y="173533"/>
                  </a:lnTo>
                  <a:lnTo>
                    <a:pt x="1509218" y="173533"/>
                  </a:lnTo>
                  <a:lnTo>
                    <a:pt x="1509218" y="174879"/>
                  </a:lnTo>
                  <a:lnTo>
                    <a:pt x="1509218" y="174282"/>
                  </a:lnTo>
                  <a:lnTo>
                    <a:pt x="1509269" y="174282"/>
                  </a:lnTo>
                  <a:lnTo>
                    <a:pt x="1509269" y="176263"/>
                  </a:lnTo>
                  <a:lnTo>
                    <a:pt x="1509269" y="174879"/>
                  </a:lnTo>
                  <a:lnTo>
                    <a:pt x="1509319" y="174879"/>
                  </a:lnTo>
                  <a:lnTo>
                    <a:pt x="1509319" y="176263"/>
                  </a:lnTo>
                  <a:lnTo>
                    <a:pt x="1509319" y="174879"/>
                  </a:lnTo>
                  <a:lnTo>
                    <a:pt x="1509319" y="176263"/>
                  </a:lnTo>
                  <a:lnTo>
                    <a:pt x="1509319" y="174879"/>
                  </a:lnTo>
                  <a:lnTo>
                    <a:pt x="1509319" y="176263"/>
                  </a:lnTo>
                  <a:lnTo>
                    <a:pt x="1509319" y="174879"/>
                  </a:lnTo>
                  <a:lnTo>
                    <a:pt x="1509370" y="174879"/>
                  </a:lnTo>
                  <a:lnTo>
                    <a:pt x="1509370" y="177012"/>
                  </a:lnTo>
                  <a:lnTo>
                    <a:pt x="1509370" y="176263"/>
                  </a:lnTo>
                  <a:lnTo>
                    <a:pt x="1509370" y="177012"/>
                  </a:lnTo>
                  <a:lnTo>
                    <a:pt x="1509522" y="177012"/>
                  </a:lnTo>
                  <a:lnTo>
                    <a:pt x="1509522" y="176263"/>
                  </a:lnTo>
                  <a:lnTo>
                    <a:pt x="1509522" y="177012"/>
                  </a:lnTo>
                  <a:lnTo>
                    <a:pt x="1509522" y="176263"/>
                  </a:lnTo>
                  <a:lnTo>
                    <a:pt x="1509573" y="176263"/>
                  </a:lnTo>
                  <a:lnTo>
                    <a:pt x="1509573" y="173533"/>
                  </a:lnTo>
                  <a:lnTo>
                    <a:pt x="1509573" y="174282"/>
                  </a:lnTo>
                  <a:lnTo>
                    <a:pt x="1509675" y="174282"/>
                  </a:lnTo>
                  <a:lnTo>
                    <a:pt x="1509675" y="172847"/>
                  </a:lnTo>
                  <a:lnTo>
                    <a:pt x="1509675" y="174282"/>
                  </a:lnTo>
                  <a:lnTo>
                    <a:pt x="1509713" y="174282"/>
                  </a:lnTo>
                  <a:lnTo>
                    <a:pt x="1509713" y="172847"/>
                  </a:lnTo>
                  <a:lnTo>
                    <a:pt x="1509713" y="176263"/>
                  </a:lnTo>
                  <a:lnTo>
                    <a:pt x="1509713" y="174282"/>
                  </a:lnTo>
                  <a:lnTo>
                    <a:pt x="1509764" y="174282"/>
                  </a:lnTo>
                  <a:lnTo>
                    <a:pt x="1509764" y="173533"/>
                  </a:lnTo>
                  <a:lnTo>
                    <a:pt x="1509764" y="176263"/>
                  </a:lnTo>
                  <a:lnTo>
                    <a:pt x="1509764" y="174879"/>
                  </a:lnTo>
                  <a:lnTo>
                    <a:pt x="1509764" y="176263"/>
                  </a:lnTo>
                  <a:lnTo>
                    <a:pt x="1509815" y="174879"/>
                  </a:lnTo>
                  <a:lnTo>
                    <a:pt x="1509815" y="176263"/>
                  </a:lnTo>
                  <a:lnTo>
                    <a:pt x="1509815" y="174879"/>
                  </a:lnTo>
                  <a:lnTo>
                    <a:pt x="1509815" y="177012"/>
                  </a:lnTo>
                  <a:lnTo>
                    <a:pt x="1509815" y="176263"/>
                  </a:lnTo>
                  <a:lnTo>
                    <a:pt x="1509815" y="177012"/>
                  </a:lnTo>
                  <a:lnTo>
                    <a:pt x="1509916" y="177012"/>
                  </a:lnTo>
                  <a:lnTo>
                    <a:pt x="1509916" y="177609"/>
                  </a:lnTo>
                  <a:lnTo>
                    <a:pt x="1509916" y="177012"/>
                  </a:lnTo>
                  <a:lnTo>
                    <a:pt x="1509916" y="177609"/>
                  </a:lnTo>
                  <a:lnTo>
                    <a:pt x="1509916" y="177012"/>
                  </a:lnTo>
                  <a:lnTo>
                    <a:pt x="1509916" y="177609"/>
                  </a:lnTo>
                  <a:lnTo>
                    <a:pt x="1509967" y="177609"/>
                  </a:lnTo>
                  <a:lnTo>
                    <a:pt x="1509967" y="178295"/>
                  </a:lnTo>
                  <a:lnTo>
                    <a:pt x="1509967" y="177609"/>
                  </a:lnTo>
                  <a:lnTo>
                    <a:pt x="1510018" y="177609"/>
                  </a:lnTo>
                  <a:lnTo>
                    <a:pt x="1510018" y="178295"/>
                  </a:lnTo>
                  <a:lnTo>
                    <a:pt x="1510018" y="177609"/>
                  </a:lnTo>
                  <a:lnTo>
                    <a:pt x="1510119" y="177609"/>
                  </a:lnTo>
                  <a:lnTo>
                    <a:pt x="1510119" y="177012"/>
                  </a:lnTo>
                  <a:lnTo>
                    <a:pt x="1510119" y="177609"/>
                  </a:lnTo>
                  <a:lnTo>
                    <a:pt x="1510119" y="174879"/>
                  </a:lnTo>
                  <a:lnTo>
                    <a:pt x="1510170" y="174879"/>
                  </a:lnTo>
                  <a:lnTo>
                    <a:pt x="1510170" y="174282"/>
                  </a:lnTo>
                  <a:lnTo>
                    <a:pt x="1510170" y="177012"/>
                  </a:lnTo>
                  <a:lnTo>
                    <a:pt x="1510170" y="174282"/>
                  </a:lnTo>
                  <a:lnTo>
                    <a:pt x="1510221" y="174282"/>
                  </a:lnTo>
                  <a:lnTo>
                    <a:pt x="1510221" y="177609"/>
                  </a:lnTo>
                  <a:lnTo>
                    <a:pt x="1510221" y="176263"/>
                  </a:lnTo>
                  <a:lnTo>
                    <a:pt x="1510221" y="177012"/>
                  </a:lnTo>
                  <a:lnTo>
                    <a:pt x="1510221" y="176263"/>
                  </a:lnTo>
                  <a:lnTo>
                    <a:pt x="1510259" y="176263"/>
                  </a:lnTo>
                  <a:lnTo>
                    <a:pt x="1510259" y="177609"/>
                  </a:lnTo>
                  <a:lnTo>
                    <a:pt x="1510259" y="176263"/>
                  </a:lnTo>
                  <a:lnTo>
                    <a:pt x="1510259" y="177012"/>
                  </a:lnTo>
                  <a:lnTo>
                    <a:pt x="1510259" y="176263"/>
                  </a:lnTo>
                  <a:lnTo>
                    <a:pt x="1510259" y="177012"/>
                  </a:lnTo>
                  <a:lnTo>
                    <a:pt x="1510361" y="177012"/>
                  </a:lnTo>
                  <a:lnTo>
                    <a:pt x="1510361" y="177609"/>
                  </a:lnTo>
                  <a:lnTo>
                    <a:pt x="1510361" y="176263"/>
                  </a:lnTo>
                  <a:lnTo>
                    <a:pt x="1510361" y="177012"/>
                  </a:lnTo>
                  <a:lnTo>
                    <a:pt x="1510412" y="177012"/>
                  </a:lnTo>
                  <a:lnTo>
                    <a:pt x="1510412" y="178295"/>
                  </a:lnTo>
                  <a:lnTo>
                    <a:pt x="1510412" y="177609"/>
                  </a:lnTo>
                  <a:lnTo>
                    <a:pt x="1510412" y="178295"/>
                  </a:lnTo>
                  <a:lnTo>
                    <a:pt x="1510412" y="177609"/>
                  </a:lnTo>
                  <a:lnTo>
                    <a:pt x="1510412" y="178295"/>
                  </a:lnTo>
                  <a:lnTo>
                    <a:pt x="1510412" y="177609"/>
                  </a:lnTo>
                  <a:lnTo>
                    <a:pt x="1510462" y="178295"/>
                  </a:lnTo>
                  <a:lnTo>
                    <a:pt x="1510462" y="179743"/>
                  </a:lnTo>
                  <a:lnTo>
                    <a:pt x="1510564" y="179743"/>
                  </a:lnTo>
                  <a:lnTo>
                    <a:pt x="1510564" y="178295"/>
                  </a:lnTo>
                  <a:lnTo>
                    <a:pt x="1510564" y="179743"/>
                  </a:lnTo>
                  <a:lnTo>
                    <a:pt x="1510564" y="177609"/>
                  </a:lnTo>
                  <a:lnTo>
                    <a:pt x="1510615" y="177609"/>
                  </a:lnTo>
                  <a:lnTo>
                    <a:pt x="1510615" y="176263"/>
                  </a:lnTo>
                  <a:lnTo>
                    <a:pt x="1510615" y="177012"/>
                  </a:lnTo>
                  <a:lnTo>
                    <a:pt x="1510665" y="177012"/>
                  </a:lnTo>
                  <a:lnTo>
                    <a:pt x="1510665" y="176263"/>
                  </a:lnTo>
                  <a:lnTo>
                    <a:pt x="1510665" y="177609"/>
                  </a:lnTo>
                  <a:lnTo>
                    <a:pt x="1510665" y="177012"/>
                  </a:lnTo>
                  <a:lnTo>
                    <a:pt x="1510716" y="177012"/>
                  </a:lnTo>
                  <a:lnTo>
                    <a:pt x="1510716" y="174879"/>
                  </a:lnTo>
                  <a:lnTo>
                    <a:pt x="1510716" y="177609"/>
                  </a:lnTo>
                  <a:lnTo>
                    <a:pt x="1510716" y="177012"/>
                  </a:lnTo>
                  <a:lnTo>
                    <a:pt x="1510805" y="177012"/>
                  </a:lnTo>
                  <a:lnTo>
                    <a:pt x="1510805" y="179743"/>
                  </a:lnTo>
                  <a:lnTo>
                    <a:pt x="1510805" y="177609"/>
                  </a:lnTo>
                  <a:lnTo>
                    <a:pt x="1510856" y="178295"/>
                  </a:lnTo>
                  <a:lnTo>
                    <a:pt x="1510856" y="179743"/>
                  </a:lnTo>
                  <a:lnTo>
                    <a:pt x="1510856" y="178295"/>
                  </a:lnTo>
                  <a:lnTo>
                    <a:pt x="1510907" y="178295"/>
                  </a:lnTo>
                  <a:lnTo>
                    <a:pt x="1510907" y="180327"/>
                  </a:lnTo>
                  <a:lnTo>
                    <a:pt x="1510907" y="179743"/>
                  </a:lnTo>
                  <a:lnTo>
                    <a:pt x="1510907" y="180327"/>
                  </a:lnTo>
                  <a:lnTo>
                    <a:pt x="1510958" y="180327"/>
                  </a:lnTo>
                  <a:lnTo>
                    <a:pt x="1510958" y="181026"/>
                  </a:lnTo>
                  <a:lnTo>
                    <a:pt x="1510958" y="180327"/>
                  </a:lnTo>
                  <a:lnTo>
                    <a:pt x="1510958" y="181026"/>
                  </a:lnTo>
                  <a:lnTo>
                    <a:pt x="1510958" y="180327"/>
                  </a:lnTo>
                  <a:lnTo>
                    <a:pt x="1511059" y="180327"/>
                  </a:lnTo>
                  <a:lnTo>
                    <a:pt x="1511059" y="181026"/>
                  </a:lnTo>
                  <a:lnTo>
                    <a:pt x="1511059" y="180327"/>
                  </a:lnTo>
                  <a:lnTo>
                    <a:pt x="1511059" y="181026"/>
                  </a:lnTo>
                  <a:lnTo>
                    <a:pt x="1511059" y="180327"/>
                  </a:lnTo>
                  <a:lnTo>
                    <a:pt x="1511110" y="180327"/>
                  </a:lnTo>
                  <a:lnTo>
                    <a:pt x="1511110" y="179743"/>
                  </a:lnTo>
                  <a:lnTo>
                    <a:pt x="1511110" y="180327"/>
                  </a:lnTo>
                  <a:lnTo>
                    <a:pt x="1511110" y="179743"/>
                  </a:lnTo>
                  <a:lnTo>
                    <a:pt x="1511110" y="180327"/>
                  </a:lnTo>
                  <a:lnTo>
                    <a:pt x="1511110" y="178295"/>
                  </a:lnTo>
                  <a:lnTo>
                    <a:pt x="1511110" y="179743"/>
                  </a:lnTo>
                  <a:lnTo>
                    <a:pt x="1511161" y="179743"/>
                  </a:lnTo>
                  <a:lnTo>
                    <a:pt x="1511161" y="181026"/>
                  </a:lnTo>
                  <a:lnTo>
                    <a:pt x="1511262" y="181026"/>
                  </a:lnTo>
                  <a:lnTo>
                    <a:pt x="1511262" y="181775"/>
                  </a:lnTo>
                  <a:lnTo>
                    <a:pt x="1511262" y="180327"/>
                  </a:lnTo>
                  <a:lnTo>
                    <a:pt x="1511262" y="181026"/>
                  </a:lnTo>
                  <a:lnTo>
                    <a:pt x="1511262" y="180327"/>
                  </a:lnTo>
                  <a:lnTo>
                    <a:pt x="1511262" y="181775"/>
                  </a:lnTo>
                  <a:lnTo>
                    <a:pt x="1511300" y="181775"/>
                  </a:lnTo>
                  <a:lnTo>
                    <a:pt x="1511300" y="181026"/>
                  </a:lnTo>
                  <a:lnTo>
                    <a:pt x="1511300" y="181775"/>
                  </a:lnTo>
                  <a:lnTo>
                    <a:pt x="1511351" y="181775"/>
                  </a:lnTo>
                  <a:lnTo>
                    <a:pt x="1511351" y="181026"/>
                  </a:lnTo>
                  <a:lnTo>
                    <a:pt x="1511351" y="181775"/>
                  </a:lnTo>
                  <a:lnTo>
                    <a:pt x="1511351" y="181026"/>
                  </a:lnTo>
                  <a:lnTo>
                    <a:pt x="1511351" y="181775"/>
                  </a:lnTo>
                  <a:lnTo>
                    <a:pt x="1511351" y="181026"/>
                  </a:lnTo>
                  <a:lnTo>
                    <a:pt x="1511351" y="181775"/>
                  </a:lnTo>
                  <a:lnTo>
                    <a:pt x="1511402" y="181775"/>
                  </a:lnTo>
                  <a:lnTo>
                    <a:pt x="1511402" y="181026"/>
                  </a:lnTo>
                  <a:lnTo>
                    <a:pt x="1511402" y="181775"/>
                  </a:lnTo>
                  <a:lnTo>
                    <a:pt x="1511402" y="181026"/>
                  </a:lnTo>
                  <a:lnTo>
                    <a:pt x="1511402" y="181775"/>
                  </a:lnTo>
                  <a:lnTo>
                    <a:pt x="1511504" y="181775"/>
                  </a:lnTo>
                  <a:lnTo>
                    <a:pt x="1511504" y="181026"/>
                  </a:lnTo>
                  <a:lnTo>
                    <a:pt x="1511504" y="182461"/>
                  </a:lnTo>
                  <a:lnTo>
                    <a:pt x="1511504" y="181026"/>
                  </a:lnTo>
                  <a:lnTo>
                    <a:pt x="1511504" y="182461"/>
                  </a:lnTo>
                  <a:lnTo>
                    <a:pt x="1511504" y="181775"/>
                  </a:lnTo>
                  <a:lnTo>
                    <a:pt x="1511555" y="181775"/>
                  </a:lnTo>
                  <a:lnTo>
                    <a:pt x="1511555" y="181026"/>
                  </a:lnTo>
                  <a:lnTo>
                    <a:pt x="1511555" y="181775"/>
                  </a:lnTo>
                  <a:lnTo>
                    <a:pt x="1511555" y="180327"/>
                  </a:lnTo>
                  <a:lnTo>
                    <a:pt x="1511605" y="180327"/>
                  </a:lnTo>
                  <a:lnTo>
                    <a:pt x="1511605" y="179743"/>
                  </a:lnTo>
                  <a:lnTo>
                    <a:pt x="1511605" y="181026"/>
                  </a:lnTo>
                  <a:lnTo>
                    <a:pt x="1511707" y="181026"/>
                  </a:lnTo>
                  <a:lnTo>
                    <a:pt x="1511707" y="180327"/>
                  </a:lnTo>
                  <a:lnTo>
                    <a:pt x="1511707" y="181026"/>
                  </a:lnTo>
                  <a:lnTo>
                    <a:pt x="1511707" y="180327"/>
                  </a:lnTo>
                  <a:lnTo>
                    <a:pt x="1511707" y="181775"/>
                  </a:lnTo>
                  <a:lnTo>
                    <a:pt x="1511758" y="181775"/>
                  </a:lnTo>
                  <a:lnTo>
                    <a:pt x="1511758" y="181026"/>
                  </a:lnTo>
                  <a:lnTo>
                    <a:pt x="1511758" y="182461"/>
                  </a:lnTo>
                  <a:lnTo>
                    <a:pt x="1511758" y="181775"/>
                  </a:lnTo>
                  <a:lnTo>
                    <a:pt x="1511758" y="182461"/>
                  </a:lnTo>
                  <a:lnTo>
                    <a:pt x="1511809" y="182461"/>
                  </a:lnTo>
                  <a:lnTo>
                    <a:pt x="1511809" y="183807"/>
                  </a:lnTo>
                  <a:lnTo>
                    <a:pt x="1511809" y="182461"/>
                  </a:lnTo>
                  <a:lnTo>
                    <a:pt x="1511847" y="182461"/>
                  </a:lnTo>
                  <a:lnTo>
                    <a:pt x="1511847" y="183807"/>
                  </a:lnTo>
                  <a:lnTo>
                    <a:pt x="1511847" y="182461"/>
                  </a:lnTo>
                  <a:lnTo>
                    <a:pt x="1511847" y="183807"/>
                  </a:lnTo>
                  <a:lnTo>
                    <a:pt x="1511948" y="183807"/>
                  </a:lnTo>
                  <a:lnTo>
                    <a:pt x="1511948" y="182461"/>
                  </a:lnTo>
                  <a:lnTo>
                    <a:pt x="1511948" y="183807"/>
                  </a:lnTo>
                  <a:lnTo>
                    <a:pt x="1511948" y="182461"/>
                  </a:lnTo>
                  <a:lnTo>
                    <a:pt x="1511948" y="183807"/>
                  </a:lnTo>
                  <a:lnTo>
                    <a:pt x="1511999" y="183807"/>
                  </a:lnTo>
                  <a:lnTo>
                    <a:pt x="1511999" y="182461"/>
                  </a:lnTo>
                  <a:lnTo>
                    <a:pt x="1511999" y="183807"/>
                  </a:lnTo>
                  <a:lnTo>
                    <a:pt x="1511999" y="182461"/>
                  </a:lnTo>
                  <a:lnTo>
                    <a:pt x="1511999" y="183807"/>
                  </a:lnTo>
                  <a:lnTo>
                    <a:pt x="1511999" y="182461"/>
                  </a:lnTo>
                  <a:lnTo>
                    <a:pt x="1511999" y="183807"/>
                  </a:lnTo>
                  <a:lnTo>
                    <a:pt x="1511999" y="182461"/>
                  </a:lnTo>
                  <a:lnTo>
                    <a:pt x="1512050" y="182461"/>
                  </a:lnTo>
                  <a:lnTo>
                    <a:pt x="1512050" y="181775"/>
                  </a:lnTo>
                  <a:lnTo>
                    <a:pt x="1512050" y="182461"/>
                  </a:lnTo>
                  <a:lnTo>
                    <a:pt x="1512050" y="181775"/>
                  </a:lnTo>
                  <a:lnTo>
                    <a:pt x="1512050" y="182461"/>
                  </a:lnTo>
                  <a:lnTo>
                    <a:pt x="1512050" y="181026"/>
                  </a:lnTo>
                  <a:lnTo>
                    <a:pt x="1512151" y="181026"/>
                  </a:lnTo>
                  <a:lnTo>
                    <a:pt x="1512151" y="181775"/>
                  </a:lnTo>
                  <a:lnTo>
                    <a:pt x="1512151" y="180327"/>
                  </a:lnTo>
                  <a:lnTo>
                    <a:pt x="1512151" y="181026"/>
                  </a:lnTo>
                  <a:lnTo>
                    <a:pt x="1512151" y="179743"/>
                  </a:lnTo>
                  <a:lnTo>
                    <a:pt x="1512151" y="181026"/>
                  </a:lnTo>
                  <a:lnTo>
                    <a:pt x="1512202" y="181775"/>
                  </a:lnTo>
                  <a:lnTo>
                    <a:pt x="1512202" y="180327"/>
                  </a:lnTo>
                  <a:lnTo>
                    <a:pt x="1512202" y="183807"/>
                  </a:lnTo>
                  <a:lnTo>
                    <a:pt x="1512253" y="183807"/>
                  </a:lnTo>
                  <a:lnTo>
                    <a:pt x="1512253" y="181775"/>
                  </a:lnTo>
                  <a:lnTo>
                    <a:pt x="1512253" y="184505"/>
                  </a:lnTo>
                  <a:lnTo>
                    <a:pt x="1512253" y="183807"/>
                  </a:lnTo>
                  <a:lnTo>
                    <a:pt x="1512304" y="183807"/>
                  </a:lnTo>
                  <a:lnTo>
                    <a:pt x="1512304" y="182461"/>
                  </a:lnTo>
                  <a:lnTo>
                    <a:pt x="1512304" y="184505"/>
                  </a:lnTo>
                  <a:lnTo>
                    <a:pt x="1512304" y="183807"/>
                  </a:lnTo>
                  <a:lnTo>
                    <a:pt x="1512393" y="183807"/>
                  </a:lnTo>
                  <a:lnTo>
                    <a:pt x="1512393" y="184505"/>
                  </a:lnTo>
                  <a:lnTo>
                    <a:pt x="1512393" y="183807"/>
                  </a:lnTo>
                  <a:lnTo>
                    <a:pt x="1512393" y="184505"/>
                  </a:lnTo>
                  <a:lnTo>
                    <a:pt x="1512393" y="183807"/>
                  </a:lnTo>
                  <a:lnTo>
                    <a:pt x="1512393" y="184505"/>
                  </a:lnTo>
                  <a:lnTo>
                    <a:pt x="1512444" y="184505"/>
                  </a:lnTo>
                  <a:lnTo>
                    <a:pt x="1512444" y="185191"/>
                  </a:lnTo>
                  <a:lnTo>
                    <a:pt x="1512444" y="184505"/>
                  </a:lnTo>
                  <a:lnTo>
                    <a:pt x="1512444" y="185191"/>
                  </a:lnTo>
                  <a:lnTo>
                    <a:pt x="1512444" y="184505"/>
                  </a:lnTo>
                  <a:lnTo>
                    <a:pt x="1512444" y="185191"/>
                  </a:lnTo>
                  <a:lnTo>
                    <a:pt x="1512444" y="184505"/>
                  </a:lnTo>
                  <a:lnTo>
                    <a:pt x="1512494" y="184505"/>
                  </a:lnTo>
                  <a:lnTo>
                    <a:pt x="1512494" y="185191"/>
                  </a:lnTo>
                  <a:lnTo>
                    <a:pt x="1512494" y="184505"/>
                  </a:lnTo>
                  <a:lnTo>
                    <a:pt x="1512545" y="184505"/>
                  </a:lnTo>
                  <a:lnTo>
                    <a:pt x="1512545" y="183807"/>
                  </a:lnTo>
                  <a:lnTo>
                    <a:pt x="1512545" y="184505"/>
                  </a:lnTo>
                  <a:lnTo>
                    <a:pt x="1512545" y="181775"/>
                  </a:lnTo>
                  <a:lnTo>
                    <a:pt x="1512647" y="181775"/>
                  </a:lnTo>
                  <a:lnTo>
                    <a:pt x="1512647" y="182461"/>
                  </a:lnTo>
                  <a:lnTo>
                    <a:pt x="1512647" y="180327"/>
                  </a:lnTo>
                  <a:lnTo>
                    <a:pt x="1512647" y="181775"/>
                  </a:lnTo>
                  <a:lnTo>
                    <a:pt x="1512697" y="181775"/>
                  </a:lnTo>
                  <a:lnTo>
                    <a:pt x="1512697" y="180327"/>
                  </a:lnTo>
                  <a:lnTo>
                    <a:pt x="1512697" y="183807"/>
                  </a:lnTo>
                  <a:lnTo>
                    <a:pt x="1512748" y="183807"/>
                  </a:lnTo>
                  <a:lnTo>
                    <a:pt x="1512748" y="181775"/>
                  </a:lnTo>
                  <a:lnTo>
                    <a:pt x="1512748" y="183807"/>
                  </a:lnTo>
                  <a:lnTo>
                    <a:pt x="1512850" y="184505"/>
                  </a:lnTo>
                  <a:lnTo>
                    <a:pt x="1512850" y="183807"/>
                  </a:lnTo>
                  <a:lnTo>
                    <a:pt x="1512850" y="184505"/>
                  </a:lnTo>
                  <a:lnTo>
                    <a:pt x="1512850" y="183807"/>
                  </a:lnTo>
                  <a:lnTo>
                    <a:pt x="1512888" y="183807"/>
                  </a:lnTo>
                  <a:lnTo>
                    <a:pt x="1512888" y="185191"/>
                  </a:lnTo>
                  <a:lnTo>
                    <a:pt x="1512888" y="184505"/>
                  </a:lnTo>
                  <a:lnTo>
                    <a:pt x="1512939" y="185191"/>
                  </a:lnTo>
                  <a:lnTo>
                    <a:pt x="1512939" y="184505"/>
                  </a:lnTo>
                  <a:lnTo>
                    <a:pt x="1512939" y="185890"/>
                  </a:lnTo>
                  <a:lnTo>
                    <a:pt x="1512990" y="185890"/>
                  </a:lnTo>
                  <a:lnTo>
                    <a:pt x="1512990" y="185191"/>
                  </a:lnTo>
                  <a:lnTo>
                    <a:pt x="1512990" y="185890"/>
                  </a:lnTo>
                  <a:lnTo>
                    <a:pt x="1512990" y="185191"/>
                  </a:lnTo>
                  <a:lnTo>
                    <a:pt x="1512990" y="185890"/>
                  </a:lnTo>
                  <a:lnTo>
                    <a:pt x="1513091" y="185890"/>
                  </a:lnTo>
                  <a:lnTo>
                    <a:pt x="1513091" y="184505"/>
                  </a:lnTo>
                  <a:lnTo>
                    <a:pt x="1513142" y="183807"/>
                  </a:lnTo>
                  <a:lnTo>
                    <a:pt x="1513142" y="182461"/>
                  </a:lnTo>
                  <a:lnTo>
                    <a:pt x="1513142" y="184505"/>
                  </a:lnTo>
                  <a:lnTo>
                    <a:pt x="1513142" y="182461"/>
                  </a:lnTo>
                  <a:lnTo>
                    <a:pt x="1513193" y="182461"/>
                  </a:lnTo>
                  <a:lnTo>
                    <a:pt x="1513193" y="181775"/>
                  </a:lnTo>
                  <a:lnTo>
                    <a:pt x="1513193" y="185191"/>
                  </a:lnTo>
                  <a:lnTo>
                    <a:pt x="1513193" y="184505"/>
                  </a:lnTo>
                  <a:lnTo>
                    <a:pt x="1513294" y="183807"/>
                  </a:lnTo>
                  <a:lnTo>
                    <a:pt x="1513294" y="185191"/>
                  </a:lnTo>
                  <a:lnTo>
                    <a:pt x="1513294" y="183807"/>
                  </a:lnTo>
                  <a:lnTo>
                    <a:pt x="1513345" y="183807"/>
                  </a:lnTo>
                  <a:lnTo>
                    <a:pt x="1513345" y="185191"/>
                  </a:lnTo>
                  <a:lnTo>
                    <a:pt x="1513345" y="184505"/>
                  </a:lnTo>
                  <a:lnTo>
                    <a:pt x="1513396" y="184505"/>
                  </a:lnTo>
                  <a:lnTo>
                    <a:pt x="1513396" y="185191"/>
                  </a:lnTo>
                  <a:lnTo>
                    <a:pt x="1513396" y="184505"/>
                  </a:lnTo>
                  <a:lnTo>
                    <a:pt x="1513396" y="185191"/>
                  </a:lnTo>
                  <a:lnTo>
                    <a:pt x="1513396" y="184505"/>
                  </a:lnTo>
                  <a:lnTo>
                    <a:pt x="1513396" y="185191"/>
                  </a:lnTo>
                  <a:lnTo>
                    <a:pt x="1513396" y="184505"/>
                  </a:lnTo>
                  <a:lnTo>
                    <a:pt x="1513396" y="185191"/>
                  </a:lnTo>
                  <a:lnTo>
                    <a:pt x="1513434" y="185191"/>
                  </a:lnTo>
                  <a:lnTo>
                    <a:pt x="1513434" y="185890"/>
                  </a:lnTo>
                  <a:lnTo>
                    <a:pt x="1513434" y="185191"/>
                  </a:lnTo>
                  <a:lnTo>
                    <a:pt x="1513434" y="185890"/>
                  </a:lnTo>
                  <a:lnTo>
                    <a:pt x="1513434" y="185191"/>
                  </a:lnTo>
                  <a:lnTo>
                    <a:pt x="1513434" y="185890"/>
                  </a:lnTo>
                  <a:lnTo>
                    <a:pt x="1513434" y="185191"/>
                  </a:lnTo>
                  <a:lnTo>
                    <a:pt x="1513434" y="185890"/>
                  </a:lnTo>
                  <a:lnTo>
                    <a:pt x="1513434" y="185191"/>
                  </a:lnTo>
                  <a:lnTo>
                    <a:pt x="1513536" y="185191"/>
                  </a:lnTo>
                  <a:lnTo>
                    <a:pt x="1513536" y="185890"/>
                  </a:lnTo>
                  <a:lnTo>
                    <a:pt x="1513536" y="185191"/>
                  </a:lnTo>
                  <a:lnTo>
                    <a:pt x="1513536" y="185890"/>
                  </a:lnTo>
                  <a:lnTo>
                    <a:pt x="1513587" y="185890"/>
                  </a:lnTo>
                  <a:lnTo>
                    <a:pt x="1513587" y="184505"/>
                  </a:lnTo>
                  <a:lnTo>
                    <a:pt x="1513587" y="185890"/>
                  </a:lnTo>
                  <a:lnTo>
                    <a:pt x="1513637" y="185890"/>
                  </a:lnTo>
                  <a:lnTo>
                    <a:pt x="1513637" y="187922"/>
                  </a:lnTo>
                  <a:lnTo>
                    <a:pt x="1513637" y="185191"/>
                  </a:lnTo>
                  <a:lnTo>
                    <a:pt x="1513637" y="188620"/>
                  </a:lnTo>
                  <a:lnTo>
                    <a:pt x="1513739" y="188620"/>
                  </a:lnTo>
                  <a:lnTo>
                    <a:pt x="1513739" y="185890"/>
                  </a:lnTo>
                  <a:lnTo>
                    <a:pt x="1513739" y="188620"/>
                  </a:lnTo>
                  <a:lnTo>
                    <a:pt x="1513790" y="188620"/>
                  </a:lnTo>
                  <a:lnTo>
                    <a:pt x="1513790" y="187223"/>
                  </a:lnTo>
                  <a:lnTo>
                    <a:pt x="1513790" y="187922"/>
                  </a:lnTo>
                  <a:lnTo>
                    <a:pt x="1513790" y="187223"/>
                  </a:lnTo>
                  <a:lnTo>
                    <a:pt x="1513790" y="187922"/>
                  </a:lnTo>
                  <a:lnTo>
                    <a:pt x="1513790" y="187223"/>
                  </a:lnTo>
                  <a:lnTo>
                    <a:pt x="1513790" y="187922"/>
                  </a:lnTo>
                  <a:lnTo>
                    <a:pt x="1513840" y="187922"/>
                  </a:lnTo>
                  <a:lnTo>
                    <a:pt x="1513891" y="187223"/>
                  </a:lnTo>
                  <a:lnTo>
                    <a:pt x="1513891" y="187922"/>
                  </a:lnTo>
                  <a:lnTo>
                    <a:pt x="1513891" y="187223"/>
                  </a:lnTo>
                  <a:lnTo>
                    <a:pt x="1513891" y="187922"/>
                  </a:lnTo>
                  <a:lnTo>
                    <a:pt x="1513891" y="187223"/>
                  </a:lnTo>
                  <a:lnTo>
                    <a:pt x="1513891" y="187922"/>
                  </a:lnTo>
                  <a:lnTo>
                    <a:pt x="1513891" y="187223"/>
                  </a:lnTo>
                  <a:lnTo>
                    <a:pt x="1513891" y="187922"/>
                  </a:lnTo>
                  <a:lnTo>
                    <a:pt x="1513891" y="187223"/>
                  </a:lnTo>
                  <a:lnTo>
                    <a:pt x="1513891" y="187922"/>
                  </a:lnTo>
                  <a:lnTo>
                    <a:pt x="1513980" y="187922"/>
                  </a:lnTo>
                  <a:lnTo>
                    <a:pt x="1513980" y="187223"/>
                  </a:lnTo>
                  <a:lnTo>
                    <a:pt x="1513980" y="187922"/>
                  </a:lnTo>
                  <a:lnTo>
                    <a:pt x="1513980" y="187223"/>
                  </a:lnTo>
                  <a:lnTo>
                    <a:pt x="1513980" y="187922"/>
                  </a:lnTo>
                  <a:lnTo>
                    <a:pt x="1513980" y="185890"/>
                  </a:lnTo>
                  <a:lnTo>
                    <a:pt x="1513980" y="187223"/>
                  </a:lnTo>
                  <a:lnTo>
                    <a:pt x="1514031" y="187223"/>
                  </a:lnTo>
                  <a:lnTo>
                    <a:pt x="1514031" y="185191"/>
                  </a:lnTo>
                  <a:lnTo>
                    <a:pt x="1514031" y="185890"/>
                  </a:lnTo>
                  <a:lnTo>
                    <a:pt x="1514082" y="185890"/>
                  </a:lnTo>
                  <a:lnTo>
                    <a:pt x="1514082" y="184505"/>
                  </a:lnTo>
                  <a:lnTo>
                    <a:pt x="1514082" y="187922"/>
                  </a:lnTo>
                  <a:lnTo>
                    <a:pt x="1514082" y="187223"/>
                  </a:lnTo>
                  <a:lnTo>
                    <a:pt x="1514133" y="187223"/>
                  </a:lnTo>
                  <a:lnTo>
                    <a:pt x="1514133" y="185191"/>
                  </a:lnTo>
                  <a:lnTo>
                    <a:pt x="1514133" y="189268"/>
                  </a:lnTo>
                  <a:lnTo>
                    <a:pt x="1514234" y="188620"/>
                  </a:lnTo>
                  <a:lnTo>
                    <a:pt x="1514234" y="187223"/>
                  </a:lnTo>
                  <a:lnTo>
                    <a:pt x="1514234" y="189268"/>
                  </a:lnTo>
                  <a:lnTo>
                    <a:pt x="1514234" y="188620"/>
                  </a:lnTo>
                  <a:lnTo>
                    <a:pt x="1514234" y="189268"/>
                  </a:lnTo>
                  <a:lnTo>
                    <a:pt x="1514234" y="188620"/>
                  </a:lnTo>
                  <a:lnTo>
                    <a:pt x="1514234" y="189268"/>
                  </a:lnTo>
                  <a:lnTo>
                    <a:pt x="1514285" y="188620"/>
                  </a:lnTo>
                  <a:lnTo>
                    <a:pt x="1514285" y="189268"/>
                  </a:lnTo>
                  <a:lnTo>
                    <a:pt x="1514285" y="188620"/>
                  </a:lnTo>
                  <a:lnTo>
                    <a:pt x="1514336" y="188620"/>
                  </a:lnTo>
                  <a:lnTo>
                    <a:pt x="1514336" y="189268"/>
                  </a:lnTo>
                  <a:lnTo>
                    <a:pt x="1514336" y="188620"/>
                  </a:lnTo>
                  <a:lnTo>
                    <a:pt x="1514336" y="189268"/>
                  </a:lnTo>
                  <a:lnTo>
                    <a:pt x="1514336" y="188620"/>
                  </a:lnTo>
                  <a:lnTo>
                    <a:pt x="1514437" y="188620"/>
                  </a:lnTo>
                  <a:lnTo>
                    <a:pt x="1514437" y="189268"/>
                  </a:lnTo>
                  <a:lnTo>
                    <a:pt x="1514437" y="188620"/>
                  </a:lnTo>
                  <a:lnTo>
                    <a:pt x="1514475" y="188620"/>
                  </a:lnTo>
                  <a:lnTo>
                    <a:pt x="1514475" y="187223"/>
                  </a:lnTo>
                  <a:lnTo>
                    <a:pt x="1514475" y="187922"/>
                  </a:lnTo>
                  <a:lnTo>
                    <a:pt x="1514475" y="187223"/>
                  </a:lnTo>
                  <a:lnTo>
                    <a:pt x="1514526" y="187223"/>
                  </a:lnTo>
                  <a:lnTo>
                    <a:pt x="1514526" y="185890"/>
                  </a:lnTo>
                  <a:lnTo>
                    <a:pt x="1514526" y="187223"/>
                  </a:lnTo>
                  <a:lnTo>
                    <a:pt x="1514526" y="185890"/>
                  </a:lnTo>
                  <a:lnTo>
                    <a:pt x="1514577" y="185890"/>
                  </a:lnTo>
                  <a:lnTo>
                    <a:pt x="1514577" y="185191"/>
                  </a:lnTo>
                  <a:lnTo>
                    <a:pt x="1514577" y="187223"/>
                  </a:lnTo>
                  <a:lnTo>
                    <a:pt x="1514577" y="185890"/>
                  </a:lnTo>
                  <a:lnTo>
                    <a:pt x="1514679" y="187223"/>
                  </a:lnTo>
                  <a:lnTo>
                    <a:pt x="1514679" y="188620"/>
                  </a:lnTo>
                  <a:lnTo>
                    <a:pt x="1514679" y="187922"/>
                  </a:lnTo>
                  <a:lnTo>
                    <a:pt x="1514679" y="188620"/>
                  </a:lnTo>
                  <a:lnTo>
                    <a:pt x="1514730" y="188620"/>
                  </a:lnTo>
                  <a:lnTo>
                    <a:pt x="1514730" y="189268"/>
                  </a:lnTo>
                  <a:lnTo>
                    <a:pt x="1514730" y="188620"/>
                  </a:lnTo>
                  <a:lnTo>
                    <a:pt x="1514780" y="188620"/>
                  </a:lnTo>
                  <a:lnTo>
                    <a:pt x="1514780" y="189268"/>
                  </a:lnTo>
                  <a:lnTo>
                    <a:pt x="1514780" y="188620"/>
                  </a:lnTo>
                  <a:lnTo>
                    <a:pt x="1514780" y="189268"/>
                  </a:lnTo>
                  <a:lnTo>
                    <a:pt x="1514882" y="189268"/>
                  </a:lnTo>
                  <a:lnTo>
                    <a:pt x="1514882" y="189954"/>
                  </a:lnTo>
                  <a:lnTo>
                    <a:pt x="1514882" y="189268"/>
                  </a:lnTo>
                  <a:lnTo>
                    <a:pt x="1514882" y="189954"/>
                  </a:lnTo>
                  <a:lnTo>
                    <a:pt x="1514882" y="189268"/>
                  </a:lnTo>
                  <a:lnTo>
                    <a:pt x="1514882" y="189954"/>
                  </a:lnTo>
                  <a:lnTo>
                    <a:pt x="1514882" y="189268"/>
                  </a:lnTo>
                  <a:lnTo>
                    <a:pt x="1514882" y="189954"/>
                  </a:lnTo>
                  <a:lnTo>
                    <a:pt x="1514882" y="189268"/>
                  </a:lnTo>
                  <a:lnTo>
                    <a:pt x="1514882" y="189954"/>
                  </a:lnTo>
                  <a:lnTo>
                    <a:pt x="1514933" y="189954"/>
                  </a:lnTo>
                  <a:lnTo>
                    <a:pt x="1514933" y="189268"/>
                  </a:lnTo>
                  <a:lnTo>
                    <a:pt x="1514933" y="189954"/>
                  </a:lnTo>
                  <a:lnTo>
                    <a:pt x="1514933" y="189268"/>
                  </a:lnTo>
                  <a:lnTo>
                    <a:pt x="1514984" y="189268"/>
                  </a:lnTo>
                  <a:lnTo>
                    <a:pt x="1514984" y="188620"/>
                  </a:lnTo>
                  <a:lnTo>
                    <a:pt x="1514984" y="189268"/>
                  </a:lnTo>
                  <a:lnTo>
                    <a:pt x="1514984" y="188620"/>
                  </a:lnTo>
                  <a:lnTo>
                    <a:pt x="1514984" y="189268"/>
                  </a:lnTo>
                  <a:lnTo>
                    <a:pt x="1514984" y="187922"/>
                  </a:lnTo>
                  <a:lnTo>
                    <a:pt x="1514984" y="188620"/>
                  </a:lnTo>
                  <a:lnTo>
                    <a:pt x="1514984" y="187922"/>
                  </a:lnTo>
                  <a:lnTo>
                    <a:pt x="1514984" y="188620"/>
                  </a:lnTo>
                  <a:lnTo>
                    <a:pt x="1514984" y="187922"/>
                  </a:lnTo>
                  <a:lnTo>
                    <a:pt x="1515022" y="187922"/>
                  </a:lnTo>
                  <a:lnTo>
                    <a:pt x="1515022" y="185890"/>
                  </a:lnTo>
                  <a:lnTo>
                    <a:pt x="1515022" y="187922"/>
                  </a:lnTo>
                  <a:lnTo>
                    <a:pt x="1515123" y="187922"/>
                  </a:lnTo>
                  <a:lnTo>
                    <a:pt x="1515123" y="188620"/>
                  </a:lnTo>
                  <a:lnTo>
                    <a:pt x="1515123" y="185890"/>
                  </a:lnTo>
                  <a:lnTo>
                    <a:pt x="1515123" y="188620"/>
                  </a:lnTo>
                  <a:lnTo>
                    <a:pt x="1515174" y="188620"/>
                  </a:lnTo>
                  <a:lnTo>
                    <a:pt x="1515174" y="187922"/>
                  </a:lnTo>
                  <a:lnTo>
                    <a:pt x="1515174" y="188620"/>
                  </a:lnTo>
                  <a:lnTo>
                    <a:pt x="1515174" y="187922"/>
                  </a:lnTo>
                  <a:lnTo>
                    <a:pt x="1515174" y="189268"/>
                  </a:lnTo>
                  <a:lnTo>
                    <a:pt x="1515225" y="189268"/>
                  </a:lnTo>
                  <a:lnTo>
                    <a:pt x="1515225" y="188620"/>
                  </a:lnTo>
                  <a:lnTo>
                    <a:pt x="1515225" y="189268"/>
                  </a:lnTo>
                  <a:lnTo>
                    <a:pt x="1515225" y="188620"/>
                  </a:lnTo>
                  <a:lnTo>
                    <a:pt x="1515225" y="189268"/>
                  </a:lnTo>
                  <a:lnTo>
                    <a:pt x="1515225" y="188620"/>
                  </a:lnTo>
                  <a:lnTo>
                    <a:pt x="1515225" y="189268"/>
                  </a:lnTo>
                  <a:lnTo>
                    <a:pt x="1515326" y="189268"/>
                  </a:lnTo>
                  <a:lnTo>
                    <a:pt x="1515326" y="189954"/>
                  </a:lnTo>
                  <a:lnTo>
                    <a:pt x="1515326" y="189268"/>
                  </a:lnTo>
                  <a:lnTo>
                    <a:pt x="1515377" y="189268"/>
                  </a:lnTo>
                  <a:lnTo>
                    <a:pt x="1515377" y="189954"/>
                  </a:lnTo>
                  <a:lnTo>
                    <a:pt x="1515377" y="189268"/>
                  </a:lnTo>
                  <a:lnTo>
                    <a:pt x="1515377" y="189954"/>
                  </a:lnTo>
                  <a:lnTo>
                    <a:pt x="1515377" y="189268"/>
                  </a:lnTo>
                  <a:lnTo>
                    <a:pt x="1515377" y="189954"/>
                  </a:lnTo>
                  <a:lnTo>
                    <a:pt x="1515377" y="189268"/>
                  </a:lnTo>
                  <a:lnTo>
                    <a:pt x="1515377" y="189954"/>
                  </a:lnTo>
                  <a:lnTo>
                    <a:pt x="1515377" y="189268"/>
                  </a:lnTo>
                  <a:lnTo>
                    <a:pt x="1515428" y="189954"/>
                  </a:lnTo>
                  <a:lnTo>
                    <a:pt x="1515428" y="189268"/>
                  </a:lnTo>
                  <a:lnTo>
                    <a:pt x="1515428" y="189954"/>
                  </a:lnTo>
                  <a:lnTo>
                    <a:pt x="1515428" y="189268"/>
                  </a:lnTo>
                  <a:lnTo>
                    <a:pt x="1515479" y="189268"/>
                  </a:lnTo>
                  <a:lnTo>
                    <a:pt x="1515479" y="187922"/>
                  </a:lnTo>
                  <a:lnTo>
                    <a:pt x="1515568" y="187922"/>
                  </a:lnTo>
                  <a:lnTo>
                    <a:pt x="1515568" y="185191"/>
                  </a:lnTo>
                  <a:lnTo>
                    <a:pt x="1515568" y="187223"/>
                  </a:lnTo>
                  <a:lnTo>
                    <a:pt x="1515619" y="187223"/>
                  </a:lnTo>
                  <a:lnTo>
                    <a:pt x="1515619" y="187922"/>
                  </a:lnTo>
                  <a:lnTo>
                    <a:pt x="1515619" y="185890"/>
                  </a:lnTo>
                  <a:lnTo>
                    <a:pt x="1515619" y="188620"/>
                  </a:lnTo>
                  <a:lnTo>
                    <a:pt x="1515669" y="188620"/>
                  </a:lnTo>
                  <a:lnTo>
                    <a:pt x="1515669" y="189268"/>
                  </a:lnTo>
                  <a:lnTo>
                    <a:pt x="1515669" y="187223"/>
                  </a:lnTo>
                  <a:lnTo>
                    <a:pt x="1515669" y="188620"/>
                  </a:lnTo>
                  <a:lnTo>
                    <a:pt x="1515720" y="188620"/>
                  </a:lnTo>
                  <a:lnTo>
                    <a:pt x="1515720" y="187922"/>
                  </a:lnTo>
                  <a:lnTo>
                    <a:pt x="1515720" y="189268"/>
                  </a:lnTo>
                  <a:lnTo>
                    <a:pt x="1515720" y="188620"/>
                  </a:lnTo>
                  <a:lnTo>
                    <a:pt x="1515822" y="188620"/>
                  </a:lnTo>
                  <a:lnTo>
                    <a:pt x="1515822" y="189954"/>
                  </a:lnTo>
                  <a:lnTo>
                    <a:pt x="1515872" y="189954"/>
                  </a:lnTo>
                  <a:lnTo>
                    <a:pt x="1515872" y="189268"/>
                  </a:lnTo>
                  <a:lnTo>
                    <a:pt x="1515872" y="189954"/>
                  </a:lnTo>
                  <a:lnTo>
                    <a:pt x="1515872" y="189268"/>
                  </a:lnTo>
                  <a:lnTo>
                    <a:pt x="1515872" y="189954"/>
                  </a:lnTo>
                  <a:lnTo>
                    <a:pt x="1515872" y="189268"/>
                  </a:lnTo>
                  <a:lnTo>
                    <a:pt x="1515872" y="189954"/>
                  </a:lnTo>
                  <a:lnTo>
                    <a:pt x="1515923" y="189268"/>
                  </a:lnTo>
                  <a:lnTo>
                    <a:pt x="1515923" y="189954"/>
                  </a:lnTo>
                  <a:lnTo>
                    <a:pt x="1515923" y="189268"/>
                  </a:lnTo>
                  <a:lnTo>
                    <a:pt x="1515923" y="189954"/>
                  </a:lnTo>
                  <a:lnTo>
                    <a:pt x="1515923" y="189268"/>
                  </a:lnTo>
                  <a:lnTo>
                    <a:pt x="1515923" y="189954"/>
                  </a:lnTo>
                  <a:lnTo>
                    <a:pt x="1515923" y="189268"/>
                  </a:lnTo>
                  <a:lnTo>
                    <a:pt x="1516025" y="189268"/>
                  </a:lnTo>
                  <a:lnTo>
                    <a:pt x="1516025" y="188620"/>
                  </a:lnTo>
                  <a:lnTo>
                    <a:pt x="1516025" y="189268"/>
                  </a:lnTo>
                  <a:lnTo>
                    <a:pt x="1516025" y="187223"/>
                  </a:lnTo>
                  <a:lnTo>
                    <a:pt x="1516025" y="187922"/>
                  </a:lnTo>
                  <a:lnTo>
                    <a:pt x="1516063" y="187922"/>
                  </a:lnTo>
                  <a:lnTo>
                    <a:pt x="1516063" y="185890"/>
                  </a:lnTo>
                  <a:lnTo>
                    <a:pt x="1516063" y="187922"/>
                  </a:lnTo>
                  <a:lnTo>
                    <a:pt x="1516114" y="187922"/>
                  </a:lnTo>
                  <a:lnTo>
                    <a:pt x="1516114" y="185191"/>
                  </a:lnTo>
                  <a:lnTo>
                    <a:pt x="1516114" y="188620"/>
                  </a:lnTo>
                  <a:lnTo>
                    <a:pt x="1516114" y="187922"/>
                  </a:lnTo>
                  <a:lnTo>
                    <a:pt x="1516165" y="187922"/>
                  </a:lnTo>
                  <a:lnTo>
                    <a:pt x="1516165" y="187223"/>
                  </a:lnTo>
                  <a:lnTo>
                    <a:pt x="1516165" y="188620"/>
                  </a:lnTo>
                  <a:lnTo>
                    <a:pt x="1516266" y="187922"/>
                  </a:lnTo>
                  <a:lnTo>
                    <a:pt x="1516266" y="188620"/>
                  </a:lnTo>
                  <a:lnTo>
                    <a:pt x="1516317" y="188620"/>
                  </a:lnTo>
                  <a:lnTo>
                    <a:pt x="1516317" y="187922"/>
                  </a:lnTo>
                  <a:lnTo>
                    <a:pt x="1516317" y="189268"/>
                  </a:lnTo>
                  <a:lnTo>
                    <a:pt x="1516368" y="188620"/>
                  </a:lnTo>
                  <a:lnTo>
                    <a:pt x="1516368" y="189268"/>
                  </a:lnTo>
                  <a:lnTo>
                    <a:pt x="1516368" y="188620"/>
                  </a:lnTo>
                  <a:lnTo>
                    <a:pt x="1516368" y="189268"/>
                  </a:lnTo>
                  <a:lnTo>
                    <a:pt x="1516368" y="188620"/>
                  </a:lnTo>
                  <a:lnTo>
                    <a:pt x="1516469" y="188620"/>
                  </a:lnTo>
                  <a:lnTo>
                    <a:pt x="1516469" y="189268"/>
                  </a:lnTo>
                  <a:lnTo>
                    <a:pt x="1516469" y="188620"/>
                  </a:lnTo>
                  <a:lnTo>
                    <a:pt x="1516520" y="188620"/>
                  </a:lnTo>
                  <a:lnTo>
                    <a:pt x="1516520" y="187922"/>
                  </a:lnTo>
                  <a:lnTo>
                    <a:pt x="1516520" y="188620"/>
                  </a:lnTo>
                  <a:lnTo>
                    <a:pt x="1516520" y="187922"/>
                  </a:lnTo>
                  <a:lnTo>
                    <a:pt x="1516520" y="188620"/>
                  </a:lnTo>
                  <a:lnTo>
                    <a:pt x="1516520" y="187223"/>
                  </a:lnTo>
                  <a:lnTo>
                    <a:pt x="1516571" y="187223"/>
                  </a:lnTo>
                  <a:lnTo>
                    <a:pt x="1516571" y="188620"/>
                  </a:lnTo>
                  <a:lnTo>
                    <a:pt x="1516571" y="187922"/>
                  </a:lnTo>
                  <a:lnTo>
                    <a:pt x="1516609" y="187922"/>
                  </a:lnTo>
                  <a:lnTo>
                    <a:pt x="1516609" y="189268"/>
                  </a:lnTo>
                  <a:lnTo>
                    <a:pt x="1516609" y="188620"/>
                  </a:lnTo>
                  <a:lnTo>
                    <a:pt x="1516711" y="188620"/>
                  </a:lnTo>
                  <a:lnTo>
                    <a:pt x="1516711" y="189268"/>
                  </a:lnTo>
                  <a:lnTo>
                    <a:pt x="1516711" y="188620"/>
                  </a:lnTo>
                  <a:lnTo>
                    <a:pt x="1516762" y="188620"/>
                  </a:lnTo>
                  <a:lnTo>
                    <a:pt x="1516762" y="189268"/>
                  </a:lnTo>
                  <a:lnTo>
                    <a:pt x="1516762" y="188620"/>
                  </a:lnTo>
                  <a:lnTo>
                    <a:pt x="1516762" y="189268"/>
                  </a:lnTo>
                  <a:lnTo>
                    <a:pt x="1516812" y="189268"/>
                  </a:lnTo>
                  <a:lnTo>
                    <a:pt x="1516812" y="189954"/>
                  </a:lnTo>
                  <a:lnTo>
                    <a:pt x="1516812" y="189268"/>
                  </a:lnTo>
                  <a:lnTo>
                    <a:pt x="1516812" y="189954"/>
                  </a:lnTo>
                  <a:lnTo>
                    <a:pt x="1516812" y="189268"/>
                  </a:lnTo>
                  <a:lnTo>
                    <a:pt x="1516914" y="189954"/>
                  </a:lnTo>
                  <a:lnTo>
                    <a:pt x="1516914" y="189268"/>
                  </a:lnTo>
                  <a:lnTo>
                    <a:pt x="1516914" y="189954"/>
                  </a:lnTo>
                  <a:lnTo>
                    <a:pt x="1516965" y="189954"/>
                  </a:lnTo>
                  <a:lnTo>
                    <a:pt x="1516965" y="189268"/>
                  </a:lnTo>
                  <a:lnTo>
                    <a:pt x="1516965" y="189954"/>
                  </a:lnTo>
                  <a:lnTo>
                    <a:pt x="1516965" y="189268"/>
                  </a:lnTo>
                  <a:lnTo>
                    <a:pt x="1517015" y="189268"/>
                  </a:lnTo>
                  <a:lnTo>
                    <a:pt x="1517015" y="187922"/>
                  </a:lnTo>
                  <a:lnTo>
                    <a:pt x="1517066" y="187922"/>
                  </a:lnTo>
                  <a:lnTo>
                    <a:pt x="1517066" y="188620"/>
                  </a:lnTo>
                  <a:lnTo>
                    <a:pt x="1517155" y="188620"/>
                  </a:lnTo>
                  <a:lnTo>
                    <a:pt x="1517155" y="189954"/>
                  </a:lnTo>
                  <a:lnTo>
                    <a:pt x="1517155" y="189268"/>
                  </a:lnTo>
                  <a:lnTo>
                    <a:pt x="1517206" y="189268"/>
                  </a:lnTo>
                  <a:lnTo>
                    <a:pt x="1517206" y="189954"/>
                  </a:lnTo>
                  <a:lnTo>
                    <a:pt x="1517206" y="189268"/>
                  </a:lnTo>
                  <a:lnTo>
                    <a:pt x="1517206" y="189954"/>
                  </a:lnTo>
                  <a:lnTo>
                    <a:pt x="1517257" y="189954"/>
                  </a:lnTo>
                  <a:lnTo>
                    <a:pt x="1517257" y="189268"/>
                  </a:lnTo>
                  <a:lnTo>
                    <a:pt x="1517257" y="191351"/>
                  </a:lnTo>
                  <a:lnTo>
                    <a:pt x="1517257" y="189268"/>
                  </a:lnTo>
                  <a:lnTo>
                    <a:pt x="1517257" y="189954"/>
                  </a:lnTo>
                  <a:lnTo>
                    <a:pt x="1517257" y="189268"/>
                  </a:lnTo>
                  <a:lnTo>
                    <a:pt x="1517257" y="191351"/>
                  </a:lnTo>
                  <a:lnTo>
                    <a:pt x="1517257" y="189954"/>
                  </a:lnTo>
                  <a:lnTo>
                    <a:pt x="1517308" y="189954"/>
                  </a:lnTo>
                  <a:lnTo>
                    <a:pt x="1517308" y="191351"/>
                  </a:lnTo>
                  <a:lnTo>
                    <a:pt x="1517308" y="189954"/>
                  </a:lnTo>
                  <a:lnTo>
                    <a:pt x="1517409" y="191351"/>
                  </a:lnTo>
                  <a:lnTo>
                    <a:pt x="1517409" y="189954"/>
                  </a:lnTo>
                  <a:lnTo>
                    <a:pt x="1517409" y="191351"/>
                  </a:lnTo>
                  <a:lnTo>
                    <a:pt x="1517409" y="189954"/>
                  </a:lnTo>
                  <a:lnTo>
                    <a:pt x="1517460" y="189954"/>
                  </a:lnTo>
                  <a:lnTo>
                    <a:pt x="1517460" y="189268"/>
                  </a:lnTo>
                  <a:lnTo>
                    <a:pt x="1517511" y="188620"/>
                  </a:lnTo>
                  <a:lnTo>
                    <a:pt x="1517511" y="187223"/>
                  </a:lnTo>
                  <a:lnTo>
                    <a:pt x="1517612" y="187223"/>
                  </a:lnTo>
                  <a:lnTo>
                    <a:pt x="1517612" y="188620"/>
                  </a:lnTo>
                  <a:lnTo>
                    <a:pt x="1517612" y="187223"/>
                  </a:lnTo>
                  <a:lnTo>
                    <a:pt x="1517650" y="187922"/>
                  </a:lnTo>
                  <a:lnTo>
                    <a:pt x="1517650" y="189954"/>
                  </a:lnTo>
                  <a:lnTo>
                    <a:pt x="1517650" y="188620"/>
                  </a:lnTo>
                  <a:lnTo>
                    <a:pt x="1517650" y="189268"/>
                  </a:lnTo>
                  <a:lnTo>
                    <a:pt x="1517650" y="188620"/>
                  </a:lnTo>
                  <a:lnTo>
                    <a:pt x="1517650" y="189268"/>
                  </a:lnTo>
                  <a:lnTo>
                    <a:pt x="1517701" y="189268"/>
                  </a:lnTo>
                  <a:lnTo>
                    <a:pt x="1517701" y="189954"/>
                  </a:lnTo>
                  <a:lnTo>
                    <a:pt x="1517701" y="189268"/>
                  </a:lnTo>
                  <a:lnTo>
                    <a:pt x="1517701" y="189954"/>
                  </a:lnTo>
                  <a:lnTo>
                    <a:pt x="1517701" y="188620"/>
                  </a:lnTo>
                  <a:lnTo>
                    <a:pt x="1517701" y="189954"/>
                  </a:lnTo>
                  <a:lnTo>
                    <a:pt x="1517752" y="189954"/>
                  </a:lnTo>
                  <a:lnTo>
                    <a:pt x="1517752" y="189268"/>
                  </a:lnTo>
                  <a:lnTo>
                    <a:pt x="1517752" y="189954"/>
                  </a:lnTo>
                  <a:lnTo>
                    <a:pt x="1517752" y="189268"/>
                  </a:lnTo>
                  <a:lnTo>
                    <a:pt x="1517854" y="189954"/>
                  </a:lnTo>
                  <a:lnTo>
                    <a:pt x="1517854" y="191351"/>
                  </a:lnTo>
                  <a:lnTo>
                    <a:pt x="1517854" y="189954"/>
                  </a:lnTo>
                  <a:lnTo>
                    <a:pt x="1517854" y="191351"/>
                  </a:lnTo>
                  <a:lnTo>
                    <a:pt x="1517854" y="189954"/>
                  </a:lnTo>
                  <a:lnTo>
                    <a:pt x="1517854" y="191351"/>
                  </a:lnTo>
                  <a:lnTo>
                    <a:pt x="1517854" y="189954"/>
                  </a:lnTo>
                  <a:lnTo>
                    <a:pt x="1517854" y="191351"/>
                  </a:lnTo>
                  <a:lnTo>
                    <a:pt x="1517854" y="189954"/>
                  </a:lnTo>
                  <a:lnTo>
                    <a:pt x="1517905" y="189954"/>
                  </a:lnTo>
                  <a:lnTo>
                    <a:pt x="1517905" y="191351"/>
                  </a:lnTo>
                  <a:lnTo>
                    <a:pt x="1517905" y="189954"/>
                  </a:lnTo>
                  <a:lnTo>
                    <a:pt x="1517955" y="189954"/>
                  </a:lnTo>
                  <a:lnTo>
                    <a:pt x="1517955" y="189268"/>
                  </a:lnTo>
                  <a:lnTo>
                    <a:pt x="1517955" y="189954"/>
                  </a:lnTo>
                  <a:lnTo>
                    <a:pt x="1517955" y="189268"/>
                  </a:lnTo>
                  <a:lnTo>
                    <a:pt x="1517955" y="189954"/>
                  </a:lnTo>
                  <a:lnTo>
                    <a:pt x="1517955" y="189268"/>
                  </a:lnTo>
                  <a:lnTo>
                    <a:pt x="1517955" y="189954"/>
                  </a:lnTo>
                  <a:lnTo>
                    <a:pt x="1517955" y="189268"/>
                  </a:lnTo>
                  <a:lnTo>
                    <a:pt x="1517955" y="189954"/>
                  </a:lnTo>
                  <a:lnTo>
                    <a:pt x="1517955" y="188620"/>
                  </a:lnTo>
                  <a:lnTo>
                    <a:pt x="1518057" y="188620"/>
                  </a:lnTo>
                  <a:lnTo>
                    <a:pt x="1518057" y="187922"/>
                  </a:lnTo>
                  <a:lnTo>
                    <a:pt x="1518057" y="189268"/>
                  </a:lnTo>
                  <a:lnTo>
                    <a:pt x="1518057" y="188620"/>
                  </a:lnTo>
                  <a:lnTo>
                    <a:pt x="1518108" y="188620"/>
                  </a:lnTo>
                  <a:lnTo>
                    <a:pt x="1518108" y="189268"/>
                  </a:lnTo>
                  <a:lnTo>
                    <a:pt x="1518108" y="188620"/>
                  </a:lnTo>
                  <a:lnTo>
                    <a:pt x="1518108" y="191351"/>
                  </a:lnTo>
                  <a:lnTo>
                    <a:pt x="1518159" y="191351"/>
                  </a:lnTo>
                  <a:lnTo>
                    <a:pt x="1518159" y="189954"/>
                  </a:lnTo>
                  <a:lnTo>
                    <a:pt x="1518159" y="191351"/>
                  </a:lnTo>
                  <a:lnTo>
                    <a:pt x="1518159" y="189954"/>
                  </a:lnTo>
                  <a:lnTo>
                    <a:pt x="1518159" y="191351"/>
                  </a:lnTo>
                  <a:lnTo>
                    <a:pt x="1518159" y="189954"/>
                  </a:lnTo>
                  <a:lnTo>
                    <a:pt x="1518197" y="189954"/>
                  </a:lnTo>
                  <a:lnTo>
                    <a:pt x="1518197" y="191351"/>
                  </a:lnTo>
                  <a:lnTo>
                    <a:pt x="1518197" y="189954"/>
                  </a:lnTo>
                  <a:lnTo>
                    <a:pt x="1518197" y="191351"/>
                  </a:lnTo>
                  <a:lnTo>
                    <a:pt x="1518197" y="189954"/>
                  </a:lnTo>
                  <a:lnTo>
                    <a:pt x="1518298" y="189954"/>
                  </a:lnTo>
                  <a:lnTo>
                    <a:pt x="1518298" y="191351"/>
                  </a:lnTo>
                  <a:lnTo>
                    <a:pt x="1518349" y="191351"/>
                  </a:lnTo>
                  <a:lnTo>
                    <a:pt x="1518349" y="191986"/>
                  </a:lnTo>
                  <a:lnTo>
                    <a:pt x="1518349" y="191351"/>
                  </a:lnTo>
                  <a:lnTo>
                    <a:pt x="1518400" y="191351"/>
                  </a:lnTo>
                  <a:lnTo>
                    <a:pt x="1518400" y="189954"/>
                  </a:lnTo>
                  <a:lnTo>
                    <a:pt x="1518400" y="191351"/>
                  </a:lnTo>
                  <a:lnTo>
                    <a:pt x="1518400" y="189268"/>
                  </a:lnTo>
                  <a:lnTo>
                    <a:pt x="1518400" y="189954"/>
                  </a:lnTo>
                  <a:lnTo>
                    <a:pt x="1518400" y="189268"/>
                  </a:lnTo>
                  <a:lnTo>
                    <a:pt x="1518501" y="189268"/>
                  </a:lnTo>
                  <a:lnTo>
                    <a:pt x="1518501" y="189954"/>
                  </a:lnTo>
                  <a:lnTo>
                    <a:pt x="1518501" y="187922"/>
                  </a:lnTo>
                  <a:lnTo>
                    <a:pt x="1518501" y="188620"/>
                  </a:lnTo>
                  <a:lnTo>
                    <a:pt x="1518552" y="188620"/>
                  </a:lnTo>
                  <a:lnTo>
                    <a:pt x="1518552" y="189268"/>
                  </a:lnTo>
                  <a:lnTo>
                    <a:pt x="1518552" y="188620"/>
                  </a:lnTo>
                  <a:lnTo>
                    <a:pt x="1518552" y="189268"/>
                  </a:lnTo>
                  <a:lnTo>
                    <a:pt x="1518603" y="189268"/>
                  </a:lnTo>
                  <a:lnTo>
                    <a:pt x="1518603" y="187922"/>
                  </a:lnTo>
                  <a:lnTo>
                    <a:pt x="1518603" y="191351"/>
                  </a:lnTo>
                  <a:lnTo>
                    <a:pt x="1518603" y="189268"/>
                  </a:lnTo>
                  <a:lnTo>
                    <a:pt x="1518603" y="189954"/>
                  </a:lnTo>
                  <a:lnTo>
                    <a:pt x="1518654" y="189954"/>
                  </a:lnTo>
                  <a:lnTo>
                    <a:pt x="1518654" y="189268"/>
                  </a:lnTo>
                  <a:lnTo>
                    <a:pt x="1518654" y="191351"/>
                  </a:lnTo>
                  <a:lnTo>
                    <a:pt x="1518654" y="189954"/>
                  </a:lnTo>
                  <a:lnTo>
                    <a:pt x="1518654" y="191351"/>
                  </a:lnTo>
                  <a:lnTo>
                    <a:pt x="1518654" y="189954"/>
                  </a:lnTo>
                  <a:lnTo>
                    <a:pt x="1518743" y="189954"/>
                  </a:lnTo>
                  <a:lnTo>
                    <a:pt x="1518743" y="191351"/>
                  </a:lnTo>
                  <a:lnTo>
                    <a:pt x="1518743" y="189954"/>
                  </a:lnTo>
                  <a:lnTo>
                    <a:pt x="1518743" y="192684"/>
                  </a:lnTo>
                  <a:lnTo>
                    <a:pt x="1518743" y="191986"/>
                  </a:lnTo>
                  <a:lnTo>
                    <a:pt x="1518794" y="191986"/>
                  </a:lnTo>
                  <a:lnTo>
                    <a:pt x="1518794" y="192684"/>
                  </a:lnTo>
                  <a:lnTo>
                    <a:pt x="1518794" y="191986"/>
                  </a:lnTo>
                  <a:lnTo>
                    <a:pt x="1518794" y="193383"/>
                  </a:lnTo>
                  <a:lnTo>
                    <a:pt x="1518794" y="192684"/>
                  </a:lnTo>
                  <a:lnTo>
                    <a:pt x="1518794" y="193383"/>
                  </a:lnTo>
                  <a:lnTo>
                    <a:pt x="1518794" y="192684"/>
                  </a:lnTo>
                  <a:lnTo>
                    <a:pt x="1518794" y="193383"/>
                  </a:lnTo>
                  <a:lnTo>
                    <a:pt x="1518844" y="193383"/>
                  </a:lnTo>
                  <a:lnTo>
                    <a:pt x="1518844" y="194716"/>
                  </a:lnTo>
                  <a:lnTo>
                    <a:pt x="1518844" y="193383"/>
                  </a:lnTo>
                  <a:lnTo>
                    <a:pt x="1518895" y="192684"/>
                  </a:lnTo>
                  <a:lnTo>
                    <a:pt x="1518895" y="193383"/>
                  </a:lnTo>
                  <a:lnTo>
                    <a:pt x="1518895" y="192684"/>
                  </a:lnTo>
                  <a:lnTo>
                    <a:pt x="1518895" y="193383"/>
                  </a:lnTo>
                  <a:lnTo>
                    <a:pt x="1518895" y="191986"/>
                  </a:lnTo>
                  <a:lnTo>
                    <a:pt x="1518997" y="191986"/>
                  </a:lnTo>
                  <a:lnTo>
                    <a:pt x="1518997" y="189954"/>
                  </a:lnTo>
                  <a:lnTo>
                    <a:pt x="1518997" y="191351"/>
                  </a:lnTo>
                  <a:lnTo>
                    <a:pt x="1518997" y="189268"/>
                  </a:lnTo>
                  <a:lnTo>
                    <a:pt x="1519047" y="189268"/>
                  </a:lnTo>
                  <a:lnTo>
                    <a:pt x="1519047" y="188620"/>
                  </a:lnTo>
                  <a:lnTo>
                    <a:pt x="1519047" y="189954"/>
                  </a:lnTo>
                  <a:lnTo>
                    <a:pt x="1519047" y="188620"/>
                  </a:lnTo>
                  <a:lnTo>
                    <a:pt x="1519098" y="188620"/>
                  </a:lnTo>
                  <a:lnTo>
                    <a:pt x="1519098" y="191351"/>
                  </a:lnTo>
                  <a:lnTo>
                    <a:pt x="1519098" y="189268"/>
                  </a:lnTo>
                  <a:lnTo>
                    <a:pt x="1519200" y="189954"/>
                  </a:lnTo>
                  <a:lnTo>
                    <a:pt x="1519200" y="191351"/>
                  </a:lnTo>
                  <a:lnTo>
                    <a:pt x="1519238" y="189954"/>
                  </a:lnTo>
                  <a:lnTo>
                    <a:pt x="1519238" y="191351"/>
                  </a:lnTo>
                  <a:lnTo>
                    <a:pt x="1519238" y="189954"/>
                  </a:lnTo>
                  <a:lnTo>
                    <a:pt x="1519238" y="191351"/>
                  </a:lnTo>
                  <a:lnTo>
                    <a:pt x="1519289" y="191351"/>
                  </a:lnTo>
                  <a:lnTo>
                    <a:pt x="1519289" y="191986"/>
                  </a:lnTo>
                  <a:lnTo>
                    <a:pt x="1519289" y="191351"/>
                  </a:lnTo>
                  <a:lnTo>
                    <a:pt x="1519289" y="191986"/>
                  </a:lnTo>
                  <a:lnTo>
                    <a:pt x="1519289" y="191351"/>
                  </a:lnTo>
                  <a:lnTo>
                    <a:pt x="1519289" y="192684"/>
                  </a:lnTo>
                  <a:lnTo>
                    <a:pt x="1519340" y="192684"/>
                  </a:lnTo>
                  <a:lnTo>
                    <a:pt x="1519340" y="191986"/>
                  </a:lnTo>
                  <a:lnTo>
                    <a:pt x="1519340" y="192684"/>
                  </a:lnTo>
                  <a:lnTo>
                    <a:pt x="1519441" y="192684"/>
                  </a:lnTo>
                  <a:lnTo>
                    <a:pt x="1519441" y="189954"/>
                  </a:lnTo>
                  <a:lnTo>
                    <a:pt x="1519441" y="191351"/>
                  </a:lnTo>
                  <a:lnTo>
                    <a:pt x="1519441" y="189954"/>
                  </a:lnTo>
                  <a:lnTo>
                    <a:pt x="1519492" y="189954"/>
                  </a:lnTo>
                  <a:lnTo>
                    <a:pt x="1519492" y="189268"/>
                  </a:lnTo>
                  <a:lnTo>
                    <a:pt x="1519543" y="189954"/>
                  </a:lnTo>
                  <a:lnTo>
                    <a:pt x="1519543" y="188620"/>
                  </a:lnTo>
                  <a:lnTo>
                    <a:pt x="1519543" y="191351"/>
                  </a:lnTo>
                  <a:lnTo>
                    <a:pt x="1519644" y="191351"/>
                  </a:lnTo>
                  <a:lnTo>
                    <a:pt x="1519644" y="189954"/>
                  </a:lnTo>
                  <a:lnTo>
                    <a:pt x="1519644" y="191351"/>
                  </a:lnTo>
                  <a:lnTo>
                    <a:pt x="1519644" y="189954"/>
                  </a:lnTo>
                  <a:lnTo>
                    <a:pt x="1519644" y="191351"/>
                  </a:lnTo>
                  <a:lnTo>
                    <a:pt x="1519644" y="189954"/>
                  </a:lnTo>
                  <a:lnTo>
                    <a:pt x="1519644" y="191351"/>
                  </a:lnTo>
                  <a:lnTo>
                    <a:pt x="1519695" y="189954"/>
                  </a:lnTo>
                  <a:lnTo>
                    <a:pt x="1519695" y="191351"/>
                  </a:lnTo>
                  <a:lnTo>
                    <a:pt x="1519695" y="189954"/>
                  </a:lnTo>
                  <a:lnTo>
                    <a:pt x="1519695" y="191351"/>
                  </a:lnTo>
                  <a:lnTo>
                    <a:pt x="1519746" y="191351"/>
                  </a:lnTo>
                  <a:lnTo>
                    <a:pt x="1519746" y="191986"/>
                  </a:lnTo>
                  <a:lnTo>
                    <a:pt x="1519746" y="191351"/>
                  </a:lnTo>
                  <a:lnTo>
                    <a:pt x="1519746" y="192684"/>
                  </a:lnTo>
                  <a:lnTo>
                    <a:pt x="1519784" y="192684"/>
                  </a:lnTo>
                  <a:lnTo>
                    <a:pt x="1519784" y="191986"/>
                  </a:lnTo>
                  <a:lnTo>
                    <a:pt x="1519784" y="193383"/>
                  </a:lnTo>
                  <a:lnTo>
                    <a:pt x="1519886" y="193383"/>
                  </a:lnTo>
                  <a:lnTo>
                    <a:pt x="1519886" y="192684"/>
                  </a:lnTo>
                  <a:lnTo>
                    <a:pt x="1519886" y="193383"/>
                  </a:lnTo>
                  <a:lnTo>
                    <a:pt x="1519886" y="192684"/>
                  </a:lnTo>
                  <a:lnTo>
                    <a:pt x="1519937" y="192684"/>
                  </a:lnTo>
                  <a:lnTo>
                    <a:pt x="1519937" y="191986"/>
                  </a:lnTo>
                  <a:lnTo>
                    <a:pt x="1519937" y="192684"/>
                  </a:lnTo>
                  <a:lnTo>
                    <a:pt x="1519937" y="191986"/>
                  </a:lnTo>
                  <a:lnTo>
                    <a:pt x="1519937" y="192684"/>
                  </a:lnTo>
                  <a:lnTo>
                    <a:pt x="1519937" y="189954"/>
                  </a:lnTo>
                  <a:lnTo>
                    <a:pt x="1519987" y="189954"/>
                  </a:lnTo>
                  <a:lnTo>
                    <a:pt x="1519987" y="188620"/>
                  </a:lnTo>
                  <a:lnTo>
                    <a:pt x="1519987" y="189268"/>
                  </a:lnTo>
                  <a:lnTo>
                    <a:pt x="1520089" y="189954"/>
                  </a:lnTo>
                  <a:lnTo>
                    <a:pt x="1520089" y="191351"/>
                  </a:lnTo>
                  <a:lnTo>
                    <a:pt x="1520089" y="189268"/>
                  </a:lnTo>
                  <a:lnTo>
                    <a:pt x="1520089" y="191351"/>
                  </a:lnTo>
                  <a:lnTo>
                    <a:pt x="1520140" y="191351"/>
                  </a:lnTo>
                  <a:lnTo>
                    <a:pt x="1520140" y="192684"/>
                  </a:lnTo>
                  <a:lnTo>
                    <a:pt x="1520190" y="192684"/>
                  </a:lnTo>
                  <a:lnTo>
                    <a:pt x="1520190" y="191986"/>
                  </a:lnTo>
                  <a:lnTo>
                    <a:pt x="1520190" y="193383"/>
                  </a:lnTo>
                  <a:lnTo>
                    <a:pt x="1520241" y="193383"/>
                  </a:lnTo>
                  <a:lnTo>
                    <a:pt x="1520241" y="194716"/>
                  </a:lnTo>
                  <a:lnTo>
                    <a:pt x="1520241" y="193383"/>
                  </a:lnTo>
                  <a:lnTo>
                    <a:pt x="1520381" y="193383"/>
                  </a:lnTo>
                  <a:lnTo>
                    <a:pt x="1520381" y="192684"/>
                  </a:lnTo>
                  <a:lnTo>
                    <a:pt x="1520381" y="193383"/>
                  </a:lnTo>
                  <a:lnTo>
                    <a:pt x="1520381" y="192684"/>
                  </a:lnTo>
                  <a:lnTo>
                    <a:pt x="1520432" y="192684"/>
                  </a:lnTo>
                  <a:lnTo>
                    <a:pt x="1520432" y="189268"/>
                  </a:lnTo>
                  <a:lnTo>
                    <a:pt x="1520483" y="189268"/>
                  </a:lnTo>
                  <a:lnTo>
                    <a:pt x="1520483" y="187223"/>
                  </a:lnTo>
                  <a:lnTo>
                    <a:pt x="1520483" y="189954"/>
                  </a:lnTo>
                  <a:lnTo>
                    <a:pt x="1520584" y="189268"/>
                  </a:lnTo>
                  <a:lnTo>
                    <a:pt x="1520584" y="187922"/>
                  </a:lnTo>
                  <a:lnTo>
                    <a:pt x="1520584" y="191351"/>
                  </a:lnTo>
                  <a:lnTo>
                    <a:pt x="1520635" y="191351"/>
                  </a:lnTo>
                  <a:lnTo>
                    <a:pt x="1520635" y="189268"/>
                  </a:lnTo>
                  <a:lnTo>
                    <a:pt x="1520635" y="191351"/>
                  </a:lnTo>
                  <a:lnTo>
                    <a:pt x="1520635" y="189954"/>
                  </a:lnTo>
                  <a:lnTo>
                    <a:pt x="1520635" y="191351"/>
                  </a:lnTo>
                  <a:lnTo>
                    <a:pt x="1520635" y="189954"/>
                  </a:lnTo>
                  <a:lnTo>
                    <a:pt x="1520686" y="191351"/>
                  </a:lnTo>
                  <a:lnTo>
                    <a:pt x="1520686" y="189954"/>
                  </a:lnTo>
                  <a:lnTo>
                    <a:pt x="1520686" y="191986"/>
                  </a:lnTo>
                  <a:lnTo>
                    <a:pt x="1520686" y="191351"/>
                  </a:lnTo>
                  <a:lnTo>
                    <a:pt x="1520787" y="191351"/>
                  </a:lnTo>
                  <a:lnTo>
                    <a:pt x="1520787" y="191986"/>
                  </a:lnTo>
                  <a:lnTo>
                    <a:pt x="1520787" y="191351"/>
                  </a:lnTo>
                  <a:lnTo>
                    <a:pt x="1520787" y="191986"/>
                  </a:lnTo>
                  <a:lnTo>
                    <a:pt x="1520787" y="191351"/>
                  </a:lnTo>
                  <a:lnTo>
                    <a:pt x="1520787" y="191986"/>
                  </a:lnTo>
                  <a:lnTo>
                    <a:pt x="1520825" y="192684"/>
                  </a:lnTo>
                  <a:lnTo>
                    <a:pt x="1520825" y="193383"/>
                  </a:lnTo>
                  <a:lnTo>
                    <a:pt x="1520825" y="192684"/>
                  </a:lnTo>
                  <a:lnTo>
                    <a:pt x="1520825" y="193383"/>
                  </a:lnTo>
                  <a:lnTo>
                    <a:pt x="1520876" y="193383"/>
                  </a:lnTo>
                  <a:lnTo>
                    <a:pt x="1520876" y="192684"/>
                  </a:lnTo>
                  <a:lnTo>
                    <a:pt x="1520876" y="193383"/>
                  </a:lnTo>
                  <a:lnTo>
                    <a:pt x="1520876" y="192684"/>
                  </a:lnTo>
                  <a:lnTo>
                    <a:pt x="1520876" y="193383"/>
                  </a:lnTo>
                  <a:lnTo>
                    <a:pt x="1520876" y="192684"/>
                  </a:lnTo>
                  <a:lnTo>
                    <a:pt x="1520927" y="191986"/>
                  </a:lnTo>
                  <a:lnTo>
                    <a:pt x="1520927" y="192684"/>
                  </a:lnTo>
                  <a:lnTo>
                    <a:pt x="1520927" y="189268"/>
                  </a:lnTo>
                  <a:lnTo>
                    <a:pt x="1521029" y="189268"/>
                  </a:lnTo>
                  <a:lnTo>
                    <a:pt x="1521029" y="188620"/>
                  </a:lnTo>
                  <a:lnTo>
                    <a:pt x="1521029" y="189268"/>
                  </a:lnTo>
                  <a:lnTo>
                    <a:pt x="1521080" y="189268"/>
                  </a:lnTo>
                  <a:lnTo>
                    <a:pt x="1521080" y="187922"/>
                  </a:lnTo>
                  <a:lnTo>
                    <a:pt x="1521080" y="189954"/>
                  </a:lnTo>
                  <a:lnTo>
                    <a:pt x="1521080" y="189268"/>
                  </a:lnTo>
                  <a:lnTo>
                    <a:pt x="1521130" y="189268"/>
                  </a:lnTo>
                  <a:lnTo>
                    <a:pt x="1521130" y="189954"/>
                  </a:lnTo>
                  <a:lnTo>
                    <a:pt x="1521130" y="189268"/>
                  </a:lnTo>
                  <a:lnTo>
                    <a:pt x="1521130" y="191351"/>
                  </a:lnTo>
                  <a:lnTo>
                    <a:pt x="1521130" y="189954"/>
                  </a:lnTo>
                  <a:lnTo>
                    <a:pt x="1521130" y="191351"/>
                  </a:lnTo>
                  <a:lnTo>
                    <a:pt x="1521130" y="189954"/>
                  </a:lnTo>
                  <a:lnTo>
                    <a:pt x="1521130" y="191351"/>
                  </a:lnTo>
                  <a:lnTo>
                    <a:pt x="1521232" y="189954"/>
                  </a:lnTo>
                  <a:lnTo>
                    <a:pt x="1521232" y="191351"/>
                  </a:lnTo>
                  <a:lnTo>
                    <a:pt x="1521283" y="191986"/>
                  </a:lnTo>
                  <a:lnTo>
                    <a:pt x="1521283" y="193383"/>
                  </a:lnTo>
                  <a:lnTo>
                    <a:pt x="1521334" y="193383"/>
                  </a:lnTo>
                  <a:lnTo>
                    <a:pt x="1521334" y="192684"/>
                  </a:lnTo>
                  <a:lnTo>
                    <a:pt x="1521334" y="193383"/>
                  </a:lnTo>
                  <a:lnTo>
                    <a:pt x="1521334" y="192684"/>
                  </a:lnTo>
                  <a:lnTo>
                    <a:pt x="1521334" y="194716"/>
                  </a:lnTo>
                  <a:lnTo>
                    <a:pt x="1521334" y="193383"/>
                  </a:lnTo>
                  <a:lnTo>
                    <a:pt x="1521372" y="193383"/>
                  </a:lnTo>
                  <a:lnTo>
                    <a:pt x="1521372" y="191986"/>
                  </a:lnTo>
                  <a:lnTo>
                    <a:pt x="1521473" y="191986"/>
                  </a:lnTo>
                  <a:lnTo>
                    <a:pt x="1521473" y="192684"/>
                  </a:lnTo>
                  <a:lnTo>
                    <a:pt x="1521473" y="188620"/>
                  </a:lnTo>
                  <a:lnTo>
                    <a:pt x="1521524" y="188620"/>
                  </a:lnTo>
                  <a:lnTo>
                    <a:pt x="1521524" y="189268"/>
                  </a:lnTo>
                  <a:lnTo>
                    <a:pt x="1521524" y="188620"/>
                  </a:lnTo>
                  <a:lnTo>
                    <a:pt x="1521524" y="189268"/>
                  </a:lnTo>
                  <a:lnTo>
                    <a:pt x="1521524" y="188620"/>
                  </a:lnTo>
                  <a:lnTo>
                    <a:pt x="1521575" y="188620"/>
                  </a:lnTo>
                  <a:lnTo>
                    <a:pt x="1521575" y="187922"/>
                  </a:lnTo>
                  <a:lnTo>
                    <a:pt x="1521575" y="191351"/>
                  </a:lnTo>
                  <a:lnTo>
                    <a:pt x="1521575" y="189954"/>
                  </a:lnTo>
                  <a:lnTo>
                    <a:pt x="1521575" y="191351"/>
                  </a:lnTo>
                  <a:lnTo>
                    <a:pt x="1521575" y="189954"/>
                  </a:lnTo>
                  <a:lnTo>
                    <a:pt x="1521676" y="189954"/>
                  </a:lnTo>
                  <a:lnTo>
                    <a:pt x="1521676" y="191351"/>
                  </a:lnTo>
                  <a:lnTo>
                    <a:pt x="1521676" y="189954"/>
                  </a:lnTo>
                  <a:lnTo>
                    <a:pt x="1521676" y="191351"/>
                  </a:lnTo>
                  <a:lnTo>
                    <a:pt x="1521676" y="189954"/>
                  </a:lnTo>
                  <a:lnTo>
                    <a:pt x="1521676" y="191351"/>
                  </a:lnTo>
                  <a:lnTo>
                    <a:pt x="1521676" y="189954"/>
                  </a:lnTo>
                  <a:lnTo>
                    <a:pt x="1521676" y="191351"/>
                  </a:lnTo>
                  <a:lnTo>
                    <a:pt x="1521676" y="189954"/>
                  </a:lnTo>
                  <a:lnTo>
                    <a:pt x="1521727" y="189954"/>
                  </a:lnTo>
                  <a:lnTo>
                    <a:pt x="1521727" y="191351"/>
                  </a:lnTo>
                  <a:lnTo>
                    <a:pt x="1521727" y="189954"/>
                  </a:lnTo>
                  <a:lnTo>
                    <a:pt x="1521727" y="191351"/>
                  </a:lnTo>
                  <a:lnTo>
                    <a:pt x="1521727" y="189954"/>
                  </a:lnTo>
                  <a:lnTo>
                    <a:pt x="1521727" y="191351"/>
                  </a:lnTo>
                  <a:lnTo>
                    <a:pt x="1521778" y="191351"/>
                  </a:lnTo>
                  <a:lnTo>
                    <a:pt x="1521778" y="192684"/>
                  </a:lnTo>
                  <a:lnTo>
                    <a:pt x="1521829" y="192684"/>
                  </a:lnTo>
                  <a:lnTo>
                    <a:pt x="1521829" y="193383"/>
                  </a:lnTo>
                  <a:lnTo>
                    <a:pt x="1521829" y="192684"/>
                  </a:lnTo>
                  <a:lnTo>
                    <a:pt x="1521829" y="194716"/>
                  </a:lnTo>
                  <a:lnTo>
                    <a:pt x="1521829" y="193383"/>
                  </a:lnTo>
                  <a:lnTo>
                    <a:pt x="1521829" y="194716"/>
                  </a:lnTo>
                  <a:lnTo>
                    <a:pt x="1521918" y="193383"/>
                  </a:lnTo>
                  <a:lnTo>
                    <a:pt x="1521918" y="192684"/>
                  </a:lnTo>
                  <a:lnTo>
                    <a:pt x="1521918" y="193383"/>
                  </a:lnTo>
                  <a:lnTo>
                    <a:pt x="1521918" y="192684"/>
                  </a:lnTo>
                  <a:lnTo>
                    <a:pt x="1521969" y="192684"/>
                  </a:lnTo>
                  <a:lnTo>
                    <a:pt x="1521969" y="189954"/>
                  </a:lnTo>
                  <a:lnTo>
                    <a:pt x="1521969" y="191351"/>
                  </a:lnTo>
                  <a:lnTo>
                    <a:pt x="1521969" y="189954"/>
                  </a:lnTo>
                  <a:lnTo>
                    <a:pt x="1522019" y="189954"/>
                  </a:lnTo>
                  <a:lnTo>
                    <a:pt x="1522019" y="189268"/>
                  </a:lnTo>
                  <a:lnTo>
                    <a:pt x="1522019" y="189954"/>
                  </a:lnTo>
                  <a:lnTo>
                    <a:pt x="1522019" y="188620"/>
                  </a:lnTo>
                  <a:lnTo>
                    <a:pt x="1522019" y="189268"/>
                  </a:lnTo>
                  <a:lnTo>
                    <a:pt x="1522070" y="188620"/>
                  </a:lnTo>
                  <a:lnTo>
                    <a:pt x="1522070" y="191351"/>
                  </a:lnTo>
                  <a:lnTo>
                    <a:pt x="1522070" y="189268"/>
                  </a:lnTo>
                  <a:lnTo>
                    <a:pt x="1522070" y="191351"/>
                  </a:lnTo>
                  <a:lnTo>
                    <a:pt x="1522172" y="191351"/>
                  </a:lnTo>
                  <a:lnTo>
                    <a:pt x="1522172" y="189954"/>
                  </a:lnTo>
                  <a:lnTo>
                    <a:pt x="1522172" y="191351"/>
                  </a:lnTo>
                  <a:lnTo>
                    <a:pt x="1522172" y="189268"/>
                  </a:lnTo>
                  <a:lnTo>
                    <a:pt x="1522172" y="189954"/>
                  </a:lnTo>
                  <a:lnTo>
                    <a:pt x="1522222" y="191351"/>
                  </a:lnTo>
                  <a:lnTo>
                    <a:pt x="1522222" y="189954"/>
                  </a:lnTo>
                  <a:lnTo>
                    <a:pt x="1522222" y="191351"/>
                  </a:lnTo>
                  <a:lnTo>
                    <a:pt x="1522222" y="189954"/>
                  </a:lnTo>
                  <a:lnTo>
                    <a:pt x="1522222" y="191351"/>
                  </a:lnTo>
                  <a:lnTo>
                    <a:pt x="1522222" y="189954"/>
                  </a:lnTo>
                  <a:lnTo>
                    <a:pt x="1522273" y="191351"/>
                  </a:lnTo>
                  <a:lnTo>
                    <a:pt x="1522273" y="189954"/>
                  </a:lnTo>
                  <a:lnTo>
                    <a:pt x="1522273" y="191351"/>
                  </a:lnTo>
                  <a:lnTo>
                    <a:pt x="1522273" y="189954"/>
                  </a:lnTo>
                  <a:lnTo>
                    <a:pt x="1522273" y="191351"/>
                  </a:lnTo>
                  <a:lnTo>
                    <a:pt x="1522375" y="191351"/>
                  </a:lnTo>
                  <a:lnTo>
                    <a:pt x="1522375" y="192684"/>
                  </a:lnTo>
                  <a:lnTo>
                    <a:pt x="1522375" y="191986"/>
                  </a:lnTo>
                  <a:lnTo>
                    <a:pt x="1522375" y="192684"/>
                  </a:lnTo>
                  <a:lnTo>
                    <a:pt x="1522413" y="192684"/>
                  </a:lnTo>
                  <a:lnTo>
                    <a:pt x="1522413" y="191986"/>
                  </a:lnTo>
                  <a:lnTo>
                    <a:pt x="1522413" y="192684"/>
                  </a:lnTo>
                  <a:lnTo>
                    <a:pt x="1522413" y="191351"/>
                  </a:lnTo>
                  <a:lnTo>
                    <a:pt x="1522464" y="191351"/>
                  </a:lnTo>
                  <a:lnTo>
                    <a:pt x="1522464" y="189268"/>
                  </a:lnTo>
                  <a:lnTo>
                    <a:pt x="1522464" y="191351"/>
                  </a:lnTo>
                  <a:lnTo>
                    <a:pt x="1522515" y="189954"/>
                  </a:lnTo>
                  <a:lnTo>
                    <a:pt x="1522515" y="188620"/>
                  </a:lnTo>
                  <a:lnTo>
                    <a:pt x="1522515" y="192684"/>
                  </a:lnTo>
                  <a:lnTo>
                    <a:pt x="1522616" y="192684"/>
                  </a:lnTo>
                  <a:lnTo>
                    <a:pt x="1522616" y="191351"/>
                  </a:lnTo>
                  <a:lnTo>
                    <a:pt x="1522616" y="193383"/>
                  </a:lnTo>
                  <a:lnTo>
                    <a:pt x="1522667" y="193383"/>
                  </a:lnTo>
                  <a:lnTo>
                    <a:pt x="1522667" y="192684"/>
                  </a:lnTo>
                  <a:lnTo>
                    <a:pt x="1522667" y="193383"/>
                  </a:lnTo>
                  <a:lnTo>
                    <a:pt x="1522667" y="192684"/>
                  </a:lnTo>
                  <a:lnTo>
                    <a:pt x="1522667" y="193383"/>
                  </a:lnTo>
                  <a:lnTo>
                    <a:pt x="1522667" y="192684"/>
                  </a:lnTo>
                  <a:lnTo>
                    <a:pt x="1522667" y="193383"/>
                  </a:lnTo>
                  <a:lnTo>
                    <a:pt x="1522667" y="192684"/>
                  </a:lnTo>
                  <a:lnTo>
                    <a:pt x="1522667" y="193383"/>
                  </a:lnTo>
                  <a:lnTo>
                    <a:pt x="1522718" y="193383"/>
                  </a:lnTo>
                  <a:lnTo>
                    <a:pt x="1522718" y="192684"/>
                  </a:lnTo>
                  <a:lnTo>
                    <a:pt x="1522718" y="193383"/>
                  </a:lnTo>
                  <a:lnTo>
                    <a:pt x="1522819" y="193383"/>
                  </a:lnTo>
                  <a:lnTo>
                    <a:pt x="1522819" y="194716"/>
                  </a:lnTo>
                  <a:lnTo>
                    <a:pt x="1522819" y="193383"/>
                  </a:lnTo>
                  <a:lnTo>
                    <a:pt x="1522819" y="194716"/>
                  </a:lnTo>
                  <a:lnTo>
                    <a:pt x="1522870" y="193383"/>
                  </a:lnTo>
                  <a:lnTo>
                    <a:pt x="1522870" y="194716"/>
                  </a:lnTo>
                  <a:lnTo>
                    <a:pt x="1522870" y="193383"/>
                  </a:lnTo>
                  <a:lnTo>
                    <a:pt x="1522870" y="194716"/>
                  </a:lnTo>
                  <a:lnTo>
                    <a:pt x="1522870" y="193383"/>
                  </a:lnTo>
                  <a:lnTo>
                    <a:pt x="1522870" y="194716"/>
                  </a:lnTo>
                  <a:lnTo>
                    <a:pt x="1522870" y="193383"/>
                  </a:lnTo>
                  <a:lnTo>
                    <a:pt x="1522870" y="194716"/>
                  </a:lnTo>
                  <a:lnTo>
                    <a:pt x="1522870" y="193383"/>
                  </a:lnTo>
                  <a:lnTo>
                    <a:pt x="1522921" y="193383"/>
                  </a:lnTo>
                  <a:lnTo>
                    <a:pt x="1522921" y="191986"/>
                  </a:lnTo>
                  <a:lnTo>
                    <a:pt x="1522959" y="191986"/>
                  </a:lnTo>
                  <a:lnTo>
                    <a:pt x="1522959" y="189954"/>
                  </a:lnTo>
                  <a:lnTo>
                    <a:pt x="1522959" y="192684"/>
                  </a:lnTo>
                  <a:lnTo>
                    <a:pt x="1522959" y="191986"/>
                  </a:lnTo>
                  <a:lnTo>
                    <a:pt x="1523061" y="191351"/>
                  </a:lnTo>
                  <a:lnTo>
                    <a:pt x="1523061" y="194716"/>
                  </a:lnTo>
                  <a:lnTo>
                    <a:pt x="1523061" y="193383"/>
                  </a:lnTo>
                  <a:lnTo>
                    <a:pt x="1523112" y="193383"/>
                  </a:lnTo>
                  <a:lnTo>
                    <a:pt x="1523112" y="196113"/>
                  </a:lnTo>
                  <a:lnTo>
                    <a:pt x="1523112" y="194716"/>
                  </a:lnTo>
                  <a:lnTo>
                    <a:pt x="1523112" y="195415"/>
                  </a:lnTo>
                  <a:lnTo>
                    <a:pt x="1523112" y="194716"/>
                  </a:lnTo>
                  <a:lnTo>
                    <a:pt x="1523162" y="194716"/>
                  </a:lnTo>
                  <a:lnTo>
                    <a:pt x="1523162" y="195415"/>
                  </a:lnTo>
                  <a:lnTo>
                    <a:pt x="1523162" y="194716"/>
                  </a:lnTo>
                  <a:lnTo>
                    <a:pt x="1523162" y="195415"/>
                  </a:lnTo>
                  <a:lnTo>
                    <a:pt x="1523162" y="194716"/>
                  </a:lnTo>
                  <a:lnTo>
                    <a:pt x="1523162" y="195415"/>
                  </a:lnTo>
                  <a:lnTo>
                    <a:pt x="1523162" y="194716"/>
                  </a:lnTo>
                  <a:lnTo>
                    <a:pt x="1523264" y="194716"/>
                  </a:lnTo>
                  <a:lnTo>
                    <a:pt x="1523264" y="195415"/>
                  </a:lnTo>
                  <a:lnTo>
                    <a:pt x="1523264" y="194716"/>
                  </a:lnTo>
                  <a:lnTo>
                    <a:pt x="1523264" y="195415"/>
                  </a:lnTo>
                  <a:lnTo>
                    <a:pt x="1523264" y="194716"/>
                  </a:lnTo>
                  <a:lnTo>
                    <a:pt x="1523264" y="195415"/>
                  </a:lnTo>
                  <a:lnTo>
                    <a:pt x="1523264" y="194716"/>
                  </a:lnTo>
                  <a:lnTo>
                    <a:pt x="1523315" y="194716"/>
                  </a:lnTo>
                  <a:lnTo>
                    <a:pt x="1523315" y="195415"/>
                  </a:lnTo>
                  <a:lnTo>
                    <a:pt x="1523315" y="194716"/>
                  </a:lnTo>
                  <a:lnTo>
                    <a:pt x="1523365" y="195415"/>
                  </a:lnTo>
                  <a:lnTo>
                    <a:pt x="1523365" y="193383"/>
                  </a:lnTo>
                  <a:lnTo>
                    <a:pt x="1523365" y="194716"/>
                  </a:lnTo>
                  <a:lnTo>
                    <a:pt x="1523365" y="192684"/>
                  </a:lnTo>
                  <a:lnTo>
                    <a:pt x="1523416" y="192684"/>
                  </a:lnTo>
                  <a:lnTo>
                    <a:pt x="1523416" y="191351"/>
                  </a:lnTo>
                  <a:lnTo>
                    <a:pt x="1523416" y="191986"/>
                  </a:lnTo>
                  <a:lnTo>
                    <a:pt x="1523416" y="189954"/>
                  </a:lnTo>
                  <a:lnTo>
                    <a:pt x="1523416" y="191351"/>
                  </a:lnTo>
                  <a:lnTo>
                    <a:pt x="1523505" y="191351"/>
                  </a:lnTo>
                  <a:lnTo>
                    <a:pt x="1523505" y="193383"/>
                  </a:lnTo>
                  <a:lnTo>
                    <a:pt x="1523505" y="191986"/>
                  </a:lnTo>
                  <a:lnTo>
                    <a:pt x="1523505" y="194716"/>
                  </a:lnTo>
                  <a:lnTo>
                    <a:pt x="1523556" y="195415"/>
                  </a:lnTo>
                  <a:lnTo>
                    <a:pt x="1523556" y="193383"/>
                  </a:lnTo>
                  <a:lnTo>
                    <a:pt x="1523556" y="195415"/>
                  </a:lnTo>
                  <a:lnTo>
                    <a:pt x="1523607" y="196113"/>
                  </a:lnTo>
                  <a:lnTo>
                    <a:pt x="1523607" y="194716"/>
                  </a:lnTo>
                  <a:lnTo>
                    <a:pt x="1523607" y="196113"/>
                  </a:lnTo>
                  <a:lnTo>
                    <a:pt x="1523607" y="195415"/>
                  </a:lnTo>
                  <a:lnTo>
                    <a:pt x="1523658" y="195415"/>
                  </a:lnTo>
                  <a:lnTo>
                    <a:pt x="1523658" y="194716"/>
                  </a:lnTo>
                  <a:lnTo>
                    <a:pt x="1523658" y="196113"/>
                  </a:lnTo>
                  <a:lnTo>
                    <a:pt x="1523759" y="195415"/>
                  </a:lnTo>
                  <a:lnTo>
                    <a:pt x="1523810" y="195415"/>
                  </a:lnTo>
                  <a:lnTo>
                    <a:pt x="1523810" y="194716"/>
                  </a:lnTo>
                  <a:lnTo>
                    <a:pt x="1523810" y="195415"/>
                  </a:lnTo>
                  <a:lnTo>
                    <a:pt x="1523810" y="194716"/>
                  </a:lnTo>
                  <a:lnTo>
                    <a:pt x="1523861" y="194716"/>
                  </a:lnTo>
                  <a:lnTo>
                    <a:pt x="1523861" y="193383"/>
                  </a:lnTo>
                  <a:lnTo>
                    <a:pt x="1523861" y="194716"/>
                  </a:lnTo>
                  <a:lnTo>
                    <a:pt x="1523861" y="192684"/>
                  </a:lnTo>
                  <a:lnTo>
                    <a:pt x="1523861" y="193383"/>
                  </a:lnTo>
                  <a:lnTo>
                    <a:pt x="1523861" y="192684"/>
                  </a:lnTo>
                  <a:lnTo>
                    <a:pt x="1523962" y="192684"/>
                  </a:lnTo>
                  <a:lnTo>
                    <a:pt x="1523962" y="191351"/>
                  </a:lnTo>
                  <a:lnTo>
                    <a:pt x="1523962" y="192684"/>
                  </a:lnTo>
                  <a:lnTo>
                    <a:pt x="1524000" y="192684"/>
                  </a:lnTo>
                  <a:lnTo>
                    <a:pt x="1524000" y="191986"/>
                  </a:lnTo>
                  <a:lnTo>
                    <a:pt x="1524000" y="195415"/>
                  </a:lnTo>
                  <a:lnTo>
                    <a:pt x="1524000" y="194716"/>
                  </a:lnTo>
                  <a:lnTo>
                    <a:pt x="1524051" y="193383"/>
                  </a:lnTo>
                  <a:lnTo>
                    <a:pt x="1524051" y="195415"/>
                  </a:lnTo>
                  <a:lnTo>
                    <a:pt x="1524051" y="194716"/>
                  </a:lnTo>
                  <a:lnTo>
                    <a:pt x="1524102" y="194716"/>
                  </a:lnTo>
                  <a:lnTo>
                    <a:pt x="1524102" y="195415"/>
                  </a:lnTo>
                  <a:lnTo>
                    <a:pt x="1524102" y="194716"/>
                  </a:lnTo>
                  <a:lnTo>
                    <a:pt x="1524102" y="195415"/>
                  </a:lnTo>
                  <a:lnTo>
                    <a:pt x="1524102" y="194716"/>
                  </a:lnTo>
                  <a:lnTo>
                    <a:pt x="1524102" y="195415"/>
                  </a:lnTo>
                  <a:lnTo>
                    <a:pt x="1524204" y="194716"/>
                  </a:lnTo>
                  <a:lnTo>
                    <a:pt x="1524204" y="195415"/>
                  </a:lnTo>
                  <a:lnTo>
                    <a:pt x="1524255" y="195415"/>
                  </a:lnTo>
                  <a:lnTo>
                    <a:pt x="1524255" y="196113"/>
                  </a:lnTo>
                  <a:lnTo>
                    <a:pt x="1524255" y="195415"/>
                  </a:lnTo>
                  <a:lnTo>
                    <a:pt x="1524255" y="196113"/>
                  </a:lnTo>
                  <a:lnTo>
                    <a:pt x="1524255" y="195415"/>
                  </a:lnTo>
                  <a:lnTo>
                    <a:pt x="1524255" y="196113"/>
                  </a:lnTo>
                  <a:lnTo>
                    <a:pt x="1524255" y="195415"/>
                  </a:lnTo>
                  <a:lnTo>
                    <a:pt x="1524305" y="195415"/>
                  </a:lnTo>
                  <a:lnTo>
                    <a:pt x="1524305" y="194716"/>
                  </a:lnTo>
                  <a:lnTo>
                    <a:pt x="1524305" y="195415"/>
                  </a:lnTo>
                  <a:lnTo>
                    <a:pt x="1524305" y="194716"/>
                  </a:lnTo>
                  <a:lnTo>
                    <a:pt x="1524305" y="195415"/>
                  </a:lnTo>
                  <a:lnTo>
                    <a:pt x="1524305" y="194716"/>
                  </a:lnTo>
                  <a:lnTo>
                    <a:pt x="1524407" y="194716"/>
                  </a:lnTo>
                  <a:lnTo>
                    <a:pt x="1524407" y="193383"/>
                  </a:lnTo>
                  <a:lnTo>
                    <a:pt x="1524407" y="194716"/>
                  </a:lnTo>
                  <a:lnTo>
                    <a:pt x="1524407" y="193383"/>
                  </a:lnTo>
                  <a:lnTo>
                    <a:pt x="1524407" y="194716"/>
                  </a:lnTo>
                  <a:lnTo>
                    <a:pt x="1524407" y="191986"/>
                  </a:lnTo>
                  <a:lnTo>
                    <a:pt x="1524407" y="192684"/>
                  </a:lnTo>
                  <a:lnTo>
                    <a:pt x="1524407" y="191986"/>
                  </a:lnTo>
                  <a:lnTo>
                    <a:pt x="1524458" y="191986"/>
                  </a:lnTo>
                  <a:lnTo>
                    <a:pt x="1524458" y="189268"/>
                  </a:lnTo>
                  <a:lnTo>
                    <a:pt x="1524458" y="191351"/>
                  </a:lnTo>
                  <a:lnTo>
                    <a:pt x="1524458" y="189954"/>
                  </a:lnTo>
                  <a:lnTo>
                    <a:pt x="1524509" y="189954"/>
                  </a:lnTo>
                  <a:lnTo>
                    <a:pt x="1524509" y="189268"/>
                  </a:lnTo>
                  <a:lnTo>
                    <a:pt x="1524509" y="192684"/>
                  </a:lnTo>
                  <a:lnTo>
                    <a:pt x="1524509" y="191986"/>
                  </a:lnTo>
                  <a:lnTo>
                    <a:pt x="1524547" y="191986"/>
                  </a:lnTo>
                  <a:lnTo>
                    <a:pt x="1524547" y="191351"/>
                  </a:lnTo>
                  <a:lnTo>
                    <a:pt x="1524547" y="193383"/>
                  </a:lnTo>
                  <a:lnTo>
                    <a:pt x="1524547" y="192684"/>
                  </a:lnTo>
                  <a:lnTo>
                    <a:pt x="1524547" y="194716"/>
                  </a:lnTo>
                  <a:lnTo>
                    <a:pt x="1524547" y="193383"/>
                  </a:lnTo>
                  <a:lnTo>
                    <a:pt x="1524648" y="193383"/>
                  </a:lnTo>
                  <a:lnTo>
                    <a:pt x="1524648" y="192684"/>
                  </a:lnTo>
                  <a:lnTo>
                    <a:pt x="1524648" y="194716"/>
                  </a:lnTo>
                  <a:lnTo>
                    <a:pt x="1524648" y="193383"/>
                  </a:lnTo>
                  <a:lnTo>
                    <a:pt x="1524648" y="194716"/>
                  </a:lnTo>
                  <a:lnTo>
                    <a:pt x="1524648" y="193383"/>
                  </a:lnTo>
                  <a:lnTo>
                    <a:pt x="1524648" y="194716"/>
                  </a:lnTo>
                  <a:lnTo>
                    <a:pt x="1524699" y="194716"/>
                  </a:lnTo>
                  <a:lnTo>
                    <a:pt x="1524699" y="195415"/>
                  </a:lnTo>
                  <a:lnTo>
                    <a:pt x="1524699" y="194716"/>
                  </a:lnTo>
                  <a:lnTo>
                    <a:pt x="1524699" y="195415"/>
                  </a:lnTo>
                  <a:lnTo>
                    <a:pt x="1524750" y="195415"/>
                  </a:lnTo>
                  <a:lnTo>
                    <a:pt x="1524750" y="196113"/>
                  </a:lnTo>
                  <a:lnTo>
                    <a:pt x="1524750" y="195415"/>
                  </a:lnTo>
                  <a:lnTo>
                    <a:pt x="1524750" y="196113"/>
                  </a:lnTo>
                  <a:lnTo>
                    <a:pt x="1524750" y="195415"/>
                  </a:lnTo>
                  <a:lnTo>
                    <a:pt x="1524851" y="195415"/>
                  </a:lnTo>
                  <a:lnTo>
                    <a:pt x="1524851" y="194716"/>
                  </a:lnTo>
                  <a:lnTo>
                    <a:pt x="1524902" y="194716"/>
                  </a:lnTo>
                  <a:lnTo>
                    <a:pt x="1524902" y="192684"/>
                  </a:lnTo>
                  <a:lnTo>
                    <a:pt x="1524953" y="192684"/>
                  </a:lnTo>
                  <a:lnTo>
                    <a:pt x="1524953" y="191351"/>
                  </a:lnTo>
                  <a:lnTo>
                    <a:pt x="1524953" y="191986"/>
                  </a:lnTo>
                  <a:lnTo>
                    <a:pt x="1524953" y="189954"/>
                  </a:lnTo>
                  <a:lnTo>
                    <a:pt x="1524953" y="191351"/>
                  </a:lnTo>
                  <a:lnTo>
                    <a:pt x="1525004" y="189954"/>
                  </a:lnTo>
                  <a:lnTo>
                    <a:pt x="1525004" y="192684"/>
                  </a:lnTo>
                  <a:lnTo>
                    <a:pt x="1525004" y="191986"/>
                  </a:lnTo>
                  <a:lnTo>
                    <a:pt x="1525004" y="192684"/>
                  </a:lnTo>
                  <a:lnTo>
                    <a:pt x="1525004" y="191986"/>
                  </a:lnTo>
                  <a:lnTo>
                    <a:pt x="1525093" y="191351"/>
                  </a:lnTo>
                  <a:lnTo>
                    <a:pt x="1525093" y="192684"/>
                  </a:lnTo>
                  <a:lnTo>
                    <a:pt x="1525093" y="191986"/>
                  </a:lnTo>
                  <a:lnTo>
                    <a:pt x="1525093" y="192684"/>
                  </a:lnTo>
                  <a:lnTo>
                    <a:pt x="1525144" y="192684"/>
                  </a:lnTo>
                  <a:lnTo>
                    <a:pt x="1525144" y="193383"/>
                  </a:lnTo>
                  <a:lnTo>
                    <a:pt x="1525144" y="192684"/>
                  </a:lnTo>
                  <a:lnTo>
                    <a:pt x="1525194" y="192684"/>
                  </a:lnTo>
                  <a:lnTo>
                    <a:pt x="1525194" y="193383"/>
                  </a:lnTo>
                  <a:lnTo>
                    <a:pt x="1525194" y="192684"/>
                  </a:lnTo>
                  <a:lnTo>
                    <a:pt x="1525194" y="194716"/>
                  </a:lnTo>
                  <a:lnTo>
                    <a:pt x="1525194" y="193383"/>
                  </a:lnTo>
                  <a:lnTo>
                    <a:pt x="1525245" y="194716"/>
                  </a:lnTo>
                  <a:lnTo>
                    <a:pt x="1525245" y="193383"/>
                  </a:lnTo>
                  <a:lnTo>
                    <a:pt x="1525245" y="194716"/>
                  </a:lnTo>
                  <a:lnTo>
                    <a:pt x="1525245" y="193383"/>
                  </a:lnTo>
                  <a:lnTo>
                    <a:pt x="1525245" y="194716"/>
                  </a:lnTo>
                  <a:lnTo>
                    <a:pt x="1525347" y="194716"/>
                  </a:lnTo>
                  <a:lnTo>
                    <a:pt x="1525347" y="193383"/>
                  </a:lnTo>
                  <a:lnTo>
                    <a:pt x="1525347" y="194716"/>
                  </a:lnTo>
                  <a:lnTo>
                    <a:pt x="1525347" y="193383"/>
                  </a:lnTo>
                  <a:lnTo>
                    <a:pt x="1525397" y="192684"/>
                  </a:lnTo>
                  <a:lnTo>
                    <a:pt x="1525397" y="193383"/>
                  </a:lnTo>
                  <a:lnTo>
                    <a:pt x="1525397" y="192684"/>
                  </a:lnTo>
                  <a:lnTo>
                    <a:pt x="1525397" y="193383"/>
                  </a:lnTo>
                  <a:lnTo>
                    <a:pt x="1525397" y="191351"/>
                  </a:lnTo>
                  <a:lnTo>
                    <a:pt x="1525397" y="191986"/>
                  </a:lnTo>
                  <a:lnTo>
                    <a:pt x="1525448" y="191986"/>
                  </a:lnTo>
                  <a:lnTo>
                    <a:pt x="1525448" y="192684"/>
                  </a:lnTo>
                  <a:lnTo>
                    <a:pt x="1525448" y="191351"/>
                  </a:lnTo>
                  <a:lnTo>
                    <a:pt x="1525448" y="192684"/>
                  </a:lnTo>
                  <a:lnTo>
                    <a:pt x="1525550" y="193383"/>
                  </a:lnTo>
                  <a:lnTo>
                    <a:pt x="1525550" y="194716"/>
                  </a:lnTo>
                  <a:lnTo>
                    <a:pt x="1525550" y="193383"/>
                  </a:lnTo>
                  <a:lnTo>
                    <a:pt x="1525550" y="194716"/>
                  </a:lnTo>
                  <a:lnTo>
                    <a:pt x="1525588" y="194716"/>
                  </a:lnTo>
                  <a:lnTo>
                    <a:pt x="1525588" y="193383"/>
                  </a:lnTo>
                  <a:lnTo>
                    <a:pt x="1525588" y="194716"/>
                  </a:lnTo>
                  <a:lnTo>
                    <a:pt x="1525588" y="193383"/>
                  </a:lnTo>
                  <a:lnTo>
                    <a:pt x="1525588" y="194716"/>
                  </a:lnTo>
                  <a:lnTo>
                    <a:pt x="1525639" y="194716"/>
                  </a:lnTo>
                  <a:lnTo>
                    <a:pt x="1525639" y="193383"/>
                  </a:lnTo>
                  <a:lnTo>
                    <a:pt x="1525639" y="195415"/>
                  </a:lnTo>
                  <a:lnTo>
                    <a:pt x="1525639" y="193383"/>
                  </a:lnTo>
                  <a:lnTo>
                    <a:pt x="1525639" y="195415"/>
                  </a:lnTo>
                  <a:lnTo>
                    <a:pt x="1525639" y="194716"/>
                  </a:lnTo>
                  <a:lnTo>
                    <a:pt x="1525690" y="194716"/>
                  </a:lnTo>
                  <a:lnTo>
                    <a:pt x="1525690" y="193383"/>
                  </a:lnTo>
                  <a:lnTo>
                    <a:pt x="1525690" y="194716"/>
                  </a:lnTo>
                  <a:lnTo>
                    <a:pt x="1525842" y="194716"/>
                  </a:lnTo>
                  <a:lnTo>
                    <a:pt x="1525842" y="193383"/>
                  </a:lnTo>
                  <a:lnTo>
                    <a:pt x="1525842" y="194716"/>
                  </a:lnTo>
                  <a:lnTo>
                    <a:pt x="1525842" y="192684"/>
                  </a:lnTo>
                  <a:lnTo>
                    <a:pt x="1525842" y="193383"/>
                  </a:lnTo>
                  <a:lnTo>
                    <a:pt x="1525893" y="193383"/>
                  </a:lnTo>
                  <a:lnTo>
                    <a:pt x="1525893" y="191986"/>
                  </a:lnTo>
                  <a:lnTo>
                    <a:pt x="1525893" y="194716"/>
                  </a:lnTo>
                  <a:lnTo>
                    <a:pt x="1525994" y="194716"/>
                  </a:lnTo>
                  <a:lnTo>
                    <a:pt x="1525994" y="191986"/>
                  </a:lnTo>
                  <a:lnTo>
                    <a:pt x="1525994" y="196113"/>
                  </a:lnTo>
                  <a:lnTo>
                    <a:pt x="1525994" y="195415"/>
                  </a:lnTo>
                  <a:lnTo>
                    <a:pt x="1525994" y="196113"/>
                  </a:lnTo>
                  <a:lnTo>
                    <a:pt x="1525994" y="195415"/>
                  </a:lnTo>
                  <a:lnTo>
                    <a:pt x="1526045" y="195415"/>
                  </a:lnTo>
                  <a:lnTo>
                    <a:pt x="1526045" y="194716"/>
                  </a:lnTo>
                  <a:lnTo>
                    <a:pt x="1526045" y="195415"/>
                  </a:lnTo>
                  <a:lnTo>
                    <a:pt x="1526096" y="194716"/>
                  </a:lnTo>
                  <a:lnTo>
                    <a:pt x="1526096" y="195415"/>
                  </a:lnTo>
                  <a:lnTo>
                    <a:pt x="1526096" y="194716"/>
                  </a:lnTo>
                  <a:lnTo>
                    <a:pt x="1526096" y="195415"/>
                  </a:lnTo>
                  <a:lnTo>
                    <a:pt x="1526134" y="196113"/>
                  </a:lnTo>
                  <a:lnTo>
                    <a:pt x="1526134" y="194716"/>
                  </a:lnTo>
                  <a:lnTo>
                    <a:pt x="1526134" y="195415"/>
                  </a:lnTo>
                  <a:lnTo>
                    <a:pt x="1526236" y="195415"/>
                  </a:lnTo>
                  <a:lnTo>
                    <a:pt x="1526236" y="194716"/>
                  </a:lnTo>
                  <a:lnTo>
                    <a:pt x="1526236" y="195415"/>
                  </a:lnTo>
                  <a:lnTo>
                    <a:pt x="1526287" y="194716"/>
                  </a:lnTo>
                  <a:lnTo>
                    <a:pt x="1526287" y="195415"/>
                  </a:lnTo>
                  <a:lnTo>
                    <a:pt x="1526287" y="193383"/>
                  </a:lnTo>
                  <a:lnTo>
                    <a:pt x="1526337" y="193383"/>
                  </a:lnTo>
                  <a:lnTo>
                    <a:pt x="1526337" y="192684"/>
                  </a:lnTo>
                  <a:lnTo>
                    <a:pt x="1526337" y="193383"/>
                  </a:lnTo>
                  <a:lnTo>
                    <a:pt x="1526337" y="192684"/>
                  </a:lnTo>
                  <a:lnTo>
                    <a:pt x="1526337" y="193383"/>
                  </a:lnTo>
                  <a:lnTo>
                    <a:pt x="1526337" y="189954"/>
                  </a:lnTo>
                  <a:lnTo>
                    <a:pt x="1526439" y="189954"/>
                  </a:lnTo>
                  <a:lnTo>
                    <a:pt x="1526439" y="189268"/>
                  </a:lnTo>
                  <a:lnTo>
                    <a:pt x="1526439" y="192684"/>
                  </a:lnTo>
                  <a:lnTo>
                    <a:pt x="1526439" y="191351"/>
                  </a:lnTo>
                  <a:lnTo>
                    <a:pt x="1526490" y="189954"/>
                  </a:lnTo>
                  <a:lnTo>
                    <a:pt x="1526490" y="189268"/>
                  </a:lnTo>
                  <a:lnTo>
                    <a:pt x="1526490" y="194716"/>
                  </a:lnTo>
                  <a:lnTo>
                    <a:pt x="1526490" y="192684"/>
                  </a:lnTo>
                  <a:lnTo>
                    <a:pt x="1526490" y="193383"/>
                  </a:lnTo>
                  <a:lnTo>
                    <a:pt x="1526490" y="192684"/>
                  </a:lnTo>
                  <a:lnTo>
                    <a:pt x="1526540" y="193383"/>
                  </a:lnTo>
                  <a:lnTo>
                    <a:pt x="1526540" y="192684"/>
                  </a:lnTo>
                  <a:lnTo>
                    <a:pt x="1526540" y="195415"/>
                  </a:lnTo>
                  <a:lnTo>
                    <a:pt x="1526540" y="193383"/>
                  </a:lnTo>
                  <a:lnTo>
                    <a:pt x="1526591" y="193383"/>
                  </a:lnTo>
                  <a:lnTo>
                    <a:pt x="1526591" y="195415"/>
                  </a:lnTo>
                  <a:lnTo>
                    <a:pt x="1526591" y="194716"/>
                  </a:lnTo>
                  <a:lnTo>
                    <a:pt x="1526591" y="195415"/>
                  </a:lnTo>
                  <a:lnTo>
                    <a:pt x="1526680" y="195415"/>
                  </a:lnTo>
                  <a:lnTo>
                    <a:pt x="1526680" y="196113"/>
                  </a:lnTo>
                  <a:lnTo>
                    <a:pt x="1526680" y="195415"/>
                  </a:lnTo>
                  <a:lnTo>
                    <a:pt x="1526680" y="196113"/>
                  </a:lnTo>
                  <a:lnTo>
                    <a:pt x="1526680" y="195415"/>
                  </a:lnTo>
                  <a:lnTo>
                    <a:pt x="1526731" y="196113"/>
                  </a:lnTo>
                  <a:lnTo>
                    <a:pt x="1526731" y="195415"/>
                  </a:lnTo>
                  <a:lnTo>
                    <a:pt x="1526731" y="196113"/>
                  </a:lnTo>
                  <a:lnTo>
                    <a:pt x="1526731" y="195415"/>
                  </a:lnTo>
                  <a:lnTo>
                    <a:pt x="1526731" y="196113"/>
                  </a:lnTo>
                  <a:lnTo>
                    <a:pt x="1526731" y="195415"/>
                  </a:lnTo>
                  <a:lnTo>
                    <a:pt x="1526782" y="194716"/>
                  </a:lnTo>
                  <a:lnTo>
                    <a:pt x="1526782" y="195415"/>
                  </a:lnTo>
                  <a:lnTo>
                    <a:pt x="1526782" y="193383"/>
                  </a:lnTo>
                  <a:lnTo>
                    <a:pt x="1526833" y="193383"/>
                  </a:lnTo>
                  <a:lnTo>
                    <a:pt x="1526833" y="189954"/>
                  </a:lnTo>
                  <a:lnTo>
                    <a:pt x="1526934" y="189954"/>
                  </a:lnTo>
                  <a:lnTo>
                    <a:pt x="1526934" y="192684"/>
                  </a:lnTo>
                  <a:lnTo>
                    <a:pt x="1526934" y="189268"/>
                  </a:lnTo>
                  <a:lnTo>
                    <a:pt x="1526934" y="189954"/>
                  </a:lnTo>
                  <a:lnTo>
                    <a:pt x="1526985" y="189954"/>
                  </a:lnTo>
                  <a:lnTo>
                    <a:pt x="1526985" y="192684"/>
                  </a:lnTo>
                  <a:lnTo>
                    <a:pt x="1526985" y="191986"/>
                  </a:lnTo>
                  <a:lnTo>
                    <a:pt x="1526985" y="193383"/>
                  </a:lnTo>
                  <a:lnTo>
                    <a:pt x="1527036" y="193383"/>
                  </a:lnTo>
                  <a:lnTo>
                    <a:pt x="1527036" y="194716"/>
                  </a:lnTo>
                  <a:lnTo>
                    <a:pt x="1527036" y="193383"/>
                  </a:lnTo>
                  <a:lnTo>
                    <a:pt x="1527036" y="194716"/>
                  </a:lnTo>
                  <a:lnTo>
                    <a:pt x="1527036" y="192684"/>
                  </a:lnTo>
                  <a:lnTo>
                    <a:pt x="1527036" y="194716"/>
                  </a:lnTo>
                  <a:lnTo>
                    <a:pt x="1527137" y="194716"/>
                  </a:lnTo>
                  <a:lnTo>
                    <a:pt x="1527137" y="193383"/>
                  </a:lnTo>
                  <a:lnTo>
                    <a:pt x="1527137" y="194716"/>
                  </a:lnTo>
                  <a:lnTo>
                    <a:pt x="1527137" y="193383"/>
                  </a:lnTo>
                  <a:lnTo>
                    <a:pt x="1527137" y="194716"/>
                  </a:lnTo>
                  <a:lnTo>
                    <a:pt x="1527137" y="193383"/>
                  </a:lnTo>
                  <a:lnTo>
                    <a:pt x="1527137" y="195415"/>
                  </a:lnTo>
                  <a:lnTo>
                    <a:pt x="1527175" y="195415"/>
                  </a:lnTo>
                  <a:lnTo>
                    <a:pt x="1527175" y="196113"/>
                  </a:lnTo>
                  <a:lnTo>
                    <a:pt x="1527175" y="194716"/>
                  </a:lnTo>
                  <a:lnTo>
                    <a:pt x="1527175" y="195415"/>
                  </a:lnTo>
                  <a:lnTo>
                    <a:pt x="1527226" y="194716"/>
                  </a:lnTo>
                  <a:lnTo>
                    <a:pt x="1527226" y="195415"/>
                  </a:lnTo>
                  <a:lnTo>
                    <a:pt x="1527226" y="194716"/>
                  </a:lnTo>
                  <a:lnTo>
                    <a:pt x="1527226" y="195415"/>
                  </a:lnTo>
                  <a:lnTo>
                    <a:pt x="1527226" y="194716"/>
                  </a:lnTo>
                  <a:lnTo>
                    <a:pt x="1527277" y="195415"/>
                  </a:lnTo>
                  <a:lnTo>
                    <a:pt x="1527277" y="193383"/>
                  </a:lnTo>
                  <a:lnTo>
                    <a:pt x="1527277" y="194716"/>
                  </a:lnTo>
                  <a:lnTo>
                    <a:pt x="1527277" y="193383"/>
                  </a:lnTo>
                  <a:lnTo>
                    <a:pt x="1527379" y="193383"/>
                  </a:lnTo>
                  <a:lnTo>
                    <a:pt x="1527379" y="191986"/>
                  </a:lnTo>
                  <a:lnTo>
                    <a:pt x="1527379" y="192684"/>
                  </a:lnTo>
                  <a:lnTo>
                    <a:pt x="1527379" y="189954"/>
                  </a:lnTo>
                  <a:lnTo>
                    <a:pt x="1527430" y="189954"/>
                  </a:lnTo>
                  <a:lnTo>
                    <a:pt x="1527430" y="189268"/>
                  </a:lnTo>
                  <a:lnTo>
                    <a:pt x="1527430" y="191351"/>
                  </a:lnTo>
                  <a:lnTo>
                    <a:pt x="1527430" y="189954"/>
                  </a:lnTo>
                  <a:lnTo>
                    <a:pt x="1527430" y="191351"/>
                  </a:lnTo>
                  <a:lnTo>
                    <a:pt x="1527430" y="188620"/>
                  </a:lnTo>
                  <a:lnTo>
                    <a:pt x="1527430" y="189268"/>
                  </a:lnTo>
                  <a:lnTo>
                    <a:pt x="1527480" y="189268"/>
                  </a:lnTo>
                  <a:lnTo>
                    <a:pt x="1527480" y="189954"/>
                  </a:lnTo>
                  <a:lnTo>
                    <a:pt x="1527480" y="189268"/>
                  </a:lnTo>
                  <a:lnTo>
                    <a:pt x="1527480" y="191986"/>
                  </a:lnTo>
                  <a:lnTo>
                    <a:pt x="1527480" y="189954"/>
                  </a:lnTo>
                  <a:lnTo>
                    <a:pt x="1527582" y="191351"/>
                  </a:lnTo>
                  <a:lnTo>
                    <a:pt x="1527582" y="192684"/>
                  </a:lnTo>
                  <a:lnTo>
                    <a:pt x="1527582" y="191351"/>
                  </a:lnTo>
                  <a:lnTo>
                    <a:pt x="1527582" y="191986"/>
                  </a:lnTo>
                  <a:lnTo>
                    <a:pt x="1527582" y="191351"/>
                  </a:lnTo>
                  <a:lnTo>
                    <a:pt x="1527582" y="191986"/>
                  </a:lnTo>
                  <a:lnTo>
                    <a:pt x="1527633" y="191986"/>
                  </a:lnTo>
                  <a:lnTo>
                    <a:pt x="1527633" y="193383"/>
                  </a:lnTo>
                  <a:lnTo>
                    <a:pt x="1527633" y="192684"/>
                  </a:lnTo>
                  <a:lnTo>
                    <a:pt x="1527633" y="194716"/>
                  </a:lnTo>
                  <a:lnTo>
                    <a:pt x="1527633" y="193383"/>
                  </a:lnTo>
                  <a:lnTo>
                    <a:pt x="1527633" y="194716"/>
                  </a:lnTo>
                  <a:lnTo>
                    <a:pt x="1527633" y="193383"/>
                  </a:lnTo>
                  <a:lnTo>
                    <a:pt x="1527633" y="194716"/>
                  </a:lnTo>
                  <a:lnTo>
                    <a:pt x="1527684" y="194716"/>
                  </a:lnTo>
                  <a:lnTo>
                    <a:pt x="1527684" y="195415"/>
                  </a:lnTo>
                  <a:lnTo>
                    <a:pt x="1527684" y="194716"/>
                  </a:lnTo>
                  <a:lnTo>
                    <a:pt x="1527722" y="194716"/>
                  </a:lnTo>
                  <a:lnTo>
                    <a:pt x="1527722" y="195415"/>
                  </a:lnTo>
                  <a:lnTo>
                    <a:pt x="1527722" y="194716"/>
                  </a:lnTo>
                  <a:lnTo>
                    <a:pt x="1527823" y="194716"/>
                  </a:lnTo>
                  <a:lnTo>
                    <a:pt x="1527823" y="193383"/>
                  </a:lnTo>
                  <a:lnTo>
                    <a:pt x="1527874" y="193383"/>
                  </a:lnTo>
                  <a:lnTo>
                    <a:pt x="1527874" y="191351"/>
                  </a:lnTo>
                  <a:lnTo>
                    <a:pt x="1527874" y="191986"/>
                  </a:lnTo>
                  <a:lnTo>
                    <a:pt x="1527925" y="191986"/>
                  </a:lnTo>
                  <a:lnTo>
                    <a:pt x="1527925" y="193383"/>
                  </a:lnTo>
                  <a:lnTo>
                    <a:pt x="1527925" y="189268"/>
                  </a:lnTo>
                  <a:lnTo>
                    <a:pt x="1527925" y="192684"/>
                  </a:lnTo>
                  <a:lnTo>
                    <a:pt x="1528026" y="193383"/>
                  </a:lnTo>
                  <a:lnTo>
                    <a:pt x="1528026" y="191351"/>
                  </a:lnTo>
                  <a:lnTo>
                    <a:pt x="1528026" y="192684"/>
                  </a:lnTo>
                  <a:lnTo>
                    <a:pt x="1528077" y="192684"/>
                  </a:lnTo>
                  <a:lnTo>
                    <a:pt x="1528077" y="191986"/>
                  </a:lnTo>
                  <a:lnTo>
                    <a:pt x="1528077" y="192684"/>
                  </a:lnTo>
                  <a:lnTo>
                    <a:pt x="1528077" y="191986"/>
                  </a:lnTo>
                  <a:lnTo>
                    <a:pt x="1528077" y="192684"/>
                  </a:lnTo>
                  <a:lnTo>
                    <a:pt x="1528128" y="192684"/>
                  </a:lnTo>
                  <a:lnTo>
                    <a:pt x="1528128" y="193383"/>
                  </a:lnTo>
                  <a:lnTo>
                    <a:pt x="1528128" y="192684"/>
                  </a:lnTo>
                  <a:lnTo>
                    <a:pt x="1528128" y="193383"/>
                  </a:lnTo>
                  <a:lnTo>
                    <a:pt x="1528128" y="192684"/>
                  </a:lnTo>
                  <a:lnTo>
                    <a:pt x="1528128" y="193383"/>
                  </a:lnTo>
                  <a:lnTo>
                    <a:pt x="1528319" y="193383"/>
                  </a:lnTo>
                  <a:lnTo>
                    <a:pt x="1528319" y="192684"/>
                  </a:lnTo>
                  <a:lnTo>
                    <a:pt x="1528319" y="193383"/>
                  </a:lnTo>
                  <a:lnTo>
                    <a:pt x="1528319" y="191986"/>
                  </a:lnTo>
                  <a:lnTo>
                    <a:pt x="1528369" y="192684"/>
                  </a:lnTo>
                  <a:lnTo>
                    <a:pt x="1528369" y="191351"/>
                  </a:lnTo>
                  <a:lnTo>
                    <a:pt x="1528369" y="193383"/>
                  </a:lnTo>
                  <a:lnTo>
                    <a:pt x="1528369" y="192684"/>
                  </a:lnTo>
                  <a:lnTo>
                    <a:pt x="1528420" y="192684"/>
                  </a:lnTo>
                  <a:lnTo>
                    <a:pt x="1528420" y="189954"/>
                  </a:lnTo>
                  <a:lnTo>
                    <a:pt x="1528420" y="194716"/>
                  </a:lnTo>
                  <a:lnTo>
                    <a:pt x="1528420" y="193383"/>
                  </a:lnTo>
                  <a:lnTo>
                    <a:pt x="1528522" y="193383"/>
                  </a:lnTo>
                  <a:lnTo>
                    <a:pt x="1528522" y="191986"/>
                  </a:lnTo>
                  <a:lnTo>
                    <a:pt x="1528522" y="192684"/>
                  </a:lnTo>
                  <a:lnTo>
                    <a:pt x="1528522" y="191986"/>
                  </a:lnTo>
                  <a:lnTo>
                    <a:pt x="1528522" y="194716"/>
                  </a:lnTo>
                  <a:lnTo>
                    <a:pt x="1528522" y="193383"/>
                  </a:lnTo>
                  <a:lnTo>
                    <a:pt x="1528572" y="193383"/>
                  </a:lnTo>
                  <a:lnTo>
                    <a:pt x="1528572" y="192684"/>
                  </a:lnTo>
                  <a:lnTo>
                    <a:pt x="1528572" y="194716"/>
                  </a:lnTo>
                  <a:lnTo>
                    <a:pt x="1528623" y="193383"/>
                  </a:lnTo>
                  <a:lnTo>
                    <a:pt x="1528623" y="194716"/>
                  </a:lnTo>
                  <a:lnTo>
                    <a:pt x="1528623" y="193383"/>
                  </a:lnTo>
                  <a:lnTo>
                    <a:pt x="1528623" y="195415"/>
                  </a:lnTo>
                  <a:lnTo>
                    <a:pt x="1528623" y="194716"/>
                  </a:lnTo>
                  <a:lnTo>
                    <a:pt x="1528725" y="194716"/>
                  </a:lnTo>
                  <a:lnTo>
                    <a:pt x="1528725" y="193383"/>
                  </a:lnTo>
                  <a:lnTo>
                    <a:pt x="1528725" y="194716"/>
                  </a:lnTo>
                  <a:lnTo>
                    <a:pt x="1528763" y="194716"/>
                  </a:lnTo>
                  <a:lnTo>
                    <a:pt x="1528763" y="193383"/>
                  </a:lnTo>
                  <a:lnTo>
                    <a:pt x="1528814" y="193383"/>
                  </a:lnTo>
                  <a:lnTo>
                    <a:pt x="1528814" y="194716"/>
                  </a:lnTo>
                  <a:lnTo>
                    <a:pt x="1528814" y="192684"/>
                  </a:lnTo>
                  <a:lnTo>
                    <a:pt x="1528865" y="192684"/>
                  </a:lnTo>
                  <a:lnTo>
                    <a:pt x="1528865" y="193383"/>
                  </a:lnTo>
                  <a:lnTo>
                    <a:pt x="1528966" y="193383"/>
                  </a:lnTo>
                  <a:lnTo>
                    <a:pt x="1528966" y="192684"/>
                  </a:lnTo>
                  <a:lnTo>
                    <a:pt x="1528966" y="195415"/>
                  </a:lnTo>
                  <a:lnTo>
                    <a:pt x="1528966" y="193383"/>
                  </a:lnTo>
                  <a:lnTo>
                    <a:pt x="1529017" y="193383"/>
                  </a:lnTo>
                  <a:lnTo>
                    <a:pt x="1529017" y="194716"/>
                  </a:lnTo>
                  <a:lnTo>
                    <a:pt x="1529017" y="193383"/>
                  </a:lnTo>
                  <a:lnTo>
                    <a:pt x="1529017" y="195415"/>
                  </a:lnTo>
                  <a:lnTo>
                    <a:pt x="1529017" y="194716"/>
                  </a:lnTo>
                  <a:lnTo>
                    <a:pt x="1529068" y="194716"/>
                  </a:lnTo>
                  <a:lnTo>
                    <a:pt x="1529068" y="196113"/>
                  </a:lnTo>
                  <a:lnTo>
                    <a:pt x="1529068" y="195415"/>
                  </a:lnTo>
                  <a:lnTo>
                    <a:pt x="1529169" y="195415"/>
                  </a:lnTo>
                  <a:lnTo>
                    <a:pt x="1529169" y="194716"/>
                  </a:lnTo>
                  <a:lnTo>
                    <a:pt x="1529169" y="196113"/>
                  </a:lnTo>
                  <a:lnTo>
                    <a:pt x="1529169" y="194716"/>
                  </a:lnTo>
                  <a:lnTo>
                    <a:pt x="1529169" y="195415"/>
                  </a:lnTo>
                  <a:lnTo>
                    <a:pt x="1529169" y="194716"/>
                  </a:lnTo>
                  <a:lnTo>
                    <a:pt x="1529220" y="194716"/>
                  </a:lnTo>
                  <a:lnTo>
                    <a:pt x="1529220" y="195415"/>
                  </a:lnTo>
                  <a:lnTo>
                    <a:pt x="1529220" y="194716"/>
                  </a:lnTo>
                  <a:lnTo>
                    <a:pt x="1529220" y="195415"/>
                  </a:lnTo>
                  <a:lnTo>
                    <a:pt x="1529220" y="194716"/>
                  </a:lnTo>
                  <a:lnTo>
                    <a:pt x="1529220" y="195415"/>
                  </a:lnTo>
                  <a:lnTo>
                    <a:pt x="1529220" y="194716"/>
                  </a:lnTo>
                  <a:lnTo>
                    <a:pt x="1529271" y="194716"/>
                  </a:lnTo>
                  <a:lnTo>
                    <a:pt x="1529271" y="195415"/>
                  </a:lnTo>
                  <a:lnTo>
                    <a:pt x="1529271" y="193383"/>
                  </a:lnTo>
                  <a:lnTo>
                    <a:pt x="1529271" y="194716"/>
                  </a:lnTo>
                  <a:lnTo>
                    <a:pt x="1529271" y="193383"/>
                  </a:lnTo>
                  <a:lnTo>
                    <a:pt x="1529309" y="193383"/>
                  </a:lnTo>
                  <a:lnTo>
                    <a:pt x="1529309" y="189954"/>
                  </a:lnTo>
                  <a:lnTo>
                    <a:pt x="1529411" y="189954"/>
                  </a:lnTo>
                  <a:lnTo>
                    <a:pt x="1529411" y="189268"/>
                  </a:lnTo>
                  <a:lnTo>
                    <a:pt x="1529411" y="191351"/>
                  </a:lnTo>
                  <a:lnTo>
                    <a:pt x="1529462" y="189954"/>
                  </a:lnTo>
                  <a:lnTo>
                    <a:pt x="1529462" y="191351"/>
                  </a:lnTo>
                  <a:lnTo>
                    <a:pt x="1529462" y="189268"/>
                  </a:lnTo>
                  <a:lnTo>
                    <a:pt x="1529462" y="191351"/>
                  </a:lnTo>
                  <a:lnTo>
                    <a:pt x="1529512" y="191351"/>
                  </a:lnTo>
                  <a:lnTo>
                    <a:pt x="1529512" y="193383"/>
                  </a:lnTo>
                  <a:lnTo>
                    <a:pt x="1529512" y="192684"/>
                  </a:lnTo>
                  <a:lnTo>
                    <a:pt x="1529614" y="192684"/>
                  </a:lnTo>
                  <a:lnTo>
                    <a:pt x="1529614" y="194716"/>
                  </a:lnTo>
                  <a:lnTo>
                    <a:pt x="1529614" y="193383"/>
                  </a:lnTo>
                  <a:lnTo>
                    <a:pt x="1529614" y="194716"/>
                  </a:lnTo>
                  <a:lnTo>
                    <a:pt x="1529614" y="193383"/>
                  </a:lnTo>
                  <a:lnTo>
                    <a:pt x="1529614" y="194716"/>
                  </a:lnTo>
                  <a:lnTo>
                    <a:pt x="1529665" y="194716"/>
                  </a:lnTo>
                  <a:lnTo>
                    <a:pt x="1529665" y="195415"/>
                  </a:lnTo>
                  <a:lnTo>
                    <a:pt x="1529665" y="194716"/>
                  </a:lnTo>
                  <a:lnTo>
                    <a:pt x="1529665" y="195415"/>
                  </a:lnTo>
                  <a:lnTo>
                    <a:pt x="1529665" y="194716"/>
                  </a:lnTo>
                  <a:lnTo>
                    <a:pt x="1529715" y="195415"/>
                  </a:lnTo>
                  <a:lnTo>
                    <a:pt x="1529715" y="194716"/>
                  </a:lnTo>
                  <a:lnTo>
                    <a:pt x="1529766" y="194716"/>
                  </a:lnTo>
                  <a:lnTo>
                    <a:pt x="1529766" y="195415"/>
                  </a:lnTo>
                  <a:lnTo>
                    <a:pt x="1529766" y="194716"/>
                  </a:lnTo>
                  <a:lnTo>
                    <a:pt x="1529766" y="195415"/>
                  </a:lnTo>
                  <a:lnTo>
                    <a:pt x="1529766" y="193383"/>
                  </a:lnTo>
                  <a:lnTo>
                    <a:pt x="1529766" y="194716"/>
                  </a:lnTo>
                  <a:lnTo>
                    <a:pt x="1529766" y="193383"/>
                  </a:lnTo>
                  <a:lnTo>
                    <a:pt x="1529855" y="193383"/>
                  </a:lnTo>
                  <a:lnTo>
                    <a:pt x="1529855" y="189954"/>
                  </a:lnTo>
                  <a:lnTo>
                    <a:pt x="1529906" y="189954"/>
                  </a:lnTo>
                  <a:lnTo>
                    <a:pt x="1529906" y="191351"/>
                  </a:lnTo>
                  <a:lnTo>
                    <a:pt x="1529906" y="189954"/>
                  </a:lnTo>
                  <a:lnTo>
                    <a:pt x="1529906" y="191351"/>
                  </a:lnTo>
                  <a:lnTo>
                    <a:pt x="1529906" y="189954"/>
                  </a:lnTo>
                  <a:lnTo>
                    <a:pt x="1529906" y="191351"/>
                  </a:lnTo>
                  <a:lnTo>
                    <a:pt x="1529957" y="191351"/>
                  </a:lnTo>
                  <a:lnTo>
                    <a:pt x="1529957" y="193383"/>
                  </a:lnTo>
                  <a:lnTo>
                    <a:pt x="1529957" y="192684"/>
                  </a:lnTo>
                  <a:lnTo>
                    <a:pt x="1529957" y="193383"/>
                  </a:lnTo>
                  <a:lnTo>
                    <a:pt x="1529957" y="191986"/>
                  </a:lnTo>
                  <a:lnTo>
                    <a:pt x="1529957" y="192684"/>
                  </a:lnTo>
                  <a:lnTo>
                    <a:pt x="1530008" y="192684"/>
                  </a:lnTo>
                  <a:lnTo>
                    <a:pt x="1530008" y="194716"/>
                  </a:lnTo>
                  <a:lnTo>
                    <a:pt x="1530109" y="194716"/>
                  </a:lnTo>
                  <a:lnTo>
                    <a:pt x="1530109" y="193383"/>
                  </a:lnTo>
                  <a:lnTo>
                    <a:pt x="1530109" y="194716"/>
                  </a:lnTo>
                  <a:lnTo>
                    <a:pt x="1530109" y="193383"/>
                  </a:lnTo>
                  <a:lnTo>
                    <a:pt x="1530109" y="194716"/>
                  </a:lnTo>
                  <a:lnTo>
                    <a:pt x="1530160" y="194716"/>
                  </a:lnTo>
                  <a:lnTo>
                    <a:pt x="1530160" y="193383"/>
                  </a:lnTo>
                  <a:lnTo>
                    <a:pt x="1530160" y="195415"/>
                  </a:lnTo>
                  <a:lnTo>
                    <a:pt x="1530160" y="194716"/>
                  </a:lnTo>
                  <a:lnTo>
                    <a:pt x="1530160" y="195415"/>
                  </a:lnTo>
                  <a:lnTo>
                    <a:pt x="1530160" y="194716"/>
                  </a:lnTo>
                  <a:lnTo>
                    <a:pt x="1530211" y="194716"/>
                  </a:lnTo>
                  <a:lnTo>
                    <a:pt x="1530211" y="195415"/>
                  </a:lnTo>
                  <a:lnTo>
                    <a:pt x="1530211" y="194716"/>
                  </a:lnTo>
                  <a:lnTo>
                    <a:pt x="1530211" y="195415"/>
                  </a:lnTo>
                  <a:lnTo>
                    <a:pt x="1530312" y="195415"/>
                  </a:lnTo>
                  <a:lnTo>
                    <a:pt x="1530312" y="193383"/>
                  </a:lnTo>
                  <a:lnTo>
                    <a:pt x="1530312" y="194716"/>
                  </a:lnTo>
                  <a:lnTo>
                    <a:pt x="1530312" y="193383"/>
                  </a:lnTo>
                  <a:lnTo>
                    <a:pt x="1530312" y="194716"/>
                  </a:lnTo>
                  <a:lnTo>
                    <a:pt x="1530312" y="193383"/>
                  </a:lnTo>
                  <a:lnTo>
                    <a:pt x="1530312" y="194716"/>
                  </a:lnTo>
                  <a:lnTo>
                    <a:pt x="1530312" y="193383"/>
                  </a:lnTo>
                  <a:lnTo>
                    <a:pt x="1530350" y="193383"/>
                  </a:lnTo>
                  <a:lnTo>
                    <a:pt x="1530350" y="191351"/>
                  </a:lnTo>
                  <a:lnTo>
                    <a:pt x="1530350" y="191986"/>
                  </a:lnTo>
                  <a:lnTo>
                    <a:pt x="1530350" y="189954"/>
                  </a:lnTo>
                  <a:lnTo>
                    <a:pt x="1530350" y="191351"/>
                  </a:lnTo>
                  <a:lnTo>
                    <a:pt x="1530401" y="191986"/>
                  </a:lnTo>
                  <a:lnTo>
                    <a:pt x="1530401" y="192684"/>
                  </a:lnTo>
                  <a:lnTo>
                    <a:pt x="1530401" y="191351"/>
                  </a:lnTo>
                  <a:lnTo>
                    <a:pt x="1530401" y="193383"/>
                  </a:lnTo>
                  <a:lnTo>
                    <a:pt x="1530452" y="193383"/>
                  </a:lnTo>
                  <a:lnTo>
                    <a:pt x="1530452" y="191351"/>
                  </a:lnTo>
                  <a:lnTo>
                    <a:pt x="1530452" y="194716"/>
                  </a:lnTo>
                  <a:lnTo>
                    <a:pt x="1530554" y="194716"/>
                  </a:lnTo>
                  <a:lnTo>
                    <a:pt x="1530554" y="193383"/>
                  </a:lnTo>
                  <a:lnTo>
                    <a:pt x="1530554" y="194716"/>
                  </a:lnTo>
                  <a:lnTo>
                    <a:pt x="1530554" y="193383"/>
                  </a:lnTo>
                  <a:lnTo>
                    <a:pt x="1530554" y="195415"/>
                  </a:lnTo>
                  <a:lnTo>
                    <a:pt x="1530554" y="194716"/>
                  </a:lnTo>
                  <a:lnTo>
                    <a:pt x="1530605" y="193383"/>
                  </a:lnTo>
                  <a:lnTo>
                    <a:pt x="1530605" y="195415"/>
                  </a:lnTo>
                  <a:lnTo>
                    <a:pt x="1530605" y="194716"/>
                  </a:lnTo>
                  <a:lnTo>
                    <a:pt x="1530605" y="195415"/>
                  </a:lnTo>
                  <a:lnTo>
                    <a:pt x="1530655" y="195415"/>
                  </a:lnTo>
                  <a:lnTo>
                    <a:pt x="1530655" y="194716"/>
                  </a:lnTo>
                  <a:lnTo>
                    <a:pt x="1530655" y="195415"/>
                  </a:lnTo>
                  <a:lnTo>
                    <a:pt x="1530655" y="194716"/>
                  </a:lnTo>
                  <a:lnTo>
                    <a:pt x="1530655" y="196113"/>
                  </a:lnTo>
                  <a:lnTo>
                    <a:pt x="1530655" y="195415"/>
                  </a:lnTo>
                  <a:lnTo>
                    <a:pt x="1530757" y="195415"/>
                  </a:lnTo>
                  <a:lnTo>
                    <a:pt x="1530757" y="194716"/>
                  </a:lnTo>
                  <a:lnTo>
                    <a:pt x="1530757" y="195415"/>
                  </a:lnTo>
                  <a:lnTo>
                    <a:pt x="1530808" y="194716"/>
                  </a:lnTo>
                  <a:lnTo>
                    <a:pt x="1530808" y="193383"/>
                  </a:lnTo>
                  <a:lnTo>
                    <a:pt x="1530859" y="193383"/>
                  </a:lnTo>
                  <a:lnTo>
                    <a:pt x="1530859" y="192684"/>
                  </a:lnTo>
                  <a:lnTo>
                    <a:pt x="1530859" y="194716"/>
                  </a:lnTo>
                  <a:lnTo>
                    <a:pt x="1530859" y="193383"/>
                  </a:lnTo>
                  <a:lnTo>
                    <a:pt x="1530897" y="192684"/>
                  </a:lnTo>
                  <a:lnTo>
                    <a:pt x="1530897" y="196113"/>
                  </a:lnTo>
                  <a:lnTo>
                    <a:pt x="1530897" y="194716"/>
                  </a:lnTo>
                  <a:lnTo>
                    <a:pt x="1530998" y="193383"/>
                  </a:lnTo>
                  <a:lnTo>
                    <a:pt x="1530998" y="192684"/>
                  </a:lnTo>
                  <a:lnTo>
                    <a:pt x="1530998" y="195415"/>
                  </a:lnTo>
                  <a:lnTo>
                    <a:pt x="1530998" y="194716"/>
                  </a:lnTo>
                  <a:lnTo>
                    <a:pt x="1531049" y="194716"/>
                  </a:lnTo>
                  <a:lnTo>
                    <a:pt x="1531049" y="195415"/>
                  </a:lnTo>
                  <a:lnTo>
                    <a:pt x="1531049" y="194716"/>
                  </a:lnTo>
                  <a:lnTo>
                    <a:pt x="1531049" y="195415"/>
                  </a:lnTo>
                  <a:lnTo>
                    <a:pt x="1531049" y="194716"/>
                  </a:lnTo>
                  <a:lnTo>
                    <a:pt x="1531100" y="194716"/>
                  </a:lnTo>
                  <a:lnTo>
                    <a:pt x="1531100" y="195415"/>
                  </a:lnTo>
                  <a:lnTo>
                    <a:pt x="1531100" y="194716"/>
                  </a:lnTo>
                  <a:lnTo>
                    <a:pt x="1531100" y="195415"/>
                  </a:lnTo>
                  <a:lnTo>
                    <a:pt x="1531100" y="194716"/>
                  </a:lnTo>
                  <a:lnTo>
                    <a:pt x="1531100" y="195415"/>
                  </a:lnTo>
                  <a:lnTo>
                    <a:pt x="1531100" y="194716"/>
                  </a:lnTo>
                  <a:lnTo>
                    <a:pt x="1531100" y="195415"/>
                  </a:lnTo>
                  <a:lnTo>
                    <a:pt x="1531201" y="194716"/>
                  </a:lnTo>
                  <a:lnTo>
                    <a:pt x="1531201" y="195415"/>
                  </a:lnTo>
                  <a:lnTo>
                    <a:pt x="1531201" y="194716"/>
                  </a:lnTo>
                  <a:lnTo>
                    <a:pt x="1531252" y="194716"/>
                  </a:lnTo>
                  <a:lnTo>
                    <a:pt x="1531252" y="195415"/>
                  </a:lnTo>
                  <a:lnTo>
                    <a:pt x="1531252" y="193383"/>
                  </a:lnTo>
                  <a:lnTo>
                    <a:pt x="1531252" y="194716"/>
                  </a:lnTo>
                  <a:lnTo>
                    <a:pt x="1531252" y="193383"/>
                  </a:lnTo>
                  <a:lnTo>
                    <a:pt x="1531303" y="193383"/>
                  </a:lnTo>
                  <a:lnTo>
                    <a:pt x="1531303" y="191351"/>
                  </a:lnTo>
                  <a:lnTo>
                    <a:pt x="1531354" y="191351"/>
                  </a:lnTo>
                  <a:lnTo>
                    <a:pt x="1531354" y="189954"/>
                  </a:lnTo>
                  <a:lnTo>
                    <a:pt x="1531354" y="192684"/>
                  </a:lnTo>
                  <a:lnTo>
                    <a:pt x="1531354" y="191986"/>
                  </a:lnTo>
                  <a:lnTo>
                    <a:pt x="1531354" y="192684"/>
                  </a:lnTo>
                  <a:lnTo>
                    <a:pt x="1531354" y="191351"/>
                  </a:lnTo>
                  <a:lnTo>
                    <a:pt x="1531443" y="191351"/>
                  </a:lnTo>
                  <a:lnTo>
                    <a:pt x="1531443" y="194716"/>
                  </a:lnTo>
                  <a:lnTo>
                    <a:pt x="1531443" y="193383"/>
                  </a:lnTo>
                  <a:lnTo>
                    <a:pt x="1531494" y="193383"/>
                  </a:lnTo>
                  <a:lnTo>
                    <a:pt x="1531494" y="194716"/>
                  </a:lnTo>
                  <a:lnTo>
                    <a:pt x="1531494" y="193383"/>
                  </a:lnTo>
                  <a:lnTo>
                    <a:pt x="1531494" y="195415"/>
                  </a:lnTo>
                  <a:lnTo>
                    <a:pt x="1531494" y="194716"/>
                  </a:lnTo>
                  <a:lnTo>
                    <a:pt x="1531494" y="195415"/>
                  </a:lnTo>
                  <a:lnTo>
                    <a:pt x="1531544" y="195415"/>
                  </a:lnTo>
                  <a:lnTo>
                    <a:pt x="1531544" y="194716"/>
                  </a:lnTo>
                  <a:lnTo>
                    <a:pt x="1531544" y="195415"/>
                  </a:lnTo>
                  <a:lnTo>
                    <a:pt x="1531544" y="194716"/>
                  </a:lnTo>
                  <a:lnTo>
                    <a:pt x="1531544" y="195415"/>
                  </a:lnTo>
                  <a:lnTo>
                    <a:pt x="1531544" y="194716"/>
                  </a:lnTo>
                  <a:lnTo>
                    <a:pt x="1531595" y="194716"/>
                  </a:lnTo>
                  <a:lnTo>
                    <a:pt x="1531595" y="195415"/>
                  </a:lnTo>
                  <a:lnTo>
                    <a:pt x="1531697" y="195415"/>
                  </a:lnTo>
                  <a:lnTo>
                    <a:pt x="1531697" y="194716"/>
                  </a:lnTo>
                  <a:lnTo>
                    <a:pt x="1531697" y="195415"/>
                  </a:lnTo>
                  <a:lnTo>
                    <a:pt x="1531697" y="194716"/>
                  </a:lnTo>
                  <a:lnTo>
                    <a:pt x="1531697" y="195415"/>
                  </a:lnTo>
                  <a:lnTo>
                    <a:pt x="1531697" y="194716"/>
                  </a:lnTo>
                  <a:lnTo>
                    <a:pt x="1531697" y="195415"/>
                  </a:lnTo>
                  <a:lnTo>
                    <a:pt x="1531747" y="195415"/>
                  </a:lnTo>
                  <a:lnTo>
                    <a:pt x="1531747" y="194716"/>
                  </a:lnTo>
                  <a:lnTo>
                    <a:pt x="1531747" y="195415"/>
                  </a:lnTo>
                  <a:lnTo>
                    <a:pt x="1531747" y="194716"/>
                  </a:lnTo>
                  <a:lnTo>
                    <a:pt x="1531747" y="195415"/>
                  </a:lnTo>
                  <a:lnTo>
                    <a:pt x="1531747" y="193383"/>
                  </a:lnTo>
                  <a:lnTo>
                    <a:pt x="1531798" y="193383"/>
                  </a:lnTo>
                  <a:lnTo>
                    <a:pt x="1531798" y="189954"/>
                  </a:lnTo>
                  <a:lnTo>
                    <a:pt x="1531900" y="189954"/>
                  </a:lnTo>
                  <a:lnTo>
                    <a:pt x="1531900" y="191986"/>
                  </a:lnTo>
                  <a:lnTo>
                    <a:pt x="1531900" y="189954"/>
                  </a:lnTo>
                  <a:lnTo>
                    <a:pt x="1531938" y="189954"/>
                  </a:lnTo>
                  <a:lnTo>
                    <a:pt x="1531938" y="193383"/>
                  </a:lnTo>
                  <a:lnTo>
                    <a:pt x="1531938" y="191351"/>
                  </a:lnTo>
                  <a:lnTo>
                    <a:pt x="1531938" y="192684"/>
                  </a:lnTo>
                  <a:lnTo>
                    <a:pt x="1531989" y="193383"/>
                  </a:lnTo>
                  <a:lnTo>
                    <a:pt x="1531989" y="194716"/>
                  </a:lnTo>
                  <a:lnTo>
                    <a:pt x="1531989" y="193383"/>
                  </a:lnTo>
                  <a:lnTo>
                    <a:pt x="1531989" y="194716"/>
                  </a:lnTo>
                  <a:lnTo>
                    <a:pt x="1532040" y="194716"/>
                  </a:lnTo>
                  <a:lnTo>
                    <a:pt x="1532040" y="195415"/>
                  </a:lnTo>
                  <a:lnTo>
                    <a:pt x="1532040" y="194716"/>
                  </a:lnTo>
                  <a:lnTo>
                    <a:pt x="1532040" y="195415"/>
                  </a:lnTo>
                  <a:lnTo>
                    <a:pt x="1532040" y="194716"/>
                  </a:lnTo>
                  <a:lnTo>
                    <a:pt x="1532141" y="195415"/>
                  </a:lnTo>
                  <a:lnTo>
                    <a:pt x="1532141" y="194716"/>
                  </a:lnTo>
                  <a:lnTo>
                    <a:pt x="1532141" y="195415"/>
                  </a:lnTo>
                  <a:lnTo>
                    <a:pt x="1532141" y="194716"/>
                  </a:lnTo>
                  <a:lnTo>
                    <a:pt x="1532141" y="195415"/>
                  </a:lnTo>
                  <a:lnTo>
                    <a:pt x="1532192" y="195415"/>
                  </a:lnTo>
                  <a:lnTo>
                    <a:pt x="1532192" y="196113"/>
                  </a:lnTo>
                  <a:lnTo>
                    <a:pt x="1532192" y="195415"/>
                  </a:lnTo>
                  <a:lnTo>
                    <a:pt x="1532192" y="196113"/>
                  </a:lnTo>
                  <a:lnTo>
                    <a:pt x="1532192" y="194716"/>
                  </a:lnTo>
                  <a:lnTo>
                    <a:pt x="1532192" y="195415"/>
                  </a:lnTo>
                  <a:lnTo>
                    <a:pt x="1532243" y="194716"/>
                  </a:lnTo>
                  <a:lnTo>
                    <a:pt x="1532243" y="195415"/>
                  </a:lnTo>
                  <a:lnTo>
                    <a:pt x="1532243" y="194716"/>
                  </a:lnTo>
                  <a:lnTo>
                    <a:pt x="1532243" y="195415"/>
                  </a:lnTo>
                  <a:lnTo>
                    <a:pt x="1532243" y="194716"/>
                  </a:lnTo>
                  <a:lnTo>
                    <a:pt x="1532243" y="195415"/>
                  </a:lnTo>
                  <a:lnTo>
                    <a:pt x="1532243" y="193383"/>
                  </a:lnTo>
                  <a:lnTo>
                    <a:pt x="1532243" y="194716"/>
                  </a:lnTo>
                  <a:lnTo>
                    <a:pt x="1532243" y="193383"/>
                  </a:lnTo>
                  <a:lnTo>
                    <a:pt x="1532344" y="193383"/>
                  </a:lnTo>
                  <a:lnTo>
                    <a:pt x="1532344" y="188620"/>
                  </a:lnTo>
                  <a:lnTo>
                    <a:pt x="1532344" y="189268"/>
                  </a:lnTo>
                  <a:lnTo>
                    <a:pt x="1532395" y="189268"/>
                  </a:lnTo>
                  <a:lnTo>
                    <a:pt x="1532395" y="192684"/>
                  </a:lnTo>
                  <a:lnTo>
                    <a:pt x="1532395" y="189268"/>
                  </a:lnTo>
                  <a:lnTo>
                    <a:pt x="1532395" y="189954"/>
                  </a:lnTo>
                  <a:lnTo>
                    <a:pt x="1532395" y="189268"/>
                  </a:lnTo>
                  <a:lnTo>
                    <a:pt x="1532395" y="191986"/>
                  </a:lnTo>
                  <a:lnTo>
                    <a:pt x="1532446" y="192684"/>
                  </a:lnTo>
                  <a:lnTo>
                    <a:pt x="1532446" y="193383"/>
                  </a:lnTo>
                  <a:lnTo>
                    <a:pt x="1532446" y="191351"/>
                  </a:lnTo>
                  <a:lnTo>
                    <a:pt x="1532446" y="192684"/>
                  </a:lnTo>
                  <a:lnTo>
                    <a:pt x="1532446" y="191986"/>
                  </a:lnTo>
                  <a:lnTo>
                    <a:pt x="1532446" y="192684"/>
                  </a:lnTo>
                  <a:lnTo>
                    <a:pt x="1532484" y="193383"/>
                  </a:lnTo>
                  <a:lnTo>
                    <a:pt x="1532484" y="192684"/>
                  </a:lnTo>
                  <a:lnTo>
                    <a:pt x="1532484" y="194716"/>
                  </a:lnTo>
                  <a:lnTo>
                    <a:pt x="1532484" y="193383"/>
                  </a:lnTo>
                  <a:lnTo>
                    <a:pt x="1532484" y="194716"/>
                  </a:lnTo>
                  <a:lnTo>
                    <a:pt x="1532586" y="194716"/>
                  </a:lnTo>
                  <a:lnTo>
                    <a:pt x="1532586" y="193383"/>
                  </a:lnTo>
                  <a:lnTo>
                    <a:pt x="1532586" y="194716"/>
                  </a:lnTo>
                  <a:lnTo>
                    <a:pt x="1532637" y="194716"/>
                  </a:lnTo>
                  <a:lnTo>
                    <a:pt x="1532637" y="193383"/>
                  </a:lnTo>
                  <a:lnTo>
                    <a:pt x="1532637" y="195415"/>
                  </a:lnTo>
                  <a:lnTo>
                    <a:pt x="1532687" y="195415"/>
                  </a:lnTo>
                  <a:lnTo>
                    <a:pt x="1532687" y="194716"/>
                  </a:lnTo>
                  <a:lnTo>
                    <a:pt x="1532687" y="195415"/>
                  </a:lnTo>
                  <a:lnTo>
                    <a:pt x="1532687" y="194716"/>
                  </a:lnTo>
                  <a:lnTo>
                    <a:pt x="1532687" y="195415"/>
                  </a:lnTo>
                  <a:lnTo>
                    <a:pt x="1532687" y="194716"/>
                  </a:lnTo>
                  <a:lnTo>
                    <a:pt x="1532687" y="195415"/>
                  </a:lnTo>
                  <a:lnTo>
                    <a:pt x="1532687" y="194716"/>
                  </a:lnTo>
                  <a:lnTo>
                    <a:pt x="1532687" y="195415"/>
                  </a:lnTo>
                  <a:lnTo>
                    <a:pt x="1532789" y="195415"/>
                  </a:lnTo>
                  <a:lnTo>
                    <a:pt x="1532789" y="192684"/>
                  </a:lnTo>
                  <a:lnTo>
                    <a:pt x="1532840" y="192684"/>
                  </a:lnTo>
                  <a:lnTo>
                    <a:pt x="1532840" y="193383"/>
                  </a:lnTo>
                  <a:lnTo>
                    <a:pt x="1532840" y="189954"/>
                  </a:lnTo>
                  <a:lnTo>
                    <a:pt x="1532890" y="191351"/>
                  </a:lnTo>
                  <a:lnTo>
                    <a:pt x="1532890" y="189954"/>
                  </a:lnTo>
                  <a:lnTo>
                    <a:pt x="1532890" y="192684"/>
                  </a:lnTo>
                  <a:lnTo>
                    <a:pt x="1532941" y="192684"/>
                  </a:lnTo>
                  <a:lnTo>
                    <a:pt x="1532941" y="191986"/>
                  </a:lnTo>
                  <a:lnTo>
                    <a:pt x="1532941" y="193383"/>
                  </a:lnTo>
                  <a:lnTo>
                    <a:pt x="1533030" y="193383"/>
                  </a:lnTo>
                  <a:lnTo>
                    <a:pt x="1533030" y="192684"/>
                  </a:lnTo>
                  <a:lnTo>
                    <a:pt x="1533030" y="194716"/>
                  </a:lnTo>
                  <a:lnTo>
                    <a:pt x="1533081" y="193383"/>
                  </a:lnTo>
                  <a:lnTo>
                    <a:pt x="1533081" y="194716"/>
                  </a:lnTo>
                  <a:lnTo>
                    <a:pt x="1533081" y="193383"/>
                  </a:lnTo>
                  <a:lnTo>
                    <a:pt x="1533081" y="194716"/>
                  </a:lnTo>
                  <a:lnTo>
                    <a:pt x="1533081" y="193383"/>
                  </a:lnTo>
                  <a:lnTo>
                    <a:pt x="1533081" y="194716"/>
                  </a:lnTo>
                  <a:lnTo>
                    <a:pt x="1533132" y="194716"/>
                  </a:lnTo>
                  <a:lnTo>
                    <a:pt x="1533132" y="195415"/>
                  </a:lnTo>
                  <a:lnTo>
                    <a:pt x="1533132" y="194716"/>
                  </a:lnTo>
                  <a:lnTo>
                    <a:pt x="1533132" y="195415"/>
                  </a:lnTo>
                  <a:lnTo>
                    <a:pt x="1533183" y="195415"/>
                  </a:lnTo>
                  <a:lnTo>
                    <a:pt x="1533183" y="194716"/>
                  </a:lnTo>
                  <a:lnTo>
                    <a:pt x="1533183" y="195415"/>
                  </a:lnTo>
                  <a:lnTo>
                    <a:pt x="1533183" y="194716"/>
                  </a:lnTo>
                  <a:lnTo>
                    <a:pt x="1533183" y="195415"/>
                  </a:lnTo>
                  <a:lnTo>
                    <a:pt x="1533284" y="194716"/>
                  </a:lnTo>
                  <a:lnTo>
                    <a:pt x="1533284" y="192684"/>
                  </a:lnTo>
                  <a:lnTo>
                    <a:pt x="1533335" y="192684"/>
                  </a:lnTo>
                  <a:lnTo>
                    <a:pt x="1533335" y="188620"/>
                  </a:lnTo>
                  <a:lnTo>
                    <a:pt x="1533386" y="188620"/>
                  </a:lnTo>
                  <a:lnTo>
                    <a:pt x="1533386" y="189268"/>
                  </a:lnTo>
                  <a:lnTo>
                    <a:pt x="1533386" y="188620"/>
                  </a:lnTo>
                  <a:lnTo>
                    <a:pt x="1533386" y="189954"/>
                  </a:lnTo>
                  <a:lnTo>
                    <a:pt x="1533386" y="188620"/>
                  </a:lnTo>
                  <a:lnTo>
                    <a:pt x="1533386" y="189268"/>
                  </a:lnTo>
                  <a:lnTo>
                    <a:pt x="1533487" y="189268"/>
                  </a:lnTo>
                  <a:lnTo>
                    <a:pt x="1533487" y="191986"/>
                  </a:lnTo>
                  <a:lnTo>
                    <a:pt x="1533487" y="189954"/>
                  </a:lnTo>
                  <a:lnTo>
                    <a:pt x="1533487" y="191351"/>
                  </a:lnTo>
                  <a:lnTo>
                    <a:pt x="1533525" y="191351"/>
                  </a:lnTo>
                  <a:lnTo>
                    <a:pt x="1533525" y="191986"/>
                  </a:lnTo>
                  <a:lnTo>
                    <a:pt x="1533525" y="191351"/>
                  </a:lnTo>
                  <a:lnTo>
                    <a:pt x="1533525" y="191986"/>
                  </a:lnTo>
                  <a:lnTo>
                    <a:pt x="1533576" y="192684"/>
                  </a:lnTo>
                  <a:lnTo>
                    <a:pt x="1533576" y="193383"/>
                  </a:lnTo>
                  <a:lnTo>
                    <a:pt x="1533576" y="192684"/>
                  </a:lnTo>
                  <a:lnTo>
                    <a:pt x="1533576" y="194716"/>
                  </a:lnTo>
                  <a:lnTo>
                    <a:pt x="1533627" y="194716"/>
                  </a:lnTo>
                  <a:lnTo>
                    <a:pt x="1533627" y="193383"/>
                  </a:lnTo>
                  <a:lnTo>
                    <a:pt x="1533627" y="195415"/>
                  </a:lnTo>
                  <a:lnTo>
                    <a:pt x="1533627" y="194716"/>
                  </a:lnTo>
                  <a:lnTo>
                    <a:pt x="1533729" y="195415"/>
                  </a:lnTo>
                  <a:lnTo>
                    <a:pt x="1533729" y="194716"/>
                  </a:lnTo>
                  <a:lnTo>
                    <a:pt x="1533729" y="195415"/>
                  </a:lnTo>
                  <a:lnTo>
                    <a:pt x="1533729" y="194716"/>
                  </a:lnTo>
                  <a:lnTo>
                    <a:pt x="1533780" y="194716"/>
                  </a:lnTo>
                  <a:lnTo>
                    <a:pt x="1533780" y="192684"/>
                  </a:lnTo>
                  <a:lnTo>
                    <a:pt x="1533780" y="193383"/>
                  </a:lnTo>
                  <a:lnTo>
                    <a:pt x="1533780" y="192684"/>
                  </a:lnTo>
                  <a:lnTo>
                    <a:pt x="1533830" y="192684"/>
                  </a:lnTo>
                  <a:lnTo>
                    <a:pt x="1533830" y="189268"/>
                  </a:lnTo>
                  <a:lnTo>
                    <a:pt x="1533932" y="189954"/>
                  </a:lnTo>
                  <a:lnTo>
                    <a:pt x="1533932" y="191986"/>
                  </a:lnTo>
                  <a:lnTo>
                    <a:pt x="1533932" y="188620"/>
                  </a:lnTo>
                  <a:lnTo>
                    <a:pt x="1533932" y="189268"/>
                  </a:lnTo>
                  <a:lnTo>
                    <a:pt x="1533932" y="188620"/>
                  </a:lnTo>
                  <a:lnTo>
                    <a:pt x="1533932" y="189954"/>
                  </a:lnTo>
                  <a:lnTo>
                    <a:pt x="1533983" y="189954"/>
                  </a:lnTo>
                  <a:lnTo>
                    <a:pt x="1533983" y="192684"/>
                  </a:lnTo>
                  <a:lnTo>
                    <a:pt x="1533983" y="189268"/>
                  </a:lnTo>
                  <a:lnTo>
                    <a:pt x="1533983" y="189954"/>
                  </a:lnTo>
                  <a:lnTo>
                    <a:pt x="1533983" y="189268"/>
                  </a:lnTo>
                  <a:lnTo>
                    <a:pt x="1533983" y="189954"/>
                  </a:lnTo>
                  <a:lnTo>
                    <a:pt x="1534034" y="189954"/>
                  </a:lnTo>
                  <a:lnTo>
                    <a:pt x="1534034" y="191351"/>
                  </a:lnTo>
                  <a:lnTo>
                    <a:pt x="1534034" y="189954"/>
                  </a:lnTo>
                  <a:lnTo>
                    <a:pt x="1534034" y="191351"/>
                  </a:lnTo>
                  <a:lnTo>
                    <a:pt x="1534034" y="189954"/>
                  </a:lnTo>
                  <a:lnTo>
                    <a:pt x="1534034" y="191351"/>
                  </a:lnTo>
                  <a:lnTo>
                    <a:pt x="1534072" y="191351"/>
                  </a:lnTo>
                  <a:lnTo>
                    <a:pt x="1534072" y="189954"/>
                  </a:lnTo>
                  <a:lnTo>
                    <a:pt x="1534072" y="191351"/>
                  </a:lnTo>
                  <a:lnTo>
                    <a:pt x="1534173" y="191351"/>
                  </a:lnTo>
                  <a:lnTo>
                    <a:pt x="1534173" y="194716"/>
                  </a:lnTo>
                  <a:lnTo>
                    <a:pt x="1534224" y="193383"/>
                  </a:lnTo>
                  <a:lnTo>
                    <a:pt x="1534224" y="194716"/>
                  </a:lnTo>
                  <a:lnTo>
                    <a:pt x="1534224" y="193383"/>
                  </a:lnTo>
                  <a:lnTo>
                    <a:pt x="1534224" y="194716"/>
                  </a:lnTo>
                  <a:lnTo>
                    <a:pt x="1534224" y="193383"/>
                  </a:lnTo>
                  <a:lnTo>
                    <a:pt x="1534224" y="194716"/>
                  </a:lnTo>
                  <a:lnTo>
                    <a:pt x="1534224" y="193383"/>
                  </a:lnTo>
                  <a:lnTo>
                    <a:pt x="1534275" y="193383"/>
                  </a:lnTo>
                  <a:lnTo>
                    <a:pt x="1534275" y="192684"/>
                  </a:lnTo>
                  <a:lnTo>
                    <a:pt x="1534275" y="193383"/>
                  </a:lnTo>
                  <a:lnTo>
                    <a:pt x="1534376" y="192684"/>
                  </a:lnTo>
                  <a:lnTo>
                    <a:pt x="1534376" y="193383"/>
                  </a:lnTo>
                  <a:lnTo>
                    <a:pt x="1534376" y="191351"/>
                  </a:lnTo>
                  <a:lnTo>
                    <a:pt x="1534376" y="193383"/>
                  </a:lnTo>
                  <a:lnTo>
                    <a:pt x="1534427" y="192684"/>
                  </a:lnTo>
                  <a:lnTo>
                    <a:pt x="1534427" y="193383"/>
                  </a:lnTo>
                  <a:lnTo>
                    <a:pt x="1534427" y="191351"/>
                  </a:lnTo>
                  <a:lnTo>
                    <a:pt x="1534427" y="195415"/>
                  </a:lnTo>
                  <a:lnTo>
                    <a:pt x="1534478" y="195415"/>
                  </a:lnTo>
                  <a:lnTo>
                    <a:pt x="1534478" y="193383"/>
                  </a:lnTo>
                  <a:lnTo>
                    <a:pt x="1534478" y="195415"/>
                  </a:lnTo>
                  <a:lnTo>
                    <a:pt x="1534478" y="194716"/>
                  </a:lnTo>
                  <a:lnTo>
                    <a:pt x="1534529" y="194716"/>
                  </a:lnTo>
                  <a:lnTo>
                    <a:pt x="1534529" y="193383"/>
                  </a:lnTo>
                  <a:lnTo>
                    <a:pt x="1534529" y="194716"/>
                  </a:lnTo>
                  <a:lnTo>
                    <a:pt x="1534618" y="194716"/>
                  </a:lnTo>
                  <a:lnTo>
                    <a:pt x="1534618" y="195415"/>
                  </a:lnTo>
                  <a:lnTo>
                    <a:pt x="1534618" y="194716"/>
                  </a:lnTo>
                  <a:lnTo>
                    <a:pt x="1534618" y="195415"/>
                  </a:lnTo>
                  <a:lnTo>
                    <a:pt x="1534618" y="194716"/>
                  </a:lnTo>
                  <a:lnTo>
                    <a:pt x="1534669" y="194716"/>
                  </a:lnTo>
                  <a:lnTo>
                    <a:pt x="1534669" y="195415"/>
                  </a:lnTo>
                  <a:lnTo>
                    <a:pt x="1534669" y="194716"/>
                  </a:lnTo>
                  <a:lnTo>
                    <a:pt x="1534669" y="195415"/>
                  </a:lnTo>
                  <a:lnTo>
                    <a:pt x="1534719" y="195415"/>
                  </a:lnTo>
                  <a:lnTo>
                    <a:pt x="1534719" y="194716"/>
                  </a:lnTo>
                  <a:lnTo>
                    <a:pt x="1534719" y="195415"/>
                  </a:lnTo>
                  <a:lnTo>
                    <a:pt x="1534719" y="193383"/>
                  </a:lnTo>
                  <a:lnTo>
                    <a:pt x="1534770" y="194716"/>
                  </a:lnTo>
                  <a:lnTo>
                    <a:pt x="1534770" y="193383"/>
                  </a:lnTo>
                  <a:lnTo>
                    <a:pt x="1534770" y="194716"/>
                  </a:lnTo>
                  <a:lnTo>
                    <a:pt x="1534872" y="194716"/>
                  </a:lnTo>
                  <a:lnTo>
                    <a:pt x="1534872" y="195415"/>
                  </a:lnTo>
                  <a:lnTo>
                    <a:pt x="1534872" y="194716"/>
                  </a:lnTo>
                  <a:lnTo>
                    <a:pt x="1534872" y="195415"/>
                  </a:lnTo>
                  <a:lnTo>
                    <a:pt x="1534872" y="194716"/>
                  </a:lnTo>
                  <a:lnTo>
                    <a:pt x="1534872" y="196799"/>
                  </a:lnTo>
                  <a:lnTo>
                    <a:pt x="1534922" y="196799"/>
                  </a:lnTo>
                  <a:lnTo>
                    <a:pt x="1534922" y="196113"/>
                  </a:lnTo>
                  <a:lnTo>
                    <a:pt x="1534922" y="197447"/>
                  </a:lnTo>
                  <a:lnTo>
                    <a:pt x="1534973" y="197447"/>
                  </a:lnTo>
                  <a:lnTo>
                    <a:pt x="1534973" y="196799"/>
                  </a:lnTo>
                  <a:lnTo>
                    <a:pt x="1534973" y="197447"/>
                  </a:lnTo>
                  <a:lnTo>
                    <a:pt x="1534973" y="196799"/>
                  </a:lnTo>
                  <a:lnTo>
                    <a:pt x="1535075" y="196799"/>
                  </a:lnTo>
                  <a:lnTo>
                    <a:pt x="1535075" y="196113"/>
                  </a:lnTo>
                  <a:lnTo>
                    <a:pt x="1535075" y="196799"/>
                  </a:lnTo>
                  <a:lnTo>
                    <a:pt x="1535113" y="196799"/>
                  </a:lnTo>
                  <a:lnTo>
                    <a:pt x="1535113" y="196113"/>
                  </a:lnTo>
                  <a:lnTo>
                    <a:pt x="1535113" y="196799"/>
                  </a:lnTo>
                  <a:lnTo>
                    <a:pt x="1535113" y="196113"/>
                  </a:lnTo>
                  <a:lnTo>
                    <a:pt x="1535113" y="196799"/>
                  </a:lnTo>
                  <a:lnTo>
                    <a:pt x="1535113" y="196113"/>
                  </a:lnTo>
                  <a:lnTo>
                    <a:pt x="1535164" y="195415"/>
                  </a:lnTo>
                  <a:lnTo>
                    <a:pt x="1535164" y="196113"/>
                  </a:lnTo>
                  <a:lnTo>
                    <a:pt x="1535164" y="195415"/>
                  </a:lnTo>
                  <a:lnTo>
                    <a:pt x="1535164" y="196113"/>
                  </a:lnTo>
                  <a:lnTo>
                    <a:pt x="1535164" y="195415"/>
                  </a:lnTo>
                  <a:lnTo>
                    <a:pt x="1535215" y="195415"/>
                  </a:lnTo>
                  <a:lnTo>
                    <a:pt x="1535215" y="192684"/>
                  </a:lnTo>
                  <a:lnTo>
                    <a:pt x="1535316" y="192684"/>
                  </a:lnTo>
                  <a:lnTo>
                    <a:pt x="1535316" y="195415"/>
                  </a:lnTo>
                  <a:lnTo>
                    <a:pt x="1535316" y="193383"/>
                  </a:lnTo>
                  <a:lnTo>
                    <a:pt x="1535367" y="192684"/>
                  </a:lnTo>
                  <a:lnTo>
                    <a:pt x="1535367" y="197447"/>
                  </a:lnTo>
                  <a:lnTo>
                    <a:pt x="1535367" y="195415"/>
                  </a:lnTo>
                  <a:lnTo>
                    <a:pt x="1535418" y="195415"/>
                  </a:lnTo>
                  <a:lnTo>
                    <a:pt x="1535418" y="196799"/>
                  </a:lnTo>
                  <a:lnTo>
                    <a:pt x="1535418" y="196113"/>
                  </a:lnTo>
                  <a:lnTo>
                    <a:pt x="1535519" y="196113"/>
                  </a:lnTo>
                  <a:lnTo>
                    <a:pt x="1535519" y="197447"/>
                  </a:lnTo>
                  <a:lnTo>
                    <a:pt x="1535519" y="196799"/>
                  </a:lnTo>
                  <a:lnTo>
                    <a:pt x="1535570" y="196799"/>
                  </a:lnTo>
                  <a:lnTo>
                    <a:pt x="1535570" y="197447"/>
                  </a:lnTo>
                  <a:lnTo>
                    <a:pt x="1535570" y="196799"/>
                  </a:lnTo>
                  <a:lnTo>
                    <a:pt x="1535570" y="197447"/>
                  </a:lnTo>
                  <a:lnTo>
                    <a:pt x="1535570" y="196799"/>
                  </a:lnTo>
                  <a:lnTo>
                    <a:pt x="1535570" y="197447"/>
                  </a:lnTo>
                  <a:lnTo>
                    <a:pt x="1535570" y="196799"/>
                  </a:lnTo>
                  <a:lnTo>
                    <a:pt x="1535621" y="196799"/>
                  </a:lnTo>
                  <a:lnTo>
                    <a:pt x="1535621" y="197447"/>
                  </a:lnTo>
                  <a:lnTo>
                    <a:pt x="1535621" y="196799"/>
                  </a:lnTo>
                  <a:lnTo>
                    <a:pt x="1535621" y="197447"/>
                  </a:lnTo>
                  <a:lnTo>
                    <a:pt x="1535621" y="196799"/>
                  </a:lnTo>
                  <a:lnTo>
                    <a:pt x="1535659" y="196113"/>
                  </a:lnTo>
                  <a:lnTo>
                    <a:pt x="1535659" y="194716"/>
                  </a:lnTo>
                  <a:lnTo>
                    <a:pt x="1535761" y="194716"/>
                  </a:lnTo>
                  <a:lnTo>
                    <a:pt x="1535761" y="192684"/>
                  </a:lnTo>
                  <a:lnTo>
                    <a:pt x="1535761" y="194716"/>
                  </a:lnTo>
                  <a:lnTo>
                    <a:pt x="1535812" y="194716"/>
                  </a:lnTo>
                  <a:lnTo>
                    <a:pt x="1535812" y="195415"/>
                  </a:lnTo>
                  <a:lnTo>
                    <a:pt x="1535812" y="193383"/>
                  </a:lnTo>
                  <a:lnTo>
                    <a:pt x="1535812" y="195415"/>
                  </a:lnTo>
                  <a:lnTo>
                    <a:pt x="1535862" y="196113"/>
                  </a:lnTo>
                  <a:lnTo>
                    <a:pt x="1535862" y="195415"/>
                  </a:lnTo>
                  <a:lnTo>
                    <a:pt x="1535862" y="196113"/>
                  </a:lnTo>
                  <a:lnTo>
                    <a:pt x="1535964" y="196113"/>
                  </a:lnTo>
                  <a:lnTo>
                    <a:pt x="1535964" y="196799"/>
                  </a:lnTo>
                  <a:lnTo>
                    <a:pt x="1535964" y="196113"/>
                  </a:lnTo>
                  <a:lnTo>
                    <a:pt x="1536015" y="196113"/>
                  </a:lnTo>
                  <a:lnTo>
                    <a:pt x="1536015" y="196799"/>
                  </a:lnTo>
                  <a:lnTo>
                    <a:pt x="1536015" y="196113"/>
                  </a:lnTo>
                  <a:lnTo>
                    <a:pt x="1536015" y="196799"/>
                  </a:lnTo>
                  <a:lnTo>
                    <a:pt x="1536065" y="196799"/>
                  </a:lnTo>
                  <a:lnTo>
                    <a:pt x="1536065" y="197447"/>
                  </a:lnTo>
                  <a:lnTo>
                    <a:pt x="1536065" y="196799"/>
                  </a:lnTo>
                  <a:lnTo>
                    <a:pt x="1536065" y="197447"/>
                  </a:lnTo>
                  <a:lnTo>
                    <a:pt x="1536065" y="196799"/>
                  </a:lnTo>
                  <a:lnTo>
                    <a:pt x="1536116" y="196799"/>
                  </a:lnTo>
                  <a:lnTo>
                    <a:pt x="1536116" y="197447"/>
                  </a:lnTo>
                  <a:lnTo>
                    <a:pt x="1536116" y="196113"/>
                  </a:lnTo>
                  <a:lnTo>
                    <a:pt x="1536205" y="196113"/>
                  </a:lnTo>
                  <a:lnTo>
                    <a:pt x="1536205" y="195415"/>
                  </a:lnTo>
                  <a:lnTo>
                    <a:pt x="1536205" y="196113"/>
                  </a:lnTo>
                  <a:lnTo>
                    <a:pt x="1536205" y="195415"/>
                  </a:lnTo>
                  <a:lnTo>
                    <a:pt x="1536205" y="196113"/>
                  </a:lnTo>
                  <a:lnTo>
                    <a:pt x="1536205" y="194716"/>
                  </a:lnTo>
                  <a:lnTo>
                    <a:pt x="1536205" y="195415"/>
                  </a:lnTo>
                  <a:lnTo>
                    <a:pt x="1536205" y="194716"/>
                  </a:lnTo>
                  <a:lnTo>
                    <a:pt x="1536256" y="193383"/>
                  </a:lnTo>
                  <a:lnTo>
                    <a:pt x="1536256" y="191351"/>
                  </a:lnTo>
                  <a:lnTo>
                    <a:pt x="1536256" y="192684"/>
                  </a:lnTo>
                  <a:lnTo>
                    <a:pt x="1536307" y="192684"/>
                  </a:lnTo>
                  <a:lnTo>
                    <a:pt x="1536307" y="193383"/>
                  </a:lnTo>
                  <a:lnTo>
                    <a:pt x="1536307" y="192684"/>
                  </a:lnTo>
                  <a:lnTo>
                    <a:pt x="1536307" y="193383"/>
                  </a:lnTo>
                  <a:lnTo>
                    <a:pt x="1536307" y="191351"/>
                  </a:lnTo>
                  <a:lnTo>
                    <a:pt x="1536307" y="194716"/>
                  </a:lnTo>
                  <a:lnTo>
                    <a:pt x="1536358" y="194716"/>
                  </a:lnTo>
                  <a:lnTo>
                    <a:pt x="1536358" y="195415"/>
                  </a:lnTo>
                  <a:lnTo>
                    <a:pt x="1536358" y="193383"/>
                  </a:lnTo>
                  <a:lnTo>
                    <a:pt x="1536358" y="194716"/>
                  </a:lnTo>
                  <a:lnTo>
                    <a:pt x="1536459" y="194716"/>
                  </a:lnTo>
                  <a:lnTo>
                    <a:pt x="1536459" y="195415"/>
                  </a:lnTo>
                  <a:lnTo>
                    <a:pt x="1536459" y="194716"/>
                  </a:lnTo>
                  <a:lnTo>
                    <a:pt x="1536459" y="195415"/>
                  </a:lnTo>
                  <a:lnTo>
                    <a:pt x="1536510" y="196113"/>
                  </a:lnTo>
                  <a:lnTo>
                    <a:pt x="1536510" y="195415"/>
                  </a:lnTo>
                  <a:lnTo>
                    <a:pt x="1536510" y="196113"/>
                  </a:lnTo>
                  <a:lnTo>
                    <a:pt x="1536561" y="196113"/>
                  </a:lnTo>
                  <a:lnTo>
                    <a:pt x="1536561" y="196799"/>
                  </a:lnTo>
                  <a:lnTo>
                    <a:pt x="1536561" y="196113"/>
                  </a:lnTo>
                  <a:lnTo>
                    <a:pt x="1536561" y="196799"/>
                  </a:lnTo>
                  <a:lnTo>
                    <a:pt x="1536662" y="196799"/>
                  </a:lnTo>
                  <a:lnTo>
                    <a:pt x="1536662" y="196113"/>
                  </a:lnTo>
                  <a:lnTo>
                    <a:pt x="1536662" y="196799"/>
                  </a:lnTo>
                  <a:lnTo>
                    <a:pt x="1536700" y="196113"/>
                  </a:lnTo>
                  <a:lnTo>
                    <a:pt x="1536700" y="195415"/>
                  </a:lnTo>
                  <a:lnTo>
                    <a:pt x="1536700" y="196113"/>
                  </a:lnTo>
                  <a:lnTo>
                    <a:pt x="1536700" y="194716"/>
                  </a:lnTo>
                  <a:lnTo>
                    <a:pt x="1536751" y="194716"/>
                  </a:lnTo>
                  <a:lnTo>
                    <a:pt x="1536751" y="192684"/>
                  </a:lnTo>
                  <a:lnTo>
                    <a:pt x="1536751" y="193383"/>
                  </a:lnTo>
                  <a:lnTo>
                    <a:pt x="1536802" y="193383"/>
                  </a:lnTo>
                  <a:lnTo>
                    <a:pt x="1536802" y="191986"/>
                  </a:lnTo>
                  <a:lnTo>
                    <a:pt x="1536802" y="195415"/>
                  </a:lnTo>
                  <a:lnTo>
                    <a:pt x="1536904" y="195415"/>
                  </a:lnTo>
                  <a:lnTo>
                    <a:pt x="1536904" y="192684"/>
                  </a:lnTo>
                  <a:lnTo>
                    <a:pt x="1536904" y="195415"/>
                  </a:lnTo>
                  <a:lnTo>
                    <a:pt x="1536904" y="194716"/>
                  </a:lnTo>
                  <a:lnTo>
                    <a:pt x="1536955" y="194716"/>
                  </a:lnTo>
                  <a:lnTo>
                    <a:pt x="1536955" y="193383"/>
                  </a:lnTo>
                  <a:lnTo>
                    <a:pt x="1536955" y="194716"/>
                  </a:lnTo>
                  <a:lnTo>
                    <a:pt x="1537005" y="193383"/>
                  </a:lnTo>
                  <a:lnTo>
                    <a:pt x="1537005" y="194716"/>
                  </a:lnTo>
                  <a:lnTo>
                    <a:pt x="1537005" y="193383"/>
                  </a:lnTo>
                  <a:lnTo>
                    <a:pt x="1537005" y="195415"/>
                  </a:lnTo>
                  <a:lnTo>
                    <a:pt x="1537005" y="194716"/>
                  </a:lnTo>
                  <a:lnTo>
                    <a:pt x="1537005" y="195415"/>
                  </a:lnTo>
                  <a:lnTo>
                    <a:pt x="1537005" y="194716"/>
                  </a:lnTo>
                  <a:lnTo>
                    <a:pt x="1537107" y="195415"/>
                  </a:lnTo>
                  <a:lnTo>
                    <a:pt x="1537107" y="196113"/>
                  </a:lnTo>
                  <a:lnTo>
                    <a:pt x="1537107" y="195415"/>
                  </a:lnTo>
                  <a:lnTo>
                    <a:pt x="1537107" y="196113"/>
                  </a:lnTo>
                  <a:lnTo>
                    <a:pt x="1537107" y="195415"/>
                  </a:lnTo>
                  <a:lnTo>
                    <a:pt x="1537107" y="196113"/>
                  </a:lnTo>
                  <a:lnTo>
                    <a:pt x="1537107" y="195415"/>
                  </a:lnTo>
                  <a:lnTo>
                    <a:pt x="1537158" y="195415"/>
                  </a:lnTo>
                  <a:lnTo>
                    <a:pt x="1537158" y="196113"/>
                  </a:lnTo>
                  <a:lnTo>
                    <a:pt x="1537158" y="194716"/>
                  </a:lnTo>
                  <a:lnTo>
                    <a:pt x="1537209" y="195415"/>
                  </a:lnTo>
                  <a:lnTo>
                    <a:pt x="1537209" y="192684"/>
                  </a:lnTo>
                  <a:lnTo>
                    <a:pt x="1537209" y="193383"/>
                  </a:lnTo>
                  <a:lnTo>
                    <a:pt x="1537247" y="193383"/>
                  </a:lnTo>
                  <a:lnTo>
                    <a:pt x="1537247" y="191986"/>
                  </a:lnTo>
                  <a:lnTo>
                    <a:pt x="1537247" y="194716"/>
                  </a:lnTo>
                  <a:lnTo>
                    <a:pt x="1537247" y="193383"/>
                  </a:lnTo>
                  <a:lnTo>
                    <a:pt x="1537348" y="193383"/>
                  </a:lnTo>
                  <a:lnTo>
                    <a:pt x="1537348" y="191986"/>
                  </a:lnTo>
                  <a:lnTo>
                    <a:pt x="1537348" y="196113"/>
                  </a:lnTo>
                  <a:lnTo>
                    <a:pt x="1537348" y="194716"/>
                  </a:lnTo>
                  <a:lnTo>
                    <a:pt x="1537399" y="193383"/>
                  </a:lnTo>
                  <a:lnTo>
                    <a:pt x="1537399" y="192684"/>
                  </a:lnTo>
                  <a:lnTo>
                    <a:pt x="1537399" y="195415"/>
                  </a:lnTo>
                  <a:lnTo>
                    <a:pt x="1537399" y="194716"/>
                  </a:lnTo>
                  <a:lnTo>
                    <a:pt x="1537399" y="195415"/>
                  </a:lnTo>
                  <a:lnTo>
                    <a:pt x="1537399" y="193383"/>
                  </a:lnTo>
                  <a:lnTo>
                    <a:pt x="1537450" y="193383"/>
                  </a:lnTo>
                  <a:lnTo>
                    <a:pt x="1537450" y="195415"/>
                  </a:lnTo>
                  <a:lnTo>
                    <a:pt x="1537450" y="193383"/>
                  </a:lnTo>
                  <a:lnTo>
                    <a:pt x="1537450" y="194716"/>
                  </a:lnTo>
                  <a:lnTo>
                    <a:pt x="1537551" y="194716"/>
                  </a:lnTo>
                  <a:lnTo>
                    <a:pt x="1537551" y="195415"/>
                  </a:lnTo>
                  <a:lnTo>
                    <a:pt x="1537551" y="194716"/>
                  </a:lnTo>
                  <a:lnTo>
                    <a:pt x="1537551" y="195415"/>
                  </a:lnTo>
                  <a:lnTo>
                    <a:pt x="1537602" y="195415"/>
                  </a:lnTo>
                  <a:lnTo>
                    <a:pt x="1537602" y="196113"/>
                  </a:lnTo>
                  <a:lnTo>
                    <a:pt x="1537602" y="195415"/>
                  </a:lnTo>
                  <a:lnTo>
                    <a:pt x="1537602" y="196113"/>
                  </a:lnTo>
                  <a:lnTo>
                    <a:pt x="1537602" y="195415"/>
                  </a:lnTo>
                  <a:lnTo>
                    <a:pt x="1537653" y="195415"/>
                  </a:lnTo>
                  <a:lnTo>
                    <a:pt x="1537653" y="194716"/>
                  </a:lnTo>
                  <a:lnTo>
                    <a:pt x="1537653" y="195415"/>
                  </a:lnTo>
                  <a:lnTo>
                    <a:pt x="1537653" y="194716"/>
                  </a:lnTo>
                  <a:lnTo>
                    <a:pt x="1537653" y="195415"/>
                  </a:lnTo>
                  <a:lnTo>
                    <a:pt x="1537653" y="194716"/>
                  </a:lnTo>
                  <a:lnTo>
                    <a:pt x="1537704" y="194716"/>
                  </a:lnTo>
                  <a:lnTo>
                    <a:pt x="1537704" y="193383"/>
                  </a:lnTo>
                  <a:lnTo>
                    <a:pt x="1537704" y="194716"/>
                  </a:lnTo>
                  <a:lnTo>
                    <a:pt x="1537704" y="192684"/>
                  </a:lnTo>
                  <a:lnTo>
                    <a:pt x="1537793" y="192684"/>
                  </a:lnTo>
                  <a:lnTo>
                    <a:pt x="1537793" y="191986"/>
                  </a:lnTo>
                  <a:lnTo>
                    <a:pt x="1537793" y="195415"/>
                  </a:lnTo>
                  <a:lnTo>
                    <a:pt x="1537793" y="192684"/>
                  </a:lnTo>
                  <a:lnTo>
                    <a:pt x="1537844" y="192684"/>
                  </a:lnTo>
                  <a:lnTo>
                    <a:pt x="1537844" y="196799"/>
                  </a:lnTo>
                  <a:lnTo>
                    <a:pt x="1537844" y="194716"/>
                  </a:lnTo>
                  <a:lnTo>
                    <a:pt x="1537894" y="194716"/>
                  </a:lnTo>
                  <a:lnTo>
                    <a:pt x="1537894" y="196113"/>
                  </a:lnTo>
                  <a:lnTo>
                    <a:pt x="1537894" y="194716"/>
                  </a:lnTo>
                  <a:lnTo>
                    <a:pt x="1537945" y="194716"/>
                  </a:lnTo>
                  <a:lnTo>
                    <a:pt x="1537945" y="196113"/>
                  </a:lnTo>
                  <a:lnTo>
                    <a:pt x="1537945" y="195415"/>
                  </a:lnTo>
                  <a:lnTo>
                    <a:pt x="1538047" y="195415"/>
                  </a:lnTo>
                  <a:lnTo>
                    <a:pt x="1538047" y="196113"/>
                  </a:lnTo>
                  <a:lnTo>
                    <a:pt x="1538047" y="195415"/>
                  </a:lnTo>
                  <a:lnTo>
                    <a:pt x="1538047" y="196113"/>
                  </a:lnTo>
                  <a:lnTo>
                    <a:pt x="1538047" y="195415"/>
                  </a:lnTo>
                  <a:lnTo>
                    <a:pt x="1538047" y="196113"/>
                  </a:lnTo>
                  <a:lnTo>
                    <a:pt x="1538047" y="195415"/>
                  </a:lnTo>
                  <a:lnTo>
                    <a:pt x="1538047" y="196113"/>
                  </a:lnTo>
                  <a:lnTo>
                    <a:pt x="1538097" y="196113"/>
                  </a:lnTo>
                  <a:lnTo>
                    <a:pt x="1538097" y="194716"/>
                  </a:lnTo>
                  <a:lnTo>
                    <a:pt x="1538097" y="195415"/>
                  </a:lnTo>
                  <a:lnTo>
                    <a:pt x="1538148" y="194716"/>
                  </a:lnTo>
                  <a:lnTo>
                    <a:pt x="1538148" y="193383"/>
                  </a:lnTo>
                  <a:lnTo>
                    <a:pt x="1538250" y="193383"/>
                  </a:lnTo>
                  <a:lnTo>
                    <a:pt x="1538250" y="191351"/>
                  </a:lnTo>
                  <a:lnTo>
                    <a:pt x="1538288" y="189954"/>
                  </a:lnTo>
                  <a:lnTo>
                    <a:pt x="1538288" y="189268"/>
                  </a:lnTo>
                  <a:lnTo>
                    <a:pt x="1538288" y="191351"/>
                  </a:lnTo>
                  <a:lnTo>
                    <a:pt x="1538288" y="189954"/>
                  </a:lnTo>
                  <a:lnTo>
                    <a:pt x="1538339" y="189954"/>
                  </a:lnTo>
                  <a:lnTo>
                    <a:pt x="1538339" y="189268"/>
                  </a:lnTo>
                  <a:lnTo>
                    <a:pt x="1538339" y="192684"/>
                  </a:lnTo>
                  <a:lnTo>
                    <a:pt x="1538390" y="191986"/>
                  </a:lnTo>
                  <a:lnTo>
                    <a:pt x="1538390" y="193383"/>
                  </a:lnTo>
                  <a:lnTo>
                    <a:pt x="1538491" y="193383"/>
                  </a:lnTo>
                  <a:lnTo>
                    <a:pt x="1538491" y="194716"/>
                  </a:lnTo>
                  <a:lnTo>
                    <a:pt x="1538491" y="193383"/>
                  </a:lnTo>
                  <a:lnTo>
                    <a:pt x="1538491" y="195415"/>
                  </a:lnTo>
                  <a:lnTo>
                    <a:pt x="1538491" y="194716"/>
                  </a:lnTo>
                  <a:lnTo>
                    <a:pt x="1538542" y="195415"/>
                  </a:lnTo>
                  <a:lnTo>
                    <a:pt x="1538542" y="194716"/>
                  </a:lnTo>
                  <a:lnTo>
                    <a:pt x="1538542" y="195415"/>
                  </a:lnTo>
                  <a:lnTo>
                    <a:pt x="1538542" y="194716"/>
                  </a:lnTo>
                  <a:lnTo>
                    <a:pt x="1538542" y="195415"/>
                  </a:lnTo>
                  <a:lnTo>
                    <a:pt x="1538593" y="196113"/>
                  </a:lnTo>
                  <a:lnTo>
                    <a:pt x="1538593" y="195415"/>
                  </a:lnTo>
                  <a:lnTo>
                    <a:pt x="1538593" y="196113"/>
                  </a:lnTo>
                  <a:lnTo>
                    <a:pt x="1538593" y="195415"/>
                  </a:lnTo>
                  <a:lnTo>
                    <a:pt x="1538694" y="195415"/>
                  </a:lnTo>
                  <a:lnTo>
                    <a:pt x="1538694" y="194716"/>
                  </a:lnTo>
                  <a:lnTo>
                    <a:pt x="1538745" y="194716"/>
                  </a:lnTo>
                  <a:lnTo>
                    <a:pt x="1538745" y="193383"/>
                  </a:lnTo>
                  <a:lnTo>
                    <a:pt x="1538745" y="194716"/>
                  </a:lnTo>
                  <a:lnTo>
                    <a:pt x="1538745" y="192684"/>
                  </a:lnTo>
                  <a:lnTo>
                    <a:pt x="1538745" y="193383"/>
                  </a:lnTo>
                  <a:lnTo>
                    <a:pt x="1538745" y="191351"/>
                  </a:lnTo>
                  <a:lnTo>
                    <a:pt x="1538796" y="191351"/>
                  </a:lnTo>
                  <a:lnTo>
                    <a:pt x="1538796" y="189954"/>
                  </a:lnTo>
                  <a:lnTo>
                    <a:pt x="1538796" y="191351"/>
                  </a:lnTo>
                  <a:lnTo>
                    <a:pt x="1538796" y="189954"/>
                  </a:lnTo>
                  <a:lnTo>
                    <a:pt x="1538834" y="189954"/>
                  </a:lnTo>
                  <a:lnTo>
                    <a:pt x="1538834" y="193383"/>
                  </a:lnTo>
                  <a:lnTo>
                    <a:pt x="1538834" y="192684"/>
                  </a:lnTo>
                  <a:lnTo>
                    <a:pt x="1538834" y="193383"/>
                  </a:lnTo>
                  <a:lnTo>
                    <a:pt x="1538834" y="192684"/>
                  </a:lnTo>
                  <a:lnTo>
                    <a:pt x="1538834" y="193383"/>
                  </a:lnTo>
                  <a:lnTo>
                    <a:pt x="1538936" y="193383"/>
                  </a:lnTo>
                  <a:lnTo>
                    <a:pt x="1538936" y="194716"/>
                  </a:lnTo>
                  <a:lnTo>
                    <a:pt x="1538936" y="193383"/>
                  </a:lnTo>
                  <a:lnTo>
                    <a:pt x="1538936" y="194716"/>
                  </a:lnTo>
                  <a:lnTo>
                    <a:pt x="1538936" y="193383"/>
                  </a:lnTo>
                  <a:lnTo>
                    <a:pt x="1538936" y="194716"/>
                  </a:lnTo>
                  <a:lnTo>
                    <a:pt x="1538987" y="194716"/>
                  </a:lnTo>
                  <a:lnTo>
                    <a:pt x="1538987" y="195415"/>
                  </a:lnTo>
                  <a:lnTo>
                    <a:pt x="1538987" y="194716"/>
                  </a:lnTo>
                  <a:lnTo>
                    <a:pt x="1539037" y="195415"/>
                  </a:lnTo>
                  <a:lnTo>
                    <a:pt x="1539037" y="194716"/>
                  </a:lnTo>
                  <a:lnTo>
                    <a:pt x="1539037" y="195415"/>
                  </a:lnTo>
                  <a:lnTo>
                    <a:pt x="1539037" y="194716"/>
                  </a:lnTo>
                  <a:lnTo>
                    <a:pt x="1539037" y="195415"/>
                  </a:lnTo>
                  <a:lnTo>
                    <a:pt x="1539037" y="194716"/>
                  </a:lnTo>
                  <a:lnTo>
                    <a:pt x="1539139" y="195415"/>
                  </a:lnTo>
                  <a:lnTo>
                    <a:pt x="1539139" y="194716"/>
                  </a:lnTo>
                  <a:lnTo>
                    <a:pt x="1539139" y="195415"/>
                  </a:lnTo>
                  <a:lnTo>
                    <a:pt x="1539139" y="194716"/>
                  </a:lnTo>
                  <a:lnTo>
                    <a:pt x="1539139" y="195415"/>
                  </a:lnTo>
                  <a:lnTo>
                    <a:pt x="1539139" y="194716"/>
                  </a:lnTo>
                  <a:lnTo>
                    <a:pt x="1539190" y="195415"/>
                  </a:lnTo>
                  <a:lnTo>
                    <a:pt x="1539190" y="193383"/>
                  </a:lnTo>
                  <a:lnTo>
                    <a:pt x="1539190" y="194716"/>
                  </a:lnTo>
                  <a:lnTo>
                    <a:pt x="1539190" y="193383"/>
                  </a:lnTo>
                  <a:lnTo>
                    <a:pt x="1539240" y="193383"/>
                  </a:lnTo>
                  <a:lnTo>
                    <a:pt x="1539240" y="194716"/>
                  </a:lnTo>
                  <a:lnTo>
                    <a:pt x="1539240" y="191986"/>
                  </a:lnTo>
                  <a:lnTo>
                    <a:pt x="1539240" y="192684"/>
                  </a:lnTo>
                  <a:lnTo>
                    <a:pt x="1539240" y="191351"/>
                  </a:lnTo>
                  <a:lnTo>
                    <a:pt x="1539291" y="191351"/>
                  </a:lnTo>
                  <a:lnTo>
                    <a:pt x="1539291" y="193383"/>
                  </a:lnTo>
                  <a:lnTo>
                    <a:pt x="1539291" y="191351"/>
                  </a:lnTo>
                  <a:lnTo>
                    <a:pt x="1539291" y="193383"/>
                  </a:lnTo>
                  <a:lnTo>
                    <a:pt x="1539380" y="194716"/>
                  </a:lnTo>
                  <a:lnTo>
                    <a:pt x="1539380" y="192684"/>
                  </a:lnTo>
                  <a:lnTo>
                    <a:pt x="1539380" y="195415"/>
                  </a:lnTo>
                  <a:lnTo>
                    <a:pt x="1539431" y="195415"/>
                  </a:lnTo>
                  <a:lnTo>
                    <a:pt x="1539431" y="193383"/>
                  </a:lnTo>
                  <a:lnTo>
                    <a:pt x="1539431" y="194716"/>
                  </a:lnTo>
                  <a:lnTo>
                    <a:pt x="1539482" y="194716"/>
                  </a:lnTo>
                  <a:lnTo>
                    <a:pt x="1539482" y="195415"/>
                  </a:lnTo>
                  <a:lnTo>
                    <a:pt x="1539482" y="194716"/>
                  </a:lnTo>
                  <a:lnTo>
                    <a:pt x="1539482" y="195415"/>
                  </a:lnTo>
                  <a:lnTo>
                    <a:pt x="1539482" y="194716"/>
                  </a:lnTo>
                  <a:lnTo>
                    <a:pt x="1539482" y="195415"/>
                  </a:lnTo>
                  <a:lnTo>
                    <a:pt x="1539634" y="195415"/>
                  </a:lnTo>
                  <a:lnTo>
                    <a:pt x="1539634" y="196113"/>
                  </a:lnTo>
                  <a:lnTo>
                    <a:pt x="1539634" y="195415"/>
                  </a:lnTo>
                  <a:lnTo>
                    <a:pt x="1539685" y="195415"/>
                  </a:lnTo>
                  <a:lnTo>
                    <a:pt x="1539685" y="193383"/>
                  </a:lnTo>
                  <a:lnTo>
                    <a:pt x="1539736" y="193383"/>
                  </a:lnTo>
                  <a:lnTo>
                    <a:pt x="1539736" y="192684"/>
                  </a:lnTo>
                  <a:lnTo>
                    <a:pt x="1539736" y="193383"/>
                  </a:lnTo>
                  <a:lnTo>
                    <a:pt x="1539736" y="191986"/>
                  </a:lnTo>
                  <a:lnTo>
                    <a:pt x="1539837" y="191986"/>
                  </a:lnTo>
                  <a:lnTo>
                    <a:pt x="1539837" y="189954"/>
                  </a:lnTo>
                  <a:lnTo>
                    <a:pt x="1539837" y="191351"/>
                  </a:lnTo>
                  <a:lnTo>
                    <a:pt x="1539837" y="189268"/>
                  </a:lnTo>
                  <a:lnTo>
                    <a:pt x="1539837" y="191351"/>
                  </a:lnTo>
                  <a:lnTo>
                    <a:pt x="1539875" y="191986"/>
                  </a:lnTo>
                  <a:lnTo>
                    <a:pt x="1539875" y="192684"/>
                  </a:lnTo>
                  <a:lnTo>
                    <a:pt x="1539875" y="191986"/>
                  </a:lnTo>
                  <a:lnTo>
                    <a:pt x="1539875" y="193383"/>
                  </a:lnTo>
                  <a:lnTo>
                    <a:pt x="1539926" y="193383"/>
                  </a:lnTo>
                  <a:lnTo>
                    <a:pt x="1539926" y="192684"/>
                  </a:lnTo>
                  <a:lnTo>
                    <a:pt x="1539926" y="193383"/>
                  </a:lnTo>
                  <a:lnTo>
                    <a:pt x="1539926" y="192684"/>
                  </a:lnTo>
                  <a:lnTo>
                    <a:pt x="1539926" y="193383"/>
                  </a:lnTo>
                  <a:lnTo>
                    <a:pt x="1539926" y="192684"/>
                  </a:lnTo>
                  <a:lnTo>
                    <a:pt x="1539926" y="193383"/>
                  </a:lnTo>
                  <a:lnTo>
                    <a:pt x="1539926" y="192684"/>
                  </a:lnTo>
                  <a:lnTo>
                    <a:pt x="1539926" y="193383"/>
                  </a:lnTo>
                  <a:lnTo>
                    <a:pt x="1539977" y="193383"/>
                  </a:lnTo>
                  <a:lnTo>
                    <a:pt x="1539977" y="194716"/>
                  </a:lnTo>
                  <a:lnTo>
                    <a:pt x="1539977" y="193383"/>
                  </a:lnTo>
                  <a:lnTo>
                    <a:pt x="1539977" y="194716"/>
                  </a:lnTo>
                  <a:lnTo>
                    <a:pt x="1539977" y="193383"/>
                  </a:lnTo>
                  <a:lnTo>
                    <a:pt x="1539977" y="194716"/>
                  </a:lnTo>
                  <a:lnTo>
                    <a:pt x="1539977" y="193383"/>
                  </a:lnTo>
                  <a:lnTo>
                    <a:pt x="1539977" y="194716"/>
                  </a:lnTo>
                  <a:lnTo>
                    <a:pt x="1540079" y="194716"/>
                  </a:lnTo>
                  <a:lnTo>
                    <a:pt x="1540079" y="193383"/>
                  </a:lnTo>
                  <a:lnTo>
                    <a:pt x="1540079" y="195415"/>
                  </a:lnTo>
                  <a:lnTo>
                    <a:pt x="1540079" y="194716"/>
                  </a:lnTo>
                  <a:lnTo>
                    <a:pt x="1540130" y="194716"/>
                  </a:lnTo>
                  <a:lnTo>
                    <a:pt x="1540130" y="193383"/>
                  </a:lnTo>
                  <a:lnTo>
                    <a:pt x="1540180" y="194716"/>
                  </a:lnTo>
                  <a:lnTo>
                    <a:pt x="1540180" y="193383"/>
                  </a:lnTo>
                  <a:lnTo>
                    <a:pt x="1540180" y="194716"/>
                  </a:lnTo>
                  <a:lnTo>
                    <a:pt x="1540180" y="193383"/>
                  </a:lnTo>
                  <a:lnTo>
                    <a:pt x="1540180" y="194716"/>
                  </a:lnTo>
                  <a:lnTo>
                    <a:pt x="1540180" y="192684"/>
                  </a:lnTo>
                  <a:lnTo>
                    <a:pt x="1540282" y="192684"/>
                  </a:lnTo>
                  <a:lnTo>
                    <a:pt x="1540282" y="191986"/>
                  </a:lnTo>
                  <a:lnTo>
                    <a:pt x="1540282" y="193383"/>
                  </a:lnTo>
                  <a:lnTo>
                    <a:pt x="1540282" y="192684"/>
                  </a:lnTo>
                  <a:lnTo>
                    <a:pt x="1540282" y="193383"/>
                  </a:lnTo>
                  <a:lnTo>
                    <a:pt x="1540282" y="192684"/>
                  </a:lnTo>
                  <a:lnTo>
                    <a:pt x="1540333" y="192684"/>
                  </a:lnTo>
                  <a:lnTo>
                    <a:pt x="1540333" y="191986"/>
                  </a:lnTo>
                  <a:lnTo>
                    <a:pt x="1540333" y="194716"/>
                  </a:lnTo>
                  <a:lnTo>
                    <a:pt x="1540384" y="194716"/>
                  </a:lnTo>
                  <a:lnTo>
                    <a:pt x="1540384" y="193383"/>
                  </a:lnTo>
                  <a:lnTo>
                    <a:pt x="1540384" y="194716"/>
                  </a:lnTo>
                  <a:lnTo>
                    <a:pt x="1540422" y="194716"/>
                  </a:lnTo>
                  <a:lnTo>
                    <a:pt x="1540422" y="195415"/>
                  </a:lnTo>
                  <a:lnTo>
                    <a:pt x="1540422" y="194716"/>
                  </a:lnTo>
                  <a:lnTo>
                    <a:pt x="1540523" y="194716"/>
                  </a:lnTo>
                  <a:lnTo>
                    <a:pt x="1540523" y="195415"/>
                  </a:lnTo>
                  <a:lnTo>
                    <a:pt x="1540523" y="194716"/>
                  </a:lnTo>
                  <a:lnTo>
                    <a:pt x="1540574" y="194716"/>
                  </a:lnTo>
                  <a:lnTo>
                    <a:pt x="1540574" y="195415"/>
                  </a:lnTo>
                  <a:lnTo>
                    <a:pt x="1540625" y="195415"/>
                  </a:lnTo>
                  <a:lnTo>
                    <a:pt x="1540625" y="194716"/>
                  </a:lnTo>
                  <a:lnTo>
                    <a:pt x="1540625" y="195415"/>
                  </a:lnTo>
                  <a:lnTo>
                    <a:pt x="1540625" y="194716"/>
                  </a:lnTo>
                  <a:lnTo>
                    <a:pt x="1540726" y="194716"/>
                  </a:lnTo>
                  <a:lnTo>
                    <a:pt x="1540726" y="193383"/>
                  </a:lnTo>
                  <a:lnTo>
                    <a:pt x="1540777" y="192684"/>
                  </a:lnTo>
                  <a:lnTo>
                    <a:pt x="1540777" y="196113"/>
                  </a:lnTo>
                  <a:lnTo>
                    <a:pt x="1540777" y="193383"/>
                  </a:lnTo>
                  <a:lnTo>
                    <a:pt x="1540828" y="193383"/>
                  </a:lnTo>
                  <a:lnTo>
                    <a:pt x="1540828" y="196799"/>
                  </a:lnTo>
                  <a:lnTo>
                    <a:pt x="1540828" y="194716"/>
                  </a:lnTo>
                  <a:lnTo>
                    <a:pt x="1540828" y="196113"/>
                  </a:lnTo>
                  <a:lnTo>
                    <a:pt x="1540879" y="196113"/>
                  </a:lnTo>
                  <a:lnTo>
                    <a:pt x="1540879" y="196799"/>
                  </a:lnTo>
                  <a:lnTo>
                    <a:pt x="1540879" y="195415"/>
                  </a:lnTo>
                  <a:lnTo>
                    <a:pt x="1540879" y="196113"/>
                  </a:lnTo>
                  <a:lnTo>
                    <a:pt x="1540968" y="196113"/>
                  </a:lnTo>
                  <a:lnTo>
                    <a:pt x="1540968" y="196799"/>
                  </a:lnTo>
                  <a:lnTo>
                    <a:pt x="1540968" y="196113"/>
                  </a:lnTo>
                  <a:lnTo>
                    <a:pt x="1540968" y="196799"/>
                  </a:lnTo>
                  <a:lnTo>
                    <a:pt x="1540968" y="196113"/>
                  </a:lnTo>
                  <a:lnTo>
                    <a:pt x="1541019" y="196799"/>
                  </a:lnTo>
                  <a:lnTo>
                    <a:pt x="1541019" y="195415"/>
                  </a:lnTo>
                  <a:lnTo>
                    <a:pt x="1541019" y="196113"/>
                  </a:lnTo>
                  <a:lnTo>
                    <a:pt x="1541019" y="195415"/>
                  </a:lnTo>
                  <a:lnTo>
                    <a:pt x="1541069" y="195415"/>
                  </a:lnTo>
                  <a:lnTo>
                    <a:pt x="1541069" y="196113"/>
                  </a:lnTo>
                  <a:lnTo>
                    <a:pt x="1541069" y="195415"/>
                  </a:lnTo>
                  <a:lnTo>
                    <a:pt x="1541120" y="195415"/>
                  </a:lnTo>
                  <a:lnTo>
                    <a:pt x="1541120" y="193383"/>
                  </a:lnTo>
                  <a:lnTo>
                    <a:pt x="1541120" y="194716"/>
                  </a:lnTo>
                  <a:lnTo>
                    <a:pt x="1541222" y="193383"/>
                  </a:lnTo>
                  <a:lnTo>
                    <a:pt x="1541222" y="191986"/>
                  </a:lnTo>
                  <a:lnTo>
                    <a:pt x="1541222" y="193383"/>
                  </a:lnTo>
                  <a:lnTo>
                    <a:pt x="1541272" y="193383"/>
                  </a:lnTo>
                  <a:lnTo>
                    <a:pt x="1541272" y="194716"/>
                  </a:lnTo>
                  <a:lnTo>
                    <a:pt x="1541272" y="192684"/>
                  </a:lnTo>
                  <a:lnTo>
                    <a:pt x="1541272" y="194716"/>
                  </a:lnTo>
                  <a:lnTo>
                    <a:pt x="1541323" y="195415"/>
                  </a:lnTo>
                  <a:lnTo>
                    <a:pt x="1541323" y="196113"/>
                  </a:lnTo>
                  <a:lnTo>
                    <a:pt x="1541323" y="194716"/>
                  </a:lnTo>
                  <a:lnTo>
                    <a:pt x="1541323" y="196113"/>
                  </a:lnTo>
                  <a:lnTo>
                    <a:pt x="1541425" y="196113"/>
                  </a:lnTo>
                  <a:lnTo>
                    <a:pt x="1541425" y="195415"/>
                  </a:lnTo>
                  <a:lnTo>
                    <a:pt x="1541425" y="196113"/>
                  </a:lnTo>
                  <a:lnTo>
                    <a:pt x="1541425" y="195415"/>
                  </a:lnTo>
                  <a:lnTo>
                    <a:pt x="1541425" y="196113"/>
                  </a:lnTo>
                  <a:lnTo>
                    <a:pt x="1541463" y="196113"/>
                  </a:lnTo>
                  <a:lnTo>
                    <a:pt x="1541463" y="196799"/>
                  </a:lnTo>
                  <a:lnTo>
                    <a:pt x="1541463" y="196113"/>
                  </a:lnTo>
                  <a:lnTo>
                    <a:pt x="1541463" y="196799"/>
                  </a:lnTo>
                  <a:lnTo>
                    <a:pt x="1541514" y="196799"/>
                  </a:lnTo>
                  <a:lnTo>
                    <a:pt x="1541514" y="196113"/>
                  </a:lnTo>
                  <a:lnTo>
                    <a:pt x="1541565" y="196799"/>
                  </a:lnTo>
                  <a:lnTo>
                    <a:pt x="1541565" y="195415"/>
                  </a:lnTo>
                  <a:lnTo>
                    <a:pt x="1541565" y="196113"/>
                  </a:lnTo>
                  <a:lnTo>
                    <a:pt x="1541565" y="195415"/>
                  </a:lnTo>
                  <a:lnTo>
                    <a:pt x="1541565" y="196113"/>
                  </a:lnTo>
                  <a:lnTo>
                    <a:pt x="1541666" y="196113"/>
                  </a:lnTo>
                  <a:lnTo>
                    <a:pt x="1541666" y="194716"/>
                  </a:lnTo>
                  <a:lnTo>
                    <a:pt x="1541666" y="195415"/>
                  </a:lnTo>
                  <a:lnTo>
                    <a:pt x="1541666" y="193383"/>
                  </a:lnTo>
                  <a:lnTo>
                    <a:pt x="1541717" y="193383"/>
                  </a:lnTo>
                  <a:lnTo>
                    <a:pt x="1541717" y="192684"/>
                  </a:lnTo>
                  <a:lnTo>
                    <a:pt x="1541717" y="193383"/>
                  </a:lnTo>
                  <a:lnTo>
                    <a:pt x="1541717" y="192684"/>
                  </a:lnTo>
                  <a:lnTo>
                    <a:pt x="1541717" y="193383"/>
                  </a:lnTo>
                  <a:lnTo>
                    <a:pt x="1541717" y="191351"/>
                  </a:lnTo>
                  <a:lnTo>
                    <a:pt x="1541768" y="191986"/>
                  </a:lnTo>
                  <a:lnTo>
                    <a:pt x="1541768" y="193383"/>
                  </a:lnTo>
                  <a:lnTo>
                    <a:pt x="1541768" y="189954"/>
                  </a:lnTo>
                  <a:lnTo>
                    <a:pt x="1541768" y="194716"/>
                  </a:lnTo>
                  <a:lnTo>
                    <a:pt x="1541869" y="194716"/>
                  </a:lnTo>
                  <a:lnTo>
                    <a:pt x="1541869" y="192684"/>
                  </a:lnTo>
                  <a:lnTo>
                    <a:pt x="1541869" y="195415"/>
                  </a:lnTo>
                  <a:lnTo>
                    <a:pt x="1541920" y="195415"/>
                  </a:lnTo>
                  <a:lnTo>
                    <a:pt x="1541920" y="193383"/>
                  </a:lnTo>
                  <a:lnTo>
                    <a:pt x="1541920" y="195415"/>
                  </a:lnTo>
                  <a:lnTo>
                    <a:pt x="1541971" y="195415"/>
                  </a:lnTo>
                  <a:lnTo>
                    <a:pt x="1541971" y="196113"/>
                  </a:lnTo>
                  <a:lnTo>
                    <a:pt x="1541971" y="195415"/>
                  </a:lnTo>
                  <a:lnTo>
                    <a:pt x="1541971" y="196113"/>
                  </a:lnTo>
                  <a:lnTo>
                    <a:pt x="1541971" y="195415"/>
                  </a:lnTo>
                  <a:lnTo>
                    <a:pt x="1542009" y="195415"/>
                  </a:lnTo>
                  <a:lnTo>
                    <a:pt x="1542009" y="196113"/>
                  </a:lnTo>
                  <a:lnTo>
                    <a:pt x="1542111" y="196113"/>
                  </a:lnTo>
                  <a:lnTo>
                    <a:pt x="1542162" y="195415"/>
                  </a:lnTo>
                  <a:lnTo>
                    <a:pt x="1542162" y="196113"/>
                  </a:lnTo>
                  <a:lnTo>
                    <a:pt x="1542162" y="193383"/>
                  </a:lnTo>
                  <a:lnTo>
                    <a:pt x="1542212" y="193383"/>
                  </a:lnTo>
                  <a:lnTo>
                    <a:pt x="1542212" y="189954"/>
                  </a:lnTo>
                  <a:lnTo>
                    <a:pt x="1542314" y="189954"/>
                  </a:lnTo>
                  <a:lnTo>
                    <a:pt x="1542314" y="189268"/>
                  </a:lnTo>
                  <a:lnTo>
                    <a:pt x="1542365" y="189954"/>
                  </a:lnTo>
                  <a:lnTo>
                    <a:pt x="1542365" y="191986"/>
                  </a:lnTo>
                  <a:lnTo>
                    <a:pt x="1542365" y="189954"/>
                  </a:lnTo>
                  <a:lnTo>
                    <a:pt x="1542365" y="191351"/>
                  </a:lnTo>
                  <a:lnTo>
                    <a:pt x="1542415" y="191986"/>
                  </a:lnTo>
                  <a:lnTo>
                    <a:pt x="1542415" y="193383"/>
                  </a:lnTo>
                  <a:lnTo>
                    <a:pt x="1542415" y="192684"/>
                  </a:lnTo>
                  <a:lnTo>
                    <a:pt x="1542415" y="193383"/>
                  </a:lnTo>
                  <a:lnTo>
                    <a:pt x="1542466" y="193383"/>
                  </a:lnTo>
                  <a:lnTo>
                    <a:pt x="1542466" y="195415"/>
                  </a:lnTo>
                  <a:lnTo>
                    <a:pt x="1542466" y="194716"/>
                  </a:lnTo>
                  <a:lnTo>
                    <a:pt x="1542466" y="195415"/>
                  </a:lnTo>
                  <a:lnTo>
                    <a:pt x="1542466" y="194716"/>
                  </a:lnTo>
                  <a:lnTo>
                    <a:pt x="1542466" y="195415"/>
                  </a:lnTo>
                  <a:lnTo>
                    <a:pt x="1542555" y="195415"/>
                  </a:lnTo>
                  <a:lnTo>
                    <a:pt x="1542555" y="196113"/>
                  </a:lnTo>
                  <a:lnTo>
                    <a:pt x="1542606" y="196113"/>
                  </a:lnTo>
                  <a:lnTo>
                    <a:pt x="1542606" y="196799"/>
                  </a:lnTo>
                  <a:lnTo>
                    <a:pt x="1542606" y="196113"/>
                  </a:lnTo>
                  <a:lnTo>
                    <a:pt x="1542606" y="196799"/>
                  </a:lnTo>
                  <a:lnTo>
                    <a:pt x="1542606" y="196113"/>
                  </a:lnTo>
                  <a:lnTo>
                    <a:pt x="1542657" y="196113"/>
                  </a:lnTo>
                  <a:lnTo>
                    <a:pt x="1542657" y="195415"/>
                  </a:lnTo>
                  <a:lnTo>
                    <a:pt x="1542657" y="196113"/>
                  </a:lnTo>
                  <a:lnTo>
                    <a:pt x="1542657" y="195415"/>
                  </a:lnTo>
                  <a:lnTo>
                    <a:pt x="1542657" y="196113"/>
                  </a:lnTo>
                  <a:lnTo>
                    <a:pt x="1542657" y="195415"/>
                  </a:lnTo>
                  <a:lnTo>
                    <a:pt x="1542708" y="194716"/>
                  </a:lnTo>
                  <a:lnTo>
                    <a:pt x="1542708" y="193383"/>
                  </a:lnTo>
                  <a:lnTo>
                    <a:pt x="1542708" y="195415"/>
                  </a:lnTo>
                  <a:lnTo>
                    <a:pt x="1542708" y="194716"/>
                  </a:lnTo>
                  <a:lnTo>
                    <a:pt x="1542809" y="194716"/>
                  </a:lnTo>
                  <a:lnTo>
                    <a:pt x="1542809" y="191986"/>
                  </a:lnTo>
                  <a:lnTo>
                    <a:pt x="1542809" y="196113"/>
                  </a:lnTo>
                  <a:lnTo>
                    <a:pt x="1542809" y="195415"/>
                  </a:lnTo>
                  <a:lnTo>
                    <a:pt x="1542860" y="194716"/>
                  </a:lnTo>
                  <a:lnTo>
                    <a:pt x="1542860" y="193383"/>
                  </a:lnTo>
                  <a:lnTo>
                    <a:pt x="1542860" y="194716"/>
                  </a:lnTo>
                  <a:lnTo>
                    <a:pt x="1542860" y="193383"/>
                  </a:lnTo>
                  <a:lnTo>
                    <a:pt x="1542860" y="195415"/>
                  </a:lnTo>
                  <a:lnTo>
                    <a:pt x="1542860" y="194716"/>
                  </a:lnTo>
                  <a:lnTo>
                    <a:pt x="1542860" y="195415"/>
                  </a:lnTo>
                  <a:lnTo>
                    <a:pt x="1542860" y="194716"/>
                  </a:lnTo>
                  <a:lnTo>
                    <a:pt x="1542911" y="194716"/>
                  </a:lnTo>
                  <a:lnTo>
                    <a:pt x="1542911" y="193383"/>
                  </a:lnTo>
                  <a:lnTo>
                    <a:pt x="1542911" y="194716"/>
                  </a:lnTo>
                  <a:lnTo>
                    <a:pt x="1542911" y="193383"/>
                  </a:lnTo>
                  <a:lnTo>
                    <a:pt x="1542911" y="195415"/>
                  </a:lnTo>
                  <a:lnTo>
                    <a:pt x="1542911" y="194716"/>
                  </a:lnTo>
                  <a:lnTo>
                    <a:pt x="1543012" y="194716"/>
                  </a:lnTo>
                  <a:lnTo>
                    <a:pt x="1543012" y="195415"/>
                  </a:lnTo>
                  <a:lnTo>
                    <a:pt x="1543012" y="194716"/>
                  </a:lnTo>
                  <a:lnTo>
                    <a:pt x="1543050" y="194716"/>
                  </a:lnTo>
                  <a:lnTo>
                    <a:pt x="1543050" y="195415"/>
                  </a:lnTo>
                  <a:lnTo>
                    <a:pt x="1543050" y="194716"/>
                  </a:lnTo>
                  <a:lnTo>
                    <a:pt x="1543050" y="195415"/>
                  </a:lnTo>
                  <a:lnTo>
                    <a:pt x="1543050" y="194716"/>
                  </a:lnTo>
                  <a:lnTo>
                    <a:pt x="1543050" y="195415"/>
                  </a:lnTo>
                  <a:lnTo>
                    <a:pt x="1543101" y="195415"/>
                  </a:lnTo>
                  <a:lnTo>
                    <a:pt x="1543101" y="196113"/>
                  </a:lnTo>
                  <a:lnTo>
                    <a:pt x="1543101" y="195415"/>
                  </a:lnTo>
                  <a:lnTo>
                    <a:pt x="1543101" y="196113"/>
                  </a:lnTo>
                  <a:lnTo>
                    <a:pt x="1543101" y="194716"/>
                  </a:lnTo>
                  <a:lnTo>
                    <a:pt x="1543152" y="194716"/>
                  </a:lnTo>
                  <a:lnTo>
                    <a:pt x="1543152" y="193383"/>
                  </a:lnTo>
                  <a:lnTo>
                    <a:pt x="1543152" y="194716"/>
                  </a:lnTo>
                  <a:lnTo>
                    <a:pt x="1543152" y="193383"/>
                  </a:lnTo>
                  <a:lnTo>
                    <a:pt x="1543152" y="194716"/>
                  </a:lnTo>
                  <a:lnTo>
                    <a:pt x="1543152" y="193383"/>
                  </a:lnTo>
                  <a:lnTo>
                    <a:pt x="1543254" y="192684"/>
                  </a:lnTo>
                  <a:lnTo>
                    <a:pt x="1543254" y="195415"/>
                  </a:lnTo>
                  <a:lnTo>
                    <a:pt x="1543254" y="193383"/>
                  </a:lnTo>
                  <a:lnTo>
                    <a:pt x="1543305" y="193383"/>
                  </a:lnTo>
                  <a:lnTo>
                    <a:pt x="1543305" y="196799"/>
                  </a:lnTo>
                  <a:lnTo>
                    <a:pt x="1543305" y="195415"/>
                  </a:lnTo>
                  <a:lnTo>
                    <a:pt x="1543355" y="195415"/>
                  </a:lnTo>
                  <a:lnTo>
                    <a:pt x="1543355" y="196799"/>
                  </a:lnTo>
                  <a:lnTo>
                    <a:pt x="1543355" y="196113"/>
                  </a:lnTo>
                  <a:lnTo>
                    <a:pt x="1543355" y="196799"/>
                  </a:lnTo>
                  <a:lnTo>
                    <a:pt x="1543355" y="195415"/>
                  </a:lnTo>
                  <a:lnTo>
                    <a:pt x="1543355" y="196113"/>
                  </a:lnTo>
                  <a:lnTo>
                    <a:pt x="1543457" y="195415"/>
                  </a:lnTo>
                  <a:lnTo>
                    <a:pt x="1543457" y="196113"/>
                  </a:lnTo>
                  <a:lnTo>
                    <a:pt x="1543559" y="196113"/>
                  </a:lnTo>
                  <a:lnTo>
                    <a:pt x="1543559" y="195415"/>
                  </a:lnTo>
                  <a:lnTo>
                    <a:pt x="1543559" y="196113"/>
                  </a:lnTo>
                  <a:lnTo>
                    <a:pt x="1543559" y="195415"/>
                  </a:lnTo>
                  <a:lnTo>
                    <a:pt x="1543559" y="196113"/>
                  </a:lnTo>
                  <a:lnTo>
                    <a:pt x="1543559" y="195415"/>
                  </a:lnTo>
                  <a:lnTo>
                    <a:pt x="1543559" y="196113"/>
                  </a:lnTo>
                  <a:lnTo>
                    <a:pt x="1543559" y="195415"/>
                  </a:lnTo>
                  <a:lnTo>
                    <a:pt x="1543559" y="196113"/>
                  </a:lnTo>
                  <a:lnTo>
                    <a:pt x="1543559" y="195415"/>
                  </a:lnTo>
                  <a:lnTo>
                    <a:pt x="1543559" y="196113"/>
                  </a:lnTo>
                  <a:lnTo>
                    <a:pt x="1543597" y="196113"/>
                  </a:lnTo>
                  <a:lnTo>
                    <a:pt x="1543597" y="195415"/>
                  </a:lnTo>
                  <a:lnTo>
                    <a:pt x="1543597" y="196113"/>
                  </a:lnTo>
                  <a:lnTo>
                    <a:pt x="1543597" y="195415"/>
                  </a:lnTo>
                  <a:lnTo>
                    <a:pt x="1543597" y="196113"/>
                  </a:lnTo>
                  <a:lnTo>
                    <a:pt x="1543597" y="194716"/>
                  </a:lnTo>
                  <a:lnTo>
                    <a:pt x="1543597" y="195415"/>
                  </a:lnTo>
                  <a:lnTo>
                    <a:pt x="1543597" y="194716"/>
                  </a:lnTo>
                  <a:lnTo>
                    <a:pt x="1543698" y="194716"/>
                  </a:lnTo>
                  <a:lnTo>
                    <a:pt x="1543698" y="191986"/>
                  </a:lnTo>
                  <a:lnTo>
                    <a:pt x="1543698" y="192684"/>
                  </a:lnTo>
                  <a:lnTo>
                    <a:pt x="1543749" y="192684"/>
                  </a:lnTo>
                  <a:lnTo>
                    <a:pt x="1543749" y="193383"/>
                  </a:lnTo>
                  <a:lnTo>
                    <a:pt x="1543749" y="192684"/>
                  </a:lnTo>
                  <a:lnTo>
                    <a:pt x="1543800" y="193383"/>
                  </a:lnTo>
                  <a:lnTo>
                    <a:pt x="1543800" y="196113"/>
                  </a:lnTo>
                  <a:lnTo>
                    <a:pt x="1543800" y="193383"/>
                  </a:lnTo>
                  <a:lnTo>
                    <a:pt x="1543800" y="194716"/>
                  </a:lnTo>
                  <a:lnTo>
                    <a:pt x="1543901" y="195415"/>
                  </a:lnTo>
                  <a:lnTo>
                    <a:pt x="1543901" y="196113"/>
                  </a:lnTo>
                  <a:lnTo>
                    <a:pt x="1543901" y="195415"/>
                  </a:lnTo>
                  <a:lnTo>
                    <a:pt x="1543901" y="196113"/>
                  </a:lnTo>
                  <a:lnTo>
                    <a:pt x="1543901" y="195415"/>
                  </a:lnTo>
                  <a:lnTo>
                    <a:pt x="1543901" y="196113"/>
                  </a:lnTo>
                  <a:lnTo>
                    <a:pt x="1543952" y="196113"/>
                  </a:lnTo>
                  <a:lnTo>
                    <a:pt x="1543952" y="195415"/>
                  </a:lnTo>
                  <a:lnTo>
                    <a:pt x="1543952" y="196113"/>
                  </a:lnTo>
                  <a:lnTo>
                    <a:pt x="1543952" y="195415"/>
                  </a:lnTo>
                  <a:lnTo>
                    <a:pt x="1543952" y="196113"/>
                  </a:lnTo>
                  <a:lnTo>
                    <a:pt x="1544003" y="196113"/>
                  </a:lnTo>
                  <a:lnTo>
                    <a:pt x="1544003" y="196799"/>
                  </a:lnTo>
                  <a:lnTo>
                    <a:pt x="1544003" y="196113"/>
                  </a:lnTo>
                  <a:lnTo>
                    <a:pt x="1544003" y="196799"/>
                  </a:lnTo>
                  <a:lnTo>
                    <a:pt x="1544003" y="196113"/>
                  </a:lnTo>
                  <a:lnTo>
                    <a:pt x="1544003" y="196799"/>
                  </a:lnTo>
                  <a:lnTo>
                    <a:pt x="1544003" y="196113"/>
                  </a:lnTo>
                  <a:lnTo>
                    <a:pt x="1544054" y="196799"/>
                  </a:lnTo>
                  <a:lnTo>
                    <a:pt x="1544054" y="196113"/>
                  </a:lnTo>
                  <a:lnTo>
                    <a:pt x="1544054" y="196799"/>
                  </a:lnTo>
                  <a:lnTo>
                    <a:pt x="1544054" y="196113"/>
                  </a:lnTo>
                  <a:lnTo>
                    <a:pt x="1544054" y="196799"/>
                  </a:lnTo>
                  <a:lnTo>
                    <a:pt x="1544054" y="195415"/>
                  </a:lnTo>
                  <a:lnTo>
                    <a:pt x="1544143" y="196113"/>
                  </a:lnTo>
                  <a:lnTo>
                    <a:pt x="1544143" y="194716"/>
                  </a:lnTo>
                  <a:lnTo>
                    <a:pt x="1544194" y="194716"/>
                  </a:lnTo>
                  <a:lnTo>
                    <a:pt x="1544194" y="192684"/>
                  </a:lnTo>
                  <a:lnTo>
                    <a:pt x="1544194" y="193383"/>
                  </a:lnTo>
                  <a:lnTo>
                    <a:pt x="1544194" y="191351"/>
                  </a:lnTo>
                  <a:lnTo>
                    <a:pt x="1544244" y="191351"/>
                  </a:lnTo>
                  <a:lnTo>
                    <a:pt x="1544244" y="189954"/>
                  </a:lnTo>
                  <a:lnTo>
                    <a:pt x="1544244" y="191351"/>
                  </a:lnTo>
                  <a:lnTo>
                    <a:pt x="1544244" y="189954"/>
                  </a:lnTo>
                  <a:lnTo>
                    <a:pt x="1544295" y="189954"/>
                  </a:lnTo>
                  <a:lnTo>
                    <a:pt x="1544295" y="194716"/>
                  </a:lnTo>
                  <a:lnTo>
                    <a:pt x="1544397" y="193383"/>
                  </a:lnTo>
                  <a:lnTo>
                    <a:pt x="1544397" y="195415"/>
                  </a:lnTo>
                  <a:lnTo>
                    <a:pt x="1544397" y="194716"/>
                  </a:lnTo>
                  <a:lnTo>
                    <a:pt x="1544447" y="194716"/>
                  </a:lnTo>
                  <a:lnTo>
                    <a:pt x="1544447" y="195415"/>
                  </a:lnTo>
                  <a:lnTo>
                    <a:pt x="1544498" y="196113"/>
                  </a:lnTo>
                  <a:lnTo>
                    <a:pt x="1544498" y="195415"/>
                  </a:lnTo>
                  <a:lnTo>
                    <a:pt x="1544498" y="196113"/>
                  </a:lnTo>
                  <a:lnTo>
                    <a:pt x="1544600" y="196113"/>
                  </a:lnTo>
                  <a:lnTo>
                    <a:pt x="1544600" y="196799"/>
                  </a:lnTo>
                  <a:lnTo>
                    <a:pt x="1544600" y="196113"/>
                  </a:lnTo>
                  <a:lnTo>
                    <a:pt x="1544600" y="196799"/>
                  </a:lnTo>
                  <a:lnTo>
                    <a:pt x="1544600" y="196113"/>
                  </a:lnTo>
                  <a:lnTo>
                    <a:pt x="1544600" y="196799"/>
                  </a:lnTo>
                  <a:lnTo>
                    <a:pt x="1544600" y="196113"/>
                  </a:lnTo>
                  <a:lnTo>
                    <a:pt x="1544638" y="196113"/>
                  </a:lnTo>
                  <a:lnTo>
                    <a:pt x="1544638" y="195415"/>
                  </a:lnTo>
                  <a:lnTo>
                    <a:pt x="1544638" y="196113"/>
                  </a:lnTo>
                  <a:lnTo>
                    <a:pt x="1544638" y="195415"/>
                  </a:lnTo>
                  <a:lnTo>
                    <a:pt x="1544638" y="196113"/>
                  </a:lnTo>
                  <a:lnTo>
                    <a:pt x="1544638" y="195415"/>
                  </a:lnTo>
                  <a:lnTo>
                    <a:pt x="1544638" y="196113"/>
                  </a:lnTo>
                  <a:lnTo>
                    <a:pt x="1544638" y="194716"/>
                  </a:lnTo>
                  <a:lnTo>
                    <a:pt x="1544638" y="195415"/>
                  </a:lnTo>
                  <a:lnTo>
                    <a:pt x="1544689" y="195415"/>
                  </a:lnTo>
                  <a:lnTo>
                    <a:pt x="1544689" y="193383"/>
                  </a:lnTo>
                  <a:lnTo>
                    <a:pt x="1544689" y="194716"/>
                  </a:lnTo>
                  <a:lnTo>
                    <a:pt x="1544689" y="191986"/>
                  </a:lnTo>
                  <a:lnTo>
                    <a:pt x="1544740" y="191351"/>
                  </a:lnTo>
                  <a:lnTo>
                    <a:pt x="1544740" y="193383"/>
                  </a:lnTo>
                  <a:lnTo>
                    <a:pt x="1544740" y="189954"/>
                  </a:lnTo>
                  <a:lnTo>
                    <a:pt x="1544841" y="189954"/>
                  </a:lnTo>
                  <a:lnTo>
                    <a:pt x="1544841" y="194716"/>
                  </a:lnTo>
                  <a:lnTo>
                    <a:pt x="1544841" y="192684"/>
                  </a:lnTo>
                  <a:lnTo>
                    <a:pt x="1544892" y="193383"/>
                  </a:lnTo>
                  <a:lnTo>
                    <a:pt x="1544892" y="195415"/>
                  </a:lnTo>
                  <a:lnTo>
                    <a:pt x="1544892" y="193383"/>
                  </a:lnTo>
                  <a:lnTo>
                    <a:pt x="1544892" y="194716"/>
                  </a:lnTo>
                  <a:lnTo>
                    <a:pt x="1544943" y="194716"/>
                  </a:lnTo>
                  <a:lnTo>
                    <a:pt x="1544943" y="195415"/>
                  </a:lnTo>
                  <a:lnTo>
                    <a:pt x="1544943" y="194716"/>
                  </a:lnTo>
                  <a:lnTo>
                    <a:pt x="1544943" y="195415"/>
                  </a:lnTo>
                  <a:lnTo>
                    <a:pt x="1544943" y="194716"/>
                  </a:lnTo>
                  <a:lnTo>
                    <a:pt x="1544943" y="195415"/>
                  </a:lnTo>
                  <a:lnTo>
                    <a:pt x="1545044" y="195415"/>
                  </a:lnTo>
                  <a:lnTo>
                    <a:pt x="1545044" y="196113"/>
                  </a:lnTo>
                  <a:lnTo>
                    <a:pt x="1545044" y="195415"/>
                  </a:lnTo>
                  <a:lnTo>
                    <a:pt x="1545044" y="196113"/>
                  </a:lnTo>
                  <a:lnTo>
                    <a:pt x="1545146" y="196113"/>
                  </a:lnTo>
                  <a:lnTo>
                    <a:pt x="1545146" y="194716"/>
                  </a:lnTo>
                  <a:lnTo>
                    <a:pt x="1545146" y="195415"/>
                  </a:lnTo>
                  <a:lnTo>
                    <a:pt x="1545146" y="194716"/>
                  </a:lnTo>
                  <a:lnTo>
                    <a:pt x="1545184" y="194716"/>
                  </a:lnTo>
                  <a:lnTo>
                    <a:pt x="1545184" y="193383"/>
                  </a:lnTo>
                  <a:lnTo>
                    <a:pt x="1545184" y="194716"/>
                  </a:lnTo>
                  <a:lnTo>
                    <a:pt x="1545184" y="191986"/>
                  </a:lnTo>
                  <a:lnTo>
                    <a:pt x="1545286" y="192684"/>
                  </a:lnTo>
                  <a:lnTo>
                    <a:pt x="1545286" y="189954"/>
                  </a:lnTo>
                  <a:lnTo>
                    <a:pt x="1545286" y="191986"/>
                  </a:lnTo>
                  <a:lnTo>
                    <a:pt x="1545286" y="191351"/>
                  </a:lnTo>
                  <a:lnTo>
                    <a:pt x="1545337" y="189954"/>
                  </a:lnTo>
                  <a:lnTo>
                    <a:pt x="1545337" y="192684"/>
                  </a:lnTo>
                  <a:lnTo>
                    <a:pt x="1545337" y="191351"/>
                  </a:lnTo>
                  <a:lnTo>
                    <a:pt x="1545387" y="191351"/>
                  </a:lnTo>
                  <a:lnTo>
                    <a:pt x="1545387" y="192684"/>
                  </a:lnTo>
                  <a:lnTo>
                    <a:pt x="1545387" y="191986"/>
                  </a:lnTo>
                  <a:lnTo>
                    <a:pt x="1545387" y="192684"/>
                  </a:lnTo>
                  <a:lnTo>
                    <a:pt x="1545489" y="192684"/>
                  </a:lnTo>
                  <a:lnTo>
                    <a:pt x="1545489" y="193383"/>
                  </a:lnTo>
                  <a:lnTo>
                    <a:pt x="1545489" y="192684"/>
                  </a:lnTo>
                  <a:lnTo>
                    <a:pt x="1545489" y="194716"/>
                  </a:lnTo>
                  <a:lnTo>
                    <a:pt x="1545540" y="194716"/>
                  </a:lnTo>
                  <a:lnTo>
                    <a:pt x="1545540" y="195415"/>
                  </a:lnTo>
                  <a:lnTo>
                    <a:pt x="1545540" y="194716"/>
                  </a:lnTo>
                  <a:lnTo>
                    <a:pt x="1545540" y="195415"/>
                  </a:lnTo>
                  <a:lnTo>
                    <a:pt x="1545590" y="195415"/>
                  </a:lnTo>
                  <a:lnTo>
                    <a:pt x="1545590" y="196113"/>
                  </a:lnTo>
                  <a:lnTo>
                    <a:pt x="1545590" y="195415"/>
                  </a:lnTo>
                  <a:lnTo>
                    <a:pt x="1545590" y="196799"/>
                  </a:lnTo>
                  <a:lnTo>
                    <a:pt x="1545590" y="195415"/>
                  </a:lnTo>
                  <a:lnTo>
                    <a:pt x="1545590" y="196113"/>
                  </a:lnTo>
                  <a:lnTo>
                    <a:pt x="1545641" y="196113"/>
                  </a:lnTo>
                  <a:lnTo>
                    <a:pt x="1545641" y="194716"/>
                  </a:lnTo>
                  <a:lnTo>
                    <a:pt x="1545641" y="195415"/>
                  </a:lnTo>
                  <a:lnTo>
                    <a:pt x="1545730" y="195415"/>
                  </a:lnTo>
                  <a:lnTo>
                    <a:pt x="1545730" y="193383"/>
                  </a:lnTo>
                  <a:lnTo>
                    <a:pt x="1545781" y="193383"/>
                  </a:lnTo>
                  <a:lnTo>
                    <a:pt x="1545781" y="191351"/>
                  </a:lnTo>
                  <a:lnTo>
                    <a:pt x="1545781" y="191986"/>
                  </a:lnTo>
                  <a:lnTo>
                    <a:pt x="1545781" y="189954"/>
                  </a:lnTo>
                  <a:lnTo>
                    <a:pt x="1545832" y="189954"/>
                  </a:lnTo>
                  <a:lnTo>
                    <a:pt x="1545832" y="189268"/>
                  </a:lnTo>
                  <a:lnTo>
                    <a:pt x="1545832" y="192684"/>
                  </a:lnTo>
                  <a:lnTo>
                    <a:pt x="1545832" y="191986"/>
                  </a:lnTo>
                  <a:lnTo>
                    <a:pt x="1545832" y="192684"/>
                  </a:lnTo>
                  <a:lnTo>
                    <a:pt x="1545832" y="189954"/>
                  </a:lnTo>
                  <a:lnTo>
                    <a:pt x="1545883" y="189954"/>
                  </a:lnTo>
                  <a:lnTo>
                    <a:pt x="1545883" y="191986"/>
                  </a:lnTo>
                  <a:lnTo>
                    <a:pt x="1545883" y="191351"/>
                  </a:lnTo>
                  <a:lnTo>
                    <a:pt x="1545984" y="191351"/>
                  </a:lnTo>
                  <a:lnTo>
                    <a:pt x="1545984" y="193383"/>
                  </a:lnTo>
                  <a:lnTo>
                    <a:pt x="1545984" y="192684"/>
                  </a:lnTo>
                  <a:lnTo>
                    <a:pt x="1545984" y="193383"/>
                  </a:lnTo>
                  <a:lnTo>
                    <a:pt x="1546035" y="193383"/>
                  </a:lnTo>
                  <a:lnTo>
                    <a:pt x="1546035" y="194716"/>
                  </a:lnTo>
                  <a:lnTo>
                    <a:pt x="1546035" y="193383"/>
                  </a:lnTo>
                  <a:lnTo>
                    <a:pt x="1546035" y="194716"/>
                  </a:lnTo>
                  <a:lnTo>
                    <a:pt x="1546086" y="195415"/>
                  </a:lnTo>
                  <a:lnTo>
                    <a:pt x="1546086" y="194716"/>
                  </a:lnTo>
                  <a:lnTo>
                    <a:pt x="1546086" y="195415"/>
                  </a:lnTo>
                  <a:lnTo>
                    <a:pt x="1546086" y="194716"/>
                  </a:lnTo>
                  <a:lnTo>
                    <a:pt x="1546086" y="195415"/>
                  </a:lnTo>
                  <a:lnTo>
                    <a:pt x="1546086" y="194716"/>
                  </a:lnTo>
                  <a:lnTo>
                    <a:pt x="1546086" y="195415"/>
                  </a:lnTo>
                  <a:lnTo>
                    <a:pt x="1546086" y="194716"/>
                  </a:lnTo>
                  <a:lnTo>
                    <a:pt x="1546187" y="194716"/>
                  </a:lnTo>
                  <a:lnTo>
                    <a:pt x="1546187" y="195415"/>
                  </a:lnTo>
                  <a:lnTo>
                    <a:pt x="1546187" y="194716"/>
                  </a:lnTo>
                  <a:lnTo>
                    <a:pt x="1546187" y="195415"/>
                  </a:lnTo>
                  <a:lnTo>
                    <a:pt x="1546187" y="194716"/>
                  </a:lnTo>
                  <a:lnTo>
                    <a:pt x="1546225" y="194716"/>
                  </a:lnTo>
                  <a:lnTo>
                    <a:pt x="1546225" y="195415"/>
                  </a:lnTo>
                  <a:lnTo>
                    <a:pt x="1546225" y="192684"/>
                  </a:lnTo>
                  <a:lnTo>
                    <a:pt x="1546276" y="192684"/>
                  </a:lnTo>
                  <a:lnTo>
                    <a:pt x="1546276" y="194716"/>
                  </a:lnTo>
                  <a:lnTo>
                    <a:pt x="1546276" y="192684"/>
                  </a:lnTo>
                  <a:lnTo>
                    <a:pt x="1546276" y="193383"/>
                  </a:lnTo>
                  <a:lnTo>
                    <a:pt x="1546276" y="192684"/>
                  </a:lnTo>
                  <a:lnTo>
                    <a:pt x="1546276" y="193383"/>
                  </a:lnTo>
                  <a:lnTo>
                    <a:pt x="1546327" y="193383"/>
                  </a:lnTo>
                  <a:lnTo>
                    <a:pt x="1546327" y="196113"/>
                  </a:lnTo>
                  <a:lnTo>
                    <a:pt x="1546327" y="193383"/>
                  </a:lnTo>
                  <a:lnTo>
                    <a:pt x="1546327" y="195415"/>
                  </a:lnTo>
                  <a:lnTo>
                    <a:pt x="1546429" y="195415"/>
                  </a:lnTo>
                  <a:lnTo>
                    <a:pt x="1546429" y="194716"/>
                  </a:lnTo>
                  <a:lnTo>
                    <a:pt x="1546429" y="195415"/>
                  </a:lnTo>
                  <a:lnTo>
                    <a:pt x="1546429" y="194716"/>
                  </a:lnTo>
                  <a:lnTo>
                    <a:pt x="1546429" y="195415"/>
                  </a:lnTo>
                  <a:lnTo>
                    <a:pt x="1546429" y="194716"/>
                  </a:lnTo>
                  <a:lnTo>
                    <a:pt x="1546480" y="195415"/>
                  </a:lnTo>
                  <a:lnTo>
                    <a:pt x="1546530" y="195415"/>
                  </a:lnTo>
                  <a:lnTo>
                    <a:pt x="1546530" y="196113"/>
                  </a:lnTo>
                  <a:lnTo>
                    <a:pt x="1546530" y="195415"/>
                  </a:lnTo>
                  <a:lnTo>
                    <a:pt x="1546530" y="196113"/>
                  </a:lnTo>
                  <a:lnTo>
                    <a:pt x="1546530" y="195415"/>
                  </a:lnTo>
                  <a:lnTo>
                    <a:pt x="1546632" y="195415"/>
                  </a:lnTo>
                  <a:lnTo>
                    <a:pt x="1546632" y="196113"/>
                  </a:lnTo>
                  <a:lnTo>
                    <a:pt x="1546632" y="195415"/>
                  </a:lnTo>
                  <a:lnTo>
                    <a:pt x="1546632" y="196113"/>
                  </a:lnTo>
                  <a:lnTo>
                    <a:pt x="1546632" y="195415"/>
                  </a:lnTo>
                  <a:lnTo>
                    <a:pt x="1546683" y="196113"/>
                  </a:lnTo>
                  <a:lnTo>
                    <a:pt x="1546683" y="194716"/>
                  </a:lnTo>
                  <a:lnTo>
                    <a:pt x="1546683" y="196113"/>
                  </a:lnTo>
                  <a:lnTo>
                    <a:pt x="1546734" y="195415"/>
                  </a:lnTo>
                  <a:lnTo>
                    <a:pt x="1546734" y="194716"/>
                  </a:lnTo>
                  <a:lnTo>
                    <a:pt x="1546734" y="196799"/>
                  </a:lnTo>
                  <a:lnTo>
                    <a:pt x="1546772" y="196799"/>
                  </a:lnTo>
                  <a:lnTo>
                    <a:pt x="1546772" y="194716"/>
                  </a:lnTo>
                  <a:lnTo>
                    <a:pt x="1546772" y="198831"/>
                  </a:lnTo>
                  <a:lnTo>
                    <a:pt x="1546772" y="197447"/>
                  </a:lnTo>
                  <a:lnTo>
                    <a:pt x="1546873" y="196799"/>
                  </a:lnTo>
                  <a:lnTo>
                    <a:pt x="1546873" y="196113"/>
                  </a:lnTo>
                  <a:lnTo>
                    <a:pt x="1546873" y="196799"/>
                  </a:lnTo>
                  <a:lnTo>
                    <a:pt x="1546873" y="196113"/>
                  </a:lnTo>
                  <a:lnTo>
                    <a:pt x="1546873" y="197447"/>
                  </a:lnTo>
                  <a:lnTo>
                    <a:pt x="1546873" y="196799"/>
                  </a:lnTo>
                  <a:lnTo>
                    <a:pt x="1546924" y="196799"/>
                  </a:lnTo>
                  <a:lnTo>
                    <a:pt x="1546924" y="197447"/>
                  </a:lnTo>
                  <a:lnTo>
                    <a:pt x="1546924" y="196799"/>
                  </a:lnTo>
                  <a:lnTo>
                    <a:pt x="1546924" y="197447"/>
                  </a:lnTo>
                  <a:lnTo>
                    <a:pt x="1546924" y="196799"/>
                  </a:lnTo>
                  <a:lnTo>
                    <a:pt x="1546975" y="196799"/>
                  </a:lnTo>
                  <a:lnTo>
                    <a:pt x="1546975" y="197447"/>
                  </a:lnTo>
                  <a:lnTo>
                    <a:pt x="1546975" y="196799"/>
                  </a:lnTo>
                  <a:lnTo>
                    <a:pt x="1546975" y="197447"/>
                  </a:lnTo>
                  <a:lnTo>
                    <a:pt x="1546975" y="196799"/>
                  </a:lnTo>
                  <a:lnTo>
                    <a:pt x="1547076" y="196799"/>
                  </a:lnTo>
                  <a:lnTo>
                    <a:pt x="1547076" y="196113"/>
                  </a:lnTo>
                  <a:lnTo>
                    <a:pt x="1547076" y="196799"/>
                  </a:lnTo>
                  <a:lnTo>
                    <a:pt x="1547076" y="196113"/>
                  </a:lnTo>
                  <a:lnTo>
                    <a:pt x="1547076" y="196799"/>
                  </a:lnTo>
                  <a:lnTo>
                    <a:pt x="1547076" y="196113"/>
                  </a:lnTo>
                  <a:lnTo>
                    <a:pt x="1547127" y="196113"/>
                  </a:lnTo>
                  <a:lnTo>
                    <a:pt x="1547127" y="196799"/>
                  </a:lnTo>
                  <a:lnTo>
                    <a:pt x="1547127" y="196113"/>
                  </a:lnTo>
                  <a:lnTo>
                    <a:pt x="1547178" y="195415"/>
                  </a:lnTo>
                  <a:lnTo>
                    <a:pt x="1547178" y="194716"/>
                  </a:lnTo>
                  <a:lnTo>
                    <a:pt x="1547178" y="195415"/>
                  </a:lnTo>
                  <a:lnTo>
                    <a:pt x="1547178" y="194716"/>
                  </a:lnTo>
                  <a:lnTo>
                    <a:pt x="1547178" y="195415"/>
                  </a:lnTo>
                  <a:lnTo>
                    <a:pt x="1547178" y="194716"/>
                  </a:lnTo>
                  <a:lnTo>
                    <a:pt x="1547229" y="194716"/>
                  </a:lnTo>
                  <a:lnTo>
                    <a:pt x="1547229" y="193383"/>
                  </a:lnTo>
                  <a:lnTo>
                    <a:pt x="1547229" y="196113"/>
                  </a:lnTo>
                  <a:lnTo>
                    <a:pt x="1547229" y="194716"/>
                  </a:lnTo>
                  <a:lnTo>
                    <a:pt x="1547318" y="194716"/>
                  </a:lnTo>
                  <a:lnTo>
                    <a:pt x="1547318" y="196799"/>
                  </a:lnTo>
                  <a:lnTo>
                    <a:pt x="1547318" y="195415"/>
                  </a:lnTo>
                  <a:lnTo>
                    <a:pt x="1547318" y="196113"/>
                  </a:lnTo>
                  <a:lnTo>
                    <a:pt x="1547369" y="196113"/>
                  </a:lnTo>
                  <a:lnTo>
                    <a:pt x="1547369" y="197447"/>
                  </a:lnTo>
                  <a:lnTo>
                    <a:pt x="1547369" y="196799"/>
                  </a:lnTo>
                  <a:lnTo>
                    <a:pt x="1547369" y="197447"/>
                  </a:lnTo>
                  <a:lnTo>
                    <a:pt x="1547369" y="196799"/>
                  </a:lnTo>
                  <a:lnTo>
                    <a:pt x="1547369" y="197447"/>
                  </a:lnTo>
                  <a:lnTo>
                    <a:pt x="1547369" y="196799"/>
                  </a:lnTo>
                  <a:lnTo>
                    <a:pt x="1547369" y="197447"/>
                  </a:lnTo>
                  <a:lnTo>
                    <a:pt x="1547419" y="197447"/>
                  </a:lnTo>
                  <a:lnTo>
                    <a:pt x="1547470" y="196799"/>
                  </a:lnTo>
                  <a:lnTo>
                    <a:pt x="1547470" y="198831"/>
                  </a:lnTo>
                  <a:lnTo>
                    <a:pt x="1547470" y="197447"/>
                  </a:lnTo>
                  <a:lnTo>
                    <a:pt x="1547470" y="198831"/>
                  </a:lnTo>
                  <a:lnTo>
                    <a:pt x="1547470" y="197447"/>
                  </a:lnTo>
                  <a:lnTo>
                    <a:pt x="1547572" y="197447"/>
                  </a:lnTo>
                  <a:lnTo>
                    <a:pt x="1547572" y="196799"/>
                  </a:lnTo>
                  <a:lnTo>
                    <a:pt x="1547572" y="197447"/>
                  </a:lnTo>
                  <a:lnTo>
                    <a:pt x="1547572" y="196799"/>
                  </a:lnTo>
                  <a:lnTo>
                    <a:pt x="1547572" y="197447"/>
                  </a:lnTo>
                  <a:lnTo>
                    <a:pt x="1547572" y="196799"/>
                  </a:lnTo>
                  <a:lnTo>
                    <a:pt x="1547622" y="196799"/>
                  </a:lnTo>
                  <a:lnTo>
                    <a:pt x="1547622" y="196113"/>
                  </a:lnTo>
                  <a:lnTo>
                    <a:pt x="1547622" y="196799"/>
                  </a:lnTo>
                  <a:lnTo>
                    <a:pt x="1547622" y="196113"/>
                  </a:lnTo>
                  <a:lnTo>
                    <a:pt x="1547622" y="196799"/>
                  </a:lnTo>
                  <a:lnTo>
                    <a:pt x="1547622" y="195415"/>
                  </a:lnTo>
                  <a:lnTo>
                    <a:pt x="1547673" y="195415"/>
                  </a:lnTo>
                  <a:lnTo>
                    <a:pt x="1547673" y="194716"/>
                  </a:lnTo>
                  <a:lnTo>
                    <a:pt x="1547673" y="196113"/>
                  </a:lnTo>
                  <a:lnTo>
                    <a:pt x="1547775" y="196113"/>
                  </a:lnTo>
                  <a:lnTo>
                    <a:pt x="1547775" y="194716"/>
                  </a:lnTo>
                  <a:lnTo>
                    <a:pt x="1547775" y="197447"/>
                  </a:lnTo>
                  <a:lnTo>
                    <a:pt x="1547813" y="197447"/>
                  </a:lnTo>
                  <a:lnTo>
                    <a:pt x="1547813" y="196113"/>
                  </a:lnTo>
                  <a:lnTo>
                    <a:pt x="1547813" y="197447"/>
                  </a:lnTo>
                  <a:lnTo>
                    <a:pt x="1547813" y="196799"/>
                  </a:lnTo>
                  <a:lnTo>
                    <a:pt x="1547864" y="196799"/>
                  </a:lnTo>
                  <a:lnTo>
                    <a:pt x="1547864" y="198831"/>
                  </a:lnTo>
                  <a:lnTo>
                    <a:pt x="1547864" y="197447"/>
                  </a:lnTo>
                  <a:lnTo>
                    <a:pt x="1547915" y="197447"/>
                  </a:lnTo>
                  <a:lnTo>
                    <a:pt x="1547915" y="198831"/>
                  </a:lnTo>
                  <a:lnTo>
                    <a:pt x="1547915" y="197447"/>
                  </a:lnTo>
                  <a:lnTo>
                    <a:pt x="1547915" y="198831"/>
                  </a:lnTo>
                  <a:lnTo>
                    <a:pt x="1547915" y="197447"/>
                  </a:lnTo>
                  <a:lnTo>
                    <a:pt x="1547915" y="198831"/>
                  </a:lnTo>
                  <a:lnTo>
                    <a:pt x="1547915" y="197447"/>
                  </a:lnTo>
                  <a:lnTo>
                    <a:pt x="1547915" y="198831"/>
                  </a:lnTo>
                  <a:lnTo>
                    <a:pt x="1547915" y="197447"/>
                  </a:lnTo>
                  <a:lnTo>
                    <a:pt x="1547915" y="198831"/>
                  </a:lnTo>
                  <a:lnTo>
                    <a:pt x="1548016" y="198831"/>
                  </a:lnTo>
                  <a:lnTo>
                    <a:pt x="1548016" y="197447"/>
                  </a:lnTo>
                  <a:lnTo>
                    <a:pt x="1548067" y="197447"/>
                  </a:lnTo>
                  <a:lnTo>
                    <a:pt x="1548067" y="196799"/>
                  </a:lnTo>
                  <a:lnTo>
                    <a:pt x="1548067" y="197447"/>
                  </a:lnTo>
                  <a:lnTo>
                    <a:pt x="1548067" y="196799"/>
                  </a:lnTo>
                  <a:lnTo>
                    <a:pt x="1548118" y="196799"/>
                  </a:lnTo>
                  <a:lnTo>
                    <a:pt x="1548118" y="196113"/>
                  </a:lnTo>
                  <a:lnTo>
                    <a:pt x="1548118" y="196799"/>
                  </a:lnTo>
                  <a:lnTo>
                    <a:pt x="1548118" y="196113"/>
                  </a:lnTo>
                  <a:lnTo>
                    <a:pt x="1548118" y="196799"/>
                  </a:lnTo>
                  <a:lnTo>
                    <a:pt x="1548118" y="195415"/>
                  </a:lnTo>
                  <a:lnTo>
                    <a:pt x="1548219" y="195415"/>
                  </a:lnTo>
                  <a:lnTo>
                    <a:pt x="1548219" y="193383"/>
                  </a:lnTo>
                  <a:lnTo>
                    <a:pt x="1548219" y="196113"/>
                  </a:lnTo>
                  <a:lnTo>
                    <a:pt x="1548219" y="194716"/>
                  </a:lnTo>
                  <a:lnTo>
                    <a:pt x="1548270" y="195415"/>
                  </a:lnTo>
                  <a:lnTo>
                    <a:pt x="1548270" y="194716"/>
                  </a:lnTo>
                  <a:lnTo>
                    <a:pt x="1548270" y="195415"/>
                  </a:lnTo>
                  <a:lnTo>
                    <a:pt x="1548270" y="194716"/>
                  </a:lnTo>
                  <a:lnTo>
                    <a:pt x="1548270" y="196799"/>
                  </a:lnTo>
                  <a:lnTo>
                    <a:pt x="1548270" y="196113"/>
                  </a:lnTo>
                  <a:lnTo>
                    <a:pt x="1548321" y="195415"/>
                  </a:lnTo>
                  <a:lnTo>
                    <a:pt x="1548321" y="196799"/>
                  </a:lnTo>
                  <a:lnTo>
                    <a:pt x="1548321" y="196113"/>
                  </a:lnTo>
                  <a:lnTo>
                    <a:pt x="1548359" y="196113"/>
                  </a:lnTo>
                  <a:lnTo>
                    <a:pt x="1548359" y="197447"/>
                  </a:lnTo>
                  <a:lnTo>
                    <a:pt x="1548359" y="196799"/>
                  </a:lnTo>
                  <a:lnTo>
                    <a:pt x="1548461" y="196799"/>
                  </a:lnTo>
                  <a:lnTo>
                    <a:pt x="1548461" y="198831"/>
                  </a:lnTo>
                  <a:lnTo>
                    <a:pt x="1548461" y="197447"/>
                  </a:lnTo>
                  <a:lnTo>
                    <a:pt x="1548461" y="198831"/>
                  </a:lnTo>
                  <a:lnTo>
                    <a:pt x="1548461" y="197447"/>
                  </a:lnTo>
                  <a:lnTo>
                    <a:pt x="1548461" y="198831"/>
                  </a:lnTo>
                  <a:lnTo>
                    <a:pt x="1548512" y="198831"/>
                  </a:lnTo>
                  <a:lnTo>
                    <a:pt x="1548512" y="197447"/>
                  </a:lnTo>
                  <a:lnTo>
                    <a:pt x="1548562" y="197447"/>
                  </a:lnTo>
                  <a:lnTo>
                    <a:pt x="1548562" y="198831"/>
                  </a:lnTo>
                  <a:lnTo>
                    <a:pt x="1548562" y="196799"/>
                  </a:lnTo>
                  <a:lnTo>
                    <a:pt x="1548664" y="196799"/>
                  </a:lnTo>
                  <a:lnTo>
                    <a:pt x="1548664" y="195415"/>
                  </a:lnTo>
                  <a:lnTo>
                    <a:pt x="1548715" y="195415"/>
                  </a:lnTo>
                  <a:lnTo>
                    <a:pt x="1548715" y="194716"/>
                  </a:lnTo>
                  <a:lnTo>
                    <a:pt x="1548715" y="196113"/>
                  </a:lnTo>
                  <a:lnTo>
                    <a:pt x="1548715" y="194716"/>
                  </a:lnTo>
                  <a:lnTo>
                    <a:pt x="1548765" y="194716"/>
                  </a:lnTo>
                  <a:lnTo>
                    <a:pt x="1548765" y="197447"/>
                  </a:lnTo>
                  <a:lnTo>
                    <a:pt x="1548765" y="196799"/>
                  </a:lnTo>
                  <a:lnTo>
                    <a:pt x="1548765" y="197447"/>
                  </a:lnTo>
                  <a:lnTo>
                    <a:pt x="1548765" y="195415"/>
                  </a:lnTo>
                  <a:lnTo>
                    <a:pt x="1548816" y="195415"/>
                  </a:lnTo>
                  <a:lnTo>
                    <a:pt x="1548816" y="196799"/>
                  </a:lnTo>
                  <a:lnTo>
                    <a:pt x="1548816" y="195415"/>
                  </a:lnTo>
                  <a:lnTo>
                    <a:pt x="1548816" y="196113"/>
                  </a:lnTo>
                  <a:lnTo>
                    <a:pt x="1548905" y="196799"/>
                  </a:lnTo>
                  <a:lnTo>
                    <a:pt x="1548905" y="196113"/>
                  </a:lnTo>
                  <a:lnTo>
                    <a:pt x="1548905" y="196799"/>
                  </a:lnTo>
                  <a:lnTo>
                    <a:pt x="1549007" y="196799"/>
                  </a:lnTo>
                  <a:lnTo>
                    <a:pt x="1549007" y="197447"/>
                  </a:lnTo>
                  <a:lnTo>
                    <a:pt x="1549007" y="196799"/>
                  </a:lnTo>
                  <a:lnTo>
                    <a:pt x="1549058" y="196799"/>
                  </a:lnTo>
                  <a:lnTo>
                    <a:pt x="1549058" y="195415"/>
                  </a:lnTo>
                  <a:lnTo>
                    <a:pt x="1549159" y="195415"/>
                  </a:lnTo>
                  <a:lnTo>
                    <a:pt x="1549159" y="196113"/>
                  </a:lnTo>
                  <a:lnTo>
                    <a:pt x="1549159" y="195415"/>
                  </a:lnTo>
                  <a:lnTo>
                    <a:pt x="1549159" y="196799"/>
                  </a:lnTo>
                  <a:lnTo>
                    <a:pt x="1549210" y="196113"/>
                  </a:lnTo>
                  <a:lnTo>
                    <a:pt x="1549210" y="196799"/>
                  </a:lnTo>
                  <a:lnTo>
                    <a:pt x="1549210" y="194716"/>
                  </a:lnTo>
                  <a:lnTo>
                    <a:pt x="1549210" y="197447"/>
                  </a:lnTo>
                  <a:lnTo>
                    <a:pt x="1549261" y="197447"/>
                  </a:lnTo>
                  <a:lnTo>
                    <a:pt x="1549261" y="196799"/>
                  </a:lnTo>
                  <a:lnTo>
                    <a:pt x="1549261" y="197447"/>
                  </a:lnTo>
                  <a:lnTo>
                    <a:pt x="1549362" y="196799"/>
                  </a:lnTo>
                  <a:lnTo>
                    <a:pt x="1549362" y="197447"/>
                  </a:lnTo>
                  <a:lnTo>
                    <a:pt x="1549362" y="196799"/>
                  </a:lnTo>
                  <a:lnTo>
                    <a:pt x="1549362" y="198831"/>
                  </a:lnTo>
                  <a:lnTo>
                    <a:pt x="1549362" y="197447"/>
                  </a:lnTo>
                  <a:lnTo>
                    <a:pt x="1549362" y="198831"/>
                  </a:lnTo>
                  <a:lnTo>
                    <a:pt x="1549362" y="197447"/>
                  </a:lnTo>
                  <a:lnTo>
                    <a:pt x="1549400" y="197447"/>
                  </a:lnTo>
                  <a:lnTo>
                    <a:pt x="1549400" y="198831"/>
                  </a:lnTo>
                  <a:lnTo>
                    <a:pt x="1549400" y="196799"/>
                  </a:lnTo>
                  <a:lnTo>
                    <a:pt x="1549451" y="196799"/>
                  </a:lnTo>
                  <a:lnTo>
                    <a:pt x="1549451" y="197447"/>
                  </a:lnTo>
                  <a:lnTo>
                    <a:pt x="1549451" y="196799"/>
                  </a:lnTo>
                  <a:lnTo>
                    <a:pt x="1549502" y="196799"/>
                  </a:lnTo>
                  <a:lnTo>
                    <a:pt x="1549502" y="197447"/>
                  </a:lnTo>
                  <a:lnTo>
                    <a:pt x="1549502" y="196113"/>
                  </a:lnTo>
                  <a:lnTo>
                    <a:pt x="1549502" y="196799"/>
                  </a:lnTo>
                  <a:lnTo>
                    <a:pt x="1549604" y="196799"/>
                  </a:lnTo>
                  <a:lnTo>
                    <a:pt x="1549604" y="195415"/>
                  </a:lnTo>
                  <a:lnTo>
                    <a:pt x="1549604" y="196113"/>
                  </a:lnTo>
                  <a:lnTo>
                    <a:pt x="1549604" y="195415"/>
                  </a:lnTo>
                  <a:lnTo>
                    <a:pt x="1549655" y="195415"/>
                  </a:lnTo>
                  <a:lnTo>
                    <a:pt x="1549655" y="196799"/>
                  </a:lnTo>
                  <a:lnTo>
                    <a:pt x="1549655" y="196113"/>
                  </a:lnTo>
                  <a:lnTo>
                    <a:pt x="1549705" y="196113"/>
                  </a:lnTo>
                  <a:lnTo>
                    <a:pt x="1549705" y="197447"/>
                  </a:lnTo>
                  <a:lnTo>
                    <a:pt x="1549705" y="196799"/>
                  </a:lnTo>
                  <a:lnTo>
                    <a:pt x="1549705" y="197447"/>
                  </a:lnTo>
                  <a:lnTo>
                    <a:pt x="1549807" y="197447"/>
                  </a:lnTo>
                  <a:lnTo>
                    <a:pt x="1549807" y="198831"/>
                  </a:lnTo>
                  <a:lnTo>
                    <a:pt x="1549807" y="196799"/>
                  </a:lnTo>
                  <a:lnTo>
                    <a:pt x="1549807" y="197447"/>
                  </a:lnTo>
                  <a:lnTo>
                    <a:pt x="1549858" y="197447"/>
                  </a:lnTo>
                  <a:lnTo>
                    <a:pt x="1549858" y="198831"/>
                  </a:lnTo>
                  <a:lnTo>
                    <a:pt x="1549858" y="197447"/>
                  </a:lnTo>
                  <a:lnTo>
                    <a:pt x="1549858" y="198831"/>
                  </a:lnTo>
                  <a:lnTo>
                    <a:pt x="1549858" y="197447"/>
                  </a:lnTo>
                  <a:lnTo>
                    <a:pt x="1549858" y="198831"/>
                  </a:lnTo>
                  <a:lnTo>
                    <a:pt x="1549909" y="198831"/>
                  </a:lnTo>
                  <a:lnTo>
                    <a:pt x="1549909" y="197447"/>
                  </a:lnTo>
                  <a:lnTo>
                    <a:pt x="1549909" y="198831"/>
                  </a:lnTo>
                  <a:lnTo>
                    <a:pt x="1549909" y="197447"/>
                  </a:lnTo>
                  <a:lnTo>
                    <a:pt x="1549909" y="198831"/>
                  </a:lnTo>
                  <a:lnTo>
                    <a:pt x="1549947" y="197447"/>
                  </a:lnTo>
                  <a:lnTo>
                    <a:pt x="1549947" y="198831"/>
                  </a:lnTo>
                  <a:lnTo>
                    <a:pt x="1549947" y="196799"/>
                  </a:lnTo>
                  <a:lnTo>
                    <a:pt x="1550048" y="196799"/>
                  </a:lnTo>
                  <a:lnTo>
                    <a:pt x="1550048" y="195415"/>
                  </a:lnTo>
                  <a:lnTo>
                    <a:pt x="1550099" y="195415"/>
                  </a:lnTo>
                  <a:lnTo>
                    <a:pt x="1550099" y="194716"/>
                  </a:lnTo>
                  <a:lnTo>
                    <a:pt x="1550099" y="195415"/>
                  </a:lnTo>
                  <a:lnTo>
                    <a:pt x="1550099" y="194716"/>
                  </a:lnTo>
                  <a:lnTo>
                    <a:pt x="1550099" y="195415"/>
                  </a:lnTo>
                  <a:lnTo>
                    <a:pt x="1550150" y="196113"/>
                  </a:lnTo>
                  <a:lnTo>
                    <a:pt x="1550150" y="196799"/>
                  </a:lnTo>
                  <a:lnTo>
                    <a:pt x="1550150" y="194716"/>
                  </a:lnTo>
                  <a:lnTo>
                    <a:pt x="1550150" y="196799"/>
                  </a:lnTo>
                  <a:lnTo>
                    <a:pt x="1550251" y="197447"/>
                  </a:lnTo>
                  <a:lnTo>
                    <a:pt x="1550251" y="195415"/>
                  </a:lnTo>
                  <a:lnTo>
                    <a:pt x="1550251" y="197447"/>
                  </a:lnTo>
                  <a:lnTo>
                    <a:pt x="1550251" y="196799"/>
                  </a:lnTo>
                  <a:lnTo>
                    <a:pt x="1550302" y="196799"/>
                  </a:lnTo>
                  <a:lnTo>
                    <a:pt x="1550302" y="197447"/>
                  </a:lnTo>
                  <a:lnTo>
                    <a:pt x="1550302" y="196799"/>
                  </a:lnTo>
                  <a:lnTo>
                    <a:pt x="1550302" y="197447"/>
                  </a:lnTo>
                  <a:lnTo>
                    <a:pt x="1550302" y="196799"/>
                  </a:lnTo>
                  <a:lnTo>
                    <a:pt x="1550302" y="197447"/>
                  </a:lnTo>
                  <a:lnTo>
                    <a:pt x="1550353" y="197447"/>
                  </a:lnTo>
                  <a:lnTo>
                    <a:pt x="1550353" y="198831"/>
                  </a:lnTo>
                  <a:lnTo>
                    <a:pt x="1550404" y="198831"/>
                  </a:lnTo>
                  <a:lnTo>
                    <a:pt x="1550404" y="197447"/>
                  </a:lnTo>
                  <a:lnTo>
                    <a:pt x="1550404" y="198831"/>
                  </a:lnTo>
                  <a:lnTo>
                    <a:pt x="1550404" y="197447"/>
                  </a:lnTo>
                  <a:lnTo>
                    <a:pt x="1550404" y="198831"/>
                  </a:lnTo>
                  <a:lnTo>
                    <a:pt x="1550404" y="197447"/>
                  </a:lnTo>
                  <a:lnTo>
                    <a:pt x="1550404" y="198831"/>
                  </a:lnTo>
                  <a:lnTo>
                    <a:pt x="1550404" y="197447"/>
                  </a:lnTo>
                  <a:lnTo>
                    <a:pt x="1550493" y="198831"/>
                  </a:lnTo>
                  <a:lnTo>
                    <a:pt x="1550493" y="196799"/>
                  </a:lnTo>
                  <a:lnTo>
                    <a:pt x="1550493" y="197447"/>
                  </a:lnTo>
                  <a:lnTo>
                    <a:pt x="1550493" y="196799"/>
                  </a:lnTo>
                  <a:lnTo>
                    <a:pt x="1550493" y="197447"/>
                  </a:lnTo>
                  <a:lnTo>
                    <a:pt x="1550493" y="196799"/>
                  </a:lnTo>
                  <a:lnTo>
                    <a:pt x="1550493" y="197447"/>
                  </a:lnTo>
                  <a:lnTo>
                    <a:pt x="1550544" y="197447"/>
                  </a:lnTo>
                  <a:lnTo>
                    <a:pt x="1550544" y="196113"/>
                  </a:lnTo>
                  <a:lnTo>
                    <a:pt x="1550544" y="196799"/>
                  </a:lnTo>
                  <a:lnTo>
                    <a:pt x="1550544" y="196113"/>
                  </a:lnTo>
                  <a:lnTo>
                    <a:pt x="1550544" y="196799"/>
                  </a:lnTo>
                  <a:lnTo>
                    <a:pt x="1550544" y="195415"/>
                  </a:lnTo>
                  <a:lnTo>
                    <a:pt x="1550594" y="195415"/>
                  </a:lnTo>
                  <a:lnTo>
                    <a:pt x="1550594" y="193383"/>
                  </a:lnTo>
                  <a:lnTo>
                    <a:pt x="1550594" y="196113"/>
                  </a:lnTo>
                  <a:lnTo>
                    <a:pt x="1550645" y="196113"/>
                  </a:lnTo>
                  <a:lnTo>
                    <a:pt x="1550645" y="194716"/>
                  </a:lnTo>
                  <a:lnTo>
                    <a:pt x="1550645" y="196799"/>
                  </a:lnTo>
                  <a:lnTo>
                    <a:pt x="1550645" y="196113"/>
                  </a:lnTo>
                  <a:lnTo>
                    <a:pt x="1550747" y="196113"/>
                  </a:lnTo>
                  <a:lnTo>
                    <a:pt x="1550747" y="195415"/>
                  </a:lnTo>
                  <a:lnTo>
                    <a:pt x="1550747" y="196799"/>
                  </a:lnTo>
                  <a:lnTo>
                    <a:pt x="1550797" y="196799"/>
                  </a:lnTo>
                  <a:lnTo>
                    <a:pt x="1550797" y="196113"/>
                  </a:lnTo>
                  <a:lnTo>
                    <a:pt x="1550797" y="196799"/>
                  </a:lnTo>
                  <a:lnTo>
                    <a:pt x="1550848" y="196799"/>
                  </a:lnTo>
                  <a:lnTo>
                    <a:pt x="1550848" y="197447"/>
                  </a:lnTo>
                  <a:lnTo>
                    <a:pt x="1550950" y="197447"/>
                  </a:lnTo>
                  <a:lnTo>
                    <a:pt x="1550950" y="198831"/>
                  </a:lnTo>
                  <a:lnTo>
                    <a:pt x="1550950" y="196799"/>
                  </a:lnTo>
                  <a:lnTo>
                    <a:pt x="1550950" y="197447"/>
                  </a:lnTo>
                  <a:lnTo>
                    <a:pt x="1550950" y="196799"/>
                  </a:lnTo>
                  <a:lnTo>
                    <a:pt x="1550988" y="196799"/>
                  </a:lnTo>
                  <a:lnTo>
                    <a:pt x="1550988" y="196113"/>
                  </a:lnTo>
                  <a:lnTo>
                    <a:pt x="1551039" y="196113"/>
                  </a:lnTo>
                  <a:lnTo>
                    <a:pt x="1551039" y="196799"/>
                  </a:lnTo>
                  <a:lnTo>
                    <a:pt x="1551039" y="196113"/>
                  </a:lnTo>
                  <a:lnTo>
                    <a:pt x="1551039" y="196799"/>
                  </a:lnTo>
                  <a:lnTo>
                    <a:pt x="1551039" y="196113"/>
                  </a:lnTo>
                  <a:lnTo>
                    <a:pt x="1551039" y="196799"/>
                  </a:lnTo>
                  <a:lnTo>
                    <a:pt x="1551039" y="194716"/>
                  </a:lnTo>
                  <a:lnTo>
                    <a:pt x="1551039" y="195415"/>
                  </a:lnTo>
                  <a:lnTo>
                    <a:pt x="1551090" y="195415"/>
                  </a:lnTo>
                  <a:lnTo>
                    <a:pt x="1551090" y="193383"/>
                  </a:lnTo>
                  <a:lnTo>
                    <a:pt x="1551090" y="195415"/>
                  </a:lnTo>
                  <a:lnTo>
                    <a:pt x="1551090" y="194716"/>
                  </a:lnTo>
                  <a:lnTo>
                    <a:pt x="1551090" y="195415"/>
                  </a:lnTo>
                  <a:lnTo>
                    <a:pt x="1551191" y="194716"/>
                  </a:lnTo>
                  <a:lnTo>
                    <a:pt x="1551191" y="192684"/>
                  </a:lnTo>
                  <a:lnTo>
                    <a:pt x="1551191" y="196113"/>
                  </a:lnTo>
                  <a:lnTo>
                    <a:pt x="1551191" y="195415"/>
                  </a:lnTo>
                  <a:lnTo>
                    <a:pt x="1551242" y="195415"/>
                  </a:lnTo>
                  <a:lnTo>
                    <a:pt x="1551242" y="194716"/>
                  </a:lnTo>
                  <a:lnTo>
                    <a:pt x="1551242" y="196799"/>
                  </a:lnTo>
                  <a:lnTo>
                    <a:pt x="1551242" y="196113"/>
                  </a:lnTo>
                  <a:lnTo>
                    <a:pt x="1551293" y="195415"/>
                  </a:lnTo>
                  <a:lnTo>
                    <a:pt x="1551293" y="196799"/>
                  </a:lnTo>
                  <a:lnTo>
                    <a:pt x="1551293" y="196113"/>
                  </a:lnTo>
                  <a:lnTo>
                    <a:pt x="1551293" y="196799"/>
                  </a:lnTo>
                  <a:lnTo>
                    <a:pt x="1551394" y="196799"/>
                  </a:lnTo>
                  <a:lnTo>
                    <a:pt x="1551394" y="197447"/>
                  </a:lnTo>
                  <a:lnTo>
                    <a:pt x="1551394" y="196799"/>
                  </a:lnTo>
                  <a:lnTo>
                    <a:pt x="1551394" y="197447"/>
                  </a:lnTo>
                  <a:lnTo>
                    <a:pt x="1551394" y="196799"/>
                  </a:lnTo>
                  <a:lnTo>
                    <a:pt x="1551445" y="196799"/>
                  </a:lnTo>
                  <a:lnTo>
                    <a:pt x="1551445" y="197447"/>
                  </a:lnTo>
                  <a:lnTo>
                    <a:pt x="1551445" y="196799"/>
                  </a:lnTo>
                  <a:lnTo>
                    <a:pt x="1551445" y="197447"/>
                  </a:lnTo>
                  <a:lnTo>
                    <a:pt x="1551445" y="196799"/>
                  </a:lnTo>
                  <a:lnTo>
                    <a:pt x="1551445" y="197447"/>
                  </a:lnTo>
                  <a:lnTo>
                    <a:pt x="1551445" y="196799"/>
                  </a:lnTo>
                  <a:lnTo>
                    <a:pt x="1551496" y="197447"/>
                  </a:lnTo>
                  <a:lnTo>
                    <a:pt x="1551496" y="196799"/>
                  </a:lnTo>
                  <a:lnTo>
                    <a:pt x="1551496" y="197447"/>
                  </a:lnTo>
                  <a:lnTo>
                    <a:pt x="1551496" y="196799"/>
                  </a:lnTo>
                  <a:lnTo>
                    <a:pt x="1551496" y="197447"/>
                  </a:lnTo>
                  <a:lnTo>
                    <a:pt x="1551496" y="196799"/>
                  </a:lnTo>
                  <a:lnTo>
                    <a:pt x="1551496" y="197447"/>
                  </a:lnTo>
                  <a:lnTo>
                    <a:pt x="1551496" y="196113"/>
                  </a:lnTo>
                  <a:lnTo>
                    <a:pt x="1551534" y="196113"/>
                  </a:lnTo>
                  <a:lnTo>
                    <a:pt x="1551534" y="196799"/>
                  </a:lnTo>
                  <a:lnTo>
                    <a:pt x="1551534" y="194716"/>
                  </a:lnTo>
                  <a:lnTo>
                    <a:pt x="1551636" y="194716"/>
                  </a:lnTo>
                  <a:lnTo>
                    <a:pt x="1551636" y="193383"/>
                  </a:lnTo>
                  <a:lnTo>
                    <a:pt x="1551636" y="195415"/>
                  </a:lnTo>
                  <a:lnTo>
                    <a:pt x="1551636" y="193383"/>
                  </a:lnTo>
                  <a:lnTo>
                    <a:pt x="1551687" y="193383"/>
                  </a:lnTo>
                  <a:lnTo>
                    <a:pt x="1551687" y="196113"/>
                  </a:lnTo>
                  <a:lnTo>
                    <a:pt x="1551687" y="195415"/>
                  </a:lnTo>
                  <a:lnTo>
                    <a:pt x="1551687" y="196113"/>
                  </a:lnTo>
                  <a:lnTo>
                    <a:pt x="1551687" y="194716"/>
                  </a:lnTo>
                  <a:lnTo>
                    <a:pt x="1551687" y="195415"/>
                  </a:lnTo>
                  <a:lnTo>
                    <a:pt x="1551737" y="195415"/>
                  </a:lnTo>
                  <a:lnTo>
                    <a:pt x="1551737" y="196113"/>
                  </a:lnTo>
                  <a:lnTo>
                    <a:pt x="1551737" y="195415"/>
                  </a:lnTo>
                  <a:lnTo>
                    <a:pt x="1551737" y="196113"/>
                  </a:lnTo>
                  <a:lnTo>
                    <a:pt x="1551737" y="195415"/>
                  </a:lnTo>
                  <a:lnTo>
                    <a:pt x="1551839" y="195415"/>
                  </a:lnTo>
                  <a:lnTo>
                    <a:pt x="1551839" y="196113"/>
                  </a:lnTo>
                  <a:lnTo>
                    <a:pt x="1551940" y="196113"/>
                  </a:lnTo>
                  <a:lnTo>
                    <a:pt x="1551940" y="195415"/>
                  </a:lnTo>
                  <a:lnTo>
                    <a:pt x="1551940" y="196113"/>
                  </a:lnTo>
                  <a:lnTo>
                    <a:pt x="1551940" y="195415"/>
                  </a:lnTo>
                  <a:lnTo>
                    <a:pt x="1551940" y="196113"/>
                  </a:lnTo>
                  <a:lnTo>
                    <a:pt x="1551991" y="196113"/>
                  </a:lnTo>
                  <a:lnTo>
                    <a:pt x="1551991" y="195415"/>
                  </a:lnTo>
                  <a:lnTo>
                    <a:pt x="1551991" y="196113"/>
                  </a:lnTo>
                  <a:lnTo>
                    <a:pt x="1551991" y="195415"/>
                  </a:lnTo>
                  <a:lnTo>
                    <a:pt x="1551991" y="196113"/>
                  </a:lnTo>
                  <a:lnTo>
                    <a:pt x="1551991" y="195415"/>
                  </a:lnTo>
                  <a:lnTo>
                    <a:pt x="1551991" y="196113"/>
                  </a:lnTo>
                  <a:lnTo>
                    <a:pt x="1551991" y="194716"/>
                  </a:lnTo>
                  <a:lnTo>
                    <a:pt x="1552080" y="195415"/>
                  </a:lnTo>
                  <a:lnTo>
                    <a:pt x="1552080" y="193383"/>
                  </a:lnTo>
                  <a:lnTo>
                    <a:pt x="1552080" y="194716"/>
                  </a:lnTo>
                  <a:lnTo>
                    <a:pt x="1552131" y="194716"/>
                  </a:lnTo>
                  <a:lnTo>
                    <a:pt x="1552131" y="195415"/>
                  </a:lnTo>
                  <a:lnTo>
                    <a:pt x="1552131" y="193383"/>
                  </a:lnTo>
                  <a:lnTo>
                    <a:pt x="1552131" y="196113"/>
                  </a:lnTo>
                  <a:lnTo>
                    <a:pt x="1552182" y="196799"/>
                  </a:lnTo>
                  <a:lnTo>
                    <a:pt x="1552182" y="195415"/>
                  </a:lnTo>
                  <a:lnTo>
                    <a:pt x="1552182" y="196113"/>
                  </a:lnTo>
                  <a:lnTo>
                    <a:pt x="1552182" y="195415"/>
                  </a:lnTo>
                  <a:lnTo>
                    <a:pt x="1552182" y="196113"/>
                  </a:lnTo>
                  <a:lnTo>
                    <a:pt x="1552182" y="195415"/>
                  </a:lnTo>
                  <a:lnTo>
                    <a:pt x="1552233" y="196113"/>
                  </a:lnTo>
                  <a:lnTo>
                    <a:pt x="1552233" y="195415"/>
                  </a:lnTo>
                  <a:lnTo>
                    <a:pt x="1552233" y="196799"/>
                  </a:lnTo>
                  <a:lnTo>
                    <a:pt x="1552233" y="196113"/>
                  </a:lnTo>
                  <a:lnTo>
                    <a:pt x="1552334" y="196113"/>
                  </a:lnTo>
                  <a:lnTo>
                    <a:pt x="1552334" y="196799"/>
                  </a:lnTo>
                  <a:lnTo>
                    <a:pt x="1552334" y="196113"/>
                  </a:lnTo>
                  <a:lnTo>
                    <a:pt x="1552334" y="196799"/>
                  </a:lnTo>
                  <a:lnTo>
                    <a:pt x="1552334" y="196113"/>
                  </a:lnTo>
                  <a:lnTo>
                    <a:pt x="1552334" y="196799"/>
                  </a:lnTo>
                  <a:lnTo>
                    <a:pt x="1552385" y="196799"/>
                  </a:lnTo>
                  <a:lnTo>
                    <a:pt x="1552385" y="196113"/>
                  </a:lnTo>
                  <a:lnTo>
                    <a:pt x="1552385" y="196799"/>
                  </a:lnTo>
                  <a:lnTo>
                    <a:pt x="1552385" y="196113"/>
                  </a:lnTo>
                  <a:lnTo>
                    <a:pt x="1552436" y="196113"/>
                  </a:lnTo>
                  <a:lnTo>
                    <a:pt x="1552436" y="196799"/>
                  </a:lnTo>
                  <a:lnTo>
                    <a:pt x="1552436" y="196113"/>
                  </a:lnTo>
                  <a:lnTo>
                    <a:pt x="1552436" y="196799"/>
                  </a:lnTo>
                  <a:lnTo>
                    <a:pt x="1552436" y="196113"/>
                  </a:lnTo>
                  <a:lnTo>
                    <a:pt x="1552436" y="196799"/>
                  </a:lnTo>
                  <a:lnTo>
                    <a:pt x="1552436" y="196113"/>
                  </a:lnTo>
                  <a:lnTo>
                    <a:pt x="1552436" y="196799"/>
                  </a:lnTo>
                  <a:lnTo>
                    <a:pt x="1552436" y="196113"/>
                  </a:lnTo>
                  <a:lnTo>
                    <a:pt x="1552537" y="196113"/>
                  </a:lnTo>
                  <a:lnTo>
                    <a:pt x="1552537" y="195415"/>
                  </a:lnTo>
                  <a:lnTo>
                    <a:pt x="1552575" y="195415"/>
                  </a:lnTo>
                  <a:lnTo>
                    <a:pt x="1552575" y="194716"/>
                  </a:lnTo>
                  <a:lnTo>
                    <a:pt x="1552575" y="195415"/>
                  </a:lnTo>
                  <a:lnTo>
                    <a:pt x="1552575" y="193383"/>
                  </a:lnTo>
                  <a:lnTo>
                    <a:pt x="1552575" y="196113"/>
                  </a:lnTo>
                  <a:lnTo>
                    <a:pt x="1552575" y="195415"/>
                  </a:lnTo>
                  <a:lnTo>
                    <a:pt x="1552626" y="195415"/>
                  </a:lnTo>
                  <a:lnTo>
                    <a:pt x="1552626" y="194716"/>
                  </a:lnTo>
                  <a:lnTo>
                    <a:pt x="1552626" y="196799"/>
                  </a:lnTo>
                  <a:lnTo>
                    <a:pt x="1552626" y="196113"/>
                  </a:lnTo>
                  <a:lnTo>
                    <a:pt x="1552626" y="196799"/>
                  </a:lnTo>
                  <a:lnTo>
                    <a:pt x="1552677" y="196799"/>
                  </a:lnTo>
                  <a:lnTo>
                    <a:pt x="1552677" y="196113"/>
                  </a:lnTo>
                  <a:lnTo>
                    <a:pt x="1552677" y="197447"/>
                  </a:lnTo>
                  <a:lnTo>
                    <a:pt x="1552677" y="196799"/>
                  </a:lnTo>
                  <a:lnTo>
                    <a:pt x="1552677" y="197447"/>
                  </a:lnTo>
                  <a:lnTo>
                    <a:pt x="1552677" y="196799"/>
                  </a:lnTo>
                  <a:lnTo>
                    <a:pt x="1552779" y="197447"/>
                  </a:lnTo>
                  <a:lnTo>
                    <a:pt x="1552779" y="196799"/>
                  </a:lnTo>
                  <a:lnTo>
                    <a:pt x="1552830" y="196799"/>
                  </a:lnTo>
                  <a:lnTo>
                    <a:pt x="1552830" y="197447"/>
                  </a:lnTo>
                  <a:lnTo>
                    <a:pt x="1552830" y="196799"/>
                  </a:lnTo>
                  <a:lnTo>
                    <a:pt x="1552830" y="197447"/>
                  </a:lnTo>
                  <a:lnTo>
                    <a:pt x="1552830" y="196799"/>
                  </a:lnTo>
                  <a:lnTo>
                    <a:pt x="1552880" y="196799"/>
                  </a:lnTo>
                  <a:lnTo>
                    <a:pt x="1552880" y="196113"/>
                  </a:lnTo>
                  <a:lnTo>
                    <a:pt x="1552880" y="196799"/>
                  </a:lnTo>
                  <a:lnTo>
                    <a:pt x="1552880" y="196113"/>
                  </a:lnTo>
                  <a:lnTo>
                    <a:pt x="1552880" y="196799"/>
                  </a:lnTo>
                  <a:lnTo>
                    <a:pt x="1552982" y="196799"/>
                  </a:lnTo>
                  <a:lnTo>
                    <a:pt x="1552982" y="196113"/>
                  </a:lnTo>
                  <a:lnTo>
                    <a:pt x="1552982" y="196799"/>
                  </a:lnTo>
                  <a:lnTo>
                    <a:pt x="1552982" y="196113"/>
                  </a:lnTo>
                  <a:lnTo>
                    <a:pt x="1552982" y="196799"/>
                  </a:lnTo>
                  <a:lnTo>
                    <a:pt x="1552982" y="196113"/>
                  </a:lnTo>
                  <a:lnTo>
                    <a:pt x="1553033" y="196113"/>
                  </a:lnTo>
                  <a:lnTo>
                    <a:pt x="1553033" y="193383"/>
                  </a:lnTo>
                  <a:lnTo>
                    <a:pt x="1553084" y="193383"/>
                  </a:lnTo>
                  <a:lnTo>
                    <a:pt x="1553084" y="194716"/>
                  </a:lnTo>
                  <a:lnTo>
                    <a:pt x="1553084" y="193383"/>
                  </a:lnTo>
                  <a:lnTo>
                    <a:pt x="1553084" y="196113"/>
                  </a:lnTo>
                  <a:lnTo>
                    <a:pt x="1553084" y="193383"/>
                  </a:lnTo>
                  <a:lnTo>
                    <a:pt x="1553084" y="194716"/>
                  </a:lnTo>
                  <a:lnTo>
                    <a:pt x="1553122" y="194716"/>
                  </a:lnTo>
                  <a:lnTo>
                    <a:pt x="1553122" y="196113"/>
                  </a:lnTo>
                  <a:lnTo>
                    <a:pt x="1553122" y="195415"/>
                  </a:lnTo>
                  <a:lnTo>
                    <a:pt x="1553223" y="195415"/>
                  </a:lnTo>
                  <a:lnTo>
                    <a:pt x="1553223" y="196799"/>
                  </a:lnTo>
                  <a:lnTo>
                    <a:pt x="1553223" y="196113"/>
                  </a:lnTo>
                  <a:lnTo>
                    <a:pt x="1553223" y="196799"/>
                  </a:lnTo>
                  <a:lnTo>
                    <a:pt x="1553223" y="196113"/>
                  </a:lnTo>
                  <a:lnTo>
                    <a:pt x="1553223" y="196799"/>
                  </a:lnTo>
                  <a:lnTo>
                    <a:pt x="1553274" y="196799"/>
                  </a:lnTo>
                  <a:lnTo>
                    <a:pt x="1553274" y="196113"/>
                  </a:lnTo>
                  <a:lnTo>
                    <a:pt x="1553274" y="196799"/>
                  </a:lnTo>
                  <a:lnTo>
                    <a:pt x="1553274" y="196113"/>
                  </a:lnTo>
                  <a:lnTo>
                    <a:pt x="1553274" y="196799"/>
                  </a:lnTo>
                  <a:lnTo>
                    <a:pt x="1553274" y="196113"/>
                  </a:lnTo>
                  <a:lnTo>
                    <a:pt x="1553274" y="196799"/>
                  </a:lnTo>
                  <a:lnTo>
                    <a:pt x="1553325" y="196799"/>
                  </a:lnTo>
                  <a:lnTo>
                    <a:pt x="1553325" y="196113"/>
                  </a:lnTo>
                  <a:lnTo>
                    <a:pt x="1553325" y="196799"/>
                  </a:lnTo>
                  <a:lnTo>
                    <a:pt x="1553325" y="196113"/>
                  </a:lnTo>
                  <a:lnTo>
                    <a:pt x="1553325" y="196799"/>
                  </a:lnTo>
                  <a:lnTo>
                    <a:pt x="1553325" y="196113"/>
                  </a:lnTo>
                  <a:lnTo>
                    <a:pt x="1553325" y="196799"/>
                  </a:lnTo>
                  <a:lnTo>
                    <a:pt x="1553426" y="196799"/>
                  </a:lnTo>
                  <a:lnTo>
                    <a:pt x="1553426" y="196113"/>
                  </a:lnTo>
                  <a:lnTo>
                    <a:pt x="1553426" y="196799"/>
                  </a:lnTo>
                  <a:lnTo>
                    <a:pt x="1553477" y="196799"/>
                  </a:lnTo>
                  <a:lnTo>
                    <a:pt x="1553477" y="195415"/>
                  </a:lnTo>
                  <a:lnTo>
                    <a:pt x="1553528" y="195415"/>
                  </a:lnTo>
                  <a:lnTo>
                    <a:pt x="1553528" y="192684"/>
                  </a:lnTo>
                  <a:lnTo>
                    <a:pt x="1553579" y="192684"/>
                  </a:lnTo>
                  <a:lnTo>
                    <a:pt x="1553579" y="194716"/>
                  </a:lnTo>
                  <a:lnTo>
                    <a:pt x="1553579" y="192684"/>
                  </a:lnTo>
                  <a:lnTo>
                    <a:pt x="1553579" y="195415"/>
                  </a:lnTo>
                  <a:lnTo>
                    <a:pt x="1553668" y="195415"/>
                  </a:lnTo>
                  <a:lnTo>
                    <a:pt x="1553668" y="196113"/>
                  </a:lnTo>
                  <a:lnTo>
                    <a:pt x="1553668" y="194716"/>
                  </a:lnTo>
                  <a:lnTo>
                    <a:pt x="1553668" y="196113"/>
                  </a:lnTo>
                  <a:lnTo>
                    <a:pt x="1553719" y="196113"/>
                  </a:lnTo>
                  <a:lnTo>
                    <a:pt x="1553719" y="196799"/>
                  </a:lnTo>
                  <a:lnTo>
                    <a:pt x="1553719" y="195415"/>
                  </a:lnTo>
                  <a:lnTo>
                    <a:pt x="1553719" y="196799"/>
                  </a:lnTo>
                  <a:lnTo>
                    <a:pt x="1553719" y="196113"/>
                  </a:lnTo>
                  <a:lnTo>
                    <a:pt x="1553719" y="196799"/>
                  </a:lnTo>
                  <a:lnTo>
                    <a:pt x="1553769" y="196799"/>
                  </a:lnTo>
                  <a:lnTo>
                    <a:pt x="1553769" y="196113"/>
                  </a:lnTo>
                  <a:lnTo>
                    <a:pt x="1553769" y="196799"/>
                  </a:lnTo>
                  <a:lnTo>
                    <a:pt x="1553769" y="196113"/>
                  </a:lnTo>
                  <a:lnTo>
                    <a:pt x="1553769" y="196799"/>
                  </a:lnTo>
                  <a:lnTo>
                    <a:pt x="1553769" y="196113"/>
                  </a:lnTo>
                  <a:lnTo>
                    <a:pt x="1553820" y="196113"/>
                  </a:lnTo>
                  <a:lnTo>
                    <a:pt x="1553820" y="196799"/>
                  </a:lnTo>
                  <a:lnTo>
                    <a:pt x="1553820" y="196113"/>
                  </a:lnTo>
                  <a:lnTo>
                    <a:pt x="1553820" y="196799"/>
                  </a:lnTo>
                  <a:lnTo>
                    <a:pt x="1553820" y="196113"/>
                  </a:lnTo>
                  <a:lnTo>
                    <a:pt x="1553820" y="196799"/>
                  </a:lnTo>
                  <a:lnTo>
                    <a:pt x="1553820" y="196113"/>
                  </a:lnTo>
                  <a:lnTo>
                    <a:pt x="1553922" y="196113"/>
                  </a:lnTo>
                  <a:lnTo>
                    <a:pt x="1553922" y="196799"/>
                  </a:lnTo>
                  <a:lnTo>
                    <a:pt x="1553922" y="195415"/>
                  </a:lnTo>
                  <a:lnTo>
                    <a:pt x="1553922" y="196113"/>
                  </a:lnTo>
                  <a:lnTo>
                    <a:pt x="1553922" y="195415"/>
                  </a:lnTo>
                  <a:lnTo>
                    <a:pt x="1553972" y="195415"/>
                  </a:lnTo>
                  <a:lnTo>
                    <a:pt x="1553972" y="196113"/>
                  </a:lnTo>
                  <a:lnTo>
                    <a:pt x="1553972" y="195415"/>
                  </a:lnTo>
                  <a:lnTo>
                    <a:pt x="1553972" y="196113"/>
                  </a:lnTo>
                  <a:lnTo>
                    <a:pt x="1553972" y="194716"/>
                  </a:lnTo>
                  <a:lnTo>
                    <a:pt x="1553972" y="195415"/>
                  </a:lnTo>
                  <a:lnTo>
                    <a:pt x="1553972" y="194716"/>
                  </a:lnTo>
                  <a:lnTo>
                    <a:pt x="1554023" y="194716"/>
                  </a:lnTo>
                  <a:lnTo>
                    <a:pt x="1554023" y="193383"/>
                  </a:lnTo>
                  <a:lnTo>
                    <a:pt x="1554023" y="194716"/>
                  </a:lnTo>
                  <a:lnTo>
                    <a:pt x="1554023" y="193383"/>
                  </a:lnTo>
                  <a:lnTo>
                    <a:pt x="1554023" y="194716"/>
                  </a:lnTo>
                  <a:lnTo>
                    <a:pt x="1554023" y="191986"/>
                  </a:lnTo>
                  <a:lnTo>
                    <a:pt x="1554125" y="191351"/>
                  </a:lnTo>
                  <a:lnTo>
                    <a:pt x="1554125" y="189954"/>
                  </a:lnTo>
                  <a:lnTo>
                    <a:pt x="1554125" y="192684"/>
                  </a:lnTo>
                  <a:lnTo>
                    <a:pt x="1554125" y="189954"/>
                  </a:lnTo>
                  <a:lnTo>
                    <a:pt x="1554163" y="189954"/>
                  </a:lnTo>
                  <a:lnTo>
                    <a:pt x="1554163" y="194716"/>
                  </a:lnTo>
                  <a:lnTo>
                    <a:pt x="1554163" y="192684"/>
                  </a:lnTo>
                  <a:lnTo>
                    <a:pt x="1554163" y="193383"/>
                  </a:lnTo>
                  <a:lnTo>
                    <a:pt x="1554163" y="192684"/>
                  </a:lnTo>
                  <a:lnTo>
                    <a:pt x="1554214" y="193383"/>
                  </a:lnTo>
                  <a:lnTo>
                    <a:pt x="1554214" y="195415"/>
                  </a:lnTo>
                  <a:lnTo>
                    <a:pt x="1554214" y="193383"/>
                  </a:lnTo>
                  <a:lnTo>
                    <a:pt x="1554214" y="195415"/>
                  </a:lnTo>
                  <a:lnTo>
                    <a:pt x="1554214" y="194716"/>
                  </a:lnTo>
                  <a:lnTo>
                    <a:pt x="1554265" y="194716"/>
                  </a:lnTo>
                  <a:lnTo>
                    <a:pt x="1554265" y="195415"/>
                  </a:lnTo>
                  <a:lnTo>
                    <a:pt x="1554265" y="194716"/>
                  </a:lnTo>
                  <a:lnTo>
                    <a:pt x="1554265" y="196113"/>
                  </a:lnTo>
                  <a:lnTo>
                    <a:pt x="1554366" y="196113"/>
                  </a:lnTo>
                  <a:lnTo>
                    <a:pt x="1554366" y="195415"/>
                  </a:lnTo>
                  <a:lnTo>
                    <a:pt x="1554366" y="196799"/>
                  </a:lnTo>
                  <a:lnTo>
                    <a:pt x="1554366" y="196113"/>
                  </a:lnTo>
                  <a:lnTo>
                    <a:pt x="1554417" y="196799"/>
                  </a:lnTo>
                  <a:lnTo>
                    <a:pt x="1554417" y="196113"/>
                  </a:lnTo>
                  <a:lnTo>
                    <a:pt x="1554417" y="196799"/>
                  </a:lnTo>
                  <a:lnTo>
                    <a:pt x="1554417" y="196113"/>
                  </a:lnTo>
                  <a:lnTo>
                    <a:pt x="1554417" y="196799"/>
                  </a:lnTo>
                  <a:lnTo>
                    <a:pt x="1554417" y="196113"/>
                  </a:lnTo>
                  <a:lnTo>
                    <a:pt x="1554417" y="196799"/>
                  </a:lnTo>
                  <a:lnTo>
                    <a:pt x="1554468" y="196799"/>
                  </a:lnTo>
                  <a:lnTo>
                    <a:pt x="1554468" y="195415"/>
                  </a:lnTo>
                  <a:lnTo>
                    <a:pt x="1554569" y="195415"/>
                  </a:lnTo>
                  <a:lnTo>
                    <a:pt x="1554569" y="191351"/>
                  </a:lnTo>
                  <a:lnTo>
                    <a:pt x="1554620" y="191351"/>
                  </a:lnTo>
                  <a:lnTo>
                    <a:pt x="1554620" y="192684"/>
                  </a:lnTo>
                  <a:lnTo>
                    <a:pt x="1554620" y="189954"/>
                  </a:lnTo>
                  <a:lnTo>
                    <a:pt x="1554620" y="191351"/>
                  </a:lnTo>
                  <a:lnTo>
                    <a:pt x="1554671" y="191986"/>
                  </a:lnTo>
                  <a:lnTo>
                    <a:pt x="1554671" y="194716"/>
                  </a:lnTo>
                  <a:lnTo>
                    <a:pt x="1554671" y="192684"/>
                  </a:lnTo>
                  <a:lnTo>
                    <a:pt x="1554671" y="193383"/>
                  </a:lnTo>
                  <a:lnTo>
                    <a:pt x="1554709" y="193383"/>
                  </a:lnTo>
                  <a:lnTo>
                    <a:pt x="1554709" y="194716"/>
                  </a:lnTo>
                  <a:lnTo>
                    <a:pt x="1554709" y="192684"/>
                  </a:lnTo>
                  <a:lnTo>
                    <a:pt x="1554709" y="193383"/>
                  </a:lnTo>
                  <a:lnTo>
                    <a:pt x="1554811" y="193383"/>
                  </a:lnTo>
                  <a:lnTo>
                    <a:pt x="1554811" y="194716"/>
                  </a:lnTo>
                  <a:lnTo>
                    <a:pt x="1554811" y="193383"/>
                  </a:lnTo>
                  <a:lnTo>
                    <a:pt x="1554811" y="194716"/>
                  </a:lnTo>
                  <a:lnTo>
                    <a:pt x="1554862" y="194716"/>
                  </a:lnTo>
                  <a:lnTo>
                    <a:pt x="1554862" y="196113"/>
                  </a:lnTo>
                  <a:lnTo>
                    <a:pt x="1554862" y="195415"/>
                  </a:lnTo>
                  <a:lnTo>
                    <a:pt x="1554912" y="195415"/>
                  </a:lnTo>
                  <a:lnTo>
                    <a:pt x="1554912" y="196113"/>
                  </a:lnTo>
                  <a:lnTo>
                    <a:pt x="1554912" y="195415"/>
                  </a:lnTo>
                  <a:lnTo>
                    <a:pt x="1554912" y="196113"/>
                  </a:lnTo>
                  <a:lnTo>
                    <a:pt x="1554912" y="195415"/>
                  </a:lnTo>
                  <a:lnTo>
                    <a:pt x="1554912" y="196113"/>
                  </a:lnTo>
                  <a:lnTo>
                    <a:pt x="1555014" y="195415"/>
                  </a:lnTo>
                  <a:lnTo>
                    <a:pt x="1555014" y="194716"/>
                  </a:lnTo>
                  <a:lnTo>
                    <a:pt x="1555014" y="195415"/>
                  </a:lnTo>
                  <a:lnTo>
                    <a:pt x="1555014" y="194716"/>
                  </a:lnTo>
                  <a:lnTo>
                    <a:pt x="1555065" y="194716"/>
                  </a:lnTo>
                  <a:lnTo>
                    <a:pt x="1555065" y="192684"/>
                  </a:lnTo>
                  <a:lnTo>
                    <a:pt x="1555065" y="193383"/>
                  </a:lnTo>
                  <a:lnTo>
                    <a:pt x="1555065" y="192684"/>
                  </a:lnTo>
                  <a:lnTo>
                    <a:pt x="1555065" y="194716"/>
                  </a:lnTo>
                  <a:lnTo>
                    <a:pt x="1555115" y="194716"/>
                  </a:lnTo>
                  <a:lnTo>
                    <a:pt x="1555115" y="192684"/>
                  </a:lnTo>
                  <a:lnTo>
                    <a:pt x="1555115" y="196799"/>
                  </a:lnTo>
                  <a:lnTo>
                    <a:pt x="1555166" y="196799"/>
                  </a:lnTo>
                  <a:lnTo>
                    <a:pt x="1555166" y="194716"/>
                  </a:lnTo>
                  <a:lnTo>
                    <a:pt x="1555166" y="196113"/>
                  </a:lnTo>
                  <a:lnTo>
                    <a:pt x="1555255" y="195415"/>
                  </a:lnTo>
                  <a:lnTo>
                    <a:pt x="1555255" y="194716"/>
                  </a:lnTo>
                  <a:lnTo>
                    <a:pt x="1555255" y="195415"/>
                  </a:lnTo>
                  <a:lnTo>
                    <a:pt x="1555306" y="194716"/>
                  </a:lnTo>
                  <a:lnTo>
                    <a:pt x="1555306" y="195415"/>
                  </a:lnTo>
                  <a:lnTo>
                    <a:pt x="1555357" y="195415"/>
                  </a:lnTo>
                  <a:lnTo>
                    <a:pt x="1555357" y="196113"/>
                  </a:lnTo>
                  <a:lnTo>
                    <a:pt x="1555357" y="195415"/>
                  </a:lnTo>
                  <a:lnTo>
                    <a:pt x="1555357" y="196113"/>
                  </a:lnTo>
                  <a:lnTo>
                    <a:pt x="1555408" y="196113"/>
                  </a:lnTo>
                  <a:lnTo>
                    <a:pt x="1555408" y="196799"/>
                  </a:lnTo>
                  <a:lnTo>
                    <a:pt x="1555408" y="195415"/>
                  </a:lnTo>
                  <a:lnTo>
                    <a:pt x="1555408" y="196113"/>
                  </a:lnTo>
                  <a:lnTo>
                    <a:pt x="1555408" y="195415"/>
                  </a:lnTo>
                  <a:lnTo>
                    <a:pt x="1555509" y="195415"/>
                  </a:lnTo>
                  <a:lnTo>
                    <a:pt x="1555509" y="193383"/>
                  </a:lnTo>
                  <a:lnTo>
                    <a:pt x="1555560" y="193383"/>
                  </a:lnTo>
                  <a:lnTo>
                    <a:pt x="1555560" y="191351"/>
                  </a:lnTo>
                  <a:lnTo>
                    <a:pt x="1555560" y="194716"/>
                  </a:lnTo>
                  <a:lnTo>
                    <a:pt x="1555611" y="194716"/>
                  </a:lnTo>
                  <a:lnTo>
                    <a:pt x="1555611" y="192684"/>
                  </a:lnTo>
                  <a:lnTo>
                    <a:pt x="1555611" y="196113"/>
                  </a:lnTo>
                  <a:lnTo>
                    <a:pt x="1555712" y="195415"/>
                  </a:lnTo>
                  <a:lnTo>
                    <a:pt x="1555712" y="194716"/>
                  </a:lnTo>
                  <a:lnTo>
                    <a:pt x="1555712" y="196113"/>
                  </a:lnTo>
                  <a:lnTo>
                    <a:pt x="1555712" y="195415"/>
                  </a:lnTo>
                  <a:lnTo>
                    <a:pt x="1555750" y="195415"/>
                  </a:lnTo>
                  <a:lnTo>
                    <a:pt x="1555750" y="194716"/>
                  </a:lnTo>
                  <a:lnTo>
                    <a:pt x="1555750" y="196113"/>
                  </a:lnTo>
                  <a:lnTo>
                    <a:pt x="1555750" y="195415"/>
                  </a:lnTo>
                  <a:lnTo>
                    <a:pt x="1555801" y="195415"/>
                  </a:lnTo>
                  <a:lnTo>
                    <a:pt x="1555801" y="196113"/>
                  </a:lnTo>
                  <a:lnTo>
                    <a:pt x="1555801" y="195415"/>
                  </a:lnTo>
                  <a:lnTo>
                    <a:pt x="1555801" y="196113"/>
                  </a:lnTo>
                  <a:lnTo>
                    <a:pt x="1555852" y="196113"/>
                  </a:lnTo>
                  <a:lnTo>
                    <a:pt x="1555852" y="195415"/>
                  </a:lnTo>
                  <a:lnTo>
                    <a:pt x="1555852" y="196799"/>
                  </a:lnTo>
                  <a:lnTo>
                    <a:pt x="1555852" y="195415"/>
                  </a:lnTo>
                  <a:lnTo>
                    <a:pt x="1555852" y="196113"/>
                  </a:lnTo>
                  <a:lnTo>
                    <a:pt x="1555954" y="196113"/>
                  </a:lnTo>
                  <a:lnTo>
                    <a:pt x="1555954" y="195415"/>
                  </a:lnTo>
                  <a:lnTo>
                    <a:pt x="1555954" y="196113"/>
                  </a:lnTo>
                  <a:lnTo>
                    <a:pt x="1555954" y="194716"/>
                  </a:lnTo>
                  <a:lnTo>
                    <a:pt x="1556005" y="194716"/>
                  </a:lnTo>
                  <a:lnTo>
                    <a:pt x="1556005" y="193383"/>
                  </a:lnTo>
                  <a:lnTo>
                    <a:pt x="1556005" y="194716"/>
                  </a:lnTo>
                  <a:lnTo>
                    <a:pt x="1556005" y="192684"/>
                  </a:lnTo>
                  <a:lnTo>
                    <a:pt x="1556005" y="193383"/>
                  </a:lnTo>
                  <a:lnTo>
                    <a:pt x="1556005" y="192684"/>
                  </a:lnTo>
                  <a:lnTo>
                    <a:pt x="1556055" y="192684"/>
                  </a:lnTo>
                  <a:lnTo>
                    <a:pt x="1556055" y="191351"/>
                  </a:lnTo>
                  <a:lnTo>
                    <a:pt x="1556055" y="193383"/>
                  </a:lnTo>
                  <a:lnTo>
                    <a:pt x="1556055" y="192684"/>
                  </a:lnTo>
                  <a:lnTo>
                    <a:pt x="1556157" y="191986"/>
                  </a:lnTo>
                  <a:lnTo>
                    <a:pt x="1556157" y="191351"/>
                  </a:lnTo>
                  <a:lnTo>
                    <a:pt x="1556157" y="196113"/>
                  </a:lnTo>
                  <a:lnTo>
                    <a:pt x="1556157" y="195415"/>
                  </a:lnTo>
                  <a:lnTo>
                    <a:pt x="1556208" y="194716"/>
                  </a:lnTo>
                  <a:lnTo>
                    <a:pt x="1556208" y="196113"/>
                  </a:lnTo>
                  <a:lnTo>
                    <a:pt x="1556208" y="194716"/>
                  </a:lnTo>
                  <a:lnTo>
                    <a:pt x="1556259" y="194716"/>
                  </a:lnTo>
                  <a:lnTo>
                    <a:pt x="1556259" y="195415"/>
                  </a:lnTo>
                  <a:lnTo>
                    <a:pt x="1556297" y="195415"/>
                  </a:lnTo>
                  <a:lnTo>
                    <a:pt x="1556297" y="196113"/>
                  </a:lnTo>
                  <a:lnTo>
                    <a:pt x="1556297" y="195415"/>
                  </a:lnTo>
                  <a:lnTo>
                    <a:pt x="1556297" y="196799"/>
                  </a:lnTo>
                  <a:lnTo>
                    <a:pt x="1556398" y="196113"/>
                  </a:lnTo>
                  <a:lnTo>
                    <a:pt x="1556398" y="196799"/>
                  </a:lnTo>
                  <a:lnTo>
                    <a:pt x="1556398" y="196113"/>
                  </a:lnTo>
                  <a:lnTo>
                    <a:pt x="1556398" y="196799"/>
                  </a:lnTo>
                  <a:lnTo>
                    <a:pt x="1556398" y="196113"/>
                  </a:lnTo>
                  <a:lnTo>
                    <a:pt x="1556449" y="196799"/>
                  </a:lnTo>
                  <a:lnTo>
                    <a:pt x="1556449" y="195415"/>
                  </a:lnTo>
                  <a:lnTo>
                    <a:pt x="1556500" y="195415"/>
                  </a:lnTo>
                  <a:lnTo>
                    <a:pt x="1556500" y="194716"/>
                  </a:lnTo>
                  <a:lnTo>
                    <a:pt x="1556500" y="195415"/>
                  </a:lnTo>
                  <a:lnTo>
                    <a:pt x="1556500" y="192684"/>
                  </a:lnTo>
                  <a:lnTo>
                    <a:pt x="1556601" y="192684"/>
                  </a:lnTo>
                  <a:lnTo>
                    <a:pt x="1556601" y="194716"/>
                  </a:lnTo>
                  <a:lnTo>
                    <a:pt x="1556601" y="192684"/>
                  </a:lnTo>
                  <a:lnTo>
                    <a:pt x="1556601" y="195415"/>
                  </a:lnTo>
                  <a:lnTo>
                    <a:pt x="1556652" y="195415"/>
                  </a:lnTo>
                  <a:lnTo>
                    <a:pt x="1556652" y="196113"/>
                  </a:lnTo>
                  <a:lnTo>
                    <a:pt x="1556652" y="194716"/>
                  </a:lnTo>
                  <a:lnTo>
                    <a:pt x="1556652" y="195415"/>
                  </a:lnTo>
                  <a:lnTo>
                    <a:pt x="1556703" y="195415"/>
                  </a:lnTo>
                  <a:lnTo>
                    <a:pt x="1556703" y="196113"/>
                  </a:lnTo>
                  <a:lnTo>
                    <a:pt x="1556703" y="195415"/>
                  </a:lnTo>
                  <a:lnTo>
                    <a:pt x="1556754" y="196113"/>
                  </a:lnTo>
                  <a:lnTo>
                    <a:pt x="1556754" y="195415"/>
                  </a:lnTo>
                  <a:lnTo>
                    <a:pt x="1556754" y="196113"/>
                  </a:lnTo>
                  <a:lnTo>
                    <a:pt x="1556843" y="196113"/>
                  </a:lnTo>
                  <a:lnTo>
                    <a:pt x="1556843" y="196799"/>
                  </a:lnTo>
                  <a:lnTo>
                    <a:pt x="1556843" y="196113"/>
                  </a:lnTo>
                  <a:lnTo>
                    <a:pt x="1556843" y="196799"/>
                  </a:lnTo>
                  <a:lnTo>
                    <a:pt x="1556843" y="196113"/>
                  </a:lnTo>
                  <a:lnTo>
                    <a:pt x="1556843" y="196799"/>
                  </a:lnTo>
                  <a:lnTo>
                    <a:pt x="1556894" y="196799"/>
                  </a:lnTo>
                  <a:lnTo>
                    <a:pt x="1556894" y="196113"/>
                  </a:lnTo>
                  <a:lnTo>
                    <a:pt x="1556894" y="196799"/>
                  </a:lnTo>
                  <a:lnTo>
                    <a:pt x="1556894" y="196113"/>
                  </a:lnTo>
                  <a:lnTo>
                    <a:pt x="1556944" y="196113"/>
                  </a:lnTo>
                  <a:lnTo>
                    <a:pt x="1556944" y="193383"/>
                  </a:lnTo>
                  <a:lnTo>
                    <a:pt x="1556944" y="194716"/>
                  </a:lnTo>
                  <a:lnTo>
                    <a:pt x="1556995" y="194716"/>
                  </a:lnTo>
                  <a:lnTo>
                    <a:pt x="1556995" y="192684"/>
                  </a:lnTo>
                  <a:lnTo>
                    <a:pt x="1557097" y="193383"/>
                  </a:lnTo>
                  <a:lnTo>
                    <a:pt x="1557097" y="195415"/>
                  </a:lnTo>
                  <a:lnTo>
                    <a:pt x="1557097" y="192684"/>
                  </a:lnTo>
                  <a:lnTo>
                    <a:pt x="1557097" y="193383"/>
                  </a:lnTo>
                  <a:lnTo>
                    <a:pt x="1557097" y="192684"/>
                  </a:lnTo>
                  <a:lnTo>
                    <a:pt x="1557097" y="196113"/>
                  </a:lnTo>
                  <a:lnTo>
                    <a:pt x="1557147" y="196113"/>
                  </a:lnTo>
                  <a:lnTo>
                    <a:pt x="1557147" y="193383"/>
                  </a:lnTo>
                  <a:lnTo>
                    <a:pt x="1557147" y="196113"/>
                  </a:lnTo>
                  <a:lnTo>
                    <a:pt x="1557198" y="196113"/>
                  </a:lnTo>
                  <a:lnTo>
                    <a:pt x="1557198" y="195415"/>
                  </a:lnTo>
                  <a:lnTo>
                    <a:pt x="1557198" y="196113"/>
                  </a:lnTo>
                  <a:lnTo>
                    <a:pt x="1557198" y="194716"/>
                  </a:lnTo>
                  <a:lnTo>
                    <a:pt x="1557198" y="195415"/>
                  </a:lnTo>
                  <a:lnTo>
                    <a:pt x="1557198" y="194716"/>
                  </a:lnTo>
                  <a:lnTo>
                    <a:pt x="1557198" y="195415"/>
                  </a:lnTo>
                  <a:lnTo>
                    <a:pt x="1557300" y="195415"/>
                  </a:lnTo>
                  <a:lnTo>
                    <a:pt x="1557300" y="196113"/>
                  </a:lnTo>
                  <a:lnTo>
                    <a:pt x="1557300" y="195415"/>
                  </a:lnTo>
                  <a:lnTo>
                    <a:pt x="1557300" y="196113"/>
                  </a:lnTo>
                  <a:lnTo>
                    <a:pt x="1557300" y="195415"/>
                  </a:lnTo>
                  <a:lnTo>
                    <a:pt x="1557300" y="196113"/>
                  </a:lnTo>
                  <a:lnTo>
                    <a:pt x="1557300" y="195415"/>
                  </a:lnTo>
                  <a:lnTo>
                    <a:pt x="1557300" y="196113"/>
                  </a:lnTo>
                  <a:lnTo>
                    <a:pt x="1557338" y="196113"/>
                  </a:lnTo>
                  <a:lnTo>
                    <a:pt x="1557338" y="196799"/>
                  </a:lnTo>
                  <a:lnTo>
                    <a:pt x="1557389" y="196799"/>
                  </a:lnTo>
                  <a:lnTo>
                    <a:pt x="1557389" y="196113"/>
                  </a:lnTo>
                  <a:lnTo>
                    <a:pt x="1557389" y="196799"/>
                  </a:lnTo>
                  <a:lnTo>
                    <a:pt x="1557389" y="196113"/>
                  </a:lnTo>
                  <a:lnTo>
                    <a:pt x="1557389" y="196799"/>
                  </a:lnTo>
                  <a:lnTo>
                    <a:pt x="1557389" y="196113"/>
                  </a:lnTo>
                  <a:lnTo>
                    <a:pt x="1557389" y="196799"/>
                  </a:lnTo>
                  <a:lnTo>
                    <a:pt x="1557389" y="196113"/>
                  </a:lnTo>
                  <a:lnTo>
                    <a:pt x="1557389" y="196799"/>
                  </a:lnTo>
                  <a:lnTo>
                    <a:pt x="1557389" y="195415"/>
                  </a:lnTo>
                  <a:lnTo>
                    <a:pt x="1557389" y="196113"/>
                  </a:lnTo>
                  <a:lnTo>
                    <a:pt x="1557440" y="195415"/>
                  </a:lnTo>
                  <a:lnTo>
                    <a:pt x="1557440" y="196113"/>
                  </a:lnTo>
                  <a:lnTo>
                    <a:pt x="1557440" y="194716"/>
                  </a:lnTo>
                  <a:lnTo>
                    <a:pt x="1557440" y="195415"/>
                  </a:lnTo>
                  <a:lnTo>
                    <a:pt x="1557440" y="194716"/>
                  </a:lnTo>
                  <a:lnTo>
                    <a:pt x="1557541" y="194716"/>
                  </a:lnTo>
                  <a:lnTo>
                    <a:pt x="1557541" y="193383"/>
                  </a:lnTo>
                  <a:lnTo>
                    <a:pt x="1557541" y="194716"/>
                  </a:lnTo>
                  <a:lnTo>
                    <a:pt x="1557541" y="192684"/>
                  </a:lnTo>
                  <a:lnTo>
                    <a:pt x="1557541" y="194716"/>
                  </a:lnTo>
                  <a:lnTo>
                    <a:pt x="1557592" y="193383"/>
                  </a:lnTo>
                  <a:lnTo>
                    <a:pt x="1557592" y="192684"/>
                  </a:lnTo>
                  <a:lnTo>
                    <a:pt x="1557592" y="193383"/>
                  </a:lnTo>
                  <a:lnTo>
                    <a:pt x="1557592" y="191351"/>
                  </a:lnTo>
                  <a:lnTo>
                    <a:pt x="1557592" y="195415"/>
                  </a:lnTo>
                  <a:lnTo>
                    <a:pt x="1557643" y="195415"/>
                  </a:lnTo>
                  <a:lnTo>
                    <a:pt x="1557643" y="192684"/>
                  </a:lnTo>
                  <a:lnTo>
                    <a:pt x="1557643" y="194716"/>
                  </a:lnTo>
                  <a:lnTo>
                    <a:pt x="1557744" y="194716"/>
                  </a:lnTo>
                  <a:lnTo>
                    <a:pt x="1557744" y="193383"/>
                  </a:lnTo>
                  <a:lnTo>
                    <a:pt x="1557744" y="194716"/>
                  </a:lnTo>
                  <a:lnTo>
                    <a:pt x="1557795" y="193383"/>
                  </a:lnTo>
                  <a:lnTo>
                    <a:pt x="1557795" y="194716"/>
                  </a:lnTo>
                  <a:lnTo>
                    <a:pt x="1557795" y="193383"/>
                  </a:lnTo>
                  <a:lnTo>
                    <a:pt x="1557795" y="194716"/>
                  </a:lnTo>
                  <a:lnTo>
                    <a:pt x="1557795" y="193383"/>
                  </a:lnTo>
                  <a:lnTo>
                    <a:pt x="1557795" y="195415"/>
                  </a:lnTo>
                  <a:lnTo>
                    <a:pt x="1557846" y="195415"/>
                  </a:lnTo>
                  <a:lnTo>
                    <a:pt x="1557846" y="196113"/>
                  </a:lnTo>
                  <a:lnTo>
                    <a:pt x="1557846" y="195415"/>
                  </a:lnTo>
                  <a:lnTo>
                    <a:pt x="1557884" y="195415"/>
                  </a:lnTo>
                  <a:lnTo>
                    <a:pt x="1557884" y="196113"/>
                  </a:lnTo>
                  <a:lnTo>
                    <a:pt x="1557884" y="194716"/>
                  </a:lnTo>
                  <a:lnTo>
                    <a:pt x="1557884" y="195415"/>
                  </a:lnTo>
                  <a:lnTo>
                    <a:pt x="1557986" y="195415"/>
                  </a:lnTo>
                  <a:lnTo>
                    <a:pt x="1557986" y="193383"/>
                  </a:lnTo>
                  <a:lnTo>
                    <a:pt x="1557986" y="194716"/>
                  </a:lnTo>
                  <a:lnTo>
                    <a:pt x="1558037" y="193383"/>
                  </a:lnTo>
                  <a:lnTo>
                    <a:pt x="1558037" y="192684"/>
                  </a:lnTo>
                  <a:lnTo>
                    <a:pt x="1558037" y="194716"/>
                  </a:lnTo>
                  <a:lnTo>
                    <a:pt x="1558037" y="193383"/>
                  </a:lnTo>
                  <a:lnTo>
                    <a:pt x="1558087" y="193383"/>
                  </a:lnTo>
                  <a:lnTo>
                    <a:pt x="1558087" y="192684"/>
                  </a:lnTo>
                  <a:lnTo>
                    <a:pt x="1558087" y="195415"/>
                  </a:lnTo>
                  <a:lnTo>
                    <a:pt x="1558087" y="194716"/>
                  </a:lnTo>
                  <a:lnTo>
                    <a:pt x="1558189" y="194716"/>
                  </a:lnTo>
                  <a:lnTo>
                    <a:pt x="1558189" y="193383"/>
                  </a:lnTo>
                  <a:lnTo>
                    <a:pt x="1558189" y="195415"/>
                  </a:lnTo>
                  <a:lnTo>
                    <a:pt x="1558189" y="194716"/>
                  </a:lnTo>
                  <a:lnTo>
                    <a:pt x="1558240" y="194716"/>
                  </a:lnTo>
                  <a:lnTo>
                    <a:pt x="1558240" y="195415"/>
                  </a:lnTo>
                  <a:lnTo>
                    <a:pt x="1558240" y="194716"/>
                  </a:lnTo>
                  <a:lnTo>
                    <a:pt x="1558240" y="195415"/>
                  </a:lnTo>
                  <a:lnTo>
                    <a:pt x="1558240" y="194716"/>
                  </a:lnTo>
                  <a:lnTo>
                    <a:pt x="1558240" y="195415"/>
                  </a:lnTo>
                  <a:lnTo>
                    <a:pt x="1558240" y="194716"/>
                  </a:lnTo>
                  <a:lnTo>
                    <a:pt x="1558240" y="195415"/>
                  </a:lnTo>
                  <a:lnTo>
                    <a:pt x="1558290" y="195415"/>
                  </a:lnTo>
                  <a:lnTo>
                    <a:pt x="1558290" y="194716"/>
                  </a:lnTo>
                  <a:lnTo>
                    <a:pt x="1558290" y="196113"/>
                  </a:lnTo>
                  <a:lnTo>
                    <a:pt x="1558290" y="195415"/>
                  </a:lnTo>
                  <a:lnTo>
                    <a:pt x="1558290" y="196113"/>
                  </a:lnTo>
                  <a:lnTo>
                    <a:pt x="1558341" y="196113"/>
                  </a:lnTo>
                  <a:lnTo>
                    <a:pt x="1558341" y="196799"/>
                  </a:lnTo>
                  <a:lnTo>
                    <a:pt x="1558341" y="196113"/>
                  </a:lnTo>
                  <a:lnTo>
                    <a:pt x="1558430" y="196113"/>
                  </a:lnTo>
                  <a:lnTo>
                    <a:pt x="1558430" y="195415"/>
                  </a:lnTo>
                  <a:lnTo>
                    <a:pt x="1558430" y="196113"/>
                  </a:lnTo>
                  <a:lnTo>
                    <a:pt x="1558430" y="195415"/>
                  </a:lnTo>
                  <a:lnTo>
                    <a:pt x="1558481" y="195415"/>
                  </a:lnTo>
                  <a:lnTo>
                    <a:pt x="1558481" y="194716"/>
                  </a:lnTo>
                  <a:lnTo>
                    <a:pt x="1558481" y="195415"/>
                  </a:lnTo>
                  <a:lnTo>
                    <a:pt x="1558481" y="194716"/>
                  </a:lnTo>
                  <a:lnTo>
                    <a:pt x="1558532" y="194716"/>
                  </a:lnTo>
                  <a:lnTo>
                    <a:pt x="1558532" y="193383"/>
                  </a:lnTo>
                  <a:lnTo>
                    <a:pt x="1558532" y="196113"/>
                  </a:lnTo>
                  <a:lnTo>
                    <a:pt x="1558532" y="194716"/>
                  </a:lnTo>
                  <a:lnTo>
                    <a:pt x="1558583" y="194716"/>
                  </a:lnTo>
                  <a:lnTo>
                    <a:pt x="1558583" y="196799"/>
                  </a:lnTo>
                  <a:lnTo>
                    <a:pt x="1558583" y="194716"/>
                  </a:lnTo>
                  <a:lnTo>
                    <a:pt x="1558583" y="195415"/>
                  </a:lnTo>
                  <a:lnTo>
                    <a:pt x="1558684" y="194716"/>
                  </a:lnTo>
                  <a:lnTo>
                    <a:pt x="1558684" y="196113"/>
                  </a:lnTo>
                  <a:lnTo>
                    <a:pt x="1558684" y="195415"/>
                  </a:lnTo>
                  <a:lnTo>
                    <a:pt x="1558684" y="196113"/>
                  </a:lnTo>
                  <a:lnTo>
                    <a:pt x="1558684" y="195415"/>
                  </a:lnTo>
                  <a:lnTo>
                    <a:pt x="1558735" y="195415"/>
                  </a:lnTo>
                  <a:lnTo>
                    <a:pt x="1558735" y="196799"/>
                  </a:lnTo>
                  <a:lnTo>
                    <a:pt x="1558735" y="196113"/>
                  </a:lnTo>
                  <a:lnTo>
                    <a:pt x="1558735" y="196799"/>
                  </a:lnTo>
                  <a:lnTo>
                    <a:pt x="1558786" y="196799"/>
                  </a:lnTo>
                  <a:lnTo>
                    <a:pt x="1558786" y="196113"/>
                  </a:lnTo>
                  <a:lnTo>
                    <a:pt x="1558786" y="196799"/>
                  </a:lnTo>
                  <a:lnTo>
                    <a:pt x="1558786" y="196113"/>
                  </a:lnTo>
                  <a:lnTo>
                    <a:pt x="1558786" y="196799"/>
                  </a:lnTo>
                  <a:lnTo>
                    <a:pt x="1558786" y="196113"/>
                  </a:lnTo>
                  <a:lnTo>
                    <a:pt x="1558786" y="196799"/>
                  </a:lnTo>
                  <a:lnTo>
                    <a:pt x="1558887" y="196113"/>
                  </a:lnTo>
                  <a:lnTo>
                    <a:pt x="1558887" y="196799"/>
                  </a:lnTo>
                  <a:lnTo>
                    <a:pt x="1558887" y="195415"/>
                  </a:lnTo>
                  <a:lnTo>
                    <a:pt x="1558887" y="196113"/>
                  </a:lnTo>
                  <a:lnTo>
                    <a:pt x="1558925" y="196113"/>
                  </a:lnTo>
                  <a:lnTo>
                    <a:pt x="1558925" y="195415"/>
                  </a:lnTo>
                  <a:lnTo>
                    <a:pt x="1558925" y="196113"/>
                  </a:lnTo>
                  <a:lnTo>
                    <a:pt x="1558925" y="195415"/>
                  </a:lnTo>
                  <a:lnTo>
                    <a:pt x="1558925" y="196113"/>
                  </a:lnTo>
                  <a:lnTo>
                    <a:pt x="1558925" y="194716"/>
                  </a:lnTo>
                  <a:lnTo>
                    <a:pt x="1558925" y="195415"/>
                  </a:lnTo>
                  <a:lnTo>
                    <a:pt x="1558976" y="195415"/>
                  </a:lnTo>
                  <a:lnTo>
                    <a:pt x="1558976" y="193383"/>
                  </a:lnTo>
                  <a:lnTo>
                    <a:pt x="1558976" y="194716"/>
                  </a:lnTo>
                  <a:lnTo>
                    <a:pt x="1558976" y="193383"/>
                  </a:lnTo>
                  <a:lnTo>
                    <a:pt x="1558976" y="194716"/>
                  </a:lnTo>
                  <a:lnTo>
                    <a:pt x="1558976" y="193383"/>
                  </a:lnTo>
                  <a:lnTo>
                    <a:pt x="1559027" y="192684"/>
                  </a:lnTo>
                  <a:lnTo>
                    <a:pt x="1559027" y="194716"/>
                  </a:lnTo>
                  <a:lnTo>
                    <a:pt x="1559027" y="192684"/>
                  </a:lnTo>
                  <a:lnTo>
                    <a:pt x="1559129" y="193383"/>
                  </a:lnTo>
                  <a:lnTo>
                    <a:pt x="1559129" y="195415"/>
                  </a:lnTo>
                  <a:lnTo>
                    <a:pt x="1559129" y="193383"/>
                  </a:lnTo>
                  <a:lnTo>
                    <a:pt x="1559180" y="193383"/>
                  </a:lnTo>
                  <a:lnTo>
                    <a:pt x="1559180" y="195415"/>
                  </a:lnTo>
                  <a:lnTo>
                    <a:pt x="1559180" y="194716"/>
                  </a:lnTo>
                  <a:lnTo>
                    <a:pt x="1559180" y="195415"/>
                  </a:lnTo>
                  <a:lnTo>
                    <a:pt x="1559230" y="195415"/>
                  </a:lnTo>
                  <a:lnTo>
                    <a:pt x="1559230" y="196113"/>
                  </a:lnTo>
                  <a:lnTo>
                    <a:pt x="1559332" y="195415"/>
                  </a:lnTo>
                  <a:lnTo>
                    <a:pt x="1559332" y="196113"/>
                  </a:lnTo>
                  <a:lnTo>
                    <a:pt x="1559332" y="195415"/>
                  </a:lnTo>
                  <a:lnTo>
                    <a:pt x="1559332" y="196113"/>
                  </a:lnTo>
                  <a:lnTo>
                    <a:pt x="1559332" y="195415"/>
                  </a:lnTo>
                  <a:lnTo>
                    <a:pt x="1559332" y="196113"/>
                  </a:lnTo>
                  <a:lnTo>
                    <a:pt x="1559383" y="196113"/>
                  </a:lnTo>
                  <a:lnTo>
                    <a:pt x="1559383" y="196799"/>
                  </a:lnTo>
                  <a:lnTo>
                    <a:pt x="1559383" y="195415"/>
                  </a:lnTo>
                  <a:lnTo>
                    <a:pt x="1559383" y="196113"/>
                  </a:lnTo>
                  <a:lnTo>
                    <a:pt x="1559383" y="195415"/>
                  </a:lnTo>
                  <a:lnTo>
                    <a:pt x="1559434" y="195415"/>
                  </a:lnTo>
                  <a:lnTo>
                    <a:pt x="1559434" y="196113"/>
                  </a:lnTo>
                  <a:lnTo>
                    <a:pt x="1559434" y="195415"/>
                  </a:lnTo>
                  <a:lnTo>
                    <a:pt x="1559472" y="195415"/>
                  </a:lnTo>
                  <a:lnTo>
                    <a:pt x="1559472" y="194716"/>
                  </a:lnTo>
                  <a:lnTo>
                    <a:pt x="1559472" y="195415"/>
                  </a:lnTo>
                  <a:lnTo>
                    <a:pt x="1559472" y="193383"/>
                  </a:lnTo>
                  <a:lnTo>
                    <a:pt x="1559472" y="194716"/>
                  </a:lnTo>
                  <a:lnTo>
                    <a:pt x="1559472" y="193383"/>
                  </a:lnTo>
                  <a:lnTo>
                    <a:pt x="1559573" y="193383"/>
                  </a:lnTo>
                  <a:lnTo>
                    <a:pt x="1559573" y="192684"/>
                  </a:lnTo>
                  <a:lnTo>
                    <a:pt x="1559573" y="193383"/>
                  </a:lnTo>
                  <a:lnTo>
                    <a:pt x="1559573" y="192684"/>
                  </a:lnTo>
                  <a:lnTo>
                    <a:pt x="1559624" y="192684"/>
                  </a:lnTo>
                  <a:lnTo>
                    <a:pt x="1559624" y="195415"/>
                  </a:lnTo>
                  <a:lnTo>
                    <a:pt x="1559624" y="193383"/>
                  </a:lnTo>
                  <a:lnTo>
                    <a:pt x="1559624" y="194716"/>
                  </a:lnTo>
                  <a:lnTo>
                    <a:pt x="1559675" y="194716"/>
                  </a:lnTo>
                  <a:lnTo>
                    <a:pt x="1559675" y="193383"/>
                  </a:lnTo>
                  <a:lnTo>
                    <a:pt x="1559675" y="194716"/>
                  </a:lnTo>
                  <a:lnTo>
                    <a:pt x="1559675" y="193383"/>
                  </a:lnTo>
                  <a:lnTo>
                    <a:pt x="1559675" y="195415"/>
                  </a:lnTo>
                  <a:lnTo>
                    <a:pt x="1559675" y="194716"/>
                  </a:lnTo>
                  <a:lnTo>
                    <a:pt x="1559675" y="195415"/>
                  </a:lnTo>
                  <a:lnTo>
                    <a:pt x="1559776" y="195415"/>
                  </a:lnTo>
                  <a:lnTo>
                    <a:pt x="1559776" y="194716"/>
                  </a:lnTo>
                  <a:lnTo>
                    <a:pt x="1559776" y="196799"/>
                  </a:lnTo>
                  <a:lnTo>
                    <a:pt x="1559776" y="195415"/>
                  </a:lnTo>
                  <a:lnTo>
                    <a:pt x="1559776" y="196113"/>
                  </a:lnTo>
                  <a:lnTo>
                    <a:pt x="1559827" y="196113"/>
                  </a:lnTo>
                  <a:lnTo>
                    <a:pt x="1559827" y="195415"/>
                  </a:lnTo>
                  <a:lnTo>
                    <a:pt x="1559827" y="196799"/>
                  </a:lnTo>
                  <a:lnTo>
                    <a:pt x="1559827" y="196113"/>
                  </a:lnTo>
                  <a:lnTo>
                    <a:pt x="1559878" y="196113"/>
                  </a:lnTo>
                  <a:lnTo>
                    <a:pt x="1559878" y="195415"/>
                  </a:lnTo>
                  <a:lnTo>
                    <a:pt x="1559878" y="196113"/>
                  </a:lnTo>
                  <a:lnTo>
                    <a:pt x="1559878" y="195415"/>
                  </a:lnTo>
                  <a:lnTo>
                    <a:pt x="1559878" y="196113"/>
                  </a:lnTo>
                  <a:lnTo>
                    <a:pt x="1559929" y="196113"/>
                  </a:lnTo>
                  <a:lnTo>
                    <a:pt x="1559929" y="195415"/>
                  </a:lnTo>
                  <a:lnTo>
                    <a:pt x="1559929" y="196113"/>
                  </a:lnTo>
                  <a:lnTo>
                    <a:pt x="1559929" y="195415"/>
                  </a:lnTo>
                  <a:lnTo>
                    <a:pt x="1560018" y="194716"/>
                  </a:lnTo>
                  <a:lnTo>
                    <a:pt x="1560018" y="193383"/>
                  </a:lnTo>
                  <a:lnTo>
                    <a:pt x="1560018" y="194716"/>
                  </a:lnTo>
                  <a:lnTo>
                    <a:pt x="1560018" y="192684"/>
                  </a:lnTo>
                  <a:lnTo>
                    <a:pt x="1560069" y="192684"/>
                  </a:lnTo>
                  <a:lnTo>
                    <a:pt x="1560069" y="189954"/>
                  </a:lnTo>
                  <a:lnTo>
                    <a:pt x="1560069" y="191351"/>
                  </a:lnTo>
                  <a:lnTo>
                    <a:pt x="1560069" y="189954"/>
                  </a:lnTo>
                  <a:lnTo>
                    <a:pt x="1560069" y="191986"/>
                  </a:lnTo>
                  <a:lnTo>
                    <a:pt x="1560069" y="191351"/>
                  </a:lnTo>
                  <a:lnTo>
                    <a:pt x="1560119" y="189954"/>
                  </a:lnTo>
                  <a:lnTo>
                    <a:pt x="1560119" y="189268"/>
                  </a:lnTo>
                  <a:lnTo>
                    <a:pt x="1560119" y="193383"/>
                  </a:lnTo>
                  <a:lnTo>
                    <a:pt x="1560119" y="191986"/>
                  </a:lnTo>
                  <a:lnTo>
                    <a:pt x="1560170" y="191986"/>
                  </a:lnTo>
                  <a:lnTo>
                    <a:pt x="1560170" y="193383"/>
                  </a:lnTo>
                  <a:lnTo>
                    <a:pt x="1560170" y="192684"/>
                  </a:lnTo>
                  <a:lnTo>
                    <a:pt x="1560170" y="193383"/>
                  </a:lnTo>
                  <a:lnTo>
                    <a:pt x="1560170" y="192684"/>
                  </a:lnTo>
                  <a:lnTo>
                    <a:pt x="1560170" y="194716"/>
                  </a:lnTo>
                  <a:lnTo>
                    <a:pt x="1560170" y="192684"/>
                  </a:lnTo>
                  <a:lnTo>
                    <a:pt x="1560272" y="192684"/>
                  </a:lnTo>
                  <a:lnTo>
                    <a:pt x="1560272" y="195415"/>
                  </a:lnTo>
                  <a:lnTo>
                    <a:pt x="1560272" y="194716"/>
                  </a:lnTo>
                  <a:lnTo>
                    <a:pt x="1560322" y="194716"/>
                  </a:lnTo>
                  <a:lnTo>
                    <a:pt x="1560322" y="195415"/>
                  </a:lnTo>
                  <a:lnTo>
                    <a:pt x="1560322" y="194716"/>
                  </a:lnTo>
                  <a:lnTo>
                    <a:pt x="1560322" y="196113"/>
                  </a:lnTo>
                  <a:lnTo>
                    <a:pt x="1560322" y="195415"/>
                  </a:lnTo>
                  <a:lnTo>
                    <a:pt x="1560322" y="196113"/>
                  </a:lnTo>
                  <a:lnTo>
                    <a:pt x="1560322" y="195415"/>
                  </a:lnTo>
                  <a:lnTo>
                    <a:pt x="1560373" y="195415"/>
                  </a:lnTo>
                  <a:lnTo>
                    <a:pt x="1560373" y="196799"/>
                  </a:lnTo>
                  <a:lnTo>
                    <a:pt x="1560475" y="196799"/>
                  </a:lnTo>
                  <a:lnTo>
                    <a:pt x="1560475" y="196113"/>
                  </a:lnTo>
                  <a:lnTo>
                    <a:pt x="1560475" y="196799"/>
                  </a:lnTo>
                  <a:lnTo>
                    <a:pt x="1560475" y="196113"/>
                  </a:lnTo>
                  <a:lnTo>
                    <a:pt x="1560513" y="196113"/>
                  </a:lnTo>
                  <a:lnTo>
                    <a:pt x="1560513" y="194716"/>
                  </a:lnTo>
                  <a:lnTo>
                    <a:pt x="1560513" y="195415"/>
                  </a:lnTo>
                  <a:lnTo>
                    <a:pt x="1560513" y="194716"/>
                  </a:lnTo>
                  <a:lnTo>
                    <a:pt x="1560564" y="194716"/>
                  </a:lnTo>
                  <a:lnTo>
                    <a:pt x="1560564" y="195415"/>
                  </a:lnTo>
                  <a:lnTo>
                    <a:pt x="1560564" y="193383"/>
                  </a:lnTo>
                  <a:lnTo>
                    <a:pt x="1560564" y="194716"/>
                  </a:lnTo>
                  <a:lnTo>
                    <a:pt x="1560564" y="193383"/>
                  </a:lnTo>
                  <a:lnTo>
                    <a:pt x="1560564" y="195415"/>
                  </a:lnTo>
                  <a:lnTo>
                    <a:pt x="1560615" y="195415"/>
                  </a:lnTo>
                  <a:lnTo>
                    <a:pt x="1560615" y="194716"/>
                  </a:lnTo>
                  <a:lnTo>
                    <a:pt x="1560615" y="196113"/>
                  </a:lnTo>
                  <a:lnTo>
                    <a:pt x="1560615" y="195415"/>
                  </a:lnTo>
                  <a:lnTo>
                    <a:pt x="1560716" y="195415"/>
                  </a:lnTo>
                  <a:lnTo>
                    <a:pt x="1560716" y="194716"/>
                  </a:lnTo>
                  <a:lnTo>
                    <a:pt x="1560716" y="195415"/>
                  </a:lnTo>
                  <a:lnTo>
                    <a:pt x="1560716" y="194716"/>
                  </a:lnTo>
                  <a:lnTo>
                    <a:pt x="1560716" y="196113"/>
                  </a:lnTo>
                  <a:lnTo>
                    <a:pt x="1560716" y="195415"/>
                  </a:lnTo>
                  <a:lnTo>
                    <a:pt x="1560767" y="195415"/>
                  </a:lnTo>
                  <a:lnTo>
                    <a:pt x="1560767" y="196113"/>
                  </a:lnTo>
                  <a:lnTo>
                    <a:pt x="1560767" y="194716"/>
                  </a:lnTo>
                  <a:lnTo>
                    <a:pt x="1560767" y="195415"/>
                  </a:lnTo>
                  <a:lnTo>
                    <a:pt x="1560818" y="195415"/>
                  </a:lnTo>
                  <a:lnTo>
                    <a:pt x="1560818" y="194716"/>
                  </a:lnTo>
                  <a:lnTo>
                    <a:pt x="1560818" y="196113"/>
                  </a:lnTo>
                  <a:lnTo>
                    <a:pt x="1560818" y="195415"/>
                  </a:lnTo>
                  <a:lnTo>
                    <a:pt x="1560919" y="195415"/>
                  </a:lnTo>
                  <a:lnTo>
                    <a:pt x="1560919" y="196113"/>
                  </a:lnTo>
                  <a:lnTo>
                    <a:pt x="1560919" y="195415"/>
                  </a:lnTo>
                  <a:lnTo>
                    <a:pt x="1560919" y="196113"/>
                  </a:lnTo>
                  <a:lnTo>
                    <a:pt x="1560919" y="195415"/>
                  </a:lnTo>
                  <a:lnTo>
                    <a:pt x="1560919" y="196113"/>
                  </a:lnTo>
                  <a:lnTo>
                    <a:pt x="1560919" y="195415"/>
                  </a:lnTo>
                  <a:lnTo>
                    <a:pt x="1560919" y="196113"/>
                  </a:lnTo>
                  <a:lnTo>
                    <a:pt x="1560919" y="195415"/>
                  </a:lnTo>
                  <a:lnTo>
                    <a:pt x="1560919" y="196113"/>
                  </a:lnTo>
                  <a:lnTo>
                    <a:pt x="1560919" y="195415"/>
                  </a:lnTo>
                  <a:lnTo>
                    <a:pt x="1560919" y="196113"/>
                  </a:lnTo>
                  <a:lnTo>
                    <a:pt x="1560970" y="195415"/>
                  </a:lnTo>
                  <a:lnTo>
                    <a:pt x="1560970" y="194716"/>
                  </a:lnTo>
                  <a:lnTo>
                    <a:pt x="1560970" y="195415"/>
                  </a:lnTo>
                  <a:lnTo>
                    <a:pt x="1560970" y="194716"/>
                  </a:lnTo>
                  <a:lnTo>
                    <a:pt x="1561021" y="194716"/>
                  </a:lnTo>
                  <a:lnTo>
                    <a:pt x="1561021" y="193383"/>
                  </a:lnTo>
                  <a:lnTo>
                    <a:pt x="1561021" y="194716"/>
                  </a:lnTo>
                  <a:lnTo>
                    <a:pt x="1561021" y="193383"/>
                  </a:lnTo>
                  <a:lnTo>
                    <a:pt x="1561021" y="196113"/>
                  </a:lnTo>
                  <a:lnTo>
                    <a:pt x="1561021" y="194716"/>
                  </a:lnTo>
                  <a:lnTo>
                    <a:pt x="1561059" y="193383"/>
                  </a:lnTo>
                  <a:lnTo>
                    <a:pt x="1561059" y="197447"/>
                  </a:lnTo>
                  <a:lnTo>
                    <a:pt x="1561059" y="196113"/>
                  </a:lnTo>
                  <a:lnTo>
                    <a:pt x="1561161" y="196113"/>
                  </a:lnTo>
                  <a:lnTo>
                    <a:pt x="1561161" y="197447"/>
                  </a:lnTo>
                  <a:lnTo>
                    <a:pt x="1561161" y="196799"/>
                  </a:lnTo>
                  <a:lnTo>
                    <a:pt x="1561212" y="196799"/>
                  </a:lnTo>
                  <a:lnTo>
                    <a:pt x="1561212" y="197447"/>
                  </a:lnTo>
                  <a:lnTo>
                    <a:pt x="1561212" y="196799"/>
                  </a:lnTo>
                  <a:lnTo>
                    <a:pt x="1561212" y="197447"/>
                  </a:lnTo>
                  <a:lnTo>
                    <a:pt x="1561212" y="196799"/>
                  </a:lnTo>
                  <a:lnTo>
                    <a:pt x="1561262" y="196799"/>
                  </a:lnTo>
                  <a:lnTo>
                    <a:pt x="1561262" y="197447"/>
                  </a:lnTo>
                  <a:lnTo>
                    <a:pt x="1561262" y="196113"/>
                  </a:lnTo>
                  <a:lnTo>
                    <a:pt x="1561262" y="196799"/>
                  </a:lnTo>
                  <a:lnTo>
                    <a:pt x="1561364" y="196799"/>
                  </a:lnTo>
                  <a:lnTo>
                    <a:pt x="1561364" y="196113"/>
                  </a:lnTo>
                  <a:lnTo>
                    <a:pt x="1561364" y="196799"/>
                  </a:lnTo>
                  <a:lnTo>
                    <a:pt x="1561415" y="196113"/>
                  </a:lnTo>
                  <a:lnTo>
                    <a:pt x="1561415" y="196799"/>
                  </a:lnTo>
                  <a:lnTo>
                    <a:pt x="1561415" y="196113"/>
                  </a:lnTo>
                  <a:lnTo>
                    <a:pt x="1561465" y="195415"/>
                  </a:lnTo>
                  <a:lnTo>
                    <a:pt x="1561465" y="196113"/>
                  </a:lnTo>
                  <a:lnTo>
                    <a:pt x="1561465" y="195415"/>
                  </a:lnTo>
                  <a:lnTo>
                    <a:pt x="1561465" y="196113"/>
                  </a:lnTo>
                  <a:lnTo>
                    <a:pt x="1561465" y="194716"/>
                  </a:lnTo>
                  <a:lnTo>
                    <a:pt x="1561465" y="195415"/>
                  </a:lnTo>
                  <a:lnTo>
                    <a:pt x="1561465" y="194716"/>
                  </a:lnTo>
                  <a:lnTo>
                    <a:pt x="1561465" y="195415"/>
                  </a:lnTo>
                  <a:lnTo>
                    <a:pt x="1561465" y="193383"/>
                  </a:lnTo>
                  <a:lnTo>
                    <a:pt x="1561516" y="193383"/>
                  </a:lnTo>
                  <a:lnTo>
                    <a:pt x="1561516" y="195415"/>
                  </a:lnTo>
                  <a:lnTo>
                    <a:pt x="1561516" y="194716"/>
                  </a:lnTo>
                  <a:lnTo>
                    <a:pt x="1561605" y="194716"/>
                  </a:lnTo>
                  <a:lnTo>
                    <a:pt x="1561605" y="196799"/>
                  </a:lnTo>
                  <a:lnTo>
                    <a:pt x="1561605" y="196113"/>
                  </a:lnTo>
                  <a:lnTo>
                    <a:pt x="1561605" y="196799"/>
                  </a:lnTo>
                  <a:lnTo>
                    <a:pt x="1561605" y="195415"/>
                  </a:lnTo>
                  <a:lnTo>
                    <a:pt x="1561605" y="196113"/>
                  </a:lnTo>
                  <a:lnTo>
                    <a:pt x="1561656" y="196799"/>
                  </a:lnTo>
                  <a:lnTo>
                    <a:pt x="1561656" y="197447"/>
                  </a:lnTo>
                  <a:lnTo>
                    <a:pt x="1561656" y="196799"/>
                  </a:lnTo>
                  <a:lnTo>
                    <a:pt x="1561656" y="197447"/>
                  </a:lnTo>
                  <a:lnTo>
                    <a:pt x="1561656" y="196799"/>
                  </a:lnTo>
                  <a:lnTo>
                    <a:pt x="1561707" y="196799"/>
                  </a:lnTo>
                  <a:lnTo>
                    <a:pt x="1561707" y="197447"/>
                  </a:lnTo>
                  <a:lnTo>
                    <a:pt x="1561707" y="196799"/>
                  </a:lnTo>
                  <a:lnTo>
                    <a:pt x="1561707" y="197447"/>
                  </a:lnTo>
                  <a:lnTo>
                    <a:pt x="1561707" y="196799"/>
                  </a:lnTo>
                  <a:lnTo>
                    <a:pt x="1561707" y="197447"/>
                  </a:lnTo>
                  <a:lnTo>
                    <a:pt x="1561758" y="197447"/>
                  </a:lnTo>
                  <a:lnTo>
                    <a:pt x="1561758" y="196799"/>
                  </a:lnTo>
                  <a:lnTo>
                    <a:pt x="1561758" y="197447"/>
                  </a:lnTo>
                  <a:lnTo>
                    <a:pt x="1561758" y="196799"/>
                  </a:lnTo>
                  <a:lnTo>
                    <a:pt x="1561859" y="196799"/>
                  </a:lnTo>
                  <a:lnTo>
                    <a:pt x="1561859" y="196113"/>
                  </a:lnTo>
                  <a:lnTo>
                    <a:pt x="1561859" y="197447"/>
                  </a:lnTo>
                  <a:lnTo>
                    <a:pt x="1561859" y="196799"/>
                  </a:lnTo>
                  <a:lnTo>
                    <a:pt x="1561859" y="197447"/>
                  </a:lnTo>
                  <a:lnTo>
                    <a:pt x="1561910" y="197447"/>
                  </a:lnTo>
                  <a:lnTo>
                    <a:pt x="1561910" y="195415"/>
                  </a:lnTo>
                  <a:lnTo>
                    <a:pt x="1561961" y="195415"/>
                  </a:lnTo>
                  <a:lnTo>
                    <a:pt x="1561961" y="192684"/>
                  </a:lnTo>
                  <a:lnTo>
                    <a:pt x="1562062" y="192684"/>
                  </a:lnTo>
                  <a:lnTo>
                    <a:pt x="1562062" y="194716"/>
                  </a:lnTo>
                  <a:lnTo>
                    <a:pt x="1562062" y="193383"/>
                  </a:lnTo>
                  <a:lnTo>
                    <a:pt x="1562062" y="194716"/>
                  </a:lnTo>
                  <a:lnTo>
                    <a:pt x="1562062" y="192684"/>
                  </a:lnTo>
                  <a:lnTo>
                    <a:pt x="1562062" y="194716"/>
                  </a:lnTo>
                  <a:lnTo>
                    <a:pt x="1562100" y="194716"/>
                  </a:lnTo>
                  <a:lnTo>
                    <a:pt x="1562100" y="196113"/>
                  </a:lnTo>
                  <a:lnTo>
                    <a:pt x="1562100" y="195415"/>
                  </a:lnTo>
                  <a:lnTo>
                    <a:pt x="1562100" y="196113"/>
                  </a:lnTo>
                  <a:lnTo>
                    <a:pt x="1562151" y="196799"/>
                  </a:lnTo>
                  <a:lnTo>
                    <a:pt x="1562151" y="196113"/>
                  </a:lnTo>
                  <a:lnTo>
                    <a:pt x="1562151" y="196799"/>
                  </a:lnTo>
                  <a:lnTo>
                    <a:pt x="1562151" y="196113"/>
                  </a:lnTo>
                  <a:lnTo>
                    <a:pt x="1562151" y="196799"/>
                  </a:lnTo>
                  <a:lnTo>
                    <a:pt x="1562151" y="196113"/>
                  </a:lnTo>
                  <a:lnTo>
                    <a:pt x="1562151" y="196799"/>
                  </a:lnTo>
                  <a:lnTo>
                    <a:pt x="1562202" y="196799"/>
                  </a:lnTo>
                  <a:lnTo>
                    <a:pt x="1562202" y="196113"/>
                  </a:lnTo>
                  <a:lnTo>
                    <a:pt x="1562202" y="196799"/>
                  </a:lnTo>
                  <a:lnTo>
                    <a:pt x="1562304" y="196799"/>
                  </a:lnTo>
                  <a:lnTo>
                    <a:pt x="1562304" y="197447"/>
                  </a:lnTo>
                  <a:lnTo>
                    <a:pt x="1562304" y="196799"/>
                  </a:lnTo>
                  <a:lnTo>
                    <a:pt x="1562304" y="197447"/>
                  </a:lnTo>
                  <a:lnTo>
                    <a:pt x="1562304" y="196799"/>
                  </a:lnTo>
                  <a:lnTo>
                    <a:pt x="1562355" y="196799"/>
                  </a:lnTo>
                  <a:lnTo>
                    <a:pt x="1562355" y="197447"/>
                  </a:lnTo>
                  <a:lnTo>
                    <a:pt x="1562355" y="196799"/>
                  </a:lnTo>
                  <a:lnTo>
                    <a:pt x="1562405" y="196799"/>
                  </a:lnTo>
                  <a:lnTo>
                    <a:pt x="1562405" y="196113"/>
                  </a:lnTo>
                  <a:lnTo>
                    <a:pt x="1562405" y="196799"/>
                  </a:lnTo>
                  <a:lnTo>
                    <a:pt x="1562405" y="195415"/>
                  </a:lnTo>
                  <a:lnTo>
                    <a:pt x="1562507" y="195415"/>
                  </a:lnTo>
                  <a:lnTo>
                    <a:pt x="1562507" y="193383"/>
                  </a:lnTo>
                  <a:lnTo>
                    <a:pt x="1562507" y="195415"/>
                  </a:lnTo>
                  <a:lnTo>
                    <a:pt x="1562558" y="195415"/>
                  </a:lnTo>
                  <a:lnTo>
                    <a:pt x="1562558" y="193383"/>
                  </a:lnTo>
                  <a:lnTo>
                    <a:pt x="1562558" y="195415"/>
                  </a:lnTo>
                  <a:lnTo>
                    <a:pt x="1562609" y="195415"/>
                  </a:lnTo>
                  <a:lnTo>
                    <a:pt x="1562609" y="196113"/>
                  </a:lnTo>
                  <a:lnTo>
                    <a:pt x="1562609" y="194716"/>
                  </a:lnTo>
                  <a:lnTo>
                    <a:pt x="1562609" y="196113"/>
                  </a:lnTo>
                  <a:lnTo>
                    <a:pt x="1562609" y="195415"/>
                  </a:lnTo>
                  <a:lnTo>
                    <a:pt x="1562609" y="196113"/>
                  </a:lnTo>
                  <a:lnTo>
                    <a:pt x="1562609" y="195415"/>
                  </a:lnTo>
                  <a:lnTo>
                    <a:pt x="1562609" y="196113"/>
                  </a:lnTo>
                  <a:lnTo>
                    <a:pt x="1562647" y="196113"/>
                  </a:lnTo>
                  <a:lnTo>
                    <a:pt x="1562647" y="196799"/>
                  </a:lnTo>
                  <a:lnTo>
                    <a:pt x="1562647" y="196113"/>
                  </a:lnTo>
                  <a:lnTo>
                    <a:pt x="1562748" y="196113"/>
                  </a:lnTo>
                  <a:lnTo>
                    <a:pt x="1562748" y="195415"/>
                  </a:lnTo>
                  <a:lnTo>
                    <a:pt x="1562748" y="196113"/>
                  </a:lnTo>
                  <a:lnTo>
                    <a:pt x="1562748" y="195415"/>
                  </a:lnTo>
                  <a:lnTo>
                    <a:pt x="1562748" y="196799"/>
                  </a:lnTo>
                  <a:lnTo>
                    <a:pt x="1562748" y="196113"/>
                  </a:lnTo>
                  <a:lnTo>
                    <a:pt x="1562799" y="196799"/>
                  </a:lnTo>
                  <a:lnTo>
                    <a:pt x="1562799" y="197447"/>
                  </a:lnTo>
                  <a:lnTo>
                    <a:pt x="1562799" y="196799"/>
                  </a:lnTo>
                  <a:lnTo>
                    <a:pt x="1562850" y="196799"/>
                  </a:lnTo>
                  <a:lnTo>
                    <a:pt x="1562850" y="197447"/>
                  </a:lnTo>
                  <a:lnTo>
                    <a:pt x="1562850" y="196799"/>
                  </a:lnTo>
                  <a:lnTo>
                    <a:pt x="1562850" y="197447"/>
                  </a:lnTo>
                  <a:lnTo>
                    <a:pt x="1562850" y="196799"/>
                  </a:lnTo>
                  <a:lnTo>
                    <a:pt x="1562951" y="196799"/>
                  </a:lnTo>
                  <a:lnTo>
                    <a:pt x="1562951" y="194716"/>
                  </a:lnTo>
                  <a:lnTo>
                    <a:pt x="1563002" y="194716"/>
                  </a:lnTo>
                  <a:lnTo>
                    <a:pt x="1563002" y="192684"/>
                  </a:lnTo>
                  <a:lnTo>
                    <a:pt x="1563002" y="195415"/>
                  </a:lnTo>
                  <a:lnTo>
                    <a:pt x="1563002" y="194716"/>
                  </a:lnTo>
                  <a:lnTo>
                    <a:pt x="1563053" y="194716"/>
                  </a:lnTo>
                  <a:lnTo>
                    <a:pt x="1563053" y="192684"/>
                  </a:lnTo>
                  <a:lnTo>
                    <a:pt x="1563053" y="196799"/>
                  </a:lnTo>
                  <a:lnTo>
                    <a:pt x="1563053" y="195415"/>
                  </a:lnTo>
                  <a:lnTo>
                    <a:pt x="1563104" y="195415"/>
                  </a:lnTo>
                  <a:lnTo>
                    <a:pt x="1563104" y="196799"/>
                  </a:lnTo>
                  <a:lnTo>
                    <a:pt x="1563104" y="196113"/>
                  </a:lnTo>
                  <a:lnTo>
                    <a:pt x="1563104" y="196799"/>
                  </a:lnTo>
                  <a:lnTo>
                    <a:pt x="1563104" y="196113"/>
                  </a:lnTo>
                  <a:lnTo>
                    <a:pt x="1563193" y="196113"/>
                  </a:lnTo>
                  <a:lnTo>
                    <a:pt x="1563193" y="196799"/>
                  </a:lnTo>
                  <a:lnTo>
                    <a:pt x="1563193" y="196113"/>
                  </a:lnTo>
                  <a:lnTo>
                    <a:pt x="1563193" y="196799"/>
                  </a:lnTo>
                  <a:lnTo>
                    <a:pt x="1563193" y="196113"/>
                  </a:lnTo>
                  <a:lnTo>
                    <a:pt x="1563193" y="196799"/>
                  </a:lnTo>
                  <a:lnTo>
                    <a:pt x="1563193" y="196113"/>
                  </a:lnTo>
                  <a:lnTo>
                    <a:pt x="1563244" y="196113"/>
                  </a:lnTo>
                  <a:lnTo>
                    <a:pt x="1563244" y="195415"/>
                  </a:lnTo>
                  <a:lnTo>
                    <a:pt x="1563244" y="196799"/>
                  </a:lnTo>
                  <a:lnTo>
                    <a:pt x="1563244" y="196113"/>
                  </a:lnTo>
                  <a:lnTo>
                    <a:pt x="1563294" y="196113"/>
                  </a:lnTo>
                  <a:lnTo>
                    <a:pt x="1563294" y="196799"/>
                  </a:lnTo>
                  <a:lnTo>
                    <a:pt x="1563294" y="196113"/>
                  </a:lnTo>
                  <a:lnTo>
                    <a:pt x="1563294" y="196799"/>
                  </a:lnTo>
                  <a:lnTo>
                    <a:pt x="1563345" y="196799"/>
                  </a:lnTo>
                  <a:lnTo>
                    <a:pt x="1563345" y="196113"/>
                  </a:lnTo>
                  <a:lnTo>
                    <a:pt x="1563447" y="196113"/>
                  </a:lnTo>
                  <a:lnTo>
                    <a:pt x="1563447" y="194716"/>
                  </a:lnTo>
                  <a:lnTo>
                    <a:pt x="1563497" y="194716"/>
                  </a:lnTo>
                  <a:lnTo>
                    <a:pt x="1563497" y="193383"/>
                  </a:lnTo>
                  <a:lnTo>
                    <a:pt x="1563497" y="194716"/>
                  </a:lnTo>
                  <a:lnTo>
                    <a:pt x="1563497" y="193383"/>
                  </a:lnTo>
                  <a:lnTo>
                    <a:pt x="1563497" y="194716"/>
                  </a:lnTo>
                  <a:lnTo>
                    <a:pt x="1563497" y="193383"/>
                  </a:lnTo>
                  <a:lnTo>
                    <a:pt x="1563497" y="194716"/>
                  </a:lnTo>
                  <a:lnTo>
                    <a:pt x="1563548" y="194716"/>
                  </a:lnTo>
                  <a:lnTo>
                    <a:pt x="1563548" y="193383"/>
                  </a:lnTo>
                  <a:lnTo>
                    <a:pt x="1563548" y="196113"/>
                  </a:lnTo>
                  <a:lnTo>
                    <a:pt x="1563548" y="195415"/>
                  </a:lnTo>
                  <a:lnTo>
                    <a:pt x="1563650" y="195415"/>
                  </a:lnTo>
                  <a:lnTo>
                    <a:pt x="1563650" y="196113"/>
                  </a:lnTo>
                  <a:lnTo>
                    <a:pt x="1563650" y="195415"/>
                  </a:lnTo>
                  <a:lnTo>
                    <a:pt x="1563650" y="196113"/>
                  </a:lnTo>
                  <a:lnTo>
                    <a:pt x="1563650" y="195415"/>
                  </a:lnTo>
                  <a:lnTo>
                    <a:pt x="1563688" y="195415"/>
                  </a:lnTo>
                  <a:lnTo>
                    <a:pt x="1563688" y="194716"/>
                  </a:lnTo>
                  <a:lnTo>
                    <a:pt x="1563688" y="195415"/>
                  </a:lnTo>
                  <a:lnTo>
                    <a:pt x="1563688" y="194716"/>
                  </a:lnTo>
                  <a:lnTo>
                    <a:pt x="1563739" y="195415"/>
                  </a:lnTo>
                  <a:lnTo>
                    <a:pt x="1563739" y="196113"/>
                  </a:lnTo>
                  <a:lnTo>
                    <a:pt x="1563739" y="195415"/>
                  </a:lnTo>
                  <a:lnTo>
                    <a:pt x="1563739" y="196113"/>
                  </a:lnTo>
                  <a:lnTo>
                    <a:pt x="1563790" y="196113"/>
                  </a:lnTo>
                  <a:lnTo>
                    <a:pt x="1563790" y="196799"/>
                  </a:lnTo>
                  <a:lnTo>
                    <a:pt x="1563790" y="196113"/>
                  </a:lnTo>
                  <a:lnTo>
                    <a:pt x="1563790" y="196799"/>
                  </a:lnTo>
                  <a:lnTo>
                    <a:pt x="1563790" y="196113"/>
                  </a:lnTo>
                  <a:lnTo>
                    <a:pt x="1563891" y="196113"/>
                  </a:lnTo>
                  <a:lnTo>
                    <a:pt x="1563891" y="195415"/>
                  </a:lnTo>
                  <a:lnTo>
                    <a:pt x="1563891" y="196113"/>
                  </a:lnTo>
                  <a:lnTo>
                    <a:pt x="1563942" y="196113"/>
                  </a:lnTo>
                  <a:lnTo>
                    <a:pt x="1563942" y="192684"/>
                  </a:lnTo>
                  <a:lnTo>
                    <a:pt x="1563993" y="192684"/>
                  </a:lnTo>
                  <a:lnTo>
                    <a:pt x="1563993" y="194716"/>
                  </a:lnTo>
                  <a:lnTo>
                    <a:pt x="1563993" y="192684"/>
                  </a:lnTo>
                  <a:lnTo>
                    <a:pt x="1563993" y="193383"/>
                  </a:lnTo>
                  <a:lnTo>
                    <a:pt x="1564094" y="193383"/>
                  </a:lnTo>
                  <a:lnTo>
                    <a:pt x="1564094" y="196113"/>
                  </a:lnTo>
                  <a:lnTo>
                    <a:pt x="1564094" y="195415"/>
                  </a:lnTo>
                  <a:lnTo>
                    <a:pt x="1564145" y="195415"/>
                  </a:lnTo>
                  <a:lnTo>
                    <a:pt x="1564145" y="196113"/>
                  </a:lnTo>
                  <a:lnTo>
                    <a:pt x="1564145" y="195415"/>
                  </a:lnTo>
                  <a:lnTo>
                    <a:pt x="1564145" y="196113"/>
                  </a:lnTo>
                  <a:lnTo>
                    <a:pt x="1564145" y="195415"/>
                  </a:lnTo>
                  <a:lnTo>
                    <a:pt x="1564196" y="195415"/>
                  </a:lnTo>
                  <a:lnTo>
                    <a:pt x="1564196" y="196113"/>
                  </a:lnTo>
                  <a:lnTo>
                    <a:pt x="1564196" y="195415"/>
                  </a:lnTo>
                  <a:lnTo>
                    <a:pt x="1564196" y="196113"/>
                  </a:lnTo>
                  <a:lnTo>
                    <a:pt x="1564234" y="196113"/>
                  </a:lnTo>
                  <a:lnTo>
                    <a:pt x="1564234" y="195415"/>
                  </a:lnTo>
                  <a:lnTo>
                    <a:pt x="1564234" y="196799"/>
                  </a:lnTo>
                  <a:lnTo>
                    <a:pt x="1564336" y="196113"/>
                  </a:lnTo>
                  <a:lnTo>
                    <a:pt x="1564336" y="197447"/>
                  </a:lnTo>
                  <a:lnTo>
                    <a:pt x="1564336" y="196113"/>
                  </a:lnTo>
                  <a:lnTo>
                    <a:pt x="1564387" y="196799"/>
                  </a:lnTo>
                  <a:lnTo>
                    <a:pt x="1564387" y="196113"/>
                  </a:lnTo>
                  <a:lnTo>
                    <a:pt x="1564387" y="196799"/>
                  </a:lnTo>
                  <a:lnTo>
                    <a:pt x="1564387" y="196113"/>
                  </a:lnTo>
                  <a:lnTo>
                    <a:pt x="1564387" y="196799"/>
                  </a:lnTo>
                  <a:lnTo>
                    <a:pt x="1564387" y="196113"/>
                  </a:lnTo>
                  <a:lnTo>
                    <a:pt x="1564387" y="196799"/>
                  </a:lnTo>
                  <a:lnTo>
                    <a:pt x="1564387" y="195415"/>
                  </a:lnTo>
                  <a:lnTo>
                    <a:pt x="1564437" y="195415"/>
                  </a:lnTo>
                  <a:lnTo>
                    <a:pt x="1564437" y="194716"/>
                  </a:lnTo>
                  <a:lnTo>
                    <a:pt x="1564437" y="195415"/>
                  </a:lnTo>
                  <a:lnTo>
                    <a:pt x="1564437" y="194716"/>
                  </a:lnTo>
                  <a:lnTo>
                    <a:pt x="1564437" y="195415"/>
                  </a:lnTo>
                  <a:lnTo>
                    <a:pt x="1564437" y="194716"/>
                  </a:lnTo>
                  <a:lnTo>
                    <a:pt x="1564539" y="195415"/>
                  </a:lnTo>
                  <a:lnTo>
                    <a:pt x="1564539" y="196113"/>
                  </a:lnTo>
                  <a:lnTo>
                    <a:pt x="1564539" y="194716"/>
                  </a:lnTo>
                  <a:lnTo>
                    <a:pt x="1564539" y="196799"/>
                  </a:lnTo>
                  <a:lnTo>
                    <a:pt x="1564590" y="197447"/>
                  </a:lnTo>
                  <a:lnTo>
                    <a:pt x="1564590" y="196113"/>
                  </a:lnTo>
                  <a:lnTo>
                    <a:pt x="1564590" y="197447"/>
                  </a:lnTo>
                  <a:lnTo>
                    <a:pt x="1564590" y="196799"/>
                  </a:lnTo>
                  <a:lnTo>
                    <a:pt x="1564640" y="196799"/>
                  </a:lnTo>
                  <a:lnTo>
                    <a:pt x="1564640" y="197447"/>
                  </a:lnTo>
                  <a:lnTo>
                    <a:pt x="1564640" y="196799"/>
                  </a:lnTo>
                  <a:lnTo>
                    <a:pt x="1564640" y="197447"/>
                  </a:lnTo>
                  <a:lnTo>
                    <a:pt x="1564640" y="196113"/>
                  </a:lnTo>
                  <a:lnTo>
                    <a:pt x="1564691" y="196799"/>
                  </a:lnTo>
                  <a:lnTo>
                    <a:pt x="1564691" y="196113"/>
                  </a:lnTo>
                  <a:lnTo>
                    <a:pt x="1564691" y="196799"/>
                  </a:lnTo>
                  <a:lnTo>
                    <a:pt x="1564780" y="196799"/>
                  </a:lnTo>
                  <a:lnTo>
                    <a:pt x="1564780" y="198831"/>
                  </a:lnTo>
                  <a:lnTo>
                    <a:pt x="1564780" y="197447"/>
                  </a:lnTo>
                  <a:lnTo>
                    <a:pt x="1564831" y="196799"/>
                  </a:lnTo>
                  <a:lnTo>
                    <a:pt x="1564831" y="197447"/>
                  </a:lnTo>
                  <a:lnTo>
                    <a:pt x="1564831" y="196799"/>
                  </a:lnTo>
                  <a:lnTo>
                    <a:pt x="1564882" y="196113"/>
                  </a:lnTo>
                  <a:lnTo>
                    <a:pt x="1564882" y="194716"/>
                  </a:lnTo>
                  <a:lnTo>
                    <a:pt x="1564933" y="194716"/>
                  </a:lnTo>
                  <a:lnTo>
                    <a:pt x="1564933" y="193383"/>
                  </a:lnTo>
                  <a:lnTo>
                    <a:pt x="1564933" y="196799"/>
                  </a:lnTo>
                  <a:lnTo>
                    <a:pt x="1564933" y="196113"/>
                  </a:lnTo>
                  <a:lnTo>
                    <a:pt x="1565034" y="195415"/>
                  </a:lnTo>
                  <a:lnTo>
                    <a:pt x="1565034" y="194716"/>
                  </a:lnTo>
                  <a:lnTo>
                    <a:pt x="1565034" y="198831"/>
                  </a:lnTo>
                  <a:lnTo>
                    <a:pt x="1565034" y="197447"/>
                  </a:lnTo>
                  <a:lnTo>
                    <a:pt x="1565085" y="197447"/>
                  </a:lnTo>
                  <a:lnTo>
                    <a:pt x="1565085" y="195415"/>
                  </a:lnTo>
                  <a:lnTo>
                    <a:pt x="1565085" y="198831"/>
                  </a:lnTo>
                  <a:lnTo>
                    <a:pt x="1565085" y="196113"/>
                  </a:lnTo>
                  <a:lnTo>
                    <a:pt x="1565136" y="196113"/>
                  </a:lnTo>
                  <a:lnTo>
                    <a:pt x="1565136" y="196799"/>
                  </a:lnTo>
                  <a:lnTo>
                    <a:pt x="1565136" y="196113"/>
                  </a:lnTo>
                  <a:lnTo>
                    <a:pt x="1565136" y="197447"/>
                  </a:lnTo>
                  <a:lnTo>
                    <a:pt x="1565136" y="196799"/>
                  </a:lnTo>
                  <a:lnTo>
                    <a:pt x="1565237" y="196799"/>
                  </a:lnTo>
                  <a:lnTo>
                    <a:pt x="1565237" y="197447"/>
                  </a:lnTo>
                  <a:lnTo>
                    <a:pt x="1565275" y="196799"/>
                  </a:lnTo>
                  <a:lnTo>
                    <a:pt x="1565275" y="197447"/>
                  </a:lnTo>
                  <a:lnTo>
                    <a:pt x="1565275" y="196799"/>
                  </a:lnTo>
                  <a:lnTo>
                    <a:pt x="1565275" y="197447"/>
                  </a:lnTo>
                  <a:lnTo>
                    <a:pt x="1565275" y="196799"/>
                  </a:lnTo>
                  <a:lnTo>
                    <a:pt x="1565326" y="197447"/>
                  </a:lnTo>
                  <a:lnTo>
                    <a:pt x="1565326" y="196113"/>
                  </a:lnTo>
                  <a:lnTo>
                    <a:pt x="1565377" y="196113"/>
                  </a:lnTo>
                  <a:lnTo>
                    <a:pt x="1565377" y="195415"/>
                  </a:lnTo>
                  <a:lnTo>
                    <a:pt x="1565479" y="195415"/>
                  </a:lnTo>
                  <a:lnTo>
                    <a:pt x="1565479" y="196799"/>
                  </a:lnTo>
                  <a:lnTo>
                    <a:pt x="1565479" y="194716"/>
                  </a:lnTo>
                  <a:lnTo>
                    <a:pt x="1565479" y="197447"/>
                  </a:lnTo>
                  <a:lnTo>
                    <a:pt x="1565530" y="197447"/>
                  </a:lnTo>
                  <a:lnTo>
                    <a:pt x="1565530" y="198831"/>
                  </a:lnTo>
                  <a:lnTo>
                    <a:pt x="1565530" y="196799"/>
                  </a:lnTo>
                  <a:lnTo>
                    <a:pt x="1565530" y="198831"/>
                  </a:lnTo>
                  <a:lnTo>
                    <a:pt x="1565580" y="198831"/>
                  </a:lnTo>
                  <a:lnTo>
                    <a:pt x="1565580" y="197447"/>
                  </a:lnTo>
                  <a:lnTo>
                    <a:pt x="1565580" y="198831"/>
                  </a:lnTo>
                  <a:lnTo>
                    <a:pt x="1565580" y="196799"/>
                  </a:lnTo>
                  <a:lnTo>
                    <a:pt x="1565580" y="197447"/>
                  </a:lnTo>
                  <a:lnTo>
                    <a:pt x="1565580" y="196799"/>
                  </a:lnTo>
                  <a:lnTo>
                    <a:pt x="1565580" y="197447"/>
                  </a:lnTo>
                  <a:lnTo>
                    <a:pt x="1565682" y="197447"/>
                  </a:lnTo>
                  <a:lnTo>
                    <a:pt x="1565682" y="196799"/>
                  </a:lnTo>
                  <a:lnTo>
                    <a:pt x="1565682" y="197447"/>
                  </a:lnTo>
                  <a:lnTo>
                    <a:pt x="1565682" y="196799"/>
                  </a:lnTo>
                  <a:lnTo>
                    <a:pt x="1565733" y="197447"/>
                  </a:lnTo>
                  <a:lnTo>
                    <a:pt x="1565733" y="198831"/>
                  </a:lnTo>
                  <a:lnTo>
                    <a:pt x="1565733" y="196799"/>
                  </a:lnTo>
                  <a:lnTo>
                    <a:pt x="1565733" y="197447"/>
                  </a:lnTo>
                  <a:lnTo>
                    <a:pt x="1565784" y="197447"/>
                  </a:lnTo>
                  <a:lnTo>
                    <a:pt x="1565784" y="198831"/>
                  </a:lnTo>
                  <a:lnTo>
                    <a:pt x="1565784" y="196799"/>
                  </a:lnTo>
                  <a:lnTo>
                    <a:pt x="1565822" y="196799"/>
                  </a:lnTo>
                  <a:lnTo>
                    <a:pt x="1565822" y="196113"/>
                  </a:lnTo>
                  <a:lnTo>
                    <a:pt x="1565822" y="196799"/>
                  </a:lnTo>
                  <a:lnTo>
                    <a:pt x="1565822" y="195415"/>
                  </a:lnTo>
                  <a:lnTo>
                    <a:pt x="1565923" y="195415"/>
                  </a:lnTo>
                  <a:lnTo>
                    <a:pt x="1565923" y="193383"/>
                  </a:lnTo>
                  <a:lnTo>
                    <a:pt x="1565923" y="194716"/>
                  </a:lnTo>
                  <a:lnTo>
                    <a:pt x="1565974" y="194716"/>
                  </a:lnTo>
                  <a:lnTo>
                    <a:pt x="1565974" y="196113"/>
                  </a:lnTo>
                  <a:lnTo>
                    <a:pt x="1565974" y="193383"/>
                  </a:lnTo>
                  <a:lnTo>
                    <a:pt x="1565974" y="197447"/>
                  </a:lnTo>
                  <a:lnTo>
                    <a:pt x="1566025" y="197447"/>
                  </a:lnTo>
                  <a:lnTo>
                    <a:pt x="1566025" y="195415"/>
                  </a:lnTo>
                  <a:lnTo>
                    <a:pt x="1566025" y="197447"/>
                  </a:lnTo>
                  <a:lnTo>
                    <a:pt x="1566126" y="196799"/>
                  </a:lnTo>
                  <a:lnTo>
                    <a:pt x="1566126" y="196113"/>
                  </a:lnTo>
                  <a:lnTo>
                    <a:pt x="1566126" y="197447"/>
                  </a:lnTo>
                  <a:lnTo>
                    <a:pt x="1566126" y="196799"/>
                  </a:lnTo>
                  <a:lnTo>
                    <a:pt x="1566177" y="196799"/>
                  </a:lnTo>
                  <a:lnTo>
                    <a:pt x="1566177" y="198831"/>
                  </a:lnTo>
                  <a:lnTo>
                    <a:pt x="1566177" y="197447"/>
                  </a:lnTo>
                  <a:lnTo>
                    <a:pt x="1566228" y="197447"/>
                  </a:lnTo>
                  <a:lnTo>
                    <a:pt x="1566228" y="198831"/>
                  </a:lnTo>
                  <a:lnTo>
                    <a:pt x="1566228" y="197447"/>
                  </a:lnTo>
                  <a:lnTo>
                    <a:pt x="1566228" y="198831"/>
                  </a:lnTo>
                  <a:lnTo>
                    <a:pt x="1566228" y="197447"/>
                  </a:lnTo>
                  <a:lnTo>
                    <a:pt x="1566279" y="198831"/>
                  </a:lnTo>
                  <a:lnTo>
                    <a:pt x="1566279" y="196799"/>
                  </a:lnTo>
                  <a:lnTo>
                    <a:pt x="1566368" y="196799"/>
                  </a:lnTo>
                  <a:lnTo>
                    <a:pt x="1566368" y="195415"/>
                  </a:lnTo>
                  <a:lnTo>
                    <a:pt x="1566419" y="195415"/>
                  </a:lnTo>
                  <a:lnTo>
                    <a:pt x="1566419" y="193383"/>
                  </a:lnTo>
                  <a:lnTo>
                    <a:pt x="1566419" y="195415"/>
                  </a:lnTo>
                  <a:lnTo>
                    <a:pt x="1566419" y="194716"/>
                  </a:lnTo>
                  <a:lnTo>
                    <a:pt x="1566419" y="195415"/>
                  </a:lnTo>
                  <a:lnTo>
                    <a:pt x="1566469" y="195415"/>
                  </a:lnTo>
                  <a:lnTo>
                    <a:pt x="1566469" y="193383"/>
                  </a:lnTo>
                  <a:lnTo>
                    <a:pt x="1566469" y="196799"/>
                  </a:lnTo>
                  <a:lnTo>
                    <a:pt x="1566469" y="196113"/>
                  </a:lnTo>
                  <a:lnTo>
                    <a:pt x="1566520" y="196113"/>
                  </a:lnTo>
                  <a:lnTo>
                    <a:pt x="1566520" y="194716"/>
                  </a:lnTo>
                  <a:lnTo>
                    <a:pt x="1566520" y="196799"/>
                  </a:lnTo>
                  <a:lnTo>
                    <a:pt x="1566520" y="195415"/>
                  </a:lnTo>
                  <a:lnTo>
                    <a:pt x="1566622" y="195415"/>
                  </a:lnTo>
                  <a:lnTo>
                    <a:pt x="1566622" y="196113"/>
                  </a:lnTo>
                  <a:lnTo>
                    <a:pt x="1566622" y="195415"/>
                  </a:lnTo>
                  <a:lnTo>
                    <a:pt x="1566622" y="196113"/>
                  </a:lnTo>
                  <a:lnTo>
                    <a:pt x="1566672" y="195415"/>
                  </a:lnTo>
                  <a:lnTo>
                    <a:pt x="1566672" y="196799"/>
                  </a:lnTo>
                  <a:lnTo>
                    <a:pt x="1566672" y="196113"/>
                  </a:lnTo>
                  <a:lnTo>
                    <a:pt x="1566672" y="196799"/>
                  </a:lnTo>
                  <a:lnTo>
                    <a:pt x="1566825" y="196799"/>
                  </a:lnTo>
                  <a:lnTo>
                    <a:pt x="1566825" y="196113"/>
                  </a:lnTo>
                  <a:lnTo>
                    <a:pt x="1566863" y="196113"/>
                  </a:lnTo>
                  <a:lnTo>
                    <a:pt x="1566863" y="195415"/>
                  </a:lnTo>
                  <a:lnTo>
                    <a:pt x="1566863" y="196113"/>
                  </a:lnTo>
                  <a:lnTo>
                    <a:pt x="1566863" y="195415"/>
                  </a:lnTo>
                  <a:lnTo>
                    <a:pt x="1566863" y="196113"/>
                  </a:lnTo>
                  <a:lnTo>
                    <a:pt x="1566863" y="194716"/>
                  </a:lnTo>
                  <a:lnTo>
                    <a:pt x="1566863" y="195415"/>
                  </a:lnTo>
                  <a:lnTo>
                    <a:pt x="1566863" y="194716"/>
                  </a:lnTo>
                  <a:lnTo>
                    <a:pt x="1566914" y="194716"/>
                  </a:lnTo>
                  <a:lnTo>
                    <a:pt x="1566914" y="196113"/>
                  </a:lnTo>
                  <a:lnTo>
                    <a:pt x="1566914" y="195415"/>
                  </a:lnTo>
                  <a:lnTo>
                    <a:pt x="1566914" y="196113"/>
                  </a:lnTo>
                  <a:lnTo>
                    <a:pt x="1566914" y="194716"/>
                  </a:lnTo>
                  <a:lnTo>
                    <a:pt x="1566914" y="195415"/>
                  </a:lnTo>
                  <a:lnTo>
                    <a:pt x="1566965" y="195415"/>
                  </a:lnTo>
                  <a:lnTo>
                    <a:pt x="1566965" y="197447"/>
                  </a:lnTo>
                  <a:lnTo>
                    <a:pt x="1566965" y="196113"/>
                  </a:lnTo>
                  <a:lnTo>
                    <a:pt x="1567066" y="196113"/>
                  </a:lnTo>
                  <a:lnTo>
                    <a:pt x="1567066" y="197447"/>
                  </a:lnTo>
                  <a:lnTo>
                    <a:pt x="1567066" y="196113"/>
                  </a:lnTo>
                  <a:lnTo>
                    <a:pt x="1567066" y="196799"/>
                  </a:lnTo>
                  <a:lnTo>
                    <a:pt x="1567066" y="196113"/>
                  </a:lnTo>
                  <a:lnTo>
                    <a:pt x="1567117" y="196113"/>
                  </a:lnTo>
                  <a:lnTo>
                    <a:pt x="1567117" y="196799"/>
                  </a:lnTo>
                  <a:lnTo>
                    <a:pt x="1567117" y="196113"/>
                  </a:lnTo>
                  <a:lnTo>
                    <a:pt x="1567117" y="196799"/>
                  </a:lnTo>
                  <a:lnTo>
                    <a:pt x="1567168" y="196799"/>
                  </a:lnTo>
                  <a:lnTo>
                    <a:pt x="1567168" y="197447"/>
                  </a:lnTo>
                  <a:lnTo>
                    <a:pt x="1567168" y="196799"/>
                  </a:lnTo>
                  <a:lnTo>
                    <a:pt x="1567168" y="197447"/>
                  </a:lnTo>
                  <a:lnTo>
                    <a:pt x="1567168" y="196799"/>
                  </a:lnTo>
                  <a:lnTo>
                    <a:pt x="1567269" y="196799"/>
                  </a:lnTo>
                  <a:lnTo>
                    <a:pt x="1567269" y="197447"/>
                  </a:lnTo>
                  <a:lnTo>
                    <a:pt x="1567269" y="196799"/>
                  </a:lnTo>
                  <a:lnTo>
                    <a:pt x="1567320" y="196113"/>
                  </a:lnTo>
                  <a:lnTo>
                    <a:pt x="1567320" y="196799"/>
                  </a:lnTo>
                  <a:lnTo>
                    <a:pt x="1567320" y="196113"/>
                  </a:lnTo>
                  <a:lnTo>
                    <a:pt x="1567320" y="196799"/>
                  </a:lnTo>
                  <a:lnTo>
                    <a:pt x="1567320" y="195415"/>
                  </a:lnTo>
                  <a:lnTo>
                    <a:pt x="1567371" y="195415"/>
                  </a:lnTo>
                  <a:lnTo>
                    <a:pt x="1567371" y="193383"/>
                  </a:lnTo>
                  <a:lnTo>
                    <a:pt x="1567371" y="195415"/>
                  </a:lnTo>
                  <a:lnTo>
                    <a:pt x="1567409" y="196113"/>
                  </a:lnTo>
                  <a:lnTo>
                    <a:pt x="1567409" y="196799"/>
                  </a:lnTo>
                  <a:lnTo>
                    <a:pt x="1567409" y="194716"/>
                  </a:lnTo>
                  <a:lnTo>
                    <a:pt x="1567409" y="197447"/>
                  </a:lnTo>
                  <a:lnTo>
                    <a:pt x="1567511" y="198831"/>
                  </a:lnTo>
                  <a:lnTo>
                    <a:pt x="1567511" y="196113"/>
                  </a:lnTo>
                  <a:lnTo>
                    <a:pt x="1567511" y="196799"/>
                  </a:lnTo>
                  <a:lnTo>
                    <a:pt x="1567511" y="196113"/>
                  </a:lnTo>
                  <a:lnTo>
                    <a:pt x="1567511" y="197447"/>
                  </a:lnTo>
                  <a:lnTo>
                    <a:pt x="1567562" y="197447"/>
                  </a:lnTo>
                  <a:lnTo>
                    <a:pt x="1567562" y="196113"/>
                  </a:lnTo>
                  <a:lnTo>
                    <a:pt x="1567562" y="197447"/>
                  </a:lnTo>
                  <a:lnTo>
                    <a:pt x="1567562" y="196799"/>
                  </a:lnTo>
                  <a:lnTo>
                    <a:pt x="1567612" y="197447"/>
                  </a:lnTo>
                  <a:lnTo>
                    <a:pt x="1567612" y="196799"/>
                  </a:lnTo>
                  <a:lnTo>
                    <a:pt x="1567612" y="198831"/>
                  </a:lnTo>
                  <a:lnTo>
                    <a:pt x="1567612" y="196799"/>
                  </a:lnTo>
                  <a:lnTo>
                    <a:pt x="1567714" y="196799"/>
                  </a:lnTo>
                  <a:lnTo>
                    <a:pt x="1567714" y="197447"/>
                  </a:lnTo>
                  <a:lnTo>
                    <a:pt x="1567714" y="196799"/>
                  </a:lnTo>
                  <a:lnTo>
                    <a:pt x="1567714" y="197447"/>
                  </a:lnTo>
                  <a:lnTo>
                    <a:pt x="1567714" y="196799"/>
                  </a:lnTo>
                  <a:lnTo>
                    <a:pt x="1567765" y="196799"/>
                  </a:lnTo>
                  <a:lnTo>
                    <a:pt x="1567765" y="197447"/>
                  </a:lnTo>
                  <a:lnTo>
                    <a:pt x="1567765" y="196113"/>
                  </a:lnTo>
                  <a:lnTo>
                    <a:pt x="1567815" y="196113"/>
                  </a:lnTo>
                  <a:lnTo>
                    <a:pt x="1567815" y="194716"/>
                  </a:lnTo>
                  <a:lnTo>
                    <a:pt x="1567866" y="194716"/>
                  </a:lnTo>
                  <a:lnTo>
                    <a:pt x="1567866" y="193383"/>
                  </a:lnTo>
                  <a:lnTo>
                    <a:pt x="1567866" y="194716"/>
                  </a:lnTo>
                  <a:lnTo>
                    <a:pt x="1567866" y="192684"/>
                  </a:lnTo>
                  <a:lnTo>
                    <a:pt x="1567955" y="193383"/>
                  </a:lnTo>
                  <a:lnTo>
                    <a:pt x="1567955" y="194716"/>
                  </a:lnTo>
                  <a:lnTo>
                    <a:pt x="1567955" y="193383"/>
                  </a:lnTo>
                  <a:lnTo>
                    <a:pt x="1567955" y="194716"/>
                  </a:lnTo>
                  <a:lnTo>
                    <a:pt x="1567955" y="192684"/>
                  </a:lnTo>
                  <a:lnTo>
                    <a:pt x="1567955" y="195415"/>
                  </a:lnTo>
                  <a:lnTo>
                    <a:pt x="1568006" y="195415"/>
                  </a:lnTo>
                  <a:lnTo>
                    <a:pt x="1568006" y="194716"/>
                  </a:lnTo>
                  <a:lnTo>
                    <a:pt x="1568006" y="195415"/>
                  </a:lnTo>
                  <a:lnTo>
                    <a:pt x="1568057" y="195415"/>
                  </a:lnTo>
                  <a:lnTo>
                    <a:pt x="1568057" y="196113"/>
                  </a:lnTo>
                  <a:lnTo>
                    <a:pt x="1568057" y="194716"/>
                  </a:lnTo>
                  <a:lnTo>
                    <a:pt x="1568057" y="195415"/>
                  </a:lnTo>
                  <a:lnTo>
                    <a:pt x="1568108" y="196113"/>
                  </a:lnTo>
                  <a:lnTo>
                    <a:pt x="1568108" y="195415"/>
                  </a:lnTo>
                  <a:lnTo>
                    <a:pt x="1568108" y="196799"/>
                  </a:lnTo>
                  <a:lnTo>
                    <a:pt x="1568209" y="196799"/>
                  </a:lnTo>
                  <a:lnTo>
                    <a:pt x="1568209" y="196113"/>
                  </a:lnTo>
                  <a:lnTo>
                    <a:pt x="1568209" y="197447"/>
                  </a:lnTo>
                  <a:lnTo>
                    <a:pt x="1568209" y="196799"/>
                  </a:lnTo>
                  <a:lnTo>
                    <a:pt x="1568260" y="196799"/>
                  </a:lnTo>
                  <a:lnTo>
                    <a:pt x="1568260" y="196113"/>
                  </a:lnTo>
                  <a:lnTo>
                    <a:pt x="1568260" y="196799"/>
                  </a:lnTo>
                  <a:lnTo>
                    <a:pt x="1568260" y="196113"/>
                  </a:lnTo>
                  <a:lnTo>
                    <a:pt x="1568311" y="196113"/>
                  </a:lnTo>
                  <a:lnTo>
                    <a:pt x="1568311" y="195415"/>
                  </a:lnTo>
                  <a:lnTo>
                    <a:pt x="1568311" y="196113"/>
                  </a:lnTo>
                  <a:lnTo>
                    <a:pt x="1568311" y="195415"/>
                  </a:lnTo>
                  <a:lnTo>
                    <a:pt x="1568311" y="196113"/>
                  </a:lnTo>
                  <a:lnTo>
                    <a:pt x="1568311" y="193383"/>
                  </a:lnTo>
                  <a:lnTo>
                    <a:pt x="1568412" y="193383"/>
                  </a:lnTo>
                  <a:lnTo>
                    <a:pt x="1568412" y="194716"/>
                  </a:lnTo>
                  <a:lnTo>
                    <a:pt x="1568412" y="191351"/>
                  </a:lnTo>
                  <a:lnTo>
                    <a:pt x="1568450" y="191351"/>
                  </a:lnTo>
                  <a:lnTo>
                    <a:pt x="1568450" y="193383"/>
                  </a:lnTo>
                  <a:lnTo>
                    <a:pt x="1568450" y="191351"/>
                  </a:lnTo>
                  <a:lnTo>
                    <a:pt x="1568450" y="193383"/>
                  </a:lnTo>
                  <a:lnTo>
                    <a:pt x="1568501" y="193383"/>
                  </a:lnTo>
                  <a:lnTo>
                    <a:pt x="1568501" y="194716"/>
                  </a:lnTo>
                  <a:lnTo>
                    <a:pt x="1568501" y="192684"/>
                  </a:lnTo>
                  <a:lnTo>
                    <a:pt x="1568501" y="194716"/>
                  </a:lnTo>
                  <a:lnTo>
                    <a:pt x="1568552" y="194716"/>
                  </a:lnTo>
                  <a:lnTo>
                    <a:pt x="1568552" y="195415"/>
                  </a:lnTo>
                  <a:lnTo>
                    <a:pt x="1568552" y="194716"/>
                  </a:lnTo>
                  <a:lnTo>
                    <a:pt x="1568552" y="195415"/>
                  </a:lnTo>
                  <a:lnTo>
                    <a:pt x="1568552" y="194716"/>
                  </a:lnTo>
                  <a:lnTo>
                    <a:pt x="1568552" y="195415"/>
                  </a:lnTo>
                  <a:lnTo>
                    <a:pt x="1568654" y="195415"/>
                  </a:lnTo>
                  <a:lnTo>
                    <a:pt x="1568654" y="194716"/>
                  </a:lnTo>
                  <a:lnTo>
                    <a:pt x="1568654" y="196113"/>
                  </a:lnTo>
                  <a:lnTo>
                    <a:pt x="1568654" y="195415"/>
                  </a:lnTo>
                  <a:lnTo>
                    <a:pt x="1568654" y="196113"/>
                  </a:lnTo>
                  <a:lnTo>
                    <a:pt x="1568654" y="195415"/>
                  </a:lnTo>
                  <a:lnTo>
                    <a:pt x="1568654" y="196799"/>
                  </a:lnTo>
                  <a:lnTo>
                    <a:pt x="1568654" y="196113"/>
                  </a:lnTo>
                  <a:lnTo>
                    <a:pt x="1568654" y="196799"/>
                  </a:lnTo>
                  <a:lnTo>
                    <a:pt x="1568705" y="196799"/>
                  </a:lnTo>
                  <a:lnTo>
                    <a:pt x="1568705" y="196113"/>
                  </a:lnTo>
                  <a:lnTo>
                    <a:pt x="1568705" y="196799"/>
                  </a:lnTo>
                  <a:lnTo>
                    <a:pt x="1568705" y="196113"/>
                  </a:lnTo>
                  <a:lnTo>
                    <a:pt x="1568705" y="196799"/>
                  </a:lnTo>
                  <a:lnTo>
                    <a:pt x="1568755" y="196799"/>
                  </a:lnTo>
                  <a:lnTo>
                    <a:pt x="1568755" y="196113"/>
                  </a:lnTo>
                  <a:lnTo>
                    <a:pt x="1568755" y="196799"/>
                  </a:lnTo>
                  <a:lnTo>
                    <a:pt x="1568755" y="196113"/>
                  </a:lnTo>
                  <a:lnTo>
                    <a:pt x="1568857" y="196113"/>
                  </a:lnTo>
                  <a:lnTo>
                    <a:pt x="1568857" y="195415"/>
                  </a:lnTo>
                  <a:lnTo>
                    <a:pt x="1568857" y="196113"/>
                  </a:lnTo>
                  <a:lnTo>
                    <a:pt x="1568857" y="195415"/>
                  </a:lnTo>
                  <a:lnTo>
                    <a:pt x="1568908" y="195415"/>
                  </a:lnTo>
                  <a:lnTo>
                    <a:pt x="1568908" y="192684"/>
                  </a:lnTo>
                  <a:lnTo>
                    <a:pt x="1568908" y="193383"/>
                  </a:lnTo>
                  <a:lnTo>
                    <a:pt x="1568908" y="191986"/>
                  </a:lnTo>
                  <a:lnTo>
                    <a:pt x="1568959" y="191986"/>
                  </a:lnTo>
                  <a:lnTo>
                    <a:pt x="1568959" y="189954"/>
                  </a:lnTo>
                  <a:lnTo>
                    <a:pt x="1568959" y="191986"/>
                  </a:lnTo>
                  <a:lnTo>
                    <a:pt x="1568959" y="189268"/>
                  </a:lnTo>
                  <a:lnTo>
                    <a:pt x="1568997" y="188620"/>
                  </a:lnTo>
                  <a:lnTo>
                    <a:pt x="1568997" y="192684"/>
                  </a:lnTo>
                  <a:lnTo>
                    <a:pt x="1568997" y="189954"/>
                  </a:lnTo>
                  <a:lnTo>
                    <a:pt x="1569098" y="191351"/>
                  </a:lnTo>
                  <a:lnTo>
                    <a:pt x="1569098" y="192684"/>
                  </a:lnTo>
                  <a:lnTo>
                    <a:pt x="1569098" y="191986"/>
                  </a:lnTo>
                  <a:lnTo>
                    <a:pt x="1569149" y="192684"/>
                  </a:lnTo>
                  <a:lnTo>
                    <a:pt x="1569149" y="193383"/>
                  </a:lnTo>
                  <a:lnTo>
                    <a:pt x="1569149" y="192684"/>
                  </a:lnTo>
                  <a:lnTo>
                    <a:pt x="1569149" y="194716"/>
                  </a:lnTo>
                  <a:lnTo>
                    <a:pt x="1569200" y="195415"/>
                  </a:lnTo>
                  <a:lnTo>
                    <a:pt x="1569200" y="194716"/>
                  </a:lnTo>
                  <a:lnTo>
                    <a:pt x="1569200" y="195415"/>
                  </a:lnTo>
                  <a:lnTo>
                    <a:pt x="1569200" y="194716"/>
                  </a:lnTo>
                  <a:lnTo>
                    <a:pt x="1569200" y="195415"/>
                  </a:lnTo>
                  <a:lnTo>
                    <a:pt x="1569301" y="195415"/>
                  </a:lnTo>
                  <a:lnTo>
                    <a:pt x="1569301" y="196113"/>
                  </a:lnTo>
                  <a:lnTo>
                    <a:pt x="1569301" y="195415"/>
                  </a:lnTo>
                  <a:lnTo>
                    <a:pt x="1569301" y="196113"/>
                  </a:lnTo>
                  <a:lnTo>
                    <a:pt x="1569352" y="196113"/>
                  </a:lnTo>
                  <a:lnTo>
                    <a:pt x="1569352" y="196799"/>
                  </a:lnTo>
                  <a:lnTo>
                    <a:pt x="1569352" y="195415"/>
                  </a:lnTo>
                  <a:lnTo>
                    <a:pt x="1569352" y="196113"/>
                  </a:lnTo>
                  <a:lnTo>
                    <a:pt x="1569352" y="195415"/>
                  </a:lnTo>
                  <a:lnTo>
                    <a:pt x="1569352" y="196113"/>
                  </a:lnTo>
                  <a:lnTo>
                    <a:pt x="1569352" y="195415"/>
                  </a:lnTo>
                  <a:lnTo>
                    <a:pt x="1569352" y="196113"/>
                  </a:lnTo>
                  <a:lnTo>
                    <a:pt x="1569352" y="195415"/>
                  </a:lnTo>
                  <a:lnTo>
                    <a:pt x="1569403" y="195415"/>
                  </a:lnTo>
                  <a:lnTo>
                    <a:pt x="1569403" y="194716"/>
                  </a:lnTo>
                  <a:lnTo>
                    <a:pt x="1569403" y="195415"/>
                  </a:lnTo>
                  <a:lnTo>
                    <a:pt x="1569403" y="192684"/>
                  </a:lnTo>
                  <a:lnTo>
                    <a:pt x="1569454" y="192684"/>
                  </a:lnTo>
                  <a:lnTo>
                    <a:pt x="1569454" y="194716"/>
                  </a:lnTo>
                  <a:lnTo>
                    <a:pt x="1569454" y="189954"/>
                  </a:lnTo>
                  <a:lnTo>
                    <a:pt x="1569454" y="192684"/>
                  </a:lnTo>
                  <a:lnTo>
                    <a:pt x="1569543" y="193383"/>
                  </a:lnTo>
                  <a:lnTo>
                    <a:pt x="1569543" y="194716"/>
                  </a:lnTo>
                  <a:lnTo>
                    <a:pt x="1569543" y="191986"/>
                  </a:lnTo>
                  <a:lnTo>
                    <a:pt x="1569543" y="194716"/>
                  </a:lnTo>
                  <a:lnTo>
                    <a:pt x="1569594" y="194716"/>
                  </a:lnTo>
                  <a:lnTo>
                    <a:pt x="1569594" y="193383"/>
                  </a:lnTo>
                  <a:lnTo>
                    <a:pt x="1569594" y="194716"/>
                  </a:lnTo>
                  <a:lnTo>
                    <a:pt x="1569594" y="192684"/>
                  </a:lnTo>
                  <a:lnTo>
                    <a:pt x="1569594" y="193383"/>
                  </a:lnTo>
                  <a:lnTo>
                    <a:pt x="1569594" y="192684"/>
                  </a:lnTo>
                  <a:lnTo>
                    <a:pt x="1569594" y="193383"/>
                  </a:lnTo>
                  <a:lnTo>
                    <a:pt x="1569594" y="192684"/>
                  </a:lnTo>
                  <a:lnTo>
                    <a:pt x="1569594" y="193383"/>
                  </a:lnTo>
                  <a:lnTo>
                    <a:pt x="1569644" y="193383"/>
                  </a:lnTo>
                  <a:lnTo>
                    <a:pt x="1569644" y="194716"/>
                  </a:lnTo>
                  <a:lnTo>
                    <a:pt x="1569644" y="193383"/>
                  </a:lnTo>
                  <a:lnTo>
                    <a:pt x="1569644" y="194716"/>
                  </a:lnTo>
                  <a:lnTo>
                    <a:pt x="1569644" y="193383"/>
                  </a:lnTo>
                  <a:lnTo>
                    <a:pt x="1569644" y="194716"/>
                  </a:lnTo>
                  <a:lnTo>
                    <a:pt x="1569644" y="193383"/>
                  </a:lnTo>
                  <a:lnTo>
                    <a:pt x="1569695" y="194716"/>
                  </a:lnTo>
                  <a:lnTo>
                    <a:pt x="1569695" y="193383"/>
                  </a:lnTo>
                  <a:lnTo>
                    <a:pt x="1569695" y="194716"/>
                  </a:lnTo>
                  <a:lnTo>
                    <a:pt x="1569797" y="194716"/>
                  </a:lnTo>
                  <a:lnTo>
                    <a:pt x="1569797" y="195415"/>
                  </a:lnTo>
                  <a:lnTo>
                    <a:pt x="1569797" y="194716"/>
                  </a:lnTo>
                  <a:lnTo>
                    <a:pt x="1569797" y="195415"/>
                  </a:lnTo>
                  <a:lnTo>
                    <a:pt x="1569797" y="194716"/>
                  </a:lnTo>
                  <a:lnTo>
                    <a:pt x="1569847" y="195415"/>
                  </a:lnTo>
                  <a:lnTo>
                    <a:pt x="1569847" y="194716"/>
                  </a:lnTo>
                  <a:lnTo>
                    <a:pt x="1569847" y="195415"/>
                  </a:lnTo>
                  <a:lnTo>
                    <a:pt x="1569847" y="194716"/>
                  </a:lnTo>
                  <a:lnTo>
                    <a:pt x="1569847" y="195415"/>
                  </a:lnTo>
                  <a:lnTo>
                    <a:pt x="1569847" y="194716"/>
                  </a:lnTo>
                  <a:lnTo>
                    <a:pt x="1569847" y="195415"/>
                  </a:lnTo>
                  <a:lnTo>
                    <a:pt x="1569847" y="194716"/>
                  </a:lnTo>
                  <a:lnTo>
                    <a:pt x="1569898" y="194716"/>
                  </a:lnTo>
                  <a:lnTo>
                    <a:pt x="1569898" y="193383"/>
                  </a:lnTo>
                  <a:lnTo>
                    <a:pt x="1569898" y="194716"/>
                  </a:lnTo>
                  <a:lnTo>
                    <a:pt x="1569898" y="193383"/>
                  </a:lnTo>
                  <a:lnTo>
                    <a:pt x="1569898" y="194716"/>
                  </a:lnTo>
                  <a:lnTo>
                    <a:pt x="1569898" y="193383"/>
                  </a:lnTo>
                  <a:lnTo>
                    <a:pt x="1569898" y="194716"/>
                  </a:lnTo>
                  <a:lnTo>
                    <a:pt x="1570000" y="194716"/>
                  </a:lnTo>
                  <a:lnTo>
                    <a:pt x="1570000" y="195415"/>
                  </a:lnTo>
                  <a:lnTo>
                    <a:pt x="1570000" y="192684"/>
                  </a:lnTo>
                  <a:lnTo>
                    <a:pt x="1570000" y="196113"/>
                  </a:lnTo>
                  <a:lnTo>
                    <a:pt x="1570000" y="195415"/>
                  </a:lnTo>
                  <a:lnTo>
                    <a:pt x="1570038" y="195415"/>
                  </a:lnTo>
                  <a:lnTo>
                    <a:pt x="1570038" y="194716"/>
                  </a:lnTo>
                  <a:lnTo>
                    <a:pt x="1570038" y="196799"/>
                  </a:lnTo>
                  <a:lnTo>
                    <a:pt x="1570038" y="196113"/>
                  </a:lnTo>
                  <a:lnTo>
                    <a:pt x="1570089" y="195415"/>
                  </a:lnTo>
                  <a:lnTo>
                    <a:pt x="1570089" y="196113"/>
                  </a:lnTo>
                  <a:lnTo>
                    <a:pt x="1570089" y="195415"/>
                  </a:lnTo>
                  <a:lnTo>
                    <a:pt x="1570089" y="196113"/>
                  </a:lnTo>
                  <a:lnTo>
                    <a:pt x="1570089" y="195415"/>
                  </a:lnTo>
                  <a:lnTo>
                    <a:pt x="1570089" y="196113"/>
                  </a:lnTo>
                  <a:lnTo>
                    <a:pt x="1570140" y="195415"/>
                  </a:lnTo>
                  <a:lnTo>
                    <a:pt x="1570140" y="196113"/>
                  </a:lnTo>
                  <a:lnTo>
                    <a:pt x="1570140" y="195415"/>
                  </a:lnTo>
                  <a:lnTo>
                    <a:pt x="1570140" y="196113"/>
                  </a:lnTo>
                  <a:lnTo>
                    <a:pt x="1570140" y="195415"/>
                  </a:lnTo>
                  <a:lnTo>
                    <a:pt x="1570140" y="196113"/>
                  </a:lnTo>
                  <a:lnTo>
                    <a:pt x="1570140" y="195415"/>
                  </a:lnTo>
                  <a:lnTo>
                    <a:pt x="1570140" y="196113"/>
                  </a:lnTo>
                  <a:lnTo>
                    <a:pt x="1570140" y="195415"/>
                  </a:lnTo>
                  <a:lnTo>
                    <a:pt x="1570241" y="196113"/>
                  </a:lnTo>
                  <a:lnTo>
                    <a:pt x="1570241" y="195415"/>
                  </a:lnTo>
                  <a:lnTo>
                    <a:pt x="1570241" y="196113"/>
                  </a:lnTo>
                  <a:lnTo>
                    <a:pt x="1570241" y="195415"/>
                  </a:lnTo>
                  <a:lnTo>
                    <a:pt x="1570241" y="196113"/>
                  </a:lnTo>
                  <a:lnTo>
                    <a:pt x="1570292" y="196113"/>
                  </a:lnTo>
                  <a:lnTo>
                    <a:pt x="1570292" y="195415"/>
                  </a:lnTo>
                  <a:lnTo>
                    <a:pt x="1570292" y="196113"/>
                  </a:lnTo>
                  <a:lnTo>
                    <a:pt x="1570343" y="196113"/>
                  </a:lnTo>
                  <a:lnTo>
                    <a:pt x="1570343" y="195415"/>
                  </a:lnTo>
                  <a:lnTo>
                    <a:pt x="1570343" y="196113"/>
                  </a:lnTo>
                  <a:lnTo>
                    <a:pt x="1570343" y="194716"/>
                  </a:lnTo>
                  <a:lnTo>
                    <a:pt x="1570444" y="193383"/>
                  </a:lnTo>
                  <a:lnTo>
                    <a:pt x="1570444" y="195415"/>
                  </a:lnTo>
                  <a:lnTo>
                    <a:pt x="1570444" y="194716"/>
                  </a:lnTo>
                  <a:lnTo>
                    <a:pt x="1570444" y="195415"/>
                  </a:lnTo>
                  <a:lnTo>
                    <a:pt x="1570495" y="195415"/>
                  </a:lnTo>
                  <a:lnTo>
                    <a:pt x="1570495" y="194716"/>
                  </a:lnTo>
                  <a:lnTo>
                    <a:pt x="1570495" y="196799"/>
                  </a:lnTo>
                  <a:lnTo>
                    <a:pt x="1570495" y="196113"/>
                  </a:lnTo>
                  <a:lnTo>
                    <a:pt x="1570495" y="196799"/>
                  </a:lnTo>
                  <a:lnTo>
                    <a:pt x="1570546" y="196799"/>
                  </a:lnTo>
                  <a:lnTo>
                    <a:pt x="1570546" y="197447"/>
                  </a:lnTo>
                  <a:lnTo>
                    <a:pt x="1570546" y="196799"/>
                  </a:lnTo>
                  <a:lnTo>
                    <a:pt x="1570546" y="197447"/>
                  </a:lnTo>
                  <a:lnTo>
                    <a:pt x="1570546" y="196799"/>
                  </a:lnTo>
                  <a:lnTo>
                    <a:pt x="1570546" y="197447"/>
                  </a:lnTo>
                  <a:lnTo>
                    <a:pt x="1570584" y="197447"/>
                  </a:lnTo>
                  <a:lnTo>
                    <a:pt x="1570584" y="196799"/>
                  </a:lnTo>
                  <a:lnTo>
                    <a:pt x="1570686" y="196799"/>
                  </a:lnTo>
                  <a:lnTo>
                    <a:pt x="1570686" y="197447"/>
                  </a:lnTo>
                  <a:lnTo>
                    <a:pt x="1570686" y="196799"/>
                  </a:lnTo>
                  <a:lnTo>
                    <a:pt x="1570686" y="197447"/>
                  </a:lnTo>
                  <a:lnTo>
                    <a:pt x="1570686" y="196799"/>
                  </a:lnTo>
                  <a:lnTo>
                    <a:pt x="1570737" y="196799"/>
                  </a:lnTo>
                  <a:lnTo>
                    <a:pt x="1570737" y="196113"/>
                  </a:lnTo>
                  <a:lnTo>
                    <a:pt x="1570737" y="196799"/>
                  </a:lnTo>
                  <a:lnTo>
                    <a:pt x="1570737" y="196113"/>
                  </a:lnTo>
                  <a:lnTo>
                    <a:pt x="1570787" y="196113"/>
                  </a:lnTo>
                  <a:lnTo>
                    <a:pt x="1570787" y="195415"/>
                  </a:lnTo>
                  <a:lnTo>
                    <a:pt x="1570787" y="196113"/>
                  </a:lnTo>
                  <a:lnTo>
                    <a:pt x="1570787" y="195415"/>
                  </a:lnTo>
                  <a:lnTo>
                    <a:pt x="1570787" y="196113"/>
                  </a:lnTo>
                  <a:lnTo>
                    <a:pt x="1570889" y="195415"/>
                  </a:lnTo>
                  <a:lnTo>
                    <a:pt x="1570889" y="196113"/>
                  </a:lnTo>
                  <a:lnTo>
                    <a:pt x="1570889" y="192684"/>
                  </a:lnTo>
                  <a:lnTo>
                    <a:pt x="1570889" y="193383"/>
                  </a:lnTo>
                  <a:lnTo>
                    <a:pt x="1570940" y="193383"/>
                  </a:lnTo>
                  <a:lnTo>
                    <a:pt x="1570940" y="196113"/>
                  </a:lnTo>
                  <a:lnTo>
                    <a:pt x="1570940" y="192684"/>
                  </a:lnTo>
                  <a:lnTo>
                    <a:pt x="1570940" y="195415"/>
                  </a:lnTo>
                  <a:lnTo>
                    <a:pt x="1570990" y="196113"/>
                  </a:lnTo>
                  <a:lnTo>
                    <a:pt x="1570990" y="196799"/>
                  </a:lnTo>
                  <a:lnTo>
                    <a:pt x="1570990" y="195415"/>
                  </a:lnTo>
                  <a:lnTo>
                    <a:pt x="1570990" y="196799"/>
                  </a:lnTo>
                  <a:lnTo>
                    <a:pt x="1571041" y="196799"/>
                  </a:lnTo>
                  <a:lnTo>
                    <a:pt x="1571041" y="196113"/>
                  </a:lnTo>
                  <a:lnTo>
                    <a:pt x="1571041" y="196799"/>
                  </a:lnTo>
                  <a:lnTo>
                    <a:pt x="1571041" y="196113"/>
                  </a:lnTo>
                  <a:lnTo>
                    <a:pt x="1571041" y="196799"/>
                  </a:lnTo>
                  <a:lnTo>
                    <a:pt x="1571130" y="196799"/>
                  </a:lnTo>
                  <a:lnTo>
                    <a:pt x="1571130" y="197447"/>
                  </a:lnTo>
                  <a:lnTo>
                    <a:pt x="1571130" y="196799"/>
                  </a:lnTo>
                  <a:lnTo>
                    <a:pt x="1571130" y="197447"/>
                  </a:lnTo>
                  <a:lnTo>
                    <a:pt x="1571181" y="197447"/>
                  </a:lnTo>
                  <a:lnTo>
                    <a:pt x="1571181" y="196799"/>
                  </a:lnTo>
                  <a:lnTo>
                    <a:pt x="1571181" y="197447"/>
                  </a:lnTo>
                  <a:lnTo>
                    <a:pt x="1571232" y="197447"/>
                  </a:lnTo>
                  <a:lnTo>
                    <a:pt x="1571232" y="196799"/>
                  </a:lnTo>
                  <a:lnTo>
                    <a:pt x="1571232" y="197447"/>
                  </a:lnTo>
                  <a:lnTo>
                    <a:pt x="1571232" y="196799"/>
                  </a:lnTo>
                  <a:lnTo>
                    <a:pt x="1571283" y="196799"/>
                  </a:lnTo>
                  <a:lnTo>
                    <a:pt x="1571283" y="197447"/>
                  </a:lnTo>
                  <a:lnTo>
                    <a:pt x="1571283" y="196799"/>
                  </a:lnTo>
                  <a:lnTo>
                    <a:pt x="1571283" y="197447"/>
                  </a:lnTo>
                  <a:lnTo>
                    <a:pt x="1571283" y="195415"/>
                  </a:lnTo>
                  <a:lnTo>
                    <a:pt x="1571384" y="195415"/>
                  </a:lnTo>
                  <a:lnTo>
                    <a:pt x="1571384" y="193383"/>
                  </a:lnTo>
                  <a:lnTo>
                    <a:pt x="1571384" y="195415"/>
                  </a:lnTo>
                  <a:lnTo>
                    <a:pt x="1571435" y="195415"/>
                  </a:lnTo>
                  <a:lnTo>
                    <a:pt x="1571435" y="193383"/>
                  </a:lnTo>
                  <a:lnTo>
                    <a:pt x="1571435" y="196799"/>
                  </a:lnTo>
                  <a:lnTo>
                    <a:pt x="1571435" y="196113"/>
                  </a:lnTo>
                  <a:lnTo>
                    <a:pt x="1571486" y="196113"/>
                  </a:lnTo>
                  <a:lnTo>
                    <a:pt x="1571486" y="195415"/>
                  </a:lnTo>
                  <a:lnTo>
                    <a:pt x="1571486" y="196799"/>
                  </a:lnTo>
                  <a:lnTo>
                    <a:pt x="1571587" y="196799"/>
                  </a:lnTo>
                  <a:lnTo>
                    <a:pt x="1571587" y="196113"/>
                  </a:lnTo>
                  <a:lnTo>
                    <a:pt x="1571587" y="197447"/>
                  </a:lnTo>
                  <a:lnTo>
                    <a:pt x="1571587" y="196799"/>
                  </a:lnTo>
                  <a:lnTo>
                    <a:pt x="1571625" y="196799"/>
                  </a:lnTo>
                  <a:lnTo>
                    <a:pt x="1571625" y="197447"/>
                  </a:lnTo>
                  <a:lnTo>
                    <a:pt x="1571625" y="196799"/>
                  </a:lnTo>
                  <a:lnTo>
                    <a:pt x="1571625" y="197447"/>
                  </a:lnTo>
                  <a:lnTo>
                    <a:pt x="1571625" y="196799"/>
                  </a:lnTo>
                  <a:lnTo>
                    <a:pt x="1571625" y="197447"/>
                  </a:lnTo>
                  <a:lnTo>
                    <a:pt x="1571676" y="196799"/>
                  </a:lnTo>
                  <a:lnTo>
                    <a:pt x="1571676" y="197447"/>
                  </a:lnTo>
                  <a:lnTo>
                    <a:pt x="1571676" y="196799"/>
                  </a:lnTo>
                  <a:lnTo>
                    <a:pt x="1571676" y="197447"/>
                  </a:lnTo>
                  <a:lnTo>
                    <a:pt x="1571676" y="196799"/>
                  </a:lnTo>
                  <a:lnTo>
                    <a:pt x="1571727" y="196799"/>
                  </a:lnTo>
                  <a:lnTo>
                    <a:pt x="1571727" y="197447"/>
                  </a:lnTo>
                  <a:lnTo>
                    <a:pt x="1571727" y="196799"/>
                  </a:lnTo>
                  <a:lnTo>
                    <a:pt x="1571829" y="196113"/>
                  </a:lnTo>
                  <a:lnTo>
                    <a:pt x="1571829" y="196799"/>
                  </a:lnTo>
                  <a:lnTo>
                    <a:pt x="1571829" y="195415"/>
                  </a:lnTo>
                  <a:lnTo>
                    <a:pt x="1571829" y="196113"/>
                  </a:lnTo>
                  <a:lnTo>
                    <a:pt x="1571829" y="194716"/>
                  </a:lnTo>
                  <a:lnTo>
                    <a:pt x="1571829" y="195415"/>
                  </a:lnTo>
                  <a:lnTo>
                    <a:pt x="1571880" y="194716"/>
                  </a:lnTo>
                  <a:lnTo>
                    <a:pt x="1571880" y="193383"/>
                  </a:lnTo>
                  <a:lnTo>
                    <a:pt x="1571880" y="194716"/>
                  </a:lnTo>
                  <a:lnTo>
                    <a:pt x="1571880" y="193383"/>
                  </a:lnTo>
                  <a:lnTo>
                    <a:pt x="1571880" y="195415"/>
                  </a:lnTo>
                  <a:lnTo>
                    <a:pt x="1571880" y="194716"/>
                  </a:lnTo>
                  <a:lnTo>
                    <a:pt x="1571930" y="194716"/>
                  </a:lnTo>
                  <a:lnTo>
                    <a:pt x="1571930" y="192684"/>
                  </a:lnTo>
                  <a:lnTo>
                    <a:pt x="1571930" y="196799"/>
                  </a:lnTo>
                  <a:lnTo>
                    <a:pt x="1571930" y="195415"/>
                  </a:lnTo>
                  <a:lnTo>
                    <a:pt x="1572032" y="194716"/>
                  </a:lnTo>
                  <a:lnTo>
                    <a:pt x="1572032" y="196113"/>
                  </a:lnTo>
                  <a:lnTo>
                    <a:pt x="1572083" y="196113"/>
                  </a:lnTo>
                  <a:lnTo>
                    <a:pt x="1572083" y="196799"/>
                  </a:lnTo>
                  <a:lnTo>
                    <a:pt x="1572083" y="196113"/>
                  </a:lnTo>
                  <a:lnTo>
                    <a:pt x="1572083" y="196799"/>
                  </a:lnTo>
                  <a:lnTo>
                    <a:pt x="1572134" y="196799"/>
                  </a:lnTo>
                  <a:lnTo>
                    <a:pt x="1572134" y="196113"/>
                  </a:lnTo>
                  <a:lnTo>
                    <a:pt x="1572134" y="196799"/>
                  </a:lnTo>
                  <a:lnTo>
                    <a:pt x="1572134" y="196113"/>
                  </a:lnTo>
                  <a:lnTo>
                    <a:pt x="1572134" y="196799"/>
                  </a:lnTo>
                  <a:lnTo>
                    <a:pt x="1572172" y="196799"/>
                  </a:lnTo>
                  <a:lnTo>
                    <a:pt x="1572172" y="197447"/>
                  </a:lnTo>
                  <a:lnTo>
                    <a:pt x="1572172" y="196799"/>
                  </a:lnTo>
                  <a:lnTo>
                    <a:pt x="1572172" y="197447"/>
                  </a:lnTo>
                  <a:lnTo>
                    <a:pt x="1572172" y="196799"/>
                  </a:lnTo>
                  <a:lnTo>
                    <a:pt x="1572172" y="197447"/>
                  </a:lnTo>
                  <a:lnTo>
                    <a:pt x="1572273" y="197447"/>
                  </a:lnTo>
                  <a:lnTo>
                    <a:pt x="1572273" y="196799"/>
                  </a:lnTo>
                  <a:lnTo>
                    <a:pt x="1572324" y="196799"/>
                  </a:lnTo>
                  <a:lnTo>
                    <a:pt x="1572324" y="196113"/>
                  </a:lnTo>
                  <a:lnTo>
                    <a:pt x="1572324" y="196799"/>
                  </a:lnTo>
                  <a:lnTo>
                    <a:pt x="1572324" y="194716"/>
                  </a:lnTo>
                  <a:lnTo>
                    <a:pt x="1572375" y="194716"/>
                  </a:lnTo>
                  <a:lnTo>
                    <a:pt x="1572375" y="192684"/>
                  </a:lnTo>
                  <a:lnTo>
                    <a:pt x="1572375" y="193383"/>
                  </a:lnTo>
                  <a:lnTo>
                    <a:pt x="1572476" y="192684"/>
                  </a:lnTo>
                  <a:lnTo>
                    <a:pt x="1572476" y="193383"/>
                  </a:lnTo>
                  <a:lnTo>
                    <a:pt x="1572476" y="191986"/>
                  </a:lnTo>
                  <a:lnTo>
                    <a:pt x="1572476" y="195415"/>
                  </a:lnTo>
                  <a:lnTo>
                    <a:pt x="1572476" y="194716"/>
                  </a:lnTo>
                  <a:lnTo>
                    <a:pt x="1572527" y="194716"/>
                  </a:lnTo>
                  <a:lnTo>
                    <a:pt x="1572527" y="193383"/>
                  </a:lnTo>
                  <a:lnTo>
                    <a:pt x="1572527" y="195415"/>
                  </a:lnTo>
                  <a:lnTo>
                    <a:pt x="1572578" y="195415"/>
                  </a:lnTo>
                  <a:lnTo>
                    <a:pt x="1572578" y="194716"/>
                  </a:lnTo>
                  <a:lnTo>
                    <a:pt x="1572578" y="196113"/>
                  </a:lnTo>
                  <a:lnTo>
                    <a:pt x="1572578" y="195415"/>
                  </a:lnTo>
                  <a:lnTo>
                    <a:pt x="1572629" y="195415"/>
                  </a:lnTo>
                  <a:lnTo>
                    <a:pt x="1572629" y="196113"/>
                  </a:lnTo>
                  <a:lnTo>
                    <a:pt x="1572718" y="196113"/>
                  </a:lnTo>
                  <a:lnTo>
                    <a:pt x="1572718" y="195415"/>
                  </a:lnTo>
                  <a:lnTo>
                    <a:pt x="1572718" y="196799"/>
                  </a:lnTo>
                  <a:lnTo>
                    <a:pt x="1572718" y="196113"/>
                  </a:lnTo>
                  <a:lnTo>
                    <a:pt x="1572718" y="196799"/>
                  </a:lnTo>
                  <a:lnTo>
                    <a:pt x="1572718" y="196113"/>
                  </a:lnTo>
                  <a:lnTo>
                    <a:pt x="1572718" y="196799"/>
                  </a:lnTo>
                  <a:lnTo>
                    <a:pt x="1572769" y="196799"/>
                  </a:lnTo>
                  <a:lnTo>
                    <a:pt x="1572769" y="196113"/>
                  </a:lnTo>
                  <a:lnTo>
                    <a:pt x="1572769" y="196799"/>
                  </a:lnTo>
                  <a:lnTo>
                    <a:pt x="1572769" y="196113"/>
                  </a:lnTo>
                  <a:lnTo>
                    <a:pt x="1572769" y="196799"/>
                  </a:lnTo>
                  <a:lnTo>
                    <a:pt x="1572769" y="196113"/>
                  </a:lnTo>
                  <a:lnTo>
                    <a:pt x="1572769" y="196799"/>
                  </a:lnTo>
                  <a:lnTo>
                    <a:pt x="1572769" y="196113"/>
                  </a:lnTo>
                  <a:lnTo>
                    <a:pt x="1572769" y="196799"/>
                  </a:lnTo>
                  <a:lnTo>
                    <a:pt x="1572819" y="196799"/>
                  </a:lnTo>
                  <a:lnTo>
                    <a:pt x="1572819" y="195415"/>
                  </a:lnTo>
                  <a:lnTo>
                    <a:pt x="1572819" y="196113"/>
                  </a:lnTo>
                  <a:lnTo>
                    <a:pt x="1572819" y="195415"/>
                  </a:lnTo>
                  <a:lnTo>
                    <a:pt x="1572819" y="196113"/>
                  </a:lnTo>
                  <a:lnTo>
                    <a:pt x="1572819" y="194716"/>
                  </a:lnTo>
                  <a:lnTo>
                    <a:pt x="1572870" y="194716"/>
                  </a:lnTo>
                  <a:lnTo>
                    <a:pt x="1572870" y="192684"/>
                  </a:lnTo>
                  <a:lnTo>
                    <a:pt x="1572870" y="195415"/>
                  </a:lnTo>
                  <a:lnTo>
                    <a:pt x="1572870" y="194716"/>
                  </a:lnTo>
                  <a:lnTo>
                    <a:pt x="1572870" y="195415"/>
                  </a:lnTo>
                  <a:lnTo>
                    <a:pt x="1572972" y="195415"/>
                  </a:lnTo>
                  <a:lnTo>
                    <a:pt x="1572972" y="192684"/>
                  </a:lnTo>
                  <a:lnTo>
                    <a:pt x="1572972" y="196113"/>
                  </a:lnTo>
                  <a:lnTo>
                    <a:pt x="1572972" y="195415"/>
                  </a:lnTo>
                  <a:lnTo>
                    <a:pt x="1573022" y="195415"/>
                  </a:lnTo>
                  <a:lnTo>
                    <a:pt x="1573022" y="194716"/>
                  </a:lnTo>
                  <a:lnTo>
                    <a:pt x="1573022" y="196113"/>
                  </a:lnTo>
                  <a:lnTo>
                    <a:pt x="1573073" y="195415"/>
                  </a:lnTo>
                  <a:lnTo>
                    <a:pt x="1573073" y="194716"/>
                  </a:lnTo>
                  <a:lnTo>
                    <a:pt x="1573073" y="196113"/>
                  </a:lnTo>
                  <a:lnTo>
                    <a:pt x="1573073" y="195415"/>
                  </a:lnTo>
                  <a:lnTo>
                    <a:pt x="1573175" y="195415"/>
                  </a:lnTo>
                  <a:lnTo>
                    <a:pt x="1573175" y="196113"/>
                  </a:lnTo>
                  <a:lnTo>
                    <a:pt x="1573175" y="195415"/>
                  </a:lnTo>
                  <a:lnTo>
                    <a:pt x="1573175" y="196799"/>
                  </a:lnTo>
                  <a:lnTo>
                    <a:pt x="1573175" y="196113"/>
                  </a:lnTo>
                  <a:lnTo>
                    <a:pt x="1573213" y="196113"/>
                  </a:lnTo>
                  <a:lnTo>
                    <a:pt x="1573213" y="196799"/>
                  </a:lnTo>
                  <a:lnTo>
                    <a:pt x="1573213" y="196113"/>
                  </a:lnTo>
                  <a:lnTo>
                    <a:pt x="1573213" y="196799"/>
                  </a:lnTo>
                  <a:lnTo>
                    <a:pt x="1573213" y="196113"/>
                  </a:lnTo>
                  <a:lnTo>
                    <a:pt x="1573213" y="196799"/>
                  </a:lnTo>
                  <a:lnTo>
                    <a:pt x="1573264" y="196799"/>
                  </a:lnTo>
                  <a:lnTo>
                    <a:pt x="1573264" y="196113"/>
                  </a:lnTo>
                  <a:lnTo>
                    <a:pt x="1573264" y="196799"/>
                  </a:lnTo>
                  <a:lnTo>
                    <a:pt x="1573264" y="196113"/>
                  </a:lnTo>
                  <a:lnTo>
                    <a:pt x="1573264" y="196799"/>
                  </a:lnTo>
                  <a:lnTo>
                    <a:pt x="1573264" y="196113"/>
                  </a:lnTo>
                  <a:lnTo>
                    <a:pt x="1573315" y="196113"/>
                  </a:lnTo>
                  <a:lnTo>
                    <a:pt x="1573315" y="194716"/>
                  </a:lnTo>
                  <a:lnTo>
                    <a:pt x="1573315" y="195415"/>
                  </a:lnTo>
                  <a:lnTo>
                    <a:pt x="1573315" y="194716"/>
                  </a:lnTo>
                  <a:lnTo>
                    <a:pt x="1573315" y="195415"/>
                  </a:lnTo>
                  <a:lnTo>
                    <a:pt x="1573315" y="194716"/>
                  </a:lnTo>
                  <a:lnTo>
                    <a:pt x="1573416" y="194716"/>
                  </a:lnTo>
                  <a:lnTo>
                    <a:pt x="1573416" y="193383"/>
                  </a:lnTo>
                  <a:lnTo>
                    <a:pt x="1573416" y="196113"/>
                  </a:lnTo>
                  <a:lnTo>
                    <a:pt x="1573416" y="194716"/>
                  </a:lnTo>
                  <a:lnTo>
                    <a:pt x="1573467" y="194716"/>
                  </a:lnTo>
                  <a:lnTo>
                    <a:pt x="1573467" y="196799"/>
                  </a:lnTo>
                  <a:lnTo>
                    <a:pt x="1573467" y="196113"/>
                  </a:lnTo>
                  <a:lnTo>
                    <a:pt x="1573518" y="196113"/>
                  </a:lnTo>
                  <a:lnTo>
                    <a:pt x="1573518" y="196799"/>
                  </a:lnTo>
                  <a:lnTo>
                    <a:pt x="1573518" y="196113"/>
                  </a:lnTo>
                  <a:lnTo>
                    <a:pt x="1573518" y="196799"/>
                  </a:lnTo>
                  <a:lnTo>
                    <a:pt x="1573518" y="196113"/>
                  </a:lnTo>
                  <a:lnTo>
                    <a:pt x="1573619" y="196113"/>
                  </a:lnTo>
                  <a:lnTo>
                    <a:pt x="1573619" y="196799"/>
                  </a:lnTo>
                  <a:lnTo>
                    <a:pt x="1573619" y="196113"/>
                  </a:lnTo>
                  <a:lnTo>
                    <a:pt x="1573619" y="196799"/>
                  </a:lnTo>
                  <a:lnTo>
                    <a:pt x="1573619" y="196113"/>
                  </a:lnTo>
                  <a:lnTo>
                    <a:pt x="1573670" y="196113"/>
                  </a:lnTo>
                  <a:lnTo>
                    <a:pt x="1573670" y="196799"/>
                  </a:lnTo>
                  <a:lnTo>
                    <a:pt x="1573670" y="196113"/>
                  </a:lnTo>
                  <a:lnTo>
                    <a:pt x="1573670" y="196799"/>
                  </a:lnTo>
                  <a:lnTo>
                    <a:pt x="1573721" y="196799"/>
                  </a:lnTo>
                  <a:lnTo>
                    <a:pt x="1573721" y="196113"/>
                  </a:lnTo>
                  <a:lnTo>
                    <a:pt x="1573759" y="196113"/>
                  </a:lnTo>
                  <a:lnTo>
                    <a:pt x="1573759" y="195415"/>
                  </a:lnTo>
                  <a:lnTo>
                    <a:pt x="1573861" y="195415"/>
                  </a:lnTo>
                  <a:lnTo>
                    <a:pt x="1573861" y="194716"/>
                  </a:lnTo>
                  <a:lnTo>
                    <a:pt x="1573861" y="195415"/>
                  </a:lnTo>
                  <a:lnTo>
                    <a:pt x="1573861" y="192684"/>
                  </a:lnTo>
                  <a:lnTo>
                    <a:pt x="1573861" y="193383"/>
                  </a:lnTo>
                  <a:lnTo>
                    <a:pt x="1573912" y="193383"/>
                  </a:lnTo>
                  <a:lnTo>
                    <a:pt x="1573912" y="192684"/>
                  </a:lnTo>
                  <a:lnTo>
                    <a:pt x="1573912" y="195415"/>
                  </a:lnTo>
                  <a:lnTo>
                    <a:pt x="1573912" y="193383"/>
                  </a:lnTo>
                  <a:lnTo>
                    <a:pt x="1573962" y="194716"/>
                  </a:lnTo>
                  <a:lnTo>
                    <a:pt x="1573962" y="196113"/>
                  </a:lnTo>
                  <a:lnTo>
                    <a:pt x="1573962" y="195415"/>
                  </a:lnTo>
                  <a:lnTo>
                    <a:pt x="1573962" y="196113"/>
                  </a:lnTo>
                  <a:lnTo>
                    <a:pt x="1573962" y="195415"/>
                  </a:lnTo>
                  <a:lnTo>
                    <a:pt x="1574064" y="195415"/>
                  </a:lnTo>
                  <a:lnTo>
                    <a:pt x="1574064" y="196799"/>
                  </a:lnTo>
                  <a:lnTo>
                    <a:pt x="1574064" y="196113"/>
                  </a:lnTo>
                  <a:lnTo>
                    <a:pt x="1574115" y="196113"/>
                  </a:lnTo>
                  <a:lnTo>
                    <a:pt x="1574115" y="196799"/>
                  </a:lnTo>
                  <a:lnTo>
                    <a:pt x="1574115" y="196113"/>
                  </a:lnTo>
                  <a:lnTo>
                    <a:pt x="1574115" y="196799"/>
                  </a:lnTo>
                  <a:lnTo>
                    <a:pt x="1574115" y="196113"/>
                  </a:lnTo>
                  <a:lnTo>
                    <a:pt x="1574115" y="196799"/>
                  </a:lnTo>
                  <a:lnTo>
                    <a:pt x="1574115" y="196113"/>
                  </a:lnTo>
                  <a:lnTo>
                    <a:pt x="1574115" y="196799"/>
                  </a:lnTo>
                  <a:lnTo>
                    <a:pt x="1574115" y="196113"/>
                  </a:lnTo>
                  <a:lnTo>
                    <a:pt x="1574115" y="196799"/>
                  </a:lnTo>
                  <a:lnTo>
                    <a:pt x="1574165" y="196799"/>
                  </a:lnTo>
                  <a:lnTo>
                    <a:pt x="1574165" y="196113"/>
                  </a:lnTo>
                  <a:lnTo>
                    <a:pt x="1574165" y="196799"/>
                  </a:lnTo>
                  <a:lnTo>
                    <a:pt x="1574165" y="196113"/>
                  </a:lnTo>
                  <a:lnTo>
                    <a:pt x="1574165" y="197447"/>
                  </a:lnTo>
                  <a:lnTo>
                    <a:pt x="1574216" y="197447"/>
                  </a:lnTo>
                  <a:lnTo>
                    <a:pt x="1574216" y="196799"/>
                  </a:lnTo>
                  <a:lnTo>
                    <a:pt x="1574216" y="197447"/>
                  </a:lnTo>
                  <a:lnTo>
                    <a:pt x="1574216" y="196799"/>
                  </a:lnTo>
                  <a:lnTo>
                    <a:pt x="1574216" y="197447"/>
                  </a:lnTo>
                  <a:lnTo>
                    <a:pt x="1574216" y="196799"/>
                  </a:lnTo>
                  <a:lnTo>
                    <a:pt x="1574305" y="196799"/>
                  </a:lnTo>
                  <a:lnTo>
                    <a:pt x="1574305" y="196113"/>
                  </a:lnTo>
                  <a:lnTo>
                    <a:pt x="1574305" y="196799"/>
                  </a:lnTo>
                  <a:lnTo>
                    <a:pt x="1574305" y="195415"/>
                  </a:lnTo>
                  <a:lnTo>
                    <a:pt x="1574305" y="196113"/>
                  </a:lnTo>
                  <a:lnTo>
                    <a:pt x="1574356" y="196113"/>
                  </a:lnTo>
                  <a:lnTo>
                    <a:pt x="1574356" y="194716"/>
                  </a:lnTo>
                  <a:lnTo>
                    <a:pt x="1574356" y="195415"/>
                  </a:lnTo>
                  <a:lnTo>
                    <a:pt x="1574356" y="192684"/>
                  </a:lnTo>
                  <a:lnTo>
                    <a:pt x="1574407" y="192684"/>
                  </a:lnTo>
                  <a:lnTo>
                    <a:pt x="1574407" y="195415"/>
                  </a:lnTo>
                  <a:lnTo>
                    <a:pt x="1574407" y="193383"/>
                  </a:lnTo>
                  <a:lnTo>
                    <a:pt x="1574407" y="195415"/>
                  </a:lnTo>
                  <a:lnTo>
                    <a:pt x="1574458" y="195415"/>
                  </a:lnTo>
                  <a:lnTo>
                    <a:pt x="1574458" y="196799"/>
                  </a:lnTo>
                  <a:lnTo>
                    <a:pt x="1574458" y="194716"/>
                  </a:lnTo>
                  <a:lnTo>
                    <a:pt x="1574458" y="195415"/>
                  </a:lnTo>
                  <a:lnTo>
                    <a:pt x="1574559" y="195415"/>
                  </a:lnTo>
                  <a:lnTo>
                    <a:pt x="1574559" y="196113"/>
                  </a:lnTo>
                  <a:lnTo>
                    <a:pt x="1574559" y="195415"/>
                  </a:lnTo>
                  <a:lnTo>
                    <a:pt x="1574559" y="196113"/>
                  </a:lnTo>
                  <a:lnTo>
                    <a:pt x="1574610" y="196113"/>
                  </a:lnTo>
                  <a:lnTo>
                    <a:pt x="1574610" y="196799"/>
                  </a:lnTo>
                  <a:lnTo>
                    <a:pt x="1574610" y="196113"/>
                  </a:lnTo>
                  <a:lnTo>
                    <a:pt x="1574610" y="196799"/>
                  </a:lnTo>
                  <a:lnTo>
                    <a:pt x="1574610" y="196113"/>
                  </a:lnTo>
                  <a:lnTo>
                    <a:pt x="1574610" y="196799"/>
                  </a:lnTo>
                  <a:lnTo>
                    <a:pt x="1574661" y="196799"/>
                  </a:lnTo>
                  <a:lnTo>
                    <a:pt x="1574661" y="197447"/>
                  </a:lnTo>
                  <a:lnTo>
                    <a:pt x="1574661" y="196799"/>
                  </a:lnTo>
                  <a:lnTo>
                    <a:pt x="1574661" y="197447"/>
                  </a:lnTo>
                  <a:lnTo>
                    <a:pt x="1574661" y="196799"/>
                  </a:lnTo>
                  <a:lnTo>
                    <a:pt x="1574661" y="197447"/>
                  </a:lnTo>
                  <a:lnTo>
                    <a:pt x="1574661" y="196799"/>
                  </a:lnTo>
                  <a:lnTo>
                    <a:pt x="1574661" y="197447"/>
                  </a:lnTo>
                  <a:lnTo>
                    <a:pt x="1574661" y="196799"/>
                  </a:lnTo>
                  <a:lnTo>
                    <a:pt x="1574661" y="197447"/>
                  </a:lnTo>
                  <a:lnTo>
                    <a:pt x="1574762" y="197447"/>
                  </a:lnTo>
                  <a:lnTo>
                    <a:pt x="1574762" y="196113"/>
                  </a:lnTo>
                  <a:lnTo>
                    <a:pt x="1574762" y="196799"/>
                  </a:lnTo>
                  <a:lnTo>
                    <a:pt x="1574800" y="196799"/>
                  </a:lnTo>
                  <a:lnTo>
                    <a:pt x="1574800" y="196113"/>
                  </a:lnTo>
                  <a:lnTo>
                    <a:pt x="1574800" y="196799"/>
                  </a:lnTo>
                  <a:lnTo>
                    <a:pt x="1574800" y="196113"/>
                  </a:lnTo>
                  <a:lnTo>
                    <a:pt x="1574800" y="196799"/>
                  </a:lnTo>
                  <a:lnTo>
                    <a:pt x="1574800" y="195415"/>
                  </a:lnTo>
                  <a:lnTo>
                    <a:pt x="1574800" y="196113"/>
                  </a:lnTo>
                  <a:lnTo>
                    <a:pt x="1574800" y="194716"/>
                  </a:lnTo>
                  <a:lnTo>
                    <a:pt x="1574851" y="194716"/>
                  </a:lnTo>
                  <a:lnTo>
                    <a:pt x="1574851" y="195415"/>
                  </a:lnTo>
                  <a:lnTo>
                    <a:pt x="1574851" y="192684"/>
                  </a:lnTo>
                  <a:lnTo>
                    <a:pt x="1574902" y="192684"/>
                  </a:lnTo>
                  <a:lnTo>
                    <a:pt x="1574902" y="195415"/>
                  </a:lnTo>
                  <a:lnTo>
                    <a:pt x="1574902" y="193383"/>
                  </a:lnTo>
                  <a:lnTo>
                    <a:pt x="1574902" y="194716"/>
                  </a:lnTo>
                  <a:lnTo>
                    <a:pt x="1575004" y="195415"/>
                  </a:lnTo>
                  <a:lnTo>
                    <a:pt x="1575004" y="196113"/>
                  </a:lnTo>
                  <a:lnTo>
                    <a:pt x="1575004" y="194716"/>
                  </a:lnTo>
                  <a:lnTo>
                    <a:pt x="1575004" y="195415"/>
                  </a:lnTo>
                  <a:lnTo>
                    <a:pt x="1575055" y="195415"/>
                  </a:lnTo>
                  <a:lnTo>
                    <a:pt x="1575055" y="196113"/>
                  </a:lnTo>
                  <a:lnTo>
                    <a:pt x="1575055" y="195415"/>
                  </a:lnTo>
                  <a:lnTo>
                    <a:pt x="1575105" y="195415"/>
                  </a:lnTo>
                  <a:lnTo>
                    <a:pt x="1575105" y="196113"/>
                  </a:lnTo>
                  <a:lnTo>
                    <a:pt x="1575105" y="195415"/>
                  </a:lnTo>
                  <a:lnTo>
                    <a:pt x="1575105" y="196113"/>
                  </a:lnTo>
                  <a:lnTo>
                    <a:pt x="1575105" y="195415"/>
                  </a:lnTo>
                  <a:lnTo>
                    <a:pt x="1575105" y="196799"/>
                  </a:lnTo>
                  <a:lnTo>
                    <a:pt x="1575105" y="196113"/>
                  </a:lnTo>
                  <a:lnTo>
                    <a:pt x="1575105" y="196799"/>
                  </a:lnTo>
                  <a:lnTo>
                    <a:pt x="1575207" y="196799"/>
                  </a:lnTo>
                  <a:lnTo>
                    <a:pt x="1575207" y="196113"/>
                  </a:lnTo>
                  <a:lnTo>
                    <a:pt x="1575207" y="197447"/>
                  </a:lnTo>
                  <a:lnTo>
                    <a:pt x="1575207" y="196799"/>
                  </a:lnTo>
                  <a:lnTo>
                    <a:pt x="1575258" y="196799"/>
                  </a:lnTo>
                  <a:lnTo>
                    <a:pt x="1575258" y="197447"/>
                  </a:lnTo>
                  <a:lnTo>
                    <a:pt x="1575258" y="196799"/>
                  </a:lnTo>
                  <a:lnTo>
                    <a:pt x="1575309" y="196799"/>
                  </a:lnTo>
                  <a:lnTo>
                    <a:pt x="1575309" y="196113"/>
                  </a:lnTo>
                  <a:lnTo>
                    <a:pt x="1575309" y="196799"/>
                  </a:lnTo>
                  <a:lnTo>
                    <a:pt x="1575309" y="195415"/>
                  </a:lnTo>
                  <a:lnTo>
                    <a:pt x="1575347" y="196113"/>
                  </a:lnTo>
                  <a:lnTo>
                    <a:pt x="1575347" y="194716"/>
                  </a:lnTo>
                  <a:lnTo>
                    <a:pt x="1575347" y="196113"/>
                  </a:lnTo>
                  <a:lnTo>
                    <a:pt x="1575448" y="196113"/>
                  </a:lnTo>
                  <a:lnTo>
                    <a:pt x="1575448" y="194716"/>
                  </a:lnTo>
                  <a:lnTo>
                    <a:pt x="1575448" y="196799"/>
                  </a:lnTo>
                  <a:lnTo>
                    <a:pt x="1575499" y="196113"/>
                  </a:lnTo>
                  <a:lnTo>
                    <a:pt x="1575499" y="194716"/>
                  </a:lnTo>
                  <a:lnTo>
                    <a:pt x="1575499" y="195415"/>
                  </a:lnTo>
                  <a:lnTo>
                    <a:pt x="1575499" y="194716"/>
                  </a:lnTo>
                  <a:lnTo>
                    <a:pt x="1575499" y="196113"/>
                  </a:lnTo>
                  <a:lnTo>
                    <a:pt x="1575550" y="195415"/>
                  </a:lnTo>
                  <a:lnTo>
                    <a:pt x="1575550" y="196113"/>
                  </a:lnTo>
                  <a:lnTo>
                    <a:pt x="1575550" y="195415"/>
                  </a:lnTo>
                  <a:lnTo>
                    <a:pt x="1575550" y="196113"/>
                  </a:lnTo>
                  <a:lnTo>
                    <a:pt x="1575651" y="196113"/>
                  </a:lnTo>
                  <a:lnTo>
                    <a:pt x="1575651" y="196799"/>
                  </a:lnTo>
                  <a:lnTo>
                    <a:pt x="1575651" y="196113"/>
                  </a:lnTo>
                  <a:lnTo>
                    <a:pt x="1575651" y="196799"/>
                  </a:lnTo>
                  <a:lnTo>
                    <a:pt x="1575702" y="196799"/>
                  </a:lnTo>
                  <a:lnTo>
                    <a:pt x="1575702" y="196113"/>
                  </a:lnTo>
                  <a:lnTo>
                    <a:pt x="1575702" y="196799"/>
                  </a:lnTo>
                  <a:lnTo>
                    <a:pt x="1575753" y="196799"/>
                  </a:lnTo>
                  <a:lnTo>
                    <a:pt x="1575753" y="196113"/>
                  </a:lnTo>
                  <a:lnTo>
                    <a:pt x="1575753" y="196799"/>
                  </a:lnTo>
                  <a:lnTo>
                    <a:pt x="1575753" y="196113"/>
                  </a:lnTo>
                  <a:lnTo>
                    <a:pt x="1575753" y="196799"/>
                  </a:lnTo>
                  <a:lnTo>
                    <a:pt x="1575753" y="196113"/>
                  </a:lnTo>
                  <a:lnTo>
                    <a:pt x="1575753" y="196799"/>
                  </a:lnTo>
                  <a:lnTo>
                    <a:pt x="1575753" y="196113"/>
                  </a:lnTo>
                  <a:lnTo>
                    <a:pt x="1575804" y="196113"/>
                  </a:lnTo>
                  <a:lnTo>
                    <a:pt x="1575804" y="195415"/>
                  </a:lnTo>
                  <a:lnTo>
                    <a:pt x="1575804" y="196113"/>
                  </a:lnTo>
                  <a:lnTo>
                    <a:pt x="1575804" y="195415"/>
                  </a:lnTo>
                  <a:lnTo>
                    <a:pt x="1575893" y="195415"/>
                  </a:lnTo>
                  <a:lnTo>
                    <a:pt x="1575893" y="196113"/>
                  </a:lnTo>
                  <a:lnTo>
                    <a:pt x="1575893" y="195415"/>
                  </a:lnTo>
                  <a:lnTo>
                    <a:pt x="1575893" y="196113"/>
                  </a:lnTo>
                  <a:lnTo>
                    <a:pt x="1575893" y="195415"/>
                  </a:lnTo>
                  <a:lnTo>
                    <a:pt x="1575893" y="196113"/>
                  </a:lnTo>
                  <a:lnTo>
                    <a:pt x="1575893" y="195415"/>
                  </a:lnTo>
                  <a:lnTo>
                    <a:pt x="1575893" y="196799"/>
                  </a:lnTo>
                  <a:lnTo>
                    <a:pt x="1575944" y="196799"/>
                  </a:lnTo>
                  <a:lnTo>
                    <a:pt x="1575944" y="197447"/>
                  </a:lnTo>
                  <a:lnTo>
                    <a:pt x="1575944" y="196799"/>
                  </a:lnTo>
                  <a:lnTo>
                    <a:pt x="1575944" y="197447"/>
                  </a:lnTo>
                  <a:lnTo>
                    <a:pt x="1575994" y="197447"/>
                  </a:lnTo>
                  <a:lnTo>
                    <a:pt x="1575994" y="198831"/>
                  </a:lnTo>
                  <a:lnTo>
                    <a:pt x="1575994" y="196799"/>
                  </a:lnTo>
                  <a:lnTo>
                    <a:pt x="1575994" y="197447"/>
                  </a:lnTo>
                  <a:lnTo>
                    <a:pt x="1576045" y="197447"/>
                  </a:lnTo>
                  <a:lnTo>
                    <a:pt x="1576045" y="198831"/>
                  </a:lnTo>
                  <a:lnTo>
                    <a:pt x="1576045" y="197447"/>
                  </a:lnTo>
                  <a:lnTo>
                    <a:pt x="1576147" y="198831"/>
                  </a:lnTo>
                  <a:lnTo>
                    <a:pt x="1576147" y="197447"/>
                  </a:lnTo>
                  <a:lnTo>
                    <a:pt x="1576197" y="197447"/>
                  </a:lnTo>
                  <a:lnTo>
                    <a:pt x="1576197" y="196799"/>
                  </a:lnTo>
                  <a:lnTo>
                    <a:pt x="1576197" y="197447"/>
                  </a:lnTo>
                  <a:lnTo>
                    <a:pt x="1576197" y="196799"/>
                  </a:lnTo>
                  <a:lnTo>
                    <a:pt x="1576197" y="197447"/>
                  </a:lnTo>
                  <a:lnTo>
                    <a:pt x="1576197" y="196799"/>
                  </a:lnTo>
                  <a:lnTo>
                    <a:pt x="1576197" y="197447"/>
                  </a:lnTo>
                  <a:lnTo>
                    <a:pt x="1576248" y="196799"/>
                  </a:lnTo>
                  <a:lnTo>
                    <a:pt x="1576248" y="197447"/>
                  </a:lnTo>
                  <a:lnTo>
                    <a:pt x="1576248" y="196113"/>
                  </a:lnTo>
                  <a:lnTo>
                    <a:pt x="1576350" y="196799"/>
                  </a:lnTo>
                  <a:lnTo>
                    <a:pt x="1576350" y="195415"/>
                  </a:lnTo>
                  <a:lnTo>
                    <a:pt x="1576350" y="196799"/>
                  </a:lnTo>
                  <a:lnTo>
                    <a:pt x="1576388" y="196799"/>
                  </a:lnTo>
                  <a:lnTo>
                    <a:pt x="1576388" y="196113"/>
                  </a:lnTo>
                  <a:lnTo>
                    <a:pt x="1576388" y="197447"/>
                  </a:lnTo>
                  <a:lnTo>
                    <a:pt x="1576439" y="197447"/>
                  </a:lnTo>
                  <a:lnTo>
                    <a:pt x="1576439" y="196799"/>
                  </a:lnTo>
                  <a:lnTo>
                    <a:pt x="1576439" y="197447"/>
                  </a:lnTo>
                  <a:lnTo>
                    <a:pt x="1576439" y="196799"/>
                  </a:lnTo>
                  <a:lnTo>
                    <a:pt x="1576439" y="198831"/>
                  </a:lnTo>
                  <a:lnTo>
                    <a:pt x="1576439" y="197447"/>
                  </a:lnTo>
                  <a:lnTo>
                    <a:pt x="1576490" y="197447"/>
                  </a:lnTo>
                  <a:lnTo>
                    <a:pt x="1576490" y="198831"/>
                  </a:lnTo>
                  <a:lnTo>
                    <a:pt x="1576490" y="197447"/>
                  </a:lnTo>
                  <a:lnTo>
                    <a:pt x="1576591" y="197447"/>
                  </a:lnTo>
                  <a:lnTo>
                    <a:pt x="1576591" y="198831"/>
                  </a:lnTo>
                  <a:lnTo>
                    <a:pt x="1576642" y="198831"/>
                  </a:lnTo>
                  <a:lnTo>
                    <a:pt x="1576642" y="199530"/>
                  </a:lnTo>
                  <a:lnTo>
                    <a:pt x="1576642" y="198831"/>
                  </a:lnTo>
                  <a:lnTo>
                    <a:pt x="1576642" y="199530"/>
                  </a:lnTo>
                  <a:lnTo>
                    <a:pt x="1576642" y="198831"/>
                  </a:lnTo>
                  <a:lnTo>
                    <a:pt x="1576642" y="199530"/>
                  </a:lnTo>
                  <a:lnTo>
                    <a:pt x="1576642" y="198831"/>
                  </a:lnTo>
                  <a:lnTo>
                    <a:pt x="1576693" y="198831"/>
                  </a:lnTo>
                  <a:lnTo>
                    <a:pt x="1576693" y="197447"/>
                  </a:lnTo>
                  <a:lnTo>
                    <a:pt x="1576794" y="197447"/>
                  </a:lnTo>
                  <a:lnTo>
                    <a:pt x="1576794" y="196113"/>
                  </a:lnTo>
                  <a:lnTo>
                    <a:pt x="1576794" y="196799"/>
                  </a:lnTo>
                  <a:lnTo>
                    <a:pt x="1576794" y="195415"/>
                  </a:lnTo>
                  <a:lnTo>
                    <a:pt x="1576794" y="196113"/>
                  </a:lnTo>
                  <a:lnTo>
                    <a:pt x="1576845" y="195415"/>
                  </a:lnTo>
                  <a:lnTo>
                    <a:pt x="1576845" y="196799"/>
                  </a:lnTo>
                  <a:lnTo>
                    <a:pt x="1576845" y="195415"/>
                  </a:lnTo>
                  <a:lnTo>
                    <a:pt x="1576896" y="195415"/>
                  </a:lnTo>
                  <a:lnTo>
                    <a:pt x="1576896" y="197447"/>
                  </a:lnTo>
                  <a:lnTo>
                    <a:pt x="1576896" y="196113"/>
                  </a:lnTo>
                  <a:lnTo>
                    <a:pt x="1576934" y="196113"/>
                  </a:lnTo>
                  <a:lnTo>
                    <a:pt x="1576934" y="198831"/>
                  </a:lnTo>
                  <a:lnTo>
                    <a:pt x="1576934" y="196799"/>
                  </a:lnTo>
                  <a:lnTo>
                    <a:pt x="1576934" y="197447"/>
                  </a:lnTo>
                  <a:lnTo>
                    <a:pt x="1577036" y="196799"/>
                  </a:lnTo>
                  <a:lnTo>
                    <a:pt x="1577036" y="197447"/>
                  </a:lnTo>
                  <a:lnTo>
                    <a:pt x="1577087" y="197447"/>
                  </a:lnTo>
                  <a:lnTo>
                    <a:pt x="1577087" y="198831"/>
                  </a:lnTo>
                  <a:lnTo>
                    <a:pt x="1577087" y="197447"/>
                  </a:lnTo>
                  <a:lnTo>
                    <a:pt x="1577087" y="198831"/>
                  </a:lnTo>
                  <a:lnTo>
                    <a:pt x="1577087" y="197447"/>
                  </a:lnTo>
                  <a:lnTo>
                    <a:pt x="1577087" y="198831"/>
                  </a:lnTo>
                  <a:lnTo>
                    <a:pt x="1577137" y="198831"/>
                  </a:lnTo>
                  <a:lnTo>
                    <a:pt x="1577137" y="197447"/>
                  </a:lnTo>
                  <a:lnTo>
                    <a:pt x="1577239" y="197447"/>
                  </a:lnTo>
                  <a:lnTo>
                    <a:pt x="1577239" y="196799"/>
                  </a:lnTo>
                  <a:lnTo>
                    <a:pt x="1577290" y="196799"/>
                  </a:lnTo>
                  <a:lnTo>
                    <a:pt x="1577290" y="195415"/>
                  </a:lnTo>
                  <a:lnTo>
                    <a:pt x="1577290" y="196113"/>
                  </a:lnTo>
                  <a:lnTo>
                    <a:pt x="1577340" y="196113"/>
                  </a:lnTo>
                  <a:lnTo>
                    <a:pt x="1577340" y="197447"/>
                  </a:lnTo>
                  <a:lnTo>
                    <a:pt x="1577340" y="196113"/>
                  </a:lnTo>
                  <a:lnTo>
                    <a:pt x="1577340" y="196799"/>
                  </a:lnTo>
                  <a:lnTo>
                    <a:pt x="1577391" y="196799"/>
                  </a:lnTo>
                  <a:lnTo>
                    <a:pt x="1577391" y="197447"/>
                  </a:lnTo>
                  <a:lnTo>
                    <a:pt x="1577391" y="196799"/>
                  </a:lnTo>
                  <a:lnTo>
                    <a:pt x="1577391" y="197447"/>
                  </a:lnTo>
                  <a:lnTo>
                    <a:pt x="1577391" y="196113"/>
                  </a:lnTo>
                  <a:lnTo>
                    <a:pt x="1577391" y="196799"/>
                  </a:lnTo>
                  <a:lnTo>
                    <a:pt x="1577391" y="196113"/>
                  </a:lnTo>
                  <a:lnTo>
                    <a:pt x="1577391" y="197447"/>
                  </a:lnTo>
                  <a:lnTo>
                    <a:pt x="1577480" y="196799"/>
                  </a:lnTo>
                  <a:lnTo>
                    <a:pt x="1577480" y="197447"/>
                  </a:lnTo>
                  <a:lnTo>
                    <a:pt x="1577480" y="196799"/>
                  </a:lnTo>
                  <a:lnTo>
                    <a:pt x="1577531" y="196799"/>
                  </a:lnTo>
                  <a:lnTo>
                    <a:pt x="1577531" y="197447"/>
                  </a:lnTo>
                  <a:lnTo>
                    <a:pt x="1577531" y="196799"/>
                  </a:lnTo>
                  <a:lnTo>
                    <a:pt x="1577531" y="197447"/>
                  </a:lnTo>
                  <a:lnTo>
                    <a:pt x="1577531" y="196799"/>
                  </a:lnTo>
                  <a:lnTo>
                    <a:pt x="1577531" y="197447"/>
                  </a:lnTo>
                  <a:lnTo>
                    <a:pt x="1577582" y="198831"/>
                  </a:lnTo>
                  <a:lnTo>
                    <a:pt x="1577582" y="197447"/>
                  </a:lnTo>
                  <a:lnTo>
                    <a:pt x="1577582" y="198831"/>
                  </a:lnTo>
                  <a:lnTo>
                    <a:pt x="1577633" y="198831"/>
                  </a:lnTo>
                  <a:lnTo>
                    <a:pt x="1577633" y="197447"/>
                  </a:lnTo>
                  <a:lnTo>
                    <a:pt x="1577633" y="198831"/>
                  </a:lnTo>
                  <a:lnTo>
                    <a:pt x="1577633" y="197447"/>
                  </a:lnTo>
                  <a:lnTo>
                    <a:pt x="1577633" y="198831"/>
                  </a:lnTo>
                  <a:lnTo>
                    <a:pt x="1577633" y="197447"/>
                  </a:lnTo>
                  <a:lnTo>
                    <a:pt x="1577734" y="197447"/>
                  </a:lnTo>
                  <a:lnTo>
                    <a:pt x="1577734" y="196799"/>
                  </a:lnTo>
                  <a:lnTo>
                    <a:pt x="1577785" y="196799"/>
                  </a:lnTo>
                  <a:lnTo>
                    <a:pt x="1577785" y="194716"/>
                  </a:lnTo>
                  <a:lnTo>
                    <a:pt x="1577836" y="193383"/>
                  </a:lnTo>
                  <a:lnTo>
                    <a:pt x="1577836" y="194716"/>
                  </a:lnTo>
                  <a:lnTo>
                    <a:pt x="1577836" y="193383"/>
                  </a:lnTo>
                  <a:lnTo>
                    <a:pt x="1577836" y="194716"/>
                  </a:lnTo>
                  <a:lnTo>
                    <a:pt x="1577836" y="193383"/>
                  </a:lnTo>
                  <a:lnTo>
                    <a:pt x="1577836" y="194716"/>
                  </a:lnTo>
                  <a:lnTo>
                    <a:pt x="1577937" y="193383"/>
                  </a:lnTo>
                  <a:lnTo>
                    <a:pt x="1577937" y="192684"/>
                  </a:lnTo>
                  <a:lnTo>
                    <a:pt x="1577937" y="196113"/>
                  </a:lnTo>
                  <a:lnTo>
                    <a:pt x="1577937" y="194716"/>
                  </a:lnTo>
                  <a:lnTo>
                    <a:pt x="1577975" y="194716"/>
                  </a:lnTo>
                  <a:lnTo>
                    <a:pt x="1577975" y="196113"/>
                  </a:lnTo>
                  <a:lnTo>
                    <a:pt x="1578026" y="196113"/>
                  </a:lnTo>
                  <a:lnTo>
                    <a:pt x="1578026" y="195415"/>
                  </a:lnTo>
                  <a:lnTo>
                    <a:pt x="1578026" y="196799"/>
                  </a:lnTo>
                  <a:lnTo>
                    <a:pt x="1578077" y="196113"/>
                  </a:lnTo>
                  <a:lnTo>
                    <a:pt x="1578077" y="198831"/>
                  </a:lnTo>
                  <a:lnTo>
                    <a:pt x="1578077" y="197447"/>
                  </a:lnTo>
                  <a:lnTo>
                    <a:pt x="1578179" y="197447"/>
                  </a:lnTo>
                  <a:lnTo>
                    <a:pt x="1578179" y="196799"/>
                  </a:lnTo>
                  <a:lnTo>
                    <a:pt x="1578179" y="197447"/>
                  </a:lnTo>
                  <a:lnTo>
                    <a:pt x="1578230" y="197447"/>
                  </a:lnTo>
                  <a:lnTo>
                    <a:pt x="1578230" y="196799"/>
                  </a:lnTo>
                  <a:lnTo>
                    <a:pt x="1578230" y="197447"/>
                  </a:lnTo>
                  <a:lnTo>
                    <a:pt x="1578230" y="196799"/>
                  </a:lnTo>
                  <a:lnTo>
                    <a:pt x="1578280" y="196799"/>
                  </a:lnTo>
                  <a:lnTo>
                    <a:pt x="1578280" y="195415"/>
                  </a:lnTo>
                  <a:lnTo>
                    <a:pt x="1578280" y="196113"/>
                  </a:lnTo>
                  <a:lnTo>
                    <a:pt x="1578280" y="194716"/>
                  </a:lnTo>
                  <a:lnTo>
                    <a:pt x="1578382" y="195415"/>
                  </a:lnTo>
                  <a:lnTo>
                    <a:pt x="1578382" y="193383"/>
                  </a:lnTo>
                  <a:lnTo>
                    <a:pt x="1578382" y="195415"/>
                  </a:lnTo>
                  <a:lnTo>
                    <a:pt x="1578382" y="193383"/>
                  </a:lnTo>
                  <a:lnTo>
                    <a:pt x="1578433" y="192684"/>
                  </a:lnTo>
                  <a:lnTo>
                    <a:pt x="1578433" y="195415"/>
                  </a:lnTo>
                  <a:lnTo>
                    <a:pt x="1578433" y="193383"/>
                  </a:lnTo>
                  <a:lnTo>
                    <a:pt x="1578484" y="193383"/>
                  </a:lnTo>
                  <a:lnTo>
                    <a:pt x="1578484" y="196113"/>
                  </a:lnTo>
                  <a:lnTo>
                    <a:pt x="1578484" y="194716"/>
                  </a:lnTo>
                  <a:lnTo>
                    <a:pt x="1578484" y="195415"/>
                  </a:lnTo>
                  <a:lnTo>
                    <a:pt x="1578484" y="194716"/>
                  </a:lnTo>
                  <a:lnTo>
                    <a:pt x="1578522" y="194716"/>
                  </a:lnTo>
                  <a:lnTo>
                    <a:pt x="1578522" y="196113"/>
                  </a:lnTo>
                  <a:lnTo>
                    <a:pt x="1578522" y="195415"/>
                  </a:lnTo>
                  <a:lnTo>
                    <a:pt x="1578623" y="196113"/>
                  </a:lnTo>
                  <a:lnTo>
                    <a:pt x="1578623" y="195415"/>
                  </a:lnTo>
                  <a:lnTo>
                    <a:pt x="1578623" y="196799"/>
                  </a:lnTo>
                  <a:lnTo>
                    <a:pt x="1578674" y="196113"/>
                  </a:lnTo>
                  <a:lnTo>
                    <a:pt x="1578674" y="196799"/>
                  </a:lnTo>
                  <a:lnTo>
                    <a:pt x="1578674" y="196113"/>
                  </a:lnTo>
                  <a:lnTo>
                    <a:pt x="1578674" y="196799"/>
                  </a:lnTo>
                  <a:lnTo>
                    <a:pt x="1578674" y="196113"/>
                  </a:lnTo>
                  <a:lnTo>
                    <a:pt x="1578674" y="196799"/>
                  </a:lnTo>
                  <a:lnTo>
                    <a:pt x="1578725" y="196799"/>
                  </a:lnTo>
                  <a:lnTo>
                    <a:pt x="1578725" y="197447"/>
                  </a:lnTo>
                  <a:lnTo>
                    <a:pt x="1578725" y="196113"/>
                  </a:lnTo>
                  <a:lnTo>
                    <a:pt x="1578826" y="196799"/>
                  </a:lnTo>
                  <a:lnTo>
                    <a:pt x="1578826" y="195415"/>
                  </a:lnTo>
                  <a:lnTo>
                    <a:pt x="1578826" y="196113"/>
                  </a:lnTo>
                  <a:lnTo>
                    <a:pt x="1578826" y="193383"/>
                  </a:lnTo>
                  <a:lnTo>
                    <a:pt x="1578877" y="193383"/>
                  </a:lnTo>
                  <a:lnTo>
                    <a:pt x="1578877" y="196113"/>
                  </a:lnTo>
                  <a:lnTo>
                    <a:pt x="1578877" y="193383"/>
                  </a:lnTo>
                  <a:lnTo>
                    <a:pt x="1578877" y="194716"/>
                  </a:lnTo>
                  <a:lnTo>
                    <a:pt x="1578928" y="194716"/>
                  </a:lnTo>
                  <a:lnTo>
                    <a:pt x="1578928" y="197447"/>
                  </a:lnTo>
                  <a:lnTo>
                    <a:pt x="1578928" y="195415"/>
                  </a:lnTo>
                  <a:lnTo>
                    <a:pt x="1578928" y="196113"/>
                  </a:lnTo>
                  <a:lnTo>
                    <a:pt x="1578928" y="195415"/>
                  </a:lnTo>
                  <a:lnTo>
                    <a:pt x="1578979" y="196113"/>
                  </a:lnTo>
                  <a:lnTo>
                    <a:pt x="1578979" y="196799"/>
                  </a:lnTo>
                  <a:lnTo>
                    <a:pt x="1578979" y="196113"/>
                  </a:lnTo>
                  <a:lnTo>
                    <a:pt x="1578979" y="196799"/>
                  </a:lnTo>
                  <a:lnTo>
                    <a:pt x="1578979" y="196113"/>
                  </a:lnTo>
                  <a:lnTo>
                    <a:pt x="1578979" y="196799"/>
                  </a:lnTo>
                  <a:lnTo>
                    <a:pt x="1578979" y="196113"/>
                  </a:lnTo>
                  <a:lnTo>
                    <a:pt x="1578979" y="196799"/>
                  </a:lnTo>
                  <a:lnTo>
                    <a:pt x="1579068" y="196113"/>
                  </a:lnTo>
                  <a:lnTo>
                    <a:pt x="1579068" y="196799"/>
                  </a:lnTo>
                  <a:lnTo>
                    <a:pt x="1579068" y="196113"/>
                  </a:lnTo>
                  <a:lnTo>
                    <a:pt x="1579119" y="196113"/>
                  </a:lnTo>
                  <a:lnTo>
                    <a:pt x="1579119" y="196799"/>
                  </a:lnTo>
                  <a:lnTo>
                    <a:pt x="1579119" y="196113"/>
                  </a:lnTo>
                  <a:lnTo>
                    <a:pt x="1579119" y="196799"/>
                  </a:lnTo>
                  <a:lnTo>
                    <a:pt x="1579169" y="196799"/>
                  </a:lnTo>
                  <a:lnTo>
                    <a:pt x="1579169" y="196113"/>
                  </a:lnTo>
                  <a:lnTo>
                    <a:pt x="1579169" y="196799"/>
                  </a:lnTo>
                  <a:lnTo>
                    <a:pt x="1579220" y="197447"/>
                  </a:lnTo>
                  <a:lnTo>
                    <a:pt x="1579220" y="196113"/>
                  </a:lnTo>
                  <a:lnTo>
                    <a:pt x="1579220" y="196799"/>
                  </a:lnTo>
                  <a:lnTo>
                    <a:pt x="1579322" y="196799"/>
                  </a:lnTo>
                  <a:lnTo>
                    <a:pt x="1579322" y="194716"/>
                  </a:lnTo>
                  <a:lnTo>
                    <a:pt x="1579322" y="195415"/>
                  </a:lnTo>
                  <a:lnTo>
                    <a:pt x="1579322" y="194716"/>
                  </a:lnTo>
                  <a:lnTo>
                    <a:pt x="1579322" y="195415"/>
                  </a:lnTo>
                  <a:lnTo>
                    <a:pt x="1579372" y="195415"/>
                  </a:lnTo>
                  <a:lnTo>
                    <a:pt x="1579372" y="196799"/>
                  </a:lnTo>
                  <a:lnTo>
                    <a:pt x="1579372" y="194716"/>
                  </a:lnTo>
                  <a:lnTo>
                    <a:pt x="1579372" y="196113"/>
                  </a:lnTo>
                  <a:lnTo>
                    <a:pt x="1579423" y="196113"/>
                  </a:lnTo>
                  <a:lnTo>
                    <a:pt x="1579423" y="197447"/>
                  </a:lnTo>
                  <a:lnTo>
                    <a:pt x="1579423" y="195415"/>
                  </a:lnTo>
                  <a:lnTo>
                    <a:pt x="1579423" y="196113"/>
                  </a:lnTo>
                  <a:lnTo>
                    <a:pt x="1579423" y="195415"/>
                  </a:lnTo>
                  <a:lnTo>
                    <a:pt x="1579423" y="196799"/>
                  </a:lnTo>
                  <a:lnTo>
                    <a:pt x="1579525" y="197447"/>
                  </a:lnTo>
                  <a:lnTo>
                    <a:pt x="1579525" y="196113"/>
                  </a:lnTo>
                  <a:lnTo>
                    <a:pt x="1579525" y="196799"/>
                  </a:lnTo>
                  <a:lnTo>
                    <a:pt x="1579525" y="196113"/>
                  </a:lnTo>
                  <a:lnTo>
                    <a:pt x="1579525" y="196799"/>
                  </a:lnTo>
                  <a:lnTo>
                    <a:pt x="1579563" y="197447"/>
                  </a:lnTo>
                  <a:lnTo>
                    <a:pt x="1579563" y="196799"/>
                  </a:lnTo>
                  <a:lnTo>
                    <a:pt x="1579563" y="197447"/>
                  </a:lnTo>
                  <a:lnTo>
                    <a:pt x="1579614" y="196799"/>
                  </a:lnTo>
                  <a:lnTo>
                    <a:pt x="1579614" y="197447"/>
                  </a:lnTo>
                  <a:lnTo>
                    <a:pt x="1579614" y="196799"/>
                  </a:lnTo>
                  <a:lnTo>
                    <a:pt x="1579614" y="197447"/>
                  </a:lnTo>
                  <a:lnTo>
                    <a:pt x="1579665" y="197447"/>
                  </a:lnTo>
                  <a:lnTo>
                    <a:pt x="1579665" y="196799"/>
                  </a:lnTo>
                  <a:lnTo>
                    <a:pt x="1579766" y="196799"/>
                  </a:lnTo>
                  <a:lnTo>
                    <a:pt x="1579766" y="196113"/>
                  </a:lnTo>
                  <a:lnTo>
                    <a:pt x="1579766" y="196799"/>
                  </a:lnTo>
                  <a:lnTo>
                    <a:pt x="1579766" y="196113"/>
                  </a:lnTo>
                  <a:lnTo>
                    <a:pt x="1579766" y="196799"/>
                  </a:lnTo>
                  <a:lnTo>
                    <a:pt x="1579766" y="195415"/>
                  </a:lnTo>
                  <a:lnTo>
                    <a:pt x="1579766" y="196113"/>
                  </a:lnTo>
                  <a:lnTo>
                    <a:pt x="1579766" y="195415"/>
                  </a:lnTo>
                  <a:lnTo>
                    <a:pt x="1579817" y="195415"/>
                  </a:lnTo>
                  <a:lnTo>
                    <a:pt x="1579817" y="194716"/>
                  </a:lnTo>
                  <a:lnTo>
                    <a:pt x="1579817" y="195415"/>
                  </a:lnTo>
                  <a:lnTo>
                    <a:pt x="1579817" y="194716"/>
                  </a:lnTo>
                  <a:lnTo>
                    <a:pt x="1579817" y="195415"/>
                  </a:lnTo>
                  <a:lnTo>
                    <a:pt x="1579817" y="193383"/>
                  </a:lnTo>
                  <a:lnTo>
                    <a:pt x="1579817" y="194716"/>
                  </a:lnTo>
                  <a:lnTo>
                    <a:pt x="1579817" y="192684"/>
                  </a:lnTo>
                  <a:lnTo>
                    <a:pt x="1579817" y="194716"/>
                  </a:lnTo>
                  <a:lnTo>
                    <a:pt x="1579868" y="195415"/>
                  </a:lnTo>
                  <a:lnTo>
                    <a:pt x="1579868" y="193383"/>
                  </a:lnTo>
                  <a:lnTo>
                    <a:pt x="1579868" y="196799"/>
                  </a:lnTo>
                  <a:lnTo>
                    <a:pt x="1579969" y="196799"/>
                  </a:lnTo>
                  <a:lnTo>
                    <a:pt x="1579969" y="195415"/>
                  </a:lnTo>
                  <a:lnTo>
                    <a:pt x="1579969" y="197447"/>
                  </a:lnTo>
                  <a:lnTo>
                    <a:pt x="1580020" y="197447"/>
                  </a:lnTo>
                  <a:lnTo>
                    <a:pt x="1580020" y="196799"/>
                  </a:lnTo>
                  <a:lnTo>
                    <a:pt x="1580020" y="197447"/>
                  </a:lnTo>
                  <a:lnTo>
                    <a:pt x="1580020" y="196799"/>
                  </a:lnTo>
                  <a:lnTo>
                    <a:pt x="1580020" y="197447"/>
                  </a:lnTo>
                  <a:lnTo>
                    <a:pt x="1580071" y="197447"/>
                  </a:lnTo>
                  <a:lnTo>
                    <a:pt x="1580071" y="196799"/>
                  </a:lnTo>
                  <a:lnTo>
                    <a:pt x="1580071" y="197447"/>
                  </a:lnTo>
                  <a:lnTo>
                    <a:pt x="1580071" y="196799"/>
                  </a:lnTo>
                  <a:lnTo>
                    <a:pt x="1580071" y="197447"/>
                  </a:lnTo>
                  <a:lnTo>
                    <a:pt x="1580071" y="196799"/>
                  </a:lnTo>
                  <a:lnTo>
                    <a:pt x="1580071" y="197447"/>
                  </a:lnTo>
                  <a:lnTo>
                    <a:pt x="1580071" y="196799"/>
                  </a:lnTo>
                  <a:lnTo>
                    <a:pt x="1580109" y="196799"/>
                  </a:lnTo>
                  <a:lnTo>
                    <a:pt x="1580109" y="197447"/>
                  </a:lnTo>
                  <a:lnTo>
                    <a:pt x="1580109" y="196799"/>
                  </a:lnTo>
                  <a:lnTo>
                    <a:pt x="1580109" y="197447"/>
                  </a:lnTo>
                  <a:lnTo>
                    <a:pt x="1580109" y="196799"/>
                  </a:lnTo>
                  <a:lnTo>
                    <a:pt x="1580109" y="197447"/>
                  </a:lnTo>
                  <a:lnTo>
                    <a:pt x="1580109" y="196799"/>
                  </a:lnTo>
                  <a:lnTo>
                    <a:pt x="1580211" y="196799"/>
                  </a:lnTo>
                  <a:lnTo>
                    <a:pt x="1580211" y="197447"/>
                  </a:lnTo>
                  <a:lnTo>
                    <a:pt x="1580211" y="196799"/>
                  </a:lnTo>
                  <a:lnTo>
                    <a:pt x="1580211" y="197447"/>
                  </a:lnTo>
                  <a:lnTo>
                    <a:pt x="1580211" y="196799"/>
                  </a:lnTo>
                  <a:lnTo>
                    <a:pt x="1580262" y="196799"/>
                  </a:lnTo>
                  <a:lnTo>
                    <a:pt x="1580262" y="196113"/>
                  </a:lnTo>
                  <a:lnTo>
                    <a:pt x="1580312" y="196113"/>
                  </a:lnTo>
                  <a:lnTo>
                    <a:pt x="1580312" y="193383"/>
                  </a:lnTo>
                  <a:lnTo>
                    <a:pt x="1580312" y="196113"/>
                  </a:lnTo>
                  <a:lnTo>
                    <a:pt x="1580312" y="195415"/>
                  </a:lnTo>
                  <a:lnTo>
                    <a:pt x="1580414" y="195415"/>
                  </a:lnTo>
                  <a:lnTo>
                    <a:pt x="1580414" y="194716"/>
                  </a:lnTo>
                  <a:lnTo>
                    <a:pt x="1580414" y="195415"/>
                  </a:lnTo>
                  <a:lnTo>
                    <a:pt x="1580414" y="194716"/>
                  </a:lnTo>
                  <a:lnTo>
                    <a:pt x="1580414" y="197447"/>
                  </a:lnTo>
                  <a:lnTo>
                    <a:pt x="1580414" y="196799"/>
                  </a:lnTo>
                  <a:lnTo>
                    <a:pt x="1580465" y="196113"/>
                  </a:lnTo>
                  <a:lnTo>
                    <a:pt x="1580465" y="197447"/>
                  </a:lnTo>
                  <a:lnTo>
                    <a:pt x="1580465" y="196799"/>
                  </a:lnTo>
                  <a:lnTo>
                    <a:pt x="1580515" y="196799"/>
                  </a:lnTo>
                  <a:lnTo>
                    <a:pt x="1580515" y="197447"/>
                  </a:lnTo>
                  <a:lnTo>
                    <a:pt x="1580515" y="196799"/>
                  </a:lnTo>
                  <a:lnTo>
                    <a:pt x="1580515" y="197447"/>
                  </a:lnTo>
                  <a:lnTo>
                    <a:pt x="1580515" y="196799"/>
                  </a:lnTo>
                  <a:lnTo>
                    <a:pt x="1580566" y="196799"/>
                  </a:lnTo>
                  <a:lnTo>
                    <a:pt x="1580566" y="197447"/>
                  </a:lnTo>
                  <a:lnTo>
                    <a:pt x="1580655" y="197447"/>
                  </a:lnTo>
                  <a:lnTo>
                    <a:pt x="1580655" y="198831"/>
                  </a:lnTo>
                  <a:lnTo>
                    <a:pt x="1580655" y="197447"/>
                  </a:lnTo>
                  <a:lnTo>
                    <a:pt x="1580655" y="198831"/>
                  </a:lnTo>
                  <a:lnTo>
                    <a:pt x="1580655" y="197447"/>
                  </a:lnTo>
                  <a:lnTo>
                    <a:pt x="1580706" y="197447"/>
                  </a:lnTo>
                  <a:lnTo>
                    <a:pt x="1580706" y="196799"/>
                  </a:lnTo>
                  <a:lnTo>
                    <a:pt x="1580706" y="197447"/>
                  </a:lnTo>
                  <a:lnTo>
                    <a:pt x="1580706" y="196799"/>
                  </a:lnTo>
                  <a:lnTo>
                    <a:pt x="1580757" y="196799"/>
                  </a:lnTo>
                  <a:lnTo>
                    <a:pt x="1580757" y="195415"/>
                  </a:lnTo>
                  <a:lnTo>
                    <a:pt x="1580757" y="196113"/>
                  </a:lnTo>
                  <a:lnTo>
                    <a:pt x="1580757" y="194716"/>
                  </a:lnTo>
                  <a:lnTo>
                    <a:pt x="1580808" y="194716"/>
                  </a:lnTo>
                  <a:lnTo>
                    <a:pt x="1580808" y="195415"/>
                  </a:lnTo>
                  <a:lnTo>
                    <a:pt x="1580808" y="194716"/>
                  </a:lnTo>
                  <a:lnTo>
                    <a:pt x="1580808" y="196113"/>
                  </a:lnTo>
                  <a:lnTo>
                    <a:pt x="1580808" y="193383"/>
                  </a:lnTo>
                  <a:lnTo>
                    <a:pt x="1580909" y="194716"/>
                  </a:lnTo>
                  <a:lnTo>
                    <a:pt x="1580909" y="197447"/>
                  </a:lnTo>
                  <a:lnTo>
                    <a:pt x="1580909" y="196799"/>
                  </a:lnTo>
                  <a:lnTo>
                    <a:pt x="1580909" y="197447"/>
                  </a:lnTo>
                  <a:lnTo>
                    <a:pt x="1580909" y="196799"/>
                  </a:lnTo>
                  <a:lnTo>
                    <a:pt x="1580909" y="197447"/>
                  </a:lnTo>
                  <a:lnTo>
                    <a:pt x="1580909" y="196113"/>
                  </a:lnTo>
                  <a:lnTo>
                    <a:pt x="1580909" y="196799"/>
                  </a:lnTo>
                  <a:lnTo>
                    <a:pt x="1580960" y="196799"/>
                  </a:lnTo>
                  <a:lnTo>
                    <a:pt x="1580960" y="197447"/>
                  </a:lnTo>
                  <a:lnTo>
                    <a:pt x="1580960" y="196799"/>
                  </a:lnTo>
                  <a:lnTo>
                    <a:pt x="1580960" y="197447"/>
                  </a:lnTo>
                  <a:lnTo>
                    <a:pt x="1581011" y="196799"/>
                  </a:lnTo>
                  <a:lnTo>
                    <a:pt x="1581011" y="197447"/>
                  </a:lnTo>
                  <a:lnTo>
                    <a:pt x="1581011" y="196799"/>
                  </a:lnTo>
                  <a:lnTo>
                    <a:pt x="1581011" y="198831"/>
                  </a:lnTo>
                  <a:lnTo>
                    <a:pt x="1581112" y="198831"/>
                  </a:lnTo>
                  <a:lnTo>
                    <a:pt x="1581112" y="197447"/>
                  </a:lnTo>
                  <a:lnTo>
                    <a:pt x="1581112" y="198831"/>
                  </a:lnTo>
                  <a:lnTo>
                    <a:pt x="1581112" y="197447"/>
                  </a:lnTo>
                  <a:lnTo>
                    <a:pt x="1581112" y="198831"/>
                  </a:lnTo>
                  <a:lnTo>
                    <a:pt x="1581112" y="197447"/>
                  </a:lnTo>
                  <a:lnTo>
                    <a:pt x="1581112" y="198831"/>
                  </a:lnTo>
                  <a:lnTo>
                    <a:pt x="1581112" y="197447"/>
                  </a:lnTo>
                  <a:lnTo>
                    <a:pt x="1581112" y="198831"/>
                  </a:lnTo>
                  <a:lnTo>
                    <a:pt x="1581150" y="198831"/>
                  </a:lnTo>
                  <a:lnTo>
                    <a:pt x="1581150" y="197447"/>
                  </a:lnTo>
                  <a:lnTo>
                    <a:pt x="1581150" y="198831"/>
                  </a:lnTo>
                  <a:lnTo>
                    <a:pt x="1581150" y="197447"/>
                  </a:lnTo>
                  <a:lnTo>
                    <a:pt x="1581150" y="198831"/>
                  </a:lnTo>
                  <a:lnTo>
                    <a:pt x="1581150" y="197447"/>
                  </a:lnTo>
                  <a:lnTo>
                    <a:pt x="1581201" y="197447"/>
                  </a:lnTo>
                  <a:lnTo>
                    <a:pt x="1581201" y="196799"/>
                  </a:lnTo>
                  <a:lnTo>
                    <a:pt x="1581252" y="196799"/>
                  </a:lnTo>
                  <a:lnTo>
                    <a:pt x="1581252" y="196113"/>
                  </a:lnTo>
                  <a:lnTo>
                    <a:pt x="1581252" y="196799"/>
                  </a:lnTo>
                  <a:lnTo>
                    <a:pt x="1581252" y="194716"/>
                  </a:lnTo>
                  <a:lnTo>
                    <a:pt x="1581252" y="196113"/>
                  </a:lnTo>
                  <a:lnTo>
                    <a:pt x="1581354" y="196113"/>
                  </a:lnTo>
                  <a:lnTo>
                    <a:pt x="1581354" y="196799"/>
                  </a:lnTo>
                  <a:lnTo>
                    <a:pt x="1581354" y="194716"/>
                  </a:lnTo>
                  <a:lnTo>
                    <a:pt x="1581354" y="197447"/>
                  </a:lnTo>
                  <a:lnTo>
                    <a:pt x="1581405" y="197447"/>
                  </a:lnTo>
                  <a:lnTo>
                    <a:pt x="1581405" y="196113"/>
                  </a:lnTo>
                  <a:lnTo>
                    <a:pt x="1581405" y="196799"/>
                  </a:lnTo>
                  <a:lnTo>
                    <a:pt x="1581455" y="196799"/>
                  </a:lnTo>
                  <a:lnTo>
                    <a:pt x="1581455" y="196113"/>
                  </a:lnTo>
                  <a:lnTo>
                    <a:pt x="1581455" y="197447"/>
                  </a:lnTo>
                  <a:lnTo>
                    <a:pt x="1581455" y="196799"/>
                  </a:lnTo>
                  <a:lnTo>
                    <a:pt x="1581455" y="197447"/>
                  </a:lnTo>
                  <a:lnTo>
                    <a:pt x="1581557" y="196799"/>
                  </a:lnTo>
                  <a:lnTo>
                    <a:pt x="1581608" y="196799"/>
                  </a:lnTo>
                  <a:lnTo>
                    <a:pt x="1581608" y="196113"/>
                  </a:lnTo>
                  <a:lnTo>
                    <a:pt x="1581608" y="197447"/>
                  </a:lnTo>
                  <a:lnTo>
                    <a:pt x="1581608" y="196799"/>
                  </a:lnTo>
                  <a:lnTo>
                    <a:pt x="1581608" y="197447"/>
                  </a:lnTo>
                  <a:lnTo>
                    <a:pt x="1581608" y="196799"/>
                  </a:lnTo>
                  <a:lnTo>
                    <a:pt x="1581608" y="197447"/>
                  </a:lnTo>
                  <a:lnTo>
                    <a:pt x="1581659" y="197447"/>
                  </a:lnTo>
                  <a:lnTo>
                    <a:pt x="1581659" y="196799"/>
                  </a:lnTo>
                  <a:lnTo>
                    <a:pt x="1581659" y="197447"/>
                  </a:lnTo>
                  <a:lnTo>
                    <a:pt x="1581659" y="196799"/>
                  </a:lnTo>
                  <a:lnTo>
                    <a:pt x="1581659" y="197447"/>
                  </a:lnTo>
                  <a:lnTo>
                    <a:pt x="1581659" y="196799"/>
                  </a:lnTo>
                  <a:lnTo>
                    <a:pt x="1581697" y="196799"/>
                  </a:lnTo>
                  <a:lnTo>
                    <a:pt x="1581697" y="196113"/>
                  </a:lnTo>
                  <a:lnTo>
                    <a:pt x="1581697" y="196799"/>
                  </a:lnTo>
                  <a:lnTo>
                    <a:pt x="1581697" y="196113"/>
                  </a:lnTo>
                  <a:lnTo>
                    <a:pt x="1581798" y="196113"/>
                  </a:lnTo>
                  <a:lnTo>
                    <a:pt x="1581798" y="195415"/>
                  </a:lnTo>
                  <a:lnTo>
                    <a:pt x="1581798" y="196113"/>
                  </a:lnTo>
                  <a:lnTo>
                    <a:pt x="1581798" y="195415"/>
                  </a:lnTo>
                  <a:lnTo>
                    <a:pt x="1581849" y="195415"/>
                  </a:lnTo>
                  <a:lnTo>
                    <a:pt x="1581849" y="197447"/>
                  </a:lnTo>
                  <a:lnTo>
                    <a:pt x="1581849" y="196799"/>
                  </a:lnTo>
                  <a:lnTo>
                    <a:pt x="1581900" y="196799"/>
                  </a:lnTo>
                  <a:lnTo>
                    <a:pt x="1581900" y="197447"/>
                  </a:lnTo>
                  <a:lnTo>
                    <a:pt x="1581900" y="196799"/>
                  </a:lnTo>
                  <a:lnTo>
                    <a:pt x="1582001" y="196799"/>
                  </a:lnTo>
                  <a:lnTo>
                    <a:pt x="1582001" y="198831"/>
                  </a:lnTo>
                  <a:lnTo>
                    <a:pt x="1582001" y="197447"/>
                  </a:lnTo>
                  <a:lnTo>
                    <a:pt x="1582001" y="198831"/>
                  </a:lnTo>
                  <a:lnTo>
                    <a:pt x="1582001" y="197447"/>
                  </a:lnTo>
                  <a:lnTo>
                    <a:pt x="1582052" y="197447"/>
                  </a:lnTo>
                  <a:lnTo>
                    <a:pt x="1582052" y="198831"/>
                  </a:lnTo>
                  <a:lnTo>
                    <a:pt x="1582052" y="197447"/>
                  </a:lnTo>
                  <a:lnTo>
                    <a:pt x="1582103" y="198831"/>
                  </a:lnTo>
                  <a:lnTo>
                    <a:pt x="1582103" y="197447"/>
                  </a:lnTo>
                  <a:lnTo>
                    <a:pt x="1582103" y="198831"/>
                  </a:lnTo>
                  <a:lnTo>
                    <a:pt x="1582103" y="197447"/>
                  </a:lnTo>
                  <a:lnTo>
                    <a:pt x="1582103" y="198831"/>
                  </a:lnTo>
                  <a:lnTo>
                    <a:pt x="1582103" y="197447"/>
                  </a:lnTo>
                  <a:lnTo>
                    <a:pt x="1582103" y="198831"/>
                  </a:lnTo>
                  <a:lnTo>
                    <a:pt x="1582103" y="197447"/>
                  </a:lnTo>
                  <a:lnTo>
                    <a:pt x="1582154" y="198831"/>
                  </a:lnTo>
                  <a:lnTo>
                    <a:pt x="1582154" y="196799"/>
                  </a:lnTo>
                  <a:lnTo>
                    <a:pt x="1582243" y="196799"/>
                  </a:lnTo>
                  <a:lnTo>
                    <a:pt x="1582243" y="197447"/>
                  </a:lnTo>
                  <a:lnTo>
                    <a:pt x="1582243" y="196113"/>
                  </a:lnTo>
                  <a:lnTo>
                    <a:pt x="1582294" y="196113"/>
                  </a:lnTo>
                  <a:lnTo>
                    <a:pt x="1582294" y="197447"/>
                  </a:lnTo>
                  <a:lnTo>
                    <a:pt x="1582294" y="196799"/>
                  </a:lnTo>
                  <a:lnTo>
                    <a:pt x="1582294" y="197447"/>
                  </a:lnTo>
                  <a:lnTo>
                    <a:pt x="1582344" y="197447"/>
                  </a:lnTo>
                  <a:lnTo>
                    <a:pt x="1582344" y="198831"/>
                  </a:lnTo>
                  <a:lnTo>
                    <a:pt x="1582344" y="197447"/>
                  </a:lnTo>
                  <a:lnTo>
                    <a:pt x="1582344" y="198831"/>
                  </a:lnTo>
                  <a:lnTo>
                    <a:pt x="1582395" y="199530"/>
                  </a:lnTo>
                  <a:lnTo>
                    <a:pt x="1582395" y="198831"/>
                  </a:lnTo>
                  <a:lnTo>
                    <a:pt x="1582395" y="199530"/>
                  </a:lnTo>
                  <a:lnTo>
                    <a:pt x="1582395" y="198831"/>
                  </a:lnTo>
                  <a:lnTo>
                    <a:pt x="1582395" y="199530"/>
                  </a:lnTo>
                  <a:lnTo>
                    <a:pt x="1582395" y="198831"/>
                  </a:lnTo>
                  <a:lnTo>
                    <a:pt x="1582497" y="198831"/>
                  </a:lnTo>
                  <a:lnTo>
                    <a:pt x="1582497" y="199530"/>
                  </a:lnTo>
                  <a:lnTo>
                    <a:pt x="1582497" y="198831"/>
                  </a:lnTo>
                  <a:lnTo>
                    <a:pt x="1582497" y="199530"/>
                  </a:lnTo>
                  <a:lnTo>
                    <a:pt x="1582497" y="198831"/>
                  </a:lnTo>
                  <a:lnTo>
                    <a:pt x="1582497" y="199530"/>
                  </a:lnTo>
                  <a:lnTo>
                    <a:pt x="1582497" y="198831"/>
                  </a:lnTo>
                  <a:lnTo>
                    <a:pt x="1582547" y="198831"/>
                  </a:lnTo>
                  <a:lnTo>
                    <a:pt x="1582547" y="199530"/>
                  </a:lnTo>
                  <a:lnTo>
                    <a:pt x="1582547" y="198831"/>
                  </a:lnTo>
                  <a:lnTo>
                    <a:pt x="1582598" y="198831"/>
                  </a:lnTo>
                  <a:lnTo>
                    <a:pt x="1582598" y="197447"/>
                  </a:lnTo>
                  <a:lnTo>
                    <a:pt x="1582598" y="198831"/>
                  </a:lnTo>
                  <a:lnTo>
                    <a:pt x="1582598" y="197447"/>
                  </a:lnTo>
                  <a:lnTo>
                    <a:pt x="1582598" y="198831"/>
                  </a:lnTo>
                  <a:lnTo>
                    <a:pt x="1582598" y="197447"/>
                  </a:lnTo>
                  <a:lnTo>
                    <a:pt x="1582700" y="197447"/>
                  </a:lnTo>
                  <a:lnTo>
                    <a:pt x="1582700" y="196799"/>
                  </a:lnTo>
                  <a:lnTo>
                    <a:pt x="1582738" y="196113"/>
                  </a:lnTo>
                  <a:lnTo>
                    <a:pt x="1582738" y="195415"/>
                  </a:lnTo>
                  <a:lnTo>
                    <a:pt x="1582738" y="196113"/>
                  </a:lnTo>
                  <a:lnTo>
                    <a:pt x="1582738" y="195415"/>
                  </a:lnTo>
                  <a:lnTo>
                    <a:pt x="1582738" y="196113"/>
                  </a:lnTo>
                  <a:lnTo>
                    <a:pt x="1582738" y="193383"/>
                  </a:lnTo>
                  <a:lnTo>
                    <a:pt x="1582738" y="196113"/>
                  </a:lnTo>
                  <a:lnTo>
                    <a:pt x="1582789" y="196113"/>
                  </a:lnTo>
                  <a:lnTo>
                    <a:pt x="1582789" y="195415"/>
                  </a:lnTo>
                  <a:lnTo>
                    <a:pt x="1582789" y="196113"/>
                  </a:lnTo>
                  <a:lnTo>
                    <a:pt x="1582789" y="194716"/>
                  </a:lnTo>
                  <a:lnTo>
                    <a:pt x="1582789" y="196799"/>
                  </a:lnTo>
                  <a:lnTo>
                    <a:pt x="1582840" y="196799"/>
                  </a:lnTo>
                  <a:lnTo>
                    <a:pt x="1582840" y="196113"/>
                  </a:lnTo>
                  <a:lnTo>
                    <a:pt x="1582840" y="198831"/>
                  </a:lnTo>
                  <a:lnTo>
                    <a:pt x="1582941" y="197447"/>
                  </a:lnTo>
                  <a:lnTo>
                    <a:pt x="1582941" y="196799"/>
                  </a:lnTo>
                  <a:lnTo>
                    <a:pt x="1582941" y="197447"/>
                  </a:lnTo>
                  <a:lnTo>
                    <a:pt x="1582941" y="196799"/>
                  </a:lnTo>
                  <a:lnTo>
                    <a:pt x="1582941" y="198831"/>
                  </a:lnTo>
                  <a:lnTo>
                    <a:pt x="1582992" y="197447"/>
                  </a:lnTo>
                  <a:lnTo>
                    <a:pt x="1582992" y="198831"/>
                  </a:lnTo>
                  <a:lnTo>
                    <a:pt x="1582992" y="197447"/>
                  </a:lnTo>
                  <a:lnTo>
                    <a:pt x="1582992" y="198831"/>
                  </a:lnTo>
                  <a:lnTo>
                    <a:pt x="1582992" y="197447"/>
                  </a:lnTo>
                  <a:lnTo>
                    <a:pt x="1583043" y="197447"/>
                  </a:lnTo>
                  <a:lnTo>
                    <a:pt x="1583043" y="198831"/>
                  </a:lnTo>
                  <a:lnTo>
                    <a:pt x="1583043" y="197447"/>
                  </a:lnTo>
                  <a:lnTo>
                    <a:pt x="1583043" y="198831"/>
                  </a:lnTo>
                  <a:lnTo>
                    <a:pt x="1583043" y="197447"/>
                  </a:lnTo>
                  <a:lnTo>
                    <a:pt x="1583043" y="198831"/>
                  </a:lnTo>
                  <a:lnTo>
                    <a:pt x="1583043" y="197447"/>
                  </a:lnTo>
                  <a:lnTo>
                    <a:pt x="1583043" y="198831"/>
                  </a:lnTo>
                  <a:lnTo>
                    <a:pt x="1583144" y="197447"/>
                  </a:lnTo>
                  <a:lnTo>
                    <a:pt x="1583144" y="198831"/>
                  </a:lnTo>
                  <a:lnTo>
                    <a:pt x="1583144" y="197447"/>
                  </a:lnTo>
                  <a:lnTo>
                    <a:pt x="1583195" y="197447"/>
                  </a:lnTo>
                  <a:lnTo>
                    <a:pt x="1583195" y="196113"/>
                  </a:lnTo>
                  <a:lnTo>
                    <a:pt x="1583195" y="196799"/>
                  </a:lnTo>
                  <a:lnTo>
                    <a:pt x="1583195" y="196113"/>
                  </a:lnTo>
                  <a:lnTo>
                    <a:pt x="1583246" y="195415"/>
                  </a:lnTo>
                  <a:lnTo>
                    <a:pt x="1583246" y="196113"/>
                  </a:lnTo>
                  <a:lnTo>
                    <a:pt x="1583246" y="194716"/>
                  </a:lnTo>
                  <a:lnTo>
                    <a:pt x="1583246" y="196799"/>
                  </a:lnTo>
                  <a:lnTo>
                    <a:pt x="1583284" y="196799"/>
                  </a:lnTo>
                  <a:lnTo>
                    <a:pt x="1583284" y="194716"/>
                  </a:lnTo>
                  <a:lnTo>
                    <a:pt x="1583284" y="197447"/>
                  </a:lnTo>
                  <a:lnTo>
                    <a:pt x="1583284" y="196799"/>
                  </a:lnTo>
                  <a:lnTo>
                    <a:pt x="1583284" y="197447"/>
                  </a:lnTo>
                  <a:lnTo>
                    <a:pt x="1583284" y="196799"/>
                  </a:lnTo>
                  <a:lnTo>
                    <a:pt x="1583386" y="196799"/>
                  </a:lnTo>
                  <a:lnTo>
                    <a:pt x="1583386" y="196113"/>
                  </a:lnTo>
                  <a:lnTo>
                    <a:pt x="1583386" y="197447"/>
                  </a:lnTo>
                  <a:lnTo>
                    <a:pt x="1583437" y="197447"/>
                  </a:lnTo>
                  <a:lnTo>
                    <a:pt x="1583437" y="196799"/>
                  </a:lnTo>
                  <a:lnTo>
                    <a:pt x="1583437" y="197447"/>
                  </a:lnTo>
                  <a:lnTo>
                    <a:pt x="1583437" y="196799"/>
                  </a:lnTo>
                  <a:lnTo>
                    <a:pt x="1583487" y="196799"/>
                  </a:lnTo>
                  <a:lnTo>
                    <a:pt x="1583487" y="198831"/>
                  </a:lnTo>
                  <a:lnTo>
                    <a:pt x="1583589" y="197447"/>
                  </a:lnTo>
                  <a:lnTo>
                    <a:pt x="1583589" y="198831"/>
                  </a:lnTo>
                  <a:lnTo>
                    <a:pt x="1583589" y="197447"/>
                  </a:lnTo>
                  <a:lnTo>
                    <a:pt x="1583589" y="198831"/>
                  </a:lnTo>
                  <a:lnTo>
                    <a:pt x="1583589" y="197447"/>
                  </a:lnTo>
                  <a:lnTo>
                    <a:pt x="1583640" y="197447"/>
                  </a:lnTo>
                  <a:lnTo>
                    <a:pt x="1583640" y="198831"/>
                  </a:lnTo>
                  <a:lnTo>
                    <a:pt x="1583640" y="196799"/>
                  </a:lnTo>
                  <a:lnTo>
                    <a:pt x="1583640" y="197447"/>
                  </a:lnTo>
                  <a:lnTo>
                    <a:pt x="1583690" y="197447"/>
                  </a:lnTo>
                  <a:lnTo>
                    <a:pt x="1583690" y="195415"/>
                  </a:lnTo>
                  <a:lnTo>
                    <a:pt x="1583741" y="195415"/>
                  </a:lnTo>
                  <a:lnTo>
                    <a:pt x="1583741" y="193383"/>
                  </a:lnTo>
                  <a:lnTo>
                    <a:pt x="1583741" y="195415"/>
                  </a:lnTo>
                  <a:lnTo>
                    <a:pt x="1583741" y="194716"/>
                  </a:lnTo>
                  <a:lnTo>
                    <a:pt x="1583741" y="195415"/>
                  </a:lnTo>
                  <a:lnTo>
                    <a:pt x="1583830" y="195415"/>
                  </a:lnTo>
                  <a:lnTo>
                    <a:pt x="1583830" y="192684"/>
                  </a:lnTo>
                  <a:lnTo>
                    <a:pt x="1583830" y="196113"/>
                  </a:lnTo>
                  <a:lnTo>
                    <a:pt x="1583830" y="195415"/>
                  </a:lnTo>
                  <a:lnTo>
                    <a:pt x="1583881" y="195415"/>
                  </a:lnTo>
                  <a:lnTo>
                    <a:pt x="1583881" y="196113"/>
                  </a:lnTo>
                  <a:lnTo>
                    <a:pt x="1583881" y="194716"/>
                  </a:lnTo>
                  <a:lnTo>
                    <a:pt x="1583881" y="196799"/>
                  </a:lnTo>
                  <a:lnTo>
                    <a:pt x="1583881" y="196113"/>
                  </a:lnTo>
                  <a:lnTo>
                    <a:pt x="1583932" y="196113"/>
                  </a:lnTo>
                  <a:lnTo>
                    <a:pt x="1583932" y="196799"/>
                  </a:lnTo>
                  <a:lnTo>
                    <a:pt x="1583932" y="196113"/>
                  </a:lnTo>
                  <a:lnTo>
                    <a:pt x="1583983" y="196113"/>
                  </a:lnTo>
                  <a:lnTo>
                    <a:pt x="1583983" y="197447"/>
                  </a:lnTo>
                  <a:lnTo>
                    <a:pt x="1583983" y="196799"/>
                  </a:lnTo>
                  <a:lnTo>
                    <a:pt x="1583983" y="197447"/>
                  </a:lnTo>
                  <a:lnTo>
                    <a:pt x="1584084" y="197447"/>
                  </a:lnTo>
                  <a:lnTo>
                    <a:pt x="1584084" y="198831"/>
                  </a:lnTo>
                  <a:lnTo>
                    <a:pt x="1584084" y="197447"/>
                  </a:lnTo>
                  <a:lnTo>
                    <a:pt x="1584084" y="198831"/>
                  </a:lnTo>
                  <a:lnTo>
                    <a:pt x="1584084" y="197447"/>
                  </a:lnTo>
                  <a:lnTo>
                    <a:pt x="1584135" y="198831"/>
                  </a:lnTo>
                  <a:lnTo>
                    <a:pt x="1584135" y="197447"/>
                  </a:lnTo>
                  <a:lnTo>
                    <a:pt x="1584135" y="198831"/>
                  </a:lnTo>
                  <a:lnTo>
                    <a:pt x="1584135" y="197447"/>
                  </a:lnTo>
                  <a:lnTo>
                    <a:pt x="1584186" y="197447"/>
                  </a:lnTo>
                  <a:lnTo>
                    <a:pt x="1584186" y="195415"/>
                  </a:lnTo>
                  <a:lnTo>
                    <a:pt x="1584287" y="195415"/>
                  </a:lnTo>
                  <a:lnTo>
                    <a:pt x="1584287" y="194716"/>
                  </a:lnTo>
                  <a:lnTo>
                    <a:pt x="1584287" y="196113"/>
                  </a:lnTo>
                  <a:lnTo>
                    <a:pt x="1584287" y="195415"/>
                  </a:lnTo>
                  <a:lnTo>
                    <a:pt x="1584325" y="194716"/>
                  </a:lnTo>
                  <a:lnTo>
                    <a:pt x="1584325" y="196799"/>
                  </a:lnTo>
                  <a:lnTo>
                    <a:pt x="1584325" y="196113"/>
                  </a:lnTo>
                  <a:lnTo>
                    <a:pt x="1584325" y="196799"/>
                  </a:lnTo>
                  <a:lnTo>
                    <a:pt x="1584325" y="196113"/>
                  </a:lnTo>
                  <a:lnTo>
                    <a:pt x="1584325" y="196799"/>
                  </a:lnTo>
                  <a:lnTo>
                    <a:pt x="1584325" y="196113"/>
                  </a:lnTo>
                  <a:lnTo>
                    <a:pt x="1584376" y="195415"/>
                  </a:lnTo>
                  <a:lnTo>
                    <a:pt x="1584376" y="194716"/>
                  </a:lnTo>
                  <a:lnTo>
                    <a:pt x="1584376" y="196799"/>
                  </a:lnTo>
                  <a:lnTo>
                    <a:pt x="1584376" y="196113"/>
                  </a:lnTo>
                  <a:lnTo>
                    <a:pt x="1584427" y="196113"/>
                  </a:lnTo>
                  <a:lnTo>
                    <a:pt x="1584427" y="195415"/>
                  </a:lnTo>
                  <a:lnTo>
                    <a:pt x="1584427" y="196113"/>
                  </a:lnTo>
                  <a:lnTo>
                    <a:pt x="1584529" y="196113"/>
                  </a:lnTo>
                  <a:lnTo>
                    <a:pt x="1584529" y="196799"/>
                  </a:lnTo>
                  <a:lnTo>
                    <a:pt x="1584529" y="196113"/>
                  </a:lnTo>
                  <a:lnTo>
                    <a:pt x="1584529" y="196799"/>
                  </a:lnTo>
                  <a:lnTo>
                    <a:pt x="1584529" y="196113"/>
                  </a:lnTo>
                  <a:lnTo>
                    <a:pt x="1584529" y="196799"/>
                  </a:lnTo>
                  <a:lnTo>
                    <a:pt x="1584529" y="196113"/>
                  </a:lnTo>
                  <a:lnTo>
                    <a:pt x="1584529" y="196799"/>
                  </a:lnTo>
                  <a:lnTo>
                    <a:pt x="1584529" y="196113"/>
                  </a:lnTo>
                  <a:lnTo>
                    <a:pt x="1584580" y="196799"/>
                  </a:lnTo>
                  <a:lnTo>
                    <a:pt x="1584580" y="196113"/>
                  </a:lnTo>
                  <a:lnTo>
                    <a:pt x="1584580" y="196799"/>
                  </a:lnTo>
                  <a:lnTo>
                    <a:pt x="1584630" y="196799"/>
                  </a:lnTo>
                  <a:lnTo>
                    <a:pt x="1584630" y="196113"/>
                  </a:lnTo>
                  <a:lnTo>
                    <a:pt x="1584732" y="196113"/>
                  </a:lnTo>
                  <a:lnTo>
                    <a:pt x="1584732" y="196799"/>
                  </a:lnTo>
                  <a:lnTo>
                    <a:pt x="1584732" y="194716"/>
                  </a:lnTo>
                  <a:lnTo>
                    <a:pt x="1584783" y="194716"/>
                  </a:lnTo>
                  <a:lnTo>
                    <a:pt x="1584783" y="196799"/>
                  </a:lnTo>
                  <a:lnTo>
                    <a:pt x="1584783" y="194716"/>
                  </a:lnTo>
                  <a:lnTo>
                    <a:pt x="1584783" y="195415"/>
                  </a:lnTo>
                  <a:lnTo>
                    <a:pt x="1584834" y="196113"/>
                  </a:lnTo>
                  <a:lnTo>
                    <a:pt x="1584834" y="197447"/>
                  </a:lnTo>
                  <a:lnTo>
                    <a:pt x="1584834" y="196113"/>
                  </a:lnTo>
                  <a:lnTo>
                    <a:pt x="1584834" y="196799"/>
                  </a:lnTo>
                  <a:lnTo>
                    <a:pt x="1584872" y="196799"/>
                  </a:lnTo>
                  <a:lnTo>
                    <a:pt x="1584872" y="197447"/>
                  </a:lnTo>
                  <a:lnTo>
                    <a:pt x="1584872" y="196799"/>
                  </a:lnTo>
                  <a:lnTo>
                    <a:pt x="1584872" y="197447"/>
                  </a:lnTo>
                  <a:lnTo>
                    <a:pt x="1584872" y="196113"/>
                  </a:lnTo>
                  <a:lnTo>
                    <a:pt x="1584872" y="196799"/>
                  </a:lnTo>
                  <a:lnTo>
                    <a:pt x="1584973" y="196799"/>
                  </a:lnTo>
                  <a:lnTo>
                    <a:pt x="1584973" y="197447"/>
                  </a:lnTo>
                  <a:lnTo>
                    <a:pt x="1584973" y="196799"/>
                  </a:lnTo>
                  <a:lnTo>
                    <a:pt x="1584973" y="197447"/>
                  </a:lnTo>
                  <a:lnTo>
                    <a:pt x="1584973" y="196799"/>
                  </a:lnTo>
                  <a:lnTo>
                    <a:pt x="1585024" y="196799"/>
                  </a:lnTo>
                  <a:lnTo>
                    <a:pt x="1585024" y="197447"/>
                  </a:lnTo>
                  <a:lnTo>
                    <a:pt x="1585024" y="196799"/>
                  </a:lnTo>
                  <a:lnTo>
                    <a:pt x="1585024" y="197447"/>
                  </a:lnTo>
                  <a:lnTo>
                    <a:pt x="1585075" y="197447"/>
                  </a:lnTo>
                  <a:lnTo>
                    <a:pt x="1585075" y="196799"/>
                  </a:lnTo>
                  <a:lnTo>
                    <a:pt x="1585075" y="197447"/>
                  </a:lnTo>
                  <a:lnTo>
                    <a:pt x="1585075" y="196799"/>
                  </a:lnTo>
                  <a:lnTo>
                    <a:pt x="1585075" y="197447"/>
                  </a:lnTo>
                  <a:lnTo>
                    <a:pt x="1585176" y="197447"/>
                  </a:lnTo>
                  <a:lnTo>
                    <a:pt x="1585176" y="196113"/>
                  </a:lnTo>
                  <a:lnTo>
                    <a:pt x="1585176" y="196799"/>
                  </a:lnTo>
                  <a:lnTo>
                    <a:pt x="1585176" y="196113"/>
                  </a:lnTo>
                  <a:lnTo>
                    <a:pt x="1585176" y="196799"/>
                  </a:lnTo>
                  <a:lnTo>
                    <a:pt x="1585176" y="195415"/>
                  </a:lnTo>
                  <a:lnTo>
                    <a:pt x="1585227" y="195415"/>
                  </a:lnTo>
                  <a:lnTo>
                    <a:pt x="1585227" y="196113"/>
                  </a:lnTo>
                  <a:lnTo>
                    <a:pt x="1585227" y="194716"/>
                  </a:lnTo>
                  <a:lnTo>
                    <a:pt x="1585227" y="196799"/>
                  </a:lnTo>
                  <a:lnTo>
                    <a:pt x="1585278" y="196799"/>
                  </a:lnTo>
                  <a:lnTo>
                    <a:pt x="1585278" y="197447"/>
                  </a:lnTo>
                  <a:lnTo>
                    <a:pt x="1585278" y="195415"/>
                  </a:lnTo>
                  <a:lnTo>
                    <a:pt x="1585278" y="199530"/>
                  </a:lnTo>
                  <a:lnTo>
                    <a:pt x="1585329" y="199530"/>
                  </a:lnTo>
                  <a:lnTo>
                    <a:pt x="1585329" y="196799"/>
                  </a:lnTo>
                  <a:lnTo>
                    <a:pt x="1585329" y="198831"/>
                  </a:lnTo>
                  <a:lnTo>
                    <a:pt x="1585418" y="198831"/>
                  </a:lnTo>
                  <a:lnTo>
                    <a:pt x="1585418" y="197447"/>
                  </a:lnTo>
                  <a:lnTo>
                    <a:pt x="1585418" y="198831"/>
                  </a:lnTo>
                  <a:lnTo>
                    <a:pt x="1585418" y="197447"/>
                  </a:lnTo>
                  <a:lnTo>
                    <a:pt x="1585418" y="198831"/>
                  </a:lnTo>
                  <a:lnTo>
                    <a:pt x="1585469" y="198831"/>
                  </a:lnTo>
                  <a:lnTo>
                    <a:pt x="1585469" y="197447"/>
                  </a:lnTo>
                  <a:lnTo>
                    <a:pt x="1585469" y="198831"/>
                  </a:lnTo>
                  <a:lnTo>
                    <a:pt x="1585469" y="197447"/>
                  </a:lnTo>
                  <a:lnTo>
                    <a:pt x="1585519" y="197447"/>
                  </a:lnTo>
                  <a:lnTo>
                    <a:pt x="1585519" y="198831"/>
                  </a:lnTo>
                  <a:lnTo>
                    <a:pt x="1585519" y="197447"/>
                  </a:lnTo>
                  <a:lnTo>
                    <a:pt x="1585519" y="198831"/>
                  </a:lnTo>
                  <a:lnTo>
                    <a:pt x="1585519" y="197447"/>
                  </a:lnTo>
                  <a:lnTo>
                    <a:pt x="1585519" y="198831"/>
                  </a:lnTo>
                  <a:lnTo>
                    <a:pt x="1585519" y="197447"/>
                  </a:lnTo>
                  <a:lnTo>
                    <a:pt x="1585519" y="198831"/>
                  </a:lnTo>
                  <a:lnTo>
                    <a:pt x="1585519" y="197447"/>
                  </a:lnTo>
                  <a:lnTo>
                    <a:pt x="1585570" y="197447"/>
                  </a:lnTo>
                  <a:lnTo>
                    <a:pt x="1585570" y="196799"/>
                  </a:lnTo>
                  <a:lnTo>
                    <a:pt x="1585570" y="197447"/>
                  </a:lnTo>
                  <a:lnTo>
                    <a:pt x="1585570" y="196799"/>
                  </a:lnTo>
                  <a:lnTo>
                    <a:pt x="1585570" y="197447"/>
                  </a:lnTo>
                  <a:lnTo>
                    <a:pt x="1585570" y="196799"/>
                  </a:lnTo>
                  <a:lnTo>
                    <a:pt x="1585672" y="196799"/>
                  </a:lnTo>
                  <a:lnTo>
                    <a:pt x="1585672" y="194716"/>
                  </a:lnTo>
                  <a:lnTo>
                    <a:pt x="1585722" y="194716"/>
                  </a:lnTo>
                  <a:lnTo>
                    <a:pt x="1585722" y="195415"/>
                  </a:lnTo>
                  <a:lnTo>
                    <a:pt x="1585722" y="193383"/>
                  </a:lnTo>
                  <a:lnTo>
                    <a:pt x="1585722" y="196113"/>
                  </a:lnTo>
                  <a:lnTo>
                    <a:pt x="1585722" y="195415"/>
                  </a:lnTo>
                  <a:lnTo>
                    <a:pt x="1585773" y="195415"/>
                  </a:lnTo>
                  <a:lnTo>
                    <a:pt x="1585773" y="193383"/>
                  </a:lnTo>
                  <a:lnTo>
                    <a:pt x="1585773" y="196799"/>
                  </a:lnTo>
                  <a:lnTo>
                    <a:pt x="1585875" y="196799"/>
                  </a:lnTo>
                  <a:lnTo>
                    <a:pt x="1585875" y="195415"/>
                  </a:lnTo>
                  <a:lnTo>
                    <a:pt x="1585875" y="196799"/>
                  </a:lnTo>
                  <a:lnTo>
                    <a:pt x="1585913" y="196799"/>
                  </a:lnTo>
                  <a:lnTo>
                    <a:pt x="1585913" y="197447"/>
                  </a:lnTo>
                  <a:lnTo>
                    <a:pt x="1585913" y="196799"/>
                  </a:lnTo>
                  <a:lnTo>
                    <a:pt x="1585913" y="197447"/>
                  </a:lnTo>
                  <a:lnTo>
                    <a:pt x="1585913" y="196799"/>
                  </a:lnTo>
                  <a:lnTo>
                    <a:pt x="1585913" y="197447"/>
                  </a:lnTo>
                  <a:lnTo>
                    <a:pt x="1585913" y="196799"/>
                  </a:lnTo>
                  <a:lnTo>
                    <a:pt x="1585913" y="197447"/>
                  </a:lnTo>
                  <a:lnTo>
                    <a:pt x="1585913" y="196799"/>
                  </a:lnTo>
                  <a:lnTo>
                    <a:pt x="1585913" y="197447"/>
                  </a:lnTo>
                  <a:lnTo>
                    <a:pt x="1585964" y="197447"/>
                  </a:lnTo>
                  <a:lnTo>
                    <a:pt x="1585964" y="196799"/>
                  </a:lnTo>
                  <a:lnTo>
                    <a:pt x="1585964" y="198831"/>
                  </a:lnTo>
                  <a:lnTo>
                    <a:pt x="1585964" y="197447"/>
                  </a:lnTo>
                  <a:lnTo>
                    <a:pt x="1585964" y="198831"/>
                  </a:lnTo>
                  <a:lnTo>
                    <a:pt x="1586015" y="198831"/>
                  </a:lnTo>
                  <a:lnTo>
                    <a:pt x="1586015" y="197447"/>
                  </a:lnTo>
                  <a:lnTo>
                    <a:pt x="1586015" y="198831"/>
                  </a:lnTo>
                  <a:lnTo>
                    <a:pt x="1586015" y="197447"/>
                  </a:lnTo>
                  <a:lnTo>
                    <a:pt x="1586015" y="198831"/>
                  </a:lnTo>
                  <a:lnTo>
                    <a:pt x="1586015" y="197447"/>
                  </a:lnTo>
                  <a:lnTo>
                    <a:pt x="1586015" y="198831"/>
                  </a:lnTo>
                  <a:lnTo>
                    <a:pt x="1586015" y="197447"/>
                  </a:lnTo>
                  <a:lnTo>
                    <a:pt x="1586015" y="198831"/>
                  </a:lnTo>
                  <a:lnTo>
                    <a:pt x="1586116" y="197447"/>
                  </a:lnTo>
                  <a:lnTo>
                    <a:pt x="1586116" y="196799"/>
                  </a:lnTo>
                  <a:lnTo>
                    <a:pt x="1586116" y="197447"/>
                  </a:lnTo>
                  <a:lnTo>
                    <a:pt x="1586116" y="196799"/>
                  </a:lnTo>
                  <a:lnTo>
                    <a:pt x="1586167" y="196799"/>
                  </a:lnTo>
                  <a:lnTo>
                    <a:pt x="1586167" y="196113"/>
                  </a:lnTo>
                  <a:lnTo>
                    <a:pt x="1586167" y="196799"/>
                  </a:lnTo>
                  <a:lnTo>
                    <a:pt x="1586167" y="195415"/>
                  </a:lnTo>
                  <a:lnTo>
                    <a:pt x="1586218" y="195415"/>
                  </a:lnTo>
                  <a:lnTo>
                    <a:pt x="1586218" y="194716"/>
                  </a:lnTo>
                  <a:lnTo>
                    <a:pt x="1586218" y="196113"/>
                  </a:lnTo>
                  <a:lnTo>
                    <a:pt x="1586218" y="195415"/>
                  </a:lnTo>
                  <a:lnTo>
                    <a:pt x="1586319" y="194716"/>
                  </a:lnTo>
                  <a:lnTo>
                    <a:pt x="1586319" y="196799"/>
                  </a:lnTo>
                  <a:lnTo>
                    <a:pt x="1586319" y="196113"/>
                  </a:lnTo>
                  <a:lnTo>
                    <a:pt x="1586370" y="196113"/>
                  </a:lnTo>
                  <a:lnTo>
                    <a:pt x="1586370" y="196799"/>
                  </a:lnTo>
                  <a:lnTo>
                    <a:pt x="1586370" y="196113"/>
                  </a:lnTo>
                  <a:lnTo>
                    <a:pt x="1586421" y="196113"/>
                  </a:lnTo>
                  <a:lnTo>
                    <a:pt x="1586421" y="197447"/>
                  </a:lnTo>
                  <a:lnTo>
                    <a:pt x="1586421" y="196799"/>
                  </a:lnTo>
                  <a:lnTo>
                    <a:pt x="1586421" y="197447"/>
                  </a:lnTo>
                  <a:lnTo>
                    <a:pt x="1586421" y="196799"/>
                  </a:lnTo>
                  <a:lnTo>
                    <a:pt x="1586459" y="196799"/>
                  </a:lnTo>
                  <a:lnTo>
                    <a:pt x="1586459" y="198831"/>
                  </a:lnTo>
                  <a:lnTo>
                    <a:pt x="1586459" y="196799"/>
                  </a:lnTo>
                  <a:lnTo>
                    <a:pt x="1586459" y="197447"/>
                  </a:lnTo>
                  <a:lnTo>
                    <a:pt x="1586561" y="197447"/>
                  </a:lnTo>
                  <a:lnTo>
                    <a:pt x="1586561" y="198831"/>
                  </a:lnTo>
                  <a:lnTo>
                    <a:pt x="1586561" y="197447"/>
                  </a:lnTo>
                  <a:lnTo>
                    <a:pt x="1586561" y="198831"/>
                  </a:lnTo>
                  <a:lnTo>
                    <a:pt x="1586612" y="198831"/>
                  </a:lnTo>
                  <a:lnTo>
                    <a:pt x="1586612" y="196799"/>
                  </a:lnTo>
                  <a:lnTo>
                    <a:pt x="1586612" y="197447"/>
                  </a:lnTo>
                  <a:lnTo>
                    <a:pt x="1586612" y="196799"/>
                  </a:lnTo>
                  <a:lnTo>
                    <a:pt x="1586612" y="197447"/>
                  </a:lnTo>
                  <a:lnTo>
                    <a:pt x="1586612" y="196799"/>
                  </a:lnTo>
                  <a:lnTo>
                    <a:pt x="1586662" y="196113"/>
                  </a:lnTo>
                  <a:lnTo>
                    <a:pt x="1586662" y="196799"/>
                  </a:lnTo>
                  <a:lnTo>
                    <a:pt x="1586662" y="195415"/>
                  </a:lnTo>
                  <a:lnTo>
                    <a:pt x="1586662" y="196113"/>
                  </a:lnTo>
                  <a:lnTo>
                    <a:pt x="1586662" y="194716"/>
                  </a:lnTo>
                  <a:lnTo>
                    <a:pt x="1586764" y="195415"/>
                  </a:lnTo>
                  <a:lnTo>
                    <a:pt x="1586764" y="193383"/>
                  </a:lnTo>
                  <a:lnTo>
                    <a:pt x="1586764" y="195415"/>
                  </a:lnTo>
                  <a:lnTo>
                    <a:pt x="1586764" y="194716"/>
                  </a:lnTo>
                  <a:lnTo>
                    <a:pt x="1586815" y="194716"/>
                  </a:lnTo>
                  <a:lnTo>
                    <a:pt x="1586815" y="193383"/>
                  </a:lnTo>
                  <a:lnTo>
                    <a:pt x="1586815" y="196113"/>
                  </a:lnTo>
                  <a:lnTo>
                    <a:pt x="1586815" y="195415"/>
                  </a:lnTo>
                  <a:lnTo>
                    <a:pt x="1586865" y="195415"/>
                  </a:lnTo>
                  <a:lnTo>
                    <a:pt x="1586865" y="196113"/>
                  </a:lnTo>
                  <a:lnTo>
                    <a:pt x="1586865" y="195415"/>
                  </a:lnTo>
                  <a:lnTo>
                    <a:pt x="1586865" y="196113"/>
                  </a:lnTo>
                  <a:lnTo>
                    <a:pt x="1586865" y="195415"/>
                  </a:lnTo>
                  <a:lnTo>
                    <a:pt x="1586865" y="196113"/>
                  </a:lnTo>
                  <a:lnTo>
                    <a:pt x="1586916" y="195415"/>
                  </a:lnTo>
                  <a:lnTo>
                    <a:pt x="1586916" y="196799"/>
                  </a:lnTo>
                  <a:lnTo>
                    <a:pt x="1586916" y="196113"/>
                  </a:lnTo>
                  <a:lnTo>
                    <a:pt x="1586916" y="196799"/>
                  </a:lnTo>
                  <a:lnTo>
                    <a:pt x="1586916" y="196113"/>
                  </a:lnTo>
                  <a:lnTo>
                    <a:pt x="1587005" y="196799"/>
                  </a:lnTo>
                  <a:lnTo>
                    <a:pt x="1587005" y="197447"/>
                  </a:lnTo>
                  <a:lnTo>
                    <a:pt x="1587005" y="196799"/>
                  </a:lnTo>
                  <a:lnTo>
                    <a:pt x="1587005" y="197447"/>
                  </a:lnTo>
                  <a:lnTo>
                    <a:pt x="1587005" y="196799"/>
                  </a:lnTo>
                  <a:lnTo>
                    <a:pt x="1587005" y="197447"/>
                  </a:lnTo>
                  <a:lnTo>
                    <a:pt x="1587056" y="197447"/>
                  </a:lnTo>
                  <a:lnTo>
                    <a:pt x="1587056" y="196799"/>
                  </a:lnTo>
                  <a:lnTo>
                    <a:pt x="1587107" y="196799"/>
                  </a:lnTo>
                  <a:lnTo>
                    <a:pt x="1587107" y="197447"/>
                  </a:lnTo>
                  <a:lnTo>
                    <a:pt x="1587107" y="196799"/>
                  </a:lnTo>
                  <a:lnTo>
                    <a:pt x="1587158" y="196799"/>
                  </a:lnTo>
                  <a:lnTo>
                    <a:pt x="1587158" y="194716"/>
                  </a:lnTo>
                  <a:lnTo>
                    <a:pt x="1587259" y="194716"/>
                  </a:lnTo>
                  <a:lnTo>
                    <a:pt x="1587259" y="193383"/>
                  </a:lnTo>
                  <a:lnTo>
                    <a:pt x="1587259" y="195415"/>
                  </a:lnTo>
                  <a:lnTo>
                    <a:pt x="1587259" y="193383"/>
                  </a:lnTo>
                  <a:lnTo>
                    <a:pt x="1587310" y="193383"/>
                  </a:lnTo>
                  <a:lnTo>
                    <a:pt x="1587310" y="196113"/>
                  </a:lnTo>
                  <a:lnTo>
                    <a:pt x="1587310" y="194716"/>
                  </a:lnTo>
                  <a:lnTo>
                    <a:pt x="1587361" y="193383"/>
                  </a:lnTo>
                  <a:lnTo>
                    <a:pt x="1587361" y="196113"/>
                  </a:lnTo>
                  <a:lnTo>
                    <a:pt x="1587361" y="194716"/>
                  </a:lnTo>
                  <a:lnTo>
                    <a:pt x="1587361" y="195415"/>
                  </a:lnTo>
                  <a:lnTo>
                    <a:pt x="1587462" y="195415"/>
                  </a:lnTo>
                  <a:lnTo>
                    <a:pt x="1587500" y="196113"/>
                  </a:lnTo>
                  <a:lnTo>
                    <a:pt x="1587500" y="196799"/>
                  </a:lnTo>
                  <a:lnTo>
                    <a:pt x="1587551" y="196799"/>
                  </a:lnTo>
                  <a:lnTo>
                    <a:pt x="1587551" y="196113"/>
                  </a:lnTo>
                  <a:lnTo>
                    <a:pt x="1587551" y="197447"/>
                  </a:lnTo>
                  <a:lnTo>
                    <a:pt x="1587551" y="196799"/>
                  </a:lnTo>
                  <a:lnTo>
                    <a:pt x="1587602" y="196799"/>
                  </a:lnTo>
                  <a:lnTo>
                    <a:pt x="1587602" y="196113"/>
                  </a:lnTo>
                  <a:lnTo>
                    <a:pt x="1587602" y="196799"/>
                  </a:lnTo>
                  <a:lnTo>
                    <a:pt x="1587602" y="195415"/>
                  </a:lnTo>
                  <a:lnTo>
                    <a:pt x="1587602" y="196113"/>
                  </a:lnTo>
                  <a:lnTo>
                    <a:pt x="1587704" y="196113"/>
                  </a:lnTo>
                  <a:lnTo>
                    <a:pt x="1587704" y="195415"/>
                  </a:lnTo>
                  <a:lnTo>
                    <a:pt x="1587704" y="196113"/>
                  </a:lnTo>
                  <a:lnTo>
                    <a:pt x="1587704" y="194716"/>
                  </a:lnTo>
                  <a:lnTo>
                    <a:pt x="1587704" y="195415"/>
                  </a:lnTo>
                  <a:lnTo>
                    <a:pt x="1587704" y="194716"/>
                  </a:lnTo>
                  <a:lnTo>
                    <a:pt x="1587755" y="195415"/>
                  </a:lnTo>
                  <a:lnTo>
                    <a:pt x="1587755" y="196113"/>
                  </a:lnTo>
                  <a:lnTo>
                    <a:pt x="1587755" y="194716"/>
                  </a:lnTo>
                  <a:lnTo>
                    <a:pt x="1587755" y="196113"/>
                  </a:lnTo>
                  <a:lnTo>
                    <a:pt x="1587805" y="196113"/>
                  </a:lnTo>
                  <a:lnTo>
                    <a:pt x="1587805" y="196799"/>
                  </a:lnTo>
                  <a:lnTo>
                    <a:pt x="1587805" y="196113"/>
                  </a:lnTo>
                  <a:lnTo>
                    <a:pt x="1587805" y="196799"/>
                  </a:lnTo>
                  <a:lnTo>
                    <a:pt x="1587805" y="195415"/>
                  </a:lnTo>
                  <a:lnTo>
                    <a:pt x="1587805" y="196113"/>
                  </a:lnTo>
                  <a:lnTo>
                    <a:pt x="1587805" y="195415"/>
                  </a:lnTo>
                  <a:lnTo>
                    <a:pt x="1587805" y="196113"/>
                  </a:lnTo>
                  <a:lnTo>
                    <a:pt x="1587907" y="196799"/>
                  </a:lnTo>
                  <a:lnTo>
                    <a:pt x="1587907" y="196113"/>
                  </a:lnTo>
                  <a:lnTo>
                    <a:pt x="1587907" y="196799"/>
                  </a:lnTo>
                  <a:lnTo>
                    <a:pt x="1587907" y="196113"/>
                  </a:lnTo>
                  <a:lnTo>
                    <a:pt x="1587958" y="196113"/>
                  </a:lnTo>
                  <a:lnTo>
                    <a:pt x="1587958" y="196799"/>
                  </a:lnTo>
                  <a:lnTo>
                    <a:pt x="1587958" y="196113"/>
                  </a:lnTo>
                  <a:lnTo>
                    <a:pt x="1587958" y="196799"/>
                  </a:lnTo>
                  <a:lnTo>
                    <a:pt x="1587958" y="196113"/>
                  </a:lnTo>
                  <a:lnTo>
                    <a:pt x="1588009" y="196113"/>
                  </a:lnTo>
                  <a:lnTo>
                    <a:pt x="1588009" y="197447"/>
                  </a:lnTo>
                  <a:lnTo>
                    <a:pt x="1588009" y="196799"/>
                  </a:lnTo>
                  <a:lnTo>
                    <a:pt x="1588047" y="196799"/>
                  </a:lnTo>
                  <a:lnTo>
                    <a:pt x="1588047" y="197447"/>
                  </a:lnTo>
                  <a:lnTo>
                    <a:pt x="1588047" y="196799"/>
                  </a:lnTo>
                  <a:lnTo>
                    <a:pt x="1588047" y="197447"/>
                  </a:lnTo>
                  <a:lnTo>
                    <a:pt x="1588047" y="196799"/>
                  </a:lnTo>
                  <a:lnTo>
                    <a:pt x="1588148" y="196799"/>
                  </a:lnTo>
                  <a:lnTo>
                    <a:pt x="1588148" y="196113"/>
                  </a:lnTo>
                  <a:lnTo>
                    <a:pt x="1588148" y="196799"/>
                  </a:lnTo>
                  <a:lnTo>
                    <a:pt x="1588148" y="196113"/>
                  </a:lnTo>
                  <a:lnTo>
                    <a:pt x="1588199" y="196113"/>
                  </a:lnTo>
                  <a:lnTo>
                    <a:pt x="1588199" y="195415"/>
                  </a:lnTo>
                  <a:lnTo>
                    <a:pt x="1588199" y="196113"/>
                  </a:lnTo>
                  <a:lnTo>
                    <a:pt x="1588199" y="195415"/>
                  </a:lnTo>
                  <a:lnTo>
                    <a:pt x="1588199" y="196113"/>
                  </a:lnTo>
                  <a:lnTo>
                    <a:pt x="1588199" y="195415"/>
                  </a:lnTo>
                  <a:lnTo>
                    <a:pt x="1588199" y="196799"/>
                  </a:lnTo>
                  <a:lnTo>
                    <a:pt x="1588250" y="196799"/>
                  </a:lnTo>
                  <a:lnTo>
                    <a:pt x="1588250" y="197447"/>
                  </a:lnTo>
                  <a:lnTo>
                    <a:pt x="1588250" y="195415"/>
                  </a:lnTo>
                  <a:lnTo>
                    <a:pt x="1588250" y="197447"/>
                  </a:lnTo>
                  <a:lnTo>
                    <a:pt x="1588351" y="197447"/>
                  </a:lnTo>
                  <a:lnTo>
                    <a:pt x="1588351" y="196799"/>
                  </a:lnTo>
                  <a:lnTo>
                    <a:pt x="1588351" y="198831"/>
                  </a:lnTo>
                  <a:lnTo>
                    <a:pt x="1588351" y="197447"/>
                  </a:lnTo>
                  <a:lnTo>
                    <a:pt x="1588351" y="198831"/>
                  </a:lnTo>
                  <a:lnTo>
                    <a:pt x="1588351" y="197447"/>
                  </a:lnTo>
                  <a:lnTo>
                    <a:pt x="1588351" y="198831"/>
                  </a:lnTo>
                  <a:lnTo>
                    <a:pt x="1588402" y="197447"/>
                  </a:lnTo>
                  <a:lnTo>
                    <a:pt x="1588402" y="196799"/>
                  </a:lnTo>
                  <a:lnTo>
                    <a:pt x="1588402" y="197447"/>
                  </a:lnTo>
                  <a:lnTo>
                    <a:pt x="1588453" y="198831"/>
                  </a:lnTo>
                  <a:lnTo>
                    <a:pt x="1588453" y="197447"/>
                  </a:lnTo>
                  <a:lnTo>
                    <a:pt x="1588453" y="198831"/>
                  </a:lnTo>
                  <a:lnTo>
                    <a:pt x="1588504" y="197447"/>
                  </a:lnTo>
                  <a:lnTo>
                    <a:pt x="1588504" y="198831"/>
                  </a:lnTo>
                  <a:lnTo>
                    <a:pt x="1588504" y="196799"/>
                  </a:lnTo>
                  <a:lnTo>
                    <a:pt x="1588504" y="197447"/>
                  </a:lnTo>
                  <a:lnTo>
                    <a:pt x="1588593" y="197447"/>
                  </a:lnTo>
                  <a:lnTo>
                    <a:pt x="1588593" y="196113"/>
                  </a:lnTo>
                  <a:lnTo>
                    <a:pt x="1588593" y="196799"/>
                  </a:lnTo>
                  <a:lnTo>
                    <a:pt x="1588644" y="196799"/>
                  </a:lnTo>
                  <a:lnTo>
                    <a:pt x="1588644" y="196113"/>
                  </a:lnTo>
                  <a:lnTo>
                    <a:pt x="1588644" y="196799"/>
                  </a:lnTo>
                  <a:lnTo>
                    <a:pt x="1588644" y="195415"/>
                  </a:lnTo>
                  <a:lnTo>
                    <a:pt x="1588644" y="196113"/>
                  </a:lnTo>
                  <a:lnTo>
                    <a:pt x="1588694" y="196113"/>
                  </a:lnTo>
                  <a:lnTo>
                    <a:pt x="1588694" y="195415"/>
                  </a:lnTo>
                  <a:lnTo>
                    <a:pt x="1588694" y="196799"/>
                  </a:lnTo>
                  <a:lnTo>
                    <a:pt x="1588694" y="195415"/>
                  </a:lnTo>
                  <a:lnTo>
                    <a:pt x="1588745" y="195415"/>
                  </a:lnTo>
                  <a:lnTo>
                    <a:pt x="1588745" y="197447"/>
                  </a:lnTo>
                  <a:lnTo>
                    <a:pt x="1588745" y="196799"/>
                  </a:lnTo>
                  <a:lnTo>
                    <a:pt x="1588847" y="196799"/>
                  </a:lnTo>
                  <a:lnTo>
                    <a:pt x="1588847" y="197447"/>
                  </a:lnTo>
                  <a:lnTo>
                    <a:pt x="1588847" y="196799"/>
                  </a:lnTo>
                  <a:lnTo>
                    <a:pt x="1588897" y="197447"/>
                  </a:lnTo>
                  <a:lnTo>
                    <a:pt x="1588897" y="198831"/>
                  </a:lnTo>
                  <a:lnTo>
                    <a:pt x="1588897" y="197447"/>
                  </a:lnTo>
                  <a:lnTo>
                    <a:pt x="1588897" y="198831"/>
                  </a:lnTo>
                  <a:lnTo>
                    <a:pt x="1588897" y="197447"/>
                  </a:lnTo>
                  <a:lnTo>
                    <a:pt x="1588897" y="198831"/>
                  </a:lnTo>
                  <a:lnTo>
                    <a:pt x="1588948" y="198831"/>
                  </a:lnTo>
                  <a:lnTo>
                    <a:pt x="1588948" y="197447"/>
                  </a:lnTo>
                  <a:lnTo>
                    <a:pt x="1588948" y="198831"/>
                  </a:lnTo>
                  <a:lnTo>
                    <a:pt x="1588948" y="197447"/>
                  </a:lnTo>
                  <a:lnTo>
                    <a:pt x="1588948" y="198831"/>
                  </a:lnTo>
                  <a:lnTo>
                    <a:pt x="1588948" y="197447"/>
                  </a:lnTo>
                  <a:lnTo>
                    <a:pt x="1589050" y="197447"/>
                  </a:lnTo>
                  <a:lnTo>
                    <a:pt x="1589050" y="198831"/>
                  </a:lnTo>
                  <a:lnTo>
                    <a:pt x="1589050" y="196799"/>
                  </a:lnTo>
                  <a:lnTo>
                    <a:pt x="1589050" y="197447"/>
                  </a:lnTo>
                  <a:lnTo>
                    <a:pt x="1589050" y="196799"/>
                  </a:lnTo>
                  <a:lnTo>
                    <a:pt x="1589050" y="197447"/>
                  </a:lnTo>
                  <a:lnTo>
                    <a:pt x="1589088" y="197447"/>
                  </a:lnTo>
                  <a:lnTo>
                    <a:pt x="1589088" y="196113"/>
                  </a:lnTo>
                  <a:lnTo>
                    <a:pt x="1589088" y="197447"/>
                  </a:lnTo>
                  <a:lnTo>
                    <a:pt x="1589088" y="196113"/>
                  </a:lnTo>
                  <a:lnTo>
                    <a:pt x="1589139" y="196113"/>
                  </a:lnTo>
                  <a:lnTo>
                    <a:pt x="1589139" y="195415"/>
                  </a:lnTo>
                  <a:lnTo>
                    <a:pt x="1589139" y="196113"/>
                  </a:lnTo>
                  <a:lnTo>
                    <a:pt x="1589139" y="195415"/>
                  </a:lnTo>
                  <a:lnTo>
                    <a:pt x="1589139" y="196799"/>
                  </a:lnTo>
                  <a:lnTo>
                    <a:pt x="1589190" y="196799"/>
                  </a:lnTo>
                  <a:lnTo>
                    <a:pt x="1589190" y="195415"/>
                  </a:lnTo>
                  <a:lnTo>
                    <a:pt x="1589190" y="197447"/>
                  </a:lnTo>
                  <a:lnTo>
                    <a:pt x="1589291" y="197447"/>
                  </a:lnTo>
                  <a:lnTo>
                    <a:pt x="1589291" y="196799"/>
                  </a:lnTo>
                  <a:lnTo>
                    <a:pt x="1589291" y="197447"/>
                  </a:lnTo>
                  <a:lnTo>
                    <a:pt x="1589342" y="197447"/>
                  </a:lnTo>
                  <a:lnTo>
                    <a:pt x="1589342" y="198831"/>
                  </a:lnTo>
                  <a:lnTo>
                    <a:pt x="1589393" y="198831"/>
                  </a:lnTo>
                  <a:lnTo>
                    <a:pt x="1589393" y="197447"/>
                  </a:lnTo>
                  <a:lnTo>
                    <a:pt x="1589393" y="198831"/>
                  </a:lnTo>
                  <a:lnTo>
                    <a:pt x="1589393" y="197447"/>
                  </a:lnTo>
                  <a:lnTo>
                    <a:pt x="1589393" y="198831"/>
                  </a:lnTo>
                  <a:lnTo>
                    <a:pt x="1589494" y="198831"/>
                  </a:lnTo>
                  <a:lnTo>
                    <a:pt x="1589494" y="197447"/>
                  </a:lnTo>
                  <a:lnTo>
                    <a:pt x="1589545" y="198831"/>
                  </a:lnTo>
                  <a:lnTo>
                    <a:pt x="1589545" y="197447"/>
                  </a:lnTo>
                  <a:lnTo>
                    <a:pt x="1589545" y="198831"/>
                  </a:lnTo>
                  <a:lnTo>
                    <a:pt x="1589545" y="197447"/>
                  </a:lnTo>
                  <a:lnTo>
                    <a:pt x="1589545" y="198831"/>
                  </a:lnTo>
                  <a:lnTo>
                    <a:pt x="1589545" y="196799"/>
                  </a:lnTo>
                  <a:lnTo>
                    <a:pt x="1589596" y="196799"/>
                  </a:lnTo>
                  <a:lnTo>
                    <a:pt x="1589596" y="195415"/>
                  </a:lnTo>
                  <a:lnTo>
                    <a:pt x="1589634" y="195415"/>
                  </a:lnTo>
                  <a:lnTo>
                    <a:pt x="1589634" y="193383"/>
                  </a:lnTo>
                  <a:lnTo>
                    <a:pt x="1589634" y="196113"/>
                  </a:lnTo>
                  <a:lnTo>
                    <a:pt x="1589736" y="196113"/>
                  </a:lnTo>
                  <a:lnTo>
                    <a:pt x="1589736" y="193383"/>
                  </a:lnTo>
                  <a:lnTo>
                    <a:pt x="1589736" y="196799"/>
                  </a:lnTo>
                  <a:lnTo>
                    <a:pt x="1589787" y="196799"/>
                  </a:lnTo>
                  <a:lnTo>
                    <a:pt x="1589787" y="195415"/>
                  </a:lnTo>
                  <a:lnTo>
                    <a:pt x="1589787" y="196799"/>
                  </a:lnTo>
                  <a:lnTo>
                    <a:pt x="1589837" y="196799"/>
                  </a:lnTo>
                  <a:lnTo>
                    <a:pt x="1589837" y="196113"/>
                  </a:lnTo>
                  <a:lnTo>
                    <a:pt x="1589837" y="196799"/>
                  </a:lnTo>
                  <a:lnTo>
                    <a:pt x="1589837" y="196113"/>
                  </a:lnTo>
                  <a:lnTo>
                    <a:pt x="1589837" y="196799"/>
                  </a:lnTo>
                  <a:lnTo>
                    <a:pt x="1589939" y="197447"/>
                  </a:lnTo>
                  <a:lnTo>
                    <a:pt x="1589939" y="196799"/>
                  </a:lnTo>
                  <a:lnTo>
                    <a:pt x="1589939" y="197447"/>
                  </a:lnTo>
                  <a:lnTo>
                    <a:pt x="1589990" y="197447"/>
                  </a:lnTo>
                  <a:lnTo>
                    <a:pt x="1589990" y="198831"/>
                  </a:lnTo>
                  <a:lnTo>
                    <a:pt x="1589990" y="197447"/>
                  </a:lnTo>
                  <a:lnTo>
                    <a:pt x="1589990" y="198831"/>
                  </a:lnTo>
                  <a:lnTo>
                    <a:pt x="1589990" y="197447"/>
                  </a:lnTo>
                  <a:lnTo>
                    <a:pt x="1589990" y="198831"/>
                  </a:lnTo>
                  <a:lnTo>
                    <a:pt x="1589990" y="197447"/>
                  </a:lnTo>
                  <a:lnTo>
                    <a:pt x="1590040" y="197447"/>
                  </a:lnTo>
                  <a:lnTo>
                    <a:pt x="1590040" y="198831"/>
                  </a:lnTo>
                  <a:lnTo>
                    <a:pt x="1590040" y="197447"/>
                  </a:lnTo>
                  <a:lnTo>
                    <a:pt x="1590040" y="198831"/>
                  </a:lnTo>
                  <a:lnTo>
                    <a:pt x="1590040" y="196799"/>
                  </a:lnTo>
                  <a:lnTo>
                    <a:pt x="1590091" y="196799"/>
                  </a:lnTo>
                  <a:lnTo>
                    <a:pt x="1590091" y="197447"/>
                  </a:lnTo>
                  <a:lnTo>
                    <a:pt x="1590091" y="196113"/>
                  </a:lnTo>
                  <a:lnTo>
                    <a:pt x="1590180" y="196113"/>
                  </a:lnTo>
                  <a:lnTo>
                    <a:pt x="1590180" y="195415"/>
                  </a:lnTo>
                  <a:lnTo>
                    <a:pt x="1590180" y="196113"/>
                  </a:lnTo>
                  <a:lnTo>
                    <a:pt x="1590180" y="194716"/>
                  </a:lnTo>
                  <a:lnTo>
                    <a:pt x="1590180" y="196799"/>
                  </a:lnTo>
                  <a:lnTo>
                    <a:pt x="1590180" y="196113"/>
                  </a:lnTo>
                  <a:lnTo>
                    <a:pt x="1590231" y="196113"/>
                  </a:lnTo>
                  <a:lnTo>
                    <a:pt x="1590231" y="193383"/>
                  </a:lnTo>
                  <a:lnTo>
                    <a:pt x="1590231" y="196799"/>
                  </a:lnTo>
                  <a:lnTo>
                    <a:pt x="1590231" y="196113"/>
                  </a:lnTo>
                  <a:lnTo>
                    <a:pt x="1590282" y="196113"/>
                  </a:lnTo>
                  <a:lnTo>
                    <a:pt x="1590282" y="195415"/>
                  </a:lnTo>
                  <a:lnTo>
                    <a:pt x="1590282" y="196799"/>
                  </a:lnTo>
                  <a:lnTo>
                    <a:pt x="1590282" y="196113"/>
                  </a:lnTo>
                  <a:lnTo>
                    <a:pt x="1590333" y="196113"/>
                  </a:lnTo>
                  <a:lnTo>
                    <a:pt x="1590333" y="196799"/>
                  </a:lnTo>
                  <a:lnTo>
                    <a:pt x="1590434" y="196113"/>
                  </a:lnTo>
                  <a:lnTo>
                    <a:pt x="1590434" y="197447"/>
                  </a:lnTo>
                  <a:lnTo>
                    <a:pt x="1590434" y="196113"/>
                  </a:lnTo>
                  <a:lnTo>
                    <a:pt x="1590434" y="196799"/>
                  </a:lnTo>
                  <a:lnTo>
                    <a:pt x="1590485" y="196799"/>
                  </a:lnTo>
                  <a:lnTo>
                    <a:pt x="1590485" y="196113"/>
                  </a:lnTo>
                  <a:lnTo>
                    <a:pt x="1590485" y="196799"/>
                  </a:lnTo>
                  <a:lnTo>
                    <a:pt x="1590536" y="196799"/>
                  </a:lnTo>
                  <a:lnTo>
                    <a:pt x="1590536" y="197447"/>
                  </a:lnTo>
                  <a:lnTo>
                    <a:pt x="1590536" y="196799"/>
                  </a:lnTo>
                  <a:lnTo>
                    <a:pt x="1590637" y="196799"/>
                  </a:lnTo>
                  <a:lnTo>
                    <a:pt x="1590637" y="195415"/>
                  </a:lnTo>
                  <a:lnTo>
                    <a:pt x="1590675" y="195415"/>
                  </a:lnTo>
                  <a:lnTo>
                    <a:pt x="1590675" y="196799"/>
                  </a:lnTo>
                  <a:lnTo>
                    <a:pt x="1590675" y="195415"/>
                  </a:lnTo>
                  <a:lnTo>
                    <a:pt x="1590675" y="196113"/>
                  </a:lnTo>
                  <a:lnTo>
                    <a:pt x="1590726" y="196113"/>
                  </a:lnTo>
                  <a:lnTo>
                    <a:pt x="1590726" y="197447"/>
                  </a:lnTo>
                  <a:lnTo>
                    <a:pt x="1590726" y="196799"/>
                  </a:lnTo>
                  <a:lnTo>
                    <a:pt x="1590777" y="197447"/>
                  </a:lnTo>
                  <a:lnTo>
                    <a:pt x="1590777" y="196799"/>
                  </a:lnTo>
                  <a:lnTo>
                    <a:pt x="1590777" y="197447"/>
                  </a:lnTo>
                  <a:lnTo>
                    <a:pt x="1590879" y="197447"/>
                  </a:lnTo>
                  <a:lnTo>
                    <a:pt x="1590879" y="196799"/>
                  </a:lnTo>
                  <a:lnTo>
                    <a:pt x="1590879" y="197447"/>
                  </a:lnTo>
                  <a:lnTo>
                    <a:pt x="1590879" y="196799"/>
                  </a:lnTo>
                  <a:lnTo>
                    <a:pt x="1590879" y="197447"/>
                  </a:lnTo>
                  <a:lnTo>
                    <a:pt x="1590930" y="196799"/>
                  </a:lnTo>
                  <a:lnTo>
                    <a:pt x="1590930" y="197447"/>
                  </a:lnTo>
                  <a:lnTo>
                    <a:pt x="1590930" y="196799"/>
                  </a:lnTo>
                  <a:lnTo>
                    <a:pt x="1590930" y="197447"/>
                  </a:lnTo>
                  <a:lnTo>
                    <a:pt x="1590930" y="196799"/>
                  </a:lnTo>
                  <a:lnTo>
                    <a:pt x="1590930" y="197447"/>
                  </a:lnTo>
                  <a:lnTo>
                    <a:pt x="1590930" y="196799"/>
                  </a:lnTo>
                  <a:lnTo>
                    <a:pt x="1590980" y="197447"/>
                  </a:lnTo>
                  <a:lnTo>
                    <a:pt x="1590980" y="196799"/>
                  </a:lnTo>
                  <a:lnTo>
                    <a:pt x="1590980" y="197447"/>
                  </a:lnTo>
                  <a:lnTo>
                    <a:pt x="1590980" y="196799"/>
                  </a:lnTo>
                  <a:lnTo>
                    <a:pt x="1590980" y="197447"/>
                  </a:lnTo>
                  <a:lnTo>
                    <a:pt x="1591082" y="197447"/>
                  </a:lnTo>
                  <a:lnTo>
                    <a:pt x="1591082" y="196113"/>
                  </a:lnTo>
                  <a:lnTo>
                    <a:pt x="1591082" y="196799"/>
                  </a:lnTo>
                  <a:lnTo>
                    <a:pt x="1591082" y="196113"/>
                  </a:lnTo>
                  <a:lnTo>
                    <a:pt x="1591082" y="196799"/>
                  </a:lnTo>
                  <a:lnTo>
                    <a:pt x="1591082" y="196113"/>
                  </a:lnTo>
                  <a:lnTo>
                    <a:pt x="1591082" y="196799"/>
                  </a:lnTo>
                  <a:lnTo>
                    <a:pt x="1591082" y="196113"/>
                  </a:lnTo>
                  <a:lnTo>
                    <a:pt x="1591133" y="196113"/>
                  </a:lnTo>
                  <a:lnTo>
                    <a:pt x="1591133" y="196799"/>
                  </a:lnTo>
                  <a:lnTo>
                    <a:pt x="1591133" y="195415"/>
                  </a:lnTo>
                  <a:lnTo>
                    <a:pt x="1591184" y="195415"/>
                  </a:lnTo>
                  <a:lnTo>
                    <a:pt x="1591184" y="196113"/>
                  </a:lnTo>
                  <a:lnTo>
                    <a:pt x="1591184" y="195415"/>
                  </a:lnTo>
                  <a:lnTo>
                    <a:pt x="1591184" y="196799"/>
                  </a:lnTo>
                  <a:lnTo>
                    <a:pt x="1591222" y="196799"/>
                  </a:lnTo>
                  <a:lnTo>
                    <a:pt x="1591222" y="197447"/>
                  </a:lnTo>
                  <a:lnTo>
                    <a:pt x="1591222" y="196113"/>
                  </a:lnTo>
                  <a:lnTo>
                    <a:pt x="1591222" y="197447"/>
                  </a:lnTo>
                  <a:lnTo>
                    <a:pt x="1591323" y="198831"/>
                  </a:lnTo>
                  <a:lnTo>
                    <a:pt x="1591323" y="196799"/>
                  </a:lnTo>
                  <a:lnTo>
                    <a:pt x="1591323" y="197447"/>
                  </a:lnTo>
                  <a:lnTo>
                    <a:pt x="1591374" y="197447"/>
                  </a:lnTo>
                  <a:lnTo>
                    <a:pt x="1591374" y="196799"/>
                  </a:lnTo>
                  <a:lnTo>
                    <a:pt x="1591374" y="198831"/>
                  </a:lnTo>
                  <a:lnTo>
                    <a:pt x="1591374" y="197447"/>
                  </a:lnTo>
                  <a:lnTo>
                    <a:pt x="1591374" y="198831"/>
                  </a:lnTo>
                  <a:lnTo>
                    <a:pt x="1591374" y="197447"/>
                  </a:lnTo>
                  <a:lnTo>
                    <a:pt x="1591425" y="197447"/>
                  </a:lnTo>
                  <a:lnTo>
                    <a:pt x="1591425" y="198831"/>
                  </a:lnTo>
                  <a:lnTo>
                    <a:pt x="1591425" y="196799"/>
                  </a:lnTo>
                  <a:lnTo>
                    <a:pt x="1591425" y="197447"/>
                  </a:lnTo>
                  <a:lnTo>
                    <a:pt x="1591425" y="196799"/>
                  </a:lnTo>
                  <a:lnTo>
                    <a:pt x="1591526" y="196799"/>
                  </a:lnTo>
                  <a:lnTo>
                    <a:pt x="1591526" y="197447"/>
                  </a:lnTo>
                  <a:lnTo>
                    <a:pt x="1591526" y="196799"/>
                  </a:lnTo>
                  <a:lnTo>
                    <a:pt x="1591526" y="197447"/>
                  </a:lnTo>
                  <a:lnTo>
                    <a:pt x="1591526" y="196113"/>
                  </a:lnTo>
                  <a:lnTo>
                    <a:pt x="1591526" y="196799"/>
                  </a:lnTo>
                  <a:lnTo>
                    <a:pt x="1591577" y="196799"/>
                  </a:lnTo>
                  <a:lnTo>
                    <a:pt x="1591577" y="196113"/>
                  </a:lnTo>
                  <a:lnTo>
                    <a:pt x="1591577" y="196799"/>
                  </a:lnTo>
                  <a:lnTo>
                    <a:pt x="1591577" y="195415"/>
                  </a:lnTo>
                  <a:lnTo>
                    <a:pt x="1591577" y="196113"/>
                  </a:lnTo>
                  <a:lnTo>
                    <a:pt x="1591577" y="195415"/>
                  </a:lnTo>
                  <a:lnTo>
                    <a:pt x="1591628" y="194716"/>
                  </a:lnTo>
                  <a:lnTo>
                    <a:pt x="1591628" y="195415"/>
                  </a:lnTo>
                  <a:lnTo>
                    <a:pt x="1591628" y="193383"/>
                  </a:lnTo>
                  <a:lnTo>
                    <a:pt x="1591628" y="194716"/>
                  </a:lnTo>
                  <a:lnTo>
                    <a:pt x="1591628" y="193383"/>
                  </a:lnTo>
                  <a:lnTo>
                    <a:pt x="1591628" y="194716"/>
                  </a:lnTo>
                  <a:lnTo>
                    <a:pt x="1591628" y="193383"/>
                  </a:lnTo>
                  <a:lnTo>
                    <a:pt x="1591628" y="195415"/>
                  </a:lnTo>
                  <a:lnTo>
                    <a:pt x="1591679" y="195415"/>
                  </a:lnTo>
                  <a:lnTo>
                    <a:pt x="1591679" y="193383"/>
                  </a:lnTo>
                  <a:lnTo>
                    <a:pt x="1591679" y="196799"/>
                  </a:lnTo>
                  <a:lnTo>
                    <a:pt x="1591679" y="196113"/>
                  </a:lnTo>
                  <a:lnTo>
                    <a:pt x="1591768" y="196113"/>
                  </a:lnTo>
                  <a:lnTo>
                    <a:pt x="1591768" y="195415"/>
                  </a:lnTo>
                  <a:lnTo>
                    <a:pt x="1591768" y="196113"/>
                  </a:lnTo>
                  <a:lnTo>
                    <a:pt x="1591768" y="195415"/>
                  </a:lnTo>
                  <a:lnTo>
                    <a:pt x="1591768" y="196113"/>
                  </a:lnTo>
                  <a:lnTo>
                    <a:pt x="1591768" y="195415"/>
                  </a:lnTo>
                  <a:lnTo>
                    <a:pt x="1591768" y="196799"/>
                  </a:lnTo>
                  <a:lnTo>
                    <a:pt x="1591819" y="196799"/>
                  </a:lnTo>
                  <a:lnTo>
                    <a:pt x="1591819" y="196113"/>
                  </a:lnTo>
                  <a:lnTo>
                    <a:pt x="1591819" y="196799"/>
                  </a:lnTo>
                  <a:lnTo>
                    <a:pt x="1591869" y="196799"/>
                  </a:lnTo>
                  <a:lnTo>
                    <a:pt x="1591869" y="197447"/>
                  </a:lnTo>
                  <a:lnTo>
                    <a:pt x="1591869" y="196799"/>
                  </a:lnTo>
                  <a:lnTo>
                    <a:pt x="1591869" y="197447"/>
                  </a:lnTo>
                  <a:lnTo>
                    <a:pt x="1591920" y="197447"/>
                  </a:lnTo>
                  <a:lnTo>
                    <a:pt x="1591920" y="196799"/>
                  </a:lnTo>
                  <a:lnTo>
                    <a:pt x="1591920" y="198831"/>
                  </a:lnTo>
                  <a:lnTo>
                    <a:pt x="1591920" y="197447"/>
                  </a:lnTo>
                  <a:lnTo>
                    <a:pt x="1592022" y="197447"/>
                  </a:lnTo>
                  <a:lnTo>
                    <a:pt x="1592022" y="196799"/>
                  </a:lnTo>
                  <a:lnTo>
                    <a:pt x="1592022" y="198831"/>
                  </a:lnTo>
                  <a:lnTo>
                    <a:pt x="1592022" y="196799"/>
                  </a:lnTo>
                  <a:lnTo>
                    <a:pt x="1592022" y="197447"/>
                  </a:lnTo>
                  <a:lnTo>
                    <a:pt x="1592022" y="196799"/>
                  </a:lnTo>
                  <a:lnTo>
                    <a:pt x="1592022" y="197447"/>
                  </a:lnTo>
                  <a:lnTo>
                    <a:pt x="1592022" y="196799"/>
                  </a:lnTo>
                  <a:lnTo>
                    <a:pt x="1592022" y="197447"/>
                  </a:lnTo>
                  <a:lnTo>
                    <a:pt x="1592022" y="196799"/>
                  </a:lnTo>
                  <a:lnTo>
                    <a:pt x="1592072" y="197447"/>
                  </a:lnTo>
                  <a:lnTo>
                    <a:pt x="1592072" y="195415"/>
                  </a:lnTo>
                  <a:lnTo>
                    <a:pt x="1592123" y="195415"/>
                  </a:lnTo>
                  <a:lnTo>
                    <a:pt x="1592123" y="193383"/>
                  </a:lnTo>
                  <a:lnTo>
                    <a:pt x="1592123" y="195415"/>
                  </a:lnTo>
                  <a:lnTo>
                    <a:pt x="1592225" y="195415"/>
                  </a:lnTo>
                  <a:lnTo>
                    <a:pt x="1592225" y="193383"/>
                  </a:lnTo>
                  <a:lnTo>
                    <a:pt x="1592225" y="196113"/>
                  </a:lnTo>
                  <a:lnTo>
                    <a:pt x="1592263" y="196113"/>
                  </a:lnTo>
                  <a:lnTo>
                    <a:pt x="1592263" y="195415"/>
                  </a:lnTo>
                  <a:lnTo>
                    <a:pt x="1592263" y="196799"/>
                  </a:lnTo>
                  <a:lnTo>
                    <a:pt x="1592263" y="196113"/>
                  </a:lnTo>
                  <a:lnTo>
                    <a:pt x="1592263" y="196799"/>
                  </a:lnTo>
                  <a:lnTo>
                    <a:pt x="1592314" y="196799"/>
                  </a:lnTo>
                  <a:lnTo>
                    <a:pt x="1592314" y="196113"/>
                  </a:lnTo>
                  <a:lnTo>
                    <a:pt x="1592314" y="196799"/>
                  </a:lnTo>
                  <a:lnTo>
                    <a:pt x="1592314" y="196113"/>
                  </a:lnTo>
                  <a:lnTo>
                    <a:pt x="1592314" y="197447"/>
                  </a:lnTo>
                  <a:lnTo>
                    <a:pt x="1592314" y="196113"/>
                  </a:lnTo>
                  <a:lnTo>
                    <a:pt x="1592314" y="196799"/>
                  </a:lnTo>
                  <a:lnTo>
                    <a:pt x="1592365" y="196799"/>
                  </a:lnTo>
                  <a:lnTo>
                    <a:pt x="1592365" y="197447"/>
                  </a:lnTo>
                  <a:lnTo>
                    <a:pt x="1592365" y="196799"/>
                  </a:lnTo>
                  <a:lnTo>
                    <a:pt x="1592365" y="197447"/>
                  </a:lnTo>
                  <a:lnTo>
                    <a:pt x="1592365" y="196799"/>
                  </a:lnTo>
                  <a:lnTo>
                    <a:pt x="1592466" y="196799"/>
                  </a:lnTo>
                  <a:lnTo>
                    <a:pt x="1592466" y="197447"/>
                  </a:lnTo>
                  <a:lnTo>
                    <a:pt x="1592466" y="196799"/>
                  </a:lnTo>
                  <a:lnTo>
                    <a:pt x="1592466" y="197447"/>
                  </a:lnTo>
                  <a:lnTo>
                    <a:pt x="1592466" y="196799"/>
                  </a:lnTo>
                  <a:lnTo>
                    <a:pt x="1592466" y="197447"/>
                  </a:lnTo>
                  <a:lnTo>
                    <a:pt x="1592466" y="196799"/>
                  </a:lnTo>
                  <a:lnTo>
                    <a:pt x="1592466" y="197447"/>
                  </a:lnTo>
                  <a:lnTo>
                    <a:pt x="1592466" y="196799"/>
                  </a:lnTo>
                  <a:lnTo>
                    <a:pt x="1592466" y="197447"/>
                  </a:lnTo>
                  <a:lnTo>
                    <a:pt x="1592517" y="197447"/>
                  </a:lnTo>
                  <a:lnTo>
                    <a:pt x="1592517" y="196799"/>
                  </a:lnTo>
                  <a:lnTo>
                    <a:pt x="1592517" y="197447"/>
                  </a:lnTo>
                  <a:lnTo>
                    <a:pt x="1592517" y="196799"/>
                  </a:lnTo>
                  <a:lnTo>
                    <a:pt x="1592568" y="196799"/>
                  </a:lnTo>
                  <a:lnTo>
                    <a:pt x="1592568" y="195415"/>
                  </a:lnTo>
                  <a:lnTo>
                    <a:pt x="1592669" y="194716"/>
                  </a:lnTo>
                  <a:lnTo>
                    <a:pt x="1592669" y="193383"/>
                  </a:lnTo>
                  <a:lnTo>
                    <a:pt x="1592669" y="194716"/>
                  </a:lnTo>
                  <a:lnTo>
                    <a:pt x="1592669" y="193383"/>
                  </a:lnTo>
                  <a:lnTo>
                    <a:pt x="1592669" y="194716"/>
                  </a:lnTo>
                  <a:lnTo>
                    <a:pt x="1592720" y="194716"/>
                  </a:lnTo>
                  <a:lnTo>
                    <a:pt x="1592720" y="193383"/>
                  </a:lnTo>
                  <a:lnTo>
                    <a:pt x="1592720" y="194716"/>
                  </a:lnTo>
                  <a:lnTo>
                    <a:pt x="1592720" y="193383"/>
                  </a:lnTo>
                  <a:lnTo>
                    <a:pt x="1592720" y="196113"/>
                  </a:lnTo>
                  <a:lnTo>
                    <a:pt x="1592720" y="195415"/>
                  </a:lnTo>
                  <a:lnTo>
                    <a:pt x="1592771" y="196113"/>
                  </a:lnTo>
                  <a:lnTo>
                    <a:pt x="1592771" y="195415"/>
                  </a:lnTo>
                  <a:lnTo>
                    <a:pt x="1592771" y="196113"/>
                  </a:lnTo>
                  <a:lnTo>
                    <a:pt x="1592809" y="196113"/>
                  </a:lnTo>
                  <a:lnTo>
                    <a:pt x="1592809" y="195415"/>
                  </a:lnTo>
                  <a:lnTo>
                    <a:pt x="1592809" y="196113"/>
                  </a:lnTo>
                  <a:lnTo>
                    <a:pt x="1592911" y="196113"/>
                  </a:lnTo>
                  <a:lnTo>
                    <a:pt x="1592911" y="197447"/>
                  </a:lnTo>
                  <a:lnTo>
                    <a:pt x="1592911" y="196799"/>
                  </a:lnTo>
                  <a:lnTo>
                    <a:pt x="1592962" y="196799"/>
                  </a:lnTo>
                  <a:lnTo>
                    <a:pt x="1592962" y="197447"/>
                  </a:lnTo>
                  <a:lnTo>
                    <a:pt x="1592962" y="196799"/>
                  </a:lnTo>
                  <a:lnTo>
                    <a:pt x="1592962" y="197447"/>
                  </a:lnTo>
                  <a:lnTo>
                    <a:pt x="1593012" y="196799"/>
                  </a:lnTo>
                  <a:lnTo>
                    <a:pt x="1593012" y="197447"/>
                  </a:lnTo>
                  <a:lnTo>
                    <a:pt x="1593012" y="196799"/>
                  </a:lnTo>
                  <a:lnTo>
                    <a:pt x="1593012" y="197447"/>
                  </a:lnTo>
                  <a:lnTo>
                    <a:pt x="1593012" y="196113"/>
                  </a:lnTo>
                  <a:lnTo>
                    <a:pt x="1593012" y="196799"/>
                  </a:lnTo>
                  <a:lnTo>
                    <a:pt x="1593114" y="196799"/>
                  </a:lnTo>
                  <a:lnTo>
                    <a:pt x="1593114" y="194716"/>
                  </a:lnTo>
                  <a:lnTo>
                    <a:pt x="1593114" y="195415"/>
                  </a:lnTo>
                  <a:lnTo>
                    <a:pt x="1593165" y="195415"/>
                  </a:lnTo>
                  <a:lnTo>
                    <a:pt x="1593165" y="193383"/>
                  </a:lnTo>
                  <a:lnTo>
                    <a:pt x="1593165" y="195415"/>
                  </a:lnTo>
                  <a:lnTo>
                    <a:pt x="1593165" y="194716"/>
                  </a:lnTo>
                  <a:lnTo>
                    <a:pt x="1593165" y="195415"/>
                  </a:lnTo>
                  <a:lnTo>
                    <a:pt x="1593165" y="194716"/>
                  </a:lnTo>
                  <a:lnTo>
                    <a:pt x="1593215" y="194716"/>
                  </a:lnTo>
                  <a:lnTo>
                    <a:pt x="1593215" y="193383"/>
                  </a:lnTo>
                  <a:lnTo>
                    <a:pt x="1593215" y="196113"/>
                  </a:lnTo>
                  <a:lnTo>
                    <a:pt x="1593215" y="195415"/>
                  </a:lnTo>
                  <a:lnTo>
                    <a:pt x="1593215" y="196113"/>
                  </a:lnTo>
                  <a:lnTo>
                    <a:pt x="1593215" y="195415"/>
                  </a:lnTo>
                  <a:lnTo>
                    <a:pt x="1593266" y="194716"/>
                  </a:lnTo>
                  <a:lnTo>
                    <a:pt x="1593266" y="196113"/>
                  </a:lnTo>
                  <a:lnTo>
                    <a:pt x="1593266" y="195415"/>
                  </a:lnTo>
                  <a:lnTo>
                    <a:pt x="1593355" y="195415"/>
                  </a:lnTo>
                  <a:lnTo>
                    <a:pt x="1593355" y="196113"/>
                  </a:lnTo>
                  <a:lnTo>
                    <a:pt x="1593355" y="195415"/>
                  </a:lnTo>
                  <a:lnTo>
                    <a:pt x="1593355" y="196113"/>
                  </a:lnTo>
                  <a:lnTo>
                    <a:pt x="1593406" y="195415"/>
                  </a:lnTo>
                  <a:lnTo>
                    <a:pt x="1593406" y="196113"/>
                  </a:lnTo>
                  <a:lnTo>
                    <a:pt x="1593406" y="195415"/>
                  </a:lnTo>
                  <a:lnTo>
                    <a:pt x="1593406" y="196799"/>
                  </a:lnTo>
                  <a:lnTo>
                    <a:pt x="1593457" y="196799"/>
                  </a:lnTo>
                  <a:lnTo>
                    <a:pt x="1593457" y="195415"/>
                  </a:lnTo>
                  <a:lnTo>
                    <a:pt x="1593457" y="196799"/>
                  </a:lnTo>
                  <a:lnTo>
                    <a:pt x="1593508" y="196113"/>
                  </a:lnTo>
                  <a:lnTo>
                    <a:pt x="1593508" y="196799"/>
                  </a:lnTo>
                  <a:lnTo>
                    <a:pt x="1593508" y="196113"/>
                  </a:lnTo>
                  <a:lnTo>
                    <a:pt x="1593609" y="196113"/>
                  </a:lnTo>
                  <a:lnTo>
                    <a:pt x="1593609" y="195415"/>
                  </a:lnTo>
                  <a:lnTo>
                    <a:pt x="1593609" y="196113"/>
                  </a:lnTo>
                  <a:lnTo>
                    <a:pt x="1593609" y="194716"/>
                  </a:lnTo>
                  <a:lnTo>
                    <a:pt x="1593609" y="195415"/>
                  </a:lnTo>
                  <a:lnTo>
                    <a:pt x="1593609" y="193383"/>
                  </a:lnTo>
                  <a:lnTo>
                    <a:pt x="1593660" y="193383"/>
                  </a:lnTo>
                  <a:lnTo>
                    <a:pt x="1593660" y="195415"/>
                  </a:lnTo>
                  <a:lnTo>
                    <a:pt x="1593660" y="194716"/>
                  </a:lnTo>
                  <a:lnTo>
                    <a:pt x="1593660" y="195415"/>
                  </a:lnTo>
                  <a:lnTo>
                    <a:pt x="1593660" y="194716"/>
                  </a:lnTo>
                  <a:lnTo>
                    <a:pt x="1593711" y="194716"/>
                  </a:lnTo>
                  <a:lnTo>
                    <a:pt x="1593711" y="196799"/>
                  </a:lnTo>
                  <a:lnTo>
                    <a:pt x="1593711" y="195415"/>
                  </a:lnTo>
                  <a:lnTo>
                    <a:pt x="1593711" y="196113"/>
                  </a:lnTo>
                  <a:lnTo>
                    <a:pt x="1593812" y="196113"/>
                  </a:lnTo>
                  <a:lnTo>
                    <a:pt x="1593812" y="196799"/>
                  </a:lnTo>
                  <a:lnTo>
                    <a:pt x="1593812" y="196113"/>
                  </a:lnTo>
                  <a:lnTo>
                    <a:pt x="1593850" y="196113"/>
                  </a:lnTo>
                  <a:lnTo>
                    <a:pt x="1593850" y="196799"/>
                  </a:lnTo>
                  <a:lnTo>
                    <a:pt x="1593850" y="196113"/>
                  </a:lnTo>
                  <a:lnTo>
                    <a:pt x="1593850" y="196799"/>
                  </a:lnTo>
                  <a:lnTo>
                    <a:pt x="1593850" y="196113"/>
                  </a:lnTo>
                  <a:lnTo>
                    <a:pt x="1593850" y="196799"/>
                  </a:lnTo>
                  <a:lnTo>
                    <a:pt x="1593850" y="196113"/>
                  </a:lnTo>
                  <a:lnTo>
                    <a:pt x="1593850" y="196799"/>
                  </a:lnTo>
                  <a:lnTo>
                    <a:pt x="1593901" y="196799"/>
                  </a:lnTo>
                  <a:lnTo>
                    <a:pt x="1593901" y="196113"/>
                  </a:lnTo>
                  <a:lnTo>
                    <a:pt x="1593901" y="196799"/>
                  </a:lnTo>
                  <a:lnTo>
                    <a:pt x="1593952" y="196799"/>
                  </a:lnTo>
                  <a:lnTo>
                    <a:pt x="1593952" y="197447"/>
                  </a:lnTo>
                  <a:lnTo>
                    <a:pt x="1593952" y="196799"/>
                  </a:lnTo>
                  <a:lnTo>
                    <a:pt x="1593952" y="197447"/>
                  </a:lnTo>
                  <a:lnTo>
                    <a:pt x="1593952" y="196799"/>
                  </a:lnTo>
                  <a:lnTo>
                    <a:pt x="1593952" y="197447"/>
                  </a:lnTo>
                  <a:lnTo>
                    <a:pt x="1593952" y="196799"/>
                  </a:lnTo>
                  <a:lnTo>
                    <a:pt x="1594054" y="196799"/>
                  </a:lnTo>
                  <a:lnTo>
                    <a:pt x="1594054" y="197447"/>
                  </a:lnTo>
                  <a:lnTo>
                    <a:pt x="1594054" y="196113"/>
                  </a:lnTo>
                  <a:lnTo>
                    <a:pt x="1594054" y="196799"/>
                  </a:lnTo>
                  <a:lnTo>
                    <a:pt x="1594054" y="196113"/>
                  </a:lnTo>
                  <a:lnTo>
                    <a:pt x="1594054" y="196799"/>
                  </a:lnTo>
                  <a:lnTo>
                    <a:pt x="1594105" y="196113"/>
                  </a:lnTo>
                  <a:lnTo>
                    <a:pt x="1594105" y="195415"/>
                  </a:lnTo>
                  <a:lnTo>
                    <a:pt x="1594155" y="195415"/>
                  </a:lnTo>
                  <a:lnTo>
                    <a:pt x="1594155" y="197447"/>
                  </a:lnTo>
                  <a:lnTo>
                    <a:pt x="1594257" y="197447"/>
                  </a:lnTo>
                  <a:lnTo>
                    <a:pt x="1594257" y="196799"/>
                  </a:lnTo>
                  <a:lnTo>
                    <a:pt x="1594257" y="197447"/>
                  </a:lnTo>
                  <a:lnTo>
                    <a:pt x="1594257" y="196799"/>
                  </a:lnTo>
                  <a:lnTo>
                    <a:pt x="1594257" y="197447"/>
                  </a:lnTo>
                  <a:lnTo>
                    <a:pt x="1594308" y="197447"/>
                  </a:lnTo>
                  <a:lnTo>
                    <a:pt x="1594308" y="196799"/>
                  </a:lnTo>
                  <a:lnTo>
                    <a:pt x="1594308" y="197447"/>
                  </a:lnTo>
                  <a:lnTo>
                    <a:pt x="1594308" y="196799"/>
                  </a:lnTo>
                  <a:lnTo>
                    <a:pt x="1594308" y="197447"/>
                  </a:lnTo>
                  <a:lnTo>
                    <a:pt x="1594359" y="197447"/>
                  </a:lnTo>
                  <a:lnTo>
                    <a:pt x="1594359" y="196799"/>
                  </a:lnTo>
                  <a:lnTo>
                    <a:pt x="1594359" y="197447"/>
                  </a:lnTo>
                  <a:lnTo>
                    <a:pt x="1594498" y="197447"/>
                  </a:lnTo>
                  <a:lnTo>
                    <a:pt x="1594498" y="196799"/>
                  </a:lnTo>
                  <a:lnTo>
                    <a:pt x="1594498" y="197447"/>
                  </a:lnTo>
                  <a:lnTo>
                    <a:pt x="1594498" y="196799"/>
                  </a:lnTo>
                  <a:lnTo>
                    <a:pt x="1594498" y="197447"/>
                  </a:lnTo>
                  <a:lnTo>
                    <a:pt x="1594498" y="196113"/>
                  </a:lnTo>
                  <a:lnTo>
                    <a:pt x="1594549" y="196113"/>
                  </a:lnTo>
                  <a:lnTo>
                    <a:pt x="1594549" y="194716"/>
                  </a:lnTo>
                  <a:lnTo>
                    <a:pt x="1594600" y="194716"/>
                  </a:lnTo>
                  <a:lnTo>
                    <a:pt x="1594600" y="193383"/>
                  </a:lnTo>
                  <a:lnTo>
                    <a:pt x="1594600" y="195415"/>
                  </a:lnTo>
                  <a:lnTo>
                    <a:pt x="1594600" y="194716"/>
                  </a:lnTo>
                  <a:lnTo>
                    <a:pt x="1594701" y="194716"/>
                  </a:lnTo>
                  <a:lnTo>
                    <a:pt x="1594701" y="196799"/>
                  </a:lnTo>
                  <a:lnTo>
                    <a:pt x="1594701" y="196113"/>
                  </a:lnTo>
                  <a:lnTo>
                    <a:pt x="1594752" y="196113"/>
                  </a:lnTo>
                  <a:lnTo>
                    <a:pt x="1594752" y="196799"/>
                  </a:lnTo>
                  <a:lnTo>
                    <a:pt x="1594752" y="196113"/>
                  </a:lnTo>
                  <a:lnTo>
                    <a:pt x="1594752" y="196799"/>
                  </a:lnTo>
                  <a:lnTo>
                    <a:pt x="1594803" y="196113"/>
                  </a:lnTo>
                  <a:lnTo>
                    <a:pt x="1594803" y="196799"/>
                  </a:lnTo>
                  <a:lnTo>
                    <a:pt x="1594803" y="196113"/>
                  </a:lnTo>
                  <a:lnTo>
                    <a:pt x="1594803" y="197447"/>
                  </a:lnTo>
                  <a:lnTo>
                    <a:pt x="1594803" y="196799"/>
                  </a:lnTo>
                  <a:lnTo>
                    <a:pt x="1594854" y="196799"/>
                  </a:lnTo>
                  <a:lnTo>
                    <a:pt x="1594854" y="197447"/>
                  </a:lnTo>
                  <a:lnTo>
                    <a:pt x="1594854" y="196799"/>
                  </a:lnTo>
                  <a:lnTo>
                    <a:pt x="1594854" y="197447"/>
                  </a:lnTo>
                  <a:lnTo>
                    <a:pt x="1594943" y="197447"/>
                  </a:lnTo>
                  <a:lnTo>
                    <a:pt x="1594943" y="198831"/>
                  </a:lnTo>
                  <a:lnTo>
                    <a:pt x="1594943" y="197447"/>
                  </a:lnTo>
                  <a:lnTo>
                    <a:pt x="1594994" y="197447"/>
                  </a:lnTo>
                  <a:lnTo>
                    <a:pt x="1594994" y="196799"/>
                  </a:lnTo>
                  <a:lnTo>
                    <a:pt x="1595044" y="196799"/>
                  </a:lnTo>
                  <a:lnTo>
                    <a:pt x="1595044" y="195415"/>
                  </a:lnTo>
                  <a:lnTo>
                    <a:pt x="1595044" y="196113"/>
                  </a:lnTo>
                  <a:lnTo>
                    <a:pt x="1595044" y="194716"/>
                  </a:lnTo>
                  <a:lnTo>
                    <a:pt x="1595095" y="194716"/>
                  </a:lnTo>
                  <a:lnTo>
                    <a:pt x="1595095" y="196113"/>
                  </a:lnTo>
                  <a:lnTo>
                    <a:pt x="1595095" y="194716"/>
                  </a:lnTo>
                  <a:lnTo>
                    <a:pt x="1595197" y="194716"/>
                  </a:lnTo>
                  <a:lnTo>
                    <a:pt x="1595197" y="197447"/>
                  </a:lnTo>
                  <a:lnTo>
                    <a:pt x="1595197" y="196113"/>
                  </a:lnTo>
                  <a:lnTo>
                    <a:pt x="1595197" y="196799"/>
                  </a:lnTo>
                  <a:lnTo>
                    <a:pt x="1595197" y="196113"/>
                  </a:lnTo>
                  <a:lnTo>
                    <a:pt x="1595247" y="196113"/>
                  </a:lnTo>
                  <a:lnTo>
                    <a:pt x="1595247" y="197447"/>
                  </a:lnTo>
                  <a:lnTo>
                    <a:pt x="1595247" y="196113"/>
                  </a:lnTo>
                  <a:lnTo>
                    <a:pt x="1595247" y="196799"/>
                  </a:lnTo>
                  <a:lnTo>
                    <a:pt x="1595247" y="196113"/>
                  </a:lnTo>
                  <a:lnTo>
                    <a:pt x="1595298" y="196113"/>
                  </a:lnTo>
                  <a:lnTo>
                    <a:pt x="1595298" y="196799"/>
                  </a:lnTo>
                  <a:lnTo>
                    <a:pt x="1595400" y="196799"/>
                  </a:lnTo>
                  <a:lnTo>
                    <a:pt x="1595400" y="198831"/>
                  </a:lnTo>
                  <a:lnTo>
                    <a:pt x="1595438" y="198831"/>
                  </a:lnTo>
                  <a:lnTo>
                    <a:pt x="1595438" y="196799"/>
                  </a:lnTo>
                  <a:lnTo>
                    <a:pt x="1595489" y="197447"/>
                  </a:lnTo>
                  <a:lnTo>
                    <a:pt x="1595489" y="196799"/>
                  </a:lnTo>
                  <a:lnTo>
                    <a:pt x="1595489" y="197447"/>
                  </a:lnTo>
                  <a:lnTo>
                    <a:pt x="1595489" y="196799"/>
                  </a:lnTo>
                  <a:lnTo>
                    <a:pt x="1595489" y="197447"/>
                  </a:lnTo>
                  <a:lnTo>
                    <a:pt x="1595489" y="196113"/>
                  </a:lnTo>
                  <a:lnTo>
                    <a:pt x="1595489" y="196799"/>
                  </a:lnTo>
                  <a:lnTo>
                    <a:pt x="1595489" y="196113"/>
                  </a:lnTo>
                  <a:lnTo>
                    <a:pt x="1595540" y="196113"/>
                  </a:lnTo>
                  <a:lnTo>
                    <a:pt x="1595540" y="194716"/>
                  </a:lnTo>
                  <a:lnTo>
                    <a:pt x="1595540" y="195415"/>
                  </a:lnTo>
                  <a:lnTo>
                    <a:pt x="1595540" y="194716"/>
                  </a:lnTo>
                  <a:lnTo>
                    <a:pt x="1595641" y="193383"/>
                  </a:lnTo>
                  <a:lnTo>
                    <a:pt x="1595641" y="194716"/>
                  </a:lnTo>
                  <a:lnTo>
                    <a:pt x="1595692" y="195415"/>
                  </a:lnTo>
                  <a:lnTo>
                    <a:pt x="1595692" y="193383"/>
                  </a:lnTo>
                  <a:lnTo>
                    <a:pt x="1595692" y="196113"/>
                  </a:lnTo>
                  <a:lnTo>
                    <a:pt x="1595692" y="195415"/>
                  </a:lnTo>
                  <a:lnTo>
                    <a:pt x="1595743" y="195415"/>
                  </a:lnTo>
                  <a:lnTo>
                    <a:pt x="1595743" y="194716"/>
                  </a:lnTo>
                  <a:lnTo>
                    <a:pt x="1595743" y="196113"/>
                  </a:lnTo>
                  <a:lnTo>
                    <a:pt x="1595743" y="195415"/>
                  </a:lnTo>
                  <a:lnTo>
                    <a:pt x="1595743" y="196113"/>
                  </a:lnTo>
                  <a:lnTo>
                    <a:pt x="1595844" y="195415"/>
                  </a:lnTo>
                  <a:lnTo>
                    <a:pt x="1595844" y="194716"/>
                  </a:lnTo>
                  <a:lnTo>
                    <a:pt x="1595844" y="196799"/>
                  </a:lnTo>
                  <a:lnTo>
                    <a:pt x="1595844" y="196113"/>
                  </a:lnTo>
                  <a:lnTo>
                    <a:pt x="1595844" y="196799"/>
                  </a:lnTo>
                  <a:lnTo>
                    <a:pt x="1595895" y="196799"/>
                  </a:lnTo>
                  <a:lnTo>
                    <a:pt x="1595895" y="197447"/>
                  </a:lnTo>
                  <a:lnTo>
                    <a:pt x="1595895" y="196799"/>
                  </a:lnTo>
                  <a:lnTo>
                    <a:pt x="1595895" y="197447"/>
                  </a:lnTo>
                  <a:lnTo>
                    <a:pt x="1595895" y="196799"/>
                  </a:lnTo>
                  <a:lnTo>
                    <a:pt x="1595895" y="197447"/>
                  </a:lnTo>
                  <a:lnTo>
                    <a:pt x="1595895" y="196799"/>
                  </a:lnTo>
                  <a:lnTo>
                    <a:pt x="1595895" y="197447"/>
                  </a:lnTo>
                  <a:lnTo>
                    <a:pt x="1595984" y="197447"/>
                  </a:lnTo>
                  <a:lnTo>
                    <a:pt x="1595984" y="196113"/>
                  </a:lnTo>
                  <a:lnTo>
                    <a:pt x="1596086" y="196799"/>
                  </a:lnTo>
                  <a:lnTo>
                    <a:pt x="1596086" y="194716"/>
                  </a:lnTo>
                  <a:lnTo>
                    <a:pt x="1596086" y="195415"/>
                  </a:lnTo>
                  <a:lnTo>
                    <a:pt x="1596137" y="195415"/>
                  </a:lnTo>
                  <a:lnTo>
                    <a:pt x="1596137" y="194716"/>
                  </a:lnTo>
                  <a:lnTo>
                    <a:pt x="1596137" y="195415"/>
                  </a:lnTo>
                  <a:lnTo>
                    <a:pt x="1596137" y="194716"/>
                  </a:lnTo>
                  <a:lnTo>
                    <a:pt x="1596187" y="193383"/>
                  </a:lnTo>
                  <a:lnTo>
                    <a:pt x="1596187" y="196113"/>
                  </a:lnTo>
                  <a:lnTo>
                    <a:pt x="1596187" y="194716"/>
                  </a:lnTo>
                  <a:lnTo>
                    <a:pt x="1596289" y="194716"/>
                  </a:lnTo>
                  <a:lnTo>
                    <a:pt x="1596289" y="196113"/>
                  </a:lnTo>
                  <a:lnTo>
                    <a:pt x="1596289" y="195415"/>
                  </a:lnTo>
                  <a:lnTo>
                    <a:pt x="1596340" y="195415"/>
                  </a:lnTo>
                  <a:lnTo>
                    <a:pt x="1596340" y="196113"/>
                  </a:lnTo>
                  <a:lnTo>
                    <a:pt x="1596340" y="195415"/>
                  </a:lnTo>
                  <a:lnTo>
                    <a:pt x="1596390" y="196113"/>
                  </a:lnTo>
                  <a:lnTo>
                    <a:pt x="1596390" y="196799"/>
                  </a:lnTo>
                  <a:lnTo>
                    <a:pt x="1596390" y="196113"/>
                  </a:lnTo>
                  <a:lnTo>
                    <a:pt x="1596390" y="197447"/>
                  </a:lnTo>
                  <a:lnTo>
                    <a:pt x="1596441" y="197447"/>
                  </a:lnTo>
                  <a:lnTo>
                    <a:pt x="1596441" y="196799"/>
                  </a:lnTo>
                  <a:lnTo>
                    <a:pt x="1596441" y="197447"/>
                  </a:lnTo>
                  <a:lnTo>
                    <a:pt x="1596441" y="196799"/>
                  </a:lnTo>
                  <a:lnTo>
                    <a:pt x="1596530" y="196799"/>
                  </a:lnTo>
                  <a:lnTo>
                    <a:pt x="1596530" y="196113"/>
                  </a:lnTo>
                  <a:lnTo>
                    <a:pt x="1596581" y="196113"/>
                  </a:lnTo>
                  <a:lnTo>
                    <a:pt x="1596581" y="195415"/>
                  </a:lnTo>
                  <a:lnTo>
                    <a:pt x="1596581" y="196113"/>
                  </a:lnTo>
                  <a:lnTo>
                    <a:pt x="1596632" y="196113"/>
                  </a:lnTo>
                  <a:lnTo>
                    <a:pt x="1596632" y="196799"/>
                  </a:lnTo>
                  <a:lnTo>
                    <a:pt x="1596632" y="195415"/>
                  </a:lnTo>
                  <a:lnTo>
                    <a:pt x="1596632" y="196799"/>
                  </a:lnTo>
                  <a:lnTo>
                    <a:pt x="1596683" y="196799"/>
                  </a:lnTo>
                  <a:lnTo>
                    <a:pt x="1596683" y="197447"/>
                  </a:lnTo>
                  <a:lnTo>
                    <a:pt x="1596683" y="196799"/>
                  </a:lnTo>
                  <a:lnTo>
                    <a:pt x="1596683" y="197447"/>
                  </a:lnTo>
                  <a:lnTo>
                    <a:pt x="1596683" y="196113"/>
                  </a:lnTo>
                  <a:lnTo>
                    <a:pt x="1596683" y="196799"/>
                  </a:lnTo>
                  <a:lnTo>
                    <a:pt x="1596784" y="196799"/>
                  </a:lnTo>
                  <a:lnTo>
                    <a:pt x="1596784" y="197447"/>
                  </a:lnTo>
                  <a:lnTo>
                    <a:pt x="1596784" y="196113"/>
                  </a:lnTo>
                  <a:lnTo>
                    <a:pt x="1596784" y="197447"/>
                  </a:lnTo>
                  <a:lnTo>
                    <a:pt x="1596784" y="196799"/>
                  </a:lnTo>
                  <a:lnTo>
                    <a:pt x="1596835" y="196799"/>
                  </a:lnTo>
                  <a:lnTo>
                    <a:pt x="1596835" y="197447"/>
                  </a:lnTo>
                  <a:lnTo>
                    <a:pt x="1596835" y="196799"/>
                  </a:lnTo>
                  <a:lnTo>
                    <a:pt x="1596835" y="197447"/>
                  </a:lnTo>
                  <a:lnTo>
                    <a:pt x="1596886" y="197447"/>
                  </a:lnTo>
                  <a:lnTo>
                    <a:pt x="1596886" y="196799"/>
                  </a:lnTo>
                  <a:lnTo>
                    <a:pt x="1596886" y="197447"/>
                  </a:lnTo>
                  <a:lnTo>
                    <a:pt x="1596886" y="196799"/>
                  </a:lnTo>
                  <a:lnTo>
                    <a:pt x="1596886" y="197447"/>
                  </a:lnTo>
                  <a:lnTo>
                    <a:pt x="1596886" y="196799"/>
                  </a:lnTo>
                  <a:lnTo>
                    <a:pt x="1596987" y="196799"/>
                  </a:lnTo>
                  <a:lnTo>
                    <a:pt x="1596987" y="197447"/>
                  </a:lnTo>
                  <a:lnTo>
                    <a:pt x="1596987" y="196799"/>
                  </a:lnTo>
                  <a:lnTo>
                    <a:pt x="1596987" y="197447"/>
                  </a:lnTo>
                  <a:lnTo>
                    <a:pt x="1596987" y="196799"/>
                  </a:lnTo>
                  <a:lnTo>
                    <a:pt x="1596987" y="197447"/>
                  </a:lnTo>
                  <a:lnTo>
                    <a:pt x="1596987" y="196799"/>
                  </a:lnTo>
                  <a:lnTo>
                    <a:pt x="1597025" y="196113"/>
                  </a:lnTo>
                  <a:lnTo>
                    <a:pt x="1597025" y="196799"/>
                  </a:lnTo>
                  <a:lnTo>
                    <a:pt x="1597025" y="196113"/>
                  </a:lnTo>
                  <a:lnTo>
                    <a:pt x="1597025" y="196799"/>
                  </a:lnTo>
                  <a:lnTo>
                    <a:pt x="1597025" y="196113"/>
                  </a:lnTo>
                  <a:lnTo>
                    <a:pt x="1597076" y="196113"/>
                  </a:lnTo>
                  <a:lnTo>
                    <a:pt x="1597076" y="195415"/>
                  </a:lnTo>
                  <a:lnTo>
                    <a:pt x="1597076" y="196113"/>
                  </a:lnTo>
                  <a:lnTo>
                    <a:pt x="1597076" y="195415"/>
                  </a:lnTo>
                  <a:lnTo>
                    <a:pt x="1597076" y="196799"/>
                  </a:lnTo>
                  <a:lnTo>
                    <a:pt x="1597127" y="196799"/>
                  </a:lnTo>
                  <a:lnTo>
                    <a:pt x="1597127" y="196113"/>
                  </a:lnTo>
                  <a:lnTo>
                    <a:pt x="1597127" y="196799"/>
                  </a:lnTo>
                  <a:lnTo>
                    <a:pt x="1597127" y="196113"/>
                  </a:lnTo>
                  <a:lnTo>
                    <a:pt x="1597127" y="196799"/>
                  </a:lnTo>
                  <a:lnTo>
                    <a:pt x="1597127" y="195415"/>
                  </a:lnTo>
                  <a:lnTo>
                    <a:pt x="1597127" y="198831"/>
                  </a:lnTo>
                  <a:lnTo>
                    <a:pt x="1597127" y="197447"/>
                  </a:lnTo>
                  <a:lnTo>
                    <a:pt x="1597127" y="198831"/>
                  </a:lnTo>
                  <a:lnTo>
                    <a:pt x="1597127" y="197447"/>
                  </a:lnTo>
                  <a:lnTo>
                    <a:pt x="1597229" y="197447"/>
                  </a:lnTo>
                  <a:lnTo>
                    <a:pt x="1597229" y="196799"/>
                  </a:lnTo>
                  <a:lnTo>
                    <a:pt x="1597229" y="197447"/>
                  </a:lnTo>
                  <a:lnTo>
                    <a:pt x="1597229" y="196799"/>
                  </a:lnTo>
                  <a:lnTo>
                    <a:pt x="1597229" y="197447"/>
                  </a:lnTo>
                  <a:lnTo>
                    <a:pt x="1597280" y="197447"/>
                  </a:lnTo>
                  <a:lnTo>
                    <a:pt x="1597280" y="196799"/>
                  </a:lnTo>
                  <a:lnTo>
                    <a:pt x="1597280" y="197447"/>
                  </a:lnTo>
                  <a:lnTo>
                    <a:pt x="1597280" y="196799"/>
                  </a:lnTo>
                  <a:lnTo>
                    <a:pt x="1597280" y="197447"/>
                  </a:lnTo>
                  <a:lnTo>
                    <a:pt x="1597330" y="197447"/>
                  </a:lnTo>
                  <a:lnTo>
                    <a:pt x="1597330" y="198831"/>
                  </a:lnTo>
                  <a:lnTo>
                    <a:pt x="1597330" y="197447"/>
                  </a:lnTo>
                  <a:lnTo>
                    <a:pt x="1597330" y="198831"/>
                  </a:lnTo>
                  <a:lnTo>
                    <a:pt x="1597330" y="197447"/>
                  </a:lnTo>
                  <a:lnTo>
                    <a:pt x="1597330" y="198831"/>
                  </a:lnTo>
                  <a:lnTo>
                    <a:pt x="1597432" y="198831"/>
                  </a:lnTo>
                  <a:lnTo>
                    <a:pt x="1597432" y="197447"/>
                  </a:lnTo>
                  <a:lnTo>
                    <a:pt x="1597432" y="198831"/>
                  </a:lnTo>
                  <a:lnTo>
                    <a:pt x="1597432" y="197447"/>
                  </a:lnTo>
                  <a:lnTo>
                    <a:pt x="1597432" y="198831"/>
                  </a:lnTo>
                  <a:lnTo>
                    <a:pt x="1597432" y="196799"/>
                  </a:lnTo>
                  <a:lnTo>
                    <a:pt x="1597432" y="197447"/>
                  </a:lnTo>
                  <a:lnTo>
                    <a:pt x="1597483" y="197447"/>
                  </a:lnTo>
                  <a:lnTo>
                    <a:pt x="1597483" y="196799"/>
                  </a:lnTo>
                  <a:lnTo>
                    <a:pt x="1597483" y="197447"/>
                  </a:lnTo>
                  <a:lnTo>
                    <a:pt x="1597483" y="196799"/>
                  </a:lnTo>
                  <a:lnTo>
                    <a:pt x="1597483" y="197447"/>
                  </a:lnTo>
                  <a:lnTo>
                    <a:pt x="1597483" y="196113"/>
                  </a:lnTo>
                  <a:lnTo>
                    <a:pt x="1597483" y="196799"/>
                  </a:lnTo>
                  <a:lnTo>
                    <a:pt x="1597483" y="196113"/>
                  </a:lnTo>
                  <a:lnTo>
                    <a:pt x="1597534" y="196113"/>
                  </a:lnTo>
                  <a:lnTo>
                    <a:pt x="1597534" y="194716"/>
                  </a:lnTo>
                  <a:lnTo>
                    <a:pt x="1597534" y="195415"/>
                  </a:lnTo>
                  <a:lnTo>
                    <a:pt x="1597534" y="194716"/>
                  </a:lnTo>
                  <a:lnTo>
                    <a:pt x="1597572" y="194716"/>
                  </a:lnTo>
                  <a:lnTo>
                    <a:pt x="1597572" y="193383"/>
                  </a:lnTo>
                  <a:lnTo>
                    <a:pt x="1597572" y="195415"/>
                  </a:lnTo>
                  <a:lnTo>
                    <a:pt x="1597673" y="195415"/>
                  </a:lnTo>
                  <a:lnTo>
                    <a:pt x="1597673" y="193383"/>
                  </a:lnTo>
                  <a:lnTo>
                    <a:pt x="1597673" y="196113"/>
                  </a:lnTo>
                  <a:lnTo>
                    <a:pt x="1597724" y="196113"/>
                  </a:lnTo>
                  <a:lnTo>
                    <a:pt x="1597724" y="195415"/>
                  </a:lnTo>
                  <a:lnTo>
                    <a:pt x="1597724" y="196799"/>
                  </a:lnTo>
                  <a:lnTo>
                    <a:pt x="1597724" y="196113"/>
                  </a:lnTo>
                  <a:lnTo>
                    <a:pt x="1597724" y="196799"/>
                  </a:lnTo>
                  <a:lnTo>
                    <a:pt x="1597724" y="196113"/>
                  </a:lnTo>
                  <a:lnTo>
                    <a:pt x="1597724" y="196799"/>
                  </a:lnTo>
                  <a:lnTo>
                    <a:pt x="1597724" y="196113"/>
                  </a:lnTo>
                  <a:lnTo>
                    <a:pt x="1597724" y="196799"/>
                  </a:lnTo>
                  <a:lnTo>
                    <a:pt x="1597724" y="196113"/>
                  </a:lnTo>
                  <a:lnTo>
                    <a:pt x="1597724" y="196799"/>
                  </a:lnTo>
                  <a:lnTo>
                    <a:pt x="1597775" y="196799"/>
                  </a:lnTo>
                  <a:lnTo>
                    <a:pt x="1597775" y="196113"/>
                  </a:lnTo>
                  <a:lnTo>
                    <a:pt x="1597775" y="196799"/>
                  </a:lnTo>
                  <a:lnTo>
                    <a:pt x="1597775" y="196113"/>
                  </a:lnTo>
                  <a:lnTo>
                    <a:pt x="1597775" y="197447"/>
                  </a:lnTo>
                  <a:lnTo>
                    <a:pt x="1597775" y="196799"/>
                  </a:lnTo>
                  <a:lnTo>
                    <a:pt x="1597876" y="197447"/>
                  </a:lnTo>
                  <a:lnTo>
                    <a:pt x="1597876" y="198831"/>
                  </a:lnTo>
                  <a:lnTo>
                    <a:pt x="1597876" y="197447"/>
                  </a:lnTo>
                  <a:lnTo>
                    <a:pt x="1597876" y="198831"/>
                  </a:lnTo>
                  <a:lnTo>
                    <a:pt x="1597876" y="197447"/>
                  </a:lnTo>
                  <a:lnTo>
                    <a:pt x="1597927" y="197447"/>
                  </a:lnTo>
                  <a:lnTo>
                    <a:pt x="1597927" y="196799"/>
                  </a:lnTo>
                  <a:lnTo>
                    <a:pt x="1597978" y="196799"/>
                  </a:lnTo>
                  <a:lnTo>
                    <a:pt x="1597978" y="197447"/>
                  </a:lnTo>
                  <a:lnTo>
                    <a:pt x="1597978" y="196799"/>
                  </a:lnTo>
                  <a:lnTo>
                    <a:pt x="1597978" y="197447"/>
                  </a:lnTo>
                  <a:lnTo>
                    <a:pt x="1597978" y="196113"/>
                  </a:lnTo>
                  <a:lnTo>
                    <a:pt x="1597978" y="196799"/>
                  </a:lnTo>
                  <a:lnTo>
                    <a:pt x="1598029" y="196113"/>
                  </a:lnTo>
                  <a:lnTo>
                    <a:pt x="1598029" y="194716"/>
                  </a:lnTo>
                  <a:lnTo>
                    <a:pt x="1598029" y="195415"/>
                  </a:lnTo>
                  <a:lnTo>
                    <a:pt x="1598029" y="194716"/>
                  </a:lnTo>
                  <a:lnTo>
                    <a:pt x="1598118" y="195415"/>
                  </a:lnTo>
                  <a:lnTo>
                    <a:pt x="1598118" y="194716"/>
                  </a:lnTo>
                  <a:lnTo>
                    <a:pt x="1598118" y="195415"/>
                  </a:lnTo>
                  <a:lnTo>
                    <a:pt x="1598118" y="194716"/>
                  </a:lnTo>
                  <a:lnTo>
                    <a:pt x="1598169" y="193383"/>
                  </a:lnTo>
                  <a:lnTo>
                    <a:pt x="1598169" y="196113"/>
                  </a:lnTo>
                  <a:lnTo>
                    <a:pt x="1598169" y="195415"/>
                  </a:lnTo>
                  <a:lnTo>
                    <a:pt x="1598219" y="196113"/>
                  </a:lnTo>
                  <a:lnTo>
                    <a:pt x="1598219" y="195415"/>
                  </a:lnTo>
                  <a:lnTo>
                    <a:pt x="1598219" y="196799"/>
                  </a:lnTo>
                  <a:lnTo>
                    <a:pt x="1598219" y="195415"/>
                  </a:lnTo>
                  <a:lnTo>
                    <a:pt x="1598219" y="196113"/>
                  </a:lnTo>
                  <a:lnTo>
                    <a:pt x="1598270" y="196113"/>
                  </a:lnTo>
                  <a:lnTo>
                    <a:pt x="1598270" y="196799"/>
                  </a:lnTo>
                  <a:lnTo>
                    <a:pt x="1598372" y="196799"/>
                  </a:lnTo>
                  <a:lnTo>
                    <a:pt x="1598372" y="197447"/>
                  </a:lnTo>
                  <a:lnTo>
                    <a:pt x="1598372" y="196799"/>
                  </a:lnTo>
                  <a:lnTo>
                    <a:pt x="1598372" y="197447"/>
                  </a:lnTo>
                  <a:lnTo>
                    <a:pt x="1598422" y="196799"/>
                  </a:lnTo>
                  <a:lnTo>
                    <a:pt x="1598422" y="197447"/>
                  </a:lnTo>
                  <a:lnTo>
                    <a:pt x="1598422" y="196799"/>
                  </a:lnTo>
                  <a:lnTo>
                    <a:pt x="1598422" y="197447"/>
                  </a:lnTo>
                  <a:lnTo>
                    <a:pt x="1598473" y="197447"/>
                  </a:lnTo>
                  <a:lnTo>
                    <a:pt x="1598473" y="196113"/>
                  </a:lnTo>
                  <a:lnTo>
                    <a:pt x="1598473" y="196799"/>
                  </a:lnTo>
                  <a:lnTo>
                    <a:pt x="1598473" y="196113"/>
                  </a:lnTo>
                  <a:lnTo>
                    <a:pt x="1598473" y="196799"/>
                  </a:lnTo>
                  <a:lnTo>
                    <a:pt x="1598473" y="196113"/>
                  </a:lnTo>
                  <a:lnTo>
                    <a:pt x="1598575" y="196113"/>
                  </a:lnTo>
                  <a:lnTo>
                    <a:pt x="1598575" y="195415"/>
                  </a:lnTo>
                  <a:lnTo>
                    <a:pt x="1598575" y="196113"/>
                  </a:lnTo>
                  <a:lnTo>
                    <a:pt x="1598575" y="194716"/>
                  </a:lnTo>
                  <a:lnTo>
                    <a:pt x="1598613" y="194716"/>
                  </a:lnTo>
                  <a:lnTo>
                    <a:pt x="1598613" y="192684"/>
                  </a:lnTo>
                  <a:lnTo>
                    <a:pt x="1598613" y="194716"/>
                  </a:lnTo>
                  <a:lnTo>
                    <a:pt x="1598613" y="193383"/>
                  </a:lnTo>
                  <a:lnTo>
                    <a:pt x="1598664" y="192684"/>
                  </a:lnTo>
                  <a:lnTo>
                    <a:pt x="1598664" y="193383"/>
                  </a:lnTo>
                  <a:lnTo>
                    <a:pt x="1598664" y="192684"/>
                  </a:lnTo>
                  <a:lnTo>
                    <a:pt x="1598664" y="195415"/>
                  </a:lnTo>
                  <a:lnTo>
                    <a:pt x="1598715" y="194716"/>
                  </a:lnTo>
                  <a:lnTo>
                    <a:pt x="1598715" y="196113"/>
                  </a:lnTo>
                  <a:lnTo>
                    <a:pt x="1598816" y="196113"/>
                  </a:lnTo>
                  <a:lnTo>
                    <a:pt x="1598816" y="195415"/>
                  </a:lnTo>
                  <a:lnTo>
                    <a:pt x="1598816" y="196799"/>
                  </a:lnTo>
                  <a:lnTo>
                    <a:pt x="1598816" y="196113"/>
                  </a:lnTo>
                  <a:lnTo>
                    <a:pt x="1598816" y="196799"/>
                  </a:lnTo>
                  <a:lnTo>
                    <a:pt x="1598867" y="196799"/>
                  </a:lnTo>
                  <a:lnTo>
                    <a:pt x="1598867" y="196113"/>
                  </a:lnTo>
                  <a:lnTo>
                    <a:pt x="1598867" y="196799"/>
                  </a:lnTo>
                  <a:lnTo>
                    <a:pt x="1598918" y="196799"/>
                  </a:lnTo>
                  <a:lnTo>
                    <a:pt x="1598918" y="197447"/>
                  </a:lnTo>
                  <a:lnTo>
                    <a:pt x="1598918" y="196799"/>
                  </a:lnTo>
                  <a:lnTo>
                    <a:pt x="1598918" y="197447"/>
                  </a:lnTo>
                  <a:lnTo>
                    <a:pt x="1599019" y="197447"/>
                  </a:lnTo>
                  <a:lnTo>
                    <a:pt x="1599019" y="196799"/>
                  </a:lnTo>
                  <a:lnTo>
                    <a:pt x="1599019" y="197447"/>
                  </a:lnTo>
                  <a:lnTo>
                    <a:pt x="1599019" y="196799"/>
                  </a:lnTo>
                  <a:lnTo>
                    <a:pt x="1599070" y="196799"/>
                  </a:lnTo>
                  <a:lnTo>
                    <a:pt x="1599070" y="194716"/>
                  </a:lnTo>
                  <a:lnTo>
                    <a:pt x="1599121" y="195415"/>
                  </a:lnTo>
                  <a:lnTo>
                    <a:pt x="1599121" y="193383"/>
                  </a:lnTo>
                  <a:lnTo>
                    <a:pt x="1599159" y="193383"/>
                  </a:lnTo>
                  <a:lnTo>
                    <a:pt x="1599159" y="195415"/>
                  </a:lnTo>
                  <a:lnTo>
                    <a:pt x="1599159" y="194716"/>
                  </a:lnTo>
                  <a:lnTo>
                    <a:pt x="1599261" y="194716"/>
                  </a:lnTo>
                  <a:lnTo>
                    <a:pt x="1599261" y="195415"/>
                  </a:lnTo>
                  <a:lnTo>
                    <a:pt x="1599261" y="194716"/>
                  </a:lnTo>
                  <a:lnTo>
                    <a:pt x="1599312" y="194716"/>
                  </a:lnTo>
                  <a:lnTo>
                    <a:pt x="1599312" y="195415"/>
                  </a:lnTo>
                  <a:lnTo>
                    <a:pt x="1599312" y="194716"/>
                  </a:lnTo>
                  <a:lnTo>
                    <a:pt x="1599312" y="195415"/>
                  </a:lnTo>
                  <a:lnTo>
                    <a:pt x="1599312" y="194716"/>
                  </a:lnTo>
                  <a:lnTo>
                    <a:pt x="1599312" y="195415"/>
                  </a:lnTo>
                  <a:lnTo>
                    <a:pt x="1599362" y="195415"/>
                  </a:lnTo>
                  <a:lnTo>
                    <a:pt x="1599362" y="196113"/>
                  </a:lnTo>
                  <a:lnTo>
                    <a:pt x="1599362" y="195415"/>
                  </a:lnTo>
                  <a:lnTo>
                    <a:pt x="1599362" y="196113"/>
                  </a:lnTo>
                  <a:lnTo>
                    <a:pt x="1599362" y="195415"/>
                  </a:lnTo>
                  <a:lnTo>
                    <a:pt x="1599362" y="196113"/>
                  </a:lnTo>
                  <a:lnTo>
                    <a:pt x="1599464" y="196113"/>
                  </a:lnTo>
                  <a:lnTo>
                    <a:pt x="1599464" y="196799"/>
                  </a:lnTo>
                  <a:lnTo>
                    <a:pt x="1599464" y="196113"/>
                  </a:lnTo>
                  <a:lnTo>
                    <a:pt x="1599464" y="196799"/>
                  </a:lnTo>
                  <a:lnTo>
                    <a:pt x="1599515" y="196799"/>
                  </a:lnTo>
                  <a:lnTo>
                    <a:pt x="1599515" y="196113"/>
                  </a:lnTo>
                  <a:lnTo>
                    <a:pt x="1599515" y="196799"/>
                  </a:lnTo>
                  <a:lnTo>
                    <a:pt x="1599515" y="196113"/>
                  </a:lnTo>
                  <a:lnTo>
                    <a:pt x="1599515" y="196799"/>
                  </a:lnTo>
                  <a:lnTo>
                    <a:pt x="1599515" y="196113"/>
                  </a:lnTo>
                  <a:lnTo>
                    <a:pt x="1599565" y="196113"/>
                  </a:lnTo>
                  <a:lnTo>
                    <a:pt x="1599565" y="193383"/>
                  </a:lnTo>
                  <a:lnTo>
                    <a:pt x="1599616" y="193383"/>
                  </a:lnTo>
                  <a:lnTo>
                    <a:pt x="1599616" y="195415"/>
                  </a:lnTo>
                  <a:lnTo>
                    <a:pt x="1599616" y="194716"/>
                  </a:lnTo>
                  <a:lnTo>
                    <a:pt x="1599616" y="195415"/>
                  </a:lnTo>
                  <a:lnTo>
                    <a:pt x="1599616" y="193383"/>
                  </a:lnTo>
                  <a:lnTo>
                    <a:pt x="1599616" y="194716"/>
                  </a:lnTo>
                  <a:lnTo>
                    <a:pt x="1599705" y="194716"/>
                  </a:lnTo>
                  <a:lnTo>
                    <a:pt x="1599705" y="196799"/>
                  </a:lnTo>
                  <a:lnTo>
                    <a:pt x="1599705" y="195415"/>
                  </a:lnTo>
                  <a:lnTo>
                    <a:pt x="1599705" y="196113"/>
                  </a:lnTo>
                  <a:lnTo>
                    <a:pt x="1599705" y="195415"/>
                  </a:lnTo>
                  <a:lnTo>
                    <a:pt x="1599705" y="196113"/>
                  </a:lnTo>
                  <a:lnTo>
                    <a:pt x="1599756" y="196799"/>
                  </a:lnTo>
                  <a:lnTo>
                    <a:pt x="1599756" y="196113"/>
                  </a:lnTo>
                  <a:lnTo>
                    <a:pt x="1599807" y="196799"/>
                  </a:lnTo>
                  <a:lnTo>
                    <a:pt x="1599807" y="196113"/>
                  </a:lnTo>
                  <a:lnTo>
                    <a:pt x="1599807" y="196799"/>
                  </a:lnTo>
                  <a:lnTo>
                    <a:pt x="1599807" y="196113"/>
                  </a:lnTo>
                  <a:lnTo>
                    <a:pt x="1599807" y="196799"/>
                  </a:lnTo>
                  <a:lnTo>
                    <a:pt x="1599807" y="196113"/>
                  </a:lnTo>
                  <a:lnTo>
                    <a:pt x="1599858" y="196799"/>
                  </a:lnTo>
                  <a:lnTo>
                    <a:pt x="1599858" y="195415"/>
                  </a:lnTo>
                  <a:lnTo>
                    <a:pt x="1599858" y="196799"/>
                  </a:lnTo>
                  <a:lnTo>
                    <a:pt x="1599858" y="196113"/>
                  </a:lnTo>
                  <a:lnTo>
                    <a:pt x="1599858" y="196799"/>
                  </a:lnTo>
                  <a:lnTo>
                    <a:pt x="1599959" y="196113"/>
                  </a:lnTo>
                  <a:lnTo>
                    <a:pt x="1599959" y="197447"/>
                  </a:lnTo>
                  <a:lnTo>
                    <a:pt x="1599959" y="196799"/>
                  </a:lnTo>
                  <a:lnTo>
                    <a:pt x="1599959" y="197447"/>
                  </a:lnTo>
                  <a:lnTo>
                    <a:pt x="1599959" y="196799"/>
                  </a:lnTo>
                  <a:lnTo>
                    <a:pt x="1600010" y="196799"/>
                  </a:lnTo>
                  <a:lnTo>
                    <a:pt x="1600010" y="196113"/>
                  </a:lnTo>
                  <a:lnTo>
                    <a:pt x="1600010" y="196799"/>
                  </a:lnTo>
                  <a:lnTo>
                    <a:pt x="1600010" y="196113"/>
                  </a:lnTo>
                  <a:lnTo>
                    <a:pt x="1600061" y="196113"/>
                  </a:lnTo>
                  <a:lnTo>
                    <a:pt x="1600061" y="196799"/>
                  </a:lnTo>
                  <a:lnTo>
                    <a:pt x="1600061" y="196113"/>
                  </a:lnTo>
                  <a:lnTo>
                    <a:pt x="1600061" y="196799"/>
                  </a:lnTo>
                  <a:lnTo>
                    <a:pt x="1600162" y="196799"/>
                  </a:lnTo>
                  <a:lnTo>
                    <a:pt x="1600162" y="196113"/>
                  </a:lnTo>
                  <a:lnTo>
                    <a:pt x="1600162" y="198831"/>
                  </a:lnTo>
                  <a:lnTo>
                    <a:pt x="1600162" y="197447"/>
                  </a:lnTo>
                  <a:lnTo>
                    <a:pt x="1600200" y="197447"/>
                  </a:lnTo>
                  <a:lnTo>
                    <a:pt x="1600200" y="199530"/>
                  </a:lnTo>
                  <a:lnTo>
                    <a:pt x="1600200" y="198831"/>
                  </a:lnTo>
                  <a:lnTo>
                    <a:pt x="1600251" y="198831"/>
                  </a:lnTo>
                  <a:lnTo>
                    <a:pt x="1600251" y="197447"/>
                  </a:lnTo>
                  <a:lnTo>
                    <a:pt x="1600251" y="198831"/>
                  </a:lnTo>
                  <a:lnTo>
                    <a:pt x="1600251" y="197447"/>
                  </a:lnTo>
                  <a:lnTo>
                    <a:pt x="1600251" y="198831"/>
                  </a:lnTo>
                  <a:lnTo>
                    <a:pt x="1600251" y="197447"/>
                  </a:lnTo>
                  <a:lnTo>
                    <a:pt x="1600251" y="198831"/>
                  </a:lnTo>
                  <a:lnTo>
                    <a:pt x="1600251" y="197447"/>
                  </a:lnTo>
                  <a:lnTo>
                    <a:pt x="1600251" y="198831"/>
                  </a:lnTo>
                  <a:lnTo>
                    <a:pt x="1600302" y="197447"/>
                  </a:lnTo>
                  <a:lnTo>
                    <a:pt x="1600302" y="198831"/>
                  </a:lnTo>
                  <a:lnTo>
                    <a:pt x="1600302" y="197447"/>
                  </a:lnTo>
                  <a:lnTo>
                    <a:pt x="1600455" y="197447"/>
                  </a:lnTo>
                  <a:lnTo>
                    <a:pt x="1600455" y="198831"/>
                  </a:lnTo>
                  <a:lnTo>
                    <a:pt x="1600455" y="196799"/>
                  </a:lnTo>
                  <a:lnTo>
                    <a:pt x="1600455" y="197447"/>
                  </a:lnTo>
                  <a:lnTo>
                    <a:pt x="1600455" y="196799"/>
                  </a:lnTo>
                  <a:lnTo>
                    <a:pt x="1600455" y="197447"/>
                  </a:lnTo>
                  <a:lnTo>
                    <a:pt x="1600455" y="196799"/>
                  </a:lnTo>
                  <a:lnTo>
                    <a:pt x="1600505" y="196799"/>
                  </a:lnTo>
                  <a:lnTo>
                    <a:pt x="1600505" y="196113"/>
                  </a:lnTo>
                  <a:lnTo>
                    <a:pt x="1600505" y="196799"/>
                  </a:lnTo>
                  <a:lnTo>
                    <a:pt x="1600505" y="195415"/>
                  </a:lnTo>
                  <a:lnTo>
                    <a:pt x="1600607" y="195415"/>
                  </a:lnTo>
                  <a:lnTo>
                    <a:pt x="1600607" y="193383"/>
                  </a:lnTo>
                  <a:lnTo>
                    <a:pt x="1600607" y="196113"/>
                  </a:lnTo>
                  <a:lnTo>
                    <a:pt x="1600607" y="195415"/>
                  </a:lnTo>
                  <a:lnTo>
                    <a:pt x="1600658" y="195415"/>
                  </a:lnTo>
                  <a:lnTo>
                    <a:pt x="1600658" y="194716"/>
                  </a:lnTo>
                  <a:lnTo>
                    <a:pt x="1600658" y="197447"/>
                  </a:lnTo>
                  <a:lnTo>
                    <a:pt x="1600658" y="196799"/>
                  </a:lnTo>
                  <a:lnTo>
                    <a:pt x="1600709" y="196799"/>
                  </a:lnTo>
                  <a:lnTo>
                    <a:pt x="1600709" y="196113"/>
                  </a:lnTo>
                  <a:lnTo>
                    <a:pt x="1600709" y="198831"/>
                  </a:lnTo>
                  <a:lnTo>
                    <a:pt x="1600709" y="197447"/>
                  </a:lnTo>
                  <a:lnTo>
                    <a:pt x="1600747" y="197447"/>
                  </a:lnTo>
                  <a:lnTo>
                    <a:pt x="1600747" y="196799"/>
                  </a:lnTo>
                  <a:lnTo>
                    <a:pt x="1600747" y="198831"/>
                  </a:lnTo>
                  <a:lnTo>
                    <a:pt x="1600747" y="196799"/>
                  </a:lnTo>
                  <a:lnTo>
                    <a:pt x="1600747" y="197447"/>
                  </a:lnTo>
                  <a:lnTo>
                    <a:pt x="1600848" y="197447"/>
                  </a:lnTo>
                  <a:lnTo>
                    <a:pt x="1600848" y="198831"/>
                  </a:lnTo>
                  <a:lnTo>
                    <a:pt x="1600848" y="197447"/>
                  </a:lnTo>
                  <a:lnTo>
                    <a:pt x="1600899" y="196799"/>
                  </a:lnTo>
                  <a:lnTo>
                    <a:pt x="1600899" y="198831"/>
                  </a:lnTo>
                  <a:lnTo>
                    <a:pt x="1600899" y="197447"/>
                  </a:lnTo>
                  <a:lnTo>
                    <a:pt x="1600899" y="198831"/>
                  </a:lnTo>
                  <a:lnTo>
                    <a:pt x="1600899" y="197447"/>
                  </a:lnTo>
                  <a:lnTo>
                    <a:pt x="1600950" y="197447"/>
                  </a:lnTo>
                  <a:lnTo>
                    <a:pt x="1600950" y="196799"/>
                  </a:lnTo>
                  <a:lnTo>
                    <a:pt x="1600950" y="197447"/>
                  </a:lnTo>
                  <a:lnTo>
                    <a:pt x="1600950" y="196799"/>
                  </a:lnTo>
                  <a:lnTo>
                    <a:pt x="1601051" y="196113"/>
                  </a:lnTo>
                  <a:lnTo>
                    <a:pt x="1601051" y="196799"/>
                  </a:lnTo>
                  <a:lnTo>
                    <a:pt x="1601051" y="194716"/>
                  </a:lnTo>
                  <a:lnTo>
                    <a:pt x="1601051" y="195415"/>
                  </a:lnTo>
                  <a:lnTo>
                    <a:pt x="1601102" y="195415"/>
                  </a:lnTo>
                  <a:lnTo>
                    <a:pt x="1601102" y="196799"/>
                  </a:lnTo>
                  <a:lnTo>
                    <a:pt x="1601102" y="196113"/>
                  </a:lnTo>
                  <a:lnTo>
                    <a:pt x="1601102" y="196799"/>
                  </a:lnTo>
                  <a:lnTo>
                    <a:pt x="1601153" y="196799"/>
                  </a:lnTo>
                  <a:lnTo>
                    <a:pt x="1601153" y="197447"/>
                  </a:lnTo>
                  <a:lnTo>
                    <a:pt x="1601153" y="196799"/>
                  </a:lnTo>
                  <a:lnTo>
                    <a:pt x="1601153" y="198831"/>
                  </a:lnTo>
                  <a:lnTo>
                    <a:pt x="1601204" y="198831"/>
                  </a:lnTo>
                  <a:lnTo>
                    <a:pt x="1601204" y="197447"/>
                  </a:lnTo>
                  <a:lnTo>
                    <a:pt x="1601204" y="198831"/>
                  </a:lnTo>
                  <a:lnTo>
                    <a:pt x="1601204" y="196799"/>
                  </a:lnTo>
                  <a:lnTo>
                    <a:pt x="1601204" y="197447"/>
                  </a:lnTo>
                  <a:lnTo>
                    <a:pt x="1601293" y="198831"/>
                  </a:lnTo>
                  <a:lnTo>
                    <a:pt x="1601293" y="197447"/>
                  </a:lnTo>
                  <a:lnTo>
                    <a:pt x="1601293" y="198831"/>
                  </a:lnTo>
                  <a:lnTo>
                    <a:pt x="1601293" y="197447"/>
                  </a:lnTo>
                  <a:lnTo>
                    <a:pt x="1601293" y="198831"/>
                  </a:lnTo>
                  <a:lnTo>
                    <a:pt x="1601344" y="198831"/>
                  </a:lnTo>
                  <a:lnTo>
                    <a:pt x="1601344" y="197447"/>
                  </a:lnTo>
                  <a:lnTo>
                    <a:pt x="1601344" y="199530"/>
                  </a:lnTo>
                  <a:lnTo>
                    <a:pt x="1601344" y="198831"/>
                  </a:lnTo>
                  <a:lnTo>
                    <a:pt x="1601394" y="198831"/>
                  </a:lnTo>
                  <a:lnTo>
                    <a:pt x="1601394" y="199530"/>
                  </a:lnTo>
                  <a:lnTo>
                    <a:pt x="1601394" y="197447"/>
                  </a:lnTo>
                  <a:lnTo>
                    <a:pt x="1601445" y="197447"/>
                  </a:lnTo>
                  <a:lnTo>
                    <a:pt x="1601445" y="198831"/>
                  </a:lnTo>
                  <a:lnTo>
                    <a:pt x="1601445" y="196799"/>
                  </a:lnTo>
                  <a:lnTo>
                    <a:pt x="1601547" y="196799"/>
                  </a:lnTo>
                  <a:lnTo>
                    <a:pt x="1601547" y="194716"/>
                  </a:lnTo>
                  <a:lnTo>
                    <a:pt x="1601597" y="194716"/>
                  </a:lnTo>
                  <a:lnTo>
                    <a:pt x="1601597" y="195415"/>
                  </a:lnTo>
                  <a:lnTo>
                    <a:pt x="1601597" y="193383"/>
                  </a:lnTo>
                  <a:lnTo>
                    <a:pt x="1601597" y="195415"/>
                  </a:lnTo>
                  <a:lnTo>
                    <a:pt x="1601648" y="196113"/>
                  </a:lnTo>
                  <a:lnTo>
                    <a:pt x="1601648" y="196799"/>
                  </a:lnTo>
                  <a:lnTo>
                    <a:pt x="1601648" y="196113"/>
                  </a:lnTo>
                  <a:lnTo>
                    <a:pt x="1601648" y="196799"/>
                  </a:lnTo>
                  <a:lnTo>
                    <a:pt x="1601750" y="197447"/>
                  </a:lnTo>
                  <a:lnTo>
                    <a:pt x="1601750" y="196799"/>
                  </a:lnTo>
                  <a:lnTo>
                    <a:pt x="1601750" y="197447"/>
                  </a:lnTo>
                  <a:lnTo>
                    <a:pt x="1601750" y="196799"/>
                  </a:lnTo>
                  <a:lnTo>
                    <a:pt x="1601750" y="198831"/>
                  </a:lnTo>
                  <a:lnTo>
                    <a:pt x="1601750" y="197447"/>
                  </a:lnTo>
                  <a:lnTo>
                    <a:pt x="1601788" y="197447"/>
                  </a:lnTo>
                  <a:lnTo>
                    <a:pt x="1601788" y="198831"/>
                  </a:lnTo>
                  <a:lnTo>
                    <a:pt x="1601788" y="196799"/>
                  </a:lnTo>
                  <a:lnTo>
                    <a:pt x="1601788" y="198831"/>
                  </a:lnTo>
                  <a:lnTo>
                    <a:pt x="1601890" y="198831"/>
                  </a:lnTo>
                  <a:lnTo>
                    <a:pt x="1601890" y="199530"/>
                  </a:lnTo>
                  <a:lnTo>
                    <a:pt x="1601890" y="198831"/>
                  </a:lnTo>
                  <a:lnTo>
                    <a:pt x="1601890" y="199530"/>
                  </a:lnTo>
                  <a:lnTo>
                    <a:pt x="1601890" y="197447"/>
                  </a:lnTo>
                  <a:lnTo>
                    <a:pt x="1601991" y="197447"/>
                  </a:lnTo>
                  <a:lnTo>
                    <a:pt x="1601991" y="198831"/>
                  </a:lnTo>
                  <a:lnTo>
                    <a:pt x="1601991" y="196799"/>
                  </a:lnTo>
                  <a:lnTo>
                    <a:pt x="1601991" y="197447"/>
                  </a:lnTo>
                  <a:lnTo>
                    <a:pt x="1601991" y="196799"/>
                  </a:lnTo>
                  <a:lnTo>
                    <a:pt x="1602042" y="196799"/>
                  </a:lnTo>
                  <a:lnTo>
                    <a:pt x="1602042" y="194716"/>
                  </a:lnTo>
                  <a:lnTo>
                    <a:pt x="1602042" y="196113"/>
                  </a:lnTo>
                  <a:lnTo>
                    <a:pt x="1602093" y="196113"/>
                  </a:lnTo>
                  <a:lnTo>
                    <a:pt x="1602093" y="194716"/>
                  </a:lnTo>
                  <a:lnTo>
                    <a:pt x="1602093" y="197447"/>
                  </a:lnTo>
                  <a:lnTo>
                    <a:pt x="1602194" y="197447"/>
                  </a:lnTo>
                  <a:lnTo>
                    <a:pt x="1602194" y="195415"/>
                  </a:lnTo>
                  <a:lnTo>
                    <a:pt x="1602194" y="196799"/>
                  </a:lnTo>
                  <a:lnTo>
                    <a:pt x="1602245" y="196799"/>
                  </a:lnTo>
                  <a:lnTo>
                    <a:pt x="1602245" y="196113"/>
                  </a:lnTo>
                  <a:lnTo>
                    <a:pt x="1602245" y="196799"/>
                  </a:lnTo>
                  <a:lnTo>
                    <a:pt x="1602245" y="196113"/>
                  </a:lnTo>
                  <a:lnTo>
                    <a:pt x="1602296" y="196799"/>
                  </a:lnTo>
                  <a:lnTo>
                    <a:pt x="1602296" y="196113"/>
                  </a:lnTo>
                  <a:lnTo>
                    <a:pt x="1602296" y="196799"/>
                  </a:lnTo>
                  <a:lnTo>
                    <a:pt x="1602296" y="196113"/>
                  </a:lnTo>
                  <a:lnTo>
                    <a:pt x="1602334" y="196799"/>
                  </a:lnTo>
                  <a:lnTo>
                    <a:pt x="1602334" y="197447"/>
                  </a:lnTo>
                  <a:lnTo>
                    <a:pt x="1602334" y="196799"/>
                  </a:lnTo>
                  <a:lnTo>
                    <a:pt x="1602334" y="198831"/>
                  </a:lnTo>
                  <a:lnTo>
                    <a:pt x="1602436" y="197447"/>
                  </a:lnTo>
                  <a:lnTo>
                    <a:pt x="1602436" y="198831"/>
                  </a:lnTo>
                  <a:lnTo>
                    <a:pt x="1602436" y="197447"/>
                  </a:lnTo>
                  <a:lnTo>
                    <a:pt x="1602436" y="198831"/>
                  </a:lnTo>
                  <a:lnTo>
                    <a:pt x="1602436" y="197447"/>
                  </a:lnTo>
                  <a:lnTo>
                    <a:pt x="1602487" y="197447"/>
                  </a:lnTo>
                  <a:lnTo>
                    <a:pt x="1602487" y="196113"/>
                  </a:lnTo>
                  <a:lnTo>
                    <a:pt x="1602537" y="196113"/>
                  </a:lnTo>
                  <a:lnTo>
                    <a:pt x="1602537" y="194716"/>
                  </a:lnTo>
                  <a:lnTo>
                    <a:pt x="1602537" y="197447"/>
                  </a:lnTo>
                  <a:lnTo>
                    <a:pt x="1602537" y="196113"/>
                  </a:lnTo>
                  <a:lnTo>
                    <a:pt x="1602639" y="195415"/>
                  </a:lnTo>
                  <a:lnTo>
                    <a:pt x="1602639" y="198831"/>
                  </a:lnTo>
                  <a:lnTo>
                    <a:pt x="1602639" y="196799"/>
                  </a:lnTo>
                  <a:lnTo>
                    <a:pt x="1602690" y="196799"/>
                  </a:lnTo>
                  <a:lnTo>
                    <a:pt x="1602690" y="198831"/>
                  </a:lnTo>
                  <a:lnTo>
                    <a:pt x="1602690" y="196799"/>
                  </a:lnTo>
                  <a:lnTo>
                    <a:pt x="1602690" y="197447"/>
                  </a:lnTo>
                  <a:lnTo>
                    <a:pt x="1602740" y="197447"/>
                  </a:lnTo>
                  <a:lnTo>
                    <a:pt x="1602740" y="196799"/>
                  </a:lnTo>
                  <a:lnTo>
                    <a:pt x="1602740" y="198831"/>
                  </a:lnTo>
                  <a:lnTo>
                    <a:pt x="1602740" y="197447"/>
                  </a:lnTo>
                  <a:lnTo>
                    <a:pt x="1602740" y="198831"/>
                  </a:lnTo>
                  <a:lnTo>
                    <a:pt x="1602740" y="196799"/>
                  </a:lnTo>
                  <a:lnTo>
                    <a:pt x="1602740" y="197447"/>
                  </a:lnTo>
                  <a:lnTo>
                    <a:pt x="1602791" y="197447"/>
                  </a:lnTo>
                  <a:lnTo>
                    <a:pt x="1602791" y="198831"/>
                  </a:lnTo>
                  <a:lnTo>
                    <a:pt x="1602880" y="198831"/>
                  </a:lnTo>
                  <a:lnTo>
                    <a:pt x="1602880" y="197447"/>
                  </a:lnTo>
                  <a:lnTo>
                    <a:pt x="1602880" y="198831"/>
                  </a:lnTo>
                  <a:lnTo>
                    <a:pt x="1602880" y="197447"/>
                  </a:lnTo>
                  <a:lnTo>
                    <a:pt x="1602931" y="198831"/>
                  </a:lnTo>
                  <a:lnTo>
                    <a:pt x="1602931" y="197447"/>
                  </a:lnTo>
                  <a:lnTo>
                    <a:pt x="1602931" y="198831"/>
                  </a:lnTo>
                  <a:lnTo>
                    <a:pt x="1602931" y="196799"/>
                  </a:lnTo>
                  <a:lnTo>
                    <a:pt x="1602982" y="196799"/>
                  </a:lnTo>
                  <a:lnTo>
                    <a:pt x="1602982" y="197447"/>
                  </a:lnTo>
                  <a:lnTo>
                    <a:pt x="1602982" y="196799"/>
                  </a:lnTo>
                  <a:lnTo>
                    <a:pt x="1602982" y="197447"/>
                  </a:lnTo>
                  <a:lnTo>
                    <a:pt x="1602982" y="194716"/>
                  </a:lnTo>
                  <a:lnTo>
                    <a:pt x="1603033" y="194716"/>
                  </a:lnTo>
                  <a:lnTo>
                    <a:pt x="1603033" y="197447"/>
                  </a:lnTo>
                  <a:lnTo>
                    <a:pt x="1603033" y="196113"/>
                  </a:lnTo>
                  <a:lnTo>
                    <a:pt x="1603033" y="196799"/>
                  </a:lnTo>
                  <a:lnTo>
                    <a:pt x="1603134" y="196799"/>
                  </a:lnTo>
                  <a:lnTo>
                    <a:pt x="1603134" y="199530"/>
                  </a:lnTo>
                  <a:lnTo>
                    <a:pt x="1603134" y="197447"/>
                  </a:lnTo>
                  <a:lnTo>
                    <a:pt x="1603185" y="198831"/>
                  </a:lnTo>
                  <a:lnTo>
                    <a:pt x="1603185" y="199530"/>
                  </a:lnTo>
                  <a:lnTo>
                    <a:pt x="1603185" y="196799"/>
                  </a:lnTo>
                  <a:lnTo>
                    <a:pt x="1603185" y="198831"/>
                  </a:lnTo>
                  <a:lnTo>
                    <a:pt x="1603236" y="198831"/>
                  </a:lnTo>
                  <a:lnTo>
                    <a:pt x="1603236" y="197447"/>
                  </a:lnTo>
                  <a:lnTo>
                    <a:pt x="1603236" y="198831"/>
                  </a:lnTo>
                  <a:lnTo>
                    <a:pt x="1603236" y="197447"/>
                  </a:lnTo>
                  <a:lnTo>
                    <a:pt x="1603236" y="198831"/>
                  </a:lnTo>
                  <a:lnTo>
                    <a:pt x="1603337" y="198831"/>
                  </a:lnTo>
                  <a:lnTo>
                    <a:pt x="1603337" y="197447"/>
                  </a:lnTo>
                  <a:lnTo>
                    <a:pt x="1603337" y="199530"/>
                  </a:lnTo>
                  <a:lnTo>
                    <a:pt x="1603375" y="199530"/>
                  </a:lnTo>
                  <a:lnTo>
                    <a:pt x="1603375" y="197447"/>
                  </a:lnTo>
                  <a:lnTo>
                    <a:pt x="1603426" y="197447"/>
                  </a:lnTo>
                  <a:lnTo>
                    <a:pt x="1603426" y="196799"/>
                  </a:lnTo>
                  <a:lnTo>
                    <a:pt x="1603426" y="197447"/>
                  </a:lnTo>
                  <a:lnTo>
                    <a:pt x="1603426" y="196113"/>
                  </a:lnTo>
                  <a:lnTo>
                    <a:pt x="1603426" y="196799"/>
                  </a:lnTo>
                  <a:lnTo>
                    <a:pt x="1603426" y="196113"/>
                  </a:lnTo>
                  <a:lnTo>
                    <a:pt x="1603477" y="196113"/>
                  </a:lnTo>
                  <a:lnTo>
                    <a:pt x="1603477" y="193383"/>
                  </a:lnTo>
                  <a:lnTo>
                    <a:pt x="1603477" y="194716"/>
                  </a:lnTo>
                  <a:lnTo>
                    <a:pt x="1603579" y="193383"/>
                  </a:lnTo>
                  <a:lnTo>
                    <a:pt x="1603579" y="196113"/>
                  </a:lnTo>
                  <a:lnTo>
                    <a:pt x="1603579" y="194716"/>
                  </a:lnTo>
                  <a:lnTo>
                    <a:pt x="1603579" y="196799"/>
                  </a:lnTo>
                  <a:lnTo>
                    <a:pt x="1603630" y="197447"/>
                  </a:lnTo>
                  <a:lnTo>
                    <a:pt x="1603630" y="196113"/>
                  </a:lnTo>
                  <a:lnTo>
                    <a:pt x="1603630" y="197447"/>
                  </a:lnTo>
                  <a:lnTo>
                    <a:pt x="1603680" y="197447"/>
                  </a:lnTo>
                  <a:lnTo>
                    <a:pt x="1603680" y="196799"/>
                  </a:lnTo>
                  <a:lnTo>
                    <a:pt x="1603680" y="197447"/>
                  </a:lnTo>
                  <a:lnTo>
                    <a:pt x="1603680" y="196799"/>
                  </a:lnTo>
                  <a:lnTo>
                    <a:pt x="1603782" y="197447"/>
                  </a:lnTo>
                  <a:lnTo>
                    <a:pt x="1603782" y="198831"/>
                  </a:lnTo>
                  <a:lnTo>
                    <a:pt x="1603782" y="197447"/>
                  </a:lnTo>
                  <a:lnTo>
                    <a:pt x="1603782" y="198831"/>
                  </a:lnTo>
                  <a:lnTo>
                    <a:pt x="1603782" y="197447"/>
                  </a:lnTo>
                  <a:lnTo>
                    <a:pt x="1603782" y="198831"/>
                  </a:lnTo>
                  <a:lnTo>
                    <a:pt x="1603782" y="197447"/>
                  </a:lnTo>
                  <a:lnTo>
                    <a:pt x="1603782" y="198831"/>
                  </a:lnTo>
                  <a:lnTo>
                    <a:pt x="1603833" y="198831"/>
                  </a:lnTo>
                  <a:lnTo>
                    <a:pt x="1603833" y="199530"/>
                  </a:lnTo>
                  <a:lnTo>
                    <a:pt x="1603833" y="198831"/>
                  </a:lnTo>
                  <a:lnTo>
                    <a:pt x="1603884" y="198831"/>
                  </a:lnTo>
                  <a:lnTo>
                    <a:pt x="1603884" y="197447"/>
                  </a:lnTo>
                  <a:lnTo>
                    <a:pt x="1603884" y="198831"/>
                  </a:lnTo>
                  <a:lnTo>
                    <a:pt x="1603922" y="197447"/>
                  </a:lnTo>
                  <a:lnTo>
                    <a:pt x="1603922" y="196799"/>
                  </a:lnTo>
                  <a:lnTo>
                    <a:pt x="1603922" y="197447"/>
                  </a:lnTo>
                  <a:lnTo>
                    <a:pt x="1603922" y="196799"/>
                  </a:lnTo>
                  <a:lnTo>
                    <a:pt x="1603922" y="197447"/>
                  </a:lnTo>
                  <a:lnTo>
                    <a:pt x="1603922" y="196113"/>
                  </a:lnTo>
                  <a:lnTo>
                    <a:pt x="1603922" y="196799"/>
                  </a:lnTo>
                  <a:lnTo>
                    <a:pt x="1603922" y="196113"/>
                  </a:lnTo>
                  <a:lnTo>
                    <a:pt x="1603922" y="196799"/>
                  </a:lnTo>
                  <a:lnTo>
                    <a:pt x="1603922" y="196113"/>
                  </a:lnTo>
                  <a:lnTo>
                    <a:pt x="1604023" y="196113"/>
                  </a:lnTo>
                  <a:lnTo>
                    <a:pt x="1604023" y="196799"/>
                  </a:lnTo>
                  <a:lnTo>
                    <a:pt x="1604023" y="194716"/>
                  </a:lnTo>
                  <a:lnTo>
                    <a:pt x="1604023" y="196113"/>
                  </a:lnTo>
                  <a:lnTo>
                    <a:pt x="1604074" y="196113"/>
                  </a:lnTo>
                  <a:lnTo>
                    <a:pt x="1604074" y="195415"/>
                  </a:lnTo>
                  <a:lnTo>
                    <a:pt x="1604074" y="197447"/>
                  </a:lnTo>
                  <a:lnTo>
                    <a:pt x="1604125" y="197447"/>
                  </a:lnTo>
                  <a:lnTo>
                    <a:pt x="1604125" y="196113"/>
                  </a:lnTo>
                  <a:lnTo>
                    <a:pt x="1604125" y="196799"/>
                  </a:lnTo>
                  <a:lnTo>
                    <a:pt x="1604125" y="196113"/>
                  </a:lnTo>
                  <a:lnTo>
                    <a:pt x="1604125" y="197447"/>
                  </a:lnTo>
                  <a:lnTo>
                    <a:pt x="1604226" y="196799"/>
                  </a:lnTo>
                  <a:lnTo>
                    <a:pt x="1604226" y="197447"/>
                  </a:lnTo>
                  <a:lnTo>
                    <a:pt x="1604226" y="196799"/>
                  </a:lnTo>
                  <a:lnTo>
                    <a:pt x="1604226" y="197447"/>
                  </a:lnTo>
                  <a:lnTo>
                    <a:pt x="1604277" y="197447"/>
                  </a:lnTo>
                  <a:lnTo>
                    <a:pt x="1604277" y="196799"/>
                  </a:lnTo>
                  <a:lnTo>
                    <a:pt x="1604277" y="197447"/>
                  </a:lnTo>
                  <a:lnTo>
                    <a:pt x="1604277" y="196799"/>
                  </a:lnTo>
                  <a:lnTo>
                    <a:pt x="1604277" y="198831"/>
                  </a:lnTo>
                  <a:lnTo>
                    <a:pt x="1604277" y="197447"/>
                  </a:lnTo>
                  <a:lnTo>
                    <a:pt x="1604277" y="198831"/>
                  </a:lnTo>
                  <a:lnTo>
                    <a:pt x="1604328" y="198831"/>
                  </a:lnTo>
                  <a:lnTo>
                    <a:pt x="1604328" y="199530"/>
                  </a:lnTo>
                  <a:lnTo>
                    <a:pt x="1604328" y="198831"/>
                  </a:lnTo>
                  <a:lnTo>
                    <a:pt x="1604328" y="199530"/>
                  </a:lnTo>
                  <a:lnTo>
                    <a:pt x="1604328" y="198831"/>
                  </a:lnTo>
                  <a:lnTo>
                    <a:pt x="1604379" y="198831"/>
                  </a:lnTo>
                  <a:lnTo>
                    <a:pt x="1604379" y="197447"/>
                  </a:lnTo>
                  <a:lnTo>
                    <a:pt x="1604379" y="198831"/>
                  </a:lnTo>
                  <a:lnTo>
                    <a:pt x="1604379" y="197447"/>
                  </a:lnTo>
                  <a:lnTo>
                    <a:pt x="1604379" y="198831"/>
                  </a:lnTo>
                  <a:lnTo>
                    <a:pt x="1604379" y="197447"/>
                  </a:lnTo>
                  <a:lnTo>
                    <a:pt x="1604468" y="197447"/>
                  </a:lnTo>
                  <a:lnTo>
                    <a:pt x="1604468" y="196113"/>
                  </a:lnTo>
                  <a:lnTo>
                    <a:pt x="1604468" y="196799"/>
                  </a:lnTo>
                  <a:lnTo>
                    <a:pt x="1604468" y="196113"/>
                  </a:lnTo>
                  <a:lnTo>
                    <a:pt x="1604519" y="196113"/>
                  </a:lnTo>
                  <a:lnTo>
                    <a:pt x="1604519" y="194716"/>
                  </a:lnTo>
                  <a:lnTo>
                    <a:pt x="1604519" y="196799"/>
                  </a:lnTo>
                  <a:lnTo>
                    <a:pt x="1604519" y="196113"/>
                  </a:lnTo>
                  <a:lnTo>
                    <a:pt x="1604569" y="196113"/>
                  </a:lnTo>
                  <a:lnTo>
                    <a:pt x="1604569" y="194716"/>
                  </a:lnTo>
                  <a:lnTo>
                    <a:pt x="1604569" y="197447"/>
                  </a:lnTo>
                  <a:lnTo>
                    <a:pt x="1604569" y="196799"/>
                  </a:lnTo>
                  <a:lnTo>
                    <a:pt x="1604620" y="196799"/>
                  </a:lnTo>
                  <a:lnTo>
                    <a:pt x="1604620" y="196113"/>
                  </a:lnTo>
                  <a:lnTo>
                    <a:pt x="1604620" y="196799"/>
                  </a:lnTo>
                  <a:lnTo>
                    <a:pt x="1604620" y="196113"/>
                  </a:lnTo>
                  <a:lnTo>
                    <a:pt x="1604722" y="196113"/>
                  </a:lnTo>
                  <a:lnTo>
                    <a:pt x="1604722" y="197447"/>
                  </a:lnTo>
                  <a:lnTo>
                    <a:pt x="1604722" y="196799"/>
                  </a:lnTo>
                  <a:lnTo>
                    <a:pt x="1604772" y="196799"/>
                  </a:lnTo>
                  <a:lnTo>
                    <a:pt x="1604772" y="198831"/>
                  </a:lnTo>
                  <a:lnTo>
                    <a:pt x="1604772" y="197447"/>
                  </a:lnTo>
                  <a:lnTo>
                    <a:pt x="1604772" y="198831"/>
                  </a:lnTo>
                  <a:lnTo>
                    <a:pt x="1604772" y="197447"/>
                  </a:lnTo>
                  <a:lnTo>
                    <a:pt x="1604772" y="198831"/>
                  </a:lnTo>
                  <a:lnTo>
                    <a:pt x="1604772" y="197447"/>
                  </a:lnTo>
                  <a:lnTo>
                    <a:pt x="1604823" y="197447"/>
                  </a:lnTo>
                  <a:lnTo>
                    <a:pt x="1604823" y="198831"/>
                  </a:lnTo>
                  <a:lnTo>
                    <a:pt x="1604823" y="197447"/>
                  </a:lnTo>
                  <a:lnTo>
                    <a:pt x="1604823" y="198831"/>
                  </a:lnTo>
                  <a:lnTo>
                    <a:pt x="1604925" y="197447"/>
                  </a:lnTo>
                  <a:lnTo>
                    <a:pt x="1604925" y="198831"/>
                  </a:lnTo>
                  <a:lnTo>
                    <a:pt x="1604925" y="196799"/>
                  </a:lnTo>
                  <a:lnTo>
                    <a:pt x="1604925" y="197447"/>
                  </a:lnTo>
                  <a:lnTo>
                    <a:pt x="1604925" y="196799"/>
                  </a:lnTo>
                  <a:lnTo>
                    <a:pt x="1604963" y="196113"/>
                  </a:lnTo>
                  <a:lnTo>
                    <a:pt x="1604963" y="196799"/>
                  </a:lnTo>
                  <a:lnTo>
                    <a:pt x="1604963" y="196113"/>
                  </a:lnTo>
                  <a:lnTo>
                    <a:pt x="1604963" y="196799"/>
                  </a:lnTo>
                  <a:lnTo>
                    <a:pt x="1604963" y="196113"/>
                  </a:lnTo>
                  <a:lnTo>
                    <a:pt x="1605014" y="196113"/>
                  </a:lnTo>
                  <a:lnTo>
                    <a:pt x="1605014" y="195415"/>
                  </a:lnTo>
                  <a:lnTo>
                    <a:pt x="1605014" y="196799"/>
                  </a:lnTo>
                  <a:lnTo>
                    <a:pt x="1605014" y="196113"/>
                  </a:lnTo>
                  <a:lnTo>
                    <a:pt x="1605014" y="196799"/>
                  </a:lnTo>
                  <a:lnTo>
                    <a:pt x="1605014" y="194716"/>
                  </a:lnTo>
                  <a:lnTo>
                    <a:pt x="1605065" y="194716"/>
                  </a:lnTo>
                  <a:lnTo>
                    <a:pt x="1605065" y="197447"/>
                  </a:lnTo>
                  <a:lnTo>
                    <a:pt x="1605065" y="196799"/>
                  </a:lnTo>
                  <a:lnTo>
                    <a:pt x="1605065" y="197447"/>
                  </a:lnTo>
                  <a:lnTo>
                    <a:pt x="1605065" y="196799"/>
                  </a:lnTo>
                  <a:lnTo>
                    <a:pt x="1605065" y="197447"/>
                  </a:lnTo>
                  <a:lnTo>
                    <a:pt x="1605065" y="196113"/>
                  </a:lnTo>
                  <a:lnTo>
                    <a:pt x="1605166" y="196113"/>
                  </a:lnTo>
                  <a:lnTo>
                    <a:pt x="1605166" y="197447"/>
                  </a:lnTo>
                  <a:lnTo>
                    <a:pt x="1605166" y="196799"/>
                  </a:lnTo>
                  <a:lnTo>
                    <a:pt x="1605166" y="197447"/>
                  </a:lnTo>
                  <a:lnTo>
                    <a:pt x="1605166" y="196113"/>
                  </a:lnTo>
                  <a:lnTo>
                    <a:pt x="1605217" y="196799"/>
                  </a:lnTo>
                  <a:lnTo>
                    <a:pt x="1605217" y="196113"/>
                  </a:lnTo>
                  <a:lnTo>
                    <a:pt x="1605217" y="197447"/>
                  </a:lnTo>
                  <a:lnTo>
                    <a:pt x="1605217" y="196799"/>
                  </a:lnTo>
                  <a:lnTo>
                    <a:pt x="1605268" y="196799"/>
                  </a:lnTo>
                  <a:lnTo>
                    <a:pt x="1605268" y="197447"/>
                  </a:lnTo>
                  <a:lnTo>
                    <a:pt x="1605268" y="196799"/>
                  </a:lnTo>
                  <a:lnTo>
                    <a:pt x="1605268" y="197447"/>
                  </a:lnTo>
                  <a:lnTo>
                    <a:pt x="1605268" y="196799"/>
                  </a:lnTo>
                  <a:lnTo>
                    <a:pt x="1605369" y="196799"/>
                  </a:lnTo>
                  <a:lnTo>
                    <a:pt x="1605369" y="197447"/>
                  </a:lnTo>
                  <a:lnTo>
                    <a:pt x="1605369" y="196799"/>
                  </a:lnTo>
                  <a:lnTo>
                    <a:pt x="1605369" y="197447"/>
                  </a:lnTo>
                  <a:lnTo>
                    <a:pt x="1605369" y="196799"/>
                  </a:lnTo>
                  <a:lnTo>
                    <a:pt x="1605369" y="197447"/>
                  </a:lnTo>
                  <a:lnTo>
                    <a:pt x="1605369" y="196799"/>
                  </a:lnTo>
                  <a:lnTo>
                    <a:pt x="1605420" y="196799"/>
                  </a:lnTo>
                  <a:lnTo>
                    <a:pt x="1605420" y="196113"/>
                  </a:lnTo>
                  <a:lnTo>
                    <a:pt x="1605471" y="196113"/>
                  </a:lnTo>
                  <a:lnTo>
                    <a:pt x="1605471" y="195415"/>
                  </a:lnTo>
                  <a:lnTo>
                    <a:pt x="1605471" y="196113"/>
                  </a:lnTo>
                  <a:lnTo>
                    <a:pt x="1605471" y="195415"/>
                  </a:lnTo>
                  <a:lnTo>
                    <a:pt x="1605471" y="196113"/>
                  </a:lnTo>
                  <a:lnTo>
                    <a:pt x="1605471" y="195415"/>
                  </a:lnTo>
                  <a:lnTo>
                    <a:pt x="1605471" y="196113"/>
                  </a:lnTo>
                  <a:lnTo>
                    <a:pt x="1605471" y="195415"/>
                  </a:lnTo>
                  <a:lnTo>
                    <a:pt x="1605471" y="196113"/>
                  </a:lnTo>
                  <a:lnTo>
                    <a:pt x="1605471" y="195415"/>
                  </a:lnTo>
                  <a:lnTo>
                    <a:pt x="1605471" y="196113"/>
                  </a:lnTo>
                  <a:lnTo>
                    <a:pt x="1605471" y="195415"/>
                  </a:lnTo>
                  <a:lnTo>
                    <a:pt x="1605509" y="196113"/>
                  </a:lnTo>
                  <a:lnTo>
                    <a:pt x="1605509" y="196799"/>
                  </a:lnTo>
                  <a:lnTo>
                    <a:pt x="1605509" y="195415"/>
                  </a:lnTo>
                  <a:lnTo>
                    <a:pt x="1605509" y="197447"/>
                  </a:lnTo>
                  <a:lnTo>
                    <a:pt x="1605611" y="197447"/>
                  </a:lnTo>
                  <a:lnTo>
                    <a:pt x="1605611" y="196799"/>
                  </a:lnTo>
                  <a:lnTo>
                    <a:pt x="1605611" y="197447"/>
                  </a:lnTo>
                  <a:lnTo>
                    <a:pt x="1605611" y="196799"/>
                  </a:lnTo>
                  <a:lnTo>
                    <a:pt x="1605611" y="197447"/>
                  </a:lnTo>
                  <a:lnTo>
                    <a:pt x="1605611" y="196799"/>
                  </a:lnTo>
                  <a:lnTo>
                    <a:pt x="1605611" y="197447"/>
                  </a:lnTo>
                  <a:lnTo>
                    <a:pt x="1605611" y="196799"/>
                  </a:lnTo>
                  <a:lnTo>
                    <a:pt x="1605611" y="197447"/>
                  </a:lnTo>
                  <a:lnTo>
                    <a:pt x="1605662" y="197447"/>
                  </a:lnTo>
                  <a:lnTo>
                    <a:pt x="1605662" y="196799"/>
                  </a:lnTo>
                  <a:lnTo>
                    <a:pt x="1605662" y="197447"/>
                  </a:lnTo>
                  <a:lnTo>
                    <a:pt x="1605662" y="196799"/>
                  </a:lnTo>
                  <a:lnTo>
                    <a:pt x="1605712" y="196799"/>
                  </a:lnTo>
                  <a:lnTo>
                    <a:pt x="1605712" y="197447"/>
                  </a:lnTo>
                  <a:lnTo>
                    <a:pt x="1605712" y="196799"/>
                  </a:lnTo>
                  <a:lnTo>
                    <a:pt x="1605712" y="198831"/>
                  </a:lnTo>
                  <a:lnTo>
                    <a:pt x="1605712" y="197447"/>
                  </a:lnTo>
                  <a:lnTo>
                    <a:pt x="1605712" y="198831"/>
                  </a:lnTo>
                  <a:lnTo>
                    <a:pt x="1605712" y="197447"/>
                  </a:lnTo>
                  <a:lnTo>
                    <a:pt x="1605814" y="197447"/>
                  </a:lnTo>
                  <a:lnTo>
                    <a:pt x="1605814" y="198831"/>
                  </a:lnTo>
                  <a:lnTo>
                    <a:pt x="1605814" y="197447"/>
                  </a:lnTo>
                  <a:lnTo>
                    <a:pt x="1605865" y="197447"/>
                  </a:lnTo>
                  <a:lnTo>
                    <a:pt x="1605865" y="198831"/>
                  </a:lnTo>
                  <a:lnTo>
                    <a:pt x="1605865" y="197447"/>
                  </a:lnTo>
                  <a:lnTo>
                    <a:pt x="1605915" y="197447"/>
                  </a:lnTo>
                  <a:lnTo>
                    <a:pt x="1605915" y="196113"/>
                  </a:lnTo>
                  <a:lnTo>
                    <a:pt x="1605966" y="196113"/>
                  </a:lnTo>
                  <a:lnTo>
                    <a:pt x="1605966" y="195415"/>
                  </a:lnTo>
                  <a:lnTo>
                    <a:pt x="1605966" y="196799"/>
                  </a:lnTo>
                  <a:lnTo>
                    <a:pt x="1606055" y="196799"/>
                  </a:lnTo>
                  <a:lnTo>
                    <a:pt x="1606055" y="196113"/>
                  </a:lnTo>
                  <a:lnTo>
                    <a:pt x="1606055" y="198831"/>
                  </a:lnTo>
                  <a:lnTo>
                    <a:pt x="1606055" y="196799"/>
                  </a:lnTo>
                  <a:lnTo>
                    <a:pt x="1606106" y="197447"/>
                  </a:lnTo>
                  <a:lnTo>
                    <a:pt x="1606106" y="196799"/>
                  </a:lnTo>
                  <a:lnTo>
                    <a:pt x="1606106" y="198831"/>
                  </a:lnTo>
                  <a:lnTo>
                    <a:pt x="1606157" y="197447"/>
                  </a:lnTo>
                  <a:lnTo>
                    <a:pt x="1606157" y="198831"/>
                  </a:lnTo>
                  <a:lnTo>
                    <a:pt x="1606157" y="197447"/>
                  </a:lnTo>
                  <a:lnTo>
                    <a:pt x="1606208" y="198831"/>
                  </a:lnTo>
                  <a:lnTo>
                    <a:pt x="1606208" y="199530"/>
                  </a:lnTo>
                  <a:lnTo>
                    <a:pt x="1606309" y="198831"/>
                  </a:lnTo>
                  <a:lnTo>
                    <a:pt x="1606309" y="199530"/>
                  </a:lnTo>
                  <a:lnTo>
                    <a:pt x="1606309" y="197447"/>
                  </a:lnTo>
                  <a:lnTo>
                    <a:pt x="1606309" y="198831"/>
                  </a:lnTo>
                  <a:lnTo>
                    <a:pt x="1606360" y="198831"/>
                  </a:lnTo>
                  <a:lnTo>
                    <a:pt x="1606360" y="196799"/>
                  </a:lnTo>
                  <a:lnTo>
                    <a:pt x="1606360" y="197447"/>
                  </a:lnTo>
                  <a:lnTo>
                    <a:pt x="1606360" y="196799"/>
                  </a:lnTo>
                  <a:lnTo>
                    <a:pt x="1606411" y="196799"/>
                  </a:lnTo>
                  <a:lnTo>
                    <a:pt x="1606411" y="195415"/>
                  </a:lnTo>
                  <a:lnTo>
                    <a:pt x="1606512" y="195415"/>
                  </a:lnTo>
                  <a:lnTo>
                    <a:pt x="1606512" y="196799"/>
                  </a:lnTo>
                  <a:lnTo>
                    <a:pt x="1606512" y="196113"/>
                  </a:lnTo>
                  <a:lnTo>
                    <a:pt x="1606550" y="196113"/>
                  </a:lnTo>
                  <a:lnTo>
                    <a:pt x="1606550" y="195415"/>
                  </a:lnTo>
                  <a:lnTo>
                    <a:pt x="1606550" y="197447"/>
                  </a:lnTo>
                  <a:lnTo>
                    <a:pt x="1606550" y="196799"/>
                  </a:lnTo>
                  <a:lnTo>
                    <a:pt x="1606550" y="197447"/>
                  </a:lnTo>
                  <a:lnTo>
                    <a:pt x="1606550" y="196113"/>
                  </a:lnTo>
                  <a:lnTo>
                    <a:pt x="1606550" y="196799"/>
                  </a:lnTo>
                  <a:lnTo>
                    <a:pt x="1606601" y="196799"/>
                  </a:lnTo>
                  <a:lnTo>
                    <a:pt x="1606601" y="196113"/>
                  </a:lnTo>
                  <a:lnTo>
                    <a:pt x="1606601" y="197447"/>
                  </a:lnTo>
                  <a:lnTo>
                    <a:pt x="1606601" y="196799"/>
                  </a:lnTo>
                  <a:lnTo>
                    <a:pt x="1606652" y="196799"/>
                  </a:lnTo>
                  <a:lnTo>
                    <a:pt x="1606652" y="197447"/>
                  </a:lnTo>
                  <a:lnTo>
                    <a:pt x="1606754" y="197447"/>
                  </a:lnTo>
                  <a:lnTo>
                    <a:pt x="1606754" y="198831"/>
                  </a:lnTo>
                  <a:lnTo>
                    <a:pt x="1606754" y="197447"/>
                  </a:lnTo>
                  <a:lnTo>
                    <a:pt x="1606754" y="198831"/>
                  </a:lnTo>
                  <a:lnTo>
                    <a:pt x="1606754" y="197447"/>
                  </a:lnTo>
                  <a:lnTo>
                    <a:pt x="1606805" y="197447"/>
                  </a:lnTo>
                  <a:lnTo>
                    <a:pt x="1606805" y="198831"/>
                  </a:lnTo>
                  <a:lnTo>
                    <a:pt x="1606805" y="197447"/>
                  </a:lnTo>
                  <a:lnTo>
                    <a:pt x="1606805" y="198831"/>
                  </a:lnTo>
                  <a:lnTo>
                    <a:pt x="1606805" y="197447"/>
                  </a:lnTo>
                  <a:lnTo>
                    <a:pt x="1606855" y="197447"/>
                  </a:lnTo>
                  <a:lnTo>
                    <a:pt x="1606855" y="196799"/>
                  </a:lnTo>
                  <a:lnTo>
                    <a:pt x="1606957" y="196799"/>
                  </a:lnTo>
                  <a:lnTo>
                    <a:pt x="1606957" y="195415"/>
                  </a:lnTo>
                  <a:lnTo>
                    <a:pt x="1607008" y="195415"/>
                  </a:lnTo>
                  <a:lnTo>
                    <a:pt x="1607008" y="196113"/>
                  </a:lnTo>
                  <a:lnTo>
                    <a:pt x="1607008" y="195415"/>
                  </a:lnTo>
                  <a:lnTo>
                    <a:pt x="1607008" y="196113"/>
                  </a:lnTo>
                  <a:lnTo>
                    <a:pt x="1607059" y="196113"/>
                  </a:lnTo>
                  <a:lnTo>
                    <a:pt x="1607059" y="197447"/>
                  </a:lnTo>
                  <a:lnTo>
                    <a:pt x="1607059" y="196113"/>
                  </a:lnTo>
                  <a:lnTo>
                    <a:pt x="1607059" y="196799"/>
                  </a:lnTo>
                  <a:lnTo>
                    <a:pt x="1607097" y="196799"/>
                  </a:lnTo>
                  <a:lnTo>
                    <a:pt x="1607097" y="197447"/>
                  </a:lnTo>
                  <a:lnTo>
                    <a:pt x="1607097" y="196799"/>
                  </a:lnTo>
                  <a:lnTo>
                    <a:pt x="1607097" y="197447"/>
                  </a:lnTo>
                  <a:lnTo>
                    <a:pt x="1607097" y="196799"/>
                  </a:lnTo>
                  <a:lnTo>
                    <a:pt x="1607097" y="197447"/>
                  </a:lnTo>
                  <a:lnTo>
                    <a:pt x="1607097" y="196799"/>
                  </a:lnTo>
                  <a:lnTo>
                    <a:pt x="1607198" y="196799"/>
                  </a:lnTo>
                  <a:lnTo>
                    <a:pt x="1607198" y="198831"/>
                  </a:lnTo>
                  <a:lnTo>
                    <a:pt x="1607198" y="197447"/>
                  </a:lnTo>
                  <a:lnTo>
                    <a:pt x="1607249" y="198831"/>
                  </a:lnTo>
                  <a:lnTo>
                    <a:pt x="1607249" y="197447"/>
                  </a:lnTo>
                  <a:lnTo>
                    <a:pt x="1607249" y="198831"/>
                  </a:lnTo>
                  <a:lnTo>
                    <a:pt x="1607249" y="197447"/>
                  </a:lnTo>
                  <a:lnTo>
                    <a:pt x="1607249" y="198831"/>
                  </a:lnTo>
                  <a:lnTo>
                    <a:pt x="1607249" y="197447"/>
                  </a:lnTo>
                  <a:lnTo>
                    <a:pt x="1607249" y="198831"/>
                  </a:lnTo>
                  <a:lnTo>
                    <a:pt x="1607300" y="197447"/>
                  </a:lnTo>
                  <a:lnTo>
                    <a:pt x="1607401" y="197447"/>
                  </a:lnTo>
                  <a:lnTo>
                    <a:pt x="1607401" y="196113"/>
                  </a:lnTo>
                  <a:lnTo>
                    <a:pt x="1607401" y="196799"/>
                  </a:lnTo>
                  <a:lnTo>
                    <a:pt x="1607452" y="196113"/>
                  </a:lnTo>
                  <a:lnTo>
                    <a:pt x="1607452" y="196799"/>
                  </a:lnTo>
                  <a:lnTo>
                    <a:pt x="1607452" y="195415"/>
                  </a:lnTo>
                  <a:lnTo>
                    <a:pt x="1607452" y="196113"/>
                  </a:lnTo>
                  <a:lnTo>
                    <a:pt x="1607452" y="194716"/>
                  </a:lnTo>
                  <a:lnTo>
                    <a:pt x="1607503" y="194716"/>
                  </a:lnTo>
                  <a:lnTo>
                    <a:pt x="1607503" y="193383"/>
                  </a:lnTo>
                  <a:lnTo>
                    <a:pt x="1607503" y="195415"/>
                  </a:lnTo>
                  <a:lnTo>
                    <a:pt x="1607503" y="194716"/>
                  </a:lnTo>
                  <a:lnTo>
                    <a:pt x="1607554" y="194716"/>
                  </a:lnTo>
                  <a:lnTo>
                    <a:pt x="1607554" y="193383"/>
                  </a:lnTo>
                  <a:lnTo>
                    <a:pt x="1607554" y="196113"/>
                  </a:lnTo>
                  <a:lnTo>
                    <a:pt x="1607554" y="194716"/>
                  </a:lnTo>
                  <a:lnTo>
                    <a:pt x="1607554" y="195415"/>
                  </a:lnTo>
                  <a:lnTo>
                    <a:pt x="1607643" y="195415"/>
                  </a:lnTo>
                  <a:lnTo>
                    <a:pt x="1607643" y="196799"/>
                  </a:lnTo>
                  <a:lnTo>
                    <a:pt x="1607643" y="195415"/>
                  </a:lnTo>
                  <a:lnTo>
                    <a:pt x="1607694" y="195415"/>
                  </a:lnTo>
                  <a:lnTo>
                    <a:pt x="1607694" y="196799"/>
                  </a:lnTo>
                  <a:lnTo>
                    <a:pt x="1607694" y="196113"/>
                  </a:lnTo>
                  <a:lnTo>
                    <a:pt x="1607694" y="196799"/>
                  </a:lnTo>
                  <a:lnTo>
                    <a:pt x="1607744" y="196799"/>
                  </a:lnTo>
                  <a:lnTo>
                    <a:pt x="1607744" y="198831"/>
                  </a:lnTo>
                  <a:lnTo>
                    <a:pt x="1607744" y="197447"/>
                  </a:lnTo>
                  <a:lnTo>
                    <a:pt x="1607744" y="198831"/>
                  </a:lnTo>
                  <a:lnTo>
                    <a:pt x="1607744" y="197447"/>
                  </a:lnTo>
                  <a:lnTo>
                    <a:pt x="1607795" y="198831"/>
                  </a:lnTo>
                  <a:lnTo>
                    <a:pt x="1607795" y="197447"/>
                  </a:lnTo>
                  <a:lnTo>
                    <a:pt x="1607795" y="198831"/>
                  </a:lnTo>
                  <a:lnTo>
                    <a:pt x="1607795" y="197447"/>
                  </a:lnTo>
                  <a:lnTo>
                    <a:pt x="1607795" y="198831"/>
                  </a:lnTo>
                  <a:lnTo>
                    <a:pt x="1607795" y="197447"/>
                  </a:lnTo>
                  <a:lnTo>
                    <a:pt x="1607795" y="198831"/>
                  </a:lnTo>
                  <a:lnTo>
                    <a:pt x="1607795" y="197447"/>
                  </a:lnTo>
                  <a:lnTo>
                    <a:pt x="1607897" y="197447"/>
                  </a:lnTo>
                  <a:lnTo>
                    <a:pt x="1607897" y="198831"/>
                  </a:lnTo>
                  <a:lnTo>
                    <a:pt x="1607897" y="196799"/>
                  </a:lnTo>
                  <a:lnTo>
                    <a:pt x="1607947" y="196799"/>
                  </a:lnTo>
                  <a:lnTo>
                    <a:pt x="1607947" y="194716"/>
                  </a:lnTo>
                  <a:lnTo>
                    <a:pt x="1607998" y="194716"/>
                  </a:lnTo>
                  <a:lnTo>
                    <a:pt x="1607998" y="196113"/>
                  </a:lnTo>
                  <a:lnTo>
                    <a:pt x="1607998" y="195415"/>
                  </a:lnTo>
                  <a:lnTo>
                    <a:pt x="1607998" y="196113"/>
                  </a:lnTo>
                  <a:lnTo>
                    <a:pt x="1607998" y="193383"/>
                  </a:lnTo>
                  <a:lnTo>
                    <a:pt x="1608100" y="194716"/>
                  </a:lnTo>
                  <a:lnTo>
                    <a:pt x="1608100" y="196113"/>
                  </a:lnTo>
                  <a:lnTo>
                    <a:pt x="1608100" y="194716"/>
                  </a:lnTo>
                  <a:lnTo>
                    <a:pt x="1608138" y="195415"/>
                  </a:lnTo>
                  <a:lnTo>
                    <a:pt x="1608138" y="196799"/>
                  </a:lnTo>
                  <a:lnTo>
                    <a:pt x="1608138" y="196113"/>
                  </a:lnTo>
                  <a:lnTo>
                    <a:pt x="1608138" y="196799"/>
                  </a:lnTo>
                  <a:lnTo>
                    <a:pt x="1608138" y="195415"/>
                  </a:lnTo>
                  <a:lnTo>
                    <a:pt x="1608138" y="196113"/>
                  </a:lnTo>
                  <a:lnTo>
                    <a:pt x="1608189" y="196113"/>
                  </a:lnTo>
                  <a:lnTo>
                    <a:pt x="1608189" y="196799"/>
                  </a:lnTo>
                  <a:lnTo>
                    <a:pt x="1608240" y="196799"/>
                  </a:lnTo>
                  <a:lnTo>
                    <a:pt x="1608240" y="196113"/>
                  </a:lnTo>
                  <a:lnTo>
                    <a:pt x="1608240" y="197447"/>
                  </a:lnTo>
                  <a:lnTo>
                    <a:pt x="1608240" y="196113"/>
                  </a:lnTo>
                  <a:lnTo>
                    <a:pt x="1608240" y="196799"/>
                  </a:lnTo>
                  <a:lnTo>
                    <a:pt x="1608341" y="196799"/>
                  </a:lnTo>
                  <a:lnTo>
                    <a:pt x="1608341" y="196113"/>
                  </a:lnTo>
                  <a:lnTo>
                    <a:pt x="1608341" y="196799"/>
                  </a:lnTo>
                  <a:lnTo>
                    <a:pt x="1608341" y="196113"/>
                  </a:lnTo>
                  <a:lnTo>
                    <a:pt x="1608341" y="196799"/>
                  </a:lnTo>
                  <a:lnTo>
                    <a:pt x="1608341" y="196113"/>
                  </a:lnTo>
                  <a:lnTo>
                    <a:pt x="1608341" y="196799"/>
                  </a:lnTo>
                  <a:lnTo>
                    <a:pt x="1608392" y="196799"/>
                  </a:lnTo>
                  <a:lnTo>
                    <a:pt x="1608392" y="196113"/>
                  </a:lnTo>
                  <a:lnTo>
                    <a:pt x="1608392" y="196799"/>
                  </a:lnTo>
                  <a:lnTo>
                    <a:pt x="1608392" y="196113"/>
                  </a:lnTo>
                  <a:lnTo>
                    <a:pt x="1608392" y="196799"/>
                  </a:lnTo>
                  <a:lnTo>
                    <a:pt x="1608392" y="196113"/>
                  </a:lnTo>
                  <a:lnTo>
                    <a:pt x="1608392" y="196799"/>
                  </a:lnTo>
                  <a:lnTo>
                    <a:pt x="1608392" y="196113"/>
                  </a:lnTo>
                  <a:lnTo>
                    <a:pt x="1608392" y="196799"/>
                  </a:lnTo>
                  <a:lnTo>
                    <a:pt x="1608392" y="196113"/>
                  </a:lnTo>
                  <a:lnTo>
                    <a:pt x="1608443" y="196113"/>
                  </a:lnTo>
                  <a:lnTo>
                    <a:pt x="1608443" y="195415"/>
                  </a:lnTo>
                  <a:lnTo>
                    <a:pt x="1608443" y="196113"/>
                  </a:lnTo>
                  <a:lnTo>
                    <a:pt x="1608443" y="194716"/>
                  </a:lnTo>
                  <a:lnTo>
                    <a:pt x="1608443" y="195415"/>
                  </a:lnTo>
                  <a:lnTo>
                    <a:pt x="1608544" y="195415"/>
                  </a:lnTo>
                  <a:lnTo>
                    <a:pt x="1608544" y="196113"/>
                  </a:lnTo>
                  <a:lnTo>
                    <a:pt x="1608544" y="194716"/>
                  </a:lnTo>
                  <a:lnTo>
                    <a:pt x="1608544" y="196799"/>
                  </a:lnTo>
                  <a:lnTo>
                    <a:pt x="1608595" y="196799"/>
                  </a:lnTo>
                  <a:lnTo>
                    <a:pt x="1608595" y="196113"/>
                  </a:lnTo>
                  <a:lnTo>
                    <a:pt x="1608595" y="196799"/>
                  </a:lnTo>
                  <a:lnTo>
                    <a:pt x="1608595" y="196113"/>
                  </a:lnTo>
                  <a:lnTo>
                    <a:pt x="1608595" y="196799"/>
                  </a:lnTo>
                  <a:lnTo>
                    <a:pt x="1608595" y="196113"/>
                  </a:lnTo>
                  <a:lnTo>
                    <a:pt x="1608595" y="197447"/>
                  </a:lnTo>
                  <a:lnTo>
                    <a:pt x="1608595" y="196799"/>
                  </a:lnTo>
                  <a:lnTo>
                    <a:pt x="1608646" y="196799"/>
                  </a:lnTo>
                  <a:lnTo>
                    <a:pt x="1608646" y="196113"/>
                  </a:lnTo>
                  <a:lnTo>
                    <a:pt x="1608646" y="196799"/>
                  </a:lnTo>
                  <a:lnTo>
                    <a:pt x="1608646" y="196113"/>
                  </a:lnTo>
                  <a:lnTo>
                    <a:pt x="1608646" y="196799"/>
                  </a:lnTo>
                  <a:lnTo>
                    <a:pt x="1608786" y="196799"/>
                  </a:lnTo>
                  <a:lnTo>
                    <a:pt x="1608786" y="197447"/>
                  </a:lnTo>
                  <a:lnTo>
                    <a:pt x="1608786" y="196799"/>
                  </a:lnTo>
                  <a:lnTo>
                    <a:pt x="1608786" y="197447"/>
                  </a:lnTo>
                  <a:lnTo>
                    <a:pt x="1608786" y="196799"/>
                  </a:lnTo>
                  <a:lnTo>
                    <a:pt x="1608837" y="197447"/>
                  </a:lnTo>
                  <a:lnTo>
                    <a:pt x="1608837" y="196799"/>
                  </a:lnTo>
                  <a:lnTo>
                    <a:pt x="1608837" y="197447"/>
                  </a:lnTo>
                  <a:lnTo>
                    <a:pt x="1608837" y="196799"/>
                  </a:lnTo>
                  <a:lnTo>
                    <a:pt x="1608837" y="198831"/>
                  </a:lnTo>
                  <a:lnTo>
                    <a:pt x="1608837" y="197447"/>
                  </a:lnTo>
                  <a:lnTo>
                    <a:pt x="1608887" y="196799"/>
                  </a:lnTo>
                  <a:lnTo>
                    <a:pt x="1608887" y="197447"/>
                  </a:lnTo>
                  <a:lnTo>
                    <a:pt x="1608887" y="196113"/>
                  </a:lnTo>
                  <a:lnTo>
                    <a:pt x="1608989" y="196113"/>
                  </a:lnTo>
                  <a:lnTo>
                    <a:pt x="1608989" y="195415"/>
                  </a:lnTo>
                  <a:lnTo>
                    <a:pt x="1608989" y="196799"/>
                  </a:lnTo>
                  <a:lnTo>
                    <a:pt x="1609040" y="196799"/>
                  </a:lnTo>
                  <a:lnTo>
                    <a:pt x="1609040" y="196113"/>
                  </a:lnTo>
                  <a:lnTo>
                    <a:pt x="1609040" y="198831"/>
                  </a:lnTo>
                  <a:lnTo>
                    <a:pt x="1609040" y="197447"/>
                  </a:lnTo>
                  <a:lnTo>
                    <a:pt x="1609090" y="197447"/>
                  </a:lnTo>
                  <a:lnTo>
                    <a:pt x="1609090" y="196799"/>
                  </a:lnTo>
                  <a:lnTo>
                    <a:pt x="1609090" y="198831"/>
                  </a:lnTo>
                  <a:lnTo>
                    <a:pt x="1609090" y="197447"/>
                  </a:lnTo>
                  <a:lnTo>
                    <a:pt x="1609141" y="197447"/>
                  </a:lnTo>
                  <a:lnTo>
                    <a:pt x="1609141" y="198831"/>
                  </a:lnTo>
                  <a:lnTo>
                    <a:pt x="1609141" y="197447"/>
                  </a:lnTo>
                  <a:lnTo>
                    <a:pt x="1609141" y="198831"/>
                  </a:lnTo>
                  <a:lnTo>
                    <a:pt x="1609141" y="197447"/>
                  </a:lnTo>
                  <a:lnTo>
                    <a:pt x="1609141" y="198831"/>
                  </a:lnTo>
                  <a:lnTo>
                    <a:pt x="1609141" y="197447"/>
                  </a:lnTo>
                  <a:lnTo>
                    <a:pt x="1609141" y="198831"/>
                  </a:lnTo>
                  <a:lnTo>
                    <a:pt x="1609230" y="198831"/>
                  </a:lnTo>
                  <a:lnTo>
                    <a:pt x="1609230" y="197447"/>
                  </a:lnTo>
                  <a:lnTo>
                    <a:pt x="1609230" y="198831"/>
                  </a:lnTo>
                  <a:lnTo>
                    <a:pt x="1609230" y="197447"/>
                  </a:lnTo>
                  <a:lnTo>
                    <a:pt x="1609230" y="198831"/>
                  </a:lnTo>
                  <a:lnTo>
                    <a:pt x="1609230" y="197447"/>
                  </a:lnTo>
                  <a:lnTo>
                    <a:pt x="1609281" y="197447"/>
                  </a:lnTo>
                  <a:lnTo>
                    <a:pt x="1609281" y="198831"/>
                  </a:lnTo>
                  <a:lnTo>
                    <a:pt x="1609281" y="197447"/>
                  </a:lnTo>
                  <a:lnTo>
                    <a:pt x="1609332" y="197447"/>
                  </a:lnTo>
                  <a:lnTo>
                    <a:pt x="1609332" y="196799"/>
                  </a:lnTo>
                  <a:lnTo>
                    <a:pt x="1609383" y="196113"/>
                  </a:lnTo>
                  <a:lnTo>
                    <a:pt x="1609383" y="196799"/>
                  </a:lnTo>
                  <a:lnTo>
                    <a:pt x="1609383" y="196113"/>
                  </a:lnTo>
                  <a:lnTo>
                    <a:pt x="1609383" y="196799"/>
                  </a:lnTo>
                  <a:lnTo>
                    <a:pt x="1609383" y="196113"/>
                  </a:lnTo>
                  <a:lnTo>
                    <a:pt x="1609383" y="196799"/>
                  </a:lnTo>
                  <a:lnTo>
                    <a:pt x="1609383" y="194716"/>
                  </a:lnTo>
                  <a:lnTo>
                    <a:pt x="1609484" y="194716"/>
                  </a:lnTo>
                  <a:lnTo>
                    <a:pt x="1609484" y="193383"/>
                  </a:lnTo>
                  <a:lnTo>
                    <a:pt x="1609484" y="196113"/>
                  </a:lnTo>
                  <a:lnTo>
                    <a:pt x="1609484" y="194716"/>
                  </a:lnTo>
                  <a:lnTo>
                    <a:pt x="1609535" y="194716"/>
                  </a:lnTo>
                  <a:lnTo>
                    <a:pt x="1609535" y="197447"/>
                  </a:lnTo>
                  <a:lnTo>
                    <a:pt x="1609535" y="196113"/>
                  </a:lnTo>
                  <a:lnTo>
                    <a:pt x="1609586" y="196799"/>
                  </a:lnTo>
                  <a:lnTo>
                    <a:pt x="1609586" y="197447"/>
                  </a:lnTo>
                  <a:lnTo>
                    <a:pt x="1609586" y="196799"/>
                  </a:lnTo>
                  <a:lnTo>
                    <a:pt x="1609687" y="196799"/>
                  </a:lnTo>
                  <a:lnTo>
                    <a:pt x="1609687" y="197447"/>
                  </a:lnTo>
                  <a:lnTo>
                    <a:pt x="1609725" y="197447"/>
                  </a:lnTo>
                  <a:lnTo>
                    <a:pt x="1609725" y="198831"/>
                  </a:lnTo>
                  <a:lnTo>
                    <a:pt x="1609725" y="197447"/>
                  </a:lnTo>
                  <a:lnTo>
                    <a:pt x="1609725" y="198831"/>
                  </a:lnTo>
                  <a:lnTo>
                    <a:pt x="1609776" y="197447"/>
                  </a:lnTo>
                  <a:lnTo>
                    <a:pt x="1609776" y="198831"/>
                  </a:lnTo>
                  <a:lnTo>
                    <a:pt x="1609776" y="197447"/>
                  </a:lnTo>
                  <a:lnTo>
                    <a:pt x="1609776" y="199530"/>
                  </a:lnTo>
                  <a:lnTo>
                    <a:pt x="1609776" y="197447"/>
                  </a:lnTo>
                  <a:lnTo>
                    <a:pt x="1609827" y="197447"/>
                  </a:lnTo>
                  <a:lnTo>
                    <a:pt x="1609827" y="196799"/>
                  </a:lnTo>
                  <a:lnTo>
                    <a:pt x="1609827" y="197447"/>
                  </a:lnTo>
                  <a:lnTo>
                    <a:pt x="1609827" y="196799"/>
                  </a:lnTo>
                  <a:lnTo>
                    <a:pt x="1609929" y="196799"/>
                  </a:lnTo>
                  <a:lnTo>
                    <a:pt x="1609929" y="196113"/>
                  </a:lnTo>
                  <a:lnTo>
                    <a:pt x="1609929" y="196799"/>
                  </a:lnTo>
                  <a:lnTo>
                    <a:pt x="1609929" y="196113"/>
                  </a:lnTo>
                  <a:lnTo>
                    <a:pt x="1609929" y="196799"/>
                  </a:lnTo>
                  <a:lnTo>
                    <a:pt x="1609929" y="195415"/>
                  </a:lnTo>
                  <a:lnTo>
                    <a:pt x="1609929" y="196799"/>
                  </a:lnTo>
                  <a:lnTo>
                    <a:pt x="1609980" y="196799"/>
                  </a:lnTo>
                  <a:lnTo>
                    <a:pt x="1609980" y="195415"/>
                  </a:lnTo>
                  <a:lnTo>
                    <a:pt x="1609980" y="197447"/>
                  </a:lnTo>
                  <a:lnTo>
                    <a:pt x="1610030" y="197447"/>
                  </a:lnTo>
                  <a:lnTo>
                    <a:pt x="1610030" y="198831"/>
                  </a:lnTo>
                  <a:lnTo>
                    <a:pt x="1610030" y="196799"/>
                  </a:lnTo>
                  <a:lnTo>
                    <a:pt x="1610030" y="198831"/>
                  </a:lnTo>
                  <a:lnTo>
                    <a:pt x="1610030" y="197447"/>
                  </a:lnTo>
                  <a:lnTo>
                    <a:pt x="1610132" y="197447"/>
                  </a:lnTo>
                  <a:lnTo>
                    <a:pt x="1610132" y="198831"/>
                  </a:lnTo>
                  <a:lnTo>
                    <a:pt x="1610132" y="197447"/>
                  </a:lnTo>
                  <a:lnTo>
                    <a:pt x="1610132" y="198831"/>
                  </a:lnTo>
                  <a:lnTo>
                    <a:pt x="1610132" y="197447"/>
                  </a:lnTo>
                  <a:lnTo>
                    <a:pt x="1610132" y="198831"/>
                  </a:lnTo>
                  <a:lnTo>
                    <a:pt x="1610272" y="198831"/>
                  </a:lnTo>
                  <a:lnTo>
                    <a:pt x="1610272" y="197447"/>
                  </a:lnTo>
                  <a:lnTo>
                    <a:pt x="1610272" y="198831"/>
                  </a:lnTo>
                  <a:lnTo>
                    <a:pt x="1610272" y="197447"/>
                  </a:lnTo>
                  <a:lnTo>
                    <a:pt x="1610373" y="197447"/>
                  </a:lnTo>
                  <a:lnTo>
                    <a:pt x="1610373" y="196799"/>
                  </a:lnTo>
                  <a:lnTo>
                    <a:pt x="1610373" y="197447"/>
                  </a:lnTo>
                  <a:lnTo>
                    <a:pt x="1610373" y="196799"/>
                  </a:lnTo>
                  <a:lnTo>
                    <a:pt x="1610373" y="197447"/>
                  </a:lnTo>
                  <a:lnTo>
                    <a:pt x="1610373" y="196113"/>
                  </a:lnTo>
                  <a:lnTo>
                    <a:pt x="1610424" y="196799"/>
                  </a:lnTo>
                  <a:lnTo>
                    <a:pt x="1610424" y="194716"/>
                  </a:lnTo>
                  <a:lnTo>
                    <a:pt x="1610424" y="195415"/>
                  </a:lnTo>
                  <a:lnTo>
                    <a:pt x="1610424" y="194716"/>
                  </a:lnTo>
                  <a:lnTo>
                    <a:pt x="1610424" y="196113"/>
                  </a:lnTo>
                  <a:lnTo>
                    <a:pt x="1610475" y="196113"/>
                  </a:lnTo>
                  <a:lnTo>
                    <a:pt x="1610475" y="193383"/>
                  </a:lnTo>
                  <a:lnTo>
                    <a:pt x="1610475" y="197447"/>
                  </a:lnTo>
                  <a:lnTo>
                    <a:pt x="1610576" y="197447"/>
                  </a:lnTo>
                  <a:lnTo>
                    <a:pt x="1610576" y="195415"/>
                  </a:lnTo>
                  <a:lnTo>
                    <a:pt x="1610576" y="198831"/>
                  </a:lnTo>
                  <a:lnTo>
                    <a:pt x="1610576" y="197447"/>
                  </a:lnTo>
                  <a:lnTo>
                    <a:pt x="1610627" y="197447"/>
                  </a:lnTo>
                  <a:lnTo>
                    <a:pt x="1610627" y="196799"/>
                  </a:lnTo>
                  <a:lnTo>
                    <a:pt x="1610627" y="198831"/>
                  </a:lnTo>
                  <a:lnTo>
                    <a:pt x="1610627" y="197447"/>
                  </a:lnTo>
                  <a:lnTo>
                    <a:pt x="1610678" y="197447"/>
                  </a:lnTo>
                  <a:lnTo>
                    <a:pt x="1610678" y="196799"/>
                  </a:lnTo>
                  <a:lnTo>
                    <a:pt x="1610678" y="198831"/>
                  </a:lnTo>
                  <a:lnTo>
                    <a:pt x="1610678" y="197447"/>
                  </a:lnTo>
                  <a:lnTo>
                    <a:pt x="1610678" y="198831"/>
                  </a:lnTo>
                  <a:lnTo>
                    <a:pt x="1610678" y="197447"/>
                  </a:lnTo>
                  <a:lnTo>
                    <a:pt x="1610729" y="197447"/>
                  </a:lnTo>
                  <a:lnTo>
                    <a:pt x="1610729" y="198831"/>
                  </a:lnTo>
                  <a:lnTo>
                    <a:pt x="1610729" y="197447"/>
                  </a:lnTo>
                  <a:lnTo>
                    <a:pt x="1610729" y="198831"/>
                  </a:lnTo>
                  <a:lnTo>
                    <a:pt x="1610729" y="197447"/>
                  </a:lnTo>
                  <a:lnTo>
                    <a:pt x="1610729" y="198831"/>
                  </a:lnTo>
                  <a:lnTo>
                    <a:pt x="1610729" y="197447"/>
                  </a:lnTo>
                  <a:lnTo>
                    <a:pt x="1610818" y="197447"/>
                  </a:lnTo>
                  <a:lnTo>
                    <a:pt x="1610818" y="199530"/>
                  </a:lnTo>
                  <a:lnTo>
                    <a:pt x="1610818" y="197447"/>
                  </a:lnTo>
                  <a:lnTo>
                    <a:pt x="1610818" y="198831"/>
                  </a:lnTo>
                  <a:lnTo>
                    <a:pt x="1610818" y="197447"/>
                  </a:lnTo>
                  <a:lnTo>
                    <a:pt x="1610869" y="197447"/>
                  </a:lnTo>
                  <a:lnTo>
                    <a:pt x="1610869" y="198831"/>
                  </a:lnTo>
                  <a:lnTo>
                    <a:pt x="1610869" y="196113"/>
                  </a:lnTo>
                  <a:lnTo>
                    <a:pt x="1610919" y="196113"/>
                  </a:lnTo>
                  <a:lnTo>
                    <a:pt x="1610919" y="195415"/>
                  </a:lnTo>
                  <a:lnTo>
                    <a:pt x="1610919" y="196799"/>
                  </a:lnTo>
                  <a:lnTo>
                    <a:pt x="1610919" y="194716"/>
                  </a:lnTo>
                  <a:lnTo>
                    <a:pt x="1610970" y="194716"/>
                  </a:lnTo>
                  <a:lnTo>
                    <a:pt x="1610970" y="197447"/>
                  </a:lnTo>
                  <a:lnTo>
                    <a:pt x="1610970" y="195415"/>
                  </a:lnTo>
                  <a:lnTo>
                    <a:pt x="1610970" y="196113"/>
                  </a:lnTo>
                  <a:lnTo>
                    <a:pt x="1611072" y="196113"/>
                  </a:lnTo>
                  <a:lnTo>
                    <a:pt x="1611072" y="195415"/>
                  </a:lnTo>
                  <a:lnTo>
                    <a:pt x="1611072" y="197447"/>
                  </a:lnTo>
                  <a:lnTo>
                    <a:pt x="1611072" y="196113"/>
                  </a:lnTo>
                  <a:lnTo>
                    <a:pt x="1611122" y="196113"/>
                  </a:lnTo>
                  <a:lnTo>
                    <a:pt x="1611122" y="197447"/>
                  </a:lnTo>
                  <a:lnTo>
                    <a:pt x="1611122" y="196799"/>
                  </a:lnTo>
                  <a:lnTo>
                    <a:pt x="1611173" y="196799"/>
                  </a:lnTo>
                  <a:lnTo>
                    <a:pt x="1611173" y="197447"/>
                  </a:lnTo>
                  <a:lnTo>
                    <a:pt x="1611173" y="196799"/>
                  </a:lnTo>
                  <a:lnTo>
                    <a:pt x="1611173" y="197447"/>
                  </a:lnTo>
                  <a:lnTo>
                    <a:pt x="1611173" y="196799"/>
                  </a:lnTo>
                  <a:lnTo>
                    <a:pt x="1611173" y="197447"/>
                  </a:lnTo>
                  <a:lnTo>
                    <a:pt x="1611275" y="197447"/>
                  </a:lnTo>
                  <a:lnTo>
                    <a:pt x="1611275" y="196799"/>
                  </a:lnTo>
                  <a:lnTo>
                    <a:pt x="1611275" y="197447"/>
                  </a:lnTo>
                  <a:lnTo>
                    <a:pt x="1611275" y="196799"/>
                  </a:lnTo>
                  <a:lnTo>
                    <a:pt x="1611275" y="197447"/>
                  </a:lnTo>
                  <a:lnTo>
                    <a:pt x="1611313" y="197447"/>
                  </a:lnTo>
                  <a:lnTo>
                    <a:pt x="1611313" y="196799"/>
                  </a:lnTo>
                  <a:lnTo>
                    <a:pt x="1611313" y="197447"/>
                  </a:lnTo>
                  <a:lnTo>
                    <a:pt x="1611313" y="196799"/>
                  </a:lnTo>
                  <a:lnTo>
                    <a:pt x="1611313" y="197447"/>
                  </a:lnTo>
                  <a:lnTo>
                    <a:pt x="1611313" y="196799"/>
                  </a:lnTo>
                  <a:lnTo>
                    <a:pt x="1611364" y="196799"/>
                  </a:lnTo>
                  <a:lnTo>
                    <a:pt x="1611364" y="195415"/>
                  </a:lnTo>
                  <a:lnTo>
                    <a:pt x="1611364" y="196113"/>
                  </a:lnTo>
                  <a:lnTo>
                    <a:pt x="1611364" y="194716"/>
                  </a:lnTo>
                  <a:lnTo>
                    <a:pt x="1611415" y="195415"/>
                  </a:lnTo>
                  <a:lnTo>
                    <a:pt x="1611415" y="196799"/>
                  </a:lnTo>
                  <a:lnTo>
                    <a:pt x="1611415" y="194716"/>
                  </a:lnTo>
                  <a:lnTo>
                    <a:pt x="1611415" y="196113"/>
                  </a:lnTo>
                  <a:lnTo>
                    <a:pt x="1611516" y="196799"/>
                  </a:lnTo>
                  <a:lnTo>
                    <a:pt x="1611516" y="198831"/>
                  </a:lnTo>
                  <a:lnTo>
                    <a:pt x="1611516" y="196113"/>
                  </a:lnTo>
                  <a:lnTo>
                    <a:pt x="1611516" y="198831"/>
                  </a:lnTo>
                  <a:lnTo>
                    <a:pt x="1611567" y="198831"/>
                  </a:lnTo>
                  <a:lnTo>
                    <a:pt x="1611567" y="197447"/>
                  </a:lnTo>
                  <a:lnTo>
                    <a:pt x="1611567" y="198831"/>
                  </a:lnTo>
                  <a:lnTo>
                    <a:pt x="1611567" y="196799"/>
                  </a:lnTo>
                  <a:lnTo>
                    <a:pt x="1611567" y="197447"/>
                  </a:lnTo>
                  <a:lnTo>
                    <a:pt x="1611618" y="197447"/>
                  </a:lnTo>
                  <a:lnTo>
                    <a:pt x="1611618" y="198831"/>
                  </a:lnTo>
                  <a:lnTo>
                    <a:pt x="1611618" y="196799"/>
                  </a:lnTo>
                  <a:lnTo>
                    <a:pt x="1611618" y="197447"/>
                  </a:lnTo>
                  <a:lnTo>
                    <a:pt x="1611770" y="197447"/>
                  </a:lnTo>
                  <a:lnTo>
                    <a:pt x="1611770" y="198831"/>
                  </a:lnTo>
                  <a:lnTo>
                    <a:pt x="1611770" y="197447"/>
                  </a:lnTo>
                  <a:lnTo>
                    <a:pt x="1611821" y="197447"/>
                  </a:lnTo>
                  <a:lnTo>
                    <a:pt x="1611821" y="196799"/>
                  </a:lnTo>
                  <a:lnTo>
                    <a:pt x="1611859" y="196799"/>
                  </a:lnTo>
                  <a:lnTo>
                    <a:pt x="1611859" y="195415"/>
                  </a:lnTo>
                  <a:lnTo>
                    <a:pt x="1611859" y="197447"/>
                  </a:lnTo>
                  <a:lnTo>
                    <a:pt x="1611859" y="196799"/>
                  </a:lnTo>
                  <a:lnTo>
                    <a:pt x="1611859" y="197447"/>
                  </a:lnTo>
                  <a:lnTo>
                    <a:pt x="1611859" y="196799"/>
                  </a:lnTo>
                  <a:lnTo>
                    <a:pt x="1611961" y="196113"/>
                  </a:lnTo>
                  <a:lnTo>
                    <a:pt x="1611961" y="195415"/>
                  </a:lnTo>
                  <a:lnTo>
                    <a:pt x="1611961" y="198831"/>
                  </a:lnTo>
                  <a:lnTo>
                    <a:pt x="1611961" y="197447"/>
                  </a:lnTo>
                  <a:lnTo>
                    <a:pt x="1612012" y="197447"/>
                  </a:lnTo>
                  <a:lnTo>
                    <a:pt x="1612012" y="199530"/>
                  </a:lnTo>
                  <a:lnTo>
                    <a:pt x="1612012" y="198831"/>
                  </a:lnTo>
                  <a:lnTo>
                    <a:pt x="1612062" y="198831"/>
                  </a:lnTo>
                  <a:lnTo>
                    <a:pt x="1612062" y="197447"/>
                  </a:lnTo>
                  <a:lnTo>
                    <a:pt x="1612062" y="198831"/>
                  </a:lnTo>
                  <a:lnTo>
                    <a:pt x="1612062" y="197447"/>
                  </a:lnTo>
                  <a:lnTo>
                    <a:pt x="1612062" y="198831"/>
                  </a:lnTo>
                  <a:lnTo>
                    <a:pt x="1612062" y="197447"/>
                  </a:lnTo>
                  <a:lnTo>
                    <a:pt x="1612062" y="199530"/>
                  </a:lnTo>
                  <a:lnTo>
                    <a:pt x="1612062" y="198831"/>
                  </a:lnTo>
                  <a:lnTo>
                    <a:pt x="1612164" y="198831"/>
                  </a:lnTo>
                  <a:lnTo>
                    <a:pt x="1612164" y="197447"/>
                  </a:lnTo>
                  <a:lnTo>
                    <a:pt x="1612164" y="198831"/>
                  </a:lnTo>
                  <a:lnTo>
                    <a:pt x="1612215" y="198831"/>
                  </a:lnTo>
                  <a:lnTo>
                    <a:pt x="1612215" y="199530"/>
                  </a:lnTo>
                  <a:lnTo>
                    <a:pt x="1612215" y="197447"/>
                  </a:lnTo>
                  <a:lnTo>
                    <a:pt x="1612215" y="198831"/>
                  </a:lnTo>
                  <a:lnTo>
                    <a:pt x="1612265" y="197447"/>
                  </a:lnTo>
                  <a:lnTo>
                    <a:pt x="1612265" y="198831"/>
                  </a:lnTo>
                  <a:lnTo>
                    <a:pt x="1612265" y="197447"/>
                  </a:lnTo>
                  <a:lnTo>
                    <a:pt x="1612265" y="198831"/>
                  </a:lnTo>
                  <a:lnTo>
                    <a:pt x="1612265" y="197447"/>
                  </a:lnTo>
                  <a:lnTo>
                    <a:pt x="1612265" y="198831"/>
                  </a:lnTo>
                  <a:lnTo>
                    <a:pt x="1612265" y="196799"/>
                  </a:lnTo>
                  <a:lnTo>
                    <a:pt x="1612316" y="196799"/>
                  </a:lnTo>
                  <a:lnTo>
                    <a:pt x="1612316" y="195415"/>
                  </a:lnTo>
                  <a:lnTo>
                    <a:pt x="1612405" y="195415"/>
                  </a:lnTo>
                  <a:lnTo>
                    <a:pt x="1612405" y="194716"/>
                  </a:lnTo>
                  <a:lnTo>
                    <a:pt x="1612405" y="196799"/>
                  </a:lnTo>
                  <a:lnTo>
                    <a:pt x="1612405" y="195415"/>
                  </a:lnTo>
                  <a:lnTo>
                    <a:pt x="1612456" y="195415"/>
                  </a:lnTo>
                  <a:lnTo>
                    <a:pt x="1612456" y="194716"/>
                  </a:lnTo>
                  <a:lnTo>
                    <a:pt x="1612456" y="198831"/>
                  </a:lnTo>
                  <a:lnTo>
                    <a:pt x="1612456" y="196113"/>
                  </a:lnTo>
                  <a:lnTo>
                    <a:pt x="1612507" y="196799"/>
                  </a:lnTo>
                  <a:lnTo>
                    <a:pt x="1612507" y="198831"/>
                  </a:lnTo>
                  <a:lnTo>
                    <a:pt x="1612507" y="197447"/>
                  </a:lnTo>
                  <a:lnTo>
                    <a:pt x="1612558" y="197447"/>
                  </a:lnTo>
                  <a:lnTo>
                    <a:pt x="1612558" y="198831"/>
                  </a:lnTo>
                  <a:lnTo>
                    <a:pt x="1612558" y="197447"/>
                  </a:lnTo>
                  <a:lnTo>
                    <a:pt x="1612659" y="197447"/>
                  </a:lnTo>
                  <a:lnTo>
                    <a:pt x="1612659" y="198831"/>
                  </a:lnTo>
                  <a:lnTo>
                    <a:pt x="1612659" y="197447"/>
                  </a:lnTo>
                  <a:lnTo>
                    <a:pt x="1612659" y="198831"/>
                  </a:lnTo>
                  <a:lnTo>
                    <a:pt x="1612710" y="198831"/>
                  </a:lnTo>
                  <a:lnTo>
                    <a:pt x="1612710" y="197447"/>
                  </a:lnTo>
                  <a:lnTo>
                    <a:pt x="1612710" y="198831"/>
                  </a:lnTo>
                  <a:lnTo>
                    <a:pt x="1612710" y="197447"/>
                  </a:lnTo>
                  <a:lnTo>
                    <a:pt x="1612710" y="198831"/>
                  </a:lnTo>
                  <a:lnTo>
                    <a:pt x="1612761" y="198831"/>
                  </a:lnTo>
                  <a:lnTo>
                    <a:pt x="1612761" y="196799"/>
                  </a:lnTo>
                  <a:lnTo>
                    <a:pt x="1612761" y="197447"/>
                  </a:lnTo>
                  <a:lnTo>
                    <a:pt x="1612761" y="196799"/>
                  </a:lnTo>
                  <a:lnTo>
                    <a:pt x="1612862" y="196799"/>
                  </a:lnTo>
                  <a:lnTo>
                    <a:pt x="1612862" y="194716"/>
                  </a:lnTo>
                  <a:lnTo>
                    <a:pt x="1612862" y="195415"/>
                  </a:lnTo>
                  <a:lnTo>
                    <a:pt x="1612900" y="195415"/>
                  </a:lnTo>
                  <a:lnTo>
                    <a:pt x="1612900" y="196799"/>
                  </a:lnTo>
                  <a:lnTo>
                    <a:pt x="1612900" y="194716"/>
                  </a:lnTo>
                  <a:lnTo>
                    <a:pt x="1612900" y="195415"/>
                  </a:lnTo>
                  <a:lnTo>
                    <a:pt x="1612900" y="194716"/>
                  </a:lnTo>
                  <a:lnTo>
                    <a:pt x="1612900" y="195415"/>
                  </a:lnTo>
                  <a:lnTo>
                    <a:pt x="1612951" y="196113"/>
                  </a:lnTo>
                  <a:lnTo>
                    <a:pt x="1612951" y="197447"/>
                  </a:lnTo>
                  <a:lnTo>
                    <a:pt x="1612951" y="196113"/>
                  </a:lnTo>
                  <a:lnTo>
                    <a:pt x="1612951" y="196799"/>
                  </a:lnTo>
                  <a:lnTo>
                    <a:pt x="1613002" y="196799"/>
                  </a:lnTo>
                  <a:lnTo>
                    <a:pt x="1613002" y="197447"/>
                  </a:lnTo>
                  <a:lnTo>
                    <a:pt x="1613002" y="196799"/>
                  </a:lnTo>
                  <a:lnTo>
                    <a:pt x="1613002" y="197447"/>
                  </a:lnTo>
                  <a:lnTo>
                    <a:pt x="1613002" y="196113"/>
                  </a:lnTo>
                  <a:lnTo>
                    <a:pt x="1613002" y="197447"/>
                  </a:lnTo>
                  <a:lnTo>
                    <a:pt x="1613104" y="197447"/>
                  </a:lnTo>
                  <a:lnTo>
                    <a:pt x="1613104" y="198831"/>
                  </a:lnTo>
                  <a:lnTo>
                    <a:pt x="1613104" y="196799"/>
                  </a:lnTo>
                  <a:lnTo>
                    <a:pt x="1613104" y="197447"/>
                  </a:lnTo>
                  <a:lnTo>
                    <a:pt x="1613155" y="197447"/>
                  </a:lnTo>
                  <a:lnTo>
                    <a:pt x="1613155" y="198831"/>
                  </a:lnTo>
                  <a:lnTo>
                    <a:pt x="1613155" y="197447"/>
                  </a:lnTo>
                  <a:lnTo>
                    <a:pt x="1613155" y="198831"/>
                  </a:lnTo>
                  <a:lnTo>
                    <a:pt x="1613155" y="197447"/>
                  </a:lnTo>
                  <a:lnTo>
                    <a:pt x="1613155" y="198831"/>
                  </a:lnTo>
                  <a:lnTo>
                    <a:pt x="1613205" y="198831"/>
                  </a:lnTo>
                  <a:lnTo>
                    <a:pt x="1613205" y="197447"/>
                  </a:lnTo>
                  <a:lnTo>
                    <a:pt x="1613205" y="198831"/>
                  </a:lnTo>
                  <a:lnTo>
                    <a:pt x="1613205" y="197447"/>
                  </a:lnTo>
                  <a:lnTo>
                    <a:pt x="1613307" y="197447"/>
                  </a:lnTo>
                  <a:lnTo>
                    <a:pt x="1613307" y="196799"/>
                  </a:lnTo>
                  <a:lnTo>
                    <a:pt x="1613307" y="197447"/>
                  </a:lnTo>
                  <a:lnTo>
                    <a:pt x="1613307" y="196113"/>
                  </a:lnTo>
                  <a:lnTo>
                    <a:pt x="1613358" y="196113"/>
                  </a:lnTo>
                  <a:lnTo>
                    <a:pt x="1613358" y="196799"/>
                  </a:lnTo>
                  <a:lnTo>
                    <a:pt x="1613358" y="193383"/>
                  </a:lnTo>
                  <a:lnTo>
                    <a:pt x="1613358" y="194716"/>
                  </a:lnTo>
                  <a:lnTo>
                    <a:pt x="1613358" y="193383"/>
                  </a:lnTo>
                  <a:lnTo>
                    <a:pt x="1613358" y="194716"/>
                  </a:lnTo>
                  <a:lnTo>
                    <a:pt x="1613409" y="194716"/>
                  </a:lnTo>
                  <a:lnTo>
                    <a:pt x="1613409" y="193383"/>
                  </a:lnTo>
                  <a:lnTo>
                    <a:pt x="1613409" y="194716"/>
                  </a:lnTo>
                  <a:lnTo>
                    <a:pt x="1613409" y="193383"/>
                  </a:lnTo>
                  <a:lnTo>
                    <a:pt x="1613409" y="194716"/>
                  </a:lnTo>
                  <a:lnTo>
                    <a:pt x="1613447" y="194716"/>
                  </a:lnTo>
                  <a:lnTo>
                    <a:pt x="1613447" y="193383"/>
                  </a:lnTo>
                  <a:lnTo>
                    <a:pt x="1613447" y="196113"/>
                  </a:lnTo>
                  <a:lnTo>
                    <a:pt x="1613447" y="194716"/>
                  </a:lnTo>
                  <a:lnTo>
                    <a:pt x="1613447" y="195415"/>
                  </a:lnTo>
                  <a:lnTo>
                    <a:pt x="1613447" y="194716"/>
                  </a:lnTo>
                  <a:lnTo>
                    <a:pt x="1613548" y="194716"/>
                  </a:lnTo>
                  <a:lnTo>
                    <a:pt x="1613548" y="196113"/>
                  </a:lnTo>
                  <a:lnTo>
                    <a:pt x="1613548" y="195415"/>
                  </a:lnTo>
                  <a:lnTo>
                    <a:pt x="1613548" y="196113"/>
                  </a:lnTo>
                  <a:lnTo>
                    <a:pt x="1613599" y="196113"/>
                  </a:lnTo>
                  <a:lnTo>
                    <a:pt x="1613599" y="196799"/>
                  </a:lnTo>
                  <a:lnTo>
                    <a:pt x="1613599" y="196113"/>
                  </a:lnTo>
                  <a:lnTo>
                    <a:pt x="1613599" y="197447"/>
                  </a:lnTo>
                  <a:lnTo>
                    <a:pt x="1613599" y="196799"/>
                  </a:lnTo>
                  <a:lnTo>
                    <a:pt x="1613650" y="196799"/>
                  </a:lnTo>
                  <a:lnTo>
                    <a:pt x="1613650" y="198831"/>
                  </a:lnTo>
                  <a:lnTo>
                    <a:pt x="1613751" y="197447"/>
                  </a:lnTo>
                  <a:lnTo>
                    <a:pt x="1613751" y="198831"/>
                  </a:lnTo>
                  <a:lnTo>
                    <a:pt x="1613751" y="197447"/>
                  </a:lnTo>
                  <a:lnTo>
                    <a:pt x="1613751" y="198831"/>
                  </a:lnTo>
                  <a:lnTo>
                    <a:pt x="1613751" y="197447"/>
                  </a:lnTo>
                  <a:lnTo>
                    <a:pt x="1613751" y="198831"/>
                  </a:lnTo>
                  <a:lnTo>
                    <a:pt x="1613802" y="198831"/>
                  </a:lnTo>
                  <a:lnTo>
                    <a:pt x="1613802" y="196799"/>
                  </a:lnTo>
                  <a:lnTo>
                    <a:pt x="1613853" y="196799"/>
                  </a:lnTo>
                  <a:lnTo>
                    <a:pt x="1613853" y="196113"/>
                  </a:lnTo>
                  <a:lnTo>
                    <a:pt x="1613853" y="196799"/>
                  </a:lnTo>
                  <a:lnTo>
                    <a:pt x="1613853" y="194716"/>
                  </a:lnTo>
                  <a:lnTo>
                    <a:pt x="1613853" y="195415"/>
                  </a:lnTo>
                  <a:lnTo>
                    <a:pt x="1613853" y="194716"/>
                  </a:lnTo>
                  <a:lnTo>
                    <a:pt x="1613853" y="195415"/>
                  </a:lnTo>
                  <a:lnTo>
                    <a:pt x="1613904" y="194716"/>
                  </a:lnTo>
                  <a:lnTo>
                    <a:pt x="1613904" y="196113"/>
                  </a:lnTo>
                  <a:lnTo>
                    <a:pt x="1613904" y="195415"/>
                  </a:lnTo>
                  <a:lnTo>
                    <a:pt x="1613904" y="196113"/>
                  </a:lnTo>
                  <a:lnTo>
                    <a:pt x="1613993" y="196113"/>
                  </a:lnTo>
                  <a:lnTo>
                    <a:pt x="1613993" y="196799"/>
                  </a:lnTo>
                  <a:lnTo>
                    <a:pt x="1613993" y="195415"/>
                  </a:lnTo>
                  <a:lnTo>
                    <a:pt x="1613993" y="196113"/>
                  </a:lnTo>
                  <a:lnTo>
                    <a:pt x="1614044" y="196113"/>
                  </a:lnTo>
                  <a:lnTo>
                    <a:pt x="1614044" y="195415"/>
                  </a:lnTo>
                  <a:lnTo>
                    <a:pt x="1614044" y="196113"/>
                  </a:lnTo>
                  <a:lnTo>
                    <a:pt x="1614094" y="195415"/>
                  </a:lnTo>
                  <a:lnTo>
                    <a:pt x="1614094" y="196113"/>
                  </a:lnTo>
                  <a:lnTo>
                    <a:pt x="1614094" y="195415"/>
                  </a:lnTo>
                  <a:lnTo>
                    <a:pt x="1614094" y="196113"/>
                  </a:lnTo>
                  <a:lnTo>
                    <a:pt x="1614094" y="195415"/>
                  </a:lnTo>
                  <a:lnTo>
                    <a:pt x="1614094" y="196113"/>
                  </a:lnTo>
                  <a:lnTo>
                    <a:pt x="1614145" y="196113"/>
                  </a:lnTo>
                  <a:lnTo>
                    <a:pt x="1614145" y="196799"/>
                  </a:lnTo>
                  <a:lnTo>
                    <a:pt x="1614247" y="196799"/>
                  </a:lnTo>
                  <a:lnTo>
                    <a:pt x="1614247" y="196113"/>
                  </a:lnTo>
                  <a:lnTo>
                    <a:pt x="1614247" y="197447"/>
                  </a:lnTo>
                  <a:lnTo>
                    <a:pt x="1614247" y="196113"/>
                  </a:lnTo>
                  <a:lnTo>
                    <a:pt x="1614247" y="196799"/>
                  </a:lnTo>
                  <a:lnTo>
                    <a:pt x="1614297" y="196113"/>
                  </a:lnTo>
                  <a:lnTo>
                    <a:pt x="1614297" y="196799"/>
                  </a:lnTo>
                  <a:lnTo>
                    <a:pt x="1614297" y="195415"/>
                  </a:lnTo>
                  <a:lnTo>
                    <a:pt x="1614348" y="195415"/>
                  </a:lnTo>
                  <a:lnTo>
                    <a:pt x="1614348" y="194716"/>
                  </a:lnTo>
                  <a:lnTo>
                    <a:pt x="1614348" y="196799"/>
                  </a:lnTo>
                  <a:lnTo>
                    <a:pt x="1614450" y="196113"/>
                  </a:lnTo>
                  <a:lnTo>
                    <a:pt x="1614450" y="194716"/>
                  </a:lnTo>
                  <a:lnTo>
                    <a:pt x="1614450" y="198831"/>
                  </a:lnTo>
                  <a:lnTo>
                    <a:pt x="1614450" y="196799"/>
                  </a:lnTo>
                  <a:lnTo>
                    <a:pt x="1614488" y="196113"/>
                  </a:lnTo>
                  <a:lnTo>
                    <a:pt x="1614488" y="197447"/>
                  </a:lnTo>
                  <a:lnTo>
                    <a:pt x="1614488" y="196799"/>
                  </a:lnTo>
                  <a:lnTo>
                    <a:pt x="1614488" y="197447"/>
                  </a:lnTo>
                  <a:lnTo>
                    <a:pt x="1614488" y="196799"/>
                  </a:lnTo>
                  <a:lnTo>
                    <a:pt x="1614539" y="196799"/>
                  </a:lnTo>
                  <a:lnTo>
                    <a:pt x="1614539" y="197447"/>
                  </a:lnTo>
                  <a:lnTo>
                    <a:pt x="1614539" y="196799"/>
                  </a:lnTo>
                  <a:lnTo>
                    <a:pt x="1614539" y="197447"/>
                  </a:lnTo>
                  <a:lnTo>
                    <a:pt x="1614539" y="196799"/>
                  </a:lnTo>
                  <a:lnTo>
                    <a:pt x="1614590" y="197447"/>
                  </a:lnTo>
                  <a:lnTo>
                    <a:pt x="1614590" y="196799"/>
                  </a:lnTo>
                  <a:lnTo>
                    <a:pt x="1614590" y="197447"/>
                  </a:lnTo>
                  <a:lnTo>
                    <a:pt x="1614590" y="196799"/>
                  </a:lnTo>
                  <a:lnTo>
                    <a:pt x="1614590" y="197447"/>
                  </a:lnTo>
                  <a:lnTo>
                    <a:pt x="1614590" y="196799"/>
                  </a:lnTo>
                  <a:lnTo>
                    <a:pt x="1614590" y="197447"/>
                  </a:lnTo>
                  <a:lnTo>
                    <a:pt x="1614590" y="196799"/>
                  </a:lnTo>
                  <a:lnTo>
                    <a:pt x="1614691" y="196799"/>
                  </a:lnTo>
                  <a:lnTo>
                    <a:pt x="1614691" y="197447"/>
                  </a:lnTo>
                  <a:lnTo>
                    <a:pt x="1614691" y="196799"/>
                  </a:lnTo>
                  <a:lnTo>
                    <a:pt x="1614691" y="197447"/>
                  </a:lnTo>
                  <a:lnTo>
                    <a:pt x="1614691" y="196799"/>
                  </a:lnTo>
                  <a:lnTo>
                    <a:pt x="1614691" y="197447"/>
                  </a:lnTo>
                  <a:lnTo>
                    <a:pt x="1614742" y="197447"/>
                  </a:lnTo>
                  <a:lnTo>
                    <a:pt x="1614742" y="196113"/>
                  </a:lnTo>
                  <a:lnTo>
                    <a:pt x="1614793" y="196799"/>
                  </a:lnTo>
                  <a:lnTo>
                    <a:pt x="1614793" y="195415"/>
                  </a:lnTo>
                  <a:lnTo>
                    <a:pt x="1614894" y="195415"/>
                  </a:lnTo>
                  <a:lnTo>
                    <a:pt x="1614894" y="193383"/>
                  </a:lnTo>
                  <a:lnTo>
                    <a:pt x="1614894" y="196799"/>
                  </a:lnTo>
                  <a:lnTo>
                    <a:pt x="1614894" y="195415"/>
                  </a:lnTo>
                  <a:lnTo>
                    <a:pt x="1614945" y="196113"/>
                  </a:lnTo>
                  <a:lnTo>
                    <a:pt x="1614945" y="195415"/>
                  </a:lnTo>
                  <a:lnTo>
                    <a:pt x="1614945" y="198831"/>
                  </a:lnTo>
                  <a:lnTo>
                    <a:pt x="1614945" y="196799"/>
                  </a:lnTo>
                  <a:lnTo>
                    <a:pt x="1614996" y="196799"/>
                  </a:lnTo>
                  <a:lnTo>
                    <a:pt x="1614996" y="197447"/>
                  </a:lnTo>
                  <a:lnTo>
                    <a:pt x="1614996" y="196799"/>
                  </a:lnTo>
                  <a:lnTo>
                    <a:pt x="1615034" y="196799"/>
                  </a:lnTo>
                  <a:lnTo>
                    <a:pt x="1615034" y="197447"/>
                  </a:lnTo>
                  <a:lnTo>
                    <a:pt x="1615034" y="196799"/>
                  </a:lnTo>
                  <a:lnTo>
                    <a:pt x="1615034" y="197447"/>
                  </a:lnTo>
                  <a:lnTo>
                    <a:pt x="1615034" y="196799"/>
                  </a:lnTo>
                  <a:lnTo>
                    <a:pt x="1615136" y="197447"/>
                  </a:lnTo>
                  <a:lnTo>
                    <a:pt x="1615136" y="196799"/>
                  </a:lnTo>
                  <a:lnTo>
                    <a:pt x="1615136" y="197447"/>
                  </a:lnTo>
                  <a:lnTo>
                    <a:pt x="1615187" y="197447"/>
                  </a:lnTo>
                  <a:lnTo>
                    <a:pt x="1615187" y="198831"/>
                  </a:lnTo>
                  <a:lnTo>
                    <a:pt x="1615187" y="196799"/>
                  </a:lnTo>
                  <a:lnTo>
                    <a:pt x="1615237" y="196799"/>
                  </a:lnTo>
                  <a:lnTo>
                    <a:pt x="1615237" y="196113"/>
                  </a:lnTo>
                  <a:lnTo>
                    <a:pt x="1615237" y="196799"/>
                  </a:lnTo>
                  <a:lnTo>
                    <a:pt x="1615237" y="196113"/>
                  </a:lnTo>
                  <a:lnTo>
                    <a:pt x="1615237" y="196799"/>
                  </a:lnTo>
                  <a:lnTo>
                    <a:pt x="1615237" y="195415"/>
                  </a:lnTo>
                  <a:lnTo>
                    <a:pt x="1615237" y="196113"/>
                  </a:lnTo>
                  <a:lnTo>
                    <a:pt x="1615339" y="195415"/>
                  </a:lnTo>
                  <a:lnTo>
                    <a:pt x="1615339" y="193383"/>
                  </a:lnTo>
                  <a:lnTo>
                    <a:pt x="1615390" y="193383"/>
                  </a:lnTo>
                  <a:lnTo>
                    <a:pt x="1615390" y="195415"/>
                  </a:lnTo>
                  <a:lnTo>
                    <a:pt x="1615390" y="193383"/>
                  </a:lnTo>
                  <a:lnTo>
                    <a:pt x="1615440" y="194716"/>
                  </a:lnTo>
                  <a:lnTo>
                    <a:pt x="1615440" y="196799"/>
                  </a:lnTo>
                  <a:lnTo>
                    <a:pt x="1615440" y="195415"/>
                  </a:lnTo>
                  <a:lnTo>
                    <a:pt x="1615440" y="196113"/>
                  </a:lnTo>
                  <a:lnTo>
                    <a:pt x="1615491" y="196113"/>
                  </a:lnTo>
                  <a:lnTo>
                    <a:pt x="1615491" y="196799"/>
                  </a:lnTo>
                  <a:lnTo>
                    <a:pt x="1615491" y="196113"/>
                  </a:lnTo>
                  <a:lnTo>
                    <a:pt x="1615491" y="196799"/>
                  </a:lnTo>
                  <a:lnTo>
                    <a:pt x="1615491" y="196113"/>
                  </a:lnTo>
                  <a:lnTo>
                    <a:pt x="1615491" y="196799"/>
                  </a:lnTo>
                  <a:lnTo>
                    <a:pt x="1615580" y="196799"/>
                  </a:lnTo>
                  <a:lnTo>
                    <a:pt x="1615580" y="196113"/>
                  </a:lnTo>
                  <a:lnTo>
                    <a:pt x="1615580" y="197447"/>
                  </a:lnTo>
                  <a:lnTo>
                    <a:pt x="1615631" y="197447"/>
                  </a:lnTo>
                  <a:lnTo>
                    <a:pt x="1615631" y="198831"/>
                  </a:lnTo>
                  <a:lnTo>
                    <a:pt x="1615631" y="197447"/>
                  </a:lnTo>
                  <a:lnTo>
                    <a:pt x="1615682" y="197447"/>
                  </a:lnTo>
                  <a:lnTo>
                    <a:pt x="1615733" y="196799"/>
                  </a:lnTo>
                  <a:lnTo>
                    <a:pt x="1615733" y="197447"/>
                  </a:lnTo>
                  <a:lnTo>
                    <a:pt x="1615733" y="196113"/>
                  </a:lnTo>
                  <a:lnTo>
                    <a:pt x="1615834" y="196113"/>
                  </a:lnTo>
                  <a:lnTo>
                    <a:pt x="1615834" y="193383"/>
                  </a:lnTo>
                  <a:lnTo>
                    <a:pt x="1615885" y="193383"/>
                  </a:lnTo>
                  <a:lnTo>
                    <a:pt x="1615885" y="195415"/>
                  </a:lnTo>
                  <a:lnTo>
                    <a:pt x="1615885" y="194716"/>
                  </a:lnTo>
                  <a:lnTo>
                    <a:pt x="1615885" y="195415"/>
                  </a:lnTo>
                  <a:lnTo>
                    <a:pt x="1615885" y="194716"/>
                  </a:lnTo>
                  <a:lnTo>
                    <a:pt x="1615885" y="195415"/>
                  </a:lnTo>
                  <a:lnTo>
                    <a:pt x="1615885" y="194716"/>
                  </a:lnTo>
                  <a:lnTo>
                    <a:pt x="1615885" y="195415"/>
                  </a:lnTo>
                  <a:lnTo>
                    <a:pt x="1615936" y="195415"/>
                  </a:lnTo>
                  <a:lnTo>
                    <a:pt x="1615936" y="196799"/>
                  </a:lnTo>
                  <a:lnTo>
                    <a:pt x="1615936" y="194716"/>
                  </a:lnTo>
                  <a:lnTo>
                    <a:pt x="1615936" y="195415"/>
                  </a:lnTo>
                  <a:lnTo>
                    <a:pt x="1615936" y="194716"/>
                  </a:lnTo>
                  <a:lnTo>
                    <a:pt x="1615936" y="196113"/>
                  </a:lnTo>
                  <a:lnTo>
                    <a:pt x="1616037" y="196113"/>
                  </a:lnTo>
                  <a:lnTo>
                    <a:pt x="1616037" y="196799"/>
                  </a:lnTo>
                  <a:lnTo>
                    <a:pt x="1616037" y="195415"/>
                  </a:lnTo>
                  <a:lnTo>
                    <a:pt x="1616037" y="196113"/>
                  </a:lnTo>
                  <a:lnTo>
                    <a:pt x="1616075" y="196113"/>
                  </a:lnTo>
                  <a:lnTo>
                    <a:pt x="1616075" y="196799"/>
                  </a:lnTo>
                  <a:lnTo>
                    <a:pt x="1616075" y="196113"/>
                  </a:lnTo>
                  <a:lnTo>
                    <a:pt x="1616075" y="197447"/>
                  </a:lnTo>
                  <a:lnTo>
                    <a:pt x="1616075" y="196113"/>
                  </a:lnTo>
                  <a:lnTo>
                    <a:pt x="1616075" y="197447"/>
                  </a:lnTo>
                  <a:lnTo>
                    <a:pt x="1616075" y="196799"/>
                  </a:lnTo>
                  <a:lnTo>
                    <a:pt x="1616126" y="196799"/>
                  </a:lnTo>
                  <a:lnTo>
                    <a:pt x="1616126" y="197447"/>
                  </a:lnTo>
                  <a:lnTo>
                    <a:pt x="1616126" y="196799"/>
                  </a:lnTo>
                  <a:lnTo>
                    <a:pt x="1616126" y="197447"/>
                  </a:lnTo>
                  <a:lnTo>
                    <a:pt x="1616126" y="196799"/>
                  </a:lnTo>
                  <a:lnTo>
                    <a:pt x="1616126" y="197447"/>
                  </a:lnTo>
                  <a:lnTo>
                    <a:pt x="1616279" y="197447"/>
                  </a:lnTo>
                  <a:lnTo>
                    <a:pt x="1616279" y="196113"/>
                  </a:lnTo>
                  <a:lnTo>
                    <a:pt x="1616279" y="196799"/>
                  </a:lnTo>
                  <a:lnTo>
                    <a:pt x="1616279" y="195415"/>
                  </a:lnTo>
                  <a:lnTo>
                    <a:pt x="1616330" y="195415"/>
                  </a:lnTo>
                  <a:lnTo>
                    <a:pt x="1616330" y="194716"/>
                  </a:lnTo>
                  <a:lnTo>
                    <a:pt x="1616330" y="195415"/>
                  </a:lnTo>
                  <a:lnTo>
                    <a:pt x="1616330" y="193383"/>
                  </a:lnTo>
                  <a:lnTo>
                    <a:pt x="1616330" y="194716"/>
                  </a:lnTo>
                  <a:lnTo>
                    <a:pt x="1616330" y="193383"/>
                  </a:lnTo>
                  <a:lnTo>
                    <a:pt x="1616330" y="194716"/>
                  </a:lnTo>
                  <a:lnTo>
                    <a:pt x="1616330" y="192684"/>
                  </a:lnTo>
                  <a:lnTo>
                    <a:pt x="1616380" y="191986"/>
                  </a:lnTo>
                  <a:lnTo>
                    <a:pt x="1616380" y="194716"/>
                  </a:lnTo>
                  <a:lnTo>
                    <a:pt x="1616380" y="193383"/>
                  </a:lnTo>
                  <a:lnTo>
                    <a:pt x="1616380" y="194716"/>
                  </a:lnTo>
                  <a:lnTo>
                    <a:pt x="1616380" y="192684"/>
                  </a:lnTo>
                  <a:lnTo>
                    <a:pt x="1616380" y="193383"/>
                  </a:lnTo>
                  <a:lnTo>
                    <a:pt x="1616482" y="193383"/>
                  </a:lnTo>
                  <a:lnTo>
                    <a:pt x="1616482" y="196113"/>
                  </a:lnTo>
                  <a:lnTo>
                    <a:pt x="1616482" y="194716"/>
                  </a:lnTo>
                  <a:lnTo>
                    <a:pt x="1616482" y="195415"/>
                  </a:lnTo>
                  <a:lnTo>
                    <a:pt x="1616533" y="195415"/>
                  </a:lnTo>
                  <a:lnTo>
                    <a:pt x="1616533" y="196113"/>
                  </a:lnTo>
                  <a:lnTo>
                    <a:pt x="1616533" y="195415"/>
                  </a:lnTo>
                  <a:lnTo>
                    <a:pt x="1616533" y="196113"/>
                  </a:lnTo>
                  <a:lnTo>
                    <a:pt x="1616584" y="196113"/>
                  </a:lnTo>
                  <a:lnTo>
                    <a:pt x="1616584" y="196799"/>
                  </a:lnTo>
                  <a:lnTo>
                    <a:pt x="1616584" y="196113"/>
                  </a:lnTo>
                  <a:lnTo>
                    <a:pt x="1616584" y="196799"/>
                  </a:lnTo>
                  <a:lnTo>
                    <a:pt x="1616723" y="196799"/>
                  </a:lnTo>
                  <a:lnTo>
                    <a:pt x="1616723" y="197447"/>
                  </a:lnTo>
                  <a:lnTo>
                    <a:pt x="1616723" y="196799"/>
                  </a:lnTo>
                  <a:lnTo>
                    <a:pt x="1616723" y="197447"/>
                  </a:lnTo>
                  <a:lnTo>
                    <a:pt x="1616723" y="196799"/>
                  </a:lnTo>
                  <a:lnTo>
                    <a:pt x="1616774" y="196799"/>
                  </a:lnTo>
                  <a:lnTo>
                    <a:pt x="1616774" y="196113"/>
                  </a:lnTo>
                  <a:lnTo>
                    <a:pt x="1616774" y="196799"/>
                  </a:lnTo>
                  <a:lnTo>
                    <a:pt x="1616774" y="196113"/>
                  </a:lnTo>
                  <a:lnTo>
                    <a:pt x="1616774" y="196799"/>
                  </a:lnTo>
                  <a:lnTo>
                    <a:pt x="1616774" y="195415"/>
                  </a:lnTo>
                  <a:lnTo>
                    <a:pt x="1616774" y="196113"/>
                  </a:lnTo>
                  <a:lnTo>
                    <a:pt x="1616825" y="195415"/>
                  </a:lnTo>
                  <a:lnTo>
                    <a:pt x="1616825" y="194716"/>
                  </a:lnTo>
                  <a:lnTo>
                    <a:pt x="1616825" y="195415"/>
                  </a:lnTo>
                  <a:lnTo>
                    <a:pt x="1616825" y="193383"/>
                  </a:lnTo>
                  <a:lnTo>
                    <a:pt x="1616926" y="194716"/>
                  </a:lnTo>
                  <a:lnTo>
                    <a:pt x="1616926" y="195415"/>
                  </a:lnTo>
                  <a:lnTo>
                    <a:pt x="1616926" y="192684"/>
                  </a:lnTo>
                  <a:lnTo>
                    <a:pt x="1616926" y="195415"/>
                  </a:lnTo>
                  <a:lnTo>
                    <a:pt x="1616977" y="195415"/>
                  </a:lnTo>
                  <a:lnTo>
                    <a:pt x="1616977" y="196113"/>
                  </a:lnTo>
                  <a:lnTo>
                    <a:pt x="1616977" y="192684"/>
                  </a:lnTo>
                  <a:lnTo>
                    <a:pt x="1616977" y="194716"/>
                  </a:lnTo>
                  <a:lnTo>
                    <a:pt x="1617028" y="195415"/>
                  </a:lnTo>
                  <a:lnTo>
                    <a:pt x="1617028" y="194716"/>
                  </a:lnTo>
                  <a:lnTo>
                    <a:pt x="1617028" y="195415"/>
                  </a:lnTo>
                  <a:lnTo>
                    <a:pt x="1617079" y="195415"/>
                  </a:lnTo>
                  <a:lnTo>
                    <a:pt x="1617079" y="194716"/>
                  </a:lnTo>
                  <a:lnTo>
                    <a:pt x="1617079" y="195415"/>
                  </a:lnTo>
                  <a:lnTo>
                    <a:pt x="1617079" y="194716"/>
                  </a:lnTo>
                  <a:lnTo>
                    <a:pt x="1617079" y="196113"/>
                  </a:lnTo>
                  <a:lnTo>
                    <a:pt x="1617168" y="196113"/>
                  </a:lnTo>
                  <a:lnTo>
                    <a:pt x="1617168" y="195415"/>
                  </a:lnTo>
                  <a:lnTo>
                    <a:pt x="1617168" y="196113"/>
                  </a:lnTo>
                  <a:lnTo>
                    <a:pt x="1617168" y="195415"/>
                  </a:lnTo>
                  <a:lnTo>
                    <a:pt x="1617168" y="196113"/>
                  </a:lnTo>
                  <a:lnTo>
                    <a:pt x="1617168" y="195415"/>
                  </a:lnTo>
                  <a:lnTo>
                    <a:pt x="1617168" y="196799"/>
                  </a:lnTo>
                  <a:lnTo>
                    <a:pt x="1617219" y="196113"/>
                  </a:lnTo>
                  <a:lnTo>
                    <a:pt x="1617219" y="196799"/>
                  </a:lnTo>
                  <a:lnTo>
                    <a:pt x="1617219" y="196113"/>
                  </a:lnTo>
                  <a:lnTo>
                    <a:pt x="1617269" y="196113"/>
                  </a:lnTo>
                  <a:lnTo>
                    <a:pt x="1617269" y="196799"/>
                  </a:lnTo>
                  <a:lnTo>
                    <a:pt x="1617269" y="195415"/>
                  </a:lnTo>
                  <a:lnTo>
                    <a:pt x="1617320" y="195415"/>
                  </a:lnTo>
                  <a:lnTo>
                    <a:pt x="1617320" y="193383"/>
                  </a:lnTo>
                  <a:lnTo>
                    <a:pt x="1617320" y="195415"/>
                  </a:lnTo>
                  <a:lnTo>
                    <a:pt x="1617320" y="194716"/>
                  </a:lnTo>
                  <a:lnTo>
                    <a:pt x="1617320" y="195415"/>
                  </a:lnTo>
                  <a:lnTo>
                    <a:pt x="1617422" y="195415"/>
                  </a:lnTo>
                  <a:lnTo>
                    <a:pt x="1617422" y="192684"/>
                  </a:lnTo>
                  <a:lnTo>
                    <a:pt x="1617422" y="196799"/>
                  </a:lnTo>
                  <a:lnTo>
                    <a:pt x="1617472" y="196799"/>
                  </a:lnTo>
                  <a:lnTo>
                    <a:pt x="1617472" y="194716"/>
                  </a:lnTo>
                  <a:lnTo>
                    <a:pt x="1617472" y="195415"/>
                  </a:lnTo>
                  <a:lnTo>
                    <a:pt x="1617472" y="194716"/>
                  </a:lnTo>
                  <a:lnTo>
                    <a:pt x="1617472" y="196799"/>
                  </a:lnTo>
                  <a:lnTo>
                    <a:pt x="1617472" y="196113"/>
                  </a:lnTo>
                  <a:lnTo>
                    <a:pt x="1617523" y="196113"/>
                  </a:lnTo>
                  <a:lnTo>
                    <a:pt x="1617523" y="195415"/>
                  </a:lnTo>
                  <a:lnTo>
                    <a:pt x="1617523" y="196113"/>
                  </a:lnTo>
                  <a:lnTo>
                    <a:pt x="1617523" y="195415"/>
                  </a:lnTo>
                  <a:lnTo>
                    <a:pt x="1617523" y="196799"/>
                  </a:lnTo>
                  <a:lnTo>
                    <a:pt x="1617523" y="196113"/>
                  </a:lnTo>
                  <a:lnTo>
                    <a:pt x="1617625" y="196113"/>
                  </a:lnTo>
                  <a:lnTo>
                    <a:pt x="1617625" y="196799"/>
                  </a:lnTo>
                  <a:lnTo>
                    <a:pt x="1617625" y="196113"/>
                  </a:lnTo>
                  <a:lnTo>
                    <a:pt x="1617625" y="196799"/>
                  </a:lnTo>
                  <a:lnTo>
                    <a:pt x="1617625" y="196113"/>
                  </a:lnTo>
                  <a:lnTo>
                    <a:pt x="1617625" y="196799"/>
                  </a:lnTo>
                  <a:lnTo>
                    <a:pt x="1617663" y="196799"/>
                  </a:lnTo>
                  <a:lnTo>
                    <a:pt x="1617663" y="196113"/>
                  </a:lnTo>
                  <a:lnTo>
                    <a:pt x="1617663" y="196799"/>
                  </a:lnTo>
                  <a:lnTo>
                    <a:pt x="1617663" y="196113"/>
                  </a:lnTo>
                  <a:lnTo>
                    <a:pt x="1617663" y="196799"/>
                  </a:lnTo>
                  <a:lnTo>
                    <a:pt x="1617663" y="196113"/>
                  </a:lnTo>
                  <a:lnTo>
                    <a:pt x="1617663" y="196799"/>
                  </a:lnTo>
                  <a:lnTo>
                    <a:pt x="1617663" y="196113"/>
                  </a:lnTo>
                  <a:lnTo>
                    <a:pt x="1617714" y="196113"/>
                  </a:lnTo>
                  <a:lnTo>
                    <a:pt x="1617714" y="196799"/>
                  </a:lnTo>
                  <a:lnTo>
                    <a:pt x="1617714" y="196113"/>
                  </a:lnTo>
                  <a:lnTo>
                    <a:pt x="1617714" y="196799"/>
                  </a:lnTo>
                  <a:lnTo>
                    <a:pt x="1617714" y="196113"/>
                  </a:lnTo>
                  <a:lnTo>
                    <a:pt x="1617714" y="196799"/>
                  </a:lnTo>
                  <a:lnTo>
                    <a:pt x="1617714" y="196113"/>
                  </a:lnTo>
                  <a:lnTo>
                    <a:pt x="1617765" y="196113"/>
                  </a:lnTo>
                  <a:lnTo>
                    <a:pt x="1617765" y="196799"/>
                  </a:lnTo>
                  <a:lnTo>
                    <a:pt x="1617765" y="196113"/>
                  </a:lnTo>
                  <a:lnTo>
                    <a:pt x="1617765" y="196799"/>
                  </a:lnTo>
                  <a:lnTo>
                    <a:pt x="1617765" y="195415"/>
                  </a:lnTo>
                  <a:lnTo>
                    <a:pt x="1617765" y="196113"/>
                  </a:lnTo>
                  <a:lnTo>
                    <a:pt x="1617765" y="195415"/>
                  </a:lnTo>
                  <a:lnTo>
                    <a:pt x="1617866" y="195415"/>
                  </a:lnTo>
                  <a:lnTo>
                    <a:pt x="1617866" y="197447"/>
                  </a:lnTo>
                  <a:lnTo>
                    <a:pt x="1617866" y="196113"/>
                  </a:lnTo>
                  <a:lnTo>
                    <a:pt x="1617917" y="195415"/>
                  </a:lnTo>
                  <a:lnTo>
                    <a:pt x="1617917" y="199530"/>
                  </a:lnTo>
                  <a:lnTo>
                    <a:pt x="1617917" y="196799"/>
                  </a:lnTo>
                  <a:lnTo>
                    <a:pt x="1617968" y="196799"/>
                  </a:lnTo>
                  <a:lnTo>
                    <a:pt x="1617968" y="198831"/>
                  </a:lnTo>
                  <a:lnTo>
                    <a:pt x="1617968" y="196799"/>
                  </a:lnTo>
                  <a:lnTo>
                    <a:pt x="1618069" y="197447"/>
                  </a:lnTo>
                  <a:lnTo>
                    <a:pt x="1618069" y="198831"/>
                  </a:lnTo>
                  <a:lnTo>
                    <a:pt x="1618069" y="197447"/>
                  </a:lnTo>
                  <a:lnTo>
                    <a:pt x="1618120" y="197447"/>
                  </a:lnTo>
                  <a:lnTo>
                    <a:pt x="1618120" y="198831"/>
                  </a:lnTo>
                  <a:lnTo>
                    <a:pt x="1618120" y="196799"/>
                  </a:lnTo>
                  <a:lnTo>
                    <a:pt x="1618120" y="197447"/>
                  </a:lnTo>
                  <a:lnTo>
                    <a:pt x="1618171" y="197447"/>
                  </a:lnTo>
                  <a:lnTo>
                    <a:pt x="1618171" y="196799"/>
                  </a:lnTo>
                  <a:lnTo>
                    <a:pt x="1618209" y="196799"/>
                  </a:lnTo>
                  <a:lnTo>
                    <a:pt x="1618209" y="197447"/>
                  </a:lnTo>
                  <a:lnTo>
                    <a:pt x="1618209" y="196113"/>
                  </a:lnTo>
                  <a:lnTo>
                    <a:pt x="1618209" y="196799"/>
                  </a:lnTo>
                  <a:lnTo>
                    <a:pt x="1618209" y="196113"/>
                  </a:lnTo>
                  <a:lnTo>
                    <a:pt x="1618311" y="196113"/>
                  </a:lnTo>
                  <a:lnTo>
                    <a:pt x="1618311" y="195415"/>
                  </a:lnTo>
                  <a:lnTo>
                    <a:pt x="1618311" y="196113"/>
                  </a:lnTo>
                  <a:lnTo>
                    <a:pt x="1618311" y="194716"/>
                  </a:lnTo>
                  <a:lnTo>
                    <a:pt x="1618311" y="195415"/>
                  </a:lnTo>
                  <a:lnTo>
                    <a:pt x="1618311" y="193383"/>
                  </a:lnTo>
                  <a:lnTo>
                    <a:pt x="1618362" y="193383"/>
                  </a:lnTo>
                  <a:lnTo>
                    <a:pt x="1618362" y="194716"/>
                  </a:lnTo>
                  <a:lnTo>
                    <a:pt x="1618362" y="193383"/>
                  </a:lnTo>
                  <a:lnTo>
                    <a:pt x="1618362" y="195415"/>
                  </a:lnTo>
                  <a:lnTo>
                    <a:pt x="1618362" y="194716"/>
                  </a:lnTo>
                  <a:lnTo>
                    <a:pt x="1618362" y="195415"/>
                  </a:lnTo>
                  <a:lnTo>
                    <a:pt x="1618362" y="193383"/>
                  </a:lnTo>
                  <a:lnTo>
                    <a:pt x="1618362" y="194716"/>
                  </a:lnTo>
                  <a:lnTo>
                    <a:pt x="1618412" y="194716"/>
                  </a:lnTo>
                  <a:lnTo>
                    <a:pt x="1618412" y="192684"/>
                  </a:lnTo>
                  <a:lnTo>
                    <a:pt x="1618412" y="196113"/>
                  </a:lnTo>
                  <a:lnTo>
                    <a:pt x="1618412" y="195415"/>
                  </a:lnTo>
                  <a:lnTo>
                    <a:pt x="1618514" y="195415"/>
                  </a:lnTo>
                  <a:lnTo>
                    <a:pt x="1618514" y="196799"/>
                  </a:lnTo>
                  <a:lnTo>
                    <a:pt x="1618514" y="196113"/>
                  </a:lnTo>
                  <a:lnTo>
                    <a:pt x="1618514" y="196799"/>
                  </a:lnTo>
                  <a:lnTo>
                    <a:pt x="1618514" y="196113"/>
                  </a:lnTo>
                  <a:lnTo>
                    <a:pt x="1618565" y="196113"/>
                  </a:lnTo>
                  <a:lnTo>
                    <a:pt x="1618565" y="196799"/>
                  </a:lnTo>
                  <a:lnTo>
                    <a:pt x="1618565" y="196113"/>
                  </a:lnTo>
                  <a:lnTo>
                    <a:pt x="1618565" y="196799"/>
                  </a:lnTo>
                  <a:lnTo>
                    <a:pt x="1618565" y="196113"/>
                  </a:lnTo>
                  <a:lnTo>
                    <a:pt x="1618565" y="196799"/>
                  </a:lnTo>
                  <a:lnTo>
                    <a:pt x="1618615" y="197447"/>
                  </a:lnTo>
                  <a:lnTo>
                    <a:pt x="1618615" y="196799"/>
                  </a:lnTo>
                  <a:lnTo>
                    <a:pt x="1618615" y="197447"/>
                  </a:lnTo>
                  <a:lnTo>
                    <a:pt x="1618615" y="196799"/>
                  </a:lnTo>
                  <a:lnTo>
                    <a:pt x="1618615" y="197447"/>
                  </a:lnTo>
                  <a:lnTo>
                    <a:pt x="1618666" y="197447"/>
                  </a:lnTo>
                  <a:lnTo>
                    <a:pt x="1618666" y="196799"/>
                  </a:lnTo>
                  <a:lnTo>
                    <a:pt x="1618666" y="197447"/>
                  </a:lnTo>
                  <a:lnTo>
                    <a:pt x="1618666" y="196799"/>
                  </a:lnTo>
                  <a:lnTo>
                    <a:pt x="1618666" y="197447"/>
                  </a:lnTo>
                  <a:lnTo>
                    <a:pt x="1618666" y="196799"/>
                  </a:lnTo>
                  <a:lnTo>
                    <a:pt x="1618755" y="196799"/>
                  </a:lnTo>
                  <a:lnTo>
                    <a:pt x="1618755" y="197447"/>
                  </a:lnTo>
                  <a:lnTo>
                    <a:pt x="1618755" y="196113"/>
                  </a:lnTo>
                  <a:lnTo>
                    <a:pt x="1618806" y="196113"/>
                  </a:lnTo>
                  <a:lnTo>
                    <a:pt x="1618806" y="194716"/>
                  </a:lnTo>
                  <a:lnTo>
                    <a:pt x="1618806" y="195415"/>
                  </a:lnTo>
                  <a:lnTo>
                    <a:pt x="1618806" y="194716"/>
                  </a:lnTo>
                  <a:lnTo>
                    <a:pt x="1618857" y="194716"/>
                  </a:lnTo>
                  <a:lnTo>
                    <a:pt x="1618857" y="196113"/>
                  </a:lnTo>
                  <a:lnTo>
                    <a:pt x="1618857" y="194716"/>
                  </a:lnTo>
                  <a:lnTo>
                    <a:pt x="1618857" y="196113"/>
                  </a:lnTo>
                  <a:lnTo>
                    <a:pt x="1618908" y="196113"/>
                  </a:lnTo>
                  <a:lnTo>
                    <a:pt x="1618908" y="196799"/>
                  </a:lnTo>
                  <a:lnTo>
                    <a:pt x="1618908" y="195415"/>
                  </a:lnTo>
                  <a:lnTo>
                    <a:pt x="1618908" y="196799"/>
                  </a:lnTo>
                  <a:lnTo>
                    <a:pt x="1619009" y="196799"/>
                  </a:lnTo>
                  <a:lnTo>
                    <a:pt x="1619009" y="196113"/>
                  </a:lnTo>
                  <a:lnTo>
                    <a:pt x="1619009" y="196799"/>
                  </a:lnTo>
                  <a:lnTo>
                    <a:pt x="1619060" y="197447"/>
                  </a:lnTo>
                  <a:lnTo>
                    <a:pt x="1619060" y="196113"/>
                  </a:lnTo>
                  <a:lnTo>
                    <a:pt x="1619060" y="196799"/>
                  </a:lnTo>
                  <a:lnTo>
                    <a:pt x="1619111" y="197447"/>
                  </a:lnTo>
                  <a:lnTo>
                    <a:pt x="1619111" y="196799"/>
                  </a:lnTo>
                  <a:lnTo>
                    <a:pt x="1619111" y="197447"/>
                  </a:lnTo>
                  <a:lnTo>
                    <a:pt x="1619111" y="196799"/>
                  </a:lnTo>
                  <a:lnTo>
                    <a:pt x="1619111" y="197447"/>
                  </a:lnTo>
                  <a:lnTo>
                    <a:pt x="1619212" y="197447"/>
                  </a:lnTo>
                  <a:lnTo>
                    <a:pt x="1619212" y="198831"/>
                  </a:lnTo>
                  <a:lnTo>
                    <a:pt x="1619212" y="196799"/>
                  </a:lnTo>
                  <a:lnTo>
                    <a:pt x="1619212" y="197447"/>
                  </a:lnTo>
                  <a:lnTo>
                    <a:pt x="1619212" y="196799"/>
                  </a:lnTo>
                  <a:lnTo>
                    <a:pt x="1619212" y="197447"/>
                  </a:lnTo>
                  <a:lnTo>
                    <a:pt x="1619250" y="197447"/>
                  </a:lnTo>
                  <a:lnTo>
                    <a:pt x="1619250" y="195415"/>
                  </a:lnTo>
                  <a:lnTo>
                    <a:pt x="1619301" y="195415"/>
                  </a:lnTo>
                  <a:lnTo>
                    <a:pt x="1619301" y="196113"/>
                  </a:lnTo>
                  <a:lnTo>
                    <a:pt x="1619301" y="194716"/>
                  </a:lnTo>
                  <a:lnTo>
                    <a:pt x="1619301" y="195415"/>
                  </a:lnTo>
                  <a:lnTo>
                    <a:pt x="1619352" y="195415"/>
                  </a:lnTo>
                  <a:lnTo>
                    <a:pt x="1619352" y="196113"/>
                  </a:lnTo>
                  <a:lnTo>
                    <a:pt x="1619352" y="194716"/>
                  </a:lnTo>
                  <a:lnTo>
                    <a:pt x="1619352" y="196799"/>
                  </a:lnTo>
                  <a:lnTo>
                    <a:pt x="1619352" y="196113"/>
                  </a:lnTo>
                  <a:lnTo>
                    <a:pt x="1619454" y="196113"/>
                  </a:lnTo>
                  <a:lnTo>
                    <a:pt x="1619454" y="196799"/>
                  </a:lnTo>
                  <a:lnTo>
                    <a:pt x="1619555" y="196799"/>
                  </a:lnTo>
                  <a:lnTo>
                    <a:pt x="1619555" y="197447"/>
                  </a:lnTo>
                  <a:lnTo>
                    <a:pt x="1619555" y="196799"/>
                  </a:lnTo>
                  <a:lnTo>
                    <a:pt x="1619555" y="197447"/>
                  </a:lnTo>
                  <a:lnTo>
                    <a:pt x="1619555" y="196799"/>
                  </a:lnTo>
                  <a:lnTo>
                    <a:pt x="1619555" y="197447"/>
                  </a:lnTo>
                  <a:lnTo>
                    <a:pt x="1619657" y="197447"/>
                  </a:lnTo>
                  <a:lnTo>
                    <a:pt x="1619657" y="198831"/>
                  </a:lnTo>
                  <a:lnTo>
                    <a:pt x="1619657" y="196799"/>
                  </a:lnTo>
                  <a:lnTo>
                    <a:pt x="1619657" y="197447"/>
                  </a:lnTo>
                  <a:lnTo>
                    <a:pt x="1619708" y="197447"/>
                  </a:lnTo>
                  <a:lnTo>
                    <a:pt x="1619708" y="198831"/>
                  </a:lnTo>
                  <a:lnTo>
                    <a:pt x="1619708" y="197447"/>
                  </a:lnTo>
                  <a:lnTo>
                    <a:pt x="1619759" y="196799"/>
                  </a:lnTo>
                  <a:lnTo>
                    <a:pt x="1619759" y="197447"/>
                  </a:lnTo>
                  <a:lnTo>
                    <a:pt x="1619759" y="196113"/>
                  </a:lnTo>
                  <a:lnTo>
                    <a:pt x="1619759" y="196799"/>
                  </a:lnTo>
                  <a:lnTo>
                    <a:pt x="1619759" y="195415"/>
                  </a:lnTo>
                  <a:lnTo>
                    <a:pt x="1619797" y="195415"/>
                  </a:lnTo>
                  <a:lnTo>
                    <a:pt x="1619797" y="196113"/>
                  </a:lnTo>
                  <a:lnTo>
                    <a:pt x="1619797" y="194716"/>
                  </a:lnTo>
                  <a:lnTo>
                    <a:pt x="1619797" y="196799"/>
                  </a:lnTo>
                  <a:lnTo>
                    <a:pt x="1619797" y="195415"/>
                  </a:lnTo>
                  <a:lnTo>
                    <a:pt x="1619797" y="196113"/>
                  </a:lnTo>
                  <a:lnTo>
                    <a:pt x="1619797" y="195415"/>
                  </a:lnTo>
                  <a:lnTo>
                    <a:pt x="1619898" y="195415"/>
                  </a:lnTo>
                  <a:lnTo>
                    <a:pt x="1619898" y="197447"/>
                  </a:lnTo>
                  <a:lnTo>
                    <a:pt x="1619898" y="196113"/>
                  </a:lnTo>
                  <a:lnTo>
                    <a:pt x="1619949" y="196113"/>
                  </a:lnTo>
                  <a:lnTo>
                    <a:pt x="1619949" y="197447"/>
                  </a:lnTo>
                  <a:lnTo>
                    <a:pt x="1619949" y="196113"/>
                  </a:lnTo>
                  <a:lnTo>
                    <a:pt x="1620000" y="196113"/>
                  </a:lnTo>
                  <a:lnTo>
                    <a:pt x="1620000" y="197447"/>
                  </a:lnTo>
                  <a:lnTo>
                    <a:pt x="1620000" y="196799"/>
                  </a:lnTo>
                  <a:lnTo>
                    <a:pt x="1620101" y="196799"/>
                  </a:lnTo>
                  <a:lnTo>
                    <a:pt x="1620101" y="197447"/>
                  </a:lnTo>
                  <a:lnTo>
                    <a:pt x="1620152" y="197447"/>
                  </a:lnTo>
                  <a:lnTo>
                    <a:pt x="1620152" y="196799"/>
                  </a:lnTo>
                  <a:lnTo>
                    <a:pt x="1620152" y="197447"/>
                  </a:lnTo>
                  <a:lnTo>
                    <a:pt x="1620152" y="196799"/>
                  </a:lnTo>
                  <a:lnTo>
                    <a:pt x="1620152" y="197447"/>
                  </a:lnTo>
                  <a:lnTo>
                    <a:pt x="1620152" y="196799"/>
                  </a:lnTo>
                  <a:lnTo>
                    <a:pt x="1620203" y="197447"/>
                  </a:lnTo>
                  <a:lnTo>
                    <a:pt x="1620203" y="196799"/>
                  </a:lnTo>
                  <a:lnTo>
                    <a:pt x="1620203" y="197447"/>
                  </a:lnTo>
                  <a:lnTo>
                    <a:pt x="1620203" y="196799"/>
                  </a:lnTo>
                  <a:lnTo>
                    <a:pt x="1620254" y="196113"/>
                  </a:lnTo>
                  <a:lnTo>
                    <a:pt x="1620254" y="194716"/>
                  </a:lnTo>
                  <a:lnTo>
                    <a:pt x="1620254" y="195415"/>
                  </a:lnTo>
                  <a:lnTo>
                    <a:pt x="1620343" y="195415"/>
                  </a:lnTo>
                  <a:lnTo>
                    <a:pt x="1620343" y="196113"/>
                  </a:lnTo>
                  <a:lnTo>
                    <a:pt x="1620343" y="194716"/>
                  </a:lnTo>
                  <a:lnTo>
                    <a:pt x="1620343" y="196113"/>
                  </a:lnTo>
                  <a:lnTo>
                    <a:pt x="1620394" y="196113"/>
                  </a:lnTo>
                  <a:lnTo>
                    <a:pt x="1620394" y="198831"/>
                  </a:lnTo>
                  <a:lnTo>
                    <a:pt x="1620394" y="196113"/>
                  </a:lnTo>
                  <a:lnTo>
                    <a:pt x="1620394" y="196799"/>
                  </a:lnTo>
                  <a:lnTo>
                    <a:pt x="1620444" y="197447"/>
                  </a:lnTo>
                  <a:lnTo>
                    <a:pt x="1620444" y="198831"/>
                  </a:lnTo>
                  <a:lnTo>
                    <a:pt x="1620444" y="196799"/>
                  </a:lnTo>
                  <a:lnTo>
                    <a:pt x="1620444" y="197447"/>
                  </a:lnTo>
                  <a:lnTo>
                    <a:pt x="1620444" y="196799"/>
                  </a:lnTo>
                  <a:lnTo>
                    <a:pt x="1620444" y="197447"/>
                  </a:lnTo>
                  <a:lnTo>
                    <a:pt x="1620444" y="196799"/>
                  </a:lnTo>
                  <a:lnTo>
                    <a:pt x="1620444" y="197447"/>
                  </a:lnTo>
                  <a:lnTo>
                    <a:pt x="1620444" y="196799"/>
                  </a:lnTo>
                  <a:lnTo>
                    <a:pt x="1620495" y="197447"/>
                  </a:lnTo>
                  <a:lnTo>
                    <a:pt x="1620495" y="198831"/>
                  </a:lnTo>
                  <a:lnTo>
                    <a:pt x="1620495" y="197447"/>
                  </a:lnTo>
                  <a:lnTo>
                    <a:pt x="1620495" y="198831"/>
                  </a:lnTo>
                  <a:lnTo>
                    <a:pt x="1620495" y="197447"/>
                  </a:lnTo>
                  <a:lnTo>
                    <a:pt x="1620495" y="198831"/>
                  </a:lnTo>
                  <a:lnTo>
                    <a:pt x="1620495" y="197447"/>
                  </a:lnTo>
                  <a:lnTo>
                    <a:pt x="1620597" y="197447"/>
                  </a:lnTo>
                  <a:lnTo>
                    <a:pt x="1620597" y="198831"/>
                  </a:lnTo>
                  <a:lnTo>
                    <a:pt x="1620597" y="197447"/>
                  </a:lnTo>
                  <a:lnTo>
                    <a:pt x="1620597" y="198831"/>
                  </a:lnTo>
                  <a:lnTo>
                    <a:pt x="1620597" y="197447"/>
                  </a:lnTo>
                  <a:lnTo>
                    <a:pt x="1620597" y="198831"/>
                  </a:lnTo>
                  <a:lnTo>
                    <a:pt x="1620597" y="197447"/>
                  </a:lnTo>
                  <a:lnTo>
                    <a:pt x="1620647" y="198831"/>
                  </a:lnTo>
                  <a:lnTo>
                    <a:pt x="1620647" y="197447"/>
                  </a:lnTo>
                  <a:lnTo>
                    <a:pt x="1620698" y="197447"/>
                  </a:lnTo>
                  <a:lnTo>
                    <a:pt x="1620698" y="196113"/>
                  </a:lnTo>
                  <a:lnTo>
                    <a:pt x="1620698" y="196799"/>
                  </a:lnTo>
                  <a:lnTo>
                    <a:pt x="1620698" y="196113"/>
                  </a:lnTo>
                  <a:lnTo>
                    <a:pt x="1620800" y="196113"/>
                  </a:lnTo>
                  <a:lnTo>
                    <a:pt x="1620800" y="194716"/>
                  </a:lnTo>
                  <a:lnTo>
                    <a:pt x="1620800" y="196799"/>
                  </a:lnTo>
                  <a:lnTo>
                    <a:pt x="1620838" y="196799"/>
                  </a:lnTo>
                  <a:lnTo>
                    <a:pt x="1620838" y="195415"/>
                  </a:lnTo>
                  <a:lnTo>
                    <a:pt x="1620838" y="198831"/>
                  </a:lnTo>
                  <a:lnTo>
                    <a:pt x="1620889" y="198831"/>
                  </a:lnTo>
                  <a:lnTo>
                    <a:pt x="1620889" y="197447"/>
                  </a:lnTo>
                  <a:lnTo>
                    <a:pt x="1620889" y="198831"/>
                  </a:lnTo>
                  <a:lnTo>
                    <a:pt x="1620889" y="196799"/>
                  </a:lnTo>
                  <a:lnTo>
                    <a:pt x="1620889" y="198831"/>
                  </a:lnTo>
                  <a:lnTo>
                    <a:pt x="1620889" y="197447"/>
                  </a:lnTo>
                  <a:lnTo>
                    <a:pt x="1620889" y="198831"/>
                  </a:lnTo>
                  <a:lnTo>
                    <a:pt x="1620889" y="197447"/>
                  </a:lnTo>
                  <a:lnTo>
                    <a:pt x="1620940" y="197447"/>
                  </a:lnTo>
                  <a:lnTo>
                    <a:pt x="1620940" y="198831"/>
                  </a:lnTo>
                  <a:lnTo>
                    <a:pt x="1620940" y="197447"/>
                  </a:lnTo>
                  <a:lnTo>
                    <a:pt x="1620940" y="198831"/>
                  </a:lnTo>
                  <a:lnTo>
                    <a:pt x="1621041" y="198831"/>
                  </a:lnTo>
                  <a:lnTo>
                    <a:pt x="1621041" y="197447"/>
                  </a:lnTo>
                  <a:lnTo>
                    <a:pt x="1621041" y="198831"/>
                  </a:lnTo>
                  <a:lnTo>
                    <a:pt x="1621041" y="197447"/>
                  </a:lnTo>
                  <a:lnTo>
                    <a:pt x="1621041" y="198831"/>
                  </a:lnTo>
                  <a:lnTo>
                    <a:pt x="1621041" y="197447"/>
                  </a:lnTo>
                  <a:lnTo>
                    <a:pt x="1621041" y="198831"/>
                  </a:lnTo>
                  <a:lnTo>
                    <a:pt x="1621041" y="197447"/>
                  </a:lnTo>
                  <a:lnTo>
                    <a:pt x="1621092" y="198831"/>
                  </a:lnTo>
                  <a:lnTo>
                    <a:pt x="1621092" y="197447"/>
                  </a:lnTo>
                  <a:lnTo>
                    <a:pt x="1621092" y="198831"/>
                  </a:lnTo>
                  <a:lnTo>
                    <a:pt x="1621092" y="197447"/>
                  </a:lnTo>
                  <a:lnTo>
                    <a:pt x="1621092" y="198831"/>
                  </a:lnTo>
                  <a:lnTo>
                    <a:pt x="1621143" y="198831"/>
                  </a:lnTo>
                  <a:lnTo>
                    <a:pt x="1621143" y="197447"/>
                  </a:lnTo>
                  <a:lnTo>
                    <a:pt x="1621143" y="198831"/>
                  </a:lnTo>
                  <a:lnTo>
                    <a:pt x="1621143" y="196799"/>
                  </a:lnTo>
                  <a:lnTo>
                    <a:pt x="1621244" y="196799"/>
                  </a:lnTo>
                  <a:lnTo>
                    <a:pt x="1621244" y="196113"/>
                  </a:lnTo>
                  <a:lnTo>
                    <a:pt x="1621244" y="196799"/>
                  </a:lnTo>
                  <a:lnTo>
                    <a:pt x="1621244" y="196113"/>
                  </a:lnTo>
                  <a:lnTo>
                    <a:pt x="1621244" y="196799"/>
                  </a:lnTo>
                  <a:lnTo>
                    <a:pt x="1621244" y="195415"/>
                  </a:lnTo>
                  <a:lnTo>
                    <a:pt x="1621295" y="195415"/>
                  </a:lnTo>
                  <a:lnTo>
                    <a:pt x="1621295" y="194716"/>
                  </a:lnTo>
                  <a:lnTo>
                    <a:pt x="1621295" y="196799"/>
                  </a:lnTo>
                  <a:lnTo>
                    <a:pt x="1621295" y="195415"/>
                  </a:lnTo>
                  <a:lnTo>
                    <a:pt x="1621346" y="195415"/>
                  </a:lnTo>
                  <a:lnTo>
                    <a:pt x="1621346" y="194716"/>
                  </a:lnTo>
                  <a:lnTo>
                    <a:pt x="1621346" y="197447"/>
                  </a:lnTo>
                  <a:lnTo>
                    <a:pt x="1621346" y="196799"/>
                  </a:lnTo>
                  <a:lnTo>
                    <a:pt x="1621384" y="196113"/>
                  </a:lnTo>
                  <a:lnTo>
                    <a:pt x="1621384" y="196799"/>
                  </a:lnTo>
                  <a:lnTo>
                    <a:pt x="1621384" y="196113"/>
                  </a:lnTo>
                  <a:lnTo>
                    <a:pt x="1621384" y="197447"/>
                  </a:lnTo>
                  <a:lnTo>
                    <a:pt x="1621384" y="196799"/>
                  </a:lnTo>
                  <a:lnTo>
                    <a:pt x="1621486" y="196799"/>
                  </a:lnTo>
                  <a:lnTo>
                    <a:pt x="1621486" y="197447"/>
                  </a:lnTo>
                  <a:lnTo>
                    <a:pt x="1621537" y="197447"/>
                  </a:lnTo>
                  <a:lnTo>
                    <a:pt x="1621537" y="198831"/>
                  </a:lnTo>
                  <a:lnTo>
                    <a:pt x="1621537" y="197447"/>
                  </a:lnTo>
                  <a:lnTo>
                    <a:pt x="1621537" y="198831"/>
                  </a:lnTo>
                  <a:lnTo>
                    <a:pt x="1621537" y="197447"/>
                  </a:lnTo>
                  <a:lnTo>
                    <a:pt x="1621537" y="198831"/>
                  </a:lnTo>
                  <a:lnTo>
                    <a:pt x="1621537" y="197447"/>
                  </a:lnTo>
                  <a:lnTo>
                    <a:pt x="1621537" y="198831"/>
                  </a:lnTo>
                  <a:lnTo>
                    <a:pt x="1621587" y="198831"/>
                  </a:lnTo>
                  <a:lnTo>
                    <a:pt x="1621587" y="199530"/>
                  </a:lnTo>
                  <a:lnTo>
                    <a:pt x="1621587" y="198831"/>
                  </a:lnTo>
                  <a:lnTo>
                    <a:pt x="1621587" y="199530"/>
                  </a:lnTo>
                  <a:lnTo>
                    <a:pt x="1621587" y="197447"/>
                  </a:lnTo>
                  <a:lnTo>
                    <a:pt x="1621587" y="198831"/>
                  </a:lnTo>
                  <a:lnTo>
                    <a:pt x="1621689" y="197447"/>
                  </a:lnTo>
                  <a:lnTo>
                    <a:pt x="1621689" y="198831"/>
                  </a:lnTo>
                  <a:lnTo>
                    <a:pt x="1621689" y="196799"/>
                  </a:lnTo>
                  <a:lnTo>
                    <a:pt x="1621740" y="196799"/>
                  </a:lnTo>
                  <a:lnTo>
                    <a:pt x="1621740" y="195415"/>
                  </a:lnTo>
                  <a:lnTo>
                    <a:pt x="1621790" y="195415"/>
                  </a:lnTo>
                  <a:lnTo>
                    <a:pt x="1621790" y="196113"/>
                  </a:lnTo>
                  <a:lnTo>
                    <a:pt x="1621790" y="195415"/>
                  </a:lnTo>
                  <a:lnTo>
                    <a:pt x="1621790" y="196113"/>
                  </a:lnTo>
                  <a:lnTo>
                    <a:pt x="1621790" y="194716"/>
                  </a:lnTo>
                  <a:lnTo>
                    <a:pt x="1621790" y="195415"/>
                  </a:lnTo>
                  <a:lnTo>
                    <a:pt x="1621841" y="196113"/>
                  </a:lnTo>
                  <a:lnTo>
                    <a:pt x="1621841" y="196799"/>
                  </a:lnTo>
                  <a:lnTo>
                    <a:pt x="1621841" y="196113"/>
                  </a:lnTo>
                  <a:lnTo>
                    <a:pt x="1621841" y="196799"/>
                  </a:lnTo>
                  <a:lnTo>
                    <a:pt x="1621841" y="196113"/>
                  </a:lnTo>
                  <a:lnTo>
                    <a:pt x="1621841" y="196799"/>
                  </a:lnTo>
                  <a:lnTo>
                    <a:pt x="1621930" y="196799"/>
                  </a:lnTo>
                  <a:lnTo>
                    <a:pt x="1621930" y="197447"/>
                  </a:lnTo>
                  <a:lnTo>
                    <a:pt x="1621930" y="196113"/>
                  </a:lnTo>
                  <a:lnTo>
                    <a:pt x="1621930" y="197447"/>
                  </a:lnTo>
                  <a:lnTo>
                    <a:pt x="1621981" y="197447"/>
                  </a:lnTo>
                  <a:lnTo>
                    <a:pt x="1621981" y="196799"/>
                  </a:lnTo>
                  <a:lnTo>
                    <a:pt x="1621981" y="197447"/>
                  </a:lnTo>
                  <a:lnTo>
                    <a:pt x="1621981" y="196799"/>
                  </a:lnTo>
                  <a:lnTo>
                    <a:pt x="1621981" y="197447"/>
                  </a:lnTo>
                  <a:lnTo>
                    <a:pt x="1622032" y="197447"/>
                  </a:lnTo>
                  <a:lnTo>
                    <a:pt x="1622032" y="198831"/>
                  </a:lnTo>
                  <a:lnTo>
                    <a:pt x="1622032" y="197447"/>
                  </a:lnTo>
                  <a:lnTo>
                    <a:pt x="1622083" y="198831"/>
                  </a:lnTo>
                  <a:lnTo>
                    <a:pt x="1622083" y="197447"/>
                  </a:lnTo>
                  <a:lnTo>
                    <a:pt x="1622083" y="198831"/>
                  </a:lnTo>
                  <a:lnTo>
                    <a:pt x="1622083" y="197447"/>
                  </a:lnTo>
                  <a:lnTo>
                    <a:pt x="1622083" y="198831"/>
                  </a:lnTo>
                  <a:lnTo>
                    <a:pt x="1622083" y="197447"/>
                  </a:lnTo>
                  <a:lnTo>
                    <a:pt x="1622184" y="197447"/>
                  </a:lnTo>
                  <a:lnTo>
                    <a:pt x="1622184" y="196799"/>
                  </a:lnTo>
                  <a:lnTo>
                    <a:pt x="1622184" y="197447"/>
                  </a:lnTo>
                  <a:lnTo>
                    <a:pt x="1622184" y="196799"/>
                  </a:lnTo>
                  <a:lnTo>
                    <a:pt x="1622184" y="197447"/>
                  </a:lnTo>
                  <a:lnTo>
                    <a:pt x="1622184" y="196113"/>
                  </a:lnTo>
                  <a:lnTo>
                    <a:pt x="1622184" y="196799"/>
                  </a:lnTo>
                  <a:lnTo>
                    <a:pt x="1622184" y="196113"/>
                  </a:lnTo>
                  <a:lnTo>
                    <a:pt x="1622235" y="196799"/>
                  </a:lnTo>
                  <a:lnTo>
                    <a:pt x="1622235" y="194716"/>
                  </a:lnTo>
                  <a:lnTo>
                    <a:pt x="1622235" y="195415"/>
                  </a:lnTo>
                  <a:lnTo>
                    <a:pt x="1622235" y="194716"/>
                  </a:lnTo>
                  <a:lnTo>
                    <a:pt x="1622286" y="193383"/>
                  </a:lnTo>
                  <a:lnTo>
                    <a:pt x="1622286" y="194716"/>
                  </a:lnTo>
                  <a:lnTo>
                    <a:pt x="1622286" y="193383"/>
                  </a:lnTo>
                  <a:lnTo>
                    <a:pt x="1622387" y="193383"/>
                  </a:lnTo>
                  <a:lnTo>
                    <a:pt x="1622387" y="194716"/>
                  </a:lnTo>
                  <a:lnTo>
                    <a:pt x="1622387" y="193383"/>
                  </a:lnTo>
                  <a:lnTo>
                    <a:pt x="1622387" y="196113"/>
                  </a:lnTo>
                  <a:lnTo>
                    <a:pt x="1622387" y="195415"/>
                  </a:lnTo>
                  <a:lnTo>
                    <a:pt x="1622387" y="196113"/>
                  </a:lnTo>
                  <a:lnTo>
                    <a:pt x="1622387" y="194716"/>
                  </a:lnTo>
                  <a:lnTo>
                    <a:pt x="1622425" y="195415"/>
                  </a:lnTo>
                  <a:lnTo>
                    <a:pt x="1622425" y="194716"/>
                  </a:lnTo>
                  <a:lnTo>
                    <a:pt x="1622425" y="196113"/>
                  </a:lnTo>
                  <a:lnTo>
                    <a:pt x="1622425" y="195415"/>
                  </a:lnTo>
                  <a:lnTo>
                    <a:pt x="1622425" y="196113"/>
                  </a:lnTo>
                  <a:lnTo>
                    <a:pt x="1622425" y="195415"/>
                  </a:lnTo>
                  <a:lnTo>
                    <a:pt x="1622425" y="196113"/>
                  </a:lnTo>
                  <a:lnTo>
                    <a:pt x="1622425" y="195415"/>
                  </a:lnTo>
                  <a:lnTo>
                    <a:pt x="1622476" y="195415"/>
                  </a:lnTo>
                  <a:lnTo>
                    <a:pt x="1622476" y="196799"/>
                  </a:lnTo>
                  <a:lnTo>
                    <a:pt x="1622476" y="196113"/>
                  </a:lnTo>
                  <a:lnTo>
                    <a:pt x="1622476" y="196799"/>
                  </a:lnTo>
                  <a:lnTo>
                    <a:pt x="1622527" y="196799"/>
                  </a:lnTo>
                  <a:lnTo>
                    <a:pt x="1622527" y="197447"/>
                  </a:lnTo>
                  <a:lnTo>
                    <a:pt x="1622527" y="196799"/>
                  </a:lnTo>
                  <a:lnTo>
                    <a:pt x="1622527" y="197447"/>
                  </a:lnTo>
                  <a:lnTo>
                    <a:pt x="1622527" y="196799"/>
                  </a:lnTo>
                  <a:lnTo>
                    <a:pt x="1622527" y="197447"/>
                  </a:lnTo>
                  <a:lnTo>
                    <a:pt x="1622527" y="196799"/>
                  </a:lnTo>
                  <a:lnTo>
                    <a:pt x="1622527" y="197447"/>
                  </a:lnTo>
                  <a:lnTo>
                    <a:pt x="1622629" y="198831"/>
                  </a:lnTo>
                  <a:lnTo>
                    <a:pt x="1622629" y="197447"/>
                  </a:lnTo>
                  <a:lnTo>
                    <a:pt x="1622629" y="198831"/>
                  </a:lnTo>
                  <a:lnTo>
                    <a:pt x="1622680" y="198831"/>
                  </a:lnTo>
                  <a:lnTo>
                    <a:pt x="1622680" y="196113"/>
                  </a:lnTo>
                  <a:lnTo>
                    <a:pt x="1622730" y="196113"/>
                  </a:lnTo>
                  <a:lnTo>
                    <a:pt x="1622730" y="196799"/>
                  </a:lnTo>
                  <a:lnTo>
                    <a:pt x="1622730" y="195415"/>
                  </a:lnTo>
                  <a:lnTo>
                    <a:pt x="1622832" y="195415"/>
                  </a:lnTo>
                  <a:lnTo>
                    <a:pt x="1622832" y="194716"/>
                  </a:lnTo>
                  <a:lnTo>
                    <a:pt x="1622832" y="196113"/>
                  </a:lnTo>
                  <a:lnTo>
                    <a:pt x="1622883" y="196113"/>
                  </a:lnTo>
                  <a:lnTo>
                    <a:pt x="1622883" y="196799"/>
                  </a:lnTo>
                  <a:lnTo>
                    <a:pt x="1622883" y="196113"/>
                  </a:lnTo>
                  <a:lnTo>
                    <a:pt x="1622883" y="196799"/>
                  </a:lnTo>
                  <a:lnTo>
                    <a:pt x="1622883" y="195415"/>
                  </a:lnTo>
                  <a:lnTo>
                    <a:pt x="1622883" y="196799"/>
                  </a:lnTo>
                  <a:lnTo>
                    <a:pt x="1622934" y="196799"/>
                  </a:lnTo>
                  <a:lnTo>
                    <a:pt x="1622934" y="195415"/>
                  </a:lnTo>
                  <a:lnTo>
                    <a:pt x="1622934" y="196113"/>
                  </a:lnTo>
                  <a:lnTo>
                    <a:pt x="1622972" y="195415"/>
                  </a:lnTo>
                  <a:lnTo>
                    <a:pt x="1622972" y="196113"/>
                  </a:lnTo>
                  <a:lnTo>
                    <a:pt x="1622972" y="195415"/>
                  </a:lnTo>
                  <a:lnTo>
                    <a:pt x="1622972" y="196799"/>
                  </a:lnTo>
                  <a:lnTo>
                    <a:pt x="1622972" y="196113"/>
                  </a:lnTo>
                  <a:lnTo>
                    <a:pt x="1623073" y="196113"/>
                  </a:lnTo>
                  <a:lnTo>
                    <a:pt x="1623073" y="196799"/>
                  </a:lnTo>
                  <a:lnTo>
                    <a:pt x="1623073" y="196113"/>
                  </a:lnTo>
                  <a:lnTo>
                    <a:pt x="1623073" y="196799"/>
                  </a:lnTo>
                  <a:lnTo>
                    <a:pt x="1623073" y="196113"/>
                  </a:lnTo>
                  <a:lnTo>
                    <a:pt x="1623073" y="196799"/>
                  </a:lnTo>
                  <a:lnTo>
                    <a:pt x="1623124" y="196799"/>
                  </a:lnTo>
                  <a:lnTo>
                    <a:pt x="1623124" y="197447"/>
                  </a:lnTo>
                  <a:lnTo>
                    <a:pt x="1623124" y="196799"/>
                  </a:lnTo>
                  <a:lnTo>
                    <a:pt x="1623175" y="196799"/>
                  </a:lnTo>
                  <a:lnTo>
                    <a:pt x="1623175" y="196113"/>
                  </a:lnTo>
                  <a:lnTo>
                    <a:pt x="1623276" y="196113"/>
                  </a:lnTo>
                  <a:lnTo>
                    <a:pt x="1623276" y="194716"/>
                  </a:lnTo>
                  <a:lnTo>
                    <a:pt x="1623276" y="195415"/>
                  </a:lnTo>
                  <a:lnTo>
                    <a:pt x="1623276" y="194716"/>
                  </a:lnTo>
                  <a:lnTo>
                    <a:pt x="1623276" y="196113"/>
                  </a:lnTo>
                  <a:lnTo>
                    <a:pt x="1623327" y="196113"/>
                  </a:lnTo>
                  <a:lnTo>
                    <a:pt x="1623327" y="194716"/>
                  </a:lnTo>
                  <a:lnTo>
                    <a:pt x="1623327" y="197447"/>
                  </a:lnTo>
                  <a:lnTo>
                    <a:pt x="1623327" y="196799"/>
                  </a:lnTo>
                  <a:lnTo>
                    <a:pt x="1623378" y="196799"/>
                  </a:lnTo>
                  <a:lnTo>
                    <a:pt x="1623378" y="196113"/>
                  </a:lnTo>
                  <a:lnTo>
                    <a:pt x="1623378" y="197447"/>
                  </a:lnTo>
                  <a:lnTo>
                    <a:pt x="1623378" y="196799"/>
                  </a:lnTo>
                  <a:lnTo>
                    <a:pt x="1623378" y="197447"/>
                  </a:lnTo>
                  <a:lnTo>
                    <a:pt x="1623378" y="196799"/>
                  </a:lnTo>
                  <a:lnTo>
                    <a:pt x="1623429" y="196113"/>
                  </a:lnTo>
                  <a:lnTo>
                    <a:pt x="1623429" y="197447"/>
                  </a:lnTo>
                  <a:lnTo>
                    <a:pt x="1623429" y="196799"/>
                  </a:lnTo>
                  <a:lnTo>
                    <a:pt x="1623518" y="196799"/>
                  </a:lnTo>
                  <a:lnTo>
                    <a:pt x="1623518" y="197447"/>
                  </a:lnTo>
                  <a:lnTo>
                    <a:pt x="1623518" y="196799"/>
                  </a:lnTo>
                  <a:lnTo>
                    <a:pt x="1623518" y="197447"/>
                  </a:lnTo>
                  <a:lnTo>
                    <a:pt x="1623569" y="197447"/>
                  </a:lnTo>
                  <a:lnTo>
                    <a:pt x="1623569" y="196799"/>
                  </a:lnTo>
                  <a:lnTo>
                    <a:pt x="1623569" y="197447"/>
                  </a:lnTo>
                  <a:lnTo>
                    <a:pt x="1623569" y="196799"/>
                  </a:lnTo>
                  <a:lnTo>
                    <a:pt x="1623619" y="196799"/>
                  </a:lnTo>
                  <a:lnTo>
                    <a:pt x="1623619" y="197447"/>
                  </a:lnTo>
                  <a:lnTo>
                    <a:pt x="1623619" y="196799"/>
                  </a:lnTo>
                  <a:lnTo>
                    <a:pt x="1623619" y="197447"/>
                  </a:lnTo>
                  <a:lnTo>
                    <a:pt x="1623619" y="196799"/>
                  </a:lnTo>
                  <a:lnTo>
                    <a:pt x="1623619" y="197447"/>
                  </a:lnTo>
                  <a:lnTo>
                    <a:pt x="1623619" y="196113"/>
                  </a:lnTo>
                  <a:lnTo>
                    <a:pt x="1623670" y="196113"/>
                  </a:lnTo>
                  <a:lnTo>
                    <a:pt x="1623670" y="195415"/>
                  </a:lnTo>
                  <a:lnTo>
                    <a:pt x="1623772" y="195415"/>
                  </a:lnTo>
                  <a:lnTo>
                    <a:pt x="1623772" y="194716"/>
                  </a:lnTo>
                  <a:lnTo>
                    <a:pt x="1623772" y="196113"/>
                  </a:lnTo>
                  <a:lnTo>
                    <a:pt x="1623772" y="195415"/>
                  </a:lnTo>
                  <a:lnTo>
                    <a:pt x="1623822" y="195415"/>
                  </a:lnTo>
                  <a:lnTo>
                    <a:pt x="1623822" y="197447"/>
                  </a:lnTo>
                  <a:lnTo>
                    <a:pt x="1623822" y="196799"/>
                  </a:lnTo>
                  <a:lnTo>
                    <a:pt x="1623873" y="196799"/>
                  </a:lnTo>
                  <a:lnTo>
                    <a:pt x="1623873" y="197447"/>
                  </a:lnTo>
                  <a:lnTo>
                    <a:pt x="1623873" y="196799"/>
                  </a:lnTo>
                  <a:lnTo>
                    <a:pt x="1623873" y="198831"/>
                  </a:lnTo>
                  <a:lnTo>
                    <a:pt x="1623873" y="197447"/>
                  </a:lnTo>
                  <a:lnTo>
                    <a:pt x="1623975" y="197447"/>
                  </a:lnTo>
                  <a:lnTo>
                    <a:pt x="1623975" y="196799"/>
                  </a:lnTo>
                  <a:lnTo>
                    <a:pt x="1623975" y="198831"/>
                  </a:lnTo>
                  <a:lnTo>
                    <a:pt x="1623975" y="197447"/>
                  </a:lnTo>
                  <a:lnTo>
                    <a:pt x="1624013" y="197447"/>
                  </a:lnTo>
                  <a:lnTo>
                    <a:pt x="1624013" y="198831"/>
                  </a:lnTo>
                  <a:lnTo>
                    <a:pt x="1624013" y="197447"/>
                  </a:lnTo>
                  <a:lnTo>
                    <a:pt x="1624013" y="198831"/>
                  </a:lnTo>
                  <a:lnTo>
                    <a:pt x="1624013" y="197447"/>
                  </a:lnTo>
                  <a:lnTo>
                    <a:pt x="1624013" y="198831"/>
                  </a:lnTo>
                  <a:lnTo>
                    <a:pt x="1624064" y="197447"/>
                  </a:lnTo>
                  <a:lnTo>
                    <a:pt x="1624064" y="196799"/>
                  </a:lnTo>
                  <a:lnTo>
                    <a:pt x="1624064" y="197447"/>
                  </a:lnTo>
                  <a:lnTo>
                    <a:pt x="1624064" y="196799"/>
                  </a:lnTo>
                  <a:lnTo>
                    <a:pt x="1624115" y="196799"/>
                  </a:lnTo>
                  <a:lnTo>
                    <a:pt x="1624115" y="197447"/>
                  </a:lnTo>
                  <a:lnTo>
                    <a:pt x="1624115" y="196113"/>
                  </a:lnTo>
                  <a:lnTo>
                    <a:pt x="1624216" y="196113"/>
                  </a:lnTo>
                  <a:lnTo>
                    <a:pt x="1624216" y="194716"/>
                  </a:lnTo>
                  <a:lnTo>
                    <a:pt x="1624216" y="195415"/>
                  </a:lnTo>
                  <a:lnTo>
                    <a:pt x="1624216" y="194716"/>
                  </a:lnTo>
                  <a:lnTo>
                    <a:pt x="1624267" y="194716"/>
                  </a:lnTo>
                  <a:lnTo>
                    <a:pt x="1624267" y="193383"/>
                  </a:lnTo>
                  <a:lnTo>
                    <a:pt x="1624267" y="196113"/>
                  </a:lnTo>
                  <a:lnTo>
                    <a:pt x="1624267" y="193383"/>
                  </a:lnTo>
                  <a:lnTo>
                    <a:pt x="1624267" y="194716"/>
                  </a:lnTo>
                  <a:lnTo>
                    <a:pt x="1624318" y="193383"/>
                  </a:lnTo>
                  <a:lnTo>
                    <a:pt x="1624318" y="197447"/>
                  </a:lnTo>
                  <a:lnTo>
                    <a:pt x="1624318" y="196799"/>
                  </a:lnTo>
                  <a:lnTo>
                    <a:pt x="1624318" y="197447"/>
                  </a:lnTo>
                  <a:lnTo>
                    <a:pt x="1624318" y="195415"/>
                  </a:lnTo>
                  <a:lnTo>
                    <a:pt x="1624419" y="195415"/>
                  </a:lnTo>
                  <a:lnTo>
                    <a:pt x="1624419" y="197447"/>
                  </a:lnTo>
                  <a:lnTo>
                    <a:pt x="1624419" y="196799"/>
                  </a:lnTo>
                  <a:lnTo>
                    <a:pt x="1624419" y="197447"/>
                  </a:lnTo>
                  <a:lnTo>
                    <a:pt x="1624419" y="196113"/>
                  </a:lnTo>
                  <a:lnTo>
                    <a:pt x="1624470" y="196799"/>
                  </a:lnTo>
                  <a:lnTo>
                    <a:pt x="1624470" y="197447"/>
                  </a:lnTo>
                  <a:lnTo>
                    <a:pt x="1624470" y="196799"/>
                  </a:lnTo>
                  <a:lnTo>
                    <a:pt x="1624521" y="197447"/>
                  </a:lnTo>
                  <a:lnTo>
                    <a:pt x="1624521" y="196799"/>
                  </a:lnTo>
                  <a:lnTo>
                    <a:pt x="1624521" y="198831"/>
                  </a:lnTo>
                  <a:lnTo>
                    <a:pt x="1624521" y="197447"/>
                  </a:lnTo>
                  <a:lnTo>
                    <a:pt x="1624661" y="197447"/>
                  </a:lnTo>
                  <a:lnTo>
                    <a:pt x="1624661" y="196113"/>
                  </a:lnTo>
                  <a:lnTo>
                    <a:pt x="1624661" y="196799"/>
                  </a:lnTo>
                  <a:lnTo>
                    <a:pt x="1624661" y="196113"/>
                  </a:lnTo>
                  <a:lnTo>
                    <a:pt x="1624712" y="196113"/>
                  </a:lnTo>
                  <a:lnTo>
                    <a:pt x="1624712" y="194716"/>
                  </a:lnTo>
                  <a:lnTo>
                    <a:pt x="1624712" y="196799"/>
                  </a:lnTo>
                  <a:lnTo>
                    <a:pt x="1624762" y="196113"/>
                  </a:lnTo>
                  <a:lnTo>
                    <a:pt x="1624762" y="194716"/>
                  </a:lnTo>
                  <a:lnTo>
                    <a:pt x="1624762" y="198831"/>
                  </a:lnTo>
                  <a:lnTo>
                    <a:pt x="1624864" y="197447"/>
                  </a:lnTo>
                  <a:lnTo>
                    <a:pt x="1624864" y="196113"/>
                  </a:lnTo>
                  <a:lnTo>
                    <a:pt x="1624864" y="197447"/>
                  </a:lnTo>
                  <a:lnTo>
                    <a:pt x="1624915" y="197447"/>
                  </a:lnTo>
                  <a:lnTo>
                    <a:pt x="1624915" y="196799"/>
                  </a:lnTo>
                  <a:lnTo>
                    <a:pt x="1624915" y="198831"/>
                  </a:lnTo>
                  <a:lnTo>
                    <a:pt x="1624915" y="197447"/>
                  </a:lnTo>
                  <a:lnTo>
                    <a:pt x="1624965" y="197447"/>
                  </a:lnTo>
                  <a:lnTo>
                    <a:pt x="1624965" y="198831"/>
                  </a:lnTo>
                  <a:lnTo>
                    <a:pt x="1624965" y="197447"/>
                  </a:lnTo>
                  <a:lnTo>
                    <a:pt x="1624965" y="198831"/>
                  </a:lnTo>
                  <a:lnTo>
                    <a:pt x="1624965" y="197447"/>
                  </a:lnTo>
                  <a:lnTo>
                    <a:pt x="1625016" y="197447"/>
                  </a:lnTo>
                  <a:lnTo>
                    <a:pt x="1625016" y="198831"/>
                  </a:lnTo>
                  <a:lnTo>
                    <a:pt x="1625016" y="197447"/>
                  </a:lnTo>
                  <a:lnTo>
                    <a:pt x="1625016" y="198831"/>
                  </a:lnTo>
                  <a:lnTo>
                    <a:pt x="1625016" y="197447"/>
                  </a:lnTo>
                  <a:lnTo>
                    <a:pt x="1625016" y="198831"/>
                  </a:lnTo>
                  <a:lnTo>
                    <a:pt x="1625016" y="196799"/>
                  </a:lnTo>
                  <a:lnTo>
                    <a:pt x="1625105" y="196799"/>
                  </a:lnTo>
                  <a:lnTo>
                    <a:pt x="1625105" y="197447"/>
                  </a:lnTo>
                  <a:lnTo>
                    <a:pt x="1625105" y="196799"/>
                  </a:lnTo>
                  <a:lnTo>
                    <a:pt x="1625105" y="197447"/>
                  </a:lnTo>
                  <a:lnTo>
                    <a:pt x="1625105" y="196799"/>
                  </a:lnTo>
                  <a:lnTo>
                    <a:pt x="1625156" y="196799"/>
                  </a:lnTo>
                  <a:lnTo>
                    <a:pt x="1625156" y="195415"/>
                  </a:lnTo>
                  <a:lnTo>
                    <a:pt x="1625207" y="195415"/>
                  </a:lnTo>
                  <a:lnTo>
                    <a:pt x="1625207" y="192684"/>
                  </a:lnTo>
                  <a:lnTo>
                    <a:pt x="1625207" y="194716"/>
                  </a:lnTo>
                  <a:lnTo>
                    <a:pt x="1625258" y="194716"/>
                  </a:lnTo>
                  <a:lnTo>
                    <a:pt x="1625258" y="195415"/>
                  </a:lnTo>
                  <a:lnTo>
                    <a:pt x="1625258" y="192684"/>
                  </a:lnTo>
                  <a:lnTo>
                    <a:pt x="1625258" y="193383"/>
                  </a:lnTo>
                  <a:lnTo>
                    <a:pt x="1625258" y="192684"/>
                  </a:lnTo>
                  <a:lnTo>
                    <a:pt x="1625258" y="196799"/>
                  </a:lnTo>
                  <a:lnTo>
                    <a:pt x="1625359" y="196799"/>
                  </a:lnTo>
                  <a:lnTo>
                    <a:pt x="1625359" y="194716"/>
                  </a:lnTo>
                  <a:lnTo>
                    <a:pt x="1625359" y="196799"/>
                  </a:lnTo>
                  <a:lnTo>
                    <a:pt x="1625410" y="196799"/>
                  </a:lnTo>
                  <a:lnTo>
                    <a:pt x="1625410" y="196113"/>
                  </a:lnTo>
                  <a:lnTo>
                    <a:pt x="1625410" y="196799"/>
                  </a:lnTo>
                  <a:lnTo>
                    <a:pt x="1625410" y="196113"/>
                  </a:lnTo>
                  <a:lnTo>
                    <a:pt x="1625410" y="196799"/>
                  </a:lnTo>
                  <a:lnTo>
                    <a:pt x="1625461" y="196799"/>
                  </a:lnTo>
                  <a:lnTo>
                    <a:pt x="1625461" y="197447"/>
                  </a:lnTo>
                  <a:lnTo>
                    <a:pt x="1625461" y="196799"/>
                  </a:lnTo>
                  <a:lnTo>
                    <a:pt x="1625461" y="197447"/>
                  </a:lnTo>
                  <a:lnTo>
                    <a:pt x="1625562" y="196799"/>
                  </a:lnTo>
                  <a:lnTo>
                    <a:pt x="1625562" y="197447"/>
                  </a:lnTo>
                  <a:lnTo>
                    <a:pt x="1625562" y="196799"/>
                  </a:lnTo>
                  <a:lnTo>
                    <a:pt x="1625562" y="197447"/>
                  </a:lnTo>
                  <a:lnTo>
                    <a:pt x="1625600" y="197447"/>
                  </a:lnTo>
                  <a:lnTo>
                    <a:pt x="1625600" y="198831"/>
                  </a:lnTo>
                  <a:lnTo>
                    <a:pt x="1625600" y="196799"/>
                  </a:lnTo>
                  <a:lnTo>
                    <a:pt x="1625600" y="197447"/>
                  </a:lnTo>
                  <a:lnTo>
                    <a:pt x="1625651" y="197447"/>
                  </a:lnTo>
                  <a:lnTo>
                    <a:pt x="1625651" y="195415"/>
                  </a:lnTo>
                  <a:lnTo>
                    <a:pt x="1625702" y="195415"/>
                  </a:lnTo>
                  <a:lnTo>
                    <a:pt x="1625702" y="193383"/>
                  </a:lnTo>
                  <a:lnTo>
                    <a:pt x="1625702" y="195415"/>
                  </a:lnTo>
                  <a:lnTo>
                    <a:pt x="1625804" y="195415"/>
                  </a:lnTo>
                  <a:lnTo>
                    <a:pt x="1625804" y="192684"/>
                  </a:lnTo>
                  <a:lnTo>
                    <a:pt x="1625804" y="196113"/>
                  </a:lnTo>
                  <a:lnTo>
                    <a:pt x="1625804" y="195415"/>
                  </a:lnTo>
                  <a:lnTo>
                    <a:pt x="1625855" y="195415"/>
                  </a:lnTo>
                  <a:lnTo>
                    <a:pt x="1625855" y="193383"/>
                  </a:lnTo>
                  <a:lnTo>
                    <a:pt x="1625855" y="195415"/>
                  </a:lnTo>
                  <a:lnTo>
                    <a:pt x="1625905" y="195415"/>
                  </a:lnTo>
                  <a:lnTo>
                    <a:pt x="1625905" y="196113"/>
                  </a:lnTo>
                  <a:lnTo>
                    <a:pt x="1625905" y="195415"/>
                  </a:lnTo>
                  <a:lnTo>
                    <a:pt x="1625905" y="196113"/>
                  </a:lnTo>
                  <a:lnTo>
                    <a:pt x="1625905" y="195415"/>
                  </a:lnTo>
                  <a:lnTo>
                    <a:pt x="1625905" y="196113"/>
                  </a:lnTo>
                  <a:lnTo>
                    <a:pt x="1626007" y="196113"/>
                  </a:lnTo>
                  <a:lnTo>
                    <a:pt x="1626007" y="195415"/>
                  </a:lnTo>
                  <a:lnTo>
                    <a:pt x="1626007" y="196113"/>
                  </a:lnTo>
                  <a:lnTo>
                    <a:pt x="1626007" y="195415"/>
                  </a:lnTo>
                  <a:lnTo>
                    <a:pt x="1626007" y="196799"/>
                  </a:lnTo>
                  <a:lnTo>
                    <a:pt x="1626007" y="196113"/>
                  </a:lnTo>
                  <a:lnTo>
                    <a:pt x="1626058" y="196113"/>
                  </a:lnTo>
                  <a:lnTo>
                    <a:pt x="1626058" y="196799"/>
                  </a:lnTo>
                  <a:lnTo>
                    <a:pt x="1626058" y="196113"/>
                  </a:lnTo>
                  <a:lnTo>
                    <a:pt x="1626058" y="196799"/>
                  </a:lnTo>
                  <a:lnTo>
                    <a:pt x="1626109" y="196799"/>
                  </a:lnTo>
                  <a:lnTo>
                    <a:pt x="1626109" y="196113"/>
                  </a:lnTo>
                  <a:lnTo>
                    <a:pt x="1626109" y="196799"/>
                  </a:lnTo>
                  <a:lnTo>
                    <a:pt x="1626109" y="196113"/>
                  </a:lnTo>
                  <a:lnTo>
                    <a:pt x="1626109" y="196799"/>
                  </a:lnTo>
                  <a:lnTo>
                    <a:pt x="1626109" y="196113"/>
                  </a:lnTo>
                  <a:lnTo>
                    <a:pt x="1626147" y="196799"/>
                  </a:lnTo>
                  <a:lnTo>
                    <a:pt x="1626147" y="195415"/>
                  </a:lnTo>
                  <a:lnTo>
                    <a:pt x="1626147" y="196113"/>
                  </a:lnTo>
                  <a:lnTo>
                    <a:pt x="1626147" y="195415"/>
                  </a:lnTo>
                  <a:lnTo>
                    <a:pt x="1626147" y="196113"/>
                  </a:lnTo>
                  <a:lnTo>
                    <a:pt x="1626248" y="195415"/>
                  </a:lnTo>
                  <a:lnTo>
                    <a:pt x="1626248" y="194716"/>
                  </a:lnTo>
                  <a:lnTo>
                    <a:pt x="1626248" y="196113"/>
                  </a:lnTo>
                  <a:lnTo>
                    <a:pt x="1626248" y="195415"/>
                  </a:lnTo>
                  <a:lnTo>
                    <a:pt x="1626248" y="196113"/>
                  </a:lnTo>
                  <a:lnTo>
                    <a:pt x="1626299" y="196113"/>
                  </a:lnTo>
                  <a:lnTo>
                    <a:pt x="1626299" y="193383"/>
                  </a:lnTo>
                  <a:lnTo>
                    <a:pt x="1626299" y="197447"/>
                  </a:lnTo>
                  <a:lnTo>
                    <a:pt x="1626299" y="196113"/>
                  </a:lnTo>
                  <a:lnTo>
                    <a:pt x="1626350" y="196113"/>
                  </a:lnTo>
                  <a:lnTo>
                    <a:pt x="1626350" y="195415"/>
                  </a:lnTo>
                  <a:lnTo>
                    <a:pt x="1626350" y="196799"/>
                  </a:lnTo>
                  <a:lnTo>
                    <a:pt x="1626350" y="196113"/>
                  </a:lnTo>
                  <a:lnTo>
                    <a:pt x="1626451" y="196113"/>
                  </a:lnTo>
                  <a:lnTo>
                    <a:pt x="1626451" y="196799"/>
                  </a:lnTo>
                  <a:lnTo>
                    <a:pt x="1626451" y="196113"/>
                  </a:lnTo>
                  <a:lnTo>
                    <a:pt x="1626451" y="196799"/>
                  </a:lnTo>
                  <a:lnTo>
                    <a:pt x="1626451" y="196113"/>
                  </a:lnTo>
                  <a:lnTo>
                    <a:pt x="1626451" y="196799"/>
                  </a:lnTo>
                  <a:lnTo>
                    <a:pt x="1626502" y="196799"/>
                  </a:lnTo>
                  <a:lnTo>
                    <a:pt x="1626502" y="196113"/>
                  </a:lnTo>
                  <a:lnTo>
                    <a:pt x="1626502" y="196799"/>
                  </a:lnTo>
                  <a:lnTo>
                    <a:pt x="1626502" y="196113"/>
                  </a:lnTo>
                  <a:lnTo>
                    <a:pt x="1626502" y="196799"/>
                  </a:lnTo>
                  <a:lnTo>
                    <a:pt x="1626553" y="196799"/>
                  </a:lnTo>
                  <a:lnTo>
                    <a:pt x="1626553" y="197447"/>
                  </a:lnTo>
                  <a:lnTo>
                    <a:pt x="1626604" y="196799"/>
                  </a:lnTo>
                  <a:lnTo>
                    <a:pt x="1626604" y="197447"/>
                  </a:lnTo>
                  <a:lnTo>
                    <a:pt x="1626604" y="196799"/>
                  </a:lnTo>
                  <a:lnTo>
                    <a:pt x="1626604" y="197447"/>
                  </a:lnTo>
                  <a:lnTo>
                    <a:pt x="1626693" y="196799"/>
                  </a:lnTo>
                  <a:lnTo>
                    <a:pt x="1626693" y="196113"/>
                  </a:lnTo>
                  <a:lnTo>
                    <a:pt x="1626693" y="196799"/>
                  </a:lnTo>
                  <a:lnTo>
                    <a:pt x="1626693" y="196113"/>
                  </a:lnTo>
                  <a:lnTo>
                    <a:pt x="1626693" y="196799"/>
                  </a:lnTo>
                  <a:lnTo>
                    <a:pt x="1626693" y="195415"/>
                  </a:lnTo>
                  <a:lnTo>
                    <a:pt x="1626744" y="195415"/>
                  </a:lnTo>
                  <a:lnTo>
                    <a:pt x="1626744" y="194716"/>
                  </a:lnTo>
                  <a:lnTo>
                    <a:pt x="1626744" y="196799"/>
                  </a:lnTo>
                  <a:lnTo>
                    <a:pt x="1626744" y="196113"/>
                  </a:lnTo>
                  <a:lnTo>
                    <a:pt x="1626794" y="196799"/>
                  </a:lnTo>
                  <a:lnTo>
                    <a:pt x="1626794" y="198831"/>
                  </a:lnTo>
                  <a:lnTo>
                    <a:pt x="1626794" y="196799"/>
                  </a:lnTo>
                  <a:lnTo>
                    <a:pt x="1626794" y="197447"/>
                  </a:lnTo>
                  <a:lnTo>
                    <a:pt x="1626845" y="197447"/>
                  </a:lnTo>
                  <a:lnTo>
                    <a:pt x="1626845" y="196799"/>
                  </a:lnTo>
                  <a:lnTo>
                    <a:pt x="1626845" y="198831"/>
                  </a:lnTo>
                  <a:lnTo>
                    <a:pt x="1626845" y="197447"/>
                  </a:lnTo>
                  <a:lnTo>
                    <a:pt x="1626845" y="198831"/>
                  </a:lnTo>
                  <a:lnTo>
                    <a:pt x="1626947" y="198831"/>
                  </a:lnTo>
                  <a:lnTo>
                    <a:pt x="1626947" y="197447"/>
                  </a:lnTo>
                  <a:lnTo>
                    <a:pt x="1626947" y="198831"/>
                  </a:lnTo>
                  <a:lnTo>
                    <a:pt x="1626947" y="197447"/>
                  </a:lnTo>
                  <a:lnTo>
                    <a:pt x="1626947" y="198831"/>
                  </a:lnTo>
                  <a:lnTo>
                    <a:pt x="1626947" y="197447"/>
                  </a:lnTo>
                  <a:lnTo>
                    <a:pt x="1627048" y="197447"/>
                  </a:lnTo>
                  <a:lnTo>
                    <a:pt x="1627048" y="196799"/>
                  </a:lnTo>
                  <a:lnTo>
                    <a:pt x="1627048" y="197447"/>
                  </a:lnTo>
                  <a:lnTo>
                    <a:pt x="1627048" y="196799"/>
                  </a:lnTo>
                  <a:lnTo>
                    <a:pt x="1627048" y="197447"/>
                  </a:lnTo>
                  <a:lnTo>
                    <a:pt x="1627048" y="196799"/>
                  </a:lnTo>
                  <a:lnTo>
                    <a:pt x="1627150" y="196799"/>
                  </a:lnTo>
                  <a:lnTo>
                    <a:pt x="1627150" y="195415"/>
                  </a:lnTo>
                  <a:lnTo>
                    <a:pt x="1627188" y="195415"/>
                  </a:lnTo>
                  <a:lnTo>
                    <a:pt x="1627188" y="192684"/>
                  </a:lnTo>
                  <a:lnTo>
                    <a:pt x="1627239" y="192684"/>
                  </a:lnTo>
                  <a:lnTo>
                    <a:pt x="1627239" y="194716"/>
                  </a:lnTo>
                  <a:lnTo>
                    <a:pt x="1627290" y="194716"/>
                  </a:lnTo>
                  <a:lnTo>
                    <a:pt x="1627290" y="196799"/>
                  </a:lnTo>
                  <a:lnTo>
                    <a:pt x="1627290" y="195415"/>
                  </a:lnTo>
                  <a:lnTo>
                    <a:pt x="1627290" y="196113"/>
                  </a:lnTo>
                  <a:lnTo>
                    <a:pt x="1627391" y="196113"/>
                  </a:lnTo>
                  <a:lnTo>
                    <a:pt x="1627391" y="196799"/>
                  </a:lnTo>
                  <a:lnTo>
                    <a:pt x="1627391" y="196113"/>
                  </a:lnTo>
                  <a:lnTo>
                    <a:pt x="1627391" y="196799"/>
                  </a:lnTo>
                  <a:lnTo>
                    <a:pt x="1627442" y="197447"/>
                  </a:lnTo>
                  <a:lnTo>
                    <a:pt x="1627442" y="196799"/>
                  </a:lnTo>
                  <a:lnTo>
                    <a:pt x="1627442" y="197447"/>
                  </a:lnTo>
                  <a:lnTo>
                    <a:pt x="1627442" y="196799"/>
                  </a:lnTo>
                  <a:lnTo>
                    <a:pt x="1627442" y="197447"/>
                  </a:lnTo>
                  <a:lnTo>
                    <a:pt x="1627442" y="196799"/>
                  </a:lnTo>
                  <a:lnTo>
                    <a:pt x="1627493" y="196799"/>
                  </a:lnTo>
                  <a:lnTo>
                    <a:pt x="1627493" y="197447"/>
                  </a:lnTo>
                  <a:lnTo>
                    <a:pt x="1627493" y="196799"/>
                  </a:lnTo>
                  <a:lnTo>
                    <a:pt x="1627493" y="197447"/>
                  </a:lnTo>
                  <a:lnTo>
                    <a:pt x="1627493" y="196799"/>
                  </a:lnTo>
                  <a:lnTo>
                    <a:pt x="1627493" y="197447"/>
                  </a:lnTo>
                  <a:lnTo>
                    <a:pt x="1627493" y="196799"/>
                  </a:lnTo>
                  <a:lnTo>
                    <a:pt x="1627493" y="197447"/>
                  </a:lnTo>
                  <a:lnTo>
                    <a:pt x="1627594" y="197447"/>
                  </a:lnTo>
                  <a:lnTo>
                    <a:pt x="1627594" y="198831"/>
                  </a:lnTo>
                  <a:lnTo>
                    <a:pt x="1627594" y="196799"/>
                  </a:lnTo>
                  <a:lnTo>
                    <a:pt x="1627594" y="197447"/>
                  </a:lnTo>
                  <a:lnTo>
                    <a:pt x="1627594" y="196799"/>
                  </a:lnTo>
                  <a:lnTo>
                    <a:pt x="1627594" y="197447"/>
                  </a:lnTo>
                  <a:lnTo>
                    <a:pt x="1627645" y="197447"/>
                  </a:lnTo>
                  <a:lnTo>
                    <a:pt x="1627645" y="196113"/>
                  </a:lnTo>
                  <a:lnTo>
                    <a:pt x="1627645" y="196799"/>
                  </a:lnTo>
                  <a:lnTo>
                    <a:pt x="1627645" y="196113"/>
                  </a:lnTo>
                  <a:lnTo>
                    <a:pt x="1627696" y="196113"/>
                  </a:lnTo>
                  <a:lnTo>
                    <a:pt x="1627696" y="194716"/>
                  </a:lnTo>
                  <a:lnTo>
                    <a:pt x="1627696" y="195415"/>
                  </a:lnTo>
                  <a:lnTo>
                    <a:pt x="1627696" y="192684"/>
                  </a:lnTo>
                  <a:lnTo>
                    <a:pt x="1627734" y="192684"/>
                  </a:lnTo>
                  <a:lnTo>
                    <a:pt x="1627734" y="195415"/>
                  </a:lnTo>
                  <a:lnTo>
                    <a:pt x="1627734" y="194716"/>
                  </a:lnTo>
                  <a:lnTo>
                    <a:pt x="1627734" y="195415"/>
                  </a:lnTo>
                  <a:lnTo>
                    <a:pt x="1627734" y="192684"/>
                  </a:lnTo>
                  <a:lnTo>
                    <a:pt x="1627734" y="194716"/>
                  </a:lnTo>
                  <a:lnTo>
                    <a:pt x="1627836" y="195415"/>
                  </a:lnTo>
                  <a:lnTo>
                    <a:pt x="1627836" y="196113"/>
                  </a:lnTo>
                  <a:lnTo>
                    <a:pt x="1627836" y="194716"/>
                  </a:lnTo>
                  <a:lnTo>
                    <a:pt x="1627836" y="196113"/>
                  </a:lnTo>
                  <a:lnTo>
                    <a:pt x="1627887" y="196113"/>
                  </a:lnTo>
                  <a:lnTo>
                    <a:pt x="1627887" y="196799"/>
                  </a:lnTo>
                  <a:lnTo>
                    <a:pt x="1627887" y="196113"/>
                  </a:lnTo>
                  <a:lnTo>
                    <a:pt x="1627937" y="196113"/>
                  </a:lnTo>
                  <a:lnTo>
                    <a:pt x="1627937" y="196799"/>
                  </a:lnTo>
                  <a:lnTo>
                    <a:pt x="1628039" y="196113"/>
                  </a:lnTo>
                  <a:lnTo>
                    <a:pt x="1628039" y="197447"/>
                  </a:lnTo>
                  <a:lnTo>
                    <a:pt x="1628039" y="196799"/>
                  </a:lnTo>
                  <a:lnTo>
                    <a:pt x="1628039" y="197447"/>
                  </a:lnTo>
                  <a:lnTo>
                    <a:pt x="1628039" y="196799"/>
                  </a:lnTo>
                  <a:lnTo>
                    <a:pt x="1628039" y="197447"/>
                  </a:lnTo>
                  <a:lnTo>
                    <a:pt x="1628090" y="197447"/>
                  </a:lnTo>
                  <a:lnTo>
                    <a:pt x="1628090" y="198831"/>
                  </a:lnTo>
                  <a:lnTo>
                    <a:pt x="1628090" y="196799"/>
                  </a:lnTo>
                  <a:lnTo>
                    <a:pt x="1628140" y="196799"/>
                  </a:lnTo>
                  <a:lnTo>
                    <a:pt x="1628140" y="196113"/>
                  </a:lnTo>
                  <a:lnTo>
                    <a:pt x="1628140" y="196799"/>
                  </a:lnTo>
                  <a:lnTo>
                    <a:pt x="1628140" y="196113"/>
                  </a:lnTo>
                  <a:lnTo>
                    <a:pt x="1628140" y="196799"/>
                  </a:lnTo>
                  <a:lnTo>
                    <a:pt x="1628140" y="196113"/>
                  </a:lnTo>
                  <a:lnTo>
                    <a:pt x="1628191" y="195415"/>
                  </a:lnTo>
                  <a:lnTo>
                    <a:pt x="1628191" y="193383"/>
                  </a:lnTo>
                  <a:lnTo>
                    <a:pt x="1628280" y="193383"/>
                  </a:lnTo>
                  <a:lnTo>
                    <a:pt x="1628280" y="192684"/>
                  </a:lnTo>
                  <a:lnTo>
                    <a:pt x="1628280" y="195415"/>
                  </a:lnTo>
                  <a:lnTo>
                    <a:pt x="1628280" y="192684"/>
                  </a:lnTo>
                  <a:lnTo>
                    <a:pt x="1628280" y="193383"/>
                  </a:lnTo>
                  <a:lnTo>
                    <a:pt x="1628331" y="194716"/>
                  </a:lnTo>
                  <a:lnTo>
                    <a:pt x="1628331" y="196113"/>
                  </a:lnTo>
                  <a:lnTo>
                    <a:pt x="1628331" y="193383"/>
                  </a:lnTo>
                  <a:lnTo>
                    <a:pt x="1628331" y="195415"/>
                  </a:lnTo>
                  <a:lnTo>
                    <a:pt x="1628382" y="195415"/>
                  </a:lnTo>
                  <a:lnTo>
                    <a:pt x="1628382" y="196113"/>
                  </a:lnTo>
                  <a:lnTo>
                    <a:pt x="1628382" y="195415"/>
                  </a:lnTo>
                  <a:lnTo>
                    <a:pt x="1628382" y="196113"/>
                  </a:lnTo>
                  <a:lnTo>
                    <a:pt x="1628382" y="195415"/>
                  </a:lnTo>
                  <a:lnTo>
                    <a:pt x="1628382" y="196113"/>
                  </a:lnTo>
                  <a:lnTo>
                    <a:pt x="1628433" y="196113"/>
                  </a:lnTo>
                  <a:lnTo>
                    <a:pt x="1628433" y="195415"/>
                  </a:lnTo>
                  <a:lnTo>
                    <a:pt x="1628433" y="196113"/>
                  </a:lnTo>
                  <a:lnTo>
                    <a:pt x="1628433" y="195415"/>
                  </a:lnTo>
                  <a:lnTo>
                    <a:pt x="1628433" y="196113"/>
                  </a:lnTo>
                  <a:lnTo>
                    <a:pt x="1628534" y="196113"/>
                  </a:lnTo>
                  <a:lnTo>
                    <a:pt x="1628534" y="196799"/>
                  </a:lnTo>
                  <a:lnTo>
                    <a:pt x="1628585" y="196799"/>
                  </a:lnTo>
                  <a:lnTo>
                    <a:pt x="1628585" y="197447"/>
                  </a:lnTo>
                  <a:lnTo>
                    <a:pt x="1628585" y="196799"/>
                  </a:lnTo>
                  <a:lnTo>
                    <a:pt x="1628585" y="197447"/>
                  </a:lnTo>
                  <a:lnTo>
                    <a:pt x="1628585" y="196799"/>
                  </a:lnTo>
                  <a:lnTo>
                    <a:pt x="1628585" y="197447"/>
                  </a:lnTo>
                  <a:lnTo>
                    <a:pt x="1628636" y="197447"/>
                  </a:lnTo>
                  <a:lnTo>
                    <a:pt x="1628636" y="196113"/>
                  </a:lnTo>
                  <a:lnTo>
                    <a:pt x="1628737" y="196113"/>
                  </a:lnTo>
                  <a:lnTo>
                    <a:pt x="1628737" y="194716"/>
                  </a:lnTo>
                  <a:lnTo>
                    <a:pt x="1628737" y="196113"/>
                  </a:lnTo>
                  <a:lnTo>
                    <a:pt x="1628775" y="196113"/>
                  </a:lnTo>
                  <a:lnTo>
                    <a:pt x="1628775" y="193383"/>
                  </a:lnTo>
                  <a:lnTo>
                    <a:pt x="1628775" y="198831"/>
                  </a:lnTo>
                  <a:lnTo>
                    <a:pt x="1628775" y="196799"/>
                  </a:lnTo>
                  <a:lnTo>
                    <a:pt x="1628826" y="196113"/>
                  </a:lnTo>
                  <a:lnTo>
                    <a:pt x="1628826" y="194716"/>
                  </a:lnTo>
                  <a:lnTo>
                    <a:pt x="1628826" y="196113"/>
                  </a:lnTo>
                  <a:lnTo>
                    <a:pt x="1628826" y="195415"/>
                  </a:lnTo>
                  <a:lnTo>
                    <a:pt x="1628877" y="195415"/>
                  </a:lnTo>
                  <a:lnTo>
                    <a:pt x="1628877" y="196113"/>
                  </a:lnTo>
                  <a:lnTo>
                    <a:pt x="1628979" y="195415"/>
                  </a:lnTo>
                  <a:lnTo>
                    <a:pt x="1628979" y="196113"/>
                  </a:lnTo>
                  <a:lnTo>
                    <a:pt x="1628979" y="195415"/>
                  </a:lnTo>
                  <a:lnTo>
                    <a:pt x="1628979" y="196113"/>
                  </a:lnTo>
                  <a:lnTo>
                    <a:pt x="1628979" y="195415"/>
                  </a:lnTo>
                  <a:lnTo>
                    <a:pt x="1628979" y="196113"/>
                  </a:lnTo>
                  <a:lnTo>
                    <a:pt x="1629030" y="196799"/>
                  </a:lnTo>
                  <a:lnTo>
                    <a:pt x="1629030" y="196113"/>
                  </a:lnTo>
                  <a:lnTo>
                    <a:pt x="1629030" y="196799"/>
                  </a:lnTo>
                  <a:lnTo>
                    <a:pt x="1629030" y="196113"/>
                  </a:lnTo>
                  <a:lnTo>
                    <a:pt x="1629030" y="196799"/>
                  </a:lnTo>
                  <a:lnTo>
                    <a:pt x="1629080" y="196799"/>
                  </a:lnTo>
                  <a:lnTo>
                    <a:pt x="1629080" y="196113"/>
                  </a:lnTo>
                  <a:lnTo>
                    <a:pt x="1629080" y="196799"/>
                  </a:lnTo>
                  <a:lnTo>
                    <a:pt x="1629080" y="196113"/>
                  </a:lnTo>
                  <a:lnTo>
                    <a:pt x="1629080" y="196799"/>
                  </a:lnTo>
                  <a:lnTo>
                    <a:pt x="1629080" y="196113"/>
                  </a:lnTo>
                  <a:lnTo>
                    <a:pt x="1629182" y="196113"/>
                  </a:lnTo>
                  <a:lnTo>
                    <a:pt x="1629182" y="194716"/>
                  </a:lnTo>
                  <a:lnTo>
                    <a:pt x="1629182" y="195415"/>
                  </a:lnTo>
                  <a:lnTo>
                    <a:pt x="1629233" y="195415"/>
                  </a:lnTo>
                  <a:lnTo>
                    <a:pt x="1629233" y="193383"/>
                  </a:lnTo>
                  <a:lnTo>
                    <a:pt x="1629233" y="196113"/>
                  </a:lnTo>
                  <a:lnTo>
                    <a:pt x="1629233" y="194716"/>
                  </a:lnTo>
                  <a:lnTo>
                    <a:pt x="1629233" y="195415"/>
                  </a:lnTo>
                  <a:lnTo>
                    <a:pt x="1629284" y="194716"/>
                  </a:lnTo>
                  <a:lnTo>
                    <a:pt x="1629284" y="193383"/>
                  </a:lnTo>
                  <a:lnTo>
                    <a:pt x="1629284" y="196799"/>
                  </a:lnTo>
                  <a:lnTo>
                    <a:pt x="1629284" y="196113"/>
                  </a:lnTo>
                  <a:lnTo>
                    <a:pt x="1629322" y="195415"/>
                  </a:lnTo>
                  <a:lnTo>
                    <a:pt x="1629322" y="196799"/>
                  </a:lnTo>
                  <a:lnTo>
                    <a:pt x="1629322" y="196113"/>
                  </a:lnTo>
                  <a:lnTo>
                    <a:pt x="1629423" y="196799"/>
                  </a:lnTo>
                  <a:lnTo>
                    <a:pt x="1629423" y="196113"/>
                  </a:lnTo>
                  <a:lnTo>
                    <a:pt x="1629423" y="197447"/>
                  </a:lnTo>
                  <a:lnTo>
                    <a:pt x="1629423" y="196113"/>
                  </a:lnTo>
                  <a:lnTo>
                    <a:pt x="1629423" y="196799"/>
                  </a:lnTo>
                  <a:lnTo>
                    <a:pt x="1629474" y="196799"/>
                  </a:lnTo>
                  <a:lnTo>
                    <a:pt x="1629474" y="196113"/>
                  </a:lnTo>
                  <a:lnTo>
                    <a:pt x="1629474" y="196799"/>
                  </a:lnTo>
                  <a:lnTo>
                    <a:pt x="1629474" y="196113"/>
                  </a:lnTo>
                  <a:lnTo>
                    <a:pt x="1629525" y="196799"/>
                  </a:lnTo>
                  <a:lnTo>
                    <a:pt x="1629525" y="197447"/>
                  </a:lnTo>
                  <a:lnTo>
                    <a:pt x="1629525" y="196799"/>
                  </a:lnTo>
                  <a:lnTo>
                    <a:pt x="1629525" y="197447"/>
                  </a:lnTo>
                  <a:lnTo>
                    <a:pt x="1629525" y="196799"/>
                  </a:lnTo>
                  <a:lnTo>
                    <a:pt x="1629525" y="197447"/>
                  </a:lnTo>
                  <a:lnTo>
                    <a:pt x="1629525" y="196799"/>
                  </a:lnTo>
                  <a:lnTo>
                    <a:pt x="1629626" y="197447"/>
                  </a:lnTo>
                  <a:lnTo>
                    <a:pt x="1629626" y="196799"/>
                  </a:lnTo>
                  <a:lnTo>
                    <a:pt x="1629626" y="197447"/>
                  </a:lnTo>
                  <a:lnTo>
                    <a:pt x="1629626" y="196799"/>
                  </a:lnTo>
                  <a:lnTo>
                    <a:pt x="1629626" y="197447"/>
                  </a:lnTo>
                  <a:lnTo>
                    <a:pt x="1629626" y="196799"/>
                  </a:lnTo>
                  <a:lnTo>
                    <a:pt x="1629677" y="196799"/>
                  </a:lnTo>
                  <a:lnTo>
                    <a:pt x="1629677" y="196113"/>
                  </a:lnTo>
                  <a:lnTo>
                    <a:pt x="1629677" y="196799"/>
                  </a:lnTo>
                  <a:lnTo>
                    <a:pt x="1629677" y="196113"/>
                  </a:lnTo>
                  <a:lnTo>
                    <a:pt x="1629677" y="196799"/>
                  </a:lnTo>
                  <a:lnTo>
                    <a:pt x="1629677" y="195415"/>
                  </a:lnTo>
                  <a:lnTo>
                    <a:pt x="1629677" y="196113"/>
                  </a:lnTo>
                  <a:lnTo>
                    <a:pt x="1629728" y="196113"/>
                  </a:lnTo>
                  <a:lnTo>
                    <a:pt x="1629728" y="196799"/>
                  </a:lnTo>
                  <a:lnTo>
                    <a:pt x="1629728" y="196113"/>
                  </a:lnTo>
                  <a:lnTo>
                    <a:pt x="1629728" y="196799"/>
                  </a:lnTo>
                  <a:lnTo>
                    <a:pt x="1629728" y="196113"/>
                  </a:lnTo>
                  <a:lnTo>
                    <a:pt x="1629779" y="196799"/>
                  </a:lnTo>
                  <a:lnTo>
                    <a:pt x="1629779" y="198831"/>
                  </a:lnTo>
                  <a:lnTo>
                    <a:pt x="1629779" y="197447"/>
                  </a:lnTo>
                  <a:lnTo>
                    <a:pt x="1629868" y="198831"/>
                  </a:lnTo>
                  <a:lnTo>
                    <a:pt x="1629868" y="197447"/>
                  </a:lnTo>
                  <a:lnTo>
                    <a:pt x="1629868" y="198831"/>
                  </a:lnTo>
                  <a:lnTo>
                    <a:pt x="1629919" y="198831"/>
                  </a:lnTo>
                  <a:lnTo>
                    <a:pt x="1629919" y="197447"/>
                  </a:lnTo>
                  <a:lnTo>
                    <a:pt x="1629919" y="198831"/>
                  </a:lnTo>
                  <a:lnTo>
                    <a:pt x="1629919" y="197447"/>
                  </a:lnTo>
                  <a:lnTo>
                    <a:pt x="1629919" y="198831"/>
                  </a:lnTo>
                  <a:lnTo>
                    <a:pt x="1629969" y="198831"/>
                  </a:lnTo>
                  <a:lnTo>
                    <a:pt x="1629969" y="197447"/>
                  </a:lnTo>
                  <a:lnTo>
                    <a:pt x="1629969" y="198831"/>
                  </a:lnTo>
                  <a:lnTo>
                    <a:pt x="1629969" y="197447"/>
                  </a:lnTo>
                  <a:lnTo>
                    <a:pt x="1629969" y="198831"/>
                  </a:lnTo>
                  <a:lnTo>
                    <a:pt x="1629969" y="197447"/>
                  </a:lnTo>
                  <a:lnTo>
                    <a:pt x="1629969" y="198831"/>
                  </a:lnTo>
                  <a:lnTo>
                    <a:pt x="1630020" y="198831"/>
                  </a:lnTo>
                  <a:lnTo>
                    <a:pt x="1630020" y="197447"/>
                  </a:lnTo>
                  <a:lnTo>
                    <a:pt x="1630020" y="198831"/>
                  </a:lnTo>
                  <a:lnTo>
                    <a:pt x="1630020" y="197447"/>
                  </a:lnTo>
                  <a:lnTo>
                    <a:pt x="1630122" y="197447"/>
                  </a:lnTo>
                  <a:lnTo>
                    <a:pt x="1630122" y="196113"/>
                  </a:lnTo>
                  <a:lnTo>
                    <a:pt x="1630122" y="196799"/>
                  </a:lnTo>
                  <a:lnTo>
                    <a:pt x="1630122" y="196113"/>
                  </a:lnTo>
                  <a:lnTo>
                    <a:pt x="1630122" y="196799"/>
                  </a:lnTo>
                  <a:lnTo>
                    <a:pt x="1630122" y="196113"/>
                  </a:lnTo>
                  <a:lnTo>
                    <a:pt x="1630172" y="195415"/>
                  </a:lnTo>
                  <a:lnTo>
                    <a:pt x="1630172" y="196113"/>
                  </a:lnTo>
                  <a:lnTo>
                    <a:pt x="1630172" y="194716"/>
                  </a:lnTo>
                  <a:lnTo>
                    <a:pt x="1630172" y="195415"/>
                  </a:lnTo>
                  <a:lnTo>
                    <a:pt x="1630172" y="194716"/>
                  </a:lnTo>
                  <a:lnTo>
                    <a:pt x="1630223" y="194716"/>
                  </a:lnTo>
                  <a:lnTo>
                    <a:pt x="1630223" y="195415"/>
                  </a:lnTo>
                  <a:lnTo>
                    <a:pt x="1630223" y="194716"/>
                  </a:lnTo>
                  <a:lnTo>
                    <a:pt x="1630223" y="195415"/>
                  </a:lnTo>
                  <a:lnTo>
                    <a:pt x="1630325" y="196113"/>
                  </a:lnTo>
                  <a:lnTo>
                    <a:pt x="1630325" y="197447"/>
                  </a:lnTo>
                  <a:lnTo>
                    <a:pt x="1630325" y="196113"/>
                  </a:lnTo>
                  <a:lnTo>
                    <a:pt x="1630325" y="197447"/>
                  </a:lnTo>
                  <a:lnTo>
                    <a:pt x="1630363" y="197447"/>
                  </a:lnTo>
                  <a:lnTo>
                    <a:pt x="1630363" y="196799"/>
                  </a:lnTo>
                  <a:lnTo>
                    <a:pt x="1630363" y="197447"/>
                  </a:lnTo>
                  <a:lnTo>
                    <a:pt x="1630363" y="196799"/>
                  </a:lnTo>
                  <a:lnTo>
                    <a:pt x="1630414" y="197447"/>
                  </a:lnTo>
                  <a:lnTo>
                    <a:pt x="1630414" y="196799"/>
                  </a:lnTo>
                  <a:lnTo>
                    <a:pt x="1630414" y="197447"/>
                  </a:lnTo>
                  <a:lnTo>
                    <a:pt x="1630414" y="196799"/>
                  </a:lnTo>
                  <a:lnTo>
                    <a:pt x="1630414" y="197447"/>
                  </a:lnTo>
                  <a:lnTo>
                    <a:pt x="1630414" y="196799"/>
                  </a:lnTo>
                  <a:lnTo>
                    <a:pt x="1630414" y="198831"/>
                  </a:lnTo>
                  <a:lnTo>
                    <a:pt x="1630465" y="197447"/>
                  </a:lnTo>
                  <a:lnTo>
                    <a:pt x="1630465" y="198831"/>
                  </a:lnTo>
                  <a:lnTo>
                    <a:pt x="1630465" y="197447"/>
                  </a:lnTo>
                  <a:lnTo>
                    <a:pt x="1630566" y="197447"/>
                  </a:lnTo>
                  <a:lnTo>
                    <a:pt x="1630566" y="198831"/>
                  </a:lnTo>
                  <a:lnTo>
                    <a:pt x="1630566" y="197447"/>
                  </a:lnTo>
                  <a:lnTo>
                    <a:pt x="1630566" y="198831"/>
                  </a:lnTo>
                  <a:lnTo>
                    <a:pt x="1630566" y="197447"/>
                  </a:lnTo>
                  <a:lnTo>
                    <a:pt x="1630566" y="198831"/>
                  </a:lnTo>
                  <a:lnTo>
                    <a:pt x="1630566" y="197447"/>
                  </a:lnTo>
                  <a:lnTo>
                    <a:pt x="1630617" y="197447"/>
                  </a:lnTo>
                  <a:lnTo>
                    <a:pt x="1630617" y="196799"/>
                  </a:lnTo>
                  <a:lnTo>
                    <a:pt x="1630617" y="197447"/>
                  </a:lnTo>
                  <a:lnTo>
                    <a:pt x="1630617" y="196113"/>
                  </a:lnTo>
                  <a:lnTo>
                    <a:pt x="1630617" y="196799"/>
                  </a:lnTo>
                  <a:lnTo>
                    <a:pt x="1630617" y="196113"/>
                  </a:lnTo>
                  <a:lnTo>
                    <a:pt x="1630668" y="196113"/>
                  </a:lnTo>
                  <a:lnTo>
                    <a:pt x="1630668" y="195415"/>
                  </a:lnTo>
                  <a:lnTo>
                    <a:pt x="1630668" y="196799"/>
                  </a:lnTo>
                  <a:lnTo>
                    <a:pt x="1630668" y="196113"/>
                  </a:lnTo>
                  <a:lnTo>
                    <a:pt x="1630769" y="195415"/>
                  </a:lnTo>
                  <a:lnTo>
                    <a:pt x="1630769" y="196113"/>
                  </a:lnTo>
                  <a:lnTo>
                    <a:pt x="1630769" y="195415"/>
                  </a:lnTo>
                  <a:lnTo>
                    <a:pt x="1630769" y="196113"/>
                  </a:lnTo>
                  <a:lnTo>
                    <a:pt x="1630769" y="195415"/>
                  </a:lnTo>
                  <a:lnTo>
                    <a:pt x="1630769" y="198831"/>
                  </a:lnTo>
                  <a:lnTo>
                    <a:pt x="1630769" y="197447"/>
                  </a:lnTo>
                  <a:lnTo>
                    <a:pt x="1630769" y="198831"/>
                  </a:lnTo>
                  <a:lnTo>
                    <a:pt x="1630769" y="196799"/>
                  </a:lnTo>
                  <a:lnTo>
                    <a:pt x="1630820" y="196799"/>
                  </a:lnTo>
                  <a:lnTo>
                    <a:pt x="1630820" y="196113"/>
                  </a:lnTo>
                  <a:lnTo>
                    <a:pt x="1630820" y="198831"/>
                  </a:lnTo>
                  <a:lnTo>
                    <a:pt x="1630820" y="196799"/>
                  </a:lnTo>
                  <a:lnTo>
                    <a:pt x="1630871" y="196799"/>
                  </a:lnTo>
                  <a:lnTo>
                    <a:pt x="1630871" y="197447"/>
                  </a:lnTo>
                  <a:lnTo>
                    <a:pt x="1630871" y="196799"/>
                  </a:lnTo>
                  <a:lnTo>
                    <a:pt x="1630871" y="197447"/>
                  </a:lnTo>
                  <a:lnTo>
                    <a:pt x="1630909" y="197447"/>
                  </a:lnTo>
                  <a:lnTo>
                    <a:pt x="1630909" y="198831"/>
                  </a:lnTo>
                  <a:lnTo>
                    <a:pt x="1630909" y="197447"/>
                  </a:lnTo>
                  <a:lnTo>
                    <a:pt x="1630909" y="198831"/>
                  </a:lnTo>
                  <a:lnTo>
                    <a:pt x="1630909" y="197447"/>
                  </a:lnTo>
                  <a:lnTo>
                    <a:pt x="1631011" y="198831"/>
                  </a:lnTo>
                  <a:lnTo>
                    <a:pt x="1631011" y="197447"/>
                  </a:lnTo>
                  <a:lnTo>
                    <a:pt x="1631011" y="198831"/>
                  </a:lnTo>
                  <a:lnTo>
                    <a:pt x="1631011" y="197447"/>
                  </a:lnTo>
                  <a:lnTo>
                    <a:pt x="1631062" y="198831"/>
                  </a:lnTo>
                  <a:lnTo>
                    <a:pt x="1631062" y="197447"/>
                  </a:lnTo>
                  <a:lnTo>
                    <a:pt x="1631062" y="198831"/>
                  </a:lnTo>
                  <a:lnTo>
                    <a:pt x="1631062" y="196799"/>
                  </a:lnTo>
                  <a:lnTo>
                    <a:pt x="1631112" y="196799"/>
                  </a:lnTo>
                  <a:lnTo>
                    <a:pt x="1631112" y="195415"/>
                  </a:lnTo>
                  <a:lnTo>
                    <a:pt x="1631214" y="195415"/>
                  </a:lnTo>
                  <a:lnTo>
                    <a:pt x="1631214" y="194716"/>
                  </a:lnTo>
                  <a:lnTo>
                    <a:pt x="1631214" y="196113"/>
                  </a:lnTo>
                  <a:lnTo>
                    <a:pt x="1631214" y="195415"/>
                  </a:lnTo>
                  <a:lnTo>
                    <a:pt x="1631265" y="194716"/>
                  </a:lnTo>
                  <a:lnTo>
                    <a:pt x="1631265" y="196799"/>
                  </a:lnTo>
                  <a:lnTo>
                    <a:pt x="1631265" y="196113"/>
                  </a:lnTo>
                  <a:lnTo>
                    <a:pt x="1631315" y="196113"/>
                  </a:lnTo>
                  <a:lnTo>
                    <a:pt x="1631315" y="197447"/>
                  </a:lnTo>
                  <a:lnTo>
                    <a:pt x="1631315" y="196799"/>
                  </a:lnTo>
                  <a:lnTo>
                    <a:pt x="1631315" y="197447"/>
                  </a:lnTo>
                  <a:lnTo>
                    <a:pt x="1631315" y="196799"/>
                  </a:lnTo>
                  <a:lnTo>
                    <a:pt x="1631366" y="196799"/>
                  </a:lnTo>
                  <a:lnTo>
                    <a:pt x="1631366" y="197447"/>
                  </a:lnTo>
                  <a:lnTo>
                    <a:pt x="1631366" y="196799"/>
                  </a:lnTo>
                  <a:lnTo>
                    <a:pt x="1631366" y="197447"/>
                  </a:lnTo>
                  <a:lnTo>
                    <a:pt x="1631455" y="197447"/>
                  </a:lnTo>
                  <a:lnTo>
                    <a:pt x="1631455" y="198831"/>
                  </a:lnTo>
                  <a:lnTo>
                    <a:pt x="1631455" y="196799"/>
                  </a:lnTo>
                  <a:lnTo>
                    <a:pt x="1631455" y="198831"/>
                  </a:lnTo>
                  <a:lnTo>
                    <a:pt x="1631506" y="198831"/>
                  </a:lnTo>
                  <a:lnTo>
                    <a:pt x="1631506" y="197447"/>
                  </a:lnTo>
                  <a:lnTo>
                    <a:pt x="1631506" y="198831"/>
                  </a:lnTo>
                  <a:lnTo>
                    <a:pt x="1631557" y="198831"/>
                  </a:lnTo>
                  <a:lnTo>
                    <a:pt x="1631557" y="196799"/>
                  </a:lnTo>
                  <a:lnTo>
                    <a:pt x="1631608" y="196799"/>
                  </a:lnTo>
                  <a:lnTo>
                    <a:pt x="1631608" y="196113"/>
                  </a:lnTo>
                  <a:lnTo>
                    <a:pt x="1631608" y="196799"/>
                  </a:lnTo>
                  <a:lnTo>
                    <a:pt x="1631608" y="195415"/>
                  </a:lnTo>
                  <a:lnTo>
                    <a:pt x="1631709" y="195415"/>
                  </a:lnTo>
                  <a:lnTo>
                    <a:pt x="1631709" y="196799"/>
                  </a:lnTo>
                  <a:lnTo>
                    <a:pt x="1631709" y="194716"/>
                  </a:lnTo>
                  <a:lnTo>
                    <a:pt x="1631709" y="196799"/>
                  </a:lnTo>
                  <a:lnTo>
                    <a:pt x="1631760" y="197447"/>
                  </a:lnTo>
                  <a:lnTo>
                    <a:pt x="1631760" y="198831"/>
                  </a:lnTo>
                  <a:lnTo>
                    <a:pt x="1631760" y="197447"/>
                  </a:lnTo>
                  <a:lnTo>
                    <a:pt x="1631760" y="198831"/>
                  </a:lnTo>
                  <a:lnTo>
                    <a:pt x="1631760" y="195415"/>
                  </a:lnTo>
                  <a:lnTo>
                    <a:pt x="1631760" y="196799"/>
                  </a:lnTo>
                  <a:lnTo>
                    <a:pt x="1631760" y="196113"/>
                  </a:lnTo>
                  <a:lnTo>
                    <a:pt x="1631760" y="196799"/>
                  </a:lnTo>
                  <a:lnTo>
                    <a:pt x="1631811" y="197447"/>
                  </a:lnTo>
                  <a:lnTo>
                    <a:pt x="1631811" y="196799"/>
                  </a:lnTo>
                  <a:lnTo>
                    <a:pt x="1631811" y="197447"/>
                  </a:lnTo>
                  <a:lnTo>
                    <a:pt x="1631811" y="196113"/>
                  </a:lnTo>
                  <a:lnTo>
                    <a:pt x="1631811" y="196799"/>
                  </a:lnTo>
                  <a:lnTo>
                    <a:pt x="1631912" y="197447"/>
                  </a:lnTo>
                  <a:lnTo>
                    <a:pt x="1631912" y="196799"/>
                  </a:lnTo>
                  <a:lnTo>
                    <a:pt x="1631912" y="197447"/>
                  </a:lnTo>
                  <a:lnTo>
                    <a:pt x="1631950" y="196799"/>
                  </a:lnTo>
                  <a:lnTo>
                    <a:pt x="1631950" y="197447"/>
                  </a:lnTo>
                  <a:lnTo>
                    <a:pt x="1631950" y="196799"/>
                  </a:lnTo>
                  <a:lnTo>
                    <a:pt x="1631950" y="197447"/>
                  </a:lnTo>
                  <a:lnTo>
                    <a:pt x="1631950" y="196799"/>
                  </a:lnTo>
                  <a:lnTo>
                    <a:pt x="1631950" y="197447"/>
                  </a:lnTo>
                  <a:lnTo>
                    <a:pt x="1632001" y="197447"/>
                  </a:lnTo>
                  <a:lnTo>
                    <a:pt x="1632001" y="196799"/>
                  </a:lnTo>
                  <a:lnTo>
                    <a:pt x="1632052" y="196799"/>
                  </a:lnTo>
                  <a:lnTo>
                    <a:pt x="1632052" y="196113"/>
                  </a:lnTo>
                  <a:lnTo>
                    <a:pt x="1632154" y="196113"/>
                  </a:lnTo>
                  <a:lnTo>
                    <a:pt x="1632154" y="195415"/>
                  </a:lnTo>
                  <a:lnTo>
                    <a:pt x="1632154" y="196113"/>
                  </a:lnTo>
                  <a:lnTo>
                    <a:pt x="1632154" y="194716"/>
                  </a:lnTo>
                  <a:lnTo>
                    <a:pt x="1632154" y="195415"/>
                  </a:lnTo>
                  <a:lnTo>
                    <a:pt x="1632154" y="194716"/>
                  </a:lnTo>
                  <a:lnTo>
                    <a:pt x="1632154" y="195415"/>
                  </a:lnTo>
                  <a:lnTo>
                    <a:pt x="1632205" y="195415"/>
                  </a:lnTo>
                  <a:lnTo>
                    <a:pt x="1632205" y="194716"/>
                  </a:lnTo>
                  <a:lnTo>
                    <a:pt x="1632205" y="196799"/>
                  </a:lnTo>
                  <a:lnTo>
                    <a:pt x="1632255" y="196799"/>
                  </a:lnTo>
                  <a:lnTo>
                    <a:pt x="1632255" y="197447"/>
                  </a:lnTo>
                  <a:lnTo>
                    <a:pt x="1632255" y="196799"/>
                  </a:lnTo>
                  <a:lnTo>
                    <a:pt x="1632255" y="197447"/>
                  </a:lnTo>
                  <a:lnTo>
                    <a:pt x="1632255" y="196799"/>
                  </a:lnTo>
                  <a:lnTo>
                    <a:pt x="1632255" y="197447"/>
                  </a:lnTo>
                  <a:lnTo>
                    <a:pt x="1632357" y="197447"/>
                  </a:lnTo>
                  <a:lnTo>
                    <a:pt x="1632357" y="196799"/>
                  </a:lnTo>
                  <a:lnTo>
                    <a:pt x="1632357" y="197447"/>
                  </a:lnTo>
                  <a:lnTo>
                    <a:pt x="1632357" y="196799"/>
                  </a:lnTo>
                  <a:lnTo>
                    <a:pt x="1632357" y="197447"/>
                  </a:lnTo>
                  <a:lnTo>
                    <a:pt x="1632408" y="197447"/>
                  </a:lnTo>
                  <a:lnTo>
                    <a:pt x="1632408" y="196799"/>
                  </a:lnTo>
                  <a:lnTo>
                    <a:pt x="1632408" y="197447"/>
                  </a:lnTo>
                  <a:lnTo>
                    <a:pt x="1632459" y="196799"/>
                  </a:lnTo>
                  <a:lnTo>
                    <a:pt x="1632459" y="197447"/>
                  </a:lnTo>
                  <a:lnTo>
                    <a:pt x="1632459" y="196799"/>
                  </a:lnTo>
                  <a:lnTo>
                    <a:pt x="1632459" y="197447"/>
                  </a:lnTo>
                  <a:lnTo>
                    <a:pt x="1632459" y="196799"/>
                  </a:lnTo>
                  <a:lnTo>
                    <a:pt x="1632459" y="197447"/>
                  </a:lnTo>
                  <a:lnTo>
                    <a:pt x="1632497" y="197447"/>
                  </a:lnTo>
                  <a:lnTo>
                    <a:pt x="1632497" y="196799"/>
                  </a:lnTo>
                  <a:lnTo>
                    <a:pt x="1632497" y="197447"/>
                  </a:lnTo>
                  <a:lnTo>
                    <a:pt x="1632497" y="196799"/>
                  </a:lnTo>
                  <a:lnTo>
                    <a:pt x="1632598" y="196799"/>
                  </a:lnTo>
                  <a:lnTo>
                    <a:pt x="1632598" y="197447"/>
                  </a:lnTo>
                  <a:lnTo>
                    <a:pt x="1632598" y="196113"/>
                  </a:lnTo>
                  <a:lnTo>
                    <a:pt x="1632649" y="196113"/>
                  </a:lnTo>
                  <a:lnTo>
                    <a:pt x="1632649" y="195415"/>
                  </a:lnTo>
                  <a:lnTo>
                    <a:pt x="1632649" y="196799"/>
                  </a:lnTo>
                  <a:lnTo>
                    <a:pt x="1632649" y="196113"/>
                  </a:lnTo>
                  <a:lnTo>
                    <a:pt x="1632700" y="196113"/>
                  </a:lnTo>
                  <a:lnTo>
                    <a:pt x="1632700" y="198831"/>
                  </a:lnTo>
                  <a:lnTo>
                    <a:pt x="1632700" y="197447"/>
                  </a:lnTo>
                  <a:lnTo>
                    <a:pt x="1632801" y="196799"/>
                  </a:lnTo>
                  <a:lnTo>
                    <a:pt x="1632801" y="197447"/>
                  </a:lnTo>
                  <a:lnTo>
                    <a:pt x="1632852" y="197447"/>
                  </a:lnTo>
                  <a:lnTo>
                    <a:pt x="1632852" y="198831"/>
                  </a:lnTo>
                  <a:lnTo>
                    <a:pt x="1632852" y="197447"/>
                  </a:lnTo>
                  <a:lnTo>
                    <a:pt x="1632852" y="198831"/>
                  </a:lnTo>
                  <a:lnTo>
                    <a:pt x="1632852" y="197447"/>
                  </a:lnTo>
                  <a:lnTo>
                    <a:pt x="1632852" y="198831"/>
                  </a:lnTo>
                  <a:lnTo>
                    <a:pt x="1632852" y="197447"/>
                  </a:lnTo>
                  <a:lnTo>
                    <a:pt x="1632903" y="197447"/>
                  </a:lnTo>
                  <a:lnTo>
                    <a:pt x="1632903" y="198831"/>
                  </a:lnTo>
                  <a:lnTo>
                    <a:pt x="1632954" y="197447"/>
                  </a:lnTo>
                  <a:lnTo>
                    <a:pt x="1632954" y="198831"/>
                  </a:lnTo>
                  <a:lnTo>
                    <a:pt x="1632954" y="197447"/>
                  </a:lnTo>
                  <a:lnTo>
                    <a:pt x="1632954" y="198831"/>
                  </a:lnTo>
                  <a:lnTo>
                    <a:pt x="1632954" y="197447"/>
                  </a:lnTo>
                  <a:lnTo>
                    <a:pt x="1632954" y="198831"/>
                  </a:lnTo>
                  <a:lnTo>
                    <a:pt x="1632954" y="197447"/>
                  </a:lnTo>
                  <a:lnTo>
                    <a:pt x="1633043" y="197447"/>
                  </a:lnTo>
                  <a:lnTo>
                    <a:pt x="1633043" y="196799"/>
                  </a:lnTo>
                  <a:lnTo>
                    <a:pt x="1633043" y="197447"/>
                  </a:lnTo>
                  <a:lnTo>
                    <a:pt x="1633043" y="196799"/>
                  </a:lnTo>
                  <a:lnTo>
                    <a:pt x="1633043" y="197447"/>
                  </a:lnTo>
                  <a:lnTo>
                    <a:pt x="1633043" y="196799"/>
                  </a:lnTo>
                  <a:lnTo>
                    <a:pt x="1633094" y="196113"/>
                  </a:lnTo>
                  <a:lnTo>
                    <a:pt x="1633094" y="196799"/>
                  </a:lnTo>
                  <a:lnTo>
                    <a:pt x="1633094" y="194716"/>
                  </a:lnTo>
                  <a:lnTo>
                    <a:pt x="1633144" y="194716"/>
                  </a:lnTo>
                  <a:lnTo>
                    <a:pt x="1633144" y="193383"/>
                  </a:lnTo>
                  <a:lnTo>
                    <a:pt x="1633144" y="195415"/>
                  </a:lnTo>
                  <a:lnTo>
                    <a:pt x="1633195" y="195415"/>
                  </a:lnTo>
                  <a:lnTo>
                    <a:pt x="1633195" y="194716"/>
                  </a:lnTo>
                  <a:lnTo>
                    <a:pt x="1633195" y="196799"/>
                  </a:lnTo>
                  <a:lnTo>
                    <a:pt x="1633195" y="196113"/>
                  </a:lnTo>
                  <a:lnTo>
                    <a:pt x="1633297" y="196799"/>
                  </a:lnTo>
                  <a:lnTo>
                    <a:pt x="1633297" y="196113"/>
                  </a:lnTo>
                  <a:lnTo>
                    <a:pt x="1633297" y="196799"/>
                  </a:lnTo>
                  <a:lnTo>
                    <a:pt x="1633297" y="196113"/>
                  </a:lnTo>
                  <a:lnTo>
                    <a:pt x="1633297" y="196799"/>
                  </a:lnTo>
                  <a:lnTo>
                    <a:pt x="1633297" y="196113"/>
                  </a:lnTo>
                  <a:lnTo>
                    <a:pt x="1633347" y="196113"/>
                  </a:lnTo>
                  <a:lnTo>
                    <a:pt x="1633347" y="196799"/>
                  </a:lnTo>
                  <a:lnTo>
                    <a:pt x="1633347" y="196113"/>
                  </a:lnTo>
                  <a:lnTo>
                    <a:pt x="1633347" y="197447"/>
                  </a:lnTo>
                  <a:lnTo>
                    <a:pt x="1633398" y="197447"/>
                  </a:lnTo>
                  <a:lnTo>
                    <a:pt x="1633398" y="198831"/>
                  </a:lnTo>
                  <a:lnTo>
                    <a:pt x="1633398" y="197447"/>
                  </a:lnTo>
                  <a:lnTo>
                    <a:pt x="1633500" y="197447"/>
                  </a:lnTo>
                  <a:lnTo>
                    <a:pt x="1633500" y="198831"/>
                  </a:lnTo>
                  <a:lnTo>
                    <a:pt x="1633500" y="197447"/>
                  </a:lnTo>
                  <a:lnTo>
                    <a:pt x="1633538" y="197447"/>
                  </a:lnTo>
                  <a:lnTo>
                    <a:pt x="1633538" y="196799"/>
                  </a:lnTo>
                  <a:lnTo>
                    <a:pt x="1633589" y="196799"/>
                  </a:lnTo>
                  <a:lnTo>
                    <a:pt x="1633589" y="196113"/>
                  </a:lnTo>
                  <a:lnTo>
                    <a:pt x="1633589" y="196799"/>
                  </a:lnTo>
                  <a:lnTo>
                    <a:pt x="1633589" y="195415"/>
                  </a:lnTo>
                  <a:lnTo>
                    <a:pt x="1633589" y="196113"/>
                  </a:lnTo>
                  <a:lnTo>
                    <a:pt x="1633589" y="194716"/>
                  </a:lnTo>
                  <a:lnTo>
                    <a:pt x="1633640" y="194716"/>
                  </a:lnTo>
                  <a:lnTo>
                    <a:pt x="1633640" y="196799"/>
                  </a:lnTo>
                  <a:lnTo>
                    <a:pt x="1633640" y="195415"/>
                  </a:lnTo>
                  <a:lnTo>
                    <a:pt x="1633741" y="196113"/>
                  </a:lnTo>
                  <a:lnTo>
                    <a:pt x="1633741" y="197447"/>
                  </a:lnTo>
                  <a:lnTo>
                    <a:pt x="1633741" y="196113"/>
                  </a:lnTo>
                  <a:lnTo>
                    <a:pt x="1633741" y="196799"/>
                  </a:lnTo>
                  <a:lnTo>
                    <a:pt x="1633792" y="196799"/>
                  </a:lnTo>
                  <a:lnTo>
                    <a:pt x="1633792" y="197447"/>
                  </a:lnTo>
                  <a:lnTo>
                    <a:pt x="1633792" y="196113"/>
                  </a:lnTo>
                  <a:lnTo>
                    <a:pt x="1633792" y="196799"/>
                  </a:lnTo>
                  <a:lnTo>
                    <a:pt x="1633843" y="196799"/>
                  </a:lnTo>
                  <a:lnTo>
                    <a:pt x="1633843" y="197447"/>
                  </a:lnTo>
                  <a:lnTo>
                    <a:pt x="1633843" y="196799"/>
                  </a:lnTo>
                  <a:lnTo>
                    <a:pt x="1633843" y="197447"/>
                  </a:lnTo>
                  <a:lnTo>
                    <a:pt x="1633843" y="196799"/>
                  </a:lnTo>
                  <a:lnTo>
                    <a:pt x="1633843" y="197447"/>
                  </a:lnTo>
                  <a:lnTo>
                    <a:pt x="1633944" y="196799"/>
                  </a:lnTo>
                  <a:lnTo>
                    <a:pt x="1633944" y="197447"/>
                  </a:lnTo>
                  <a:lnTo>
                    <a:pt x="1633944" y="196799"/>
                  </a:lnTo>
                  <a:lnTo>
                    <a:pt x="1633944" y="197447"/>
                  </a:lnTo>
                  <a:lnTo>
                    <a:pt x="1633995" y="197447"/>
                  </a:lnTo>
                  <a:lnTo>
                    <a:pt x="1633995" y="196799"/>
                  </a:lnTo>
                  <a:lnTo>
                    <a:pt x="1633995" y="198831"/>
                  </a:lnTo>
                  <a:lnTo>
                    <a:pt x="1633995" y="197447"/>
                  </a:lnTo>
                  <a:lnTo>
                    <a:pt x="1634046" y="197447"/>
                  </a:lnTo>
                  <a:lnTo>
                    <a:pt x="1634046" y="196113"/>
                  </a:lnTo>
                  <a:lnTo>
                    <a:pt x="1634084" y="196113"/>
                  </a:lnTo>
                  <a:lnTo>
                    <a:pt x="1634084" y="193383"/>
                  </a:lnTo>
                  <a:lnTo>
                    <a:pt x="1634186" y="193383"/>
                  </a:lnTo>
                  <a:lnTo>
                    <a:pt x="1634186" y="191351"/>
                  </a:lnTo>
                  <a:lnTo>
                    <a:pt x="1634186" y="193383"/>
                  </a:lnTo>
                  <a:lnTo>
                    <a:pt x="1634186" y="192684"/>
                  </a:lnTo>
                  <a:lnTo>
                    <a:pt x="1634237" y="192684"/>
                  </a:lnTo>
                  <a:lnTo>
                    <a:pt x="1634237" y="191986"/>
                  </a:lnTo>
                  <a:lnTo>
                    <a:pt x="1634237" y="196113"/>
                  </a:lnTo>
                  <a:lnTo>
                    <a:pt x="1634237" y="194716"/>
                  </a:lnTo>
                  <a:lnTo>
                    <a:pt x="1634287" y="194716"/>
                  </a:lnTo>
                  <a:lnTo>
                    <a:pt x="1634287" y="196113"/>
                  </a:lnTo>
                  <a:lnTo>
                    <a:pt x="1634287" y="195415"/>
                  </a:lnTo>
                  <a:lnTo>
                    <a:pt x="1634287" y="196113"/>
                  </a:lnTo>
                  <a:lnTo>
                    <a:pt x="1634287" y="195415"/>
                  </a:lnTo>
                  <a:lnTo>
                    <a:pt x="1634389" y="195415"/>
                  </a:lnTo>
                  <a:lnTo>
                    <a:pt x="1634389" y="196799"/>
                  </a:lnTo>
                  <a:lnTo>
                    <a:pt x="1634389" y="196113"/>
                  </a:lnTo>
                  <a:lnTo>
                    <a:pt x="1634440" y="196113"/>
                  </a:lnTo>
                  <a:lnTo>
                    <a:pt x="1634440" y="196799"/>
                  </a:lnTo>
                  <a:lnTo>
                    <a:pt x="1634440" y="196113"/>
                  </a:lnTo>
                  <a:lnTo>
                    <a:pt x="1634440" y="197447"/>
                  </a:lnTo>
                  <a:lnTo>
                    <a:pt x="1634440" y="196799"/>
                  </a:lnTo>
                  <a:lnTo>
                    <a:pt x="1634440" y="197447"/>
                  </a:lnTo>
                  <a:lnTo>
                    <a:pt x="1634490" y="197447"/>
                  </a:lnTo>
                  <a:lnTo>
                    <a:pt x="1634490" y="196799"/>
                  </a:lnTo>
                  <a:lnTo>
                    <a:pt x="1634490" y="197447"/>
                  </a:lnTo>
                  <a:lnTo>
                    <a:pt x="1634490" y="196799"/>
                  </a:lnTo>
                  <a:lnTo>
                    <a:pt x="1634541" y="197447"/>
                  </a:lnTo>
                  <a:lnTo>
                    <a:pt x="1634541" y="196799"/>
                  </a:lnTo>
                  <a:lnTo>
                    <a:pt x="1634541" y="197447"/>
                  </a:lnTo>
                  <a:lnTo>
                    <a:pt x="1634541" y="196799"/>
                  </a:lnTo>
                  <a:lnTo>
                    <a:pt x="1634630" y="196799"/>
                  </a:lnTo>
                  <a:lnTo>
                    <a:pt x="1634630" y="196113"/>
                  </a:lnTo>
                  <a:lnTo>
                    <a:pt x="1634630" y="196799"/>
                  </a:lnTo>
                  <a:lnTo>
                    <a:pt x="1634630" y="193383"/>
                  </a:lnTo>
                  <a:lnTo>
                    <a:pt x="1634630" y="194716"/>
                  </a:lnTo>
                  <a:lnTo>
                    <a:pt x="1634681" y="194716"/>
                  </a:lnTo>
                  <a:lnTo>
                    <a:pt x="1634681" y="193383"/>
                  </a:lnTo>
                  <a:lnTo>
                    <a:pt x="1634681" y="196113"/>
                  </a:lnTo>
                  <a:lnTo>
                    <a:pt x="1634681" y="192684"/>
                  </a:lnTo>
                  <a:lnTo>
                    <a:pt x="1634732" y="192684"/>
                  </a:lnTo>
                  <a:lnTo>
                    <a:pt x="1634732" y="196799"/>
                  </a:lnTo>
                  <a:lnTo>
                    <a:pt x="1634732" y="194716"/>
                  </a:lnTo>
                  <a:lnTo>
                    <a:pt x="1634783" y="195415"/>
                  </a:lnTo>
                  <a:lnTo>
                    <a:pt x="1634783" y="196113"/>
                  </a:lnTo>
                  <a:lnTo>
                    <a:pt x="1634783" y="194716"/>
                  </a:lnTo>
                  <a:lnTo>
                    <a:pt x="1634783" y="195415"/>
                  </a:lnTo>
                  <a:lnTo>
                    <a:pt x="1634884" y="196113"/>
                  </a:lnTo>
                  <a:lnTo>
                    <a:pt x="1634884" y="195415"/>
                  </a:lnTo>
                  <a:lnTo>
                    <a:pt x="1634884" y="196113"/>
                  </a:lnTo>
                  <a:lnTo>
                    <a:pt x="1634884" y="195415"/>
                  </a:lnTo>
                  <a:lnTo>
                    <a:pt x="1634884" y="196113"/>
                  </a:lnTo>
                  <a:lnTo>
                    <a:pt x="1634884" y="195415"/>
                  </a:lnTo>
                  <a:lnTo>
                    <a:pt x="1634935" y="195415"/>
                  </a:lnTo>
                  <a:lnTo>
                    <a:pt x="1634935" y="196799"/>
                  </a:lnTo>
                  <a:lnTo>
                    <a:pt x="1634935" y="196113"/>
                  </a:lnTo>
                  <a:lnTo>
                    <a:pt x="1634935" y="196799"/>
                  </a:lnTo>
                  <a:lnTo>
                    <a:pt x="1634935" y="196113"/>
                  </a:lnTo>
                  <a:lnTo>
                    <a:pt x="1634986" y="196113"/>
                  </a:lnTo>
                  <a:lnTo>
                    <a:pt x="1634986" y="196799"/>
                  </a:lnTo>
                  <a:lnTo>
                    <a:pt x="1634986" y="196113"/>
                  </a:lnTo>
                  <a:lnTo>
                    <a:pt x="1634986" y="196799"/>
                  </a:lnTo>
                  <a:lnTo>
                    <a:pt x="1634986" y="196113"/>
                  </a:lnTo>
                  <a:lnTo>
                    <a:pt x="1634986" y="196799"/>
                  </a:lnTo>
                  <a:lnTo>
                    <a:pt x="1634986" y="196113"/>
                  </a:lnTo>
                  <a:lnTo>
                    <a:pt x="1634986" y="196799"/>
                  </a:lnTo>
                  <a:lnTo>
                    <a:pt x="1634986" y="196113"/>
                  </a:lnTo>
                  <a:lnTo>
                    <a:pt x="1634986" y="196799"/>
                  </a:lnTo>
                  <a:lnTo>
                    <a:pt x="1635087" y="196799"/>
                  </a:lnTo>
                  <a:lnTo>
                    <a:pt x="1635087" y="196113"/>
                  </a:lnTo>
                  <a:lnTo>
                    <a:pt x="1635087" y="196799"/>
                  </a:lnTo>
                  <a:lnTo>
                    <a:pt x="1635087" y="196113"/>
                  </a:lnTo>
                  <a:lnTo>
                    <a:pt x="1635087" y="196799"/>
                  </a:lnTo>
                  <a:lnTo>
                    <a:pt x="1635087" y="196113"/>
                  </a:lnTo>
                  <a:lnTo>
                    <a:pt x="1635087" y="196799"/>
                  </a:lnTo>
                  <a:lnTo>
                    <a:pt x="1635087" y="195415"/>
                  </a:lnTo>
                  <a:lnTo>
                    <a:pt x="1635125" y="195415"/>
                  </a:lnTo>
                  <a:lnTo>
                    <a:pt x="1635125" y="193383"/>
                  </a:lnTo>
                  <a:lnTo>
                    <a:pt x="1635176" y="193383"/>
                  </a:lnTo>
                  <a:lnTo>
                    <a:pt x="1635176" y="195415"/>
                  </a:lnTo>
                  <a:lnTo>
                    <a:pt x="1635176" y="193383"/>
                  </a:lnTo>
                  <a:lnTo>
                    <a:pt x="1635176" y="194716"/>
                  </a:lnTo>
                  <a:lnTo>
                    <a:pt x="1635227" y="194716"/>
                  </a:lnTo>
                  <a:lnTo>
                    <a:pt x="1635227" y="196799"/>
                  </a:lnTo>
                  <a:lnTo>
                    <a:pt x="1635227" y="194716"/>
                  </a:lnTo>
                  <a:lnTo>
                    <a:pt x="1635227" y="195415"/>
                  </a:lnTo>
                  <a:lnTo>
                    <a:pt x="1635227" y="194716"/>
                  </a:lnTo>
                  <a:lnTo>
                    <a:pt x="1635227" y="196113"/>
                  </a:lnTo>
                  <a:lnTo>
                    <a:pt x="1635329" y="196113"/>
                  </a:lnTo>
                  <a:lnTo>
                    <a:pt x="1635329" y="195415"/>
                  </a:lnTo>
                  <a:lnTo>
                    <a:pt x="1635329" y="196113"/>
                  </a:lnTo>
                  <a:lnTo>
                    <a:pt x="1635380" y="196113"/>
                  </a:lnTo>
                  <a:lnTo>
                    <a:pt x="1635380" y="196799"/>
                  </a:lnTo>
                  <a:lnTo>
                    <a:pt x="1635380" y="195415"/>
                  </a:lnTo>
                  <a:lnTo>
                    <a:pt x="1635380" y="196799"/>
                  </a:lnTo>
                  <a:lnTo>
                    <a:pt x="1635430" y="196799"/>
                  </a:lnTo>
                  <a:lnTo>
                    <a:pt x="1635430" y="196113"/>
                  </a:lnTo>
                  <a:lnTo>
                    <a:pt x="1635430" y="196799"/>
                  </a:lnTo>
                  <a:lnTo>
                    <a:pt x="1635430" y="196113"/>
                  </a:lnTo>
                  <a:lnTo>
                    <a:pt x="1635430" y="197447"/>
                  </a:lnTo>
                  <a:lnTo>
                    <a:pt x="1635532" y="197447"/>
                  </a:lnTo>
                  <a:lnTo>
                    <a:pt x="1635532" y="196113"/>
                  </a:lnTo>
                  <a:lnTo>
                    <a:pt x="1635532" y="196799"/>
                  </a:lnTo>
                  <a:lnTo>
                    <a:pt x="1635532" y="196113"/>
                  </a:lnTo>
                  <a:lnTo>
                    <a:pt x="1635532" y="197447"/>
                  </a:lnTo>
                  <a:lnTo>
                    <a:pt x="1635532" y="196113"/>
                  </a:lnTo>
                  <a:lnTo>
                    <a:pt x="1635583" y="196799"/>
                  </a:lnTo>
                  <a:lnTo>
                    <a:pt x="1635583" y="196113"/>
                  </a:lnTo>
                  <a:lnTo>
                    <a:pt x="1635634" y="196113"/>
                  </a:lnTo>
                  <a:lnTo>
                    <a:pt x="1635634" y="195415"/>
                  </a:lnTo>
                  <a:lnTo>
                    <a:pt x="1635634" y="196113"/>
                  </a:lnTo>
                  <a:lnTo>
                    <a:pt x="1635634" y="195415"/>
                  </a:lnTo>
                  <a:lnTo>
                    <a:pt x="1635634" y="196799"/>
                  </a:lnTo>
                  <a:lnTo>
                    <a:pt x="1635672" y="196799"/>
                  </a:lnTo>
                  <a:lnTo>
                    <a:pt x="1635672" y="196113"/>
                  </a:lnTo>
                  <a:lnTo>
                    <a:pt x="1635672" y="198831"/>
                  </a:lnTo>
                  <a:lnTo>
                    <a:pt x="1635773" y="198831"/>
                  </a:lnTo>
                  <a:lnTo>
                    <a:pt x="1635773" y="196799"/>
                  </a:lnTo>
                  <a:lnTo>
                    <a:pt x="1635773" y="198831"/>
                  </a:lnTo>
                  <a:lnTo>
                    <a:pt x="1635824" y="198831"/>
                  </a:lnTo>
                  <a:lnTo>
                    <a:pt x="1635824" y="196799"/>
                  </a:lnTo>
                  <a:lnTo>
                    <a:pt x="1635824" y="197447"/>
                  </a:lnTo>
                  <a:lnTo>
                    <a:pt x="1635875" y="196799"/>
                  </a:lnTo>
                  <a:lnTo>
                    <a:pt x="1635875" y="197447"/>
                  </a:lnTo>
                  <a:lnTo>
                    <a:pt x="1635875" y="196799"/>
                  </a:lnTo>
                  <a:lnTo>
                    <a:pt x="1635875" y="197447"/>
                  </a:lnTo>
                  <a:lnTo>
                    <a:pt x="1635976" y="197447"/>
                  </a:lnTo>
                  <a:lnTo>
                    <a:pt x="1635976" y="196799"/>
                  </a:lnTo>
                  <a:lnTo>
                    <a:pt x="1635976" y="198831"/>
                  </a:lnTo>
                  <a:lnTo>
                    <a:pt x="1635976" y="197447"/>
                  </a:lnTo>
                  <a:lnTo>
                    <a:pt x="1635976" y="198831"/>
                  </a:lnTo>
                  <a:lnTo>
                    <a:pt x="1635976" y="197447"/>
                  </a:lnTo>
                  <a:lnTo>
                    <a:pt x="1636027" y="197447"/>
                  </a:lnTo>
                  <a:lnTo>
                    <a:pt x="1636027" y="196799"/>
                  </a:lnTo>
                  <a:lnTo>
                    <a:pt x="1636027" y="197447"/>
                  </a:lnTo>
                  <a:lnTo>
                    <a:pt x="1636027" y="196113"/>
                  </a:lnTo>
                  <a:lnTo>
                    <a:pt x="1636027" y="196799"/>
                  </a:lnTo>
                  <a:lnTo>
                    <a:pt x="1636027" y="196113"/>
                  </a:lnTo>
                  <a:lnTo>
                    <a:pt x="1636078" y="196113"/>
                  </a:lnTo>
                  <a:lnTo>
                    <a:pt x="1636078" y="194716"/>
                  </a:lnTo>
                  <a:lnTo>
                    <a:pt x="1636078" y="195415"/>
                  </a:lnTo>
                  <a:lnTo>
                    <a:pt x="1636129" y="194716"/>
                  </a:lnTo>
                  <a:lnTo>
                    <a:pt x="1636129" y="195415"/>
                  </a:lnTo>
                  <a:lnTo>
                    <a:pt x="1636129" y="194716"/>
                  </a:lnTo>
                  <a:lnTo>
                    <a:pt x="1636129" y="195415"/>
                  </a:lnTo>
                  <a:lnTo>
                    <a:pt x="1636218" y="195415"/>
                  </a:lnTo>
                  <a:lnTo>
                    <a:pt x="1636218" y="194716"/>
                  </a:lnTo>
                  <a:lnTo>
                    <a:pt x="1636218" y="197447"/>
                  </a:lnTo>
                  <a:lnTo>
                    <a:pt x="1636218" y="196799"/>
                  </a:lnTo>
                  <a:lnTo>
                    <a:pt x="1636269" y="196799"/>
                  </a:lnTo>
                  <a:lnTo>
                    <a:pt x="1636269" y="196113"/>
                  </a:lnTo>
                  <a:lnTo>
                    <a:pt x="1636269" y="197447"/>
                  </a:lnTo>
                  <a:lnTo>
                    <a:pt x="1636269" y="196799"/>
                  </a:lnTo>
                  <a:lnTo>
                    <a:pt x="1636269" y="197447"/>
                  </a:lnTo>
                  <a:lnTo>
                    <a:pt x="1636269" y="196799"/>
                  </a:lnTo>
                  <a:lnTo>
                    <a:pt x="1636319" y="196799"/>
                  </a:lnTo>
                  <a:lnTo>
                    <a:pt x="1636319" y="198831"/>
                  </a:lnTo>
                  <a:lnTo>
                    <a:pt x="1636319" y="197447"/>
                  </a:lnTo>
                  <a:lnTo>
                    <a:pt x="1636370" y="197447"/>
                  </a:lnTo>
                  <a:lnTo>
                    <a:pt x="1636370" y="198831"/>
                  </a:lnTo>
                  <a:lnTo>
                    <a:pt x="1636370" y="197447"/>
                  </a:lnTo>
                  <a:lnTo>
                    <a:pt x="1636370" y="198831"/>
                  </a:lnTo>
                  <a:lnTo>
                    <a:pt x="1636370" y="197447"/>
                  </a:lnTo>
                  <a:lnTo>
                    <a:pt x="1636472" y="197447"/>
                  </a:lnTo>
                  <a:lnTo>
                    <a:pt x="1636472" y="198831"/>
                  </a:lnTo>
                  <a:lnTo>
                    <a:pt x="1636472" y="197447"/>
                  </a:lnTo>
                  <a:lnTo>
                    <a:pt x="1636472" y="198831"/>
                  </a:lnTo>
                  <a:lnTo>
                    <a:pt x="1636472" y="197447"/>
                  </a:lnTo>
                  <a:lnTo>
                    <a:pt x="1636522" y="197447"/>
                  </a:lnTo>
                  <a:lnTo>
                    <a:pt x="1636522" y="196113"/>
                  </a:lnTo>
                  <a:lnTo>
                    <a:pt x="1636573" y="196799"/>
                  </a:lnTo>
                  <a:lnTo>
                    <a:pt x="1636573" y="195415"/>
                  </a:lnTo>
                  <a:lnTo>
                    <a:pt x="1636675" y="196113"/>
                  </a:lnTo>
                  <a:lnTo>
                    <a:pt x="1636675" y="196799"/>
                  </a:lnTo>
                  <a:lnTo>
                    <a:pt x="1636675" y="195415"/>
                  </a:lnTo>
                  <a:lnTo>
                    <a:pt x="1636675" y="198831"/>
                  </a:lnTo>
                  <a:lnTo>
                    <a:pt x="1636713" y="198831"/>
                  </a:lnTo>
                  <a:lnTo>
                    <a:pt x="1636713" y="196799"/>
                  </a:lnTo>
                  <a:lnTo>
                    <a:pt x="1636713" y="198831"/>
                  </a:lnTo>
                  <a:lnTo>
                    <a:pt x="1636764" y="198831"/>
                  </a:lnTo>
                  <a:lnTo>
                    <a:pt x="1636764" y="196799"/>
                  </a:lnTo>
                  <a:lnTo>
                    <a:pt x="1636764" y="197447"/>
                  </a:lnTo>
                  <a:lnTo>
                    <a:pt x="1636764" y="196799"/>
                  </a:lnTo>
                  <a:lnTo>
                    <a:pt x="1636764" y="198831"/>
                  </a:lnTo>
                  <a:lnTo>
                    <a:pt x="1636764" y="197447"/>
                  </a:lnTo>
                  <a:lnTo>
                    <a:pt x="1636815" y="198831"/>
                  </a:lnTo>
                  <a:lnTo>
                    <a:pt x="1636815" y="197447"/>
                  </a:lnTo>
                  <a:lnTo>
                    <a:pt x="1636815" y="198831"/>
                  </a:lnTo>
                  <a:lnTo>
                    <a:pt x="1636815" y="197447"/>
                  </a:lnTo>
                  <a:lnTo>
                    <a:pt x="1636815" y="198831"/>
                  </a:lnTo>
                  <a:lnTo>
                    <a:pt x="1636815" y="197447"/>
                  </a:lnTo>
                  <a:lnTo>
                    <a:pt x="1636815" y="198831"/>
                  </a:lnTo>
                  <a:lnTo>
                    <a:pt x="1636815" y="197447"/>
                  </a:lnTo>
                  <a:lnTo>
                    <a:pt x="1636815" y="199530"/>
                  </a:lnTo>
                  <a:lnTo>
                    <a:pt x="1636815" y="198831"/>
                  </a:lnTo>
                  <a:lnTo>
                    <a:pt x="1636916" y="198831"/>
                  </a:lnTo>
                  <a:lnTo>
                    <a:pt x="1636916" y="197447"/>
                  </a:lnTo>
                  <a:lnTo>
                    <a:pt x="1636916" y="198831"/>
                  </a:lnTo>
                  <a:lnTo>
                    <a:pt x="1636916" y="197447"/>
                  </a:lnTo>
                  <a:lnTo>
                    <a:pt x="1636916" y="198831"/>
                  </a:lnTo>
                  <a:lnTo>
                    <a:pt x="1636916" y="197447"/>
                  </a:lnTo>
                  <a:lnTo>
                    <a:pt x="1636916" y="198831"/>
                  </a:lnTo>
                  <a:lnTo>
                    <a:pt x="1636916" y="197447"/>
                  </a:lnTo>
                  <a:lnTo>
                    <a:pt x="1636916" y="198831"/>
                  </a:lnTo>
                  <a:lnTo>
                    <a:pt x="1636967" y="198831"/>
                  </a:lnTo>
                  <a:lnTo>
                    <a:pt x="1636967" y="197447"/>
                  </a:lnTo>
                  <a:lnTo>
                    <a:pt x="1636967" y="198831"/>
                  </a:lnTo>
                  <a:lnTo>
                    <a:pt x="1636967" y="197447"/>
                  </a:lnTo>
                  <a:lnTo>
                    <a:pt x="1636967" y="198831"/>
                  </a:lnTo>
                  <a:lnTo>
                    <a:pt x="1636967" y="197447"/>
                  </a:lnTo>
                  <a:lnTo>
                    <a:pt x="1637018" y="197447"/>
                  </a:lnTo>
                  <a:lnTo>
                    <a:pt x="1637018" y="196113"/>
                  </a:lnTo>
                  <a:lnTo>
                    <a:pt x="1637018" y="196799"/>
                  </a:lnTo>
                  <a:lnTo>
                    <a:pt x="1637018" y="196113"/>
                  </a:lnTo>
                  <a:lnTo>
                    <a:pt x="1637119" y="196113"/>
                  </a:lnTo>
                  <a:lnTo>
                    <a:pt x="1637119" y="195415"/>
                  </a:lnTo>
                  <a:lnTo>
                    <a:pt x="1637119" y="196113"/>
                  </a:lnTo>
                  <a:lnTo>
                    <a:pt x="1637119" y="193383"/>
                  </a:lnTo>
                  <a:lnTo>
                    <a:pt x="1637119" y="194716"/>
                  </a:lnTo>
                  <a:lnTo>
                    <a:pt x="1637170" y="193383"/>
                  </a:lnTo>
                  <a:lnTo>
                    <a:pt x="1637170" y="194716"/>
                  </a:lnTo>
                  <a:lnTo>
                    <a:pt x="1637170" y="193383"/>
                  </a:lnTo>
                  <a:lnTo>
                    <a:pt x="1637170" y="194716"/>
                  </a:lnTo>
                  <a:lnTo>
                    <a:pt x="1637221" y="194716"/>
                  </a:lnTo>
                  <a:lnTo>
                    <a:pt x="1637221" y="196113"/>
                  </a:lnTo>
                  <a:lnTo>
                    <a:pt x="1637221" y="195415"/>
                  </a:lnTo>
                  <a:lnTo>
                    <a:pt x="1637221" y="196113"/>
                  </a:lnTo>
                  <a:lnTo>
                    <a:pt x="1637259" y="196113"/>
                  </a:lnTo>
                  <a:lnTo>
                    <a:pt x="1637259" y="196799"/>
                  </a:lnTo>
                  <a:lnTo>
                    <a:pt x="1637259" y="196113"/>
                  </a:lnTo>
                  <a:lnTo>
                    <a:pt x="1637361" y="196799"/>
                  </a:lnTo>
                  <a:lnTo>
                    <a:pt x="1637361" y="197447"/>
                  </a:lnTo>
                  <a:lnTo>
                    <a:pt x="1637361" y="196799"/>
                  </a:lnTo>
                  <a:lnTo>
                    <a:pt x="1637361" y="197447"/>
                  </a:lnTo>
                  <a:lnTo>
                    <a:pt x="1637361" y="196799"/>
                  </a:lnTo>
                  <a:lnTo>
                    <a:pt x="1637361" y="197447"/>
                  </a:lnTo>
                  <a:lnTo>
                    <a:pt x="1637361" y="196799"/>
                  </a:lnTo>
                  <a:lnTo>
                    <a:pt x="1637412" y="196799"/>
                  </a:lnTo>
                  <a:lnTo>
                    <a:pt x="1637412" y="198831"/>
                  </a:lnTo>
                  <a:lnTo>
                    <a:pt x="1637412" y="197447"/>
                  </a:lnTo>
                  <a:lnTo>
                    <a:pt x="1637462" y="197447"/>
                  </a:lnTo>
                  <a:lnTo>
                    <a:pt x="1637462" y="198831"/>
                  </a:lnTo>
                  <a:lnTo>
                    <a:pt x="1637462" y="197447"/>
                  </a:lnTo>
                  <a:lnTo>
                    <a:pt x="1637462" y="198831"/>
                  </a:lnTo>
                  <a:lnTo>
                    <a:pt x="1637462" y="197447"/>
                  </a:lnTo>
                  <a:lnTo>
                    <a:pt x="1637462" y="198831"/>
                  </a:lnTo>
                  <a:lnTo>
                    <a:pt x="1637564" y="197447"/>
                  </a:lnTo>
                  <a:lnTo>
                    <a:pt x="1637564" y="196113"/>
                  </a:lnTo>
                  <a:lnTo>
                    <a:pt x="1637615" y="196113"/>
                  </a:lnTo>
                  <a:lnTo>
                    <a:pt x="1637615" y="195415"/>
                  </a:lnTo>
                  <a:lnTo>
                    <a:pt x="1637615" y="196113"/>
                  </a:lnTo>
                  <a:lnTo>
                    <a:pt x="1637615" y="194716"/>
                  </a:lnTo>
                  <a:lnTo>
                    <a:pt x="1637615" y="195415"/>
                  </a:lnTo>
                  <a:lnTo>
                    <a:pt x="1637665" y="196113"/>
                  </a:lnTo>
                  <a:lnTo>
                    <a:pt x="1637665" y="193383"/>
                  </a:lnTo>
                  <a:lnTo>
                    <a:pt x="1637665" y="196799"/>
                  </a:lnTo>
                  <a:lnTo>
                    <a:pt x="1637716" y="196799"/>
                  </a:lnTo>
                  <a:lnTo>
                    <a:pt x="1637716" y="195415"/>
                  </a:lnTo>
                  <a:lnTo>
                    <a:pt x="1637716" y="196799"/>
                  </a:lnTo>
                  <a:lnTo>
                    <a:pt x="1637716" y="196113"/>
                  </a:lnTo>
                  <a:lnTo>
                    <a:pt x="1637716" y="196799"/>
                  </a:lnTo>
                  <a:lnTo>
                    <a:pt x="1637716" y="196113"/>
                  </a:lnTo>
                  <a:lnTo>
                    <a:pt x="1637805" y="196113"/>
                  </a:lnTo>
                  <a:lnTo>
                    <a:pt x="1637805" y="195415"/>
                  </a:lnTo>
                  <a:lnTo>
                    <a:pt x="1637805" y="196113"/>
                  </a:lnTo>
                  <a:lnTo>
                    <a:pt x="1637805" y="195415"/>
                  </a:lnTo>
                  <a:lnTo>
                    <a:pt x="1637805" y="196113"/>
                  </a:lnTo>
                  <a:lnTo>
                    <a:pt x="1637805" y="195415"/>
                  </a:lnTo>
                  <a:lnTo>
                    <a:pt x="1637805" y="196113"/>
                  </a:lnTo>
                  <a:lnTo>
                    <a:pt x="1637856" y="196113"/>
                  </a:lnTo>
                  <a:lnTo>
                    <a:pt x="1637856" y="195415"/>
                  </a:lnTo>
                  <a:lnTo>
                    <a:pt x="1637856" y="196113"/>
                  </a:lnTo>
                  <a:lnTo>
                    <a:pt x="1637856" y="195415"/>
                  </a:lnTo>
                  <a:lnTo>
                    <a:pt x="1637856" y="196799"/>
                  </a:lnTo>
                  <a:lnTo>
                    <a:pt x="1637856" y="196113"/>
                  </a:lnTo>
                  <a:lnTo>
                    <a:pt x="1637856" y="196799"/>
                  </a:lnTo>
                  <a:lnTo>
                    <a:pt x="1637907" y="196113"/>
                  </a:lnTo>
                  <a:lnTo>
                    <a:pt x="1637907" y="197447"/>
                  </a:lnTo>
                  <a:lnTo>
                    <a:pt x="1637907" y="196799"/>
                  </a:lnTo>
                  <a:lnTo>
                    <a:pt x="1637958" y="197447"/>
                  </a:lnTo>
                  <a:lnTo>
                    <a:pt x="1637958" y="196799"/>
                  </a:lnTo>
                  <a:lnTo>
                    <a:pt x="1637958" y="198831"/>
                  </a:lnTo>
                  <a:lnTo>
                    <a:pt x="1637958" y="196799"/>
                  </a:lnTo>
                  <a:lnTo>
                    <a:pt x="1638059" y="196799"/>
                  </a:lnTo>
                  <a:lnTo>
                    <a:pt x="1638059" y="196113"/>
                  </a:lnTo>
                  <a:lnTo>
                    <a:pt x="1638059" y="196799"/>
                  </a:lnTo>
                  <a:lnTo>
                    <a:pt x="1638059" y="196113"/>
                  </a:lnTo>
                  <a:lnTo>
                    <a:pt x="1638110" y="196113"/>
                  </a:lnTo>
                  <a:lnTo>
                    <a:pt x="1638110" y="195415"/>
                  </a:lnTo>
                  <a:lnTo>
                    <a:pt x="1638110" y="196799"/>
                  </a:lnTo>
                  <a:lnTo>
                    <a:pt x="1638110" y="196113"/>
                  </a:lnTo>
                  <a:lnTo>
                    <a:pt x="1638110" y="196799"/>
                  </a:lnTo>
                  <a:lnTo>
                    <a:pt x="1638110" y="195415"/>
                  </a:lnTo>
                  <a:lnTo>
                    <a:pt x="1638161" y="195415"/>
                  </a:lnTo>
                  <a:lnTo>
                    <a:pt x="1638161" y="198831"/>
                  </a:lnTo>
                  <a:lnTo>
                    <a:pt x="1638161" y="196799"/>
                  </a:lnTo>
                  <a:lnTo>
                    <a:pt x="1638161" y="197447"/>
                  </a:lnTo>
                  <a:lnTo>
                    <a:pt x="1638161" y="196799"/>
                  </a:lnTo>
                  <a:lnTo>
                    <a:pt x="1638262" y="196113"/>
                  </a:lnTo>
                  <a:lnTo>
                    <a:pt x="1638262" y="198831"/>
                  </a:lnTo>
                  <a:lnTo>
                    <a:pt x="1638262" y="197447"/>
                  </a:lnTo>
                  <a:lnTo>
                    <a:pt x="1638262" y="198831"/>
                  </a:lnTo>
                  <a:lnTo>
                    <a:pt x="1638262" y="196799"/>
                  </a:lnTo>
                  <a:lnTo>
                    <a:pt x="1638262" y="197447"/>
                  </a:lnTo>
                  <a:lnTo>
                    <a:pt x="1638300" y="197447"/>
                  </a:lnTo>
                  <a:lnTo>
                    <a:pt x="1638300" y="196799"/>
                  </a:lnTo>
                  <a:lnTo>
                    <a:pt x="1638300" y="197447"/>
                  </a:lnTo>
                  <a:lnTo>
                    <a:pt x="1638351" y="197447"/>
                  </a:lnTo>
                  <a:lnTo>
                    <a:pt x="1638351" y="198831"/>
                  </a:lnTo>
                  <a:lnTo>
                    <a:pt x="1638351" y="197447"/>
                  </a:lnTo>
                  <a:lnTo>
                    <a:pt x="1638351" y="198831"/>
                  </a:lnTo>
                  <a:lnTo>
                    <a:pt x="1638351" y="197447"/>
                  </a:lnTo>
                  <a:lnTo>
                    <a:pt x="1638402" y="197447"/>
                  </a:lnTo>
                  <a:lnTo>
                    <a:pt x="1638402" y="196799"/>
                  </a:lnTo>
                  <a:lnTo>
                    <a:pt x="1638402" y="197447"/>
                  </a:lnTo>
                  <a:lnTo>
                    <a:pt x="1638504" y="197447"/>
                  </a:lnTo>
                  <a:lnTo>
                    <a:pt x="1638504" y="196799"/>
                  </a:lnTo>
                  <a:lnTo>
                    <a:pt x="1638504" y="197447"/>
                  </a:lnTo>
                  <a:lnTo>
                    <a:pt x="1638504" y="196799"/>
                  </a:lnTo>
                  <a:lnTo>
                    <a:pt x="1638555" y="196113"/>
                  </a:lnTo>
                  <a:lnTo>
                    <a:pt x="1638555" y="194716"/>
                  </a:lnTo>
                  <a:lnTo>
                    <a:pt x="1638605" y="195415"/>
                  </a:lnTo>
                  <a:lnTo>
                    <a:pt x="1638605" y="196799"/>
                  </a:lnTo>
                  <a:lnTo>
                    <a:pt x="1638605" y="196113"/>
                  </a:lnTo>
                  <a:lnTo>
                    <a:pt x="1638605" y="196799"/>
                  </a:lnTo>
                  <a:lnTo>
                    <a:pt x="1638707" y="197447"/>
                  </a:lnTo>
                  <a:lnTo>
                    <a:pt x="1638707" y="198831"/>
                  </a:lnTo>
                  <a:lnTo>
                    <a:pt x="1638707" y="197447"/>
                  </a:lnTo>
                  <a:lnTo>
                    <a:pt x="1638707" y="198831"/>
                  </a:lnTo>
                  <a:lnTo>
                    <a:pt x="1638758" y="198831"/>
                  </a:lnTo>
                  <a:lnTo>
                    <a:pt x="1638758" y="199530"/>
                  </a:lnTo>
                  <a:lnTo>
                    <a:pt x="1638758" y="197447"/>
                  </a:lnTo>
                  <a:lnTo>
                    <a:pt x="1638758" y="198831"/>
                  </a:lnTo>
                  <a:lnTo>
                    <a:pt x="1638758" y="197447"/>
                  </a:lnTo>
                  <a:lnTo>
                    <a:pt x="1638758" y="198831"/>
                  </a:lnTo>
                  <a:lnTo>
                    <a:pt x="1638809" y="198831"/>
                  </a:lnTo>
                  <a:lnTo>
                    <a:pt x="1638809" y="197447"/>
                  </a:lnTo>
                  <a:lnTo>
                    <a:pt x="1638809" y="198831"/>
                  </a:lnTo>
                  <a:lnTo>
                    <a:pt x="1638847" y="198831"/>
                  </a:lnTo>
                  <a:lnTo>
                    <a:pt x="1638847" y="197447"/>
                  </a:lnTo>
                  <a:lnTo>
                    <a:pt x="1638847" y="198831"/>
                  </a:lnTo>
                  <a:lnTo>
                    <a:pt x="1638847" y="197447"/>
                  </a:lnTo>
                  <a:lnTo>
                    <a:pt x="1638999" y="197447"/>
                  </a:lnTo>
                  <a:lnTo>
                    <a:pt x="1638999" y="196113"/>
                  </a:lnTo>
                  <a:lnTo>
                    <a:pt x="1639050" y="196113"/>
                  </a:lnTo>
                  <a:lnTo>
                    <a:pt x="1639050" y="193383"/>
                  </a:lnTo>
                  <a:lnTo>
                    <a:pt x="1639050" y="196799"/>
                  </a:lnTo>
                  <a:lnTo>
                    <a:pt x="1639151" y="196799"/>
                  </a:lnTo>
                  <a:lnTo>
                    <a:pt x="1639151" y="194716"/>
                  </a:lnTo>
                  <a:lnTo>
                    <a:pt x="1639151" y="197447"/>
                  </a:lnTo>
                  <a:lnTo>
                    <a:pt x="1639202" y="197447"/>
                  </a:lnTo>
                  <a:lnTo>
                    <a:pt x="1639202" y="196113"/>
                  </a:lnTo>
                  <a:lnTo>
                    <a:pt x="1639202" y="197447"/>
                  </a:lnTo>
                  <a:lnTo>
                    <a:pt x="1639253" y="197447"/>
                  </a:lnTo>
                  <a:lnTo>
                    <a:pt x="1639253" y="196799"/>
                  </a:lnTo>
                  <a:lnTo>
                    <a:pt x="1639253" y="197447"/>
                  </a:lnTo>
                  <a:lnTo>
                    <a:pt x="1639304" y="197447"/>
                  </a:lnTo>
                  <a:lnTo>
                    <a:pt x="1639304" y="196799"/>
                  </a:lnTo>
                  <a:lnTo>
                    <a:pt x="1639304" y="198831"/>
                  </a:lnTo>
                  <a:lnTo>
                    <a:pt x="1639304" y="197447"/>
                  </a:lnTo>
                  <a:lnTo>
                    <a:pt x="1639304" y="198831"/>
                  </a:lnTo>
                  <a:lnTo>
                    <a:pt x="1639304" y="197447"/>
                  </a:lnTo>
                  <a:lnTo>
                    <a:pt x="1639304" y="198831"/>
                  </a:lnTo>
                  <a:lnTo>
                    <a:pt x="1639444" y="198831"/>
                  </a:lnTo>
                  <a:lnTo>
                    <a:pt x="1639444" y="197447"/>
                  </a:lnTo>
                  <a:lnTo>
                    <a:pt x="1639444" y="198831"/>
                  </a:lnTo>
                  <a:lnTo>
                    <a:pt x="1639444" y="197447"/>
                  </a:lnTo>
                  <a:lnTo>
                    <a:pt x="1639494" y="197447"/>
                  </a:lnTo>
                  <a:lnTo>
                    <a:pt x="1639494" y="196799"/>
                  </a:lnTo>
                  <a:lnTo>
                    <a:pt x="1639494" y="197447"/>
                  </a:lnTo>
                  <a:lnTo>
                    <a:pt x="1639494" y="196113"/>
                  </a:lnTo>
                  <a:lnTo>
                    <a:pt x="1639494" y="196799"/>
                  </a:lnTo>
                  <a:lnTo>
                    <a:pt x="1639494" y="195415"/>
                  </a:lnTo>
                  <a:lnTo>
                    <a:pt x="1639545" y="195415"/>
                  </a:lnTo>
                  <a:lnTo>
                    <a:pt x="1639545" y="194716"/>
                  </a:lnTo>
                  <a:lnTo>
                    <a:pt x="1639545" y="195415"/>
                  </a:lnTo>
                  <a:lnTo>
                    <a:pt x="1639545" y="193383"/>
                  </a:lnTo>
                  <a:lnTo>
                    <a:pt x="1639647" y="194716"/>
                  </a:lnTo>
                  <a:lnTo>
                    <a:pt x="1639647" y="195415"/>
                  </a:lnTo>
                  <a:lnTo>
                    <a:pt x="1639647" y="193383"/>
                  </a:lnTo>
                  <a:lnTo>
                    <a:pt x="1639647" y="196113"/>
                  </a:lnTo>
                  <a:lnTo>
                    <a:pt x="1639697" y="196113"/>
                  </a:lnTo>
                  <a:lnTo>
                    <a:pt x="1639697" y="195415"/>
                  </a:lnTo>
                  <a:lnTo>
                    <a:pt x="1639697" y="196113"/>
                  </a:lnTo>
                  <a:lnTo>
                    <a:pt x="1639697" y="195415"/>
                  </a:lnTo>
                  <a:lnTo>
                    <a:pt x="1639697" y="196799"/>
                  </a:lnTo>
                  <a:lnTo>
                    <a:pt x="1639748" y="196799"/>
                  </a:lnTo>
                  <a:lnTo>
                    <a:pt x="1639748" y="196113"/>
                  </a:lnTo>
                  <a:lnTo>
                    <a:pt x="1639748" y="196799"/>
                  </a:lnTo>
                  <a:lnTo>
                    <a:pt x="1639748" y="196113"/>
                  </a:lnTo>
                  <a:lnTo>
                    <a:pt x="1639748" y="196799"/>
                  </a:lnTo>
                  <a:lnTo>
                    <a:pt x="1639850" y="196799"/>
                  </a:lnTo>
                  <a:lnTo>
                    <a:pt x="1639850" y="197447"/>
                  </a:lnTo>
                  <a:lnTo>
                    <a:pt x="1639850" y="196113"/>
                  </a:lnTo>
                  <a:lnTo>
                    <a:pt x="1639850" y="197447"/>
                  </a:lnTo>
                  <a:lnTo>
                    <a:pt x="1639888" y="197447"/>
                  </a:lnTo>
                  <a:lnTo>
                    <a:pt x="1639888" y="198831"/>
                  </a:lnTo>
                  <a:lnTo>
                    <a:pt x="1639888" y="197447"/>
                  </a:lnTo>
                  <a:lnTo>
                    <a:pt x="1639888" y="198831"/>
                  </a:lnTo>
                  <a:lnTo>
                    <a:pt x="1639939" y="197447"/>
                  </a:lnTo>
                  <a:lnTo>
                    <a:pt x="1639939" y="198831"/>
                  </a:lnTo>
                  <a:lnTo>
                    <a:pt x="1639939" y="197447"/>
                  </a:lnTo>
                  <a:lnTo>
                    <a:pt x="1639939" y="198831"/>
                  </a:lnTo>
                  <a:lnTo>
                    <a:pt x="1639939" y="197447"/>
                  </a:lnTo>
                  <a:lnTo>
                    <a:pt x="1639990" y="198831"/>
                  </a:lnTo>
                  <a:lnTo>
                    <a:pt x="1639990" y="196799"/>
                  </a:lnTo>
                  <a:lnTo>
                    <a:pt x="1639990" y="197447"/>
                  </a:lnTo>
                  <a:lnTo>
                    <a:pt x="1639990" y="195415"/>
                  </a:lnTo>
                  <a:lnTo>
                    <a:pt x="1640091" y="195415"/>
                  </a:lnTo>
                  <a:lnTo>
                    <a:pt x="1640091" y="194716"/>
                  </a:lnTo>
                  <a:lnTo>
                    <a:pt x="1640091" y="195415"/>
                  </a:lnTo>
                  <a:lnTo>
                    <a:pt x="1640091" y="192684"/>
                  </a:lnTo>
                  <a:lnTo>
                    <a:pt x="1640142" y="192684"/>
                  </a:lnTo>
                  <a:lnTo>
                    <a:pt x="1640142" y="195415"/>
                  </a:lnTo>
                  <a:lnTo>
                    <a:pt x="1640142" y="191986"/>
                  </a:lnTo>
                  <a:lnTo>
                    <a:pt x="1640142" y="194716"/>
                  </a:lnTo>
                  <a:lnTo>
                    <a:pt x="1640193" y="195415"/>
                  </a:lnTo>
                  <a:lnTo>
                    <a:pt x="1640193" y="194716"/>
                  </a:lnTo>
                  <a:lnTo>
                    <a:pt x="1640193" y="195415"/>
                  </a:lnTo>
                  <a:lnTo>
                    <a:pt x="1640294" y="195415"/>
                  </a:lnTo>
                  <a:lnTo>
                    <a:pt x="1640294" y="196113"/>
                  </a:lnTo>
                  <a:lnTo>
                    <a:pt x="1640294" y="195415"/>
                  </a:lnTo>
                  <a:lnTo>
                    <a:pt x="1640294" y="196113"/>
                  </a:lnTo>
                  <a:lnTo>
                    <a:pt x="1640294" y="194716"/>
                  </a:lnTo>
                  <a:lnTo>
                    <a:pt x="1640294" y="196113"/>
                  </a:lnTo>
                  <a:lnTo>
                    <a:pt x="1640294" y="195415"/>
                  </a:lnTo>
                  <a:lnTo>
                    <a:pt x="1640345" y="195415"/>
                  </a:lnTo>
                  <a:lnTo>
                    <a:pt x="1640345" y="196799"/>
                  </a:lnTo>
                  <a:lnTo>
                    <a:pt x="1640396" y="196799"/>
                  </a:lnTo>
                  <a:lnTo>
                    <a:pt x="1640396" y="197447"/>
                  </a:lnTo>
                  <a:lnTo>
                    <a:pt x="1640396" y="196799"/>
                  </a:lnTo>
                  <a:lnTo>
                    <a:pt x="1640396" y="197447"/>
                  </a:lnTo>
                  <a:lnTo>
                    <a:pt x="1640396" y="196799"/>
                  </a:lnTo>
                  <a:lnTo>
                    <a:pt x="1640396" y="197447"/>
                  </a:lnTo>
                  <a:lnTo>
                    <a:pt x="1640434" y="197447"/>
                  </a:lnTo>
                  <a:lnTo>
                    <a:pt x="1640434" y="196799"/>
                  </a:lnTo>
                  <a:lnTo>
                    <a:pt x="1640434" y="197447"/>
                  </a:lnTo>
                  <a:lnTo>
                    <a:pt x="1640434" y="196799"/>
                  </a:lnTo>
                  <a:lnTo>
                    <a:pt x="1640434" y="198831"/>
                  </a:lnTo>
                  <a:lnTo>
                    <a:pt x="1640434" y="197447"/>
                  </a:lnTo>
                  <a:lnTo>
                    <a:pt x="1640536" y="197447"/>
                  </a:lnTo>
                  <a:lnTo>
                    <a:pt x="1640536" y="196799"/>
                  </a:lnTo>
                  <a:lnTo>
                    <a:pt x="1640536" y="197447"/>
                  </a:lnTo>
                  <a:lnTo>
                    <a:pt x="1640536" y="196113"/>
                  </a:lnTo>
                  <a:lnTo>
                    <a:pt x="1640587" y="196113"/>
                  </a:lnTo>
                  <a:lnTo>
                    <a:pt x="1640587" y="195415"/>
                  </a:lnTo>
                  <a:lnTo>
                    <a:pt x="1640587" y="196113"/>
                  </a:lnTo>
                  <a:lnTo>
                    <a:pt x="1640587" y="195415"/>
                  </a:lnTo>
                  <a:lnTo>
                    <a:pt x="1640637" y="196113"/>
                  </a:lnTo>
                  <a:lnTo>
                    <a:pt x="1640637" y="194716"/>
                  </a:lnTo>
                  <a:lnTo>
                    <a:pt x="1640637" y="196799"/>
                  </a:lnTo>
                  <a:lnTo>
                    <a:pt x="1640637" y="196113"/>
                  </a:lnTo>
                  <a:lnTo>
                    <a:pt x="1640739" y="196113"/>
                  </a:lnTo>
                  <a:lnTo>
                    <a:pt x="1640739" y="195415"/>
                  </a:lnTo>
                  <a:lnTo>
                    <a:pt x="1640739" y="196799"/>
                  </a:lnTo>
                  <a:lnTo>
                    <a:pt x="1640739" y="196113"/>
                  </a:lnTo>
                  <a:lnTo>
                    <a:pt x="1640739" y="196799"/>
                  </a:lnTo>
                  <a:lnTo>
                    <a:pt x="1640790" y="196799"/>
                  </a:lnTo>
                  <a:lnTo>
                    <a:pt x="1640790" y="195415"/>
                  </a:lnTo>
                  <a:lnTo>
                    <a:pt x="1640790" y="196113"/>
                  </a:lnTo>
                  <a:lnTo>
                    <a:pt x="1640790" y="195415"/>
                  </a:lnTo>
                  <a:lnTo>
                    <a:pt x="1640790" y="196113"/>
                  </a:lnTo>
                  <a:lnTo>
                    <a:pt x="1640790" y="195415"/>
                  </a:lnTo>
                  <a:lnTo>
                    <a:pt x="1640840" y="196113"/>
                  </a:lnTo>
                  <a:lnTo>
                    <a:pt x="1640840" y="195415"/>
                  </a:lnTo>
                  <a:lnTo>
                    <a:pt x="1640840" y="196113"/>
                  </a:lnTo>
                  <a:lnTo>
                    <a:pt x="1640891" y="196113"/>
                  </a:lnTo>
                  <a:lnTo>
                    <a:pt x="1640891" y="196799"/>
                  </a:lnTo>
                  <a:lnTo>
                    <a:pt x="1640891" y="196113"/>
                  </a:lnTo>
                  <a:lnTo>
                    <a:pt x="1640891" y="196799"/>
                  </a:lnTo>
                  <a:lnTo>
                    <a:pt x="1640891" y="196113"/>
                  </a:lnTo>
                  <a:lnTo>
                    <a:pt x="1640891" y="196799"/>
                  </a:lnTo>
                  <a:lnTo>
                    <a:pt x="1640980" y="196799"/>
                  </a:lnTo>
                  <a:lnTo>
                    <a:pt x="1640980" y="196113"/>
                  </a:lnTo>
                  <a:lnTo>
                    <a:pt x="1641031" y="196113"/>
                  </a:lnTo>
                  <a:lnTo>
                    <a:pt x="1641031" y="196799"/>
                  </a:lnTo>
                  <a:lnTo>
                    <a:pt x="1641031" y="196113"/>
                  </a:lnTo>
                  <a:lnTo>
                    <a:pt x="1641031" y="196799"/>
                  </a:lnTo>
                  <a:lnTo>
                    <a:pt x="1641031" y="195415"/>
                  </a:lnTo>
                  <a:lnTo>
                    <a:pt x="1641031" y="196113"/>
                  </a:lnTo>
                  <a:lnTo>
                    <a:pt x="1641082" y="196113"/>
                  </a:lnTo>
                  <a:lnTo>
                    <a:pt x="1641082" y="195415"/>
                  </a:lnTo>
                  <a:lnTo>
                    <a:pt x="1641082" y="196113"/>
                  </a:lnTo>
                  <a:lnTo>
                    <a:pt x="1641082" y="195415"/>
                  </a:lnTo>
                  <a:lnTo>
                    <a:pt x="1641082" y="196113"/>
                  </a:lnTo>
                  <a:lnTo>
                    <a:pt x="1641082" y="195415"/>
                  </a:lnTo>
                  <a:lnTo>
                    <a:pt x="1641082" y="196113"/>
                  </a:lnTo>
                  <a:lnTo>
                    <a:pt x="1641133" y="196113"/>
                  </a:lnTo>
                  <a:lnTo>
                    <a:pt x="1641133" y="195415"/>
                  </a:lnTo>
                  <a:lnTo>
                    <a:pt x="1641133" y="197447"/>
                  </a:lnTo>
                  <a:lnTo>
                    <a:pt x="1641133" y="196799"/>
                  </a:lnTo>
                  <a:lnTo>
                    <a:pt x="1641133" y="197447"/>
                  </a:lnTo>
                  <a:lnTo>
                    <a:pt x="1641133" y="196799"/>
                  </a:lnTo>
                  <a:lnTo>
                    <a:pt x="1641234" y="196799"/>
                  </a:lnTo>
                  <a:lnTo>
                    <a:pt x="1641234" y="197447"/>
                  </a:lnTo>
                  <a:lnTo>
                    <a:pt x="1641234" y="196799"/>
                  </a:lnTo>
                  <a:lnTo>
                    <a:pt x="1641234" y="197447"/>
                  </a:lnTo>
                  <a:lnTo>
                    <a:pt x="1641285" y="197447"/>
                  </a:lnTo>
                  <a:lnTo>
                    <a:pt x="1641285" y="196799"/>
                  </a:lnTo>
                  <a:lnTo>
                    <a:pt x="1641285" y="197447"/>
                  </a:lnTo>
                  <a:lnTo>
                    <a:pt x="1641285" y="196799"/>
                  </a:lnTo>
                  <a:lnTo>
                    <a:pt x="1641285" y="197447"/>
                  </a:lnTo>
                  <a:lnTo>
                    <a:pt x="1641285" y="196799"/>
                  </a:lnTo>
                  <a:lnTo>
                    <a:pt x="1641285" y="197447"/>
                  </a:lnTo>
                  <a:lnTo>
                    <a:pt x="1641336" y="197447"/>
                  </a:lnTo>
                  <a:lnTo>
                    <a:pt x="1641336" y="196799"/>
                  </a:lnTo>
                  <a:lnTo>
                    <a:pt x="1641336" y="198831"/>
                  </a:lnTo>
                  <a:lnTo>
                    <a:pt x="1641336" y="197447"/>
                  </a:lnTo>
                  <a:lnTo>
                    <a:pt x="1641437" y="197447"/>
                  </a:lnTo>
                  <a:lnTo>
                    <a:pt x="1641437" y="196799"/>
                  </a:lnTo>
                  <a:lnTo>
                    <a:pt x="1641437" y="197447"/>
                  </a:lnTo>
                  <a:lnTo>
                    <a:pt x="1641437" y="196799"/>
                  </a:lnTo>
                  <a:lnTo>
                    <a:pt x="1641437" y="197447"/>
                  </a:lnTo>
                  <a:lnTo>
                    <a:pt x="1641437" y="196799"/>
                  </a:lnTo>
                  <a:lnTo>
                    <a:pt x="1641437" y="197447"/>
                  </a:lnTo>
                  <a:lnTo>
                    <a:pt x="1641475" y="197447"/>
                  </a:lnTo>
                  <a:lnTo>
                    <a:pt x="1641475" y="196799"/>
                  </a:lnTo>
                  <a:lnTo>
                    <a:pt x="1641475" y="197447"/>
                  </a:lnTo>
                  <a:lnTo>
                    <a:pt x="1641475" y="196113"/>
                  </a:lnTo>
                  <a:lnTo>
                    <a:pt x="1641475" y="196799"/>
                  </a:lnTo>
                  <a:lnTo>
                    <a:pt x="1641526" y="196799"/>
                  </a:lnTo>
                  <a:lnTo>
                    <a:pt x="1641526" y="196113"/>
                  </a:lnTo>
                  <a:lnTo>
                    <a:pt x="1641526" y="196799"/>
                  </a:lnTo>
                  <a:lnTo>
                    <a:pt x="1641526" y="195415"/>
                  </a:lnTo>
                  <a:lnTo>
                    <a:pt x="1641577" y="195415"/>
                  </a:lnTo>
                  <a:lnTo>
                    <a:pt x="1641577" y="196799"/>
                  </a:lnTo>
                  <a:lnTo>
                    <a:pt x="1641577" y="196113"/>
                  </a:lnTo>
                  <a:lnTo>
                    <a:pt x="1641679" y="196113"/>
                  </a:lnTo>
                  <a:lnTo>
                    <a:pt x="1641679" y="198831"/>
                  </a:lnTo>
                  <a:lnTo>
                    <a:pt x="1641679" y="196799"/>
                  </a:lnTo>
                  <a:lnTo>
                    <a:pt x="1641679" y="197447"/>
                  </a:lnTo>
                  <a:lnTo>
                    <a:pt x="1641679" y="196799"/>
                  </a:lnTo>
                  <a:lnTo>
                    <a:pt x="1641679" y="197447"/>
                  </a:lnTo>
                  <a:lnTo>
                    <a:pt x="1641679" y="196799"/>
                  </a:lnTo>
                  <a:lnTo>
                    <a:pt x="1641730" y="197447"/>
                  </a:lnTo>
                  <a:lnTo>
                    <a:pt x="1641730" y="198831"/>
                  </a:lnTo>
                  <a:lnTo>
                    <a:pt x="1641730" y="197447"/>
                  </a:lnTo>
                  <a:lnTo>
                    <a:pt x="1641730" y="198831"/>
                  </a:lnTo>
                  <a:lnTo>
                    <a:pt x="1641780" y="198831"/>
                  </a:lnTo>
                  <a:lnTo>
                    <a:pt x="1641780" y="197447"/>
                  </a:lnTo>
                  <a:lnTo>
                    <a:pt x="1641780" y="198831"/>
                  </a:lnTo>
                  <a:lnTo>
                    <a:pt x="1641780" y="197447"/>
                  </a:lnTo>
                  <a:lnTo>
                    <a:pt x="1641882" y="197447"/>
                  </a:lnTo>
                  <a:lnTo>
                    <a:pt x="1641882" y="198831"/>
                  </a:lnTo>
                  <a:lnTo>
                    <a:pt x="1641882" y="197447"/>
                  </a:lnTo>
                  <a:lnTo>
                    <a:pt x="1641882" y="198831"/>
                  </a:lnTo>
                  <a:lnTo>
                    <a:pt x="1641882" y="197447"/>
                  </a:lnTo>
                  <a:lnTo>
                    <a:pt x="1641882" y="198831"/>
                  </a:lnTo>
                  <a:lnTo>
                    <a:pt x="1641882" y="197447"/>
                  </a:lnTo>
                  <a:lnTo>
                    <a:pt x="1641882" y="198831"/>
                  </a:lnTo>
                  <a:lnTo>
                    <a:pt x="1641882" y="197447"/>
                  </a:lnTo>
                  <a:lnTo>
                    <a:pt x="1641933" y="198831"/>
                  </a:lnTo>
                  <a:lnTo>
                    <a:pt x="1641933" y="197447"/>
                  </a:lnTo>
                  <a:lnTo>
                    <a:pt x="1641933" y="198831"/>
                  </a:lnTo>
                  <a:lnTo>
                    <a:pt x="1641933" y="196799"/>
                  </a:lnTo>
                  <a:lnTo>
                    <a:pt x="1641933" y="197447"/>
                  </a:lnTo>
                  <a:lnTo>
                    <a:pt x="1641984" y="197447"/>
                  </a:lnTo>
                  <a:lnTo>
                    <a:pt x="1641984" y="196799"/>
                  </a:lnTo>
                  <a:lnTo>
                    <a:pt x="1641984" y="197447"/>
                  </a:lnTo>
                  <a:lnTo>
                    <a:pt x="1641984" y="196113"/>
                  </a:lnTo>
                  <a:lnTo>
                    <a:pt x="1642022" y="196113"/>
                  </a:lnTo>
                  <a:lnTo>
                    <a:pt x="1642022" y="195415"/>
                  </a:lnTo>
                  <a:lnTo>
                    <a:pt x="1642022" y="196113"/>
                  </a:lnTo>
                  <a:lnTo>
                    <a:pt x="1642022" y="194716"/>
                  </a:lnTo>
                  <a:lnTo>
                    <a:pt x="1642123" y="194716"/>
                  </a:lnTo>
                  <a:lnTo>
                    <a:pt x="1642123" y="196799"/>
                  </a:lnTo>
                  <a:lnTo>
                    <a:pt x="1642123" y="195415"/>
                  </a:lnTo>
                  <a:lnTo>
                    <a:pt x="1642123" y="197447"/>
                  </a:lnTo>
                  <a:lnTo>
                    <a:pt x="1642174" y="197447"/>
                  </a:lnTo>
                  <a:lnTo>
                    <a:pt x="1642174" y="196113"/>
                  </a:lnTo>
                  <a:lnTo>
                    <a:pt x="1642174" y="196799"/>
                  </a:lnTo>
                  <a:lnTo>
                    <a:pt x="1642174" y="196113"/>
                  </a:lnTo>
                  <a:lnTo>
                    <a:pt x="1642174" y="197447"/>
                  </a:lnTo>
                  <a:lnTo>
                    <a:pt x="1642225" y="197447"/>
                  </a:lnTo>
                  <a:lnTo>
                    <a:pt x="1642225" y="196799"/>
                  </a:lnTo>
                  <a:lnTo>
                    <a:pt x="1642225" y="197447"/>
                  </a:lnTo>
                  <a:lnTo>
                    <a:pt x="1642377" y="197447"/>
                  </a:lnTo>
                  <a:lnTo>
                    <a:pt x="1642377" y="196799"/>
                  </a:lnTo>
                  <a:lnTo>
                    <a:pt x="1642377" y="198831"/>
                  </a:lnTo>
                  <a:lnTo>
                    <a:pt x="1642377" y="197447"/>
                  </a:lnTo>
                  <a:lnTo>
                    <a:pt x="1642428" y="197447"/>
                  </a:lnTo>
                  <a:lnTo>
                    <a:pt x="1642428" y="198831"/>
                  </a:lnTo>
                  <a:lnTo>
                    <a:pt x="1642428" y="197447"/>
                  </a:lnTo>
                  <a:lnTo>
                    <a:pt x="1642428" y="198831"/>
                  </a:lnTo>
                  <a:lnTo>
                    <a:pt x="1642428" y="197447"/>
                  </a:lnTo>
                  <a:lnTo>
                    <a:pt x="1642479" y="197447"/>
                  </a:lnTo>
                  <a:lnTo>
                    <a:pt x="1642479" y="196799"/>
                  </a:lnTo>
                  <a:lnTo>
                    <a:pt x="1642479" y="197447"/>
                  </a:lnTo>
                  <a:lnTo>
                    <a:pt x="1642479" y="196113"/>
                  </a:lnTo>
                  <a:lnTo>
                    <a:pt x="1642479" y="196799"/>
                  </a:lnTo>
                  <a:lnTo>
                    <a:pt x="1642479" y="196113"/>
                  </a:lnTo>
                  <a:lnTo>
                    <a:pt x="1642568" y="196113"/>
                  </a:lnTo>
                  <a:lnTo>
                    <a:pt x="1642568" y="195415"/>
                  </a:lnTo>
                  <a:lnTo>
                    <a:pt x="1642568" y="196113"/>
                  </a:lnTo>
                  <a:lnTo>
                    <a:pt x="1642568" y="195415"/>
                  </a:lnTo>
                  <a:lnTo>
                    <a:pt x="1642568" y="196113"/>
                  </a:lnTo>
                  <a:lnTo>
                    <a:pt x="1642568" y="195415"/>
                  </a:lnTo>
                  <a:lnTo>
                    <a:pt x="1642568" y="196113"/>
                  </a:lnTo>
                  <a:lnTo>
                    <a:pt x="1642619" y="196113"/>
                  </a:lnTo>
                  <a:lnTo>
                    <a:pt x="1642619" y="195415"/>
                  </a:lnTo>
                  <a:lnTo>
                    <a:pt x="1642619" y="196113"/>
                  </a:lnTo>
                  <a:lnTo>
                    <a:pt x="1642619" y="195415"/>
                  </a:lnTo>
                  <a:lnTo>
                    <a:pt x="1642619" y="197447"/>
                  </a:lnTo>
                  <a:lnTo>
                    <a:pt x="1642619" y="196799"/>
                  </a:lnTo>
                  <a:lnTo>
                    <a:pt x="1642669" y="196799"/>
                  </a:lnTo>
                  <a:lnTo>
                    <a:pt x="1642669" y="196113"/>
                  </a:lnTo>
                  <a:lnTo>
                    <a:pt x="1642669" y="196799"/>
                  </a:lnTo>
                  <a:lnTo>
                    <a:pt x="1642720" y="196799"/>
                  </a:lnTo>
                  <a:lnTo>
                    <a:pt x="1642720" y="197447"/>
                  </a:lnTo>
                  <a:lnTo>
                    <a:pt x="1642720" y="196799"/>
                  </a:lnTo>
                  <a:lnTo>
                    <a:pt x="1642720" y="197447"/>
                  </a:lnTo>
                  <a:lnTo>
                    <a:pt x="1642720" y="196799"/>
                  </a:lnTo>
                  <a:lnTo>
                    <a:pt x="1642720" y="197447"/>
                  </a:lnTo>
                  <a:lnTo>
                    <a:pt x="1642822" y="197447"/>
                  </a:lnTo>
                  <a:lnTo>
                    <a:pt x="1642822" y="198831"/>
                  </a:lnTo>
                  <a:lnTo>
                    <a:pt x="1642822" y="197447"/>
                  </a:lnTo>
                  <a:lnTo>
                    <a:pt x="1642822" y="198831"/>
                  </a:lnTo>
                  <a:lnTo>
                    <a:pt x="1642872" y="198831"/>
                  </a:lnTo>
                  <a:lnTo>
                    <a:pt x="1642872" y="197447"/>
                  </a:lnTo>
                  <a:lnTo>
                    <a:pt x="1642872" y="198831"/>
                  </a:lnTo>
                  <a:lnTo>
                    <a:pt x="1642872" y="197447"/>
                  </a:lnTo>
                  <a:lnTo>
                    <a:pt x="1642872" y="198831"/>
                  </a:lnTo>
                  <a:lnTo>
                    <a:pt x="1642923" y="198831"/>
                  </a:lnTo>
                  <a:lnTo>
                    <a:pt x="1642923" y="196799"/>
                  </a:lnTo>
                  <a:lnTo>
                    <a:pt x="1642923" y="197447"/>
                  </a:lnTo>
                  <a:lnTo>
                    <a:pt x="1642923" y="196799"/>
                  </a:lnTo>
                  <a:lnTo>
                    <a:pt x="1643025" y="196799"/>
                  </a:lnTo>
                  <a:lnTo>
                    <a:pt x="1643025" y="195415"/>
                  </a:lnTo>
                  <a:lnTo>
                    <a:pt x="1643063" y="195415"/>
                  </a:lnTo>
                  <a:lnTo>
                    <a:pt x="1643063" y="193383"/>
                  </a:lnTo>
                  <a:lnTo>
                    <a:pt x="1643063" y="194716"/>
                  </a:lnTo>
                  <a:lnTo>
                    <a:pt x="1643063" y="193383"/>
                  </a:lnTo>
                  <a:lnTo>
                    <a:pt x="1643063" y="195415"/>
                  </a:lnTo>
                  <a:lnTo>
                    <a:pt x="1643114" y="195415"/>
                  </a:lnTo>
                  <a:lnTo>
                    <a:pt x="1643114" y="193383"/>
                  </a:lnTo>
                  <a:lnTo>
                    <a:pt x="1643114" y="196799"/>
                  </a:lnTo>
                  <a:lnTo>
                    <a:pt x="1643165" y="196799"/>
                  </a:lnTo>
                  <a:lnTo>
                    <a:pt x="1643165" y="195415"/>
                  </a:lnTo>
                  <a:lnTo>
                    <a:pt x="1643165" y="196799"/>
                  </a:lnTo>
                  <a:lnTo>
                    <a:pt x="1643165" y="196113"/>
                  </a:lnTo>
                  <a:lnTo>
                    <a:pt x="1643165" y="196799"/>
                  </a:lnTo>
                  <a:lnTo>
                    <a:pt x="1643266" y="196113"/>
                  </a:lnTo>
                  <a:lnTo>
                    <a:pt x="1643266" y="197447"/>
                  </a:lnTo>
                  <a:lnTo>
                    <a:pt x="1643266" y="196799"/>
                  </a:lnTo>
                  <a:lnTo>
                    <a:pt x="1643266" y="197447"/>
                  </a:lnTo>
                  <a:lnTo>
                    <a:pt x="1643266" y="196799"/>
                  </a:lnTo>
                  <a:lnTo>
                    <a:pt x="1643317" y="196799"/>
                  </a:lnTo>
                  <a:lnTo>
                    <a:pt x="1643317" y="198831"/>
                  </a:lnTo>
                  <a:lnTo>
                    <a:pt x="1643368" y="198831"/>
                  </a:lnTo>
                  <a:lnTo>
                    <a:pt x="1643368" y="197447"/>
                  </a:lnTo>
                  <a:lnTo>
                    <a:pt x="1643368" y="198831"/>
                  </a:lnTo>
                  <a:lnTo>
                    <a:pt x="1643368" y="197447"/>
                  </a:lnTo>
                  <a:lnTo>
                    <a:pt x="1643368" y="199530"/>
                  </a:lnTo>
                  <a:lnTo>
                    <a:pt x="1643368" y="198831"/>
                  </a:lnTo>
                  <a:lnTo>
                    <a:pt x="1643469" y="198831"/>
                  </a:lnTo>
                  <a:lnTo>
                    <a:pt x="1643469" y="197447"/>
                  </a:lnTo>
                  <a:lnTo>
                    <a:pt x="1643469" y="198831"/>
                  </a:lnTo>
                  <a:lnTo>
                    <a:pt x="1643469" y="197447"/>
                  </a:lnTo>
                  <a:lnTo>
                    <a:pt x="1643520" y="197447"/>
                  </a:lnTo>
                  <a:lnTo>
                    <a:pt x="1643520" y="196113"/>
                  </a:lnTo>
                  <a:lnTo>
                    <a:pt x="1643571" y="196113"/>
                  </a:lnTo>
                  <a:lnTo>
                    <a:pt x="1643571" y="193383"/>
                  </a:lnTo>
                  <a:lnTo>
                    <a:pt x="1643571" y="194716"/>
                  </a:lnTo>
                  <a:lnTo>
                    <a:pt x="1643609" y="195415"/>
                  </a:lnTo>
                  <a:lnTo>
                    <a:pt x="1643609" y="192684"/>
                  </a:lnTo>
                  <a:lnTo>
                    <a:pt x="1643609" y="196113"/>
                  </a:lnTo>
                  <a:lnTo>
                    <a:pt x="1643711" y="196113"/>
                  </a:lnTo>
                  <a:lnTo>
                    <a:pt x="1643711" y="194716"/>
                  </a:lnTo>
                  <a:lnTo>
                    <a:pt x="1643711" y="196113"/>
                  </a:lnTo>
                  <a:lnTo>
                    <a:pt x="1643711" y="195415"/>
                  </a:lnTo>
                  <a:lnTo>
                    <a:pt x="1643762" y="195415"/>
                  </a:lnTo>
                  <a:lnTo>
                    <a:pt x="1643762" y="196113"/>
                  </a:lnTo>
                  <a:lnTo>
                    <a:pt x="1643762" y="195415"/>
                  </a:lnTo>
                  <a:lnTo>
                    <a:pt x="1643762" y="196799"/>
                  </a:lnTo>
                  <a:lnTo>
                    <a:pt x="1643762" y="196113"/>
                  </a:lnTo>
                  <a:lnTo>
                    <a:pt x="1643762" y="196799"/>
                  </a:lnTo>
                  <a:lnTo>
                    <a:pt x="1643762" y="195415"/>
                  </a:lnTo>
                  <a:lnTo>
                    <a:pt x="1643812" y="196113"/>
                  </a:lnTo>
                  <a:lnTo>
                    <a:pt x="1643812" y="196799"/>
                  </a:lnTo>
                  <a:lnTo>
                    <a:pt x="1643812" y="196113"/>
                  </a:lnTo>
                  <a:lnTo>
                    <a:pt x="1643914" y="196113"/>
                  </a:lnTo>
                  <a:lnTo>
                    <a:pt x="1643914" y="196799"/>
                  </a:lnTo>
                  <a:lnTo>
                    <a:pt x="1643965" y="196799"/>
                  </a:lnTo>
                  <a:lnTo>
                    <a:pt x="1643965" y="197447"/>
                  </a:lnTo>
                  <a:lnTo>
                    <a:pt x="1643965" y="196799"/>
                  </a:lnTo>
                  <a:lnTo>
                    <a:pt x="1643965" y="197447"/>
                  </a:lnTo>
                  <a:lnTo>
                    <a:pt x="1643965" y="196799"/>
                  </a:lnTo>
                  <a:lnTo>
                    <a:pt x="1644015" y="196799"/>
                  </a:lnTo>
                  <a:lnTo>
                    <a:pt x="1644015" y="195415"/>
                  </a:lnTo>
                  <a:lnTo>
                    <a:pt x="1644015" y="196113"/>
                  </a:lnTo>
                  <a:lnTo>
                    <a:pt x="1644066" y="196113"/>
                  </a:lnTo>
                  <a:lnTo>
                    <a:pt x="1644066" y="193383"/>
                  </a:lnTo>
                  <a:lnTo>
                    <a:pt x="1644066" y="196799"/>
                  </a:lnTo>
                  <a:lnTo>
                    <a:pt x="1644066" y="196113"/>
                  </a:lnTo>
                  <a:lnTo>
                    <a:pt x="1644155" y="196113"/>
                  </a:lnTo>
                  <a:lnTo>
                    <a:pt x="1644155" y="194716"/>
                  </a:lnTo>
                  <a:lnTo>
                    <a:pt x="1644155" y="196799"/>
                  </a:lnTo>
                  <a:lnTo>
                    <a:pt x="1644155" y="196113"/>
                  </a:lnTo>
                  <a:lnTo>
                    <a:pt x="1644206" y="195415"/>
                  </a:lnTo>
                  <a:lnTo>
                    <a:pt x="1644206" y="196799"/>
                  </a:lnTo>
                  <a:lnTo>
                    <a:pt x="1644257" y="196113"/>
                  </a:lnTo>
                  <a:lnTo>
                    <a:pt x="1644257" y="196799"/>
                  </a:lnTo>
                  <a:lnTo>
                    <a:pt x="1644257" y="196113"/>
                  </a:lnTo>
                  <a:lnTo>
                    <a:pt x="1644257" y="196799"/>
                  </a:lnTo>
                  <a:lnTo>
                    <a:pt x="1644308" y="196799"/>
                  </a:lnTo>
                  <a:lnTo>
                    <a:pt x="1644308" y="197447"/>
                  </a:lnTo>
                  <a:lnTo>
                    <a:pt x="1644308" y="196799"/>
                  </a:lnTo>
                  <a:lnTo>
                    <a:pt x="1644308" y="197447"/>
                  </a:lnTo>
                  <a:lnTo>
                    <a:pt x="1644308" y="196799"/>
                  </a:lnTo>
                  <a:lnTo>
                    <a:pt x="1644308" y="197447"/>
                  </a:lnTo>
                  <a:lnTo>
                    <a:pt x="1644460" y="197447"/>
                  </a:lnTo>
                  <a:lnTo>
                    <a:pt x="1644511" y="196799"/>
                  </a:lnTo>
                  <a:lnTo>
                    <a:pt x="1644511" y="196113"/>
                  </a:lnTo>
                  <a:lnTo>
                    <a:pt x="1644511" y="196799"/>
                  </a:lnTo>
                  <a:lnTo>
                    <a:pt x="1644511" y="196113"/>
                  </a:lnTo>
                  <a:lnTo>
                    <a:pt x="1644511" y="196799"/>
                  </a:lnTo>
                  <a:lnTo>
                    <a:pt x="1644511" y="196113"/>
                  </a:lnTo>
                  <a:lnTo>
                    <a:pt x="1644612" y="196113"/>
                  </a:lnTo>
                  <a:lnTo>
                    <a:pt x="1644612" y="195415"/>
                  </a:lnTo>
                  <a:lnTo>
                    <a:pt x="1644612" y="197447"/>
                  </a:lnTo>
                  <a:lnTo>
                    <a:pt x="1644612" y="196113"/>
                  </a:lnTo>
                  <a:lnTo>
                    <a:pt x="1644650" y="196113"/>
                  </a:lnTo>
                  <a:lnTo>
                    <a:pt x="1644650" y="195415"/>
                  </a:lnTo>
                  <a:lnTo>
                    <a:pt x="1644650" y="198831"/>
                  </a:lnTo>
                  <a:lnTo>
                    <a:pt x="1644650" y="196113"/>
                  </a:lnTo>
                  <a:lnTo>
                    <a:pt x="1644701" y="196113"/>
                  </a:lnTo>
                  <a:lnTo>
                    <a:pt x="1644701" y="198831"/>
                  </a:lnTo>
                  <a:lnTo>
                    <a:pt x="1644701" y="196799"/>
                  </a:lnTo>
                  <a:lnTo>
                    <a:pt x="1644752" y="197447"/>
                  </a:lnTo>
                  <a:lnTo>
                    <a:pt x="1644752" y="198831"/>
                  </a:lnTo>
                  <a:lnTo>
                    <a:pt x="1644752" y="196799"/>
                  </a:lnTo>
                  <a:lnTo>
                    <a:pt x="1644752" y="197447"/>
                  </a:lnTo>
                  <a:lnTo>
                    <a:pt x="1644854" y="198831"/>
                  </a:lnTo>
                  <a:lnTo>
                    <a:pt x="1644854" y="197447"/>
                  </a:lnTo>
                  <a:lnTo>
                    <a:pt x="1644905" y="197447"/>
                  </a:lnTo>
                  <a:lnTo>
                    <a:pt x="1644905" y="196799"/>
                  </a:lnTo>
                  <a:lnTo>
                    <a:pt x="1644905" y="197447"/>
                  </a:lnTo>
                  <a:lnTo>
                    <a:pt x="1644905" y="196799"/>
                  </a:lnTo>
                  <a:lnTo>
                    <a:pt x="1644905" y="197447"/>
                  </a:lnTo>
                  <a:lnTo>
                    <a:pt x="1644955" y="197447"/>
                  </a:lnTo>
                  <a:lnTo>
                    <a:pt x="1644955" y="196799"/>
                  </a:lnTo>
                  <a:lnTo>
                    <a:pt x="1644955" y="197447"/>
                  </a:lnTo>
                  <a:lnTo>
                    <a:pt x="1644955" y="196113"/>
                  </a:lnTo>
                  <a:lnTo>
                    <a:pt x="1644955" y="196799"/>
                  </a:lnTo>
                  <a:lnTo>
                    <a:pt x="1644955" y="196113"/>
                  </a:lnTo>
                  <a:lnTo>
                    <a:pt x="1645057" y="196799"/>
                  </a:lnTo>
                  <a:lnTo>
                    <a:pt x="1645057" y="195415"/>
                  </a:lnTo>
                  <a:lnTo>
                    <a:pt x="1645108" y="194716"/>
                  </a:lnTo>
                  <a:lnTo>
                    <a:pt x="1645108" y="196113"/>
                  </a:lnTo>
                  <a:lnTo>
                    <a:pt x="1645108" y="195415"/>
                  </a:lnTo>
                  <a:lnTo>
                    <a:pt x="1645108" y="196113"/>
                  </a:lnTo>
                  <a:lnTo>
                    <a:pt x="1645108" y="195415"/>
                  </a:lnTo>
                  <a:lnTo>
                    <a:pt x="1645108" y="196113"/>
                  </a:lnTo>
                  <a:lnTo>
                    <a:pt x="1645159" y="196113"/>
                  </a:lnTo>
                  <a:lnTo>
                    <a:pt x="1645159" y="198831"/>
                  </a:lnTo>
                  <a:lnTo>
                    <a:pt x="1645159" y="196799"/>
                  </a:lnTo>
                  <a:lnTo>
                    <a:pt x="1645197" y="196799"/>
                  </a:lnTo>
                  <a:lnTo>
                    <a:pt x="1645197" y="198831"/>
                  </a:lnTo>
                  <a:lnTo>
                    <a:pt x="1645197" y="197447"/>
                  </a:lnTo>
                  <a:lnTo>
                    <a:pt x="1645298" y="197447"/>
                  </a:lnTo>
                  <a:lnTo>
                    <a:pt x="1645298" y="198831"/>
                  </a:lnTo>
                  <a:lnTo>
                    <a:pt x="1645298" y="197447"/>
                  </a:lnTo>
                  <a:lnTo>
                    <a:pt x="1645298" y="198831"/>
                  </a:lnTo>
                  <a:lnTo>
                    <a:pt x="1645349" y="198831"/>
                  </a:lnTo>
                  <a:lnTo>
                    <a:pt x="1645349" y="197447"/>
                  </a:lnTo>
                  <a:lnTo>
                    <a:pt x="1645349" y="198831"/>
                  </a:lnTo>
                  <a:lnTo>
                    <a:pt x="1645349" y="197447"/>
                  </a:lnTo>
                  <a:lnTo>
                    <a:pt x="1645349" y="198831"/>
                  </a:lnTo>
                  <a:lnTo>
                    <a:pt x="1645349" y="197447"/>
                  </a:lnTo>
                  <a:lnTo>
                    <a:pt x="1645349" y="198831"/>
                  </a:lnTo>
                  <a:lnTo>
                    <a:pt x="1645400" y="198831"/>
                  </a:lnTo>
                  <a:lnTo>
                    <a:pt x="1645400" y="199530"/>
                  </a:lnTo>
                  <a:lnTo>
                    <a:pt x="1645400" y="197447"/>
                  </a:lnTo>
                  <a:lnTo>
                    <a:pt x="1645400" y="198831"/>
                  </a:lnTo>
                  <a:lnTo>
                    <a:pt x="1645400" y="197447"/>
                  </a:lnTo>
                  <a:lnTo>
                    <a:pt x="1645501" y="198831"/>
                  </a:lnTo>
                  <a:lnTo>
                    <a:pt x="1645501" y="197447"/>
                  </a:lnTo>
                  <a:lnTo>
                    <a:pt x="1645501" y="198831"/>
                  </a:lnTo>
                  <a:lnTo>
                    <a:pt x="1645501" y="196113"/>
                  </a:lnTo>
                  <a:lnTo>
                    <a:pt x="1645552" y="196799"/>
                  </a:lnTo>
                  <a:lnTo>
                    <a:pt x="1645552" y="196113"/>
                  </a:lnTo>
                  <a:lnTo>
                    <a:pt x="1645552" y="196799"/>
                  </a:lnTo>
                  <a:lnTo>
                    <a:pt x="1645552" y="195415"/>
                  </a:lnTo>
                  <a:lnTo>
                    <a:pt x="1645552" y="196113"/>
                  </a:lnTo>
                  <a:lnTo>
                    <a:pt x="1645603" y="196799"/>
                  </a:lnTo>
                  <a:lnTo>
                    <a:pt x="1645603" y="197447"/>
                  </a:lnTo>
                  <a:lnTo>
                    <a:pt x="1645603" y="196113"/>
                  </a:lnTo>
                  <a:lnTo>
                    <a:pt x="1645603" y="196799"/>
                  </a:lnTo>
                  <a:lnTo>
                    <a:pt x="1645603" y="195415"/>
                  </a:lnTo>
                  <a:lnTo>
                    <a:pt x="1645603" y="198831"/>
                  </a:lnTo>
                  <a:lnTo>
                    <a:pt x="1645654" y="198831"/>
                  </a:lnTo>
                  <a:lnTo>
                    <a:pt x="1645654" y="196799"/>
                  </a:lnTo>
                  <a:lnTo>
                    <a:pt x="1645654" y="198831"/>
                  </a:lnTo>
                  <a:lnTo>
                    <a:pt x="1645743" y="198831"/>
                  </a:lnTo>
                  <a:lnTo>
                    <a:pt x="1645743" y="197447"/>
                  </a:lnTo>
                  <a:lnTo>
                    <a:pt x="1645743" y="198831"/>
                  </a:lnTo>
                  <a:lnTo>
                    <a:pt x="1645743" y="197447"/>
                  </a:lnTo>
                  <a:lnTo>
                    <a:pt x="1645743" y="198831"/>
                  </a:lnTo>
                  <a:lnTo>
                    <a:pt x="1645743" y="197447"/>
                  </a:lnTo>
                  <a:lnTo>
                    <a:pt x="1645743" y="198831"/>
                  </a:lnTo>
                  <a:lnTo>
                    <a:pt x="1645794" y="198831"/>
                  </a:lnTo>
                  <a:lnTo>
                    <a:pt x="1645794" y="197447"/>
                  </a:lnTo>
                  <a:lnTo>
                    <a:pt x="1645794" y="199530"/>
                  </a:lnTo>
                  <a:lnTo>
                    <a:pt x="1645794" y="198831"/>
                  </a:lnTo>
                  <a:lnTo>
                    <a:pt x="1645844" y="198831"/>
                  </a:lnTo>
                  <a:lnTo>
                    <a:pt x="1645844" y="199530"/>
                  </a:lnTo>
                  <a:lnTo>
                    <a:pt x="1645844" y="198831"/>
                  </a:lnTo>
                  <a:lnTo>
                    <a:pt x="1645844" y="199530"/>
                  </a:lnTo>
                  <a:lnTo>
                    <a:pt x="1645844" y="198831"/>
                  </a:lnTo>
                  <a:lnTo>
                    <a:pt x="1645895" y="198831"/>
                  </a:lnTo>
                  <a:lnTo>
                    <a:pt x="1645895" y="199530"/>
                  </a:lnTo>
                  <a:lnTo>
                    <a:pt x="1645895" y="197447"/>
                  </a:lnTo>
                  <a:lnTo>
                    <a:pt x="1645895" y="198831"/>
                  </a:lnTo>
                  <a:lnTo>
                    <a:pt x="1645997" y="197447"/>
                  </a:lnTo>
                  <a:lnTo>
                    <a:pt x="1645997" y="196113"/>
                  </a:lnTo>
                  <a:lnTo>
                    <a:pt x="1646047" y="196113"/>
                  </a:lnTo>
                  <a:lnTo>
                    <a:pt x="1646047" y="196799"/>
                  </a:lnTo>
                  <a:lnTo>
                    <a:pt x="1646047" y="196113"/>
                  </a:lnTo>
                  <a:lnTo>
                    <a:pt x="1646047" y="196799"/>
                  </a:lnTo>
                  <a:lnTo>
                    <a:pt x="1646047" y="195415"/>
                  </a:lnTo>
                  <a:lnTo>
                    <a:pt x="1646047" y="196113"/>
                  </a:lnTo>
                  <a:lnTo>
                    <a:pt x="1646047" y="195415"/>
                  </a:lnTo>
                  <a:lnTo>
                    <a:pt x="1646047" y="196799"/>
                  </a:lnTo>
                  <a:lnTo>
                    <a:pt x="1646098" y="196799"/>
                  </a:lnTo>
                  <a:lnTo>
                    <a:pt x="1646098" y="195415"/>
                  </a:lnTo>
                  <a:lnTo>
                    <a:pt x="1646098" y="199530"/>
                  </a:lnTo>
                  <a:lnTo>
                    <a:pt x="1646098" y="198831"/>
                  </a:lnTo>
                  <a:lnTo>
                    <a:pt x="1646200" y="197447"/>
                  </a:lnTo>
                  <a:lnTo>
                    <a:pt x="1646200" y="196799"/>
                  </a:lnTo>
                  <a:lnTo>
                    <a:pt x="1646200" y="197447"/>
                  </a:lnTo>
                  <a:lnTo>
                    <a:pt x="1646200" y="196799"/>
                  </a:lnTo>
                  <a:lnTo>
                    <a:pt x="1646200" y="198831"/>
                  </a:lnTo>
                  <a:lnTo>
                    <a:pt x="1646238" y="198831"/>
                  </a:lnTo>
                  <a:lnTo>
                    <a:pt x="1646238" y="197447"/>
                  </a:lnTo>
                  <a:lnTo>
                    <a:pt x="1646238" y="198831"/>
                  </a:lnTo>
                  <a:lnTo>
                    <a:pt x="1646289" y="198831"/>
                  </a:lnTo>
                  <a:lnTo>
                    <a:pt x="1646289" y="199530"/>
                  </a:lnTo>
                  <a:lnTo>
                    <a:pt x="1646289" y="198831"/>
                  </a:lnTo>
                  <a:lnTo>
                    <a:pt x="1646289" y="199530"/>
                  </a:lnTo>
                  <a:lnTo>
                    <a:pt x="1646289" y="198831"/>
                  </a:lnTo>
                  <a:lnTo>
                    <a:pt x="1646289" y="199530"/>
                  </a:lnTo>
                  <a:lnTo>
                    <a:pt x="1646340" y="199530"/>
                  </a:lnTo>
                  <a:lnTo>
                    <a:pt x="1646340" y="198831"/>
                  </a:lnTo>
                  <a:lnTo>
                    <a:pt x="1646340" y="199530"/>
                  </a:lnTo>
                  <a:lnTo>
                    <a:pt x="1646441" y="199530"/>
                  </a:lnTo>
                  <a:lnTo>
                    <a:pt x="1646441" y="198831"/>
                  </a:lnTo>
                  <a:lnTo>
                    <a:pt x="1646492" y="198831"/>
                  </a:lnTo>
                  <a:lnTo>
                    <a:pt x="1646492" y="196799"/>
                  </a:lnTo>
                  <a:lnTo>
                    <a:pt x="1646492" y="197447"/>
                  </a:lnTo>
                  <a:lnTo>
                    <a:pt x="1646492" y="195415"/>
                  </a:lnTo>
                  <a:lnTo>
                    <a:pt x="1646543" y="196113"/>
                  </a:lnTo>
                  <a:lnTo>
                    <a:pt x="1646543" y="197447"/>
                  </a:lnTo>
                  <a:lnTo>
                    <a:pt x="1646543" y="194716"/>
                  </a:lnTo>
                  <a:lnTo>
                    <a:pt x="1646543" y="195415"/>
                  </a:lnTo>
                  <a:lnTo>
                    <a:pt x="1646644" y="195415"/>
                  </a:lnTo>
                  <a:lnTo>
                    <a:pt x="1646644" y="198831"/>
                  </a:lnTo>
                  <a:lnTo>
                    <a:pt x="1646644" y="196113"/>
                  </a:lnTo>
                  <a:lnTo>
                    <a:pt x="1646644" y="196799"/>
                  </a:lnTo>
                  <a:lnTo>
                    <a:pt x="1646644" y="196113"/>
                  </a:lnTo>
                  <a:lnTo>
                    <a:pt x="1646644" y="196799"/>
                  </a:lnTo>
                  <a:lnTo>
                    <a:pt x="1646695" y="196799"/>
                  </a:lnTo>
                  <a:lnTo>
                    <a:pt x="1646695" y="198831"/>
                  </a:lnTo>
                  <a:lnTo>
                    <a:pt x="1646695" y="196799"/>
                  </a:lnTo>
                  <a:lnTo>
                    <a:pt x="1646695" y="197447"/>
                  </a:lnTo>
                  <a:lnTo>
                    <a:pt x="1646746" y="197447"/>
                  </a:lnTo>
                  <a:lnTo>
                    <a:pt x="1646746" y="198831"/>
                  </a:lnTo>
                  <a:lnTo>
                    <a:pt x="1646746" y="197447"/>
                  </a:lnTo>
                  <a:lnTo>
                    <a:pt x="1646746" y="198831"/>
                  </a:lnTo>
                  <a:lnTo>
                    <a:pt x="1646746" y="197447"/>
                  </a:lnTo>
                  <a:lnTo>
                    <a:pt x="1646746" y="198831"/>
                  </a:lnTo>
                  <a:lnTo>
                    <a:pt x="1646784" y="198831"/>
                  </a:lnTo>
                  <a:lnTo>
                    <a:pt x="1646784" y="197447"/>
                  </a:lnTo>
                  <a:lnTo>
                    <a:pt x="1646784" y="198831"/>
                  </a:lnTo>
                  <a:lnTo>
                    <a:pt x="1646784" y="197447"/>
                  </a:lnTo>
                  <a:lnTo>
                    <a:pt x="1646784" y="198831"/>
                  </a:lnTo>
                  <a:lnTo>
                    <a:pt x="1646784" y="197447"/>
                  </a:lnTo>
                  <a:lnTo>
                    <a:pt x="1646784" y="198831"/>
                  </a:lnTo>
                  <a:lnTo>
                    <a:pt x="1646784" y="197447"/>
                  </a:lnTo>
                  <a:lnTo>
                    <a:pt x="1646886" y="198831"/>
                  </a:lnTo>
                  <a:lnTo>
                    <a:pt x="1646886" y="197447"/>
                  </a:lnTo>
                  <a:lnTo>
                    <a:pt x="1646886" y="198831"/>
                  </a:lnTo>
                  <a:lnTo>
                    <a:pt x="1646886" y="197447"/>
                  </a:lnTo>
                  <a:lnTo>
                    <a:pt x="1646886" y="198831"/>
                  </a:lnTo>
                  <a:lnTo>
                    <a:pt x="1646937" y="198831"/>
                  </a:lnTo>
                  <a:lnTo>
                    <a:pt x="1646937" y="197447"/>
                  </a:lnTo>
                  <a:lnTo>
                    <a:pt x="1646937" y="198831"/>
                  </a:lnTo>
                  <a:lnTo>
                    <a:pt x="1646937" y="196799"/>
                  </a:lnTo>
                  <a:lnTo>
                    <a:pt x="1646987" y="196799"/>
                  </a:lnTo>
                  <a:lnTo>
                    <a:pt x="1646987" y="196113"/>
                  </a:lnTo>
                  <a:lnTo>
                    <a:pt x="1646987" y="196799"/>
                  </a:lnTo>
                  <a:lnTo>
                    <a:pt x="1646987" y="196113"/>
                  </a:lnTo>
                  <a:lnTo>
                    <a:pt x="1647089" y="196799"/>
                  </a:lnTo>
                  <a:lnTo>
                    <a:pt x="1647089" y="197447"/>
                  </a:lnTo>
                  <a:lnTo>
                    <a:pt x="1647089" y="195415"/>
                  </a:lnTo>
                  <a:lnTo>
                    <a:pt x="1647089" y="198831"/>
                  </a:lnTo>
                  <a:lnTo>
                    <a:pt x="1647140" y="198831"/>
                  </a:lnTo>
                  <a:lnTo>
                    <a:pt x="1647140" y="199530"/>
                  </a:lnTo>
                  <a:lnTo>
                    <a:pt x="1647140" y="196799"/>
                  </a:lnTo>
                  <a:lnTo>
                    <a:pt x="1647140" y="197447"/>
                  </a:lnTo>
                  <a:lnTo>
                    <a:pt x="1647140" y="196799"/>
                  </a:lnTo>
                  <a:lnTo>
                    <a:pt x="1647140" y="198831"/>
                  </a:lnTo>
                  <a:lnTo>
                    <a:pt x="1647190" y="199530"/>
                  </a:lnTo>
                  <a:lnTo>
                    <a:pt x="1647190" y="198831"/>
                  </a:lnTo>
                  <a:lnTo>
                    <a:pt x="1647190" y="199530"/>
                  </a:lnTo>
                  <a:lnTo>
                    <a:pt x="1647190" y="197447"/>
                  </a:lnTo>
                  <a:lnTo>
                    <a:pt x="1647190" y="199530"/>
                  </a:lnTo>
                  <a:lnTo>
                    <a:pt x="1647190" y="198831"/>
                  </a:lnTo>
                  <a:lnTo>
                    <a:pt x="1647241" y="198831"/>
                  </a:lnTo>
                  <a:lnTo>
                    <a:pt x="1647241" y="199530"/>
                  </a:lnTo>
                  <a:lnTo>
                    <a:pt x="1647241" y="198831"/>
                  </a:lnTo>
                  <a:lnTo>
                    <a:pt x="1647330" y="199530"/>
                  </a:lnTo>
                  <a:lnTo>
                    <a:pt x="1647330" y="198831"/>
                  </a:lnTo>
                  <a:lnTo>
                    <a:pt x="1647330" y="199530"/>
                  </a:lnTo>
                  <a:lnTo>
                    <a:pt x="1647330" y="198831"/>
                  </a:lnTo>
                  <a:lnTo>
                    <a:pt x="1647330" y="199530"/>
                  </a:lnTo>
                  <a:lnTo>
                    <a:pt x="1647381" y="199530"/>
                  </a:lnTo>
                  <a:lnTo>
                    <a:pt x="1647381" y="200228"/>
                  </a:lnTo>
                  <a:lnTo>
                    <a:pt x="1647381" y="199530"/>
                  </a:lnTo>
                  <a:lnTo>
                    <a:pt x="1647432" y="199530"/>
                  </a:lnTo>
                  <a:lnTo>
                    <a:pt x="1647432" y="197447"/>
                  </a:lnTo>
                  <a:lnTo>
                    <a:pt x="1647483" y="197447"/>
                  </a:lnTo>
                  <a:lnTo>
                    <a:pt x="1647483" y="196799"/>
                  </a:lnTo>
                  <a:lnTo>
                    <a:pt x="1647483" y="198831"/>
                  </a:lnTo>
                  <a:lnTo>
                    <a:pt x="1647584" y="197447"/>
                  </a:lnTo>
                  <a:lnTo>
                    <a:pt x="1647584" y="196799"/>
                  </a:lnTo>
                  <a:lnTo>
                    <a:pt x="1647584" y="200228"/>
                  </a:lnTo>
                  <a:lnTo>
                    <a:pt x="1647584" y="199530"/>
                  </a:lnTo>
                  <a:lnTo>
                    <a:pt x="1647635" y="198831"/>
                  </a:lnTo>
                  <a:lnTo>
                    <a:pt x="1647635" y="199530"/>
                  </a:lnTo>
                  <a:lnTo>
                    <a:pt x="1647686" y="199530"/>
                  </a:lnTo>
                  <a:lnTo>
                    <a:pt x="1647686" y="198831"/>
                  </a:lnTo>
                  <a:lnTo>
                    <a:pt x="1647686" y="199530"/>
                  </a:lnTo>
                  <a:lnTo>
                    <a:pt x="1647686" y="198831"/>
                  </a:lnTo>
                  <a:lnTo>
                    <a:pt x="1647787" y="198831"/>
                  </a:lnTo>
                  <a:lnTo>
                    <a:pt x="1647787" y="200228"/>
                  </a:lnTo>
                  <a:lnTo>
                    <a:pt x="1647787" y="199530"/>
                  </a:lnTo>
                  <a:lnTo>
                    <a:pt x="1647825" y="199530"/>
                  </a:lnTo>
                  <a:lnTo>
                    <a:pt x="1647825" y="198831"/>
                  </a:lnTo>
                  <a:lnTo>
                    <a:pt x="1647825" y="199530"/>
                  </a:lnTo>
                  <a:lnTo>
                    <a:pt x="1647876" y="199530"/>
                  </a:lnTo>
                  <a:lnTo>
                    <a:pt x="1647876" y="198831"/>
                  </a:lnTo>
                  <a:lnTo>
                    <a:pt x="1647876" y="199530"/>
                  </a:lnTo>
                  <a:lnTo>
                    <a:pt x="1647876" y="198831"/>
                  </a:lnTo>
                  <a:lnTo>
                    <a:pt x="1647876" y="199530"/>
                  </a:lnTo>
                  <a:lnTo>
                    <a:pt x="1647876" y="198831"/>
                  </a:lnTo>
                  <a:lnTo>
                    <a:pt x="1647927" y="198831"/>
                  </a:lnTo>
                  <a:lnTo>
                    <a:pt x="1647927" y="196799"/>
                  </a:lnTo>
                  <a:lnTo>
                    <a:pt x="1648029" y="196799"/>
                  </a:lnTo>
                  <a:lnTo>
                    <a:pt x="1648029" y="197447"/>
                  </a:lnTo>
                  <a:lnTo>
                    <a:pt x="1648029" y="196799"/>
                  </a:lnTo>
                  <a:lnTo>
                    <a:pt x="1648029" y="199530"/>
                  </a:lnTo>
                  <a:lnTo>
                    <a:pt x="1648080" y="199530"/>
                  </a:lnTo>
                  <a:lnTo>
                    <a:pt x="1648080" y="198831"/>
                  </a:lnTo>
                  <a:lnTo>
                    <a:pt x="1648080" y="199530"/>
                  </a:lnTo>
                  <a:lnTo>
                    <a:pt x="1648130" y="199530"/>
                  </a:lnTo>
                  <a:lnTo>
                    <a:pt x="1648130" y="200228"/>
                  </a:lnTo>
                  <a:lnTo>
                    <a:pt x="1648130" y="199530"/>
                  </a:lnTo>
                  <a:lnTo>
                    <a:pt x="1648130" y="200228"/>
                  </a:lnTo>
                  <a:lnTo>
                    <a:pt x="1648130" y="199530"/>
                  </a:lnTo>
                  <a:lnTo>
                    <a:pt x="1648130" y="200228"/>
                  </a:lnTo>
                  <a:lnTo>
                    <a:pt x="1648130" y="199530"/>
                  </a:lnTo>
                  <a:lnTo>
                    <a:pt x="1648232" y="200228"/>
                  </a:lnTo>
                  <a:lnTo>
                    <a:pt x="1648232" y="199530"/>
                  </a:lnTo>
                  <a:lnTo>
                    <a:pt x="1648283" y="199530"/>
                  </a:lnTo>
                  <a:lnTo>
                    <a:pt x="1648283" y="200228"/>
                  </a:lnTo>
                  <a:lnTo>
                    <a:pt x="1648283" y="199530"/>
                  </a:lnTo>
                  <a:lnTo>
                    <a:pt x="1648334" y="199530"/>
                  </a:lnTo>
                  <a:lnTo>
                    <a:pt x="1648334" y="200228"/>
                  </a:lnTo>
                  <a:lnTo>
                    <a:pt x="1648334" y="198831"/>
                  </a:lnTo>
                  <a:lnTo>
                    <a:pt x="1648334" y="199530"/>
                  </a:lnTo>
                  <a:lnTo>
                    <a:pt x="1648334" y="198831"/>
                  </a:lnTo>
                  <a:lnTo>
                    <a:pt x="1648334" y="199530"/>
                  </a:lnTo>
                  <a:lnTo>
                    <a:pt x="1648372" y="199530"/>
                  </a:lnTo>
                  <a:lnTo>
                    <a:pt x="1648372" y="198831"/>
                  </a:lnTo>
                  <a:lnTo>
                    <a:pt x="1648372" y="199530"/>
                  </a:lnTo>
                  <a:lnTo>
                    <a:pt x="1648372" y="196799"/>
                  </a:lnTo>
                  <a:lnTo>
                    <a:pt x="1648473" y="196799"/>
                  </a:lnTo>
                  <a:lnTo>
                    <a:pt x="1648473" y="196113"/>
                  </a:lnTo>
                  <a:lnTo>
                    <a:pt x="1648473" y="196799"/>
                  </a:lnTo>
                  <a:lnTo>
                    <a:pt x="1648524" y="196799"/>
                  </a:lnTo>
                  <a:lnTo>
                    <a:pt x="1648524" y="196113"/>
                  </a:lnTo>
                  <a:lnTo>
                    <a:pt x="1648524" y="199530"/>
                  </a:lnTo>
                  <a:lnTo>
                    <a:pt x="1648524" y="198831"/>
                  </a:lnTo>
                  <a:lnTo>
                    <a:pt x="1648575" y="198831"/>
                  </a:lnTo>
                  <a:lnTo>
                    <a:pt x="1648575" y="197447"/>
                  </a:lnTo>
                  <a:lnTo>
                    <a:pt x="1648575" y="198831"/>
                  </a:lnTo>
                  <a:lnTo>
                    <a:pt x="1648575" y="197447"/>
                  </a:lnTo>
                  <a:lnTo>
                    <a:pt x="1648575" y="199530"/>
                  </a:lnTo>
                  <a:lnTo>
                    <a:pt x="1648575" y="198831"/>
                  </a:lnTo>
                  <a:lnTo>
                    <a:pt x="1648575" y="199530"/>
                  </a:lnTo>
                  <a:lnTo>
                    <a:pt x="1648676" y="199530"/>
                  </a:lnTo>
                  <a:lnTo>
                    <a:pt x="1648676" y="198831"/>
                  </a:lnTo>
                  <a:lnTo>
                    <a:pt x="1648676" y="199530"/>
                  </a:lnTo>
                  <a:lnTo>
                    <a:pt x="1648676" y="198831"/>
                  </a:lnTo>
                  <a:lnTo>
                    <a:pt x="1648676" y="199530"/>
                  </a:lnTo>
                  <a:lnTo>
                    <a:pt x="1648727" y="199530"/>
                  </a:lnTo>
                  <a:lnTo>
                    <a:pt x="1648727" y="200228"/>
                  </a:lnTo>
                  <a:lnTo>
                    <a:pt x="1648778" y="200228"/>
                  </a:lnTo>
                  <a:lnTo>
                    <a:pt x="1648778" y="198831"/>
                  </a:lnTo>
                  <a:lnTo>
                    <a:pt x="1648778" y="200228"/>
                  </a:lnTo>
                  <a:lnTo>
                    <a:pt x="1648778" y="199530"/>
                  </a:lnTo>
                  <a:lnTo>
                    <a:pt x="1648778" y="200228"/>
                  </a:lnTo>
                  <a:lnTo>
                    <a:pt x="1648778" y="199530"/>
                  </a:lnTo>
                  <a:lnTo>
                    <a:pt x="1648829" y="199530"/>
                  </a:lnTo>
                  <a:lnTo>
                    <a:pt x="1648829" y="198831"/>
                  </a:lnTo>
                  <a:lnTo>
                    <a:pt x="1648918" y="198831"/>
                  </a:lnTo>
                  <a:lnTo>
                    <a:pt x="1648918" y="196799"/>
                  </a:lnTo>
                  <a:lnTo>
                    <a:pt x="1648969" y="196799"/>
                  </a:lnTo>
                  <a:lnTo>
                    <a:pt x="1648969" y="194716"/>
                  </a:lnTo>
                  <a:lnTo>
                    <a:pt x="1648969" y="197447"/>
                  </a:lnTo>
                  <a:lnTo>
                    <a:pt x="1648969" y="196799"/>
                  </a:lnTo>
                  <a:lnTo>
                    <a:pt x="1649019" y="196113"/>
                  </a:lnTo>
                  <a:lnTo>
                    <a:pt x="1649019" y="195415"/>
                  </a:lnTo>
                  <a:lnTo>
                    <a:pt x="1649019" y="199530"/>
                  </a:lnTo>
                  <a:lnTo>
                    <a:pt x="1649019" y="198831"/>
                  </a:lnTo>
                  <a:lnTo>
                    <a:pt x="1649019" y="199530"/>
                  </a:lnTo>
                  <a:lnTo>
                    <a:pt x="1649019" y="197447"/>
                  </a:lnTo>
                  <a:lnTo>
                    <a:pt x="1649070" y="197447"/>
                  </a:lnTo>
                  <a:lnTo>
                    <a:pt x="1649070" y="196799"/>
                  </a:lnTo>
                  <a:lnTo>
                    <a:pt x="1649070" y="198831"/>
                  </a:lnTo>
                  <a:lnTo>
                    <a:pt x="1649172" y="198831"/>
                  </a:lnTo>
                  <a:lnTo>
                    <a:pt x="1649172" y="197447"/>
                  </a:lnTo>
                  <a:lnTo>
                    <a:pt x="1649172" y="198831"/>
                  </a:lnTo>
                  <a:lnTo>
                    <a:pt x="1649172" y="197447"/>
                  </a:lnTo>
                  <a:lnTo>
                    <a:pt x="1649172" y="198831"/>
                  </a:lnTo>
                  <a:lnTo>
                    <a:pt x="1649222" y="198831"/>
                  </a:lnTo>
                  <a:lnTo>
                    <a:pt x="1649222" y="199530"/>
                  </a:lnTo>
                  <a:lnTo>
                    <a:pt x="1649222" y="198831"/>
                  </a:lnTo>
                  <a:lnTo>
                    <a:pt x="1649222" y="200228"/>
                  </a:lnTo>
                  <a:lnTo>
                    <a:pt x="1649222" y="198831"/>
                  </a:lnTo>
                  <a:lnTo>
                    <a:pt x="1649222" y="199530"/>
                  </a:lnTo>
                  <a:lnTo>
                    <a:pt x="1649273" y="199530"/>
                  </a:lnTo>
                  <a:lnTo>
                    <a:pt x="1649273" y="200228"/>
                  </a:lnTo>
                  <a:lnTo>
                    <a:pt x="1649273" y="199530"/>
                  </a:lnTo>
                  <a:lnTo>
                    <a:pt x="1649375" y="199530"/>
                  </a:lnTo>
                  <a:lnTo>
                    <a:pt x="1649375" y="200228"/>
                  </a:lnTo>
                  <a:lnTo>
                    <a:pt x="1649375" y="198831"/>
                  </a:lnTo>
                  <a:lnTo>
                    <a:pt x="1649375" y="199530"/>
                  </a:lnTo>
                  <a:lnTo>
                    <a:pt x="1649375" y="198831"/>
                  </a:lnTo>
                  <a:lnTo>
                    <a:pt x="1649375" y="199530"/>
                  </a:lnTo>
                  <a:lnTo>
                    <a:pt x="1649375" y="198831"/>
                  </a:lnTo>
                  <a:lnTo>
                    <a:pt x="1649413" y="198831"/>
                  </a:lnTo>
                  <a:lnTo>
                    <a:pt x="1649413" y="196113"/>
                  </a:lnTo>
                  <a:lnTo>
                    <a:pt x="1649464" y="196113"/>
                  </a:lnTo>
                  <a:lnTo>
                    <a:pt x="1649464" y="195415"/>
                  </a:lnTo>
                  <a:lnTo>
                    <a:pt x="1649464" y="196799"/>
                  </a:lnTo>
                  <a:lnTo>
                    <a:pt x="1649464" y="196113"/>
                  </a:lnTo>
                  <a:lnTo>
                    <a:pt x="1649515" y="195415"/>
                  </a:lnTo>
                  <a:lnTo>
                    <a:pt x="1649515" y="198831"/>
                  </a:lnTo>
                  <a:lnTo>
                    <a:pt x="1649515" y="196799"/>
                  </a:lnTo>
                  <a:lnTo>
                    <a:pt x="1649616" y="196113"/>
                  </a:lnTo>
                  <a:lnTo>
                    <a:pt x="1649616" y="196799"/>
                  </a:lnTo>
                  <a:lnTo>
                    <a:pt x="1649616" y="196113"/>
                  </a:lnTo>
                  <a:lnTo>
                    <a:pt x="1649616" y="198831"/>
                  </a:lnTo>
                  <a:lnTo>
                    <a:pt x="1649616" y="196799"/>
                  </a:lnTo>
                  <a:lnTo>
                    <a:pt x="1649667" y="196799"/>
                  </a:lnTo>
                  <a:lnTo>
                    <a:pt x="1649667" y="197447"/>
                  </a:lnTo>
                  <a:lnTo>
                    <a:pt x="1649667" y="196799"/>
                  </a:lnTo>
                  <a:lnTo>
                    <a:pt x="1649667" y="197447"/>
                  </a:lnTo>
                  <a:lnTo>
                    <a:pt x="1649718" y="197447"/>
                  </a:lnTo>
                  <a:lnTo>
                    <a:pt x="1649718" y="198831"/>
                  </a:lnTo>
                  <a:lnTo>
                    <a:pt x="1649718" y="197447"/>
                  </a:lnTo>
                  <a:lnTo>
                    <a:pt x="1649718" y="198831"/>
                  </a:lnTo>
                  <a:lnTo>
                    <a:pt x="1649819" y="198831"/>
                  </a:lnTo>
                  <a:lnTo>
                    <a:pt x="1649819" y="199530"/>
                  </a:lnTo>
                  <a:lnTo>
                    <a:pt x="1649819" y="198831"/>
                  </a:lnTo>
                  <a:lnTo>
                    <a:pt x="1649819" y="199530"/>
                  </a:lnTo>
                  <a:lnTo>
                    <a:pt x="1649819" y="198831"/>
                  </a:lnTo>
                  <a:lnTo>
                    <a:pt x="1649819" y="199530"/>
                  </a:lnTo>
                  <a:lnTo>
                    <a:pt x="1649819" y="198831"/>
                  </a:lnTo>
                  <a:lnTo>
                    <a:pt x="1649870" y="198831"/>
                  </a:lnTo>
                  <a:lnTo>
                    <a:pt x="1649870" y="196799"/>
                  </a:lnTo>
                  <a:lnTo>
                    <a:pt x="1649921" y="197447"/>
                  </a:lnTo>
                  <a:lnTo>
                    <a:pt x="1649921" y="195415"/>
                  </a:lnTo>
                  <a:lnTo>
                    <a:pt x="1649959" y="196113"/>
                  </a:lnTo>
                  <a:lnTo>
                    <a:pt x="1649959" y="197447"/>
                  </a:lnTo>
                  <a:lnTo>
                    <a:pt x="1649959" y="196113"/>
                  </a:lnTo>
                  <a:lnTo>
                    <a:pt x="1649959" y="197447"/>
                  </a:lnTo>
                  <a:lnTo>
                    <a:pt x="1650061" y="197447"/>
                  </a:lnTo>
                  <a:lnTo>
                    <a:pt x="1650061" y="199530"/>
                  </a:lnTo>
                  <a:lnTo>
                    <a:pt x="1650061" y="197447"/>
                  </a:lnTo>
                  <a:lnTo>
                    <a:pt x="1650112" y="197447"/>
                  </a:lnTo>
                  <a:lnTo>
                    <a:pt x="1650112" y="198831"/>
                  </a:lnTo>
                  <a:lnTo>
                    <a:pt x="1650112" y="196799"/>
                  </a:lnTo>
                  <a:lnTo>
                    <a:pt x="1650112" y="197447"/>
                  </a:lnTo>
                  <a:lnTo>
                    <a:pt x="1650162" y="198831"/>
                  </a:lnTo>
                  <a:lnTo>
                    <a:pt x="1650162" y="197447"/>
                  </a:lnTo>
                  <a:lnTo>
                    <a:pt x="1650162" y="198831"/>
                  </a:lnTo>
                  <a:lnTo>
                    <a:pt x="1650162" y="197447"/>
                  </a:lnTo>
                  <a:lnTo>
                    <a:pt x="1650162" y="198831"/>
                  </a:lnTo>
                  <a:lnTo>
                    <a:pt x="1650264" y="198831"/>
                  </a:lnTo>
                  <a:lnTo>
                    <a:pt x="1650264" y="199530"/>
                  </a:lnTo>
                  <a:lnTo>
                    <a:pt x="1650264" y="198831"/>
                  </a:lnTo>
                  <a:lnTo>
                    <a:pt x="1650315" y="198831"/>
                  </a:lnTo>
                  <a:lnTo>
                    <a:pt x="1650315" y="199530"/>
                  </a:lnTo>
                  <a:lnTo>
                    <a:pt x="1650315" y="198831"/>
                  </a:lnTo>
                  <a:lnTo>
                    <a:pt x="1650315" y="199530"/>
                  </a:lnTo>
                  <a:lnTo>
                    <a:pt x="1650315" y="198831"/>
                  </a:lnTo>
                  <a:lnTo>
                    <a:pt x="1650365" y="198831"/>
                  </a:lnTo>
                  <a:lnTo>
                    <a:pt x="1650365" y="197447"/>
                  </a:lnTo>
                  <a:lnTo>
                    <a:pt x="1650365" y="198831"/>
                  </a:lnTo>
                  <a:lnTo>
                    <a:pt x="1650365" y="197447"/>
                  </a:lnTo>
                  <a:lnTo>
                    <a:pt x="1650365" y="198831"/>
                  </a:lnTo>
                  <a:lnTo>
                    <a:pt x="1650365" y="196113"/>
                  </a:lnTo>
                  <a:lnTo>
                    <a:pt x="1650416" y="196799"/>
                  </a:lnTo>
                  <a:lnTo>
                    <a:pt x="1650416" y="196113"/>
                  </a:lnTo>
                  <a:lnTo>
                    <a:pt x="1650416" y="197447"/>
                  </a:lnTo>
                  <a:lnTo>
                    <a:pt x="1650505" y="197447"/>
                  </a:lnTo>
                  <a:lnTo>
                    <a:pt x="1650505" y="198831"/>
                  </a:lnTo>
                  <a:lnTo>
                    <a:pt x="1650505" y="196113"/>
                  </a:lnTo>
                  <a:lnTo>
                    <a:pt x="1650505" y="200228"/>
                  </a:lnTo>
                  <a:lnTo>
                    <a:pt x="1650505" y="199530"/>
                  </a:lnTo>
                  <a:lnTo>
                    <a:pt x="1650556" y="199530"/>
                  </a:lnTo>
                  <a:lnTo>
                    <a:pt x="1650556" y="197447"/>
                  </a:lnTo>
                  <a:lnTo>
                    <a:pt x="1650556" y="199530"/>
                  </a:lnTo>
                  <a:lnTo>
                    <a:pt x="1650607" y="199530"/>
                  </a:lnTo>
                  <a:lnTo>
                    <a:pt x="1650607" y="196799"/>
                  </a:lnTo>
                  <a:lnTo>
                    <a:pt x="1650607" y="198831"/>
                  </a:lnTo>
                  <a:lnTo>
                    <a:pt x="1650658" y="198831"/>
                  </a:lnTo>
                  <a:lnTo>
                    <a:pt x="1650658" y="197447"/>
                  </a:lnTo>
                  <a:lnTo>
                    <a:pt x="1650658" y="199530"/>
                  </a:lnTo>
                  <a:lnTo>
                    <a:pt x="1650658" y="198831"/>
                  </a:lnTo>
                  <a:lnTo>
                    <a:pt x="1650658" y="199530"/>
                  </a:lnTo>
                  <a:lnTo>
                    <a:pt x="1650759" y="199530"/>
                  </a:lnTo>
                  <a:lnTo>
                    <a:pt x="1650759" y="198831"/>
                  </a:lnTo>
                  <a:lnTo>
                    <a:pt x="1650759" y="199530"/>
                  </a:lnTo>
                  <a:lnTo>
                    <a:pt x="1650759" y="198831"/>
                  </a:lnTo>
                  <a:lnTo>
                    <a:pt x="1650759" y="199530"/>
                  </a:lnTo>
                  <a:lnTo>
                    <a:pt x="1650759" y="198831"/>
                  </a:lnTo>
                  <a:lnTo>
                    <a:pt x="1650759" y="199530"/>
                  </a:lnTo>
                  <a:lnTo>
                    <a:pt x="1650810" y="198831"/>
                  </a:lnTo>
                  <a:lnTo>
                    <a:pt x="1650810" y="199530"/>
                  </a:lnTo>
                  <a:lnTo>
                    <a:pt x="1650810" y="197447"/>
                  </a:lnTo>
                  <a:lnTo>
                    <a:pt x="1650861" y="196799"/>
                  </a:lnTo>
                  <a:lnTo>
                    <a:pt x="1650861" y="197447"/>
                  </a:lnTo>
                  <a:lnTo>
                    <a:pt x="1650861" y="196113"/>
                  </a:lnTo>
                  <a:lnTo>
                    <a:pt x="1650861" y="196799"/>
                  </a:lnTo>
                  <a:lnTo>
                    <a:pt x="1650861" y="195415"/>
                  </a:lnTo>
                  <a:lnTo>
                    <a:pt x="1650962" y="195415"/>
                  </a:lnTo>
                  <a:lnTo>
                    <a:pt x="1650962" y="194716"/>
                  </a:lnTo>
                  <a:lnTo>
                    <a:pt x="1650962" y="196799"/>
                  </a:lnTo>
                  <a:lnTo>
                    <a:pt x="1650962" y="196113"/>
                  </a:lnTo>
                  <a:lnTo>
                    <a:pt x="1651000" y="196113"/>
                  </a:lnTo>
                  <a:lnTo>
                    <a:pt x="1651000" y="195415"/>
                  </a:lnTo>
                  <a:lnTo>
                    <a:pt x="1651000" y="198831"/>
                  </a:lnTo>
                  <a:lnTo>
                    <a:pt x="1651000" y="197447"/>
                  </a:lnTo>
                  <a:lnTo>
                    <a:pt x="1651051" y="196799"/>
                  </a:lnTo>
                  <a:lnTo>
                    <a:pt x="1651051" y="196113"/>
                  </a:lnTo>
                  <a:lnTo>
                    <a:pt x="1651051" y="198831"/>
                  </a:lnTo>
                  <a:lnTo>
                    <a:pt x="1651051" y="196799"/>
                  </a:lnTo>
                  <a:lnTo>
                    <a:pt x="1651102" y="196799"/>
                  </a:lnTo>
                  <a:lnTo>
                    <a:pt x="1651102" y="197447"/>
                  </a:lnTo>
                  <a:lnTo>
                    <a:pt x="1651102" y="196799"/>
                  </a:lnTo>
                  <a:lnTo>
                    <a:pt x="1651102" y="198831"/>
                  </a:lnTo>
                  <a:lnTo>
                    <a:pt x="1651102" y="197447"/>
                  </a:lnTo>
                  <a:lnTo>
                    <a:pt x="1651102" y="198831"/>
                  </a:lnTo>
                  <a:lnTo>
                    <a:pt x="1651102" y="197447"/>
                  </a:lnTo>
                  <a:lnTo>
                    <a:pt x="1651204" y="197447"/>
                  </a:lnTo>
                  <a:lnTo>
                    <a:pt x="1651204" y="198831"/>
                  </a:lnTo>
                  <a:lnTo>
                    <a:pt x="1651204" y="197447"/>
                  </a:lnTo>
                  <a:lnTo>
                    <a:pt x="1651204" y="198831"/>
                  </a:lnTo>
                  <a:lnTo>
                    <a:pt x="1651204" y="197447"/>
                  </a:lnTo>
                  <a:lnTo>
                    <a:pt x="1651204" y="199530"/>
                  </a:lnTo>
                  <a:lnTo>
                    <a:pt x="1651204" y="198831"/>
                  </a:lnTo>
                  <a:lnTo>
                    <a:pt x="1651255" y="198831"/>
                  </a:lnTo>
                  <a:lnTo>
                    <a:pt x="1651255" y="199530"/>
                  </a:lnTo>
                  <a:lnTo>
                    <a:pt x="1651255" y="198831"/>
                  </a:lnTo>
                  <a:lnTo>
                    <a:pt x="1651305" y="198831"/>
                  </a:lnTo>
                  <a:lnTo>
                    <a:pt x="1651305" y="197447"/>
                  </a:lnTo>
                  <a:lnTo>
                    <a:pt x="1651305" y="198831"/>
                  </a:lnTo>
                  <a:lnTo>
                    <a:pt x="1651305" y="197447"/>
                  </a:lnTo>
                  <a:lnTo>
                    <a:pt x="1651407" y="197447"/>
                  </a:lnTo>
                  <a:lnTo>
                    <a:pt x="1651407" y="195415"/>
                  </a:lnTo>
                  <a:lnTo>
                    <a:pt x="1651407" y="196113"/>
                  </a:lnTo>
                  <a:lnTo>
                    <a:pt x="1651407" y="195415"/>
                  </a:lnTo>
                  <a:lnTo>
                    <a:pt x="1651458" y="195415"/>
                  </a:lnTo>
                  <a:lnTo>
                    <a:pt x="1651458" y="196113"/>
                  </a:lnTo>
                  <a:lnTo>
                    <a:pt x="1651458" y="195415"/>
                  </a:lnTo>
                  <a:lnTo>
                    <a:pt x="1651509" y="195415"/>
                  </a:lnTo>
                  <a:lnTo>
                    <a:pt x="1651509" y="197447"/>
                  </a:lnTo>
                  <a:lnTo>
                    <a:pt x="1651509" y="196113"/>
                  </a:lnTo>
                  <a:lnTo>
                    <a:pt x="1651547" y="196113"/>
                  </a:lnTo>
                  <a:lnTo>
                    <a:pt x="1651547" y="197447"/>
                  </a:lnTo>
                  <a:lnTo>
                    <a:pt x="1651547" y="196799"/>
                  </a:lnTo>
                  <a:lnTo>
                    <a:pt x="1651648" y="196799"/>
                  </a:lnTo>
                  <a:lnTo>
                    <a:pt x="1651648" y="197447"/>
                  </a:lnTo>
                  <a:lnTo>
                    <a:pt x="1651648" y="196799"/>
                  </a:lnTo>
                  <a:lnTo>
                    <a:pt x="1651648" y="197447"/>
                  </a:lnTo>
                  <a:lnTo>
                    <a:pt x="1651648" y="196799"/>
                  </a:lnTo>
                  <a:lnTo>
                    <a:pt x="1651648" y="197447"/>
                  </a:lnTo>
                  <a:lnTo>
                    <a:pt x="1651648" y="196799"/>
                  </a:lnTo>
                  <a:lnTo>
                    <a:pt x="1651648" y="197447"/>
                  </a:lnTo>
                  <a:lnTo>
                    <a:pt x="1651699" y="197447"/>
                  </a:lnTo>
                  <a:lnTo>
                    <a:pt x="1651699" y="198831"/>
                  </a:lnTo>
                  <a:lnTo>
                    <a:pt x="1651699" y="197447"/>
                  </a:lnTo>
                  <a:lnTo>
                    <a:pt x="1651699" y="198831"/>
                  </a:lnTo>
                  <a:lnTo>
                    <a:pt x="1651750" y="198831"/>
                  </a:lnTo>
                  <a:lnTo>
                    <a:pt x="1651851" y="197447"/>
                  </a:lnTo>
                  <a:lnTo>
                    <a:pt x="1651851" y="198831"/>
                  </a:lnTo>
                  <a:lnTo>
                    <a:pt x="1651851" y="196799"/>
                  </a:lnTo>
                  <a:lnTo>
                    <a:pt x="1651851" y="197447"/>
                  </a:lnTo>
                  <a:lnTo>
                    <a:pt x="1651851" y="196799"/>
                  </a:lnTo>
                  <a:lnTo>
                    <a:pt x="1651851" y="197447"/>
                  </a:lnTo>
                  <a:lnTo>
                    <a:pt x="1651851" y="196799"/>
                  </a:lnTo>
                  <a:lnTo>
                    <a:pt x="1651902" y="196799"/>
                  </a:lnTo>
                  <a:lnTo>
                    <a:pt x="1651902" y="194716"/>
                  </a:lnTo>
                  <a:lnTo>
                    <a:pt x="1651902" y="195415"/>
                  </a:lnTo>
                  <a:lnTo>
                    <a:pt x="1651953" y="195415"/>
                  </a:lnTo>
                  <a:lnTo>
                    <a:pt x="1651953" y="191351"/>
                  </a:lnTo>
                  <a:lnTo>
                    <a:pt x="1651953" y="191986"/>
                  </a:lnTo>
                  <a:lnTo>
                    <a:pt x="1652004" y="191986"/>
                  </a:lnTo>
                  <a:lnTo>
                    <a:pt x="1652004" y="192684"/>
                  </a:lnTo>
                  <a:lnTo>
                    <a:pt x="1652004" y="189954"/>
                  </a:lnTo>
                  <a:lnTo>
                    <a:pt x="1652004" y="192684"/>
                  </a:lnTo>
                  <a:lnTo>
                    <a:pt x="1652093" y="193383"/>
                  </a:lnTo>
                  <a:lnTo>
                    <a:pt x="1652093" y="192684"/>
                  </a:lnTo>
                  <a:lnTo>
                    <a:pt x="1652093" y="194716"/>
                  </a:lnTo>
                  <a:lnTo>
                    <a:pt x="1652144" y="194716"/>
                  </a:lnTo>
                  <a:lnTo>
                    <a:pt x="1652144" y="195415"/>
                  </a:lnTo>
                  <a:lnTo>
                    <a:pt x="1652144" y="193383"/>
                  </a:lnTo>
                  <a:lnTo>
                    <a:pt x="1652144" y="196113"/>
                  </a:lnTo>
                  <a:lnTo>
                    <a:pt x="1652194" y="196113"/>
                  </a:lnTo>
                  <a:lnTo>
                    <a:pt x="1652194" y="196799"/>
                  </a:lnTo>
                  <a:lnTo>
                    <a:pt x="1652245" y="196799"/>
                  </a:lnTo>
                  <a:lnTo>
                    <a:pt x="1652245" y="197447"/>
                  </a:lnTo>
                  <a:lnTo>
                    <a:pt x="1652245" y="196799"/>
                  </a:lnTo>
                  <a:lnTo>
                    <a:pt x="1652245" y="197447"/>
                  </a:lnTo>
                  <a:lnTo>
                    <a:pt x="1652347" y="197447"/>
                  </a:lnTo>
                  <a:lnTo>
                    <a:pt x="1652347" y="198831"/>
                  </a:lnTo>
                  <a:lnTo>
                    <a:pt x="1652347" y="197447"/>
                  </a:lnTo>
                  <a:lnTo>
                    <a:pt x="1652397" y="197447"/>
                  </a:lnTo>
                  <a:lnTo>
                    <a:pt x="1652397" y="196113"/>
                  </a:lnTo>
                  <a:lnTo>
                    <a:pt x="1652397" y="196799"/>
                  </a:lnTo>
                  <a:lnTo>
                    <a:pt x="1652397" y="196113"/>
                  </a:lnTo>
                  <a:lnTo>
                    <a:pt x="1652448" y="196799"/>
                  </a:lnTo>
                  <a:lnTo>
                    <a:pt x="1652448" y="194716"/>
                  </a:lnTo>
                  <a:lnTo>
                    <a:pt x="1652448" y="195415"/>
                  </a:lnTo>
                  <a:lnTo>
                    <a:pt x="1652550" y="195415"/>
                  </a:lnTo>
                  <a:lnTo>
                    <a:pt x="1652550" y="192684"/>
                  </a:lnTo>
                  <a:lnTo>
                    <a:pt x="1652550" y="195415"/>
                  </a:lnTo>
                  <a:lnTo>
                    <a:pt x="1652588" y="195415"/>
                  </a:lnTo>
                  <a:lnTo>
                    <a:pt x="1652588" y="193383"/>
                  </a:lnTo>
                  <a:lnTo>
                    <a:pt x="1652588" y="194716"/>
                  </a:lnTo>
                  <a:lnTo>
                    <a:pt x="1652639" y="194716"/>
                  </a:lnTo>
                  <a:lnTo>
                    <a:pt x="1652639" y="193383"/>
                  </a:lnTo>
                  <a:lnTo>
                    <a:pt x="1652639" y="195415"/>
                  </a:lnTo>
                  <a:lnTo>
                    <a:pt x="1652639" y="194716"/>
                  </a:lnTo>
                  <a:lnTo>
                    <a:pt x="1652690" y="194716"/>
                  </a:lnTo>
                  <a:lnTo>
                    <a:pt x="1652690" y="196113"/>
                  </a:lnTo>
                  <a:lnTo>
                    <a:pt x="1652690" y="195415"/>
                  </a:lnTo>
                  <a:lnTo>
                    <a:pt x="1652791" y="195415"/>
                  </a:lnTo>
                  <a:lnTo>
                    <a:pt x="1652791" y="196799"/>
                  </a:lnTo>
                  <a:lnTo>
                    <a:pt x="1652842" y="196113"/>
                  </a:lnTo>
                  <a:lnTo>
                    <a:pt x="1652842" y="197447"/>
                  </a:lnTo>
                  <a:lnTo>
                    <a:pt x="1652842" y="196799"/>
                  </a:lnTo>
                  <a:lnTo>
                    <a:pt x="1652842" y="197447"/>
                  </a:lnTo>
                  <a:lnTo>
                    <a:pt x="1652842" y="196113"/>
                  </a:lnTo>
                  <a:lnTo>
                    <a:pt x="1652893" y="196113"/>
                  </a:lnTo>
                  <a:lnTo>
                    <a:pt x="1652893" y="196799"/>
                  </a:lnTo>
                  <a:lnTo>
                    <a:pt x="1652893" y="196113"/>
                  </a:lnTo>
                  <a:lnTo>
                    <a:pt x="1652994" y="196113"/>
                  </a:lnTo>
                  <a:lnTo>
                    <a:pt x="1652994" y="196799"/>
                  </a:lnTo>
                  <a:lnTo>
                    <a:pt x="1652994" y="196113"/>
                  </a:lnTo>
                  <a:lnTo>
                    <a:pt x="1653045" y="195415"/>
                  </a:lnTo>
                  <a:lnTo>
                    <a:pt x="1653045" y="198831"/>
                  </a:lnTo>
                  <a:lnTo>
                    <a:pt x="1653045" y="196799"/>
                  </a:lnTo>
                  <a:lnTo>
                    <a:pt x="1653045" y="197447"/>
                  </a:lnTo>
                  <a:lnTo>
                    <a:pt x="1653045" y="196799"/>
                  </a:lnTo>
                  <a:lnTo>
                    <a:pt x="1653096" y="196799"/>
                  </a:lnTo>
                  <a:lnTo>
                    <a:pt x="1653096" y="198831"/>
                  </a:lnTo>
                  <a:lnTo>
                    <a:pt x="1653096" y="196799"/>
                  </a:lnTo>
                  <a:lnTo>
                    <a:pt x="1653096" y="197447"/>
                  </a:lnTo>
                  <a:lnTo>
                    <a:pt x="1653134" y="197447"/>
                  </a:lnTo>
                  <a:lnTo>
                    <a:pt x="1653134" y="196799"/>
                  </a:lnTo>
                  <a:lnTo>
                    <a:pt x="1653134" y="197447"/>
                  </a:lnTo>
                  <a:lnTo>
                    <a:pt x="1653134" y="196799"/>
                  </a:lnTo>
                  <a:lnTo>
                    <a:pt x="1653134" y="197447"/>
                  </a:lnTo>
                  <a:lnTo>
                    <a:pt x="1653236" y="197447"/>
                  </a:lnTo>
                  <a:lnTo>
                    <a:pt x="1653236" y="196799"/>
                  </a:lnTo>
                  <a:lnTo>
                    <a:pt x="1653236" y="197447"/>
                  </a:lnTo>
                  <a:lnTo>
                    <a:pt x="1653236" y="196799"/>
                  </a:lnTo>
                  <a:lnTo>
                    <a:pt x="1653236" y="197447"/>
                  </a:lnTo>
                  <a:lnTo>
                    <a:pt x="1653236" y="196799"/>
                  </a:lnTo>
                  <a:lnTo>
                    <a:pt x="1653287" y="196799"/>
                  </a:lnTo>
                  <a:lnTo>
                    <a:pt x="1653287" y="197447"/>
                  </a:lnTo>
                  <a:lnTo>
                    <a:pt x="1653287" y="196799"/>
                  </a:lnTo>
                  <a:lnTo>
                    <a:pt x="1653337" y="196799"/>
                  </a:lnTo>
                  <a:lnTo>
                    <a:pt x="1653337" y="197447"/>
                  </a:lnTo>
                  <a:lnTo>
                    <a:pt x="1653337" y="196799"/>
                  </a:lnTo>
                  <a:lnTo>
                    <a:pt x="1653439" y="196799"/>
                  </a:lnTo>
                  <a:lnTo>
                    <a:pt x="1653439" y="195415"/>
                  </a:lnTo>
                  <a:lnTo>
                    <a:pt x="1653439" y="196799"/>
                  </a:lnTo>
                  <a:lnTo>
                    <a:pt x="1653490" y="196799"/>
                  </a:lnTo>
                  <a:lnTo>
                    <a:pt x="1653490" y="197447"/>
                  </a:lnTo>
                  <a:lnTo>
                    <a:pt x="1653490" y="196799"/>
                  </a:lnTo>
                  <a:lnTo>
                    <a:pt x="1653490" y="198831"/>
                  </a:lnTo>
                  <a:lnTo>
                    <a:pt x="1653540" y="198831"/>
                  </a:lnTo>
                  <a:lnTo>
                    <a:pt x="1653540" y="199530"/>
                  </a:lnTo>
                  <a:lnTo>
                    <a:pt x="1653540" y="198831"/>
                  </a:lnTo>
                  <a:lnTo>
                    <a:pt x="1653540" y="200228"/>
                  </a:lnTo>
                  <a:lnTo>
                    <a:pt x="1653591" y="200228"/>
                  </a:lnTo>
                  <a:lnTo>
                    <a:pt x="1653591" y="199530"/>
                  </a:lnTo>
                  <a:lnTo>
                    <a:pt x="1653731" y="199530"/>
                  </a:lnTo>
                  <a:lnTo>
                    <a:pt x="1653731" y="198831"/>
                  </a:lnTo>
                  <a:lnTo>
                    <a:pt x="1653731" y="199530"/>
                  </a:lnTo>
                  <a:lnTo>
                    <a:pt x="1653731" y="198831"/>
                  </a:lnTo>
                  <a:lnTo>
                    <a:pt x="1653731" y="199530"/>
                  </a:lnTo>
                  <a:lnTo>
                    <a:pt x="1653731" y="198831"/>
                  </a:lnTo>
                  <a:lnTo>
                    <a:pt x="1653731" y="199530"/>
                  </a:lnTo>
                  <a:lnTo>
                    <a:pt x="1653731" y="198831"/>
                  </a:lnTo>
                  <a:lnTo>
                    <a:pt x="1653782" y="198831"/>
                  </a:lnTo>
                  <a:lnTo>
                    <a:pt x="1653782" y="196799"/>
                  </a:lnTo>
                  <a:lnTo>
                    <a:pt x="1653782" y="197447"/>
                  </a:lnTo>
                  <a:lnTo>
                    <a:pt x="1653833" y="197447"/>
                  </a:lnTo>
                  <a:lnTo>
                    <a:pt x="1653833" y="196799"/>
                  </a:lnTo>
                  <a:lnTo>
                    <a:pt x="1653833" y="197447"/>
                  </a:lnTo>
                  <a:lnTo>
                    <a:pt x="1653833" y="196113"/>
                  </a:lnTo>
                  <a:lnTo>
                    <a:pt x="1653833" y="196799"/>
                  </a:lnTo>
                  <a:lnTo>
                    <a:pt x="1653833" y="194716"/>
                  </a:lnTo>
                  <a:lnTo>
                    <a:pt x="1653934" y="195415"/>
                  </a:lnTo>
                  <a:lnTo>
                    <a:pt x="1653934" y="194716"/>
                  </a:lnTo>
                  <a:lnTo>
                    <a:pt x="1653934" y="196113"/>
                  </a:lnTo>
                  <a:lnTo>
                    <a:pt x="1653985" y="195415"/>
                  </a:lnTo>
                  <a:lnTo>
                    <a:pt x="1653985" y="194716"/>
                  </a:lnTo>
                  <a:lnTo>
                    <a:pt x="1653985" y="196799"/>
                  </a:lnTo>
                  <a:lnTo>
                    <a:pt x="1653985" y="196113"/>
                  </a:lnTo>
                  <a:lnTo>
                    <a:pt x="1653985" y="196799"/>
                  </a:lnTo>
                  <a:lnTo>
                    <a:pt x="1654036" y="196113"/>
                  </a:lnTo>
                  <a:lnTo>
                    <a:pt x="1654036" y="196799"/>
                  </a:lnTo>
                  <a:lnTo>
                    <a:pt x="1654036" y="196113"/>
                  </a:lnTo>
                  <a:lnTo>
                    <a:pt x="1654036" y="197447"/>
                  </a:lnTo>
                  <a:lnTo>
                    <a:pt x="1654036" y="196799"/>
                  </a:lnTo>
                  <a:lnTo>
                    <a:pt x="1654036" y="198831"/>
                  </a:lnTo>
                  <a:lnTo>
                    <a:pt x="1654137" y="198831"/>
                  </a:lnTo>
                  <a:lnTo>
                    <a:pt x="1654137" y="197447"/>
                  </a:lnTo>
                  <a:lnTo>
                    <a:pt x="1654137" y="198831"/>
                  </a:lnTo>
                  <a:lnTo>
                    <a:pt x="1654137" y="197447"/>
                  </a:lnTo>
                  <a:lnTo>
                    <a:pt x="1654137" y="198831"/>
                  </a:lnTo>
                  <a:lnTo>
                    <a:pt x="1654175" y="198831"/>
                  </a:lnTo>
                  <a:lnTo>
                    <a:pt x="1654175" y="199530"/>
                  </a:lnTo>
                  <a:lnTo>
                    <a:pt x="1654175" y="198831"/>
                  </a:lnTo>
                  <a:lnTo>
                    <a:pt x="1654175" y="199530"/>
                  </a:lnTo>
                  <a:lnTo>
                    <a:pt x="1654175" y="198831"/>
                  </a:lnTo>
                  <a:lnTo>
                    <a:pt x="1654175" y="199530"/>
                  </a:lnTo>
                  <a:lnTo>
                    <a:pt x="1654226" y="199530"/>
                  </a:lnTo>
                  <a:lnTo>
                    <a:pt x="1654226" y="198831"/>
                  </a:lnTo>
                  <a:lnTo>
                    <a:pt x="1654277" y="198831"/>
                  </a:lnTo>
                  <a:lnTo>
                    <a:pt x="1654277" y="197447"/>
                  </a:lnTo>
                  <a:lnTo>
                    <a:pt x="1654277" y="198831"/>
                  </a:lnTo>
                  <a:lnTo>
                    <a:pt x="1654277" y="197447"/>
                  </a:lnTo>
                  <a:lnTo>
                    <a:pt x="1654379" y="197447"/>
                  </a:lnTo>
                  <a:lnTo>
                    <a:pt x="1654379" y="196799"/>
                  </a:lnTo>
                  <a:lnTo>
                    <a:pt x="1654379" y="197447"/>
                  </a:lnTo>
                  <a:lnTo>
                    <a:pt x="1654379" y="195415"/>
                  </a:lnTo>
                  <a:lnTo>
                    <a:pt x="1654430" y="195415"/>
                  </a:lnTo>
                  <a:lnTo>
                    <a:pt x="1654430" y="196113"/>
                  </a:lnTo>
                  <a:lnTo>
                    <a:pt x="1654430" y="195415"/>
                  </a:lnTo>
                  <a:lnTo>
                    <a:pt x="1654480" y="195415"/>
                  </a:lnTo>
                  <a:lnTo>
                    <a:pt x="1654480" y="197447"/>
                  </a:lnTo>
                  <a:lnTo>
                    <a:pt x="1654480" y="196113"/>
                  </a:lnTo>
                  <a:lnTo>
                    <a:pt x="1654480" y="196799"/>
                  </a:lnTo>
                  <a:lnTo>
                    <a:pt x="1654480" y="196113"/>
                  </a:lnTo>
                  <a:lnTo>
                    <a:pt x="1654582" y="196113"/>
                  </a:lnTo>
                  <a:lnTo>
                    <a:pt x="1654582" y="197447"/>
                  </a:lnTo>
                  <a:lnTo>
                    <a:pt x="1654582" y="196799"/>
                  </a:lnTo>
                  <a:lnTo>
                    <a:pt x="1654633" y="196799"/>
                  </a:lnTo>
                  <a:lnTo>
                    <a:pt x="1654633" y="198831"/>
                  </a:lnTo>
                  <a:lnTo>
                    <a:pt x="1654633" y="197447"/>
                  </a:lnTo>
                  <a:lnTo>
                    <a:pt x="1654684" y="197447"/>
                  </a:lnTo>
                  <a:lnTo>
                    <a:pt x="1654684" y="199530"/>
                  </a:lnTo>
                  <a:lnTo>
                    <a:pt x="1654684" y="198831"/>
                  </a:lnTo>
                  <a:lnTo>
                    <a:pt x="1654722" y="198831"/>
                  </a:lnTo>
                  <a:lnTo>
                    <a:pt x="1654722" y="199530"/>
                  </a:lnTo>
                  <a:lnTo>
                    <a:pt x="1654722" y="198831"/>
                  </a:lnTo>
                  <a:lnTo>
                    <a:pt x="1654722" y="199530"/>
                  </a:lnTo>
                  <a:lnTo>
                    <a:pt x="1654722" y="198831"/>
                  </a:lnTo>
                  <a:lnTo>
                    <a:pt x="1654722" y="199530"/>
                  </a:lnTo>
                  <a:lnTo>
                    <a:pt x="1654722" y="198831"/>
                  </a:lnTo>
                  <a:lnTo>
                    <a:pt x="1654722" y="199530"/>
                  </a:lnTo>
                  <a:lnTo>
                    <a:pt x="1654722" y="198831"/>
                  </a:lnTo>
                  <a:lnTo>
                    <a:pt x="1654823" y="198831"/>
                  </a:lnTo>
                  <a:lnTo>
                    <a:pt x="1654823" y="197447"/>
                  </a:lnTo>
                  <a:lnTo>
                    <a:pt x="1654823" y="198831"/>
                  </a:lnTo>
                  <a:lnTo>
                    <a:pt x="1654823" y="197447"/>
                  </a:lnTo>
                  <a:lnTo>
                    <a:pt x="1654874" y="197447"/>
                  </a:lnTo>
                  <a:lnTo>
                    <a:pt x="1654874" y="196799"/>
                  </a:lnTo>
                  <a:lnTo>
                    <a:pt x="1654874" y="197447"/>
                  </a:lnTo>
                  <a:lnTo>
                    <a:pt x="1654874" y="195415"/>
                  </a:lnTo>
                  <a:lnTo>
                    <a:pt x="1654925" y="194716"/>
                  </a:lnTo>
                  <a:lnTo>
                    <a:pt x="1654925" y="195415"/>
                  </a:lnTo>
                  <a:lnTo>
                    <a:pt x="1654925" y="194716"/>
                  </a:lnTo>
                  <a:lnTo>
                    <a:pt x="1654925" y="196113"/>
                  </a:lnTo>
                  <a:lnTo>
                    <a:pt x="1654925" y="194716"/>
                  </a:lnTo>
                  <a:lnTo>
                    <a:pt x="1655026" y="194716"/>
                  </a:lnTo>
                  <a:lnTo>
                    <a:pt x="1655026" y="196799"/>
                  </a:lnTo>
                  <a:lnTo>
                    <a:pt x="1655026" y="196113"/>
                  </a:lnTo>
                  <a:lnTo>
                    <a:pt x="1655026" y="196799"/>
                  </a:lnTo>
                  <a:lnTo>
                    <a:pt x="1655026" y="196113"/>
                  </a:lnTo>
                  <a:lnTo>
                    <a:pt x="1655077" y="196113"/>
                  </a:lnTo>
                  <a:lnTo>
                    <a:pt x="1655077" y="197447"/>
                  </a:lnTo>
                  <a:lnTo>
                    <a:pt x="1655077" y="196113"/>
                  </a:lnTo>
                  <a:lnTo>
                    <a:pt x="1655077" y="196799"/>
                  </a:lnTo>
                  <a:lnTo>
                    <a:pt x="1655128" y="196799"/>
                  </a:lnTo>
                  <a:lnTo>
                    <a:pt x="1655128" y="197447"/>
                  </a:lnTo>
                  <a:lnTo>
                    <a:pt x="1655128" y="196799"/>
                  </a:lnTo>
                  <a:lnTo>
                    <a:pt x="1655128" y="197447"/>
                  </a:lnTo>
                  <a:lnTo>
                    <a:pt x="1655128" y="196799"/>
                  </a:lnTo>
                  <a:lnTo>
                    <a:pt x="1655179" y="196799"/>
                  </a:lnTo>
                  <a:lnTo>
                    <a:pt x="1655179" y="198831"/>
                  </a:lnTo>
                  <a:lnTo>
                    <a:pt x="1655179" y="197447"/>
                  </a:lnTo>
                  <a:lnTo>
                    <a:pt x="1655179" y="198831"/>
                  </a:lnTo>
                  <a:lnTo>
                    <a:pt x="1655268" y="198831"/>
                  </a:lnTo>
                  <a:lnTo>
                    <a:pt x="1655268" y="199530"/>
                  </a:lnTo>
                  <a:lnTo>
                    <a:pt x="1655268" y="198831"/>
                  </a:lnTo>
                  <a:lnTo>
                    <a:pt x="1655319" y="198831"/>
                  </a:lnTo>
                  <a:lnTo>
                    <a:pt x="1655319" y="197447"/>
                  </a:lnTo>
                  <a:lnTo>
                    <a:pt x="1655369" y="196799"/>
                  </a:lnTo>
                  <a:lnTo>
                    <a:pt x="1655369" y="197447"/>
                  </a:lnTo>
                  <a:lnTo>
                    <a:pt x="1655369" y="196113"/>
                  </a:lnTo>
                  <a:lnTo>
                    <a:pt x="1655420" y="195415"/>
                  </a:lnTo>
                  <a:lnTo>
                    <a:pt x="1655420" y="196799"/>
                  </a:lnTo>
                  <a:lnTo>
                    <a:pt x="1655420" y="194716"/>
                  </a:lnTo>
                  <a:lnTo>
                    <a:pt x="1655420" y="195415"/>
                  </a:lnTo>
                  <a:lnTo>
                    <a:pt x="1655420" y="194716"/>
                  </a:lnTo>
                  <a:lnTo>
                    <a:pt x="1655522" y="194716"/>
                  </a:lnTo>
                  <a:lnTo>
                    <a:pt x="1655522" y="196799"/>
                  </a:lnTo>
                  <a:lnTo>
                    <a:pt x="1655522" y="195415"/>
                  </a:lnTo>
                  <a:lnTo>
                    <a:pt x="1655522" y="196113"/>
                  </a:lnTo>
                  <a:lnTo>
                    <a:pt x="1655522" y="195415"/>
                  </a:lnTo>
                  <a:lnTo>
                    <a:pt x="1655522" y="196799"/>
                  </a:lnTo>
                  <a:lnTo>
                    <a:pt x="1655572" y="196799"/>
                  </a:lnTo>
                  <a:lnTo>
                    <a:pt x="1655572" y="196113"/>
                  </a:lnTo>
                  <a:lnTo>
                    <a:pt x="1655572" y="196799"/>
                  </a:lnTo>
                  <a:lnTo>
                    <a:pt x="1655572" y="196113"/>
                  </a:lnTo>
                  <a:lnTo>
                    <a:pt x="1655623" y="196799"/>
                  </a:lnTo>
                  <a:lnTo>
                    <a:pt x="1655623" y="196113"/>
                  </a:lnTo>
                  <a:lnTo>
                    <a:pt x="1655623" y="196799"/>
                  </a:lnTo>
                  <a:lnTo>
                    <a:pt x="1655725" y="196113"/>
                  </a:lnTo>
                  <a:lnTo>
                    <a:pt x="1655725" y="197447"/>
                  </a:lnTo>
                  <a:lnTo>
                    <a:pt x="1655725" y="196799"/>
                  </a:lnTo>
                  <a:lnTo>
                    <a:pt x="1655725" y="197447"/>
                  </a:lnTo>
                  <a:lnTo>
                    <a:pt x="1655763" y="197447"/>
                  </a:lnTo>
                  <a:lnTo>
                    <a:pt x="1655763" y="196799"/>
                  </a:lnTo>
                  <a:lnTo>
                    <a:pt x="1655763" y="197447"/>
                  </a:lnTo>
                  <a:lnTo>
                    <a:pt x="1655814" y="197447"/>
                  </a:lnTo>
                  <a:lnTo>
                    <a:pt x="1655814" y="196799"/>
                  </a:lnTo>
                  <a:lnTo>
                    <a:pt x="1655814" y="197447"/>
                  </a:lnTo>
                  <a:lnTo>
                    <a:pt x="1655814" y="196799"/>
                  </a:lnTo>
                  <a:lnTo>
                    <a:pt x="1655814" y="197447"/>
                  </a:lnTo>
                  <a:lnTo>
                    <a:pt x="1655814" y="196113"/>
                  </a:lnTo>
                  <a:lnTo>
                    <a:pt x="1655865" y="196113"/>
                  </a:lnTo>
                  <a:lnTo>
                    <a:pt x="1655865" y="196799"/>
                  </a:lnTo>
                  <a:lnTo>
                    <a:pt x="1655865" y="194716"/>
                  </a:lnTo>
                  <a:lnTo>
                    <a:pt x="1655865" y="195415"/>
                  </a:lnTo>
                  <a:lnTo>
                    <a:pt x="1655966" y="196113"/>
                  </a:lnTo>
                  <a:lnTo>
                    <a:pt x="1655966" y="196799"/>
                  </a:lnTo>
                  <a:lnTo>
                    <a:pt x="1655966" y="194716"/>
                  </a:lnTo>
                  <a:lnTo>
                    <a:pt x="1655966" y="195415"/>
                  </a:lnTo>
                  <a:lnTo>
                    <a:pt x="1655966" y="194716"/>
                  </a:lnTo>
                  <a:lnTo>
                    <a:pt x="1655966" y="197447"/>
                  </a:lnTo>
                  <a:lnTo>
                    <a:pt x="1656017" y="197447"/>
                  </a:lnTo>
                  <a:lnTo>
                    <a:pt x="1656017" y="198831"/>
                  </a:lnTo>
                  <a:lnTo>
                    <a:pt x="1656017" y="196799"/>
                  </a:lnTo>
                  <a:lnTo>
                    <a:pt x="1656017" y="198831"/>
                  </a:lnTo>
                  <a:lnTo>
                    <a:pt x="1656017" y="197447"/>
                  </a:lnTo>
                  <a:lnTo>
                    <a:pt x="1656068" y="197447"/>
                  </a:lnTo>
                  <a:lnTo>
                    <a:pt x="1656068" y="196799"/>
                  </a:lnTo>
                  <a:lnTo>
                    <a:pt x="1656068" y="198831"/>
                  </a:lnTo>
                  <a:lnTo>
                    <a:pt x="1656068" y="197447"/>
                  </a:lnTo>
                  <a:lnTo>
                    <a:pt x="1656169" y="197447"/>
                  </a:lnTo>
                  <a:lnTo>
                    <a:pt x="1656169" y="196799"/>
                  </a:lnTo>
                  <a:lnTo>
                    <a:pt x="1656169" y="197447"/>
                  </a:lnTo>
                  <a:lnTo>
                    <a:pt x="1656220" y="196799"/>
                  </a:lnTo>
                  <a:lnTo>
                    <a:pt x="1656220" y="197447"/>
                  </a:lnTo>
                  <a:lnTo>
                    <a:pt x="1656271" y="197447"/>
                  </a:lnTo>
                  <a:lnTo>
                    <a:pt x="1656271" y="196799"/>
                  </a:lnTo>
                  <a:lnTo>
                    <a:pt x="1656271" y="198831"/>
                  </a:lnTo>
                  <a:lnTo>
                    <a:pt x="1656271" y="197447"/>
                  </a:lnTo>
                  <a:lnTo>
                    <a:pt x="1656271" y="198831"/>
                  </a:lnTo>
                  <a:lnTo>
                    <a:pt x="1656271" y="196799"/>
                  </a:lnTo>
                  <a:lnTo>
                    <a:pt x="1656271" y="197447"/>
                  </a:lnTo>
                  <a:lnTo>
                    <a:pt x="1656309" y="197447"/>
                  </a:lnTo>
                  <a:lnTo>
                    <a:pt x="1656309" y="196799"/>
                  </a:lnTo>
                  <a:lnTo>
                    <a:pt x="1656309" y="197447"/>
                  </a:lnTo>
                  <a:lnTo>
                    <a:pt x="1656309" y="196113"/>
                  </a:lnTo>
                  <a:lnTo>
                    <a:pt x="1656309" y="196799"/>
                  </a:lnTo>
                  <a:lnTo>
                    <a:pt x="1656411" y="196799"/>
                  </a:lnTo>
                  <a:lnTo>
                    <a:pt x="1656411" y="194716"/>
                  </a:lnTo>
                  <a:lnTo>
                    <a:pt x="1656411" y="195415"/>
                  </a:lnTo>
                  <a:lnTo>
                    <a:pt x="1656411" y="194716"/>
                  </a:lnTo>
                  <a:lnTo>
                    <a:pt x="1656411" y="196113"/>
                  </a:lnTo>
                  <a:lnTo>
                    <a:pt x="1656462" y="196113"/>
                  </a:lnTo>
                  <a:lnTo>
                    <a:pt x="1656462" y="196799"/>
                  </a:lnTo>
                  <a:lnTo>
                    <a:pt x="1656462" y="195415"/>
                  </a:lnTo>
                  <a:lnTo>
                    <a:pt x="1656462" y="197447"/>
                  </a:lnTo>
                  <a:lnTo>
                    <a:pt x="1656512" y="197447"/>
                  </a:lnTo>
                  <a:lnTo>
                    <a:pt x="1656512" y="196113"/>
                  </a:lnTo>
                  <a:lnTo>
                    <a:pt x="1656512" y="198831"/>
                  </a:lnTo>
                  <a:lnTo>
                    <a:pt x="1656614" y="198831"/>
                  </a:lnTo>
                  <a:lnTo>
                    <a:pt x="1656614" y="196799"/>
                  </a:lnTo>
                  <a:lnTo>
                    <a:pt x="1656614" y="197447"/>
                  </a:lnTo>
                  <a:lnTo>
                    <a:pt x="1656614" y="196799"/>
                  </a:lnTo>
                  <a:lnTo>
                    <a:pt x="1656614" y="198831"/>
                  </a:lnTo>
                  <a:lnTo>
                    <a:pt x="1656665" y="197447"/>
                  </a:lnTo>
                  <a:lnTo>
                    <a:pt x="1656665" y="196799"/>
                  </a:lnTo>
                  <a:lnTo>
                    <a:pt x="1656665" y="197447"/>
                  </a:lnTo>
                  <a:lnTo>
                    <a:pt x="1656665" y="196799"/>
                  </a:lnTo>
                  <a:lnTo>
                    <a:pt x="1656665" y="197447"/>
                  </a:lnTo>
                  <a:lnTo>
                    <a:pt x="1656715" y="197447"/>
                  </a:lnTo>
                  <a:lnTo>
                    <a:pt x="1656715" y="198831"/>
                  </a:lnTo>
                  <a:lnTo>
                    <a:pt x="1656715" y="197447"/>
                  </a:lnTo>
                  <a:lnTo>
                    <a:pt x="1656715" y="198831"/>
                  </a:lnTo>
                  <a:lnTo>
                    <a:pt x="1656715" y="197447"/>
                  </a:lnTo>
                  <a:lnTo>
                    <a:pt x="1656715" y="198831"/>
                  </a:lnTo>
                  <a:lnTo>
                    <a:pt x="1656766" y="198831"/>
                  </a:lnTo>
                  <a:lnTo>
                    <a:pt x="1656766" y="197447"/>
                  </a:lnTo>
                  <a:lnTo>
                    <a:pt x="1656766" y="198831"/>
                  </a:lnTo>
                  <a:lnTo>
                    <a:pt x="1656766" y="197447"/>
                  </a:lnTo>
                  <a:lnTo>
                    <a:pt x="1656766" y="198831"/>
                  </a:lnTo>
                  <a:lnTo>
                    <a:pt x="1656766" y="196799"/>
                  </a:lnTo>
                  <a:lnTo>
                    <a:pt x="1656855" y="196799"/>
                  </a:lnTo>
                  <a:lnTo>
                    <a:pt x="1656855" y="196113"/>
                  </a:lnTo>
                  <a:lnTo>
                    <a:pt x="1656855" y="196799"/>
                  </a:lnTo>
                  <a:lnTo>
                    <a:pt x="1656855" y="196113"/>
                  </a:lnTo>
                  <a:lnTo>
                    <a:pt x="1656906" y="196113"/>
                  </a:lnTo>
                  <a:lnTo>
                    <a:pt x="1656906" y="193383"/>
                  </a:lnTo>
                  <a:lnTo>
                    <a:pt x="1656906" y="196113"/>
                  </a:lnTo>
                  <a:lnTo>
                    <a:pt x="1656957" y="195415"/>
                  </a:lnTo>
                  <a:lnTo>
                    <a:pt x="1656957" y="193383"/>
                  </a:lnTo>
                  <a:lnTo>
                    <a:pt x="1656957" y="197447"/>
                  </a:lnTo>
                  <a:lnTo>
                    <a:pt x="1656957" y="196113"/>
                  </a:lnTo>
                  <a:lnTo>
                    <a:pt x="1657008" y="196113"/>
                  </a:lnTo>
                  <a:lnTo>
                    <a:pt x="1657008" y="196799"/>
                  </a:lnTo>
                  <a:lnTo>
                    <a:pt x="1657008" y="196113"/>
                  </a:lnTo>
                  <a:lnTo>
                    <a:pt x="1657008" y="197447"/>
                  </a:lnTo>
                  <a:lnTo>
                    <a:pt x="1657109" y="196799"/>
                  </a:lnTo>
                  <a:lnTo>
                    <a:pt x="1657109" y="197447"/>
                  </a:lnTo>
                  <a:lnTo>
                    <a:pt x="1657160" y="197447"/>
                  </a:lnTo>
                  <a:lnTo>
                    <a:pt x="1657160" y="196799"/>
                  </a:lnTo>
                  <a:lnTo>
                    <a:pt x="1657160" y="198831"/>
                  </a:lnTo>
                  <a:lnTo>
                    <a:pt x="1657160" y="197447"/>
                  </a:lnTo>
                  <a:lnTo>
                    <a:pt x="1657160" y="198831"/>
                  </a:lnTo>
                  <a:lnTo>
                    <a:pt x="1657312" y="198831"/>
                  </a:lnTo>
                  <a:lnTo>
                    <a:pt x="1657312" y="197447"/>
                  </a:lnTo>
                  <a:lnTo>
                    <a:pt x="1657312" y="198831"/>
                  </a:lnTo>
                  <a:lnTo>
                    <a:pt x="1657312" y="197447"/>
                  </a:lnTo>
                  <a:lnTo>
                    <a:pt x="1657350" y="197447"/>
                  </a:lnTo>
                  <a:lnTo>
                    <a:pt x="1657350" y="195415"/>
                  </a:lnTo>
                  <a:lnTo>
                    <a:pt x="1657401" y="195415"/>
                  </a:lnTo>
                  <a:lnTo>
                    <a:pt x="1657401" y="194716"/>
                  </a:lnTo>
                  <a:lnTo>
                    <a:pt x="1657401" y="195415"/>
                  </a:lnTo>
                  <a:lnTo>
                    <a:pt x="1657401" y="193383"/>
                  </a:lnTo>
                  <a:lnTo>
                    <a:pt x="1657452" y="194716"/>
                  </a:lnTo>
                  <a:lnTo>
                    <a:pt x="1657452" y="195415"/>
                  </a:lnTo>
                  <a:lnTo>
                    <a:pt x="1657452" y="193383"/>
                  </a:lnTo>
                  <a:lnTo>
                    <a:pt x="1657452" y="196799"/>
                  </a:lnTo>
                  <a:lnTo>
                    <a:pt x="1657554" y="196799"/>
                  </a:lnTo>
                  <a:lnTo>
                    <a:pt x="1657554" y="195415"/>
                  </a:lnTo>
                  <a:lnTo>
                    <a:pt x="1657554" y="196799"/>
                  </a:lnTo>
                  <a:lnTo>
                    <a:pt x="1657605" y="196113"/>
                  </a:lnTo>
                  <a:lnTo>
                    <a:pt x="1657605" y="195415"/>
                  </a:lnTo>
                  <a:lnTo>
                    <a:pt x="1657605" y="196799"/>
                  </a:lnTo>
                  <a:lnTo>
                    <a:pt x="1657605" y="196113"/>
                  </a:lnTo>
                  <a:lnTo>
                    <a:pt x="1657605" y="196799"/>
                  </a:lnTo>
                  <a:lnTo>
                    <a:pt x="1657605" y="196113"/>
                  </a:lnTo>
                  <a:lnTo>
                    <a:pt x="1657655" y="196113"/>
                  </a:lnTo>
                  <a:lnTo>
                    <a:pt x="1657655" y="197447"/>
                  </a:lnTo>
                  <a:lnTo>
                    <a:pt x="1657757" y="197447"/>
                  </a:lnTo>
                  <a:lnTo>
                    <a:pt x="1657757" y="198831"/>
                  </a:lnTo>
                  <a:lnTo>
                    <a:pt x="1657757" y="197447"/>
                  </a:lnTo>
                  <a:lnTo>
                    <a:pt x="1657757" y="198831"/>
                  </a:lnTo>
                  <a:lnTo>
                    <a:pt x="1657808" y="198831"/>
                  </a:lnTo>
                  <a:lnTo>
                    <a:pt x="1657808" y="197447"/>
                  </a:lnTo>
                  <a:lnTo>
                    <a:pt x="1657808" y="198831"/>
                  </a:lnTo>
                  <a:lnTo>
                    <a:pt x="1657808" y="197447"/>
                  </a:lnTo>
                  <a:lnTo>
                    <a:pt x="1657808" y="198831"/>
                  </a:lnTo>
                  <a:lnTo>
                    <a:pt x="1657808" y="196799"/>
                  </a:lnTo>
                  <a:lnTo>
                    <a:pt x="1657859" y="196799"/>
                  </a:lnTo>
                  <a:lnTo>
                    <a:pt x="1657859" y="197447"/>
                  </a:lnTo>
                  <a:lnTo>
                    <a:pt x="1657859" y="196799"/>
                  </a:lnTo>
                  <a:lnTo>
                    <a:pt x="1657859" y="197447"/>
                  </a:lnTo>
                  <a:lnTo>
                    <a:pt x="1657859" y="195415"/>
                  </a:lnTo>
                  <a:lnTo>
                    <a:pt x="1657859" y="196113"/>
                  </a:lnTo>
                  <a:lnTo>
                    <a:pt x="1657859" y="195415"/>
                  </a:lnTo>
                  <a:lnTo>
                    <a:pt x="1657897" y="195415"/>
                  </a:lnTo>
                  <a:lnTo>
                    <a:pt x="1657897" y="194716"/>
                  </a:lnTo>
                  <a:lnTo>
                    <a:pt x="1657897" y="196113"/>
                  </a:lnTo>
                  <a:lnTo>
                    <a:pt x="1657998" y="195415"/>
                  </a:lnTo>
                  <a:lnTo>
                    <a:pt x="1657998" y="194716"/>
                  </a:lnTo>
                  <a:lnTo>
                    <a:pt x="1657998" y="196799"/>
                  </a:lnTo>
                  <a:lnTo>
                    <a:pt x="1658049" y="196799"/>
                  </a:lnTo>
                  <a:lnTo>
                    <a:pt x="1658049" y="196113"/>
                  </a:lnTo>
                  <a:lnTo>
                    <a:pt x="1658049" y="196799"/>
                  </a:lnTo>
                  <a:lnTo>
                    <a:pt x="1658049" y="196113"/>
                  </a:lnTo>
                  <a:lnTo>
                    <a:pt x="1658049" y="196799"/>
                  </a:lnTo>
                  <a:lnTo>
                    <a:pt x="1658049" y="196113"/>
                  </a:lnTo>
                  <a:lnTo>
                    <a:pt x="1658100" y="196113"/>
                  </a:lnTo>
                  <a:lnTo>
                    <a:pt x="1658100" y="196799"/>
                  </a:lnTo>
                  <a:lnTo>
                    <a:pt x="1658100" y="196113"/>
                  </a:lnTo>
                  <a:lnTo>
                    <a:pt x="1658100" y="196799"/>
                  </a:lnTo>
                  <a:lnTo>
                    <a:pt x="1658201" y="196799"/>
                  </a:lnTo>
                  <a:lnTo>
                    <a:pt x="1658201" y="197447"/>
                  </a:lnTo>
                  <a:lnTo>
                    <a:pt x="1658201" y="196799"/>
                  </a:lnTo>
                  <a:lnTo>
                    <a:pt x="1658201" y="197447"/>
                  </a:lnTo>
                  <a:lnTo>
                    <a:pt x="1658252" y="198831"/>
                  </a:lnTo>
                  <a:lnTo>
                    <a:pt x="1658252" y="197447"/>
                  </a:lnTo>
                  <a:lnTo>
                    <a:pt x="1658252" y="198831"/>
                  </a:lnTo>
                  <a:lnTo>
                    <a:pt x="1658252" y="197447"/>
                  </a:lnTo>
                  <a:lnTo>
                    <a:pt x="1658252" y="198831"/>
                  </a:lnTo>
                  <a:lnTo>
                    <a:pt x="1658252" y="197447"/>
                  </a:lnTo>
                  <a:lnTo>
                    <a:pt x="1658252" y="198831"/>
                  </a:lnTo>
                  <a:lnTo>
                    <a:pt x="1658252" y="197447"/>
                  </a:lnTo>
                  <a:lnTo>
                    <a:pt x="1658303" y="197447"/>
                  </a:lnTo>
                  <a:lnTo>
                    <a:pt x="1658303" y="196799"/>
                  </a:lnTo>
                  <a:lnTo>
                    <a:pt x="1658303" y="197447"/>
                  </a:lnTo>
                  <a:lnTo>
                    <a:pt x="1658303" y="196799"/>
                  </a:lnTo>
                  <a:lnTo>
                    <a:pt x="1658354" y="196799"/>
                  </a:lnTo>
                  <a:lnTo>
                    <a:pt x="1658354" y="195415"/>
                  </a:lnTo>
                  <a:lnTo>
                    <a:pt x="1658354" y="196113"/>
                  </a:lnTo>
                  <a:lnTo>
                    <a:pt x="1658443" y="196113"/>
                  </a:lnTo>
                  <a:lnTo>
                    <a:pt x="1658443" y="195415"/>
                  </a:lnTo>
                  <a:lnTo>
                    <a:pt x="1658443" y="196799"/>
                  </a:lnTo>
                  <a:lnTo>
                    <a:pt x="1658443" y="195415"/>
                  </a:lnTo>
                  <a:lnTo>
                    <a:pt x="1658443" y="196113"/>
                  </a:lnTo>
                  <a:lnTo>
                    <a:pt x="1658443" y="195415"/>
                  </a:lnTo>
                  <a:lnTo>
                    <a:pt x="1658443" y="196113"/>
                  </a:lnTo>
                  <a:lnTo>
                    <a:pt x="1658443" y="195415"/>
                  </a:lnTo>
                  <a:lnTo>
                    <a:pt x="1658494" y="195415"/>
                  </a:lnTo>
                  <a:lnTo>
                    <a:pt x="1658494" y="197447"/>
                  </a:lnTo>
                  <a:lnTo>
                    <a:pt x="1658494" y="196113"/>
                  </a:lnTo>
                  <a:lnTo>
                    <a:pt x="1658544" y="196799"/>
                  </a:lnTo>
                  <a:lnTo>
                    <a:pt x="1658544" y="196113"/>
                  </a:lnTo>
                  <a:lnTo>
                    <a:pt x="1658595" y="196113"/>
                  </a:lnTo>
                  <a:lnTo>
                    <a:pt x="1658595" y="197447"/>
                  </a:lnTo>
                  <a:lnTo>
                    <a:pt x="1658595" y="196113"/>
                  </a:lnTo>
                  <a:lnTo>
                    <a:pt x="1658595" y="196799"/>
                  </a:lnTo>
                  <a:lnTo>
                    <a:pt x="1658697" y="196799"/>
                  </a:lnTo>
                  <a:lnTo>
                    <a:pt x="1658697" y="197447"/>
                  </a:lnTo>
                  <a:lnTo>
                    <a:pt x="1658697" y="196799"/>
                  </a:lnTo>
                  <a:lnTo>
                    <a:pt x="1658697" y="197447"/>
                  </a:lnTo>
                  <a:lnTo>
                    <a:pt x="1658697" y="196799"/>
                  </a:lnTo>
                  <a:lnTo>
                    <a:pt x="1658697" y="197447"/>
                  </a:lnTo>
                  <a:lnTo>
                    <a:pt x="1658747" y="197447"/>
                  </a:lnTo>
                  <a:lnTo>
                    <a:pt x="1658747" y="196799"/>
                  </a:lnTo>
                  <a:lnTo>
                    <a:pt x="1658747" y="197447"/>
                  </a:lnTo>
                  <a:lnTo>
                    <a:pt x="1658798" y="196799"/>
                  </a:lnTo>
                  <a:lnTo>
                    <a:pt x="1658900" y="196799"/>
                  </a:lnTo>
                  <a:lnTo>
                    <a:pt x="1658900" y="195415"/>
                  </a:lnTo>
                  <a:lnTo>
                    <a:pt x="1658900" y="196799"/>
                  </a:lnTo>
                  <a:lnTo>
                    <a:pt x="1658938" y="196799"/>
                  </a:lnTo>
                  <a:lnTo>
                    <a:pt x="1658938" y="195415"/>
                  </a:lnTo>
                  <a:lnTo>
                    <a:pt x="1658938" y="198831"/>
                  </a:lnTo>
                  <a:lnTo>
                    <a:pt x="1658989" y="199530"/>
                  </a:lnTo>
                  <a:lnTo>
                    <a:pt x="1658989" y="196799"/>
                  </a:lnTo>
                  <a:lnTo>
                    <a:pt x="1658989" y="198831"/>
                  </a:lnTo>
                  <a:lnTo>
                    <a:pt x="1659040" y="198831"/>
                  </a:lnTo>
                  <a:lnTo>
                    <a:pt x="1659040" y="197447"/>
                  </a:lnTo>
                  <a:lnTo>
                    <a:pt x="1659040" y="198831"/>
                  </a:lnTo>
                  <a:lnTo>
                    <a:pt x="1659141" y="198831"/>
                  </a:lnTo>
                  <a:lnTo>
                    <a:pt x="1659141" y="197447"/>
                  </a:lnTo>
                  <a:lnTo>
                    <a:pt x="1659141" y="198831"/>
                  </a:lnTo>
                  <a:lnTo>
                    <a:pt x="1659192" y="198831"/>
                  </a:lnTo>
                  <a:lnTo>
                    <a:pt x="1659192" y="199530"/>
                  </a:lnTo>
                  <a:lnTo>
                    <a:pt x="1659192" y="198831"/>
                  </a:lnTo>
                  <a:lnTo>
                    <a:pt x="1659243" y="198831"/>
                  </a:lnTo>
                  <a:lnTo>
                    <a:pt x="1659243" y="199530"/>
                  </a:lnTo>
                  <a:lnTo>
                    <a:pt x="1659243" y="197447"/>
                  </a:lnTo>
                  <a:lnTo>
                    <a:pt x="1659243" y="198831"/>
                  </a:lnTo>
                  <a:lnTo>
                    <a:pt x="1659243" y="197447"/>
                  </a:lnTo>
                  <a:lnTo>
                    <a:pt x="1659344" y="197447"/>
                  </a:lnTo>
                  <a:lnTo>
                    <a:pt x="1659344" y="196799"/>
                  </a:lnTo>
                  <a:lnTo>
                    <a:pt x="1659344" y="198831"/>
                  </a:lnTo>
                  <a:lnTo>
                    <a:pt x="1659344" y="196799"/>
                  </a:lnTo>
                  <a:lnTo>
                    <a:pt x="1659395" y="196799"/>
                  </a:lnTo>
                  <a:lnTo>
                    <a:pt x="1659395" y="196113"/>
                  </a:lnTo>
                  <a:lnTo>
                    <a:pt x="1659395" y="197447"/>
                  </a:lnTo>
                  <a:lnTo>
                    <a:pt x="1659446" y="197447"/>
                  </a:lnTo>
                  <a:lnTo>
                    <a:pt x="1659446" y="196799"/>
                  </a:lnTo>
                  <a:lnTo>
                    <a:pt x="1659446" y="200228"/>
                  </a:lnTo>
                  <a:lnTo>
                    <a:pt x="1659446" y="198831"/>
                  </a:lnTo>
                  <a:lnTo>
                    <a:pt x="1659484" y="198831"/>
                  </a:lnTo>
                  <a:lnTo>
                    <a:pt x="1659484" y="199530"/>
                  </a:lnTo>
                  <a:lnTo>
                    <a:pt x="1659484" y="198831"/>
                  </a:lnTo>
                  <a:lnTo>
                    <a:pt x="1659484" y="199530"/>
                  </a:lnTo>
                  <a:lnTo>
                    <a:pt x="1659484" y="198831"/>
                  </a:lnTo>
                  <a:lnTo>
                    <a:pt x="1659586" y="198831"/>
                  </a:lnTo>
                  <a:lnTo>
                    <a:pt x="1659586" y="199530"/>
                  </a:lnTo>
                  <a:lnTo>
                    <a:pt x="1659637" y="199530"/>
                  </a:lnTo>
                  <a:lnTo>
                    <a:pt x="1659637" y="200228"/>
                  </a:lnTo>
                  <a:lnTo>
                    <a:pt x="1659637" y="199530"/>
                  </a:lnTo>
                  <a:lnTo>
                    <a:pt x="1659637" y="200228"/>
                  </a:lnTo>
                  <a:lnTo>
                    <a:pt x="1659637" y="199530"/>
                  </a:lnTo>
                  <a:lnTo>
                    <a:pt x="1659637" y="200228"/>
                  </a:lnTo>
                  <a:lnTo>
                    <a:pt x="1659637" y="198831"/>
                  </a:lnTo>
                  <a:lnTo>
                    <a:pt x="1659687" y="199530"/>
                  </a:lnTo>
                  <a:lnTo>
                    <a:pt x="1659687" y="200228"/>
                  </a:lnTo>
                  <a:lnTo>
                    <a:pt x="1659687" y="199530"/>
                  </a:lnTo>
                  <a:lnTo>
                    <a:pt x="1659789" y="199530"/>
                  </a:lnTo>
                  <a:lnTo>
                    <a:pt x="1659789" y="197447"/>
                  </a:lnTo>
                  <a:lnTo>
                    <a:pt x="1659789" y="198831"/>
                  </a:lnTo>
                  <a:lnTo>
                    <a:pt x="1659789" y="197447"/>
                  </a:lnTo>
                  <a:lnTo>
                    <a:pt x="1659840" y="197447"/>
                  </a:lnTo>
                  <a:lnTo>
                    <a:pt x="1659840" y="196799"/>
                  </a:lnTo>
                  <a:lnTo>
                    <a:pt x="1659840" y="197447"/>
                  </a:lnTo>
                  <a:lnTo>
                    <a:pt x="1659840" y="196113"/>
                  </a:lnTo>
                  <a:lnTo>
                    <a:pt x="1659890" y="195415"/>
                  </a:lnTo>
                  <a:lnTo>
                    <a:pt x="1659890" y="198831"/>
                  </a:lnTo>
                  <a:lnTo>
                    <a:pt x="1659890" y="196113"/>
                  </a:lnTo>
                  <a:lnTo>
                    <a:pt x="1659941" y="196113"/>
                  </a:lnTo>
                  <a:lnTo>
                    <a:pt x="1659941" y="199530"/>
                  </a:lnTo>
                  <a:lnTo>
                    <a:pt x="1659941" y="197447"/>
                  </a:lnTo>
                  <a:lnTo>
                    <a:pt x="1660030" y="197447"/>
                  </a:lnTo>
                  <a:lnTo>
                    <a:pt x="1660030" y="199530"/>
                  </a:lnTo>
                  <a:lnTo>
                    <a:pt x="1660030" y="198831"/>
                  </a:lnTo>
                  <a:lnTo>
                    <a:pt x="1660030" y="199530"/>
                  </a:lnTo>
                  <a:lnTo>
                    <a:pt x="1660030" y="198831"/>
                  </a:lnTo>
                  <a:lnTo>
                    <a:pt x="1660081" y="198831"/>
                  </a:lnTo>
                  <a:lnTo>
                    <a:pt x="1660081" y="199530"/>
                  </a:lnTo>
                  <a:lnTo>
                    <a:pt x="1660081" y="198831"/>
                  </a:lnTo>
                  <a:lnTo>
                    <a:pt x="1660081" y="199530"/>
                  </a:lnTo>
                  <a:lnTo>
                    <a:pt x="1660132" y="200228"/>
                  </a:lnTo>
                  <a:lnTo>
                    <a:pt x="1660132" y="199530"/>
                  </a:lnTo>
                  <a:lnTo>
                    <a:pt x="1660132" y="200228"/>
                  </a:lnTo>
                  <a:lnTo>
                    <a:pt x="1660132" y="199530"/>
                  </a:lnTo>
                  <a:lnTo>
                    <a:pt x="1660132" y="200228"/>
                  </a:lnTo>
                  <a:lnTo>
                    <a:pt x="1660132" y="199530"/>
                  </a:lnTo>
                  <a:lnTo>
                    <a:pt x="1660132" y="200228"/>
                  </a:lnTo>
                  <a:lnTo>
                    <a:pt x="1660132" y="199530"/>
                  </a:lnTo>
                  <a:lnTo>
                    <a:pt x="1660183" y="199530"/>
                  </a:lnTo>
                  <a:lnTo>
                    <a:pt x="1660183" y="198831"/>
                  </a:lnTo>
                  <a:lnTo>
                    <a:pt x="1660183" y="199530"/>
                  </a:lnTo>
                  <a:lnTo>
                    <a:pt x="1660183" y="198831"/>
                  </a:lnTo>
                  <a:lnTo>
                    <a:pt x="1660284" y="198831"/>
                  </a:lnTo>
                  <a:lnTo>
                    <a:pt x="1660284" y="197447"/>
                  </a:lnTo>
                  <a:lnTo>
                    <a:pt x="1660335" y="197447"/>
                  </a:lnTo>
                  <a:lnTo>
                    <a:pt x="1660335" y="196799"/>
                  </a:lnTo>
                  <a:lnTo>
                    <a:pt x="1660335" y="198831"/>
                  </a:lnTo>
                  <a:lnTo>
                    <a:pt x="1660335" y="197447"/>
                  </a:lnTo>
                  <a:lnTo>
                    <a:pt x="1660335" y="198831"/>
                  </a:lnTo>
                  <a:lnTo>
                    <a:pt x="1660386" y="197447"/>
                  </a:lnTo>
                  <a:lnTo>
                    <a:pt x="1660386" y="196799"/>
                  </a:lnTo>
                  <a:lnTo>
                    <a:pt x="1660386" y="199530"/>
                  </a:lnTo>
                  <a:lnTo>
                    <a:pt x="1660487" y="199530"/>
                  </a:lnTo>
                  <a:lnTo>
                    <a:pt x="1660487" y="198831"/>
                  </a:lnTo>
                  <a:lnTo>
                    <a:pt x="1660487" y="200228"/>
                  </a:lnTo>
                  <a:lnTo>
                    <a:pt x="1660487" y="199530"/>
                  </a:lnTo>
                  <a:lnTo>
                    <a:pt x="1660525" y="199530"/>
                  </a:lnTo>
                  <a:lnTo>
                    <a:pt x="1660525" y="200228"/>
                  </a:lnTo>
                  <a:lnTo>
                    <a:pt x="1660525" y="199530"/>
                  </a:lnTo>
                  <a:lnTo>
                    <a:pt x="1660576" y="200228"/>
                  </a:lnTo>
                  <a:lnTo>
                    <a:pt x="1660576" y="199530"/>
                  </a:lnTo>
                  <a:lnTo>
                    <a:pt x="1660576" y="200228"/>
                  </a:lnTo>
                  <a:lnTo>
                    <a:pt x="1660576" y="199530"/>
                  </a:lnTo>
                  <a:lnTo>
                    <a:pt x="1660576" y="200228"/>
                  </a:lnTo>
                  <a:lnTo>
                    <a:pt x="1660627" y="200228"/>
                  </a:lnTo>
                  <a:lnTo>
                    <a:pt x="1660627" y="199530"/>
                  </a:lnTo>
                  <a:lnTo>
                    <a:pt x="1660627" y="200228"/>
                  </a:lnTo>
                  <a:lnTo>
                    <a:pt x="1660627" y="199530"/>
                  </a:lnTo>
                  <a:lnTo>
                    <a:pt x="1660729" y="199530"/>
                  </a:lnTo>
                  <a:lnTo>
                    <a:pt x="1660729" y="197447"/>
                  </a:lnTo>
                  <a:lnTo>
                    <a:pt x="1660780" y="197447"/>
                  </a:lnTo>
                  <a:lnTo>
                    <a:pt x="1660780" y="196113"/>
                  </a:lnTo>
                  <a:lnTo>
                    <a:pt x="1660780" y="196799"/>
                  </a:lnTo>
                  <a:lnTo>
                    <a:pt x="1660830" y="196113"/>
                  </a:lnTo>
                  <a:lnTo>
                    <a:pt x="1660830" y="197447"/>
                  </a:lnTo>
                  <a:lnTo>
                    <a:pt x="1660830" y="196799"/>
                  </a:lnTo>
                  <a:lnTo>
                    <a:pt x="1660830" y="197447"/>
                  </a:lnTo>
                  <a:lnTo>
                    <a:pt x="1660830" y="196799"/>
                  </a:lnTo>
                  <a:lnTo>
                    <a:pt x="1660932" y="196799"/>
                  </a:lnTo>
                  <a:lnTo>
                    <a:pt x="1660932" y="199530"/>
                  </a:lnTo>
                  <a:lnTo>
                    <a:pt x="1660932" y="196799"/>
                  </a:lnTo>
                  <a:lnTo>
                    <a:pt x="1660932" y="197447"/>
                  </a:lnTo>
                  <a:lnTo>
                    <a:pt x="1660983" y="197447"/>
                  </a:lnTo>
                  <a:lnTo>
                    <a:pt x="1660983" y="199530"/>
                  </a:lnTo>
                  <a:lnTo>
                    <a:pt x="1660983" y="198831"/>
                  </a:lnTo>
                  <a:lnTo>
                    <a:pt x="1660983" y="199530"/>
                  </a:lnTo>
                  <a:lnTo>
                    <a:pt x="1660983" y="198831"/>
                  </a:lnTo>
                  <a:lnTo>
                    <a:pt x="1660983" y="199530"/>
                  </a:lnTo>
                  <a:lnTo>
                    <a:pt x="1660983" y="197447"/>
                  </a:lnTo>
                  <a:lnTo>
                    <a:pt x="1660983" y="198831"/>
                  </a:lnTo>
                  <a:lnTo>
                    <a:pt x="1661034" y="197447"/>
                  </a:lnTo>
                  <a:lnTo>
                    <a:pt x="1661034" y="199530"/>
                  </a:lnTo>
                  <a:lnTo>
                    <a:pt x="1661072" y="199530"/>
                  </a:lnTo>
                  <a:lnTo>
                    <a:pt x="1661072" y="200228"/>
                  </a:lnTo>
                  <a:lnTo>
                    <a:pt x="1661173" y="200228"/>
                  </a:lnTo>
                  <a:lnTo>
                    <a:pt x="1661173" y="199530"/>
                  </a:lnTo>
                  <a:lnTo>
                    <a:pt x="1661224" y="199530"/>
                  </a:lnTo>
                  <a:lnTo>
                    <a:pt x="1661224" y="197447"/>
                  </a:lnTo>
                  <a:lnTo>
                    <a:pt x="1661224" y="198831"/>
                  </a:lnTo>
                  <a:lnTo>
                    <a:pt x="1661224" y="197447"/>
                  </a:lnTo>
                  <a:lnTo>
                    <a:pt x="1661275" y="197447"/>
                  </a:lnTo>
                  <a:lnTo>
                    <a:pt x="1661275" y="196113"/>
                  </a:lnTo>
                  <a:lnTo>
                    <a:pt x="1661275" y="196799"/>
                  </a:lnTo>
                  <a:lnTo>
                    <a:pt x="1661275" y="196113"/>
                  </a:lnTo>
                  <a:lnTo>
                    <a:pt x="1661376" y="196113"/>
                  </a:lnTo>
                  <a:lnTo>
                    <a:pt x="1661376" y="196799"/>
                  </a:lnTo>
                  <a:lnTo>
                    <a:pt x="1661376" y="196113"/>
                  </a:lnTo>
                  <a:lnTo>
                    <a:pt x="1661427" y="196113"/>
                  </a:lnTo>
                  <a:lnTo>
                    <a:pt x="1661427" y="197447"/>
                  </a:lnTo>
                  <a:lnTo>
                    <a:pt x="1661427" y="196799"/>
                  </a:lnTo>
                  <a:lnTo>
                    <a:pt x="1661478" y="197447"/>
                  </a:lnTo>
                  <a:lnTo>
                    <a:pt x="1661478" y="196799"/>
                  </a:lnTo>
                  <a:lnTo>
                    <a:pt x="1661478" y="197447"/>
                  </a:lnTo>
                  <a:lnTo>
                    <a:pt x="1661478" y="196799"/>
                  </a:lnTo>
                  <a:lnTo>
                    <a:pt x="1661478" y="197447"/>
                  </a:lnTo>
                  <a:lnTo>
                    <a:pt x="1661618" y="197447"/>
                  </a:lnTo>
                  <a:lnTo>
                    <a:pt x="1661618" y="199530"/>
                  </a:lnTo>
                  <a:lnTo>
                    <a:pt x="1661618" y="198831"/>
                  </a:lnTo>
                  <a:lnTo>
                    <a:pt x="1661618" y="199530"/>
                  </a:lnTo>
                  <a:lnTo>
                    <a:pt x="1661669" y="198831"/>
                  </a:lnTo>
                  <a:lnTo>
                    <a:pt x="1661669" y="197447"/>
                  </a:lnTo>
                  <a:lnTo>
                    <a:pt x="1661669" y="198831"/>
                  </a:lnTo>
                  <a:lnTo>
                    <a:pt x="1661719" y="198831"/>
                  </a:lnTo>
                  <a:lnTo>
                    <a:pt x="1661719" y="196799"/>
                  </a:lnTo>
                  <a:lnTo>
                    <a:pt x="1661719" y="197447"/>
                  </a:lnTo>
                  <a:lnTo>
                    <a:pt x="1661719" y="196799"/>
                  </a:lnTo>
                  <a:lnTo>
                    <a:pt x="1661770" y="196799"/>
                  </a:lnTo>
                  <a:lnTo>
                    <a:pt x="1661770" y="196113"/>
                  </a:lnTo>
                  <a:lnTo>
                    <a:pt x="1661770" y="196799"/>
                  </a:lnTo>
                  <a:lnTo>
                    <a:pt x="1661872" y="196799"/>
                  </a:lnTo>
                  <a:lnTo>
                    <a:pt x="1661872" y="196113"/>
                  </a:lnTo>
                  <a:lnTo>
                    <a:pt x="1661872" y="196799"/>
                  </a:lnTo>
                  <a:lnTo>
                    <a:pt x="1661872" y="196113"/>
                  </a:lnTo>
                  <a:lnTo>
                    <a:pt x="1661872" y="197447"/>
                  </a:lnTo>
                  <a:lnTo>
                    <a:pt x="1661922" y="197447"/>
                  </a:lnTo>
                  <a:lnTo>
                    <a:pt x="1661922" y="196799"/>
                  </a:lnTo>
                  <a:lnTo>
                    <a:pt x="1661922" y="197447"/>
                  </a:lnTo>
                  <a:lnTo>
                    <a:pt x="1661973" y="197447"/>
                  </a:lnTo>
                  <a:lnTo>
                    <a:pt x="1661973" y="196799"/>
                  </a:lnTo>
                  <a:lnTo>
                    <a:pt x="1661973" y="197447"/>
                  </a:lnTo>
                  <a:lnTo>
                    <a:pt x="1661973" y="196799"/>
                  </a:lnTo>
                  <a:lnTo>
                    <a:pt x="1661973" y="198831"/>
                  </a:lnTo>
                  <a:lnTo>
                    <a:pt x="1662075" y="198831"/>
                  </a:lnTo>
                  <a:lnTo>
                    <a:pt x="1662075" y="197447"/>
                  </a:lnTo>
                  <a:lnTo>
                    <a:pt x="1662075" y="198831"/>
                  </a:lnTo>
                  <a:lnTo>
                    <a:pt x="1662113" y="198831"/>
                  </a:lnTo>
                  <a:lnTo>
                    <a:pt x="1662113" y="199530"/>
                  </a:lnTo>
                  <a:lnTo>
                    <a:pt x="1662113" y="198831"/>
                  </a:lnTo>
                  <a:lnTo>
                    <a:pt x="1662113" y="199530"/>
                  </a:lnTo>
                  <a:lnTo>
                    <a:pt x="1662113" y="198831"/>
                  </a:lnTo>
                  <a:lnTo>
                    <a:pt x="1662113" y="199530"/>
                  </a:lnTo>
                  <a:lnTo>
                    <a:pt x="1662164" y="198831"/>
                  </a:lnTo>
                  <a:lnTo>
                    <a:pt x="1662164" y="197447"/>
                  </a:lnTo>
                  <a:lnTo>
                    <a:pt x="1662164" y="198831"/>
                  </a:lnTo>
                  <a:lnTo>
                    <a:pt x="1662164" y="197447"/>
                  </a:lnTo>
                  <a:lnTo>
                    <a:pt x="1662164" y="199530"/>
                  </a:lnTo>
                  <a:lnTo>
                    <a:pt x="1662164" y="198831"/>
                  </a:lnTo>
                  <a:lnTo>
                    <a:pt x="1662215" y="198831"/>
                  </a:lnTo>
                  <a:lnTo>
                    <a:pt x="1662215" y="197447"/>
                  </a:lnTo>
                  <a:lnTo>
                    <a:pt x="1662215" y="198831"/>
                  </a:lnTo>
                  <a:lnTo>
                    <a:pt x="1662215" y="196799"/>
                  </a:lnTo>
                  <a:lnTo>
                    <a:pt x="1662316" y="196799"/>
                  </a:lnTo>
                  <a:lnTo>
                    <a:pt x="1662316" y="196113"/>
                  </a:lnTo>
                  <a:lnTo>
                    <a:pt x="1662316" y="196799"/>
                  </a:lnTo>
                  <a:lnTo>
                    <a:pt x="1662316" y="196113"/>
                  </a:lnTo>
                  <a:lnTo>
                    <a:pt x="1662316" y="197447"/>
                  </a:lnTo>
                  <a:lnTo>
                    <a:pt x="1662367" y="197447"/>
                  </a:lnTo>
                  <a:lnTo>
                    <a:pt x="1662367" y="196799"/>
                  </a:lnTo>
                  <a:lnTo>
                    <a:pt x="1662367" y="198831"/>
                  </a:lnTo>
                  <a:lnTo>
                    <a:pt x="1662418" y="198831"/>
                  </a:lnTo>
                  <a:lnTo>
                    <a:pt x="1662418" y="196799"/>
                  </a:lnTo>
                  <a:lnTo>
                    <a:pt x="1662418" y="198831"/>
                  </a:lnTo>
                  <a:lnTo>
                    <a:pt x="1662519" y="197447"/>
                  </a:lnTo>
                  <a:lnTo>
                    <a:pt x="1662519" y="198831"/>
                  </a:lnTo>
                  <a:lnTo>
                    <a:pt x="1662519" y="197447"/>
                  </a:lnTo>
                  <a:lnTo>
                    <a:pt x="1662519" y="199530"/>
                  </a:lnTo>
                  <a:lnTo>
                    <a:pt x="1662519" y="198831"/>
                  </a:lnTo>
                  <a:lnTo>
                    <a:pt x="1662519" y="199530"/>
                  </a:lnTo>
                  <a:lnTo>
                    <a:pt x="1662570" y="199530"/>
                  </a:lnTo>
                  <a:lnTo>
                    <a:pt x="1662570" y="198831"/>
                  </a:lnTo>
                  <a:lnTo>
                    <a:pt x="1662570" y="199530"/>
                  </a:lnTo>
                  <a:lnTo>
                    <a:pt x="1662570" y="198831"/>
                  </a:lnTo>
                  <a:lnTo>
                    <a:pt x="1662570" y="199530"/>
                  </a:lnTo>
                  <a:lnTo>
                    <a:pt x="1662570" y="198831"/>
                  </a:lnTo>
                  <a:lnTo>
                    <a:pt x="1662621" y="199530"/>
                  </a:lnTo>
                  <a:lnTo>
                    <a:pt x="1662621" y="198831"/>
                  </a:lnTo>
                  <a:lnTo>
                    <a:pt x="1662621" y="199530"/>
                  </a:lnTo>
                  <a:lnTo>
                    <a:pt x="1662621" y="198831"/>
                  </a:lnTo>
                  <a:lnTo>
                    <a:pt x="1662621" y="199530"/>
                  </a:lnTo>
                  <a:lnTo>
                    <a:pt x="1662621" y="198831"/>
                  </a:lnTo>
                  <a:lnTo>
                    <a:pt x="1662621" y="199530"/>
                  </a:lnTo>
                  <a:lnTo>
                    <a:pt x="1662621" y="197447"/>
                  </a:lnTo>
                  <a:lnTo>
                    <a:pt x="1662659" y="197447"/>
                  </a:lnTo>
                  <a:lnTo>
                    <a:pt x="1662659" y="198831"/>
                  </a:lnTo>
                  <a:lnTo>
                    <a:pt x="1662659" y="197447"/>
                  </a:lnTo>
                  <a:lnTo>
                    <a:pt x="1662659" y="198831"/>
                  </a:lnTo>
                  <a:lnTo>
                    <a:pt x="1662659" y="197447"/>
                  </a:lnTo>
                  <a:lnTo>
                    <a:pt x="1662659" y="198831"/>
                  </a:lnTo>
                  <a:lnTo>
                    <a:pt x="1662659" y="196799"/>
                  </a:lnTo>
                  <a:lnTo>
                    <a:pt x="1662659" y="197447"/>
                  </a:lnTo>
                  <a:lnTo>
                    <a:pt x="1662659" y="196799"/>
                  </a:lnTo>
                  <a:lnTo>
                    <a:pt x="1662659" y="197447"/>
                  </a:lnTo>
                  <a:lnTo>
                    <a:pt x="1662761" y="197447"/>
                  </a:lnTo>
                  <a:lnTo>
                    <a:pt x="1662761" y="196113"/>
                  </a:lnTo>
                  <a:lnTo>
                    <a:pt x="1662812" y="195415"/>
                  </a:lnTo>
                  <a:lnTo>
                    <a:pt x="1662812" y="196799"/>
                  </a:lnTo>
                  <a:lnTo>
                    <a:pt x="1662862" y="196799"/>
                  </a:lnTo>
                  <a:lnTo>
                    <a:pt x="1662862" y="195415"/>
                  </a:lnTo>
                  <a:lnTo>
                    <a:pt x="1662862" y="198831"/>
                  </a:lnTo>
                  <a:lnTo>
                    <a:pt x="1662862" y="196799"/>
                  </a:lnTo>
                  <a:lnTo>
                    <a:pt x="1662964" y="196799"/>
                  </a:lnTo>
                  <a:lnTo>
                    <a:pt x="1662964" y="196113"/>
                  </a:lnTo>
                  <a:lnTo>
                    <a:pt x="1662964" y="197447"/>
                  </a:lnTo>
                  <a:lnTo>
                    <a:pt x="1662964" y="196799"/>
                  </a:lnTo>
                  <a:lnTo>
                    <a:pt x="1663015" y="196799"/>
                  </a:lnTo>
                  <a:lnTo>
                    <a:pt x="1663015" y="198831"/>
                  </a:lnTo>
                  <a:lnTo>
                    <a:pt x="1663015" y="197447"/>
                  </a:lnTo>
                  <a:lnTo>
                    <a:pt x="1663015" y="198831"/>
                  </a:lnTo>
                  <a:lnTo>
                    <a:pt x="1663065" y="198831"/>
                  </a:lnTo>
                  <a:lnTo>
                    <a:pt x="1663065" y="197447"/>
                  </a:lnTo>
                  <a:lnTo>
                    <a:pt x="1663116" y="198831"/>
                  </a:lnTo>
                  <a:lnTo>
                    <a:pt x="1663116" y="199530"/>
                  </a:lnTo>
                  <a:lnTo>
                    <a:pt x="1663116" y="198831"/>
                  </a:lnTo>
                  <a:lnTo>
                    <a:pt x="1663205" y="198831"/>
                  </a:lnTo>
                  <a:lnTo>
                    <a:pt x="1663205" y="197447"/>
                  </a:lnTo>
                  <a:lnTo>
                    <a:pt x="1663205" y="198831"/>
                  </a:lnTo>
                  <a:lnTo>
                    <a:pt x="1663205" y="196799"/>
                  </a:lnTo>
                  <a:lnTo>
                    <a:pt x="1663205" y="197447"/>
                  </a:lnTo>
                  <a:lnTo>
                    <a:pt x="1663256" y="197447"/>
                  </a:lnTo>
                  <a:lnTo>
                    <a:pt x="1663256" y="196113"/>
                  </a:lnTo>
                  <a:lnTo>
                    <a:pt x="1663256" y="196799"/>
                  </a:lnTo>
                  <a:lnTo>
                    <a:pt x="1663256" y="196113"/>
                  </a:lnTo>
                  <a:lnTo>
                    <a:pt x="1663307" y="195415"/>
                  </a:lnTo>
                  <a:lnTo>
                    <a:pt x="1663307" y="194716"/>
                  </a:lnTo>
                  <a:lnTo>
                    <a:pt x="1663307" y="196799"/>
                  </a:lnTo>
                  <a:lnTo>
                    <a:pt x="1663307" y="195415"/>
                  </a:lnTo>
                  <a:lnTo>
                    <a:pt x="1663358" y="195415"/>
                  </a:lnTo>
                  <a:lnTo>
                    <a:pt x="1663358" y="197447"/>
                  </a:lnTo>
                  <a:lnTo>
                    <a:pt x="1663358" y="196799"/>
                  </a:lnTo>
                  <a:lnTo>
                    <a:pt x="1663358" y="197447"/>
                  </a:lnTo>
                  <a:lnTo>
                    <a:pt x="1663358" y="196113"/>
                  </a:lnTo>
                  <a:lnTo>
                    <a:pt x="1663459" y="196799"/>
                  </a:lnTo>
                  <a:lnTo>
                    <a:pt x="1663459" y="197447"/>
                  </a:lnTo>
                  <a:lnTo>
                    <a:pt x="1663459" y="196799"/>
                  </a:lnTo>
                  <a:lnTo>
                    <a:pt x="1663459" y="197447"/>
                  </a:lnTo>
                  <a:lnTo>
                    <a:pt x="1663510" y="198831"/>
                  </a:lnTo>
                  <a:lnTo>
                    <a:pt x="1663510" y="197447"/>
                  </a:lnTo>
                  <a:lnTo>
                    <a:pt x="1663510" y="198831"/>
                  </a:lnTo>
                  <a:lnTo>
                    <a:pt x="1663510" y="197447"/>
                  </a:lnTo>
                  <a:lnTo>
                    <a:pt x="1663510" y="198831"/>
                  </a:lnTo>
                  <a:lnTo>
                    <a:pt x="1663510" y="197447"/>
                  </a:lnTo>
                  <a:lnTo>
                    <a:pt x="1663510" y="199530"/>
                  </a:lnTo>
                  <a:lnTo>
                    <a:pt x="1663561" y="198831"/>
                  </a:lnTo>
                  <a:lnTo>
                    <a:pt x="1663561" y="197447"/>
                  </a:lnTo>
                  <a:lnTo>
                    <a:pt x="1663561" y="198831"/>
                  </a:lnTo>
                  <a:lnTo>
                    <a:pt x="1663662" y="198831"/>
                  </a:lnTo>
                  <a:lnTo>
                    <a:pt x="1663662" y="197447"/>
                  </a:lnTo>
                  <a:lnTo>
                    <a:pt x="1663662" y="198831"/>
                  </a:lnTo>
                  <a:lnTo>
                    <a:pt x="1663662" y="197447"/>
                  </a:lnTo>
                  <a:lnTo>
                    <a:pt x="1663700" y="197447"/>
                  </a:lnTo>
                  <a:lnTo>
                    <a:pt x="1663700" y="196799"/>
                  </a:lnTo>
                  <a:lnTo>
                    <a:pt x="1663700" y="197447"/>
                  </a:lnTo>
                  <a:lnTo>
                    <a:pt x="1663700" y="196799"/>
                  </a:lnTo>
                  <a:lnTo>
                    <a:pt x="1663700" y="197447"/>
                  </a:lnTo>
                  <a:lnTo>
                    <a:pt x="1663700" y="196799"/>
                  </a:lnTo>
                  <a:lnTo>
                    <a:pt x="1663751" y="196799"/>
                  </a:lnTo>
                  <a:lnTo>
                    <a:pt x="1663751" y="196113"/>
                  </a:lnTo>
                  <a:lnTo>
                    <a:pt x="1663751" y="196799"/>
                  </a:lnTo>
                  <a:lnTo>
                    <a:pt x="1663751" y="195415"/>
                  </a:lnTo>
                  <a:lnTo>
                    <a:pt x="1663802" y="195415"/>
                  </a:lnTo>
                  <a:lnTo>
                    <a:pt x="1663802" y="192684"/>
                  </a:lnTo>
                  <a:lnTo>
                    <a:pt x="1663802" y="194716"/>
                  </a:lnTo>
                  <a:lnTo>
                    <a:pt x="1663802" y="193383"/>
                  </a:lnTo>
                  <a:lnTo>
                    <a:pt x="1663904" y="193383"/>
                  </a:lnTo>
                  <a:lnTo>
                    <a:pt x="1663904" y="192684"/>
                  </a:lnTo>
                  <a:lnTo>
                    <a:pt x="1663904" y="195415"/>
                  </a:lnTo>
                  <a:lnTo>
                    <a:pt x="1663955" y="195415"/>
                  </a:lnTo>
                  <a:lnTo>
                    <a:pt x="1663955" y="194716"/>
                  </a:lnTo>
                  <a:lnTo>
                    <a:pt x="1663955" y="196113"/>
                  </a:lnTo>
                  <a:lnTo>
                    <a:pt x="1664005" y="196113"/>
                  </a:lnTo>
                  <a:lnTo>
                    <a:pt x="1664005" y="196799"/>
                  </a:lnTo>
                  <a:lnTo>
                    <a:pt x="1664005" y="196113"/>
                  </a:lnTo>
                  <a:lnTo>
                    <a:pt x="1664005" y="196799"/>
                  </a:lnTo>
                  <a:lnTo>
                    <a:pt x="1664107" y="196799"/>
                  </a:lnTo>
                  <a:lnTo>
                    <a:pt x="1664107" y="197447"/>
                  </a:lnTo>
                  <a:lnTo>
                    <a:pt x="1664107" y="196799"/>
                  </a:lnTo>
                  <a:lnTo>
                    <a:pt x="1664107" y="197447"/>
                  </a:lnTo>
                  <a:lnTo>
                    <a:pt x="1664107" y="196799"/>
                  </a:lnTo>
                  <a:lnTo>
                    <a:pt x="1664107" y="197447"/>
                  </a:lnTo>
                  <a:lnTo>
                    <a:pt x="1664107" y="196799"/>
                  </a:lnTo>
                  <a:lnTo>
                    <a:pt x="1664107" y="197447"/>
                  </a:lnTo>
                  <a:lnTo>
                    <a:pt x="1664158" y="197447"/>
                  </a:lnTo>
                  <a:lnTo>
                    <a:pt x="1664158" y="198831"/>
                  </a:lnTo>
                  <a:lnTo>
                    <a:pt x="1664209" y="198831"/>
                  </a:lnTo>
                  <a:lnTo>
                    <a:pt x="1664209" y="197447"/>
                  </a:lnTo>
                  <a:lnTo>
                    <a:pt x="1664209" y="198831"/>
                  </a:lnTo>
                  <a:lnTo>
                    <a:pt x="1664209" y="197447"/>
                  </a:lnTo>
                  <a:lnTo>
                    <a:pt x="1664247" y="197447"/>
                  </a:lnTo>
                  <a:lnTo>
                    <a:pt x="1664247" y="195415"/>
                  </a:lnTo>
                  <a:lnTo>
                    <a:pt x="1664348" y="195415"/>
                  </a:lnTo>
                  <a:lnTo>
                    <a:pt x="1664348" y="193383"/>
                  </a:lnTo>
                  <a:lnTo>
                    <a:pt x="1664348" y="194716"/>
                  </a:lnTo>
                  <a:lnTo>
                    <a:pt x="1664348" y="193383"/>
                  </a:lnTo>
                  <a:lnTo>
                    <a:pt x="1664348" y="195415"/>
                  </a:lnTo>
                  <a:lnTo>
                    <a:pt x="1664348" y="194716"/>
                  </a:lnTo>
                  <a:lnTo>
                    <a:pt x="1664399" y="193383"/>
                  </a:lnTo>
                  <a:lnTo>
                    <a:pt x="1664399" y="194716"/>
                  </a:lnTo>
                  <a:lnTo>
                    <a:pt x="1664399" y="192684"/>
                  </a:lnTo>
                  <a:lnTo>
                    <a:pt x="1664399" y="195415"/>
                  </a:lnTo>
                  <a:lnTo>
                    <a:pt x="1664399" y="194716"/>
                  </a:lnTo>
                  <a:lnTo>
                    <a:pt x="1664450" y="194716"/>
                  </a:lnTo>
                  <a:lnTo>
                    <a:pt x="1664450" y="196113"/>
                  </a:lnTo>
                  <a:lnTo>
                    <a:pt x="1664450" y="195415"/>
                  </a:lnTo>
                  <a:lnTo>
                    <a:pt x="1664551" y="195415"/>
                  </a:lnTo>
                  <a:lnTo>
                    <a:pt x="1664551" y="194716"/>
                  </a:lnTo>
                  <a:lnTo>
                    <a:pt x="1664551" y="195415"/>
                  </a:lnTo>
                  <a:lnTo>
                    <a:pt x="1664602" y="195415"/>
                  </a:lnTo>
                  <a:lnTo>
                    <a:pt x="1664602" y="196113"/>
                  </a:lnTo>
                  <a:lnTo>
                    <a:pt x="1664653" y="196799"/>
                  </a:lnTo>
                  <a:lnTo>
                    <a:pt x="1664653" y="196113"/>
                  </a:lnTo>
                  <a:lnTo>
                    <a:pt x="1664653" y="196799"/>
                  </a:lnTo>
                  <a:lnTo>
                    <a:pt x="1664653" y="196113"/>
                  </a:lnTo>
                  <a:lnTo>
                    <a:pt x="1664653" y="196799"/>
                  </a:lnTo>
                  <a:lnTo>
                    <a:pt x="1664704" y="196799"/>
                  </a:lnTo>
                  <a:lnTo>
                    <a:pt x="1664704" y="197447"/>
                  </a:lnTo>
                  <a:lnTo>
                    <a:pt x="1664704" y="196799"/>
                  </a:lnTo>
                  <a:lnTo>
                    <a:pt x="1664704" y="197447"/>
                  </a:lnTo>
                  <a:lnTo>
                    <a:pt x="1664704" y="196799"/>
                  </a:lnTo>
                  <a:lnTo>
                    <a:pt x="1664704" y="197447"/>
                  </a:lnTo>
                  <a:lnTo>
                    <a:pt x="1664704" y="196799"/>
                  </a:lnTo>
                  <a:lnTo>
                    <a:pt x="1664793" y="196799"/>
                  </a:lnTo>
                  <a:lnTo>
                    <a:pt x="1664793" y="196113"/>
                  </a:lnTo>
                  <a:lnTo>
                    <a:pt x="1664793" y="196799"/>
                  </a:lnTo>
                  <a:lnTo>
                    <a:pt x="1664793" y="194716"/>
                  </a:lnTo>
                  <a:lnTo>
                    <a:pt x="1664844" y="195415"/>
                  </a:lnTo>
                  <a:lnTo>
                    <a:pt x="1664844" y="196799"/>
                  </a:lnTo>
                  <a:lnTo>
                    <a:pt x="1664844" y="194716"/>
                  </a:lnTo>
                  <a:lnTo>
                    <a:pt x="1664844" y="195415"/>
                  </a:lnTo>
                  <a:lnTo>
                    <a:pt x="1664894" y="196113"/>
                  </a:lnTo>
                  <a:lnTo>
                    <a:pt x="1664894" y="198831"/>
                  </a:lnTo>
                  <a:lnTo>
                    <a:pt x="1664894" y="197447"/>
                  </a:lnTo>
                  <a:lnTo>
                    <a:pt x="1664894" y="198831"/>
                  </a:lnTo>
                  <a:lnTo>
                    <a:pt x="1664894" y="196113"/>
                  </a:lnTo>
                  <a:lnTo>
                    <a:pt x="1664894" y="196799"/>
                  </a:lnTo>
                  <a:lnTo>
                    <a:pt x="1664894" y="196113"/>
                  </a:lnTo>
                  <a:lnTo>
                    <a:pt x="1664894" y="196799"/>
                  </a:lnTo>
                  <a:lnTo>
                    <a:pt x="1664894" y="196113"/>
                  </a:lnTo>
                  <a:lnTo>
                    <a:pt x="1664945" y="196799"/>
                  </a:lnTo>
                  <a:lnTo>
                    <a:pt x="1664945" y="198831"/>
                  </a:lnTo>
                  <a:lnTo>
                    <a:pt x="1664945" y="196799"/>
                  </a:lnTo>
                  <a:lnTo>
                    <a:pt x="1664945" y="197447"/>
                  </a:lnTo>
                  <a:lnTo>
                    <a:pt x="1664945" y="196799"/>
                  </a:lnTo>
                  <a:lnTo>
                    <a:pt x="1665047" y="196799"/>
                  </a:lnTo>
                  <a:lnTo>
                    <a:pt x="1665047" y="197447"/>
                  </a:lnTo>
                  <a:lnTo>
                    <a:pt x="1665047" y="196113"/>
                  </a:lnTo>
                  <a:lnTo>
                    <a:pt x="1665047" y="197447"/>
                  </a:lnTo>
                  <a:lnTo>
                    <a:pt x="1665047" y="196799"/>
                  </a:lnTo>
                  <a:lnTo>
                    <a:pt x="1665097" y="197447"/>
                  </a:lnTo>
                  <a:lnTo>
                    <a:pt x="1665097" y="196799"/>
                  </a:lnTo>
                  <a:lnTo>
                    <a:pt x="1665097" y="197447"/>
                  </a:lnTo>
                  <a:lnTo>
                    <a:pt x="1665097" y="196799"/>
                  </a:lnTo>
                  <a:lnTo>
                    <a:pt x="1665148" y="197447"/>
                  </a:lnTo>
                  <a:lnTo>
                    <a:pt x="1665148" y="196799"/>
                  </a:lnTo>
                  <a:lnTo>
                    <a:pt x="1665148" y="198831"/>
                  </a:lnTo>
                  <a:lnTo>
                    <a:pt x="1665148" y="197447"/>
                  </a:lnTo>
                  <a:lnTo>
                    <a:pt x="1665148" y="198831"/>
                  </a:lnTo>
                  <a:lnTo>
                    <a:pt x="1665148" y="197447"/>
                  </a:lnTo>
                  <a:lnTo>
                    <a:pt x="1665250" y="197447"/>
                  </a:lnTo>
                  <a:lnTo>
                    <a:pt x="1665250" y="198831"/>
                  </a:lnTo>
                  <a:lnTo>
                    <a:pt x="1665250" y="197447"/>
                  </a:lnTo>
                  <a:lnTo>
                    <a:pt x="1665250" y="198831"/>
                  </a:lnTo>
                  <a:lnTo>
                    <a:pt x="1665250" y="196799"/>
                  </a:lnTo>
                  <a:lnTo>
                    <a:pt x="1665288" y="196799"/>
                  </a:lnTo>
                  <a:lnTo>
                    <a:pt x="1665288" y="197447"/>
                  </a:lnTo>
                  <a:lnTo>
                    <a:pt x="1665288" y="195415"/>
                  </a:lnTo>
                  <a:lnTo>
                    <a:pt x="1665288" y="196113"/>
                  </a:lnTo>
                  <a:lnTo>
                    <a:pt x="1665339" y="196799"/>
                  </a:lnTo>
                  <a:lnTo>
                    <a:pt x="1665339" y="197447"/>
                  </a:lnTo>
                  <a:lnTo>
                    <a:pt x="1665339" y="195415"/>
                  </a:lnTo>
                  <a:lnTo>
                    <a:pt x="1665339" y="199530"/>
                  </a:lnTo>
                  <a:lnTo>
                    <a:pt x="1665390" y="198831"/>
                  </a:lnTo>
                  <a:lnTo>
                    <a:pt x="1665390" y="199530"/>
                  </a:lnTo>
                  <a:lnTo>
                    <a:pt x="1665390" y="197447"/>
                  </a:lnTo>
                  <a:lnTo>
                    <a:pt x="1665390" y="199530"/>
                  </a:lnTo>
                  <a:lnTo>
                    <a:pt x="1665491" y="199530"/>
                  </a:lnTo>
                  <a:lnTo>
                    <a:pt x="1665491" y="198831"/>
                  </a:lnTo>
                  <a:lnTo>
                    <a:pt x="1665491" y="199530"/>
                  </a:lnTo>
                  <a:lnTo>
                    <a:pt x="1665491" y="198831"/>
                  </a:lnTo>
                  <a:lnTo>
                    <a:pt x="1665542" y="198831"/>
                  </a:lnTo>
                  <a:lnTo>
                    <a:pt x="1665542" y="197447"/>
                  </a:lnTo>
                  <a:lnTo>
                    <a:pt x="1665542" y="198831"/>
                  </a:lnTo>
                  <a:lnTo>
                    <a:pt x="1665542" y="197447"/>
                  </a:lnTo>
                  <a:lnTo>
                    <a:pt x="1665542" y="198831"/>
                  </a:lnTo>
                  <a:lnTo>
                    <a:pt x="1665542" y="197447"/>
                  </a:lnTo>
                  <a:lnTo>
                    <a:pt x="1665542" y="198831"/>
                  </a:lnTo>
                  <a:lnTo>
                    <a:pt x="1665593" y="198831"/>
                  </a:lnTo>
                  <a:lnTo>
                    <a:pt x="1665593" y="197447"/>
                  </a:lnTo>
                  <a:lnTo>
                    <a:pt x="1665593" y="198831"/>
                  </a:lnTo>
                  <a:lnTo>
                    <a:pt x="1665593" y="197447"/>
                  </a:lnTo>
                  <a:lnTo>
                    <a:pt x="1665593" y="198831"/>
                  </a:lnTo>
                  <a:lnTo>
                    <a:pt x="1665694" y="198831"/>
                  </a:lnTo>
                  <a:lnTo>
                    <a:pt x="1665694" y="196799"/>
                  </a:lnTo>
                  <a:lnTo>
                    <a:pt x="1665694" y="197447"/>
                  </a:lnTo>
                  <a:lnTo>
                    <a:pt x="1665745" y="197447"/>
                  </a:lnTo>
                  <a:lnTo>
                    <a:pt x="1665745" y="196113"/>
                  </a:lnTo>
                  <a:lnTo>
                    <a:pt x="1665745" y="196799"/>
                  </a:lnTo>
                  <a:lnTo>
                    <a:pt x="1665745" y="196113"/>
                  </a:lnTo>
                  <a:lnTo>
                    <a:pt x="1665745" y="196799"/>
                  </a:lnTo>
                  <a:lnTo>
                    <a:pt x="1665745" y="196113"/>
                  </a:lnTo>
                  <a:lnTo>
                    <a:pt x="1665796" y="196113"/>
                  </a:lnTo>
                  <a:lnTo>
                    <a:pt x="1665796" y="194716"/>
                  </a:lnTo>
                  <a:lnTo>
                    <a:pt x="1665796" y="195415"/>
                  </a:lnTo>
                  <a:lnTo>
                    <a:pt x="1665796" y="194716"/>
                  </a:lnTo>
                  <a:lnTo>
                    <a:pt x="1665796" y="196799"/>
                  </a:lnTo>
                  <a:lnTo>
                    <a:pt x="1665834" y="196113"/>
                  </a:lnTo>
                  <a:lnTo>
                    <a:pt x="1665834" y="195415"/>
                  </a:lnTo>
                  <a:lnTo>
                    <a:pt x="1665834" y="198831"/>
                  </a:lnTo>
                  <a:lnTo>
                    <a:pt x="1665936" y="197447"/>
                  </a:lnTo>
                  <a:lnTo>
                    <a:pt x="1665936" y="196799"/>
                  </a:lnTo>
                  <a:lnTo>
                    <a:pt x="1665936" y="197447"/>
                  </a:lnTo>
                  <a:lnTo>
                    <a:pt x="1665936" y="196799"/>
                  </a:lnTo>
                  <a:lnTo>
                    <a:pt x="1665936" y="199530"/>
                  </a:lnTo>
                  <a:lnTo>
                    <a:pt x="1665936" y="198831"/>
                  </a:lnTo>
                  <a:lnTo>
                    <a:pt x="1665936" y="199530"/>
                  </a:lnTo>
                  <a:lnTo>
                    <a:pt x="1665936" y="198831"/>
                  </a:lnTo>
                  <a:lnTo>
                    <a:pt x="1665987" y="197447"/>
                  </a:lnTo>
                  <a:lnTo>
                    <a:pt x="1665987" y="198831"/>
                  </a:lnTo>
                  <a:lnTo>
                    <a:pt x="1665987" y="197447"/>
                  </a:lnTo>
                  <a:lnTo>
                    <a:pt x="1665987" y="198831"/>
                  </a:lnTo>
                  <a:lnTo>
                    <a:pt x="1666037" y="197447"/>
                  </a:lnTo>
                  <a:lnTo>
                    <a:pt x="1666037" y="199530"/>
                  </a:lnTo>
                  <a:lnTo>
                    <a:pt x="1666139" y="199530"/>
                  </a:lnTo>
                  <a:lnTo>
                    <a:pt x="1666139" y="200228"/>
                  </a:lnTo>
                  <a:lnTo>
                    <a:pt x="1666139" y="198831"/>
                  </a:lnTo>
                  <a:lnTo>
                    <a:pt x="1666139" y="199530"/>
                  </a:lnTo>
                  <a:lnTo>
                    <a:pt x="1666139" y="198831"/>
                  </a:lnTo>
                  <a:lnTo>
                    <a:pt x="1666139" y="199530"/>
                  </a:lnTo>
                  <a:lnTo>
                    <a:pt x="1666190" y="198831"/>
                  </a:lnTo>
                  <a:lnTo>
                    <a:pt x="1666190" y="199530"/>
                  </a:lnTo>
                  <a:lnTo>
                    <a:pt x="1666190" y="197447"/>
                  </a:lnTo>
                  <a:lnTo>
                    <a:pt x="1666190" y="198831"/>
                  </a:lnTo>
                  <a:lnTo>
                    <a:pt x="1666190" y="197447"/>
                  </a:lnTo>
                  <a:lnTo>
                    <a:pt x="1666190" y="198831"/>
                  </a:lnTo>
                  <a:lnTo>
                    <a:pt x="1666190" y="197447"/>
                  </a:lnTo>
                  <a:lnTo>
                    <a:pt x="1666190" y="198831"/>
                  </a:lnTo>
                  <a:lnTo>
                    <a:pt x="1666190" y="197447"/>
                  </a:lnTo>
                  <a:lnTo>
                    <a:pt x="1666240" y="197447"/>
                  </a:lnTo>
                  <a:lnTo>
                    <a:pt x="1666240" y="196113"/>
                  </a:lnTo>
                  <a:lnTo>
                    <a:pt x="1666240" y="196799"/>
                  </a:lnTo>
                  <a:lnTo>
                    <a:pt x="1666240" y="196113"/>
                  </a:lnTo>
                  <a:lnTo>
                    <a:pt x="1666240" y="196799"/>
                  </a:lnTo>
                  <a:lnTo>
                    <a:pt x="1666240" y="195415"/>
                  </a:lnTo>
                  <a:lnTo>
                    <a:pt x="1666291" y="195415"/>
                  </a:lnTo>
                  <a:lnTo>
                    <a:pt x="1666291" y="196113"/>
                  </a:lnTo>
                  <a:lnTo>
                    <a:pt x="1666291" y="195415"/>
                  </a:lnTo>
                  <a:lnTo>
                    <a:pt x="1666291" y="196799"/>
                  </a:lnTo>
                  <a:lnTo>
                    <a:pt x="1666291" y="195415"/>
                  </a:lnTo>
                  <a:lnTo>
                    <a:pt x="1666291" y="196113"/>
                  </a:lnTo>
                  <a:lnTo>
                    <a:pt x="1666380" y="196113"/>
                  </a:lnTo>
                  <a:lnTo>
                    <a:pt x="1666380" y="198831"/>
                  </a:lnTo>
                  <a:lnTo>
                    <a:pt x="1666380" y="197447"/>
                  </a:lnTo>
                  <a:lnTo>
                    <a:pt x="1666380" y="198831"/>
                  </a:lnTo>
                  <a:lnTo>
                    <a:pt x="1666380" y="196799"/>
                  </a:lnTo>
                  <a:lnTo>
                    <a:pt x="1666380" y="198831"/>
                  </a:lnTo>
                  <a:lnTo>
                    <a:pt x="1666431" y="198831"/>
                  </a:lnTo>
                  <a:lnTo>
                    <a:pt x="1666431" y="197447"/>
                  </a:lnTo>
                  <a:lnTo>
                    <a:pt x="1666431" y="198831"/>
                  </a:lnTo>
                  <a:lnTo>
                    <a:pt x="1666482" y="198831"/>
                  </a:lnTo>
                  <a:lnTo>
                    <a:pt x="1666482" y="199530"/>
                  </a:lnTo>
                  <a:lnTo>
                    <a:pt x="1666482" y="198831"/>
                  </a:lnTo>
                  <a:lnTo>
                    <a:pt x="1666533" y="199530"/>
                  </a:lnTo>
                  <a:lnTo>
                    <a:pt x="1666533" y="198831"/>
                  </a:lnTo>
                  <a:lnTo>
                    <a:pt x="1666533" y="199530"/>
                  </a:lnTo>
                  <a:lnTo>
                    <a:pt x="1666533" y="198831"/>
                  </a:lnTo>
                  <a:lnTo>
                    <a:pt x="1666533" y="199530"/>
                  </a:lnTo>
                  <a:lnTo>
                    <a:pt x="1666634" y="199530"/>
                  </a:lnTo>
                  <a:lnTo>
                    <a:pt x="1666634" y="200228"/>
                  </a:lnTo>
                  <a:lnTo>
                    <a:pt x="1666634" y="198831"/>
                  </a:lnTo>
                  <a:lnTo>
                    <a:pt x="1666634" y="199530"/>
                  </a:lnTo>
                  <a:lnTo>
                    <a:pt x="1666634" y="198831"/>
                  </a:lnTo>
                  <a:lnTo>
                    <a:pt x="1666634" y="199530"/>
                  </a:lnTo>
                  <a:lnTo>
                    <a:pt x="1666634" y="198831"/>
                  </a:lnTo>
                  <a:lnTo>
                    <a:pt x="1666685" y="198831"/>
                  </a:lnTo>
                  <a:lnTo>
                    <a:pt x="1666685" y="197447"/>
                  </a:lnTo>
                  <a:lnTo>
                    <a:pt x="1666685" y="198831"/>
                  </a:lnTo>
                  <a:lnTo>
                    <a:pt x="1666685" y="196799"/>
                  </a:lnTo>
                  <a:lnTo>
                    <a:pt x="1666736" y="196799"/>
                  </a:lnTo>
                  <a:lnTo>
                    <a:pt x="1666736" y="194716"/>
                  </a:lnTo>
                  <a:lnTo>
                    <a:pt x="1666837" y="195415"/>
                  </a:lnTo>
                  <a:lnTo>
                    <a:pt x="1666837" y="196799"/>
                  </a:lnTo>
                  <a:lnTo>
                    <a:pt x="1666837" y="195415"/>
                  </a:lnTo>
                  <a:lnTo>
                    <a:pt x="1666837" y="196799"/>
                  </a:lnTo>
                  <a:lnTo>
                    <a:pt x="1666875" y="196799"/>
                  </a:lnTo>
                  <a:lnTo>
                    <a:pt x="1666875" y="198831"/>
                  </a:lnTo>
                  <a:lnTo>
                    <a:pt x="1666875" y="196113"/>
                  </a:lnTo>
                  <a:lnTo>
                    <a:pt x="1666875" y="198831"/>
                  </a:lnTo>
                  <a:lnTo>
                    <a:pt x="1666926" y="198831"/>
                  </a:lnTo>
                  <a:lnTo>
                    <a:pt x="1666926" y="196799"/>
                  </a:lnTo>
                  <a:lnTo>
                    <a:pt x="1666926" y="197447"/>
                  </a:lnTo>
                  <a:lnTo>
                    <a:pt x="1666926" y="196799"/>
                  </a:lnTo>
                  <a:lnTo>
                    <a:pt x="1666926" y="198831"/>
                  </a:lnTo>
                  <a:lnTo>
                    <a:pt x="1666977" y="198831"/>
                  </a:lnTo>
                  <a:lnTo>
                    <a:pt x="1666977" y="197447"/>
                  </a:lnTo>
                  <a:lnTo>
                    <a:pt x="1666977" y="198831"/>
                  </a:lnTo>
                  <a:lnTo>
                    <a:pt x="1666977" y="197447"/>
                  </a:lnTo>
                  <a:lnTo>
                    <a:pt x="1666977" y="198831"/>
                  </a:lnTo>
                  <a:lnTo>
                    <a:pt x="1667079" y="198831"/>
                  </a:lnTo>
                  <a:lnTo>
                    <a:pt x="1667079" y="199530"/>
                  </a:lnTo>
                  <a:lnTo>
                    <a:pt x="1667079" y="198831"/>
                  </a:lnTo>
                  <a:lnTo>
                    <a:pt x="1667079" y="199530"/>
                  </a:lnTo>
                  <a:lnTo>
                    <a:pt x="1667079" y="198831"/>
                  </a:lnTo>
                  <a:lnTo>
                    <a:pt x="1667079" y="199530"/>
                  </a:lnTo>
                  <a:lnTo>
                    <a:pt x="1667079" y="198831"/>
                  </a:lnTo>
                  <a:lnTo>
                    <a:pt x="1667079" y="200228"/>
                  </a:lnTo>
                  <a:lnTo>
                    <a:pt x="1667079" y="199530"/>
                  </a:lnTo>
                  <a:lnTo>
                    <a:pt x="1667180" y="199530"/>
                  </a:lnTo>
                  <a:lnTo>
                    <a:pt x="1667180" y="197447"/>
                  </a:lnTo>
                  <a:lnTo>
                    <a:pt x="1667180" y="198831"/>
                  </a:lnTo>
                  <a:lnTo>
                    <a:pt x="1667180" y="196799"/>
                  </a:lnTo>
                  <a:lnTo>
                    <a:pt x="1667180" y="197447"/>
                  </a:lnTo>
                  <a:lnTo>
                    <a:pt x="1667180" y="196799"/>
                  </a:lnTo>
                  <a:lnTo>
                    <a:pt x="1667282" y="196799"/>
                  </a:lnTo>
                  <a:lnTo>
                    <a:pt x="1667282" y="196113"/>
                  </a:lnTo>
                  <a:lnTo>
                    <a:pt x="1667282" y="196799"/>
                  </a:lnTo>
                  <a:lnTo>
                    <a:pt x="1667282" y="196113"/>
                  </a:lnTo>
                  <a:lnTo>
                    <a:pt x="1667282" y="196799"/>
                  </a:lnTo>
                  <a:lnTo>
                    <a:pt x="1667282" y="196113"/>
                  </a:lnTo>
                  <a:lnTo>
                    <a:pt x="1667282" y="196799"/>
                  </a:lnTo>
                  <a:lnTo>
                    <a:pt x="1667333" y="196113"/>
                  </a:lnTo>
                  <a:lnTo>
                    <a:pt x="1667333" y="196799"/>
                  </a:lnTo>
                  <a:lnTo>
                    <a:pt x="1667333" y="195415"/>
                  </a:lnTo>
                  <a:lnTo>
                    <a:pt x="1667333" y="196113"/>
                  </a:lnTo>
                  <a:lnTo>
                    <a:pt x="1667333" y="195415"/>
                  </a:lnTo>
                  <a:lnTo>
                    <a:pt x="1667333" y="198831"/>
                  </a:lnTo>
                  <a:lnTo>
                    <a:pt x="1667333" y="197447"/>
                  </a:lnTo>
                  <a:lnTo>
                    <a:pt x="1667384" y="197447"/>
                  </a:lnTo>
                  <a:lnTo>
                    <a:pt x="1667384" y="196799"/>
                  </a:lnTo>
                  <a:lnTo>
                    <a:pt x="1667384" y="197447"/>
                  </a:lnTo>
                  <a:lnTo>
                    <a:pt x="1667384" y="196799"/>
                  </a:lnTo>
                  <a:lnTo>
                    <a:pt x="1667384" y="197447"/>
                  </a:lnTo>
                  <a:lnTo>
                    <a:pt x="1667384" y="196799"/>
                  </a:lnTo>
                  <a:lnTo>
                    <a:pt x="1667384" y="198831"/>
                  </a:lnTo>
                  <a:lnTo>
                    <a:pt x="1667384" y="197447"/>
                  </a:lnTo>
                  <a:lnTo>
                    <a:pt x="1667384" y="198831"/>
                  </a:lnTo>
                  <a:lnTo>
                    <a:pt x="1667384" y="197447"/>
                  </a:lnTo>
                  <a:lnTo>
                    <a:pt x="1667422" y="197447"/>
                  </a:lnTo>
                  <a:lnTo>
                    <a:pt x="1667422" y="196799"/>
                  </a:lnTo>
                  <a:lnTo>
                    <a:pt x="1667422" y="197447"/>
                  </a:lnTo>
                  <a:lnTo>
                    <a:pt x="1667422" y="196799"/>
                  </a:lnTo>
                  <a:lnTo>
                    <a:pt x="1667422" y="197447"/>
                  </a:lnTo>
                  <a:lnTo>
                    <a:pt x="1667422" y="196799"/>
                  </a:lnTo>
                  <a:lnTo>
                    <a:pt x="1667422" y="197447"/>
                  </a:lnTo>
                  <a:lnTo>
                    <a:pt x="1667523" y="197447"/>
                  </a:lnTo>
                  <a:lnTo>
                    <a:pt x="1667523" y="196799"/>
                  </a:lnTo>
                  <a:lnTo>
                    <a:pt x="1667523" y="198831"/>
                  </a:lnTo>
                  <a:lnTo>
                    <a:pt x="1667523" y="197447"/>
                  </a:lnTo>
                  <a:lnTo>
                    <a:pt x="1667574" y="198831"/>
                  </a:lnTo>
                  <a:lnTo>
                    <a:pt x="1667574" y="197447"/>
                  </a:lnTo>
                  <a:lnTo>
                    <a:pt x="1667574" y="199530"/>
                  </a:lnTo>
                  <a:lnTo>
                    <a:pt x="1667574" y="198831"/>
                  </a:lnTo>
                  <a:lnTo>
                    <a:pt x="1667625" y="199530"/>
                  </a:lnTo>
                  <a:lnTo>
                    <a:pt x="1667625" y="198831"/>
                  </a:lnTo>
                  <a:lnTo>
                    <a:pt x="1667625" y="199530"/>
                  </a:lnTo>
                  <a:lnTo>
                    <a:pt x="1667625" y="197447"/>
                  </a:lnTo>
                  <a:lnTo>
                    <a:pt x="1667726" y="197447"/>
                  </a:lnTo>
                  <a:lnTo>
                    <a:pt x="1667726" y="196113"/>
                  </a:lnTo>
                  <a:lnTo>
                    <a:pt x="1667726" y="196799"/>
                  </a:lnTo>
                  <a:lnTo>
                    <a:pt x="1667726" y="196113"/>
                  </a:lnTo>
                  <a:lnTo>
                    <a:pt x="1667777" y="196113"/>
                  </a:lnTo>
                  <a:lnTo>
                    <a:pt x="1667777" y="195415"/>
                  </a:lnTo>
                  <a:lnTo>
                    <a:pt x="1667777" y="197447"/>
                  </a:lnTo>
                  <a:lnTo>
                    <a:pt x="1667777" y="196113"/>
                  </a:lnTo>
                  <a:lnTo>
                    <a:pt x="1667828" y="196113"/>
                  </a:lnTo>
                  <a:lnTo>
                    <a:pt x="1667828" y="198831"/>
                  </a:lnTo>
                  <a:lnTo>
                    <a:pt x="1667828" y="197447"/>
                  </a:lnTo>
                  <a:lnTo>
                    <a:pt x="1667879" y="197447"/>
                  </a:lnTo>
                  <a:lnTo>
                    <a:pt x="1667879" y="199530"/>
                  </a:lnTo>
                  <a:lnTo>
                    <a:pt x="1667879" y="197447"/>
                  </a:lnTo>
                  <a:lnTo>
                    <a:pt x="1667968" y="198831"/>
                  </a:lnTo>
                  <a:lnTo>
                    <a:pt x="1667968" y="197447"/>
                  </a:lnTo>
                  <a:lnTo>
                    <a:pt x="1667968" y="198831"/>
                  </a:lnTo>
                  <a:lnTo>
                    <a:pt x="1667968" y="197447"/>
                  </a:lnTo>
                  <a:lnTo>
                    <a:pt x="1667968" y="198831"/>
                  </a:lnTo>
                  <a:lnTo>
                    <a:pt x="1667968" y="197447"/>
                  </a:lnTo>
                  <a:lnTo>
                    <a:pt x="1667968" y="198831"/>
                  </a:lnTo>
                  <a:lnTo>
                    <a:pt x="1668069" y="198831"/>
                  </a:lnTo>
                  <a:lnTo>
                    <a:pt x="1668069" y="199530"/>
                  </a:lnTo>
                  <a:lnTo>
                    <a:pt x="1668069" y="198831"/>
                  </a:lnTo>
                  <a:lnTo>
                    <a:pt x="1668069" y="199530"/>
                  </a:lnTo>
                  <a:lnTo>
                    <a:pt x="1668069" y="198831"/>
                  </a:lnTo>
                  <a:lnTo>
                    <a:pt x="1668069" y="199530"/>
                  </a:lnTo>
                  <a:lnTo>
                    <a:pt x="1668069" y="198831"/>
                  </a:lnTo>
                  <a:lnTo>
                    <a:pt x="1668069" y="199530"/>
                  </a:lnTo>
                  <a:lnTo>
                    <a:pt x="1668120" y="199530"/>
                  </a:lnTo>
                  <a:lnTo>
                    <a:pt x="1668120" y="197447"/>
                  </a:lnTo>
                  <a:lnTo>
                    <a:pt x="1668222" y="196799"/>
                  </a:lnTo>
                  <a:lnTo>
                    <a:pt x="1668222" y="196113"/>
                  </a:lnTo>
                  <a:lnTo>
                    <a:pt x="1668222" y="196799"/>
                  </a:lnTo>
                  <a:lnTo>
                    <a:pt x="1668222" y="196113"/>
                  </a:lnTo>
                  <a:lnTo>
                    <a:pt x="1668222" y="196799"/>
                  </a:lnTo>
                  <a:lnTo>
                    <a:pt x="1668222" y="195415"/>
                  </a:lnTo>
                  <a:lnTo>
                    <a:pt x="1668222" y="196113"/>
                  </a:lnTo>
                  <a:lnTo>
                    <a:pt x="1668222" y="195415"/>
                  </a:lnTo>
                  <a:lnTo>
                    <a:pt x="1668272" y="196113"/>
                  </a:lnTo>
                  <a:lnTo>
                    <a:pt x="1668272" y="195415"/>
                  </a:lnTo>
                  <a:lnTo>
                    <a:pt x="1668272" y="196799"/>
                  </a:lnTo>
                  <a:lnTo>
                    <a:pt x="1668272" y="196113"/>
                  </a:lnTo>
                  <a:lnTo>
                    <a:pt x="1668323" y="196113"/>
                  </a:lnTo>
                  <a:lnTo>
                    <a:pt x="1668323" y="195415"/>
                  </a:lnTo>
                  <a:lnTo>
                    <a:pt x="1668323" y="197447"/>
                  </a:lnTo>
                  <a:lnTo>
                    <a:pt x="1668323" y="196799"/>
                  </a:lnTo>
                  <a:lnTo>
                    <a:pt x="1668425" y="196799"/>
                  </a:lnTo>
                  <a:lnTo>
                    <a:pt x="1668425" y="197447"/>
                  </a:lnTo>
                  <a:lnTo>
                    <a:pt x="1668425" y="196799"/>
                  </a:lnTo>
                  <a:lnTo>
                    <a:pt x="1668463" y="196799"/>
                  </a:lnTo>
                  <a:lnTo>
                    <a:pt x="1668463" y="197447"/>
                  </a:lnTo>
                  <a:lnTo>
                    <a:pt x="1668514" y="197447"/>
                  </a:lnTo>
                  <a:lnTo>
                    <a:pt x="1668514" y="199530"/>
                  </a:lnTo>
                  <a:lnTo>
                    <a:pt x="1668514" y="198831"/>
                  </a:lnTo>
                  <a:lnTo>
                    <a:pt x="1668565" y="199530"/>
                  </a:lnTo>
                  <a:lnTo>
                    <a:pt x="1668565" y="198831"/>
                  </a:lnTo>
                  <a:lnTo>
                    <a:pt x="1668565" y="199530"/>
                  </a:lnTo>
                  <a:lnTo>
                    <a:pt x="1668565" y="198831"/>
                  </a:lnTo>
                  <a:lnTo>
                    <a:pt x="1668565" y="199530"/>
                  </a:lnTo>
                  <a:lnTo>
                    <a:pt x="1668565" y="198831"/>
                  </a:lnTo>
                  <a:lnTo>
                    <a:pt x="1668666" y="198831"/>
                  </a:lnTo>
                  <a:lnTo>
                    <a:pt x="1668666" y="196113"/>
                  </a:lnTo>
                  <a:lnTo>
                    <a:pt x="1668717" y="196113"/>
                  </a:lnTo>
                  <a:lnTo>
                    <a:pt x="1668717" y="196799"/>
                  </a:lnTo>
                  <a:lnTo>
                    <a:pt x="1668717" y="195415"/>
                  </a:lnTo>
                  <a:lnTo>
                    <a:pt x="1668768" y="195415"/>
                  </a:lnTo>
                  <a:lnTo>
                    <a:pt x="1668768" y="194716"/>
                  </a:lnTo>
                  <a:lnTo>
                    <a:pt x="1668768" y="196113"/>
                  </a:lnTo>
                  <a:lnTo>
                    <a:pt x="1668768" y="194716"/>
                  </a:lnTo>
                  <a:lnTo>
                    <a:pt x="1668869" y="194716"/>
                  </a:lnTo>
                  <a:lnTo>
                    <a:pt x="1668869" y="197447"/>
                  </a:lnTo>
                  <a:lnTo>
                    <a:pt x="1668869" y="196113"/>
                  </a:lnTo>
                  <a:lnTo>
                    <a:pt x="1668920" y="196113"/>
                  </a:lnTo>
                  <a:lnTo>
                    <a:pt x="1668920" y="197447"/>
                  </a:lnTo>
                  <a:lnTo>
                    <a:pt x="1668920" y="196113"/>
                  </a:lnTo>
                  <a:lnTo>
                    <a:pt x="1668920" y="196799"/>
                  </a:lnTo>
                  <a:lnTo>
                    <a:pt x="1668920" y="196113"/>
                  </a:lnTo>
                  <a:lnTo>
                    <a:pt x="1668971" y="196113"/>
                  </a:lnTo>
                  <a:lnTo>
                    <a:pt x="1668971" y="197447"/>
                  </a:lnTo>
                  <a:lnTo>
                    <a:pt x="1668971" y="196799"/>
                  </a:lnTo>
                  <a:lnTo>
                    <a:pt x="1668971" y="197447"/>
                  </a:lnTo>
                  <a:lnTo>
                    <a:pt x="1668971" y="196799"/>
                  </a:lnTo>
                  <a:lnTo>
                    <a:pt x="1668971" y="197447"/>
                  </a:lnTo>
                  <a:lnTo>
                    <a:pt x="1669009" y="197447"/>
                  </a:lnTo>
                  <a:lnTo>
                    <a:pt x="1669009" y="199530"/>
                  </a:lnTo>
                  <a:lnTo>
                    <a:pt x="1669111" y="198831"/>
                  </a:lnTo>
                  <a:lnTo>
                    <a:pt x="1669111" y="197447"/>
                  </a:lnTo>
                  <a:lnTo>
                    <a:pt x="1669111" y="198831"/>
                  </a:lnTo>
                  <a:lnTo>
                    <a:pt x="1669111" y="197447"/>
                  </a:lnTo>
                  <a:lnTo>
                    <a:pt x="1669111" y="198831"/>
                  </a:lnTo>
                  <a:lnTo>
                    <a:pt x="1669162" y="198831"/>
                  </a:lnTo>
                  <a:lnTo>
                    <a:pt x="1669162" y="197447"/>
                  </a:lnTo>
                  <a:lnTo>
                    <a:pt x="1669162" y="198831"/>
                  </a:lnTo>
                  <a:lnTo>
                    <a:pt x="1669162" y="196799"/>
                  </a:lnTo>
                  <a:lnTo>
                    <a:pt x="1669162" y="197447"/>
                  </a:lnTo>
                  <a:lnTo>
                    <a:pt x="1669162" y="196799"/>
                  </a:lnTo>
                  <a:lnTo>
                    <a:pt x="1669212" y="196799"/>
                  </a:lnTo>
                  <a:lnTo>
                    <a:pt x="1669212" y="196113"/>
                  </a:lnTo>
                  <a:lnTo>
                    <a:pt x="1669212" y="196799"/>
                  </a:lnTo>
                  <a:lnTo>
                    <a:pt x="1669212" y="195415"/>
                  </a:lnTo>
                  <a:lnTo>
                    <a:pt x="1669314" y="195415"/>
                  </a:lnTo>
                  <a:lnTo>
                    <a:pt x="1669314" y="197447"/>
                  </a:lnTo>
                  <a:lnTo>
                    <a:pt x="1669314" y="195415"/>
                  </a:lnTo>
                  <a:lnTo>
                    <a:pt x="1669314" y="196113"/>
                  </a:lnTo>
                  <a:lnTo>
                    <a:pt x="1669365" y="196799"/>
                  </a:lnTo>
                  <a:lnTo>
                    <a:pt x="1669365" y="197447"/>
                  </a:lnTo>
                  <a:lnTo>
                    <a:pt x="1669365" y="196113"/>
                  </a:lnTo>
                  <a:lnTo>
                    <a:pt x="1669365" y="197447"/>
                  </a:lnTo>
                  <a:lnTo>
                    <a:pt x="1669415" y="197447"/>
                  </a:lnTo>
                  <a:lnTo>
                    <a:pt x="1669415" y="196799"/>
                  </a:lnTo>
                  <a:lnTo>
                    <a:pt x="1669466" y="196799"/>
                  </a:lnTo>
                  <a:lnTo>
                    <a:pt x="1669466" y="197447"/>
                  </a:lnTo>
                  <a:lnTo>
                    <a:pt x="1669466" y="196799"/>
                  </a:lnTo>
                  <a:lnTo>
                    <a:pt x="1669466" y="198831"/>
                  </a:lnTo>
                  <a:lnTo>
                    <a:pt x="1669466" y="197447"/>
                  </a:lnTo>
                  <a:lnTo>
                    <a:pt x="1669466" y="198831"/>
                  </a:lnTo>
                  <a:lnTo>
                    <a:pt x="1669466" y="197447"/>
                  </a:lnTo>
                  <a:lnTo>
                    <a:pt x="1669555" y="198831"/>
                  </a:lnTo>
                  <a:lnTo>
                    <a:pt x="1669555" y="197447"/>
                  </a:lnTo>
                  <a:lnTo>
                    <a:pt x="1669555" y="198831"/>
                  </a:lnTo>
                  <a:lnTo>
                    <a:pt x="1669555" y="197447"/>
                  </a:lnTo>
                  <a:lnTo>
                    <a:pt x="1669555" y="198831"/>
                  </a:lnTo>
                  <a:lnTo>
                    <a:pt x="1669606" y="198831"/>
                  </a:lnTo>
                  <a:lnTo>
                    <a:pt x="1669606" y="197447"/>
                  </a:lnTo>
                  <a:lnTo>
                    <a:pt x="1669606" y="198831"/>
                  </a:lnTo>
                  <a:lnTo>
                    <a:pt x="1669606" y="197447"/>
                  </a:lnTo>
                  <a:lnTo>
                    <a:pt x="1669606" y="198831"/>
                  </a:lnTo>
                  <a:lnTo>
                    <a:pt x="1669606" y="197447"/>
                  </a:lnTo>
                  <a:lnTo>
                    <a:pt x="1669657" y="198831"/>
                  </a:lnTo>
                  <a:lnTo>
                    <a:pt x="1669657" y="196799"/>
                  </a:lnTo>
                  <a:lnTo>
                    <a:pt x="1669657" y="197447"/>
                  </a:lnTo>
                  <a:lnTo>
                    <a:pt x="1669657" y="196113"/>
                  </a:lnTo>
                  <a:lnTo>
                    <a:pt x="1669657" y="196799"/>
                  </a:lnTo>
                  <a:lnTo>
                    <a:pt x="1669708" y="196799"/>
                  </a:lnTo>
                  <a:lnTo>
                    <a:pt x="1669708" y="196113"/>
                  </a:lnTo>
                  <a:lnTo>
                    <a:pt x="1669708" y="196799"/>
                  </a:lnTo>
                  <a:lnTo>
                    <a:pt x="1669708" y="195415"/>
                  </a:lnTo>
                  <a:lnTo>
                    <a:pt x="1669708" y="196113"/>
                  </a:lnTo>
                  <a:lnTo>
                    <a:pt x="1669708" y="195415"/>
                  </a:lnTo>
                  <a:lnTo>
                    <a:pt x="1669708" y="196113"/>
                  </a:lnTo>
                  <a:lnTo>
                    <a:pt x="1669708" y="195415"/>
                  </a:lnTo>
                  <a:lnTo>
                    <a:pt x="1669708" y="196113"/>
                  </a:lnTo>
                  <a:lnTo>
                    <a:pt x="1669809" y="196113"/>
                  </a:lnTo>
                  <a:lnTo>
                    <a:pt x="1669809" y="195415"/>
                  </a:lnTo>
                  <a:lnTo>
                    <a:pt x="1669809" y="197447"/>
                  </a:lnTo>
                  <a:lnTo>
                    <a:pt x="1669860" y="197447"/>
                  </a:lnTo>
                  <a:lnTo>
                    <a:pt x="1669860" y="196799"/>
                  </a:lnTo>
                  <a:lnTo>
                    <a:pt x="1669860" y="197447"/>
                  </a:lnTo>
                  <a:lnTo>
                    <a:pt x="1669860" y="196799"/>
                  </a:lnTo>
                  <a:lnTo>
                    <a:pt x="1669860" y="198831"/>
                  </a:lnTo>
                  <a:lnTo>
                    <a:pt x="1669911" y="197447"/>
                  </a:lnTo>
                  <a:lnTo>
                    <a:pt x="1669911" y="196799"/>
                  </a:lnTo>
                  <a:lnTo>
                    <a:pt x="1669911" y="198831"/>
                  </a:lnTo>
                  <a:lnTo>
                    <a:pt x="1669911" y="197447"/>
                  </a:lnTo>
                  <a:lnTo>
                    <a:pt x="1670012" y="197447"/>
                  </a:lnTo>
                  <a:lnTo>
                    <a:pt x="1670012" y="198831"/>
                  </a:lnTo>
                  <a:lnTo>
                    <a:pt x="1670012" y="197447"/>
                  </a:lnTo>
                  <a:lnTo>
                    <a:pt x="1670012" y="198831"/>
                  </a:lnTo>
                  <a:lnTo>
                    <a:pt x="1670012" y="197447"/>
                  </a:lnTo>
                  <a:lnTo>
                    <a:pt x="1670012" y="198831"/>
                  </a:lnTo>
                  <a:lnTo>
                    <a:pt x="1670050" y="198831"/>
                  </a:lnTo>
                  <a:lnTo>
                    <a:pt x="1670050" y="197447"/>
                  </a:lnTo>
                  <a:lnTo>
                    <a:pt x="1670050" y="198831"/>
                  </a:lnTo>
                  <a:lnTo>
                    <a:pt x="1670050" y="197447"/>
                  </a:lnTo>
                  <a:lnTo>
                    <a:pt x="1670050" y="198831"/>
                  </a:lnTo>
                  <a:lnTo>
                    <a:pt x="1670050" y="197447"/>
                  </a:lnTo>
                  <a:lnTo>
                    <a:pt x="1670101" y="197447"/>
                  </a:lnTo>
                  <a:lnTo>
                    <a:pt x="1670101" y="196799"/>
                  </a:lnTo>
                  <a:lnTo>
                    <a:pt x="1670152" y="197447"/>
                  </a:lnTo>
                  <a:lnTo>
                    <a:pt x="1670152" y="196113"/>
                  </a:lnTo>
                  <a:lnTo>
                    <a:pt x="1670152" y="196799"/>
                  </a:lnTo>
                  <a:lnTo>
                    <a:pt x="1670152" y="195415"/>
                  </a:lnTo>
                  <a:lnTo>
                    <a:pt x="1670254" y="196113"/>
                  </a:lnTo>
                  <a:lnTo>
                    <a:pt x="1670254" y="194716"/>
                  </a:lnTo>
                  <a:lnTo>
                    <a:pt x="1670254" y="196113"/>
                  </a:lnTo>
                  <a:lnTo>
                    <a:pt x="1670305" y="196113"/>
                  </a:lnTo>
                  <a:lnTo>
                    <a:pt x="1670305" y="193383"/>
                  </a:lnTo>
                  <a:lnTo>
                    <a:pt x="1670305" y="196799"/>
                  </a:lnTo>
                  <a:lnTo>
                    <a:pt x="1670305" y="196113"/>
                  </a:lnTo>
                  <a:lnTo>
                    <a:pt x="1670355" y="196113"/>
                  </a:lnTo>
                  <a:lnTo>
                    <a:pt x="1670355" y="195415"/>
                  </a:lnTo>
                  <a:lnTo>
                    <a:pt x="1670355" y="196799"/>
                  </a:lnTo>
                  <a:lnTo>
                    <a:pt x="1670355" y="196113"/>
                  </a:lnTo>
                  <a:lnTo>
                    <a:pt x="1670355" y="196799"/>
                  </a:lnTo>
                  <a:lnTo>
                    <a:pt x="1670355" y="196113"/>
                  </a:lnTo>
                  <a:lnTo>
                    <a:pt x="1670457" y="196113"/>
                  </a:lnTo>
                  <a:lnTo>
                    <a:pt x="1670457" y="196799"/>
                  </a:lnTo>
                  <a:lnTo>
                    <a:pt x="1670457" y="196113"/>
                  </a:lnTo>
                  <a:lnTo>
                    <a:pt x="1670457" y="197447"/>
                  </a:lnTo>
                  <a:lnTo>
                    <a:pt x="1670457" y="196799"/>
                  </a:lnTo>
                  <a:lnTo>
                    <a:pt x="1670508" y="196799"/>
                  </a:lnTo>
                  <a:lnTo>
                    <a:pt x="1670508" y="198831"/>
                  </a:lnTo>
                  <a:lnTo>
                    <a:pt x="1670508" y="197447"/>
                  </a:lnTo>
                  <a:lnTo>
                    <a:pt x="1670508" y="198831"/>
                  </a:lnTo>
                  <a:lnTo>
                    <a:pt x="1670559" y="197447"/>
                  </a:lnTo>
                  <a:lnTo>
                    <a:pt x="1670559" y="196799"/>
                  </a:lnTo>
                  <a:lnTo>
                    <a:pt x="1670559" y="197447"/>
                  </a:lnTo>
                  <a:lnTo>
                    <a:pt x="1670597" y="197447"/>
                  </a:lnTo>
                  <a:lnTo>
                    <a:pt x="1670597" y="196799"/>
                  </a:lnTo>
                  <a:lnTo>
                    <a:pt x="1670597" y="197447"/>
                  </a:lnTo>
                  <a:lnTo>
                    <a:pt x="1670597" y="196799"/>
                  </a:lnTo>
                  <a:lnTo>
                    <a:pt x="1670698" y="196799"/>
                  </a:lnTo>
                  <a:lnTo>
                    <a:pt x="1670698" y="196113"/>
                  </a:lnTo>
                  <a:lnTo>
                    <a:pt x="1670698" y="196799"/>
                  </a:lnTo>
                  <a:lnTo>
                    <a:pt x="1670698" y="196113"/>
                  </a:lnTo>
                  <a:lnTo>
                    <a:pt x="1670749" y="196113"/>
                  </a:lnTo>
                  <a:lnTo>
                    <a:pt x="1670749" y="195415"/>
                  </a:lnTo>
                  <a:lnTo>
                    <a:pt x="1670749" y="196799"/>
                  </a:lnTo>
                  <a:lnTo>
                    <a:pt x="1670749" y="195415"/>
                  </a:lnTo>
                  <a:lnTo>
                    <a:pt x="1670800" y="196113"/>
                  </a:lnTo>
                  <a:lnTo>
                    <a:pt x="1670800" y="197447"/>
                  </a:lnTo>
                  <a:lnTo>
                    <a:pt x="1670800" y="196799"/>
                  </a:lnTo>
                  <a:lnTo>
                    <a:pt x="1670901" y="196799"/>
                  </a:lnTo>
                  <a:lnTo>
                    <a:pt x="1670901" y="197447"/>
                  </a:lnTo>
                  <a:lnTo>
                    <a:pt x="1670901" y="196799"/>
                  </a:lnTo>
                  <a:lnTo>
                    <a:pt x="1670901" y="197447"/>
                  </a:lnTo>
                  <a:lnTo>
                    <a:pt x="1670952" y="198831"/>
                  </a:lnTo>
                  <a:lnTo>
                    <a:pt x="1670952" y="197447"/>
                  </a:lnTo>
                  <a:lnTo>
                    <a:pt x="1670952" y="198831"/>
                  </a:lnTo>
                  <a:lnTo>
                    <a:pt x="1671054" y="198831"/>
                  </a:lnTo>
                  <a:lnTo>
                    <a:pt x="1671054" y="197447"/>
                  </a:lnTo>
                  <a:lnTo>
                    <a:pt x="1671054" y="198831"/>
                  </a:lnTo>
                  <a:lnTo>
                    <a:pt x="1671054" y="197447"/>
                  </a:lnTo>
                  <a:lnTo>
                    <a:pt x="1671054" y="198831"/>
                  </a:lnTo>
                  <a:lnTo>
                    <a:pt x="1671143" y="197447"/>
                  </a:lnTo>
                  <a:lnTo>
                    <a:pt x="1671143" y="198831"/>
                  </a:lnTo>
                  <a:lnTo>
                    <a:pt x="1671143" y="197447"/>
                  </a:lnTo>
                  <a:lnTo>
                    <a:pt x="1671143" y="198831"/>
                  </a:lnTo>
                  <a:lnTo>
                    <a:pt x="1671143" y="197447"/>
                  </a:lnTo>
                  <a:lnTo>
                    <a:pt x="1671194" y="197447"/>
                  </a:lnTo>
                  <a:lnTo>
                    <a:pt x="1671194" y="196799"/>
                  </a:lnTo>
                  <a:lnTo>
                    <a:pt x="1671194" y="198831"/>
                  </a:lnTo>
                  <a:lnTo>
                    <a:pt x="1671194" y="197447"/>
                  </a:lnTo>
                  <a:lnTo>
                    <a:pt x="1671244" y="197447"/>
                  </a:lnTo>
                  <a:lnTo>
                    <a:pt x="1671244" y="196799"/>
                  </a:lnTo>
                  <a:lnTo>
                    <a:pt x="1671244" y="200228"/>
                  </a:lnTo>
                  <a:lnTo>
                    <a:pt x="1671244" y="199530"/>
                  </a:lnTo>
                  <a:lnTo>
                    <a:pt x="1671295" y="199530"/>
                  </a:lnTo>
                  <a:lnTo>
                    <a:pt x="1671295" y="198831"/>
                  </a:lnTo>
                  <a:lnTo>
                    <a:pt x="1671295" y="200228"/>
                  </a:lnTo>
                  <a:lnTo>
                    <a:pt x="1671295" y="198831"/>
                  </a:lnTo>
                  <a:lnTo>
                    <a:pt x="1671397" y="198831"/>
                  </a:lnTo>
                  <a:lnTo>
                    <a:pt x="1671397" y="199530"/>
                  </a:lnTo>
                  <a:lnTo>
                    <a:pt x="1671447" y="199530"/>
                  </a:lnTo>
                  <a:lnTo>
                    <a:pt x="1671447" y="200228"/>
                  </a:lnTo>
                  <a:lnTo>
                    <a:pt x="1671447" y="199530"/>
                  </a:lnTo>
                  <a:lnTo>
                    <a:pt x="1671447" y="200228"/>
                  </a:lnTo>
                  <a:lnTo>
                    <a:pt x="1671447" y="199530"/>
                  </a:lnTo>
                  <a:lnTo>
                    <a:pt x="1671498" y="199530"/>
                  </a:lnTo>
                  <a:lnTo>
                    <a:pt x="1671498" y="198831"/>
                  </a:lnTo>
                  <a:lnTo>
                    <a:pt x="1671600" y="198831"/>
                  </a:lnTo>
                  <a:lnTo>
                    <a:pt x="1671600" y="197447"/>
                  </a:lnTo>
                  <a:lnTo>
                    <a:pt x="1671600" y="198831"/>
                  </a:lnTo>
                  <a:lnTo>
                    <a:pt x="1671600" y="197447"/>
                  </a:lnTo>
                  <a:lnTo>
                    <a:pt x="1671638" y="197447"/>
                  </a:lnTo>
                  <a:lnTo>
                    <a:pt x="1671638" y="196799"/>
                  </a:lnTo>
                  <a:lnTo>
                    <a:pt x="1671638" y="197447"/>
                  </a:lnTo>
                  <a:lnTo>
                    <a:pt x="1671638" y="196113"/>
                  </a:lnTo>
                  <a:lnTo>
                    <a:pt x="1671689" y="196113"/>
                  </a:lnTo>
                  <a:lnTo>
                    <a:pt x="1671689" y="195415"/>
                  </a:lnTo>
                  <a:lnTo>
                    <a:pt x="1671689" y="197447"/>
                  </a:lnTo>
                  <a:lnTo>
                    <a:pt x="1671689" y="196113"/>
                  </a:lnTo>
                  <a:lnTo>
                    <a:pt x="1671740" y="196113"/>
                  </a:lnTo>
                  <a:lnTo>
                    <a:pt x="1671740" y="198831"/>
                  </a:lnTo>
                  <a:lnTo>
                    <a:pt x="1671740" y="197447"/>
                  </a:lnTo>
                  <a:lnTo>
                    <a:pt x="1671841" y="196799"/>
                  </a:lnTo>
                  <a:lnTo>
                    <a:pt x="1671841" y="199530"/>
                  </a:lnTo>
                  <a:lnTo>
                    <a:pt x="1671841" y="198831"/>
                  </a:lnTo>
                  <a:lnTo>
                    <a:pt x="1671892" y="198831"/>
                  </a:lnTo>
                  <a:lnTo>
                    <a:pt x="1671892" y="199530"/>
                  </a:lnTo>
                  <a:lnTo>
                    <a:pt x="1671892" y="198831"/>
                  </a:lnTo>
                  <a:lnTo>
                    <a:pt x="1671892" y="200228"/>
                  </a:lnTo>
                  <a:lnTo>
                    <a:pt x="1671892" y="199530"/>
                  </a:lnTo>
                  <a:lnTo>
                    <a:pt x="1671943" y="199530"/>
                  </a:lnTo>
                  <a:lnTo>
                    <a:pt x="1671943" y="200228"/>
                  </a:lnTo>
                  <a:lnTo>
                    <a:pt x="1671943" y="199530"/>
                  </a:lnTo>
                  <a:lnTo>
                    <a:pt x="1671943" y="200228"/>
                  </a:lnTo>
                  <a:lnTo>
                    <a:pt x="1671943" y="199530"/>
                  </a:lnTo>
                  <a:lnTo>
                    <a:pt x="1672044" y="199530"/>
                  </a:lnTo>
                  <a:lnTo>
                    <a:pt x="1672044" y="198831"/>
                  </a:lnTo>
                  <a:lnTo>
                    <a:pt x="1672095" y="198831"/>
                  </a:lnTo>
                  <a:lnTo>
                    <a:pt x="1672095" y="197447"/>
                  </a:lnTo>
                  <a:lnTo>
                    <a:pt x="1672095" y="198831"/>
                  </a:lnTo>
                  <a:lnTo>
                    <a:pt x="1672095" y="196799"/>
                  </a:lnTo>
                  <a:lnTo>
                    <a:pt x="1672095" y="197447"/>
                  </a:lnTo>
                  <a:lnTo>
                    <a:pt x="1672146" y="197447"/>
                  </a:lnTo>
                  <a:lnTo>
                    <a:pt x="1672146" y="196113"/>
                  </a:lnTo>
                  <a:lnTo>
                    <a:pt x="1672146" y="196799"/>
                  </a:lnTo>
                  <a:lnTo>
                    <a:pt x="1672146" y="195415"/>
                  </a:lnTo>
                  <a:lnTo>
                    <a:pt x="1672184" y="195415"/>
                  </a:lnTo>
                  <a:lnTo>
                    <a:pt x="1672184" y="194716"/>
                  </a:lnTo>
                  <a:lnTo>
                    <a:pt x="1672184" y="195415"/>
                  </a:lnTo>
                  <a:lnTo>
                    <a:pt x="1672184" y="194716"/>
                  </a:lnTo>
                  <a:lnTo>
                    <a:pt x="1672184" y="196113"/>
                  </a:lnTo>
                  <a:lnTo>
                    <a:pt x="1672184" y="195415"/>
                  </a:lnTo>
                  <a:lnTo>
                    <a:pt x="1672286" y="195415"/>
                  </a:lnTo>
                  <a:lnTo>
                    <a:pt x="1672286" y="194716"/>
                  </a:lnTo>
                  <a:lnTo>
                    <a:pt x="1672286" y="195415"/>
                  </a:lnTo>
                  <a:lnTo>
                    <a:pt x="1672286" y="194716"/>
                  </a:lnTo>
                  <a:lnTo>
                    <a:pt x="1672286" y="196799"/>
                  </a:lnTo>
                  <a:lnTo>
                    <a:pt x="1672286" y="196113"/>
                  </a:lnTo>
                  <a:lnTo>
                    <a:pt x="1672286" y="196799"/>
                  </a:lnTo>
                  <a:lnTo>
                    <a:pt x="1672286" y="196113"/>
                  </a:lnTo>
                  <a:lnTo>
                    <a:pt x="1672337" y="196113"/>
                  </a:lnTo>
                  <a:lnTo>
                    <a:pt x="1672337" y="196799"/>
                  </a:lnTo>
                  <a:lnTo>
                    <a:pt x="1672337" y="196113"/>
                  </a:lnTo>
                  <a:lnTo>
                    <a:pt x="1672337" y="197447"/>
                  </a:lnTo>
                  <a:lnTo>
                    <a:pt x="1672337" y="196799"/>
                  </a:lnTo>
                  <a:lnTo>
                    <a:pt x="1672387" y="196799"/>
                  </a:lnTo>
                  <a:lnTo>
                    <a:pt x="1672387" y="198831"/>
                  </a:lnTo>
                  <a:lnTo>
                    <a:pt x="1672387" y="197447"/>
                  </a:lnTo>
                  <a:lnTo>
                    <a:pt x="1672489" y="198831"/>
                  </a:lnTo>
                  <a:lnTo>
                    <a:pt x="1672489" y="197447"/>
                  </a:lnTo>
                  <a:lnTo>
                    <a:pt x="1672489" y="198831"/>
                  </a:lnTo>
                  <a:lnTo>
                    <a:pt x="1672489" y="197447"/>
                  </a:lnTo>
                  <a:lnTo>
                    <a:pt x="1672489" y="199530"/>
                  </a:lnTo>
                  <a:lnTo>
                    <a:pt x="1672489" y="198831"/>
                  </a:lnTo>
                  <a:lnTo>
                    <a:pt x="1672540" y="199530"/>
                  </a:lnTo>
                  <a:lnTo>
                    <a:pt x="1672540" y="198831"/>
                  </a:lnTo>
                  <a:lnTo>
                    <a:pt x="1672540" y="199530"/>
                  </a:lnTo>
                  <a:lnTo>
                    <a:pt x="1672540" y="198831"/>
                  </a:lnTo>
                  <a:lnTo>
                    <a:pt x="1672590" y="198831"/>
                  </a:lnTo>
                  <a:lnTo>
                    <a:pt x="1672590" y="197447"/>
                  </a:lnTo>
                  <a:lnTo>
                    <a:pt x="1672590" y="198831"/>
                  </a:lnTo>
                  <a:lnTo>
                    <a:pt x="1672590" y="197447"/>
                  </a:lnTo>
                  <a:lnTo>
                    <a:pt x="1672641" y="196799"/>
                  </a:lnTo>
                  <a:lnTo>
                    <a:pt x="1672641" y="197447"/>
                  </a:lnTo>
                  <a:lnTo>
                    <a:pt x="1672641" y="196113"/>
                  </a:lnTo>
                  <a:lnTo>
                    <a:pt x="1672730" y="195415"/>
                  </a:lnTo>
                  <a:lnTo>
                    <a:pt x="1672730" y="191986"/>
                  </a:lnTo>
                  <a:lnTo>
                    <a:pt x="1672781" y="192684"/>
                  </a:lnTo>
                  <a:lnTo>
                    <a:pt x="1672781" y="191351"/>
                  </a:lnTo>
                  <a:lnTo>
                    <a:pt x="1672781" y="194716"/>
                  </a:lnTo>
                  <a:lnTo>
                    <a:pt x="1672832" y="194716"/>
                  </a:lnTo>
                  <a:lnTo>
                    <a:pt x="1672832" y="195415"/>
                  </a:lnTo>
                  <a:lnTo>
                    <a:pt x="1672832" y="193383"/>
                  </a:lnTo>
                  <a:lnTo>
                    <a:pt x="1672832" y="194716"/>
                  </a:lnTo>
                  <a:lnTo>
                    <a:pt x="1672832" y="193383"/>
                  </a:lnTo>
                  <a:lnTo>
                    <a:pt x="1672832" y="195415"/>
                  </a:lnTo>
                  <a:lnTo>
                    <a:pt x="1672883" y="195415"/>
                  </a:lnTo>
                  <a:lnTo>
                    <a:pt x="1672883" y="196113"/>
                  </a:lnTo>
                  <a:lnTo>
                    <a:pt x="1672984" y="196113"/>
                  </a:lnTo>
                  <a:lnTo>
                    <a:pt x="1672984" y="196799"/>
                  </a:lnTo>
                  <a:lnTo>
                    <a:pt x="1673035" y="196799"/>
                  </a:lnTo>
                  <a:lnTo>
                    <a:pt x="1673035" y="197447"/>
                  </a:lnTo>
                  <a:lnTo>
                    <a:pt x="1673035" y="196799"/>
                  </a:lnTo>
                  <a:lnTo>
                    <a:pt x="1673035" y="198831"/>
                  </a:lnTo>
                  <a:lnTo>
                    <a:pt x="1673086" y="198831"/>
                  </a:lnTo>
                  <a:lnTo>
                    <a:pt x="1673086" y="199530"/>
                  </a:lnTo>
                  <a:lnTo>
                    <a:pt x="1673086" y="198831"/>
                  </a:lnTo>
                  <a:lnTo>
                    <a:pt x="1673086" y="199530"/>
                  </a:lnTo>
                  <a:lnTo>
                    <a:pt x="1673086" y="198831"/>
                  </a:lnTo>
                  <a:lnTo>
                    <a:pt x="1673187" y="198831"/>
                  </a:lnTo>
                  <a:lnTo>
                    <a:pt x="1673187" y="197447"/>
                  </a:lnTo>
                  <a:lnTo>
                    <a:pt x="1673187" y="198831"/>
                  </a:lnTo>
                  <a:lnTo>
                    <a:pt x="1673187" y="196799"/>
                  </a:lnTo>
                  <a:lnTo>
                    <a:pt x="1673187" y="197447"/>
                  </a:lnTo>
                  <a:lnTo>
                    <a:pt x="1673225" y="196799"/>
                  </a:lnTo>
                  <a:lnTo>
                    <a:pt x="1673225" y="194716"/>
                  </a:lnTo>
                  <a:lnTo>
                    <a:pt x="1673225" y="195415"/>
                  </a:lnTo>
                  <a:lnTo>
                    <a:pt x="1673225" y="194716"/>
                  </a:lnTo>
                  <a:lnTo>
                    <a:pt x="1673225" y="195415"/>
                  </a:lnTo>
                  <a:lnTo>
                    <a:pt x="1673276" y="195415"/>
                  </a:lnTo>
                  <a:lnTo>
                    <a:pt x="1673276" y="193383"/>
                  </a:lnTo>
                  <a:lnTo>
                    <a:pt x="1673276" y="196113"/>
                  </a:lnTo>
                  <a:lnTo>
                    <a:pt x="1673327" y="196113"/>
                  </a:lnTo>
                  <a:lnTo>
                    <a:pt x="1673327" y="194716"/>
                  </a:lnTo>
                  <a:lnTo>
                    <a:pt x="1673327" y="195415"/>
                  </a:lnTo>
                  <a:lnTo>
                    <a:pt x="1673429" y="195415"/>
                  </a:lnTo>
                  <a:lnTo>
                    <a:pt x="1673429" y="194716"/>
                  </a:lnTo>
                  <a:lnTo>
                    <a:pt x="1673429" y="195415"/>
                  </a:lnTo>
                  <a:lnTo>
                    <a:pt x="1673429" y="194716"/>
                  </a:lnTo>
                  <a:lnTo>
                    <a:pt x="1673429" y="195415"/>
                  </a:lnTo>
                  <a:lnTo>
                    <a:pt x="1673429" y="194716"/>
                  </a:lnTo>
                  <a:lnTo>
                    <a:pt x="1673429" y="195415"/>
                  </a:lnTo>
                  <a:lnTo>
                    <a:pt x="1673480" y="195415"/>
                  </a:lnTo>
                  <a:lnTo>
                    <a:pt x="1673480" y="196113"/>
                  </a:lnTo>
                  <a:lnTo>
                    <a:pt x="1673530" y="196113"/>
                  </a:lnTo>
                  <a:lnTo>
                    <a:pt x="1673530" y="197447"/>
                  </a:lnTo>
                  <a:lnTo>
                    <a:pt x="1673530" y="196799"/>
                  </a:lnTo>
                  <a:lnTo>
                    <a:pt x="1673632" y="196799"/>
                  </a:lnTo>
                  <a:lnTo>
                    <a:pt x="1673632" y="197447"/>
                  </a:lnTo>
                  <a:lnTo>
                    <a:pt x="1673632" y="196799"/>
                  </a:lnTo>
                  <a:lnTo>
                    <a:pt x="1673632" y="197447"/>
                  </a:lnTo>
                  <a:lnTo>
                    <a:pt x="1673683" y="197447"/>
                  </a:lnTo>
                  <a:lnTo>
                    <a:pt x="1673683" y="196113"/>
                  </a:lnTo>
                  <a:lnTo>
                    <a:pt x="1673734" y="196113"/>
                  </a:lnTo>
                  <a:lnTo>
                    <a:pt x="1673734" y="194716"/>
                  </a:lnTo>
                  <a:lnTo>
                    <a:pt x="1673734" y="196799"/>
                  </a:lnTo>
                  <a:lnTo>
                    <a:pt x="1673734" y="196113"/>
                  </a:lnTo>
                  <a:lnTo>
                    <a:pt x="1673772" y="195415"/>
                  </a:lnTo>
                  <a:lnTo>
                    <a:pt x="1673772" y="198831"/>
                  </a:lnTo>
                  <a:lnTo>
                    <a:pt x="1673772" y="196799"/>
                  </a:lnTo>
                  <a:lnTo>
                    <a:pt x="1673873" y="196799"/>
                  </a:lnTo>
                  <a:lnTo>
                    <a:pt x="1673873" y="198831"/>
                  </a:lnTo>
                  <a:lnTo>
                    <a:pt x="1673873" y="196799"/>
                  </a:lnTo>
                  <a:lnTo>
                    <a:pt x="1673873" y="197447"/>
                  </a:lnTo>
                  <a:lnTo>
                    <a:pt x="1673924" y="197447"/>
                  </a:lnTo>
                  <a:lnTo>
                    <a:pt x="1673924" y="196799"/>
                  </a:lnTo>
                  <a:lnTo>
                    <a:pt x="1673924" y="197447"/>
                  </a:lnTo>
                  <a:lnTo>
                    <a:pt x="1673924" y="196799"/>
                  </a:lnTo>
                  <a:lnTo>
                    <a:pt x="1673975" y="196799"/>
                  </a:lnTo>
                  <a:lnTo>
                    <a:pt x="1673975" y="197447"/>
                  </a:lnTo>
                  <a:lnTo>
                    <a:pt x="1674076" y="197447"/>
                  </a:lnTo>
                  <a:lnTo>
                    <a:pt x="1674076" y="196799"/>
                  </a:lnTo>
                  <a:lnTo>
                    <a:pt x="1674076" y="197447"/>
                  </a:lnTo>
                  <a:lnTo>
                    <a:pt x="1674127" y="197447"/>
                  </a:lnTo>
                  <a:lnTo>
                    <a:pt x="1674127" y="196799"/>
                  </a:lnTo>
                  <a:lnTo>
                    <a:pt x="1674127" y="197447"/>
                  </a:lnTo>
                  <a:lnTo>
                    <a:pt x="1674127" y="196799"/>
                  </a:lnTo>
                  <a:lnTo>
                    <a:pt x="1674178" y="196799"/>
                  </a:lnTo>
                  <a:lnTo>
                    <a:pt x="1674178" y="197447"/>
                  </a:lnTo>
                  <a:lnTo>
                    <a:pt x="1674178" y="196799"/>
                  </a:lnTo>
                  <a:lnTo>
                    <a:pt x="1674178" y="197447"/>
                  </a:lnTo>
                  <a:lnTo>
                    <a:pt x="1674178" y="195415"/>
                  </a:lnTo>
                  <a:lnTo>
                    <a:pt x="1674229" y="195415"/>
                  </a:lnTo>
                  <a:lnTo>
                    <a:pt x="1674229" y="197447"/>
                  </a:lnTo>
                  <a:lnTo>
                    <a:pt x="1674229" y="196113"/>
                  </a:lnTo>
                  <a:lnTo>
                    <a:pt x="1674229" y="196799"/>
                  </a:lnTo>
                  <a:lnTo>
                    <a:pt x="1674318" y="196799"/>
                  </a:lnTo>
                  <a:lnTo>
                    <a:pt x="1674318" y="199530"/>
                  </a:lnTo>
                  <a:lnTo>
                    <a:pt x="1674318" y="197447"/>
                  </a:lnTo>
                  <a:lnTo>
                    <a:pt x="1674369" y="198831"/>
                  </a:lnTo>
                  <a:lnTo>
                    <a:pt x="1674369" y="199530"/>
                  </a:lnTo>
                  <a:lnTo>
                    <a:pt x="1674369" y="198831"/>
                  </a:lnTo>
                  <a:lnTo>
                    <a:pt x="1674419" y="198831"/>
                  </a:lnTo>
                  <a:lnTo>
                    <a:pt x="1674419" y="199530"/>
                  </a:lnTo>
                  <a:lnTo>
                    <a:pt x="1674419" y="197447"/>
                  </a:lnTo>
                  <a:lnTo>
                    <a:pt x="1674419" y="198831"/>
                  </a:lnTo>
                  <a:lnTo>
                    <a:pt x="1674572" y="198831"/>
                  </a:lnTo>
                  <a:lnTo>
                    <a:pt x="1674572" y="197447"/>
                  </a:lnTo>
                  <a:lnTo>
                    <a:pt x="1674572" y="198831"/>
                  </a:lnTo>
                  <a:lnTo>
                    <a:pt x="1674572" y="197447"/>
                  </a:lnTo>
                  <a:lnTo>
                    <a:pt x="1674622" y="197447"/>
                  </a:lnTo>
                  <a:lnTo>
                    <a:pt x="1674622" y="196113"/>
                  </a:lnTo>
                  <a:lnTo>
                    <a:pt x="1674673" y="196799"/>
                  </a:lnTo>
                  <a:lnTo>
                    <a:pt x="1674673" y="194716"/>
                  </a:lnTo>
                  <a:lnTo>
                    <a:pt x="1674673" y="195415"/>
                  </a:lnTo>
                  <a:lnTo>
                    <a:pt x="1674673" y="194716"/>
                  </a:lnTo>
                  <a:lnTo>
                    <a:pt x="1674673" y="196799"/>
                  </a:lnTo>
                  <a:lnTo>
                    <a:pt x="1674775" y="196799"/>
                  </a:lnTo>
                  <a:lnTo>
                    <a:pt x="1674775" y="195415"/>
                  </a:lnTo>
                  <a:lnTo>
                    <a:pt x="1674775" y="199530"/>
                  </a:lnTo>
                  <a:lnTo>
                    <a:pt x="1674813" y="198831"/>
                  </a:lnTo>
                  <a:lnTo>
                    <a:pt x="1674813" y="197447"/>
                  </a:lnTo>
                  <a:lnTo>
                    <a:pt x="1674813" y="199530"/>
                  </a:lnTo>
                  <a:lnTo>
                    <a:pt x="1674864" y="199530"/>
                  </a:lnTo>
                  <a:lnTo>
                    <a:pt x="1674864" y="197447"/>
                  </a:lnTo>
                  <a:lnTo>
                    <a:pt x="1674864" y="200228"/>
                  </a:lnTo>
                  <a:lnTo>
                    <a:pt x="1674915" y="199530"/>
                  </a:lnTo>
                  <a:lnTo>
                    <a:pt x="1675016" y="199530"/>
                  </a:lnTo>
                  <a:lnTo>
                    <a:pt x="1675016" y="198831"/>
                  </a:lnTo>
                  <a:lnTo>
                    <a:pt x="1675016" y="199530"/>
                  </a:lnTo>
                  <a:lnTo>
                    <a:pt x="1675016" y="198831"/>
                  </a:lnTo>
                  <a:lnTo>
                    <a:pt x="1675016" y="199530"/>
                  </a:lnTo>
                  <a:lnTo>
                    <a:pt x="1675067" y="199530"/>
                  </a:lnTo>
                  <a:lnTo>
                    <a:pt x="1675067" y="198831"/>
                  </a:lnTo>
                  <a:lnTo>
                    <a:pt x="1675067" y="199530"/>
                  </a:lnTo>
                  <a:lnTo>
                    <a:pt x="1675067" y="198831"/>
                  </a:lnTo>
                  <a:lnTo>
                    <a:pt x="1675067" y="199530"/>
                  </a:lnTo>
                  <a:lnTo>
                    <a:pt x="1675067" y="198831"/>
                  </a:lnTo>
                  <a:lnTo>
                    <a:pt x="1675118" y="197447"/>
                  </a:lnTo>
                  <a:lnTo>
                    <a:pt x="1675118" y="198831"/>
                  </a:lnTo>
                  <a:lnTo>
                    <a:pt x="1675118" y="196799"/>
                  </a:lnTo>
                  <a:lnTo>
                    <a:pt x="1675219" y="196799"/>
                  </a:lnTo>
                  <a:lnTo>
                    <a:pt x="1675219" y="196113"/>
                  </a:lnTo>
                  <a:lnTo>
                    <a:pt x="1675219" y="197447"/>
                  </a:lnTo>
                  <a:lnTo>
                    <a:pt x="1675219" y="196799"/>
                  </a:lnTo>
                  <a:lnTo>
                    <a:pt x="1675270" y="196799"/>
                  </a:lnTo>
                  <a:lnTo>
                    <a:pt x="1675270" y="196113"/>
                  </a:lnTo>
                  <a:lnTo>
                    <a:pt x="1675270" y="199530"/>
                  </a:lnTo>
                  <a:lnTo>
                    <a:pt x="1675270" y="197447"/>
                  </a:lnTo>
                  <a:lnTo>
                    <a:pt x="1675321" y="197447"/>
                  </a:lnTo>
                  <a:lnTo>
                    <a:pt x="1675321" y="199530"/>
                  </a:lnTo>
                  <a:lnTo>
                    <a:pt x="1675321" y="198831"/>
                  </a:lnTo>
                  <a:lnTo>
                    <a:pt x="1675321" y="199530"/>
                  </a:lnTo>
                  <a:lnTo>
                    <a:pt x="1675321" y="197447"/>
                  </a:lnTo>
                  <a:lnTo>
                    <a:pt x="1675359" y="197447"/>
                  </a:lnTo>
                  <a:lnTo>
                    <a:pt x="1675359" y="199530"/>
                  </a:lnTo>
                  <a:lnTo>
                    <a:pt x="1675359" y="198831"/>
                  </a:lnTo>
                  <a:lnTo>
                    <a:pt x="1675359" y="199530"/>
                  </a:lnTo>
                  <a:lnTo>
                    <a:pt x="1675359" y="198831"/>
                  </a:lnTo>
                  <a:lnTo>
                    <a:pt x="1675359" y="199530"/>
                  </a:lnTo>
                  <a:lnTo>
                    <a:pt x="1675359" y="198831"/>
                  </a:lnTo>
                  <a:lnTo>
                    <a:pt x="1675461" y="198831"/>
                  </a:lnTo>
                  <a:lnTo>
                    <a:pt x="1675461" y="199530"/>
                  </a:lnTo>
                  <a:lnTo>
                    <a:pt x="1675461" y="198831"/>
                  </a:lnTo>
                  <a:lnTo>
                    <a:pt x="1675461" y="199530"/>
                  </a:lnTo>
                  <a:lnTo>
                    <a:pt x="1675461" y="198831"/>
                  </a:lnTo>
                  <a:lnTo>
                    <a:pt x="1675461" y="199530"/>
                  </a:lnTo>
                  <a:lnTo>
                    <a:pt x="1675461" y="198831"/>
                  </a:lnTo>
                  <a:lnTo>
                    <a:pt x="1675461" y="199530"/>
                  </a:lnTo>
                  <a:lnTo>
                    <a:pt x="1675512" y="199530"/>
                  </a:lnTo>
                  <a:lnTo>
                    <a:pt x="1675512" y="198831"/>
                  </a:lnTo>
                  <a:lnTo>
                    <a:pt x="1675512" y="200228"/>
                  </a:lnTo>
                  <a:lnTo>
                    <a:pt x="1675562" y="200228"/>
                  </a:lnTo>
                  <a:lnTo>
                    <a:pt x="1675562" y="198831"/>
                  </a:lnTo>
                  <a:lnTo>
                    <a:pt x="1675562" y="199530"/>
                  </a:lnTo>
                  <a:lnTo>
                    <a:pt x="1675562" y="197447"/>
                  </a:lnTo>
                  <a:lnTo>
                    <a:pt x="1675664" y="197447"/>
                  </a:lnTo>
                  <a:lnTo>
                    <a:pt x="1675664" y="196113"/>
                  </a:lnTo>
                  <a:lnTo>
                    <a:pt x="1675664" y="196799"/>
                  </a:lnTo>
                  <a:lnTo>
                    <a:pt x="1675664" y="196113"/>
                  </a:lnTo>
                  <a:lnTo>
                    <a:pt x="1675715" y="196113"/>
                  </a:lnTo>
                  <a:lnTo>
                    <a:pt x="1675715" y="195415"/>
                  </a:lnTo>
                  <a:lnTo>
                    <a:pt x="1675715" y="196799"/>
                  </a:lnTo>
                  <a:lnTo>
                    <a:pt x="1675715" y="196113"/>
                  </a:lnTo>
                  <a:lnTo>
                    <a:pt x="1675715" y="196799"/>
                  </a:lnTo>
                  <a:lnTo>
                    <a:pt x="1675715" y="195415"/>
                  </a:lnTo>
                  <a:lnTo>
                    <a:pt x="1675715" y="196113"/>
                  </a:lnTo>
                  <a:lnTo>
                    <a:pt x="1675765" y="196799"/>
                  </a:lnTo>
                  <a:lnTo>
                    <a:pt x="1675765" y="198831"/>
                  </a:lnTo>
                  <a:lnTo>
                    <a:pt x="1675765" y="197447"/>
                  </a:lnTo>
                  <a:lnTo>
                    <a:pt x="1675816" y="197447"/>
                  </a:lnTo>
                  <a:lnTo>
                    <a:pt x="1675816" y="199530"/>
                  </a:lnTo>
                  <a:lnTo>
                    <a:pt x="1675816" y="197447"/>
                  </a:lnTo>
                  <a:lnTo>
                    <a:pt x="1675816" y="198831"/>
                  </a:lnTo>
                  <a:lnTo>
                    <a:pt x="1675905" y="198831"/>
                  </a:lnTo>
                  <a:lnTo>
                    <a:pt x="1675905" y="197447"/>
                  </a:lnTo>
                  <a:lnTo>
                    <a:pt x="1675905" y="199530"/>
                  </a:lnTo>
                  <a:lnTo>
                    <a:pt x="1675905" y="198831"/>
                  </a:lnTo>
                  <a:lnTo>
                    <a:pt x="1675905" y="199530"/>
                  </a:lnTo>
                  <a:lnTo>
                    <a:pt x="1675956" y="198831"/>
                  </a:lnTo>
                  <a:lnTo>
                    <a:pt x="1675956" y="199530"/>
                  </a:lnTo>
                  <a:lnTo>
                    <a:pt x="1675956" y="198831"/>
                  </a:lnTo>
                  <a:lnTo>
                    <a:pt x="1676007" y="199530"/>
                  </a:lnTo>
                  <a:lnTo>
                    <a:pt x="1676007" y="200228"/>
                  </a:lnTo>
                  <a:lnTo>
                    <a:pt x="1676007" y="199530"/>
                  </a:lnTo>
                  <a:lnTo>
                    <a:pt x="1676007" y="200228"/>
                  </a:lnTo>
                  <a:lnTo>
                    <a:pt x="1676007" y="199530"/>
                  </a:lnTo>
                  <a:lnTo>
                    <a:pt x="1676007" y="200228"/>
                  </a:lnTo>
                  <a:lnTo>
                    <a:pt x="1676007" y="199530"/>
                  </a:lnTo>
                  <a:lnTo>
                    <a:pt x="1676058" y="199530"/>
                  </a:lnTo>
                  <a:lnTo>
                    <a:pt x="1676058" y="198831"/>
                  </a:lnTo>
                  <a:lnTo>
                    <a:pt x="1676058" y="199530"/>
                  </a:lnTo>
                  <a:lnTo>
                    <a:pt x="1676058" y="196799"/>
                  </a:lnTo>
                  <a:lnTo>
                    <a:pt x="1676159" y="196799"/>
                  </a:lnTo>
                  <a:lnTo>
                    <a:pt x="1676159" y="196113"/>
                  </a:lnTo>
                  <a:lnTo>
                    <a:pt x="1676159" y="197447"/>
                  </a:lnTo>
                  <a:lnTo>
                    <a:pt x="1676210" y="197447"/>
                  </a:lnTo>
                  <a:lnTo>
                    <a:pt x="1676210" y="196113"/>
                  </a:lnTo>
                  <a:lnTo>
                    <a:pt x="1676210" y="198831"/>
                  </a:lnTo>
                  <a:lnTo>
                    <a:pt x="1676210" y="197447"/>
                  </a:lnTo>
                  <a:lnTo>
                    <a:pt x="1676261" y="197447"/>
                  </a:lnTo>
                  <a:lnTo>
                    <a:pt x="1676261" y="196799"/>
                  </a:lnTo>
                  <a:lnTo>
                    <a:pt x="1676261" y="198831"/>
                  </a:lnTo>
                  <a:lnTo>
                    <a:pt x="1676261" y="197447"/>
                  </a:lnTo>
                  <a:lnTo>
                    <a:pt x="1676362" y="197447"/>
                  </a:lnTo>
                  <a:lnTo>
                    <a:pt x="1676362" y="198831"/>
                  </a:lnTo>
                  <a:lnTo>
                    <a:pt x="1676362" y="197447"/>
                  </a:lnTo>
                  <a:lnTo>
                    <a:pt x="1676362" y="198831"/>
                  </a:lnTo>
                  <a:lnTo>
                    <a:pt x="1676362" y="197447"/>
                  </a:lnTo>
                  <a:lnTo>
                    <a:pt x="1676400" y="197447"/>
                  </a:lnTo>
                  <a:lnTo>
                    <a:pt x="1676400" y="198831"/>
                  </a:lnTo>
                  <a:lnTo>
                    <a:pt x="1676400" y="197447"/>
                  </a:lnTo>
                  <a:lnTo>
                    <a:pt x="1676400" y="198831"/>
                  </a:lnTo>
                  <a:lnTo>
                    <a:pt x="1676451" y="198831"/>
                  </a:lnTo>
                  <a:lnTo>
                    <a:pt x="1676451" y="197447"/>
                  </a:lnTo>
                  <a:lnTo>
                    <a:pt x="1676451" y="199530"/>
                  </a:lnTo>
                  <a:lnTo>
                    <a:pt x="1676451" y="197447"/>
                  </a:lnTo>
                  <a:lnTo>
                    <a:pt x="1676451" y="198831"/>
                  </a:lnTo>
                  <a:lnTo>
                    <a:pt x="1676502" y="198831"/>
                  </a:lnTo>
                  <a:lnTo>
                    <a:pt x="1676502" y="197447"/>
                  </a:lnTo>
                  <a:lnTo>
                    <a:pt x="1676604" y="197447"/>
                  </a:lnTo>
                  <a:lnTo>
                    <a:pt x="1676604" y="196113"/>
                  </a:lnTo>
                  <a:lnTo>
                    <a:pt x="1676604" y="196799"/>
                  </a:lnTo>
                  <a:lnTo>
                    <a:pt x="1676604" y="196113"/>
                  </a:lnTo>
                  <a:lnTo>
                    <a:pt x="1676604" y="196799"/>
                  </a:lnTo>
                  <a:lnTo>
                    <a:pt x="1676604" y="196113"/>
                  </a:lnTo>
                  <a:lnTo>
                    <a:pt x="1676604" y="196799"/>
                  </a:lnTo>
                  <a:lnTo>
                    <a:pt x="1676604" y="196113"/>
                  </a:lnTo>
                  <a:lnTo>
                    <a:pt x="1676655" y="196799"/>
                  </a:lnTo>
                  <a:lnTo>
                    <a:pt x="1676655" y="198831"/>
                  </a:lnTo>
                  <a:lnTo>
                    <a:pt x="1676655" y="196113"/>
                  </a:lnTo>
                  <a:lnTo>
                    <a:pt x="1676655" y="197447"/>
                  </a:lnTo>
                  <a:lnTo>
                    <a:pt x="1676705" y="198831"/>
                  </a:lnTo>
                  <a:lnTo>
                    <a:pt x="1676705" y="200228"/>
                  </a:lnTo>
                  <a:lnTo>
                    <a:pt x="1676705" y="198831"/>
                  </a:lnTo>
                  <a:lnTo>
                    <a:pt x="1676705" y="199530"/>
                  </a:lnTo>
                  <a:lnTo>
                    <a:pt x="1676807" y="199530"/>
                  </a:lnTo>
                  <a:lnTo>
                    <a:pt x="1676807" y="200228"/>
                  </a:lnTo>
                  <a:lnTo>
                    <a:pt x="1676807" y="199530"/>
                  </a:lnTo>
                  <a:lnTo>
                    <a:pt x="1676807" y="200228"/>
                  </a:lnTo>
                  <a:lnTo>
                    <a:pt x="1676807" y="199530"/>
                  </a:lnTo>
                  <a:lnTo>
                    <a:pt x="1676858" y="200228"/>
                  </a:lnTo>
                  <a:lnTo>
                    <a:pt x="1676858" y="198831"/>
                  </a:lnTo>
                  <a:lnTo>
                    <a:pt x="1676858" y="199530"/>
                  </a:lnTo>
                  <a:lnTo>
                    <a:pt x="1676858" y="198831"/>
                  </a:lnTo>
                  <a:lnTo>
                    <a:pt x="1676858" y="199530"/>
                  </a:lnTo>
                  <a:lnTo>
                    <a:pt x="1676909" y="199530"/>
                  </a:lnTo>
                  <a:lnTo>
                    <a:pt x="1676909" y="200228"/>
                  </a:lnTo>
                  <a:lnTo>
                    <a:pt x="1676909" y="199530"/>
                  </a:lnTo>
                  <a:lnTo>
                    <a:pt x="1676909" y="200228"/>
                  </a:lnTo>
                  <a:lnTo>
                    <a:pt x="1676909" y="199530"/>
                  </a:lnTo>
                  <a:lnTo>
                    <a:pt x="1676947" y="199530"/>
                  </a:lnTo>
                  <a:lnTo>
                    <a:pt x="1676947" y="200228"/>
                  </a:lnTo>
                  <a:lnTo>
                    <a:pt x="1676947" y="198831"/>
                  </a:lnTo>
                  <a:lnTo>
                    <a:pt x="1676947" y="199530"/>
                  </a:lnTo>
                  <a:lnTo>
                    <a:pt x="1676947" y="198831"/>
                  </a:lnTo>
                  <a:lnTo>
                    <a:pt x="1676947" y="199530"/>
                  </a:lnTo>
                  <a:lnTo>
                    <a:pt x="1676947" y="198831"/>
                  </a:lnTo>
                  <a:lnTo>
                    <a:pt x="1677048" y="198831"/>
                  </a:lnTo>
                  <a:lnTo>
                    <a:pt x="1677048" y="199530"/>
                  </a:lnTo>
                  <a:lnTo>
                    <a:pt x="1677048" y="197447"/>
                  </a:lnTo>
                  <a:lnTo>
                    <a:pt x="1677048" y="198831"/>
                  </a:lnTo>
                  <a:lnTo>
                    <a:pt x="1677048" y="197447"/>
                  </a:lnTo>
                  <a:lnTo>
                    <a:pt x="1677048" y="198831"/>
                  </a:lnTo>
                  <a:lnTo>
                    <a:pt x="1677048" y="197447"/>
                  </a:lnTo>
                  <a:lnTo>
                    <a:pt x="1677099" y="196799"/>
                  </a:lnTo>
                  <a:lnTo>
                    <a:pt x="1677099" y="196113"/>
                  </a:lnTo>
                  <a:lnTo>
                    <a:pt x="1677099" y="198831"/>
                  </a:lnTo>
                  <a:lnTo>
                    <a:pt x="1677150" y="197447"/>
                  </a:lnTo>
                  <a:lnTo>
                    <a:pt x="1677150" y="196113"/>
                  </a:lnTo>
                  <a:lnTo>
                    <a:pt x="1677150" y="200228"/>
                  </a:lnTo>
                  <a:lnTo>
                    <a:pt x="1677251" y="199530"/>
                  </a:lnTo>
                  <a:lnTo>
                    <a:pt x="1677251" y="198831"/>
                  </a:lnTo>
                  <a:lnTo>
                    <a:pt x="1677251" y="200876"/>
                  </a:lnTo>
                  <a:lnTo>
                    <a:pt x="1677251" y="199530"/>
                  </a:lnTo>
                  <a:lnTo>
                    <a:pt x="1677302" y="200228"/>
                  </a:lnTo>
                  <a:lnTo>
                    <a:pt x="1677302" y="199530"/>
                  </a:lnTo>
                  <a:lnTo>
                    <a:pt x="1677302" y="200228"/>
                  </a:lnTo>
                  <a:lnTo>
                    <a:pt x="1677353" y="199530"/>
                  </a:lnTo>
                  <a:lnTo>
                    <a:pt x="1677353" y="200228"/>
                  </a:lnTo>
                  <a:lnTo>
                    <a:pt x="1677353" y="199530"/>
                  </a:lnTo>
                  <a:lnTo>
                    <a:pt x="1677353" y="200228"/>
                  </a:lnTo>
                  <a:lnTo>
                    <a:pt x="1677353" y="199530"/>
                  </a:lnTo>
                  <a:lnTo>
                    <a:pt x="1677353" y="200228"/>
                  </a:lnTo>
                  <a:lnTo>
                    <a:pt x="1677353" y="199530"/>
                  </a:lnTo>
                  <a:lnTo>
                    <a:pt x="1677404" y="199530"/>
                  </a:lnTo>
                  <a:lnTo>
                    <a:pt x="1677404" y="200228"/>
                  </a:lnTo>
                  <a:lnTo>
                    <a:pt x="1677404" y="199530"/>
                  </a:lnTo>
                  <a:lnTo>
                    <a:pt x="1677404" y="200228"/>
                  </a:lnTo>
                  <a:lnTo>
                    <a:pt x="1677404" y="199530"/>
                  </a:lnTo>
                  <a:lnTo>
                    <a:pt x="1677404" y="200228"/>
                  </a:lnTo>
                  <a:lnTo>
                    <a:pt x="1677404" y="199530"/>
                  </a:lnTo>
                  <a:lnTo>
                    <a:pt x="1677404" y="200228"/>
                  </a:lnTo>
                  <a:lnTo>
                    <a:pt x="1677404" y="199530"/>
                  </a:lnTo>
                  <a:lnTo>
                    <a:pt x="1677493" y="199530"/>
                  </a:lnTo>
                  <a:lnTo>
                    <a:pt x="1677493" y="198831"/>
                  </a:lnTo>
                  <a:lnTo>
                    <a:pt x="1677493" y="199530"/>
                  </a:lnTo>
                  <a:lnTo>
                    <a:pt x="1677493" y="198831"/>
                  </a:lnTo>
                  <a:lnTo>
                    <a:pt x="1677544" y="198831"/>
                  </a:lnTo>
                  <a:lnTo>
                    <a:pt x="1677544" y="196113"/>
                  </a:lnTo>
                  <a:lnTo>
                    <a:pt x="1677594" y="196113"/>
                  </a:lnTo>
                  <a:lnTo>
                    <a:pt x="1677594" y="195415"/>
                  </a:lnTo>
                  <a:lnTo>
                    <a:pt x="1677594" y="196799"/>
                  </a:lnTo>
                  <a:lnTo>
                    <a:pt x="1677594" y="196113"/>
                  </a:lnTo>
                  <a:lnTo>
                    <a:pt x="1677645" y="196113"/>
                  </a:lnTo>
                  <a:lnTo>
                    <a:pt x="1677645" y="198831"/>
                  </a:lnTo>
                  <a:lnTo>
                    <a:pt x="1677645" y="197447"/>
                  </a:lnTo>
                  <a:lnTo>
                    <a:pt x="1677645" y="198831"/>
                  </a:lnTo>
                  <a:lnTo>
                    <a:pt x="1677645" y="197447"/>
                  </a:lnTo>
                  <a:lnTo>
                    <a:pt x="1677747" y="196799"/>
                  </a:lnTo>
                  <a:lnTo>
                    <a:pt x="1677747" y="196113"/>
                  </a:lnTo>
                  <a:lnTo>
                    <a:pt x="1677747" y="198831"/>
                  </a:lnTo>
                  <a:lnTo>
                    <a:pt x="1677747" y="197447"/>
                  </a:lnTo>
                  <a:lnTo>
                    <a:pt x="1677797" y="197447"/>
                  </a:lnTo>
                  <a:lnTo>
                    <a:pt x="1677797" y="198831"/>
                  </a:lnTo>
                  <a:lnTo>
                    <a:pt x="1677797" y="197447"/>
                  </a:lnTo>
                  <a:lnTo>
                    <a:pt x="1677848" y="197447"/>
                  </a:lnTo>
                  <a:lnTo>
                    <a:pt x="1677848" y="199530"/>
                  </a:lnTo>
                  <a:lnTo>
                    <a:pt x="1677848" y="198831"/>
                  </a:lnTo>
                  <a:lnTo>
                    <a:pt x="1677848" y="199530"/>
                  </a:lnTo>
                  <a:lnTo>
                    <a:pt x="1677848" y="198831"/>
                  </a:lnTo>
                  <a:lnTo>
                    <a:pt x="1677848" y="199530"/>
                  </a:lnTo>
                  <a:lnTo>
                    <a:pt x="1677848" y="198831"/>
                  </a:lnTo>
                  <a:lnTo>
                    <a:pt x="1677848" y="199530"/>
                  </a:lnTo>
                  <a:lnTo>
                    <a:pt x="1677848" y="198831"/>
                  </a:lnTo>
                  <a:lnTo>
                    <a:pt x="1677950" y="198831"/>
                  </a:lnTo>
                  <a:lnTo>
                    <a:pt x="1677950" y="199530"/>
                  </a:lnTo>
                  <a:lnTo>
                    <a:pt x="1677950" y="198831"/>
                  </a:lnTo>
                  <a:lnTo>
                    <a:pt x="1677950" y="199530"/>
                  </a:lnTo>
                  <a:lnTo>
                    <a:pt x="1677988" y="199530"/>
                  </a:lnTo>
                  <a:lnTo>
                    <a:pt x="1677988" y="198831"/>
                  </a:lnTo>
                  <a:lnTo>
                    <a:pt x="1677988" y="199530"/>
                  </a:lnTo>
                  <a:lnTo>
                    <a:pt x="1677988" y="197447"/>
                  </a:lnTo>
                  <a:lnTo>
                    <a:pt x="1677988" y="198831"/>
                  </a:lnTo>
                  <a:lnTo>
                    <a:pt x="1678039" y="198831"/>
                  </a:lnTo>
                  <a:lnTo>
                    <a:pt x="1678039" y="196799"/>
                  </a:lnTo>
                  <a:lnTo>
                    <a:pt x="1678039" y="197447"/>
                  </a:lnTo>
                  <a:lnTo>
                    <a:pt x="1678039" y="195415"/>
                  </a:lnTo>
                  <a:lnTo>
                    <a:pt x="1678090" y="195415"/>
                  </a:lnTo>
                  <a:lnTo>
                    <a:pt x="1678090" y="194716"/>
                  </a:lnTo>
                  <a:lnTo>
                    <a:pt x="1678090" y="196799"/>
                  </a:lnTo>
                  <a:lnTo>
                    <a:pt x="1678090" y="194716"/>
                  </a:lnTo>
                  <a:lnTo>
                    <a:pt x="1678191" y="194716"/>
                  </a:lnTo>
                  <a:lnTo>
                    <a:pt x="1678191" y="198831"/>
                  </a:lnTo>
                  <a:lnTo>
                    <a:pt x="1678191" y="196113"/>
                  </a:lnTo>
                  <a:lnTo>
                    <a:pt x="1678242" y="196799"/>
                  </a:lnTo>
                  <a:lnTo>
                    <a:pt x="1678242" y="197447"/>
                  </a:lnTo>
                  <a:lnTo>
                    <a:pt x="1678242" y="196799"/>
                  </a:lnTo>
                  <a:lnTo>
                    <a:pt x="1678242" y="198831"/>
                  </a:lnTo>
                  <a:lnTo>
                    <a:pt x="1678242" y="196799"/>
                  </a:lnTo>
                  <a:lnTo>
                    <a:pt x="1678293" y="196799"/>
                  </a:lnTo>
                  <a:lnTo>
                    <a:pt x="1678293" y="197447"/>
                  </a:lnTo>
                  <a:lnTo>
                    <a:pt x="1678293" y="196799"/>
                  </a:lnTo>
                  <a:lnTo>
                    <a:pt x="1678293" y="197447"/>
                  </a:lnTo>
                  <a:lnTo>
                    <a:pt x="1678394" y="197447"/>
                  </a:lnTo>
                  <a:lnTo>
                    <a:pt x="1678394" y="198831"/>
                  </a:lnTo>
                  <a:lnTo>
                    <a:pt x="1678394" y="197447"/>
                  </a:lnTo>
                  <a:lnTo>
                    <a:pt x="1678394" y="198831"/>
                  </a:lnTo>
                  <a:lnTo>
                    <a:pt x="1678394" y="197447"/>
                  </a:lnTo>
                  <a:lnTo>
                    <a:pt x="1678394" y="198831"/>
                  </a:lnTo>
                  <a:lnTo>
                    <a:pt x="1678445" y="198831"/>
                  </a:lnTo>
                  <a:lnTo>
                    <a:pt x="1678445" y="199530"/>
                  </a:lnTo>
                  <a:lnTo>
                    <a:pt x="1678445" y="197447"/>
                  </a:lnTo>
                  <a:lnTo>
                    <a:pt x="1678445" y="198831"/>
                  </a:lnTo>
                  <a:lnTo>
                    <a:pt x="1678496" y="198831"/>
                  </a:lnTo>
                  <a:lnTo>
                    <a:pt x="1678496" y="197447"/>
                  </a:lnTo>
                  <a:lnTo>
                    <a:pt x="1678496" y="198831"/>
                  </a:lnTo>
                  <a:lnTo>
                    <a:pt x="1678496" y="196799"/>
                  </a:lnTo>
                  <a:lnTo>
                    <a:pt x="1678534" y="197447"/>
                  </a:lnTo>
                  <a:lnTo>
                    <a:pt x="1678534" y="194716"/>
                  </a:lnTo>
                  <a:lnTo>
                    <a:pt x="1678636" y="195415"/>
                  </a:lnTo>
                  <a:lnTo>
                    <a:pt x="1678636" y="194716"/>
                  </a:lnTo>
                  <a:lnTo>
                    <a:pt x="1678636" y="195415"/>
                  </a:lnTo>
                  <a:lnTo>
                    <a:pt x="1678636" y="194716"/>
                  </a:lnTo>
                  <a:lnTo>
                    <a:pt x="1678636" y="196799"/>
                  </a:lnTo>
                  <a:lnTo>
                    <a:pt x="1678636" y="194716"/>
                  </a:lnTo>
                  <a:lnTo>
                    <a:pt x="1678687" y="194716"/>
                  </a:lnTo>
                  <a:lnTo>
                    <a:pt x="1678687" y="197447"/>
                  </a:lnTo>
                  <a:lnTo>
                    <a:pt x="1678687" y="195415"/>
                  </a:lnTo>
                  <a:lnTo>
                    <a:pt x="1678687" y="196113"/>
                  </a:lnTo>
                  <a:lnTo>
                    <a:pt x="1678737" y="196113"/>
                  </a:lnTo>
                  <a:lnTo>
                    <a:pt x="1678737" y="196799"/>
                  </a:lnTo>
                  <a:lnTo>
                    <a:pt x="1678737" y="196113"/>
                  </a:lnTo>
                  <a:lnTo>
                    <a:pt x="1678839" y="196113"/>
                  </a:lnTo>
                  <a:lnTo>
                    <a:pt x="1678839" y="196799"/>
                  </a:lnTo>
                  <a:lnTo>
                    <a:pt x="1678839" y="196113"/>
                  </a:lnTo>
                  <a:lnTo>
                    <a:pt x="1678839" y="196799"/>
                  </a:lnTo>
                  <a:lnTo>
                    <a:pt x="1678839" y="196113"/>
                  </a:lnTo>
                  <a:lnTo>
                    <a:pt x="1678839" y="197447"/>
                  </a:lnTo>
                  <a:lnTo>
                    <a:pt x="1678890" y="197447"/>
                  </a:lnTo>
                  <a:lnTo>
                    <a:pt x="1678890" y="198831"/>
                  </a:lnTo>
                  <a:lnTo>
                    <a:pt x="1678940" y="198831"/>
                  </a:lnTo>
                  <a:lnTo>
                    <a:pt x="1678940" y="199530"/>
                  </a:lnTo>
                  <a:lnTo>
                    <a:pt x="1678940" y="197447"/>
                  </a:lnTo>
                  <a:lnTo>
                    <a:pt x="1678940" y="199530"/>
                  </a:lnTo>
                  <a:lnTo>
                    <a:pt x="1678940" y="198831"/>
                  </a:lnTo>
                  <a:lnTo>
                    <a:pt x="1678991" y="198831"/>
                  </a:lnTo>
                  <a:lnTo>
                    <a:pt x="1678991" y="196799"/>
                  </a:lnTo>
                  <a:lnTo>
                    <a:pt x="1678991" y="197447"/>
                  </a:lnTo>
                  <a:lnTo>
                    <a:pt x="1678991" y="196799"/>
                  </a:lnTo>
                  <a:lnTo>
                    <a:pt x="1678991" y="197447"/>
                  </a:lnTo>
                  <a:lnTo>
                    <a:pt x="1678991" y="196799"/>
                  </a:lnTo>
                  <a:lnTo>
                    <a:pt x="1679080" y="196799"/>
                  </a:lnTo>
                  <a:lnTo>
                    <a:pt x="1679080" y="196113"/>
                  </a:lnTo>
                  <a:lnTo>
                    <a:pt x="1679080" y="196799"/>
                  </a:lnTo>
                  <a:lnTo>
                    <a:pt x="1679080" y="195415"/>
                  </a:lnTo>
                  <a:lnTo>
                    <a:pt x="1679131" y="195415"/>
                  </a:lnTo>
                  <a:lnTo>
                    <a:pt x="1679131" y="196113"/>
                  </a:lnTo>
                  <a:lnTo>
                    <a:pt x="1679131" y="194716"/>
                  </a:lnTo>
                  <a:lnTo>
                    <a:pt x="1679182" y="195415"/>
                  </a:lnTo>
                  <a:lnTo>
                    <a:pt x="1679182" y="197447"/>
                  </a:lnTo>
                  <a:lnTo>
                    <a:pt x="1679182" y="196113"/>
                  </a:lnTo>
                  <a:lnTo>
                    <a:pt x="1679182" y="196799"/>
                  </a:lnTo>
                  <a:lnTo>
                    <a:pt x="1679233" y="196799"/>
                  </a:lnTo>
                  <a:lnTo>
                    <a:pt x="1679233" y="197447"/>
                  </a:lnTo>
                  <a:lnTo>
                    <a:pt x="1679233" y="195415"/>
                  </a:lnTo>
                  <a:lnTo>
                    <a:pt x="1679233" y="196799"/>
                  </a:lnTo>
                  <a:lnTo>
                    <a:pt x="1679334" y="196113"/>
                  </a:lnTo>
                  <a:lnTo>
                    <a:pt x="1679334" y="196799"/>
                  </a:lnTo>
                  <a:lnTo>
                    <a:pt x="1679334" y="196113"/>
                  </a:lnTo>
                  <a:lnTo>
                    <a:pt x="1679334" y="196799"/>
                  </a:lnTo>
                  <a:lnTo>
                    <a:pt x="1679334" y="196113"/>
                  </a:lnTo>
                  <a:lnTo>
                    <a:pt x="1679334" y="196799"/>
                  </a:lnTo>
                  <a:lnTo>
                    <a:pt x="1679436" y="196799"/>
                  </a:lnTo>
                  <a:lnTo>
                    <a:pt x="1679436" y="197447"/>
                  </a:lnTo>
                  <a:lnTo>
                    <a:pt x="1679436" y="196799"/>
                  </a:lnTo>
                  <a:lnTo>
                    <a:pt x="1679436" y="197447"/>
                  </a:lnTo>
                  <a:lnTo>
                    <a:pt x="1679436" y="196799"/>
                  </a:lnTo>
                  <a:lnTo>
                    <a:pt x="1679436" y="197447"/>
                  </a:lnTo>
                  <a:lnTo>
                    <a:pt x="1679436" y="196799"/>
                  </a:lnTo>
                  <a:lnTo>
                    <a:pt x="1679537" y="196799"/>
                  </a:lnTo>
                  <a:lnTo>
                    <a:pt x="1679537" y="196113"/>
                  </a:lnTo>
                  <a:lnTo>
                    <a:pt x="1679537" y="196799"/>
                  </a:lnTo>
                  <a:lnTo>
                    <a:pt x="1679537" y="196113"/>
                  </a:lnTo>
                  <a:lnTo>
                    <a:pt x="1679537" y="196799"/>
                  </a:lnTo>
                  <a:lnTo>
                    <a:pt x="1679537" y="196113"/>
                  </a:lnTo>
                  <a:lnTo>
                    <a:pt x="1679537" y="196799"/>
                  </a:lnTo>
                  <a:lnTo>
                    <a:pt x="1679537" y="196113"/>
                  </a:lnTo>
                  <a:lnTo>
                    <a:pt x="1679575" y="196113"/>
                  </a:lnTo>
                  <a:lnTo>
                    <a:pt x="1679575" y="194716"/>
                  </a:lnTo>
                  <a:lnTo>
                    <a:pt x="1679575" y="195415"/>
                  </a:lnTo>
                  <a:lnTo>
                    <a:pt x="1679575" y="194716"/>
                  </a:lnTo>
                  <a:lnTo>
                    <a:pt x="1679575" y="195415"/>
                  </a:lnTo>
                  <a:lnTo>
                    <a:pt x="1679626" y="195415"/>
                  </a:lnTo>
                  <a:lnTo>
                    <a:pt x="1679626" y="196113"/>
                  </a:lnTo>
                  <a:lnTo>
                    <a:pt x="1679626" y="194716"/>
                  </a:lnTo>
                  <a:lnTo>
                    <a:pt x="1679626" y="195415"/>
                  </a:lnTo>
                  <a:lnTo>
                    <a:pt x="1679626" y="194716"/>
                  </a:lnTo>
                  <a:lnTo>
                    <a:pt x="1679626" y="196113"/>
                  </a:lnTo>
                  <a:lnTo>
                    <a:pt x="1679677" y="196113"/>
                  </a:lnTo>
                  <a:lnTo>
                    <a:pt x="1679677" y="196799"/>
                  </a:lnTo>
                  <a:lnTo>
                    <a:pt x="1679677" y="196113"/>
                  </a:lnTo>
                  <a:lnTo>
                    <a:pt x="1679677" y="196799"/>
                  </a:lnTo>
                  <a:lnTo>
                    <a:pt x="1679677" y="196113"/>
                  </a:lnTo>
                  <a:lnTo>
                    <a:pt x="1679677" y="196799"/>
                  </a:lnTo>
                  <a:lnTo>
                    <a:pt x="1679677" y="196113"/>
                  </a:lnTo>
                  <a:lnTo>
                    <a:pt x="1679677" y="196799"/>
                  </a:lnTo>
                  <a:lnTo>
                    <a:pt x="1679779" y="196799"/>
                  </a:lnTo>
                  <a:lnTo>
                    <a:pt x="1679779" y="196113"/>
                  </a:lnTo>
                  <a:lnTo>
                    <a:pt x="1679779" y="196799"/>
                  </a:lnTo>
                  <a:lnTo>
                    <a:pt x="1679779" y="195415"/>
                  </a:lnTo>
                  <a:lnTo>
                    <a:pt x="1679779" y="196799"/>
                  </a:lnTo>
                  <a:lnTo>
                    <a:pt x="1679830" y="196799"/>
                  </a:lnTo>
                  <a:lnTo>
                    <a:pt x="1679830" y="196113"/>
                  </a:lnTo>
                  <a:lnTo>
                    <a:pt x="1679830" y="197447"/>
                  </a:lnTo>
                  <a:lnTo>
                    <a:pt x="1679880" y="197447"/>
                  </a:lnTo>
                  <a:lnTo>
                    <a:pt x="1679880" y="196799"/>
                  </a:lnTo>
                  <a:lnTo>
                    <a:pt x="1679880" y="197447"/>
                  </a:lnTo>
                  <a:lnTo>
                    <a:pt x="1679880" y="196799"/>
                  </a:lnTo>
                  <a:lnTo>
                    <a:pt x="1679880" y="197447"/>
                  </a:lnTo>
                  <a:lnTo>
                    <a:pt x="1679880" y="196799"/>
                  </a:lnTo>
                  <a:lnTo>
                    <a:pt x="1679880" y="197447"/>
                  </a:lnTo>
                  <a:lnTo>
                    <a:pt x="1679982" y="197447"/>
                  </a:lnTo>
                  <a:lnTo>
                    <a:pt x="1679982" y="198831"/>
                  </a:lnTo>
                  <a:lnTo>
                    <a:pt x="1679982" y="197447"/>
                  </a:lnTo>
                  <a:lnTo>
                    <a:pt x="1679982" y="198831"/>
                  </a:lnTo>
                  <a:lnTo>
                    <a:pt x="1679982" y="196799"/>
                  </a:lnTo>
                  <a:lnTo>
                    <a:pt x="1679982" y="197447"/>
                  </a:lnTo>
                  <a:lnTo>
                    <a:pt x="1679982" y="196799"/>
                  </a:lnTo>
                  <a:lnTo>
                    <a:pt x="1679982" y="197447"/>
                  </a:lnTo>
                  <a:lnTo>
                    <a:pt x="1680033" y="197447"/>
                  </a:lnTo>
                  <a:lnTo>
                    <a:pt x="1680033" y="196113"/>
                  </a:lnTo>
                  <a:lnTo>
                    <a:pt x="1680084" y="196113"/>
                  </a:lnTo>
                  <a:lnTo>
                    <a:pt x="1680084" y="194716"/>
                  </a:lnTo>
                  <a:lnTo>
                    <a:pt x="1680084" y="195415"/>
                  </a:lnTo>
                  <a:lnTo>
                    <a:pt x="1680122" y="195415"/>
                  </a:lnTo>
                  <a:lnTo>
                    <a:pt x="1680122" y="196113"/>
                  </a:lnTo>
                  <a:lnTo>
                    <a:pt x="1680122" y="195415"/>
                  </a:lnTo>
                  <a:lnTo>
                    <a:pt x="1680122" y="196113"/>
                  </a:lnTo>
                  <a:lnTo>
                    <a:pt x="1680122" y="195415"/>
                  </a:lnTo>
                  <a:lnTo>
                    <a:pt x="1680122" y="196113"/>
                  </a:lnTo>
                  <a:lnTo>
                    <a:pt x="1680223" y="196799"/>
                  </a:lnTo>
                  <a:lnTo>
                    <a:pt x="1680223" y="196113"/>
                  </a:lnTo>
                  <a:lnTo>
                    <a:pt x="1680223" y="196799"/>
                  </a:lnTo>
                  <a:lnTo>
                    <a:pt x="1680223" y="196113"/>
                  </a:lnTo>
                  <a:lnTo>
                    <a:pt x="1680223" y="196799"/>
                  </a:lnTo>
                  <a:lnTo>
                    <a:pt x="1680274" y="196799"/>
                  </a:lnTo>
                  <a:lnTo>
                    <a:pt x="1680325" y="197447"/>
                  </a:lnTo>
                  <a:lnTo>
                    <a:pt x="1680325" y="196799"/>
                  </a:lnTo>
                  <a:lnTo>
                    <a:pt x="1680325" y="197447"/>
                  </a:lnTo>
                  <a:lnTo>
                    <a:pt x="1680426" y="197447"/>
                  </a:lnTo>
                  <a:lnTo>
                    <a:pt x="1680426" y="196799"/>
                  </a:lnTo>
                  <a:lnTo>
                    <a:pt x="1680426" y="197447"/>
                  </a:lnTo>
                  <a:lnTo>
                    <a:pt x="1680426" y="196799"/>
                  </a:lnTo>
                  <a:lnTo>
                    <a:pt x="1680426" y="197447"/>
                  </a:lnTo>
                  <a:lnTo>
                    <a:pt x="1680477" y="197447"/>
                  </a:lnTo>
                  <a:lnTo>
                    <a:pt x="1680477" y="196799"/>
                  </a:lnTo>
                  <a:lnTo>
                    <a:pt x="1680477" y="197447"/>
                  </a:lnTo>
                  <a:lnTo>
                    <a:pt x="1680477" y="196799"/>
                  </a:lnTo>
                  <a:lnTo>
                    <a:pt x="1680477" y="197447"/>
                  </a:lnTo>
                  <a:lnTo>
                    <a:pt x="1680477" y="196799"/>
                  </a:lnTo>
                  <a:lnTo>
                    <a:pt x="1680528" y="196799"/>
                  </a:lnTo>
                  <a:lnTo>
                    <a:pt x="1680528" y="196113"/>
                  </a:lnTo>
                  <a:lnTo>
                    <a:pt x="1680528" y="196799"/>
                  </a:lnTo>
                  <a:lnTo>
                    <a:pt x="1680528" y="195415"/>
                  </a:lnTo>
                  <a:lnTo>
                    <a:pt x="1680528" y="196113"/>
                  </a:lnTo>
                  <a:lnTo>
                    <a:pt x="1680579" y="196113"/>
                  </a:lnTo>
                  <a:lnTo>
                    <a:pt x="1680579" y="195415"/>
                  </a:lnTo>
                  <a:lnTo>
                    <a:pt x="1680579" y="196799"/>
                  </a:lnTo>
                  <a:lnTo>
                    <a:pt x="1680579" y="196113"/>
                  </a:lnTo>
                  <a:lnTo>
                    <a:pt x="1680668" y="196113"/>
                  </a:lnTo>
                  <a:lnTo>
                    <a:pt x="1680668" y="195415"/>
                  </a:lnTo>
                  <a:lnTo>
                    <a:pt x="1680668" y="199530"/>
                  </a:lnTo>
                  <a:lnTo>
                    <a:pt x="1680668" y="196799"/>
                  </a:lnTo>
                  <a:lnTo>
                    <a:pt x="1680719" y="196799"/>
                  </a:lnTo>
                  <a:lnTo>
                    <a:pt x="1680719" y="196113"/>
                  </a:lnTo>
                  <a:lnTo>
                    <a:pt x="1680719" y="198831"/>
                  </a:lnTo>
                  <a:lnTo>
                    <a:pt x="1680719" y="197447"/>
                  </a:lnTo>
                  <a:lnTo>
                    <a:pt x="1680719" y="198831"/>
                  </a:lnTo>
                  <a:lnTo>
                    <a:pt x="1680719" y="196799"/>
                  </a:lnTo>
                  <a:lnTo>
                    <a:pt x="1680719" y="197447"/>
                  </a:lnTo>
                  <a:lnTo>
                    <a:pt x="1680769" y="197447"/>
                  </a:lnTo>
                  <a:lnTo>
                    <a:pt x="1680769" y="198831"/>
                  </a:lnTo>
                  <a:lnTo>
                    <a:pt x="1680820" y="198831"/>
                  </a:lnTo>
                  <a:lnTo>
                    <a:pt x="1680820" y="197447"/>
                  </a:lnTo>
                  <a:lnTo>
                    <a:pt x="1680820" y="198831"/>
                  </a:lnTo>
                  <a:lnTo>
                    <a:pt x="1680820" y="197447"/>
                  </a:lnTo>
                  <a:lnTo>
                    <a:pt x="1680820" y="198831"/>
                  </a:lnTo>
                  <a:lnTo>
                    <a:pt x="1680922" y="198831"/>
                  </a:lnTo>
                  <a:lnTo>
                    <a:pt x="1680922" y="199530"/>
                  </a:lnTo>
                  <a:lnTo>
                    <a:pt x="1680922" y="197447"/>
                  </a:lnTo>
                  <a:lnTo>
                    <a:pt x="1680922" y="198831"/>
                  </a:lnTo>
                  <a:lnTo>
                    <a:pt x="1680922" y="197447"/>
                  </a:lnTo>
                  <a:lnTo>
                    <a:pt x="1680972" y="197447"/>
                  </a:lnTo>
                  <a:lnTo>
                    <a:pt x="1680972" y="196799"/>
                  </a:lnTo>
                  <a:lnTo>
                    <a:pt x="1680972" y="197447"/>
                  </a:lnTo>
                  <a:lnTo>
                    <a:pt x="1680972" y="196799"/>
                  </a:lnTo>
                  <a:lnTo>
                    <a:pt x="1681023" y="196799"/>
                  </a:lnTo>
                  <a:lnTo>
                    <a:pt x="1681023" y="195415"/>
                  </a:lnTo>
                  <a:lnTo>
                    <a:pt x="1681023" y="196113"/>
                  </a:lnTo>
                  <a:lnTo>
                    <a:pt x="1681023" y="195415"/>
                  </a:lnTo>
                  <a:lnTo>
                    <a:pt x="1681125" y="196113"/>
                  </a:lnTo>
                  <a:lnTo>
                    <a:pt x="1681125" y="196799"/>
                  </a:lnTo>
                  <a:lnTo>
                    <a:pt x="1681125" y="196113"/>
                  </a:lnTo>
                  <a:lnTo>
                    <a:pt x="1681125" y="196799"/>
                  </a:lnTo>
                  <a:lnTo>
                    <a:pt x="1681125" y="196113"/>
                  </a:lnTo>
                  <a:lnTo>
                    <a:pt x="1681125" y="198831"/>
                  </a:lnTo>
                  <a:lnTo>
                    <a:pt x="1681163" y="198831"/>
                  </a:lnTo>
                  <a:lnTo>
                    <a:pt x="1681163" y="196799"/>
                  </a:lnTo>
                  <a:lnTo>
                    <a:pt x="1681163" y="198831"/>
                  </a:lnTo>
                  <a:lnTo>
                    <a:pt x="1681214" y="198831"/>
                  </a:lnTo>
                  <a:lnTo>
                    <a:pt x="1681214" y="199530"/>
                  </a:lnTo>
                  <a:lnTo>
                    <a:pt x="1681214" y="197447"/>
                  </a:lnTo>
                  <a:lnTo>
                    <a:pt x="1681214" y="198831"/>
                  </a:lnTo>
                  <a:lnTo>
                    <a:pt x="1681265" y="198831"/>
                  </a:lnTo>
                  <a:lnTo>
                    <a:pt x="1681265" y="199530"/>
                  </a:lnTo>
                  <a:lnTo>
                    <a:pt x="1681265" y="198831"/>
                  </a:lnTo>
                  <a:lnTo>
                    <a:pt x="1681265" y="199530"/>
                  </a:lnTo>
                  <a:lnTo>
                    <a:pt x="1681366" y="199530"/>
                  </a:lnTo>
                  <a:lnTo>
                    <a:pt x="1681366" y="198831"/>
                  </a:lnTo>
                  <a:lnTo>
                    <a:pt x="1681366" y="199530"/>
                  </a:lnTo>
                  <a:lnTo>
                    <a:pt x="1681366" y="198831"/>
                  </a:lnTo>
                  <a:lnTo>
                    <a:pt x="1681417" y="198831"/>
                  </a:lnTo>
                  <a:lnTo>
                    <a:pt x="1681417" y="197447"/>
                  </a:lnTo>
                  <a:lnTo>
                    <a:pt x="1681417" y="198831"/>
                  </a:lnTo>
                  <a:lnTo>
                    <a:pt x="1681417" y="197447"/>
                  </a:lnTo>
                  <a:lnTo>
                    <a:pt x="1681417" y="198831"/>
                  </a:lnTo>
                  <a:lnTo>
                    <a:pt x="1681468" y="197447"/>
                  </a:lnTo>
                  <a:lnTo>
                    <a:pt x="1681468" y="196799"/>
                  </a:lnTo>
                  <a:lnTo>
                    <a:pt x="1681468" y="197447"/>
                  </a:lnTo>
                  <a:lnTo>
                    <a:pt x="1681468" y="195415"/>
                  </a:lnTo>
                  <a:lnTo>
                    <a:pt x="1681468" y="196113"/>
                  </a:lnTo>
                  <a:lnTo>
                    <a:pt x="1681569" y="196113"/>
                  </a:lnTo>
                  <a:lnTo>
                    <a:pt x="1681569" y="195415"/>
                  </a:lnTo>
                  <a:lnTo>
                    <a:pt x="1681569" y="196113"/>
                  </a:lnTo>
                  <a:lnTo>
                    <a:pt x="1681569" y="193383"/>
                  </a:lnTo>
                  <a:lnTo>
                    <a:pt x="1681620" y="193383"/>
                  </a:lnTo>
                  <a:lnTo>
                    <a:pt x="1681620" y="195415"/>
                  </a:lnTo>
                  <a:lnTo>
                    <a:pt x="1681620" y="193383"/>
                  </a:lnTo>
                  <a:lnTo>
                    <a:pt x="1681620" y="194716"/>
                  </a:lnTo>
                  <a:lnTo>
                    <a:pt x="1681671" y="195415"/>
                  </a:lnTo>
                  <a:lnTo>
                    <a:pt x="1681671" y="196113"/>
                  </a:lnTo>
                  <a:lnTo>
                    <a:pt x="1681671" y="195415"/>
                  </a:lnTo>
                  <a:lnTo>
                    <a:pt x="1681671" y="196113"/>
                  </a:lnTo>
                  <a:lnTo>
                    <a:pt x="1681709" y="196113"/>
                  </a:lnTo>
                  <a:lnTo>
                    <a:pt x="1681709" y="196799"/>
                  </a:lnTo>
                  <a:lnTo>
                    <a:pt x="1681811" y="196799"/>
                  </a:lnTo>
                  <a:lnTo>
                    <a:pt x="1681811" y="197447"/>
                  </a:lnTo>
                  <a:lnTo>
                    <a:pt x="1681862" y="197447"/>
                  </a:lnTo>
                  <a:lnTo>
                    <a:pt x="1681862" y="199530"/>
                  </a:lnTo>
                  <a:lnTo>
                    <a:pt x="1681862" y="197447"/>
                  </a:lnTo>
                  <a:lnTo>
                    <a:pt x="1681912" y="197447"/>
                  </a:lnTo>
                  <a:lnTo>
                    <a:pt x="1681912" y="198831"/>
                  </a:lnTo>
                  <a:lnTo>
                    <a:pt x="1681912" y="197447"/>
                  </a:lnTo>
                  <a:lnTo>
                    <a:pt x="1682014" y="197447"/>
                  </a:lnTo>
                  <a:lnTo>
                    <a:pt x="1682014" y="196799"/>
                  </a:lnTo>
                  <a:lnTo>
                    <a:pt x="1682014" y="198831"/>
                  </a:lnTo>
                  <a:lnTo>
                    <a:pt x="1682014" y="196113"/>
                  </a:lnTo>
                  <a:lnTo>
                    <a:pt x="1682065" y="196113"/>
                  </a:lnTo>
                  <a:lnTo>
                    <a:pt x="1682065" y="196799"/>
                  </a:lnTo>
                  <a:lnTo>
                    <a:pt x="1682065" y="193383"/>
                  </a:lnTo>
                  <a:lnTo>
                    <a:pt x="1682115" y="193383"/>
                  </a:lnTo>
                  <a:lnTo>
                    <a:pt x="1682115" y="194716"/>
                  </a:lnTo>
                  <a:lnTo>
                    <a:pt x="1682115" y="191351"/>
                  </a:lnTo>
                  <a:lnTo>
                    <a:pt x="1682166" y="191986"/>
                  </a:lnTo>
                  <a:lnTo>
                    <a:pt x="1682166" y="195415"/>
                  </a:lnTo>
                  <a:lnTo>
                    <a:pt x="1682166" y="192684"/>
                  </a:lnTo>
                  <a:lnTo>
                    <a:pt x="1682166" y="194716"/>
                  </a:lnTo>
                  <a:lnTo>
                    <a:pt x="1682255" y="194716"/>
                  </a:lnTo>
                  <a:lnTo>
                    <a:pt x="1682255" y="196113"/>
                  </a:lnTo>
                  <a:lnTo>
                    <a:pt x="1682255" y="194716"/>
                  </a:lnTo>
                  <a:lnTo>
                    <a:pt x="1682306" y="195415"/>
                  </a:lnTo>
                  <a:lnTo>
                    <a:pt x="1682306" y="196113"/>
                  </a:lnTo>
                  <a:lnTo>
                    <a:pt x="1682306" y="194716"/>
                  </a:lnTo>
                  <a:lnTo>
                    <a:pt x="1682306" y="196113"/>
                  </a:lnTo>
                  <a:lnTo>
                    <a:pt x="1682357" y="196113"/>
                  </a:lnTo>
                  <a:lnTo>
                    <a:pt x="1682357" y="196799"/>
                  </a:lnTo>
                  <a:lnTo>
                    <a:pt x="1682357" y="196113"/>
                  </a:lnTo>
                  <a:lnTo>
                    <a:pt x="1682357" y="196799"/>
                  </a:lnTo>
                  <a:lnTo>
                    <a:pt x="1682357" y="196113"/>
                  </a:lnTo>
                  <a:lnTo>
                    <a:pt x="1682357" y="197447"/>
                  </a:lnTo>
                  <a:lnTo>
                    <a:pt x="1682408" y="196799"/>
                  </a:lnTo>
                  <a:lnTo>
                    <a:pt x="1682408" y="197447"/>
                  </a:lnTo>
                  <a:lnTo>
                    <a:pt x="1682408" y="196799"/>
                  </a:lnTo>
                  <a:lnTo>
                    <a:pt x="1682408" y="197447"/>
                  </a:lnTo>
                  <a:lnTo>
                    <a:pt x="1682408" y="196799"/>
                  </a:lnTo>
                  <a:lnTo>
                    <a:pt x="1682509" y="196799"/>
                  </a:lnTo>
                  <a:lnTo>
                    <a:pt x="1682509" y="196113"/>
                  </a:lnTo>
                  <a:lnTo>
                    <a:pt x="1682560" y="196113"/>
                  </a:lnTo>
                  <a:lnTo>
                    <a:pt x="1682560" y="194716"/>
                  </a:lnTo>
                  <a:lnTo>
                    <a:pt x="1682560" y="195415"/>
                  </a:lnTo>
                  <a:lnTo>
                    <a:pt x="1682611" y="195415"/>
                  </a:lnTo>
                  <a:lnTo>
                    <a:pt x="1682611" y="196113"/>
                  </a:lnTo>
                  <a:lnTo>
                    <a:pt x="1682611" y="193383"/>
                  </a:lnTo>
                  <a:lnTo>
                    <a:pt x="1682611" y="194716"/>
                  </a:lnTo>
                  <a:lnTo>
                    <a:pt x="1682611" y="193383"/>
                  </a:lnTo>
                  <a:lnTo>
                    <a:pt x="1682611" y="196113"/>
                  </a:lnTo>
                  <a:lnTo>
                    <a:pt x="1682712" y="196799"/>
                  </a:lnTo>
                  <a:lnTo>
                    <a:pt x="1682712" y="194716"/>
                  </a:lnTo>
                  <a:lnTo>
                    <a:pt x="1682712" y="196113"/>
                  </a:lnTo>
                  <a:lnTo>
                    <a:pt x="1682750" y="196113"/>
                  </a:lnTo>
                  <a:lnTo>
                    <a:pt x="1682750" y="195415"/>
                  </a:lnTo>
                  <a:lnTo>
                    <a:pt x="1682750" y="196113"/>
                  </a:lnTo>
                  <a:lnTo>
                    <a:pt x="1682801" y="195415"/>
                  </a:lnTo>
                  <a:lnTo>
                    <a:pt x="1682801" y="196799"/>
                  </a:lnTo>
                  <a:lnTo>
                    <a:pt x="1682801" y="196113"/>
                  </a:lnTo>
                  <a:lnTo>
                    <a:pt x="1682801" y="196799"/>
                  </a:lnTo>
                  <a:lnTo>
                    <a:pt x="1682852" y="196799"/>
                  </a:lnTo>
                  <a:lnTo>
                    <a:pt x="1682852" y="196113"/>
                  </a:lnTo>
                  <a:lnTo>
                    <a:pt x="1682852" y="196799"/>
                  </a:lnTo>
                  <a:lnTo>
                    <a:pt x="1682954" y="196799"/>
                  </a:lnTo>
                  <a:lnTo>
                    <a:pt x="1682954" y="197447"/>
                  </a:lnTo>
                  <a:lnTo>
                    <a:pt x="1682954" y="196799"/>
                  </a:lnTo>
                  <a:lnTo>
                    <a:pt x="1682954" y="197447"/>
                  </a:lnTo>
                  <a:lnTo>
                    <a:pt x="1682954" y="196799"/>
                  </a:lnTo>
                  <a:lnTo>
                    <a:pt x="1682954" y="197447"/>
                  </a:lnTo>
                  <a:lnTo>
                    <a:pt x="1682954" y="196799"/>
                  </a:lnTo>
                  <a:lnTo>
                    <a:pt x="1682954" y="197447"/>
                  </a:lnTo>
                  <a:lnTo>
                    <a:pt x="1682954" y="196799"/>
                  </a:lnTo>
                  <a:lnTo>
                    <a:pt x="1683005" y="196799"/>
                  </a:lnTo>
                  <a:lnTo>
                    <a:pt x="1683005" y="197447"/>
                  </a:lnTo>
                  <a:lnTo>
                    <a:pt x="1683005" y="196799"/>
                  </a:lnTo>
                  <a:lnTo>
                    <a:pt x="1683005" y="197447"/>
                  </a:lnTo>
                  <a:lnTo>
                    <a:pt x="1683005" y="196113"/>
                  </a:lnTo>
                  <a:lnTo>
                    <a:pt x="1683055" y="196113"/>
                  </a:lnTo>
                  <a:lnTo>
                    <a:pt x="1683055" y="195415"/>
                  </a:lnTo>
                  <a:lnTo>
                    <a:pt x="1683055" y="197447"/>
                  </a:lnTo>
                  <a:lnTo>
                    <a:pt x="1683055" y="196799"/>
                  </a:lnTo>
                  <a:lnTo>
                    <a:pt x="1683157" y="196799"/>
                  </a:lnTo>
                  <a:lnTo>
                    <a:pt x="1683157" y="195415"/>
                  </a:lnTo>
                  <a:lnTo>
                    <a:pt x="1683157" y="198831"/>
                  </a:lnTo>
                  <a:lnTo>
                    <a:pt x="1683157" y="197447"/>
                  </a:lnTo>
                  <a:lnTo>
                    <a:pt x="1683208" y="196799"/>
                  </a:lnTo>
                  <a:lnTo>
                    <a:pt x="1683208" y="196113"/>
                  </a:lnTo>
                  <a:lnTo>
                    <a:pt x="1683208" y="198831"/>
                  </a:lnTo>
                  <a:lnTo>
                    <a:pt x="1683208" y="197447"/>
                  </a:lnTo>
                  <a:lnTo>
                    <a:pt x="1683208" y="198831"/>
                  </a:lnTo>
                  <a:lnTo>
                    <a:pt x="1683208" y="197447"/>
                  </a:lnTo>
                  <a:lnTo>
                    <a:pt x="1683259" y="197447"/>
                  </a:lnTo>
                  <a:lnTo>
                    <a:pt x="1683259" y="196799"/>
                  </a:lnTo>
                  <a:lnTo>
                    <a:pt x="1683259" y="197447"/>
                  </a:lnTo>
                  <a:lnTo>
                    <a:pt x="1683259" y="196799"/>
                  </a:lnTo>
                  <a:lnTo>
                    <a:pt x="1683259" y="197447"/>
                  </a:lnTo>
                  <a:lnTo>
                    <a:pt x="1683297" y="197447"/>
                  </a:lnTo>
                  <a:lnTo>
                    <a:pt x="1683297" y="196799"/>
                  </a:lnTo>
                  <a:lnTo>
                    <a:pt x="1683297" y="197447"/>
                  </a:lnTo>
                  <a:lnTo>
                    <a:pt x="1683297" y="196799"/>
                  </a:lnTo>
                  <a:lnTo>
                    <a:pt x="1683398" y="196799"/>
                  </a:lnTo>
                  <a:lnTo>
                    <a:pt x="1683398" y="197447"/>
                  </a:lnTo>
                  <a:lnTo>
                    <a:pt x="1683398" y="196799"/>
                  </a:lnTo>
                  <a:lnTo>
                    <a:pt x="1683398" y="197447"/>
                  </a:lnTo>
                  <a:lnTo>
                    <a:pt x="1683398" y="196799"/>
                  </a:lnTo>
                  <a:lnTo>
                    <a:pt x="1683449" y="196799"/>
                  </a:lnTo>
                  <a:lnTo>
                    <a:pt x="1683449" y="196113"/>
                  </a:lnTo>
                  <a:lnTo>
                    <a:pt x="1683449" y="196799"/>
                  </a:lnTo>
                  <a:lnTo>
                    <a:pt x="1683500" y="196799"/>
                  </a:lnTo>
                  <a:lnTo>
                    <a:pt x="1683500" y="196113"/>
                  </a:lnTo>
                  <a:lnTo>
                    <a:pt x="1683500" y="196799"/>
                  </a:lnTo>
                  <a:lnTo>
                    <a:pt x="1683500" y="195415"/>
                  </a:lnTo>
                  <a:lnTo>
                    <a:pt x="1683601" y="195415"/>
                  </a:lnTo>
                  <a:lnTo>
                    <a:pt x="1683601" y="193383"/>
                  </a:lnTo>
                  <a:lnTo>
                    <a:pt x="1683601" y="194716"/>
                  </a:lnTo>
                  <a:lnTo>
                    <a:pt x="1683601" y="193383"/>
                  </a:lnTo>
                  <a:lnTo>
                    <a:pt x="1683601" y="195415"/>
                  </a:lnTo>
                  <a:lnTo>
                    <a:pt x="1683652" y="195415"/>
                  </a:lnTo>
                  <a:lnTo>
                    <a:pt x="1683652" y="194716"/>
                  </a:lnTo>
                  <a:lnTo>
                    <a:pt x="1683652" y="196799"/>
                  </a:lnTo>
                  <a:lnTo>
                    <a:pt x="1683703" y="196799"/>
                  </a:lnTo>
                  <a:lnTo>
                    <a:pt x="1683703" y="196113"/>
                  </a:lnTo>
                  <a:lnTo>
                    <a:pt x="1683703" y="197447"/>
                  </a:lnTo>
                  <a:lnTo>
                    <a:pt x="1683703" y="196799"/>
                  </a:lnTo>
                  <a:lnTo>
                    <a:pt x="1683754" y="196799"/>
                  </a:lnTo>
                  <a:lnTo>
                    <a:pt x="1683754" y="197447"/>
                  </a:lnTo>
                  <a:lnTo>
                    <a:pt x="1683754" y="196799"/>
                  </a:lnTo>
                  <a:lnTo>
                    <a:pt x="1683754" y="197447"/>
                  </a:lnTo>
                  <a:lnTo>
                    <a:pt x="1683754" y="196799"/>
                  </a:lnTo>
                  <a:lnTo>
                    <a:pt x="1683754" y="197447"/>
                  </a:lnTo>
                  <a:lnTo>
                    <a:pt x="1683754" y="196799"/>
                  </a:lnTo>
                  <a:lnTo>
                    <a:pt x="1683754" y="197447"/>
                  </a:lnTo>
                  <a:lnTo>
                    <a:pt x="1683843" y="196799"/>
                  </a:lnTo>
                  <a:lnTo>
                    <a:pt x="1683843" y="197447"/>
                  </a:lnTo>
                  <a:lnTo>
                    <a:pt x="1683894" y="197447"/>
                  </a:lnTo>
                  <a:lnTo>
                    <a:pt x="1683894" y="196799"/>
                  </a:lnTo>
                  <a:lnTo>
                    <a:pt x="1683944" y="197447"/>
                  </a:lnTo>
                  <a:lnTo>
                    <a:pt x="1683944" y="196799"/>
                  </a:lnTo>
                  <a:lnTo>
                    <a:pt x="1683944" y="197447"/>
                  </a:lnTo>
                  <a:lnTo>
                    <a:pt x="1683944" y="196799"/>
                  </a:lnTo>
                  <a:lnTo>
                    <a:pt x="1683944" y="197447"/>
                  </a:lnTo>
                  <a:lnTo>
                    <a:pt x="1683944" y="196799"/>
                  </a:lnTo>
                  <a:lnTo>
                    <a:pt x="1683995" y="196799"/>
                  </a:lnTo>
                  <a:lnTo>
                    <a:pt x="1683995" y="195415"/>
                  </a:lnTo>
                  <a:lnTo>
                    <a:pt x="1683995" y="196113"/>
                  </a:lnTo>
                  <a:lnTo>
                    <a:pt x="1683995" y="195415"/>
                  </a:lnTo>
                  <a:lnTo>
                    <a:pt x="1684097" y="194716"/>
                  </a:lnTo>
                  <a:lnTo>
                    <a:pt x="1684097" y="196113"/>
                  </a:lnTo>
                  <a:lnTo>
                    <a:pt x="1684097" y="194716"/>
                  </a:lnTo>
                  <a:lnTo>
                    <a:pt x="1684147" y="194716"/>
                  </a:lnTo>
                  <a:lnTo>
                    <a:pt x="1684147" y="197447"/>
                  </a:lnTo>
                  <a:lnTo>
                    <a:pt x="1684147" y="196113"/>
                  </a:lnTo>
                  <a:lnTo>
                    <a:pt x="1684198" y="196113"/>
                  </a:lnTo>
                  <a:lnTo>
                    <a:pt x="1684198" y="197447"/>
                  </a:lnTo>
                  <a:lnTo>
                    <a:pt x="1684198" y="196799"/>
                  </a:lnTo>
                  <a:lnTo>
                    <a:pt x="1684198" y="197447"/>
                  </a:lnTo>
                  <a:lnTo>
                    <a:pt x="1684198" y="196799"/>
                  </a:lnTo>
                  <a:lnTo>
                    <a:pt x="1684198" y="197447"/>
                  </a:lnTo>
                  <a:lnTo>
                    <a:pt x="1684198" y="196799"/>
                  </a:lnTo>
                  <a:lnTo>
                    <a:pt x="1684300" y="196799"/>
                  </a:lnTo>
                  <a:lnTo>
                    <a:pt x="1684300" y="197447"/>
                  </a:lnTo>
                  <a:lnTo>
                    <a:pt x="1684300" y="196799"/>
                  </a:lnTo>
                  <a:lnTo>
                    <a:pt x="1684300" y="197447"/>
                  </a:lnTo>
                  <a:lnTo>
                    <a:pt x="1684300" y="196799"/>
                  </a:lnTo>
                  <a:lnTo>
                    <a:pt x="1684300" y="197447"/>
                  </a:lnTo>
                  <a:lnTo>
                    <a:pt x="1684300" y="196799"/>
                  </a:lnTo>
                  <a:lnTo>
                    <a:pt x="1684300" y="197447"/>
                  </a:lnTo>
                  <a:lnTo>
                    <a:pt x="1684300" y="196799"/>
                  </a:lnTo>
                  <a:lnTo>
                    <a:pt x="1684338" y="196799"/>
                  </a:lnTo>
                  <a:lnTo>
                    <a:pt x="1684338" y="198831"/>
                  </a:lnTo>
                  <a:lnTo>
                    <a:pt x="1684338" y="197447"/>
                  </a:lnTo>
                  <a:lnTo>
                    <a:pt x="1684338" y="198831"/>
                  </a:lnTo>
                  <a:lnTo>
                    <a:pt x="1684389" y="198831"/>
                  </a:lnTo>
                  <a:lnTo>
                    <a:pt x="1684389" y="197447"/>
                  </a:lnTo>
                  <a:lnTo>
                    <a:pt x="1684389" y="198831"/>
                  </a:lnTo>
                  <a:lnTo>
                    <a:pt x="1684389" y="197447"/>
                  </a:lnTo>
                  <a:lnTo>
                    <a:pt x="1684389" y="198831"/>
                  </a:lnTo>
                  <a:lnTo>
                    <a:pt x="1684389" y="197447"/>
                  </a:lnTo>
                  <a:lnTo>
                    <a:pt x="1684389" y="198831"/>
                  </a:lnTo>
                  <a:lnTo>
                    <a:pt x="1684440" y="198831"/>
                  </a:lnTo>
                  <a:lnTo>
                    <a:pt x="1684440" y="196799"/>
                  </a:lnTo>
                  <a:lnTo>
                    <a:pt x="1684440" y="197447"/>
                  </a:lnTo>
                  <a:lnTo>
                    <a:pt x="1684440" y="196799"/>
                  </a:lnTo>
                  <a:lnTo>
                    <a:pt x="1684541" y="196799"/>
                  </a:lnTo>
                  <a:lnTo>
                    <a:pt x="1684541" y="195415"/>
                  </a:lnTo>
                  <a:lnTo>
                    <a:pt x="1684592" y="195415"/>
                  </a:lnTo>
                  <a:lnTo>
                    <a:pt x="1684592" y="196113"/>
                  </a:lnTo>
                  <a:lnTo>
                    <a:pt x="1684592" y="195415"/>
                  </a:lnTo>
                  <a:lnTo>
                    <a:pt x="1684592" y="197447"/>
                  </a:lnTo>
                  <a:lnTo>
                    <a:pt x="1684643" y="197447"/>
                  </a:lnTo>
                  <a:lnTo>
                    <a:pt x="1684643" y="196113"/>
                  </a:lnTo>
                  <a:lnTo>
                    <a:pt x="1684643" y="198831"/>
                  </a:lnTo>
                  <a:lnTo>
                    <a:pt x="1684744" y="198831"/>
                  </a:lnTo>
                  <a:lnTo>
                    <a:pt x="1684744" y="196799"/>
                  </a:lnTo>
                  <a:lnTo>
                    <a:pt x="1684744" y="198831"/>
                  </a:lnTo>
                  <a:lnTo>
                    <a:pt x="1684795" y="198831"/>
                  </a:lnTo>
                  <a:lnTo>
                    <a:pt x="1684795" y="196799"/>
                  </a:lnTo>
                  <a:lnTo>
                    <a:pt x="1684795" y="198831"/>
                  </a:lnTo>
                  <a:lnTo>
                    <a:pt x="1684846" y="198831"/>
                  </a:lnTo>
                  <a:lnTo>
                    <a:pt x="1684846" y="197447"/>
                  </a:lnTo>
                  <a:lnTo>
                    <a:pt x="1684846" y="198831"/>
                  </a:lnTo>
                  <a:lnTo>
                    <a:pt x="1684846" y="197447"/>
                  </a:lnTo>
                  <a:lnTo>
                    <a:pt x="1684846" y="198831"/>
                  </a:lnTo>
                  <a:lnTo>
                    <a:pt x="1684846" y="197447"/>
                  </a:lnTo>
                  <a:lnTo>
                    <a:pt x="1684846" y="198831"/>
                  </a:lnTo>
                  <a:lnTo>
                    <a:pt x="1684846" y="197447"/>
                  </a:lnTo>
                  <a:lnTo>
                    <a:pt x="1684846" y="198831"/>
                  </a:lnTo>
                  <a:lnTo>
                    <a:pt x="1684846" y="197447"/>
                  </a:lnTo>
                  <a:lnTo>
                    <a:pt x="1684884" y="198831"/>
                  </a:lnTo>
                  <a:lnTo>
                    <a:pt x="1684986" y="198831"/>
                  </a:lnTo>
                  <a:lnTo>
                    <a:pt x="1684986" y="196113"/>
                  </a:lnTo>
                  <a:lnTo>
                    <a:pt x="1684986" y="196799"/>
                  </a:lnTo>
                  <a:lnTo>
                    <a:pt x="1684986" y="196113"/>
                  </a:lnTo>
                  <a:lnTo>
                    <a:pt x="1685037" y="196113"/>
                  </a:lnTo>
                  <a:lnTo>
                    <a:pt x="1685037" y="196799"/>
                  </a:lnTo>
                  <a:lnTo>
                    <a:pt x="1685037" y="196113"/>
                  </a:lnTo>
                  <a:lnTo>
                    <a:pt x="1685037" y="197447"/>
                  </a:lnTo>
                  <a:lnTo>
                    <a:pt x="1685037" y="196799"/>
                  </a:lnTo>
                  <a:lnTo>
                    <a:pt x="1685037" y="197447"/>
                  </a:lnTo>
                  <a:lnTo>
                    <a:pt x="1685037" y="196113"/>
                  </a:lnTo>
                  <a:lnTo>
                    <a:pt x="1685087" y="196113"/>
                  </a:lnTo>
                  <a:lnTo>
                    <a:pt x="1685087" y="200228"/>
                  </a:lnTo>
                  <a:lnTo>
                    <a:pt x="1685087" y="197447"/>
                  </a:lnTo>
                  <a:lnTo>
                    <a:pt x="1685189" y="197447"/>
                  </a:lnTo>
                  <a:lnTo>
                    <a:pt x="1685189" y="199530"/>
                  </a:lnTo>
                  <a:lnTo>
                    <a:pt x="1685189" y="197447"/>
                  </a:lnTo>
                  <a:lnTo>
                    <a:pt x="1685189" y="198831"/>
                  </a:lnTo>
                  <a:lnTo>
                    <a:pt x="1685240" y="198831"/>
                  </a:lnTo>
                  <a:lnTo>
                    <a:pt x="1685240" y="199530"/>
                  </a:lnTo>
                  <a:lnTo>
                    <a:pt x="1685240" y="198831"/>
                  </a:lnTo>
                  <a:lnTo>
                    <a:pt x="1685240" y="199530"/>
                  </a:lnTo>
                  <a:lnTo>
                    <a:pt x="1685240" y="198831"/>
                  </a:lnTo>
                  <a:lnTo>
                    <a:pt x="1685290" y="198831"/>
                  </a:lnTo>
                  <a:lnTo>
                    <a:pt x="1685290" y="197447"/>
                  </a:lnTo>
                  <a:lnTo>
                    <a:pt x="1685290" y="198831"/>
                  </a:lnTo>
                  <a:lnTo>
                    <a:pt x="1685290" y="197447"/>
                  </a:lnTo>
                  <a:lnTo>
                    <a:pt x="1685290" y="198831"/>
                  </a:lnTo>
                  <a:lnTo>
                    <a:pt x="1685290" y="197447"/>
                  </a:lnTo>
                  <a:lnTo>
                    <a:pt x="1685341" y="198831"/>
                  </a:lnTo>
                  <a:lnTo>
                    <a:pt x="1685341" y="197447"/>
                  </a:lnTo>
                  <a:lnTo>
                    <a:pt x="1685430" y="198831"/>
                  </a:lnTo>
                  <a:lnTo>
                    <a:pt x="1685430" y="196799"/>
                  </a:lnTo>
                  <a:lnTo>
                    <a:pt x="1685430" y="197447"/>
                  </a:lnTo>
                  <a:lnTo>
                    <a:pt x="1685430" y="196799"/>
                  </a:lnTo>
                  <a:lnTo>
                    <a:pt x="1685430" y="197447"/>
                  </a:lnTo>
                  <a:lnTo>
                    <a:pt x="1685481" y="196799"/>
                  </a:lnTo>
                  <a:lnTo>
                    <a:pt x="1685481" y="196113"/>
                  </a:lnTo>
                  <a:lnTo>
                    <a:pt x="1685481" y="197447"/>
                  </a:lnTo>
                  <a:lnTo>
                    <a:pt x="1685481" y="196799"/>
                  </a:lnTo>
                  <a:lnTo>
                    <a:pt x="1685532" y="196799"/>
                  </a:lnTo>
                  <a:lnTo>
                    <a:pt x="1685532" y="198831"/>
                  </a:lnTo>
                  <a:lnTo>
                    <a:pt x="1685583" y="198831"/>
                  </a:lnTo>
                  <a:lnTo>
                    <a:pt x="1685583" y="199530"/>
                  </a:lnTo>
                  <a:lnTo>
                    <a:pt x="1685583" y="198831"/>
                  </a:lnTo>
                  <a:lnTo>
                    <a:pt x="1685583" y="200228"/>
                  </a:lnTo>
                  <a:lnTo>
                    <a:pt x="1685583" y="199530"/>
                  </a:lnTo>
                  <a:lnTo>
                    <a:pt x="1685583" y="200228"/>
                  </a:lnTo>
                  <a:lnTo>
                    <a:pt x="1685583" y="199530"/>
                  </a:lnTo>
                  <a:lnTo>
                    <a:pt x="1685684" y="199530"/>
                  </a:lnTo>
                  <a:lnTo>
                    <a:pt x="1685684" y="198831"/>
                  </a:lnTo>
                  <a:lnTo>
                    <a:pt x="1685684" y="200228"/>
                  </a:lnTo>
                  <a:lnTo>
                    <a:pt x="1685684" y="199530"/>
                  </a:lnTo>
                  <a:lnTo>
                    <a:pt x="1685735" y="199530"/>
                  </a:lnTo>
                  <a:lnTo>
                    <a:pt x="1685735" y="200228"/>
                  </a:lnTo>
                  <a:lnTo>
                    <a:pt x="1685735" y="199530"/>
                  </a:lnTo>
                  <a:lnTo>
                    <a:pt x="1685735" y="200228"/>
                  </a:lnTo>
                  <a:lnTo>
                    <a:pt x="1685735" y="199530"/>
                  </a:lnTo>
                  <a:lnTo>
                    <a:pt x="1685786" y="199530"/>
                  </a:lnTo>
                  <a:lnTo>
                    <a:pt x="1685786" y="200228"/>
                  </a:lnTo>
                  <a:lnTo>
                    <a:pt x="1685786" y="198831"/>
                  </a:lnTo>
                  <a:lnTo>
                    <a:pt x="1685786" y="199530"/>
                  </a:lnTo>
                  <a:lnTo>
                    <a:pt x="1685786" y="198831"/>
                  </a:lnTo>
                  <a:lnTo>
                    <a:pt x="1685786" y="199530"/>
                  </a:lnTo>
                  <a:lnTo>
                    <a:pt x="1685887" y="198831"/>
                  </a:lnTo>
                  <a:lnTo>
                    <a:pt x="1685887" y="199530"/>
                  </a:lnTo>
                  <a:lnTo>
                    <a:pt x="1685887" y="198831"/>
                  </a:lnTo>
                  <a:lnTo>
                    <a:pt x="1685887" y="199530"/>
                  </a:lnTo>
                  <a:lnTo>
                    <a:pt x="1685887" y="197447"/>
                  </a:lnTo>
                  <a:lnTo>
                    <a:pt x="1685925" y="197447"/>
                  </a:lnTo>
                  <a:lnTo>
                    <a:pt x="1685925" y="196113"/>
                  </a:lnTo>
                  <a:lnTo>
                    <a:pt x="1685976" y="196113"/>
                  </a:lnTo>
                  <a:lnTo>
                    <a:pt x="1685976" y="197447"/>
                  </a:lnTo>
                  <a:lnTo>
                    <a:pt x="1685976" y="196799"/>
                  </a:lnTo>
                  <a:lnTo>
                    <a:pt x="1686027" y="196799"/>
                  </a:lnTo>
                  <a:lnTo>
                    <a:pt x="1686027" y="199530"/>
                  </a:lnTo>
                  <a:lnTo>
                    <a:pt x="1686027" y="197447"/>
                  </a:lnTo>
                  <a:lnTo>
                    <a:pt x="1686129" y="197447"/>
                  </a:lnTo>
                  <a:lnTo>
                    <a:pt x="1686129" y="199530"/>
                  </a:lnTo>
                  <a:lnTo>
                    <a:pt x="1686129" y="198831"/>
                  </a:lnTo>
                  <a:lnTo>
                    <a:pt x="1686129" y="199530"/>
                  </a:lnTo>
                  <a:lnTo>
                    <a:pt x="1686230" y="199530"/>
                  </a:lnTo>
                  <a:lnTo>
                    <a:pt x="1686230" y="200228"/>
                  </a:lnTo>
                  <a:lnTo>
                    <a:pt x="1686332" y="199530"/>
                  </a:lnTo>
                  <a:lnTo>
                    <a:pt x="1686332" y="198831"/>
                  </a:lnTo>
                  <a:lnTo>
                    <a:pt x="1686332" y="199530"/>
                  </a:lnTo>
                  <a:lnTo>
                    <a:pt x="1686332" y="198831"/>
                  </a:lnTo>
                  <a:lnTo>
                    <a:pt x="1686332" y="199530"/>
                  </a:lnTo>
                  <a:lnTo>
                    <a:pt x="1686383" y="199530"/>
                  </a:lnTo>
                  <a:lnTo>
                    <a:pt x="1686383" y="197447"/>
                  </a:lnTo>
                  <a:lnTo>
                    <a:pt x="1686383" y="198831"/>
                  </a:lnTo>
                  <a:lnTo>
                    <a:pt x="1686383" y="197447"/>
                  </a:lnTo>
                  <a:lnTo>
                    <a:pt x="1686434" y="197447"/>
                  </a:lnTo>
                  <a:lnTo>
                    <a:pt x="1686434" y="194716"/>
                  </a:lnTo>
                  <a:lnTo>
                    <a:pt x="1686472" y="194716"/>
                  </a:lnTo>
                  <a:lnTo>
                    <a:pt x="1686472" y="195415"/>
                  </a:lnTo>
                  <a:lnTo>
                    <a:pt x="1686472" y="194716"/>
                  </a:lnTo>
                  <a:lnTo>
                    <a:pt x="1686573" y="194716"/>
                  </a:lnTo>
                  <a:lnTo>
                    <a:pt x="1686573" y="193383"/>
                  </a:lnTo>
                  <a:lnTo>
                    <a:pt x="1686573" y="196799"/>
                  </a:lnTo>
                  <a:lnTo>
                    <a:pt x="1686573" y="196113"/>
                  </a:lnTo>
                  <a:lnTo>
                    <a:pt x="1686573" y="196799"/>
                  </a:lnTo>
                  <a:lnTo>
                    <a:pt x="1686573" y="196113"/>
                  </a:lnTo>
                  <a:lnTo>
                    <a:pt x="1686573" y="196799"/>
                  </a:lnTo>
                  <a:lnTo>
                    <a:pt x="1686573" y="196113"/>
                  </a:lnTo>
                  <a:lnTo>
                    <a:pt x="1686573" y="196799"/>
                  </a:lnTo>
                  <a:lnTo>
                    <a:pt x="1686573" y="196113"/>
                  </a:lnTo>
                  <a:lnTo>
                    <a:pt x="1686624" y="195415"/>
                  </a:lnTo>
                  <a:lnTo>
                    <a:pt x="1686624" y="197447"/>
                  </a:lnTo>
                  <a:lnTo>
                    <a:pt x="1686624" y="196799"/>
                  </a:lnTo>
                  <a:lnTo>
                    <a:pt x="1686675" y="196799"/>
                  </a:lnTo>
                  <a:lnTo>
                    <a:pt x="1686675" y="198831"/>
                  </a:lnTo>
                  <a:lnTo>
                    <a:pt x="1686675" y="197447"/>
                  </a:lnTo>
                  <a:lnTo>
                    <a:pt x="1686675" y="198831"/>
                  </a:lnTo>
                  <a:lnTo>
                    <a:pt x="1686675" y="197447"/>
                  </a:lnTo>
                  <a:lnTo>
                    <a:pt x="1686776" y="197447"/>
                  </a:lnTo>
                  <a:lnTo>
                    <a:pt x="1686776" y="199530"/>
                  </a:lnTo>
                  <a:lnTo>
                    <a:pt x="1686776" y="198831"/>
                  </a:lnTo>
                  <a:lnTo>
                    <a:pt x="1686827" y="198831"/>
                  </a:lnTo>
                  <a:lnTo>
                    <a:pt x="1686827" y="199530"/>
                  </a:lnTo>
                  <a:lnTo>
                    <a:pt x="1686827" y="198831"/>
                  </a:lnTo>
                  <a:lnTo>
                    <a:pt x="1686827" y="199530"/>
                  </a:lnTo>
                  <a:lnTo>
                    <a:pt x="1686827" y="198831"/>
                  </a:lnTo>
                  <a:lnTo>
                    <a:pt x="1686827" y="199530"/>
                  </a:lnTo>
                  <a:lnTo>
                    <a:pt x="1686827" y="198831"/>
                  </a:lnTo>
                  <a:lnTo>
                    <a:pt x="1686878" y="198831"/>
                  </a:lnTo>
                  <a:lnTo>
                    <a:pt x="1686878" y="197447"/>
                  </a:lnTo>
                  <a:lnTo>
                    <a:pt x="1686878" y="198831"/>
                  </a:lnTo>
                  <a:lnTo>
                    <a:pt x="1686878" y="197447"/>
                  </a:lnTo>
                  <a:lnTo>
                    <a:pt x="1686929" y="197447"/>
                  </a:lnTo>
                  <a:lnTo>
                    <a:pt x="1686929" y="194716"/>
                  </a:lnTo>
                  <a:lnTo>
                    <a:pt x="1687018" y="194716"/>
                  </a:lnTo>
                  <a:lnTo>
                    <a:pt x="1687018" y="196799"/>
                  </a:lnTo>
                  <a:lnTo>
                    <a:pt x="1687018" y="194716"/>
                  </a:lnTo>
                  <a:lnTo>
                    <a:pt x="1687069" y="193383"/>
                  </a:lnTo>
                  <a:lnTo>
                    <a:pt x="1687069" y="196799"/>
                  </a:lnTo>
                  <a:lnTo>
                    <a:pt x="1687069" y="195415"/>
                  </a:lnTo>
                  <a:lnTo>
                    <a:pt x="1687069" y="196113"/>
                  </a:lnTo>
                  <a:lnTo>
                    <a:pt x="1687119" y="196113"/>
                  </a:lnTo>
                  <a:lnTo>
                    <a:pt x="1687119" y="196799"/>
                  </a:lnTo>
                  <a:lnTo>
                    <a:pt x="1687119" y="196113"/>
                  </a:lnTo>
                  <a:lnTo>
                    <a:pt x="1687119" y="196799"/>
                  </a:lnTo>
                  <a:lnTo>
                    <a:pt x="1687119" y="196113"/>
                  </a:lnTo>
                  <a:lnTo>
                    <a:pt x="1687170" y="196113"/>
                  </a:lnTo>
                  <a:lnTo>
                    <a:pt x="1687170" y="197447"/>
                  </a:lnTo>
                  <a:lnTo>
                    <a:pt x="1687170" y="196799"/>
                  </a:lnTo>
                  <a:lnTo>
                    <a:pt x="1687272" y="196799"/>
                  </a:lnTo>
                  <a:lnTo>
                    <a:pt x="1687272" y="197447"/>
                  </a:lnTo>
                  <a:lnTo>
                    <a:pt x="1687272" y="196799"/>
                  </a:lnTo>
                  <a:lnTo>
                    <a:pt x="1687272" y="197447"/>
                  </a:lnTo>
                  <a:lnTo>
                    <a:pt x="1687322" y="197447"/>
                  </a:lnTo>
                  <a:lnTo>
                    <a:pt x="1687322" y="198831"/>
                  </a:lnTo>
                  <a:lnTo>
                    <a:pt x="1687322" y="197447"/>
                  </a:lnTo>
                  <a:lnTo>
                    <a:pt x="1687322" y="198831"/>
                  </a:lnTo>
                  <a:lnTo>
                    <a:pt x="1687322" y="197447"/>
                  </a:lnTo>
                  <a:lnTo>
                    <a:pt x="1687322" y="198831"/>
                  </a:lnTo>
                  <a:lnTo>
                    <a:pt x="1687322" y="197447"/>
                  </a:lnTo>
                  <a:lnTo>
                    <a:pt x="1687322" y="198831"/>
                  </a:lnTo>
                  <a:lnTo>
                    <a:pt x="1687322" y="197447"/>
                  </a:lnTo>
                  <a:lnTo>
                    <a:pt x="1687373" y="197447"/>
                  </a:lnTo>
                  <a:lnTo>
                    <a:pt x="1687373" y="198831"/>
                  </a:lnTo>
                  <a:lnTo>
                    <a:pt x="1687373" y="196799"/>
                  </a:lnTo>
                  <a:lnTo>
                    <a:pt x="1687475" y="196799"/>
                  </a:lnTo>
                  <a:lnTo>
                    <a:pt x="1687475" y="194716"/>
                  </a:lnTo>
                  <a:lnTo>
                    <a:pt x="1687513" y="194716"/>
                  </a:lnTo>
                  <a:lnTo>
                    <a:pt x="1687513" y="193383"/>
                  </a:lnTo>
                  <a:lnTo>
                    <a:pt x="1687513" y="195415"/>
                  </a:lnTo>
                  <a:lnTo>
                    <a:pt x="1687513" y="193383"/>
                  </a:lnTo>
                  <a:lnTo>
                    <a:pt x="1687564" y="193383"/>
                  </a:lnTo>
                  <a:lnTo>
                    <a:pt x="1687564" y="192684"/>
                  </a:lnTo>
                  <a:lnTo>
                    <a:pt x="1687564" y="196113"/>
                  </a:lnTo>
                  <a:lnTo>
                    <a:pt x="1687564" y="194716"/>
                  </a:lnTo>
                  <a:lnTo>
                    <a:pt x="1687564" y="195415"/>
                  </a:lnTo>
                  <a:lnTo>
                    <a:pt x="1687615" y="195415"/>
                  </a:lnTo>
                  <a:lnTo>
                    <a:pt x="1687615" y="196799"/>
                  </a:lnTo>
                  <a:lnTo>
                    <a:pt x="1687615" y="195415"/>
                  </a:lnTo>
                  <a:lnTo>
                    <a:pt x="1687615" y="196113"/>
                  </a:lnTo>
                  <a:lnTo>
                    <a:pt x="1687716" y="196113"/>
                  </a:lnTo>
                  <a:lnTo>
                    <a:pt x="1687716" y="195415"/>
                  </a:lnTo>
                  <a:lnTo>
                    <a:pt x="1687716" y="196799"/>
                  </a:lnTo>
                  <a:lnTo>
                    <a:pt x="1687767" y="196799"/>
                  </a:lnTo>
                  <a:lnTo>
                    <a:pt x="1687767" y="198831"/>
                  </a:lnTo>
                  <a:lnTo>
                    <a:pt x="1687767" y="197447"/>
                  </a:lnTo>
                  <a:lnTo>
                    <a:pt x="1687818" y="197447"/>
                  </a:lnTo>
                  <a:lnTo>
                    <a:pt x="1687818" y="196799"/>
                  </a:lnTo>
                  <a:lnTo>
                    <a:pt x="1687818" y="197447"/>
                  </a:lnTo>
                  <a:lnTo>
                    <a:pt x="1687818" y="196799"/>
                  </a:lnTo>
                  <a:lnTo>
                    <a:pt x="1687818" y="197447"/>
                  </a:lnTo>
                  <a:lnTo>
                    <a:pt x="1687818" y="196799"/>
                  </a:lnTo>
                  <a:lnTo>
                    <a:pt x="1687818" y="197447"/>
                  </a:lnTo>
                  <a:lnTo>
                    <a:pt x="1687919" y="197447"/>
                  </a:lnTo>
                  <a:lnTo>
                    <a:pt x="1687919" y="196799"/>
                  </a:lnTo>
                  <a:lnTo>
                    <a:pt x="1687919" y="197447"/>
                  </a:lnTo>
                  <a:lnTo>
                    <a:pt x="1687919" y="196799"/>
                  </a:lnTo>
                  <a:lnTo>
                    <a:pt x="1687919" y="197447"/>
                  </a:lnTo>
                  <a:lnTo>
                    <a:pt x="1687919" y="196799"/>
                  </a:lnTo>
                  <a:lnTo>
                    <a:pt x="1687919" y="197447"/>
                  </a:lnTo>
                  <a:lnTo>
                    <a:pt x="1687919" y="196799"/>
                  </a:lnTo>
                  <a:lnTo>
                    <a:pt x="1687970" y="196799"/>
                  </a:lnTo>
                  <a:lnTo>
                    <a:pt x="1687970" y="194716"/>
                  </a:lnTo>
                  <a:lnTo>
                    <a:pt x="1687970" y="195415"/>
                  </a:lnTo>
                  <a:lnTo>
                    <a:pt x="1687970" y="194716"/>
                  </a:lnTo>
                  <a:lnTo>
                    <a:pt x="1688021" y="195415"/>
                  </a:lnTo>
                  <a:lnTo>
                    <a:pt x="1688021" y="196113"/>
                  </a:lnTo>
                  <a:lnTo>
                    <a:pt x="1688021" y="195415"/>
                  </a:lnTo>
                  <a:lnTo>
                    <a:pt x="1688021" y="196113"/>
                  </a:lnTo>
                  <a:lnTo>
                    <a:pt x="1688021" y="194716"/>
                  </a:lnTo>
                  <a:lnTo>
                    <a:pt x="1688059" y="194716"/>
                  </a:lnTo>
                  <a:lnTo>
                    <a:pt x="1688059" y="196799"/>
                  </a:lnTo>
                  <a:lnTo>
                    <a:pt x="1688059" y="196113"/>
                  </a:lnTo>
                  <a:lnTo>
                    <a:pt x="1688059" y="196799"/>
                  </a:lnTo>
                  <a:lnTo>
                    <a:pt x="1688059" y="195415"/>
                  </a:lnTo>
                  <a:lnTo>
                    <a:pt x="1688059" y="196113"/>
                  </a:lnTo>
                  <a:lnTo>
                    <a:pt x="1688161" y="196113"/>
                  </a:lnTo>
                  <a:lnTo>
                    <a:pt x="1688161" y="195415"/>
                  </a:lnTo>
                  <a:lnTo>
                    <a:pt x="1688161" y="196113"/>
                  </a:lnTo>
                  <a:lnTo>
                    <a:pt x="1688161" y="195415"/>
                  </a:lnTo>
                  <a:lnTo>
                    <a:pt x="1688161" y="196113"/>
                  </a:lnTo>
                  <a:lnTo>
                    <a:pt x="1688212" y="196113"/>
                  </a:lnTo>
                  <a:lnTo>
                    <a:pt x="1688212" y="195415"/>
                  </a:lnTo>
                  <a:lnTo>
                    <a:pt x="1688212" y="196113"/>
                  </a:lnTo>
                  <a:lnTo>
                    <a:pt x="1688212" y="195415"/>
                  </a:lnTo>
                  <a:lnTo>
                    <a:pt x="1688212" y="196113"/>
                  </a:lnTo>
                  <a:lnTo>
                    <a:pt x="1688212" y="195415"/>
                  </a:lnTo>
                  <a:lnTo>
                    <a:pt x="1688212" y="196113"/>
                  </a:lnTo>
                  <a:lnTo>
                    <a:pt x="1688262" y="196113"/>
                  </a:lnTo>
                  <a:lnTo>
                    <a:pt x="1688262" y="196799"/>
                  </a:lnTo>
                  <a:lnTo>
                    <a:pt x="1688364" y="196113"/>
                  </a:lnTo>
                  <a:lnTo>
                    <a:pt x="1688364" y="196799"/>
                  </a:lnTo>
                  <a:lnTo>
                    <a:pt x="1688364" y="196113"/>
                  </a:lnTo>
                  <a:lnTo>
                    <a:pt x="1688364" y="196799"/>
                  </a:lnTo>
                  <a:lnTo>
                    <a:pt x="1688364" y="196113"/>
                  </a:lnTo>
                  <a:lnTo>
                    <a:pt x="1688364" y="196799"/>
                  </a:lnTo>
                  <a:lnTo>
                    <a:pt x="1688415" y="196799"/>
                  </a:lnTo>
                  <a:lnTo>
                    <a:pt x="1688415" y="196113"/>
                  </a:lnTo>
                  <a:lnTo>
                    <a:pt x="1688415" y="196799"/>
                  </a:lnTo>
                  <a:lnTo>
                    <a:pt x="1688415" y="196113"/>
                  </a:lnTo>
                  <a:lnTo>
                    <a:pt x="1688415" y="196799"/>
                  </a:lnTo>
                  <a:lnTo>
                    <a:pt x="1688415" y="195415"/>
                  </a:lnTo>
                  <a:lnTo>
                    <a:pt x="1688465" y="196113"/>
                  </a:lnTo>
                  <a:lnTo>
                    <a:pt x="1688465" y="194716"/>
                  </a:lnTo>
                  <a:lnTo>
                    <a:pt x="1688465" y="197447"/>
                  </a:lnTo>
                  <a:lnTo>
                    <a:pt x="1688516" y="196799"/>
                  </a:lnTo>
                  <a:lnTo>
                    <a:pt x="1688516" y="194716"/>
                  </a:lnTo>
                  <a:lnTo>
                    <a:pt x="1688516" y="195415"/>
                  </a:lnTo>
                  <a:lnTo>
                    <a:pt x="1688516" y="194716"/>
                  </a:lnTo>
                  <a:lnTo>
                    <a:pt x="1688516" y="197447"/>
                  </a:lnTo>
                  <a:lnTo>
                    <a:pt x="1688605" y="197447"/>
                  </a:lnTo>
                  <a:lnTo>
                    <a:pt x="1688605" y="196113"/>
                  </a:lnTo>
                  <a:lnTo>
                    <a:pt x="1688605" y="196799"/>
                  </a:lnTo>
                  <a:lnTo>
                    <a:pt x="1688605" y="196113"/>
                  </a:lnTo>
                  <a:lnTo>
                    <a:pt x="1688605" y="197447"/>
                  </a:lnTo>
                  <a:lnTo>
                    <a:pt x="1688656" y="197447"/>
                  </a:lnTo>
                  <a:lnTo>
                    <a:pt x="1688656" y="196799"/>
                  </a:lnTo>
                  <a:lnTo>
                    <a:pt x="1688656" y="197447"/>
                  </a:lnTo>
                  <a:lnTo>
                    <a:pt x="1688656" y="196799"/>
                  </a:lnTo>
                  <a:lnTo>
                    <a:pt x="1688707" y="196799"/>
                  </a:lnTo>
                  <a:lnTo>
                    <a:pt x="1688707" y="197447"/>
                  </a:lnTo>
                  <a:lnTo>
                    <a:pt x="1688707" y="196799"/>
                  </a:lnTo>
                  <a:lnTo>
                    <a:pt x="1688758" y="196799"/>
                  </a:lnTo>
                  <a:lnTo>
                    <a:pt x="1688758" y="197447"/>
                  </a:lnTo>
                  <a:lnTo>
                    <a:pt x="1688758" y="196799"/>
                  </a:lnTo>
                  <a:lnTo>
                    <a:pt x="1688758" y="197447"/>
                  </a:lnTo>
                  <a:lnTo>
                    <a:pt x="1688758" y="196799"/>
                  </a:lnTo>
                  <a:lnTo>
                    <a:pt x="1688758" y="197447"/>
                  </a:lnTo>
                  <a:lnTo>
                    <a:pt x="1688758" y="196799"/>
                  </a:lnTo>
                  <a:lnTo>
                    <a:pt x="1688859" y="196799"/>
                  </a:lnTo>
                  <a:lnTo>
                    <a:pt x="1688859" y="197447"/>
                  </a:lnTo>
                  <a:lnTo>
                    <a:pt x="1688859" y="196799"/>
                  </a:lnTo>
                  <a:lnTo>
                    <a:pt x="1688910" y="196799"/>
                  </a:lnTo>
                  <a:lnTo>
                    <a:pt x="1688910" y="196113"/>
                  </a:lnTo>
                  <a:lnTo>
                    <a:pt x="1688910" y="196799"/>
                  </a:lnTo>
                  <a:lnTo>
                    <a:pt x="1688910" y="195415"/>
                  </a:lnTo>
                  <a:lnTo>
                    <a:pt x="1688961" y="195415"/>
                  </a:lnTo>
                  <a:lnTo>
                    <a:pt x="1688961" y="194716"/>
                  </a:lnTo>
                  <a:lnTo>
                    <a:pt x="1688961" y="195415"/>
                  </a:lnTo>
                  <a:lnTo>
                    <a:pt x="1688961" y="194716"/>
                  </a:lnTo>
                  <a:lnTo>
                    <a:pt x="1688961" y="197447"/>
                  </a:lnTo>
                  <a:lnTo>
                    <a:pt x="1688961" y="196113"/>
                  </a:lnTo>
                  <a:lnTo>
                    <a:pt x="1689062" y="196113"/>
                  </a:lnTo>
                  <a:lnTo>
                    <a:pt x="1689062" y="195415"/>
                  </a:lnTo>
                  <a:lnTo>
                    <a:pt x="1689062" y="198831"/>
                  </a:lnTo>
                  <a:lnTo>
                    <a:pt x="1689062" y="196799"/>
                  </a:lnTo>
                  <a:lnTo>
                    <a:pt x="1689100" y="196799"/>
                  </a:lnTo>
                  <a:lnTo>
                    <a:pt x="1689100" y="199530"/>
                  </a:lnTo>
                  <a:lnTo>
                    <a:pt x="1689100" y="197447"/>
                  </a:lnTo>
                  <a:lnTo>
                    <a:pt x="1689151" y="197447"/>
                  </a:lnTo>
                  <a:lnTo>
                    <a:pt x="1689151" y="198831"/>
                  </a:lnTo>
                  <a:lnTo>
                    <a:pt x="1689151" y="197447"/>
                  </a:lnTo>
                  <a:lnTo>
                    <a:pt x="1689151" y="198831"/>
                  </a:lnTo>
                  <a:lnTo>
                    <a:pt x="1689202" y="198831"/>
                  </a:lnTo>
                  <a:lnTo>
                    <a:pt x="1689202" y="197447"/>
                  </a:lnTo>
                  <a:lnTo>
                    <a:pt x="1689202" y="198831"/>
                  </a:lnTo>
                  <a:lnTo>
                    <a:pt x="1689202" y="197447"/>
                  </a:lnTo>
                  <a:lnTo>
                    <a:pt x="1689202" y="198831"/>
                  </a:lnTo>
                  <a:lnTo>
                    <a:pt x="1689202" y="197447"/>
                  </a:lnTo>
                  <a:lnTo>
                    <a:pt x="1689202" y="198831"/>
                  </a:lnTo>
                  <a:lnTo>
                    <a:pt x="1689202" y="197447"/>
                  </a:lnTo>
                  <a:lnTo>
                    <a:pt x="1689202" y="198831"/>
                  </a:lnTo>
                  <a:lnTo>
                    <a:pt x="1689304" y="198831"/>
                  </a:lnTo>
                  <a:lnTo>
                    <a:pt x="1689304" y="197447"/>
                  </a:lnTo>
                  <a:lnTo>
                    <a:pt x="1689304" y="198831"/>
                  </a:lnTo>
                  <a:lnTo>
                    <a:pt x="1689304" y="197447"/>
                  </a:lnTo>
                  <a:lnTo>
                    <a:pt x="1689304" y="198831"/>
                  </a:lnTo>
                  <a:lnTo>
                    <a:pt x="1689304" y="197447"/>
                  </a:lnTo>
                  <a:lnTo>
                    <a:pt x="1689304" y="198831"/>
                  </a:lnTo>
                  <a:lnTo>
                    <a:pt x="1689355" y="198831"/>
                  </a:lnTo>
                  <a:lnTo>
                    <a:pt x="1689355" y="196799"/>
                  </a:lnTo>
                  <a:lnTo>
                    <a:pt x="1689405" y="196799"/>
                  </a:lnTo>
                  <a:lnTo>
                    <a:pt x="1689405" y="195415"/>
                  </a:lnTo>
                  <a:lnTo>
                    <a:pt x="1689405" y="196113"/>
                  </a:lnTo>
                  <a:lnTo>
                    <a:pt x="1689405" y="195415"/>
                  </a:lnTo>
                  <a:lnTo>
                    <a:pt x="1689507" y="194716"/>
                  </a:lnTo>
                  <a:lnTo>
                    <a:pt x="1689507" y="196113"/>
                  </a:lnTo>
                  <a:lnTo>
                    <a:pt x="1689507" y="194716"/>
                  </a:lnTo>
                  <a:lnTo>
                    <a:pt x="1689558" y="195415"/>
                  </a:lnTo>
                  <a:lnTo>
                    <a:pt x="1689558" y="198831"/>
                  </a:lnTo>
                  <a:lnTo>
                    <a:pt x="1689558" y="196113"/>
                  </a:lnTo>
                  <a:lnTo>
                    <a:pt x="1689609" y="196799"/>
                  </a:lnTo>
                  <a:lnTo>
                    <a:pt x="1689609" y="197447"/>
                  </a:lnTo>
                  <a:lnTo>
                    <a:pt x="1689609" y="196799"/>
                  </a:lnTo>
                  <a:lnTo>
                    <a:pt x="1689609" y="197447"/>
                  </a:lnTo>
                  <a:lnTo>
                    <a:pt x="1689609" y="196799"/>
                  </a:lnTo>
                  <a:lnTo>
                    <a:pt x="1689609" y="197447"/>
                  </a:lnTo>
                  <a:lnTo>
                    <a:pt x="1689647" y="198831"/>
                  </a:lnTo>
                  <a:lnTo>
                    <a:pt x="1689647" y="197447"/>
                  </a:lnTo>
                  <a:lnTo>
                    <a:pt x="1689647" y="198831"/>
                  </a:lnTo>
                  <a:lnTo>
                    <a:pt x="1689647" y="197447"/>
                  </a:lnTo>
                  <a:lnTo>
                    <a:pt x="1689647" y="198831"/>
                  </a:lnTo>
                  <a:lnTo>
                    <a:pt x="1689647" y="197447"/>
                  </a:lnTo>
                  <a:lnTo>
                    <a:pt x="1689748" y="197447"/>
                  </a:lnTo>
                  <a:lnTo>
                    <a:pt x="1689748" y="198831"/>
                  </a:lnTo>
                  <a:lnTo>
                    <a:pt x="1689799" y="198831"/>
                  </a:lnTo>
                  <a:lnTo>
                    <a:pt x="1689799" y="197447"/>
                  </a:lnTo>
                  <a:lnTo>
                    <a:pt x="1689799" y="198831"/>
                  </a:lnTo>
                  <a:lnTo>
                    <a:pt x="1689799" y="197447"/>
                  </a:lnTo>
                  <a:lnTo>
                    <a:pt x="1689850" y="197447"/>
                  </a:lnTo>
                  <a:lnTo>
                    <a:pt x="1689850" y="196799"/>
                  </a:lnTo>
                  <a:lnTo>
                    <a:pt x="1689850" y="197447"/>
                  </a:lnTo>
                  <a:lnTo>
                    <a:pt x="1689850" y="196113"/>
                  </a:lnTo>
                  <a:lnTo>
                    <a:pt x="1689951" y="196113"/>
                  </a:lnTo>
                  <a:lnTo>
                    <a:pt x="1689951" y="194716"/>
                  </a:lnTo>
                  <a:lnTo>
                    <a:pt x="1689951" y="195415"/>
                  </a:lnTo>
                  <a:lnTo>
                    <a:pt x="1690002" y="195415"/>
                  </a:lnTo>
                  <a:lnTo>
                    <a:pt x="1690002" y="196799"/>
                  </a:lnTo>
                  <a:lnTo>
                    <a:pt x="1690002" y="195415"/>
                  </a:lnTo>
                  <a:lnTo>
                    <a:pt x="1690002" y="197447"/>
                  </a:lnTo>
                  <a:lnTo>
                    <a:pt x="1690053" y="197447"/>
                  </a:lnTo>
                  <a:lnTo>
                    <a:pt x="1690053" y="198831"/>
                  </a:lnTo>
                  <a:lnTo>
                    <a:pt x="1690053" y="196113"/>
                  </a:lnTo>
                  <a:lnTo>
                    <a:pt x="1690053" y="197447"/>
                  </a:lnTo>
                  <a:lnTo>
                    <a:pt x="1690053" y="196799"/>
                  </a:lnTo>
                  <a:lnTo>
                    <a:pt x="1690053" y="197447"/>
                  </a:lnTo>
                  <a:lnTo>
                    <a:pt x="1690104" y="197447"/>
                  </a:lnTo>
                  <a:lnTo>
                    <a:pt x="1690104" y="196799"/>
                  </a:lnTo>
                  <a:lnTo>
                    <a:pt x="1690104" y="197447"/>
                  </a:lnTo>
                  <a:lnTo>
                    <a:pt x="1690104" y="196799"/>
                  </a:lnTo>
                  <a:lnTo>
                    <a:pt x="1690104" y="197447"/>
                  </a:lnTo>
                  <a:lnTo>
                    <a:pt x="1690104" y="196799"/>
                  </a:lnTo>
                  <a:lnTo>
                    <a:pt x="1690104" y="197447"/>
                  </a:lnTo>
                  <a:lnTo>
                    <a:pt x="1690193" y="197447"/>
                  </a:lnTo>
                  <a:lnTo>
                    <a:pt x="1690193" y="198831"/>
                  </a:lnTo>
                  <a:lnTo>
                    <a:pt x="1690193" y="197447"/>
                  </a:lnTo>
                  <a:lnTo>
                    <a:pt x="1690244" y="198831"/>
                  </a:lnTo>
                  <a:lnTo>
                    <a:pt x="1690244" y="197447"/>
                  </a:lnTo>
                  <a:lnTo>
                    <a:pt x="1690244" y="199530"/>
                  </a:lnTo>
                  <a:lnTo>
                    <a:pt x="1690244" y="198831"/>
                  </a:lnTo>
                  <a:lnTo>
                    <a:pt x="1690294" y="197447"/>
                  </a:lnTo>
                  <a:lnTo>
                    <a:pt x="1690294" y="198831"/>
                  </a:lnTo>
                  <a:lnTo>
                    <a:pt x="1690294" y="197447"/>
                  </a:lnTo>
                  <a:lnTo>
                    <a:pt x="1690294" y="198831"/>
                  </a:lnTo>
                  <a:lnTo>
                    <a:pt x="1690294" y="196799"/>
                  </a:lnTo>
                  <a:lnTo>
                    <a:pt x="1690294" y="197447"/>
                  </a:lnTo>
                  <a:lnTo>
                    <a:pt x="1690345" y="197447"/>
                  </a:lnTo>
                  <a:lnTo>
                    <a:pt x="1690345" y="195415"/>
                  </a:lnTo>
                  <a:lnTo>
                    <a:pt x="1690447" y="195415"/>
                  </a:lnTo>
                  <a:lnTo>
                    <a:pt x="1690447" y="192684"/>
                  </a:lnTo>
                  <a:lnTo>
                    <a:pt x="1690447" y="193383"/>
                  </a:lnTo>
                  <a:lnTo>
                    <a:pt x="1690447" y="192684"/>
                  </a:lnTo>
                  <a:lnTo>
                    <a:pt x="1690497" y="192684"/>
                  </a:lnTo>
                  <a:lnTo>
                    <a:pt x="1690497" y="195415"/>
                  </a:lnTo>
                  <a:lnTo>
                    <a:pt x="1690497" y="192684"/>
                  </a:lnTo>
                  <a:lnTo>
                    <a:pt x="1690497" y="193383"/>
                  </a:lnTo>
                  <a:lnTo>
                    <a:pt x="1690548" y="193383"/>
                  </a:lnTo>
                  <a:lnTo>
                    <a:pt x="1690548" y="196113"/>
                  </a:lnTo>
                  <a:lnTo>
                    <a:pt x="1690548" y="194716"/>
                  </a:lnTo>
                  <a:lnTo>
                    <a:pt x="1690548" y="195415"/>
                  </a:lnTo>
                  <a:lnTo>
                    <a:pt x="1690650" y="195415"/>
                  </a:lnTo>
                  <a:lnTo>
                    <a:pt x="1690650" y="196113"/>
                  </a:lnTo>
                  <a:lnTo>
                    <a:pt x="1690650" y="195415"/>
                  </a:lnTo>
                  <a:lnTo>
                    <a:pt x="1690650" y="196113"/>
                  </a:lnTo>
                  <a:lnTo>
                    <a:pt x="1690688" y="196113"/>
                  </a:lnTo>
                  <a:lnTo>
                    <a:pt x="1690688" y="196799"/>
                  </a:lnTo>
                  <a:lnTo>
                    <a:pt x="1690688" y="196113"/>
                  </a:lnTo>
                  <a:lnTo>
                    <a:pt x="1690688" y="196799"/>
                  </a:lnTo>
                  <a:lnTo>
                    <a:pt x="1690688" y="196113"/>
                  </a:lnTo>
                  <a:lnTo>
                    <a:pt x="1690688" y="197447"/>
                  </a:lnTo>
                  <a:lnTo>
                    <a:pt x="1690688" y="196799"/>
                  </a:lnTo>
                  <a:lnTo>
                    <a:pt x="1690739" y="196799"/>
                  </a:lnTo>
                  <a:lnTo>
                    <a:pt x="1690739" y="198831"/>
                  </a:lnTo>
                  <a:lnTo>
                    <a:pt x="1690739" y="197447"/>
                  </a:lnTo>
                  <a:lnTo>
                    <a:pt x="1690739" y="198831"/>
                  </a:lnTo>
                  <a:lnTo>
                    <a:pt x="1690790" y="197447"/>
                  </a:lnTo>
                  <a:lnTo>
                    <a:pt x="1690790" y="198831"/>
                  </a:lnTo>
                  <a:lnTo>
                    <a:pt x="1690790" y="197447"/>
                  </a:lnTo>
                  <a:lnTo>
                    <a:pt x="1690790" y="198831"/>
                  </a:lnTo>
                  <a:lnTo>
                    <a:pt x="1690790" y="197447"/>
                  </a:lnTo>
                  <a:lnTo>
                    <a:pt x="1690790" y="198831"/>
                  </a:lnTo>
                  <a:lnTo>
                    <a:pt x="1690790" y="197447"/>
                  </a:lnTo>
                  <a:lnTo>
                    <a:pt x="1690891" y="197447"/>
                  </a:lnTo>
                  <a:lnTo>
                    <a:pt x="1690891" y="196113"/>
                  </a:lnTo>
                  <a:lnTo>
                    <a:pt x="1690942" y="196113"/>
                  </a:lnTo>
                  <a:lnTo>
                    <a:pt x="1690942" y="194716"/>
                  </a:lnTo>
                  <a:lnTo>
                    <a:pt x="1690993" y="193383"/>
                  </a:lnTo>
                  <a:lnTo>
                    <a:pt x="1690993" y="192684"/>
                  </a:lnTo>
                  <a:lnTo>
                    <a:pt x="1690993" y="194716"/>
                  </a:lnTo>
                  <a:lnTo>
                    <a:pt x="1690993" y="192684"/>
                  </a:lnTo>
                  <a:lnTo>
                    <a:pt x="1691094" y="192684"/>
                  </a:lnTo>
                  <a:lnTo>
                    <a:pt x="1691094" y="195415"/>
                  </a:lnTo>
                  <a:lnTo>
                    <a:pt x="1691094" y="192684"/>
                  </a:lnTo>
                  <a:lnTo>
                    <a:pt x="1691094" y="193383"/>
                  </a:lnTo>
                  <a:lnTo>
                    <a:pt x="1691145" y="193383"/>
                  </a:lnTo>
                  <a:lnTo>
                    <a:pt x="1691145" y="194716"/>
                  </a:lnTo>
                  <a:lnTo>
                    <a:pt x="1691145" y="193383"/>
                  </a:lnTo>
                  <a:lnTo>
                    <a:pt x="1691196" y="194716"/>
                  </a:lnTo>
                  <a:lnTo>
                    <a:pt x="1691196" y="195415"/>
                  </a:lnTo>
                  <a:lnTo>
                    <a:pt x="1691196" y="194716"/>
                  </a:lnTo>
                  <a:lnTo>
                    <a:pt x="1691196" y="195415"/>
                  </a:lnTo>
                  <a:lnTo>
                    <a:pt x="1691196" y="194716"/>
                  </a:lnTo>
                  <a:lnTo>
                    <a:pt x="1691196" y="196113"/>
                  </a:lnTo>
                  <a:lnTo>
                    <a:pt x="1691196" y="195415"/>
                  </a:lnTo>
                  <a:lnTo>
                    <a:pt x="1691234" y="195415"/>
                  </a:lnTo>
                  <a:lnTo>
                    <a:pt x="1691234" y="196113"/>
                  </a:lnTo>
                  <a:lnTo>
                    <a:pt x="1691234" y="195415"/>
                  </a:lnTo>
                  <a:lnTo>
                    <a:pt x="1691234" y="196799"/>
                  </a:lnTo>
                  <a:lnTo>
                    <a:pt x="1691234" y="196113"/>
                  </a:lnTo>
                  <a:lnTo>
                    <a:pt x="1691234" y="196799"/>
                  </a:lnTo>
                  <a:lnTo>
                    <a:pt x="1691234" y="196113"/>
                  </a:lnTo>
                  <a:lnTo>
                    <a:pt x="1691234" y="196799"/>
                  </a:lnTo>
                  <a:lnTo>
                    <a:pt x="1691336" y="196799"/>
                  </a:lnTo>
                  <a:lnTo>
                    <a:pt x="1691336" y="196113"/>
                  </a:lnTo>
                  <a:lnTo>
                    <a:pt x="1691336" y="196799"/>
                  </a:lnTo>
                  <a:lnTo>
                    <a:pt x="1691336" y="196113"/>
                  </a:lnTo>
                  <a:lnTo>
                    <a:pt x="1691336" y="196799"/>
                  </a:lnTo>
                  <a:lnTo>
                    <a:pt x="1691336" y="196113"/>
                  </a:lnTo>
                  <a:lnTo>
                    <a:pt x="1691336" y="196799"/>
                  </a:lnTo>
                  <a:lnTo>
                    <a:pt x="1691387" y="196799"/>
                  </a:lnTo>
                  <a:lnTo>
                    <a:pt x="1691387" y="196113"/>
                  </a:lnTo>
                  <a:lnTo>
                    <a:pt x="1691387" y="196799"/>
                  </a:lnTo>
                  <a:lnTo>
                    <a:pt x="1691387" y="196113"/>
                  </a:lnTo>
                  <a:lnTo>
                    <a:pt x="1691387" y="196799"/>
                  </a:lnTo>
                  <a:lnTo>
                    <a:pt x="1691387" y="196113"/>
                  </a:lnTo>
                  <a:lnTo>
                    <a:pt x="1691437" y="196113"/>
                  </a:lnTo>
                  <a:lnTo>
                    <a:pt x="1691437" y="194716"/>
                  </a:lnTo>
                  <a:lnTo>
                    <a:pt x="1691437" y="195415"/>
                  </a:lnTo>
                  <a:lnTo>
                    <a:pt x="1691437" y="194716"/>
                  </a:lnTo>
                  <a:lnTo>
                    <a:pt x="1691539" y="194716"/>
                  </a:lnTo>
                  <a:lnTo>
                    <a:pt x="1691539" y="196113"/>
                  </a:lnTo>
                  <a:lnTo>
                    <a:pt x="1691539" y="194716"/>
                  </a:lnTo>
                  <a:lnTo>
                    <a:pt x="1691539" y="195415"/>
                  </a:lnTo>
                  <a:lnTo>
                    <a:pt x="1691590" y="195415"/>
                  </a:lnTo>
                  <a:lnTo>
                    <a:pt x="1691590" y="196113"/>
                  </a:lnTo>
                  <a:lnTo>
                    <a:pt x="1691590" y="195415"/>
                  </a:lnTo>
                  <a:lnTo>
                    <a:pt x="1691590" y="196113"/>
                  </a:lnTo>
                  <a:lnTo>
                    <a:pt x="1691590" y="195415"/>
                  </a:lnTo>
                  <a:lnTo>
                    <a:pt x="1691590" y="196113"/>
                  </a:lnTo>
                  <a:lnTo>
                    <a:pt x="1691640" y="196113"/>
                  </a:lnTo>
                  <a:lnTo>
                    <a:pt x="1691640" y="195415"/>
                  </a:lnTo>
                  <a:lnTo>
                    <a:pt x="1691640" y="196113"/>
                  </a:lnTo>
                  <a:lnTo>
                    <a:pt x="1691691" y="196113"/>
                  </a:lnTo>
                  <a:lnTo>
                    <a:pt x="1691691" y="196799"/>
                  </a:lnTo>
                  <a:lnTo>
                    <a:pt x="1691780" y="196113"/>
                  </a:lnTo>
                  <a:lnTo>
                    <a:pt x="1691780" y="196799"/>
                  </a:lnTo>
                  <a:lnTo>
                    <a:pt x="1691831" y="196799"/>
                  </a:lnTo>
                  <a:lnTo>
                    <a:pt x="1691831" y="196113"/>
                  </a:lnTo>
                  <a:lnTo>
                    <a:pt x="1691831" y="196799"/>
                  </a:lnTo>
                  <a:lnTo>
                    <a:pt x="1691882" y="196799"/>
                  </a:lnTo>
                  <a:lnTo>
                    <a:pt x="1691882" y="196113"/>
                  </a:lnTo>
                  <a:lnTo>
                    <a:pt x="1691882" y="196799"/>
                  </a:lnTo>
                  <a:lnTo>
                    <a:pt x="1691882" y="196113"/>
                  </a:lnTo>
                  <a:lnTo>
                    <a:pt x="1691933" y="196113"/>
                  </a:lnTo>
                  <a:lnTo>
                    <a:pt x="1691933" y="195415"/>
                  </a:lnTo>
                  <a:lnTo>
                    <a:pt x="1691933" y="196113"/>
                  </a:lnTo>
                  <a:lnTo>
                    <a:pt x="1692034" y="196799"/>
                  </a:lnTo>
                  <a:lnTo>
                    <a:pt x="1692034" y="195415"/>
                  </a:lnTo>
                  <a:lnTo>
                    <a:pt x="1692034" y="197447"/>
                  </a:lnTo>
                  <a:lnTo>
                    <a:pt x="1692085" y="197447"/>
                  </a:lnTo>
                  <a:lnTo>
                    <a:pt x="1692085" y="196113"/>
                  </a:lnTo>
                  <a:lnTo>
                    <a:pt x="1692085" y="196799"/>
                  </a:lnTo>
                  <a:lnTo>
                    <a:pt x="1692085" y="196113"/>
                  </a:lnTo>
                  <a:lnTo>
                    <a:pt x="1692085" y="197447"/>
                  </a:lnTo>
                  <a:lnTo>
                    <a:pt x="1692136" y="197447"/>
                  </a:lnTo>
                  <a:lnTo>
                    <a:pt x="1692136" y="196799"/>
                  </a:lnTo>
                  <a:lnTo>
                    <a:pt x="1692136" y="197447"/>
                  </a:lnTo>
                  <a:lnTo>
                    <a:pt x="1692136" y="196799"/>
                  </a:lnTo>
                  <a:lnTo>
                    <a:pt x="1692237" y="196799"/>
                  </a:lnTo>
                  <a:lnTo>
                    <a:pt x="1692237" y="197447"/>
                  </a:lnTo>
                  <a:lnTo>
                    <a:pt x="1692237" y="196799"/>
                  </a:lnTo>
                  <a:lnTo>
                    <a:pt x="1692237" y="197447"/>
                  </a:lnTo>
                  <a:lnTo>
                    <a:pt x="1692237" y="196799"/>
                  </a:lnTo>
                  <a:lnTo>
                    <a:pt x="1692275" y="197447"/>
                  </a:lnTo>
                  <a:lnTo>
                    <a:pt x="1692275" y="196799"/>
                  </a:lnTo>
                  <a:lnTo>
                    <a:pt x="1692275" y="197447"/>
                  </a:lnTo>
                  <a:lnTo>
                    <a:pt x="1692275" y="196799"/>
                  </a:lnTo>
                  <a:lnTo>
                    <a:pt x="1692275" y="197447"/>
                  </a:lnTo>
                  <a:lnTo>
                    <a:pt x="1692275" y="196799"/>
                  </a:lnTo>
                  <a:lnTo>
                    <a:pt x="1692326" y="196799"/>
                  </a:lnTo>
                  <a:lnTo>
                    <a:pt x="1692326" y="196113"/>
                  </a:lnTo>
                  <a:lnTo>
                    <a:pt x="1692377" y="196113"/>
                  </a:lnTo>
                  <a:lnTo>
                    <a:pt x="1692377" y="195415"/>
                  </a:lnTo>
                  <a:lnTo>
                    <a:pt x="1692479" y="195415"/>
                  </a:lnTo>
                  <a:lnTo>
                    <a:pt x="1692479" y="193383"/>
                  </a:lnTo>
                  <a:lnTo>
                    <a:pt x="1692479" y="196113"/>
                  </a:lnTo>
                  <a:lnTo>
                    <a:pt x="1692479" y="195415"/>
                  </a:lnTo>
                  <a:lnTo>
                    <a:pt x="1692479" y="196113"/>
                  </a:lnTo>
                  <a:lnTo>
                    <a:pt x="1692479" y="195415"/>
                  </a:lnTo>
                  <a:lnTo>
                    <a:pt x="1692530" y="195415"/>
                  </a:lnTo>
                  <a:lnTo>
                    <a:pt x="1692530" y="196799"/>
                  </a:lnTo>
                  <a:lnTo>
                    <a:pt x="1692580" y="196113"/>
                  </a:lnTo>
                  <a:lnTo>
                    <a:pt x="1692580" y="197447"/>
                  </a:lnTo>
                  <a:lnTo>
                    <a:pt x="1692580" y="196799"/>
                  </a:lnTo>
                  <a:lnTo>
                    <a:pt x="1692580" y="197447"/>
                  </a:lnTo>
                  <a:lnTo>
                    <a:pt x="1692580" y="196799"/>
                  </a:lnTo>
                  <a:lnTo>
                    <a:pt x="1692682" y="197447"/>
                  </a:lnTo>
                  <a:lnTo>
                    <a:pt x="1692682" y="196799"/>
                  </a:lnTo>
                  <a:lnTo>
                    <a:pt x="1692682" y="197447"/>
                  </a:lnTo>
                  <a:lnTo>
                    <a:pt x="1692682" y="196799"/>
                  </a:lnTo>
                  <a:lnTo>
                    <a:pt x="1692682" y="198831"/>
                  </a:lnTo>
                  <a:lnTo>
                    <a:pt x="1692682" y="197447"/>
                  </a:lnTo>
                  <a:lnTo>
                    <a:pt x="1692733" y="197447"/>
                  </a:lnTo>
                  <a:lnTo>
                    <a:pt x="1692733" y="198831"/>
                  </a:lnTo>
                  <a:lnTo>
                    <a:pt x="1692733" y="197447"/>
                  </a:lnTo>
                  <a:lnTo>
                    <a:pt x="1692784" y="197447"/>
                  </a:lnTo>
                  <a:lnTo>
                    <a:pt x="1692784" y="198831"/>
                  </a:lnTo>
                  <a:lnTo>
                    <a:pt x="1692784" y="196799"/>
                  </a:lnTo>
                  <a:lnTo>
                    <a:pt x="1692784" y="197447"/>
                  </a:lnTo>
                  <a:lnTo>
                    <a:pt x="1692822" y="196799"/>
                  </a:lnTo>
                  <a:lnTo>
                    <a:pt x="1692822" y="197447"/>
                  </a:lnTo>
                  <a:lnTo>
                    <a:pt x="1692822" y="196799"/>
                  </a:lnTo>
                  <a:lnTo>
                    <a:pt x="1692822" y="197447"/>
                  </a:lnTo>
                  <a:lnTo>
                    <a:pt x="1692822" y="196799"/>
                  </a:lnTo>
                  <a:lnTo>
                    <a:pt x="1692923" y="196113"/>
                  </a:lnTo>
                  <a:lnTo>
                    <a:pt x="1692923" y="195415"/>
                  </a:lnTo>
                  <a:lnTo>
                    <a:pt x="1692923" y="196113"/>
                  </a:lnTo>
                  <a:lnTo>
                    <a:pt x="1692923" y="195415"/>
                  </a:lnTo>
                  <a:lnTo>
                    <a:pt x="1692974" y="195415"/>
                  </a:lnTo>
                  <a:lnTo>
                    <a:pt x="1692974" y="194716"/>
                  </a:lnTo>
                  <a:lnTo>
                    <a:pt x="1692974" y="196113"/>
                  </a:lnTo>
                  <a:lnTo>
                    <a:pt x="1692974" y="195415"/>
                  </a:lnTo>
                  <a:lnTo>
                    <a:pt x="1693025" y="195415"/>
                  </a:lnTo>
                  <a:lnTo>
                    <a:pt x="1693025" y="197447"/>
                  </a:lnTo>
                  <a:lnTo>
                    <a:pt x="1693025" y="196113"/>
                  </a:lnTo>
                  <a:lnTo>
                    <a:pt x="1693126" y="196113"/>
                  </a:lnTo>
                  <a:lnTo>
                    <a:pt x="1693126" y="197447"/>
                  </a:lnTo>
                  <a:lnTo>
                    <a:pt x="1693126" y="196799"/>
                  </a:lnTo>
                  <a:lnTo>
                    <a:pt x="1693126" y="197447"/>
                  </a:lnTo>
                  <a:lnTo>
                    <a:pt x="1693126" y="196799"/>
                  </a:lnTo>
                  <a:lnTo>
                    <a:pt x="1693126" y="197447"/>
                  </a:lnTo>
                  <a:lnTo>
                    <a:pt x="1693126" y="196799"/>
                  </a:lnTo>
                  <a:lnTo>
                    <a:pt x="1693177" y="197447"/>
                  </a:lnTo>
                  <a:lnTo>
                    <a:pt x="1693177" y="198831"/>
                  </a:lnTo>
                  <a:lnTo>
                    <a:pt x="1693228" y="197447"/>
                  </a:lnTo>
                  <a:lnTo>
                    <a:pt x="1693228" y="198831"/>
                  </a:lnTo>
                  <a:lnTo>
                    <a:pt x="1693228" y="196799"/>
                  </a:lnTo>
                  <a:lnTo>
                    <a:pt x="1693228" y="197447"/>
                  </a:lnTo>
                  <a:lnTo>
                    <a:pt x="1693279" y="197447"/>
                  </a:lnTo>
                  <a:lnTo>
                    <a:pt x="1693279" y="198831"/>
                  </a:lnTo>
                  <a:lnTo>
                    <a:pt x="1693279" y="197447"/>
                  </a:lnTo>
                  <a:lnTo>
                    <a:pt x="1693279" y="198831"/>
                  </a:lnTo>
                  <a:lnTo>
                    <a:pt x="1693279" y="197447"/>
                  </a:lnTo>
                  <a:lnTo>
                    <a:pt x="1693279" y="198831"/>
                  </a:lnTo>
                  <a:lnTo>
                    <a:pt x="1693279" y="197447"/>
                  </a:lnTo>
                  <a:lnTo>
                    <a:pt x="1693368" y="197447"/>
                  </a:lnTo>
                  <a:lnTo>
                    <a:pt x="1693368" y="196799"/>
                  </a:lnTo>
                  <a:lnTo>
                    <a:pt x="1693368" y="197447"/>
                  </a:lnTo>
                  <a:lnTo>
                    <a:pt x="1693368" y="196113"/>
                  </a:lnTo>
                  <a:lnTo>
                    <a:pt x="1693368" y="196799"/>
                  </a:lnTo>
                  <a:lnTo>
                    <a:pt x="1693368" y="196113"/>
                  </a:lnTo>
                  <a:lnTo>
                    <a:pt x="1693419" y="196799"/>
                  </a:lnTo>
                  <a:lnTo>
                    <a:pt x="1693419" y="194716"/>
                  </a:lnTo>
                  <a:lnTo>
                    <a:pt x="1693419" y="195415"/>
                  </a:lnTo>
                  <a:lnTo>
                    <a:pt x="1693419" y="194716"/>
                  </a:lnTo>
                  <a:lnTo>
                    <a:pt x="1693419" y="195415"/>
                  </a:lnTo>
                  <a:lnTo>
                    <a:pt x="1693469" y="195415"/>
                  </a:lnTo>
                  <a:lnTo>
                    <a:pt x="1693469" y="194716"/>
                  </a:lnTo>
                  <a:lnTo>
                    <a:pt x="1693469" y="196799"/>
                  </a:lnTo>
                  <a:lnTo>
                    <a:pt x="1693520" y="196799"/>
                  </a:lnTo>
                  <a:lnTo>
                    <a:pt x="1693520" y="196113"/>
                  </a:lnTo>
                  <a:lnTo>
                    <a:pt x="1693520" y="196799"/>
                  </a:lnTo>
                  <a:lnTo>
                    <a:pt x="1693520" y="196113"/>
                  </a:lnTo>
                  <a:lnTo>
                    <a:pt x="1693520" y="197447"/>
                  </a:lnTo>
                  <a:lnTo>
                    <a:pt x="1693520" y="196799"/>
                  </a:lnTo>
                  <a:lnTo>
                    <a:pt x="1693622" y="196799"/>
                  </a:lnTo>
                  <a:lnTo>
                    <a:pt x="1693622" y="197447"/>
                  </a:lnTo>
                  <a:lnTo>
                    <a:pt x="1693622" y="196799"/>
                  </a:lnTo>
                  <a:lnTo>
                    <a:pt x="1693622" y="197447"/>
                  </a:lnTo>
                  <a:lnTo>
                    <a:pt x="1693672" y="197447"/>
                  </a:lnTo>
                  <a:lnTo>
                    <a:pt x="1693672" y="196799"/>
                  </a:lnTo>
                  <a:lnTo>
                    <a:pt x="1693672" y="198831"/>
                  </a:lnTo>
                  <a:lnTo>
                    <a:pt x="1693672" y="197447"/>
                  </a:lnTo>
                  <a:lnTo>
                    <a:pt x="1693723" y="197447"/>
                  </a:lnTo>
                  <a:lnTo>
                    <a:pt x="1693723" y="198831"/>
                  </a:lnTo>
                  <a:lnTo>
                    <a:pt x="1693723" y="197447"/>
                  </a:lnTo>
                  <a:lnTo>
                    <a:pt x="1693723" y="198831"/>
                  </a:lnTo>
                  <a:lnTo>
                    <a:pt x="1693723" y="197447"/>
                  </a:lnTo>
                  <a:lnTo>
                    <a:pt x="1693825" y="197447"/>
                  </a:lnTo>
                  <a:lnTo>
                    <a:pt x="1693825" y="198831"/>
                  </a:lnTo>
                  <a:lnTo>
                    <a:pt x="1693825" y="197447"/>
                  </a:lnTo>
                  <a:lnTo>
                    <a:pt x="1693825" y="198831"/>
                  </a:lnTo>
                  <a:lnTo>
                    <a:pt x="1693825" y="197447"/>
                  </a:lnTo>
                  <a:lnTo>
                    <a:pt x="1693863" y="197447"/>
                  </a:lnTo>
                  <a:lnTo>
                    <a:pt x="1693863" y="196799"/>
                  </a:lnTo>
                  <a:lnTo>
                    <a:pt x="1693863" y="197447"/>
                  </a:lnTo>
                  <a:lnTo>
                    <a:pt x="1693863" y="196799"/>
                  </a:lnTo>
                  <a:lnTo>
                    <a:pt x="1693863" y="197447"/>
                  </a:lnTo>
                  <a:lnTo>
                    <a:pt x="1693863" y="196113"/>
                  </a:lnTo>
                  <a:lnTo>
                    <a:pt x="1693863" y="196799"/>
                  </a:lnTo>
                  <a:lnTo>
                    <a:pt x="1693863" y="196113"/>
                  </a:lnTo>
                  <a:lnTo>
                    <a:pt x="1693914" y="195415"/>
                  </a:lnTo>
                  <a:lnTo>
                    <a:pt x="1693914" y="196113"/>
                  </a:lnTo>
                  <a:lnTo>
                    <a:pt x="1693914" y="195415"/>
                  </a:lnTo>
                  <a:lnTo>
                    <a:pt x="1693965" y="195415"/>
                  </a:lnTo>
                  <a:lnTo>
                    <a:pt x="1693965" y="194716"/>
                  </a:lnTo>
                  <a:lnTo>
                    <a:pt x="1693965" y="196799"/>
                  </a:lnTo>
                  <a:lnTo>
                    <a:pt x="1693965" y="196113"/>
                  </a:lnTo>
                  <a:lnTo>
                    <a:pt x="1694066" y="196113"/>
                  </a:lnTo>
                  <a:lnTo>
                    <a:pt x="1694066" y="195415"/>
                  </a:lnTo>
                  <a:lnTo>
                    <a:pt x="1694066" y="196799"/>
                  </a:lnTo>
                  <a:lnTo>
                    <a:pt x="1694117" y="196113"/>
                  </a:lnTo>
                  <a:lnTo>
                    <a:pt x="1694117" y="196799"/>
                  </a:lnTo>
                  <a:lnTo>
                    <a:pt x="1694117" y="196113"/>
                  </a:lnTo>
                  <a:lnTo>
                    <a:pt x="1694117" y="196799"/>
                  </a:lnTo>
                  <a:lnTo>
                    <a:pt x="1694168" y="196799"/>
                  </a:lnTo>
                  <a:lnTo>
                    <a:pt x="1694168" y="197447"/>
                  </a:lnTo>
                  <a:lnTo>
                    <a:pt x="1694269" y="196799"/>
                  </a:lnTo>
                  <a:lnTo>
                    <a:pt x="1694269" y="197447"/>
                  </a:lnTo>
                  <a:lnTo>
                    <a:pt x="1694269" y="196799"/>
                  </a:lnTo>
                  <a:lnTo>
                    <a:pt x="1694320" y="196799"/>
                  </a:lnTo>
                  <a:lnTo>
                    <a:pt x="1694320" y="197447"/>
                  </a:lnTo>
                  <a:lnTo>
                    <a:pt x="1694320" y="196113"/>
                  </a:lnTo>
                  <a:lnTo>
                    <a:pt x="1694371" y="196113"/>
                  </a:lnTo>
                  <a:lnTo>
                    <a:pt x="1694371" y="196799"/>
                  </a:lnTo>
                  <a:lnTo>
                    <a:pt x="1694371" y="196113"/>
                  </a:lnTo>
                  <a:lnTo>
                    <a:pt x="1694371" y="196799"/>
                  </a:lnTo>
                  <a:lnTo>
                    <a:pt x="1694371" y="195415"/>
                  </a:lnTo>
                  <a:lnTo>
                    <a:pt x="1694371" y="196113"/>
                  </a:lnTo>
                  <a:lnTo>
                    <a:pt x="1694409" y="195415"/>
                  </a:lnTo>
                  <a:lnTo>
                    <a:pt x="1694409" y="194716"/>
                  </a:lnTo>
                  <a:lnTo>
                    <a:pt x="1694409" y="196799"/>
                  </a:lnTo>
                  <a:lnTo>
                    <a:pt x="1694409" y="194716"/>
                  </a:lnTo>
                  <a:lnTo>
                    <a:pt x="1694511" y="194716"/>
                  </a:lnTo>
                  <a:lnTo>
                    <a:pt x="1694511" y="196799"/>
                  </a:lnTo>
                  <a:lnTo>
                    <a:pt x="1694511" y="196113"/>
                  </a:lnTo>
                  <a:lnTo>
                    <a:pt x="1694511" y="196799"/>
                  </a:lnTo>
                  <a:lnTo>
                    <a:pt x="1694562" y="196113"/>
                  </a:lnTo>
                  <a:lnTo>
                    <a:pt x="1694562" y="197447"/>
                  </a:lnTo>
                  <a:lnTo>
                    <a:pt x="1694562" y="196799"/>
                  </a:lnTo>
                  <a:lnTo>
                    <a:pt x="1694562" y="197447"/>
                  </a:lnTo>
                  <a:lnTo>
                    <a:pt x="1694562" y="196113"/>
                  </a:lnTo>
                  <a:lnTo>
                    <a:pt x="1694562" y="196799"/>
                  </a:lnTo>
                  <a:lnTo>
                    <a:pt x="1694612" y="196799"/>
                  </a:lnTo>
                  <a:lnTo>
                    <a:pt x="1694612" y="197447"/>
                  </a:lnTo>
                  <a:lnTo>
                    <a:pt x="1694612" y="196799"/>
                  </a:lnTo>
                  <a:lnTo>
                    <a:pt x="1694612" y="197447"/>
                  </a:lnTo>
                  <a:lnTo>
                    <a:pt x="1694612" y="196799"/>
                  </a:lnTo>
                  <a:lnTo>
                    <a:pt x="1694612" y="197447"/>
                  </a:lnTo>
                  <a:lnTo>
                    <a:pt x="1694612" y="196799"/>
                  </a:lnTo>
                  <a:lnTo>
                    <a:pt x="1694612" y="197447"/>
                  </a:lnTo>
                  <a:lnTo>
                    <a:pt x="1694612" y="196799"/>
                  </a:lnTo>
                  <a:lnTo>
                    <a:pt x="1694612" y="197447"/>
                  </a:lnTo>
                  <a:lnTo>
                    <a:pt x="1694714" y="197447"/>
                  </a:lnTo>
                  <a:lnTo>
                    <a:pt x="1694714" y="196799"/>
                  </a:lnTo>
                  <a:lnTo>
                    <a:pt x="1694714" y="197447"/>
                  </a:lnTo>
                  <a:lnTo>
                    <a:pt x="1694765" y="197447"/>
                  </a:lnTo>
                  <a:lnTo>
                    <a:pt x="1694765" y="196799"/>
                  </a:lnTo>
                  <a:lnTo>
                    <a:pt x="1694765" y="197447"/>
                  </a:lnTo>
                  <a:lnTo>
                    <a:pt x="1694815" y="197447"/>
                  </a:lnTo>
                  <a:lnTo>
                    <a:pt x="1694815" y="198831"/>
                  </a:lnTo>
                  <a:lnTo>
                    <a:pt x="1694815" y="196799"/>
                  </a:lnTo>
                  <a:lnTo>
                    <a:pt x="1694815" y="197447"/>
                  </a:lnTo>
                  <a:lnTo>
                    <a:pt x="1694815" y="196799"/>
                  </a:lnTo>
                  <a:lnTo>
                    <a:pt x="1694866" y="196799"/>
                  </a:lnTo>
                  <a:lnTo>
                    <a:pt x="1694866" y="195415"/>
                  </a:lnTo>
                  <a:lnTo>
                    <a:pt x="1694866" y="196113"/>
                  </a:lnTo>
                  <a:lnTo>
                    <a:pt x="1694955" y="196799"/>
                  </a:lnTo>
                  <a:lnTo>
                    <a:pt x="1694955" y="197447"/>
                  </a:lnTo>
                  <a:lnTo>
                    <a:pt x="1694955" y="196113"/>
                  </a:lnTo>
                  <a:lnTo>
                    <a:pt x="1694955" y="197447"/>
                  </a:lnTo>
                  <a:lnTo>
                    <a:pt x="1695006" y="197447"/>
                  </a:lnTo>
                  <a:lnTo>
                    <a:pt x="1695006" y="198831"/>
                  </a:lnTo>
                  <a:lnTo>
                    <a:pt x="1695006" y="196799"/>
                  </a:lnTo>
                  <a:lnTo>
                    <a:pt x="1695006" y="198831"/>
                  </a:lnTo>
                  <a:lnTo>
                    <a:pt x="1695057" y="198831"/>
                  </a:lnTo>
                  <a:lnTo>
                    <a:pt x="1695057" y="197447"/>
                  </a:lnTo>
                  <a:lnTo>
                    <a:pt x="1695057" y="198831"/>
                  </a:lnTo>
                  <a:lnTo>
                    <a:pt x="1695057" y="197447"/>
                  </a:lnTo>
                  <a:lnTo>
                    <a:pt x="1695057" y="198831"/>
                  </a:lnTo>
                  <a:lnTo>
                    <a:pt x="1695057" y="197447"/>
                  </a:lnTo>
                  <a:lnTo>
                    <a:pt x="1695108" y="197447"/>
                  </a:lnTo>
                  <a:lnTo>
                    <a:pt x="1695108" y="198831"/>
                  </a:lnTo>
                  <a:lnTo>
                    <a:pt x="1695108" y="197447"/>
                  </a:lnTo>
                  <a:lnTo>
                    <a:pt x="1695108" y="198831"/>
                  </a:lnTo>
                  <a:lnTo>
                    <a:pt x="1695108" y="197447"/>
                  </a:lnTo>
                  <a:lnTo>
                    <a:pt x="1695108" y="198831"/>
                  </a:lnTo>
                  <a:lnTo>
                    <a:pt x="1695108" y="197447"/>
                  </a:lnTo>
                  <a:lnTo>
                    <a:pt x="1695209" y="197447"/>
                  </a:lnTo>
                  <a:lnTo>
                    <a:pt x="1695209" y="198831"/>
                  </a:lnTo>
                  <a:lnTo>
                    <a:pt x="1695209" y="197447"/>
                  </a:lnTo>
                  <a:lnTo>
                    <a:pt x="1695260" y="197447"/>
                  </a:lnTo>
                  <a:lnTo>
                    <a:pt x="1695260" y="196799"/>
                  </a:lnTo>
                  <a:lnTo>
                    <a:pt x="1695260" y="198831"/>
                  </a:lnTo>
                  <a:lnTo>
                    <a:pt x="1695260" y="196799"/>
                  </a:lnTo>
                  <a:lnTo>
                    <a:pt x="1695311" y="196799"/>
                  </a:lnTo>
                  <a:lnTo>
                    <a:pt x="1695311" y="197447"/>
                  </a:lnTo>
                  <a:lnTo>
                    <a:pt x="1695311" y="196113"/>
                  </a:lnTo>
                  <a:lnTo>
                    <a:pt x="1695412" y="196113"/>
                  </a:lnTo>
                  <a:lnTo>
                    <a:pt x="1695412" y="195415"/>
                  </a:lnTo>
                  <a:lnTo>
                    <a:pt x="1695412" y="196113"/>
                  </a:lnTo>
                  <a:lnTo>
                    <a:pt x="1695412" y="194716"/>
                  </a:lnTo>
                  <a:lnTo>
                    <a:pt x="1695412" y="196113"/>
                  </a:lnTo>
                  <a:lnTo>
                    <a:pt x="1695450" y="196113"/>
                  </a:lnTo>
                  <a:lnTo>
                    <a:pt x="1695450" y="194716"/>
                  </a:lnTo>
                  <a:lnTo>
                    <a:pt x="1695450" y="197447"/>
                  </a:lnTo>
                  <a:lnTo>
                    <a:pt x="1695450" y="196799"/>
                  </a:lnTo>
                  <a:lnTo>
                    <a:pt x="1695501" y="196799"/>
                  </a:lnTo>
                  <a:lnTo>
                    <a:pt x="1695501" y="196113"/>
                  </a:lnTo>
                  <a:lnTo>
                    <a:pt x="1695501" y="196799"/>
                  </a:lnTo>
                  <a:lnTo>
                    <a:pt x="1695501" y="195415"/>
                  </a:lnTo>
                  <a:lnTo>
                    <a:pt x="1695501" y="198831"/>
                  </a:lnTo>
                  <a:lnTo>
                    <a:pt x="1695501" y="197447"/>
                  </a:lnTo>
                  <a:lnTo>
                    <a:pt x="1695552" y="197447"/>
                  </a:lnTo>
                  <a:lnTo>
                    <a:pt x="1695552" y="196799"/>
                  </a:lnTo>
                  <a:lnTo>
                    <a:pt x="1695552" y="198831"/>
                  </a:lnTo>
                  <a:lnTo>
                    <a:pt x="1695552" y="197447"/>
                  </a:lnTo>
                  <a:lnTo>
                    <a:pt x="1695654" y="197447"/>
                  </a:lnTo>
                  <a:lnTo>
                    <a:pt x="1695654" y="198831"/>
                  </a:lnTo>
                  <a:lnTo>
                    <a:pt x="1695654" y="197447"/>
                  </a:lnTo>
                  <a:lnTo>
                    <a:pt x="1695654" y="198831"/>
                  </a:lnTo>
                  <a:lnTo>
                    <a:pt x="1695654" y="196799"/>
                  </a:lnTo>
                  <a:lnTo>
                    <a:pt x="1695654" y="198831"/>
                  </a:lnTo>
                  <a:lnTo>
                    <a:pt x="1695654" y="197447"/>
                  </a:lnTo>
                  <a:lnTo>
                    <a:pt x="1695705" y="197447"/>
                  </a:lnTo>
                  <a:lnTo>
                    <a:pt x="1695705" y="198831"/>
                  </a:lnTo>
                  <a:lnTo>
                    <a:pt x="1695705" y="197447"/>
                  </a:lnTo>
                  <a:lnTo>
                    <a:pt x="1695705" y="198831"/>
                  </a:lnTo>
                  <a:lnTo>
                    <a:pt x="1695705" y="197447"/>
                  </a:lnTo>
                  <a:lnTo>
                    <a:pt x="1695705" y="198831"/>
                  </a:lnTo>
                  <a:lnTo>
                    <a:pt x="1695705" y="196799"/>
                  </a:lnTo>
                  <a:lnTo>
                    <a:pt x="1695705" y="197447"/>
                  </a:lnTo>
                  <a:lnTo>
                    <a:pt x="1695755" y="197447"/>
                  </a:lnTo>
                  <a:lnTo>
                    <a:pt x="1695755" y="198831"/>
                  </a:lnTo>
                  <a:lnTo>
                    <a:pt x="1695755" y="197447"/>
                  </a:lnTo>
                  <a:lnTo>
                    <a:pt x="1695857" y="197447"/>
                  </a:lnTo>
                  <a:lnTo>
                    <a:pt x="1695857" y="196799"/>
                  </a:lnTo>
                  <a:lnTo>
                    <a:pt x="1695857" y="197447"/>
                  </a:lnTo>
                  <a:lnTo>
                    <a:pt x="1695857" y="196113"/>
                  </a:lnTo>
                  <a:lnTo>
                    <a:pt x="1695908" y="196113"/>
                  </a:lnTo>
                  <a:lnTo>
                    <a:pt x="1695908" y="194716"/>
                  </a:lnTo>
                  <a:lnTo>
                    <a:pt x="1695908" y="195415"/>
                  </a:lnTo>
                  <a:lnTo>
                    <a:pt x="1695908" y="194716"/>
                  </a:lnTo>
                  <a:lnTo>
                    <a:pt x="1695959" y="194716"/>
                  </a:lnTo>
                  <a:lnTo>
                    <a:pt x="1695959" y="195415"/>
                  </a:lnTo>
                  <a:lnTo>
                    <a:pt x="1695959" y="193383"/>
                  </a:lnTo>
                  <a:lnTo>
                    <a:pt x="1695959" y="196799"/>
                  </a:lnTo>
                  <a:lnTo>
                    <a:pt x="1695959" y="196113"/>
                  </a:lnTo>
                  <a:lnTo>
                    <a:pt x="1695997" y="196799"/>
                  </a:lnTo>
                  <a:lnTo>
                    <a:pt x="1695997" y="195415"/>
                  </a:lnTo>
                  <a:lnTo>
                    <a:pt x="1695997" y="196799"/>
                  </a:lnTo>
                  <a:lnTo>
                    <a:pt x="1695997" y="196113"/>
                  </a:lnTo>
                  <a:lnTo>
                    <a:pt x="1695997" y="196799"/>
                  </a:lnTo>
                  <a:lnTo>
                    <a:pt x="1696098" y="196799"/>
                  </a:lnTo>
                  <a:lnTo>
                    <a:pt x="1696098" y="196113"/>
                  </a:lnTo>
                  <a:lnTo>
                    <a:pt x="1696098" y="196799"/>
                  </a:lnTo>
                  <a:lnTo>
                    <a:pt x="1696098" y="196113"/>
                  </a:lnTo>
                  <a:lnTo>
                    <a:pt x="1696098" y="196799"/>
                  </a:lnTo>
                  <a:lnTo>
                    <a:pt x="1696149" y="196799"/>
                  </a:lnTo>
                  <a:lnTo>
                    <a:pt x="1696149" y="197447"/>
                  </a:lnTo>
                  <a:lnTo>
                    <a:pt x="1696149" y="196799"/>
                  </a:lnTo>
                  <a:lnTo>
                    <a:pt x="1696149" y="197447"/>
                  </a:lnTo>
                  <a:lnTo>
                    <a:pt x="1696301" y="197447"/>
                  </a:lnTo>
                  <a:lnTo>
                    <a:pt x="1696301" y="198831"/>
                  </a:lnTo>
                  <a:lnTo>
                    <a:pt x="1696301" y="197447"/>
                  </a:lnTo>
                  <a:lnTo>
                    <a:pt x="1696301" y="198831"/>
                  </a:lnTo>
                  <a:lnTo>
                    <a:pt x="1696301" y="197447"/>
                  </a:lnTo>
                  <a:lnTo>
                    <a:pt x="1696352" y="197447"/>
                  </a:lnTo>
                  <a:lnTo>
                    <a:pt x="1696352" y="196799"/>
                  </a:lnTo>
                  <a:lnTo>
                    <a:pt x="1696352" y="197447"/>
                  </a:lnTo>
                  <a:lnTo>
                    <a:pt x="1696352" y="195415"/>
                  </a:lnTo>
                  <a:lnTo>
                    <a:pt x="1696352" y="196113"/>
                  </a:lnTo>
                  <a:lnTo>
                    <a:pt x="1696403" y="196113"/>
                  </a:lnTo>
                  <a:lnTo>
                    <a:pt x="1696403" y="192684"/>
                  </a:lnTo>
                  <a:lnTo>
                    <a:pt x="1696454" y="192684"/>
                  </a:lnTo>
                  <a:lnTo>
                    <a:pt x="1696454" y="194716"/>
                  </a:lnTo>
                  <a:lnTo>
                    <a:pt x="1696454" y="191986"/>
                  </a:lnTo>
                  <a:lnTo>
                    <a:pt x="1696454" y="193383"/>
                  </a:lnTo>
                  <a:lnTo>
                    <a:pt x="1696543" y="194716"/>
                  </a:lnTo>
                  <a:lnTo>
                    <a:pt x="1696543" y="196113"/>
                  </a:lnTo>
                  <a:lnTo>
                    <a:pt x="1696543" y="194716"/>
                  </a:lnTo>
                  <a:lnTo>
                    <a:pt x="1696543" y="195415"/>
                  </a:lnTo>
                  <a:lnTo>
                    <a:pt x="1696543" y="194716"/>
                  </a:lnTo>
                  <a:lnTo>
                    <a:pt x="1696543" y="195415"/>
                  </a:lnTo>
                  <a:lnTo>
                    <a:pt x="1696594" y="195415"/>
                  </a:lnTo>
                  <a:lnTo>
                    <a:pt x="1696594" y="196113"/>
                  </a:lnTo>
                  <a:lnTo>
                    <a:pt x="1696594" y="194716"/>
                  </a:lnTo>
                  <a:lnTo>
                    <a:pt x="1696594" y="195415"/>
                  </a:lnTo>
                  <a:lnTo>
                    <a:pt x="1696644" y="196113"/>
                  </a:lnTo>
                  <a:lnTo>
                    <a:pt x="1696644" y="195415"/>
                  </a:lnTo>
                  <a:lnTo>
                    <a:pt x="1696644" y="196113"/>
                  </a:lnTo>
                  <a:lnTo>
                    <a:pt x="1696644" y="195415"/>
                  </a:lnTo>
                  <a:lnTo>
                    <a:pt x="1696644" y="196113"/>
                  </a:lnTo>
                  <a:lnTo>
                    <a:pt x="1696644" y="195415"/>
                  </a:lnTo>
                  <a:lnTo>
                    <a:pt x="1696644" y="196799"/>
                  </a:lnTo>
                  <a:lnTo>
                    <a:pt x="1696695" y="196799"/>
                  </a:lnTo>
                  <a:lnTo>
                    <a:pt x="1696695" y="197447"/>
                  </a:lnTo>
                  <a:lnTo>
                    <a:pt x="1696695" y="196799"/>
                  </a:lnTo>
                  <a:lnTo>
                    <a:pt x="1696695" y="197447"/>
                  </a:lnTo>
                  <a:lnTo>
                    <a:pt x="1696797" y="197447"/>
                  </a:lnTo>
                  <a:lnTo>
                    <a:pt x="1696797" y="198831"/>
                  </a:lnTo>
                  <a:lnTo>
                    <a:pt x="1696797" y="197447"/>
                  </a:lnTo>
                  <a:lnTo>
                    <a:pt x="1696797" y="198831"/>
                  </a:lnTo>
                  <a:lnTo>
                    <a:pt x="1696797" y="197447"/>
                  </a:lnTo>
                  <a:lnTo>
                    <a:pt x="1696847" y="197447"/>
                  </a:lnTo>
                  <a:lnTo>
                    <a:pt x="1696847" y="198831"/>
                  </a:lnTo>
                  <a:lnTo>
                    <a:pt x="1696847" y="196113"/>
                  </a:lnTo>
                  <a:lnTo>
                    <a:pt x="1696898" y="196113"/>
                  </a:lnTo>
                  <a:lnTo>
                    <a:pt x="1696898" y="194716"/>
                  </a:lnTo>
                  <a:lnTo>
                    <a:pt x="1696898" y="195415"/>
                  </a:lnTo>
                  <a:lnTo>
                    <a:pt x="1696898" y="193383"/>
                  </a:lnTo>
                  <a:lnTo>
                    <a:pt x="1696898" y="195415"/>
                  </a:lnTo>
                  <a:lnTo>
                    <a:pt x="1697000" y="195415"/>
                  </a:lnTo>
                  <a:lnTo>
                    <a:pt x="1697000" y="193383"/>
                  </a:lnTo>
                  <a:lnTo>
                    <a:pt x="1697000" y="196113"/>
                  </a:lnTo>
                  <a:lnTo>
                    <a:pt x="1697038" y="196113"/>
                  </a:lnTo>
                  <a:lnTo>
                    <a:pt x="1697038" y="194716"/>
                  </a:lnTo>
                  <a:lnTo>
                    <a:pt x="1697038" y="196113"/>
                  </a:lnTo>
                  <a:lnTo>
                    <a:pt x="1697089" y="195415"/>
                  </a:lnTo>
                  <a:lnTo>
                    <a:pt x="1697089" y="194716"/>
                  </a:lnTo>
                  <a:lnTo>
                    <a:pt x="1697089" y="196113"/>
                  </a:lnTo>
                  <a:lnTo>
                    <a:pt x="1697089" y="195415"/>
                  </a:lnTo>
                  <a:lnTo>
                    <a:pt x="1697140" y="195415"/>
                  </a:lnTo>
                  <a:lnTo>
                    <a:pt x="1697140" y="194716"/>
                  </a:lnTo>
                  <a:lnTo>
                    <a:pt x="1697140" y="195415"/>
                  </a:lnTo>
                  <a:lnTo>
                    <a:pt x="1697140" y="194716"/>
                  </a:lnTo>
                  <a:lnTo>
                    <a:pt x="1697140" y="195415"/>
                  </a:lnTo>
                  <a:lnTo>
                    <a:pt x="1697241" y="195415"/>
                  </a:lnTo>
                  <a:lnTo>
                    <a:pt x="1697241" y="196113"/>
                  </a:lnTo>
                  <a:lnTo>
                    <a:pt x="1697241" y="195415"/>
                  </a:lnTo>
                  <a:lnTo>
                    <a:pt x="1697241" y="196799"/>
                  </a:lnTo>
                  <a:lnTo>
                    <a:pt x="1697241" y="196113"/>
                  </a:lnTo>
                  <a:lnTo>
                    <a:pt x="1697241" y="196799"/>
                  </a:lnTo>
                  <a:lnTo>
                    <a:pt x="1697292" y="196799"/>
                  </a:lnTo>
                  <a:lnTo>
                    <a:pt x="1697292" y="197447"/>
                  </a:lnTo>
                  <a:lnTo>
                    <a:pt x="1697292" y="196799"/>
                  </a:lnTo>
                  <a:lnTo>
                    <a:pt x="1697292" y="197447"/>
                  </a:lnTo>
                  <a:lnTo>
                    <a:pt x="1697292" y="196799"/>
                  </a:lnTo>
                  <a:lnTo>
                    <a:pt x="1697292" y="197447"/>
                  </a:lnTo>
                  <a:lnTo>
                    <a:pt x="1697343" y="196799"/>
                  </a:lnTo>
                  <a:lnTo>
                    <a:pt x="1697343" y="197447"/>
                  </a:lnTo>
                  <a:lnTo>
                    <a:pt x="1697343" y="195415"/>
                  </a:lnTo>
                  <a:lnTo>
                    <a:pt x="1697343" y="196113"/>
                  </a:lnTo>
                  <a:lnTo>
                    <a:pt x="1697444" y="196113"/>
                  </a:lnTo>
                  <a:lnTo>
                    <a:pt x="1697444" y="194716"/>
                  </a:lnTo>
                  <a:lnTo>
                    <a:pt x="1697444" y="197447"/>
                  </a:lnTo>
                  <a:lnTo>
                    <a:pt x="1697495" y="196799"/>
                  </a:lnTo>
                  <a:lnTo>
                    <a:pt x="1697495" y="194716"/>
                  </a:lnTo>
                  <a:lnTo>
                    <a:pt x="1697495" y="197447"/>
                  </a:lnTo>
                  <a:lnTo>
                    <a:pt x="1697546" y="197447"/>
                  </a:lnTo>
                  <a:lnTo>
                    <a:pt x="1697546" y="196113"/>
                  </a:lnTo>
                  <a:lnTo>
                    <a:pt x="1697546" y="197447"/>
                  </a:lnTo>
                  <a:lnTo>
                    <a:pt x="1697546" y="196799"/>
                  </a:lnTo>
                  <a:lnTo>
                    <a:pt x="1697546" y="197447"/>
                  </a:lnTo>
                  <a:lnTo>
                    <a:pt x="1697546" y="196799"/>
                  </a:lnTo>
                  <a:lnTo>
                    <a:pt x="1697584" y="196799"/>
                  </a:lnTo>
                  <a:lnTo>
                    <a:pt x="1697584" y="196113"/>
                  </a:lnTo>
                  <a:lnTo>
                    <a:pt x="1697584" y="196799"/>
                  </a:lnTo>
                  <a:lnTo>
                    <a:pt x="1697584" y="196113"/>
                  </a:lnTo>
                  <a:lnTo>
                    <a:pt x="1697584" y="196799"/>
                  </a:lnTo>
                  <a:lnTo>
                    <a:pt x="1697686" y="196799"/>
                  </a:lnTo>
                  <a:lnTo>
                    <a:pt x="1697686" y="196113"/>
                  </a:lnTo>
                  <a:lnTo>
                    <a:pt x="1697686" y="197447"/>
                  </a:lnTo>
                  <a:lnTo>
                    <a:pt x="1697686" y="196799"/>
                  </a:lnTo>
                  <a:lnTo>
                    <a:pt x="1697686" y="197447"/>
                  </a:lnTo>
                  <a:lnTo>
                    <a:pt x="1697737" y="197447"/>
                  </a:lnTo>
                  <a:lnTo>
                    <a:pt x="1697737" y="196799"/>
                  </a:lnTo>
                  <a:lnTo>
                    <a:pt x="1697737" y="197447"/>
                  </a:lnTo>
                  <a:lnTo>
                    <a:pt x="1697787" y="197447"/>
                  </a:lnTo>
                  <a:lnTo>
                    <a:pt x="1697787" y="196799"/>
                  </a:lnTo>
                  <a:lnTo>
                    <a:pt x="1697787" y="197447"/>
                  </a:lnTo>
                  <a:lnTo>
                    <a:pt x="1697787" y="196799"/>
                  </a:lnTo>
                  <a:lnTo>
                    <a:pt x="1697787" y="197447"/>
                  </a:lnTo>
                  <a:lnTo>
                    <a:pt x="1697787" y="196799"/>
                  </a:lnTo>
                  <a:lnTo>
                    <a:pt x="1697889" y="196799"/>
                  </a:lnTo>
                  <a:lnTo>
                    <a:pt x="1697889" y="196113"/>
                  </a:lnTo>
                  <a:lnTo>
                    <a:pt x="1697889" y="196799"/>
                  </a:lnTo>
                  <a:lnTo>
                    <a:pt x="1697889" y="195415"/>
                  </a:lnTo>
                  <a:lnTo>
                    <a:pt x="1697940" y="195415"/>
                  </a:lnTo>
                  <a:lnTo>
                    <a:pt x="1697940" y="197447"/>
                  </a:lnTo>
                  <a:lnTo>
                    <a:pt x="1697940" y="196113"/>
                  </a:lnTo>
                  <a:lnTo>
                    <a:pt x="1697990" y="196113"/>
                  </a:lnTo>
                  <a:lnTo>
                    <a:pt x="1697990" y="199530"/>
                  </a:lnTo>
                  <a:lnTo>
                    <a:pt x="1697990" y="196799"/>
                  </a:lnTo>
                  <a:lnTo>
                    <a:pt x="1697990" y="197447"/>
                  </a:lnTo>
                  <a:lnTo>
                    <a:pt x="1698041" y="197447"/>
                  </a:lnTo>
                  <a:lnTo>
                    <a:pt x="1698041" y="199530"/>
                  </a:lnTo>
                  <a:lnTo>
                    <a:pt x="1698041" y="197447"/>
                  </a:lnTo>
                  <a:lnTo>
                    <a:pt x="1698041" y="198831"/>
                  </a:lnTo>
                  <a:lnTo>
                    <a:pt x="1698041" y="197447"/>
                  </a:lnTo>
                  <a:lnTo>
                    <a:pt x="1698130" y="198831"/>
                  </a:lnTo>
                  <a:lnTo>
                    <a:pt x="1698130" y="197447"/>
                  </a:lnTo>
                  <a:lnTo>
                    <a:pt x="1698181" y="197447"/>
                  </a:lnTo>
                  <a:lnTo>
                    <a:pt x="1698181" y="198831"/>
                  </a:lnTo>
                  <a:lnTo>
                    <a:pt x="1698181" y="197447"/>
                  </a:lnTo>
                  <a:lnTo>
                    <a:pt x="1698181" y="198831"/>
                  </a:lnTo>
                  <a:lnTo>
                    <a:pt x="1698232" y="197447"/>
                  </a:lnTo>
                  <a:lnTo>
                    <a:pt x="1698283" y="197447"/>
                  </a:lnTo>
                  <a:lnTo>
                    <a:pt x="1698283" y="196113"/>
                  </a:lnTo>
                  <a:lnTo>
                    <a:pt x="1698384" y="196113"/>
                  </a:lnTo>
                  <a:lnTo>
                    <a:pt x="1698384" y="193383"/>
                  </a:lnTo>
                  <a:lnTo>
                    <a:pt x="1698435" y="193383"/>
                  </a:lnTo>
                  <a:lnTo>
                    <a:pt x="1698435" y="196799"/>
                  </a:lnTo>
                  <a:lnTo>
                    <a:pt x="1698435" y="194716"/>
                  </a:lnTo>
                  <a:lnTo>
                    <a:pt x="1698435" y="196113"/>
                  </a:lnTo>
                  <a:lnTo>
                    <a:pt x="1698486" y="196799"/>
                  </a:lnTo>
                  <a:lnTo>
                    <a:pt x="1698486" y="198831"/>
                  </a:lnTo>
                  <a:lnTo>
                    <a:pt x="1698486" y="196113"/>
                  </a:lnTo>
                  <a:lnTo>
                    <a:pt x="1698486" y="197447"/>
                  </a:lnTo>
                  <a:lnTo>
                    <a:pt x="1698587" y="197447"/>
                  </a:lnTo>
                  <a:lnTo>
                    <a:pt x="1698587" y="198831"/>
                  </a:lnTo>
                  <a:lnTo>
                    <a:pt x="1698587" y="196799"/>
                  </a:lnTo>
                  <a:lnTo>
                    <a:pt x="1698587" y="197447"/>
                  </a:lnTo>
                  <a:lnTo>
                    <a:pt x="1698587" y="196799"/>
                  </a:lnTo>
                  <a:lnTo>
                    <a:pt x="1698587" y="197447"/>
                  </a:lnTo>
                  <a:lnTo>
                    <a:pt x="1698587" y="196799"/>
                  </a:lnTo>
                  <a:lnTo>
                    <a:pt x="1698587" y="198831"/>
                  </a:lnTo>
                  <a:lnTo>
                    <a:pt x="1698587" y="197447"/>
                  </a:lnTo>
                  <a:lnTo>
                    <a:pt x="1698625" y="197447"/>
                  </a:lnTo>
                  <a:lnTo>
                    <a:pt x="1698625" y="198831"/>
                  </a:lnTo>
                  <a:lnTo>
                    <a:pt x="1698625" y="197447"/>
                  </a:lnTo>
                  <a:lnTo>
                    <a:pt x="1698625" y="198831"/>
                  </a:lnTo>
                  <a:lnTo>
                    <a:pt x="1698625" y="197447"/>
                  </a:lnTo>
                  <a:lnTo>
                    <a:pt x="1698625" y="198831"/>
                  </a:lnTo>
                  <a:lnTo>
                    <a:pt x="1698676" y="198831"/>
                  </a:lnTo>
                  <a:lnTo>
                    <a:pt x="1698676" y="199530"/>
                  </a:lnTo>
                  <a:lnTo>
                    <a:pt x="1698676" y="198831"/>
                  </a:lnTo>
                  <a:lnTo>
                    <a:pt x="1698676" y="199530"/>
                  </a:lnTo>
                  <a:lnTo>
                    <a:pt x="1698676" y="198831"/>
                  </a:lnTo>
                  <a:lnTo>
                    <a:pt x="1698727" y="198831"/>
                  </a:lnTo>
                  <a:lnTo>
                    <a:pt x="1698727" y="199530"/>
                  </a:lnTo>
                  <a:lnTo>
                    <a:pt x="1698727" y="197447"/>
                  </a:lnTo>
                  <a:lnTo>
                    <a:pt x="1698727" y="198831"/>
                  </a:lnTo>
                  <a:lnTo>
                    <a:pt x="1698727" y="197447"/>
                  </a:lnTo>
                  <a:lnTo>
                    <a:pt x="1698829" y="197447"/>
                  </a:lnTo>
                  <a:lnTo>
                    <a:pt x="1698829" y="196799"/>
                  </a:lnTo>
                  <a:lnTo>
                    <a:pt x="1698829" y="197447"/>
                  </a:lnTo>
                  <a:lnTo>
                    <a:pt x="1698829" y="196113"/>
                  </a:lnTo>
                  <a:lnTo>
                    <a:pt x="1698829" y="196799"/>
                  </a:lnTo>
                  <a:lnTo>
                    <a:pt x="1698829" y="196113"/>
                  </a:lnTo>
                  <a:lnTo>
                    <a:pt x="1698880" y="196113"/>
                  </a:lnTo>
                  <a:lnTo>
                    <a:pt x="1698880" y="194716"/>
                  </a:lnTo>
                  <a:lnTo>
                    <a:pt x="1698880" y="196799"/>
                  </a:lnTo>
                  <a:lnTo>
                    <a:pt x="1698930" y="196799"/>
                  </a:lnTo>
                  <a:lnTo>
                    <a:pt x="1698930" y="194716"/>
                  </a:lnTo>
                  <a:lnTo>
                    <a:pt x="1698930" y="197447"/>
                  </a:lnTo>
                  <a:lnTo>
                    <a:pt x="1699032" y="197447"/>
                  </a:lnTo>
                  <a:lnTo>
                    <a:pt x="1699032" y="196799"/>
                  </a:lnTo>
                  <a:lnTo>
                    <a:pt x="1699032" y="197447"/>
                  </a:lnTo>
                  <a:lnTo>
                    <a:pt x="1699083" y="197447"/>
                  </a:lnTo>
                  <a:lnTo>
                    <a:pt x="1699083" y="196799"/>
                  </a:lnTo>
                  <a:lnTo>
                    <a:pt x="1699083" y="197447"/>
                  </a:lnTo>
                  <a:lnTo>
                    <a:pt x="1699083" y="196799"/>
                  </a:lnTo>
                  <a:lnTo>
                    <a:pt x="1699083" y="198831"/>
                  </a:lnTo>
                  <a:lnTo>
                    <a:pt x="1699083" y="197447"/>
                  </a:lnTo>
                  <a:lnTo>
                    <a:pt x="1699134" y="197447"/>
                  </a:lnTo>
                  <a:lnTo>
                    <a:pt x="1699134" y="198831"/>
                  </a:lnTo>
                  <a:lnTo>
                    <a:pt x="1699134" y="197447"/>
                  </a:lnTo>
                  <a:lnTo>
                    <a:pt x="1699134" y="198831"/>
                  </a:lnTo>
                  <a:lnTo>
                    <a:pt x="1699172" y="198831"/>
                  </a:lnTo>
                  <a:lnTo>
                    <a:pt x="1699172" y="199530"/>
                  </a:lnTo>
                  <a:lnTo>
                    <a:pt x="1699172" y="198831"/>
                  </a:lnTo>
                  <a:lnTo>
                    <a:pt x="1699273" y="198831"/>
                  </a:lnTo>
                  <a:lnTo>
                    <a:pt x="1699273" y="197447"/>
                  </a:lnTo>
                  <a:lnTo>
                    <a:pt x="1699273" y="198831"/>
                  </a:lnTo>
                  <a:lnTo>
                    <a:pt x="1699273" y="197447"/>
                  </a:lnTo>
                  <a:lnTo>
                    <a:pt x="1699324" y="197447"/>
                  </a:lnTo>
                  <a:lnTo>
                    <a:pt x="1699324" y="196799"/>
                  </a:lnTo>
                  <a:lnTo>
                    <a:pt x="1699324" y="197447"/>
                  </a:lnTo>
                  <a:lnTo>
                    <a:pt x="1699324" y="195415"/>
                  </a:lnTo>
                  <a:lnTo>
                    <a:pt x="1699375" y="195415"/>
                  </a:lnTo>
                  <a:lnTo>
                    <a:pt x="1699375" y="194716"/>
                  </a:lnTo>
                  <a:lnTo>
                    <a:pt x="1699375" y="195415"/>
                  </a:lnTo>
                  <a:lnTo>
                    <a:pt x="1699375" y="194716"/>
                  </a:lnTo>
                  <a:lnTo>
                    <a:pt x="1699375" y="196113"/>
                  </a:lnTo>
                  <a:lnTo>
                    <a:pt x="1699375" y="195415"/>
                  </a:lnTo>
                  <a:lnTo>
                    <a:pt x="1699476" y="195415"/>
                  </a:lnTo>
                  <a:lnTo>
                    <a:pt x="1699476" y="197447"/>
                  </a:lnTo>
                  <a:lnTo>
                    <a:pt x="1699476" y="196113"/>
                  </a:lnTo>
                  <a:lnTo>
                    <a:pt x="1699527" y="196113"/>
                  </a:lnTo>
                  <a:lnTo>
                    <a:pt x="1699527" y="196799"/>
                  </a:lnTo>
                  <a:lnTo>
                    <a:pt x="1699578" y="196799"/>
                  </a:lnTo>
                  <a:lnTo>
                    <a:pt x="1699578" y="197447"/>
                  </a:lnTo>
                  <a:lnTo>
                    <a:pt x="1699578" y="196799"/>
                  </a:lnTo>
                  <a:lnTo>
                    <a:pt x="1699578" y="197447"/>
                  </a:lnTo>
                  <a:lnTo>
                    <a:pt x="1699629" y="197447"/>
                  </a:lnTo>
                  <a:lnTo>
                    <a:pt x="1699629" y="198831"/>
                  </a:lnTo>
                  <a:lnTo>
                    <a:pt x="1699769" y="198831"/>
                  </a:lnTo>
                  <a:lnTo>
                    <a:pt x="1699769" y="196799"/>
                  </a:lnTo>
                  <a:lnTo>
                    <a:pt x="1699769" y="197447"/>
                  </a:lnTo>
                  <a:lnTo>
                    <a:pt x="1699819" y="196799"/>
                  </a:lnTo>
                  <a:lnTo>
                    <a:pt x="1699819" y="196113"/>
                  </a:lnTo>
                  <a:lnTo>
                    <a:pt x="1699819" y="196799"/>
                  </a:lnTo>
                  <a:lnTo>
                    <a:pt x="1699819" y="195415"/>
                  </a:lnTo>
                  <a:lnTo>
                    <a:pt x="1699819" y="196113"/>
                  </a:lnTo>
                  <a:lnTo>
                    <a:pt x="1699870" y="196113"/>
                  </a:lnTo>
                  <a:lnTo>
                    <a:pt x="1699870" y="195415"/>
                  </a:lnTo>
                  <a:lnTo>
                    <a:pt x="1699870" y="196113"/>
                  </a:lnTo>
                  <a:lnTo>
                    <a:pt x="1699870" y="195415"/>
                  </a:lnTo>
                  <a:lnTo>
                    <a:pt x="1699870" y="196113"/>
                  </a:lnTo>
                  <a:lnTo>
                    <a:pt x="1699972" y="196799"/>
                  </a:lnTo>
                  <a:lnTo>
                    <a:pt x="1699972" y="197447"/>
                  </a:lnTo>
                  <a:lnTo>
                    <a:pt x="1699972" y="196113"/>
                  </a:lnTo>
                  <a:lnTo>
                    <a:pt x="1699972" y="196799"/>
                  </a:lnTo>
                  <a:lnTo>
                    <a:pt x="1700022" y="197447"/>
                  </a:lnTo>
                  <a:lnTo>
                    <a:pt x="1700022" y="196113"/>
                  </a:lnTo>
                  <a:lnTo>
                    <a:pt x="1700022" y="196799"/>
                  </a:lnTo>
                  <a:lnTo>
                    <a:pt x="1700073" y="196799"/>
                  </a:lnTo>
                  <a:lnTo>
                    <a:pt x="1700073" y="196113"/>
                  </a:lnTo>
                  <a:lnTo>
                    <a:pt x="1700073" y="197447"/>
                  </a:lnTo>
                  <a:lnTo>
                    <a:pt x="1700175" y="197447"/>
                  </a:lnTo>
                  <a:lnTo>
                    <a:pt x="1700175" y="196799"/>
                  </a:lnTo>
                  <a:lnTo>
                    <a:pt x="1700175" y="197447"/>
                  </a:lnTo>
                  <a:lnTo>
                    <a:pt x="1700213" y="197447"/>
                  </a:lnTo>
                  <a:lnTo>
                    <a:pt x="1700213" y="196799"/>
                  </a:lnTo>
                  <a:lnTo>
                    <a:pt x="1700213" y="197447"/>
                  </a:lnTo>
                  <a:lnTo>
                    <a:pt x="1700213" y="196799"/>
                  </a:lnTo>
                  <a:lnTo>
                    <a:pt x="1700264" y="196799"/>
                  </a:lnTo>
                  <a:lnTo>
                    <a:pt x="1700264" y="196113"/>
                  </a:lnTo>
                  <a:lnTo>
                    <a:pt x="1700264" y="196799"/>
                  </a:lnTo>
                  <a:lnTo>
                    <a:pt x="1700264" y="196113"/>
                  </a:lnTo>
                  <a:lnTo>
                    <a:pt x="1700315" y="196113"/>
                  </a:lnTo>
                  <a:lnTo>
                    <a:pt x="1700315" y="196799"/>
                  </a:lnTo>
                  <a:lnTo>
                    <a:pt x="1700315" y="196113"/>
                  </a:lnTo>
                  <a:lnTo>
                    <a:pt x="1700315" y="196799"/>
                  </a:lnTo>
                  <a:lnTo>
                    <a:pt x="1700315" y="195415"/>
                  </a:lnTo>
                  <a:lnTo>
                    <a:pt x="1700315" y="196799"/>
                  </a:lnTo>
                  <a:lnTo>
                    <a:pt x="1700416" y="196799"/>
                  </a:lnTo>
                  <a:lnTo>
                    <a:pt x="1700416" y="195415"/>
                  </a:lnTo>
                  <a:lnTo>
                    <a:pt x="1700416" y="198831"/>
                  </a:lnTo>
                  <a:lnTo>
                    <a:pt x="1700467" y="197447"/>
                  </a:lnTo>
                  <a:lnTo>
                    <a:pt x="1700467" y="196799"/>
                  </a:lnTo>
                  <a:lnTo>
                    <a:pt x="1700467" y="197447"/>
                  </a:lnTo>
                  <a:lnTo>
                    <a:pt x="1700467" y="196799"/>
                  </a:lnTo>
                  <a:lnTo>
                    <a:pt x="1700467" y="198831"/>
                  </a:lnTo>
                  <a:lnTo>
                    <a:pt x="1700467" y="197447"/>
                  </a:lnTo>
                  <a:lnTo>
                    <a:pt x="1700467" y="198831"/>
                  </a:lnTo>
                  <a:lnTo>
                    <a:pt x="1700467" y="197447"/>
                  </a:lnTo>
                  <a:lnTo>
                    <a:pt x="1700518" y="197447"/>
                  </a:lnTo>
                  <a:lnTo>
                    <a:pt x="1700518" y="196799"/>
                  </a:lnTo>
                  <a:lnTo>
                    <a:pt x="1700518" y="198831"/>
                  </a:lnTo>
                  <a:lnTo>
                    <a:pt x="1700518" y="197447"/>
                  </a:lnTo>
                  <a:lnTo>
                    <a:pt x="1700619" y="197447"/>
                  </a:lnTo>
                  <a:lnTo>
                    <a:pt x="1700619" y="198831"/>
                  </a:lnTo>
                  <a:lnTo>
                    <a:pt x="1700619" y="197447"/>
                  </a:lnTo>
                  <a:lnTo>
                    <a:pt x="1700619" y="198831"/>
                  </a:lnTo>
                  <a:lnTo>
                    <a:pt x="1700619" y="197447"/>
                  </a:lnTo>
                  <a:lnTo>
                    <a:pt x="1700619" y="198831"/>
                  </a:lnTo>
                  <a:lnTo>
                    <a:pt x="1700619" y="197447"/>
                  </a:lnTo>
                  <a:lnTo>
                    <a:pt x="1700670" y="198831"/>
                  </a:lnTo>
                  <a:lnTo>
                    <a:pt x="1700670" y="199530"/>
                  </a:lnTo>
                  <a:lnTo>
                    <a:pt x="1700670" y="198831"/>
                  </a:lnTo>
                  <a:lnTo>
                    <a:pt x="1700721" y="198831"/>
                  </a:lnTo>
                  <a:lnTo>
                    <a:pt x="1700721" y="197447"/>
                  </a:lnTo>
                  <a:lnTo>
                    <a:pt x="1700759" y="197447"/>
                  </a:lnTo>
                  <a:lnTo>
                    <a:pt x="1700759" y="196113"/>
                  </a:lnTo>
                  <a:lnTo>
                    <a:pt x="1700861" y="196113"/>
                  </a:lnTo>
                  <a:lnTo>
                    <a:pt x="1700861" y="198831"/>
                  </a:lnTo>
                  <a:lnTo>
                    <a:pt x="1700861" y="196113"/>
                  </a:lnTo>
                  <a:lnTo>
                    <a:pt x="1700912" y="196113"/>
                  </a:lnTo>
                  <a:lnTo>
                    <a:pt x="1700912" y="195415"/>
                  </a:lnTo>
                  <a:lnTo>
                    <a:pt x="1700912" y="200228"/>
                  </a:lnTo>
                  <a:lnTo>
                    <a:pt x="1700912" y="197447"/>
                  </a:lnTo>
                  <a:lnTo>
                    <a:pt x="1700962" y="197447"/>
                  </a:lnTo>
                  <a:lnTo>
                    <a:pt x="1700962" y="199530"/>
                  </a:lnTo>
                  <a:lnTo>
                    <a:pt x="1700962" y="197447"/>
                  </a:lnTo>
                  <a:lnTo>
                    <a:pt x="1700962" y="198831"/>
                  </a:lnTo>
                  <a:lnTo>
                    <a:pt x="1701064" y="198831"/>
                  </a:lnTo>
                  <a:lnTo>
                    <a:pt x="1701064" y="199530"/>
                  </a:lnTo>
                  <a:lnTo>
                    <a:pt x="1701064" y="198831"/>
                  </a:lnTo>
                  <a:lnTo>
                    <a:pt x="1701064" y="199530"/>
                  </a:lnTo>
                  <a:lnTo>
                    <a:pt x="1701064" y="198831"/>
                  </a:lnTo>
                  <a:lnTo>
                    <a:pt x="1701115" y="199530"/>
                  </a:lnTo>
                  <a:lnTo>
                    <a:pt x="1701115" y="200228"/>
                  </a:lnTo>
                  <a:lnTo>
                    <a:pt x="1701115" y="199530"/>
                  </a:lnTo>
                  <a:lnTo>
                    <a:pt x="1701115" y="200228"/>
                  </a:lnTo>
                  <a:lnTo>
                    <a:pt x="1701115" y="199530"/>
                  </a:lnTo>
                  <a:lnTo>
                    <a:pt x="1701165" y="199530"/>
                  </a:lnTo>
                  <a:lnTo>
                    <a:pt x="1701165" y="198831"/>
                  </a:lnTo>
                  <a:lnTo>
                    <a:pt x="1701216" y="198831"/>
                  </a:lnTo>
                  <a:lnTo>
                    <a:pt x="1701216" y="196113"/>
                  </a:lnTo>
                  <a:lnTo>
                    <a:pt x="1701305" y="196113"/>
                  </a:lnTo>
                  <a:lnTo>
                    <a:pt x="1701305" y="196799"/>
                  </a:lnTo>
                  <a:lnTo>
                    <a:pt x="1701305" y="196113"/>
                  </a:lnTo>
                  <a:lnTo>
                    <a:pt x="1701305" y="196799"/>
                  </a:lnTo>
                  <a:lnTo>
                    <a:pt x="1701305" y="196113"/>
                  </a:lnTo>
                  <a:lnTo>
                    <a:pt x="1701305" y="196799"/>
                  </a:lnTo>
                  <a:lnTo>
                    <a:pt x="1701305" y="195415"/>
                  </a:lnTo>
                  <a:lnTo>
                    <a:pt x="1701356" y="196113"/>
                  </a:lnTo>
                  <a:lnTo>
                    <a:pt x="1701356" y="196799"/>
                  </a:lnTo>
                  <a:lnTo>
                    <a:pt x="1701356" y="196113"/>
                  </a:lnTo>
                  <a:lnTo>
                    <a:pt x="1701356" y="196799"/>
                  </a:lnTo>
                  <a:lnTo>
                    <a:pt x="1701356" y="196113"/>
                  </a:lnTo>
                  <a:lnTo>
                    <a:pt x="1701356" y="196799"/>
                  </a:lnTo>
                  <a:lnTo>
                    <a:pt x="1701407" y="196799"/>
                  </a:lnTo>
                  <a:lnTo>
                    <a:pt x="1701407" y="198831"/>
                  </a:lnTo>
                  <a:lnTo>
                    <a:pt x="1701407" y="197447"/>
                  </a:lnTo>
                  <a:lnTo>
                    <a:pt x="1701407" y="198831"/>
                  </a:lnTo>
                  <a:lnTo>
                    <a:pt x="1701407" y="196799"/>
                  </a:lnTo>
                  <a:lnTo>
                    <a:pt x="1701407" y="197447"/>
                  </a:lnTo>
                  <a:lnTo>
                    <a:pt x="1701458" y="197447"/>
                  </a:lnTo>
                  <a:lnTo>
                    <a:pt x="1701458" y="198831"/>
                  </a:lnTo>
                  <a:lnTo>
                    <a:pt x="1701458" y="197447"/>
                  </a:lnTo>
                  <a:lnTo>
                    <a:pt x="1701458" y="198831"/>
                  </a:lnTo>
                  <a:lnTo>
                    <a:pt x="1701458" y="197447"/>
                  </a:lnTo>
                  <a:lnTo>
                    <a:pt x="1701458" y="198831"/>
                  </a:lnTo>
                  <a:lnTo>
                    <a:pt x="1701559" y="198831"/>
                  </a:lnTo>
                  <a:lnTo>
                    <a:pt x="1701559" y="197447"/>
                  </a:lnTo>
                  <a:lnTo>
                    <a:pt x="1701559" y="199530"/>
                  </a:lnTo>
                  <a:lnTo>
                    <a:pt x="1701610" y="199530"/>
                  </a:lnTo>
                  <a:lnTo>
                    <a:pt x="1701610" y="198831"/>
                  </a:lnTo>
                  <a:lnTo>
                    <a:pt x="1701610" y="199530"/>
                  </a:lnTo>
                  <a:lnTo>
                    <a:pt x="1701610" y="198831"/>
                  </a:lnTo>
                  <a:lnTo>
                    <a:pt x="1701661" y="198831"/>
                  </a:lnTo>
                  <a:lnTo>
                    <a:pt x="1701661" y="199530"/>
                  </a:lnTo>
                  <a:lnTo>
                    <a:pt x="1701661" y="198831"/>
                  </a:lnTo>
                  <a:lnTo>
                    <a:pt x="1701661" y="199530"/>
                  </a:lnTo>
                  <a:lnTo>
                    <a:pt x="1701661" y="198831"/>
                  </a:lnTo>
                  <a:lnTo>
                    <a:pt x="1701762" y="198831"/>
                  </a:lnTo>
                  <a:lnTo>
                    <a:pt x="1701762" y="196799"/>
                  </a:lnTo>
                  <a:lnTo>
                    <a:pt x="1701762" y="197447"/>
                  </a:lnTo>
                  <a:lnTo>
                    <a:pt x="1701762" y="196799"/>
                  </a:lnTo>
                  <a:lnTo>
                    <a:pt x="1701800" y="196799"/>
                  </a:lnTo>
                  <a:lnTo>
                    <a:pt x="1701800" y="195415"/>
                  </a:lnTo>
                  <a:lnTo>
                    <a:pt x="1701800" y="196799"/>
                  </a:lnTo>
                  <a:lnTo>
                    <a:pt x="1701851" y="196799"/>
                  </a:lnTo>
                  <a:lnTo>
                    <a:pt x="1701851" y="196113"/>
                  </a:lnTo>
                  <a:lnTo>
                    <a:pt x="1701851" y="197447"/>
                  </a:lnTo>
                  <a:lnTo>
                    <a:pt x="1701902" y="197447"/>
                  </a:lnTo>
                  <a:lnTo>
                    <a:pt x="1701902" y="196799"/>
                  </a:lnTo>
                  <a:lnTo>
                    <a:pt x="1701902" y="197447"/>
                  </a:lnTo>
                  <a:lnTo>
                    <a:pt x="1702004" y="197447"/>
                  </a:lnTo>
                  <a:lnTo>
                    <a:pt x="1702004" y="196799"/>
                  </a:lnTo>
                  <a:lnTo>
                    <a:pt x="1702004" y="197447"/>
                  </a:lnTo>
                  <a:lnTo>
                    <a:pt x="1702004" y="196799"/>
                  </a:lnTo>
                  <a:lnTo>
                    <a:pt x="1702004" y="197447"/>
                  </a:lnTo>
                  <a:lnTo>
                    <a:pt x="1702055" y="197447"/>
                  </a:lnTo>
                  <a:lnTo>
                    <a:pt x="1702055" y="198831"/>
                  </a:lnTo>
                  <a:lnTo>
                    <a:pt x="1702105" y="199530"/>
                  </a:lnTo>
                  <a:lnTo>
                    <a:pt x="1702105" y="198831"/>
                  </a:lnTo>
                  <a:lnTo>
                    <a:pt x="1702105" y="199530"/>
                  </a:lnTo>
                  <a:lnTo>
                    <a:pt x="1702105" y="198831"/>
                  </a:lnTo>
                  <a:lnTo>
                    <a:pt x="1702105" y="199530"/>
                  </a:lnTo>
                  <a:lnTo>
                    <a:pt x="1702105" y="198831"/>
                  </a:lnTo>
                  <a:lnTo>
                    <a:pt x="1702105" y="199530"/>
                  </a:lnTo>
                  <a:lnTo>
                    <a:pt x="1702105" y="198831"/>
                  </a:lnTo>
                  <a:lnTo>
                    <a:pt x="1702207" y="197447"/>
                  </a:lnTo>
                  <a:lnTo>
                    <a:pt x="1702207" y="198831"/>
                  </a:lnTo>
                  <a:lnTo>
                    <a:pt x="1702207" y="197447"/>
                  </a:lnTo>
                  <a:lnTo>
                    <a:pt x="1702207" y="198831"/>
                  </a:lnTo>
                  <a:lnTo>
                    <a:pt x="1702207" y="197447"/>
                  </a:lnTo>
                  <a:lnTo>
                    <a:pt x="1702258" y="198831"/>
                  </a:lnTo>
                  <a:lnTo>
                    <a:pt x="1702258" y="196113"/>
                  </a:lnTo>
                  <a:lnTo>
                    <a:pt x="1702309" y="196113"/>
                  </a:lnTo>
                  <a:lnTo>
                    <a:pt x="1702309" y="195415"/>
                  </a:lnTo>
                  <a:lnTo>
                    <a:pt x="1702309" y="196113"/>
                  </a:lnTo>
                  <a:lnTo>
                    <a:pt x="1702309" y="193383"/>
                  </a:lnTo>
                  <a:lnTo>
                    <a:pt x="1702309" y="195415"/>
                  </a:lnTo>
                  <a:lnTo>
                    <a:pt x="1702309" y="194716"/>
                  </a:lnTo>
                  <a:lnTo>
                    <a:pt x="1702347" y="194716"/>
                  </a:lnTo>
                  <a:lnTo>
                    <a:pt x="1702347" y="196113"/>
                  </a:lnTo>
                  <a:lnTo>
                    <a:pt x="1702347" y="193383"/>
                  </a:lnTo>
                  <a:lnTo>
                    <a:pt x="1702347" y="196113"/>
                  </a:lnTo>
                  <a:lnTo>
                    <a:pt x="1702448" y="196113"/>
                  </a:lnTo>
                  <a:lnTo>
                    <a:pt x="1702448" y="196799"/>
                  </a:lnTo>
                  <a:lnTo>
                    <a:pt x="1702448" y="195415"/>
                  </a:lnTo>
                  <a:lnTo>
                    <a:pt x="1702448" y="196113"/>
                  </a:lnTo>
                  <a:lnTo>
                    <a:pt x="1702499" y="196799"/>
                  </a:lnTo>
                  <a:lnTo>
                    <a:pt x="1702499" y="196113"/>
                  </a:lnTo>
                  <a:lnTo>
                    <a:pt x="1702499" y="196799"/>
                  </a:lnTo>
                  <a:lnTo>
                    <a:pt x="1702499" y="196113"/>
                  </a:lnTo>
                  <a:lnTo>
                    <a:pt x="1702499" y="196799"/>
                  </a:lnTo>
                  <a:lnTo>
                    <a:pt x="1702550" y="196799"/>
                  </a:lnTo>
                  <a:lnTo>
                    <a:pt x="1702550" y="198831"/>
                  </a:lnTo>
                  <a:lnTo>
                    <a:pt x="1702651" y="198831"/>
                  </a:lnTo>
                  <a:lnTo>
                    <a:pt x="1702651" y="197447"/>
                  </a:lnTo>
                  <a:lnTo>
                    <a:pt x="1702651" y="198831"/>
                  </a:lnTo>
                  <a:lnTo>
                    <a:pt x="1702702" y="198831"/>
                  </a:lnTo>
                  <a:lnTo>
                    <a:pt x="1702702" y="197447"/>
                  </a:lnTo>
                  <a:lnTo>
                    <a:pt x="1702702" y="198831"/>
                  </a:lnTo>
                  <a:lnTo>
                    <a:pt x="1702702" y="197447"/>
                  </a:lnTo>
                  <a:lnTo>
                    <a:pt x="1702702" y="198831"/>
                  </a:lnTo>
                  <a:lnTo>
                    <a:pt x="1702702" y="197447"/>
                  </a:lnTo>
                  <a:lnTo>
                    <a:pt x="1702753" y="197447"/>
                  </a:lnTo>
                  <a:lnTo>
                    <a:pt x="1702753" y="196799"/>
                  </a:lnTo>
                  <a:lnTo>
                    <a:pt x="1702753" y="197447"/>
                  </a:lnTo>
                  <a:lnTo>
                    <a:pt x="1702753" y="196799"/>
                  </a:lnTo>
                  <a:lnTo>
                    <a:pt x="1702753" y="197447"/>
                  </a:lnTo>
                  <a:lnTo>
                    <a:pt x="1702753" y="196799"/>
                  </a:lnTo>
                  <a:lnTo>
                    <a:pt x="1702804" y="196799"/>
                  </a:lnTo>
                  <a:lnTo>
                    <a:pt x="1702804" y="194716"/>
                  </a:lnTo>
                  <a:lnTo>
                    <a:pt x="1702804" y="196113"/>
                  </a:lnTo>
                  <a:lnTo>
                    <a:pt x="1702893" y="196113"/>
                  </a:lnTo>
                  <a:lnTo>
                    <a:pt x="1702893" y="192684"/>
                  </a:lnTo>
                  <a:lnTo>
                    <a:pt x="1702893" y="196113"/>
                  </a:lnTo>
                  <a:lnTo>
                    <a:pt x="1702944" y="196799"/>
                  </a:lnTo>
                  <a:lnTo>
                    <a:pt x="1702944" y="193383"/>
                  </a:lnTo>
                  <a:lnTo>
                    <a:pt x="1702944" y="196113"/>
                  </a:lnTo>
                  <a:lnTo>
                    <a:pt x="1702994" y="196113"/>
                  </a:lnTo>
                  <a:lnTo>
                    <a:pt x="1702994" y="195415"/>
                  </a:lnTo>
                  <a:lnTo>
                    <a:pt x="1702994" y="196113"/>
                  </a:lnTo>
                  <a:lnTo>
                    <a:pt x="1702994" y="195415"/>
                  </a:lnTo>
                  <a:lnTo>
                    <a:pt x="1702994" y="196113"/>
                  </a:lnTo>
                  <a:lnTo>
                    <a:pt x="1703045" y="196113"/>
                  </a:lnTo>
                  <a:lnTo>
                    <a:pt x="1703045" y="195415"/>
                  </a:lnTo>
                  <a:lnTo>
                    <a:pt x="1703045" y="196799"/>
                  </a:lnTo>
                  <a:lnTo>
                    <a:pt x="1703045" y="196113"/>
                  </a:lnTo>
                  <a:lnTo>
                    <a:pt x="1703045" y="196799"/>
                  </a:lnTo>
                  <a:lnTo>
                    <a:pt x="1703147" y="196799"/>
                  </a:lnTo>
                  <a:lnTo>
                    <a:pt x="1703147" y="197447"/>
                  </a:lnTo>
                  <a:lnTo>
                    <a:pt x="1703147" y="196113"/>
                  </a:lnTo>
                  <a:lnTo>
                    <a:pt x="1703147" y="196799"/>
                  </a:lnTo>
                  <a:lnTo>
                    <a:pt x="1703147" y="196113"/>
                  </a:lnTo>
                  <a:lnTo>
                    <a:pt x="1703147" y="196799"/>
                  </a:lnTo>
                  <a:lnTo>
                    <a:pt x="1703248" y="196799"/>
                  </a:lnTo>
                  <a:lnTo>
                    <a:pt x="1703248" y="196113"/>
                  </a:lnTo>
                  <a:lnTo>
                    <a:pt x="1703248" y="196799"/>
                  </a:lnTo>
                  <a:lnTo>
                    <a:pt x="1703248" y="195415"/>
                  </a:lnTo>
                  <a:lnTo>
                    <a:pt x="1703350" y="195415"/>
                  </a:lnTo>
                  <a:lnTo>
                    <a:pt x="1703350" y="194716"/>
                  </a:lnTo>
                  <a:lnTo>
                    <a:pt x="1703350" y="196799"/>
                  </a:lnTo>
                  <a:lnTo>
                    <a:pt x="1703350" y="195415"/>
                  </a:lnTo>
                  <a:lnTo>
                    <a:pt x="1703388" y="195415"/>
                  </a:lnTo>
                  <a:lnTo>
                    <a:pt x="1703388" y="194716"/>
                  </a:lnTo>
                  <a:lnTo>
                    <a:pt x="1703388" y="197447"/>
                  </a:lnTo>
                  <a:lnTo>
                    <a:pt x="1703388" y="196113"/>
                  </a:lnTo>
                  <a:lnTo>
                    <a:pt x="1703439" y="196113"/>
                  </a:lnTo>
                  <a:lnTo>
                    <a:pt x="1703439" y="195415"/>
                  </a:lnTo>
                  <a:lnTo>
                    <a:pt x="1703439" y="197447"/>
                  </a:lnTo>
                  <a:lnTo>
                    <a:pt x="1703439" y="196799"/>
                  </a:lnTo>
                  <a:lnTo>
                    <a:pt x="1703490" y="196799"/>
                  </a:lnTo>
                  <a:lnTo>
                    <a:pt x="1703490" y="196113"/>
                  </a:lnTo>
                  <a:lnTo>
                    <a:pt x="1703490" y="196799"/>
                  </a:lnTo>
                  <a:lnTo>
                    <a:pt x="1703591" y="196799"/>
                  </a:lnTo>
                  <a:lnTo>
                    <a:pt x="1703591" y="197447"/>
                  </a:lnTo>
                  <a:lnTo>
                    <a:pt x="1703591" y="196799"/>
                  </a:lnTo>
                  <a:lnTo>
                    <a:pt x="1703591" y="197447"/>
                  </a:lnTo>
                  <a:lnTo>
                    <a:pt x="1703591" y="196799"/>
                  </a:lnTo>
                  <a:lnTo>
                    <a:pt x="1703642" y="196799"/>
                  </a:lnTo>
                  <a:lnTo>
                    <a:pt x="1703642" y="197447"/>
                  </a:lnTo>
                  <a:lnTo>
                    <a:pt x="1703642" y="196799"/>
                  </a:lnTo>
                  <a:lnTo>
                    <a:pt x="1703693" y="196799"/>
                  </a:lnTo>
                  <a:lnTo>
                    <a:pt x="1703693" y="197447"/>
                  </a:lnTo>
                  <a:lnTo>
                    <a:pt x="1703693" y="196799"/>
                  </a:lnTo>
                  <a:lnTo>
                    <a:pt x="1703693" y="197447"/>
                  </a:lnTo>
                  <a:lnTo>
                    <a:pt x="1703693" y="196799"/>
                  </a:lnTo>
                  <a:lnTo>
                    <a:pt x="1703794" y="196799"/>
                  </a:lnTo>
                  <a:lnTo>
                    <a:pt x="1703794" y="197447"/>
                  </a:lnTo>
                  <a:lnTo>
                    <a:pt x="1703794" y="196799"/>
                  </a:lnTo>
                  <a:lnTo>
                    <a:pt x="1703794" y="197447"/>
                  </a:lnTo>
                  <a:lnTo>
                    <a:pt x="1703794" y="196113"/>
                  </a:lnTo>
                  <a:lnTo>
                    <a:pt x="1703794" y="196799"/>
                  </a:lnTo>
                  <a:lnTo>
                    <a:pt x="1703794" y="195415"/>
                  </a:lnTo>
                  <a:lnTo>
                    <a:pt x="1703845" y="196113"/>
                  </a:lnTo>
                  <a:lnTo>
                    <a:pt x="1703845" y="195415"/>
                  </a:lnTo>
                  <a:lnTo>
                    <a:pt x="1703845" y="196799"/>
                  </a:lnTo>
                  <a:lnTo>
                    <a:pt x="1703845" y="196113"/>
                  </a:lnTo>
                  <a:lnTo>
                    <a:pt x="1703896" y="196113"/>
                  </a:lnTo>
                  <a:lnTo>
                    <a:pt x="1703896" y="195415"/>
                  </a:lnTo>
                  <a:lnTo>
                    <a:pt x="1703896" y="197447"/>
                  </a:lnTo>
                  <a:lnTo>
                    <a:pt x="1703896" y="196799"/>
                  </a:lnTo>
                  <a:lnTo>
                    <a:pt x="1703896" y="197447"/>
                  </a:lnTo>
                  <a:lnTo>
                    <a:pt x="1703896" y="196799"/>
                  </a:lnTo>
                  <a:lnTo>
                    <a:pt x="1703934" y="196799"/>
                  </a:lnTo>
                  <a:lnTo>
                    <a:pt x="1703934" y="196113"/>
                  </a:lnTo>
                  <a:lnTo>
                    <a:pt x="1703934" y="197447"/>
                  </a:lnTo>
                  <a:lnTo>
                    <a:pt x="1703934" y="196799"/>
                  </a:lnTo>
                  <a:lnTo>
                    <a:pt x="1704036" y="196799"/>
                  </a:lnTo>
                  <a:lnTo>
                    <a:pt x="1704036" y="197447"/>
                  </a:lnTo>
                  <a:lnTo>
                    <a:pt x="1704087" y="197447"/>
                  </a:lnTo>
                  <a:lnTo>
                    <a:pt x="1704087" y="198831"/>
                  </a:lnTo>
                  <a:lnTo>
                    <a:pt x="1704087" y="196799"/>
                  </a:lnTo>
                  <a:lnTo>
                    <a:pt x="1704087" y="197447"/>
                  </a:lnTo>
                  <a:lnTo>
                    <a:pt x="1704137" y="197447"/>
                  </a:lnTo>
                  <a:lnTo>
                    <a:pt x="1704137" y="196799"/>
                  </a:lnTo>
                  <a:lnTo>
                    <a:pt x="1704137" y="197447"/>
                  </a:lnTo>
                  <a:lnTo>
                    <a:pt x="1704137" y="196799"/>
                  </a:lnTo>
                  <a:lnTo>
                    <a:pt x="1704137" y="197447"/>
                  </a:lnTo>
                  <a:lnTo>
                    <a:pt x="1704239" y="197447"/>
                  </a:lnTo>
                  <a:lnTo>
                    <a:pt x="1704239" y="196799"/>
                  </a:lnTo>
                  <a:lnTo>
                    <a:pt x="1704239" y="197447"/>
                  </a:lnTo>
                  <a:lnTo>
                    <a:pt x="1704239" y="196799"/>
                  </a:lnTo>
                  <a:lnTo>
                    <a:pt x="1704290" y="196113"/>
                  </a:lnTo>
                  <a:lnTo>
                    <a:pt x="1704290" y="196799"/>
                  </a:lnTo>
                  <a:lnTo>
                    <a:pt x="1704290" y="194716"/>
                  </a:lnTo>
                  <a:lnTo>
                    <a:pt x="1704340" y="194716"/>
                  </a:lnTo>
                  <a:lnTo>
                    <a:pt x="1704340" y="195415"/>
                  </a:lnTo>
                  <a:lnTo>
                    <a:pt x="1704340" y="194716"/>
                  </a:lnTo>
                  <a:lnTo>
                    <a:pt x="1704391" y="194716"/>
                  </a:lnTo>
                  <a:lnTo>
                    <a:pt x="1704391" y="196799"/>
                  </a:lnTo>
                  <a:lnTo>
                    <a:pt x="1704391" y="196113"/>
                  </a:lnTo>
                  <a:lnTo>
                    <a:pt x="1704391" y="196799"/>
                  </a:lnTo>
                  <a:lnTo>
                    <a:pt x="1704391" y="196113"/>
                  </a:lnTo>
                  <a:lnTo>
                    <a:pt x="1704480" y="196113"/>
                  </a:lnTo>
                  <a:lnTo>
                    <a:pt x="1704480" y="197447"/>
                  </a:lnTo>
                  <a:lnTo>
                    <a:pt x="1704480" y="196799"/>
                  </a:lnTo>
                  <a:lnTo>
                    <a:pt x="1704480" y="197447"/>
                  </a:lnTo>
                  <a:lnTo>
                    <a:pt x="1704480" y="196113"/>
                  </a:lnTo>
                  <a:lnTo>
                    <a:pt x="1704531" y="196799"/>
                  </a:lnTo>
                  <a:lnTo>
                    <a:pt x="1704531" y="197447"/>
                  </a:lnTo>
                  <a:lnTo>
                    <a:pt x="1704531" y="196799"/>
                  </a:lnTo>
                  <a:lnTo>
                    <a:pt x="1704531" y="197447"/>
                  </a:lnTo>
                  <a:lnTo>
                    <a:pt x="1704531" y="196799"/>
                  </a:lnTo>
                  <a:lnTo>
                    <a:pt x="1704531" y="197447"/>
                  </a:lnTo>
                  <a:lnTo>
                    <a:pt x="1704531" y="196799"/>
                  </a:lnTo>
                  <a:lnTo>
                    <a:pt x="1704531" y="197447"/>
                  </a:lnTo>
                  <a:lnTo>
                    <a:pt x="1704531" y="196799"/>
                  </a:lnTo>
                  <a:lnTo>
                    <a:pt x="1704582" y="197447"/>
                  </a:lnTo>
                  <a:lnTo>
                    <a:pt x="1704582" y="198831"/>
                  </a:lnTo>
                  <a:lnTo>
                    <a:pt x="1704582" y="197447"/>
                  </a:lnTo>
                  <a:lnTo>
                    <a:pt x="1704582" y="198831"/>
                  </a:lnTo>
                  <a:lnTo>
                    <a:pt x="1704582" y="197447"/>
                  </a:lnTo>
                  <a:lnTo>
                    <a:pt x="1704633" y="197447"/>
                  </a:lnTo>
                  <a:lnTo>
                    <a:pt x="1704633" y="196799"/>
                  </a:lnTo>
                  <a:lnTo>
                    <a:pt x="1704633" y="197447"/>
                  </a:lnTo>
                  <a:lnTo>
                    <a:pt x="1704633" y="196799"/>
                  </a:lnTo>
                  <a:lnTo>
                    <a:pt x="1704633" y="198831"/>
                  </a:lnTo>
                  <a:lnTo>
                    <a:pt x="1704734" y="197447"/>
                  </a:lnTo>
                  <a:lnTo>
                    <a:pt x="1704734" y="196799"/>
                  </a:lnTo>
                  <a:lnTo>
                    <a:pt x="1704785" y="196799"/>
                  </a:lnTo>
                  <a:lnTo>
                    <a:pt x="1704785" y="195415"/>
                  </a:lnTo>
                  <a:lnTo>
                    <a:pt x="1704785" y="196113"/>
                  </a:lnTo>
                  <a:lnTo>
                    <a:pt x="1704785" y="195415"/>
                  </a:lnTo>
                  <a:lnTo>
                    <a:pt x="1704785" y="196113"/>
                  </a:lnTo>
                  <a:lnTo>
                    <a:pt x="1704785" y="194716"/>
                  </a:lnTo>
                  <a:lnTo>
                    <a:pt x="1704836" y="194716"/>
                  </a:lnTo>
                  <a:lnTo>
                    <a:pt x="1704836" y="196799"/>
                  </a:lnTo>
                  <a:lnTo>
                    <a:pt x="1704836" y="194716"/>
                  </a:lnTo>
                  <a:lnTo>
                    <a:pt x="1704836" y="195415"/>
                  </a:lnTo>
                  <a:lnTo>
                    <a:pt x="1704937" y="196113"/>
                  </a:lnTo>
                  <a:lnTo>
                    <a:pt x="1704937" y="196799"/>
                  </a:lnTo>
                  <a:lnTo>
                    <a:pt x="1704937" y="195415"/>
                  </a:lnTo>
                  <a:lnTo>
                    <a:pt x="1704937" y="196799"/>
                  </a:lnTo>
                  <a:lnTo>
                    <a:pt x="1704975" y="196799"/>
                  </a:lnTo>
                  <a:lnTo>
                    <a:pt x="1704975" y="197447"/>
                  </a:lnTo>
                  <a:lnTo>
                    <a:pt x="1704975" y="196799"/>
                  </a:lnTo>
                  <a:lnTo>
                    <a:pt x="1704975" y="197447"/>
                  </a:lnTo>
                  <a:lnTo>
                    <a:pt x="1705026" y="197447"/>
                  </a:lnTo>
                  <a:lnTo>
                    <a:pt x="1705026" y="196799"/>
                  </a:lnTo>
                  <a:lnTo>
                    <a:pt x="1705026" y="197447"/>
                  </a:lnTo>
                  <a:lnTo>
                    <a:pt x="1705026" y="196799"/>
                  </a:lnTo>
                  <a:lnTo>
                    <a:pt x="1705026" y="197447"/>
                  </a:lnTo>
                  <a:lnTo>
                    <a:pt x="1705026" y="196799"/>
                  </a:lnTo>
                  <a:lnTo>
                    <a:pt x="1705077" y="196799"/>
                  </a:lnTo>
                  <a:lnTo>
                    <a:pt x="1705077" y="197447"/>
                  </a:lnTo>
                  <a:lnTo>
                    <a:pt x="1705077" y="196799"/>
                  </a:lnTo>
                  <a:lnTo>
                    <a:pt x="1705077" y="197447"/>
                  </a:lnTo>
                  <a:lnTo>
                    <a:pt x="1705179" y="197447"/>
                  </a:lnTo>
                  <a:lnTo>
                    <a:pt x="1705179" y="198831"/>
                  </a:lnTo>
                  <a:lnTo>
                    <a:pt x="1705179" y="197447"/>
                  </a:lnTo>
                  <a:lnTo>
                    <a:pt x="1705179" y="198831"/>
                  </a:lnTo>
                  <a:lnTo>
                    <a:pt x="1705179" y="197447"/>
                  </a:lnTo>
                  <a:lnTo>
                    <a:pt x="1705179" y="198831"/>
                  </a:lnTo>
                  <a:lnTo>
                    <a:pt x="1705179" y="197447"/>
                  </a:lnTo>
                  <a:lnTo>
                    <a:pt x="1705179" y="198831"/>
                  </a:lnTo>
                  <a:lnTo>
                    <a:pt x="1705230" y="198831"/>
                  </a:lnTo>
                  <a:lnTo>
                    <a:pt x="1705230" y="196113"/>
                  </a:lnTo>
                  <a:lnTo>
                    <a:pt x="1705280" y="196113"/>
                  </a:lnTo>
                  <a:lnTo>
                    <a:pt x="1705280" y="193383"/>
                  </a:lnTo>
                  <a:lnTo>
                    <a:pt x="1705382" y="193383"/>
                  </a:lnTo>
                  <a:lnTo>
                    <a:pt x="1705382" y="196113"/>
                  </a:lnTo>
                  <a:lnTo>
                    <a:pt x="1705382" y="193383"/>
                  </a:lnTo>
                  <a:lnTo>
                    <a:pt x="1705382" y="195415"/>
                  </a:lnTo>
                  <a:lnTo>
                    <a:pt x="1705433" y="196113"/>
                  </a:lnTo>
                  <a:lnTo>
                    <a:pt x="1705433" y="196799"/>
                  </a:lnTo>
                  <a:lnTo>
                    <a:pt x="1705433" y="195415"/>
                  </a:lnTo>
                  <a:lnTo>
                    <a:pt x="1705433" y="196799"/>
                  </a:lnTo>
                  <a:lnTo>
                    <a:pt x="1705484" y="196799"/>
                  </a:lnTo>
                  <a:lnTo>
                    <a:pt x="1705484" y="196113"/>
                  </a:lnTo>
                  <a:lnTo>
                    <a:pt x="1705484" y="196799"/>
                  </a:lnTo>
                  <a:lnTo>
                    <a:pt x="1705484" y="196113"/>
                  </a:lnTo>
                  <a:lnTo>
                    <a:pt x="1705484" y="196799"/>
                  </a:lnTo>
                  <a:lnTo>
                    <a:pt x="1705522" y="196799"/>
                  </a:lnTo>
                  <a:lnTo>
                    <a:pt x="1705522" y="196113"/>
                  </a:lnTo>
                  <a:lnTo>
                    <a:pt x="1705522" y="197447"/>
                  </a:lnTo>
                  <a:lnTo>
                    <a:pt x="1705522" y="196799"/>
                  </a:lnTo>
                  <a:lnTo>
                    <a:pt x="1705623" y="197447"/>
                  </a:lnTo>
                  <a:lnTo>
                    <a:pt x="1705623" y="196799"/>
                  </a:lnTo>
                  <a:lnTo>
                    <a:pt x="1705623" y="197447"/>
                  </a:lnTo>
                  <a:lnTo>
                    <a:pt x="1705674" y="197447"/>
                  </a:lnTo>
                  <a:lnTo>
                    <a:pt x="1705674" y="198831"/>
                  </a:lnTo>
                  <a:lnTo>
                    <a:pt x="1705674" y="197447"/>
                  </a:lnTo>
                  <a:lnTo>
                    <a:pt x="1705674" y="198831"/>
                  </a:lnTo>
                  <a:lnTo>
                    <a:pt x="1705674" y="197447"/>
                  </a:lnTo>
                  <a:lnTo>
                    <a:pt x="1705725" y="197447"/>
                  </a:lnTo>
                  <a:lnTo>
                    <a:pt x="1705725" y="196113"/>
                  </a:lnTo>
                  <a:lnTo>
                    <a:pt x="1705725" y="196799"/>
                  </a:lnTo>
                  <a:lnTo>
                    <a:pt x="1705725" y="196113"/>
                  </a:lnTo>
                  <a:lnTo>
                    <a:pt x="1705725" y="196799"/>
                  </a:lnTo>
                  <a:lnTo>
                    <a:pt x="1705725" y="196113"/>
                  </a:lnTo>
                  <a:lnTo>
                    <a:pt x="1705826" y="196113"/>
                  </a:lnTo>
                  <a:lnTo>
                    <a:pt x="1705826" y="195415"/>
                  </a:lnTo>
                  <a:lnTo>
                    <a:pt x="1705826" y="196113"/>
                  </a:lnTo>
                  <a:lnTo>
                    <a:pt x="1705826" y="194716"/>
                  </a:lnTo>
                  <a:lnTo>
                    <a:pt x="1705826" y="195415"/>
                  </a:lnTo>
                  <a:lnTo>
                    <a:pt x="1705877" y="195415"/>
                  </a:lnTo>
                  <a:lnTo>
                    <a:pt x="1705877" y="196113"/>
                  </a:lnTo>
                  <a:lnTo>
                    <a:pt x="1705877" y="193383"/>
                  </a:lnTo>
                  <a:lnTo>
                    <a:pt x="1705877" y="196799"/>
                  </a:lnTo>
                  <a:lnTo>
                    <a:pt x="1705928" y="196799"/>
                  </a:lnTo>
                  <a:lnTo>
                    <a:pt x="1705928" y="195415"/>
                  </a:lnTo>
                  <a:lnTo>
                    <a:pt x="1705928" y="196799"/>
                  </a:lnTo>
                  <a:lnTo>
                    <a:pt x="1705979" y="196113"/>
                  </a:lnTo>
                  <a:lnTo>
                    <a:pt x="1705979" y="196799"/>
                  </a:lnTo>
                  <a:lnTo>
                    <a:pt x="1705979" y="195415"/>
                  </a:lnTo>
                  <a:lnTo>
                    <a:pt x="1705979" y="196113"/>
                  </a:lnTo>
                  <a:lnTo>
                    <a:pt x="1706068" y="196113"/>
                  </a:lnTo>
                  <a:lnTo>
                    <a:pt x="1706068" y="195415"/>
                  </a:lnTo>
                  <a:lnTo>
                    <a:pt x="1706068" y="196799"/>
                  </a:lnTo>
                  <a:lnTo>
                    <a:pt x="1706068" y="196113"/>
                  </a:lnTo>
                  <a:lnTo>
                    <a:pt x="1706068" y="196799"/>
                  </a:lnTo>
                  <a:lnTo>
                    <a:pt x="1706068" y="196113"/>
                  </a:lnTo>
                  <a:lnTo>
                    <a:pt x="1706119" y="196799"/>
                  </a:lnTo>
                  <a:lnTo>
                    <a:pt x="1706119" y="196113"/>
                  </a:lnTo>
                  <a:lnTo>
                    <a:pt x="1706119" y="197447"/>
                  </a:lnTo>
                  <a:lnTo>
                    <a:pt x="1706119" y="196799"/>
                  </a:lnTo>
                  <a:lnTo>
                    <a:pt x="1706119" y="197447"/>
                  </a:lnTo>
                  <a:lnTo>
                    <a:pt x="1706169" y="196799"/>
                  </a:lnTo>
                  <a:lnTo>
                    <a:pt x="1706169" y="196113"/>
                  </a:lnTo>
                  <a:lnTo>
                    <a:pt x="1706169" y="196799"/>
                  </a:lnTo>
                  <a:lnTo>
                    <a:pt x="1706220" y="196799"/>
                  </a:lnTo>
                  <a:lnTo>
                    <a:pt x="1706220" y="195415"/>
                  </a:lnTo>
                  <a:lnTo>
                    <a:pt x="1706220" y="196113"/>
                  </a:lnTo>
                  <a:lnTo>
                    <a:pt x="1706322" y="196113"/>
                  </a:lnTo>
                  <a:lnTo>
                    <a:pt x="1706322" y="193383"/>
                  </a:lnTo>
                  <a:lnTo>
                    <a:pt x="1706322" y="194716"/>
                  </a:lnTo>
                  <a:lnTo>
                    <a:pt x="1706322" y="193383"/>
                  </a:lnTo>
                  <a:lnTo>
                    <a:pt x="1706322" y="196113"/>
                  </a:lnTo>
                  <a:lnTo>
                    <a:pt x="1706372" y="195415"/>
                  </a:lnTo>
                  <a:lnTo>
                    <a:pt x="1706372" y="194716"/>
                  </a:lnTo>
                  <a:lnTo>
                    <a:pt x="1706372" y="197447"/>
                  </a:lnTo>
                  <a:lnTo>
                    <a:pt x="1706372" y="196799"/>
                  </a:lnTo>
                  <a:lnTo>
                    <a:pt x="1706423" y="196799"/>
                  </a:lnTo>
                  <a:lnTo>
                    <a:pt x="1706423" y="196113"/>
                  </a:lnTo>
                  <a:lnTo>
                    <a:pt x="1706423" y="197447"/>
                  </a:lnTo>
                  <a:lnTo>
                    <a:pt x="1706423" y="196799"/>
                  </a:lnTo>
                  <a:lnTo>
                    <a:pt x="1706423" y="197447"/>
                  </a:lnTo>
                  <a:lnTo>
                    <a:pt x="1706525" y="196799"/>
                  </a:lnTo>
                  <a:lnTo>
                    <a:pt x="1706525" y="196113"/>
                  </a:lnTo>
                  <a:lnTo>
                    <a:pt x="1706525" y="196799"/>
                  </a:lnTo>
                  <a:lnTo>
                    <a:pt x="1706525" y="196113"/>
                  </a:lnTo>
                  <a:lnTo>
                    <a:pt x="1706525" y="197447"/>
                  </a:lnTo>
                  <a:lnTo>
                    <a:pt x="1706525" y="196799"/>
                  </a:lnTo>
                  <a:lnTo>
                    <a:pt x="1706563" y="196799"/>
                  </a:lnTo>
                  <a:lnTo>
                    <a:pt x="1706563" y="196113"/>
                  </a:lnTo>
                  <a:lnTo>
                    <a:pt x="1706563" y="197447"/>
                  </a:lnTo>
                  <a:lnTo>
                    <a:pt x="1706563" y="196799"/>
                  </a:lnTo>
                  <a:lnTo>
                    <a:pt x="1706614" y="197447"/>
                  </a:lnTo>
                  <a:lnTo>
                    <a:pt x="1706614" y="196799"/>
                  </a:lnTo>
                  <a:lnTo>
                    <a:pt x="1706614" y="197447"/>
                  </a:lnTo>
                  <a:lnTo>
                    <a:pt x="1706665" y="197447"/>
                  </a:lnTo>
                  <a:lnTo>
                    <a:pt x="1706665" y="196799"/>
                  </a:lnTo>
                  <a:lnTo>
                    <a:pt x="1706665" y="197447"/>
                  </a:lnTo>
                  <a:lnTo>
                    <a:pt x="1706665" y="196799"/>
                  </a:lnTo>
                  <a:lnTo>
                    <a:pt x="1706766" y="196799"/>
                  </a:lnTo>
                  <a:lnTo>
                    <a:pt x="1706766" y="197447"/>
                  </a:lnTo>
                  <a:lnTo>
                    <a:pt x="1706766" y="196113"/>
                  </a:lnTo>
                  <a:lnTo>
                    <a:pt x="1706817" y="195415"/>
                  </a:lnTo>
                  <a:lnTo>
                    <a:pt x="1706817" y="194716"/>
                  </a:lnTo>
                  <a:lnTo>
                    <a:pt x="1706817" y="196799"/>
                  </a:lnTo>
                  <a:lnTo>
                    <a:pt x="1706817" y="196113"/>
                  </a:lnTo>
                  <a:lnTo>
                    <a:pt x="1706868" y="195415"/>
                  </a:lnTo>
                  <a:lnTo>
                    <a:pt x="1706868" y="198831"/>
                  </a:lnTo>
                  <a:lnTo>
                    <a:pt x="1706868" y="196799"/>
                  </a:lnTo>
                  <a:lnTo>
                    <a:pt x="1706969" y="196799"/>
                  </a:lnTo>
                  <a:lnTo>
                    <a:pt x="1706969" y="198831"/>
                  </a:lnTo>
                  <a:lnTo>
                    <a:pt x="1706969" y="196799"/>
                  </a:lnTo>
                  <a:lnTo>
                    <a:pt x="1707020" y="197447"/>
                  </a:lnTo>
                  <a:lnTo>
                    <a:pt x="1707020" y="196799"/>
                  </a:lnTo>
                  <a:lnTo>
                    <a:pt x="1707020" y="197447"/>
                  </a:lnTo>
                  <a:lnTo>
                    <a:pt x="1707020" y="196799"/>
                  </a:lnTo>
                  <a:lnTo>
                    <a:pt x="1707020" y="197447"/>
                  </a:lnTo>
                  <a:lnTo>
                    <a:pt x="1707020" y="196799"/>
                  </a:lnTo>
                  <a:lnTo>
                    <a:pt x="1707020" y="197447"/>
                  </a:lnTo>
                  <a:lnTo>
                    <a:pt x="1707071" y="197447"/>
                  </a:lnTo>
                  <a:lnTo>
                    <a:pt x="1707071" y="198831"/>
                  </a:lnTo>
                  <a:lnTo>
                    <a:pt x="1707071" y="197447"/>
                  </a:lnTo>
                  <a:lnTo>
                    <a:pt x="1707071" y="198831"/>
                  </a:lnTo>
                  <a:lnTo>
                    <a:pt x="1707071" y="197447"/>
                  </a:lnTo>
                  <a:lnTo>
                    <a:pt x="1707071" y="198831"/>
                  </a:lnTo>
                  <a:lnTo>
                    <a:pt x="1707071" y="197447"/>
                  </a:lnTo>
                  <a:lnTo>
                    <a:pt x="1707071" y="198831"/>
                  </a:lnTo>
                  <a:lnTo>
                    <a:pt x="1707109" y="198831"/>
                  </a:lnTo>
                  <a:lnTo>
                    <a:pt x="1707109" y="197447"/>
                  </a:lnTo>
                  <a:lnTo>
                    <a:pt x="1707109" y="198831"/>
                  </a:lnTo>
                  <a:lnTo>
                    <a:pt x="1707211" y="198831"/>
                  </a:lnTo>
                  <a:lnTo>
                    <a:pt x="1707211" y="196799"/>
                  </a:lnTo>
                  <a:lnTo>
                    <a:pt x="1707211" y="197447"/>
                  </a:lnTo>
                  <a:lnTo>
                    <a:pt x="1707211" y="196799"/>
                  </a:lnTo>
                  <a:lnTo>
                    <a:pt x="1707262" y="196113"/>
                  </a:lnTo>
                  <a:lnTo>
                    <a:pt x="1707262" y="195415"/>
                  </a:lnTo>
                  <a:lnTo>
                    <a:pt x="1707262" y="196113"/>
                  </a:lnTo>
                  <a:lnTo>
                    <a:pt x="1707262" y="194716"/>
                  </a:lnTo>
                  <a:lnTo>
                    <a:pt x="1707312" y="194716"/>
                  </a:lnTo>
                  <a:lnTo>
                    <a:pt x="1707312" y="193383"/>
                  </a:lnTo>
                  <a:lnTo>
                    <a:pt x="1707312" y="196799"/>
                  </a:lnTo>
                  <a:lnTo>
                    <a:pt x="1707312" y="194716"/>
                  </a:lnTo>
                  <a:lnTo>
                    <a:pt x="1707414" y="195415"/>
                  </a:lnTo>
                  <a:lnTo>
                    <a:pt x="1707414" y="194716"/>
                  </a:lnTo>
                  <a:lnTo>
                    <a:pt x="1707414" y="197447"/>
                  </a:lnTo>
                  <a:lnTo>
                    <a:pt x="1707414" y="196113"/>
                  </a:lnTo>
                  <a:lnTo>
                    <a:pt x="1707465" y="196113"/>
                  </a:lnTo>
                  <a:lnTo>
                    <a:pt x="1707465" y="197447"/>
                  </a:lnTo>
                  <a:lnTo>
                    <a:pt x="1707465" y="196799"/>
                  </a:lnTo>
                  <a:lnTo>
                    <a:pt x="1707465" y="197447"/>
                  </a:lnTo>
                  <a:lnTo>
                    <a:pt x="1707465" y="196799"/>
                  </a:lnTo>
                  <a:lnTo>
                    <a:pt x="1707515" y="196799"/>
                  </a:lnTo>
                  <a:lnTo>
                    <a:pt x="1707515" y="197447"/>
                  </a:lnTo>
                  <a:lnTo>
                    <a:pt x="1707515" y="196799"/>
                  </a:lnTo>
                  <a:lnTo>
                    <a:pt x="1707515" y="197447"/>
                  </a:lnTo>
                  <a:lnTo>
                    <a:pt x="1707515" y="196799"/>
                  </a:lnTo>
                  <a:lnTo>
                    <a:pt x="1707515" y="197447"/>
                  </a:lnTo>
                  <a:lnTo>
                    <a:pt x="1707566" y="197447"/>
                  </a:lnTo>
                  <a:lnTo>
                    <a:pt x="1707566" y="198831"/>
                  </a:lnTo>
                  <a:lnTo>
                    <a:pt x="1707566" y="197447"/>
                  </a:lnTo>
                  <a:lnTo>
                    <a:pt x="1707566" y="198831"/>
                  </a:lnTo>
                  <a:lnTo>
                    <a:pt x="1707566" y="197447"/>
                  </a:lnTo>
                  <a:lnTo>
                    <a:pt x="1707566" y="198831"/>
                  </a:lnTo>
                  <a:lnTo>
                    <a:pt x="1707655" y="198831"/>
                  </a:lnTo>
                  <a:lnTo>
                    <a:pt x="1707655" y="199530"/>
                  </a:lnTo>
                  <a:lnTo>
                    <a:pt x="1707655" y="197447"/>
                  </a:lnTo>
                  <a:lnTo>
                    <a:pt x="1707706" y="197447"/>
                  </a:lnTo>
                  <a:lnTo>
                    <a:pt x="1707706" y="196799"/>
                  </a:lnTo>
                  <a:lnTo>
                    <a:pt x="1707757" y="196799"/>
                  </a:lnTo>
                  <a:lnTo>
                    <a:pt x="1707757" y="194716"/>
                  </a:lnTo>
                  <a:lnTo>
                    <a:pt x="1707757" y="195415"/>
                  </a:lnTo>
                  <a:lnTo>
                    <a:pt x="1707757" y="194716"/>
                  </a:lnTo>
                  <a:lnTo>
                    <a:pt x="1707808" y="194716"/>
                  </a:lnTo>
                  <a:lnTo>
                    <a:pt x="1707808" y="196799"/>
                  </a:lnTo>
                  <a:lnTo>
                    <a:pt x="1707808" y="194716"/>
                  </a:lnTo>
                  <a:lnTo>
                    <a:pt x="1707808" y="195415"/>
                  </a:lnTo>
                  <a:lnTo>
                    <a:pt x="1707909" y="196113"/>
                  </a:lnTo>
                  <a:lnTo>
                    <a:pt x="1707909" y="197447"/>
                  </a:lnTo>
                  <a:lnTo>
                    <a:pt x="1707909" y="196113"/>
                  </a:lnTo>
                  <a:lnTo>
                    <a:pt x="1707909" y="196799"/>
                  </a:lnTo>
                  <a:lnTo>
                    <a:pt x="1707909" y="196113"/>
                  </a:lnTo>
                  <a:lnTo>
                    <a:pt x="1707909" y="196799"/>
                  </a:lnTo>
                  <a:lnTo>
                    <a:pt x="1707960" y="196799"/>
                  </a:lnTo>
                  <a:lnTo>
                    <a:pt x="1707960" y="197447"/>
                  </a:lnTo>
                  <a:lnTo>
                    <a:pt x="1707960" y="196799"/>
                  </a:lnTo>
                  <a:lnTo>
                    <a:pt x="1707960" y="197447"/>
                  </a:lnTo>
                  <a:lnTo>
                    <a:pt x="1707960" y="196799"/>
                  </a:lnTo>
                  <a:lnTo>
                    <a:pt x="1707960" y="197447"/>
                  </a:lnTo>
                  <a:lnTo>
                    <a:pt x="1708011" y="197447"/>
                  </a:lnTo>
                  <a:lnTo>
                    <a:pt x="1708011" y="196799"/>
                  </a:lnTo>
                  <a:lnTo>
                    <a:pt x="1708011" y="197447"/>
                  </a:lnTo>
                  <a:lnTo>
                    <a:pt x="1708011" y="196799"/>
                  </a:lnTo>
                  <a:lnTo>
                    <a:pt x="1708011" y="197447"/>
                  </a:lnTo>
                  <a:lnTo>
                    <a:pt x="1708011" y="196799"/>
                  </a:lnTo>
                  <a:lnTo>
                    <a:pt x="1708011" y="198831"/>
                  </a:lnTo>
                  <a:lnTo>
                    <a:pt x="1708011" y="197447"/>
                  </a:lnTo>
                  <a:lnTo>
                    <a:pt x="1708112" y="197447"/>
                  </a:lnTo>
                  <a:lnTo>
                    <a:pt x="1708112" y="199530"/>
                  </a:lnTo>
                  <a:lnTo>
                    <a:pt x="1708150" y="199530"/>
                  </a:lnTo>
                  <a:lnTo>
                    <a:pt x="1708150" y="197447"/>
                  </a:lnTo>
                  <a:lnTo>
                    <a:pt x="1708150" y="198831"/>
                  </a:lnTo>
                  <a:lnTo>
                    <a:pt x="1708150" y="197447"/>
                  </a:lnTo>
                  <a:lnTo>
                    <a:pt x="1708150" y="198831"/>
                  </a:lnTo>
                  <a:lnTo>
                    <a:pt x="1708150" y="197447"/>
                  </a:lnTo>
                  <a:lnTo>
                    <a:pt x="1708150" y="198831"/>
                  </a:lnTo>
                  <a:lnTo>
                    <a:pt x="1708201" y="197447"/>
                  </a:lnTo>
                  <a:lnTo>
                    <a:pt x="1708201" y="196113"/>
                  </a:lnTo>
                  <a:lnTo>
                    <a:pt x="1708252" y="196113"/>
                  </a:lnTo>
                  <a:lnTo>
                    <a:pt x="1708252" y="193383"/>
                  </a:lnTo>
                  <a:lnTo>
                    <a:pt x="1708252" y="194716"/>
                  </a:lnTo>
                  <a:lnTo>
                    <a:pt x="1708354" y="194716"/>
                  </a:lnTo>
                  <a:lnTo>
                    <a:pt x="1708354" y="196799"/>
                  </a:lnTo>
                  <a:lnTo>
                    <a:pt x="1708354" y="194716"/>
                  </a:lnTo>
                  <a:lnTo>
                    <a:pt x="1708354" y="196113"/>
                  </a:lnTo>
                  <a:lnTo>
                    <a:pt x="1708405" y="196799"/>
                  </a:lnTo>
                  <a:lnTo>
                    <a:pt x="1708405" y="197447"/>
                  </a:lnTo>
                  <a:lnTo>
                    <a:pt x="1708405" y="195415"/>
                  </a:lnTo>
                  <a:lnTo>
                    <a:pt x="1708405" y="196799"/>
                  </a:lnTo>
                  <a:lnTo>
                    <a:pt x="1708455" y="196799"/>
                  </a:lnTo>
                  <a:lnTo>
                    <a:pt x="1708455" y="197447"/>
                  </a:lnTo>
                  <a:lnTo>
                    <a:pt x="1708455" y="196113"/>
                  </a:lnTo>
                  <a:lnTo>
                    <a:pt x="1708455" y="196799"/>
                  </a:lnTo>
                  <a:lnTo>
                    <a:pt x="1708557" y="197447"/>
                  </a:lnTo>
                  <a:lnTo>
                    <a:pt x="1708557" y="196113"/>
                  </a:lnTo>
                  <a:lnTo>
                    <a:pt x="1708557" y="198831"/>
                  </a:lnTo>
                  <a:lnTo>
                    <a:pt x="1708557" y="197447"/>
                  </a:lnTo>
                  <a:lnTo>
                    <a:pt x="1708557" y="198831"/>
                  </a:lnTo>
                  <a:lnTo>
                    <a:pt x="1708557" y="197447"/>
                  </a:lnTo>
                  <a:lnTo>
                    <a:pt x="1708608" y="197447"/>
                  </a:lnTo>
                  <a:lnTo>
                    <a:pt x="1708608" y="198831"/>
                  </a:lnTo>
                  <a:lnTo>
                    <a:pt x="1708608" y="197447"/>
                  </a:lnTo>
                  <a:lnTo>
                    <a:pt x="1708608" y="199530"/>
                  </a:lnTo>
                  <a:lnTo>
                    <a:pt x="1708659" y="199530"/>
                  </a:lnTo>
                  <a:lnTo>
                    <a:pt x="1708659" y="197447"/>
                  </a:lnTo>
                  <a:lnTo>
                    <a:pt x="1708697" y="197447"/>
                  </a:lnTo>
                  <a:lnTo>
                    <a:pt x="1708697" y="198831"/>
                  </a:lnTo>
                  <a:lnTo>
                    <a:pt x="1708697" y="197447"/>
                  </a:lnTo>
                  <a:lnTo>
                    <a:pt x="1708697" y="198831"/>
                  </a:lnTo>
                  <a:lnTo>
                    <a:pt x="1708697" y="196799"/>
                  </a:lnTo>
                  <a:lnTo>
                    <a:pt x="1708697" y="197447"/>
                  </a:lnTo>
                  <a:lnTo>
                    <a:pt x="1708697" y="196799"/>
                  </a:lnTo>
                  <a:lnTo>
                    <a:pt x="1708798" y="196799"/>
                  </a:lnTo>
                  <a:lnTo>
                    <a:pt x="1708798" y="197447"/>
                  </a:lnTo>
                  <a:lnTo>
                    <a:pt x="1708798" y="195415"/>
                  </a:lnTo>
                  <a:lnTo>
                    <a:pt x="1708798" y="198831"/>
                  </a:lnTo>
                  <a:lnTo>
                    <a:pt x="1708849" y="197447"/>
                  </a:lnTo>
                  <a:lnTo>
                    <a:pt x="1708849" y="195415"/>
                  </a:lnTo>
                  <a:lnTo>
                    <a:pt x="1708849" y="198831"/>
                  </a:lnTo>
                  <a:lnTo>
                    <a:pt x="1708849" y="197447"/>
                  </a:lnTo>
                  <a:lnTo>
                    <a:pt x="1708900" y="197447"/>
                  </a:lnTo>
                  <a:lnTo>
                    <a:pt x="1708900" y="196799"/>
                  </a:lnTo>
                  <a:lnTo>
                    <a:pt x="1708900" y="197447"/>
                  </a:lnTo>
                  <a:lnTo>
                    <a:pt x="1708900" y="196799"/>
                  </a:lnTo>
                  <a:lnTo>
                    <a:pt x="1709001" y="197447"/>
                  </a:lnTo>
                  <a:lnTo>
                    <a:pt x="1709001" y="196799"/>
                  </a:lnTo>
                  <a:lnTo>
                    <a:pt x="1709001" y="197447"/>
                  </a:lnTo>
                  <a:lnTo>
                    <a:pt x="1709001" y="196799"/>
                  </a:lnTo>
                  <a:lnTo>
                    <a:pt x="1709001" y="197447"/>
                  </a:lnTo>
                  <a:lnTo>
                    <a:pt x="1709001" y="196799"/>
                  </a:lnTo>
                  <a:lnTo>
                    <a:pt x="1709052" y="197447"/>
                  </a:lnTo>
                  <a:lnTo>
                    <a:pt x="1709052" y="198831"/>
                  </a:lnTo>
                  <a:lnTo>
                    <a:pt x="1709052" y="197447"/>
                  </a:lnTo>
                  <a:lnTo>
                    <a:pt x="1709052" y="198831"/>
                  </a:lnTo>
                  <a:lnTo>
                    <a:pt x="1709103" y="197447"/>
                  </a:lnTo>
                  <a:lnTo>
                    <a:pt x="1709103" y="198831"/>
                  </a:lnTo>
                  <a:lnTo>
                    <a:pt x="1709103" y="197447"/>
                  </a:lnTo>
                  <a:lnTo>
                    <a:pt x="1709103" y="198831"/>
                  </a:lnTo>
                  <a:lnTo>
                    <a:pt x="1709103" y="197447"/>
                  </a:lnTo>
                  <a:lnTo>
                    <a:pt x="1709103" y="198831"/>
                  </a:lnTo>
                  <a:lnTo>
                    <a:pt x="1709103" y="197447"/>
                  </a:lnTo>
                  <a:lnTo>
                    <a:pt x="1709154" y="197447"/>
                  </a:lnTo>
                  <a:lnTo>
                    <a:pt x="1709154" y="196799"/>
                  </a:lnTo>
                  <a:lnTo>
                    <a:pt x="1709154" y="197447"/>
                  </a:lnTo>
                  <a:lnTo>
                    <a:pt x="1709154" y="196799"/>
                  </a:lnTo>
                  <a:lnTo>
                    <a:pt x="1709243" y="196799"/>
                  </a:lnTo>
                  <a:lnTo>
                    <a:pt x="1709243" y="196113"/>
                  </a:lnTo>
                  <a:lnTo>
                    <a:pt x="1709243" y="196799"/>
                  </a:lnTo>
                  <a:lnTo>
                    <a:pt x="1709243" y="196113"/>
                  </a:lnTo>
                  <a:lnTo>
                    <a:pt x="1709294" y="196799"/>
                  </a:lnTo>
                  <a:lnTo>
                    <a:pt x="1709294" y="197447"/>
                  </a:lnTo>
                  <a:lnTo>
                    <a:pt x="1709294" y="196113"/>
                  </a:lnTo>
                  <a:lnTo>
                    <a:pt x="1709294" y="197447"/>
                  </a:lnTo>
                  <a:lnTo>
                    <a:pt x="1709344" y="197447"/>
                  </a:lnTo>
                  <a:lnTo>
                    <a:pt x="1709344" y="199530"/>
                  </a:lnTo>
                  <a:lnTo>
                    <a:pt x="1709344" y="198831"/>
                  </a:lnTo>
                  <a:lnTo>
                    <a:pt x="1709344" y="199530"/>
                  </a:lnTo>
                  <a:lnTo>
                    <a:pt x="1709395" y="199530"/>
                  </a:lnTo>
                  <a:lnTo>
                    <a:pt x="1709395" y="198831"/>
                  </a:lnTo>
                  <a:lnTo>
                    <a:pt x="1709395" y="199530"/>
                  </a:lnTo>
                  <a:lnTo>
                    <a:pt x="1709395" y="198831"/>
                  </a:lnTo>
                  <a:lnTo>
                    <a:pt x="1709395" y="199530"/>
                  </a:lnTo>
                  <a:lnTo>
                    <a:pt x="1709497" y="199530"/>
                  </a:lnTo>
                  <a:lnTo>
                    <a:pt x="1709497" y="198831"/>
                  </a:lnTo>
                  <a:lnTo>
                    <a:pt x="1709497" y="199530"/>
                  </a:lnTo>
                  <a:lnTo>
                    <a:pt x="1709547" y="199530"/>
                  </a:lnTo>
                  <a:lnTo>
                    <a:pt x="1709547" y="198831"/>
                  </a:lnTo>
                  <a:lnTo>
                    <a:pt x="1709547" y="199530"/>
                  </a:lnTo>
                  <a:lnTo>
                    <a:pt x="1709547" y="198831"/>
                  </a:lnTo>
                  <a:lnTo>
                    <a:pt x="1709547" y="199530"/>
                  </a:lnTo>
                  <a:lnTo>
                    <a:pt x="1709598" y="199530"/>
                  </a:lnTo>
                  <a:lnTo>
                    <a:pt x="1709598" y="197447"/>
                  </a:lnTo>
                  <a:lnTo>
                    <a:pt x="1709598" y="199530"/>
                  </a:lnTo>
                  <a:lnTo>
                    <a:pt x="1709598" y="198831"/>
                  </a:lnTo>
                  <a:lnTo>
                    <a:pt x="1709700" y="198831"/>
                  </a:lnTo>
                  <a:lnTo>
                    <a:pt x="1709700" y="196799"/>
                  </a:lnTo>
                  <a:lnTo>
                    <a:pt x="1709738" y="196799"/>
                  </a:lnTo>
                  <a:lnTo>
                    <a:pt x="1709738" y="196113"/>
                  </a:lnTo>
                  <a:lnTo>
                    <a:pt x="1709738" y="196799"/>
                  </a:lnTo>
                  <a:lnTo>
                    <a:pt x="1709738" y="196113"/>
                  </a:lnTo>
                  <a:lnTo>
                    <a:pt x="1709738" y="198831"/>
                  </a:lnTo>
                  <a:lnTo>
                    <a:pt x="1709738" y="197447"/>
                  </a:lnTo>
                  <a:lnTo>
                    <a:pt x="1709789" y="197447"/>
                  </a:lnTo>
                  <a:lnTo>
                    <a:pt x="1709789" y="196799"/>
                  </a:lnTo>
                  <a:lnTo>
                    <a:pt x="1709789" y="197447"/>
                  </a:lnTo>
                  <a:lnTo>
                    <a:pt x="1709789" y="196799"/>
                  </a:lnTo>
                  <a:lnTo>
                    <a:pt x="1709789" y="199530"/>
                  </a:lnTo>
                  <a:lnTo>
                    <a:pt x="1709840" y="198831"/>
                  </a:lnTo>
                  <a:lnTo>
                    <a:pt x="1709840" y="199530"/>
                  </a:lnTo>
                  <a:lnTo>
                    <a:pt x="1709941" y="199530"/>
                  </a:lnTo>
                  <a:lnTo>
                    <a:pt x="1709941" y="198831"/>
                  </a:lnTo>
                  <a:lnTo>
                    <a:pt x="1709941" y="199530"/>
                  </a:lnTo>
                  <a:lnTo>
                    <a:pt x="1709941" y="198831"/>
                  </a:lnTo>
                  <a:lnTo>
                    <a:pt x="1709941" y="199530"/>
                  </a:lnTo>
                  <a:lnTo>
                    <a:pt x="1709941" y="198831"/>
                  </a:lnTo>
                  <a:lnTo>
                    <a:pt x="1709941" y="199530"/>
                  </a:lnTo>
                  <a:lnTo>
                    <a:pt x="1709992" y="199530"/>
                  </a:lnTo>
                  <a:lnTo>
                    <a:pt x="1709992" y="200228"/>
                  </a:lnTo>
                  <a:lnTo>
                    <a:pt x="1709992" y="199530"/>
                  </a:lnTo>
                  <a:lnTo>
                    <a:pt x="1710043" y="199530"/>
                  </a:lnTo>
                  <a:lnTo>
                    <a:pt x="1710043" y="200228"/>
                  </a:lnTo>
                  <a:lnTo>
                    <a:pt x="1710043" y="198831"/>
                  </a:lnTo>
                  <a:lnTo>
                    <a:pt x="1710043" y="199530"/>
                  </a:lnTo>
                  <a:lnTo>
                    <a:pt x="1710144" y="199530"/>
                  </a:lnTo>
                  <a:lnTo>
                    <a:pt x="1710144" y="197447"/>
                  </a:lnTo>
                  <a:lnTo>
                    <a:pt x="1710195" y="197447"/>
                  </a:lnTo>
                  <a:lnTo>
                    <a:pt x="1710195" y="195415"/>
                  </a:lnTo>
                  <a:lnTo>
                    <a:pt x="1710195" y="196113"/>
                  </a:lnTo>
                  <a:lnTo>
                    <a:pt x="1710246" y="196113"/>
                  </a:lnTo>
                  <a:lnTo>
                    <a:pt x="1710246" y="195415"/>
                  </a:lnTo>
                  <a:lnTo>
                    <a:pt x="1710246" y="196799"/>
                  </a:lnTo>
                  <a:lnTo>
                    <a:pt x="1710246" y="196113"/>
                  </a:lnTo>
                  <a:lnTo>
                    <a:pt x="1710284" y="196113"/>
                  </a:lnTo>
                  <a:lnTo>
                    <a:pt x="1710284" y="195415"/>
                  </a:lnTo>
                  <a:lnTo>
                    <a:pt x="1710284" y="197447"/>
                  </a:lnTo>
                  <a:lnTo>
                    <a:pt x="1710284" y="196799"/>
                  </a:lnTo>
                  <a:lnTo>
                    <a:pt x="1710386" y="196799"/>
                  </a:lnTo>
                  <a:lnTo>
                    <a:pt x="1710386" y="198831"/>
                  </a:lnTo>
                  <a:lnTo>
                    <a:pt x="1710386" y="197447"/>
                  </a:lnTo>
                  <a:lnTo>
                    <a:pt x="1710386" y="198831"/>
                  </a:lnTo>
                  <a:lnTo>
                    <a:pt x="1710386" y="197447"/>
                  </a:lnTo>
                  <a:lnTo>
                    <a:pt x="1710437" y="197447"/>
                  </a:lnTo>
                  <a:lnTo>
                    <a:pt x="1710437" y="198831"/>
                  </a:lnTo>
                  <a:lnTo>
                    <a:pt x="1710437" y="197447"/>
                  </a:lnTo>
                  <a:lnTo>
                    <a:pt x="1710437" y="198831"/>
                  </a:lnTo>
                  <a:lnTo>
                    <a:pt x="1710487" y="198831"/>
                  </a:lnTo>
                  <a:lnTo>
                    <a:pt x="1710487" y="200228"/>
                  </a:lnTo>
                  <a:lnTo>
                    <a:pt x="1710487" y="199530"/>
                  </a:lnTo>
                  <a:lnTo>
                    <a:pt x="1710487" y="200228"/>
                  </a:lnTo>
                  <a:lnTo>
                    <a:pt x="1710487" y="199530"/>
                  </a:lnTo>
                  <a:lnTo>
                    <a:pt x="1710487" y="200228"/>
                  </a:lnTo>
                  <a:lnTo>
                    <a:pt x="1710589" y="199530"/>
                  </a:lnTo>
                  <a:lnTo>
                    <a:pt x="1710589" y="200228"/>
                  </a:lnTo>
                  <a:lnTo>
                    <a:pt x="1710589" y="198831"/>
                  </a:lnTo>
                  <a:lnTo>
                    <a:pt x="1710589" y="199530"/>
                  </a:lnTo>
                  <a:lnTo>
                    <a:pt x="1710640" y="199530"/>
                  </a:lnTo>
                  <a:lnTo>
                    <a:pt x="1710640" y="197447"/>
                  </a:lnTo>
                  <a:lnTo>
                    <a:pt x="1710690" y="197447"/>
                  </a:lnTo>
                  <a:lnTo>
                    <a:pt x="1710690" y="196113"/>
                  </a:lnTo>
                  <a:lnTo>
                    <a:pt x="1710690" y="196799"/>
                  </a:lnTo>
                  <a:lnTo>
                    <a:pt x="1710690" y="196113"/>
                  </a:lnTo>
                  <a:lnTo>
                    <a:pt x="1710741" y="196113"/>
                  </a:lnTo>
                  <a:lnTo>
                    <a:pt x="1710741" y="196799"/>
                  </a:lnTo>
                  <a:lnTo>
                    <a:pt x="1710741" y="196113"/>
                  </a:lnTo>
                  <a:lnTo>
                    <a:pt x="1710741" y="196799"/>
                  </a:lnTo>
                  <a:lnTo>
                    <a:pt x="1710741" y="196113"/>
                  </a:lnTo>
                  <a:lnTo>
                    <a:pt x="1710830" y="196113"/>
                  </a:lnTo>
                  <a:lnTo>
                    <a:pt x="1710830" y="198831"/>
                  </a:lnTo>
                  <a:lnTo>
                    <a:pt x="1710830" y="196799"/>
                  </a:lnTo>
                  <a:lnTo>
                    <a:pt x="1710881" y="196799"/>
                  </a:lnTo>
                  <a:lnTo>
                    <a:pt x="1710881" y="197447"/>
                  </a:lnTo>
                  <a:lnTo>
                    <a:pt x="1710932" y="197447"/>
                  </a:lnTo>
                  <a:lnTo>
                    <a:pt x="1710932" y="198831"/>
                  </a:lnTo>
                  <a:lnTo>
                    <a:pt x="1710932" y="197447"/>
                  </a:lnTo>
                  <a:lnTo>
                    <a:pt x="1710932" y="198831"/>
                  </a:lnTo>
                  <a:lnTo>
                    <a:pt x="1710932" y="197447"/>
                  </a:lnTo>
                  <a:lnTo>
                    <a:pt x="1710932" y="198831"/>
                  </a:lnTo>
                  <a:lnTo>
                    <a:pt x="1710983" y="198831"/>
                  </a:lnTo>
                  <a:lnTo>
                    <a:pt x="1710983" y="199530"/>
                  </a:lnTo>
                  <a:lnTo>
                    <a:pt x="1711084" y="199530"/>
                  </a:lnTo>
                  <a:lnTo>
                    <a:pt x="1711084" y="198831"/>
                  </a:lnTo>
                  <a:lnTo>
                    <a:pt x="1711084" y="199530"/>
                  </a:lnTo>
                  <a:lnTo>
                    <a:pt x="1711084" y="198831"/>
                  </a:lnTo>
                  <a:lnTo>
                    <a:pt x="1711084" y="199530"/>
                  </a:lnTo>
                  <a:lnTo>
                    <a:pt x="1711084" y="198831"/>
                  </a:lnTo>
                  <a:lnTo>
                    <a:pt x="1711084" y="199530"/>
                  </a:lnTo>
                  <a:lnTo>
                    <a:pt x="1711084" y="198831"/>
                  </a:lnTo>
                  <a:lnTo>
                    <a:pt x="1711135" y="198831"/>
                  </a:lnTo>
                  <a:lnTo>
                    <a:pt x="1711135" y="197447"/>
                  </a:lnTo>
                  <a:lnTo>
                    <a:pt x="1711135" y="198831"/>
                  </a:lnTo>
                  <a:lnTo>
                    <a:pt x="1711135" y="196799"/>
                  </a:lnTo>
                  <a:lnTo>
                    <a:pt x="1711186" y="196799"/>
                  </a:lnTo>
                  <a:lnTo>
                    <a:pt x="1711186" y="195415"/>
                  </a:lnTo>
                  <a:lnTo>
                    <a:pt x="1711287" y="195415"/>
                  </a:lnTo>
                  <a:lnTo>
                    <a:pt x="1711287" y="194716"/>
                  </a:lnTo>
                  <a:lnTo>
                    <a:pt x="1711287" y="196113"/>
                  </a:lnTo>
                  <a:lnTo>
                    <a:pt x="1711287" y="194716"/>
                  </a:lnTo>
                  <a:lnTo>
                    <a:pt x="1711325" y="194716"/>
                  </a:lnTo>
                  <a:lnTo>
                    <a:pt x="1711325" y="196799"/>
                  </a:lnTo>
                  <a:lnTo>
                    <a:pt x="1711325" y="196113"/>
                  </a:lnTo>
                  <a:lnTo>
                    <a:pt x="1711325" y="196799"/>
                  </a:lnTo>
                  <a:lnTo>
                    <a:pt x="1711325" y="196113"/>
                  </a:lnTo>
                  <a:lnTo>
                    <a:pt x="1711325" y="196799"/>
                  </a:lnTo>
                  <a:lnTo>
                    <a:pt x="1711325" y="195415"/>
                  </a:lnTo>
                  <a:lnTo>
                    <a:pt x="1711325" y="196113"/>
                  </a:lnTo>
                  <a:lnTo>
                    <a:pt x="1711376" y="196113"/>
                  </a:lnTo>
                  <a:lnTo>
                    <a:pt x="1711376" y="197447"/>
                  </a:lnTo>
                  <a:lnTo>
                    <a:pt x="1711427" y="196799"/>
                  </a:lnTo>
                  <a:lnTo>
                    <a:pt x="1711427" y="198831"/>
                  </a:lnTo>
                  <a:lnTo>
                    <a:pt x="1711427" y="197447"/>
                  </a:lnTo>
                  <a:lnTo>
                    <a:pt x="1711427" y="198831"/>
                  </a:lnTo>
                  <a:lnTo>
                    <a:pt x="1711630" y="198831"/>
                  </a:lnTo>
                  <a:lnTo>
                    <a:pt x="1711630" y="197447"/>
                  </a:lnTo>
                  <a:lnTo>
                    <a:pt x="1711630" y="198831"/>
                  </a:lnTo>
                  <a:lnTo>
                    <a:pt x="1711630" y="197447"/>
                  </a:lnTo>
                  <a:lnTo>
                    <a:pt x="1711732" y="197447"/>
                  </a:lnTo>
                  <a:lnTo>
                    <a:pt x="1711732" y="195415"/>
                  </a:lnTo>
                  <a:lnTo>
                    <a:pt x="1711732" y="196113"/>
                  </a:lnTo>
                  <a:lnTo>
                    <a:pt x="1711732" y="194716"/>
                  </a:lnTo>
                  <a:lnTo>
                    <a:pt x="1711783" y="194716"/>
                  </a:lnTo>
                  <a:lnTo>
                    <a:pt x="1711783" y="196799"/>
                  </a:lnTo>
                  <a:lnTo>
                    <a:pt x="1711783" y="193383"/>
                  </a:lnTo>
                  <a:lnTo>
                    <a:pt x="1711834" y="194716"/>
                  </a:lnTo>
                  <a:lnTo>
                    <a:pt x="1711834" y="196799"/>
                  </a:lnTo>
                  <a:lnTo>
                    <a:pt x="1711834" y="195415"/>
                  </a:lnTo>
                  <a:lnTo>
                    <a:pt x="1711834" y="196113"/>
                  </a:lnTo>
                  <a:lnTo>
                    <a:pt x="1711872" y="196113"/>
                  </a:lnTo>
                  <a:lnTo>
                    <a:pt x="1711872" y="196799"/>
                  </a:lnTo>
                  <a:lnTo>
                    <a:pt x="1711872" y="196113"/>
                  </a:lnTo>
                  <a:lnTo>
                    <a:pt x="1711872" y="196799"/>
                  </a:lnTo>
                  <a:lnTo>
                    <a:pt x="1711872" y="196113"/>
                  </a:lnTo>
                  <a:lnTo>
                    <a:pt x="1711872" y="196799"/>
                  </a:lnTo>
                  <a:lnTo>
                    <a:pt x="1711872" y="195415"/>
                  </a:lnTo>
                  <a:lnTo>
                    <a:pt x="1711872" y="196113"/>
                  </a:lnTo>
                  <a:lnTo>
                    <a:pt x="1711973" y="196113"/>
                  </a:lnTo>
                  <a:lnTo>
                    <a:pt x="1711973" y="196799"/>
                  </a:lnTo>
                  <a:lnTo>
                    <a:pt x="1711973" y="196113"/>
                  </a:lnTo>
                  <a:lnTo>
                    <a:pt x="1711973" y="196799"/>
                  </a:lnTo>
                  <a:lnTo>
                    <a:pt x="1711973" y="196113"/>
                  </a:lnTo>
                  <a:lnTo>
                    <a:pt x="1711973" y="196799"/>
                  </a:lnTo>
                  <a:lnTo>
                    <a:pt x="1712024" y="196799"/>
                  </a:lnTo>
                  <a:lnTo>
                    <a:pt x="1712024" y="197447"/>
                  </a:lnTo>
                  <a:lnTo>
                    <a:pt x="1712024" y="196799"/>
                  </a:lnTo>
                  <a:lnTo>
                    <a:pt x="1712024" y="197447"/>
                  </a:lnTo>
                  <a:lnTo>
                    <a:pt x="1712024" y="196799"/>
                  </a:lnTo>
                  <a:lnTo>
                    <a:pt x="1712024" y="197447"/>
                  </a:lnTo>
                  <a:lnTo>
                    <a:pt x="1712075" y="197447"/>
                  </a:lnTo>
                  <a:lnTo>
                    <a:pt x="1712075" y="196799"/>
                  </a:lnTo>
                  <a:lnTo>
                    <a:pt x="1712075" y="197447"/>
                  </a:lnTo>
                  <a:lnTo>
                    <a:pt x="1712075" y="196799"/>
                  </a:lnTo>
                  <a:lnTo>
                    <a:pt x="1712075" y="197447"/>
                  </a:lnTo>
                  <a:lnTo>
                    <a:pt x="1712176" y="197447"/>
                  </a:lnTo>
                  <a:lnTo>
                    <a:pt x="1712176" y="196799"/>
                  </a:lnTo>
                  <a:lnTo>
                    <a:pt x="1712176" y="197447"/>
                  </a:lnTo>
                  <a:lnTo>
                    <a:pt x="1712176" y="196799"/>
                  </a:lnTo>
                  <a:lnTo>
                    <a:pt x="1712176" y="197447"/>
                  </a:lnTo>
                  <a:lnTo>
                    <a:pt x="1712176" y="196799"/>
                  </a:lnTo>
                  <a:lnTo>
                    <a:pt x="1712227" y="196799"/>
                  </a:lnTo>
                  <a:lnTo>
                    <a:pt x="1712227" y="195415"/>
                  </a:lnTo>
                  <a:lnTo>
                    <a:pt x="1712278" y="195415"/>
                  </a:lnTo>
                  <a:lnTo>
                    <a:pt x="1712278" y="196799"/>
                  </a:lnTo>
                  <a:lnTo>
                    <a:pt x="1712278" y="194716"/>
                  </a:lnTo>
                  <a:lnTo>
                    <a:pt x="1712278" y="196113"/>
                  </a:lnTo>
                  <a:lnTo>
                    <a:pt x="1712329" y="196113"/>
                  </a:lnTo>
                  <a:lnTo>
                    <a:pt x="1712329" y="196799"/>
                  </a:lnTo>
                  <a:lnTo>
                    <a:pt x="1712329" y="195415"/>
                  </a:lnTo>
                  <a:lnTo>
                    <a:pt x="1712329" y="196799"/>
                  </a:lnTo>
                  <a:lnTo>
                    <a:pt x="1712418" y="196799"/>
                  </a:lnTo>
                  <a:lnTo>
                    <a:pt x="1712418" y="197447"/>
                  </a:lnTo>
                  <a:lnTo>
                    <a:pt x="1712418" y="196799"/>
                  </a:lnTo>
                  <a:lnTo>
                    <a:pt x="1712418" y="197447"/>
                  </a:lnTo>
                  <a:lnTo>
                    <a:pt x="1712469" y="197447"/>
                  </a:lnTo>
                  <a:lnTo>
                    <a:pt x="1712469" y="196799"/>
                  </a:lnTo>
                  <a:lnTo>
                    <a:pt x="1712469" y="197447"/>
                  </a:lnTo>
                  <a:lnTo>
                    <a:pt x="1712519" y="197447"/>
                  </a:lnTo>
                  <a:lnTo>
                    <a:pt x="1712519" y="196799"/>
                  </a:lnTo>
                  <a:lnTo>
                    <a:pt x="1712519" y="197447"/>
                  </a:lnTo>
                  <a:lnTo>
                    <a:pt x="1712519" y="196799"/>
                  </a:lnTo>
                  <a:lnTo>
                    <a:pt x="1712519" y="197447"/>
                  </a:lnTo>
                  <a:lnTo>
                    <a:pt x="1712519" y="196799"/>
                  </a:lnTo>
                  <a:lnTo>
                    <a:pt x="1712519" y="197447"/>
                  </a:lnTo>
                  <a:lnTo>
                    <a:pt x="1712519" y="196799"/>
                  </a:lnTo>
                  <a:lnTo>
                    <a:pt x="1712519" y="197447"/>
                  </a:lnTo>
                  <a:lnTo>
                    <a:pt x="1712570" y="197447"/>
                  </a:lnTo>
                  <a:lnTo>
                    <a:pt x="1712570" y="196799"/>
                  </a:lnTo>
                  <a:lnTo>
                    <a:pt x="1712570" y="197447"/>
                  </a:lnTo>
                  <a:lnTo>
                    <a:pt x="1712672" y="197447"/>
                  </a:lnTo>
                  <a:lnTo>
                    <a:pt x="1712672" y="198831"/>
                  </a:lnTo>
                  <a:lnTo>
                    <a:pt x="1712672" y="196799"/>
                  </a:lnTo>
                  <a:lnTo>
                    <a:pt x="1712672" y="197447"/>
                  </a:lnTo>
                  <a:lnTo>
                    <a:pt x="1712672" y="196799"/>
                  </a:lnTo>
                  <a:lnTo>
                    <a:pt x="1712722" y="197447"/>
                  </a:lnTo>
                  <a:lnTo>
                    <a:pt x="1712722" y="195415"/>
                  </a:lnTo>
                  <a:lnTo>
                    <a:pt x="1712722" y="198831"/>
                  </a:lnTo>
                  <a:lnTo>
                    <a:pt x="1712773" y="197447"/>
                  </a:lnTo>
                  <a:lnTo>
                    <a:pt x="1712773" y="196113"/>
                  </a:lnTo>
                  <a:lnTo>
                    <a:pt x="1712773" y="199530"/>
                  </a:lnTo>
                  <a:lnTo>
                    <a:pt x="1712773" y="198831"/>
                  </a:lnTo>
                  <a:lnTo>
                    <a:pt x="1712875" y="198831"/>
                  </a:lnTo>
                  <a:lnTo>
                    <a:pt x="1712875" y="197447"/>
                  </a:lnTo>
                  <a:lnTo>
                    <a:pt x="1712875" y="199530"/>
                  </a:lnTo>
                  <a:lnTo>
                    <a:pt x="1712875" y="198831"/>
                  </a:lnTo>
                  <a:lnTo>
                    <a:pt x="1712913" y="198831"/>
                  </a:lnTo>
                  <a:lnTo>
                    <a:pt x="1712913" y="199530"/>
                  </a:lnTo>
                  <a:lnTo>
                    <a:pt x="1712913" y="198831"/>
                  </a:lnTo>
                  <a:lnTo>
                    <a:pt x="1712913" y="199530"/>
                  </a:lnTo>
                  <a:lnTo>
                    <a:pt x="1712913" y="198831"/>
                  </a:lnTo>
                  <a:lnTo>
                    <a:pt x="1712964" y="198831"/>
                  </a:lnTo>
                  <a:lnTo>
                    <a:pt x="1712964" y="197447"/>
                  </a:lnTo>
                  <a:lnTo>
                    <a:pt x="1712964" y="199530"/>
                  </a:lnTo>
                  <a:lnTo>
                    <a:pt x="1712964" y="198831"/>
                  </a:lnTo>
                  <a:lnTo>
                    <a:pt x="1713015" y="198831"/>
                  </a:lnTo>
                  <a:lnTo>
                    <a:pt x="1713015" y="197447"/>
                  </a:lnTo>
                  <a:lnTo>
                    <a:pt x="1713015" y="198831"/>
                  </a:lnTo>
                  <a:lnTo>
                    <a:pt x="1713015" y="197447"/>
                  </a:lnTo>
                  <a:lnTo>
                    <a:pt x="1713167" y="197447"/>
                  </a:lnTo>
                  <a:lnTo>
                    <a:pt x="1713167" y="196113"/>
                  </a:lnTo>
                  <a:lnTo>
                    <a:pt x="1713167" y="196799"/>
                  </a:lnTo>
                  <a:lnTo>
                    <a:pt x="1713218" y="196113"/>
                  </a:lnTo>
                  <a:lnTo>
                    <a:pt x="1713218" y="195415"/>
                  </a:lnTo>
                  <a:lnTo>
                    <a:pt x="1713218" y="196799"/>
                  </a:lnTo>
                  <a:lnTo>
                    <a:pt x="1713218" y="196113"/>
                  </a:lnTo>
                  <a:lnTo>
                    <a:pt x="1713319" y="196113"/>
                  </a:lnTo>
                  <a:lnTo>
                    <a:pt x="1713319" y="198831"/>
                  </a:lnTo>
                  <a:lnTo>
                    <a:pt x="1713319" y="197447"/>
                  </a:lnTo>
                  <a:lnTo>
                    <a:pt x="1713370" y="197447"/>
                  </a:lnTo>
                  <a:lnTo>
                    <a:pt x="1713370" y="199530"/>
                  </a:lnTo>
                  <a:lnTo>
                    <a:pt x="1713370" y="198831"/>
                  </a:lnTo>
                  <a:lnTo>
                    <a:pt x="1713370" y="199530"/>
                  </a:lnTo>
                  <a:lnTo>
                    <a:pt x="1713370" y="198831"/>
                  </a:lnTo>
                  <a:lnTo>
                    <a:pt x="1713370" y="199530"/>
                  </a:lnTo>
                  <a:lnTo>
                    <a:pt x="1713421" y="199530"/>
                  </a:lnTo>
                  <a:lnTo>
                    <a:pt x="1713421" y="198831"/>
                  </a:lnTo>
                  <a:lnTo>
                    <a:pt x="1713421" y="199530"/>
                  </a:lnTo>
                  <a:lnTo>
                    <a:pt x="1713421" y="198831"/>
                  </a:lnTo>
                  <a:lnTo>
                    <a:pt x="1713421" y="199530"/>
                  </a:lnTo>
                  <a:lnTo>
                    <a:pt x="1713459" y="198831"/>
                  </a:lnTo>
                  <a:lnTo>
                    <a:pt x="1713459" y="199530"/>
                  </a:lnTo>
                  <a:lnTo>
                    <a:pt x="1713459" y="198831"/>
                  </a:lnTo>
                  <a:lnTo>
                    <a:pt x="1713459" y="199530"/>
                  </a:lnTo>
                  <a:lnTo>
                    <a:pt x="1713459" y="198831"/>
                  </a:lnTo>
                  <a:lnTo>
                    <a:pt x="1713561" y="198831"/>
                  </a:lnTo>
                  <a:lnTo>
                    <a:pt x="1713561" y="199530"/>
                  </a:lnTo>
                  <a:lnTo>
                    <a:pt x="1713561" y="198831"/>
                  </a:lnTo>
                  <a:lnTo>
                    <a:pt x="1713561" y="199530"/>
                  </a:lnTo>
                  <a:lnTo>
                    <a:pt x="1713561" y="198831"/>
                  </a:lnTo>
                  <a:lnTo>
                    <a:pt x="1713612" y="198831"/>
                  </a:lnTo>
                  <a:lnTo>
                    <a:pt x="1713612" y="197447"/>
                  </a:lnTo>
                  <a:lnTo>
                    <a:pt x="1713612" y="198831"/>
                  </a:lnTo>
                  <a:lnTo>
                    <a:pt x="1713612" y="197447"/>
                  </a:lnTo>
                  <a:lnTo>
                    <a:pt x="1713612" y="198831"/>
                  </a:lnTo>
                  <a:lnTo>
                    <a:pt x="1713612" y="197447"/>
                  </a:lnTo>
                  <a:lnTo>
                    <a:pt x="1713662" y="197447"/>
                  </a:lnTo>
                  <a:lnTo>
                    <a:pt x="1713662" y="196113"/>
                  </a:lnTo>
                  <a:lnTo>
                    <a:pt x="1713662" y="196799"/>
                  </a:lnTo>
                  <a:lnTo>
                    <a:pt x="1713764" y="196799"/>
                  </a:lnTo>
                  <a:lnTo>
                    <a:pt x="1713764" y="196113"/>
                  </a:lnTo>
                  <a:lnTo>
                    <a:pt x="1713764" y="198831"/>
                  </a:lnTo>
                  <a:lnTo>
                    <a:pt x="1713815" y="198831"/>
                  </a:lnTo>
                  <a:lnTo>
                    <a:pt x="1713815" y="197447"/>
                  </a:lnTo>
                  <a:lnTo>
                    <a:pt x="1713815" y="199530"/>
                  </a:lnTo>
                  <a:lnTo>
                    <a:pt x="1713865" y="199530"/>
                  </a:lnTo>
                  <a:lnTo>
                    <a:pt x="1713865" y="198831"/>
                  </a:lnTo>
                  <a:lnTo>
                    <a:pt x="1713865" y="199530"/>
                  </a:lnTo>
                  <a:lnTo>
                    <a:pt x="1713916" y="199530"/>
                  </a:lnTo>
                  <a:lnTo>
                    <a:pt x="1713916" y="198831"/>
                  </a:lnTo>
                  <a:lnTo>
                    <a:pt x="1713916" y="200228"/>
                  </a:lnTo>
                  <a:lnTo>
                    <a:pt x="1713916" y="198831"/>
                  </a:lnTo>
                  <a:lnTo>
                    <a:pt x="1713916" y="199530"/>
                  </a:lnTo>
                  <a:lnTo>
                    <a:pt x="1714005" y="199530"/>
                  </a:lnTo>
                  <a:lnTo>
                    <a:pt x="1714005" y="198831"/>
                  </a:lnTo>
                  <a:lnTo>
                    <a:pt x="1714005" y="199530"/>
                  </a:lnTo>
                  <a:lnTo>
                    <a:pt x="1714056" y="199530"/>
                  </a:lnTo>
                  <a:lnTo>
                    <a:pt x="1714056" y="198831"/>
                  </a:lnTo>
                  <a:lnTo>
                    <a:pt x="1714056" y="199530"/>
                  </a:lnTo>
                  <a:lnTo>
                    <a:pt x="1714056" y="198831"/>
                  </a:lnTo>
                  <a:lnTo>
                    <a:pt x="1714107" y="198831"/>
                  </a:lnTo>
                  <a:lnTo>
                    <a:pt x="1714107" y="197447"/>
                  </a:lnTo>
                  <a:lnTo>
                    <a:pt x="1714107" y="198831"/>
                  </a:lnTo>
                  <a:lnTo>
                    <a:pt x="1714107" y="197447"/>
                  </a:lnTo>
                  <a:lnTo>
                    <a:pt x="1714107" y="198831"/>
                  </a:lnTo>
                  <a:lnTo>
                    <a:pt x="1714107" y="197447"/>
                  </a:lnTo>
                  <a:lnTo>
                    <a:pt x="1714107" y="198831"/>
                  </a:lnTo>
                  <a:lnTo>
                    <a:pt x="1714107" y="197447"/>
                  </a:lnTo>
                  <a:lnTo>
                    <a:pt x="1714107" y="198831"/>
                  </a:lnTo>
                  <a:lnTo>
                    <a:pt x="1714107" y="196799"/>
                  </a:lnTo>
                  <a:lnTo>
                    <a:pt x="1714158" y="196799"/>
                  </a:lnTo>
                  <a:lnTo>
                    <a:pt x="1714158" y="196113"/>
                  </a:lnTo>
                  <a:lnTo>
                    <a:pt x="1714158" y="196799"/>
                  </a:lnTo>
                  <a:lnTo>
                    <a:pt x="1714158" y="194716"/>
                  </a:lnTo>
                  <a:lnTo>
                    <a:pt x="1714158" y="195415"/>
                  </a:lnTo>
                  <a:lnTo>
                    <a:pt x="1714259" y="196113"/>
                  </a:lnTo>
                  <a:lnTo>
                    <a:pt x="1714259" y="195415"/>
                  </a:lnTo>
                  <a:lnTo>
                    <a:pt x="1714259" y="196113"/>
                  </a:lnTo>
                  <a:lnTo>
                    <a:pt x="1714259" y="194716"/>
                  </a:lnTo>
                  <a:lnTo>
                    <a:pt x="1714259" y="196799"/>
                  </a:lnTo>
                  <a:lnTo>
                    <a:pt x="1714310" y="196799"/>
                  </a:lnTo>
                  <a:lnTo>
                    <a:pt x="1714310" y="196113"/>
                  </a:lnTo>
                  <a:lnTo>
                    <a:pt x="1714310" y="197447"/>
                  </a:lnTo>
                  <a:lnTo>
                    <a:pt x="1714310" y="196799"/>
                  </a:lnTo>
                  <a:lnTo>
                    <a:pt x="1714310" y="198831"/>
                  </a:lnTo>
                  <a:lnTo>
                    <a:pt x="1714361" y="198831"/>
                  </a:lnTo>
                  <a:lnTo>
                    <a:pt x="1714361" y="196799"/>
                  </a:lnTo>
                  <a:lnTo>
                    <a:pt x="1714361" y="198831"/>
                  </a:lnTo>
                  <a:lnTo>
                    <a:pt x="1714462" y="198831"/>
                  </a:lnTo>
                  <a:lnTo>
                    <a:pt x="1714462" y="197447"/>
                  </a:lnTo>
                  <a:lnTo>
                    <a:pt x="1714462" y="198831"/>
                  </a:lnTo>
                  <a:lnTo>
                    <a:pt x="1714462" y="197447"/>
                  </a:lnTo>
                  <a:lnTo>
                    <a:pt x="1714462" y="199530"/>
                  </a:lnTo>
                  <a:lnTo>
                    <a:pt x="1714462" y="198831"/>
                  </a:lnTo>
                  <a:lnTo>
                    <a:pt x="1714500" y="198831"/>
                  </a:lnTo>
                  <a:lnTo>
                    <a:pt x="1714500" y="199530"/>
                  </a:lnTo>
                  <a:lnTo>
                    <a:pt x="1714500" y="198831"/>
                  </a:lnTo>
                  <a:lnTo>
                    <a:pt x="1714500" y="199530"/>
                  </a:lnTo>
                  <a:lnTo>
                    <a:pt x="1714500" y="198831"/>
                  </a:lnTo>
                  <a:lnTo>
                    <a:pt x="1714500" y="199530"/>
                  </a:lnTo>
                  <a:lnTo>
                    <a:pt x="1714500" y="198831"/>
                  </a:lnTo>
                  <a:lnTo>
                    <a:pt x="1714500" y="199530"/>
                  </a:lnTo>
                  <a:lnTo>
                    <a:pt x="1714551" y="199530"/>
                  </a:lnTo>
                  <a:lnTo>
                    <a:pt x="1714551" y="198831"/>
                  </a:lnTo>
                  <a:lnTo>
                    <a:pt x="1714602" y="198831"/>
                  </a:lnTo>
                  <a:lnTo>
                    <a:pt x="1714602" y="197447"/>
                  </a:lnTo>
                  <a:lnTo>
                    <a:pt x="1714602" y="198831"/>
                  </a:lnTo>
                  <a:lnTo>
                    <a:pt x="1714602" y="197447"/>
                  </a:lnTo>
                  <a:lnTo>
                    <a:pt x="1714704" y="196799"/>
                  </a:lnTo>
                  <a:lnTo>
                    <a:pt x="1714704" y="196113"/>
                  </a:lnTo>
                  <a:lnTo>
                    <a:pt x="1714704" y="196799"/>
                  </a:lnTo>
                  <a:lnTo>
                    <a:pt x="1714704" y="195415"/>
                  </a:lnTo>
                  <a:lnTo>
                    <a:pt x="1714704" y="196113"/>
                  </a:lnTo>
                  <a:lnTo>
                    <a:pt x="1714704" y="195415"/>
                  </a:lnTo>
                  <a:lnTo>
                    <a:pt x="1714704" y="196799"/>
                  </a:lnTo>
                  <a:lnTo>
                    <a:pt x="1714755" y="196113"/>
                  </a:lnTo>
                  <a:lnTo>
                    <a:pt x="1714755" y="194716"/>
                  </a:lnTo>
                  <a:lnTo>
                    <a:pt x="1714755" y="197447"/>
                  </a:lnTo>
                  <a:lnTo>
                    <a:pt x="1714755" y="196799"/>
                  </a:lnTo>
                  <a:lnTo>
                    <a:pt x="1714805" y="196799"/>
                  </a:lnTo>
                  <a:lnTo>
                    <a:pt x="1714805" y="196113"/>
                  </a:lnTo>
                  <a:lnTo>
                    <a:pt x="1714805" y="197447"/>
                  </a:lnTo>
                  <a:lnTo>
                    <a:pt x="1714805" y="196799"/>
                  </a:lnTo>
                  <a:lnTo>
                    <a:pt x="1714907" y="196799"/>
                  </a:lnTo>
                  <a:lnTo>
                    <a:pt x="1714907" y="197447"/>
                  </a:lnTo>
                  <a:lnTo>
                    <a:pt x="1714907" y="196799"/>
                  </a:lnTo>
                  <a:lnTo>
                    <a:pt x="1714958" y="196799"/>
                  </a:lnTo>
                  <a:lnTo>
                    <a:pt x="1714958" y="197447"/>
                  </a:lnTo>
                  <a:lnTo>
                    <a:pt x="1715009" y="197447"/>
                  </a:lnTo>
                  <a:lnTo>
                    <a:pt x="1715009" y="198831"/>
                  </a:lnTo>
                  <a:lnTo>
                    <a:pt x="1715009" y="197447"/>
                  </a:lnTo>
                  <a:lnTo>
                    <a:pt x="1715047" y="197447"/>
                  </a:lnTo>
                  <a:lnTo>
                    <a:pt x="1715047" y="198831"/>
                  </a:lnTo>
                  <a:lnTo>
                    <a:pt x="1715047" y="197447"/>
                  </a:lnTo>
                  <a:lnTo>
                    <a:pt x="1715148" y="197447"/>
                  </a:lnTo>
                  <a:lnTo>
                    <a:pt x="1715148" y="196799"/>
                  </a:lnTo>
                  <a:lnTo>
                    <a:pt x="1715199" y="196799"/>
                  </a:lnTo>
                  <a:lnTo>
                    <a:pt x="1715199" y="197447"/>
                  </a:lnTo>
                  <a:lnTo>
                    <a:pt x="1715199" y="196799"/>
                  </a:lnTo>
                  <a:lnTo>
                    <a:pt x="1715199" y="198831"/>
                  </a:lnTo>
                  <a:lnTo>
                    <a:pt x="1715250" y="199530"/>
                  </a:lnTo>
                  <a:lnTo>
                    <a:pt x="1715250" y="197447"/>
                  </a:lnTo>
                  <a:lnTo>
                    <a:pt x="1715250" y="198831"/>
                  </a:lnTo>
                  <a:lnTo>
                    <a:pt x="1715250" y="197447"/>
                  </a:lnTo>
                  <a:lnTo>
                    <a:pt x="1715250" y="199530"/>
                  </a:lnTo>
                  <a:lnTo>
                    <a:pt x="1715351" y="199530"/>
                  </a:lnTo>
                  <a:lnTo>
                    <a:pt x="1715351" y="197447"/>
                  </a:lnTo>
                  <a:lnTo>
                    <a:pt x="1715351" y="199530"/>
                  </a:lnTo>
                  <a:lnTo>
                    <a:pt x="1715402" y="199530"/>
                  </a:lnTo>
                  <a:lnTo>
                    <a:pt x="1715402" y="198831"/>
                  </a:lnTo>
                  <a:lnTo>
                    <a:pt x="1715402" y="199530"/>
                  </a:lnTo>
                  <a:lnTo>
                    <a:pt x="1715402" y="198831"/>
                  </a:lnTo>
                  <a:lnTo>
                    <a:pt x="1715402" y="199530"/>
                  </a:lnTo>
                  <a:lnTo>
                    <a:pt x="1715402" y="198831"/>
                  </a:lnTo>
                  <a:lnTo>
                    <a:pt x="1715402" y="199530"/>
                  </a:lnTo>
                  <a:lnTo>
                    <a:pt x="1715453" y="199530"/>
                  </a:lnTo>
                  <a:lnTo>
                    <a:pt x="1715453" y="198831"/>
                  </a:lnTo>
                  <a:lnTo>
                    <a:pt x="1715453" y="199530"/>
                  </a:lnTo>
                  <a:lnTo>
                    <a:pt x="1715453" y="198831"/>
                  </a:lnTo>
                  <a:lnTo>
                    <a:pt x="1715504" y="198831"/>
                  </a:lnTo>
                  <a:lnTo>
                    <a:pt x="1715504" y="197447"/>
                  </a:lnTo>
                  <a:lnTo>
                    <a:pt x="1715504" y="198831"/>
                  </a:lnTo>
                  <a:lnTo>
                    <a:pt x="1715593" y="198831"/>
                  </a:lnTo>
                  <a:lnTo>
                    <a:pt x="1715593" y="197447"/>
                  </a:lnTo>
                  <a:lnTo>
                    <a:pt x="1715593" y="198831"/>
                  </a:lnTo>
                  <a:lnTo>
                    <a:pt x="1715593" y="197447"/>
                  </a:lnTo>
                  <a:lnTo>
                    <a:pt x="1715593" y="198831"/>
                  </a:lnTo>
                  <a:lnTo>
                    <a:pt x="1715593" y="196799"/>
                  </a:lnTo>
                  <a:lnTo>
                    <a:pt x="1715644" y="196799"/>
                  </a:lnTo>
                  <a:lnTo>
                    <a:pt x="1715644" y="196113"/>
                  </a:lnTo>
                  <a:lnTo>
                    <a:pt x="1715644" y="196799"/>
                  </a:lnTo>
                  <a:lnTo>
                    <a:pt x="1715644" y="196113"/>
                  </a:lnTo>
                  <a:lnTo>
                    <a:pt x="1715644" y="197447"/>
                  </a:lnTo>
                  <a:lnTo>
                    <a:pt x="1715694" y="196799"/>
                  </a:lnTo>
                  <a:lnTo>
                    <a:pt x="1715694" y="198831"/>
                  </a:lnTo>
                  <a:lnTo>
                    <a:pt x="1715745" y="198831"/>
                  </a:lnTo>
                  <a:lnTo>
                    <a:pt x="1715745" y="200228"/>
                  </a:lnTo>
                  <a:lnTo>
                    <a:pt x="1715745" y="199530"/>
                  </a:lnTo>
                  <a:lnTo>
                    <a:pt x="1715847" y="199530"/>
                  </a:lnTo>
                  <a:lnTo>
                    <a:pt x="1715847" y="198831"/>
                  </a:lnTo>
                  <a:lnTo>
                    <a:pt x="1715847" y="199530"/>
                  </a:lnTo>
                  <a:lnTo>
                    <a:pt x="1715847" y="198831"/>
                  </a:lnTo>
                  <a:lnTo>
                    <a:pt x="1715897" y="199530"/>
                  </a:lnTo>
                  <a:lnTo>
                    <a:pt x="1715897" y="198831"/>
                  </a:lnTo>
                  <a:lnTo>
                    <a:pt x="1715897" y="199530"/>
                  </a:lnTo>
                  <a:lnTo>
                    <a:pt x="1715897" y="198831"/>
                  </a:lnTo>
                  <a:lnTo>
                    <a:pt x="1715948" y="198831"/>
                  </a:lnTo>
                  <a:lnTo>
                    <a:pt x="1715948" y="199530"/>
                  </a:lnTo>
                  <a:lnTo>
                    <a:pt x="1715948" y="197447"/>
                  </a:lnTo>
                  <a:lnTo>
                    <a:pt x="1715948" y="198831"/>
                  </a:lnTo>
                  <a:lnTo>
                    <a:pt x="1716050" y="198831"/>
                  </a:lnTo>
                  <a:lnTo>
                    <a:pt x="1716050" y="197447"/>
                  </a:lnTo>
                  <a:lnTo>
                    <a:pt x="1716050" y="198831"/>
                  </a:lnTo>
                  <a:lnTo>
                    <a:pt x="1716088" y="197447"/>
                  </a:lnTo>
                  <a:lnTo>
                    <a:pt x="1716088" y="196113"/>
                  </a:lnTo>
                  <a:lnTo>
                    <a:pt x="1716088" y="196799"/>
                  </a:lnTo>
                  <a:lnTo>
                    <a:pt x="1716088" y="195415"/>
                  </a:lnTo>
                  <a:lnTo>
                    <a:pt x="1716139" y="195415"/>
                  </a:lnTo>
                  <a:lnTo>
                    <a:pt x="1716139" y="194716"/>
                  </a:lnTo>
                  <a:lnTo>
                    <a:pt x="1716139" y="196113"/>
                  </a:lnTo>
                  <a:lnTo>
                    <a:pt x="1716139" y="195415"/>
                  </a:lnTo>
                  <a:lnTo>
                    <a:pt x="1716190" y="195415"/>
                  </a:lnTo>
                  <a:lnTo>
                    <a:pt x="1716190" y="193383"/>
                  </a:lnTo>
                  <a:lnTo>
                    <a:pt x="1716190" y="196799"/>
                  </a:lnTo>
                  <a:lnTo>
                    <a:pt x="1716291" y="196799"/>
                  </a:lnTo>
                  <a:lnTo>
                    <a:pt x="1716291" y="196113"/>
                  </a:lnTo>
                  <a:lnTo>
                    <a:pt x="1716291" y="197447"/>
                  </a:lnTo>
                  <a:lnTo>
                    <a:pt x="1716342" y="197447"/>
                  </a:lnTo>
                  <a:lnTo>
                    <a:pt x="1716342" y="196799"/>
                  </a:lnTo>
                  <a:lnTo>
                    <a:pt x="1716342" y="197447"/>
                  </a:lnTo>
                  <a:lnTo>
                    <a:pt x="1716393" y="197447"/>
                  </a:lnTo>
                  <a:lnTo>
                    <a:pt x="1716393" y="198831"/>
                  </a:lnTo>
                  <a:lnTo>
                    <a:pt x="1716393" y="197447"/>
                  </a:lnTo>
                  <a:lnTo>
                    <a:pt x="1716393" y="198831"/>
                  </a:lnTo>
                  <a:lnTo>
                    <a:pt x="1716494" y="198831"/>
                  </a:lnTo>
                  <a:lnTo>
                    <a:pt x="1716494" y="199530"/>
                  </a:lnTo>
                  <a:lnTo>
                    <a:pt x="1716494" y="198831"/>
                  </a:lnTo>
                  <a:lnTo>
                    <a:pt x="1716494" y="199530"/>
                  </a:lnTo>
                  <a:lnTo>
                    <a:pt x="1716545" y="199530"/>
                  </a:lnTo>
                  <a:lnTo>
                    <a:pt x="1716545" y="198831"/>
                  </a:lnTo>
                  <a:lnTo>
                    <a:pt x="1716545" y="199530"/>
                  </a:lnTo>
                  <a:lnTo>
                    <a:pt x="1716545" y="198831"/>
                  </a:lnTo>
                  <a:lnTo>
                    <a:pt x="1716596" y="197447"/>
                  </a:lnTo>
                  <a:lnTo>
                    <a:pt x="1716596" y="196113"/>
                  </a:lnTo>
                  <a:lnTo>
                    <a:pt x="1716634" y="196113"/>
                  </a:lnTo>
                  <a:lnTo>
                    <a:pt x="1716634" y="195415"/>
                  </a:lnTo>
                  <a:lnTo>
                    <a:pt x="1716634" y="196113"/>
                  </a:lnTo>
                  <a:lnTo>
                    <a:pt x="1716634" y="193383"/>
                  </a:lnTo>
                  <a:lnTo>
                    <a:pt x="1716634" y="196113"/>
                  </a:lnTo>
                  <a:lnTo>
                    <a:pt x="1716736" y="195415"/>
                  </a:lnTo>
                  <a:lnTo>
                    <a:pt x="1716736" y="193383"/>
                  </a:lnTo>
                  <a:lnTo>
                    <a:pt x="1716736" y="196799"/>
                  </a:lnTo>
                  <a:lnTo>
                    <a:pt x="1716787" y="196799"/>
                  </a:lnTo>
                  <a:lnTo>
                    <a:pt x="1716787" y="195415"/>
                  </a:lnTo>
                  <a:lnTo>
                    <a:pt x="1716787" y="196799"/>
                  </a:lnTo>
                  <a:lnTo>
                    <a:pt x="1716787" y="196113"/>
                  </a:lnTo>
                  <a:lnTo>
                    <a:pt x="1716837" y="196799"/>
                  </a:lnTo>
                  <a:lnTo>
                    <a:pt x="1716837" y="195415"/>
                  </a:lnTo>
                  <a:lnTo>
                    <a:pt x="1716837" y="196799"/>
                  </a:lnTo>
                  <a:lnTo>
                    <a:pt x="1716939" y="196799"/>
                  </a:lnTo>
                  <a:lnTo>
                    <a:pt x="1716939" y="197447"/>
                  </a:lnTo>
                  <a:lnTo>
                    <a:pt x="1716990" y="197447"/>
                  </a:lnTo>
                  <a:lnTo>
                    <a:pt x="1716990" y="198831"/>
                  </a:lnTo>
                  <a:lnTo>
                    <a:pt x="1716990" y="197447"/>
                  </a:lnTo>
                  <a:lnTo>
                    <a:pt x="1716990" y="199530"/>
                  </a:lnTo>
                  <a:lnTo>
                    <a:pt x="1716990" y="198831"/>
                  </a:lnTo>
                  <a:lnTo>
                    <a:pt x="1717040" y="198831"/>
                  </a:lnTo>
                  <a:lnTo>
                    <a:pt x="1717040" y="197447"/>
                  </a:lnTo>
                  <a:lnTo>
                    <a:pt x="1717040" y="198831"/>
                  </a:lnTo>
                  <a:lnTo>
                    <a:pt x="1717040" y="197447"/>
                  </a:lnTo>
                  <a:lnTo>
                    <a:pt x="1717040" y="198831"/>
                  </a:lnTo>
                  <a:lnTo>
                    <a:pt x="1717091" y="197447"/>
                  </a:lnTo>
                  <a:lnTo>
                    <a:pt x="1717091" y="195415"/>
                  </a:lnTo>
                  <a:lnTo>
                    <a:pt x="1717091" y="196113"/>
                  </a:lnTo>
                  <a:lnTo>
                    <a:pt x="1717180" y="196113"/>
                  </a:lnTo>
                  <a:lnTo>
                    <a:pt x="1717180" y="193383"/>
                  </a:lnTo>
                  <a:lnTo>
                    <a:pt x="1717180" y="194716"/>
                  </a:lnTo>
                  <a:lnTo>
                    <a:pt x="1717180" y="193383"/>
                  </a:lnTo>
                  <a:lnTo>
                    <a:pt x="1717180" y="196113"/>
                  </a:lnTo>
                  <a:lnTo>
                    <a:pt x="1717231" y="196113"/>
                  </a:lnTo>
                  <a:lnTo>
                    <a:pt x="1717231" y="192684"/>
                  </a:lnTo>
                  <a:lnTo>
                    <a:pt x="1717231" y="196799"/>
                  </a:lnTo>
                  <a:lnTo>
                    <a:pt x="1717282" y="196113"/>
                  </a:lnTo>
                  <a:lnTo>
                    <a:pt x="1717282" y="195415"/>
                  </a:lnTo>
                  <a:lnTo>
                    <a:pt x="1717282" y="196113"/>
                  </a:lnTo>
                  <a:lnTo>
                    <a:pt x="1717333" y="195415"/>
                  </a:lnTo>
                  <a:lnTo>
                    <a:pt x="1717333" y="196113"/>
                  </a:lnTo>
                  <a:lnTo>
                    <a:pt x="1717333" y="195415"/>
                  </a:lnTo>
                  <a:lnTo>
                    <a:pt x="1717333" y="196799"/>
                  </a:lnTo>
                  <a:lnTo>
                    <a:pt x="1717434" y="196799"/>
                  </a:lnTo>
                  <a:lnTo>
                    <a:pt x="1717434" y="196113"/>
                  </a:lnTo>
                  <a:lnTo>
                    <a:pt x="1717434" y="197447"/>
                  </a:lnTo>
                  <a:lnTo>
                    <a:pt x="1717434" y="196799"/>
                  </a:lnTo>
                  <a:lnTo>
                    <a:pt x="1717434" y="197447"/>
                  </a:lnTo>
                  <a:lnTo>
                    <a:pt x="1717434" y="196799"/>
                  </a:lnTo>
                  <a:lnTo>
                    <a:pt x="1717434" y="197447"/>
                  </a:lnTo>
                  <a:lnTo>
                    <a:pt x="1717434" y="196799"/>
                  </a:lnTo>
                  <a:lnTo>
                    <a:pt x="1717485" y="196799"/>
                  </a:lnTo>
                  <a:lnTo>
                    <a:pt x="1717485" y="198831"/>
                  </a:lnTo>
                  <a:lnTo>
                    <a:pt x="1717485" y="197447"/>
                  </a:lnTo>
                  <a:lnTo>
                    <a:pt x="1717485" y="198831"/>
                  </a:lnTo>
                  <a:lnTo>
                    <a:pt x="1717485" y="197447"/>
                  </a:lnTo>
                  <a:lnTo>
                    <a:pt x="1717485" y="198831"/>
                  </a:lnTo>
                  <a:lnTo>
                    <a:pt x="1717536" y="198831"/>
                  </a:lnTo>
                  <a:lnTo>
                    <a:pt x="1717536" y="197447"/>
                  </a:lnTo>
                  <a:lnTo>
                    <a:pt x="1717536" y="198831"/>
                  </a:lnTo>
                  <a:lnTo>
                    <a:pt x="1717536" y="196799"/>
                  </a:lnTo>
                  <a:lnTo>
                    <a:pt x="1717536" y="197447"/>
                  </a:lnTo>
                  <a:lnTo>
                    <a:pt x="1717637" y="197447"/>
                  </a:lnTo>
                  <a:lnTo>
                    <a:pt x="1717637" y="196799"/>
                  </a:lnTo>
                  <a:lnTo>
                    <a:pt x="1717637" y="197447"/>
                  </a:lnTo>
                  <a:lnTo>
                    <a:pt x="1717637" y="196113"/>
                  </a:lnTo>
                  <a:lnTo>
                    <a:pt x="1717675" y="196113"/>
                  </a:lnTo>
                  <a:lnTo>
                    <a:pt x="1717675" y="194716"/>
                  </a:lnTo>
                  <a:lnTo>
                    <a:pt x="1717675" y="195415"/>
                  </a:lnTo>
                  <a:lnTo>
                    <a:pt x="1717675" y="194716"/>
                  </a:lnTo>
                  <a:lnTo>
                    <a:pt x="1717675" y="196799"/>
                  </a:lnTo>
                  <a:lnTo>
                    <a:pt x="1717675" y="195415"/>
                  </a:lnTo>
                  <a:lnTo>
                    <a:pt x="1717726" y="195415"/>
                  </a:lnTo>
                  <a:lnTo>
                    <a:pt x="1717726" y="193383"/>
                  </a:lnTo>
                  <a:lnTo>
                    <a:pt x="1717726" y="196799"/>
                  </a:lnTo>
                  <a:lnTo>
                    <a:pt x="1717726" y="196113"/>
                  </a:lnTo>
                  <a:lnTo>
                    <a:pt x="1717777" y="196113"/>
                  </a:lnTo>
                  <a:lnTo>
                    <a:pt x="1717777" y="195415"/>
                  </a:lnTo>
                  <a:lnTo>
                    <a:pt x="1717777" y="196799"/>
                  </a:lnTo>
                  <a:lnTo>
                    <a:pt x="1717777" y="195415"/>
                  </a:lnTo>
                  <a:lnTo>
                    <a:pt x="1717879" y="195415"/>
                  </a:lnTo>
                  <a:lnTo>
                    <a:pt x="1717879" y="196113"/>
                  </a:lnTo>
                  <a:lnTo>
                    <a:pt x="1717879" y="195415"/>
                  </a:lnTo>
                  <a:lnTo>
                    <a:pt x="1717930" y="196113"/>
                  </a:lnTo>
                  <a:lnTo>
                    <a:pt x="1717930" y="195415"/>
                  </a:lnTo>
                  <a:lnTo>
                    <a:pt x="1717930" y="196799"/>
                  </a:lnTo>
                  <a:lnTo>
                    <a:pt x="1717930" y="196113"/>
                  </a:lnTo>
                  <a:lnTo>
                    <a:pt x="1717930" y="196799"/>
                  </a:lnTo>
                  <a:lnTo>
                    <a:pt x="1717980" y="196799"/>
                  </a:lnTo>
                  <a:lnTo>
                    <a:pt x="1717980" y="196113"/>
                  </a:lnTo>
                  <a:lnTo>
                    <a:pt x="1717980" y="196799"/>
                  </a:lnTo>
                  <a:lnTo>
                    <a:pt x="1717980" y="196113"/>
                  </a:lnTo>
                  <a:lnTo>
                    <a:pt x="1717980" y="196799"/>
                  </a:lnTo>
                  <a:lnTo>
                    <a:pt x="1718133" y="196799"/>
                  </a:lnTo>
                  <a:lnTo>
                    <a:pt x="1718133" y="195415"/>
                  </a:lnTo>
                  <a:lnTo>
                    <a:pt x="1718133" y="196113"/>
                  </a:lnTo>
                  <a:lnTo>
                    <a:pt x="1718184" y="195415"/>
                  </a:lnTo>
                  <a:lnTo>
                    <a:pt x="1718184" y="194716"/>
                  </a:lnTo>
                  <a:lnTo>
                    <a:pt x="1718184" y="196799"/>
                  </a:lnTo>
                  <a:lnTo>
                    <a:pt x="1718184" y="195415"/>
                  </a:lnTo>
                  <a:lnTo>
                    <a:pt x="1718222" y="195415"/>
                  </a:lnTo>
                  <a:lnTo>
                    <a:pt x="1718222" y="194716"/>
                  </a:lnTo>
                  <a:lnTo>
                    <a:pt x="1718222" y="197447"/>
                  </a:lnTo>
                  <a:lnTo>
                    <a:pt x="1718222" y="195415"/>
                  </a:lnTo>
                  <a:lnTo>
                    <a:pt x="1718323" y="195415"/>
                  </a:lnTo>
                  <a:lnTo>
                    <a:pt x="1718323" y="196113"/>
                  </a:lnTo>
                  <a:lnTo>
                    <a:pt x="1718323" y="195415"/>
                  </a:lnTo>
                  <a:lnTo>
                    <a:pt x="1718323" y="197447"/>
                  </a:lnTo>
                  <a:lnTo>
                    <a:pt x="1718323" y="196113"/>
                  </a:lnTo>
                  <a:lnTo>
                    <a:pt x="1718374" y="196113"/>
                  </a:lnTo>
                  <a:lnTo>
                    <a:pt x="1718374" y="195415"/>
                  </a:lnTo>
                  <a:lnTo>
                    <a:pt x="1718374" y="196799"/>
                  </a:lnTo>
                  <a:lnTo>
                    <a:pt x="1718374" y="196113"/>
                  </a:lnTo>
                  <a:lnTo>
                    <a:pt x="1718374" y="196799"/>
                  </a:lnTo>
                  <a:lnTo>
                    <a:pt x="1718425" y="196799"/>
                  </a:lnTo>
                  <a:lnTo>
                    <a:pt x="1718425" y="197447"/>
                  </a:lnTo>
                  <a:lnTo>
                    <a:pt x="1718425" y="196113"/>
                  </a:lnTo>
                  <a:lnTo>
                    <a:pt x="1718425" y="196799"/>
                  </a:lnTo>
                  <a:lnTo>
                    <a:pt x="1718526" y="196799"/>
                  </a:lnTo>
                  <a:lnTo>
                    <a:pt x="1718526" y="197447"/>
                  </a:lnTo>
                  <a:lnTo>
                    <a:pt x="1718526" y="196799"/>
                  </a:lnTo>
                  <a:lnTo>
                    <a:pt x="1718526" y="197447"/>
                  </a:lnTo>
                  <a:lnTo>
                    <a:pt x="1718526" y="196799"/>
                  </a:lnTo>
                  <a:lnTo>
                    <a:pt x="1718577" y="196799"/>
                  </a:lnTo>
                  <a:lnTo>
                    <a:pt x="1718577" y="198831"/>
                  </a:lnTo>
                  <a:lnTo>
                    <a:pt x="1718577" y="196799"/>
                  </a:lnTo>
                  <a:lnTo>
                    <a:pt x="1718628" y="196799"/>
                  </a:lnTo>
                  <a:lnTo>
                    <a:pt x="1718628" y="195415"/>
                  </a:lnTo>
                  <a:lnTo>
                    <a:pt x="1718628" y="196113"/>
                  </a:lnTo>
                  <a:lnTo>
                    <a:pt x="1718628" y="195415"/>
                  </a:lnTo>
                  <a:lnTo>
                    <a:pt x="1718679" y="195415"/>
                  </a:lnTo>
                  <a:lnTo>
                    <a:pt x="1718679" y="196113"/>
                  </a:lnTo>
                  <a:lnTo>
                    <a:pt x="1718679" y="195415"/>
                  </a:lnTo>
                  <a:lnTo>
                    <a:pt x="1718679" y="196799"/>
                  </a:lnTo>
                  <a:lnTo>
                    <a:pt x="1718679" y="196113"/>
                  </a:lnTo>
                  <a:lnTo>
                    <a:pt x="1718768" y="196113"/>
                  </a:lnTo>
                  <a:lnTo>
                    <a:pt x="1718768" y="195415"/>
                  </a:lnTo>
                  <a:lnTo>
                    <a:pt x="1718768" y="197447"/>
                  </a:lnTo>
                  <a:lnTo>
                    <a:pt x="1718768" y="196799"/>
                  </a:lnTo>
                  <a:lnTo>
                    <a:pt x="1718819" y="196799"/>
                  </a:lnTo>
                  <a:lnTo>
                    <a:pt x="1718819" y="197447"/>
                  </a:lnTo>
                  <a:lnTo>
                    <a:pt x="1718819" y="196799"/>
                  </a:lnTo>
                  <a:lnTo>
                    <a:pt x="1718819" y="197447"/>
                  </a:lnTo>
                  <a:lnTo>
                    <a:pt x="1718920" y="197447"/>
                  </a:lnTo>
                  <a:lnTo>
                    <a:pt x="1718920" y="198831"/>
                  </a:lnTo>
                  <a:lnTo>
                    <a:pt x="1718920" y="197447"/>
                  </a:lnTo>
                  <a:lnTo>
                    <a:pt x="1718920" y="198831"/>
                  </a:lnTo>
                  <a:lnTo>
                    <a:pt x="1718920" y="197447"/>
                  </a:lnTo>
                  <a:lnTo>
                    <a:pt x="1718920" y="198831"/>
                  </a:lnTo>
                  <a:lnTo>
                    <a:pt x="1719022" y="198831"/>
                  </a:lnTo>
                  <a:lnTo>
                    <a:pt x="1719022" y="196799"/>
                  </a:lnTo>
                  <a:lnTo>
                    <a:pt x="1719022" y="197447"/>
                  </a:lnTo>
                  <a:lnTo>
                    <a:pt x="1719072" y="197447"/>
                  </a:lnTo>
                  <a:lnTo>
                    <a:pt x="1719072" y="196113"/>
                  </a:lnTo>
                  <a:lnTo>
                    <a:pt x="1719123" y="196113"/>
                  </a:lnTo>
                  <a:lnTo>
                    <a:pt x="1719123" y="194716"/>
                  </a:lnTo>
                  <a:lnTo>
                    <a:pt x="1719123" y="195415"/>
                  </a:lnTo>
                  <a:lnTo>
                    <a:pt x="1719225" y="196113"/>
                  </a:lnTo>
                  <a:lnTo>
                    <a:pt x="1719225" y="194716"/>
                  </a:lnTo>
                  <a:lnTo>
                    <a:pt x="1719225" y="195415"/>
                  </a:lnTo>
                  <a:lnTo>
                    <a:pt x="1719263" y="196113"/>
                  </a:lnTo>
                  <a:lnTo>
                    <a:pt x="1719263" y="197447"/>
                  </a:lnTo>
                  <a:lnTo>
                    <a:pt x="1719263" y="196799"/>
                  </a:lnTo>
                  <a:lnTo>
                    <a:pt x="1719263" y="197447"/>
                  </a:lnTo>
                  <a:lnTo>
                    <a:pt x="1719263" y="196113"/>
                  </a:lnTo>
                  <a:lnTo>
                    <a:pt x="1719263" y="196799"/>
                  </a:lnTo>
                  <a:lnTo>
                    <a:pt x="1719314" y="196799"/>
                  </a:lnTo>
                  <a:lnTo>
                    <a:pt x="1719314" y="197447"/>
                  </a:lnTo>
                  <a:lnTo>
                    <a:pt x="1719314" y="196799"/>
                  </a:lnTo>
                  <a:lnTo>
                    <a:pt x="1719314" y="197447"/>
                  </a:lnTo>
                  <a:lnTo>
                    <a:pt x="1719365" y="197447"/>
                  </a:lnTo>
                  <a:lnTo>
                    <a:pt x="1719365" y="198831"/>
                  </a:lnTo>
                  <a:lnTo>
                    <a:pt x="1719365" y="197447"/>
                  </a:lnTo>
                  <a:lnTo>
                    <a:pt x="1719365" y="198831"/>
                  </a:lnTo>
                  <a:lnTo>
                    <a:pt x="1719365" y="197447"/>
                  </a:lnTo>
                  <a:lnTo>
                    <a:pt x="1719365" y="198831"/>
                  </a:lnTo>
                  <a:lnTo>
                    <a:pt x="1719466" y="198831"/>
                  </a:lnTo>
                  <a:lnTo>
                    <a:pt x="1719466" y="197447"/>
                  </a:lnTo>
                  <a:lnTo>
                    <a:pt x="1719466" y="198831"/>
                  </a:lnTo>
                  <a:lnTo>
                    <a:pt x="1719466" y="197447"/>
                  </a:lnTo>
                  <a:lnTo>
                    <a:pt x="1719466" y="198831"/>
                  </a:lnTo>
                  <a:lnTo>
                    <a:pt x="1719517" y="197447"/>
                  </a:lnTo>
                  <a:lnTo>
                    <a:pt x="1719517" y="198831"/>
                  </a:lnTo>
                  <a:lnTo>
                    <a:pt x="1719517" y="197447"/>
                  </a:lnTo>
                  <a:lnTo>
                    <a:pt x="1719517" y="198831"/>
                  </a:lnTo>
                  <a:lnTo>
                    <a:pt x="1719517" y="197447"/>
                  </a:lnTo>
                  <a:lnTo>
                    <a:pt x="1719517" y="198831"/>
                  </a:lnTo>
                  <a:lnTo>
                    <a:pt x="1719517" y="197447"/>
                  </a:lnTo>
                  <a:lnTo>
                    <a:pt x="1719568" y="197447"/>
                  </a:lnTo>
                  <a:lnTo>
                    <a:pt x="1719568" y="196799"/>
                  </a:lnTo>
                  <a:lnTo>
                    <a:pt x="1719669" y="196799"/>
                  </a:lnTo>
                  <a:lnTo>
                    <a:pt x="1719669" y="195415"/>
                  </a:lnTo>
                  <a:lnTo>
                    <a:pt x="1719669" y="196799"/>
                  </a:lnTo>
                  <a:lnTo>
                    <a:pt x="1719720" y="196799"/>
                  </a:lnTo>
                  <a:lnTo>
                    <a:pt x="1719720" y="195415"/>
                  </a:lnTo>
                  <a:lnTo>
                    <a:pt x="1719720" y="197447"/>
                  </a:lnTo>
                  <a:lnTo>
                    <a:pt x="1719771" y="197447"/>
                  </a:lnTo>
                  <a:lnTo>
                    <a:pt x="1719771" y="196113"/>
                  </a:lnTo>
                  <a:lnTo>
                    <a:pt x="1719771" y="198831"/>
                  </a:lnTo>
                  <a:lnTo>
                    <a:pt x="1719809" y="198831"/>
                  </a:lnTo>
                  <a:lnTo>
                    <a:pt x="1719809" y="197447"/>
                  </a:lnTo>
                  <a:lnTo>
                    <a:pt x="1719809" y="198831"/>
                  </a:lnTo>
                  <a:lnTo>
                    <a:pt x="1719911" y="197447"/>
                  </a:lnTo>
                  <a:lnTo>
                    <a:pt x="1719911" y="198831"/>
                  </a:lnTo>
                  <a:lnTo>
                    <a:pt x="1719911" y="197447"/>
                  </a:lnTo>
                  <a:lnTo>
                    <a:pt x="1719911" y="198831"/>
                  </a:lnTo>
                  <a:lnTo>
                    <a:pt x="1719962" y="198831"/>
                  </a:lnTo>
                  <a:lnTo>
                    <a:pt x="1719962" y="199530"/>
                  </a:lnTo>
                  <a:lnTo>
                    <a:pt x="1719962" y="197447"/>
                  </a:lnTo>
                  <a:lnTo>
                    <a:pt x="1719962" y="198831"/>
                  </a:lnTo>
                  <a:lnTo>
                    <a:pt x="1719962" y="197447"/>
                  </a:lnTo>
                  <a:lnTo>
                    <a:pt x="1720012" y="197447"/>
                  </a:lnTo>
                  <a:lnTo>
                    <a:pt x="1720012" y="198831"/>
                  </a:lnTo>
                  <a:lnTo>
                    <a:pt x="1720012" y="197447"/>
                  </a:lnTo>
                  <a:lnTo>
                    <a:pt x="1720114" y="197447"/>
                  </a:lnTo>
                  <a:lnTo>
                    <a:pt x="1720114" y="196799"/>
                  </a:lnTo>
                  <a:lnTo>
                    <a:pt x="1720114" y="197447"/>
                  </a:lnTo>
                  <a:lnTo>
                    <a:pt x="1720114" y="196799"/>
                  </a:lnTo>
                  <a:lnTo>
                    <a:pt x="1720165" y="196799"/>
                  </a:lnTo>
                  <a:lnTo>
                    <a:pt x="1720165" y="196113"/>
                  </a:lnTo>
                  <a:lnTo>
                    <a:pt x="1720165" y="196799"/>
                  </a:lnTo>
                  <a:lnTo>
                    <a:pt x="1720165" y="194716"/>
                  </a:lnTo>
                  <a:lnTo>
                    <a:pt x="1720165" y="195415"/>
                  </a:lnTo>
                  <a:lnTo>
                    <a:pt x="1720165" y="194716"/>
                  </a:lnTo>
                  <a:lnTo>
                    <a:pt x="1720215" y="194716"/>
                  </a:lnTo>
                  <a:lnTo>
                    <a:pt x="1720215" y="195415"/>
                  </a:lnTo>
                  <a:lnTo>
                    <a:pt x="1720215" y="194716"/>
                  </a:lnTo>
                  <a:lnTo>
                    <a:pt x="1720215" y="195415"/>
                  </a:lnTo>
                  <a:lnTo>
                    <a:pt x="1720215" y="194716"/>
                  </a:lnTo>
                  <a:lnTo>
                    <a:pt x="1720215" y="196113"/>
                  </a:lnTo>
                  <a:lnTo>
                    <a:pt x="1720266" y="196113"/>
                  </a:lnTo>
                  <a:lnTo>
                    <a:pt x="1720266" y="196799"/>
                  </a:lnTo>
                  <a:lnTo>
                    <a:pt x="1720266" y="196113"/>
                  </a:lnTo>
                  <a:lnTo>
                    <a:pt x="1720355" y="196799"/>
                  </a:lnTo>
                  <a:lnTo>
                    <a:pt x="1720355" y="197447"/>
                  </a:lnTo>
                  <a:lnTo>
                    <a:pt x="1720355" y="196799"/>
                  </a:lnTo>
                  <a:lnTo>
                    <a:pt x="1720355" y="197447"/>
                  </a:lnTo>
                  <a:lnTo>
                    <a:pt x="1720406" y="197447"/>
                  </a:lnTo>
                  <a:lnTo>
                    <a:pt x="1720406" y="196799"/>
                  </a:lnTo>
                  <a:lnTo>
                    <a:pt x="1720406" y="198831"/>
                  </a:lnTo>
                  <a:lnTo>
                    <a:pt x="1720406" y="197447"/>
                  </a:lnTo>
                  <a:lnTo>
                    <a:pt x="1720406" y="198831"/>
                  </a:lnTo>
                  <a:lnTo>
                    <a:pt x="1720457" y="198831"/>
                  </a:lnTo>
                  <a:lnTo>
                    <a:pt x="1720457" y="197447"/>
                  </a:lnTo>
                  <a:lnTo>
                    <a:pt x="1720457" y="198831"/>
                  </a:lnTo>
                  <a:lnTo>
                    <a:pt x="1720508" y="198831"/>
                  </a:lnTo>
                  <a:lnTo>
                    <a:pt x="1720508" y="199530"/>
                  </a:lnTo>
                  <a:lnTo>
                    <a:pt x="1720508" y="198831"/>
                  </a:lnTo>
                  <a:lnTo>
                    <a:pt x="1720609" y="198831"/>
                  </a:lnTo>
                  <a:lnTo>
                    <a:pt x="1720609" y="197447"/>
                  </a:lnTo>
                  <a:lnTo>
                    <a:pt x="1720609" y="198831"/>
                  </a:lnTo>
                  <a:lnTo>
                    <a:pt x="1720609" y="196799"/>
                  </a:lnTo>
                  <a:lnTo>
                    <a:pt x="1720660" y="196799"/>
                  </a:lnTo>
                  <a:lnTo>
                    <a:pt x="1720660" y="195415"/>
                  </a:lnTo>
                  <a:lnTo>
                    <a:pt x="1720711" y="196113"/>
                  </a:lnTo>
                  <a:lnTo>
                    <a:pt x="1720711" y="194716"/>
                  </a:lnTo>
                  <a:lnTo>
                    <a:pt x="1720711" y="197447"/>
                  </a:lnTo>
                  <a:lnTo>
                    <a:pt x="1720711" y="196799"/>
                  </a:lnTo>
                  <a:lnTo>
                    <a:pt x="1720812" y="196799"/>
                  </a:lnTo>
                  <a:lnTo>
                    <a:pt x="1720812" y="196113"/>
                  </a:lnTo>
                  <a:lnTo>
                    <a:pt x="1720812" y="197447"/>
                  </a:lnTo>
                  <a:lnTo>
                    <a:pt x="1720812" y="196799"/>
                  </a:lnTo>
                  <a:lnTo>
                    <a:pt x="1720850" y="196799"/>
                  </a:lnTo>
                  <a:lnTo>
                    <a:pt x="1720850" y="197447"/>
                  </a:lnTo>
                  <a:lnTo>
                    <a:pt x="1720850" y="196799"/>
                  </a:lnTo>
                  <a:lnTo>
                    <a:pt x="1720850" y="197447"/>
                  </a:lnTo>
                  <a:lnTo>
                    <a:pt x="1720850" y="196799"/>
                  </a:lnTo>
                  <a:lnTo>
                    <a:pt x="1720901" y="196799"/>
                  </a:lnTo>
                  <a:lnTo>
                    <a:pt x="1720901" y="197447"/>
                  </a:lnTo>
                  <a:lnTo>
                    <a:pt x="1720952" y="197447"/>
                  </a:lnTo>
                  <a:lnTo>
                    <a:pt x="1720952" y="196799"/>
                  </a:lnTo>
                  <a:lnTo>
                    <a:pt x="1720952" y="198831"/>
                  </a:lnTo>
                  <a:lnTo>
                    <a:pt x="1720952" y="197447"/>
                  </a:lnTo>
                  <a:lnTo>
                    <a:pt x="1720952" y="198831"/>
                  </a:lnTo>
                  <a:lnTo>
                    <a:pt x="1720952" y="197447"/>
                  </a:lnTo>
                  <a:lnTo>
                    <a:pt x="1720952" y="198831"/>
                  </a:lnTo>
                  <a:lnTo>
                    <a:pt x="1721054" y="198831"/>
                  </a:lnTo>
                  <a:lnTo>
                    <a:pt x="1721054" y="197447"/>
                  </a:lnTo>
                  <a:lnTo>
                    <a:pt x="1721105" y="197447"/>
                  </a:lnTo>
                  <a:lnTo>
                    <a:pt x="1721105" y="196799"/>
                  </a:lnTo>
                  <a:lnTo>
                    <a:pt x="1721105" y="197447"/>
                  </a:lnTo>
                  <a:lnTo>
                    <a:pt x="1721105" y="196799"/>
                  </a:lnTo>
                  <a:lnTo>
                    <a:pt x="1721105" y="197447"/>
                  </a:lnTo>
                  <a:lnTo>
                    <a:pt x="1721105" y="196113"/>
                  </a:lnTo>
                  <a:lnTo>
                    <a:pt x="1721155" y="195415"/>
                  </a:lnTo>
                  <a:lnTo>
                    <a:pt x="1721155" y="198831"/>
                  </a:lnTo>
                  <a:lnTo>
                    <a:pt x="1721155" y="196113"/>
                  </a:lnTo>
                  <a:lnTo>
                    <a:pt x="1721155" y="196799"/>
                  </a:lnTo>
                  <a:lnTo>
                    <a:pt x="1721257" y="196799"/>
                  </a:lnTo>
                  <a:lnTo>
                    <a:pt x="1721257" y="199530"/>
                  </a:lnTo>
                  <a:lnTo>
                    <a:pt x="1721257" y="197447"/>
                  </a:lnTo>
                  <a:lnTo>
                    <a:pt x="1721308" y="198831"/>
                  </a:lnTo>
                  <a:lnTo>
                    <a:pt x="1721308" y="200228"/>
                  </a:lnTo>
                  <a:lnTo>
                    <a:pt x="1721308" y="198831"/>
                  </a:lnTo>
                  <a:lnTo>
                    <a:pt x="1721308" y="199530"/>
                  </a:lnTo>
                  <a:lnTo>
                    <a:pt x="1721308" y="198831"/>
                  </a:lnTo>
                  <a:lnTo>
                    <a:pt x="1721359" y="199530"/>
                  </a:lnTo>
                  <a:lnTo>
                    <a:pt x="1721359" y="198831"/>
                  </a:lnTo>
                  <a:lnTo>
                    <a:pt x="1721359" y="199530"/>
                  </a:lnTo>
                  <a:lnTo>
                    <a:pt x="1721359" y="198831"/>
                  </a:lnTo>
                  <a:lnTo>
                    <a:pt x="1721359" y="199530"/>
                  </a:lnTo>
                  <a:lnTo>
                    <a:pt x="1721397" y="199530"/>
                  </a:lnTo>
                  <a:lnTo>
                    <a:pt x="1721397" y="198831"/>
                  </a:lnTo>
                  <a:lnTo>
                    <a:pt x="1721397" y="199530"/>
                  </a:lnTo>
                  <a:lnTo>
                    <a:pt x="1721397" y="198831"/>
                  </a:lnTo>
                  <a:lnTo>
                    <a:pt x="1721397" y="199530"/>
                  </a:lnTo>
                  <a:lnTo>
                    <a:pt x="1721397" y="198831"/>
                  </a:lnTo>
                  <a:lnTo>
                    <a:pt x="1721498" y="198831"/>
                  </a:lnTo>
                  <a:lnTo>
                    <a:pt x="1721498" y="199530"/>
                  </a:lnTo>
                  <a:lnTo>
                    <a:pt x="1721498" y="198831"/>
                  </a:lnTo>
                  <a:lnTo>
                    <a:pt x="1721498" y="199530"/>
                  </a:lnTo>
                  <a:lnTo>
                    <a:pt x="1721498" y="198831"/>
                  </a:lnTo>
                  <a:lnTo>
                    <a:pt x="1721549" y="198831"/>
                  </a:lnTo>
                  <a:lnTo>
                    <a:pt x="1721549" y="197447"/>
                  </a:lnTo>
                  <a:lnTo>
                    <a:pt x="1721549" y="198831"/>
                  </a:lnTo>
                  <a:lnTo>
                    <a:pt x="1721549" y="197447"/>
                  </a:lnTo>
                  <a:lnTo>
                    <a:pt x="1721600" y="197447"/>
                  </a:lnTo>
                  <a:lnTo>
                    <a:pt x="1721600" y="196799"/>
                  </a:lnTo>
                  <a:lnTo>
                    <a:pt x="1721600" y="197447"/>
                  </a:lnTo>
                  <a:lnTo>
                    <a:pt x="1721600" y="196799"/>
                  </a:lnTo>
                  <a:lnTo>
                    <a:pt x="1721600" y="198831"/>
                  </a:lnTo>
                  <a:lnTo>
                    <a:pt x="1721600" y="197447"/>
                  </a:lnTo>
                  <a:lnTo>
                    <a:pt x="1721701" y="197447"/>
                  </a:lnTo>
                  <a:lnTo>
                    <a:pt x="1721701" y="200228"/>
                  </a:lnTo>
                  <a:lnTo>
                    <a:pt x="1721701" y="198831"/>
                  </a:lnTo>
                  <a:lnTo>
                    <a:pt x="1721752" y="198831"/>
                  </a:lnTo>
                  <a:lnTo>
                    <a:pt x="1721752" y="200228"/>
                  </a:lnTo>
                  <a:lnTo>
                    <a:pt x="1721752" y="199530"/>
                  </a:lnTo>
                  <a:lnTo>
                    <a:pt x="1721752" y="200228"/>
                  </a:lnTo>
                  <a:lnTo>
                    <a:pt x="1721803" y="199530"/>
                  </a:lnTo>
                  <a:lnTo>
                    <a:pt x="1721803" y="200876"/>
                  </a:lnTo>
                  <a:lnTo>
                    <a:pt x="1721803" y="200228"/>
                  </a:lnTo>
                  <a:lnTo>
                    <a:pt x="1721854" y="200228"/>
                  </a:lnTo>
                  <a:lnTo>
                    <a:pt x="1721854" y="199530"/>
                  </a:lnTo>
                  <a:lnTo>
                    <a:pt x="1721854" y="200228"/>
                  </a:lnTo>
                  <a:lnTo>
                    <a:pt x="1721854" y="199530"/>
                  </a:lnTo>
                  <a:lnTo>
                    <a:pt x="1721854" y="200228"/>
                  </a:lnTo>
                  <a:lnTo>
                    <a:pt x="1721943" y="199530"/>
                  </a:lnTo>
                  <a:lnTo>
                    <a:pt x="1721943" y="200228"/>
                  </a:lnTo>
                  <a:lnTo>
                    <a:pt x="1721943" y="199530"/>
                  </a:lnTo>
                  <a:lnTo>
                    <a:pt x="1721943" y="200228"/>
                  </a:lnTo>
                  <a:lnTo>
                    <a:pt x="1721943" y="199530"/>
                  </a:lnTo>
                  <a:lnTo>
                    <a:pt x="1721943" y="200228"/>
                  </a:lnTo>
                  <a:lnTo>
                    <a:pt x="1721994" y="199530"/>
                  </a:lnTo>
                  <a:lnTo>
                    <a:pt x="1721994" y="198831"/>
                  </a:lnTo>
                  <a:lnTo>
                    <a:pt x="1721994" y="199530"/>
                  </a:lnTo>
                  <a:lnTo>
                    <a:pt x="1721994" y="197447"/>
                  </a:lnTo>
                  <a:lnTo>
                    <a:pt x="1722044" y="197447"/>
                  </a:lnTo>
                  <a:lnTo>
                    <a:pt x="1722044" y="196799"/>
                  </a:lnTo>
                  <a:lnTo>
                    <a:pt x="1722044" y="197447"/>
                  </a:lnTo>
                  <a:lnTo>
                    <a:pt x="1722044" y="196113"/>
                  </a:lnTo>
                  <a:lnTo>
                    <a:pt x="1722095" y="196113"/>
                  </a:lnTo>
                  <a:lnTo>
                    <a:pt x="1722095" y="195415"/>
                  </a:lnTo>
                  <a:lnTo>
                    <a:pt x="1722095" y="196799"/>
                  </a:lnTo>
                  <a:lnTo>
                    <a:pt x="1722095" y="195415"/>
                  </a:lnTo>
                  <a:lnTo>
                    <a:pt x="1722197" y="194716"/>
                  </a:lnTo>
                  <a:lnTo>
                    <a:pt x="1722197" y="198831"/>
                  </a:lnTo>
                  <a:lnTo>
                    <a:pt x="1722197" y="197447"/>
                  </a:lnTo>
                  <a:lnTo>
                    <a:pt x="1722247" y="197447"/>
                  </a:lnTo>
                  <a:lnTo>
                    <a:pt x="1722247" y="199530"/>
                  </a:lnTo>
                  <a:lnTo>
                    <a:pt x="1722247" y="198831"/>
                  </a:lnTo>
                  <a:lnTo>
                    <a:pt x="1722247" y="199530"/>
                  </a:lnTo>
                  <a:lnTo>
                    <a:pt x="1722247" y="198831"/>
                  </a:lnTo>
                  <a:lnTo>
                    <a:pt x="1722298" y="198831"/>
                  </a:lnTo>
                  <a:lnTo>
                    <a:pt x="1722298" y="200228"/>
                  </a:lnTo>
                  <a:lnTo>
                    <a:pt x="1722298" y="199530"/>
                  </a:lnTo>
                  <a:lnTo>
                    <a:pt x="1722298" y="200228"/>
                  </a:lnTo>
                  <a:lnTo>
                    <a:pt x="1722400" y="199530"/>
                  </a:lnTo>
                  <a:lnTo>
                    <a:pt x="1722400" y="200228"/>
                  </a:lnTo>
                  <a:lnTo>
                    <a:pt x="1722400" y="199530"/>
                  </a:lnTo>
                  <a:lnTo>
                    <a:pt x="1722438" y="199530"/>
                  </a:lnTo>
                  <a:lnTo>
                    <a:pt x="1722438" y="200228"/>
                  </a:lnTo>
                  <a:lnTo>
                    <a:pt x="1722438" y="199530"/>
                  </a:lnTo>
                  <a:lnTo>
                    <a:pt x="1722438" y="200228"/>
                  </a:lnTo>
                  <a:lnTo>
                    <a:pt x="1722489" y="200228"/>
                  </a:lnTo>
                  <a:lnTo>
                    <a:pt x="1722489" y="197447"/>
                  </a:lnTo>
                  <a:lnTo>
                    <a:pt x="1722540" y="197447"/>
                  </a:lnTo>
                  <a:lnTo>
                    <a:pt x="1722540" y="198831"/>
                  </a:lnTo>
                  <a:lnTo>
                    <a:pt x="1722540" y="196799"/>
                  </a:lnTo>
                  <a:lnTo>
                    <a:pt x="1722540" y="197447"/>
                  </a:lnTo>
                  <a:lnTo>
                    <a:pt x="1722641" y="197447"/>
                  </a:lnTo>
                  <a:lnTo>
                    <a:pt x="1722641" y="198831"/>
                  </a:lnTo>
                  <a:lnTo>
                    <a:pt x="1722641" y="196113"/>
                  </a:lnTo>
                  <a:lnTo>
                    <a:pt x="1722641" y="198831"/>
                  </a:lnTo>
                  <a:lnTo>
                    <a:pt x="1722692" y="198831"/>
                  </a:lnTo>
                  <a:lnTo>
                    <a:pt x="1722692" y="197447"/>
                  </a:lnTo>
                  <a:lnTo>
                    <a:pt x="1722692" y="199530"/>
                  </a:lnTo>
                  <a:lnTo>
                    <a:pt x="1722743" y="199530"/>
                  </a:lnTo>
                  <a:lnTo>
                    <a:pt x="1722743" y="197447"/>
                  </a:lnTo>
                  <a:lnTo>
                    <a:pt x="1722743" y="199530"/>
                  </a:lnTo>
                  <a:lnTo>
                    <a:pt x="1722743" y="198831"/>
                  </a:lnTo>
                  <a:lnTo>
                    <a:pt x="1722743" y="199530"/>
                  </a:lnTo>
                  <a:lnTo>
                    <a:pt x="1722844" y="199530"/>
                  </a:lnTo>
                  <a:lnTo>
                    <a:pt x="1722844" y="198831"/>
                  </a:lnTo>
                  <a:lnTo>
                    <a:pt x="1722844" y="199530"/>
                  </a:lnTo>
                  <a:lnTo>
                    <a:pt x="1722895" y="200228"/>
                  </a:lnTo>
                  <a:lnTo>
                    <a:pt x="1722895" y="198831"/>
                  </a:lnTo>
                  <a:lnTo>
                    <a:pt x="1722946" y="199530"/>
                  </a:lnTo>
                  <a:lnTo>
                    <a:pt x="1722984" y="199530"/>
                  </a:lnTo>
                  <a:lnTo>
                    <a:pt x="1722984" y="197447"/>
                  </a:lnTo>
                  <a:lnTo>
                    <a:pt x="1722984" y="198831"/>
                  </a:lnTo>
                  <a:lnTo>
                    <a:pt x="1722984" y="196799"/>
                  </a:lnTo>
                  <a:lnTo>
                    <a:pt x="1723086" y="196799"/>
                  </a:lnTo>
                  <a:lnTo>
                    <a:pt x="1723086" y="195415"/>
                  </a:lnTo>
                  <a:lnTo>
                    <a:pt x="1723086" y="196799"/>
                  </a:lnTo>
                  <a:lnTo>
                    <a:pt x="1723137" y="196799"/>
                  </a:lnTo>
                  <a:lnTo>
                    <a:pt x="1723137" y="195415"/>
                  </a:lnTo>
                  <a:lnTo>
                    <a:pt x="1723137" y="198831"/>
                  </a:lnTo>
                  <a:lnTo>
                    <a:pt x="1723187" y="198831"/>
                  </a:lnTo>
                  <a:lnTo>
                    <a:pt x="1723187" y="196799"/>
                  </a:lnTo>
                  <a:lnTo>
                    <a:pt x="1723187" y="199530"/>
                  </a:lnTo>
                  <a:lnTo>
                    <a:pt x="1723187" y="198831"/>
                  </a:lnTo>
                  <a:lnTo>
                    <a:pt x="1723289" y="198831"/>
                  </a:lnTo>
                  <a:lnTo>
                    <a:pt x="1723289" y="197447"/>
                  </a:lnTo>
                  <a:lnTo>
                    <a:pt x="1723289" y="198831"/>
                  </a:lnTo>
                  <a:lnTo>
                    <a:pt x="1723289" y="197447"/>
                  </a:lnTo>
                  <a:lnTo>
                    <a:pt x="1723289" y="198831"/>
                  </a:lnTo>
                  <a:lnTo>
                    <a:pt x="1723289" y="197447"/>
                  </a:lnTo>
                  <a:lnTo>
                    <a:pt x="1723289" y="199530"/>
                  </a:lnTo>
                  <a:lnTo>
                    <a:pt x="1723289" y="198831"/>
                  </a:lnTo>
                  <a:lnTo>
                    <a:pt x="1723390" y="198831"/>
                  </a:lnTo>
                  <a:lnTo>
                    <a:pt x="1723390" y="199530"/>
                  </a:lnTo>
                  <a:lnTo>
                    <a:pt x="1723390" y="198831"/>
                  </a:lnTo>
                  <a:lnTo>
                    <a:pt x="1723390" y="199530"/>
                  </a:lnTo>
                  <a:lnTo>
                    <a:pt x="1723390" y="198831"/>
                  </a:lnTo>
                  <a:lnTo>
                    <a:pt x="1723441" y="198831"/>
                  </a:lnTo>
                  <a:lnTo>
                    <a:pt x="1723441" y="199530"/>
                  </a:lnTo>
                  <a:lnTo>
                    <a:pt x="1723441" y="198831"/>
                  </a:lnTo>
                  <a:lnTo>
                    <a:pt x="1723441" y="200228"/>
                  </a:lnTo>
                  <a:lnTo>
                    <a:pt x="1723441" y="198831"/>
                  </a:lnTo>
                  <a:lnTo>
                    <a:pt x="1723441" y="199530"/>
                  </a:lnTo>
                  <a:lnTo>
                    <a:pt x="1723441" y="198831"/>
                  </a:lnTo>
                  <a:lnTo>
                    <a:pt x="1723441" y="199530"/>
                  </a:lnTo>
                  <a:lnTo>
                    <a:pt x="1723441" y="198831"/>
                  </a:lnTo>
                  <a:lnTo>
                    <a:pt x="1723441" y="199530"/>
                  </a:lnTo>
                  <a:lnTo>
                    <a:pt x="1723530" y="199530"/>
                  </a:lnTo>
                  <a:lnTo>
                    <a:pt x="1723530" y="196799"/>
                  </a:lnTo>
                  <a:lnTo>
                    <a:pt x="1723581" y="196799"/>
                  </a:lnTo>
                  <a:lnTo>
                    <a:pt x="1723581" y="195415"/>
                  </a:lnTo>
                  <a:lnTo>
                    <a:pt x="1723581" y="196799"/>
                  </a:lnTo>
                  <a:lnTo>
                    <a:pt x="1723581" y="196113"/>
                  </a:lnTo>
                  <a:lnTo>
                    <a:pt x="1723632" y="196113"/>
                  </a:lnTo>
                  <a:lnTo>
                    <a:pt x="1723632" y="194716"/>
                  </a:lnTo>
                  <a:lnTo>
                    <a:pt x="1723632" y="199530"/>
                  </a:lnTo>
                  <a:lnTo>
                    <a:pt x="1723632" y="196799"/>
                  </a:lnTo>
                  <a:lnTo>
                    <a:pt x="1723683" y="196799"/>
                  </a:lnTo>
                  <a:lnTo>
                    <a:pt x="1723683" y="196113"/>
                  </a:lnTo>
                  <a:lnTo>
                    <a:pt x="1723683" y="196799"/>
                  </a:lnTo>
                  <a:lnTo>
                    <a:pt x="1723683" y="196113"/>
                  </a:lnTo>
                  <a:lnTo>
                    <a:pt x="1723683" y="197447"/>
                  </a:lnTo>
                  <a:lnTo>
                    <a:pt x="1723784" y="196799"/>
                  </a:lnTo>
                  <a:lnTo>
                    <a:pt x="1723784" y="197447"/>
                  </a:lnTo>
                  <a:lnTo>
                    <a:pt x="1723784" y="196799"/>
                  </a:lnTo>
                  <a:lnTo>
                    <a:pt x="1723784" y="198831"/>
                  </a:lnTo>
                  <a:lnTo>
                    <a:pt x="1723784" y="196799"/>
                  </a:lnTo>
                  <a:lnTo>
                    <a:pt x="1723784" y="197447"/>
                  </a:lnTo>
                  <a:lnTo>
                    <a:pt x="1723835" y="197447"/>
                  </a:lnTo>
                  <a:lnTo>
                    <a:pt x="1723835" y="198831"/>
                  </a:lnTo>
                  <a:lnTo>
                    <a:pt x="1723835" y="197447"/>
                  </a:lnTo>
                  <a:lnTo>
                    <a:pt x="1723886" y="197447"/>
                  </a:lnTo>
                  <a:lnTo>
                    <a:pt x="1723886" y="198831"/>
                  </a:lnTo>
                  <a:lnTo>
                    <a:pt x="1723886" y="197447"/>
                  </a:lnTo>
                  <a:lnTo>
                    <a:pt x="1723886" y="198831"/>
                  </a:lnTo>
                  <a:lnTo>
                    <a:pt x="1723886" y="197447"/>
                  </a:lnTo>
                  <a:lnTo>
                    <a:pt x="1723886" y="198831"/>
                  </a:lnTo>
                  <a:lnTo>
                    <a:pt x="1723886" y="197447"/>
                  </a:lnTo>
                  <a:lnTo>
                    <a:pt x="1723886" y="198831"/>
                  </a:lnTo>
                  <a:lnTo>
                    <a:pt x="1723886" y="197447"/>
                  </a:lnTo>
                  <a:lnTo>
                    <a:pt x="1723886" y="198831"/>
                  </a:lnTo>
                  <a:lnTo>
                    <a:pt x="1723987" y="198831"/>
                  </a:lnTo>
                  <a:lnTo>
                    <a:pt x="1723987" y="197447"/>
                  </a:lnTo>
                  <a:lnTo>
                    <a:pt x="1723987" y="198831"/>
                  </a:lnTo>
                  <a:lnTo>
                    <a:pt x="1723987" y="197447"/>
                  </a:lnTo>
                  <a:lnTo>
                    <a:pt x="1724025" y="197447"/>
                  </a:lnTo>
                  <a:lnTo>
                    <a:pt x="1724025" y="196113"/>
                  </a:lnTo>
                  <a:lnTo>
                    <a:pt x="1724076" y="195415"/>
                  </a:lnTo>
                  <a:lnTo>
                    <a:pt x="1724076" y="196799"/>
                  </a:lnTo>
                  <a:lnTo>
                    <a:pt x="1724076" y="195415"/>
                  </a:lnTo>
                  <a:lnTo>
                    <a:pt x="1724127" y="195415"/>
                  </a:lnTo>
                  <a:lnTo>
                    <a:pt x="1724127" y="194716"/>
                  </a:lnTo>
                  <a:lnTo>
                    <a:pt x="1724127" y="198831"/>
                  </a:lnTo>
                  <a:lnTo>
                    <a:pt x="1724127" y="196799"/>
                  </a:lnTo>
                  <a:lnTo>
                    <a:pt x="1724127" y="197447"/>
                  </a:lnTo>
                  <a:lnTo>
                    <a:pt x="1724127" y="196113"/>
                  </a:lnTo>
                  <a:lnTo>
                    <a:pt x="1724229" y="196113"/>
                  </a:lnTo>
                  <a:lnTo>
                    <a:pt x="1724229" y="198831"/>
                  </a:lnTo>
                  <a:lnTo>
                    <a:pt x="1724229" y="196799"/>
                  </a:lnTo>
                  <a:lnTo>
                    <a:pt x="1724229" y="197447"/>
                  </a:lnTo>
                  <a:lnTo>
                    <a:pt x="1724280" y="197447"/>
                  </a:lnTo>
                  <a:lnTo>
                    <a:pt x="1724280" y="198831"/>
                  </a:lnTo>
                  <a:lnTo>
                    <a:pt x="1724280" y="197447"/>
                  </a:lnTo>
                  <a:lnTo>
                    <a:pt x="1724330" y="197447"/>
                  </a:lnTo>
                  <a:lnTo>
                    <a:pt x="1724330" y="198831"/>
                  </a:lnTo>
                  <a:lnTo>
                    <a:pt x="1724330" y="197447"/>
                  </a:lnTo>
                  <a:lnTo>
                    <a:pt x="1724330" y="198831"/>
                  </a:lnTo>
                  <a:lnTo>
                    <a:pt x="1724432" y="198831"/>
                  </a:lnTo>
                  <a:lnTo>
                    <a:pt x="1724432" y="197447"/>
                  </a:lnTo>
                  <a:lnTo>
                    <a:pt x="1724432" y="198831"/>
                  </a:lnTo>
                  <a:lnTo>
                    <a:pt x="1724483" y="199530"/>
                  </a:lnTo>
                  <a:lnTo>
                    <a:pt x="1724483" y="197447"/>
                  </a:lnTo>
                  <a:lnTo>
                    <a:pt x="1724483" y="198831"/>
                  </a:lnTo>
                  <a:lnTo>
                    <a:pt x="1724483" y="197447"/>
                  </a:lnTo>
                  <a:lnTo>
                    <a:pt x="1724483" y="198831"/>
                  </a:lnTo>
                  <a:lnTo>
                    <a:pt x="1724483" y="197447"/>
                  </a:lnTo>
                  <a:lnTo>
                    <a:pt x="1724534" y="197447"/>
                  </a:lnTo>
                  <a:lnTo>
                    <a:pt x="1724534" y="196113"/>
                  </a:lnTo>
                  <a:lnTo>
                    <a:pt x="1724534" y="196799"/>
                  </a:lnTo>
                  <a:lnTo>
                    <a:pt x="1724572" y="196113"/>
                  </a:lnTo>
                  <a:lnTo>
                    <a:pt x="1724572" y="196799"/>
                  </a:lnTo>
                  <a:lnTo>
                    <a:pt x="1724572" y="196113"/>
                  </a:lnTo>
                  <a:lnTo>
                    <a:pt x="1724572" y="196799"/>
                  </a:lnTo>
                  <a:lnTo>
                    <a:pt x="1724572" y="196113"/>
                  </a:lnTo>
                  <a:lnTo>
                    <a:pt x="1724673" y="196113"/>
                  </a:lnTo>
                  <a:lnTo>
                    <a:pt x="1724673" y="197447"/>
                  </a:lnTo>
                  <a:lnTo>
                    <a:pt x="1724673" y="196799"/>
                  </a:lnTo>
                  <a:lnTo>
                    <a:pt x="1724673" y="197447"/>
                  </a:lnTo>
                  <a:lnTo>
                    <a:pt x="1724724" y="197447"/>
                  </a:lnTo>
                  <a:lnTo>
                    <a:pt x="1724724" y="199530"/>
                  </a:lnTo>
                  <a:lnTo>
                    <a:pt x="1724724" y="197447"/>
                  </a:lnTo>
                  <a:lnTo>
                    <a:pt x="1724775" y="197447"/>
                  </a:lnTo>
                  <a:lnTo>
                    <a:pt x="1724775" y="198831"/>
                  </a:lnTo>
                  <a:lnTo>
                    <a:pt x="1724775" y="197447"/>
                  </a:lnTo>
                  <a:lnTo>
                    <a:pt x="1724775" y="198831"/>
                  </a:lnTo>
                  <a:lnTo>
                    <a:pt x="1724775" y="197447"/>
                  </a:lnTo>
                  <a:lnTo>
                    <a:pt x="1724775" y="198831"/>
                  </a:lnTo>
                  <a:lnTo>
                    <a:pt x="1724876" y="198831"/>
                  </a:lnTo>
                  <a:lnTo>
                    <a:pt x="1724876" y="197447"/>
                  </a:lnTo>
                  <a:lnTo>
                    <a:pt x="1724876" y="198831"/>
                  </a:lnTo>
                  <a:lnTo>
                    <a:pt x="1724876" y="197447"/>
                  </a:lnTo>
                  <a:lnTo>
                    <a:pt x="1724876" y="198831"/>
                  </a:lnTo>
                  <a:lnTo>
                    <a:pt x="1724876" y="197447"/>
                  </a:lnTo>
                  <a:lnTo>
                    <a:pt x="1724876" y="198831"/>
                  </a:lnTo>
                  <a:lnTo>
                    <a:pt x="1724927" y="198831"/>
                  </a:lnTo>
                  <a:lnTo>
                    <a:pt x="1724927" y="197447"/>
                  </a:lnTo>
                  <a:lnTo>
                    <a:pt x="1724927" y="198831"/>
                  </a:lnTo>
                  <a:lnTo>
                    <a:pt x="1724978" y="198831"/>
                  </a:lnTo>
                  <a:lnTo>
                    <a:pt x="1724978" y="196113"/>
                  </a:lnTo>
                  <a:lnTo>
                    <a:pt x="1725029" y="196799"/>
                  </a:lnTo>
                  <a:lnTo>
                    <a:pt x="1725029" y="196113"/>
                  </a:lnTo>
                  <a:lnTo>
                    <a:pt x="1725029" y="196799"/>
                  </a:lnTo>
                  <a:lnTo>
                    <a:pt x="1725029" y="195415"/>
                  </a:lnTo>
                  <a:lnTo>
                    <a:pt x="1725029" y="196113"/>
                  </a:lnTo>
                  <a:lnTo>
                    <a:pt x="1725029" y="194716"/>
                  </a:lnTo>
                  <a:lnTo>
                    <a:pt x="1725118" y="194716"/>
                  </a:lnTo>
                  <a:lnTo>
                    <a:pt x="1725118" y="193383"/>
                  </a:lnTo>
                  <a:lnTo>
                    <a:pt x="1725118" y="196113"/>
                  </a:lnTo>
                  <a:lnTo>
                    <a:pt x="1725118" y="194716"/>
                  </a:lnTo>
                  <a:lnTo>
                    <a:pt x="1725169" y="195415"/>
                  </a:lnTo>
                  <a:lnTo>
                    <a:pt x="1725169" y="198831"/>
                  </a:lnTo>
                  <a:lnTo>
                    <a:pt x="1725169" y="196113"/>
                  </a:lnTo>
                  <a:lnTo>
                    <a:pt x="1725169" y="196799"/>
                  </a:lnTo>
                  <a:lnTo>
                    <a:pt x="1725219" y="196799"/>
                  </a:lnTo>
                  <a:lnTo>
                    <a:pt x="1725219" y="197447"/>
                  </a:lnTo>
                  <a:lnTo>
                    <a:pt x="1725219" y="196799"/>
                  </a:lnTo>
                  <a:lnTo>
                    <a:pt x="1725270" y="196799"/>
                  </a:lnTo>
                  <a:lnTo>
                    <a:pt x="1725270" y="197447"/>
                  </a:lnTo>
                  <a:lnTo>
                    <a:pt x="1725270" y="196799"/>
                  </a:lnTo>
                  <a:lnTo>
                    <a:pt x="1725270" y="197447"/>
                  </a:lnTo>
                  <a:lnTo>
                    <a:pt x="1725422" y="197447"/>
                  </a:lnTo>
                  <a:lnTo>
                    <a:pt x="1725422" y="198831"/>
                  </a:lnTo>
                  <a:lnTo>
                    <a:pt x="1725422" y="197447"/>
                  </a:lnTo>
                  <a:lnTo>
                    <a:pt x="1725422" y="198831"/>
                  </a:lnTo>
                  <a:lnTo>
                    <a:pt x="1725422" y="197447"/>
                  </a:lnTo>
                  <a:lnTo>
                    <a:pt x="1725422" y="198831"/>
                  </a:lnTo>
                  <a:lnTo>
                    <a:pt x="1725422" y="197447"/>
                  </a:lnTo>
                  <a:lnTo>
                    <a:pt x="1725473" y="197447"/>
                  </a:lnTo>
                  <a:lnTo>
                    <a:pt x="1725473" y="196799"/>
                  </a:lnTo>
                  <a:lnTo>
                    <a:pt x="1725473" y="197447"/>
                  </a:lnTo>
                  <a:lnTo>
                    <a:pt x="1725473" y="196799"/>
                  </a:lnTo>
                  <a:lnTo>
                    <a:pt x="1725575" y="196113"/>
                  </a:lnTo>
                  <a:lnTo>
                    <a:pt x="1725575" y="195415"/>
                  </a:lnTo>
                  <a:lnTo>
                    <a:pt x="1725575" y="196113"/>
                  </a:lnTo>
                  <a:lnTo>
                    <a:pt x="1725575" y="195415"/>
                  </a:lnTo>
                  <a:lnTo>
                    <a:pt x="1725575" y="196113"/>
                  </a:lnTo>
                  <a:lnTo>
                    <a:pt x="1725575" y="195415"/>
                  </a:lnTo>
                  <a:lnTo>
                    <a:pt x="1725575" y="196113"/>
                  </a:lnTo>
                  <a:lnTo>
                    <a:pt x="1725613" y="196113"/>
                  </a:lnTo>
                  <a:lnTo>
                    <a:pt x="1725613" y="197447"/>
                  </a:lnTo>
                  <a:lnTo>
                    <a:pt x="1725613" y="195415"/>
                  </a:lnTo>
                  <a:lnTo>
                    <a:pt x="1725613" y="197447"/>
                  </a:lnTo>
                  <a:lnTo>
                    <a:pt x="1725664" y="197447"/>
                  </a:lnTo>
                  <a:lnTo>
                    <a:pt x="1725664" y="196799"/>
                  </a:lnTo>
                  <a:lnTo>
                    <a:pt x="1725664" y="198831"/>
                  </a:lnTo>
                  <a:lnTo>
                    <a:pt x="1725664" y="197447"/>
                  </a:lnTo>
                  <a:lnTo>
                    <a:pt x="1725664" y="198831"/>
                  </a:lnTo>
                  <a:lnTo>
                    <a:pt x="1725664" y="197447"/>
                  </a:lnTo>
                  <a:lnTo>
                    <a:pt x="1725715" y="198831"/>
                  </a:lnTo>
                  <a:lnTo>
                    <a:pt x="1725715" y="196799"/>
                  </a:lnTo>
                  <a:lnTo>
                    <a:pt x="1725715" y="198831"/>
                  </a:lnTo>
                  <a:lnTo>
                    <a:pt x="1725816" y="197447"/>
                  </a:lnTo>
                  <a:lnTo>
                    <a:pt x="1725816" y="196799"/>
                  </a:lnTo>
                  <a:lnTo>
                    <a:pt x="1725816" y="197447"/>
                  </a:lnTo>
                  <a:lnTo>
                    <a:pt x="1725867" y="198831"/>
                  </a:lnTo>
                  <a:lnTo>
                    <a:pt x="1725867" y="197447"/>
                  </a:lnTo>
                  <a:lnTo>
                    <a:pt x="1725867" y="199530"/>
                  </a:lnTo>
                  <a:lnTo>
                    <a:pt x="1725867" y="197447"/>
                  </a:lnTo>
                  <a:lnTo>
                    <a:pt x="1725918" y="197447"/>
                  </a:lnTo>
                  <a:lnTo>
                    <a:pt x="1725918" y="198831"/>
                  </a:lnTo>
                  <a:lnTo>
                    <a:pt x="1725918" y="197447"/>
                  </a:lnTo>
                  <a:lnTo>
                    <a:pt x="1725918" y="198831"/>
                  </a:lnTo>
                  <a:lnTo>
                    <a:pt x="1725918" y="197447"/>
                  </a:lnTo>
                  <a:lnTo>
                    <a:pt x="1726019" y="197447"/>
                  </a:lnTo>
                  <a:lnTo>
                    <a:pt x="1726019" y="196113"/>
                  </a:lnTo>
                  <a:lnTo>
                    <a:pt x="1726070" y="196113"/>
                  </a:lnTo>
                  <a:lnTo>
                    <a:pt x="1726070" y="193383"/>
                  </a:lnTo>
                  <a:lnTo>
                    <a:pt x="1726070" y="194716"/>
                  </a:lnTo>
                  <a:lnTo>
                    <a:pt x="1726121" y="194716"/>
                  </a:lnTo>
                  <a:lnTo>
                    <a:pt x="1726121" y="196113"/>
                  </a:lnTo>
                  <a:lnTo>
                    <a:pt x="1726121" y="195415"/>
                  </a:lnTo>
                  <a:lnTo>
                    <a:pt x="1726121" y="196113"/>
                  </a:lnTo>
                  <a:lnTo>
                    <a:pt x="1726121" y="193383"/>
                  </a:lnTo>
                  <a:lnTo>
                    <a:pt x="1726121" y="196113"/>
                  </a:lnTo>
                  <a:lnTo>
                    <a:pt x="1726159" y="196799"/>
                  </a:lnTo>
                  <a:lnTo>
                    <a:pt x="1726159" y="197447"/>
                  </a:lnTo>
                  <a:lnTo>
                    <a:pt x="1726159" y="195415"/>
                  </a:lnTo>
                  <a:lnTo>
                    <a:pt x="1726159" y="197447"/>
                  </a:lnTo>
                  <a:lnTo>
                    <a:pt x="1726261" y="196799"/>
                  </a:lnTo>
                  <a:lnTo>
                    <a:pt x="1726261" y="197447"/>
                  </a:lnTo>
                  <a:lnTo>
                    <a:pt x="1726261" y="196799"/>
                  </a:lnTo>
                  <a:lnTo>
                    <a:pt x="1726261" y="197447"/>
                  </a:lnTo>
                  <a:lnTo>
                    <a:pt x="1726261" y="196113"/>
                  </a:lnTo>
                  <a:lnTo>
                    <a:pt x="1726261" y="196799"/>
                  </a:lnTo>
                  <a:lnTo>
                    <a:pt x="1726312" y="196799"/>
                  </a:lnTo>
                  <a:lnTo>
                    <a:pt x="1726312" y="197447"/>
                  </a:lnTo>
                  <a:lnTo>
                    <a:pt x="1726312" y="196799"/>
                  </a:lnTo>
                  <a:lnTo>
                    <a:pt x="1726312" y="198831"/>
                  </a:lnTo>
                  <a:lnTo>
                    <a:pt x="1726362" y="198831"/>
                  </a:lnTo>
                  <a:lnTo>
                    <a:pt x="1726362" y="197447"/>
                  </a:lnTo>
                  <a:lnTo>
                    <a:pt x="1726362" y="199530"/>
                  </a:lnTo>
                  <a:lnTo>
                    <a:pt x="1726362" y="197447"/>
                  </a:lnTo>
                  <a:lnTo>
                    <a:pt x="1726362" y="198831"/>
                  </a:lnTo>
                  <a:lnTo>
                    <a:pt x="1726362" y="197447"/>
                  </a:lnTo>
                  <a:lnTo>
                    <a:pt x="1726362" y="198831"/>
                  </a:lnTo>
                  <a:lnTo>
                    <a:pt x="1726362" y="197447"/>
                  </a:lnTo>
                  <a:lnTo>
                    <a:pt x="1726362" y="198831"/>
                  </a:lnTo>
                  <a:lnTo>
                    <a:pt x="1726464" y="197447"/>
                  </a:lnTo>
                  <a:lnTo>
                    <a:pt x="1726464" y="199530"/>
                  </a:lnTo>
                  <a:lnTo>
                    <a:pt x="1726464" y="197447"/>
                  </a:lnTo>
                  <a:lnTo>
                    <a:pt x="1726464" y="198831"/>
                  </a:lnTo>
                  <a:lnTo>
                    <a:pt x="1726515" y="198831"/>
                  </a:lnTo>
                  <a:lnTo>
                    <a:pt x="1726515" y="197447"/>
                  </a:lnTo>
                  <a:lnTo>
                    <a:pt x="1726515" y="198831"/>
                  </a:lnTo>
                  <a:lnTo>
                    <a:pt x="1726515" y="196113"/>
                  </a:lnTo>
                  <a:lnTo>
                    <a:pt x="1726515" y="196799"/>
                  </a:lnTo>
                  <a:lnTo>
                    <a:pt x="1726565" y="196799"/>
                  </a:lnTo>
                  <a:lnTo>
                    <a:pt x="1726565" y="194716"/>
                  </a:lnTo>
                  <a:lnTo>
                    <a:pt x="1726565" y="195415"/>
                  </a:lnTo>
                  <a:lnTo>
                    <a:pt x="1726565" y="194716"/>
                  </a:lnTo>
                  <a:lnTo>
                    <a:pt x="1726565" y="195415"/>
                  </a:lnTo>
                  <a:lnTo>
                    <a:pt x="1726616" y="195415"/>
                  </a:lnTo>
                  <a:lnTo>
                    <a:pt x="1726616" y="196113"/>
                  </a:lnTo>
                  <a:lnTo>
                    <a:pt x="1726616" y="193383"/>
                  </a:lnTo>
                  <a:lnTo>
                    <a:pt x="1726616" y="196799"/>
                  </a:lnTo>
                  <a:lnTo>
                    <a:pt x="1726705" y="196799"/>
                  </a:lnTo>
                  <a:lnTo>
                    <a:pt x="1726705" y="195415"/>
                  </a:lnTo>
                  <a:lnTo>
                    <a:pt x="1726705" y="196113"/>
                  </a:lnTo>
                  <a:lnTo>
                    <a:pt x="1726756" y="196799"/>
                  </a:lnTo>
                  <a:lnTo>
                    <a:pt x="1726756" y="195415"/>
                  </a:lnTo>
                  <a:lnTo>
                    <a:pt x="1726756" y="196113"/>
                  </a:lnTo>
                  <a:lnTo>
                    <a:pt x="1726756" y="195415"/>
                  </a:lnTo>
                  <a:lnTo>
                    <a:pt x="1726756" y="196113"/>
                  </a:lnTo>
                  <a:lnTo>
                    <a:pt x="1726756" y="195415"/>
                  </a:lnTo>
                  <a:lnTo>
                    <a:pt x="1726807" y="195415"/>
                  </a:lnTo>
                  <a:lnTo>
                    <a:pt x="1726807" y="196799"/>
                  </a:lnTo>
                  <a:lnTo>
                    <a:pt x="1726807" y="196113"/>
                  </a:lnTo>
                  <a:lnTo>
                    <a:pt x="1726807" y="196799"/>
                  </a:lnTo>
                  <a:lnTo>
                    <a:pt x="1726858" y="196799"/>
                  </a:lnTo>
                  <a:lnTo>
                    <a:pt x="1726858" y="197447"/>
                  </a:lnTo>
                  <a:lnTo>
                    <a:pt x="1726858" y="196799"/>
                  </a:lnTo>
                  <a:lnTo>
                    <a:pt x="1726858" y="197447"/>
                  </a:lnTo>
                  <a:lnTo>
                    <a:pt x="1726858" y="196799"/>
                  </a:lnTo>
                  <a:lnTo>
                    <a:pt x="1726858" y="197447"/>
                  </a:lnTo>
                  <a:lnTo>
                    <a:pt x="1726858" y="196799"/>
                  </a:lnTo>
                  <a:lnTo>
                    <a:pt x="1726858" y="197447"/>
                  </a:lnTo>
                  <a:lnTo>
                    <a:pt x="1726959" y="197447"/>
                  </a:lnTo>
                  <a:lnTo>
                    <a:pt x="1726959" y="196799"/>
                  </a:lnTo>
                  <a:lnTo>
                    <a:pt x="1726959" y="198831"/>
                  </a:lnTo>
                  <a:lnTo>
                    <a:pt x="1726959" y="197447"/>
                  </a:lnTo>
                  <a:lnTo>
                    <a:pt x="1727010" y="197447"/>
                  </a:lnTo>
                  <a:lnTo>
                    <a:pt x="1727010" y="196799"/>
                  </a:lnTo>
                  <a:lnTo>
                    <a:pt x="1727010" y="197447"/>
                  </a:lnTo>
                  <a:lnTo>
                    <a:pt x="1727010" y="196113"/>
                  </a:lnTo>
                  <a:lnTo>
                    <a:pt x="1727061" y="196113"/>
                  </a:lnTo>
                  <a:lnTo>
                    <a:pt x="1727061" y="195415"/>
                  </a:lnTo>
                  <a:lnTo>
                    <a:pt x="1727061" y="197447"/>
                  </a:lnTo>
                  <a:lnTo>
                    <a:pt x="1727061" y="196113"/>
                  </a:lnTo>
                  <a:lnTo>
                    <a:pt x="1727162" y="196113"/>
                  </a:lnTo>
                  <a:lnTo>
                    <a:pt x="1727162" y="195415"/>
                  </a:lnTo>
                  <a:lnTo>
                    <a:pt x="1727162" y="198831"/>
                  </a:lnTo>
                  <a:lnTo>
                    <a:pt x="1727162" y="196799"/>
                  </a:lnTo>
                  <a:lnTo>
                    <a:pt x="1727200" y="196799"/>
                  </a:lnTo>
                  <a:lnTo>
                    <a:pt x="1727200" y="198831"/>
                  </a:lnTo>
                  <a:lnTo>
                    <a:pt x="1727251" y="197447"/>
                  </a:lnTo>
                  <a:lnTo>
                    <a:pt x="1727251" y="196799"/>
                  </a:lnTo>
                  <a:lnTo>
                    <a:pt x="1727251" y="197447"/>
                  </a:lnTo>
                  <a:lnTo>
                    <a:pt x="1727302" y="197447"/>
                  </a:lnTo>
                  <a:lnTo>
                    <a:pt x="1727302" y="196799"/>
                  </a:lnTo>
                  <a:lnTo>
                    <a:pt x="1727302" y="198831"/>
                  </a:lnTo>
                  <a:lnTo>
                    <a:pt x="1727302" y="197447"/>
                  </a:lnTo>
                  <a:lnTo>
                    <a:pt x="1727404" y="197447"/>
                  </a:lnTo>
                  <a:lnTo>
                    <a:pt x="1727404" y="198831"/>
                  </a:lnTo>
                  <a:lnTo>
                    <a:pt x="1727404" y="197447"/>
                  </a:lnTo>
                  <a:lnTo>
                    <a:pt x="1727404" y="198831"/>
                  </a:lnTo>
                  <a:lnTo>
                    <a:pt x="1727455" y="198831"/>
                  </a:lnTo>
                  <a:lnTo>
                    <a:pt x="1727455" y="197447"/>
                  </a:lnTo>
                  <a:lnTo>
                    <a:pt x="1727505" y="197447"/>
                  </a:lnTo>
                  <a:lnTo>
                    <a:pt x="1727505" y="196799"/>
                  </a:lnTo>
                  <a:lnTo>
                    <a:pt x="1727505" y="197447"/>
                  </a:lnTo>
                  <a:lnTo>
                    <a:pt x="1727505" y="196113"/>
                  </a:lnTo>
                  <a:lnTo>
                    <a:pt x="1727505" y="196799"/>
                  </a:lnTo>
                  <a:lnTo>
                    <a:pt x="1727607" y="196799"/>
                  </a:lnTo>
                  <a:lnTo>
                    <a:pt x="1727607" y="198831"/>
                  </a:lnTo>
                  <a:lnTo>
                    <a:pt x="1727607" y="196799"/>
                  </a:lnTo>
                  <a:lnTo>
                    <a:pt x="1727607" y="197447"/>
                  </a:lnTo>
                  <a:lnTo>
                    <a:pt x="1727658" y="197447"/>
                  </a:lnTo>
                  <a:lnTo>
                    <a:pt x="1727658" y="200228"/>
                  </a:lnTo>
                  <a:lnTo>
                    <a:pt x="1727658" y="198831"/>
                  </a:lnTo>
                  <a:lnTo>
                    <a:pt x="1727709" y="199530"/>
                  </a:lnTo>
                  <a:lnTo>
                    <a:pt x="1727709" y="198831"/>
                  </a:lnTo>
                  <a:lnTo>
                    <a:pt x="1727709" y="199530"/>
                  </a:lnTo>
                  <a:lnTo>
                    <a:pt x="1727747" y="199530"/>
                  </a:lnTo>
                  <a:lnTo>
                    <a:pt x="1727747" y="198831"/>
                  </a:lnTo>
                  <a:lnTo>
                    <a:pt x="1727747" y="199530"/>
                  </a:lnTo>
                  <a:lnTo>
                    <a:pt x="1727747" y="198831"/>
                  </a:lnTo>
                  <a:lnTo>
                    <a:pt x="1727747" y="199530"/>
                  </a:lnTo>
                  <a:lnTo>
                    <a:pt x="1727747" y="198831"/>
                  </a:lnTo>
                  <a:lnTo>
                    <a:pt x="1727747" y="199530"/>
                  </a:lnTo>
                  <a:lnTo>
                    <a:pt x="1727848" y="199530"/>
                  </a:lnTo>
                  <a:lnTo>
                    <a:pt x="1727848" y="198831"/>
                  </a:lnTo>
                  <a:lnTo>
                    <a:pt x="1727848" y="199530"/>
                  </a:lnTo>
                  <a:lnTo>
                    <a:pt x="1727848" y="198831"/>
                  </a:lnTo>
                  <a:lnTo>
                    <a:pt x="1727899" y="198831"/>
                  </a:lnTo>
                  <a:lnTo>
                    <a:pt x="1727899" y="197447"/>
                  </a:lnTo>
                  <a:lnTo>
                    <a:pt x="1727950" y="197447"/>
                  </a:lnTo>
                  <a:lnTo>
                    <a:pt x="1727950" y="196799"/>
                  </a:lnTo>
                  <a:lnTo>
                    <a:pt x="1727950" y="197447"/>
                  </a:lnTo>
                  <a:lnTo>
                    <a:pt x="1727950" y="196113"/>
                  </a:lnTo>
                  <a:lnTo>
                    <a:pt x="1728051" y="196113"/>
                  </a:lnTo>
                  <a:lnTo>
                    <a:pt x="1728051" y="194716"/>
                  </a:lnTo>
                  <a:lnTo>
                    <a:pt x="1728102" y="195415"/>
                  </a:lnTo>
                  <a:lnTo>
                    <a:pt x="1728102" y="196799"/>
                  </a:lnTo>
                  <a:lnTo>
                    <a:pt x="1728102" y="195415"/>
                  </a:lnTo>
                  <a:lnTo>
                    <a:pt x="1728102" y="196799"/>
                  </a:lnTo>
                  <a:lnTo>
                    <a:pt x="1728153" y="197447"/>
                  </a:lnTo>
                  <a:lnTo>
                    <a:pt x="1728153" y="198831"/>
                  </a:lnTo>
                  <a:lnTo>
                    <a:pt x="1728153" y="196799"/>
                  </a:lnTo>
                  <a:lnTo>
                    <a:pt x="1728153" y="197447"/>
                  </a:lnTo>
                  <a:lnTo>
                    <a:pt x="1728204" y="198831"/>
                  </a:lnTo>
                  <a:lnTo>
                    <a:pt x="1728204" y="197447"/>
                  </a:lnTo>
                  <a:lnTo>
                    <a:pt x="1728204" y="198831"/>
                  </a:lnTo>
                  <a:lnTo>
                    <a:pt x="1728204" y="197447"/>
                  </a:lnTo>
                  <a:lnTo>
                    <a:pt x="1728204" y="199530"/>
                  </a:lnTo>
                  <a:lnTo>
                    <a:pt x="1728204" y="198831"/>
                  </a:lnTo>
                  <a:lnTo>
                    <a:pt x="1728293" y="198831"/>
                  </a:lnTo>
                  <a:lnTo>
                    <a:pt x="1728293" y="199530"/>
                  </a:lnTo>
                  <a:lnTo>
                    <a:pt x="1728344" y="199530"/>
                  </a:lnTo>
                  <a:lnTo>
                    <a:pt x="1728344" y="198831"/>
                  </a:lnTo>
                  <a:lnTo>
                    <a:pt x="1728344" y="199530"/>
                  </a:lnTo>
                  <a:lnTo>
                    <a:pt x="1728344" y="198831"/>
                  </a:lnTo>
                  <a:lnTo>
                    <a:pt x="1728344" y="199530"/>
                  </a:lnTo>
                  <a:lnTo>
                    <a:pt x="1728344" y="198831"/>
                  </a:lnTo>
                  <a:lnTo>
                    <a:pt x="1728394" y="198831"/>
                  </a:lnTo>
                  <a:lnTo>
                    <a:pt x="1728394" y="199530"/>
                  </a:lnTo>
                  <a:lnTo>
                    <a:pt x="1728394" y="198831"/>
                  </a:lnTo>
                  <a:lnTo>
                    <a:pt x="1728445" y="198831"/>
                  </a:lnTo>
                  <a:lnTo>
                    <a:pt x="1728445" y="196799"/>
                  </a:lnTo>
                  <a:lnTo>
                    <a:pt x="1728445" y="197447"/>
                  </a:lnTo>
                  <a:lnTo>
                    <a:pt x="1728445" y="196799"/>
                  </a:lnTo>
                  <a:lnTo>
                    <a:pt x="1728445" y="197447"/>
                  </a:lnTo>
                  <a:lnTo>
                    <a:pt x="1728445" y="196799"/>
                  </a:lnTo>
                  <a:lnTo>
                    <a:pt x="1728445" y="197447"/>
                  </a:lnTo>
                  <a:lnTo>
                    <a:pt x="1728445" y="196799"/>
                  </a:lnTo>
                  <a:lnTo>
                    <a:pt x="1728547" y="196799"/>
                  </a:lnTo>
                  <a:lnTo>
                    <a:pt x="1728547" y="197447"/>
                  </a:lnTo>
                  <a:lnTo>
                    <a:pt x="1728547" y="195415"/>
                  </a:lnTo>
                  <a:lnTo>
                    <a:pt x="1728547" y="196799"/>
                  </a:lnTo>
                  <a:lnTo>
                    <a:pt x="1728597" y="196799"/>
                  </a:lnTo>
                  <a:lnTo>
                    <a:pt x="1728597" y="195415"/>
                  </a:lnTo>
                  <a:lnTo>
                    <a:pt x="1728597" y="198831"/>
                  </a:lnTo>
                  <a:lnTo>
                    <a:pt x="1728597" y="197447"/>
                  </a:lnTo>
                  <a:lnTo>
                    <a:pt x="1728648" y="197447"/>
                  </a:lnTo>
                  <a:lnTo>
                    <a:pt x="1728648" y="196113"/>
                  </a:lnTo>
                  <a:lnTo>
                    <a:pt x="1728648" y="196799"/>
                  </a:lnTo>
                  <a:lnTo>
                    <a:pt x="1728648" y="196113"/>
                  </a:lnTo>
                  <a:lnTo>
                    <a:pt x="1728648" y="197447"/>
                  </a:lnTo>
                  <a:lnTo>
                    <a:pt x="1728750" y="197447"/>
                  </a:lnTo>
                  <a:lnTo>
                    <a:pt x="1728750" y="198831"/>
                  </a:lnTo>
                  <a:lnTo>
                    <a:pt x="1728788" y="198831"/>
                  </a:lnTo>
                  <a:lnTo>
                    <a:pt x="1728788" y="197447"/>
                  </a:lnTo>
                  <a:lnTo>
                    <a:pt x="1728788" y="198831"/>
                  </a:lnTo>
                  <a:lnTo>
                    <a:pt x="1728788" y="197447"/>
                  </a:lnTo>
                  <a:lnTo>
                    <a:pt x="1728788" y="199530"/>
                  </a:lnTo>
                  <a:lnTo>
                    <a:pt x="1728788" y="198831"/>
                  </a:lnTo>
                  <a:lnTo>
                    <a:pt x="1728839" y="198831"/>
                  </a:lnTo>
                  <a:lnTo>
                    <a:pt x="1728839" y="199530"/>
                  </a:lnTo>
                  <a:lnTo>
                    <a:pt x="1728839" y="198831"/>
                  </a:lnTo>
                  <a:lnTo>
                    <a:pt x="1728839" y="199530"/>
                  </a:lnTo>
                  <a:lnTo>
                    <a:pt x="1728839" y="198831"/>
                  </a:lnTo>
                  <a:lnTo>
                    <a:pt x="1728890" y="198831"/>
                  </a:lnTo>
                  <a:lnTo>
                    <a:pt x="1728890" y="199530"/>
                  </a:lnTo>
                  <a:lnTo>
                    <a:pt x="1728890" y="198831"/>
                  </a:lnTo>
                  <a:lnTo>
                    <a:pt x="1728890" y="199530"/>
                  </a:lnTo>
                  <a:lnTo>
                    <a:pt x="1728890" y="197447"/>
                  </a:lnTo>
                  <a:lnTo>
                    <a:pt x="1728890" y="198831"/>
                  </a:lnTo>
                  <a:lnTo>
                    <a:pt x="1728991" y="197447"/>
                  </a:lnTo>
                  <a:lnTo>
                    <a:pt x="1728991" y="196799"/>
                  </a:lnTo>
                  <a:lnTo>
                    <a:pt x="1729042" y="197447"/>
                  </a:lnTo>
                  <a:lnTo>
                    <a:pt x="1729042" y="193383"/>
                  </a:lnTo>
                  <a:lnTo>
                    <a:pt x="1729042" y="196799"/>
                  </a:lnTo>
                  <a:lnTo>
                    <a:pt x="1729042" y="196113"/>
                  </a:lnTo>
                  <a:lnTo>
                    <a:pt x="1729093" y="196113"/>
                  </a:lnTo>
                  <a:lnTo>
                    <a:pt x="1729093" y="194716"/>
                  </a:lnTo>
                  <a:lnTo>
                    <a:pt x="1729093" y="197447"/>
                  </a:lnTo>
                  <a:lnTo>
                    <a:pt x="1729093" y="196799"/>
                  </a:lnTo>
                  <a:lnTo>
                    <a:pt x="1729194" y="196799"/>
                  </a:lnTo>
                  <a:lnTo>
                    <a:pt x="1729194" y="196113"/>
                  </a:lnTo>
                  <a:lnTo>
                    <a:pt x="1729194" y="197447"/>
                  </a:lnTo>
                  <a:lnTo>
                    <a:pt x="1729194" y="196799"/>
                  </a:lnTo>
                  <a:lnTo>
                    <a:pt x="1729245" y="196799"/>
                  </a:lnTo>
                  <a:lnTo>
                    <a:pt x="1729245" y="196113"/>
                  </a:lnTo>
                  <a:lnTo>
                    <a:pt x="1729245" y="197447"/>
                  </a:lnTo>
                  <a:lnTo>
                    <a:pt x="1729296" y="197447"/>
                  </a:lnTo>
                  <a:lnTo>
                    <a:pt x="1729296" y="198831"/>
                  </a:lnTo>
                  <a:lnTo>
                    <a:pt x="1729296" y="197447"/>
                  </a:lnTo>
                  <a:lnTo>
                    <a:pt x="1729296" y="198831"/>
                  </a:lnTo>
                  <a:lnTo>
                    <a:pt x="1729436" y="198831"/>
                  </a:lnTo>
                  <a:lnTo>
                    <a:pt x="1729436" y="197447"/>
                  </a:lnTo>
                  <a:lnTo>
                    <a:pt x="1729436" y="198831"/>
                  </a:lnTo>
                  <a:lnTo>
                    <a:pt x="1729436" y="197447"/>
                  </a:lnTo>
                  <a:lnTo>
                    <a:pt x="1729487" y="197447"/>
                  </a:lnTo>
                  <a:lnTo>
                    <a:pt x="1729487" y="196113"/>
                  </a:lnTo>
                  <a:lnTo>
                    <a:pt x="1729537" y="196113"/>
                  </a:lnTo>
                  <a:lnTo>
                    <a:pt x="1729537" y="195415"/>
                  </a:lnTo>
                  <a:lnTo>
                    <a:pt x="1729537" y="196799"/>
                  </a:lnTo>
                  <a:lnTo>
                    <a:pt x="1729537" y="196113"/>
                  </a:lnTo>
                  <a:lnTo>
                    <a:pt x="1729537" y="196799"/>
                  </a:lnTo>
                  <a:lnTo>
                    <a:pt x="1729537" y="195415"/>
                  </a:lnTo>
                  <a:lnTo>
                    <a:pt x="1729639" y="195415"/>
                  </a:lnTo>
                  <a:lnTo>
                    <a:pt x="1729639" y="194716"/>
                  </a:lnTo>
                  <a:lnTo>
                    <a:pt x="1729639" y="198831"/>
                  </a:lnTo>
                  <a:lnTo>
                    <a:pt x="1729639" y="196113"/>
                  </a:lnTo>
                  <a:lnTo>
                    <a:pt x="1729690" y="196113"/>
                  </a:lnTo>
                  <a:lnTo>
                    <a:pt x="1729690" y="197447"/>
                  </a:lnTo>
                  <a:lnTo>
                    <a:pt x="1729690" y="196113"/>
                  </a:lnTo>
                  <a:lnTo>
                    <a:pt x="1729690" y="196799"/>
                  </a:lnTo>
                  <a:lnTo>
                    <a:pt x="1729740" y="196799"/>
                  </a:lnTo>
                  <a:lnTo>
                    <a:pt x="1729740" y="197447"/>
                  </a:lnTo>
                  <a:lnTo>
                    <a:pt x="1729740" y="196799"/>
                  </a:lnTo>
                  <a:lnTo>
                    <a:pt x="1729740" y="197447"/>
                  </a:lnTo>
                  <a:lnTo>
                    <a:pt x="1729740" y="196799"/>
                  </a:lnTo>
                  <a:lnTo>
                    <a:pt x="1729740" y="197447"/>
                  </a:lnTo>
                  <a:lnTo>
                    <a:pt x="1729740" y="196799"/>
                  </a:lnTo>
                  <a:lnTo>
                    <a:pt x="1729791" y="196799"/>
                  </a:lnTo>
                  <a:lnTo>
                    <a:pt x="1729791" y="197447"/>
                  </a:lnTo>
                  <a:lnTo>
                    <a:pt x="1729791" y="196799"/>
                  </a:lnTo>
                  <a:lnTo>
                    <a:pt x="1729791" y="197447"/>
                  </a:lnTo>
                  <a:lnTo>
                    <a:pt x="1729791" y="196799"/>
                  </a:lnTo>
                  <a:lnTo>
                    <a:pt x="1729791" y="197447"/>
                  </a:lnTo>
                  <a:lnTo>
                    <a:pt x="1729880" y="197447"/>
                  </a:lnTo>
                  <a:lnTo>
                    <a:pt x="1729880" y="198831"/>
                  </a:lnTo>
                  <a:lnTo>
                    <a:pt x="1729880" y="197447"/>
                  </a:lnTo>
                  <a:lnTo>
                    <a:pt x="1729880" y="198831"/>
                  </a:lnTo>
                  <a:lnTo>
                    <a:pt x="1729880" y="197447"/>
                  </a:lnTo>
                  <a:lnTo>
                    <a:pt x="1729931" y="197447"/>
                  </a:lnTo>
                  <a:lnTo>
                    <a:pt x="1729931" y="196799"/>
                  </a:lnTo>
                  <a:lnTo>
                    <a:pt x="1729931" y="197447"/>
                  </a:lnTo>
                  <a:lnTo>
                    <a:pt x="1729931" y="196799"/>
                  </a:lnTo>
                  <a:lnTo>
                    <a:pt x="1729982" y="196799"/>
                  </a:lnTo>
                  <a:lnTo>
                    <a:pt x="1729982" y="195415"/>
                  </a:lnTo>
                  <a:lnTo>
                    <a:pt x="1730033" y="195415"/>
                  </a:lnTo>
                  <a:lnTo>
                    <a:pt x="1730033" y="196799"/>
                  </a:lnTo>
                  <a:lnTo>
                    <a:pt x="1730033" y="194716"/>
                  </a:lnTo>
                  <a:lnTo>
                    <a:pt x="1730134" y="194716"/>
                  </a:lnTo>
                  <a:lnTo>
                    <a:pt x="1730134" y="197447"/>
                  </a:lnTo>
                  <a:lnTo>
                    <a:pt x="1730134" y="196113"/>
                  </a:lnTo>
                  <a:lnTo>
                    <a:pt x="1730185" y="196799"/>
                  </a:lnTo>
                  <a:lnTo>
                    <a:pt x="1730185" y="198831"/>
                  </a:lnTo>
                  <a:lnTo>
                    <a:pt x="1730185" y="197447"/>
                  </a:lnTo>
                  <a:lnTo>
                    <a:pt x="1730185" y="198831"/>
                  </a:lnTo>
                  <a:lnTo>
                    <a:pt x="1730185" y="196799"/>
                  </a:lnTo>
                  <a:lnTo>
                    <a:pt x="1730185" y="197447"/>
                  </a:lnTo>
                  <a:lnTo>
                    <a:pt x="1730236" y="197447"/>
                  </a:lnTo>
                  <a:lnTo>
                    <a:pt x="1730236" y="198831"/>
                  </a:lnTo>
                  <a:lnTo>
                    <a:pt x="1730236" y="197447"/>
                  </a:lnTo>
                  <a:lnTo>
                    <a:pt x="1730236" y="198831"/>
                  </a:lnTo>
                  <a:lnTo>
                    <a:pt x="1730236" y="197447"/>
                  </a:lnTo>
                  <a:lnTo>
                    <a:pt x="1730236" y="198831"/>
                  </a:lnTo>
                  <a:lnTo>
                    <a:pt x="1730337" y="198831"/>
                  </a:lnTo>
                  <a:lnTo>
                    <a:pt x="1730337" y="197447"/>
                  </a:lnTo>
                  <a:lnTo>
                    <a:pt x="1730337" y="198831"/>
                  </a:lnTo>
                  <a:lnTo>
                    <a:pt x="1730375" y="198831"/>
                  </a:lnTo>
                  <a:lnTo>
                    <a:pt x="1730375" y="199530"/>
                  </a:lnTo>
                  <a:lnTo>
                    <a:pt x="1730375" y="197447"/>
                  </a:lnTo>
                  <a:lnTo>
                    <a:pt x="1730375" y="198831"/>
                  </a:lnTo>
                  <a:lnTo>
                    <a:pt x="1730375" y="197447"/>
                  </a:lnTo>
                  <a:lnTo>
                    <a:pt x="1730375" y="198831"/>
                  </a:lnTo>
                  <a:lnTo>
                    <a:pt x="1730375" y="197447"/>
                  </a:lnTo>
                  <a:lnTo>
                    <a:pt x="1730426" y="197447"/>
                  </a:lnTo>
                  <a:lnTo>
                    <a:pt x="1730426" y="198831"/>
                  </a:lnTo>
                  <a:lnTo>
                    <a:pt x="1730426" y="197447"/>
                  </a:lnTo>
                  <a:lnTo>
                    <a:pt x="1730426" y="198831"/>
                  </a:lnTo>
                  <a:lnTo>
                    <a:pt x="1730426" y="196799"/>
                  </a:lnTo>
                  <a:lnTo>
                    <a:pt x="1730477" y="197447"/>
                  </a:lnTo>
                  <a:lnTo>
                    <a:pt x="1730477" y="195415"/>
                  </a:lnTo>
                  <a:lnTo>
                    <a:pt x="1730579" y="196113"/>
                  </a:lnTo>
                  <a:lnTo>
                    <a:pt x="1730579" y="197447"/>
                  </a:lnTo>
                  <a:lnTo>
                    <a:pt x="1730579" y="196799"/>
                  </a:lnTo>
                  <a:lnTo>
                    <a:pt x="1730579" y="197447"/>
                  </a:lnTo>
                  <a:lnTo>
                    <a:pt x="1730579" y="196113"/>
                  </a:lnTo>
                  <a:lnTo>
                    <a:pt x="1730579" y="197447"/>
                  </a:lnTo>
                  <a:lnTo>
                    <a:pt x="1730630" y="197447"/>
                  </a:lnTo>
                  <a:lnTo>
                    <a:pt x="1730630" y="199530"/>
                  </a:lnTo>
                  <a:lnTo>
                    <a:pt x="1730630" y="197447"/>
                  </a:lnTo>
                  <a:lnTo>
                    <a:pt x="1730680" y="198831"/>
                  </a:lnTo>
                  <a:lnTo>
                    <a:pt x="1730680" y="197447"/>
                  </a:lnTo>
                  <a:lnTo>
                    <a:pt x="1730680" y="198831"/>
                  </a:lnTo>
                  <a:lnTo>
                    <a:pt x="1730782" y="198831"/>
                  </a:lnTo>
                  <a:lnTo>
                    <a:pt x="1730782" y="197447"/>
                  </a:lnTo>
                  <a:lnTo>
                    <a:pt x="1730782" y="198831"/>
                  </a:lnTo>
                  <a:lnTo>
                    <a:pt x="1730782" y="197447"/>
                  </a:lnTo>
                  <a:lnTo>
                    <a:pt x="1730833" y="197447"/>
                  </a:lnTo>
                  <a:lnTo>
                    <a:pt x="1730833" y="198831"/>
                  </a:lnTo>
                  <a:lnTo>
                    <a:pt x="1730833" y="197447"/>
                  </a:lnTo>
                  <a:lnTo>
                    <a:pt x="1730884" y="197447"/>
                  </a:lnTo>
                  <a:lnTo>
                    <a:pt x="1730884" y="198831"/>
                  </a:lnTo>
                  <a:lnTo>
                    <a:pt x="1730884" y="197447"/>
                  </a:lnTo>
                  <a:lnTo>
                    <a:pt x="1730884" y="198831"/>
                  </a:lnTo>
                  <a:lnTo>
                    <a:pt x="1730922" y="198831"/>
                  </a:lnTo>
                  <a:lnTo>
                    <a:pt x="1730922" y="196799"/>
                  </a:lnTo>
                  <a:lnTo>
                    <a:pt x="1730922" y="197447"/>
                  </a:lnTo>
                  <a:lnTo>
                    <a:pt x="1731023" y="196799"/>
                  </a:lnTo>
                  <a:lnTo>
                    <a:pt x="1731023" y="193383"/>
                  </a:lnTo>
                  <a:lnTo>
                    <a:pt x="1731023" y="194716"/>
                  </a:lnTo>
                  <a:lnTo>
                    <a:pt x="1731074" y="194716"/>
                  </a:lnTo>
                  <a:lnTo>
                    <a:pt x="1731074" y="196799"/>
                  </a:lnTo>
                  <a:lnTo>
                    <a:pt x="1731074" y="194716"/>
                  </a:lnTo>
                  <a:lnTo>
                    <a:pt x="1731074" y="195415"/>
                  </a:lnTo>
                  <a:lnTo>
                    <a:pt x="1731125" y="195415"/>
                  </a:lnTo>
                  <a:lnTo>
                    <a:pt x="1731125" y="197447"/>
                  </a:lnTo>
                  <a:lnTo>
                    <a:pt x="1731125" y="196113"/>
                  </a:lnTo>
                  <a:lnTo>
                    <a:pt x="1731125" y="196799"/>
                  </a:lnTo>
                  <a:lnTo>
                    <a:pt x="1731226" y="196799"/>
                  </a:lnTo>
                  <a:lnTo>
                    <a:pt x="1731226" y="197447"/>
                  </a:lnTo>
                  <a:lnTo>
                    <a:pt x="1731226" y="196799"/>
                  </a:lnTo>
                  <a:lnTo>
                    <a:pt x="1731226" y="197447"/>
                  </a:lnTo>
                  <a:lnTo>
                    <a:pt x="1731226" y="196799"/>
                  </a:lnTo>
                  <a:lnTo>
                    <a:pt x="1731226" y="197447"/>
                  </a:lnTo>
                  <a:lnTo>
                    <a:pt x="1731277" y="197447"/>
                  </a:lnTo>
                  <a:lnTo>
                    <a:pt x="1731277" y="198831"/>
                  </a:lnTo>
                  <a:lnTo>
                    <a:pt x="1731277" y="197447"/>
                  </a:lnTo>
                  <a:lnTo>
                    <a:pt x="1731328" y="197447"/>
                  </a:lnTo>
                  <a:lnTo>
                    <a:pt x="1731328" y="198831"/>
                  </a:lnTo>
                  <a:lnTo>
                    <a:pt x="1731328" y="197447"/>
                  </a:lnTo>
                  <a:lnTo>
                    <a:pt x="1731328" y="198831"/>
                  </a:lnTo>
                  <a:lnTo>
                    <a:pt x="1731328" y="197447"/>
                  </a:lnTo>
                  <a:lnTo>
                    <a:pt x="1731328" y="198831"/>
                  </a:lnTo>
                  <a:lnTo>
                    <a:pt x="1731379" y="198831"/>
                  </a:lnTo>
                  <a:lnTo>
                    <a:pt x="1731379" y="197447"/>
                  </a:lnTo>
                  <a:lnTo>
                    <a:pt x="1731379" y="198831"/>
                  </a:lnTo>
                  <a:lnTo>
                    <a:pt x="1731468" y="197447"/>
                  </a:lnTo>
                  <a:lnTo>
                    <a:pt x="1731468" y="198831"/>
                  </a:lnTo>
                  <a:lnTo>
                    <a:pt x="1731468" y="196799"/>
                  </a:lnTo>
                  <a:lnTo>
                    <a:pt x="1731468" y="197447"/>
                  </a:lnTo>
                  <a:lnTo>
                    <a:pt x="1731519" y="196799"/>
                  </a:lnTo>
                  <a:lnTo>
                    <a:pt x="1731519" y="195415"/>
                  </a:lnTo>
                  <a:lnTo>
                    <a:pt x="1731519" y="197447"/>
                  </a:lnTo>
                  <a:lnTo>
                    <a:pt x="1731569" y="196799"/>
                  </a:lnTo>
                  <a:lnTo>
                    <a:pt x="1731569" y="195415"/>
                  </a:lnTo>
                  <a:lnTo>
                    <a:pt x="1731569" y="198831"/>
                  </a:lnTo>
                  <a:lnTo>
                    <a:pt x="1731620" y="198831"/>
                  </a:lnTo>
                  <a:lnTo>
                    <a:pt x="1731620" y="196799"/>
                  </a:lnTo>
                  <a:lnTo>
                    <a:pt x="1731620" y="198831"/>
                  </a:lnTo>
                  <a:lnTo>
                    <a:pt x="1731722" y="198831"/>
                  </a:lnTo>
                  <a:lnTo>
                    <a:pt x="1731722" y="197447"/>
                  </a:lnTo>
                  <a:lnTo>
                    <a:pt x="1731722" y="198831"/>
                  </a:lnTo>
                  <a:lnTo>
                    <a:pt x="1731772" y="198831"/>
                  </a:lnTo>
                  <a:lnTo>
                    <a:pt x="1731772" y="197447"/>
                  </a:lnTo>
                  <a:lnTo>
                    <a:pt x="1731772" y="198831"/>
                  </a:lnTo>
                  <a:lnTo>
                    <a:pt x="1731772" y="197447"/>
                  </a:lnTo>
                  <a:lnTo>
                    <a:pt x="1731772" y="198831"/>
                  </a:lnTo>
                  <a:lnTo>
                    <a:pt x="1731772" y="197447"/>
                  </a:lnTo>
                  <a:lnTo>
                    <a:pt x="1731772" y="198831"/>
                  </a:lnTo>
                  <a:lnTo>
                    <a:pt x="1731823" y="198831"/>
                  </a:lnTo>
                  <a:lnTo>
                    <a:pt x="1731823" y="197447"/>
                  </a:lnTo>
                  <a:lnTo>
                    <a:pt x="1731823" y="199530"/>
                  </a:lnTo>
                  <a:lnTo>
                    <a:pt x="1731823" y="198831"/>
                  </a:lnTo>
                  <a:lnTo>
                    <a:pt x="1731925" y="198831"/>
                  </a:lnTo>
                  <a:lnTo>
                    <a:pt x="1731925" y="199530"/>
                  </a:lnTo>
                  <a:lnTo>
                    <a:pt x="1731925" y="197447"/>
                  </a:lnTo>
                  <a:lnTo>
                    <a:pt x="1731963" y="197447"/>
                  </a:lnTo>
                  <a:lnTo>
                    <a:pt x="1731963" y="196113"/>
                  </a:lnTo>
                  <a:lnTo>
                    <a:pt x="1732014" y="196113"/>
                  </a:lnTo>
                  <a:lnTo>
                    <a:pt x="1732014" y="194716"/>
                  </a:lnTo>
                  <a:lnTo>
                    <a:pt x="1732014" y="195415"/>
                  </a:lnTo>
                  <a:lnTo>
                    <a:pt x="1732014" y="194716"/>
                  </a:lnTo>
                  <a:lnTo>
                    <a:pt x="1732065" y="195415"/>
                  </a:lnTo>
                  <a:lnTo>
                    <a:pt x="1732065" y="196113"/>
                  </a:lnTo>
                  <a:lnTo>
                    <a:pt x="1732065" y="193383"/>
                  </a:lnTo>
                  <a:lnTo>
                    <a:pt x="1732065" y="196799"/>
                  </a:lnTo>
                  <a:lnTo>
                    <a:pt x="1732166" y="196799"/>
                  </a:lnTo>
                  <a:lnTo>
                    <a:pt x="1732166" y="197447"/>
                  </a:lnTo>
                  <a:lnTo>
                    <a:pt x="1732166" y="195415"/>
                  </a:lnTo>
                  <a:lnTo>
                    <a:pt x="1732166" y="197447"/>
                  </a:lnTo>
                  <a:lnTo>
                    <a:pt x="1732217" y="196799"/>
                  </a:lnTo>
                  <a:lnTo>
                    <a:pt x="1732217" y="197447"/>
                  </a:lnTo>
                  <a:lnTo>
                    <a:pt x="1732217" y="196799"/>
                  </a:lnTo>
                  <a:lnTo>
                    <a:pt x="1732217" y="197447"/>
                  </a:lnTo>
                  <a:lnTo>
                    <a:pt x="1732268" y="197447"/>
                  </a:lnTo>
                  <a:lnTo>
                    <a:pt x="1732268" y="198831"/>
                  </a:lnTo>
                  <a:lnTo>
                    <a:pt x="1732268" y="197447"/>
                  </a:lnTo>
                  <a:lnTo>
                    <a:pt x="1732268" y="198831"/>
                  </a:lnTo>
                  <a:lnTo>
                    <a:pt x="1732369" y="198831"/>
                  </a:lnTo>
                  <a:lnTo>
                    <a:pt x="1732369" y="197447"/>
                  </a:lnTo>
                  <a:lnTo>
                    <a:pt x="1732369" y="199530"/>
                  </a:lnTo>
                  <a:lnTo>
                    <a:pt x="1732369" y="198831"/>
                  </a:lnTo>
                  <a:lnTo>
                    <a:pt x="1732420" y="198831"/>
                  </a:lnTo>
                  <a:lnTo>
                    <a:pt x="1732420" y="199530"/>
                  </a:lnTo>
                  <a:lnTo>
                    <a:pt x="1732420" y="198831"/>
                  </a:lnTo>
                  <a:lnTo>
                    <a:pt x="1732471" y="198831"/>
                  </a:lnTo>
                  <a:lnTo>
                    <a:pt x="1732471" y="197447"/>
                  </a:lnTo>
                  <a:lnTo>
                    <a:pt x="1732471" y="198831"/>
                  </a:lnTo>
                  <a:lnTo>
                    <a:pt x="1732471" y="197447"/>
                  </a:lnTo>
                  <a:lnTo>
                    <a:pt x="1732471" y="198831"/>
                  </a:lnTo>
                  <a:lnTo>
                    <a:pt x="1732471" y="197447"/>
                  </a:lnTo>
                  <a:lnTo>
                    <a:pt x="1732509" y="196799"/>
                  </a:lnTo>
                  <a:lnTo>
                    <a:pt x="1732509" y="196113"/>
                  </a:lnTo>
                  <a:lnTo>
                    <a:pt x="1732509" y="198831"/>
                  </a:lnTo>
                  <a:lnTo>
                    <a:pt x="1732509" y="196799"/>
                  </a:lnTo>
                  <a:lnTo>
                    <a:pt x="1732611" y="196113"/>
                  </a:lnTo>
                  <a:lnTo>
                    <a:pt x="1732611" y="195415"/>
                  </a:lnTo>
                  <a:lnTo>
                    <a:pt x="1732611" y="199530"/>
                  </a:lnTo>
                  <a:lnTo>
                    <a:pt x="1732611" y="196799"/>
                  </a:lnTo>
                  <a:lnTo>
                    <a:pt x="1732662" y="196799"/>
                  </a:lnTo>
                  <a:lnTo>
                    <a:pt x="1732662" y="199530"/>
                  </a:lnTo>
                  <a:lnTo>
                    <a:pt x="1732662" y="197447"/>
                  </a:lnTo>
                  <a:lnTo>
                    <a:pt x="1732712" y="197447"/>
                  </a:lnTo>
                  <a:lnTo>
                    <a:pt x="1732712" y="198831"/>
                  </a:lnTo>
                  <a:lnTo>
                    <a:pt x="1732712" y="197447"/>
                  </a:lnTo>
                  <a:lnTo>
                    <a:pt x="1732712" y="198831"/>
                  </a:lnTo>
                  <a:lnTo>
                    <a:pt x="1732712" y="197447"/>
                  </a:lnTo>
                  <a:lnTo>
                    <a:pt x="1732712" y="198831"/>
                  </a:lnTo>
                  <a:lnTo>
                    <a:pt x="1732712" y="197447"/>
                  </a:lnTo>
                  <a:lnTo>
                    <a:pt x="1732712" y="198831"/>
                  </a:lnTo>
                  <a:lnTo>
                    <a:pt x="1732814" y="198831"/>
                  </a:lnTo>
                  <a:lnTo>
                    <a:pt x="1732814" y="197447"/>
                  </a:lnTo>
                  <a:lnTo>
                    <a:pt x="1732814" y="198831"/>
                  </a:lnTo>
                  <a:lnTo>
                    <a:pt x="1732814" y="197447"/>
                  </a:lnTo>
                  <a:lnTo>
                    <a:pt x="1732814" y="198831"/>
                  </a:lnTo>
                  <a:lnTo>
                    <a:pt x="1732865" y="198831"/>
                  </a:lnTo>
                  <a:lnTo>
                    <a:pt x="1732865" y="197447"/>
                  </a:lnTo>
                  <a:lnTo>
                    <a:pt x="1732865" y="198831"/>
                  </a:lnTo>
                  <a:lnTo>
                    <a:pt x="1732865" y="197447"/>
                  </a:lnTo>
                  <a:lnTo>
                    <a:pt x="1732865" y="198831"/>
                  </a:lnTo>
                  <a:lnTo>
                    <a:pt x="1732915" y="198831"/>
                  </a:lnTo>
                  <a:lnTo>
                    <a:pt x="1732915" y="197447"/>
                  </a:lnTo>
                  <a:lnTo>
                    <a:pt x="1732915" y="198831"/>
                  </a:lnTo>
                  <a:lnTo>
                    <a:pt x="1732915" y="197447"/>
                  </a:lnTo>
                  <a:lnTo>
                    <a:pt x="1732966" y="197447"/>
                  </a:lnTo>
                  <a:lnTo>
                    <a:pt x="1732966" y="196113"/>
                  </a:lnTo>
                  <a:lnTo>
                    <a:pt x="1732966" y="198831"/>
                  </a:lnTo>
                  <a:lnTo>
                    <a:pt x="1733055" y="198831"/>
                  </a:lnTo>
                  <a:lnTo>
                    <a:pt x="1733055" y="196113"/>
                  </a:lnTo>
                  <a:lnTo>
                    <a:pt x="1733055" y="200228"/>
                  </a:lnTo>
                  <a:lnTo>
                    <a:pt x="1733106" y="200228"/>
                  </a:lnTo>
                  <a:lnTo>
                    <a:pt x="1733106" y="198831"/>
                  </a:lnTo>
                  <a:lnTo>
                    <a:pt x="1733106" y="200228"/>
                  </a:lnTo>
                  <a:lnTo>
                    <a:pt x="1733157" y="200228"/>
                  </a:lnTo>
                  <a:lnTo>
                    <a:pt x="1733157" y="198831"/>
                  </a:lnTo>
                  <a:lnTo>
                    <a:pt x="1733157" y="200228"/>
                  </a:lnTo>
                  <a:lnTo>
                    <a:pt x="1733208" y="199530"/>
                  </a:lnTo>
                  <a:lnTo>
                    <a:pt x="1733208" y="200228"/>
                  </a:lnTo>
                  <a:lnTo>
                    <a:pt x="1733208" y="199530"/>
                  </a:lnTo>
                  <a:lnTo>
                    <a:pt x="1733208" y="200228"/>
                  </a:lnTo>
                  <a:lnTo>
                    <a:pt x="1733208" y="199530"/>
                  </a:lnTo>
                  <a:lnTo>
                    <a:pt x="1733309" y="199530"/>
                  </a:lnTo>
                  <a:lnTo>
                    <a:pt x="1733309" y="200228"/>
                  </a:lnTo>
                  <a:lnTo>
                    <a:pt x="1733309" y="199530"/>
                  </a:lnTo>
                  <a:lnTo>
                    <a:pt x="1733360" y="199530"/>
                  </a:lnTo>
                  <a:lnTo>
                    <a:pt x="1733360" y="200228"/>
                  </a:lnTo>
                  <a:lnTo>
                    <a:pt x="1733360" y="198831"/>
                  </a:lnTo>
                  <a:lnTo>
                    <a:pt x="1733360" y="199530"/>
                  </a:lnTo>
                  <a:lnTo>
                    <a:pt x="1733360" y="198831"/>
                  </a:lnTo>
                  <a:lnTo>
                    <a:pt x="1733411" y="198831"/>
                  </a:lnTo>
                  <a:lnTo>
                    <a:pt x="1733411" y="197447"/>
                  </a:lnTo>
                  <a:lnTo>
                    <a:pt x="1733411" y="198831"/>
                  </a:lnTo>
                  <a:lnTo>
                    <a:pt x="1733411" y="196799"/>
                  </a:lnTo>
                  <a:lnTo>
                    <a:pt x="1733512" y="196113"/>
                  </a:lnTo>
                  <a:lnTo>
                    <a:pt x="1733512" y="196799"/>
                  </a:lnTo>
                  <a:lnTo>
                    <a:pt x="1733512" y="196113"/>
                  </a:lnTo>
                  <a:lnTo>
                    <a:pt x="1733512" y="199530"/>
                  </a:lnTo>
                  <a:lnTo>
                    <a:pt x="1733512" y="197447"/>
                  </a:lnTo>
                  <a:lnTo>
                    <a:pt x="1733550" y="196799"/>
                  </a:lnTo>
                  <a:lnTo>
                    <a:pt x="1733550" y="200876"/>
                  </a:lnTo>
                  <a:lnTo>
                    <a:pt x="1733550" y="198831"/>
                  </a:lnTo>
                  <a:lnTo>
                    <a:pt x="1733550" y="199530"/>
                  </a:lnTo>
                  <a:lnTo>
                    <a:pt x="1733601" y="198831"/>
                  </a:lnTo>
                  <a:lnTo>
                    <a:pt x="1733601" y="200876"/>
                  </a:lnTo>
                  <a:lnTo>
                    <a:pt x="1733601" y="200228"/>
                  </a:lnTo>
                  <a:lnTo>
                    <a:pt x="1733652" y="200228"/>
                  </a:lnTo>
                  <a:lnTo>
                    <a:pt x="1733652" y="200876"/>
                  </a:lnTo>
                  <a:lnTo>
                    <a:pt x="1733652" y="200228"/>
                  </a:lnTo>
                  <a:lnTo>
                    <a:pt x="1733754" y="200228"/>
                  </a:lnTo>
                  <a:lnTo>
                    <a:pt x="1733754" y="200876"/>
                  </a:lnTo>
                  <a:lnTo>
                    <a:pt x="1733754" y="199530"/>
                  </a:lnTo>
                  <a:lnTo>
                    <a:pt x="1733805" y="199530"/>
                  </a:lnTo>
                  <a:lnTo>
                    <a:pt x="1733805" y="200228"/>
                  </a:lnTo>
                  <a:lnTo>
                    <a:pt x="1733805" y="199530"/>
                  </a:lnTo>
                  <a:lnTo>
                    <a:pt x="1733855" y="199530"/>
                  </a:lnTo>
                  <a:lnTo>
                    <a:pt x="1733855" y="197447"/>
                  </a:lnTo>
                  <a:lnTo>
                    <a:pt x="1733957" y="197447"/>
                  </a:lnTo>
                  <a:lnTo>
                    <a:pt x="1733957" y="196113"/>
                  </a:lnTo>
                  <a:lnTo>
                    <a:pt x="1733957" y="196799"/>
                  </a:lnTo>
                  <a:lnTo>
                    <a:pt x="1733957" y="195415"/>
                  </a:lnTo>
                  <a:lnTo>
                    <a:pt x="1734008" y="195415"/>
                  </a:lnTo>
                  <a:lnTo>
                    <a:pt x="1734008" y="197447"/>
                  </a:lnTo>
                  <a:lnTo>
                    <a:pt x="1734008" y="195415"/>
                  </a:lnTo>
                  <a:lnTo>
                    <a:pt x="1734008" y="196113"/>
                  </a:lnTo>
                  <a:lnTo>
                    <a:pt x="1734059" y="196799"/>
                  </a:lnTo>
                  <a:lnTo>
                    <a:pt x="1734059" y="198831"/>
                  </a:lnTo>
                  <a:lnTo>
                    <a:pt x="1734059" y="196799"/>
                  </a:lnTo>
                  <a:lnTo>
                    <a:pt x="1734059" y="197447"/>
                  </a:lnTo>
                  <a:lnTo>
                    <a:pt x="1734097" y="198831"/>
                  </a:lnTo>
                  <a:lnTo>
                    <a:pt x="1734097" y="199530"/>
                  </a:lnTo>
                  <a:lnTo>
                    <a:pt x="1734097" y="198831"/>
                  </a:lnTo>
                  <a:lnTo>
                    <a:pt x="1734097" y="199530"/>
                  </a:lnTo>
                  <a:lnTo>
                    <a:pt x="1734198" y="199530"/>
                  </a:lnTo>
                  <a:lnTo>
                    <a:pt x="1734198" y="198831"/>
                  </a:lnTo>
                  <a:lnTo>
                    <a:pt x="1734198" y="199530"/>
                  </a:lnTo>
                  <a:lnTo>
                    <a:pt x="1734198" y="198831"/>
                  </a:lnTo>
                  <a:lnTo>
                    <a:pt x="1734198" y="199530"/>
                  </a:lnTo>
                  <a:lnTo>
                    <a:pt x="1734249" y="200228"/>
                  </a:lnTo>
                  <a:lnTo>
                    <a:pt x="1734249" y="199530"/>
                  </a:lnTo>
                  <a:lnTo>
                    <a:pt x="1734249" y="200228"/>
                  </a:lnTo>
                  <a:lnTo>
                    <a:pt x="1734249" y="199530"/>
                  </a:lnTo>
                  <a:lnTo>
                    <a:pt x="1734249" y="200228"/>
                  </a:lnTo>
                  <a:lnTo>
                    <a:pt x="1734249" y="199530"/>
                  </a:lnTo>
                  <a:lnTo>
                    <a:pt x="1734249" y="200228"/>
                  </a:lnTo>
                  <a:lnTo>
                    <a:pt x="1734300" y="200228"/>
                  </a:lnTo>
                  <a:lnTo>
                    <a:pt x="1734300" y="199530"/>
                  </a:lnTo>
                  <a:lnTo>
                    <a:pt x="1734300" y="200228"/>
                  </a:lnTo>
                  <a:lnTo>
                    <a:pt x="1734300" y="199530"/>
                  </a:lnTo>
                  <a:lnTo>
                    <a:pt x="1734300" y="200228"/>
                  </a:lnTo>
                  <a:lnTo>
                    <a:pt x="1734401" y="200228"/>
                  </a:lnTo>
                  <a:lnTo>
                    <a:pt x="1734401" y="197447"/>
                  </a:lnTo>
                  <a:lnTo>
                    <a:pt x="1734452" y="197447"/>
                  </a:lnTo>
                  <a:lnTo>
                    <a:pt x="1734452" y="196113"/>
                  </a:lnTo>
                  <a:lnTo>
                    <a:pt x="1734452" y="196799"/>
                  </a:lnTo>
                  <a:lnTo>
                    <a:pt x="1734452" y="195415"/>
                  </a:lnTo>
                  <a:lnTo>
                    <a:pt x="1734452" y="196799"/>
                  </a:lnTo>
                  <a:lnTo>
                    <a:pt x="1734503" y="196799"/>
                  </a:lnTo>
                  <a:lnTo>
                    <a:pt x="1734503" y="196113"/>
                  </a:lnTo>
                  <a:lnTo>
                    <a:pt x="1734503" y="197447"/>
                  </a:lnTo>
                  <a:lnTo>
                    <a:pt x="1734554" y="198831"/>
                  </a:lnTo>
                  <a:lnTo>
                    <a:pt x="1734554" y="196799"/>
                  </a:lnTo>
                  <a:lnTo>
                    <a:pt x="1734554" y="198831"/>
                  </a:lnTo>
                  <a:lnTo>
                    <a:pt x="1734643" y="198831"/>
                  </a:lnTo>
                  <a:lnTo>
                    <a:pt x="1734643" y="197447"/>
                  </a:lnTo>
                  <a:lnTo>
                    <a:pt x="1734643" y="198831"/>
                  </a:lnTo>
                  <a:lnTo>
                    <a:pt x="1734643" y="196799"/>
                  </a:lnTo>
                  <a:lnTo>
                    <a:pt x="1734643" y="198831"/>
                  </a:lnTo>
                  <a:lnTo>
                    <a:pt x="1734694" y="198831"/>
                  </a:lnTo>
                  <a:lnTo>
                    <a:pt x="1734694" y="199530"/>
                  </a:lnTo>
                  <a:lnTo>
                    <a:pt x="1734694" y="198831"/>
                  </a:lnTo>
                  <a:lnTo>
                    <a:pt x="1734694" y="199530"/>
                  </a:lnTo>
                  <a:lnTo>
                    <a:pt x="1734744" y="199530"/>
                  </a:lnTo>
                  <a:lnTo>
                    <a:pt x="1734744" y="200228"/>
                  </a:lnTo>
                  <a:lnTo>
                    <a:pt x="1734744" y="199530"/>
                  </a:lnTo>
                  <a:lnTo>
                    <a:pt x="1734744" y="200228"/>
                  </a:lnTo>
                  <a:lnTo>
                    <a:pt x="1734744" y="199530"/>
                  </a:lnTo>
                  <a:lnTo>
                    <a:pt x="1734744" y="200228"/>
                  </a:lnTo>
                  <a:lnTo>
                    <a:pt x="1734744" y="199530"/>
                  </a:lnTo>
                  <a:lnTo>
                    <a:pt x="1734795" y="199530"/>
                  </a:lnTo>
                  <a:lnTo>
                    <a:pt x="1734795" y="198831"/>
                  </a:lnTo>
                  <a:lnTo>
                    <a:pt x="1734795" y="199530"/>
                  </a:lnTo>
                  <a:lnTo>
                    <a:pt x="1734897" y="199530"/>
                  </a:lnTo>
                  <a:lnTo>
                    <a:pt x="1734897" y="196799"/>
                  </a:lnTo>
                  <a:lnTo>
                    <a:pt x="1734947" y="197447"/>
                  </a:lnTo>
                  <a:lnTo>
                    <a:pt x="1734947" y="195415"/>
                  </a:lnTo>
                  <a:lnTo>
                    <a:pt x="1734998" y="195415"/>
                  </a:lnTo>
                  <a:lnTo>
                    <a:pt x="1734998" y="196113"/>
                  </a:lnTo>
                  <a:lnTo>
                    <a:pt x="1734998" y="195415"/>
                  </a:lnTo>
                  <a:lnTo>
                    <a:pt x="1734998" y="196113"/>
                  </a:lnTo>
                  <a:lnTo>
                    <a:pt x="1734998" y="195415"/>
                  </a:lnTo>
                  <a:lnTo>
                    <a:pt x="1734998" y="196113"/>
                  </a:lnTo>
                  <a:lnTo>
                    <a:pt x="1734998" y="194716"/>
                  </a:lnTo>
                  <a:lnTo>
                    <a:pt x="1734998" y="196113"/>
                  </a:lnTo>
                  <a:lnTo>
                    <a:pt x="1735100" y="196113"/>
                  </a:lnTo>
                  <a:lnTo>
                    <a:pt x="1735100" y="196799"/>
                  </a:lnTo>
                  <a:lnTo>
                    <a:pt x="1735100" y="196113"/>
                  </a:lnTo>
                  <a:lnTo>
                    <a:pt x="1735100" y="196799"/>
                  </a:lnTo>
                  <a:lnTo>
                    <a:pt x="1735100" y="196113"/>
                  </a:lnTo>
                  <a:lnTo>
                    <a:pt x="1735100" y="196799"/>
                  </a:lnTo>
                  <a:lnTo>
                    <a:pt x="1735138" y="196799"/>
                  </a:lnTo>
                  <a:lnTo>
                    <a:pt x="1735138" y="197447"/>
                  </a:lnTo>
                  <a:lnTo>
                    <a:pt x="1735138" y="196113"/>
                  </a:lnTo>
                  <a:lnTo>
                    <a:pt x="1735138" y="197447"/>
                  </a:lnTo>
                  <a:lnTo>
                    <a:pt x="1735189" y="197447"/>
                  </a:lnTo>
                  <a:lnTo>
                    <a:pt x="1735189" y="196799"/>
                  </a:lnTo>
                  <a:lnTo>
                    <a:pt x="1735189" y="197447"/>
                  </a:lnTo>
                  <a:lnTo>
                    <a:pt x="1735240" y="197447"/>
                  </a:lnTo>
                  <a:lnTo>
                    <a:pt x="1735240" y="198831"/>
                  </a:lnTo>
                  <a:lnTo>
                    <a:pt x="1735240" y="197447"/>
                  </a:lnTo>
                  <a:lnTo>
                    <a:pt x="1735240" y="199530"/>
                  </a:lnTo>
                  <a:lnTo>
                    <a:pt x="1735341" y="199530"/>
                  </a:lnTo>
                  <a:lnTo>
                    <a:pt x="1735341" y="198831"/>
                  </a:lnTo>
                  <a:lnTo>
                    <a:pt x="1735341" y="199530"/>
                  </a:lnTo>
                  <a:lnTo>
                    <a:pt x="1735341" y="198831"/>
                  </a:lnTo>
                  <a:lnTo>
                    <a:pt x="1735341" y="199530"/>
                  </a:lnTo>
                  <a:lnTo>
                    <a:pt x="1735341" y="198831"/>
                  </a:lnTo>
                  <a:lnTo>
                    <a:pt x="1735341" y="199530"/>
                  </a:lnTo>
                  <a:lnTo>
                    <a:pt x="1735341" y="198831"/>
                  </a:lnTo>
                  <a:lnTo>
                    <a:pt x="1735392" y="198831"/>
                  </a:lnTo>
                  <a:lnTo>
                    <a:pt x="1735392" y="199530"/>
                  </a:lnTo>
                  <a:lnTo>
                    <a:pt x="1735392" y="197447"/>
                  </a:lnTo>
                  <a:lnTo>
                    <a:pt x="1735443" y="197447"/>
                  </a:lnTo>
                  <a:lnTo>
                    <a:pt x="1735443" y="196113"/>
                  </a:lnTo>
                  <a:lnTo>
                    <a:pt x="1735443" y="196799"/>
                  </a:lnTo>
                  <a:lnTo>
                    <a:pt x="1735443" y="195415"/>
                  </a:lnTo>
                  <a:lnTo>
                    <a:pt x="1735544" y="195415"/>
                  </a:lnTo>
                  <a:lnTo>
                    <a:pt x="1735544" y="196113"/>
                  </a:lnTo>
                  <a:lnTo>
                    <a:pt x="1735544" y="195415"/>
                  </a:lnTo>
                  <a:lnTo>
                    <a:pt x="1735544" y="196113"/>
                  </a:lnTo>
                  <a:lnTo>
                    <a:pt x="1735544" y="195415"/>
                  </a:lnTo>
                  <a:lnTo>
                    <a:pt x="1735544" y="196799"/>
                  </a:lnTo>
                  <a:lnTo>
                    <a:pt x="1735595" y="196799"/>
                  </a:lnTo>
                  <a:lnTo>
                    <a:pt x="1735595" y="195415"/>
                  </a:lnTo>
                  <a:lnTo>
                    <a:pt x="1735595" y="196113"/>
                  </a:lnTo>
                  <a:lnTo>
                    <a:pt x="1735646" y="196113"/>
                  </a:lnTo>
                  <a:lnTo>
                    <a:pt x="1735646" y="196799"/>
                  </a:lnTo>
                  <a:lnTo>
                    <a:pt x="1735646" y="196113"/>
                  </a:lnTo>
                  <a:lnTo>
                    <a:pt x="1735646" y="196799"/>
                  </a:lnTo>
                  <a:lnTo>
                    <a:pt x="1735646" y="196113"/>
                  </a:lnTo>
                  <a:lnTo>
                    <a:pt x="1735646" y="196799"/>
                  </a:lnTo>
                  <a:lnTo>
                    <a:pt x="1735684" y="196799"/>
                  </a:lnTo>
                  <a:lnTo>
                    <a:pt x="1735684" y="196113"/>
                  </a:lnTo>
                  <a:lnTo>
                    <a:pt x="1735684" y="196799"/>
                  </a:lnTo>
                  <a:lnTo>
                    <a:pt x="1735684" y="196113"/>
                  </a:lnTo>
                  <a:lnTo>
                    <a:pt x="1735684" y="196799"/>
                  </a:lnTo>
                  <a:lnTo>
                    <a:pt x="1735684" y="196113"/>
                  </a:lnTo>
                  <a:lnTo>
                    <a:pt x="1735786" y="196799"/>
                  </a:lnTo>
                  <a:lnTo>
                    <a:pt x="1735786" y="197447"/>
                  </a:lnTo>
                  <a:lnTo>
                    <a:pt x="1735786" y="196799"/>
                  </a:lnTo>
                  <a:lnTo>
                    <a:pt x="1735786" y="197447"/>
                  </a:lnTo>
                  <a:lnTo>
                    <a:pt x="1735786" y="196799"/>
                  </a:lnTo>
                  <a:lnTo>
                    <a:pt x="1735837" y="197447"/>
                  </a:lnTo>
                  <a:lnTo>
                    <a:pt x="1735887" y="197447"/>
                  </a:lnTo>
                  <a:lnTo>
                    <a:pt x="1735887" y="198831"/>
                  </a:lnTo>
                  <a:lnTo>
                    <a:pt x="1735887" y="196113"/>
                  </a:lnTo>
                  <a:lnTo>
                    <a:pt x="1735989" y="196113"/>
                  </a:lnTo>
                  <a:lnTo>
                    <a:pt x="1735989" y="195415"/>
                  </a:lnTo>
                  <a:lnTo>
                    <a:pt x="1735989" y="196113"/>
                  </a:lnTo>
                  <a:lnTo>
                    <a:pt x="1736040" y="196799"/>
                  </a:lnTo>
                  <a:lnTo>
                    <a:pt x="1736040" y="196113"/>
                  </a:lnTo>
                  <a:lnTo>
                    <a:pt x="1736040" y="196799"/>
                  </a:lnTo>
                  <a:lnTo>
                    <a:pt x="1736040" y="195415"/>
                  </a:lnTo>
                  <a:lnTo>
                    <a:pt x="1736040" y="198831"/>
                  </a:lnTo>
                  <a:lnTo>
                    <a:pt x="1736040" y="197447"/>
                  </a:lnTo>
                  <a:lnTo>
                    <a:pt x="1736090" y="197447"/>
                  </a:lnTo>
                  <a:lnTo>
                    <a:pt x="1736090" y="196113"/>
                  </a:lnTo>
                  <a:lnTo>
                    <a:pt x="1736090" y="197447"/>
                  </a:lnTo>
                  <a:lnTo>
                    <a:pt x="1736141" y="197447"/>
                  </a:lnTo>
                  <a:lnTo>
                    <a:pt x="1736141" y="196799"/>
                  </a:lnTo>
                  <a:lnTo>
                    <a:pt x="1736141" y="197447"/>
                  </a:lnTo>
                  <a:lnTo>
                    <a:pt x="1736141" y="196799"/>
                  </a:lnTo>
                  <a:lnTo>
                    <a:pt x="1736141" y="197447"/>
                  </a:lnTo>
                  <a:lnTo>
                    <a:pt x="1736141" y="196799"/>
                  </a:lnTo>
                  <a:lnTo>
                    <a:pt x="1736141" y="197447"/>
                  </a:lnTo>
                  <a:lnTo>
                    <a:pt x="1736230" y="197447"/>
                  </a:lnTo>
                  <a:lnTo>
                    <a:pt x="1736230" y="196799"/>
                  </a:lnTo>
                  <a:lnTo>
                    <a:pt x="1736230" y="197447"/>
                  </a:lnTo>
                  <a:lnTo>
                    <a:pt x="1736281" y="197447"/>
                  </a:lnTo>
                  <a:lnTo>
                    <a:pt x="1736281" y="196799"/>
                  </a:lnTo>
                  <a:lnTo>
                    <a:pt x="1736281" y="198831"/>
                  </a:lnTo>
                  <a:lnTo>
                    <a:pt x="1736281" y="197447"/>
                  </a:lnTo>
                  <a:lnTo>
                    <a:pt x="1736281" y="198831"/>
                  </a:lnTo>
                  <a:lnTo>
                    <a:pt x="1736281" y="197447"/>
                  </a:lnTo>
                  <a:lnTo>
                    <a:pt x="1736281" y="198831"/>
                  </a:lnTo>
                  <a:lnTo>
                    <a:pt x="1736332" y="197447"/>
                  </a:lnTo>
                  <a:lnTo>
                    <a:pt x="1736332" y="198831"/>
                  </a:lnTo>
                  <a:lnTo>
                    <a:pt x="1736332" y="197447"/>
                  </a:lnTo>
                  <a:lnTo>
                    <a:pt x="1736332" y="198831"/>
                  </a:lnTo>
                  <a:lnTo>
                    <a:pt x="1736332" y="197447"/>
                  </a:lnTo>
                  <a:lnTo>
                    <a:pt x="1736332" y="198831"/>
                  </a:lnTo>
                  <a:lnTo>
                    <a:pt x="1736332" y="197447"/>
                  </a:lnTo>
                  <a:lnTo>
                    <a:pt x="1736332" y="198831"/>
                  </a:lnTo>
                  <a:lnTo>
                    <a:pt x="1736383" y="197447"/>
                  </a:lnTo>
                  <a:lnTo>
                    <a:pt x="1736383" y="198831"/>
                  </a:lnTo>
                  <a:lnTo>
                    <a:pt x="1736383" y="196799"/>
                  </a:lnTo>
                  <a:lnTo>
                    <a:pt x="1736383" y="197447"/>
                  </a:lnTo>
                  <a:lnTo>
                    <a:pt x="1736383" y="196799"/>
                  </a:lnTo>
                  <a:lnTo>
                    <a:pt x="1736484" y="196799"/>
                  </a:lnTo>
                  <a:lnTo>
                    <a:pt x="1736484" y="196113"/>
                  </a:lnTo>
                  <a:lnTo>
                    <a:pt x="1736484" y="197447"/>
                  </a:lnTo>
                  <a:lnTo>
                    <a:pt x="1736484" y="196799"/>
                  </a:lnTo>
                  <a:lnTo>
                    <a:pt x="1736535" y="196799"/>
                  </a:lnTo>
                  <a:lnTo>
                    <a:pt x="1736535" y="199530"/>
                  </a:lnTo>
                  <a:lnTo>
                    <a:pt x="1736535" y="198831"/>
                  </a:lnTo>
                  <a:lnTo>
                    <a:pt x="1736586" y="198831"/>
                  </a:lnTo>
                  <a:lnTo>
                    <a:pt x="1736586" y="199530"/>
                  </a:lnTo>
                  <a:lnTo>
                    <a:pt x="1736586" y="198831"/>
                  </a:lnTo>
                  <a:lnTo>
                    <a:pt x="1736687" y="198831"/>
                  </a:lnTo>
                  <a:lnTo>
                    <a:pt x="1736687" y="199530"/>
                  </a:lnTo>
                  <a:lnTo>
                    <a:pt x="1736687" y="198831"/>
                  </a:lnTo>
                  <a:lnTo>
                    <a:pt x="1736725" y="198831"/>
                  </a:lnTo>
                  <a:lnTo>
                    <a:pt x="1736725" y="199530"/>
                  </a:lnTo>
                  <a:lnTo>
                    <a:pt x="1736725" y="198831"/>
                  </a:lnTo>
                  <a:lnTo>
                    <a:pt x="1736776" y="199530"/>
                  </a:lnTo>
                  <a:lnTo>
                    <a:pt x="1736776" y="197447"/>
                  </a:lnTo>
                  <a:lnTo>
                    <a:pt x="1736827" y="197447"/>
                  </a:lnTo>
                  <a:lnTo>
                    <a:pt x="1736827" y="196799"/>
                  </a:lnTo>
                  <a:lnTo>
                    <a:pt x="1736929" y="196799"/>
                  </a:lnTo>
                  <a:lnTo>
                    <a:pt x="1736929" y="196113"/>
                  </a:lnTo>
                  <a:lnTo>
                    <a:pt x="1736980" y="196113"/>
                  </a:lnTo>
                  <a:lnTo>
                    <a:pt x="1736980" y="196799"/>
                  </a:lnTo>
                  <a:lnTo>
                    <a:pt x="1736980" y="196113"/>
                  </a:lnTo>
                  <a:lnTo>
                    <a:pt x="1736980" y="196799"/>
                  </a:lnTo>
                  <a:lnTo>
                    <a:pt x="1737030" y="196799"/>
                  </a:lnTo>
                  <a:lnTo>
                    <a:pt x="1737030" y="198831"/>
                  </a:lnTo>
                  <a:lnTo>
                    <a:pt x="1737030" y="197447"/>
                  </a:lnTo>
                  <a:lnTo>
                    <a:pt x="1737030" y="198831"/>
                  </a:lnTo>
                  <a:lnTo>
                    <a:pt x="1737030" y="197447"/>
                  </a:lnTo>
                  <a:lnTo>
                    <a:pt x="1737132" y="197447"/>
                  </a:lnTo>
                  <a:lnTo>
                    <a:pt x="1737132" y="198831"/>
                  </a:lnTo>
                  <a:lnTo>
                    <a:pt x="1737132" y="197447"/>
                  </a:lnTo>
                  <a:lnTo>
                    <a:pt x="1737132" y="198831"/>
                  </a:lnTo>
                  <a:lnTo>
                    <a:pt x="1737183" y="198831"/>
                  </a:lnTo>
                  <a:lnTo>
                    <a:pt x="1737183" y="199530"/>
                  </a:lnTo>
                  <a:lnTo>
                    <a:pt x="1737183" y="198831"/>
                  </a:lnTo>
                  <a:lnTo>
                    <a:pt x="1737183" y="199530"/>
                  </a:lnTo>
                  <a:lnTo>
                    <a:pt x="1737183" y="198831"/>
                  </a:lnTo>
                  <a:lnTo>
                    <a:pt x="1737183" y="199530"/>
                  </a:lnTo>
                  <a:lnTo>
                    <a:pt x="1737183" y="198831"/>
                  </a:lnTo>
                  <a:lnTo>
                    <a:pt x="1737183" y="199530"/>
                  </a:lnTo>
                  <a:lnTo>
                    <a:pt x="1737234" y="199530"/>
                  </a:lnTo>
                  <a:lnTo>
                    <a:pt x="1737234" y="198831"/>
                  </a:lnTo>
                  <a:lnTo>
                    <a:pt x="1737234" y="199530"/>
                  </a:lnTo>
                  <a:lnTo>
                    <a:pt x="1737234" y="198831"/>
                  </a:lnTo>
                  <a:lnTo>
                    <a:pt x="1737234" y="199530"/>
                  </a:lnTo>
                  <a:lnTo>
                    <a:pt x="1737272" y="199530"/>
                  </a:lnTo>
                  <a:lnTo>
                    <a:pt x="1737272" y="200228"/>
                  </a:lnTo>
                  <a:lnTo>
                    <a:pt x="1737272" y="198831"/>
                  </a:lnTo>
                  <a:lnTo>
                    <a:pt x="1737272" y="199530"/>
                  </a:lnTo>
                  <a:lnTo>
                    <a:pt x="1737272" y="198831"/>
                  </a:lnTo>
                  <a:lnTo>
                    <a:pt x="1737272" y="199530"/>
                  </a:lnTo>
                  <a:lnTo>
                    <a:pt x="1737373" y="199530"/>
                  </a:lnTo>
                  <a:lnTo>
                    <a:pt x="1737373" y="197447"/>
                  </a:lnTo>
                  <a:lnTo>
                    <a:pt x="1737373" y="198831"/>
                  </a:lnTo>
                  <a:lnTo>
                    <a:pt x="1737373" y="196799"/>
                  </a:lnTo>
                  <a:lnTo>
                    <a:pt x="1737424" y="196799"/>
                  </a:lnTo>
                  <a:lnTo>
                    <a:pt x="1737424" y="196113"/>
                  </a:lnTo>
                  <a:lnTo>
                    <a:pt x="1737424" y="196799"/>
                  </a:lnTo>
                  <a:lnTo>
                    <a:pt x="1737424" y="196113"/>
                  </a:lnTo>
                  <a:lnTo>
                    <a:pt x="1737424" y="198831"/>
                  </a:lnTo>
                  <a:lnTo>
                    <a:pt x="1737424" y="196799"/>
                  </a:lnTo>
                  <a:lnTo>
                    <a:pt x="1737424" y="197447"/>
                  </a:lnTo>
                  <a:lnTo>
                    <a:pt x="1737424" y="196799"/>
                  </a:lnTo>
                  <a:lnTo>
                    <a:pt x="1737475" y="196799"/>
                  </a:lnTo>
                  <a:lnTo>
                    <a:pt x="1737475" y="196113"/>
                  </a:lnTo>
                  <a:lnTo>
                    <a:pt x="1737475" y="200228"/>
                  </a:lnTo>
                  <a:lnTo>
                    <a:pt x="1737475" y="198831"/>
                  </a:lnTo>
                  <a:lnTo>
                    <a:pt x="1737576" y="198831"/>
                  </a:lnTo>
                  <a:lnTo>
                    <a:pt x="1737576" y="200228"/>
                  </a:lnTo>
                  <a:lnTo>
                    <a:pt x="1737576" y="198831"/>
                  </a:lnTo>
                  <a:lnTo>
                    <a:pt x="1737627" y="198831"/>
                  </a:lnTo>
                  <a:lnTo>
                    <a:pt x="1737627" y="200228"/>
                  </a:lnTo>
                  <a:lnTo>
                    <a:pt x="1737627" y="199530"/>
                  </a:lnTo>
                  <a:lnTo>
                    <a:pt x="1737678" y="199530"/>
                  </a:lnTo>
                  <a:lnTo>
                    <a:pt x="1737678" y="200228"/>
                  </a:lnTo>
                  <a:lnTo>
                    <a:pt x="1737678" y="199530"/>
                  </a:lnTo>
                  <a:lnTo>
                    <a:pt x="1737678" y="200228"/>
                  </a:lnTo>
                  <a:lnTo>
                    <a:pt x="1737678" y="199530"/>
                  </a:lnTo>
                  <a:lnTo>
                    <a:pt x="1737678" y="200228"/>
                  </a:lnTo>
                  <a:lnTo>
                    <a:pt x="1737678" y="199530"/>
                  </a:lnTo>
                  <a:lnTo>
                    <a:pt x="1737678" y="200228"/>
                  </a:lnTo>
                  <a:lnTo>
                    <a:pt x="1737678" y="199530"/>
                  </a:lnTo>
                  <a:lnTo>
                    <a:pt x="1737729" y="200228"/>
                  </a:lnTo>
                  <a:lnTo>
                    <a:pt x="1737729" y="199530"/>
                  </a:lnTo>
                  <a:lnTo>
                    <a:pt x="1737729" y="200228"/>
                  </a:lnTo>
                  <a:lnTo>
                    <a:pt x="1737729" y="199530"/>
                  </a:lnTo>
                  <a:lnTo>
                    <a:pt x="1737729" y="200228"/>
                  </a:lnTo>
                  <a:lnTo>
                    <a:pt x="1737729" y="199530"/>
                  </a:lnTo>
                  <a:lnTo>
                    <a:pt x="1737818" y="199530"/>
                  </a:lnTo>
                  <a:lnTo>
                    <a:pt x="1737818" y="198831"/>
                  </a:lnTo>
                  <a:lnTo>
                    <a:pt x="1737869" y="197447"/>
                  </a:lnTo>
                  <a:lnTo>
                    <a:pt x="1737869" y="196799"/>
                  </a:lnTo>
                  <a:lnTo>
                    <a:pt x="1737869" y="197447"/>
                  </a:lnTo>
                  <a:lnTo>
                    <a:pt x="1737869" y="195415"/>
                  </a:lnTo>
                  <a:lnTo>
                    <a:pt x="1737919" y="196113"/>
                  </a:lnTo>
                  <a:lnTo>
                    <a:pt x="1737919" y="194716"/>
                  </a:lnTo>
                  <a:lnTo>
                    <a:pt x="1737919" y="197447"/>
                  </a:lnTo>
                  <a:lnTo>
                    <a:pt x="1737919" y="196113"/>
                  </a:lnTo>
                  <a:lnTo>
                    <a:pt x="1737970" y="196113"/>
                  </a:lnTo>
                  <a:lnTo>
                    <a:pt x="1737970" y="195415"/>
                  </a:lnTo>
                  <a:lnTo>
                    <a:pt x="1737970" y="198831"/>
                  </a:lnTo>
                  <a:lnTo>
                    <a:pt x="1737970" y="196799"/>
                  </a:lnTo>
                  <a:lnTo>
                    <a:pt x="1738072" y="196799"/>
                  </a:lnTo>
                  <a:lnTo>
                    <a:pt x="1738072" y="198831"/>
                  </a:lnTo>
                  <a:lnTo>
                    <a:pt x="1738072" y="196799"/>
                  </a:lnTo>
                  <a:lnTo>
                    <a:pt x="1738122" y="197447"/>
                  </a:lnTo>
                  <a:lnTo>
                    <a:pt x="1738122" y="196113"/>
                  </a:lnTo>
                  <a:lnTo>
                    <a:pt x="1738122" y="199530"/>
                  </a:lnTo>
                  <a:lnTo>
                    <a:pt x="1738122" y="197447"/>
                  </a:lnTo>
                  <a:lnTo>
                    <a:pt x="1738173" y="198831"/>
                  </a:lnTo>
                  <a:lnTo>
                    <a:pt x="1738173" y="197447"/>
                  </a:lnTo>
                  <a:lnTo>
                    <a:pt x="1738173" y="199530"/>
                  </a:lnTo>
                  <a:lnTo>
                    <a:pt x="1738275" y="199530"/>
                  </a:lnTo>
                  <a:lnTo>
                    <a:pt x="1738275" y="200228"/>
                  </a:lnTo>
                  <a:lnTo>
                    <a:pt x="1738275" y="199530"/>
                  </a:lnTo>
                  <a:lnTo>
                    <a:pt x="1738275" y="200228"/>
                  </a:lnTo>
                  <a:lnTo>
                    <a:pt x="1738313" y="200228"/>
                  </a:lnTo>
                  <a:lnTo>
                    <a:pt x="1738313" y="198831"/>
                  </a:lnTo>
                  <a:lnTo>
                    <a:pt x="1738364" y="198831"/>
                  </a:lnTo>
                  <a:lnTo>
                    <a:pt x="1738364" y="196799"/>
                  </a:lnTo>
                  <a:lnTo>
                    <a:pt x="1738364" y="197447"/>
                  </a:lnTo>
                  <a:lnTo>
                    <a:pt x="1738364" y="196113"/>
                  </a:lnTo>
                  <a:lnTo>
                    <a:pt x="1738415" y="196113"/>
                  </a:lnTo>
                  <a:lnTo>
                    <a:pt x="1738415" y="195415"/>
                  </a:lnTo>
                  <a:lnTo>
                    <a:pt x="1738415" y="196799"/>
                  </a:lnTo>
                  <a:lnTo>
                    <a:pt x="1738415" y="195415"/>
                  </a:lnTo>
                  <a:lnTo>
                    <a:pt x="1738516" y="195415"/>
                  </a:lnTo>
                  <a:lnTo>
                    <a:pt x="1738516" y="197447"/>
                  </a:lnTo>
                  <a:lnTo>
                    <a:pt x="1738516" y="196113"/>
                  </a:lnTo>
                  <a:lnTo>
                    <a:pt x="1738567" y="196113"/>
                  </a:lnTo>
                  <a:lnTo>
                    <a:pt x="1738567" y="197447"/>
                  </a:lnTo>
                  <a:lnTo>
                    <a:pt x="1738567" y="196113"/>
                  </a:lnTo>
                  <a:lnTo>
                    <a:pt x="1738567" y="196799"/>
                  </a:lnTo>
                  <a:lnTo>
                    <a:pt x="1738618" y="196799"/>
                  </a:lnTo>
                  <a:lnTo>
                    <a:pt x="1738618" y="197447"/>
                  </a:lnTo>
                  <a:lnTo>
                    <a:pt x="1738618" y="196799"/>
                  </a:lnTo>
                  <a:lnTo>
                    <a:pt x="1738618" y="197447"/>
                  </a:lnTo>
                  <a:lnTo>
                    <a:pt x="1738618" y="196799"/>
                  </a:lnTo>
                  <a:lnTo>
                    <a:pt x="1738618" y="197447"/>
                  </a:lnTo>
                  <a:lnTo>
                    <a:pt x="1738719" y="197447"/>
                  </a:lnTo>
                  <a:lnTo>
                    <a:pt x="1738719" y="198831"/>
                  </a:lnTo>
                  <a:lnTo>
                    <a:pt x="1738770" y="198831"/>
                  </a:lnTo>
                  <a:lnTo>
                    <a:pt x="1738770" y="199530"/>
                  </a:lnTo>
                  <a:lnTo>
                    <a:pt x="1738770" y="198831"/>
                  </a:lnTo>
                  <a:lnTo>
                    <a:pt x="1738770" y="199530"/>
                  </a:lnTo>
                  <a:lnTo>
                    <a:pt x="1738770" y="198831"/>
                  </a:lnTo>
                  <a:lnTo>
                    <a:pt x="1738821" y="198831"/>
                  </a:lnTo>
                  <a:lnTo>
                    <a:pt x="1738821" y="199530"/>
                  </a:lnTo>
                  <a:lnTo>
                    <a:pt x="1738821" y="197447"/>
                  </a:lnTo>
                  <a:lnTo>
                    <a:pt x="1738859" y="197447"/>
                  </a:lnTo>
                  <a:lnTo>
                    <a:pt x="1738859" y="196799"/>
                  </a:lnTo>
                  <a:lnTo>
                    <a:pt x="1738859" y="197447"/>
                  </a:lnTo>
                  <a:lnTo>
                    <a:pt x="1738859" y="196113"/>
                  </a:lnTo>
                  <a:lnTo>
                    <a:pt x="1738859" y="196799"/>
                  </a:lnTo>
                  <a:lnTo>
                    <a:pt x="1738859" y="196113"/>
                  </a:lnTo>
                  <a:lnTo>
                    <a:pt x="1738961" y="196113"/>
                  </a:lnTo>
                  <a:lnTo>
                    <a:pt x="1738961" y="195415"/>
                  </a:lnTo>
                  <a:lnTo>
                    <a:pt x="1738961" y="197447"/>
                  </a:lnTo>
                  <a:lnTo>
                    <a:pt x="1738961" y="196113"/>
                  </a:lnTo>
                  <a:lnTo>
                    <a:pt x="1738961" y="196799"/>
                  </a:lnTo>
                  <a:lnTo>
                    <a:pt x="1738961" y="195415"/>
                  </a:lnTo>
                  <a:lnTo>
                    <a:pt x="1738961" y="196113"/>
                  </a:lnTo>
                  <a:lnTo>
                    <a:pt x="1739012" y="196799"/>
                  </a:lnTo>
                  <a:lnTo>
                    <a:pt x="1739012" y="198831"/>
                  </a:lnTo>
                  <a:lnTo>
                    <a:pt x="1739012" y="196799"/>
                  </a:lnTo>
                  <a:lnTo>
                    <a:pt x="1739062" y="197447"/>
                  </a:lnTo>
                  <a:lnTo>
                    <a:pt x="1739062" y="199530"/>
                  </a:lnTo>
                  <a:lnTo>
                    <a:pt x="1739062" y="196799"/>
                  </a:lnTo>
                  <a:lnTo>
                    <a:pt x="1739062" y="197447"/>
                  </a:lnTo>
                  <a:lnTo>
                    <a:pt x="1739062" y="196799"/>
                  </a:lnTo>
                  <a:lnTo>
                    <a:pt x="1739062" y="197447"/>
                  </a:lnTo>
                  <a:lnTo>
                    <a:pt x="1739164" y="197447"/>
                  </a:lnTo>
                  <a:lnTo>
                    <a:pt x="1739164" y="198831"/>
                  </a:lnTo>
                  <a:lnTo>
                    <a:pt x="1739164" y="197447"/>
                  </a:lnTo>
                  <a:lnTo>
                    <a:pt x="1739164" y="198831"/>
                  </a:lnTo>
                  <a:lnTo>
                    <a:pt x="1739164" y="197447"/>
                  </a:lnTo>
                  <a:lnTo>
                    <a:pt x="1739164" y="198831"/>
                  </a:lnTo>
                  <a:lnTo>
                    <a:pt x="1739164" y="197447"/>
                  </a:lnTo>
                  <a:lnTo>
                    <a:pt x="1739164" y="198831"/>
                  </a:lnTo>
                  <a:lnTo>
                    <a:pt x="1739215" y="198831"/>
                  </a:lnTo>
                  <a:lnTo>
                    <a:pt x="1739215" y="197447"/>
                  </a:lnTo>
                  <a:lnTo>
                    <a:pt x="1739215" y="198831"/>
                  </a:lnTo>
                  <a:lnTo>
                    <a:pt x="1739215" y="197447"/>
                  </a:lnTo>
                  <a:lnTo>
                    <a:pt x="1739215" y="198831"/>
                  </a:lnTo>
                  <a:lnTo>
                    <a:pt x="1739316" y="198831"/>
                  </a:lnTo>
                  <a:lnTo>
                    <a:pt x="1739316" y="197447"/>
                  </a:lnTo>
                  <a:lnTo>
                    <a:pt x="1739316" y="198831"/>
                  </a:lnTo>
                  <a:lnTo>
                    <a:pt x="1739316" y="197447"/>
                  </a:lnTo>
                  <a:lnTo>
                    <a:pt x="1739405" y="197447"/>
                  </a:lnTo>
                  <a:lnTo>
                    <a:pt x="1739405" y="196799"/>
                  </a:lnTo>
                  <a:lnTo>
                    <a:pt x="1739405" y="198831"/>
                  </a:lnTo>
                  <a:lnTo>
                    <a:pt x="1739456" y="198831"/>
                  </a:lnTo>
                  <a:lnTo>
                    <a:pt x="1739456" y="196113"/>
                  </a:lnTo>
                  <a:lnTo>
                    <a:pt x="1739456" y="200228"/>
                  </a:lnTo>
                  <a:lnTo>
                    <a:pt x="1739507" y="199530"/>
                  </a:lnTo>
                  <a:lnTo>
                    <a:pt x="1739507" y="197447"/>
                  </a:lnTo>
                  <a:lnTo>
                    <a:pt x="1739507" y="200228"/>
                  </a:lnTo>
                  <a:lnTo>
                    <a:pt x="1739507" y="199530"/>
                  </a:lnTo>
                  <a:lnTo>
                    <a:pt x="1739558" y="198831"/>
                  </a:lnTo>
                  <a:lnTo>
                    <a:pt x="1739558" y="199530"/>
                  </a:lnTo>
                  <a:lnTo>
                    <a:pt x="1739659" y="199530"/>
                  </a:lnTo>
                  <a:lnTo>
                    <a:pt x="1739659" y="198831"/>
                  </a:lnTo>
                  <a:lnTo>
                    <a:pt x="1739659" y="199530"/>
                  </a:lnTo>
                  <a:lnTo>
                    <a:pt x="1739659" y="198831"/>
                  </a:lnTo>
                  <a:lnTo>
                    <a:pt x="1739710" y="198831"/>
                  </a:lnTo>
                  <a:lnTo>
                    <a:pt x="1739710" y="199530"/>
                  </a:lnTo>
                  <a:lnTo>
                    <a:pt x="1739710" y="198831"/>
                  </a:lnTo>
                  <a:lnTo>
                    <a:pt x="1739710" y="199530"/>
                  </a:lnTo>
                  <a:lnTo>
                    <a:pt x="1739710" y="198831"/>
                  </a:lnTo>
                  <a:lnTo>
                    <a:pt x="1739710" y="199530"/>
                  </a:lnTo>
                  <a:lnTo>
                    <a:pt x="1739710" y="198831"/>
                  </a:lnTo>
                  <a:lnTo>
                    <a:pt x="1739761" y="198831"/>
                  </a:lnTo>
                  <a:lnTo>
                    <a:pt x="1739761" y="197447"/>
                  </a:lnTo>
                  <a:lnTo>
                    <a:pt x="1739761" y="198831"/>
                  </a:lnTo>
                  <a:lnTo>
                    <a:pt x="1739862" y="198831"/>
                  </a:lnTo>
                  <a:lnTo>
                    <a:pt x="1739862" y="196113"/>
                  </a:lnTo>
                  <a:lnTo>
                    <a:pt x="1739900" y="195415"/>
                  </a:lnTo>
                  <a:lnTo>
                    <a:pt x="1739900" y="194716"/>
                  </a:lnTo>
                  <a:lnTo>
                    <a:pt x="1739900" y="197447"/>
                  </a:lnTo>
                  <a:lnTo>
                    <a:pt x="1739900" y="196113"/>
                  </a:lnTo>
                  <a:lnTo>
                    <a:pt x="1739951" y="196113"/>
                  </a:lnTo>
                  <a:lnTo>
                    <a:pt x="1739951" y="195415"/>
                  </a:lnTo>
                  <a:lnTo>
                    <a:pt x="1739951" y="198831"/>
                  </a:lnTo>
                  <a:lnTo>
                    <a:pt x="1739951" y="197447"/>
                  </a:lnTo>
                  <a:lnTo>
                    <a:pt x="1740002" y="197447"/>
                  </a:lnTo>
                  <a:lnTo>
                    <a:pt x="1740002" y="196799"/>
                  </a:lnTo>
                  <a:lnTo>
                    <a:pt x="1740002" y="198831"/>
                  </a:lnTo>
                  <a:lnTo>
                    <a:pt x="1740002" y="197447"/>
                  </a:lnTo>
                  <a:lnTo>
                    <a:pt x="1740104" y="197447"/>
                  </a:lnTo>
                  <a:lnTo>
                    <a:pt x="1740104" y="198831"/>
                  </a:lnTo>
                  <a:lnTo>
                    <a:pt x="1740104" y="197447"/>
                  </a:lnTo>
                  <a:lnTo>
                    <a:pt x="1740104" y="198831"/>
                  </a:lnTo>
                  <a:lnTo>
                    <a:pt x="1740155" y="198831"/>
                  </a:lnTo>
                  <a:lnTo>
                    <a:pt x="1740155" y="199530"/>
                  </a:lnTo>
                  <a:lnTo>
                    <a:pt x="1740155" y="198831"/>
                  </a:lnTo>
                  <a:lnTo>
                    <a:pt x="1740155" y="199530"/>
                  </a:lnTo>
                  <a:lnTo>
                    <a:pt x="1740155" y="198831"/>
                  </a:lnTo>
                  <a:lnTo>
                    <a:pt x="1740155" y="199530"/>
                  </a:lnTo>
                  <a:lnTo>
                    <a:pt x="1740205" y="199530"/>
                  </a:lnTo>
                  <a:lnTo>
                    <a:pt x="1740205" y="198831"/>
                  </a:lnTo>
                  <a:lnTo>
                    <a:pt x="1740307" y="198831"/>
                  </a:lnTo>
                  <a:lnTo>
                    <a:pt x="1740307" y="199530"/>
                  </a:lnTo>
                  <a:lnTo>
                    <a:pt x="1740307" y="197447"/>
                  </a:lnTo>
                  <a:lnTo>
                    <a:pt x="1740307" y="198831"/>
                  </a:lnTo>
                  <a:lnTo>
                    <a:pt x="1740358" y="198831"/>
                  </a:lnTo>
                  <a:lnTo>
                    <a:pt x="1740358" y="197447"/>
                  </a:lnTo>
                  <a:lnTo>
                    <a:pt x="1740358" y="198831"/>
                  </a:lnTo>
                  <a:lnTo>
                    <a:pt x="1740358" y="195415"/>
                  </a:lnTo>
                  <a:lnTo>
                    <a:pt x="1740409" y="195415"/>
                  </a:lnTo>
                  <a:lnTo>
                    <a:pt x="1740409" y="196113"/>
                  </a:lnTo>
                  <a:lnTo>
                    <a:pt x="1740409" y="195415"/>
                  </a:lnTo>
                  <a:lnTo>
                    <a:pt x="1740409" y="196799"/>
                  </a:lnTo>
                  <a:lnTo>
                    <a:pt x="1740409" y="196113"/>
                  </a:lnTo>
                  <a:lnTo>
                    <a:pt x="1740409" y="196799"/>
                  </a:lnTo>
                  <a:lnTo>
                    <a:pt x="1740409" y="195415"/>
                  </a:lnTo>
                  <a:lnTo>
                    <a:pt x="1740409" y="196113"/>
                  </a:lnTo>
                  <a:lnTo>
                    <a:pt x="1740447" y="196113"/>
                  </a:lnTo>
                  <a:lnTo>
                    <a:pt x="1740447" y="198831"/>
                  </a:lnTo>
                  <a:lnTo>
                    <a:pt x="1740447" y="196799"/>
                  </a:lnTo>
                  <a:lnTo>
                    <a:pt x="1740548" y="196799"/>
                  </a:lnTo>
                  <a:lnTo>
                    <a:pt x="1740548" y="197447"/>
                  </a:lnTo>
                  <a:lnTo>
                    <a:pt x="1740548" y="196799"/>
                  </a:lnTo>
                  <a:lnTo>
                    <a:pt x="1740548" y="197447"/>
                  </a:lnTo>
                  <a:lnTo>
                    <a:pt x="1740548" y="196799"/>
                  </a:lnTo>
                  <a:lnTo>
                    <a:pt x="1740548" y="197447"/>
                  </a:lnTo>
                  <a:lnTo>
                    <a:pt x="1740548" y="196799"/>
                  </a:lnTo>
                  <a:lnTo>
                    <a:pt x="1740548" y="197447"/>
                  </a:lnTo>
                  <a:lnTo>
                    <a:pt x="1740599" y="197447"/>
                  </a:lnTo>
                  <a:lnTo>
                    <a:pt x="1740599" y="198831"/>
                  </a:lnTo>
                  <a:lnTo>
                    <a:pt x="1740599" y="197447"/>
                  </a:lnTo>
                  <a:lnTo>
                    <a:pt x="1740599" y="198831"/>
                  </a:lnTo>
                  <a:lnTo>
                    <a:pt x="1740599" y="197447"/>
                  </a:lnTo>
                  <a:lnTo>
                    <a:pt x="1740599" y="198831"/>
                  </a:lnTo>
                  <a:lnTo>
                    <a:pt x="1740599" y="197447"/>
                  </a:lnTo>
                  <a:lnTo>
                    <a:pt x="1740599" y="198831"/>
                  </a:lnTo>
                  <a:lnTo>
                    <a:pt x="1740650" y="198831"/>
                  </a:lnTo>
                  <a:lnTo>
                    <a:pt x="1740650" y="199530"/>
                  </a:lnTo>
                  <a:lnTo>
                    <a:pt x="1740650" y="198831"/>
                  </a:lnTo>
                  <a:lnTo>
                    <a:pt x="1740650" y="199530"/>
                  </a:lnTo>
                  <a:lnTo>
                    <a:pt x="1740751" y="199530"/>
                  </a:lnTo>
                  <a:lnTo>
                    <a:pt x="1740751" y="198831"/>
                  </a:lnTo>
                  <a:lnTo>
                    <a:pt x="1740751" y="199530"/>
                  </a:lnTo>
                  <a:lnTo>
                    <a:pt x="1740751" y="198831"/>
                  </a:lnTo>
                  <a:lnTo>
                    <a:pt x="1740802" y="198831"/>
                  </a:lnTo>
                  <a:lnTo>
                    <a:pt x="1740802" y="197447"/>
                  </a:lnTo>
                  <a:lnTo>
                    <a:pt x="1740802" y="198831"/>
                  </a:lnTo>
                  <a:lnTo>
                    <a:pt x="1740802" y="197447"/>
                  </a:lnTo>
                  <a:lnTo>
                    <a:pt x="1740802" y="198831"/>
                  </a:lnTo>
                  <a:lnTo>
                    <a:pt x="1740802" y="196799"/>
                  </a:lnTo>
                  <a:lnTo>
                    <a:pt x="1740853" y="196799"/>
                  </a:lnTo>
                  <a:lnTo>
                    <a:pt x="1740853" y="196113"/>
                  </a:lnTo>
                  <a:lnTo>
                    <a:pt x="1740853" y="196799"/>
                  </a:lnTo>
                  <a:lnTo>
                    <a:pt x="1740853" y="195415"/>
                  </a:lnTo>
                  <a:lnTo>
                    <a:pt x="1740853" y="196113"/>
                  </a:lnTo>
                  <a:lnTo>
                    <a:pt x="1740853" y="195415"/>
                  </a:lnTo>
                  <a:lnTo>
                    <a:pt x="1740904" y="194716"/>
                  </a:lnTo>
                  <a:lnTo>
                    <a:pt x="1740904" y="193383"/>
                  </a:lnTo>
                  <a:lnTo>
                    <a:pt x="1740904" y="195415"/>
                  </a:lnTo>
                  <a:lnTo>
                    <a:pt x="1740904" y="194716"/>
                  </a:lnTo>
                  <a:lnTo>
                    <a:pt x="1740904" y="195415"/>
                  </a:lnTo>
                  <a:lnTo>
                    <a:pt x="1740904" y="194716"/>
                  </a:lnTo>
                  <a:lnTo>
                    <a:pt x="1740993" y="194716"/>
                  </a:lnTo>
                  <a:lnTo>
                    <a:pt x="1740993" y="196799"/>
                  </a:lnTo>
                  <a:lnTo>
                    <a:pt x="1740993" y="196113"/>
                  </a:lnTo>
                  <a:lnTo>
                    <a:pt x="1740993" y="196799"/>
                  </a:lnTo>
                  <a:lnTo>
                    <a:pt x="1740993" y="196113"/>
                  </a:lnTo>
                  <a:lnTo>
                    <a:pt x="1741044" y="196113"/>
                  </a:lnTo>
                  <a:lnTo>
                    <a:pt x="1741044" y="195415"/>
                  </a:lnTo>
                  <a:lnTo>
                    <a:pt x="1741044" y="196799"/>
                  </a:lnTo>
                  <a:lnTo>
                    <a:pt x="1741094" y="196799"/>
                  </a:lnTo>
                  <a:lnTo>
                    <a:pt x="1741094" y="197447"/>
                  </a:lnTo>
                  <a:lnTo>
                    <a:pt x="1741145" y="197447"/>
                  </a:lnTo>
                  <a:lnTo>
                    <a:pt x="1741145" y="198831"/>
                  </a:lnTo>
                  <a:lnTo>
                    <a:pt x="1741145" y="197447"/>
                  </a:lnTo>
                  <a:lnTo>
                    <a:pt x="1741145" y="198831"/>
                  </a:lnTo>
                  <a:lnTo>
                    <a:pt x="1741145" y="197447"/>
                  </a:lnTo>
                  <a:lnTo>
                    <a:pt x="1741145" y="198831"/>
                  </a:lnTo>
                  <a:lnTo>
                    <a:pt x="1741247" y="198831"/>
                  </a:lnTo>
                  <a:lnTo>
                    <a:pt x="1741247" y="199530"/>
                  </a:lnTo>
                  <a:lnTo>
                    <a:pt x="1741247" y="198831"/>
                  </a:lnTo>
                  <a:lnTo>
                    <a:pt x="1741247" y="199530"/>
                  </a:lnTo>
                  <a:lnTo>
                    <a:pt x="1741247" y="198831"/>
                  </a:lnTo>
                  <a:lnTo>
                    <a:pt x="1741247" y="199530"/>
                  </a:lnTo>
                  <a:lnTo>
                    <a:pt x="1741247" y="198831"/>
                  </a:lnTo>
                  <a:lnTo>
                    <a:pt x="1741247" y="199530"/>
                  </a:lnTo>
                  <a:lnTo>
                    <a:pt x="1741297" y="199530"/>
                  </a:lnTo>
                  <a:lnTo>
                    <a:pt x="1741297" y="197447"/>
                  </a:lnTo>
                  <a:lnTo>
                    <a:pt x="1741297" y="198831"/>
                  </a:lnTo>
                  <a:lnTo>
                    <a:pt x="1741348" y="198831"/>
                  </a:lnTo>
                  <a:lnTo>
                    <a:pt x="1741348" y="196113"/>
                  </a:lnTo>
                  <a:lnTo>
                    <a:pt x="1741450" y="196113"/>
                  </a:lnTo>
                  <a:lnTo>
                    <a:pt x="1741450" y="196799"/>
                  </a:lnTo>
                  <a:lnTo>
                    <a:pt x="1741450" y="194716"/>
                  </a:lnTo>
                  <a:lnTo>
                    <a:pt x="1741450" y="196799"/>
                  </a:lnTo>
                  <a:lnTo>
                    <a:pt x="1741488" y="196799"/>
                  </a:lnTo>
                  <a:lnTo>
                    <a:pt x="1741488" y="197447"/>
                  </a:lnTo>
                  <a:lnTo>
                    <a:pt x="1741488" y="196113"/>
                  </a:lnTo>
                  <a:lnTo>
                    <a:pt x="1741488" y="196799"/>
                  </a:lnTo>
                  <a:lnTo>
                    <a:pt x="1741488" y="195415"/>
                  </a:lnTo>
                  <a:lnTo>
                    <a:pt x="1741488" y="196799"/>
                  </a:lnTo>
                  <a:lnTo>
                    <a:pt x="1741539" y="197447"/>
                  </a:lnTo>
                  <a:lnTo>
                    <a:pt x="1741539" y="196113"/>
                  </a:lnTo>
                  <a:lnTo>
                    <a:pt x="1741539" y="196799"/>
                  </a:lnTo>
                  <a:lnTo>
                    <a:pt x="1741590" y="196799"/>
                  </a:lnTo>
                  <a:lnTo>
                    <a:pt x="1741590" y="197447"/>
                  </a:lnTo>
                  <a:lnTo>
                    <a:pt x="1741590" y="196113"/>
                  </a:lnTo>
                  <a:lnTo>
                    <a:pt x="1741590" y="197447"/>
                  </a:lnTo>
                  <a:lnTo>
                    <a:pt x="1741590" y="196799"/>
                  </a:lnTo>
                  <a:lnTo>
                    <a:pt x="1741691" y="196799"/>
                  </a:lnTo>
                  <a:lnTo>
                    <a:pt x="1741691" y="198831"/>
                  </a:lnTo>
                  <a:lnTo>
                    <a:pt x="1741691" y="197447"/>
                  </a:lnTo>
                  <a:lnTo>
                    <a:pt x="1741742" y="197447"/>
                  </a:lnTo>
                  <a:lnTo>
                    <a:pt x="1741742" y="196799"/>
                  </a:lnTo>
                  <a:lnTo>
                    <a:pt x="1741793" y="197447"/>
                  </a:lnTo>
                  <a:lnTo>
                    <a:pt x="1741793" y="196799"/>
                  </a:lnTo>
                  <a:lnTo>
                    <a:pt x="1741793" y="197447"/>
                  </a:lnTo>
                  <a:lnTo>
                    <a:pt x="1741793" y="196113"/>
                  </a:lnTo>
                  <a:lnTo>
                    <a:pt x="1741894" y="196113"/>
                  </a:lnTo>
                  <a:lnTo>
                    <a:pt x="1741894" y="196799"/>
                  </a:lnTo>
                  <a:lnTo>
                    <a:pt x="1741894" y="195415"/>
                  </a:lnTo>
                  <a:lnTo>
                    <a:pt x="1741894" y="196799"/>
                  </a:lnTo>
                  <a:lnTo>
                    <a:pt x="1741945" y="196799"/>
                  </a:lnTo>
                  <a:lnTo>
                    <a:pt x="1741945" y="195415"/>
                  </a:lnTo>
                  <a:lnTo>
                    <a:pt x="1741945" y="198831"/>
                  </a:lnTo>
                  <a:lnTo>
                    <a:pt x="1741996" y="197447"/>
                  </a:lnTo>
                  <a:lnTo>
                    <a:pt x="1741996" y="196799"/>
                  </a:lnTo>
                  <a:lnTo>
                    <a:pt x="1741996" y="198831"/>
                  </a:lnTo>
                  <a:lnTo>
                    <a:pt x="1742034" y="197447"/>
                  </a:lnTo>
                  <a:lnTo>
                    <a:pt x="1742034" y="196799"/>
                  </a:lnTo>
                  <a:lnTo>
                    <a:pt x="1742034" y="198831"/>
                  </a:lnTo>
                  <a:lnTo>
                    <a:pt x="1742034" y="197447"/>
                  </a:lnTo>
                  <a:lnTo>
                    <a:pt x="1742136" y="197447"/>
                  </a:lnTo>
                  <a:lnTo>
                    <a:pt x="1742136" y="198831"/>
                  </a:lnTo>
                  <a:lnTo>
                    <a:pt x="1742136" y="197447"/>
                  </a:lnTo>
                  <a:lnTo>
                    <a:pt x="1742136" y="198831"/>
                  </a:lnTo>
                  <a:lnTo>
                    <a:pt x="1742136" y="197447"/>
                  </a:lnTo>
                  <a:lnTo>
                    <a:pt x="1742187" y="197447"/>
                  </a:lnTo>
                  <a:lnTo>
                    <a:pt x="1742187" y="198831"/>
                  </a:lnTo>
                  <a:lnTo>
                    <a:pt x="1742237" y="198831"/>
                  </a:lnTo>
                  <a:lnTo>
                    <a:pt x="1742237" y="197447"/>
                  </a:lnTo>
                  <a:lnTo>
                    <a:pt x="1742237" y="198831"/>
                  </a:lnTo>
                  <a:lnTo>
                    <a:pt x="1742237" y="197447"/>
                  </a:lnTo>
                  <a:lnTo>
                    <a:pt x="1742339" y="197447"/>
                  </a:lnTo>
                  <a:lnTo>
                    <a:pt x="1742339" y="196113"/>
                  </a:lnTo>
                  <a:lnTo>
                    <a:pt x="1742390" y="196113"/>
                  </a:lnTo>
                  <a:lnTo>
                    <a:pt x="1742390" y="196799"/>
                  </a:lnTo>
                  <a:lnTo>
                    <a:pt x="1742390" y="196113"/>
                  </a:lnTo>
                  <a:lnTo>
                    <a:pt x="1742390" y="196799"/>
                  </a:lnTo>
                  <a:lnTo>
                    <a:pt x="1742390" y="195415"/>
                  </a:lnTo>
                  <a:lnTo>
                    <a:pt x="1742390" y="196799"/>
                  </a:lnTo>
                  <a:lnTo>
                    <a:pt x="1742390" y="196113"/>
                  </a:lnTo>
                  <a:lnTo>
                    <a:pt x="1742440" y="196799"/>
                  </a:lnTo>
                  <a:lnTo>
                    <a:pt x="1742440" y="196113"/>
                  </a:lnTo>
                  <a:lnTo>
                    <a:pt x="1742440" y="198831"/>
                  </a:lnTo>
                  <a:lnTo>
                    <a:pt x="1742440" y="197447"/>
                  </a:lnTo>
                  <a:lnTo>
                    <a:pt x="1742491" y="197447"/>
                  </a:lnTo>
                  <a:lnTo>
                    <a:pt x="1742491" y="196799"/>
                  </a:lnTo>
                  <a:lnTo>
                    <a:pt x="1742491" y="197447"/>
                  </a:lnTo>
                  <a:lnTo>
                    <a:pt x="1742491" y="196799"/>
                  </a:lnTo>
                  <a:lnTo>
                    <a:pt x="1742491" y="198831"/>
                  </a:lnTo>
                  <a:lnTo>
                    <a:pt x="1742580" y="198831"/>
                  </a:lnTo>
                  <a:lnTo>
                    <a:pt x="1742580" y="197447"/>
                  </a:lnTo>
                  <a:lnTo>
                    <a:pt x="1742580" y="199530"/>
                  </a:lnTo>
                  <a:lnTo>
                    <a:pt x="1742580" y="198831"/>
                  </a:lnTo>
                  <a:lnTo>
                    <a:pt x="1742631" y="198831"/>
                  </a:lnTo>
                  <a:lnTo>
                    <a:pt x="1742631" y="197447"/>
                  </a:lnTo>
                  <a:lnTo>
                    <a:pt x="1742631" y="199530"/>
                  </a:lnTo>
                  <a:lnTo>
                    <a:pt x="1742631" y="198831"/>
                  </a:lnTo>
                  <a:lnTo>
                    <a:pt x="1742631" y="199530"/>
                  </a:lnTo>
                  <a:lnTo>
                    <a:pt x="1742631" y="198831"/>
                  </a:lnTo>
                  <a:lnTo>
                    <a:pt x="1742682" y="198831"/>
                  </a:lnTo>
                  <a:lnTo>
                    <a:pt x="1742682" y="199530"/>
                  </a:lnTo>
                  <a:lnTo>
                    <a:pt x="1742682" y="198831"/>
                  </a:lnTo>
                  <a:lnTo>
                    <a:pt x="1742682" y="199530"/>
                  </a:lnTo>
                  <a:lnTo>
                    <a:pt x="1742682" y="198831"/>
                  </a:lnTo>
                  <a:lnTo>
                    <a:pt x="1742733" y="198831"/>
                  </a:lnTo>
                  <a:lnTo>
                    <a:pt x="1742733" y="197447"/>
                  </a:lnTo>
                  <a:lnTo>
                    <a:pt x="1742834" y="197447"/>
                  </a:lnTo>
                  <a:lnTo>
                    <a:pt x="1742834" y="196799"/>
                  </a:lnTo>
                  <a:lnTo>
                    <a:pt x="1742834" y="197447"/>
                  </a:lnTo>
                  <a:lnTo>
                    <a:pt x="1742834" y="196113"/>
                  </a:lnTo>
                  <a:lnTo>
                    <a:pt x="1742834" y="196799"/>
                  </a:lnTo>
                  <a:lnTo>
                    <a:pt x="1742834" y="195415"/>
                  </a:lnTo>
                  <a:lnTo>
                    <a:pt x="1742885" y="195415"/>
                  </a:lnTo>
                  <a:lnTo>
                    <a:pt x="1742885" y="196113"/>
                  </a:lnTo>
                  <a:lnTo>
                    <a:pt x="1742885" y="195415"/>
                  </a:lnTo>
                  <a:lnTo>
                    <a:pt x="1742885" y="196113"/>
                  </a:lnTo>
                  <a:lnTo>
                    <a:pt x="1742885" y="193383"/>
                  </a:lnTo>
                  <a:lnTo>
                    <a:pt x="1742885" y="196113"/>
                  </a:lnTo>
                  <a:lnTo>
                    <a:pt x="1742936" y="196113"/>
                  </a:lnTo>
                  <a:lnTo>
                    <a:pt x="1742936" y="195415"/>
                  </a:lnTo>
                  <a:lnTo>
                    <a:pt x="1742936" y="197447"/>
                  </a:lnTo>
                  <a:lnTo>
                    <a:pt x="1743037" y="196799"/>
                  </a:lnTo>
                  <a:lnTo>
                    <a:pt x="1743037" y="196113"/>
                  </a:lnTo>
                  <a:lnTo>
                    <a:pt x="1743037" y="197447"/>
                  </a:lnTo>
                  <a:lnTo>
                    <a:pt x="1743037" y="196799"/>
                  </a:lnTo>
                  <a:lnTo>
                    <a:pt x="1743075" y="196799"/>
                  </a:lnTo>
                  <a:lnTo>
                    <a:pt x="1743075" y="198831"/>
                  </a:lnTo>
                  <a:lnTo>
                    <a:pt x="1743075" y="197447"/>
                  </a:lnTo>
                  <a:lnTo>
                    <a:pt x="1743075" y="198831"/>
                  </a:lnTo>
                  <a:lnTo>
                    <a:pt x="1743126" y="198831"/>
                  </a:lnTo>
                  <a:lnTo>
                    <a:pt x="1743126" y="197447"/>
                  </a:lnTo>
                  <a:lnTo>
                    <a:pt x="1743126" y="198831"/>
                  </a:lnTo>
                  <a:lnTo>
                    <a:pt x="1743126" y="197447"/>
                  </a:lnTo>
                  <a:lnTo>
                    <a:pt x="1743126" y="198831"/>
                  </a:lnTo>
                  <a:lnTo>
                    <a:pt x="1743177" y="198831"/>
                  </a:lnTo>
                  <a:lnTo>
                    <a:pt x="1743177" y="199530"/>
                  </a:lnTo>
                  <a:lnTo>
                    <a:pt x="1743177" y="198831"/>
                  </a:lnTo>
                  <a:lnTo>
                    <a:pt x="1743279" y="198831"/>
                  </a:lnTo>
                  <a:lnTo>
                    <a:pt x="1743279" y="197447"/>
                  </a:lnTo>
                  <a:lnTo>
                    <a:pt x="1743279" y="198831"/>
                  </a:lnTo>
                  <a:lnTo>
                    <a:pt x="1743279" y="197447"/>
                  </a:lnTo>
                  <a:lnTo>
                    <a:pt x="1743330" y="197447"/>
                  </a:lnTo>
                  <a:lnTo>
                    <a:pt x="1743330" y="196799"/>
                  </a:lnTo>
                  <a:lnTo>
                    <a:pt x="1743330" y="197447"/>
                  </a:lnTo>
                  <a:lnTo>
                    <a:pt x="1743330" y="196113"/>
                  </a:lnTo>
                  <a:lnTo>
                    <a:pt x="1743330" y="196799"/>
                  </a:lnTo>
                  <a:lnTo>
                    <a:pt x="1743330" y="196113"/>
                  </a:lnTo>
                  <a:lnTo>
                    <a:pt x="1743330" y="196799"/>
                  </a:lnTo>
                  <a:lnTo>
                    <a:pt x="1743330" y="196113"/>
                  </a:lnTo>
                  <a:lnTo>
                    <a:pt x="1743380" y="196113"/>
                  </a:lnTo>
                  <a:lnTo>
                    <a:pt x="1743380" y="196799"/>
                  </a:lnTo>
                  <a:lnTo>
                    <a:pt x="1743380" y="196113"/>
                  </a:lnTo>
                  <a:lnTo>
                    <a:pt x="1743380" y="196799"/>
                  </a:lnTo>
                  <a:lnTo>
                    <a:pt x="1743380" y="196113"/>
                  </a:lnTo>
                  <a:lnTo>
                    <a:pt x="1743482" y="195415"/>
                  </a:lnTo>
                  <a:lnTo>
                    <a:pt x="1743482" y="198831"/>
                  </a:lnTo>
                  <a:lnTo>
                    <a:pt x="1743482" y="196799"/>
                  </a:lnTo>
                  <a:lnTo>
                    <a:pt x="1743533" y="196799"/>
                  </a:lnTo>
                  <a:lnTo>
                    <a:pt x="1743533" y="197447"/>
                  </a:lnTo>
                  <a:lnTo>
                    <a:pt x="1743533" y="196799"/>
                  </a:lnTo>
                  <a:lnTo>
                    <a:pt x="1743533" y="197447"/>
                  </a:lnTo>
                  <a:lnTo>
                    <a:pt x="1743584" y="197447"/>
                  </a:lnTo>
                  <a:lnTo>
                    <a:pt x="1743584" y="198831"/>
                  </a:lnTo>
                  <a:lnTo>
                    <a:pt x="1743584" y="197447"/>
                  </a:lnTo>
                  <a:lnTo>
                    <a:pt x="1743584" y="198831"/>
                  </a:lnTo>
                  <a:lnTo>
                    <a:pt x="1743584" y="197447"/>
                  </a:lnTo>
                  <a:lnTo>
                    <a:pt x="1743622" y="197447"/>
                  </a:lnTo>
                  <a:lnTo>
                    <a:pt x="1743622" y="198831"/>
                  </a:lnTo>
                  <a:lnTo>
                    <a:pt x="1743622" y="197447"/>
                  </a:lnTo>
                  <a:lnTo>
                    <a:pt x="1743622" y="198831"/>
                  </a:lnTo>
                  <a:lnTo>
                    <a:pt x="1743622" y="197447"/>
                  </a:lnTo>
                  <a:lnTo>
                    <a:pt x="1743622" y="198831"/>
                  </a:lnTo>
                  <a:lnTo>
                    <a:pt x="1743622" y="197447"/>
                  </a:lnTo>
                  <a:lnTo>
                    <a:pt x="1743622" y="199530"/>
                  </a:lnTo>
                  <a:lnTo>
                    <a:pt x="1743723" y="199530"/>
                  </a:lnTo>
                  <a:lnTo>
                    <a:pt x="1743723" y="198831"/>
                  </a:lnTo>
                  <a:lnTo>
                    <a:pt x="1743774" y="198831"/>
                  </a:lnTo>
                  <a:lnTo>
                    <a:pt x="1743774" y="197447"/>
                  </a:lnTo>
                  <a:lnTo>
                    <a:pt x="1743774" y="198831"/>
                  </a:lnTo>
                  <a:lnTo>
                    <a:pt x="1743774" y="196799"/>
                  </a:lnTo>
                  <a:lnTo>
                    <a:pt x="1743774" y="197447"/>
                  </a:lnTo>
                  <a:lnTo>
                    <a:pt x="1743825" y="196799"/>
                  </a:lnTo>
                  <a:lnTo>
                    <a:pt x="1743825" y="196113"/>
                  </a:lnTo>
                  <a:lnTo>
                    <a:pt x="1743825" y="196799"/>
                  </a:lnTo>
                  <a:lnTo>
                    <a:pt x="1743825" y="194716"/>
                  </a:lnTo>
                  <a:lnTo>
                    <a:pt x="1743825" y="195415"/>
                  </a:lnTo>
                  <a:lnTo>
                    <a:pt x="1743926" y="195415"/>
                  </a:lnTo>
                  <a:lnTo>
                    <a:pt x="1743926" y="192684"/>
                  </a:lnTo>
                  <a:lnTo>
                    <a:pt x="1743926" y="194716"/>
                  </a:lnTo>
                  <a:lnTo>
                    <a:pt x="1743977" y="194716"/>
                  </a:lnTo>
                  <a:lnTo>
                    <a:pt x="1743977" y="193383"/>
                  </a:lnTo>
                  <a:lnTo>
                    <a:pt x="1743977" y="196113"/>
                  </a:lnTo>
                  <a:lnTo>
                    <a:pt x="1743977" y="195415"/>
                  </a:lnTo>
                  <a:lnTo>
                    <a:pt x="1743977" y="196113"/>
                  </a:lnTo>
                  <a:lnTo>
                    <a:pt x="1743977" y="195415"/>
                  </a:lnTo>
                  <a:lnTo>
                    <a:pt x="1744028" y="196113"/>
                  </a:lnTo>
                  <a:lnTo>
                    <a:pt x="1744028" y="194716"/>
                  </a:lnTo>
                  <a:lnTo>
                    <a:pt x="1744028" y="196799"/>
                  </a:lnTo>
                  <a:lnTo>
                    <a:pt x="1744028" y="196113"/>
                  </a:lnTo>
                  <a:lnTo>
                    <a:pt x="1744079" y="196113"/>
                  </a:lnTo>
                  <a:lnTo>
                    <a:pt x="1744079" y="197447"/>
                  </a:lnTo>
                  <a:lnTo>
                    <a:pt x="1744079" y="196799"/>
                  </a:lnTo>
                  <a:lnTo>
                    <a:pt x="1744168" y="196799"/>
                  </a:lnTo>
                  <a:lnTo>
                    <a:pt x="1744168" y="197447"/>
                  </a:lnTo>
                  <a:lnTo>
                    <a:pt x="1744168" y="196799"/>
                  </a:lnTo>
                  <a:lnTo>
                    <a:pt x="1744168" y="197447"/>
                  </a:lnTo>
                  <a:lnTo>
                    <a:pt x="1744168" y="196799"/>
                  </a:lnTo>
                  <a:lnTo>
                    <a:pt x="1744168" y="197447"/>
                  </a:lnTo>
                  <a:lnTo>
                    <a:pt x="1744168" y="196799"/>
                  </a:lnTo>
                  <a:lnTo>
                    <a:pt x="1744168" y="198831"/>
                  </a:lnTo>
                  <a:lnTo>
                    <a:pt x="1744168" y="197447"/>
                  </a:lnTo>
                  <a:lnTo>
                    <a:pt x="1744168" y="198831"/>
                  </a:lnTo>
                  <a:lnTo>
                    <a:pt x="1744219" y="198831"/>
                  </a:lnTo>
                  <a:lnTo>
                    <a:pt x="1744219" y="199530"/>
                  </a:lnTo>
                  <a:lnTo>
                    <a:pt x="1744269" y="199530"/>
                  </a:lnTo>
                  <a:lnTo>
                    <a:pt x="1744269" y="197447"/>
                  </a:lnTo>
                  <a:lnTo>
                    <a:pt x="1744269" y="198831"/>
                  </a:lnTo>
                  <a:lnTo>
                    <a:pt x="1744269" y="197447"/>
                  </a:lnTo>
                  <a:lnTo>
                    <a:pt x="1744320" y="198831"/>
                  </a:lnTo>
                  <a:lnTo>
                    <a:pt x="1744320" y="196113"/>
                  </a:lnTo>
                  <a:lnTo>
                    <a:pt x="1744320" y="196799"/>
                  </a:lnTo>
                  <a:lnTo>
                    <a:pt x="1744320" y="196113"/>
                  </a:lnTo>
                  <a:lnTo>
                    <a:pt x="1744320" y="196799"/>
                  </a:lnTo>
                  <a:lnTo>
                    <a:pt x="1744422" y="196113"/>
                  </a:lnTo>
                  <a:lnTo>
                    <a:pt x="1744422" y="194716"/>
                  </a:lnTo>
                  <a:lnTo>
                    <a:pt x="1744422" y="196113"/>
                  </a:lnTo>
                  <a:lnTo>
                    <a:pt x="1744422" y="195415"/>
                  </a:lnTo>
                  <a:lnTo>
                    <a:pt x="1744472" y="195415"/>
                  </a:lnTo>
                  <a:lnTo>
                    <a:pt x="1744472" y="194716"/>
                  </a:lnTo>
                  <a:lnTo>
                    <a:pt x="1744472" y="196799"/>
                  </a:lnTo>
                  <a:lnTo>
                    <a:pt x="1744472" y="196113"/>
                  </a:lnTo>
                  <a:lnTo>
                    <a:pt x="1744523" y="195415"/>
                  </a:lnTo>
                  <a:lnTo>
                    <a:pt x="1744523" y="196799"/>
                  </a:lnTo>
                  <a:lnTo>
                    <a:pt x="1744523" y="196113"/>
                  </a:lnTo>
                  <a:lnTo>
                    <a:pt x="1744523" y="196799"/>
                  </a:lnTo>
                  <a:lnTo>
                    <a:pt x="1744523" y="196113"/>
                  </a:lnTo>
                  <a:lnTo>
                    <a:pt x="1744523" y="196799"/>
                  </a:lnTo>
                  <a:lnTo>
                    <a:pt x="1744523" y="196113"/>
                  </a:lnTo>
                  <a:lnTo>
                    <a:pt x="1744625" y="196113"/>
                  </a:lnTo>
                  <a:lnTo>
                    <a:pt x="1744625" y="196799"/>
                  </a:lnTo>
                  <a:lnTo>
                    <a:pt x="1744625" y="196113"/>
                  </a:lnTo>
                  <a:lnTo>
                    <a:pt x="1744625" y="196799"/>
                  </a:lnTo>
                  <a:lnTo>
                    <a:pt x="1744625" y="196113"/>
                  </a:lnTo>
                  <a:lnTo>
                    <a:pt x="1744625" y="196799"/>
                  </a:lnTo>
                  <a:lnTo>
                    <a:pt x="1744625" y="196113"/>
                  </a:lnTo>
                  <a:lnTo>
                    <a:pt x="1744663" y="196113"/>
                  </a:lnTo>
                  <a:lnTo>
                    <a:pt x="1744663" y="196799"/>
                  </a:lnTo>
                  <a:lnTo>
                    <a:pt x="1744663" y="196113"/>
                  </a:lnTo>
                  <a:lnTo>
                    <a:pt x="1744663" y="197447"/>
                  </a:lnTo>
                  <a:lnTo>
                    <a:pt x="1744663" y="196799"/>
                  </a:lnTo>
                  <a:lnTo>
                    <a:pt x="1744663" y="197447"/>
                  </a:lnTo>
                  <a:lnTo>
                    <a:pt x="1744765" y="197447"/>
                  </a:lnTo>
                  <a:lnTo>
                    <a:pt x="1744765" y="198831"/>
                  </a:lnTo>
                  <a:lnTo>
                    <a:pt x="1744765" y="196799"/>
                  </a:lnTo>
                  <a:lnTo>
                    <a:pt x="1744765" y="197447"/>
                  </a:lnTo>
                  <a:lnTo>
                    <a:pt x="1744765" y="196799"/>
                  </a:lnTo>
                  <a:lnTo>
                    <a:pt x="1744765" y="198831"/>
                  </a:lnTo>
                  <a:lnTo>
                    <a:pt x="1744765" y="197447"/>
                  </a:lnTo>
                  <a:lnTo>
                    <a:pt x="1744866" y="197447"/>
                  </a:lnTo>
                  <a:lnTo>
                    <a:pt x="1744866" y="196113"/>
                  </a:lnTo>
                  <a:lnTo>
                    <a:pt x="1744866" y="196799"/>
                  </a:lnTo>
                  <a:lnTo>
                    <a:pt x="1744866" y="195415"/>
                  </a:lnTo>
                  <a:lnTo>
                    <a:pt x="1744917" y="195415"/>
                  </a:lnTo>
                  <a:lnTo>
                    <a:pt x="1744917" y="194716"/>
                  </a:lnTo>
                  <a:lnTo>
                    <a:pt x="1744917" y="197447"/>
                  </a:lnTo>
                  <a:lnTo>
                    <a:pt x="1744917" y="196113"/>
                  </a:lnTo>
                  <a:lnTo>
                    <a:pt x="1744968" y="196113"/>
                  </a:lnTo>
                  <a:lnTo>
                    <a:pt x="1744968" y="198831"/>
                  </a:lnTo>
                  <a:lnTo>
                    <a:pt x="1744968" y="196799"/>
                  </a:lnTo>
                  <a:lnTo>
                    <a:pt x="1745069" y="197447"/>
                  </a:lnTo>
                  <a:lnTo>
                    <a:pt x="1745069" y="198831"/>
                  </a:lnTo>
                  <a:lnTo>
                    <a:pt x="1745069" y="197447"/>
                  </a:lnTo>
                  <a:lnTo>
                    <a:pt x="1745120" y="197447"/>
                  </a:lnTo>
                  <a:lnTo>
                    <a:pt x="1745120" y="198831"/>
                  </a:lnTo>
                  <a:lnTo>
                    <a:pt x="1745120" y="197447"/>
                  </a:lnTo>
                  <a:lnTo>
                    <a:pt x="1745120" y="198831"/>
                  </a:lnTo>
                  <a:lnTo>
                    <a:pt x="1745171" y="198831"/>
                  </a:lnTo>
                  <a:lnTo>
                    <a:pt x="1745171" y="197447"/>
                  </a:lnTo>
                  <a:lnTo>
                    <a:pt x="1745171" y="198831"/>
                  </a:lnTo>
                  <a:lnTo>
                    <a:pt x="1745171" y="197447"/>
                  </a:lnTo>
                  <a:lnTo>
                    <a:pt x="1745171" y="198831"/>
                  </a:lnTo>
                  <a:lnTo>
                    <a:pt x="1745209" y="198831"/>
                  </a:lnTo>
                  <a:lnTo>
                    <a:pt x="1745209" y="197447"/>
                  </a:lnTo>
                  <a:lnTo>
                    <a:pt x="1745209" y="198831"/>
                  </a:lnTo>
                  <a:lnTo>
                    <a:pt x="1745311" y="198831"/>
                  </a:lnTo>
                  <a:lnTo>
                    <a:pt x="1745311" y="197447"/>
                  </a:lnTo>
                  <a:lnTo>
                    <a:pt x="1745311" y="198831"/>
                  </a:lnTo>
                  <a:lnTo>
                    <a:pt x="1745311" y="196799"/>
                  </a:lnTo>
                  <a:lnTo>
                    <a:pt x="1745362" y="197447"/>
                  </a:lnTo>
                  <a:lnTo>
                    <a:pt x="1745362" y="196113"/>
                  </a:lnTo>
                  <a:lnTo>
                    <a:pt x="1745362" y="197447"/>
                  </a:lnTo>
                  <a:lnTo>
                    <a:pt x="1745412" y="198831"/>
                  </a:lnTo>
                  <a:lnTo>
                    <a:pt x="1745412" y="196799"/>
                  </a:lnTo>
                  <a:lnTo>
                    <a:pt x="1745412" y="200228"/>
                  </a:lnTo>
                  <a:lnTo>
                    <a:pt x="1745412" y="199530"/>
                  </a:lnTo>
                  <a:lnTo>
                    <a:pt x="1745514" y="199530"/>
                  </a:lnTo>
                  <a:lnTo>
                    <a:pt x="1745514" y="197447"/>
                  </a:lnTo>
                  <a:lnTo>
                    <a:pt x="1745514" y="198831"/>
                  </a:lnTo>
                  <a:lnTo>
                    <a:pt x="1745514" y="197447"/>
                  </a:lnTo>
                  <a:lnTo>
                    <a:pt x="1745514" y="199530"/>
                  </a:lnTo>
                  <a:lnTo>
                    <a:pt x="1745565" y="199530"/>
                  </a:lnTo>
                  <a:lnTo>
                    <a:pt x="1745565" y="198831"/>
                  </a:lnTo>
                  <a:lnTo>
                    <a:pt x="1745565" y="199530"/>
                  </a:lnTo>
                  <a:lnTo>
                    <a:pt x="1745565" y="198831"/>
                  </a:lnTo>
                  <a:lnTo>
                    <a:pt x="1745565" y="199530"/>
                  </a:lnTo>
                  <a:lnTo>
                    <a:pt x="1745565" y="198831"/>
                  </a:lnTo>
                  <a:lnTo>
                    <a:pt x="1745565" y="199530"/>
                  </a:lnTo>
                  <a:lnTo>
                    <a:pt x="1745565" y="198831"/>
                  </a:lnTo>
                  <a:lnTo>
                    <a:pt x="1745615" y="198831"/>
                  </a:lnTo>
                  <a:lnTo>
                    <a:pt x="1745615" y="199530"/>
                  </a:lnTo>
                  <a:lnTo>
                    <a:pt x="1745615" y="198831"/>
                  </a:lnTo>
                  <a:lnTo>
                    <a:pt x="1745615" y="199530"/>
                  </a:lnTo>
                  <a:lnTo>
                    <a:pt x="1745615" y="198831"/>
                  </a:lnTo>
                  <a:lnTo>
                    <a:pt x="1745615" y="199530"/>
                  </a:lnTo>
                  <a:lnTo>
                    <a:pt x="1745615" y="198831"/>
                  </a:lnTo>
                  <a:lnTo>
                    <a:pt x="1745615" y="199530"/>
                  </a:lnTo>
                  <a:lnTo>
                    <a:pt x="1745615" y="198831"/>
                  </a:lnTo>
                  <a:lnTo>
                    <a:pt x="1745615" y="199530"/>
                  </a:lnTo>
                  <a:lnTo>
                    <a:pt x="1745666" y="199530"/>
                  </a:lnTo>
                  <a:lnTo>
                    <a:pt x="1745666" y="198831"/>
                  </a:lnTo>
                  <a:lnTo>
                    <a:pt x="1745666" y="199530"/>
                  </a:lnTo>
                  <a:lnTo>
                    <a:pt x="1745666" y="198831"/>
                  </a:lnTo>
                  <a:lnTo>
                    <a:pt x="1745666" y="199530"/>
                  </a:lnTo>
                  <a:lnTo>
                    <a:pt x="1745666" y="198831"/>
                  </a:lnTo>
                  <a:lnTo>
                    <a:pt x="1745755" y="198831"/>
                  </a:lnTo>
                  <a:lnTo>
                    <a:pt x="1745755" y="197447"/>
                  </a:lnTo>
                  <a:lnTo>
                    <a:pt x="1745755" y="198831"/>
                  </a:lnTo>
                  <a:lnTo>
                    <a:pt x="1745755" y="197447"/>
                  </a:lnTo>
                  <a:lnTo>
                    <a:pt x="1745755" y="198831"/>
                  </a:lnTo>
                  <a:lnTo>
                    <a:pt x="1745755" y="197447"/>
                  </a:lnTo>
                  <a:lnTo>
                    <a:pt x="1745806" y="197447"/>
                  </a:lnTo>
                  <a:lnTo>
                    <a:pt x="1745806" y="196799"/>
                  </a:lnTo>
                  <a:lnTo>
                    <a:pt x="1745806" y="197447"/>
                  </a:lnTo>
                  <a:lnTo>
                    <a:pt x="1745806" y="196799"/>
                  </a:lnTo>
                  <a:lnTo>
                    <a:pt x="1745857" y="196113"/>
                  </a:lnTo>
                  <a:lnTo>
                    <a:pt x="1745857" y="195415"/>
                  </a:lnTo>
                  <a:lnTo>
                    <a:pt x="1745857" y="197447"/>
                  </a:lnTo>
                  <a:lnTo>
                    <a:pt x="1745857" y="196113"/>
                  </a:lnTo>
                  <a:lnTo>
                    <a:pt x="1745857" y="196799"/>
                  </a:lnTo>
                  <a:lnTo>
                    <a:pt x="1745857" y="196113"/>
                  </a:lnTo>
                  <a:lnTo>
                    <a:pt x="1745908" y="196113"/>
                  </a:lnTo>
                  <a:lnTo>
                    <a:pt x="1745908" y="195415"/>
                  </a:lnTo>
                  <a:lnTo>
                    <a:pt x="1745908" y="199530"/>
                  </a:lnTo>
                  <a:lnTo>
                    <a:pt x="1745908" y="197447"/>
                  </a:lnTo>
                  <a:lnTo>
                    <a:pt x="1746009" y="197447"/>
                  </a:lnTo>
                  <a:lnTo>
                    <a:pt x="1746009" y="199530"/>
                  </a:lnTo>
                  <a:lnTo>
                    <a:pt x="1746009" y="198831"/>
                  </a:lnTo>
                  <a:lnTo>
                    <a:pt x="1746060" y="198831"/>
                  </a:lnTo>
                  <a:lnTo>
                    <a:pt x="1746060" y="200228"/>
                  </a:lnTo>
                  <a:lnTo>
                    <a:pt x="1746060" y="198831"/>
                  </a:lnTo>
                  <a:lnTo>
                    <a:pt x="1746060" y="199530"/>
                  </a:lnTo>
                  <a:lnTo>
                    <a:pt x="1746111" y="199530"/>
                  </a:lnTo>
                  <a:lnTo>
                    <a:pt x="1746111" y="200228"/>
                  </a:lnTo>
                  <a:lnTo>
                    <a:pt x="1746111" y="199530"/>
                  </a:lnTo>
                  <a:lnTo>
                    <a:pt x="1746111" y="200228"/>
                  </a:lnTo>
                  <a:lnTo>
                    <a:pt x="1746111" y="199530"/>
                  </a:lnTo>
                  <a:lnTo>
                    <a:pt x="1746111" y="200228"/>
                  </a:lnTo>
                  <a:lnTo>
                    <a:pt x="1746111" y="199530"/>
                  </a:lnTo>
                  <a:lnTo>
                    <a:pt x="1746111" y="200228"/>
                  </a:lnTo>
                  <a:lnTo>
                    <a:pt x="1746111" y="199530"/>
                  </a:lnTo>
                  <a:lnTo>
                    <a:pt x="1746212" y="199530"/>
                  </a:lnTo>
                  <a:lnTo>
                    <a:pt x="1746212" y="200228"/>
                  </a:lnTo>
                  <a:lnTo>
                    <a:pt x="1746212" y="199530"/>
                  </a:lnTo>
                  <a:lnTo>
                    <a:pt x="1746250" y="199530"/>
                  </a:lnTo>
                  <a:lnTo>
                    <a:pt x="1746250" y="197447"/>
                  </a:lnTo>
                  <a:lnTo>
                    <a:pt x="1746250" y="198831"/>
                  </a:lnTo>
                  <a:lnTo>
                    <a:pt x="1746250" y="197447"/>
                  </a:lnTo>
                  <a:lnTo>
                    <a:pt x="1746301" y="198831"/>
                  </a:lnTo>
                  <a:lnTo>
                    <a:pt x="1746301" y="196113"/>
                  </a:lnTo>
                  <a:lnTo>
                    <a:pt x="1746352" y="196799"/>
                  </a:lnTo>
                  <a:lnTo>
                    <a:pt x="1746352" y="197447"/>
                  </a:lnTo>
                  <a:lnTo>
                    <a:pt x="1746352" y="196799"/>
                  </a:lnTo>
                  <a:lnTo>
                    <a:pt x="1746352" y="198831"/>
                  </a:lnTo>
                  <a:lnTo>
                    <a:pt x="1746454" y="198831"/>
                  </a:lnTo>
                  <a:lnTo>
                    <a:pt x="1746454" y="199530"/>
                  </a:lnTo>
                  <a:lnTo>
                    <a:pt x="1746454" y="198831"/>
                  </a:lnTo>
                  <a:lnTo>
                    <a:pt x="1746454" y="199530"/>
                  </a:lnTo>
                  <a:lnTo>
                    <a:pt x="1746454" y="198831"/>
                  </a:lnTo>
                  <a:lnTo>
                    <a:pt x="1746454" y="199530"/>
                  </a:lnTo>
                  <a:lnTo>
                    <a:pt x="1746505" y="199530"/>
                  </a:lnTo>
                  <a:lnTo>
                    <a:pt x="1746505" y="198831"/>
                  </a:lnTo>
                  <a:lnTo>
                    <a:pt x="1746505" y="199530"/>
                  </a:lnTo>
                  <a:lnTo>
                    <a:pt x="1746555" y="199530"/>
                  </a:lnTo>
                  <a:lnTo>
                    <a:pt x="1746555" y="198831"/>
                  </a:lnTo>
                  <a:lnTo>
                    <a:pt x="1746555" y="199530"/>
                  </a:lnTo>
                  <a:lnTo>
                    <a:pt x="1746555" y="198831"/>
                  </a:lnTo>
                  <a:lnTo>
                    <a:pt x="1746555" y="200228"/>
                  </a:lnTo>
                  <a:lnTo>
                    <a:pt x="1746555" y="199530"/>
                  </a:lnTo>
                  <a:lnTo>
                    <a:pt x="1746555" y="200228"/>
                  </a:lnTo>
                  <a:lnTo>
                    <a:pt x="1746555" y="199530"/>
                  </a:lnTo>
                  <a:lnTo>
                    <a:pt x="1746555" y="200228"/>
                  </a:lnTo>
                  <a:lnTo>
                    <a:pt x="1746657" y="200228"/>
                  </a:lnTo>
                  <a:lnTo>
                    <a:pt x="1746657" y="199530"/>
                  </a:lnTo>
                  <a:lnTo>
                    <a:pt x="1746657" y="200228"/>
                  </a:lnTo>
                  <a:lnTo>
                    <a:pt x="1746657" y="199530"/>
                  </a:lnTo>
                  <a:lnTo>
                    <a:pt x="1746657" y="200228"/>
                  </a:lnTo>
                  <a:lnTo>
                    <a:pt x="1746657" y="199530"/>
                  </a:lnTo>
                  <a:lnTo>
                    <a:pt x="1746708" y="199530"/>
                  </a:lnTo>
                  <a:lnTo>
                    <a:pt x="1746708" y="200228"/>
                  </a:lnTo>
                  <a:lnTo>
                    <a:pt x="1746708" y="199530"/>
                  </a:lnTo>
                  <a:lnTo>
                    <a:pt x="1746708" y="200228"/>
                  </a:lnTo>
                  <a:lnTo>
                    <a:pt x="1746708" y="199530"/>
                  </a:lnTo>
                  <a:lnTo>
                    <a:pt x="1746759" y="199530"/>
                  </a:lnTo>
                  <a:lnTo>
                    <a:pt x="1746759" y="198831"/>
                  </a:lnTo>
                  <a:lnTo>
                    <a:pt x="1746759" y="199530"/>
                  </a:lnTo>
                  <a:lnTo>
                    <a:pt x="1746759" y="197447"/>
                  </a:lnTo>
                  <a:lnTo>
                    <a:pt x="1746797" y="196799"/>
                  </a:lnTo>
                  <a:lnTo>
                    <a:pt x="1746797" y="196113"/>
                  </a:lnTo>
                  <a:lnTo>
                    <a:pt x="1746797" y="196799"/>
                  </a:lnTo>
                  <a:lnTo>
                    <a:pt x="1746797" y="196113"/>
                  </a:lnTo>
                  <a:lnTo>
                    <a:pt x="1746797" y="197447"/>
                  </a:lnTo>
                  <a:lnTo>
                    <a:pt x="1746898" y="197447"/>
                  </a:lnTo>
                  <a:lnTo>
                    <a:pt x="1746898" y="196113"/>
                  </a:lnTo>
                  <a:lnTo>
                    <a:pt x="1746898" y="198831"/>
                  </a:lnTo>
                  <a:lnTo>
                    <a:pt x="1746949" y="198831"/>
                  </a:lnTo>
                  <a:lnTo>
                    <a:pt x="1746949" y="197447"/>
                  </a:lnTo>
                  <a:lnTo>
                    <a:pt x="1746949" y="199530"/>
                  </a:lnTo>
                  <a:lnTo>
                    <a:pt x="1747000" y="199530"/>
                  </a:lnTo>
                  <a:lnTo>
                    <a:pt x="1747000" y="198831"/>
                  </a:lnTo>
                  <a:lnTo>
                    <a:pt x="1747000" y="199530"/>
                  </a:lnTo>
                  <a:lnTo>
                    <a:pt x="1747000" y="198831"/>
                  </a:lnTo>
                  <a:lnTo>
                    <a:pt x="1747000" y="199530"/>
                  </a:lnTo>
                  <a:lnTo>
                    <a:pt x="1747000" y="198831"/>
                  </a:lnTo>
                  <a:lnTo>
                    <a:pt x="1747000" y="199530"/>
                  </a:lnTo>
                  <a:lnTo>
                    <a:pt x="1747000" y="198831"/>
                  </a:lnTo>
                  <a:lnTo>
                    <a:pt x="1747000" y="199530"/>
                  </a:lnTo>
                  <a:lnTo>
                    <a:pt x="1747000" y="198831"/>
                  </a:lnTo>
                  <a:lnTo>
                    <a:pt x="1747000" y="199530"/>
                  </a:lnTo>
                  <a:lnTo>
                    <a:pt x="1747101" y="198831"/>
                  </a:lnTo>
                  <a:lnTo>
                    <a:pt x="1747101" y="199530"/>
                  </a:lnTo>
                  <a:lnTo>
                    <a:pt x="1747101" y="198831"/>
                  </a:lnTo>
                  <a:lnTo>
                    <a:pt x="1747101" y="200228"/>
                  </a:lnTo>
                  <a:lnTo>
                    <a:pt x="1747101" y="199530"/>
                  </a:lnTo>
                  <a:lnTo>
                    <a:pt x="1747101" y="200228"/>
                  </a:lnTo>
                  <a:lnTo>
                    <a:pt x="1747152" y="199530"/>
                  </a:lnTo>
                  <a:lnTo>
                    <a:pt x="1747152" y="200228"/>
                  </a:lnTo>
                  <a:lnTo>
                    <a:pt x="1747152" y="199530"/>
                  </a:lnTo>
                  <a:lnTo>
                    <a:pt x="1747152" y="200228"/>
                  </a:lnTo>
                  <a:lnTo>
                    <a:pt x="1747152" y="199530"/>
                  </a:lnTo>
                  <a:lnTo>
                    <a:pt x="1747152" y="200228"/>
                  </a:lnTo>
                  <a:lnTo>
                    <a:pt x="1747152" y="199530"/>
                  </a:lnTo>
                  <a:lnTo>
                    <a:pt x="1747152" y="200228"/>
                  </a:lnTo>
                  <a:lnTo>
                    <a:pt x="1747152" y="199530"/>
                  </a:lnTo>
                  <a:lnTo>
                    <a:pt x="1747203" y="199530"/>
                  </a:lnTo>
                  <a:lnTo>
                    <a:pt x="1747203" y="200228"/>
                  </a:lnTo>
                  <a:lnTo>
                    <a:pt x="1747203" y="198831"/>
                  </a:lnTo>
                  <a:lnTo>
                    <a:pt x="1747254" y="199530"/>
                  </a:lnTo>
                  <a:lnTo>
                    <a:pt x="1747254" y="198831"/>
                  </a:lnTo>
                  <a:lnTo>
                    <a:pt x="1747254" y="199530"/>
                  </a:lnTo>
                  <a:lnTo>
                    <a:pt x="1747254" y="196799"/>
                  </a:lnTo>
                  <a:lnTo>
                    <a:pt x="1747254" y="197447"/>
                  </a:lnTo>
                  <a:lnTo>
                    <a:pt x="1747254" y="196799"/>
                  </a:lnTo>
                  <a:lnTo>
                    <a:pt x="1747343" y="196799"/>
                  </a:lnTo>
                  <a:lnTo>
                    <a:pt x="1747343" y="196113"/>
                  </a:lnTo>
                  <a:lnTo>
                    <a:pt x="1747343" y="197447"/>
                  </a:lnTo>
                  <a:lnTo>
                    <a:pt x="1747343" y="196799"/>
                  </a:lnTo>
                  <a:lnTo>
                    <a:pt x="1747394" y="196799"/>
                  </a:lnTo>
                  <a:lnTo>
                    <a:pt x="1747394" y="195415"/>
                  </a:lnTo>
                  <a:lnTo>
                    <a:pt x="1747394" y="198831"/>
                  </a:lnTo>
                  <a:lnTo>
                    <a:pt x="1747394" y="196799"/>
                  </a:lnTo>
                  <a:lnTo>
                    <a:pt x="1747444" y="196799"/>
                  </a:lnTo>
                  <a:lnTo>
                    <a:pt x="1747444" y="197447"/>
                  </a:lnTo>
                  <a:lnTo>
                    <a:pt x="1747444" y="196799"/>
                  </a:lnTo>
                  <a:lnTo>
                    <a:pt x="1747444" y="198831"/>
                  </a:lnTo>
                  <a:lnTo>
                    <a:pt x="1747444" y="197447"/>
                  </a:lnTo>
                  <a:lnTo>
                    <a:pt x="1747495" y="197447"/>
                  </a:lnTo>
                  <a:lnTo>
                    <a:pt x="1747495" y="198831"/>
                  </a:lnTo>
                  <a:lnTo>
                    <a:pt x="1747495" y="196799"/>
                  </a:lnTo>
                  <a:lnTo>
                    <a:pt x="1747495" y="197447"/>
                  </a:lnTo>
                  <a:lnTo>
                    <a:pt x="1747597" y="197447"/>
                  </a:lnTo>
                  <a:lnTo>
                    <a:pt x="1747597" y="199530"/>
                  </a:lnTo>
                  <a:lnTo>
                    <a:pt x="1747597" y="198831"/>
                  </a:lnTo>
                  <a:lnTo>
                    <a:pt x="1747647" y="198831"/>
                  </a:lnTo>
                  <a:lnTo>
                    <a:pt x="1747647" y="199530"/>
                  </a:lnTo>
                  <a:lnTo>
                    <a:pt x="1747647" y="198831"/>
                  </a:lnTo>
                  <a:lnTo>
                    <a:pt x="1747698" y="199530"/>
                  </a:lnTo>
                  <a:lnTo>
                    <a:pt x="1747698" y="197447"/>
                  </a:lnTo>
                  <a:lnTo>
                    <a:pt x="1747800" y="198831"/>
                  </a:lnTo>
                  <a:lnTo>
                    <a:pt x="1747800" y="196799"/>
                  </a:lnTo>
                  <a:lnTo>
                    <a:pt x="1747838" y="196799"/>
                  </a:lnTo>
                  <a:lnTo>
                    <a:pt x="1747838" y="197447"/>
                  </a:lnTo>
                  <a:lnTo>
                    <a:pt x="1747838" y="196113"/>
                  </a:lnTo>
                  <a:lnTo>
                    <a:pt x="1747838" y="196799"/>
                  </a:lnTo>
                  <a:lnTo>
                    <a:pt x="1747889" y="197447"/>
                  </a:lnTo>
                  <a:lnTo>
                    <a:pt x="1747889" y="199530"/>
                  </a:lnTo>
                  <a:lnTo>
                    <a:pt x="1747889" y="197447"/>
                  </a:lnTo>
                  <a:lnTo>
                    <a:pt x="1747889" y="198831"/>
                  </a:lnTo>
                  <a:lnTo>
                    <a:pt x="1747889" y="197447"/>
                  </a:lnTo>
                  <a:lnTo>
                    <a:pt x="1747889" y="198831"/>
                  </a:lnTo>
                  <a:lnTo>
                    <a:pt x="1747940" y="198831"/>
                  </a:lnTo>
                  <a:lnTo>
                    <a:pt x="1747940" y="199530"/>
                  </a:lnTo>
                  <a:lnTo>
                    <a:pt x="1747940" y="198831"/>
                  </a:lnTo>
                  <a:lnTo>
                    <a:pt x="1748041" y="198831"/>
                  </a:lnTo>
                  <a:lnTo>
                    <a:pt x="1748041" y="199530"/>
                  </a:lnTo>
                  <a:lnTo>
                    <a:pt x="1748041" y="198831"/>
                  </a:lnTo>
                  <a:lnTo>
                    <a:pt x="1748092" y="198831"/>
                  </a:lnTo>
                  <a:lnTo>
                    <a:pt x="1748092" y="199530"/>
                  </a:lnTo>
                  <a:lnTo>
                    <a:pt x="1748092" y="198831"/>
                  </a:lnTo>
                  <a:lnTo>
                    <a:pt x="1748092" y="199530"/>
                  </a:lnTo>
                  <a:lnTo>
                    <a:pt x="1748092" y="198831"/>
                  </a:lnTo>
                  <a:lnTo>
                    <a:pt x="1748092" y="199530"/>
                  </a:lnTo>
                  <a:lnTo>
                    <a:pt x="1748143" y="199530"/>
                  </a:lnTo>
                  <a:lnTo>
                    <a:pt x="1748143" y="200228"/>
                  </a:lnTo>
                  <a:lnTo>
                    <a:pt x="1748143" y="199530"/>
                  </a:lnTo>
                  <a:lnTo>
                    <a:pt x="1748143" y="200228"/>
                  </a:lnTo>
                  <a:lnTo>
                    <a:pt x="1748143" y="198831"/>
                  </a:lnTo>
                  <a:lnTo>
                    <a:pt x="1748143" y="199530"/>
                  </a:lnTo>
                  <a:lnTo>
                    <a:pt x="1748244" y="199530"/>
                  </a:lnTo>
                  <a:lnTo>
                    <a:pt x="1748244" y="198831"/>
                  </a:lnTo>
                  <a:lnTo>
                    <a:pt x="1748244" y="199530"/>
                  </a:lnTo>
                  <a:lnTo>
                    <a:pt x="1748244" y="197447"/>
                  </a:lnTo>
                  <a:lnTo>
                    <a:pt x="1748295" y="197447"/>
                  </a:lnTo>
                  <a:lnTo>
                    <a:pt x="1748295" y="196799"/>
                  </a:lnTo>
                  <a:lnTo>
                    <a:pt x="1748295" y="198831"/>
                  </a:lnTo>
                  <a:lnTo>
                    <a:pt x="1748346" y="198831"/>
                  </a:lnTo>
                  <a:lnTo>
                    <a:pt x="1748346" y="197447"/>
                  </a:lnTo>
                  <a:lnTo>
                    <a:pt x="1748346" y="200228"/>
                  </a:lnTo>
                  <a:lnTo>
                    <a:pt x="1748384" y="200228"/>
                  </a:lnTo>
                  <a:lnTo>
                    <a:pt x="1748384" y="198831"/>
                  </a:lnTo>
                  <a:lnTo>
                    <a:pt x="1748384" y="200228"/>
                  </a:lnTo>
                  <a:lnTo>
                    <a:pt x="1748384" y="199530"/>
                  </a:lnTo>
                  <a:lnTo>
                    <a:pt x="1748486" y="199530"/>
                  </a:lnTo>
                  <a:lnTo>
                    <a:pt x="1748486" y="198831"/>
                  </a:lnTo>
                  <a:lnTo>
                    <a:pt x="1748486" y="200228"/>
                  </a:lnTo>
                  <a:lnTo>
                    <a:pt x="1748486" y="199530"/>
                  </a:lnTo>
                  <a:lnTo>
                    <a:pt x="1748537" y="199530"/>
                  </a:lnTo>
                  <a:lnTo>
                    <a:pt x="1748537" y="200228"/>
                  </a:lnTo>
                  <a:lnTo>
                    <a:pt x="1748537" y="199530"/>
                  </a:lnTo>
                  <a:lnTo>
                    <a:pt x="1748537" y="200228"/>
                  </a:lnTo>
                  <a:lnTo>
                    <a:pt x="1748537" y="199530"/>
                  </a:lnTo>
                  <a:lnTo>
                    <a:pt x="1748537" y="200228"/>
                  </a:lnTo>
                  <a:lnTo>
                    <a:pt x="1748537" y="199530"/>
                  </a:lnTo>
                  <a:lnTo>
                    <a:pt x="1748587" y="199530"/>
                  </a:lnTo>
                  <a:lnTo>
                    <a:pt x="1748587" y="200228"/>
                  </a:lnTo>
                  <a:lnTo>
                    <a:pt x="1748587" y="199530"/>
                  </a:lnTo>
                  <a:lnTo>
                    <a:pt x="1748689" y="199530"/>
                  </a:lnTo>
                  <a:lnTo>
                    <a:pt x="1748689" y="198831"/>
                  </a:lnTo>
                  <a:lnTo>
                    <a:pt x="1748689" y="199530"/>
                  </a:lnTo>
                  <a:lnTo>
                    <a:pt x="1748689" y="198831"/>
                  </a:lnTo>
                  <a:lnTo>
                    <a:pt x="1748689" y="199530"/>
                  </a:lnTo>
                  <a:lnTo>
                    <a:pt x="1748689" y="198831"/>
                  </a:lnTo>
                  <a:lnTo>
                    <a:pt x="1748740" y="198831"/>
                  </a:lnTo>
                  <a:lnTo>
                    <a:pt x="1748740" y="196799"/>
                  </a:lnTo>
                  <a:lnTo>
                    <a:pt x="1748740" y="197447"/>
                  </a:lnTo>
                  <a:lnTo>
                    <a:pt x="1748740" y="196799"/>
                  </a:lnTo>
                  <a:lnTo>
                    <a:pt x="1748790" y="196799"/>
                  </a:lnTo>
                  <a:lnTo>
                    <a:pt x="1748790" y="196113"/>
                  </a:lnTo>
                  <a:lnTo>
                    <a:pt x="1748790" y="196799"/>
                  </a:lnTo>
                  <a:lnTo>
                    <a:pt x="1748790" y="195415"/>
                  </a:lnTo>
                  <a:lnTo>
                    <a:pt x="1748790" y="196799"/>
                  </a:lnTo>
                  <a:lnTo>
                    <a:pt x="1748841" y="196799"/>
                  </a:lnTo>
                  <a:lnTo>
                    <a:pt x="1748841" y="196113"/>
                  </a:lnTo>
                  <a:lnTo>
                    <a:pt x="1748841" y="198831"/>
                  </a:lnTo>
                  <a:lnTo>
                    <a:pt x="1748930" y="198831"/>
                  </a:lnTo>
                  <a:lnTo>
                    <a:pt x="1748930" y="197447"/>
                  </a:lnTo>
                  <a:lnTo>
                    <a:pt x="1748930" y="198831"/>
                  </a:lnTo>
                  <a:lnTo>
                    <a:pt x="1748930" y="196799"/>
                  </a:lnTo>
                  <a:lnTo>
                    <a:pt x="1748930" y="198831"/>
                  </a:lnTo>
                  <a:lnTo>
                    <a:pt x="1748981" y="198831"/>
                  </a:lnTo>
                  <a:lnTo>
                    <a:pt x="1748981" y="197447"/>
                  </a:lnTo>
                  <a:lnTo>
                    <a:pt x="1748981" y="198831"/>
                  </a:lnTo>
                  <a:lnTo>
                    <a:pt x="1748981" y="197447"/>
                  </a:lnTo>
                  <a:lnTo>
                    <a:pt x="1748981" y="199530"/>
                  </a:lnTo>
                  <a:lnTo>
                    <a:pt x="1749032" y="199530"/>
                  </a:lnTo>
                  <a:lnTo>
                    <a:pt x="1749032" y="198831"/>
                  </a:lnTo>
                  <a:lnTo>
                    <a:pt x="1749032" y="199530"/>
                  </a:lnTo>
                  <a:lnTo>
                    <a:pt x="1749032" y="198831"/>
                  </a:lnTo>
                  <a:lnTo>
                    <a:pt x="1749032" y="199530"/>
                  </a:lnTo>
                  <a:lnTo>
                    <a:pt x="1749083" y="199530"/>
                  </a:lnTo>
                  <a:lnTo>
                    <a:pt x="1749083" y="200228"/>
                  </a:lnTo>
                  <a:lnTo>
                    <a:pt x="1749083" y="199530"/>
                  </a:lnTo>
                  <a:lnTo>
                    <a:pt x="1749184" y="199530"/>
                  </a:lnTo>
                  <a:lnTo>
                    <a:pt x="1749184" y="198831"/>
                  </a:lnTo>
                  <a:lnTo>
                    <a:pt x="1749184" y="199530"/>
                  </a:lnTo>
                  <a:lnTo>
                    <a:pt x="1749184" y="197447"/>
                  </a:lnTo>
                  <a:lnTo>
                    <a:pt x="1749235" y="197447"/>
                  </a:lnTo>
                  <a:lnTo>
                    <a:pt x="1749235" y="196799"/>
                  </a:lnTo>
                  <a:lnTo>
                    <a:pt x="1749235" y="197447"/>
                  </a:lnTo>
                  <a:lnTo>
                    <a:pt x="1749235" y="196799"/>
                  </a:lnTo>
                  <a:lnTo>
                    <a:pt x="1749286" y="196799"/>
                  </a:lnTo>
                  <a:lnTo>
                    <a:pt x="1749286" y="196113"/>
                  </a:lnTo>
                  <a:lnTo>
                    <a:pt x="1749286" y="197447"/>
                  </a:lnTo>
                  <a:lnTo>
                    <a:pt x="1749286" y="196799"/>
                  </a:lnTo>
                  <a:lnTo>
                    <a:pt x="1749286" y="197447"/>
                  </a:lnTo>
                  <a:lnTo>
                    <a:pt x="1749286" y="196799"/>
                  </a:lnTo>
                  <a:lnTo>
                    <a:pt x="1749387" y="196799"/>
                  </a:lnTo>
                  <a:lnTo>
                    <a:pt x="1749387" y="198831"/>
                  </a:lnTo>
                  <a:lnTo>
                    <a:pt x="1749387" y="197447"/>
                  </a:lnTo>
                  <a:lnTo>
                    <a:pt x="1749387" y="198831"/>
                  </a:lnTo>
                  <a:lnTo>
                    <a:pt x="1749387" y="197447"/>
                  </a:lnTo>
                  <a:lnTo>
                    <a:pt x="1749425" y="197447"/>
                  </a:lnTo>
                  <a:lnTo>
                    <a:pt x="1749425" y="198831"/>
                  </a:lnTo>
                  <a:lnTo>
                    <a:pt x="1749476" y="198831"/>
                  </a:lnTo>
                  <a:lnTo>
                    <a:pt x="1749476" y="199530"/>
                  </a:lnTo>
                  <a:lnTo>
                    <a:pt x="1749476" y="198831"/>
                  </a:lnTo>
                  <a:lnTo>
                    <a:pt x="1749476" y="199530"/>
                  </a:lnTo>
                  <a:lnTo>
                    <a:pt x="1749527" y="199530"/>
                  </a:lnTo>
                  <a:lnTo>
                    <a:pt x="1749527" y="198831"/>
                  </a:lnTo>
                  <a:lnTo>
                    <a:pt x="1749527" y="199530"/>
                  </a:lnTo>
                  <a:lnTo>
                    <a:pt x="1749527" y="198831"/>
                  </a:lnTo>
                  <a:lnTo>
                    <a:pt x="1749527" y="199530"/>
                  </a:lnTo>
                  <a:lnTo>
                    <a:pt x="1749527" y="198831"/>
                  </a:lnTo>
                  <a:lnTo>
                    <a:pt x="1749527" y="199530"/>
                  </a:lnTo>
                  <a:lnTo>
                    <a:pt x="1749629" y="198831"/>
                  </a:lnTo>
                  <a:lnTo>
                    <a:pt x="1749629" y="200228"/>
                  </a:lnTo>
                  <a:lnTo>
                    <a:pt x="1749629" y="198831"/>
                  </a:lnTo>
                  <a:lnTo>
                    <a:pt x="1749629" y="199530"/>
                  </a:lnTo>
                  <a:lnTo>
                    <a:pt x="1749629" y="198831"/>
                  </a:lnTo>
                  <a:lnTo>
                    <a:pt x="1749629" y="199530"/>
                  </a:lnTo>
                  <a:lnTo>
                    <a:pt x="1749680" y="199530"/>
                  </a:lnTo>
                  <a:lnTo>
                    <a:pt x="1749680" y="197447"/>
                  </a:lnTo>
                  <a:lnTo>
                    <a:pt x="1749680" y="198831"/>
                  </a:lnTo>
                  <a:lnTo>
                    <a:pt x="1749680" y="197447"/>
                  </a:lnTo>
                  <a:lnTo>
                    <a:pt x="1749730" y="197447"/>
                  </a:lnTo>
                  <a:lnTo>
                    <a:pt x="1749730" y="196113"/>
                  </a:lnTo>
                  <a:lnTo>
                    <a:pt x="1749832" y="196113"/>
                  </a:lnTo>
                  <a:lnTo>
                    <a:pt x="1749832" y="196799"/>
                  </a:lnTo>
                  <a:lnTo>
                    <a:pt x="1749832" y="196113"/>
                  </a:lnTo>
                  <a:lnTo>
                    <a:pt x="1749832" y="196799"/>
                  </a:lnTo>
                  <a:lnTo>
                    <a:pt x="1749832" y="196113"/>
                  </a:lnTo>
                  <a:lnTo>
                    <a:pt x="1749883" y="195415"/>
                  </a:lnTo>
                  <a:lnTo>
                    <a:pt x="1749883" y="198831"/>
                  </a:lnTo>
                  <a:lnTo>
                    <a:pt x="1749883" y="196799"/>
                  </a:lnTo>
                  <a:lnTo>
                    <a:pt x="1749934" y="196799"/>
                  </a:lnTo>
                  <a:lnTo>
                    <a:pt x="1749934" y="198831"/>
                  </a:lnTo>
                  <a:lnTo>
                    <a:pt x="1749934" y="197447"/>
                  </a:lnTo>
                  <a:lnTo>
                    <a:pt x="1749934" y="198831"/>
                  </a:lnTo>
                  <a:lnTo>
                    <a:pt x="1749934" y="196799"/>
                  </a:lnTo>
                  <a:lnTo>
                    <a:pt x="1749934" y="197447"/>
                  </a:lnTo>
                  <a:lnTo>
                    <a:pt x="1749972" y="198831"/>
                  </a:lnTo>
                  <a:lnTo>
                    <a:pt x="1749972" y="199530"/>
                  </a:lnTo>
                  <a:lnTo>
                    <a:pt x="1749972" y="197447"/>
                  </a:lnTo>
                  <a:lnTo>
                    <a:pt x="1749972" y="198831"/>
                  </a:lnTo>
                  <a:lnTo>
                    <a:pt x="1750073" y="198831"/>
                  </a:lnTo>
                  <a:lnTo>
                    <a:pt x="1750073" y="199530"/>
                  </a:lnTo>
                  <a:lnTo>
                    <a:pt x="1750073" y="198831"/>
                  </a:lnTo>
                  <a:lnTo>
                    <a:pt x="1750073" y="199530"/>
                  </a:lnTo>
                  <a:lnTo>
                    <a:pt x="1750124" y="199530"/>
                  </a:lnTo>
                  <a:lnTo>
                    <a:pt x="1750124" y="198831"/>
                  </a:lnTo>
                  <a:lnTo>
                    <a:pt x="1750124" y="200228"/>
                  </a:lnTo>
                  <a:lnTo>
                    <a:pt x="1750124" y="198831"/>
                  </a:lnTo>
                  <a:lnTo>
                    <a:pt x="1750124" y="199530"/>
                  </a:lnTo>
                  <a:lnTo>
                    <a:pt x="1750124" y="198831"/>
                  </a:lnTo>
                  <a:lnTo>
                    <a:pt x="1750175" y="198831"/>
                  </a:lnTo>
                  <a:lnTo>
                    <a:pt x="1750175" y="197447"/>
                  </a:lnTo>
                  <a:lnTo>
                    <a:pt x="1750276" y="197447"/>
                  </a:lnTo>
                  <a:lnTo>
                    <a:pt x="1750276" y="196799"/>
                  </a:lnTo>
                  <a:lnTo>
                    <a:pt x="1750276" y="198831"/>
                  </a:lnTo>
                  <a:lnTo>
                    <a:pt x="1750327" y="197447"/>
                  </a:lnTo>
                  <a:lnTo>
                    <a:pt x="1750327" y="196113"/>
                  </a:lnTo>
                  <a:lnTo>
                    <a:pt x="1750327" y="200228"/>
                  </a:lnTo>
                  <a:lnTo>
                    <a:pt x="1750327" y="199530"/>
                  </a:lnTo>
                  <a:lnTo>
                    <a:pt x="1750378" y="198831"/>
                  </a:lnTo>
                  <a:lnTo>
                    <a:pt x="1750378" y="197447"/>
                  </a:lnTo>
                  <a:lnTo>
                    <a:pt x="1750378" y="199530"/>
                  </a:lnTo>
                  <a:lnTo>
                    <a:pt x="1750378" y="198831"/>
                  </a:lnTo>
                  <a:lnTo>
                    <a:pt x="1750429" y="198831"/>
                  </a:lnTo>
                  <a:lnTo>
                    <a:pt x="1750429" y="197447"/>
                  </a:lnTo>
                  <a:lnTo>
                    <a:pt x="1750429" y="199530"/>
                  </a:lnTo>
                  <a:lnTo>
                    <a:pt x="1750429" y="198831"/>
                  </a:lnTo>
                  <a:lnTo>
                    <a:pt x="1750518" y="198831"/>
                  </a:lnTo>
                  <a:lnTo>
                    <a:pt x="1750518" y="197447"/>
                  </a:lnTo>
                  <a:lnTo>
                    <a:pt x="1750518" y="199530"/>
                  </a:lnTo>
                  <a:lnTo>
                    <a:pt x="1750518" y="198831"/>
                  </a:lnTo>
                  <a:lnTo>
                    <a:pt x="1750619" y="198831"/>
                  </a:lnTo>
                  <a:lnTo>
                    <a:pt x="1750619" y="197447"/>
                  </a:lnTo>
                  <a:lnTo>
                    <a:pt x="1750619" y="198831"/>
                  </a:lnTo>
                  <a:lnTo>
                    <a:pt x="1750619" y="197447"/>
                  </a:lnTo>
                  <a:lnTo>
                    <a:pt x="1750670" y="197447"/>
                  </a:lnTo>
                  <a:lnTo>
                    <a:pt x="1750670" y="196799"/>
                  </a:lnTo>
                  <a:lnTo>
                    <a:pt x="1750670" y="197447"/>
                  </a:lnTo>
                  <a:lnTo>
                    <a:pt x="1750670" y="196113"/>
                  </a:lnTo>
                  <a:lnTo>
                    <a:pt x="1750772" y="196113"/>
                  </a:lnTo>
                  <a:lnTo>
                    <a:pt x="1750772" y="198831"/>
                  </a:lnTo>
                  <a:lnTo>
                    <a:pt x="1750772" y="196799"/>
                  </a:lnTo>
                  <a:lnTo>
                    <a:pt x="1750822" y="196799"/>
                  </a:lnTo>
                  <a:lnTo>
                    <a:pt x="1750822" y="200228"/>
                  </a:lnTo>
                  <a:lnTo>
                    <a:pt x="1750822" y="197447"/>
                  </a:lnTo>
                  <a:lnTo>
                    <a:pt x="1750822" y="198831"/>
                  </a:lnTo>
                  <a:lnTo>
                    <a:pt x="1750873" y="198831"/>
                  </a:lnTo>
                  <a:lnTo>
                    <a:pt x="1750873" y="200228"/>
                  </a:lnTo>
                  <a:lnTo>
                    <a:pt x="1750873" y="199530"/>
                  </a:lnTo>
                  <a:lnTo>
                    <a:pt x="1750975" y="199530"/>
                  </a:lnTo>
                  <a:lnTo>
                    <a:pt x="1750975" y="200228"/>
                  </a:lnTo>
                  <a:lnTo>
                    <a:pt x="1751013" y="200228"/>
                  </a:lnTo>
                  <a:lnTo>
                    <a:pt x="1751013" y="199530"/>
                  </a:lnTo>
                  <a:lnTo>
                    <a:pt x="1751013" y="200228"/>
                  </a:lnTo>
                  <a:lnTo>
                    <a:pt x="1751013" y="199530"/>
                  </a:lnTo>
                  <a:lnTo>
                    <a:pt x="1751013" y="200228"/>
                  </a:lnTo>
                  <a:lnTo>
                    <a:pt x="1751013" y="199530"/>
                  </a:lnTo>
                  <a:lnTo>
                    <a:pt x="1751064" y="199530"/>
                  </a:lnTo>
                  <a:lnTo>
                    <a:pt x="1751064" y="198831"/>
                  </a:lnTo>
                  <a:lnTo>
                    <a:pt x="1751064" y="199530"/>
                  </a:lnTo>
                  <a:lnTo>
                    <a:pt x="1751115" y="199530"/>
                  </a:lnTo>
                  <a:lnTo>
                    <a:pt x="1751115" y="197447"/>
                  </a:lnTo>
                  <a:lnTo>
                    <a:pt x="1751115" y="198831"/>
                  </a:lnTo>
                  <a:lnTo>
                    <a:pt x="1751115" y="197447"/>
                  </a:lnTo>
                  <a:lnTo>
                    <a:pt x="1751216" y="197447"/>
                  </a:lnTo>
                  <a:lnTo>
                    <a:pt x="1751216" y="196113"/>
                  </a:lnTo>
                  <a:lnTo>
                    <a:pt x="1751216" y="197447"/>
                  </a:lnTo>
                  <a:lnTo>
                    <a:pt x="1751267" y="197447"/>
                  </a:lnTo>
                  <a:lnTo>
                    <a:pt x="1751267" y="196113"/>
                  </a:lnTo>
                  <a:lnTo>
                    <a:pt x="1751267" y="199530"/>
                  </a:lnTo>
                  <a:lnTo>
                    <a:pt x="1751318" y="199530"/>
                  </a:lnTo>
                  <a:lnTo>
                    <a:pt x="1751318" y="197447"/>
                  </a:lnTo>
                  <a:lnTo>
                    <a:pt x="1751318" y="199530"/>
                  </a:lnTo>
                  <a:lnTo>
                    <a:pt x="1751419" y="199530"/>
                  </a:lnTo>
                  <a:lnTo>
                    <a:pt x="1751419" y="200228"/>
                  </a:lnTo>
                  <a:lnTo>
                    <a:pt x="1751419" y="199530"/>
                  </a:lnTo>
                  <a:lnTo>
                    <a:pt x="1751419" y="200228"/>
                  </a:lnTo>
                  <a:lnTo>
                    <a:pt x="1751419" y="198831"/>
                  </a:lnTo>
                  <a:lnTo>
                    <a:pt x="1751419" y="199530"/>
                  </a:lnTo>
                  <a:lnTo>
                    <a:pt x="1751470" y="199530"/>
                  </a:lnTo>
                  <a:lnTo>
                    <a:pt x="1751470" y="200228"/>
                  </a:lnTo>
                  <a:lnTo>
                    <a:pt x="1751470" y="199530"/>
                  </a:lnTo>
                  <a:lnTo>
                    <a:pt x="1751470" y="200228"/>
                  </a:lnTo>
                  <a:lnTo>
                    <a:pt x="1751521" y="200228"/>
                  </a:lnTo>
                  <a:lnTo>
                    <a:pt x="1751521" y="199530"/>
                  </a:lnTo>
                  <a:lnTo>
                    <a:pt x="1751521" y="200228"/>
                  </a:lnTo>
                  <a:lnTo>
                    <a:pt x="1751521" y="199530"/>
                  </a:lnTo>
                  <a:lnTo>
                    <a:pt x="1751521" y="200228"/>
                  </a:lnTo>
                  <a:lnTo>
                    <a:pt x="1751521" y="199530"/>
                  </a:lnTo>
                  <a:lnTo>
                    <a:pt x="1751559" y="199530"/>
                  </a:lnTo>
                  <a:lnTo>
                    <a:pt x="1751559" y="198831"/>
                  </a:lnTo>
                  <a:lnTo>
                    <a:pt x="1751559" y="199530"/>
                  </a:lnTo>
                  <a:lnTo>
                    <a:pt x="1751559" y="198831"/>
                  </a:lnTo>
                  <a:lnTo>
                    <a:pt x="1751661" y="197447"/>
                  </a:lnTo>
                  <a:lnTo>
                    <a:pt x="1751661" y="198831"/>
                  </a:lnTo>
                  <a:lnTo>
                    <a:pt x="1751661" y="196113"/>
                  </a:lnTo>
                  <a:lnTo>
                    <a:pt x="1751712" y="196113"/>
                  </a:lnTo>
                  <a:lnTo>
                    <a:pt x="1751712" y="193383"/>
                  </a:lnTo>
                  <a:lnTo>
                    <a:pt x="1751712" y="194716"/>
                  </a:lnTo>
                  <a:lnTo>
                    <a:pt x="1751762" y="195415"/>
                  </a:lnTo>
                  <a:lnTo>
                    <a:pt x="1751762" y="196113"/>
                  </a:lnTo>
                  <a:lnTo>
                    <a:pt x="1751762" y="193383"/>
                  </a:lnTo>
                  <a:lnTo>
                    <a:pt x="1751762" y="196799"/>
                  </a:lnTo>
                  <a:lnTo>
                    <a:pt x="1751864" y="197447"/>
                  </a:lnTo>
                  <a:lnTo>
                    <a:pt x="1751864" y="196113"/>
                  </a:lnTo>
                  <a:lnTo>
                    <a:pt x="1751864" y="197447"/>
                  </a:lnTo>
                  <a:lnTo>
                    <a:pt x="1751915" y="197447"/>
                  </a:lnTo>
                  <a:lnTo>
                    <a:pt x="1751915" y="196799"/>
                  </a:lnTo>
                  <a:lnTo>
                    <a:pt x="1751915" y="197447"/>
                  </a:lnTo>
                  <a:lnTo>
                    <a:pt x="1751915" y="196799"/>
                  </a:lnTo>
                  <a:lnTo>
                    <a:pt x="1751915" y="198831"/>
                  </a:lnTo>
                  <a:lnTo>
                    <a:pt x="1751965" y="198831"/>
                  </a:lnTo>
                  <a:lnTo>
                    <a:pt x="1751965" y="197447"/>
                  </a:lnTo>
                  <a:lnTo>
                    <a:pt x="1751965" y="198831"/>
                  </a:lnTo>
                  <a:lnTo>
                    <a:pt x="1751965" y="197447"/>
                  </a:lnTo>
                  <a:lnTo>
                    <a:pt x="1751965" y="198831"/>
                  </a:lnTo>
                  <a:lnTo>
                    <a:pt x="1752016" y="198831"/>
                  </a:lnTo>
                  <a:lnTo>
                    <a:pt x="1752016" y="199530"/>
                  </a:lnTo>
                  <a:lnTo>
                    <a:pt x="1752016" y="198831"/>
                  </a:lnTo>
                  <a:lnTo>
                    <a:pt x="1752105" y="198831"/>
                  </a:lnTo>
                  <a:lnTo>
                    <a:pt x="1752105" y="199530"/>
                  </a:lnTo>
                  <a:lnTo>
                    <a:pt x="1752105" y="198831"/>
                  </a:lnTo>
                  <a:lnTo>
                    <a:pt x="1752156" y="198831"/>
                  </a:lnTo>
                  <a:lnTo>
                    <a:pt x="1752156" y="197447"/>
                  </a:lnTo>
                  <a:lnTo>
                    <a:pt x="1752156" y="198831"/>
                  </a:lnTo>
                  <a:lnTo>
                    <a:pt x="1752156" y="196799"/>
                  </a:lnTo>
                  <a:lnTo>
                    <a:pt x="1752156" y="197447"/>
                  </a:lnTo>
                  <a:lnTo>
                    <a:pt x="1752156" y="196799"/>
                  </a:lnTo>
                  <a:lnTo>
                    <a:pt x="1752156" y="197447"/>
                  </a:lnTo>
                  <a:lnTo>
                    <a:pt x="1752156" y="196799"/>
                  </a:lnTo>
                  <a:lnTo>
                    <a:pt x="1752207" y="196799"/>
                  </a:lnTo>
                  <a:lnTo>
                    <a:pt x="1752207" y="195415"/>
                  </a:lnTo>
                  <a:lnTo>
                    <a:pt x="1752207" y="196113"/>
                  </a:lnTo>
                  <a:lnTo>
                    <a:pt x="1752207" y="195415"/>
                  </a:lnTo>
                  <a:lnTo>
                    <a:pt x="1752207" y="196799"/>
                  </a:lnTo>
                  <a:lnTo>
                    <a:pt x="1752258" y="196799"/>
                  </a:lnTo>
                  <a:lnTo>
                    <a:pt x="1752258" y="194716"/>
                  </a:lnTo>
                  <a:lnTo>
                    <a:pt x="1752258" y="197447"/>
                  </a:lnTo>
                  <a:lnTo>
                    <a:pt x="1752258" y="196799"/>
                  </a:lnTo>
                  <a:lnTo>
                    <a:pt x="1752359" y="196799"/>
                  </a:lnTo>
                  <a:lnTo>
                    <a:pt x="1752359" y="195415"/>
                  </a:lnTo>
                  <a:lnTo>
                    <a:pt x="1752359" y="196799"/>
                  </a:lnTo>
                  <a:lnTo>
                    <a:pt x="1752410" y="197447"/>
                  </a:lnTo>
                  <a:lnTo>
                    <a:pt x="1752410" y="196113"/>
                  </a:lnTo>
                  <a:lnTo>
                    <a:pt x="1752410" y="196799"/>
                  </a:lnTo>
                  <a:lnTo>
                    <a:pt x="1752461" y="196799"/>
                  </a:lnTo>
                  <a:lnTo>
                    <a:pt x="1752461" y="197447"/>
                  </a:lnTo>
                  <a:lnTo>
                    <a:pt x="1752461" y="196799"/>
                  </a:lnTo>
                  <a:lnTo>
                    <a:pt x="1752461" y="198831"/>
                  </a:lnTo>
                  <a:lnTo>
                    <a:pt x="1752461" y="197447"/>
                  </a:lnTo>
                  <a:lnTo>
                    <a:pt x="1752562" y="197447"/>
                  </a:lnTo>
                  <a:lnTo>
                    <a:pt x="1752562" y="198831"/>
                  </a:lnTo>
                  <a:lnTo>
                    <a:pt x="1752562" y="197447"/>
                  </a:lnTo>
                  <a:lnTo>
                    <a:pt x="1752562" y="198831"/>
                  </a:lnTo>
                  <a:lnTo>
                    <a:pt x="1752562" y="197447"/>
                  </a:lnTo>
                  <a:lnTo>
                    <a:pt x="1752600" y="197447"/>
                  </a:lnTo>
                  <a:lnTo>
                    <a:pt x="1752600" y="198831"/>
                  </a:lnTo>
                  <a:lnTo>
                    <a:pt x="1752600" y="197447"/>
                  </a:lnTo>
                  <a:lnTo>
                    <a:pt x="1752600" y="198831"/>
                  </a:lnTo>
                  <a:lnTo>
                    <a:pt x="1752600" y="197447"/>
                  </a:lnTo>
                  <a:lnTo>
                    <a:pt x="1752600" y="198831"/>
                  </a:lnTo>
                  <a:lnTo>
                    <a:pt x="1752651" y="198831"/>
                  </a:lnTo>
                  <a:lnTo>
                    <a:pt x="1752651" y="196799"/>
                  </a:lnTo>
                  <a:lnTo>
                    <a:pt x="1752651" y="197447"/>
                  </a:lnTo>
                  <a:lnTo>
                    <a:pt x="1752651" y="196113"/>
                  </a:lnTo>
                  <a:lnTo>
                    <a:pt x="1752702" y="196113"/>
                  </a:lnTo>
                  <a:lnTo>
                    <a:pt x="1752702" y="195415"/>
                  </a:lnTo>
                  <a:lnTo>
                    <a:pt x="1752702" y="196113"/>
                  </a:lnTo>
                  <a:lnTo>
                    <a:pt x="1752702" y="193383"/>
                  </a:lnTo>
                  <a:lnTo>
                    <a:pt x="1752804" y="193383"/>
                  </a:lnTo>
                  <a:lnTo>
                    <a:pt x="1752804" y="194716"/>
                  </a:lnTo>
                  <a:lnTo>
                    <a:pt x="1752804" y="193383"/>
                  </a:lnTo>
                  <a:lnTo>
                    <a:pt x="1752804" y="194716"/>
                  </a:lnTo>
                  <a:lnTo>
                    <a:pt x="1752804" y="193383"/>
                  </a:lnTo>
                  <a:lnTo>
                    <a:pt x="1752804" y="194716"/>
                  </a:lnTo>
                  <a:lnTo>
                    <a:pt x="1752855" y="195415"/>
                  </a:lnTo>
                  <a:lnTo>
                    <a:pt x="1752855" y="196113"/>
                  </a:lnTo>
                  <a:lnTo>
                    <a:pt x="1752855" y="194716"/>
                  </a:lnTo>
                  <a:lnTo>
                    <a:pt x="1752855" y="195415"/>
                  </a:lnTo>
                  <a:lnTo>
                    <a:pt x="1752855" y="194716"/>
                  </a:lnTo>
                  <a:lnTo>
                    <a:pt x="1752855" y="196113"/>
                  </a:lnTo>
                  <a:lnTo>
                    <a:pt x="1752905" y="196113"/>
                  </a:lnTo>
                  <a:lnTo>
                    <a:pt x="1752905" y="196799"/>
                  </a:lnTo>
                  <a:lnTo>
                    <a:pt x="1752905" y="195415"/>
                  </a:lnTo>
                  <a:lnTo>
                    <a:pt x="1752905" y="196113"/>
                  </a:lnTo>
                  <a:lnTo>
                    <a:pt x="1753007" y="196113"/>
                  </a:lnTo>
                  <a:lnTo>
                    <a:pt x="1753007" y="196799"/>
                  </a:lnTo>
                  <a:lnTo>
                    <a:pt x="1753007" y="196113"/>
                  </a:lnTo>
                  <a:lnTo>
                    <a:pt x="1753007" y="196799"/>
                  </a:lnTo>
                  <a:lnTo>
                    <a:pt x="1753058" y="196799"/>
                  </a:lnTo>
                  <a:lnTo>
                    <a:pt x="1753058" y="197447"/>
                  </a:lnTo>
                  <a:lnTo>
                    <a:pt x="1753058" y="196799"/>
                  </a:lnTo>
                  <a:lnTo>
                    <a:pt x="1753058" y="198831"/>
                  </a:lnTo>
                  <a:lnTo>
                    <a:pt x="1753109" y="198831"/>
                  </a:lnTo>
                  <a:lnTo>
                    <a:pt x="1753109" y="197447"/>
                  </a:lnTo>
                  <a:lnTo>
                    <a:pt x="1753109" y="198831"/>
                  </a:lnTo>
                  <a:lnTo>
                    <a:pt x="1753109" y="197447"/>
                  </a:lnTo>
                  <a:lnTo>
                    <a:pt x="1753109" y="198831"/>
                  </a:lnTo>
                  <a:lnTo>
                    <a:pt x="1753109" y="197447"/>
                  </a:lnTo>
                  <a:lnTo>
                    <a:pt x="1753109" y="198831"/>
                  </a:lnTo>
                  <a:lnTo>
                    <a:pt x="1753147" y="197447"/>
                  </a:lnTo>
                  <a:lnTo>
                    <a:pt x="1753147" y="196113"/>
                  </a:lnTo>
                  <a:lnTo>
                    <a:pt x="1753248" y="196113"/>
                  </a:lnTo>
                  <a:lnTo>
                    <a:pt x="1753248" y="194716"/>
                  </a:lnTo>
                  <a:lnTo>
                    <a:pt x="1753299" y="194716"/>
                  </a:lnTo>
                  <a:lnTo>
                    <a:pt x="1753299" y="195415"/>
                  </a:lnTo>
                  <a:lnTo>
                    <a:pt x="1753299" y="192684"/>
                  </a:lnTo>
                  <a:lnTo>
                    <a:pt x="1753350" y="193383"/>
                  </a:lnTo>
                  <a:lnTo>
                    <a:pt x="1753350" y="195415"/>
                  </a:lnTo>
                  <a:lnTo>
                    <a:pt x="1753350" y="194716"/>
                  </a:lnTo>
                  <a:lnTo>
                    <a:pt x="1753451" y="194716"/>
                  </a:lnTo>
                  <a:lnTo>
                    <a:pt x="1753451" y="195415"/>
                  </a:lnTo>
                  <a:lnTo>
                    <a:pt x="1753451" y="194716"/>
                  </a:lnTo>
                  <a:lnTo>
                    <a:pt x="1753451" y="195415"/>
                  </a:lnTo>
                  <a:lnTo>
                    <a:pt x="1753451" y="194716"/>
                  </a:lnTo>
                  <a:lnTo>
                    <a:pt x="1753451" y="195415"/>
                  </a:lnTo>
                  <a:lnTo>
                    <a:pt x="1753502" y="194716"/>
                  </a:lnTo>
                  <a:lnTo>
                    <a:pt x="1753502" y="196113"/>
                  </a:lnTo>
                  <a:lnTo>
                    <a:pt x="1753502" y="195415"/>
                  </a:lnTo>
                  <a:lnTo>
                    <a:pt x="1753553" y="195415"/>
                  </a:lnTo>
                  <a:lnTo>
                    <a:pt x="1753553" y="196799"/>
                  </a:lnTo>
                  <a:lnTo>
                    <a:pt x="1753553" y="196113"/>
                  </a:lnTo>
                  <a:lnTo>
                    <a:pt x="1753553" y="196799"/>
                  </a:lnTo>
                  <a:lnTo>
                    <a:pt x="1753604" y="196799"/>
                  </a:lnTo>
                  <a:lnTo>
                    <a:pt x="1753604" y="197447"/>
                  </a:lnTo>
                  <a:lnTo>
                    <a:pt x="1753604" y="196799"/>
                  </a:lnTo>
                  <a:lnTo>
                    <a:pt x="1753604" y="197447"/>
                  </a:lnTo>
                  <a:lnTo>
                    <a:pt x="1753693" y="196799"/>
                  </a:lnTo>
                  <a:lnTo>
                    <a:pt x="1753693" y="197447"/>
                  </a:lnTo>
                  <a:lnTo>
                    <a:pt x="1753693" y="196113"/>
                  </a:lnTo>
                  <a:lnTo>
                    <a:pt x="1753693" y="196799"/>
                  </a:lnTo>
                  <a:lnTo>
                    <a:pt x="1753693" y="196113"/>
                  </a:lnTo>
                  <a:lnTo>
                    <a:pt x="1753693" y="196799"/>
                  </a:lnTo>
                  <a:lnTo>
                    <a:pt x="1753744" y="196113"/>
                  </a:lnTo>
                  <a:lnTo>
                    <a:pt x="1753744" y="194716"/>
                  </a:lnTo>
                  <a:lnTo>
                    <a:pt x="1753744" y="195415"/>
                  </a:lnTo>
                  <a:lnTo>
                    <a:pt x="1753744" y="194716"/>
                  </a:lnTo>
                  <a:lnTo>
                    <a:pt x="1753744" y="195415"/>
                  </a:lnTo>
                  <a:lnTo>
                    <a:pt x="1753744" y="194716"/>
                  </a:lnTo>
                  <a:lnTo>
                    <a:pt x="1753794" y="194716"/>
                  </a:lnTo>
                  <a:lnTo>
                    <a:pt x="1753794" y="195415"/>
                  </a:lnTo>
                  <a:lnTo>
                    <a:pt x="1753794" y="194716"/>
                  </a:lnTo>
                  <a:lnTo>
                    <a:pt x="1753794" y="195415"/>
                  </a:lnTo>
                  <a:lnTo>
                    <a:pt x="1753794" y="193383"/>
                  </a:lnTo>
                  <a:lnTo>
                    <a:pt x="1753845" y="194716"/>
                  </a:lnTo>
                  <a:lnTo>
                    <a:pt x="1753845" y="196799"/>
                  </a:lnTo>
                  <a:lnTo>
                    <a:pt x="1753845" y="194716"/>
                  </a:lnTo>
                  <a:lnTo>
                    <a:pt x="1753845" y="195415"/>
                  </a:lnTo>
                  <a:lnTo>
                    <a:pt x="1753947" y="195415"/>
                  </a:lnTo>
                  <a:lnTo>
                    <a:pt x="1753947" y="196113"/>
                  </a:lnTo>
                  <a:lnTo>
                    <a:pt x="1753947" y="195415"/>
                  </a:lnTo>
                  <a:lnTo>
                    <a:pt x="1753997" y="195415"/>
                  </a:lnTo>
                  <a:lnTo>
                    <a:pt x="1753997" y="196799"/>
                  </a:lnTo>
                  <a:lnTo>
                    <a:pt x="1753997" y="196113"/>
                  </a:lnTo>
                  <a:lnTo>
                    <a:pt x="1754048" y="196113"/>
                  </a:lnTo>
                  <a:lnTo>
                    <a:pt x="1754048" y="197447"/>
                  </a:lnTo>
                  <a:lnTo>
                    <a:pt x="1754048" y="196799"/>
                  </a:lnTo>
                  <a:lnTo>
                    <a:pt x="1754150" y="196799"/>
                  </a:lnTo>
                  <a:lnTo>
                    <a:pt x="1754150" y="197447"/>
                  </a:lnTo>
                  <a:lnTo>
                    <a:pt x="1754150" y="196799"/>
                  </a:lnTo>
                  <a:lnTo>
                    <a:pt x="1754150" y="197447"/>
                  </a:lnTo>
                  <a:lnTo>
                    <a:pt x="1754150" y="196799"/>
                  </a:lnTo>
                  <a:lnTo>
                    <a:pt x="1754150" y="197447"/>
                  </a:lnTo>
                  <a:lnTo>
                    <a:pt x="1754188" y="197447"/>
                  </a:lnTo>
                  <a:lnTo>
                    <a:pt x="1754188" y="196799"/>
                  </a:lnTo>
                  <a:lnTo>
                    <a:pt x="1754188" y="197447"/>
                  </a:lnTo>
                  <a:lnTo>
                    <a:pt x="1754188" y="196799"/>
                  </a:lnTo>
                  <a:lnTo>
                    <a:pt x="1754188" y="197447"/>
                  </a:lnTo>
                  <a:lnTo>
                    <a:pt x="1754188" y="196799"/>
                  </a:lnTo>
                  <a:lnTo>
                    <a:pt x="1754188" y="197447"/>
                  </a:lnTo>
                  <a:lnTo>
                    <a:pt x="1754188" y="196799"/>
                  </a:lnTo>
                  <a:lnTo>
                    <a:pt x="1754188" y="197447"/>
                  </a:lnTo>
                  <a:lnTo>
                    <a:pt x="1754188" y="196799"/>
                  </a:lnTo>
                  <a:lnTo>
                    <a:pt x="1754239" y="196799"/>
                  </a:lnTo>
                  <a:lnTo>
                    <a:pt x="1754239" y="196113"/>
                  </a:lnTo>
                  <a:lnTo>
                    <a:pt x="1754239" y="196799"/>
                  </a:lnTo>
                  <a:lnTo>
                    <a:pt x="1754239" y="195415"/>
                  </a:lnTo>
                  <a:lnTo>
                    <a:pt x="1754239" y="196113"/>
                  </a:lnTo>
                  <a:lnTo>
                    <a:pt x="1754290" y="196799"/>
                  </a:lnTo>
                  <a:lnTo>
                    <a:pt x="1754290" y="195415"/>
                  </a:lnTo>
                  <a:lnTo>
                    <a:pt x="1754290" y="197447"/>
                  </a:lnTo>
                  <a:lnTo>
                    <a:pt x="1754391" y="197447"/>
                  </a:lnTo>
                  <a:lnTo>
                    <a:pt x="1754391" y="196799"/>
                  </a:lnTo>
                  <a:lnTo>
                    <a:pt x="1754391" y="197447"/>
                  </a:lnTo>
                  <a:lnTo>
                    <a:pt x="1754442" y="197447"/>
                  </a:lnTo>
                  <a:lnTo>
                    <a:pt x="1754442" y="196799"/>
                  </a:lnTo>
                  <a:lnTo>
                    <a:pt x="1754442" y="197447"/>
                  </a:lnTo>
                  <a:lnTo>
                    <a:pt x="1754442" y="196799"/>
                  </a:lnTo>
                  <a:lnTo>
                    <a:pt x="1754442" y="197447"/>
                  </a:lnTo>
                  <a:lnTo>
                    <a:pt x="1754493" y="197447"/>
                  </a:lnTo>
                  <a:lnTo>
                    <a:pt x="1754493" y="196799"/>
                  </a:lnTo>
                  <a:lnTo>
                    <a:pt x="1754493" y="197447"/>
                  </a:lnTo>
                  <a:lnTo>
                    <a:pt x="1754493" y="196799"/>
                  </a:lnTo>
                  <a:lnTo>
                    <a:pt x="1754493" y="197447"/>
                  </a:lnTo>
                  <a:lnTo>
                    <a:pt x="1754493" y="196799"/>
                  </a:lnTo>
                  <a:lnTo>
                    <a:pt x="1754493" y="197447"/>
                  </a:lnTo>
                  <a:lnTo>
                    <a:pt x="1754594" y="197447"/>
                  </a:lnTo>
                  <a:lnTo>
                    <a:pt x="1754594" y="196799"/>
                  </a:lnTo>
                  <a:lnTo>
                    <a:pt x="1754594" y="197447"/>
                  </a:lnTo>
                  <a:lnTo>
                    <a:pt x="1754594" y="196799"/>
                  </a:lnTo>
                  <a:lnTo>
                    <a:pt x="1754594" y="197447"/>
                  </a:lnTo>
                  <a:lnTo>
                    <a:pt x="1754645" y="196799"/>
                  </a:lnTo>
                  <a:lnTo>
                    <a:pt x="1754645" y="197447"/>
                  </a:lnTo>
                  <a:lnTo>
                    <a:pt x="1754645" y="196799"/>
                  </a:lnTo>
                  <a:lnTo>
                    <a:pt x="1754645" y="197447"/>
                  </a:lnTo>
                  <a:lnTo>
                    <a:pt x="1754645" y="196799"/>
                  </a:lnTo>
                  <a:lnTo>
                    <a:pt x="1754696" y="196799"/>
                  </a:lnTo>
                  <a:lnTo>
                    <a:pt x="1754696" y="196113"/>
                  </a:lnTo>
                  <a:lnTo>
                    <a:pt x="1754696" y="196799"/>
                  </a:lnTo>
                  <a:lnTo>
                    <a:pt x="1754696" y="195415"/>
                  </a:lnTo>
                  <a:lnTo>
                    <a:pt x="1754696" y="196113"/>
                  </a:lnTo>
                  <a:lnTo>
                    <a:pt x="1754734" y="196113"/>
                  </a:lnTo>
                  <a:lnTo>
                    <a:pt x="1754734" y="194716"/>
                  </a:lnTo>
                  <a:lnTo>
                    <a:pt x="1754734" y="196113"/>
                  </a:lnTo>
                  <a:lnTo>
                    <a:pt x="1754836" y="196113"/>
                  </a:lnTo>
                  <a:lnTo>
                    <a:pt x="1754836" y="194716"/>
                  </a:lnTo>
                  <a:lnTo>
                    <a:pt x="1754836" y="197447"/>
                  </a:lnTo>
                  <a:lnTo>
                    <a:pt x="1754887" y="197447"/>
                  </a:lnTo>
                  <a:lnTo>
                    <a:pt x="1754887" y="196113"/>
                  </a:lnTo>
                  <a:lnTo>
                    <a:pt x="1754887" y="198831"/>
                  </a:lnTo>
                  <a:lnTo>
                    <a:pt x="1754887" y="197447"/>
                  </a:lnTo>
                  <a:lnTo>
                    <a:pt x="1754937" y="197447"/>
                  </a:lnTo>
                  <a:lnTo>
                    <a:pt x="1754937" y="196113"/>
                  </a:lnTo>
                  <a:lnTo>
                    <a:pt x="1754937" y="197447"/>
                  </a:lnTo>
                  <a:lnTo>
                    <a:pt x="1755039" y="197447"/>
                  </a:lnTo>
                  <a:lnTo>
                    <a:pt x="1755039" y="196799"/>
                  </a:lnTo>
                  <a:lnTo>
                    <a:pt x="1755039" y="197447"/>
                  </a:lnTo>
                  <a:lnTo>
                    <a:pt x="1755039" y="196799"/>
                  </a:lnTo>
                  <a:lnTo>
                    <a:pt x="1755039" y="198831"/>
                  </a:lnTo>
                  <a:lnTo>
                    <a:pt x="1755090" y="198831"/>
                  </a:lnTo>
                  <a:lnTo>
                    <a:pt x="1755090" y="197447"/>
                  </a:lnTo>
                  <a:lnTo>
                    <a:pt x="1755090" y="198831"/>
                  </a:lnTo>
                  <a:lnTo>
                    <a:pt x="1755090" y="197447"/>
                  </a:lnTo>
                  <a:lnTo>
                    <a:pt x="1755090" y="198831"/>
                  </a:lnTo>
                  <a:lnTo>
                    <a:pt x="1755090" y="197447"/>
                  </a:lnTo>
                  <a:lnTo>
                    <a:pt x="1755090" y="198831"/>
                  </a:lnTo>
                  <a:lnTo>
                    <a:pt x="1755090" y="197447"/>
                  </a:lnTo>
                  <a:lnTo>
                    <a:pt x="1755090" y="198831"/>
                  </a:lnTo>
                  <a:lnTo>
                    <a:pt x="1755140" y="198831"/>
                  </a:lnTo>
                  <a:lnTo>
                    <a:pt x="1755140" y="197447"/>
                  </a:lnTo>
                  <a:lnTo>
                    <a:pt x="1755191" y="196799"/>
                  </a:lnTo>
                  <a:lnTo>
                    <a:pt x="1755191" y="196113"/>
                  </a:lnTo>
                  <a:lnTo>
                    <a:pt x="1755191" y="196799"/>
                  </a:lnTo>
                  <a:lnTo>
                    <a:pt x="1755191" y="196113"/>
                  </a:lnTo>
                  <a:lnTo>
                    <a:pt x="1755280" y="196113"/>
                  </a:lnTo>
                  <a:lnTo>
                    <a:pt x="1755280" y="195415"/>
                  </a:lnTo>
                  <a:lnTo>
                    <a:pt x="1755280" y="197447"/>
                  </a:lnTo>
                  <a:lnTo>
                    <a:pt x="1755280" y="196113"/>
                  </a:lnTo>
                  <a:lnTo>
                    <a:pt x="1755331" y="196113"/>
                  </a:lnTo>
                  <a:lnTo>
                    <a:pt x="1755331" y="195415"/>
                  </a:lnTo>
                  <a:lnTo>
                    <a:pt x="1755331" y="198831"/>
                  </a:lnTo>
                  <a:lnTo>
                    <a:pt x="1755331" y="196799"/>
                  </a:lnTo>
                  <a:lnTo>
                    <a:pt x="1755382" y="196799"/>
                  </a:lnTo>
                  <a:lnTo>
                    <a:pt x="1755382" y="198831"/>
                  </a:lnTo>
                  <a:lnTo>
                    <a:pt x="1755382" y="197447"/>
                  </a:lnTo>
                  <a:lnTo>
                    <a:pt x="1755433" y="197447"/>
                  </a:lnTo>
                  <a:lnTo>
                    <a:pt x="1755433" y="199530"/>
                  </a:lnTo>
                  <a:lnTo>
                    <a:pt x="1755433" y="198831"/>
                  </a:lnTo>
                  <a:lnTo>
                    <a:pt x="1755534" y="198831"/>
                  </a:lnTo>
                  <a:lnTo>
                    <a:pt x="1755534" y="197447"/>
                  </a:lnTo>
                  <a:lnTo>
                    <a:pt x="1755534" y="199530"/>
                  </a:lnTo>
                  <a:lnTo>
                    <a:pt x="1755534" y="198831"/>
                  </a:lnTo>
                  <a:lnTo>
                    <a:pt x="1755585" y="198831"/>
                  </a:lnTo>
                  <a:lnTo>
                    <a:pt x="1755585" y="199530"/>
                  </a:lnTo>
                  <a:lnTo>
                    <a:pt x="1755585" y="198831"/>
                  </a:lnTo>
                  <a:lnTo>
                    <a:pt x="1755585" y="199530"/>
                  </a:lnTo>
                  <a:lnTo>
                    <a:pt x="1755585" y="198831"/>
                  </a:lnTo>
                  <a:lnTo>
                    <a:pt x="1755636" y="198831"/>
                  </a:lnTo>
                  <a:lnTo>
                    <a:pt x="1755636" y="197447"/>
                  </a:lnTo>
                  <a:lnTo>
                    <a:pt x="1755636" y="198831"/>
                  </a:lnTo>
                  <a:lnTo>
                    <a:pt x="1755636" y="197447"/>
                  </a:lnTo>
                  <a:lnTo>
                    <a:pt x="1755636" y="198831"/>
                  </a:lnTo>
                  <a:lnTo>
                    <a:pt x="1755636" y="196799"/>
                  </a:lnTo>
                  <a:lnTo>
                    <a:pt x="1755737" y="196799"/>
                  </a:lnTo>
                  <a:lnTo>
                    <a:pt x="1755737" y="196113"/>
                  </a:lnTo>
                  <a:lnTo>
                    <a:pt x="1755737" y="196799"/>
                  </a:lnTo>
                  <a:lnTo>
                    <a:pt x="1755737" y="196113"/>
                  </a:lnTo>
                  <a:lnTo>
                    <a:pt x="1755775" y="196113"/>
                  </a:lnTo>
                  <a:lnTo>
                    <a:pt x="1755775" y="195415"/>
                  </a:lnTo>
                  <a:lnTo>
                    <a:pt x="1755775" y="196799"/>
                  </a:lnTo>
                  <a:lnTo>
                    <a:pt x="1755775" y="195415"/>
                  </a:lnTo>
                  <a:lnTo>
                    <a:pt x="1755826" y="195415"/>
                  </a:lnTo>
                  <a:lnTo>
                    <a:pt x="1755826" y="198831"/>
                  </a:lnTo>
                  <a:lnTo>
                    <a:pt x="1755826" y="196799"/>
                  </a:lnTo>
                  <a:lnTo>
                    <a:pt x="1755877" y="197447"/>
                  </a:lnTo>
                  <a:lnTo>
                    <a:pt x="1755877" y="198831"/>
                  </a:lnTo>
                  <a:lnTo>
                    <a:pt x="1755877" y="197447"/>
                  </a:lnTo>
                  <a:lnTo>
                    <a:pt x="1755877" y="198831"/>
                  </a:lnTo>
                  <a:lnTo>
                    <a:pt x="1755877" y="197447"/>
                  </a:lnTo>
                  <a:lnTo>
                    <a:pt x="1755979" y="197447"/>
                  </a:lnTo>
                  <a:lnTo>
                    <a:pt x="1755979" y="199530"/>
                  </a:lnTo>
                  <a:lnTo>
                    <a:pt x="1755979" y="198831"/>
                  </a:lnTo>
                  <a:lnTo>
                    <a:pt x="1755979" y="199530"/>
                  </a:lnTo>
                  <a:lnTo>
                    <a:pt x="1756030" y="199530"/>
                  </a:lnTo>
                  <a:lnTo>
                    <a:pt x="1756030" y="200228"/>
                  </a:lnTo>
                  <a:lnTo>
                    <a:pt x="1756030" y="199530"/>
                  </a:lnTo>
                  <a:lnTo>
                    <a:pt x="1756030" y="200228"/>
                  </a:lnTo>
                  <a:lnTo>
                    <a:pt x="1756030" y="199530"/>
                  </a:lnTo>
                  <a:lnTo>
                    <a:pt x="1756030" y="200228"/>
                  </a:lnTo>
                  <a:lnTo>
                    <a:pt x="1756030" y="199530"/>
                  </a:lnTo>
                  <a:lnTo>
                    <a:pt x="1756080" y="199530"/>
                  </a:lnTo>
                  <a:lnTo>
                    <a:pt x="1756080" y="200228"/>
                  </a:lnTo>
                  <a:lnTo>
                    <a:pt x="1756080" y="198831"/>
                  </a:lnTo>
                  <a:lnTo>
                    <a:pt x="1756080" y="199530"/>
                  </a:lnTo>
                  <a:lnTo>
                    <a:pt x="1756080" y="198831"/>
                  </a:lnTo>
                  <a:lnTo>
                    <a:pt x="1756080" y="199530"/>
                  </a:lnTo>
                  <a:lnTo>
                    <a:pt x="1756182" y="199530"/>
                  </a:lnTo>
                  <a:lnTo>
                    <a:pt x="1756182" y="200228"/>
                  </a:lnTo>
                  <a:lnTo>
                    <a:pt x="1756182" y="197447"/>
                  </a:lnTo>
                  <a:lnTo>
                    <a:pt x="1756233" y="197447"/>
                  </a:lnTo>
                  <a:lnTo>
                    <a:pt x="1756233" y="196799"/>
                  </a:lnTo>
                  <a:lnTo>
                    <a:pt x="1756233" y="197447"/>
                  </a:lnTo>
                  <a:lnTo>
                    <a:pt x="1756233" y="196113"/>
                  </a:lnTo>
                  <a:lnTo>
                    <a:pt x="1756233" y="197447"/>
                  </a:lnTo>
                  <a:lnTo>
                    <a:pt x="1756284" y="197447"/>
                  </a:lnTo>
                  <a:lnTo>
                    <a:pt x="1756284" y="196113"/>
                  </a:lnTo>
                  <a:lnTo>
                    <a:pt x="1756284" y="198831"/>
                  </a:lnTo>
                  <a:lnTo>
                    <a:pt x="1756322" y="198831"/>
                  </a:lnTo>
                  <a:lnTo>
                    <a:pt x="1756322" y="197447"/>
                  </a:lnTo>
                  <a:lnTo>
                    <a:pt x="1756322" y="198831"/>
                  </a:lnTo>
                  <a:lnTo>
                    <a:pt x="1756423" y="198831"/>
                  </a:lnTo>
                  <a:lnTo>
                    <a:pt x="1756423" y="197447"/>
                  </a:lnTo>
                  <a:lnTo>
                    <a:pt x="1756474" y="197447"/>
                  </a:lnTo>
                  <a:lnTo>
                    <a:pt x="1756474" y="199530"/>
                  </a:lnTo>
                  <a:lnTo>
                    <a:pt x="1756474" y="198831"/>
                  </a:lnTo>
                  <a:lnTo>
                    <a:pt x="1756474" y="199530"/>
                  </a:lnTo>
                  <a:lnTo>
                    <a:pt x="1756474" y="198831"/>
                  </a:lnTo>
                  <a:lnTo>
                    <a:pt x="1756525" y="198831"/>
                  </a:lnTo>
                  <a:lnTo>
                    <a:pt x="1756525" y="199530"/>
                  </a:lnTo>
                  <a:lnTo>
                    <a:pt x="1756525" y="198831"/>
                  </a:lnTo>
                  <a:lnTo>
                    <a:pt x="1756525" y="199530"/>
                  </a:lnTo>
                  <a:lnTo>
                    <a:pt x="1756525" y="198831"/>
                  </a:lnTo>
                  <a:lnTo>
                    <a:pt x="1756525" y="199530"/>
                  </a:lnTo>
                  <a:lnTo>
                    <a:pt x="1756525" y="198831"/>
                  </a:lnTo>
                  <a:lnTo>
                    <a:pt x="1756525" y="199530"/>
                  </a:lnTo>
                  <a:lnTo>
                    <a:pt x="1756525" y="197447"/>
                  </a:lnTo>
                  <a:lnTo>
                    <a:pt x="1756525" y="198831"/>
                  </a:lnTo>
                  <a:lnTo>
                    <a:pt x="1756626" y="198831"/>
                  </a:lnTo>
                  <a:lnTo>
                    <a:pt x="1756626" y="197447"/>
                  </a:lnTo>
                  <a:lnTo>
                    <a:pt x="1756626" y="198831"/>
                  </a:lnTo>
                  <a:lnTo>
                    <a:pt x="1756677" y="198831"/>
                  </a:lnTo>
                  <a:lnTo>
                    <a:pt x="1756677" y="197447"/>
                  </a:lnTo>
                  <a:lnTo>
                    <a:pt x="1756677" y="198831"/>
                  </a:lnTo>
                  <a:lnTo>
                    <a:pt x="1756677" y="196113"/>
                  </a:lnTo>
                  <a:lnTo>
                    <a:pt x="1756728" y="196113"/>
                  </a:lnTo>
                  <a:lnTo>
                    <a:pt x="1756728" y="198831"/>
                  </a:lnTo>
                  <a:lnTo>
                    <a:pt x="1756728" y="196799"/>
                  </a:lnTo>
                  <a:lnTo>
                    <a:pt x="1756779" y="197447"/>
                  </a:lnTo>
                  <a:lnTo>
                    <a:pt x="1756779" y="200228"/>
                  </a:lnTo>
                  <a:lnTo>
                    <a:pt x="1756779" y="198831"/>
                  </a:lnTo>
                  <a:lnTo>
                    <a:pt x="1756779" y="199530"/>
                  </a:lnTo>
                  <a:lnTo>
                    <a:pt x="1756868" y="200228"/>
                  </a:lnTo>
                  <a:lnTo>
                    <a:pt x="1756868" y="200876"/>
                  </a:lnTo>
                  <a:lnTo>
                    <a:pt x="1756868" y="199530"/>
                  </a:lnTo>
                  <a:lnTo>
                    <a:pt x="1756868" y="200228"/>
                  </a:lnTo>
                  <a:lnTo>
                    <a:pt x="1756919" y="200228"/>
                  </a:lnTo>
                  <a:lnTo>
                    <a:pt x="1756919" y="199530"/>
                  </a:lnTo>
                  <a:lnTo>
                    <a:pt x="1756919" y="200228"/>
                  </a:lnTo>
                  <a:lnTo>
                    <a:pt x="1756919" y="199530"/>
                  </a:lnTo>
                  <a:lnTo>
                    <a:pt x="1756969" y="199530"/>
                  </a:lnTo>
                  <a:lnTo>
                    <a:pt x="1756969" y="200228"/>
                  </a:lnTo>
                  <a:lnTo>
                    <a:pt x="1756969" y="199530"/>
                  </a:lnTo>
                  <a:lnTo>
                    <a:pt x="1756969" y="200228"/>
                  </a:lnTo>
                  <a:lnTo>
                    <a:pt x="1756969" y="199530"/>
                  </a:lnTo>
                  <a:lnTo>
                    <a:pt x="1756969" y="200228"/>
                  </a:lnTo>
                  <a:lnTo>
                    <a:pt x="1757020" y="200228"/>
                  </a:lnTo>
                  <a:lnTo>
                    <a:pt x="1757020" y="199530"/>
                  </a:lnTo>
                  <a:lnTo>
                    <a:pt x="1757020" y="200228"/>
                  </a:lnTo>
                  <a:lnTo>
                    <a:pt x="1757020" y="199530"/>
                  </a:lnTo>
                  <a:lnTo>
                    <a:pt x="1757020" y="200228"/>
                  </a:lnTo>
                  <a:lnTo>
                    <a:pt x="1757020" y="199530"/>
                  </a:lnTo>
                  <a:lnTo>
                    <a:pt x="1757122" y="199530"/>
                  </a:lnTo>
                  <a:lnTo>
                    <a:pt x="1757122" y="198831"/>
                  </a:lnTo>
                  <a:lnTo>
                    <a:pt x="1757122" y="199530"/>
                  </a:lnTo>
                  <a:lnTo>
                    <a:pt x="1757122" y="198831"/>
                  </a:lnTo>
                  <a:lnTo>
                    <a:pt x="1757172" y="197447"/>
                  </a:lnTo>
                  <a:lnTo>
                    <a:pt x="1757172" y="196799"/>
                  </a:lnTo>
                  <a:lnTo>
                    <a:pt x="1757172" y="199530"/>
                  </a:lnTo>
                  <a:lnTo>
                    <a:pt x="1757223" y="199530"/>
                  </a:lnTo>
                  <a:lnTo>
                    <a:pt x="1757223" y="197447"/>
                  </a:lnTo>
                  <a:lnTo>
                    <a:pt x="1757223" y="198831"/>
                  </a:lnTo>
                  <a:lnTo>
                    <a:pt x="1757223" y="197447"/>
                  </a:lnTo>
                  <a:lnTo>
                    <a:pt x="1757223" y="200876"/>
                  </a:lnTo>
                  <a:lnTo>
                    <a:pt x="1757223" y="200228"/>
                  </a:lnTo>
                  <a:lnTo>
                    <a:pt x="1757325" y="200228"/>
                  </a:lnTo>
                  <a:lnTo>
                    <a:pt x="1757325" y="199530"/>
                  </a:lnTo>
                  <a:lnTo>
                    <a:pt x="1757325" y="200876"/>
                  </a:lnTo>
                  <a:lnTo>
                    <a:pt x="1757363" y="200228"/>
                  </a:lnTo>
                  <a:lnTo>
                    <a:pt x="1757363" y="199530"/>
                  </a:lnTo>
                  <a:lnTo>
                    <a:pt x="1757363" y="200876"/>
                  </a:lnTo>
                  <a:lnTo>
                    <a:pt x="1757363" y="200228"/>
                  </a:lnTo>
                  <a:lnTo>
                    <a:pt x="1757363" y="200876"/>
                  </a:lnTo>
                  <a:lnTo>
                    <a:pt x="1757414" y="200876"/>
                  </a:lnTo>
                  <a:lnTo>
                    <a:pt x="1757414" y="200228"/>
                  </a:lnTo>
                  <a:lnTo>
                    <a:pt x="1757414" y="200876"/>
                  </a:lnTo>
                  <a:lnTo>
                    <a:pt x="1757414" y="200228"/>
                  </a:lnTo>
                  <a:lnTo>
                    <a:pt x="1757414" y="200876"/>
                  </a:lnTo>
                  <a:lnTo>
                    <a:pt x="1757414" y="200228"/>
                  </a:lnTo>
                  <a:lnTo>
                    <a:pt x="1757414" y="200876"/>
                  </a:lnTo>
                  <a:lnTo>
                    <a:pt x="1757414" y="200228"/>
                  </a:lnTo>
                  <a:lnTo>
                    <a:pt x="1757465" y="200228"/>
                  </a:lnTo>
                  <a:lnTo>
                    <a:pt x="1757465" y="200876"/>
                  </a:lnTo>
                  <a:lnTo>
                    <a:pt x="1757465" y="200228"/>
                  </a:lnTo>
                  <a:lnTo>
                    <a:pt x="1757566" y="200228"/>
                  </a:lnTo>
                  <a:lnTo>
                    <a:pt x="1757566" y="199530"/>
                  </a:lnTo>
                  <a:lnTo>
                    <a:pt x="1757566" y="200228"/>
                  </a:lnTo>
                  <a:lnTo>
                    <a:pt x="1757566" y="198831"/>
                  </a:lnTo>
                  <a:lnTo>
                    <a:pt x="1757617" y="198831"/>
                  </a:lnTo>
                  <a:lnTo>
                    <a:pt x="1757617" y="196113"/>
                  </a:lnTo>
                  <a:lnTo>
                    <a:pt x="1757617" y="196799"/>
                  </a:lnTo>
                  <a:lnTo>
                    <a:pt x="1757668" y="196799"/>
                  </a:lnTo>
                  <a:lnTo>
                    <a:pt x="1757668" y="197447"/>
                  </a:lnTo>
                  <a:lnTo>
                    <a:pt x="1757668" y="196799"/>
                  </a:lnTo>
                  <a:lnTo>
                    <a:pt x="1757668" y="198831"/>
                  </a:lnTo>
                  <a:lnTo>
                    <a:pt x="1757668" y="197447"/>
                  </a:lnTo>
                  <a:lnTo>
                    <a:pt x="1757769" y="198831"/>
                  </a:lnTo>
                  <a:lnTo>
                    <a:pt x="1757769" y="199530"/>
                  </a:lnTo>
                  <a:lnTo>
                    <a:pt x="1757769" y="198831"/>
                  </a:lnTo>
                  <a:lnTo>
                    <a:pt x="1757769" y="199530"/>
                  </a:lnTo>
                  <a:lnTo>
                    <a:pt x="1757769" y="198831"/>
                  </a:lnTo>
                  <a:lnTo>
                    <a:pt x="1757769" y="199530"/>
                  </a:lnTo>
                  <a:lnTo>
                    <a:pt x="1757769" y="198831"/>
                  </a:lnTo>
                  <a:lnTo>
                    <a:pt x="1757769" y="200228"/>
                  </a:lnTo>
                  <a:lnTo>
                    <a:pt x="1757820" y="200228"/>
                  </a:lnTo>
                  <a:lnTo>
                    <a:pt x="1757820" y="200876"/>
                  </a:lnTo>
                  <a:lnTo>
                    <a:pt x="1757820" y="199530"/>
                  </a:lnTo>
                  <a:lnTo>
                    <a:pt x="1757820" y="200228"/>
                  </a:lnTo>
                  <a:lnTo>
                    <a:pt x="1757871" y="200228"/>
                  </a:lnTo>
                  <a:lnTo>
                    <a:pt x="1757871" y="200876"/>
                  </a:lnTo>
                  <a:lnTo>
                    <a:pt x="1757909" y="200876"/>
                  </a:lnTo>
                  <a:lnTo>
                    <a:pt x="1757909" y="200228"/>
                  </a:lnTo>
                  <a:lnTo>
                    <a:pt x="1757909" y="200876"/>
                  </a:lnTo>
                  <a:lnTo>
                    <a:pt x="1757909" y="200228"/>
                  </a:lnTo>
                  <a:lnTo>
                    <a:pt x="1757909" y="200876"/>
                  </a:lnTo>
                  <a:lnTo>
                    <a:pt x="1758011" y="200228"/>
                  </a:lnTo>
                  <a:lnTo>
                    <a:pt x="1758011" y="199530"/>
                  </a:lnTo>
                  <a:lnTo>
                    <a:pt x="1758011" y="200228"/>
                  </a:lnTo>
                  <a:lnTo>
                    <a:pt x="1758062" y="200228"/>
                  </a:lnTo>
                  <a:lnTo>
                    <a:pt x="1758062" y="198831"/>
                  </a:lnTo>
                  <a:lnTo>
                    <a:pt x="1758112" y="197447"/>
                  </a:lnTo>
                  <a:lnTo>
                    <a:pt x="1758112" y="196113"/>
                  </a:lnTo>
                  <a:lnTo>
                    <a:pt x="1758112" y="197447"/>
                  </a:lnTo>
                  <a:lnTo>
                    <a:pt x="1758214" y="197447"/>
                  </a:lnTo>
                  <a:lnTo>
                    <a:pt x="1758214" y="198831"/>
                  </a:lnTo>
                  <a:lnTo>
                    <a:pt x="1758214" y="196113"/>
                  </a:lnTo>
                  <a:lnTo>
                    <a:pt x="1758214" y="199530"/>
                  </a:lnTo>
                  <a:lnTo>
                    <a:pt x="1758265" y="199530"/>
                  </a:lnTo>
                  <a:lnTo>
                    <a:pt x="1758265" y="196799"/>
                  </a:lnTo>
                  <a:lnTo>
                    <a:pt x="1758265" y="199530"/>
                  </a:lnTo>
                  <a:lnTo>
                    <a:pt x="1758265" y="198831"/>
                  </a:lnTo>
                  <a:lnTo>
                    <a:pt x="1758315" y="198831"/>
                  </a:lnTo>
                  <a:lnTo>
                    <a:pt x="1758315" y="199530"/>
                  </a:lnTo>
                  <a:lnTo>
                    <a:pt x="1758315" y="198831"/>
                  </a:lnTo>
                  <a:lnTo>
                    <a:pt x="1758315" y="199530"/>
                  </a:lnTo>
                  <a:lnTo>
                    <a:pt x="1758366" y="199530"/>
                  </a:lnTo>
                  <a:lnTo>
                    <a:pt x="1758366" y="198831"/>
                  </a:lnTo>
                  <a:lnTo>
                    <a:pt x="1758366" y="200228"/>
                  </a:lnTo>
                  <a:lnTo>
                    <a:pt x="1758366" y="199530"/>
                  </a:lnTo>
                  <a:lnTo>
                    <a:pt x="1758455" y="199530"/>
                  </a:lnTo>
                  <a:lnTo>
                    <a:pt x="1758455" y="200228"/>
                  </a:lnTo>
                  <a:lnTo>
                    <a:pt x="1758455" y="199530"/>
                  </a:lnTo>
                  <a:lnTo>
                    <a:pt x="1758455" y="200228"/>
                  </a:lnTo>
                  <a:lnTo>
                    <a:pt x="1758455" y="199530"/>
                  </a:lnTo>
                  <a:lnTo>
                    <a:pt x="1758455" y="200228"/>
                  </a:lnTo>
                  <a:lnTo>
                    <a:pt x="1758506" y="200228"/>
                  </a:lnTo>
                  <a:lnTo>
                    <a:pt x="1758506" y="199530"/>
                  </a:lnTo>
                  <a:lnTo>
                    <a:pt x="1758506" y="200228"/>
                  </a:lnTo>
                  <a:lnTo>
                    <a:pt x="1758506" y="198831"/>
                  </a:lnTo>
                  <a:lnTo>
                    <a:pt x="1758557" y="198831"/>
                  </a:lnTo>
                  <a:lnTo>
                    <a:pt x="1758557" y="199530"/>
                  </a:lnTo>
                  <a:lnTo>
                    <a:pt x="1758557" y="196799"/>
                  </a:lnTo>
                  <a:lnTo>
                    <a:pt x="1758557" y="197447"/>
                  </a:lnTo>
                  <a:lnTo>
                    <a:pt x="1758557" y="196799"/>
                  </a:lnTo>
                  <a:lnTo>
                    <a:pt x="1758557" y="197447"/>
                  </a:lnTo>
                  <a:lnTo>
                    <a:pt x="1758608" y="196799"/>
                  </a:lnTo>
                  <a:lnTo>
                    <a:pt x="1758608" y="197447"/>
                  </a:lnTo>
                  <a:lnTo>
                    <a:pt x="1758608" y="194716"/>
                  </a:lnTo>
                  <a:lnTo>
                    <a:pt x="1758608" y="195415"/>
                  </a:lnTo>
                  <a:lnTo>
                    <a:pt x="1758709" y="195415"/>
                  </a:lnTo>
                  <a:lnTo>
                    <a:pt x="1758709" y="196113"/>
                  </a:lnTo>
                  <a:lnTo>
                    <a:pt x="1758709" y="193383"/>
                  </a:lnTo>
                  <a:lnTo>
                    <a:pt x="1758709" y="196799"/>
                  </a:lnTo>
                  <a:lnTo>
                    <a:pt x="1758760" y="196799"/>
                  </a:lnTo>
                  <a:lnTo>
                    <a:pt x="1758760" y="196113"/>
                  </a:lnTo>
                  <a:lnTo>
                    <a:pt x="1758760" y="197447"/>
                  </a:lnTo>
                  <a:lnTo>
                    <a:pt x="1758811" y="197447"/>
                  </a:lnTo>
                  <a:lnTo>
                    <a:pt x="1758811" y="196799"/>
                  </a:lnTo>
                  <a:lnTo>
                    <a:pt x="1758811" y="197447"/>
                  </a:lnTo>
                  <a:lnTo>
                    <a:pt x="1758912" y="198831"/>
                  </a:lnTo>
                  <a:lnTo>
                    <a:pt x="1758912" y="197447"/>
                  </a:lnTo>
                  <a:lnTo>
                    <a:pt x="1758912" y="198831"/>
                  </a:lnTo>
                  <a:lnTo>
                    <a:pt x="1758912" y="197447"/>
                  </a:lnTo>
                  <a:lnTo>
                    <a:pt x="1758912" y="199530"/>
                  </a:lnTo>
                  <a:lnTo>
                    <a:pt x="1758950" y="198831"/>
                  </a:lnTo>
                  <a:lnTo>
                    <a:pt x="1758950" y="199530"/>
                  </a:lnTo>
                  <a:lnTo>
                    <a:pt x="1758950" y="198831"/>
                  </a:lnTo>
                  <a:lnTo>
                    <a:pt x="1759001" y="198831"/>
                  </a:lnTo>
                  <a:lnTo>
                    <a:pt x="1759001" y="199530"/>
                  </a:lnTo>
                  <a:lnTo>
                    <a:pt x="1759001" y="198831"/>
                  </a:lnTo>
                  <a:lnTo>
                    <a:pt x="1759001" y="199530"/>
                  </a:lnTo>
                  <a:lnTo>
                    <a:pt x="1759001" y="198831"/>
                  </a:lnTo>
                  <a:lnTo>
                    <a:pt x="1759001" y="199530"/>
                  </a:lnTo>
                  <a:lnTo>
                    <a:pt x="1759052" y="199530"/>
                  </a:lnTo>
                  <a:lnTo>
                    <a:pt x="1759052" y="197447"/>
                  </a:lnTo>
                  <a:lnTo>
                    <a:pt x="1759052" y="198831"/>
                  </a:lnTo>
                  <a:lnTo>
                    <a:pt x="1759052" y="197447"/>
                  </a:lnTo>
                  <a:lnTo>
                    <a:pt x="1759154" y="197447"/>
                  </a:lnTo>
                  <a:lnTo>
                    <a:pt x="1759154" y="196113"/>
                  </a:lnTo>
                  <a:lnTo>
                    <a:pt x="1759154" y="196799"/>
                  </a:lnTo>
                  <a:lnTo>
                    <a:pt x="1759154" y="196113"/>
                  </a:lnTo>
                  <a:lnTo>
                    <a:pt x="1759154" y="196799"/>
                  </a:lnTo>
                  <a:lnTo>
                    <a:pt x="1759205" y="196799"/>
                  </a:lnTo>
                  <a:lnTo>
                    <a:pt x="1759205" y="194716"/>
                  </a:lnTo>
                  <a:lnTo>
                    <a:pt x="1759205" y="195415"/>
                  </a:lnTo>
                  <a:lnTo>
                    <a:pt x="1759205" y="194716"/>
                  </a:lnTo>
                  <a:lnTo>
                    <a:pt x="1759205" y="196799"/>
                  </a:lnTo>
                  <a:lnTo>
                    <a:pt x="1759205" y="196113"/>
                  </a:lnTo>
                  <a:lnTo>
                    <a:pt x="1759255" y="196113"/>
                  </a:lnTo>
                  <a:lnTo>
                    <a:pt x="1759255" y="195415"/>
                  </a:lnTo>
                  <a:lnTo>
                    <a:pt x="1759255" y="196799"/>
                  </a:lnTo>
                  <a:lnTo>
                    <a:pt x="1759255" y="196113"/>
                  </a:lnTo>
                  <a:lnTo>
                    <a:pt x="1759357" y="196113"/>
                  </a:lnTo>
                  <a:lnTo>
                    <a:pt x="1759357" y="196799"/>
                  </a:lnTo>
                  <a:lnTo>
                    <a:pt x="1759357" y="196113"/>
                  </a:lnTo>
                  <a:lnTo>
                    <a:pt x="1759357" y="196799"/>
                  </a:lnTo>
                  <a:lnTo>
                    <a:pt x="1759408" y="196799"/>
                  </a:lnTo>
                  <a:lnTo>
                    <a:pt x="1759408" y="196113"/>
                  </a:lnTo>
                  <a:lnTo>
                    <a:pt x="1759408" y="196799"/>
                  </a:lnTo>
                  <a:lnTo>
                    <a:pt x="1759459" y="196799"/>
                  </a:lnTo>
                  <a:lnTo>
                    <a:pt x="1759459" y="197447"/>
                  </a:lnTo>
                  <a:lnTo>
                    <a:pt x="1759459" y="196799"/>
                  </a:lnTo>
                  <a:lnTo>
                    <a:pt x="1759459" y="197447"/>
                  </a:lnTo>
                  <a:lnTo>
                    <a:pt x="1759459" y="196799"/>
                  </a:lnTo>
                  <a:lnTo>
                    <a:pt x="1759497" y="196799"/>
                  </a:lnTo>
                  <a:lnTo>
                    <a:pt x="1759497" y="198831"/>
                  </a:lnTo>
                  <a:lnTo>
                    <a:pt x="1759497" y="196799"/>
                  </a:lnTo>
                  <a:lnTo>
                    <a:pt x="1759497" y="197447"/>
                  </a:lnTo>
                  <a:lnTo>
                    <a:pt x="1759598" y="197447"/>
                  </a:lnTo>
                  <a:lnTo>
                    <a:pt x="1759598" y="196113"/>
                  </a:lnTo>
                  <a:lnTo>
                    <a:pt x="1759649" y="196113"/>
                  </a:lnTo>
                  <a:lnTo>
                    <a:pt x="1759649" y="195415"/>
                  </a:lnTo>
                  <a:lnTo>
                    <a:pt x="1759649" y="196113"/>
                  </a:lnTo>
                  <a:lnTo>
                    <a:pt x="1759649" y="194716"/>
                  </a:lnTo>
                  <a:lnTo>
                    <a:pt x="1759649" y="195415"/>
                  </a:lnTo>
                  <a:lnTo>
                    <a:pt x="1759700" y="195415"/>
                  </a:lnTo>
                  <a:lnTo>
                    <a:pt x="1759700" y="196113"/>
                  </a:lnTo>
                  <a:lnTo>
                    <a:pt x="1759700" y="195415"/>
                  </a:lnTo>
                  <a:lnTo>
                    <a:pt x="1759700" y="196113"/>
                  </a:lnTo>
                  <a:lnTo>
                    <a:pt x="1759700" y="193383"/>
                  </a:lnTo>
                  <a:lnTo>
                    <a:pt x="1759700" y="194716"/>
                  </a:lnTo>
                  <a:lnTo>
                    <a:pt x="1759700" y="193383"/>
                  </a:lnTo>
                  <a:lnTo>
                    <a:pt x="1759700" y="196113"/>
                  </a:lnTo>
                  <a:lnTo>
                    <a:pt x="1759801" y="196113"/>
                  </a:lnTo>
                  <a:lnTo>
                    <a:pt x="1759801" y="195415"/>
                  </a:lnTo>
                  <a:lnTo>
                    <a:pt x="1759801" y="196113"/>
                  </a:lnTo>
                  <a:lnTo>
                    <a:pt x="1759801" y="195415"/>
                  </a:lnTo>
                  <a:lnTo>
                    <a:pt x="1759801" y="196799"/>
                  </a:lnTo>
                  <a:lnTo>
                    <a:pt x="1759801" y="196113"/>
                  </a:lnTo>
                  <a:lnTo>
                    <a:pt x="1759852" y="196113"/>
                  </a:lnTo>
                  <a:lnTo>
                    <a:pt x="1759852" y="196799"/>
                  </a:lnTo>
                  <a:lnTo>
                    <a:pt x="1759852" y="196113"/>
                  </a:lnTo>
                  <a:lnTo>
                    <a:pt x="1759852" y="196799"/>
                  </a:lnTo>
                  <a:lnTo>
                    <a:pt x="1759903" y="196799"/>
                  </a:lnTo>
                  <a:lnTo>
                    <a:pt x="1759903" y="196113"/>
                  </a:lnTo>
                  <a:lnTo>
                    <a:pt x="1759903" y="196799"/>
                  </a:lnTo>
                  <a:lnTo>
                    <a:pt x="1759903" y="196113"/>
                  </a:lnTo>
                  <a:lnTo>
                    <a:pt x="1759903" y="197447"/>
                  </a:lnTo>
                  <a:lnTo>
                    <a:pt x="1759903" y="196799"/>
                  </a:lnTo>
                  <a:lnTo>
                    <a:pt x="1759954" y="196799"/>
                  </a:lnTo>
                  <a:lnTo>
                    <a:pt x="1759954" y="197447"/>
                  </a:lnTo>
                  <a:lnTo>
                    <a:pt x="1760043" y="197447"/>
                  </a:lnTo>
                  <a:lnTo>
                    <a:pt x="1760043" y="198831"/>
                  </a:lnTo>
                  <a:lnTo>
                    <a:pt x="1760043" y="197447"/>
                  </a:lnTo>
                  <a:lnTo>
                    <a:pt x="1760043" y="198831"/>
                  </a:lnTo>
                  <a:lnTo>
                    <a:pt x="1760043" y="197447"/>
                  </a:lnTo>
                  <a:lnTo>
                    <a:pt x="1760043" y="198831"/>
                  </a:lnTo>
                  <a:lnTo>
                    <a:pt x="1760094" y="198831"/>
                  </a:lnTo>
                  <a:lnTo>
                    <a:pt x="1760094" y="196799"/>
                  </a:lnTo>
                  <a:lnTo>
                    <a:pt x="1760094" y="197447"/>
                  </a:lnTo>
                  <a:lnTo>
                    <a:pt x="1760094" y="196799"/>
                  </a:lnTo>
                  <a:lnTo>
                    <a:pt x="1760144" y="196799"/>
                  </a:lnTo>
                  <a:lnTo>
                    <a:pt x="1760144" y="195415"/>
                  </a:lnTo>
                  <a:lnTo>
                    <a:pt x="1760144" y="196113"/>
                  </a:lnTo>
                  <a:lnTo>
                    <a:pt x="1760144" y="195415"/>
                  </a:lnTo>
                  <a:lnTo>
                    <a:pt x="1760144" y="196799"/>
                  </a:lnTo>
                  <a:lnTo>
                    <a:pt x="1760195" y="196799"/>
                  </a:lnTo>
                  <a:lnTo>
                    <a:pt x="1760195" y="195415"/>
                  </a:lnTo>
                  <a:lnTo>
                    <a:pt x="1760195" y="197447"/>
                  </a:lnTo>
                  <a:lnTo>
                    <a:pt x="1760297" y="198831"/>
                  </a:lnTo>
                  <a:lnTo>
                    <a:pt x="1760297" y="196799"/>
                  </a:lnTo>
                  <a:lnTo>
                    <a:pt x="1760297" y="197447"/>
                  </a:lnTo>
                  <a:lnTo>
                    <a:pt x="1760347" y="197447"/>
                  </a:lnTo>
                  <a:lnTo>
                    <a:pt x="1760347" y="196799"/>
                  </a:lnTo>
                  <a:lnTo>
                    <a:pt x="1760347" y="197447"/>
                  </a:lnTo>
                  <a:lnTo>
                    <a:pt x="1760347" y="196799"/>
                  </a:lnTo>
                  <a:lnTo>
                    <a:pt x="1760347" y="197447"/>
                  </a:lnTo>
                  <a:lnTo>
                    <a:pt x="1760347" y="196799"/>
                  </a:lnTo>
                  <a:lnTo>
                    <a:pt x="1760347" y="197447"/>
                  </a:lnTo>
                  <a:lnTo>
                    <a:pt x="1760347" y="196799"/>
                  </a:lnTo>
                  <a:lnTo>
                    <a:pt x="1760347" y="197447"/>
                  </a:lnTo>
                  <a:lnTo>
                    <a:pt x="1760347" y="196799"/>
                  </a:lnTo>
                  <a:lnTo>
                    <a:pt x="1760347" y="197447"/>
                  </a:lnTo>
                  <a:lnTo>
                    <a:pt x="1760398" y="196799"/>
                  </a:lnTo>
                  <a:lnTo>
                    <a:pt x="1760398" y="197447"/>
                  </a:lnTo>
                  <a:lnTo>
                    <a:pt x="1760500" y="197447"/>
                  </a:lnTo>
                  <a:lnTo>
                    <a:pt x="1760500" y="198831"/>
                  </a:lnTo>
                  <a:lnTo>
                    <a:pt x="1760500" y="197447"/>
                  </a:lnTo>
                  <a:lnTo>
                    <a:pt x="1760538" y="197447"/>
                  </a:lnTo>
                  <a:lnTo>
                    <a:pt x="1760538" y="198831"/>
                  </a:lnTo>
                  <a:lnTo>
                    <a:pt x="1760538" y="197447"/>
                  </a:lnTo>
                  <a:lnTo>
                    <a:pt x="1760589" y="197447"/>
                  </a:lnTo>
                  <a:lnTo>
                    <a:pt x="1760589" y="195415"/>
                  </a:lnTo>
                  <a:lnTo>
                    <a:pt x="1760589" y="196113"/>
                  </a:lnTo>
                  <a:lnTo>
                    <a:pt x="1760640" y="195415"/>
                  </a:lnTo>
                  <a:lnTo>
                    <a:pt x="1760640" y="196113"/>
                  </a:lnTo>
                  <a:lnTo>
                    <a:pt x="1760640" y="194716"/>
                  </a:lnTo>
                  <a:lnTo>
                    <a:pt x="1760640" y="196799"/>
                  </a:lnTo>
                  <a:lnTo>
                    <a:pt x="1760741" y="196799"/>
                  </a:lnTo>
                  <a:lnTo>
                    <a:pt x="1760741" y="194716"/>
                  </a:lnTo>
                  <a:lnTo>
                    <a:pt x="1760741" y="197447"/>
                  </a:lnTo>
                  <a:lnTo>
                    <a:pt x="1760792" y="196799"/>
                  </a:lnTo>
                  <a:lnTo>
                    <a:pt x="1760792" y="197447"/>
                  </a:lnTo>
                  <a:lnTo>
                    <a:pt x="1760792" y="196799"/>
                  </a:lnTo>
                  <a:lnTo>
                    <a:pt x="1760792" y="197447"/>
                  </a:lnTo>
                  <a:lnTo>
                    <a:pt x="1760792" y="196799"/>
                  </a:lnTo>
                  <a:lnTo>
                    <a:pt x="1760843" y="196799"/>
                  </a:lnTo>
                  <a:lnTo>
                    <a:pt x="1760843" y="197447"/>
                  </a:lnTo>
                  <a:lnTo>
                    <a:pt x="1760843" y="196799"/>
                  </a:lnTo>
                  <a:lnTo>
                    <a:pt x="1760944" y="196799"/>
                  </a:lnTo>
                  <a:lnTo>
                    <a:pt x="1760944" y="198831"/>
                  </a:lnTo>
                  <a:lnTo>
                    <a:pt x="1760995" y="197447"/>
                  </a:lnTo>
                  <a:lnTo>
                    <a:pt x="1760995" y="198831"/>
                  </a:lnTo>
                  <a:lnTo>
                    <a:pt x="1760995" y="196799"/>
                  </a:lnTo>
                  <a:lnTo>
                    <a:pt x="1760995" y="198831"/>
                  </a:lnTo>
                  <a:lnTo>
                    <a:pt x="1761046" y="197447"/>
                  </a:lnTo>
                  <a:lnTo>
                    <a:pt x="1761046" y="196799"/>
                  </a:lnTo>
                  <a:lnTo>
                    <a:pt x="1761084" y="196799"/>
                  </a:lnTo>
                  <a:lnTo>
                    <a:pt x="1761084" y="195415"/>
                  </a:lnTo>
                  <a:lnTo>
                    <a:pt x="1761186" y="195415"/>
                  </a:lnTo>
                  <a:lnTo>
                    <a:pt x="1761186" y="194716"/>
                  </a:lnTo>
                  <a:lnTo>
                    <a:pt x="1761186" y="196799"/>
                  </a:lnTo>
                  <a:lnTo>
                    <a:pt x="1761186" y="195415"/>
                  </a:lnTo>
                  <a:lnTo>
                    <a:pt x="1761186" y="196113"/>
                  </a:lnTo>
                  <a:lnTo>
                    <a:pt x="1761237" y="196113"/>
                  </a:lnTo>
                  <a:lnTo>
                    <a:pt x="1761237" y="194716"/>
                  </a:lnTo>
                  <a:lnTo>
                    <a:pt x="1761237" y="197447"/>
                  </a:lnTo>
                  <a:lnTo>
                    <a:pt x="1761237" y="196799"/>
                  </a:lnTo>
                  <a:lnTo>
                    <a:pt x="1761287" y="196799"/>
                  </a:lnTo>
                  <a:lnTo>
                    <a:pt x="1761287" y="197447"/>
                  </a:lnTo>
                  <a:lnTo>
                    <a:pt x="1761287" y="196799"/>
                  </a:lnTo>
                  <a:lnTo>
                    <a:pt x="1761389" y="196799"/>
                  </a:lnTo>
                  <a:lnTo>
                    <a:pt x="1761389" y="197447"/>
                  </a:lnTo>
                  <a:lnTo>
                    <a:pt x="1761389" y="196799"/>
                  </a:lnTo>
                  <a:lnTo>
                    <a:pt x="1761389" y="197447"/>
                  </a:lnTo>
                  <a:lnTo>
                    <a:pt x="1761389" y="196799"/>
                  </a:lnTo>
                  <a:lnTo>
                    <a:pt x="1761389" y="197447"/>
                  </a:lnTo>
                  <a:lnTo>
                    <a:pt x="1761440" y="197447"/>
                  </a:lnTo>
                  <a:lnTo>
                    <a:pt x="1761440" y="198831"/>
                  </a:lnTo>
                  <a:lnTo>
                    <a:pt x="1761440" y="197447"/>
                  </a:lnTo>
                  <a:lnTo>
                    <a:pt x="1761440" y="198831"/>
                  </a:lnTo>
                  <a:lnTo>
                    <a:pt x="1761440" y="197447"/>
                  </a:lnTo>
                  <a:lnTo>
                    <a:pt x="1761440" y="198831"/>
                  </a:lnTo>
                  <a:lnTo>
                    <a:pt x="1761490" y="198831"/>
                  </a:lnTo>
                  <a:lnTo>
                    <a:pt x="1761490" y="197447"/>
                  </a:lnTo>
                  <a:lnTo>
                    <a:pt x="1761490" y="198831"/>
                  </a:lnTo>
                  <a:lnTo>
                    <a:pt x="1761490" y="197447"/>
                  </a:lnTo>
                  <a:lnTo>
                    <a:pt x="1761490" y="198831"/>
                  </a:lnTo>
                  <a:lnTo>
                    <a:pt x="1761541" y="198831"/>
                  </a:lnTo>
                  <a:lnTo>
                    <a:pt x="1761541" y="196799"/>
                  </a:lnTo>
                  <a:lnTo>
                    <a:pt x="1761541" y="197447"/>
                  </a:lnTo>
                  <a:lnTo>
                    <a:pt x="1761541" y="196799"/>
                  </a:lnTo>
                  <a:lnTo>
                    <a:pt x="1761630" y="196799"/>
                  </a:lnTo>
                  <a:lnTo>
                    <a:pt x="1761630" y="196113"/>
                  </a:lnTo>
                  <a:lnTo>
                    <a:pt x="1761630" y="196799"/>
                  </a:lnTo>
                  <a:lnTo>
                    <a:pt x="1761630" y="194716"/>
                  </a:lnTo>
                  <a:lnTo>
                    <a:pt x="1761681" y="194716"/>
                  </a:lnTo>
                  <a:lnTo>
                    <a:pt x="1761681" y="193383"/>
                  </a:lnTo>
                  <a:lnTo>
                    <a:pt x="1761681" y="195415"/>
                  </a:lnTo>
                  <a:lnTo>
                    <a:pt x="1761681" y="194716"/>
                  </a:lnTo>
                  <a:lnTo>
                    <a:pt x="1761732" y="194716"/>
                  </a:lnTo>
                  <a:lnTo>
                    <a:pt x="1761732" y="196799"/>
                  </a:lnTo>
                  <a:lnTo>
                    <a:pt x="1761732" y="196113"/>
                  </a:lnTo>
                  <a:lnTo>
                    <a:pt x="1761732" y="196799"/>
                  </a:lnTo>
                  <a:lnTo>
                    <a:pt x="1761732" y="195415"/>
                  </a:lnTo>
                  <a:lnTo>
                    <a:pt x="1761783" y="196113"/>
                  </a:lnTo>
                  <a:lnTo>
                    <a:pt x="1761783" y="195415"/>
                  </a:lnTo>
                  <a:lnTo>
                    <a:pt x="1761783" y="196799"/>
                  </a:lnTo>
                  <a:lnTo>
                    <a:pt x="1761783" y="196113"/>
                  </a:lnTo>
                  <a:lnTo>
                    <a:pt x="1761783" y="196799"/>
                  </a:lnTo>
                  <a:lnTo>
                    <a:pt x="1761884" y="196799"/>
                  </a:lnTo>
                  <a:lnTo>
                    <a:pt x="1761884" y="197447"/>
                  </a:lnTo>
                  <a:lnTo>
                    <a:pt x="1761935" y="197447"/>
                  </a:lnTo>
                  <a:lnTo>
                    <a:pt x="1761935" y="198831"/>
                  </a:lnTo>
                  <a:lnTo>
                    <a:pt x="1761935" y="197447"/>
                  </a:lnTo>
                  <a:lnTo>
                    <a:pt x="1761935" y="198831"/>
                  </a:lnTo>
                  <a:lnTo>
                    <a:pt x="1762087" y="198831"/>
                  </a:lnTo>
                  <a:lnTo>
                    <a:pt x="1762087" y="197447"/>
                  </a:lnTo>
                  <a:lnTo>
                    <a:pt x="1762087" y="198831"/>
                  </a:lnTo>
                  <a:lnTo>
                    <a:pt x="1762087" y="196799"/>
                  </a:lnTo>
                  <a:lnTo>
                    <a:pt x="1762125" y="196799"/>
                  </a:lnTo>
                  <a:lnTo>
                    <a:pt x="1762125" y="195415"/>
                  </a:lnTo>
                  <a:lnTo>
                    <a:pt x="1762176" y="194716"/>
                  </a:lnTo>
                  <a:lnTo>
                    <a:pt x="1762176" y="196113"/>
                  </a:lnTo>
                  <a:lnTo>
                    <a:pt x="1762176" y="194716"/>
                  </a:lnTo>
                  <a:lnTo>
                    <a:pt x="1762227" y="194716"/>
                  </a:lnTo>
                  <a:lnTo>
                    <a:pt x="1762227" y="196799"/>
                  </a:lnTo>
                  <a:lnTo>
                    <a:pt x="1762227" y="195415"/>
                  </a:lnTo>
                  <a:lnTo>
                    <a:pt x="1762329" y="196113"/>
                  </a:lnTo>
                  <a:lnTo>
                    <a:pt x="1762329" y="196799"/>
                  </a:lnTo>
                  <a:lnTo>
                    <a:pt x="1762329" y="195415"/>
                  </a:lnTo>
                  <a:lnTo>
                    <a:pt x="1762329" y="196113"/>
                  </a:lnTo>
                  <a:lnTo>
                    <a:pt x="1762380" y="196113"/>
                  </a:lnTo>
                  <a:lnTo>
                    <a:pt x="1762380" y="196799"/>
                  </a:lnTo>
                  <a:lnTo>
                    <a:pt x="1762380" y="196113"/>
                  </a:lnTo>
                  <a:lnTo>
                    <a:pt x="1762380" y="197447"/>
                  </a:lnTo>
                  <a:lnTo>
                    <a:pt x="1762380" y="196799"/>
                  </a:lnTo>
                  <a:lnTo>
                    <a:pt x="1762430" y="197447"/>
                  </a:lnTo>
                  <a:lnTo>
                    <a:pt x="1762430" y="196799"/>
                  </a:lnTo>
                  <a:lnTo>
                    <a:pt x="1762430" y="198831"/>
                  </a:lnTo>
                  <a:lnTo>
                    <a:pt x="1762430" y="197447"/>
                  </a:lnTo>
                  <a:lnTo>
                    <a:pt x="1762532" y="197447"/>
                  </a:lnTo>
                  <a:lnTo>
                    <a:pt x="1762532" y="198831"/>
                  </a:lnTo>
                  <a:lnTo>
                    <a:pt x="1762532" y="197447"/>
                  </a:lnTo>
                  <a:lnTo>
                    <a:pt x="1762532" y="198831"/>
                  </a:lnTo>
                  <a:lnTo>
                    <a:pt x="1762532" y="197447"/>
                  </a:lnTo>
                  <a:lnTo>
                    <a:pt x="1762532" y="198831"/>
                  </a:lnTo>
                  <a:lnTo>
                    <a:pt x="1762583" y="197447"/>
                  </a:lnTo>
                  <a:lnTo>
                    <a:pt x="1762583" y="198831"/>
                  </a:lnTo>
                  <a:lnTo>
                    <a:pt x="1762583" y="196799"/>
                  </a:lnTo>
                  <a:lnTo>
                    <a:pt x="1762634" y="196799"/>
                  </a:lnTo>
                  <a:lnTo>
                    <a:pt x="1762634" y="196113"/>
                  </a:lnTo>
                  <a:lnTo>
                    <a:pt x="1762634" y="196799"/>
                  </a:lnTo>
                  <a:lnTo>
                    <a:pt x="1762634" y="196113"/>
                  </a:lnTo>
                  <a:lnTo>
                    <a:pt x="1762634" y="196799"/>
                  </a:lnTo>
                  <a:lnTo>
                    <a:pt x="1762672" y="196799"/>
                  </a:lnTo>
                  <a:lnTo>
                    <a:pt x="1762672" y="196113"/>
                  </a:lnTo>
                  <a:lnTo>
                    <a:pt x="1762672" y="196799"/>
                  </a:lnTo>
                  <a:lnTo>
                    <a:pt x="1762672" y="196113"/>
                  </a:lnTo>
                  <a:lnTo>
                    <a:pt x="1762672" y="197447"/>
                  </a:lnTo>
                  <a:lnTo>
                    <a:pt x="1762773" y="198831"/>
                  </a:lnTo>
                  <a:lnTo>
                    <a:pt x="1762773" y="196799"/>
                  </a:lnTo>
                  <a:lnTo>
                    <a:pt x="1762773" y="198831"/>
                  </a:lnTo>
                  <a:lnTo>
                    <a:pt x="1762773" y="197447"/>
                  </a:lnTo>
                  <a:lnTo>
                    <a:pt x="1762773" y="198831"/>
                  </a:lnTo>
                  <a:lnTo>
                    <a:pt x="1762824" y="198831"/>
                  </a:lnTo>
                  <a:lnTo>
                    <a:pt x="1762824" y="197447"/>
                  </a:lnTo>
                  <a:lnTo>
                    <a:pt x="1762824" y="198831"/>
                  </a:lnTo>
                  <a:lnTo>
                    <a:pt x="1762824" y="197447"/>
                  </a:lnTo>
                  <a:lnTo>
                    <a:pt x="1762824" y="198831"/>
                  </a:lnTo>
                  <a:lnTo>
                    <a:pt x="1762824" y="197447"/>
                  </a:lnTo>
                  <a:lnTo>
                    <a:pt x="1762875" y="198831"/>
                  </a:lnTo>
                  <a:lnTo>
                    <a:pt x="1762875" y="196799"/>
                  </a:lnTo>
                  <a:lnTo>
                    <a:pt x="1762875" y="198831"/>
                  </a:lnTo>
                  <a:lnTo>
                    <a:pt x="1762976" y="198831"/>
                  </a:lnTo>
                  <a:lnTo>
                    <a:pt x="1762976" y="197447"/>
                  </a:lnTo>
                  <a:lnTo>
                    <a:pt x="1762976" y="198831"/>
                  </a:lnTo>
                  <a:lnTo>
                    <a:pt x="1762976" y="197447"/>
                  </a:lnTo>
                  <a:lnTo>
                    <a:pt x="1762976" y="198831"/>
                  </a:lnTo>
                  <a:lnTo>
                    <a:pt x="1762976" y="197447"/>
                  </a:lnTo>
                  <a:lnTo>
                    <a:pt x="1762976" y="198831"/>
                  </a:lnTo>
                  <a:lnTo>
                    <a:pt x="1763027" y="198831"/>
                  </a:lnTo>
                  <a:lnTo>
                    <a:pt x="1763027" y="197447"/>
                  </a:lnTo>
                  <a:lnTo>
                    <a:pt x="1763027" y="198831"/>
                  </a:lnTo>
                  <a:lnTo>
                    <a:pt x="1763027" y="197447"/>
                  </a:lnTo>
                  <a:lnTo>
                    <a:pt x="1763027" y="198831"/>
                  </a:lnTo>
                  <a:lnTo>
                    <a:pt x="1763027" y="197447"/>
                  </a:lnTo>
                  <a:lnTo>
                    <a:pt x="1763027" y="198831"/>
                  </a:lnTo>
                  <a:lnTo>
                    <a:pt x="1763078" y="198831"/>
                  </a:lnTo>
                  <a:lnTo>
                    <a:pt x="1763078" y="196799"/>
                  </a:lnTo>
                  <a:lnTo>
                    <a:pt x="1763129" y="196113"/>
                  </a:lnTo>
                  <a:lnTo>
                    <a:pt x="1763129" y="196799"/>
                  </a:lnTo>
                  <a:lnTo>
                    <a:pt x="1763129" y="196113"/>
                  </a:lnTo>
                  <a:lnTo>
                    <a:pt x="1763129" y="196799"/>
                  </a:lnTo>
                  <a:lnTo>
                    <a:pt x="1763129" y="196113"/>
                  </a:lnTo>
                  <a:lnTo>
                    <a:pt x="1763129" y="198831"/>
                  </a:lnTo>
                  <a:lnTo>
                    <a:pt x="1763129" y="197447"/>
                  </a:lnTo>
                  <a:lnTo>
                    <a:pt x="1763218" y="197447"/>
                  </a:lnTo>
                  <a:lnTo>
                    <a:pt x="1763218" y="196799"/>
                  </a:lnTo>
                  <a:lnTo>
                    <a:pt x="1763218" y="199530"/>
                  </a:lnTo>
                  <a:lnTo>
                    <a:pt x="1763218" y="198831"/>
                  </a:lnTo>
                  <a:lnTo>
                    <a:pt x="1763269" y="197447"/>
                  </a:lnTo>
                  <a:lnTo>
                    <a:pt x="1763269" y="199530"/>
                  </a:lnTo>
                  <a:lnTo>
                    <a:pt x="1763269" y="198831"/>
                  </a:lnTo>
                  <a:lnTo>
                    <a:pt x="1763319" y="198831"/>
                  </a:lnTo>
                  <a:lnTo>
                    <a:pt x="1763319" y="197447"/>
                  </a:lnTo>
                  <a:lnTo>
                    <a:pt x="1763319" y="199530"/>
                  </a:lnTo>
                  <a:lnTo>
                    <a:pt x="1763319" y="198831"/>
                  </a:lnTo>
                  <a:lnTo>
                    <a:pt x="1763370" y="199530"/>
                  </a:lnTo>
                  <a:lnTo>
                    <a:pt x="1763370" y="198831"/>
                  </a:lnTo>
                  <a:lnTo>
                    <a:pt x="1763370" y="199530"/>
                  </a:lnTo>
                  <a:lnTo>
                    <a:pt x="1763370" y="198831"/>
                  </a:lnTo>
                  <a:lnTo>
                    <a:pt x="1763370" y="199530"/>
                  </a:lnTo>
                  <a:lnTo>
                    <a:pt x="1763370" y="198831"/>
                  </a:lnTo>
                  <a:lnTo>
                    <a:pt x="1763370" y="199530"/>
                  </a:lnTo>
                  <a:lnTo>
                    <a:pt x="1763370" y="198831"/>
                  </a:lnTo>
                  <a:lnTo>
                    <a:pt x="1763370" y="199530"/>
                  </a:lnTo>
                  <a:lnTo>
                    <a:pt x="1763472" y="199530"/>
                  </a:lnTo>
                  <a:lnTo>
                    <a:pt x="1763472" y="198831"/>
                  </a:lnTo>
                  <a:lnTo>
                    <a:pt x="1763472" y="199530"/>
                  </a:lnTo>
                  <a:lnTo>
                    <a:pt x="1763472" y="198831"/>
                  </a:lnTo>
                  <a:lnTo>
                    <a:pt x="1763522" y="198831"/>
                  </a:lnTo>
                  <a:lnTo>
                    <a:pt x="1763522" y="196799"/>
                  </a:lnTo>
                  <a:lnTo>
                    <a:pt x="1763573" y="196799"/>
                  </a:lnTo>
                  <a:lnTo>
                    <a:pt x="1763573" y="194716"/>
                  </a:lnTo>
                  <a:lnTo>
                    <a:pt x="1763573" y="195415"/>
                  </a:lnTo>
                  <a:lnTo>
                    <a:pt x="1763573" y="194716"/>
                  </a:lnTo>
                  <a:lnTo>
                    <a:pt x="1763573" y="195415"/>
                  </a:lnTo>
                  <a:lnTo>
                    <a:pt x="1763675" y="195415"/>
                  </a:lnTo>
                  <a:lnTo>
                    <a:pt x="1763675" y="196799"/>
                  </a:lnTo>
                  <a:lnTo>
                    <a:pt x="1763675" y="195415"/>
                  </a:lnTo>
                  <a:lnTo>
                    <a:pt x="1763675" y="196799"/>
                  </a:lnTo>
                  <a:lnTo>
                    <a:pt x="1763713" y="197447"/>
                  </a:lnTo>
                  <a:lnTo>
                    <a:pt x="1763713" y="199530"/>
                  </a:lnTo>
                  <a:lnTo>
                    <a:pt x="1763713" y="197447"/>
                  </a:lnTo>
                  <a:lnTo>
                    <a:pt x="1763764" y="198831"/>
                  </a:lnTo>
                  <a:lnTo>
                    <a:pt x="1763764" y="197447"/>
                  </a:lnTo>
                  <a:lnTo>
                    <a:pt x="1763764" y="199530"/>
                  </a:lnTo>
                  <a:lnTo>
                    <a:pt x="1763815" y="199530"/>
                  </a:lnTo>
                  <a:lnTo>
                    <a:pt x="1763815" y="198831"/>
                  </a:lnTo>
                  <a:lnTo>
                    <a:pt x="1763815" y="199530"/>
                  </a:lnTo>
                  <a:lnTo>
                    <a:pt x="1763815" y="198831"/>
                  </a:lnTo>
                  <a:lnTo>
                    <a:pt x="1763815" y="199530"/>
                  </a:lnTo>
                  <a:lnTo>
                    <a:pt x="1763916" y="199530"/>
                  </a:lnTo>
                  <a:lnTo>
                    <a:pt x="1763916" y="200228"/>
                  </a:lnTo>
                  <a:lnTo>
                    <a:pt x="1763916" y="199530"/>
                  </a:lnTo>
                  <a:lnTo>
                    <a:pt x="1763967" y="199530"/>
                  </a:lnTo>
                  <a:lnTo>
                    <a:pt x="1763967" y="197447"/>
                  </a:lnTo>
                  <a:lnTo>
                    <a:pt x="1764018" y="197447"/>
                  </a:lnTo>
                  <a:lnTo>
                    <a:pt x="1764018" y="198831"/>
                  </a:lnTo>
                  <a:lnTo>
                    <a:pt x="1764018" y="196799"/>
                  </a:lnTo>
                  <a:lnTo>
                    <a:pt x="1764018" y="197447"/>
                  </a:lnTo>
                  <a:lnTo>
                    <a:pt x="1764018" y="196799"/>
                  </a:lnTo>
                  <a:lnTo>
                    <a:pt x="1764119" y="196799"/>
                  </a:lnTo>
                  <a:lnTo>
                    <a:pt x="1764119" y="195415"/>
                  </a:lnTo>
                  <a:lnTo>
                    <a:pt x="1764119" y="196113"/>
                  </a:lnTo>
                  <a:lnTo>
                    <a:pt x="1764119" y="195415"/>
                  </a:lnTo>
                  <a:lnTo>
                    <a:pt x="1764170" y="195415"/>
                  </a:lnTo>
                  <a:lnTo>
                    <a:pt x="1764170" y="196799"/>
                  </a:lnTo>
                  <a:lnTo>
                    <a:pt x="1764170" y="195415"/>
                  </a:lnTo>
                  <a:lnTo>
                    <a:pt x="1764170" y="196799"/>
                  </a:lnTo>
                  <a:lnTo>
                    <a:pt x="1764221" y="196799"/>
                  </a:lnTo>
                  <a:lnTo>
                    <a:pt x="1764221" y="197447"/>
                  </a:lnTo>
                  <a:lnTo>
                    <a:pt x="1764221" y="196113"/>
                  </a:lnTo>
                  <a:lnTo>
                    <a:pt x="1764221" y="196799"/>
                  </a:lnTo>
                  <a:lnTo>
                    <a:pt x="1764259" y="196799"/>
                  </a:lnTo>
                  <a:lnTo>
                    <a:pt x="1764259" y="197447"/>
                  </a:lnTo>
                  <a:lnTo>
                    <a:pt x="1764259" y="196799"/>
                  </a:lnTo>
                  <a:lnTo>
                    <a:pt x="1764259" y="197447"/>
                  </a:lnTo>
                  <a:lnTo>
                    <a:pt x="1764361" y="197447"/>
                  </a:lnTo>
                  <a:lnTo>
                    <a:pt x="1764361" y="198831"/>
                  </a:lnTo>
                  <a:lnTo>
                    <a:pt x="1764361" y="197447"/>
                  </a:lnTo>
                  <a:lnTo>
                    <a:pt x="1764361" y="198831"/>
                  </a:lnTo>
                  <a:lnTo>
                    <a:pt x="1764361" y="197447"/>
                  </a:lnTo>
                  <a:lnTo>
                    <a:pt x="1764361" y="199530"/>
                  </a:lnTo>
                  <a:lnTo>
                    <a:pt x="1764412" y="199530"/>
                  </a:lnTo>
                  <a:lnTo>
                    <a:pt x="1764412" y="198831"/>
                  </a:lnTo>
                  <a:lnTo>
                    <a:pt x="1764412" y="199530"/>
                  </a:lnTo>
                  <a:lnTo>
                    <a:pt x="1764412" y="198831"/>
                  </a:lnTo>
                  <a:lnTo>
                    <a:pt x="1764412" y="199530"/>
                  </a:lnTo>
                  <a:lnTo>
                    <a:pt x="1764462" y="199530"/>
                  </a:lnTo>
                  <a:lnTo>
                    <a:pt x="1764462" y="198831"/>
                  </a:lnTo>
                  <a:lnTo>
                    <a:pt x="1764462" y="199530"/>
                  </a:lnTo>
                  <a:lnTo>
                    <a:pt x="1764462" y="198831"/>
                  </a:lnTo>
                  <a:lnTo>
                    <a:pt x="1764462" y="199530"/>
                  </a:lnTo>
                  <a:lnTo>
                    <a:pt x="1764462" y="198831"/>
                  </a:lnTo>
                  <a:lnTo>
                    <a:pt x="1764564" y="198831"/>
                  </a:lnTo>
                  <a:lnTo>
                    <a:pt x="1764564" y="196799"/>
                  </a:lnTo>
                  <a:lnTo>
                    <a:pt x="1764615" y="196799"/>
                  </a:lnTo>
                  <a:lnTo>
                    <a:pt x="1764615" y="194716"/>
                  </a:lnTo>
                  <a:lnTo>
                    <a:pt x="1764665" y="193383"/>
                  </a:lnTo>
                  <a:lnTo>
                    <a:pt x="1764665" y="192684"/>
                  </a:lnTo>
                  <a:lnTo>
                    <a:pt x="1764665" y="195415"/>
                  </a:lnTo>
                  <a:lnTo>
                    <a:pt x="1764665" y="193383"/>
                  </a:lnTo>
                  <a:lnTo>
                    <a:pt x="1764716" y="192684"/>
                  </a:lnTo>
                  <a:lnTo>
                    <a:pt x="1764716" y="196113"/>
                  </a:lnTo>
                  <a:lnTo>
                    <a:pt x="1764716" y="194716"/>
                  </a:lnTo>
                  <a:lnTo>
                    <a:pt x="1764805" y="194716"/>
                  </a:lnTo>
                  <a:lnTo>
                    <a:pt x="1764805" y="196799"/>
                  </a:lnTo>
                  <a:lnTo>
                    <a:pt x="1764805" y="195415"/>
                  </a:lnTo>
                  <a:lnTo>
                    <a:pt x="1764805" y="196113"/>
                  </a:lnTo>
                  <a:lnTo>
                    <a:pt x="1764805" y="195415"/>
                  </a:lnTo>
                  <a:lnTo>
                    <a:pt x="1764805" y="196113"/>
                  </a:lnTo>
                  <a:lnTo>
                    <a:pt x="1764856" y="195415"/>
                  </a:lnTo>
                  <a:lnTo>
                    <a:pt x="1764856" y="196799"/>
                  </a:lnTo>
                  <a:lnTo>
                    <a:pt x="1764856" y="196113"/>
                  </a:lnTo>
                  <a:lnTo>
                    <a:pt x="1764856" y="197447"/>
                  </a:lnTo>
                  <a:lnTo>
                    <a:pt x="1764856" y="196799"/>
                  </a:lnTo>
                  <a:lnTo>
                    <a:pt x="1764856" y="197447"/>
                  </a:lnTo>
                  <a:lnTo>
                    <a:pt x="1764907" y="197447"/>
                  </a:lnTo>
                  <a:lnTo>
                    <a:pt x="1764907" y="198831"/>
                  </a:lnTo>
                  <a:lnTo>
                    <a:pt x="1764907" y="197447"/>
                  </a:lnTo>
                  <a:lnTo>
                    <a:pt x="1764907" y="198831"/>
                  </a:lnTo>
                  <a:lnTo>
                    <a:pt x="1764907" y="197447"/>
                  </a:lnTo>
                  <a:lnTo>
                    <a:pt x="1764907" y="198831"/>
                  </a:lnTo>
                  <a:lnTo>
                    <a:pt x="1764958" y="198831"/>
                  </a:lnTo>
                  <a:lnTo>
                    <a:pt x="1764958" y="197447"/>
                  </a:lnTo>
                  <a:lnTo>
                    <a:pt x="1764958" y="198831"/>
                  </a:lnTo>
                  <a:lnTo>
                    <a:pt x="1765059" y="198831"/>
                  </a:lnTo>
                  <a:lnTo>
                    <a:pt x="1765059" y="197447"/>
                  </a:lnTo>
                  <a:lnTo>
                    <a:pt x="1765110" y="197447"/>
                  </a:lnTo>
                  <a:lnTo>
                    <a:pt x="1765110" y="195415"/>
                  </a:lnTo>
                  <a:lnTo>
                    <a:pt x="1765161" y="195415"/>
                  </a:lnTo>
                  <a:lnTo>
                    <a:pt x="1765161" y="193383"/>
                  </a:lnTo>
                  <a:lnTo>
                    <a:pt x="1765262" y="193383"/>
                  </a:lnTo>
                  <a:lnTo>
                    <a:pt x="1765262" y="196113"/>
                  </a:lnTo>
                  <a:lnTo>
                    <a:pt x="1765262" y="194716"/>
                  </a:lnTo>
                  <a:lnTo>
                    <a:pt x="1765300" y="194716"/>
                  </a:lnTo>
                  <a:lnTo>
                    <a:pt x="1765300" y="196113"/>
                  </a:lnTo>
                  <a:lnTo>
                    <a:pt x="1765300" y="194716"/>
                  </a:lnTo>
                  <a:lnTo>
                    <a:pt x="1765351" y="195415"/>
                  </a:lnTo>
                  <a:lnTo>
                    <a:pt x="1765351" y="196113"/>
                  </a:lnTo>
                  <a:lnTo>
                    <a:pt x="1765351" y="195415"/>
                  </a:lnTo>
                  <a:lnTo>
                    <a:pt x="1765351" y="196113"/>
                  </a:lnTo>
                  <a:lnTo>
                    <a:pt x="1765351" y="195415"/>
                  </a:lnTo>
                  <a:lnTo>
                    <a:pt x="1765402" y="196113"/>
                  </a:lnTo>
                  <a:lnTo>
                    <a:pt x="1765402" y="196799"/>
                  </a:lnTo>
                  <a:lnTo>
                    <a:pt x="1765402" y="196113"/>
                  </a:lnTo>
                  <a:lnTo>
                    <a:pt x="1765402" y="196799"/>
                  </a:lnTo>
                  <a:lnTo>
                    <a:pt x="1765402" y="196113"/>
                  </a:lnTo>
                  <a:lnTo>
                    <a:pt x="1765402" y="197447"/>
                  </a:lnTo>
                  <a:lnTo>
                    <a:pt x="1765504" y="196799"/>
                  </a:lnTo>
                  <a:lnTo>
                    <a:pt x="1765504" y="197447"/>
                  </a:lnTo>
                  <a:lnTo>
                    <a:pt x="1765504" y="196799"/>
                  </a:lnTo>
                  <a:lnTo>
                    <a:pt x="1765504" y="197447"/>
                  </a:lnTo>
                  <a:lnTo>
                    <a:pt x="1765504" y="196799"/>
                  </a:lnTo>
                  <a:lnTo>
                    <a:pt x="1765504" y="197447"/>
                  </a:lnTo>
                  <a:lnTo>
                    <a:pt x="1765504" y="196799"/>
                  </a:lnTo>
                  <a:lnTo>
                    <a:pt x="1765504" y="197447"/>
                  </a:lnTo>
                  <a:lnTo>
                    <a:pt x="1765555" y="197447"/>
                  </a:lnTo>
                  <a:lnTo>
                    <a:pt x="1765555" y="196799"/>
                  </a:lnTo>
                  <a:lnTo>
                    <a:pt x="1765555" y="197447"/>
                  </a:lnTo>
                  <a:lnTo>
                    <a:pt x="1765555" y="196799"/>
                  </a:lnTo>
                  <a:lnTo>
                    <a:pt x="1765555" y="197447"/>
                  </a:lnTo>
                  <a:lnTo>
                    <a:pt x="1765555" y="196799"/>
                  </a:lnTo>
                  <a:lnTo>
                    <a:pt x="1765555" y="197447"/>
                  </a:lnTo>
                  <a:lnTo>
                    <a:pt x="1765555" y="196799"/>
                  </a:lnTo>
                  <a:lnTo>
                    <a:pt x="1765555" y="197447"/>
                  </a:lnTo>
                  <a:lnTo>
                    <a:pt x="1765555" y="196799"/>
                  </a:lnTo>
                  <a:lnTo>
                    <a:pt x="1765555" y="197447"/>
                  </a:lnTo>
                  <a:lnTo>
                    <a:pt x="1765555" y="196799"/>
                  </a:lnTo>
                  <a:lnTo>
                    <a:pt x="1765605" y="196799"/>
                  </a:lnTo>
                  <a:lnTo>
                    <a:pt x="1765605" y="197447"/>
                  </a:lnTo>
                  <a:lnTo>
                    <a:pt x="1765605" y="195415"/>
                  </a:lnTo>
                  <a:lnTo>
                    <a:pt x="1765605" y="197447"/>
                  </a:lnTo>
                  <a:lnTo>
                    <a:pt x="1765707" y="197447"/>
                  </a:lnTo>
                  <a:lnTo>
                    <a:pt x="1765707" y="195415"/>
                  </a:lnTo>
                  <a:lnTo>
                    <a:pt x="1765707" y="199530"/>
                  </a:lnTo>
                  <a:lnTo>
                    <a:pt x="1765758" y="198831"/>
                  </a:lnTo>
                  <a:lnTo>
                    <a:pt x="1765758" y="196799"/>
                  </a:lnTo>
                  <a:lnTo>
                    <a:pt x="1765758" y="199530"/>
                  </a:lnTo>
                  <a:lnTo>
                    <a:pt x="1765758" y="198831"/>
                  </a:lnTo>
                  <a:lnTo>
                    <a:pt x="1765809" y="198831"/>
                  </a:lnTo>
                  <a:lnTo>
                    <a:pt x="1765809" y="197447"/>
                  </a:lnTo>
                  <a:lnTo>
                    <a:pt x="1765809" y="198831"/>
                  </a:lnTo>
                  <a:lnTo>
                    <a:pt x="1765809" y="197447"/>
                  </a:lnTo>
                  <a:lnTo>
                    <a:pt x="1765809" y="198831"/>
                  </a:lnTo>
                  <a:lnTo>
                    <a:pt x="1765809" y="197447"/>
                  </a:lnTo>
                  <a:lnTo>
                    <a:pt x="1765847" y="198831"/>
                  </a:lnTo>
                  <a:lnTo>
                    <a:pt x="1765847" y="197447"/>
                  </a:lnTo>
                  <a:lnTo>
                    <a:pt x="1765948" y="197447"/>
                  </a:lnTo>
                  <a:lnTo>
                    <a:pt x="1765948" y="198831"/>
                  </a:lnTo>
                  <a:lnTo>
                    <a:pt x="1765948" y="197447"/>
                  </a:lnTo>
                  <a:lnTo>
                    <a:pt x="1765999" y="197447"/>
                  </a:lnTo>
                  <a:lnTo>
                    <a:pt x="1765999" y="196799"/>
                  </a:lnTo>
                  <a:lnTo>
                    <a:pt x="1765999" y="197447"/>
                  </a:lnTo>
                  <a:lnTo>
                    <a:pt x="1765999" y="196799"/>
                  </a:lnTo>
                  <a:lnTo>
                    <a:pt x="1765999" y="197447"/>
                  </a:lnTo>
                  <a:lnTo>
                    <a:pt x="1765999" y="196799"/>
                  </a:lnTo>
                  <a:lnTo>
                    <a:pt x="1765999" y="197447"/>
                  </a:lnTo>
                  <a:lnTo>
                    <a:pt x="1766050" y="197447"/>
                  </a:lnTo>
                  <a:lnTo>
                    <a:pt x="1766050" y="196799"/>
                  </a:lnTo>
                  <a:lnTo>
                    <a:pt x="1766050" y="197447"/>
                  </a:lnTo>
                  <a:lnTo>
                    <a:pt x="1766050" y="196799"/>
                  </a:lnTo>
                  <a:lnTo>
                    <a:pt x="1766151" y="196799"/>
                  </a:lnTo>
                  <a:lnTo>
                    <a:pt x="1766151" y="196113"/>
                  </a:lnTo>
                  <a:lnTo>
                    <a:pt x="1766151" y="198831"/>
                  </a:lnTo>
                  <a:lnTo>
                    <a:pt x="1766151" y="197447"/>
                  </a:lnTo>
                  <a:lnTo>
                    <a:pt x="1766202" y="197447"/>
                  </a:lnTo>
                  <a:lnTo>
                    <a:pt x="1766202" y="196799"/>
                  </a:lnTo>
                  <a:lnTo>
                    <a:pt x="1766202" y="200228"/>
                  </a:lnTo>
                  <a:lnTo>
                    <a:pt x="1766202" y="199530"/>
                  </a:lnTo>
                  <a:lnTo>
                    <a:pt x="1766253" y="199530"/>
                  </a:lnTo>
                  <a:lnTo>
                    <a:pt x="1766253" y="198831"/>
                  </a:lnTo>
                  <a:lnTo>
                    <a:pt x="1766253" y="199530"/>
                  </a:lnTo>
                  <a:lnTo>
                    <a:pt x="1766253" y="198831"/>
                  </a:lnTo>
                  <a:lnTo>
                    <a:pt x="1766253" y="200228"/>
                  </a:lnTo>
                  <a:lnTo>
                    <a:pt x="1766253" y="199530"/>
                  </a:lnTo>
                  <a:lnTo>
                    <a:pt x="1766304" y="199530"/>
                  </a:lnTo>
                  <a:lnTo>
                    <a:pt x="1766304" y="200228"/>
                  </a:lnTo>
                  <a:lnTo>
                    <a:pt x="1766304" y="199530"/>
                  </a:lnTo>
                  <a:lnTo>
                    <a:pt x="1766393" y="199530"/>
                  </a:lnTo>
                  <a:lnTo>
                    <a:pt x="1766393" y="200228"/>
                  </a:lnTo>
                  <a:lnTo>
                    <a:pt x="1766393" y="199530"/>
                  </a:lnTo>
                  <a:lnTo>
                    <a:pt x="1766393" y="200228"/>
                  </a:lnTo>
                  <a:lnTo>
                    <a:pt x="1766393" y="198831"/>
                  </a:lnTo>
                  <a:lnTo>
                    <a:pt x="1766393" y="199530"/>
                  </a:lnTo>
                  <a:lnTo>
                    <a:pt x="1766444" y="199530"/>
                  </a:lnTo>
                  <a:lnTo>
                    <a:pt x="1766444" y="198831"/>
                  </a:lnTo>
                  <a:lnTo>
                    <a:pt x="1766494" y="198831"/>
                  </a:lnTo>
                  <a:lnTo>
                    <a:pt x="1766494" y="197447"/>
                  </a:lnTo>
                  <a:lnTo>
                    <a:pt x="1766494" y="198831"/>
                  </a:lnTo>
                  <a:lnTo>
                    <a:pt x="1766494" y="196799"/>
                  </a:lnTo>
                  <a:lnTo>
                    <a:pt x="1766545" y="196799"/>
                  </a:lnTo>
                  <a:lnTo>
                    <a:pt x="1766545" y="195415"/>
                  </a:lnTo>
                  <a:lnTo>
                    <a:pt x="1766647" y="195415"/>
                  </a:lnTo>
                  <a:lnTo>
                    <a:pt x="1766647" y="194716"/>
                  </a:lnTo>
                  <a:lnTo>
                    <a:pt x="1766647" y="196799"/>
                  </a:lnTo>
                  <a:lnTo>
                    <a:pt x="1766647" y="195415"/>
                  </a:lnTo>
                  <a:lnTo>
                    <a:pt x="1766697" y="195415"/>
                  </a:lnTo>
                  <a:lnTo>
                    <a:pt x="1766697" y="198831"/>
                  </a:lnTo>
                  <a:lnTo>
                    <a:pt x="1766697" y="197447"/>
                  </a:lnTo>
                  <a:lnTo>
                    <a:pt x="1766748" y="198831"/>
                  </a:lnTo>
                  <a:lnTo>
                    <a:pt x="1766748" y="199530"/>
                  </a:lnTo>
                  <a:lnTo>
                    <a:pt x="1766748" y="198831"/>
                  </a:lnTo>
                  <a:lnTo>
                    <a:pt x="1766748" y="199530"/>
                  </a:lnTo>
                  <a:lnTo>
                    <a:pt x="1766850" y="199530"/>
                  </a:lnTo>
                  <a:lnTo>
                    <a:pt x="1766850" y="200228"/>
                  </a:lnTo>
                  <a:lnTo>
                    <a:pt x="1766850" y="199530"/>
                  </a:lnTo>
                  <a:lnTo>
                    <a:pt x="1766850" y="200228"/>
                  </a:lnTo>
                  <a:lnTo>
                    <a:pt x="1766850" y="198831"/>
                  </a:lnTo>
                  <a:lnTo>
                    <a:pt x="1766850" y="200228"/>
                  </a:lnTo>
                  <a:lnTo>
                    <a:pt x="1766850" y="199530"/>
                  </a:lnTo>
                  <a:lnTo>
                    <a:pt x="1766888" y="199530"/>
                  </a:lnTo>
                  <a:lnTo>
                    <a:pt x="1766888" y="200228"/>
                  </a:lnTo>
                  <a:lnTo>
                    <a:pt x="1766888" y="198831"/>
                  </a:lnTo>
                  <a:lnTo>
                    <a:pt x="1766888" y="200228"/>
                  </a:lnTo>
                  <a:lnTo>
                    <a:pt x="1766939" y="200228"/>
                  </a:lnTo>
                  <a:lnTo>
                    <a:pt x="1766939" y="199530"/>
                  </a:lnTo>
                  <a:lnTo>
                    <a:pt x="1766990" y="198831"/>
                  </a:lnTo>
                  <a:lnTo>
                    <a:pt x="1766990" y="199530"/>
                  </a:lnTo>
                  <a:lnTo>
                    <a:pt x="1766990" y="197447"/>
                  </a:lnTo>
                  <a:lnTo>
                    <a:pt x="1766990" y="198831"/>
                  </a:lnTo>
                  <a:lnTo>
                    <a:pt x="1766990" y="197447"/>
                  </a:lnTo>
                  <a:lnTo>
                    <a:pt x="1767091" y="197447"/>
                  </a:lnTo>
                  <a:lnTo>
                    <a:pt x="1767091" y="196113"/>
                  </a:lnTo>
                  <a:lnTo>
                    <a:pt x="1767091" y="196799"/>
                  </a:lnTo>
                  <a:lnTo>
                    <a:pt x="1767091" y="195415"/>
                  </a:lnTo>
                  <a:lnTo>
                    <a:pt x="1767091" y="196113"/>
                  </a:lnTo>
                  <a:lnTo>
                    <a:pt x="1767142" y="196799"/>
                  </a:lnTo>
                  <a:lnTo>
                    <a:pt x="1767142" y="197447"/>
                  </a:lnTo>
                  <a:lnTo>
                    <a:pt x="1767142" y="195415"/>
                  </a:lnTo>
                  <a:lnTo>
                    <a:pt x="1767142" y="198831"/>
                  </a:lnTo>
                  <a:lnTo>
                    <a:pt x="1767193" y="198831"/>
                  </a:lnTo>
                  <a:lnTo>
                    <a:pt x="1767193" y="196799"/>
                  </a:lnTo>
                  <a:lnTo>
                    <a:pt x="1767193" y="197447"/>
                  </a:lnTo>
                  <a:lnTo>
                    <a:pt x="1767193" y="196799"/>
                  </a:lnTo>
                  <a:lnTo>
                    <a:pt x="1767193" y="198831"/>
                  </a:lnTo>
                  <a:lnTo>
                    <a:pt x="1767294" y="198831"/>
                  </a:lnTo>
                  <a:lnTo>
                    <a:pt x="1767294" y="197447"/>
                  </a:lnTo>
                  <a:lnTo>
                    <a:pt x="1767294" y="199530"/>
                  </a:lnTo>
                  <a:lnTo>
                    <a:pt x="1767294" y="198831"/>
                  </a:lnTo>
                  <a:lnTo>
                    <a:pt x="1767294" y="199530"/>
                  </a:lnTo>
                  <a:lnTo>
                    <a:pt x="1767294" y="198831"/>
                  </a:lnTo>
                  <a:lnTo>
                    <a:pt x="1767345" y="198831"/>
                  </a:lnTo>
                  <a:lnTo>
                    <a:pt x="1767345" y="199530"/>
                  </a:lnTo>
                  <a:lnTo>
                    <a:pt x="1767345" y="198831"/>
                  </a:lnTo>
                  <a:lnTo>
                    <a:pt x="1767345" y="199530"/>
                  </a:lnTo>
                  <a:lnTo>
                    <a:pt x="1767345" y="198831"/>
                  </a:lnTo>
                  <a:lnTo>
                    <a:pt x="1767396" y="198831"/>
                  </a:lnTo>
                  <a:lnTo>
                    <a:pt x="1767396" y="200228"/>
                  </a:lnTo>
                  <a:lnTo>
                    <a:pt x="1767396" y="199530"/>
                  </a:lnTo>
                  <a:lnTo>
                    <a:pt x="1767434" y="200228"/>
                  </a:lnTo>
                  <a:lnTo>
                    <a:pt x="1767434" y="199530"/>
                  </a:lnTo>
                  <a:lnTo>
                    <a:pt x="1767434" y="200228"/>
                  </a:lnTo>
                  <a:lnTo>
                    <a:pt x="1767434" y="198831"/>
                  </a:lnTo>
                  <a:lnTo>
                    <a:pt x="1767536" y="198831"/>
                  </a:lnTo>
                  <a:lnTo>
                    <a:pt x="1767536" y="199530"/>
                  </a:lnTo>
                  <a:lnTo>
                    <a:pt x="1767536" y="197447"/>
                  </a:lnTo>
                  <a:lnTo>
                    <a:pt x="1767587" y="197447"/>
                  </a:lnTo>
                  <a:lnTo>
                    <a:pt x="1767587" y="196113"/>
                  </a:lnTo>
                  <a:lnTo>
                    <a:pt x="1767587" y="196799"/>
                  </a:lnTo>
                  <a:lnTo>
                    <a:pt x="1767637" y="196799"/>
                  </a:lnTo>
                  <a:lnTo>
                    <a:pt x="1767637" y="195415"/>
                  </a:lnTo>
                  <a:lnTo>
                    <a:pt x="1767637" y="198831"/>
                  </a:lnTo>
                  <a:lnTo>
                    <a:pt x="1767739" y="197447"/>
                  </a:lnTo>
                  <a:lnTo>
                    <a:pt x="1767739" y="198831"/>
                  </a:lnTo>
                  <a:lnTo>
                    <a:pt x="1767739" y="196799"/>
                  </a:lnTo>
                  <a:lnTo>
                    <a:pt x="1767739" y="198831"/>
                  </a:lnTo>
                  <a:lnTo>
                    <a:pt x="1767739" y="197447"/>
                  </a:lnTo>
                  <a:lnTo>
                    <a:pt x="1767790" y="197447"/>
                  </a:lnTo>
                  <a:lnTo>
                    <a:pt x="1767790" y="198831"/>
                  </a:lnTo>
                  <a:lnTo>
                    <a:pt x="1767840" y="198831"/>
                  </a:lnTo>
                  <a:lnTo>
                    <a:pt x="1767840" y="199530"/>
                  </a:lnTo>
                  <a:lnTo>
                    <a:pt x="1767840" y="198831"/>
                  </a:lnTo>
                  <a:lnTo>
                    <a:pt x="1767840" y="199530"/>
                  </a:lnTo>
                  <a:lnTo>
                    <a:pt x="1767840" y="198831"/>
                  </a:lnTo>
                  <a:lnTo>
                    <a:pt x="1767891" y="198831"/>
                  </a:lnTo>
                  <a:lnTo>
                    <a:pt x="1767891" y="199530"/>
                  </a:lnTo>
                  <a:lnTo>
                    <a:pt x="1767891" y="198831"/>
                  </a:lnTo>
                  <a:lnTo>
                    <a:pt x="1767891" y="200228"/>
                  </a:lnTo>
                  <a:lnTo>
                    <a:pt x="1767891" y="199530"/>
                  </a:lnTo>
                  <a:lnTo>
                    <a:pt x="1767980" y="199530"/>
                  </a:lnTo>
                  <a:lnTo>
                    <a:pt x="1767980" y="200228"/>
                  </a:lnTo>
                  <a:lnTo>
                    <a:pt x="1767980" y="199530"/>
                  </a:lnTo>
                  <a:lnTo>
                    <a:pt x="1767980" y="200228"/>
                  </a:lnTo>
                  <a:lnTo>
                    <a:pt x="1767980" y="198831"/>
                  </a:lnTo>
                  <a:lnTo>
                    <a:pt x="1768031" y="198831"/>
                  </a:lnTo>
                  <a:lnTo>
                    <a:pt x="1768031" y="197447"/>
                  </a:lnTo>
                  <a:lnTo>
                    <a:pt x="1768031" y="198831"/>
                  </a:lnTo>
                  <a:lnTo>
                    <a:pt x="1768031" y="196799"/>
                  </a:lnTo>
                  <a:lnTo>
                    <a:pt x="1768082" y="196799"/>
                  </a:lnTo>
                  <a:lnTo>
                    <a:pt x="1768082" y="196113"/>
                  </a:lnTo>
                  <a:lnTo>
                    <a:pt x="1768082" y="197447"/>
                  </a:lnTo>
                  <a:lnTo>
                    <a:pt x="1768082" y="196113"/>
                  </a:lnTo>
                  <a:lnTo>
                    <a:pt x="1768133" y="195415"/>
                  </a:lnTo>
                  <a:lnTo>
                    <a:pt x="1768133" y="200228"/>
                  </a:lnTo>
                  <a:lnTo>
                    <a:pt x="1768133" y="197447"/>
                  </a:lnTo>
                  <a:lnTo>
                    <a:pt x="1768234" y="198831"/>
                  </a:lnTo>
                  <a:lnTo>
                    <a:pt x="1768234" y="197447"/>
                  </a:lnTo>
                  <a:lnTo>
                    <a:pt x="1768234" y="199530"/>
                  </a:lnTo>
                  <a:lnTo>
                    <a:pt x="1768234" y="198831"/>
                  </a:lnTo>
                  <a:lnTo>
                    <a:pt x="1768285" y="197447"/>
                  </a:lnTo>
                  <a:lnTo>
                    <a:pt x="1768285" y="199530"/>
                  </a:lnTo>
                  <a:lnTo>
                    <a:pt x="1768285" y="198831"/>
                  </a:lnTo>
                  <a:lnTo>
                    <a:pt x="1768285" y="199530"/>
                  </a:lnTo>
                  <a:lnTo>
                    <a:pt x="1768285" y="197447"/>
                  </a:lnTo>
                  <a:lnTo>
                    <a:pt x="1768336" y="197447"/>
                  </a:lnTo>
                  <a:lnTo>
                    <a:pt x="1768336" y="198831"/>
                  </a:lnTo>
                  <a:lnTo>
                    <a:pt x="1768336" y="197447"/>
                  </a:lnTo>
                  <a:lnTo>
                    <a:pt x="1768336" y="198831"/>
                  </a:lnTo>
                  <a:lnTo>
                    <a:pt x="1768336" y="197447"/>
                  </a:lnTo>
                  <a:lnTo>
                    <a:pt x="1768336" y="198831"/>
                  </a:lnTo>
                  <a:lnTo>
                    <a:pt x="1768437" y="198831"/>
                  </a:lnTo>
                  <a:lnTo>
                    <a:pt x="1768437" y="199530"/>
                  </a:lnTo>
                  <a:lnTo>
                    <a:pt x="1768437" y="198831"/>
                  </a:lnTo>
                  <a:lnTo>
                    <a:pt x="1768437" y="199530"/>
                  </a:lnTo>
                  <a:lnTo>
                    <a:pt x="1768475" y="199530"/>
                  </a:lnTo>
                  <a:lnTo>
                    <a:pt x="1768475" y="197447"/>
                  </a:lnTo>
                  <a:lnTo>
                    <a:pt x="1768475" y="198831"/>
                  </a:lnTo>
                  <a:lnTo>
                    <a:pt x="1768475" y="197447"/>
                  </a:lnTo>
                  <a:lnTo>
                    <a:pt x="1768526" y="197447"/>
                  </a:lnTo>
                  <a:lnTo>
                    <a:pt x="1768526" y="196113"/>
                  </a:lnTo>
                  <a:lnTo>
                    <a:pt x="1768526" y="197447"/>
                  </a:lnTo>
                  <a:lnTo>
                    <a:pt x="1768577" y="197447"/>
                  </a:lnTo>
                  <a:lnTo>
                    <a:pt x="1768577" y="199530"/>
                  </a:lnTo>
                  <a:lnTo>
                    <a:pt x="1768577" y="196799"/>
                  </a:lnTo>
                  <a:lnTo>
                    <a:pt x="1768577" y="199530"/>
                  </a:lnTo>
                  <a:lnTo>
                    <a:pt x="1768679" y="200228"/>
                  </a:lnTo>
                  <a:lnTo>
                    <a:pt x="1768679" y="198831"/>
                  </a:lnTo>
                  <a:lnTo>
                    <a:pt x="1768679" y="200228"/>
                  </a:lnTo>
                  <a:lnTo>
                    <a:pt x="1768730" y="199530"/>
                  </a:lnTo>
                  <a:lnTo>
                    <a:pt x="1768730" y="200228"/>
                  </a:lnTo>
                  <a:lnTo>
                    <a:pt x="1768730" y="198831"/>
                  </a:lnTo>
                  <a:lnTo>
                    <a:pt x="1768730" y="200228"/>
                  </a:lnTo>
                  <a:lnTo>
                    <a:pt x="1768780" y="200228"/>
                  </a:lnTo>
                  <a:lnTo>
                    <a:pt x="1768780" y="199530"/>
                  </a:lnTo>
                  <a:lnTo>
                    <a:pt x="1768780" y="200228"/>
                  </a:lnTo>
                  <a:lnTo>
                    <a:pt x="1768780" y="199530"/>
                  </a:lnTo>
                  <a:lnTo>
                    <a:pt x="1768780" y="200228"/>
                  </a:lnTo>
                  <a:lnTo>
                    <a:pt x="1768780" y="199530"/>
                  </a:lnTo>
                  <a:lnTo>
                    <a:pt x="1768780" y="200228"/>
                  </a:lnTo>
                  <a:lnTo>
                    <a:pt x="1768780" y="199530"/>
                  </a:lnTo>
                  <a:lnTo>
                    <a:pt x="1768780" y="200228"/>
                  </a:lnTo>
                  <a:lnTo>
                    <a:pt x="1768882" y="200228"/>
                  </a:lnTo>
                  <a:lnTo>
                    <a:pt x="1768882" y="199530"/>
                  </a:lnTo>
                  <a:lnTo>
                    <a:pt x="1768882" y="200228"/>
                  </a:lnTo>
                  <a:lnTo>
                    <a:pt x="1768882" y="199530"/>
                  </a:lnTo>
                  <a:lnTo>
                    <a:pt x="1768882" y="200228"/>
                  </a:lnTo>
                  <a:lnTo>
                    <a:pt x="1768882" y="199530"/>
                  </a:lnTo>
                  <a:lnTo>
                    <a:pt x="1768933" y="199530"/>
                  </a:lnTo>
                  <a:lnTo>
                    <a:pt x="1768933" y="200228"/>
                  </a:lnTo>
                  <a:lnTo>
                    <a:pt x="1768933" y="199530"/>
                  </a:lnTo>
                  <a:lnTo>
                    <a:pt x="1768984" y="199530"/>
                  </a:lnTo>
                  <a:lnTo>
                    <a:pt x="1768984" y="198831"/>
                  </a:lnTo>
                  <a:lnTo>
                    <a:pt x="1768984" y="199530"/>
                  </a:lnTo>
                  <a:lnTo>
                    <a:pt x="1768984" y="196799"/>
                  </a:lnTo>
                  <a:lnTo>
                    <a:pt x="1768984" y="197447"/>
                  </a:lnTo>
                  <a:lnTo>
                    <a:pt x="1769022" y="196799"/>
                  </a:lnTo>
                  <a:lnTo>
                    <a:pt x="1769022" y="197447"/>
                  </a:lnTo>
                  <a:lnTo>
                    <a:pt x="1769022" y="196799"/>
                  </a:lnTo>
                  <a:lnTo>
                    <a:pt x="1769022" y="198831"/>
                  </a:lnTo>
                  <a:lnTo>
                    <a:pt x="1769123" y="198831"/>
                  </a:lnTo>
                  <a:lnTo>
                    <a:pt x="1769123" y="197447"/>
                  </a:lnTo>
                  <a:lnTo>
                    <a:pt x="1769123" y="200228"/>
                  </a:lnTo>
                  <a:lnTo>
                    <a:pt x="1769123" y="199530"/>
                  </a:lnTo>
                  <a:lnTo>
                    <a:pt x="1769174" y="199530"/>
                  </a:lnTo>
                  <a:lnTo>
                    <a:pt x="1769174" y="200876"/>
                  </a:lnTo>
                  <a:lnTo>
                    <a:pt x="1769174" y="200228"/>
                  </a:lnTo>
                  <a:lnTo>
                    <a:pt x="1769174" y="200876"/>
                  </a:lnTo>
                  <a:lnTo>
                    <a:pt x="1769174" y="200228"/>
                  </a:lnTo>
                  <a:lnTo>
                    <a:pt x="1769225" y="200228"/>
                  </a:lnTo>
                  <a:lnTo>
                    <a:pt x="1769225" y="199530"/>
                  </a:lnTo>
                  <a:lnTo>
                    <a:pt x="1769225" y="200228"/>
                  </a:lnTo>
                  <a:lnTo>
                    <a:pt x="1769326" y="200228"/>
                  </a:lnTo>
                  <a:lnTo>
                    <a:pt x="1769326" y="200876"/>
                  </a:lnTo>
                  <a:lnTo>
                    <a:pt x="1769326" y="200228"/>
                  </a:lnTo>
                  <a:lnTo>
                    <a:pt x="1769377" y="199530"/>
                  </a:lnTo>
                  <a:lnTo>
                    <a:pt x="1769377" y="200228"/>
                  </a:lnTo>
                  <a:lnTo>
                    <a:pt x="1769377" y="199530"/>
                  </a:lnTo>
                  <a:lnTo>
                    <a:pt x="1769428" y="199530"/>
                  </a:lnTo>
                  <a:lnTo>
                    <a:pt x="1769428" y="198831"/>
                  </a:lnTo>
                  <a:lnTo>
                    <a:pt x="1769428" y="199530"/>
                  </a:lnTo>
                  <a:lnTo>
                    <a:pt x="1769428" y="198831"/>
                  </a:lnTo>
                  <a:lnTo>
                    <a:pt x="1769479" y="198831"/>
                  </a:lnTo>
                  <a:lnTo>
                    <a:pt x="1769479" y="197447"/>
                  </a:lnTo>
                  <a:lnTo>
                    <a:pt x="1769479" y="198831"/>
                  </a:lnTo>
                  <a:lnTo>
                    <a:pt x="1769479" y="196113"/>
                  </a:lnTo>
                  <a:lnTo>
                    <a:pt x="1769568" y="196113"/>
                  </a:lnTo>
                  <a:lnTo>
                    <a:pt x="1769568" y="196799"/>
                  </a:lnTo>
                  <a:lnTo>
                    <a:pt x="1769568" y="196113"/>
                  </a:lnTo>
                  <a:lnTo>
                    <a:pt x="1769619" y="196799"/>
                  </a:lnTo>
                  <a:lnTo>
                    <a:pt x="1769619" y="198831"/>
                  </a:lnTo>
                  <a:lnTo>
                    <a:pt x="1769619" y="197447"/>
                  </a:lnTo>
                  <a:lnTo>
                    <a:pt x="1769619" y="198831"/>
                  </a:lnTo>
                  <a:lnTo>
                    <a:pt x="1769619" y="197447"/>
                  </a:lnTo>
                  <a:lnTo>
                    <a:pt x="1769619" y="198831"/>
                  </a:lnTo>
                  <a:lnTo>
                    <a:pt x="1769669" y="198831"/>
                  </a:lnTo>
                  <a:lnTo>
                    <a:pt x="1769669" y="199530"/>
                  </a:lnTo>
                  <a:lnTo>
                    <a:pt x="1769669" y="198831"/>
                  </a:lnTo>
                  <a:lnTo>
                    <a:pt x="1769669" y="199530"/>
                  </a:lnTo>
                  <a:lnTo>
                    <a:pt x="1769669" y="198831"/>
                  </a:lnTo>
                  <a:lnTo>
                    <a:pt x="1769669" y="199530"/>
                  </a:lnTo>
                  <a:lnTo>
                    <a:pt x="1769720" y="199530"/>
                  </a:lnTo>
                  <a:lnTo>
                    <a:pt x="1769720" y="200228"/>
                  </a:lnTo>
                  <a:lnTo>
                    <a:pt x="1769822" y="200228"/>
                  </a:lnTo>
                  <a:lnTo>
                    <a:pt x="1769822" y="199530"/>
                  </a:lnTo>
                  <a:lnTo>
                    <a:pt x="1769822" y="200228"/>
                  </a:lnTo>
                  <a:lnTo>
                    <a:pt x="1769872" y="200228"/>
                  </a:lnTo>
                  <a:lnTo>
                    <a:pt x="1769872" y="199530"/>
                  </a:lnTo>
                  <a:lnTo>
                    <a:pt x="1769872" y="200228"/>
                  </a:lnTo>
                  <a:lnTo>
                    <a:pt x="1769872" y="199530"/>
                  </a:lnTo>
                  <a:lnTo>
                    <a:pt x="1769872" y="200228"/>
                  </a:lnTo>
                  <a:lnTo>
                    <a:pt x="1769872" y="199530"/>
                  </a:lnTo>
                  <a:lnTo>
                    <a:pt x="1769923" y="199530"/>
                  </a:lnTo>
                  <a:lnTo>
                    <a:pt x="1769923" y="200228"/>
                  </a:lnTo>
                  <a:lnTo>
                    <a:pt x="1769923" y="199530"/>
                  </a:lnTo>
                  <a:lnTo>
                    <a:pt x="1769923" y="200228"/>
                  </a:lnTo>
                  <a:lnTo>
                    <a:pt x="1769923" y="197447"/>
                  </a:lnTo>
                  <a:lnTo>
                    <a:pt x="1770025" y="197447"/>
                  </a:lnTo>
                  <a:lnTo>
                    <a:pt x="1770025" y="196113"/>
                  </a:lnTo>
                  <a:lnTo>
                    <a:pt x="1770025" y="196799"/>
                  </a:lnTo>
                  <a:lnTo>
                    <a:pt x="1770063" y="197447"/>
                  </a:lnTo>
                  <a:lnTo>
                    <a:pt x="1770063" y="196799"/>
                  </a:lnTo>
                  <a:lnTo>
                    <a:pt x="1770063" y="198831"/>
                  </a:lnTo>
                  <a:lnTo>
                    <a:pt x="1770114" y="198831"/>
                  </a:lnTo>
                  <a:lnTo>
                    <a:pt x="1770114" y="197447"/>
                  </a:lnTo>
                  <a:lnTo>
                    <a:pt x="1770114" y="199530"/>
                  </a:lnTo>
                  <a:lnTo>
                    <a:pt x="1770165" y="199530"/>
                  </a:lnTo>
                  <a:lnTo>
                    <a:pt x="1770165" y="198831"/>
                  </a:lnTo>
                  <a:lnTo>
                    <a:pt x="1770165" y="199530"/>
                  </a:lnTo>
                  <a:lnTo>
                    <a:pt x="1770266" y="199530"/>
                  </a:lnTo>
                  <a:lnTo>
                    <a:pt x="1770266" y="198831"/>
                  </a:lnTo>
                  <a:lnTo>
                    <a:pt x="1770266" y="199530"/>
                  </a:lnTo>
                  <a:lnTo>
                    <a:pt x="1770266" y="198831"/>
                  </a:lnTo>
                  <a:lnTo>
                    <a:pt x="1770266" y="199530"/>
                  </a:lnTo>
                  <a:lnTo>
                    <a:pt x="1770266" y="198831"/>
                  </a:lnTo>
                  <a:lnTo>
                    <a:pt x="1770266" y="199530"/>
                  </a:lnTo>
                  <a:lnTo>
                    <a:pt x="1770266" y="198831"/>
                  </a:lnTo>
                  <a:lnTo>
                    <a:pt x="1770317" y="199530"/>
                  </a:lnTo>
                  <a:lnTo>
                    <a:pt x="1770317" y="198831"/>
                  </a:lnTo>
                  <a:lnTo>
                    <a:pt x="1770317" y="200228"/>
                  </a:lnTo>
                  <a:lnTo>
                    <a:pt x="1770317" y="199530"/>
                  </a:lnTo>
                  <a:lnTo>
                    <a:pt x="1770368" y="199530"/>
                  </a:lnTo>
                  <a:lnTo>
                    <a:pt x="1770368" y="198831"/>
                  </a:lnTo>
                  <a:lnTo>
                    <a:pt x="1770368" y="199530"/>
                  </a:lnTo>
                  <a:lnTo>
                    <a:pt x="1770368" y="198831"/>
                  </a:lnTo>
                  <a:lnTo>
                    <a:pt x="1770368" y="199530"/>
                  </a:lnTo>
                  <a:lnTo>
                    <a:pt x="1770368" y="198831"/>
                  </a:lnTo>
                  <a:lnTo>
                    <a:pt x="1770469" y="198831"/>
                  </a:lnTo>
                  <a:lnTo>
                    <a:pt x="1770469" y="197447"/>
                  </a:lnTo>
                  <a:lnTo>
                    <a:pt x="1770469" y="198831"/>
                  </a:lnTo>
                  <a:lnTo>
                    <a:pt x="1770469" y="197447"/>
                  </a:lnTo>
                  <a:lnTo>
                    <a:pt x="1770469" y="198831"/>
                  </a:lnTo>
                  <a:lnTo>
                    <a:pt x="1770469" y="197447"/>
                  </a:lnTo>
                  <a:lnTo>
                    <a:pt x="1770520" y="197447"/>
                  </a:lnTo>
                  <a:lnTo>
                    <a:pt x="1770520" y="195415"/>
                  </a:lnTo>
                  <a:lnTo>
                    <a:pt x="1770520" y="196799"/>
                  </a:lnTo>
                  <a:lnTo>
                    <a:pt x="1770571" y="196799"/>
                  </a:lnTo>
                  <a:lnTo>
                    <a:pt x="1770571" y="196113"/>
                  </a:lnTo>
                  <a:lnTo>
                    <a:pt x="1770571" y="198831"/>
                  </a:lnTo>
                  <a:lnTo>
                    <a:pt x="1770609" y="197447"/>
                  </a:lnTo>
                  <a:lnTo>
                    <a:pt x="1770609" y="198831"/>
                  </a:lnTo>
                  <a:lnTo>
                    <a:pt x="1770609" y="197447"/>
                  </a:lnTo>
                  <a:lnTo>
                    <a:pt x="1770711" y="197447"/>
                  </a:lnTo>
                  <a:lnTo>
                    <a:pt x="1770711" y="199530"/>
                  </a:lnTo>
                  <a:lnTo>
                    <a:pt x="1770711" y="198831"/>
                  </a:lnTo>
                  <a:lnTo>
                    <a:pt x="1770762" y="198831"/>
                  </a:lnTo>
                  <a:lnTo>
                    <a:pt x="1770762" y="199530"/>
                  </a:lnTo>
                  <a:lnTo>
                    <a:pt x="1770762" y="198831"/>
                  </a:lnTo>
                  <a:lnTo>
                    <a:pt x="1770762" y="199530"/>
                  </a:lnTo>
                  <a:lnTo>
                    <a:pt x="1770762" y="198831"/>
                  </a:lnTo>
                  <a:lnTo>
                    <a:pt x="1770762" y="199530"/>
                  </a:lnTo>
                  <a:lnTo>
                    <a:pt x="1770762" y="198831"/>
                  </a:lnTo>
                  <a:lnTo>
                    <a:pt x="1770762" y="199530"/>
                  </a:lnTo>
                  <a:lnTo>
                    <a:pt x="1770812" y="199530"/>
                  </a:lnTo>
                  <a:lnTo>
                    <a:pt x="1770812" y="200228"/>
                  </a:lnTo>
                  <a:lnTo>
                    <a:pt x="1770812" y="199530"/>
                  </a:lnTo>
                  <a:lnTo>
                    <a:pt x="1770914" y="199530"/>
                  </a:lnTo>
                  <a:lnTo>
                    <a:pt x="1770914" y="200228"/>
                  </a:lnTo>
                  <a:lnTo>
                    <a:pt x="1770914" y="198831"/>
                  </a:lnTo>
                  <a:lnTo>
                    <a:pt x="1770914" y="199530"/>
                  </a:lnTo>
                  <a:lnTo>
                    <a:pt x="1770965" y="198831"/>
                  </a:lnTo>
                  <a:lnTo>
                    <a:pt x="1770965" y="196799"/>
                  </a:lnTo>
                  <a:lnTo>
                    <a:pt x="1771015" y="196799"/>
                  </a:lnTo>
                  <a:lnTo>
                    <a:pt x="1771015" y="196113"/>
                  </a:lnTo>
                  <a:lnTo>
                    <a:pt x="1771015" y="196799"/>
                  </a:lnTo>
                  <a:lnTo>
                    <a:pt x="1771015" y="195415"/>
                  </a:lnTo>
                  <a:lnTo>
                    <a:pt x="1771066" y="195415"/>
                  </a:lnTo>
                  <a:lnTo>
                    <a:pt x="1771066" y="198831"/>
                  </a:lnTo>
                  <a:lnTo>
                    <a:pt x="1771066" y="196799"/>
                  </a:lnTo>
                  <a:lnTo>
                    <a:pt x="1771155" y="196799"/>
                  </a:lnTo>
                  <a:lnTo>
                    <a:pt x="1771155" y="197447"/>
                  </a:lnTo>
                  <a:lnTo>
                    <a:pt x="1771155" y="196799"/>
                  </a:lnTo>
                  <a:lnTo>
                    <a:pt x="1771155" y="197447"/>
                  </a:lnTo>
                  <a:lnTo>
                    <a:pt x="1771206" y="197447"/>
                  </a:lnTo>
                  <a:lnTo>
                    <a:pt x="1771206" y="198831"/>
                  </a:lnTo>
                  <a:lnTo>
                    <a:pt x="1771206" y="197447"/>
                  </a:lnTo>
                  <a:lnTo>
                    <a:pt x="1771257" y="197447"/>
                  </a:lnTo>
                  <a:lnTo>
                    <a:pt x="1771257" y="198831"/>
                  </a:lnTo>
                  <a:lnTo>
                    <a:pt x="1771257" y="196799"/>
                  </a:lnTo>
                  <a:lnTo>
                    <a:pt x="1771257" y="198831"/>
                  </a:lnTo>
                  <a:lnTo>
                    <a:pt x="1771257" y="197447"/>
                  </a:lnTo>
                  <a:lnTo>
                    <a:pt x="1771308" y="197447"/>
                  </a:lnTo>
                  <a:lnTo>
                    <a:pt x="1771308" y="198831"/>
                  </a:lnTo>
                  <a:lnTo>
                    <a:pt x="1771308" y="197447"/>
                  </a:lnTo>
                  <a:lnTo>
                    <a:pt x="1771308" y="198831"/>
                  </a:lnTo>
                  <a:lnTo>
                    <a:pt x="1771308" y="197447"/>
                  </a:lnTo>
                  <a:lnTo>
                    <a:pt x="1771308" y="198831"/>
                  </a:lnTo>
                  <a:lnTo>
                    <a:pt x="1771308" y="197447"/>
                  </a:lnTo>
                  <a:lnTo>
                    <a:pt x="1771308" y="198831"/>
                  </a:lnTo>
                  <a:lnTo>
                    <a:pt x="1771409" y="198831"/>
                  </a:lnTo>
                  <a:lnTo>
                    <a:pt x="1771409" y="196799"/>
                  </a:lnTo>
                  <a:lnTo>
                    <a:pt x="1771460" y="196799"/>
                  </a:lnTo>
                  <a:lnTo>
                    <a:pt x="1771460" y="196113"/>
                  </a:lnTo>
                  <a:lnTo>
                    <a:pt x="1771460" y="196799"/>
                  </a:lnTo>
                  <a:lnTo>
                    <a:pt x="1771460" y="195415"/>
                  </a:lnTo>
                  <a:lnTo>
                    <a:pt x="1771460" y="196113"/>
                  </a:lnTo>
                  <a:lnTo>
                    <a:pt x="1771511" y="196113"/>
                  </a:lnTo>
                  <a:lnTo>
                    <a:pt x="1771511" y="195415"/>
                  </a:lnTo>
                  <a:lnTo>
                    <a:pt x="1771511" y="196113"/>
                  </a:lnTo>
                  <a:lnTo>
                    <a:pt x="1771511" y="195415"/>
                  </a:lnTo>
                  <a:lnTo>
                    <a:pt x="1771511" y="196113"/>
                  </a:lnTo>
                  <a:lnTo>
                    <a:pt x="1771612" y="195415"/>
                  </a:lnTo>
                  <a:lnTo>
                    <a:pt x="1771612" y="197447"/>
                  </a:lnTo>
                  <a:lnTo>
                    <a:pt x="1771612" y="196113"/>
                  </a:lnTo>
                  <a:lnTo>
                    <a:pt x="1771612" y="196799"/>
                  </a:lnTo>
                  <a:lnTo>
                    <a:pt x="1771650" y="196799"/>
                  </a:lnTo>
                  <a:lnTo>
                    <a:pt x="1771650" y="197447"/>
                  </a:lnTo>
                  <a:lnTo>
                    <a:pt x="1771650" y="196799"/>
                  </a:lnTo>
                  <a:lnTo>
                    <a:pt x="1771650" y="197447"/>
                  </a:lnTo>
                  <a:lnTo>
                    <a:pt x="1771650" y="196799"/>
                  </a:lnTo>
                  <a:lnTo>
                    <a:pt x="1771701" y="196799"/>
                  </a:lnTo>
                  <a:lnTo>
                    <a:pt x="1771701" y="197447"/>
                  </a:lnTo>
                  <a:lnTo>
                    <a:pt x="1771752" y="197447"/>
                  </a:lnTo>
                  <a:lnTo>
                    <a:pt x="1771752" y="198831"/>
                  </a:lnTo>
                  <a:lnTo>
                    <a:pt x="1771854" y="198831"/>
                  </a:lnTo>
                  <a:lnTo>
                    <a:pt x="1771854" y="199530"/>
                  </a:lnTo>
                  <a:lnTo>
                    <a:pt x="1771854" y="198831"/>
                  </a:lnTo>
                  <a:lnTo>
                    <a:pt x="1771854" y="199530"/>
                  </a:lnTo>
                  <a:lnTo>
                    <a:pt x="1771854" y="198831"/>
                  </a:lnTo>
                  <a:lnTo>
                    <a:pt x="1771854" y="199530"/>
                  </a:lnTo>
                  <a:lnTo>
                    <a:pt x="1771854" y="198831"/>
                  </a:lnTo>
                  <a:lnTo>
                    <a:pt x="1771854" y="199530"/>
                  </a:lnTo>
                  <a:lnTo>
                    <a:pt x="1771905" y="199530"/>
                  </a:lnTo>
                  <a:lnTo>
                    <a:pt x="1771905" y="197447"/>
                  </a:lnTo>
                  <a:lnTo>
                    <a:pt x="1771955" y="197447"/>
                  </a:lnTo>
                  <a:lnTo>
                    <a:pt x="1771955" y="195415"/>
                  </a:lnTo>
                  <a:lnTo>
                    <a:pt x="1771955" y="196113"/>
                  </a:lnTo>
                  <a:lnTo>
                    <a:pt x="1772057" y="196113"/>
                  </a:lnTo>
                  <a:lnTo>
                    <a:pt x="1772057" y="193383"/>
                  </a:lnTo>
                  <a:lnTo>
                    <a:pt x="1772057" y="196113"/>
                  </a:lnTo>
                  <a:lnTo>
                    <a:pt x="1772057" y="195415"/>
                  </a:lnTo>
                  <a:lnTo>
                    <a:pt x="1772108" y="195415"/>
                  </a:lnTo>
                  <a:lnTo>
                    <a:pt x="1772108" y="194716"/>
                  </a:lnTo>
                  <a:lnTo>
                    <a:pt x="1772108" y="197447"/>
                  </a:lnTo>
                  <a:lnTo>
                    <a:pt x="1772108" y="196113"/>
                  </a:lnTo>
                  <a:lnTo>
                    <a:pt x="1772159" y="196113"/>
                  </a:lnTo>
                  <a:lnTo>
                    <a:pt x="1772159" y="196799"/>
                  </a:lnTo>
                  <a:lnTo>
                    <a:pt x="1772197" y="196799"/>
                  </a:lnTo>
                  <a:lnTo>
                    <a:pt x="1772197" y="197447"/>
                  </a:lnTo>
                  <a:lnTo>
                    <a:pt x="1772197" y="196799"/>
                  </a:lnTo>
                  <a:lnTo>
                    <a:pt x="1772197" y="197447"/>
                  </a:lnTo>
                  <a:lnTo>
                    <a:pt x="1772298" y="196799"/>
                  </a:lnTo>
                  <a:lnTo>
                    <a:pt x="1772298" y="197447"/>
                  </a:lnTo>
                  <a:lnTo>
                    <a:pt x="1772298" y="196799"/>
                  </a:lnTo>
                  <a:lnTo>
                    <a:pt x="1772298" y="197447"/>
                  </a:lnTo>
                  <a:lnTo>
                    <a:pt x="1772298" y="196799"/>
                  </a:lnTo>
                  <a:lnTo>
                    <a:pt x="1772298" y="198831"/>
                  </a:lnTo>
                  <a:lnTo>
                    <a:pt x="1772298" y="197447"/>
                  </a:lnTo>
                  <a:lnTo>
                    <a:pt x="1772349" y="197447"/>
                  </a:lnTo>
                  <a:lnTo>
                    <a:pt x="1772349" y="198831"/>
                  </a:lnTo>
                  <a:lnTo>
                    <a:pt x="1772349" y="197447"/>
                  </a:lnTo>
                  <a:lnTo>
                    <a:pt x="1772349" y="198831"/>
                  </a:lnTo>
                  <a:lnTo>
                    <a:pt x="1772349" y="197447"/>
                  </a:lnTo>
                  <a:lnTo>
                    <a:pt x="1772400" y="197447"/>
                  </a:lnTo>
                  <a:lnTo>
                    <a:pt x="1772400" y="196799"/>
                  </a:lnTo>
                  <a:lnTo>
                    <a:pt x="1772400" y="197447"/>
                  </a:lnTo>
                  <a:lnTo>
                    <a:pt x="1772400" y="196799"/>
                  </a:lnTo>
                  <a:lnTo>
                    <a:pt x="1772400" y="197447"/>
                  </a:lnTo>
                  <a:lnTo>
                    <a:pt x="1772400" y="196799"/>
                  </a:lnTo>
                  <a:lnTo>
                    <a:pt x="1772501" y="196799"/>
                  </a:lnTo>
                  <a:lnTo>
                    <a:pt x="1772501" y="196113"/>
                  </a:lnTo>
                  <a:lnTo>
                    <a:pt x="1772501" y="196799"/>
                  </a:lnTo>
                  <a:lnTo>
                    <a:pt x="1772501" y="195415"/>
                  </a:lnTo>
                  <a:lnTo>
                    <a:pt x="1772501" y="196113"/>
                  </a:lnTo>
                  <a:lnTo>
                    <a:pt x="1772552" y="195415"/>
                  </a:lnTo>
                  <a:lnTo>
                    <a:pt x="1772552" y="193383"/>
                  </a:lnTo>
                  <a:lnTo>
                    <a:pt x="1772552" y="196799"/>
                  </a:lnTo>
                  <a:lnTo>
                    <a:pt x="1772552" y="195415"/>
                  </a:lnTo>
                  <a:lnTo>
                    <a:pt x="1772603" y="195415"/>
                  </a:lnTo>
                  <a:lnTo>
                    <a:pt x="1772603" y="194716"/>
                  </a:lnTo>
                  <a:lnTo>
                    <a:pt x="1772603" y="196799"/>
                  </a:lnTo>
                  <a:lnTo>
                    <a:pt x="1772603" y="196113"/>
                  </a:lnTo>
                  <a:lnTo>
                    <a:pt x="1772654" y="196113"/>
                  </a:lnTo>
                  <a:lnTo>
                    <a:pt x="1772654" y="195415"/>
                  </a:lnTo>
                  <a:lnTo>
                    <a:pt x="1772654" y="196799"/>
                  </a:lnTo>
                  <a:lnTo>
                    <a:pt x="1772654" y="196113"/>
                  </a:lnTo>
                  <a:lnTo>
                    <a:pt x="1772743" y="196113"/>
                  </a:lnTo>
                  <a:lnTo>
                    <a:pt x="1772743" y="196799"/>
                  </a:lnTo>
                  <a:lnTo>
                    <a:pt x="1772743" y="196113"/>
                  </a:lnTo>
                  <a:lnTo>
                    <a:pt x="1772743" y="196799"/>
                  </a:lnTo>
                  <a:lnTo>
                    <a:pt x="1772794" y="196799"/>
                  </a:lnTo>
                  <a:lnTo>
                    <a:pt x="1772794" y="197447"/>
                  </a:lnTo>
                  <a:lnTo>
                    <a:pt x="1772794" y="196799"/>
                  </a:lnTo>
                  <a:lnTo>
                    <a:pt x="1772794" y="198831"/>
                  </a:lnTo>
                  <a:lnTo>
                    <a:pt x="1772794" y="197447"/>
                  </a:lnTo>
                  <a:lnTo>
                    <a:pt x="1772844" y="197447"/>
                  </a:lnTo>
                  <a:lnTo>
                    <a:pt x="1772844" y="198831"/>
                  </a:lnTo>
                  <a:lnTo>
                    <a:pt x="1772844" y="197447"/>
                  </a:lnTo>
                  <a:lnTo>
                    <a:pt x="1772844" y="198831"/>
                  </a:lnTo>
                  <a:lnTo>
                    <a:pt x="1772844" y="197447"/>
                  </a:lnTo>
                  <a:lnTo>
                    <a:pt x="1772844" y="198831"/>
                  </a:lnTo>
                  <a:lnTo>
                    <a:pt x="1772844" y="197447"/>
                  </a:lnTo>
                  <a:lnTo>
                    <a:pt x="1772844" y="198831"/>
                  </a:lnTo>
                  <a:lnTo>
                    <a:pt x="1772844" y="197447"/>
                  </a:lnTo>
                  <a:lnTo>
                    <a:pt x="1772844" y="198831"/>
                  </a:lnTo>
                  <a:lnTo>
                    <a:pt x="1772844" y="197447"/>
                  </a:lnTo>
                  <a:lnTo>
                    <a:pt x="1772895" y="198831"/>
                  </a:lnTo>
                  <a:lnTo>
                    <a:pt x="1772895" y="197447"/>
                  </a:lnTo>
                  <a:lnTo>
                    <a:pt x="1772895" y="198831"/>
                  </a:lnTo>
                  <a:lnTo>
                    <a:pt x="1772895" y="196799"/>
                  </a:lnTo>
                  <a:lnTo>
                    <a:pt x="1772895" y="197447"/>
                  </a:lnTo>
                  <a:lnTo>
                    <a:pt x="1772895" y="196799"/>
                  </a:lnTo>
                  <a:lnTo>
                    <a:pt x="1772895" y="197447"/>
                  </a:lnTo>
                  <a:lnTo>
                    <a:pt x="1772895" y="196799"/>
                  </a:lnTo>
                  <a:lnTo>
                    <a:pt x="1772895" y="197447"/>
                  </a:lnTo>
                  <a:lnTo>
                    <a:pt x="1772997" y="197447"/>
                  </a:lnTo>
                  <a:lnTo>
                    <a:pt x="1772997" y="196113"/>
                  </a:lnTo>
                  <a:lnTo>
                    <a:pt x="1772997" y="196799"/>
                  </a:lnTo>
                  <a:lnTo>
                    <a:pt x="1772997" y="194716"/>
                  </a:lnTo>
                  <a:lnTo>
                    <a:pt x="1773047" y="194716"/>
                  </a:lnTo>
                  <a:lnTo>
                    <a:pt x="1773047" y="197447"/>
                  </a:lnTo>
                  <a:lnTo>
                    <a:pt x="1773047" y="194716"/>
                  </a:lnTo>
                  <a:lnTo>
                    <a:pt x="1773047" y="195415"/>
                  </a:lnTo>
                  <a:lnTo>
                    <a:pt x="1773098" y="196113"/>
                  </a:lnTo>
                  <a:lnTo>
                    <a:pt x="1773098" y="197447"/>
                  </a:lnTo>
                  <a:lnTo>
                    <a:pt x="1773098" y="196113"/>
                  </a:lnTo>
                  <a:lnTo>
                    <a:pt x="1773098" y="196799"/>
                  </a:lnTo>
                  <a:lnTo>
                    <a:pt x="1773200" y="196799"/>
                  </a:lnTo>
                  <a:lnTo>
                    <a:pt x="1773200" y="197447"/>
                  </a:lnTo>
                  <a:lnTo>
                    <a:pt x="1773200" y="196799"/>
                  </a:lnTo>
                  <a:lnTo>
                    <a:pt x="1773200" y="197447"/>
                  </a:lnTo>
                  <a:lnTo>
                    <a:pt x="1773238" y="196799"/>
                  </a:lnTo>
                  <a:lnTo>
                    <a:pt x="1773238" y="197447"/>
                  </a:lnTo>
                  <a:lnTo>
                    <a:pt x="1773238" y="196799"/>
                  </a:lnTo>
                  <a:lnTo>
                    <a:pt x="1773238" y="197447"/>
                  </a:lnTo>
                  <a:lnTo>
                    <a:pt x="1773238" y="196799"/>
                  </a:lnTo>
                  <a:lnTo>
                    <a:pt x="1773238" y="197447"/>
                  </a:lnTo>
                  <a:lnTo>
                    <a:pt x="1773238" y="196799"/>
                  </a:lnTo>
                  <a:lnTo>
                    <a:pt x="1773238" y="197447"/>
                  </a:lnTo>
                  <a:lnTo>
                    <a:pt x="1773238" y="196799"/>
                  </a:lnTo>
                  <a:lnTo>
                    <a:pt x="1773238" y="197447"/>
                  </a:lnTo>
                  <a:lnTo>
                    <a:pt x="1773289" y="197447"/>
                  </a:lnTo>
                  <a:lnTo>
                    <a:pt x="1773289" y="198831"/>
                  </a:lnTo>
                  <a:lnTo>
                    <a:pt x="1773289" y="197447"/>
                  </a:lnTo>
                  <a:lnTo>
                    <a:pt x="1773340" y="197447"/>
                  </a:lnTo>
                  <a:lnTo>
                    <a:pt x="1773340" y="196799"/>
                  </a:lnTo>
                  <a:lnTo>
                    <a:pt x="1773340" y="197447"/>
                  </a:lnTo>
                  <a:lnTo>
                    <a:pt x="1773340" y="196799"/>
                  </a:lnTo>
                  <a:lnTo>
                    <a:pt x="1773340" y="197447"/>
                  </a:lnTo>
                  <a:lnTo>
                    <a:pt x="1773340" y="196799"/>
                  </a:lnTo>
                  <a:lnTo>
                    <a:pt x="1773340" y="197447"/>
                  </a:lnTo>
                  <a:lnTo>
                    <a:pt x="1773340" y="196799"/>
                  </a:lnTo>
                  <a:lnTo>
                    <a:pt x="1773340" y="197447"/>
                  </a:lnTo>
                  <a:lnTo>
                    <a:pt x="1773441" y="197447"/>
                  </a:lnTo>
                  <a:lnTo>
                    <a:pt x="1773441" y="196799"/>
                  </a:lnTo>
                  <a:lnTo>
                    <a:pt x="1773441" y="197447"/>
                  </a:lnTo>
                  <a:lnTo>
                    <a:pt x="1773441" y="196799"/>
                  </a:lnTo>
                  <a:lnTo>
                    <a:pt x="1773492" y="197447"/>
                  </a:lnTo>
                  <a:lnTo>
                    <a:pt x="1773492" y="195415"/>
                  </a:lnTo>
                  <a:lnTo>
                    <a:pt x="1773492" y="196113"/>
                  </a:lnTo>
                  <a:lnTo>
                    <a:pt x="1773492" y="194716"/>
                  </a:lnTo>
                  <a:lnTo>
                    <a:pt x="1773492" y="195415"/>
                  </a:lnTo>
                  <a:lnTo>
                    <a:pt x="1773543" y="195415"/>
                  </a:lnTo>
                  <a:lnTo>
                    <a:pt x="1773543" y="196799"/>
                  </a:lnTo>
                  <a:lnTo>
                    <a:pt x="1773543" y="195415"/>
                  </a:lnTo>
                  <a:lnTo>
                    <a:pt x="1773543" y="196799"/>
                  </a:lnTo>
                  <a:lnTo>
                    <a:pt x="1773644" y="197447"/>
                  </a:lnTo>
                  <a:lnTo>
                    <a:pt x="1773644" y="196113"/>
                  </a:lnTo>
                  <a:lnTo>
                    <a:pt x="1773644" y="197447"/>
                  </a:lnTo>
                  <a:lnTo>
                    <a:pt x="1773695" y="197447"/>
                  </a:lnTo>
                  <a:lnTo>
                    <a:pt x="1773695" y="196799"/>
                  </a:lnTo>
                  <a:lnTo>
                    <a:pt x="1773695" y="198831"/>
                  </a:lnTo>
                  <a:lnTo>
                    <a:pt x="1773746" y="198831"/>
                  </a:lnTo>
                  <a:lnTo>
                    <a:pt x="1773746" y="196799"/>
                  </a:lnTo>
                  <a:lnTo>
                    <a:pt x="1773746" y="198831"/>
                  </a:lnTo>
                  <a:lnTo>
                    <a:pt x="1773886" y="198831"/>
                  </a:lnTo>
                  <a:lnTo>
                    <a:pt x="1773886" y="197447"/>
                  </a:lnTo>
                  <a:lnTo>
                    <a:pt x="1773886" y="198831"/>
                  </a:lnTo>
                  <a:lnTo>
                    <a:pt x="1773886" y="196799"/>
                  </a:lnTo>
                  <a:lnTo>
                    <a:pt x="1773937" y="196799"/>
                  </a:lnTo>
                  <a:lnTo>
                    <a:pt x="1773937" y="197447"/>
                  </a:lnTo>
                  <a:lnTo>
                    <a:pt x="1773937" y="196113"/>
                  </a:lnTo>
                  <a:lnTo>
                    <a:pt x="1773987" y="196113"/>
                  </a:lnTo>
                  <a:lnTo>
                    <a:pt x="1773987" y="196799"/>
                  </a:lnTo>
                  <a:lnTo>
                    <a:pt x="1773987" y="196113"/>
                  </a:lnTo>
                  <a:lnTo>
                    <a:pt x="1773987" y="196799"/>
                  </a:lnTo>
                  <a:lnTo>
                    <a:pt x="1773987" y="194716"/>
                  </a:lnTo>
                  <a:lnTo>
                    <a:pt x="1773987" y="195415"/>
                  </a:lnTo>
                  <a:lnTo>
                    <a:pt x="1774089" y="196113"/>
                  </a:lnTo>
                  <a:lnTo>
                    <a:pt x="1774089" y="194716"/>
                  </a:lnTo>
                  <a:lnTo>
                    <a:pt x="1774089" y="196113"/>
                  </a:lnTo>
                  <a:lnTo>
                    <a:pt x="1774140" y="196799"/>
                  </a:lnTo>
                  <a:lnTo>
                    <a:pt x="1774140" y="195415"/>
                  </a:lnTo>
                  <a:lnTo>
                    <a:pt x="1774140" y="196799"/>
                  </a:lnTo>
                  <a:lnTo>
                    <a:pt x="1774190" y="196799"/>
                  </a:lnTo>
                  <a:lnTo>
                    <a:pt x="1774190" y="196113"/>
                  </a:lnTo>
                  <a:lnTo>
                    <a:pt x="1774190" y="197447"/>
                  </a:lnTo>
                  <a:lnTo>
                    <a:pt x="1774190" y="196799"/>
                  </a:lnTo>
                  <a:lnTo>
                    <a:pt x="1774190" y="197447"/>
                  </a:lnTo>
                  <a:lnTo>
                    <a:pt x="1774241" y="197447"/>
                  </a:lnTo>
                  <a:lnTo>
                    <a:pt x="1774241" y="196799"/>
                  </a:lnTo>
                  <a:lnTo>
                    <a:pt x="1774241" y="198831"/>
                  </a:lnTo>
                  <a:lnTo>
                    <a:pt x="1774330" y="198831"/>
                  </a:lnTo>
                  <a:lnTo>
                    <a:pt x="1774330" y="197447"/>
                  </a:lnTo>
                  <a:lnTo>
                    <a:pt x="1774330" y="198831"/>
                  </a:lnTo>
                  <a:lnTo>
                    <a:pt x="1774330" y="197447"/>
                  </a:lnTo>
                  <a:lnTo>
                    <a:pt x="1774381" y="197447"/>
                  </a:lnTo>
                  <a:lnTo>
                    <a:pt x="1774381" y="196799"/>
                  </a:lnTo>
                  <a:lnTo>
                    <a:pt x="1774381" y="197447"/>
                  </a:lnTo>
                  <a:lnTo>
                    <a:pt x="1774381" y="196799"/>
                  </a:lnTo>
                  <a:lnTo>
                    <a:pt x="1774381" y="197447"/>
                  </a:lnTo>
                  <a:lnTo>
                    <a:pt x="1774381" y="196799"/>
                  </a:lnTo>
                  <a:lnTo>
                    <a:pt x="1774381" y="197447"/>
                  </a:lnTo>
                  <a:lnTo>
                    <a:pt x="1774432" y="197447"/>
                  </a:lnTo>
                  <a:lnTo>
                    <a:pt x="1774432" y="196799"/>
                  </a:lnTo>
                  <a:lnTo>
                    <a:pt x="1774432" y="197447"/>
                  </a:lnTo>
                  <a:lnTo>
                    <a:pt x="1774432" y="196799"/>
                  </a:lnTo>
                  <a:lnTo>
                    <a:pt x="1774432" y="197447"/>
                  </a:lnTo>
                  <a:lnTo>
                    <a:pt x="1774432" y="196113"/>
                  </a:lnTo>
                  <a:lnTo>
                    <a:pt x="1774432" y="196799"/>
                  </a:lnTo>
                  <a:lnTo>
                    <a:pt x="1774432" y="196113"/>
                  </a:lnTo>
                  <a:lnTo>
                    <a:pt x="1774483" y="196113"/>
                  </a:lnTo>
                  <a:lnTo>
                    <a:pt x="1774483" y="196799"/>
                  </a:lnTo>
                  <a:lnTo>
                    <a:pt x="1774483" y="196113"/>
                  </a:lnTo>
                  <a:lnTo>
                    <a:pt x="1774584" y="196799"/>
                  </a:lnTo>
                  <a:lnTo>
                    <a:pt x="1774584" y="199530"/>
                  </a:lnTo>
                  <a:lnTo>
                    <a:pt x="1774584" y="198831"/>
                  </a:lnTo>
                  <a:lnTo>
                    <a:pt x="1774584" y="199530"/>
                  </a:lnTo>
                  <a:lnTo>
                    <a:pt x="1774584" y="197447"/>
                  </a:lnTo>
                  <a:lnTo>
                    <a:pt x="1774635" y="197447"/>
                  </a:lnTo>
                  <a:lnTo>
                    <a:pt x="1774635" y="199530"/>
                  </a:lnTo>
                  <a:lnTo>
                    <a:pt x="1774635" y="197447"/>
                  </a:lnTo>
                  <a:lnTo>
                    <a:pt x="1774635" y="198831"/>
                  </a:lnTo>
                  <a:lnTo>
                    <a:pt x="1774635" y="197447"/>
                  </a:lnTo>
                  <a:lnTo>
                    <a:pt x="1774635" y="198831"/>
                  </a:lnTo>
                  <a:lnTo>
                    <a:pt x="1774686" y="198831"/>
                  </a:lnTo>
                  <a:lnTo>
                    <a:pt x="1774686" y="199530"/>
                  </a:lnTo>
                  <a:lnTo>
                    <a:pt x="1774686" y="198831"/>
                  </a:lnTo>
                  <a:lnTo>
                    <a:pt x="1774686" y="199530"/>
                  </a:lnTo>
                  <a:lnTo>
                    <a:pt x="1774686" y="198831"/>
                  </a:lnTo>
                  <a:lnTo>
                    <a:pt x="1774686" y="199530"/>
                  </a:lnTo>
                  <a:lnTo>
                    <a:pt x="1774686" y="198831"/>
                  </a:lnTo>
                  <a:lnTo>
                    <a:pt x="1774686" y="199530"/>
                  </a:lnTo>
                  <a:lnTo>
                    <a:pt x="1774686" y="198831"/>
                  </a:lnTo>
                  <a:lnTo>
                    <a:pt x="1774787" y="198831"/>
                  </a:lnTo>
                  <a:lnTo>
                    <a:pt x="1774787" y="199530"/>
                  </a:lnTo>
                  <a:lnTo>
                    <a:pt x="1774787" y="198831"/>
                  </a:lnTo>
                  <a:lnTo>
                    <a:pt x="1774787" y="199530"/>
                  </a:lnTo>
                  <a:lnTo>
                    <a:pt x="1774787" y="198831"/>
                  </a:lnTo>
                  <a:lnTo>
                    <a:pt x="1774825" y="198831"/>
                  </a:lnTo>
                  <a:lnTo>
                    <a:pt x="1774825" y="199530"/>
                  </a:lnTo>
                  <a:lnTo>
                    <a:pt x="1774825" y="197447"/>
                  </a:lnTo>
                  <a:lnTo>
                    <a:pt x="1774825" y="199530"/>
                  </a:lnTo>
                  <a:lnTo>
                    <a:pt x="1774825" y="198831"/>
                  </a:lnTo>
                  <a:lnTo>
                    <a:pt x="1774876" y="198831"/>
                  </a:lnTo>
                  <a:lnTo>
                    <a:pt x="1774876" y="197447"/>
                  </a:lnTo>
                  <a:lnTo>
                    <a:pt x="1774927" y="197447"/>
                  </a:lnTo>
                  <a:lnTo>
                    <a:pt x="1774927" y="196799"/>
                  </a:lnTo>
                  <a:lnTo>
                    <a:pt x="1774927" y="199530"/>
                  </a:lnTo>
                  <a:lnTo>
                    <a:pt x="1775029" y="198831"/>
                  </a:lnTo>
                  <a:lnTo>
                    <a:pt x="1775029" y="196799"/>
                  </a:lnTo>
                  <a:lnTo>
                    <a:pt x="1775029" y="200876"/>
                  </a:lnTo>
                  <a:lnTo>
                    <a:pt x="1775029" y="200228"/>
                  </a:lnTo>
                  <a:lnTo>
                    <a:pt x="1775029" y="200876"/>
                  </a:lnTo>
                  <a:lnTo>
                    <a:pt x="1775029" y="200228"/>
                  </a:lnTo>
                  <a:lnTo>
                    <a:pt x="1775080" y="199530"/>
                  </a:lnTo>
                  <a:lnTo>
                    <a:pt x="1775080" y="198831"/>
                  </a:lnTo>
                  <a:lnTo>
                    <a:pt x="1775080" y="200876"/>
                  </a:lnTo>
                  <a:lnTo>
                    <a:pt x="1775080" y="200228"/>
                  </a:lnTo>
                  <a:lnTo>
                    <a:pt x="1775130" y="200228"/>
                  </a:lnTo>
                  <a:lnTo>
                    <a:pt x="1775130" y="199530"/>
                  </a:lnTo>
                  <a:lnTo>
                    <a:pt x="1775130" y="200228"/>
                  </a:lnTo>
                  <a:lnTo>
                    <a:pt x="1775130" y="199530"/>
                  </a:lnTo>
                  <a:lnTo>
                    <a:pt x="1775232" y="200228"/>
                  </a:lnTo>
                  <a:lnTo>
                    <a:pt x="1775232" y="199530"/>
                  </a:lnTo>
                  <a:lnTo>
                    <a:pt x="1775232" y="200876"/>
                  </a:lnTo>
                  <a:lnTo>
                    <a:pt x="1775232" y="200228"/>
                  </a:lnTo>
                  <a:lnTo>
                    <a:pt x="1775232" y="200876"/>
                  </a:lnTo>
                  <a:lnTo>
                    <a:pt x="1775232" y="200228"/>
                  </a:lnTo>
                  <a:lnTo>
                    <a:pt x="1775283" y="200876"/>
                  </a:lnTo>
                  <a:lnTo>
                    <a:pt x="1775283" y="198831"/>
                  </a:lnTo>
                  <a:lnTo>
                    <a:pt x="1775283" y="199530"/>
                  </a:lnTo>
                  <a:lnTo>
                    <a:pt x="1775334" y="199530"/>
                  </a:lnTo>
                  <a:lnTo>
                    <a:pt x="1775334" y="197447"/>
                  </a:lnTo>
                  <a:lnTo>
                    <a:pt x="1775372" y="198831"/>
                  </a:lnTo>
                  <a:lnTo>
                    <a:pt x="1775372" y="196799"/>
                  </a:lnTo>
                  <a:lnTo>
                    <a:pt x="1775372" y="197447"/>
                  </a:lnTo>
                  <a:lnTo>
                    <a:pt x="1775372" y="196113"/>
                  </a:lnTo>
                  <a:lnTo>
                    <a:pt x="1775372" y="196799"/>
                  </a:lnTo>
                  <a:lnTo>
                    <a:pt x="1775473" y="197447"/>
                  </a:lnTo>
                  <a:lnTo>
                    <a:pt x="1775473" y="198831"/>
                  </a:lnTo>
                  <a:lnTo>
                    <a:pt x="1775473" y="197447"/>
                  </a:lnTo>
                  <a:lnTo>
                    <a:pt x="1775473" y="198831"/>
                  </a:lnTo>
                  <a:lnTo>
                    <a:pt x="1775524" y="199530"/>
                  </a:lnTo>
                  <a:lnTo>
                    <a:pt x="1775524" y="200228"/>
                  </a:lnTo>
                  <a:lnTo>
                    <a:pt x="1775524" y="199530"/>
                  </a:lnTo>
                  <a:lnTo>
                    <a:pt x="1775524" y="200228"/>
                  </a:lnTo>
                  <a:lnTo>
                    <a:pt x="1775524" y="198831"/>
                  </a:lnTo>
                  <a:lnTo>
                    <a:pt x="1775524" y="200228"/>
                  </a:lnTo>
                  <a:lnTo>
                    <a:pt x="1775575" y="200228"/>
                  </a:lnTo>
                  <a:lnTo>
                    <a:pt x="1775575" y="199530"/>
                  </a:lnTo>
                  <a:lnTo>
                    <a:pt x="1775575" y="200228"/>
                  </a:lnTo>
                  <a:lnTo>
                    <a:pt x="1775575" y="199530"/>
                  </a:lnTo>
                  <a:lnTo>
                    <a:pt x="1775676" y="199530"/>
                  </a:lnTo>
                  <a:lnTo>
                    <a:pt x="1775676" y="200876"/>
                  </a:lnTo>
                  <a:lnTo>
                    <a:pt x="1775676" y="200228"/>
                  </a:lnTo>
                  <a:lnTo>
                    <a:pt x="1775727" y="200228"/>
                  </a:lnTo>
                  <a:lnTo>
                    <a:pt x="1775727" y="200876"/>
                  </a:lnTo>
                  <a:lnTo>
                    <a:pt x="1775727" y="200228"/>
                  </a:lnTo>
                  <a:lnTo>
                    <a:pt x="1775727" y="200876"/>
                  </a:lnTo>
                  <a:lnTo>
                    <a:pt x="1775727" y="200228"/>
                  </a:lnTo>
                  <a:lnTo>
                    <a:pt x="1775727" y="200876"/>
                  </a:lnTo>
                  <a:lnTo>
                    <a:pt x="1775727" y="200228"/>
                  </a:lnTo>
                  <a:lnTo>
                    <a:pt x="1775778" y="200228"/>
                  </a:lnTo>
                  <a:lnTo>
                    <a:pt x="1775778" y="198831"/>
                  </a:lnTo>
                  <a:lnTo>
                    <a:pt x="1775778" y="199530"/>
                  </a:lnTo>
                  <a:lnTo>
                    <a:pt x="1775829" y="199530"/>
                  </a:lnTo>
                  <a:lnTo>
                    <a:pt x="1775829" y="198831"/>
                  </a:lnTo>
                  <a:lnTo>
                    <a:pt x="1775829" y="199530"/>
                  </a:lnTo>
                  <a:lnTo>
                    <a:pt x="1775829" y="196799"/>
                  </a:lnTo>
                  <a:lnTo>
                    <a:pt x="1775918" y="197447"/>
                  </a:lnTo>
                  <a:lnTo>
                    <a:pt x="1775918" y="196113"/>
                  </a:lnTo>
                  <a:lnTo>
                    <a:pt x="1775918" y="198831"/>
                  </a:lnTo>
                  <a:lnTo>
                    <a:pt x="1775969" y="198831"/>
                  </a:lnTo>
                  <a:lnTo>
                    <a:pt x="1775969" y="196799"/>
                  </a:lnTo>
                  <a:lnTo>
                    <a:pt x="1775969" y="199530"/>
                  </a:lnTo>
                  <a:lnTo>
                    <a:pt x="1775969" y="198831"/>
                  </a:lnTo>
                  <a:lnTo>
                    <a:pt x="1776019" y="199530"/>
                  </a:lnTo>
                  <a:lnTo>
                    <a:pt x="1776019" y="198831"/>
                  </a:lnTo>
                  <a:lnTo>
                    <a:pt x="1776019" y="199530"/>
                  </a:lnTo>
                  <a:lnTo>
                    <a:pt x="1776019" y="198831"/>
                  </a:lnTo>
                  <a:lnTo>
                    <a:pt x="1776019" y="199530"/>
                  </a:lnTo>
                  <a:lnTo>
                    <a:pt x="1776019" y="198831"/>
                  </a:lnTo>
                  <a:lnTo>
                    <a:pt x="1776070" y="198831"/>
                  </a:lnTo>
                  <a:lnTo>
                    <a:pt x="1776070" y="199530"/>
                  </a:lnTo>
                  <a:lnTo>
                    <a:pt x="1776070" y="198831"/>
                  </a:lnTo>
                  <a:lnTo>
                    <a:pt x="1776070" y="199530"/>
                  </a:lnTo>
                  <a:lnTo>
                    <a:pt x="1776172" y="199530"/>
                  </a:lnTo>
                  <a:lnTo>
                    <a:pt x="1776172" y="198831"/>
                  </a:lnTo>
                  <a:lnTo>
                    <a:pt x="1776172" y="200228"/>
                  </a:lnTo>
                  <a:lnTo>
                    <a:pt x="1776172" y="199530"/>
                  </a:lnTo>
                  <a:lnTo>
                    <a:pt x="1776172" y="200228"/>
                  </a:lnTo>
                  <a:lnTo>
                    <a:pt x="1776172" y="199530"/>
                  </a:lnTo>
                  <a:lnTo>
                    <a:pt x="1776172" y="200228"/>
                  </a:lnTo>
                  <a:lnTo>
                    <a:pt x="1776172" y="199530"/>
                  </a:lnTo>
                  <a:lnTo>
                    <a:pt x="1776222" y="200228"/>
                  </a:lnTo>
                  <a:lnTo>
                    <a:pt x="1776222" y="199530"/>
                  </a:lnTo>
                  <a:lnTo>
                    <a:pt x="1776222" y="200228"/>
                  </a:lnTo>
                  <a:lnTo>
                    <a:pt x="1776273" y="199530"/>
                  </a:lnTo>
                  <a:lnTo>
                    <a:pt x="1776273" y="200228"/>
                  </a:lnTo>
                  <a:lnTo>
                    <a:pt x="1776273" y="198831"/>
                  </a:lnTo>
                  <a:lnTo>
                    <a:pt x="1776273" y="199530"/>
                  </a:lnTo>
                  <a:lnTo>
                    <a:pt x="1776273" y="197447"/>
                  </a:lnTo>
                  <a:lnTo>
                    <a:pt x="1776375" y="197447"/>
                  </a:lnTo>
                  <a:lnTo>
                    <a:pt x="1776375" y="198831"/>
                  </a:lnTo>
                  <a:lnTo>
                    <a:pt x="1776375" y="196113"/>
                  </a:lnTo>
                  <a:lnTo>
                    <a:pt x="1776413" y="196113"/>
                  </a:lnTo>
                  <a:lnTo>
                    <a:pt x="1776413" y="194716"/>
                  </a:lnTo>
                  <a:lnTo>
                    <a:pt x="1776413" y="196799"/>
                  </a:lnTo>
                  <a:lnTo>
                    <a:pt x="1776413" y="196113"/>
                  </a:lnTo>
                  <a:lnTo>
                    <a:pt x="1776464" y="196113"/>
                  </a:lnTo>
                  <a:lnTo>
                    <a:pt x="1776464" y="194716"/>
                  </a:lnTo>
                  <a:lnTo>
                    <a:pt x="1776464" y="197447"/>
                  </a:lnTo>
                  <a:lnTo>
                    <a:pt x="1776464" y="196113"/>
                  </a:lnTo>
                  <a:lnTo>
                    <a:pt x="1776515" y="196113"/>
                  </a:lnTo>
                  <a:lnTo>
                    <a:pt x="1776515" y="197447"/>
                  </a:lnTo>
                  <a:lnTo>
                    <a:pt x="1776515" y="196799"/>
                  </a:lnTo>
                  <a:lnTo>
                    <a:pt x="1776515" y="197447"/>
                  </a:lnTo>
                  <a:lnTo>
                    <a:pt x="1776616" y="196799"/>
                  </a:lnTo>
                  <a:lnTo>
                    <a:pt x="1776616" y="198831"/>
                  </a:lnTo>
                  <a:lnTo>
                    <a:pt x="1776616" y="197447"/>
                  </a:lnTo>
                  <a:lnTo>
                    <a:pt x="1776616" y="198831"/>
                  </a:lnTo>
                  <a:lnTo>
                    <a:pt x="1776667" y="198831"/>
                  </a:lnTo>
                  <a:lnTo>
                    <a:pt x="1776667" y="199530"/>
                  </a:lnTo>
                  <a:lnTo>
                    <a:pt x="1776667" y="198831"/>
                  </a:lnTo>
                  <a:lnTo>
                    <a:pt x="1776718" y="198831"/>
                  </a:lnTo>
                  <a:lnTo>
                    <a:pt x="1776718" y="199530"/>
                  </a:lnTo>
                  <a:lnTo>
                    <a:pt x="1776718" y="198831"/>
                  </a:lnTo>
                  <a:lnTo>
                    <a:pt x="1776718" y="199530"/>
                  </a:lnTo>
                  <a:lnTo>
                    <a:pt x="1776718" y="198831"/>
                  </a:lnTo>
                  <a:lnTo>
                    <a:pt x="1776718" y="199530"/>
                  </a:lnTo>
                  <a:lnTo>
                    <a:pt x="1776819" y="199530"/>
                  </a:lnTo>
                  <a:lnTo>
                    <a:pt x="1776819" y="197447"/>
                  </a:lnTo>
                  <a:lnTo>
                    <a:pt x="1776819" y="198831"/>
                  </a:lnTo>
                  <a:lnTo>
                    <a:pt x="1776819" y="197447"/>
                  </a:lnTo>
                  <a:lnTo>
                    <a:pt x="1776819" y="198831"/>
                  </a:lnTo>
                  <a:lnTo>
                    <a:pt x="1776870" y="197447"/>
                  </a:lnTo>
                  <a:lnTo>
                    <a:pt x="1776870" y="196113"/>
                  </a:lnTo>
                  <a:lnTo>
                    <a:pt x="1776921" y="196113"/>
                  </a:lnTo>
                  <a:lnTo>
                    <a:pt x="1776921" y="194716"/>
                  </a:lnTo>
                  <a:lnTo>
                    <a:pt x="1776921" y="196113"/>
                  </a:lnTo>
                  <a:lnTo>
                    <a:pt x="1776921" y="195415"/>
                  </a:lnTo>
                  <a:lnTo>
                    <a:pt x="1776959" y="194716"/>
                  </a:lnTo>
                  <a:lnTo>
                    <a:pt x="1776959" y="195415"/>
                  </a:lnTo>
                  <a:lnTo>
                    <a:pt x="1776959" y="193383"/>
                  </a:lnTo>
                  <a:lnTo>
                    <a:pt x="1776959" y="196113"/>
                  </a:lnTo>
                  <a:lnTo>
                    <a:pt x="1777061" y="196113"/>
                  </a:lnTo>
                  <a:lnTo>
                    <a:pt x="1777061" y="195415"/>
                  </a:lnTo>
                  <a:lnTo>
                    <a:pt x="1777061" y="196113"/>
                  </a:lnTo>
                  <a:lnTo>
                    <a:pt x="1777112" y="196113"/>
                  </a:lnTo>
                  <a:lnTo>
                    <a:pt x="1777112" y="195415"/>
                  </a:lnTo>
                  <a:lnTo>
                    <a:pt x="1777112" y="196799"/>
                  </a:lnTo>
                  <a:lnTo>
                    <a:pt x="1777112" y="196113"/>
                  </a:lnTo>
                  <a:lnTo>
                    <a:pt x="1777162" y="196113"/>
                  </a:lnTo>
                  <a:lnTo>
                    <a:pt x="1777162" y="196799"/>
                  </a:lnTo>
                  <a:lnTo>
                    <a:pt x="1777162" y="196113"/>
                  </a:lnTo>
                  <a:lnTo>
                    <a:pt x="1777162" y="196799"/>
                  </a:lnTo>
                  <a:lnTo>
                    <a:pt x="1777264" y="196799"/>
                  </a:lnTo>
                  <a:lnTo>
                    <a:pt x="1777264" y="197447"/>
                  </a:lnTo>
                  <a:lnTo>
                    <a:pt x="1777264" y="196799"/>
                  </a:lnTo>
                  <a:lnTo>
                    <a:pt x="1777264" y="197447"/>
                  </a:lnTo>
                  <a:lnTo>
                    <a:pt x="1777264" y="196799"/>
                  </a:lnTo>
                  <a:lnTo>
                    <a:pt x="1777264" y="197447"/>
                  </a:lnTo>
                  <a:lnTo>
                    <a:pt x="1777264" y="196799"/>
                  </a:lnTo>
                  <a:lnTo>
                    <a:pt x="1777315" y="197447"/>
                  </a:lnTo>
                  <a:lnTo>
                    <a:pt x="1777315" y="196799"/>
                  </a:lnTo>
                  <a:lnTo>
                    <a:pt x="1777315" y="197447"/>
                  </a:lnTo>
                  <a:lnTo>
                    <a:pt x="1777365" y="196799"/>
                  </a:lnTo>
                  <a:lnTo>
                    <a:pt x="1777365" y="197447"/>
                  </a:lnTo>
                  <a:lnTo>
                    <a:pt x="1777365" y="196113"/>
                  </a:lnTo>
                  <a:lnTo>
                    <a:pt x="1777416" y="196113"/>
                  </a:lnTo>
                  <a:lnTo>
                    <a:pt x="1777416" y="194716"/>
                  </a:lnTo>
                  <a:lnTo>
                    <a:pt x="1777416" y="196113"/>
                  </a:lnTo>
                  <a:lnTo>
                    <a:pt x="1777416" y="195415"/>
                  </a:lnTo>
                  <a:lnTo>
                    <a:pt x="1777505" y="195415"/>
                  </a:lnTo>
                  <a:lnTo>
                    <a:pt x="1777505" y="193383"/>
                  </a:lnTo>
                  <a:lnTo>
                    <a:pt x="1777505" y="196799"/>
                  </a:lnTo>
                  <a:lnTo>
                    <a:pt x="1777505" y="195415"/>
                  </a:lnTo>
                  <a:lnTo>
                    <a:pt x="1777556" y="195415"/>
                  </a:lnTo>
                  <a:lnTo>
                    <a:pt x="1777556" y="194716"/>
                  </a:lnTo>
                  <a:lnTo>
                    <a:pt x="1777556" y="196799"/>
                  </a:lnTo>
                  <a:lnTo>
                    <a:pt x="1777556" y="196113"/>
                  </a:lnTo>
                  <a:lnTo>
                    <a:pt x="1777607" y="196113"/>
                  </a:lnTo>
                  <a:lnTo>
                    <a:pt x="1777607" y="195415"/>
                  </a:lnTo>
                  <a:lnTo>
                    <a:pt x="1777607" y="196799"/>
                  </a:lnTo>
                  <a:lnTo>
                    <a:pt x="1777607" y="196113"/>
                  </a:lnTo>
                  <a:lnTo>
                    <a:pt x="1777658" y="196113"/>
                  </a:lnTo>
                  <a:lnTo>
                    <a:pt x="1777658" y="197447"/>
                  </a:lnTo>
                  <a:lnTo>
                    <a:pt x="1777658" y="196113"/>
                  </a:lnTo>
                  <a:lnTo>
                    <a:pt x="1777658" y="196799"/>
                  </a:lnTo>
                  <a:lnTo>
                    <a:pt x="1777658" y="196113"/>
                  </a:lnTo>
                  <a:lnTo>
                    <a:pt x="1777658" y="196799"/>
                  </a:lnTo>
                  <a:lnTo>
                    <a:pt x="1777759" y="196799"/>
                  </a:lnTo>
                  <a:lnTo>
                    <a:pt x="1777759" y="197447"/>
                  </a:lnTo>
                  <a:lnTo>
                    <a:pt x="1777759" y="196799"/>
                  </a:lnTo>
                  <a:lnTo>
                    <a:pt x="1777810" y="196799"/>
                  </a:lnTo>
                  <a:lnTo>
                    <a:pt x="1777810" y="197447"/>
                  </a:lnTo>
                  <a:lnTo>
                    <a:pt x="1777810" y="196799"/>
                  </a:lnTo>
                  <a:lnTo>
                    <a:pt x="1777810" y="197447"/>
                  </a:lnTo>
                  <a:lnTo>
                    <a:pt x="1777810" y="196799"/>
                  </a:lnTo>
                  <a:lnTo>
                    <a:pt x="1777810" y="197447"/>
                  </a:lnTo>
                  <a:lnTo>
                    <a:pt x="1777861" y="197447"/>
                  </a:lnTo>
                  <a:lnTo>
                    <a:pt x="1777861" y="196799"/>
                  </a:lnTo>
                  <a:lnTo>
                    <a:pt x="1777861" y="197447"/>
                  </a:lnTo>
                  <a:lnTo>
                    <a:pt x="1777861" y="196113"/>
                  </a:lnTo>
                  <a:lnTo>
                    <a:pt x="1777861" y="196799"/>
                  </a:lnTo>
                  <a:lnTo>
                    <a:pt x="1777861" y="196113"/>
                  </a:lnTo>
                  <a:lnTo>
                    <a:pt x="1777861" y="196799"/>
                  </a:lnTo>
                  <a:lnTo>
                    <a:pt x="1777962" y="196113"/>
                  </a:lnTo>
                  <a:lnTo>
                    <a:pt x="1777962" y="194716"/>
                  </a:lnTo>
                  <a:lnTo>
                    <a:pt x="1777962" y="196799"/>
                  </a:lnTo>
                  <a:lnTo>
                    <a:pt x="1777962" y="196113"/>
                  </a:lnTo>
                  <a:lnTo>
                    <a:pt x="1778000" y="195415"/>
                  </a:lnTo>
                  <a:lnTo>
                    <a:pt x="1778000" y="197447"/>
                  </a:lnTo>
                  <a:lnTo>
                    <a:pt x="1778000" y="196113"/>
                  </a:lnTo>
                  <a:lnTo>
                    <a:pt x="1778051" y="196113"/>
                  </a:lnTo>
                  <a:lnTo>
                    <a:pt x="1778051" y="195415"/>
                  </a:lnTo>
                  <a:lnTo>
                    <a:pt x="1778051" y="197447"/>
                  </a:lnTo>
                  <a:lnTo>
                    <a:pt x="1778051" y="196799"/>
                  </a:lnTo>
                  <a:lnTo>
                    <a:pt x="1778102" y="196799"/>
                  </a:lnTo>
                  <a:lnTo>
                    <a:pt x="1778102" y="197447"/>
                  </a:lnTo>
                  <a:lnTo>
                    <a:pt x="1778102" y="196799"/>
                  </a:lnTo>
                  <a:lnTo>
                    <a:pt x="1778204" y="196799"/>
                  </a:lnTo>
                  <a:lnTo>
                    <a:pt x="1778204" y="197447"/>
                  </a:lnTo>
                  <a:lnTo>
                    <a:pt x="1778204" y="196799"/>
                  </a:lnTo>
                  <a:lnTo>
                    <a:pt x="1778204" y="197447"/>
                  </a:lnTo>
                  <a:lnTo>
                    <a:pt x="1778255" y="197447"/>
                  </a:lnTo>
                  <a:lnTo>
                    <a:pt x="1778255" y="196799"/>
                  </a:lnTo>
                  <a:lnTo>
                    <a:pt x="1778255" y="198831"/>
                  </a:lnTo>
                  <a:lnTo>
                    <a:pt x="1778255" y="196799"/>
                  </a:lnTo>
                  <a:lnTo>
                    <a:pt x="1778255" y="197447"/>
                  </a:lnTo>
                  <a:lnTo>
                    <a:pt x="1778305" y="197447"/>
                  </a:lnTo>
                  <a:lnTo>
                    <a:pt x="1778305" y="196799"/>
                  </a:lnTo>
                  <a:lnTo>
                    <a:pt x="1778305" y="197447"/>
                  </a:lnTo>
                  <a:lnTo>
                    <a:pt x="1778305" y="196799"/>
                  </a:lnTo>
                  <a:lnTo>
                    <a:pt x="1778305" y="197447"/>
                  </a:lnTo>
                  <a:lnTo>
                    <a:pt x="1778305" y="196799"/>
                  </a:lnTo>
                  <a:lnTo>
                    <a:pt x="1778407" y="196799"/>
                  </a:lnTo>
                  <a:lnTo>
                    <a:pt x="1778407" y="195415"/>
                  </a:lnTo>
                  <a:lnTo>
                    <a:pt x="1778407" y="196113"/>
                  </a:lnTo>
                  <a:lnTo>
                    <a:pt x="1778407" y="195415"/>
                  </a:lnTo>
                  <a:lnTo>
                    <a:pt x="1778458" y="194716"/>
                  </a:lnTo>
                  <a:lnTo>
                    <a:pt x="1778458" y="193383"/>
                  </a:lnTo>
                  <a:lnTo>
                    <a:pt x="1778458" y="196113"/>
                  </a:lnTo>
                  <a:lnTo>
                    <a:pt x="1778458" y="194716"/>
                  </a:lnTo>
                  <a:lnTo>
                    <a:pt x="1778509" y="193383"/>
                  </a:lnTo>
                  <a:lnTo>
                    <a:pt x="1778509" y="197447"/>
                  </a:lnTo>
                  <a:lnTo>
                    <a:pt x="1778509" y="196113"/>
                  </a:lnTo>
                  <a:lnTo>
                    <a:pt x="1778547" y="195415"/>
                  </a:lnTo>
                  <a:lnTo>
                    <a:pt x="1778547" y="198831"/>
                  </a:lnTo>
                  <a:lnTo>
                    <a:pt x="1778547" y="196799"/>
                  </a:lnTo>
                  <a:lnTo>
                    <a:pt x="1778648" y="196799"/>
                  </a:lnTo>
                  <a:lnTo>
                    <a:pt x="1778648" y="197447"/>
                  </a:lnTo>
                  <a:lnTo>
                    <a:pt x="1778648" y="196799"/>
                  </a:lnTo>
                  <a:lnTo>
                    <a:pt x="1778648" y="197447"/>
                  </a:lnTo>
                  <a:lnTo>
                    <a:pt x="1778648" y="196799"/>
                  </a:lnTo>
                  <a:lnTo>
                    <a:pt x="1778699" y="196799"/>
                  </a:lnTo>
                  <a:lnTo>
                    <a:pt x="1778699" y="197447"/>
                  </a:lnTo>
                  <a:lnTo>
                    <a:pt x="1778699" y="196799"/>
                  </a:lnTo>
                  <a:lnTo>
                    <a:pt x="1778699" y="197447"/>
                  </a:lnTo>
                  <a:lnTo>
                    <a:pt x="1778851" y="197447"/>
                  </a:lnTo>
                  <a:lnTo>
                    <a:pt x="1778851" y="196799"/>
                  </a:lnTo>
                  <a:lnTo>
                    <a:pt x="1778851" y="197447"/>
                  </a:lnTo>
                  <a:lnTo>
                    <a:pt x="1778851" y="196799"/>
                  </a:lnTo>
                  <a:lnTo>
                    <a:pt x="1778902" y="196113"/>
                  </a:lnTo>
                  <a:lnTo>
                    <a:pt x="1778902" y="194716"/>
                  </a:lnTo>
                  <a:lnTo>
                    <a:pt x="1778953" y="194716"/>
                  </a:lnTo>
                  <a:lnTo>
                    <a:pt x="1778953" y="196113"/>
                  </a:lnTo>
                  <a:lnTo>
                    <a:pt x="1778953" y="194716"/>
                  </a:lnTo>
                  <a:lnTo>
                    <a:pt x="1778953" y="196113"/>
                  </a:lnTo>
                  <a:lnTo>
                    <a:pt x="1779004" y="196113"/>
                  </a:lnTo>
                  <a:lnTo>
                    <a:pt x="1779004" y="197447"/>
                  </a:lnTo>
                  <a:lnTo>
                    <a:pt x="1779004" y="196113"/>
                  </a:lnTo>
                  <a:lnTo>
                    <a:pt x="1779004" y="197447"/>
                  </a:lnTo>
                  <a:lnTo>
                    <a:pt x="1779093" y="197447"/>
                  </a:lnTo>
                  <a:lnTo>
                    <a:pt x="1779093" y="196799"/>
                  </a:lnTo>
                  <a:lnTo>
                    <a:pt x="1779093" y="197447"/>
                  </a:lnTo>
                  <a:lnTo>
                    <a:pt x="1779093" y="196799"/>
                  </a:lnTo>
                  <a:lnTo>
                    <a:pt x="1779093" y="197447"/>
                  </a:lnTo>
                  <a:lnTo>
                    <a:pt x="1779093" y="196799"/>
                  </a:lnTo>
                  <a:lnTo>
                    <a:pt x="1779144" y="197447"/>
                  </a:lnTo>
                  <a:lnTo>
                    <a:pt x="1779144" y="196799"/>
                  </a:lnTo>
                  <a:lnTo>
                    <a:pt x="1779144" y="197447"/>
                  </a:lnTo>
                  <a:lnTo>
                    <a:pt x="1779144" y="196799"/>
                  </a:lnTo>
                  <a:lnTo>
                    <a:pt x="1779194" y="196799"/>
                  </a:lnTo>
                  <a:lnTo>
                    <a:pt x="1779194" y="197447"/>
                  </a:lnTo>
                  <a:lnTo>
                    <a:pt x="1779194" y="196799"/>
                  </a:lnTo>
                  <a:lnTo>
                    <a:pt x="1779194" y="198831"/>
                  </a:lnTo>
                  <a:lnTo>
                    <a:pt x="1779245" y="198831"/>
                  </a:lnTo>
                  <a:lnTo>
                    <a:pt x="1779245" y="197447"/>
                  </a:lnTo>
                  <a:lnTo>
                    <a:pt x="1779245" y="198831"/>
                  </a:lnTo>
                  <a:lnTo>
                    <a:pt x="1779245" y="197447"/>
                  </a:lnTo>
                  <a:lnTo>
                    <a:pt x="1779347" y="197447"/>
                  </a:lnTo>
                  <a:lnTo>
                    <a:pt x="1779347" y="196799"/>
                  </a:lnTo>
                  <a:lnTo>
                    <a:pt x="1779347" y="197447"/>
                  </a:lnTo>
                  <a:lnTo>
                    <a:pt x="1779347" y="196113"/>
                  </a:lnTo>
                  <a:lnTo>
                    <a:pt x="1779347" y="196799"/>
                  </a:lnTo>
                  <a:lnTo>
                    <a:pt x="1779347" y="196113"/>
                  </a:lnTo>
                  <a:lnTo>
                    <a:pt x="1779397" y="196113"/>
                  </a:lnTo>
                  <a:lnTo>
                    <a:pt x="1779397" y="193383"/>
                  </a:lnTo>
                  <a:lnTo>
                    <a:pt x="1779448" y="193383"/>
                  </a:lnTo>
                  <a:lnTo>
                    <a:pt x="1779448" y="196113"/>
                  </a:lnTo>
                  <a:lnTo>
                    <a:pt x="1779448" y="193383"/>
                  </a:lnTo>
                  <a:lnTo>
                    <a:pt x="1779448" y="195415"/>
                  </a:lnTo>
                  <a:lnTo>
                    <a:pt x="1779550" y="196113"/>
                  </a:lnTo>
                  <a:lnTo>
                    <a:pt x="1779550" y="196799"/>
                  </a:lnTo>
                  <a:lnTo>
                    <a:pt x="1779550" y="195415"/>
                  </a:lnTo>
                  <a:lnTo>
                    <a:pt x="1779550" y="196799"/>
                  </a:lnTo>
                  <a:lnTo>
                    <a:pt x="1779588" y="196799"/>
                  </a:lnTo>
                  <a:lnTo>
                    <a:pt x="1779588" y="196113"/>
                  </a:lnTo>
                  <a:lnTo>
                    <a:pt x="1779588" y="197447"/>
                  </a:lnTo>
                  <a:lnTo>
                    <a:pt x="1779639" y="197447"/>
                  </a:lnTo>
                  <a:lnTo>
                    <a:pt x="1779639" y="196799"/>
                  </a:lnTo>
                  <a:lnTo>
                    <a:pt x="1779639" y="197447"/>
                  </a:lnTo>
                  <a:lnTo>
                    <a:pt x="1779690" y="197447"/>
                  </a:lnTo>
                  <a:lnTo>
                    <a:pt x="1779690" y="198831"/>
                  </a:lnTo>
                  <a:lnTo>
                    <a:pt x="1779690" y="197447"/>
                  </a:lnTo>
                  <a:lnTo>
                    <a:pt x="1779690" y="198831"/>
                  </a:lnTo>
                  <a:lnTo>
                    <a:pt x="1779690" y="197447"/>
                  </a:lnTo>
                  <a:lnTo>
                    <a:pt x="1779791" y="197447"/>
                  </a:lnTo>
                  <a:lnTo>
                    <a:pt x="1779791" y="198831"/>
                  </a:lnTo>
                  <a:lnTo>
                    <a:pt x="1779791" y="197447"/>
                  </a:lnTo>
                  <a:lnTo>
                    <a:pt x="1779842" y="197447"/>
                  </a:lnTo>
                  <a:lnTo>
                    <a:pt x="1779842" y="196799"/>
                  </a:lnTo>
                  <a:lnTo>
                    <a:pt x="1779842" y="197447"/>
                  </a:lnTo>
                  <a:lnTo>
                    <a:pt x="1779842" y="196113"/>
                  </a:lnTo>
                  <a:lnTo>
                    <a:pt x="1779893" y="196113"/>
                  </a:lnTo>
                  <a:lnTo>
                    <a:pt x="1779893" y="195415"/>
                  </a:lnTo>
                  <a:lnTo>
                    <a:pt x="1779893" y="196799"/>
                  </a:lnTo>
                  <a:lnTo>
                    <a:pt x="1779893" y="196113"/>
                  </a:lnTo>
                  <a:lnTo>
                    <a:pt x="1779994" y="196113"/>
                  </a:lnTo>
                  <a:lnTo>
                    <a:pt x="1779994" y="194716"/>
                  </a:lnTo>
                  <a:lnTo>
                    <a:pt x="1779994" y="195415"/>
                  </a:lnTo>
                  <a:lnTo>
                    <a:pt x="1779994" y="194716"/>
                  </a:lnTo>
                  <a:lnTo>
                    <a:pt x="1779994" y="198831"/>
                  </a:lnTo>
                  <a:lnTo>
                    <a:pt x="1779994" y="196799"/>
                  </a:lnTo>
                  <a:lnTo>
                    <a:pt x="1780045" y="196799"/>
                  </a:lnTo>
                  <a:lnTo>
                    <a:pt x="1780045" y="196113"/>
                  </a:lnTo>
                  <a:lnTo>
                    <a:pt x="1780045" y="197447"/>
                  </a:lnTo>
                  <a:lnTo>
                    <a:pt x="1780096" y="196799"/>
                  </a:lnTo>
                  <a:lnTo>
                    <a:pt x="1780096" y="197447"/>
                  </a:lnTo>
                  <a:lnTo>
                    <a:pt x="1780096" y="196113"/>
                  </a:lnTo>
                  <a:lnTo>
                    <a:pt x="1780096" y="196799"/>
                  </a:lnTo>
                  <a:lnTo>
                    <a:pt x="1780134" y="196799"/>
                  </a:lnTo>
                  <a:lnTo>
                    <a:pt x="1780134" y="197447"/>
                  </a:lnTo>
                  <a:lnTo>
                    <a:pt x="1780134" y="196799"/>
                  </a:lnTo>
                  <a:lnTo>
                    <a:pt x="1780236" y="196799"/>
                  </a:lnTo>
                  <a:lnTo>
                    <a:pt x="1780236" y="198831"/>
                  </a:lnTo>
                  <a:lnTo>
                    <a:pt x="1780236" y="197447"/>
                  </a:lnTo>
                  <a:lnTo>
                    <a:pt x="1780287" y="197447"/>
                  </a:lnTo>
                  <a:lnTo>
                    <a:pt x="1780287" y="198831"/>
                  </a:lnTo>
                  <a:lnTo>
                    <a:pt x="1780287" y="197447"/>
                  </a:lnTo>
                  <a:lnTo>
                    <a:pt x="1780287" y="198831"/>
                  </a:lnTo>
                  <a:lnTo>
                    <a:pt x="1780287" y="196799"/>
                  </a:lnTo>
                  <a:lnTo>
                    <a:pt x="1780287" y="197447"/>
                  </a:lnTo>
                  <a:lnTo>
                    <a:pt x="1780337" y="196799"/>
                  </a:lnTo>
                  <a:lnTo>
                    <a:pt x="1780337" y="196113"/>
                  </a:lnTo>
                  <a:lnTo>
                    <a:pt x="1780337" y="196799"/>
                  </a:lnTo>
                  <a:lnTo>
                    <a:pt x="1780337" y="196113"/>
                  </a:lnTo>
                  <a:lnTo>
                    <a:pt x="1780337" y="196799"/>
                  </a:lnTo>
                  <a:lnTo>
                    <a:pt x="1780439" y="197447"/>
                  </a:lnTo>
                  <a:lnTo>
                    <a:pt x="1780439" y="196113"/>
                  </a:lnTo>
                  <a:lnTo>
                    <a:pt x="1780439" y="199530"/>
                  </a:lnTo>
                  <a:lnTo>
                    <a:pt x="1780490" y="199530"/>
                  </a:lnTo>
                  <a:lnTo>
                    <a:pt x="1780490" y="197447"/>
                  </a:lnTo>
                  <a:lnTo>
                    <a:pt x="1780490" y="200228"/>
                  </a:lnTo>
                  <a:lnTo>
                    <a:pt x="1780490" y="199530"/>
                  </a:lnTo>
                  <a:lnTo>
                    <a:pt x="1780490" y="200228"/>
                  </a:lnTo>
                  <a:lnTo>
                    <a:pt x="1780540" y="199530"/>
                  </a:lnTo>
                  <a:lnTo>
                    <a:pt x="1780591" y="199530"/>
                  </a:lnTo>
                  <a:lnTo>
                    <a:pt x="1780591" y="198831"/>
                  </a:lnTo>
                  <a:lnTo>
                    <a:pt x="1780591" y="199530"/>
                  </a:lnTo>
                  <a:lnTo>
                    <a:pt x="1780680" y="199530"/>
                  </a:lnTo>
                  <a:lnTo>
                    <a:pt x="1780680" y="198831"/>
                  </a:lnTo>
                  <a:lnTo>
                    <a:pt x="1780680" y="199530"/>
                  </a:lnTo>
                  <a:lnTo>
                    <a:pt x="1780680" y="198831"/>
                  </a:lnTo>
                  <a:lnTo>
                    <a:pt x="1780731" y="198831"/>
                  </a:lnTo>
                  <a:lnTo>
                    <a:pt x="1780731" y="199530"/>
                  </a:lnTo>
                  <a:lnTo>
                    <a:pt x="1780731" y="197447"/>
                  </a:lnTo>
                  <a:lnTo>
                    <a:pt x="1780782" y="197447"/>
                  </a:lnTo>
                  <a:lnTo>
                    <a:pt x="1780782" y="198831"/>
                  </a:lnTo>
                  <a:lnTo>
                    <a:pt x="1780782" y="196113"/>
                  </a:lnTo>
                  <a:lnTo>
                    <a:pt x="1780833" y="196113"/>
                  </a:lnTo>
                  <a:lnTo>
                    <a:pt x="1780833" y="195415"/>
                  </a:lnTo>
                  <a:lnTo>
                    <a:pt x="1780833" y="197447"/>
                  </a:lnTo>
                  <a:lnTo>
                    <a:pt x="1780833" y="196113"/>
                  </a:lnTo>
                  <a:lnTo>
                    <a:pt x="1780934" y="196113"/>
                  </a:lnTo>
                  <a:lnTo>
                    <a:pt x="1780934" y="200228"/>
                  </a:lnTo>
                  <a:lnTo>
                    <a:pt x="1780934" y="198831"/>
                  </a:lnTo>
                  <a:lnTo>
                    <a:pt x="1780985" y="198831"/>
                  </a:lnTo>
                  <a:lnTo>
                    <a:pt x="1780985" y="200876"/>
                  </a:lnTo>
                  <a:lnTo>
                    <a:pt x="1780985" y="198831"/>
                  </a:lnTo>
                  <a:lnTo>
                    <a:pt x="1780985" y="199530"/>
                  </a:lnTo>
                  <a:lnTo>
                    <a:pt x="1781036" y="199530"/>
                  </a:lnTo>
                  <a:lnTo>
                    <a:pt x="1781036" y="200228"/>
                  </a:lnTo>
                  <a:lnTo>
                    <a:pt x="1781036" y="199530"/>
                  </a:lnTo>
                  <a:lnTo>
                    <a:pt x="1781036" y="200228"/>
                  </a:lnTo>
                  <a:lnTo>
                    <a:pt x="1781036" y="199530"/>
                  </a:lnTo>
                  <a:lnTo>
                    <a:pt x="1781036" y="200228"/>
                  </a:lnTo>
                  <a:lnTo>
                    <a:pt x="1781036" y="198831"/>
                  </a:lnTo>
                  <a:lnTo>
                    <a:pt x="1781036" y="200228"/>
                  </a:lnTo>
                  <a:lnTo>
                    <a:pt x="1781036" y="199530"/>
                  </a:lnTo>
                  <a:lnTo>
                    <a:pt x="1781137" y="199530"/>
                  </a:lnTo>
                  <a:lnTo>
                    <a:pt x="1781137" y="200228"/>
                  </a:lnTo>
                  <a:lnTo>
                    <a:pt x="1781137" y="198831"/>
                  </a:lnTo>
                  <a:lnTo>
                    <a:pt x="1781137" y="199530"/>
                  </a:lnTo>
                  <a:lnTo>
                    <a:pt x="1781175" y="200228"/>
                  </a:lnTo>
                  <a:lnTo>
                    <a:pt x="1781175" y="199530"/>
                  </a:lnTo>
                  <a:lnTo>
                    <a:pt x="1781175" y="200228"/>
                  </a:lnTo>
                  <a:lnTo>
                    <a:pt x="1781175" y="198831"/>
                  </a:lnTo>
                  <a:lnTo>
                    <a:pt x="1781175" y="199530"/>
                  </a:lnTo>
                  <a:lnTo>
                    <a:pt x="1781175" y="198831"/>
                  </a:lnTo>
                  <a:lnTo>
                    <a:pt x="1781175" y="199530"/>
                  </a:lnTo>
                  <a:lnTo>
                    <a:pt x="1781175" y="198831"/>
                  </a:lnTo>
                  <a:lnTo>
                    <a:pt x="1781226" y="198831"/>
                  </a:lnTo>
                  <a:lnTo>
                    <a:pt x="1781226" y="197447"/>
                  </a:lnTo>
                  <a:lnTo>
                    <a:pt x="1781277" y="197447"/>
                  </a:lnTo>
                  <a:lnTo>
                    <a:pt x="1781277" y="194716"/>
                  </a:lnTo>
                  <a:lnTo>
                    <a:pt x="1781379" y="194716"/>
                  </a:lnTo>
                  <a:lnTo>
                    <a:pt x="1781379" y="196799"/>
                  </a:lnTo>
                  <a:lnTo>
                    <a:pt x="1781379" y="194716"/>
                  </a:lnTo>
                  <a:lnTo>
                    <a:pt x="1781379" y="195415"/>
                  </a:lnTo>
                  <a:lnTo>
                    <a:pt x="1781430" y="195415"/>
                  </a:lnTo>
                  <a:lnTo>
                    <a:pt x="1781430" y="197447"/>
                  </a:lnTo>
                  <a:lnTo>
                    <a:pt x="1781430" y="196799"/>
                  </a:lnTo>
                  <a:lnTo>
                    <a:pt x="1781430" y="197447"/>
                  </a:lnTo>
                  <a:lnTo>
                    <a:pt x="1781430" y="196799"/>
                  </a:lnTo>
                  <a:lnTo>
                    <a:pt x="1781480" y="196799"/>
                  </a:lnTo>
                  <a:lnTo>
                    <a:pt x="1781480" y="198831"/>
                  </a:lnTo>
                  <a:lnTo>
                    <a:pt x="1781480" y="197447"/>
                  </a:lnTo>
                  <a:lnTo>
                    <a:pt x="1781480" y="198831"/>
                  </a:lnTo>
                  <a:lnTo>
                    <a:pt x="1781480" y="197447"/>
                  </a:lnTo>
                  <a:lnTo>
                    <a:pt x="1781480" y="198831"/>
                  </a:lnTo>
                  <a:lnTo>
                    <a:pt x="1781582" y="198831"/>
                  </a:lnTo>
                  <a:lnTo>
                    <a:pt x="1781582" y="197447"/>
                  </a:lnTo>
                  <a:lnTo>
                    <a:pt x="1781582" y="198831"/>
                  </a:lnTo>
                  <a:lnTo>
                    <a:pt x="1781633" y="199530"/>
                  </a:lnTo>
                  <a:lnTo>
                    <a:pt x="1781633" y="200228"/>
                  </a:lnTo>
                  <a:lnTo>
                    <a:pt x="1781633" y="199530"/>
                  </a:lnTo>
                  <a:lnTo>
                    <a:pt x="1781684" y="200228"/>
                  </a:lnTo>
                  <a:lnTo>
                    <a:pt x="1781684" y="199530"/>
                  </a:lnTo>
                  <a:lnTo>
                    <a:pt x="1781722" y="199530"/>
                  </a:lnTo>
                  <a:lnTo>
                    <a:pt x="1781722" y="196799"/>
                  </a:lnTo>
                  <a:lnTo>
                    <a:pt x="1781823" y="196799"/>
                  </a:lnTo>
                  <a:lnTo>
                    <a:pt x="1781823" y="194716"/>
                  </a:lnTo>
                  <a:lnTo>
                    <a:pt x="1781823" y="195415"/>
                  </a:lnTo>
                  <a:lnTo>
                    <a:pt x="1781823" y="193383"/>
                  </a:lnTo>
                  <a:lnTo>
                    <a:pt x="1781874" y="193383"/>
                  </a:lnTo>
                  <a:lnTo>
                    <a:pt x="1781874" y="195415"/>
                  </a:lnTo>
                  <a:lnTo>
                    <a:pt x="1781874" y="193383"/>
                  </a:lnTo>
                  <a:lnTo>
                    <a:pt x="1781874" y="196113"/>
                  </a:lnTo>
                  <a:lnTo>
                    <a:pt x="1781925" y="196113"/>
                  </a:lnTo>
                  <a:lnTo>
                    <a:pt x="1781925" y="197447"/>
                  </a:lnTo>
                  <a:lnTo>
                    <a:pt x="1781925" y="195415"/>
                  </a:lnTo>
                  <a:lnTo>
                    <a:pt x="1781925" y="196799"/>
                  </a:lnTo>
                  <a:lnTo>
                    <a:pt x="1782026" y="196799"/>
                  </a:lnTo>
                  <a:lnTo>
                    <a:pt x="1782026" y="197447"/>
                  </a:lnTo>
                  <a:lnTo>
                    <a:pt x="1782026" y="195415"/>
                  </a:lnTo>
                  <a:lnTo>
                    <a:pt x="1782026" y="197447"/>
                  </a:lnTo>
                  <a:lnTo>
                    <a:pt x="1782077" y="197447"/>
                  </a:lnTo>
                  <a:lnTo>
                    <a:pt x="1782077" y="196113"/>
                  </a:lnTo>
                  <a:lnTo>
                    <a:pt x="1782077" y="197447"/>
                  </a:lnTo>
                  <a:lnTo>
                    <a:pt x="1782128" y="197447"/>
                  </a:lnTo>
                  <a:lnTo>
                    <a:pt x="1782128" y="199530"/>
                  </a:lnTo>
                  <a:lnTo>
                    <a:pt x="1782179" y="199530"/>
                  </a:lnTo>
                  <a:lnTo>
                    <a:pt x="1782179" y="197447"/>
                  </a:lnTo>
                  <a:lnTo>
                    <a:pt x="1782179" y="198831"/>
                  </a:lnTo>
                  <a:lnTo>
                    <a:pt x="1782268" y="198831"/>
                  </a:lnTo>
                  <a:lnTo>
                    <a:pt x="1782268" y="196799"/>
                  </a:lnTo>
                  <a:lnTo>
                    <a:pt x="1782319" y="196799"/>
                  </a:lnTo>
                  <a:lnTo>
                    <a:pt x="1782319" y="194716"/>
                  </a:lnTo>
                  <a:lnTo>
                    <a:pt x="1782369" y="193383"/>
                  </a:lnTo>
                  <a:lnTo>
                    <a:pt x="1782369" y="195415"/>
                  </a:lnTo>
                  <a:lnTo>
                    <a:pt x="1782369" y="193383"/>
                  </a:lnTo>
                  <a:lnTo>
                    <a:pt x="1782369" y="195415"/>
                  </a:lnTo>
                  <a:lnTo>
                    <a:pt x="1782420" y="196113"/>
                  </a:lnTo>
                  <a:lnTo>
                    <a:pt x="1782420" y="194716"/>
                  </a:lnTo>
                  <a:lnTo>
                    <a:pt x="1782420" y="196113"/>
                  </a:lnTo>
                  <a:lnTo>
                    <a:pt x="1782522" y="196113"/>
                  </a:lnTo>
                  <a:lnTo>
                    <a:pt x="1782522" y="195415"/>
                  </a:lnTo>
                  <a:lnTo>
                    <a:pt x="1782522" y="196799"/>
                  </a:lnTo>
                  <a:lnTo>
                    <a:pt x="1782522" y="196113"/>
                  </a:lnTo>
                  <a:lnTo>
                    <a:pt x="1782572" y="196799"/>
                  </a:lnTo>
                  <a:lnTo>
                    <a:pt x="1782572" y="196113"/>
                  </a:lnTo>
                  <a:lnTo>
                    <a:pt x="1782572" y="196799"/>
                  </a:lnTo>
                  <a:lnTo>
                    <a:pt x="1782572" y="195415"/>
                  </a:lnTo>
                  <a:lnTo>
                    <a:pt x="1782572" y="196799"/>
                  </a:lnTo>
                  <a:lnTo>
                    <a:pt x="1782572" y="196113"/>
                  </a:lnTo>
                  <a:lnTo>
                    <a:pt x="1782572" y="196799"/>
                  </a:lnTo>
                  <a:lnTo>
                    <a:pt x="1782623" y="196799"/>
                  </a:lnTo>
                  <a:lnTo>
                    <a:pt x="1782623" y="198831"/>
                  </a:lnTo>
                  <a:lnTo>
                    <a:pt x="1782623" y="197447"/>
                  </a:lnTo>
                  <a:lnTo>
                    <a:pt x="1782623" y="198831"/>
                  </a:lnTo>
                  <a:lnTo>
                    <a:pt x="1782623" y="197447"/>
                  </a:lnTo>
                  <a:lnTo>
                    <a:pt x="1782725" y="197447"/>
                  </a:lnTo>
                  <a:lnTo>
                    <a:pt x="1782725" y="198831"/>
                  </a:lnTo>
                  <a:lnTo>
                    <a:pt x="1782725" y="197447"/>
                  </a:lnTo>
                  <a:lnTo>
                    <a:pt x="1782725" y="198831"/>
                  </a:lnTo>
                  <a:lnTo>
                    <a:pt x="1782725" y="197447"/>
                  </a:lnTo>
                  <a:lnTo>
                    <a:pt x="1782725" y="198831"/>
                  </a:lnTo>
                  <a:lnTo>
                    <a:pt x="1782725" y="197447"/>
                  </a:lnTo>
                  <a:lnTo>
                    <a:pt x="1782763" y="197447"/>
                  </a:lnTo>
                  <a:lnTo>
                    <a:pt x="1782763" y="196799"/>
                  </a:lnTo>
                  <a:lnTo>
                    <a:pt x="1782763" y="197447"/>
                  </a:lnTo>
                  <a:lnTo>
                    <a:pt x="1782763" y="196113"/>
                  </a:lnTo>
                  <a:lnTo>
                    <a:pt x="1782814" y="196113"/>
                  </a:lnTo>
                  <a:lnTo>
                    <a:pt x="1782814" y="194716"/>
                  </a:lnTo>
                  <a:lnTo>
                    <a:pt x="1782814" y="195415"/>
                  </a:lnTo>
                  <a:lnTo>
                    <a:pt x="1782814" y="194716"/>
                  </a:lnTo>
                  <a:lnTo>
                    <a:pt x="1782814" y="195415"/>
                  </a:lnTo>
                  <a:lnTo>
                    <a:pt x="1782865" y="195415"/>
                  </a:lnTo>
                  <a:lnTo>
                    <a:pt x="1782865" y="194716"/>
                  </a:lnTo>
                  <a:lnTo>
                    <a:pt x="1782865" y="196799"/>
                  </a:lnTo>
                  <a:lnTo>
                    <a:pt x="1782966" y="196799"/>
                  </a:lnTo>
                  <a:lnTo>
                    <a:pt x="1782966" y="195415"/>
                  </a:lnTo>
                  <a:lnTo>
                    <a:pt x="1782966" y="196113"/>
                  </a:lnTo>
                  <a:lnTo>
                    <a:pt x="1782966" y="195415"/>
                  </a:lnTo>
                  <a:lnTo>
                    <a:pt x="1783017" y="196113"/>
                  </a:lnTo>
                  <a:lnTo>
                    <a:pt x="1783017" y="195415"/>
                  </a:lnTo>
                  <a:lnTo>
                    <a:pt x="1783017" y="196113"/>
                  </a:lnTo>
                  <a:lnTo>
                    <a:pt x="1783017" y="195415"/>
                  </a:lnTo>
                  <a:lnTo>
                    <a:pt x="1783017" y="196113"/>
                  </a:lnTo>
                  <a:lnTo>
                    <a:pt x="1783017" y="195415"/>
                  </a:lnTo>
                  <a:lnTo>
                    <a:pt x="1783017" y="196113"/>
                  </a:lnTo>
                  <a:lnTo>
                    <a:pt x="1783017" y="195415"/>
                  </a:lnTo>
                  <a:lnTo>
                    <a:pt x="1783068" y="195415"/>
                  </a:lnTo>
                  <a:lnTo>
                    <a:pt x="1783068" y="196113"/>
                  </a:lnTo>
                  <a:lnTo>
                    <a:pt x="1783068" y="195415"/>
                  </a:lnTo>
                  <a:lnTo>
                    <a:pt x="1783169" y="195415"/>
                  </a:lnTo>
                  <a:lnTo>
                    <a:pt x="1783169" y="196799"/>
                  </a:lnTo>
                  <a:lnTo>
                    <a:pt x="1783169" y="196113"/>
                  </a:lnTo>
                  <a:lnTo>
                    <a:pt x="1783169" y="196799"/>
                  </a:lnTo>
                  <a:lnTo>
                    <a:pt x="1783169" y="196113"/>
                  </a:lnTo>
                  <a:lnTo>
                    <a:pt x="1783169" y="196799"/>
                  </a:lnTo>
                  <a:lnTo>
                    <a:pt x="1783169" y="196113"/>
                  </a:lnTo>
                  <a:lnTo>
                    <a:pt x="1783169" y="196799"/>
                  </a:lnTo>
                  <a:lnTo>
                    <a:pt x="1783220" y="196799"/>
                  </a:lnTo>
                  <a:lnTo>
                    <a:pt x="1783220" y="196113"/>
                  </a:lnTo>
                  <a:lnTo>
                    <a:pt x="1783220" y="196799"/>
                  </a:lnTo>
                  <a:lnTo>
                    <a:pt x="1783220" y="196113"/>
                  </a:lnTo>
                  <a:lnTo>
                    <a:pt x="1783220" y="196799"/>
                  </a:lnTo>
                  <a:lnTo>
                    <a:pt x="1783220" y="196113"/>
                  </a:lnTo>
                  <a:lnTo>
                    <a:pt x="1783220" y="196799"/>
                  </a:lnTo>
                  <a:lnTo>
                    <a:pt x="1783220" y="196113"/>
                  </a:lnTo>
                  <a:lnTo>
                    <a:pt x="1783271" y="196113"/>
                  </a:lnTo>
                  <a:lnTo>
                    <a:pt x="1783271" y="196799"/>
                  </a:lnTo>
                  <a:lnTo>
                    <a:pt x="1783271" y="196113"/>
                  </a:lnTo>
                  <a:lnTo>
                    <a:pt x="1783271" y="196799"/>
                  </a:lnTo>
                  <a:lnTo>
                    <a:pt x="1783271" y="195415"/>
                  </a:lnTo>
                  <a:lnTo>
                    <a:pt x="1783309" y="195415"/>
                  </a:lnTo>
                  <a:lnTo>
                    <a:pt x="1783309" y="193383"/>
                  </a:lnTo>
                  <a:lnTo>
                    <a:pt x="1783309" y="195415"/>
                  </a:lnTo>
                  <a:lnTo>
                    <a:pt x="1783411" y="195415"/>
                  </a:lnTo>
                  <a:lnTo>
                    <a:pt x="1783411" y="194716"/>
                  </a:lnTo>
                  <a:lnTo>
                    <a:pt x="1783411" y="195415"/>
                  </a:lnTo>
                  <a:lnTo>
                    <a:pt x="1783411" y="193383"/>
                  </a:lnTo>
                  <a:lnTo>
                    <a:pt x="1783411" y="196113"/>
                  </a:lnTo>
                  <a:lnTo>
                    <a:pt x="1783462" y="196113"/>
                  </a:lnTo>
                  <a:lnTo>
                    <a:pt x="1783462" y="196799"/>
                  </a:lnTo>
                  <a:lnTo>
                    <a:pt x="1783462" y="194716"/>
                  </a:lnTo>
                  <a:lnTo>
                    <a:pt x="1783462" y="196113"/>
                  </a:lnTo>
                  <a:lnTo>
                    <a:pt x="1783512" y="196113"/>
                  </a:lnTo>
                  <a:lnTo>
                    <a:pt x="1783512" y="195415"/>
                  </a:lnTo>
                  <a:lnTo>
                    <a:pt x="1783512" y="196113"/>
                  </a:lnTo>
                  <a:lnTo>
                    <a:pt x="1783614" y="196113"/>
                  </a:lnTo>
                  <a:lnTo>
                    <a:pt x="1783614" y="195415"/>
                  </a:lnTo>
                  <a:lnTo>
                    <a:pt x="1783614" y="196799"/>
                  </a:lnTo>
                  <a:lnTo>
                    <a:pt x="1783665" y="196799"/>
                  </a:lnTo>
                  <a:lnTo>
                    <a:pt x="1783665" y="196113"/>
                  </a:lnTo>
                  <a:lnTo>
                    <a:pt x="1783665" y="196799"/>
                  </a:lnTo>
                  <a:lnTo>
                    <a:pt x="1783715" y="196799"/>
                  </a:lnTo>
                  <a:lnTo>
                    <a:pt x="1783715" y="197447"/>
                  </a:lnTo>
                  <a:lnTo>
                    <a:pt x="1783715" y="196799"/>
                  </a:lnTo>
                  <a:lnTo>
                    <a:pt x="1783766" y="196799"/>
                  </a:lnTo>
                  <a:lnTo>
                    <a:pt x="1783766" y="196113"/>
                  </a:lnTo>
                  <a:lnTo>
                    <a:pt x="1783766" y="196799"/>
                  </a:lnTo>
                  <a:lnTo>
                    <a:pt x="1783766" y="195415"/>
                  </a:lnTo>
                  <a:lnTo>
                    <a:pt x="1783855" y="195415"/>
                  </a:lnTo>
                  <a:lnTo>
                    <a:pt x="1783855" y="193383"/>
                  </a:lnTo>
                  <a:lnTo>
                    <a:pt x="1783855" y="194716"/>
                  </a:lnTo>
                  <a:lnTo>
                    <a:pt x="1783855" y="193383"/>
                  </a:lnTo>
                  <a:lnTo>
                    <a:pt x="1783855" y="194716"/>
                  </a:lnTo>
                  <a:lnTo>
                    <a:pt x="1783855" y="193383"/>
                  </a:lnTo>
                  <a:lnTo>
                    <a:pt x="1783855" y="194716"/>
                  </a:lnTo>
                  <a:lnTo>
                    <a:pt x="1783906" y="194716"/>
                  </a:lnTo>
                  <a:lnTo>
                    <a:pt x="1783906" y="195415"/>
                  </a:lnTo>
                  <a:lnTo>
                    <a:pt x="1783906" y="194716"/>
                  </a:lnTo>
                  <a:lnTo>
                    <a:pt x="1783906" y="196113"/>
                  </a:lnTo>
                  <a:lnTo>
                    <a:pt x="1783957" y="196113"/>
                  </a:lnTo>
                  <a:lnTo>
                    <a:pt x="1783957" y="196799"/>
                  </a:lnTo>
                  <a:lnTo>
                    <a:pt x="1783957" y="195415"/>
                  </a:lnTo>
                  <a:lnTo>
                    <a:pt x="1783957" y="196113"/>
                  </a:lnTo>
                  <a:lnTo>
                    <a:pt x="1783957" y="195415"/>
                  </a:lnTo>
                  <a:lnTo>
                    <a:pt x="1783957" y="196113"/>
                  </a:lnTo>
                  <a:lnTo>
                    <a:pt x="1784008" y="196113"/>
                  </a:lnTo>
                  <a:lnTo>
                    <a:pt x="1784008" y="196799"/>
                  </a:lnTo>
                  <a:lnTo>
                    <a:pt x="1784008" y="195415"/>
                  </a:lnTo>
                  <a:lnTo>
                    <a:pt x="1784008" y="196799"/>
                  </a:lnTo>
                  <a:lnTo>
                    <a:pt x="1784109" y="196799"/>
                  </a:lnTo>
                  <a:lnTo>
                    <a:pt x="1784109" y="196113"/>
                  </a:lnTo>
                  <a:lnTo>
                    <a:pt x="1784109" y="196799"/>
                  </a:lnTo>
                  <a:lnTo>
                    <a:pt x="1784109" y="196113"/>
                  </a:lnTo>
                  <a:lnTo>
                    <a:pt x="1784109" y="196799"/>
                  </a:lnTo>
                  <a:lnTo>
                    <a:pt x="1784160" y="196799"/>
                  </a:lnTo>
                  <a:lnTo>
                    <a:pt x="1784160" y="197447"/>
                  </a:lnTo>
                  <a:lnTo>
                    <a:pt x="1784160" y="196799"/>
                  </a:lnTo>
                  <a:lnTo>
                    <a:pt x="1784160" y="197447"/>
                  </a:lnTo>
                  <a:lnTo>
                    <a:pt x="1784160" y="196799"/>
                  </a:lnTo>
                  <a:lnTo>
                    <a:pt x="1784160" y="197447"/>
                  </a:lnTo>
                  <a:lnTo>
                    <a:pt x="1784160" y="196799"/>
                  </a:lnTo>
                  <a:lnTo>
                    <a:pt x="1784211" y="196799"/>
                  </a:lnTo>
                  <a:lnTo>
                    <a:pt x="1784211" y="197447"/>
                  </a:lnTo>
                  <a:lnTo>
                    <a:pt x="1784211" y="196799"/>
                  </a:lnTo>
                  <a:lnTo>
                    <a:pt x="1784312" y="196799"/>
                  </a:lnTo>
                  <a:lnTo>
                    <a:pt x="1784312" y="196113"/>
                  </a:lnTo>
                  <a:lnTo>
                    <a:pt x="1784312" y="196799"/>
                  </a:lnTo>
                  <a:lnTo>
                    <a:pt x="1784312" y="196113"/>
                  </a:lnTo>
                  <a:lnTo>
                    <a:pt x="1784312" y="196799"/>
                  </a:lnTo>
                  <a:lnTo>
                    <a:pt x="1784312" y="196113"/>
                  </a:lnTo>
                  <a:lnTo>
                    <a:pt x="1784312" y="196799"/>
                  </a:lnTo>
                  <a:lnTo>
                    <a:pt x="1784312" y="196113"/>
                  </a:lnTo>
                  <a:lnTo>
                    <a:pt x="1784312" y="196799"/>
                  </a:lnTo>
                  <a:lnTo>
                    <a:pt x="1784312" y="195415"/>
                  </a:lnTo>
                  <a:lnTo>
                    <a:pt x="1784350" y="195415"/>
                  </a:lnTo>
                  <a:lnTo>
                    <a:pt x="1784350" y="193383"/>
                  </a:lnTo>
                  <a:lnTo>
                    <a:pt x="1784401" y="193383"/>
                  </a:lnTo>
                  <a:lnTo>
                    <a:pt x="1784401" y="194716"/>
                  </a:lnTo>
                  <a:lnTo>
                    <a:pt x="1784401" y="193383"/>
                  </a:lnTo>
                  <a:lnTo>
                    <a:pt x="1784401" y="194716"/>
                  </a:lnTo>
                  <a:lnTo>
                    <a:pt x="1784401" y="193383"/>
                  </a:lnTo>
                  <a:lnTo>
                    <a:pt x="1784401" y="194716"/>
                  </a:lnTo>
                  <a:lnTo>
                    <a:pt x="1784401" y="193383"/>
                  </a:lnTo>
                  <a:lnTo>
                    <a:pt x="1784452" y="194716"/>
                  </a:lnTo>
                  <a:lnTo>
                    <a:pt x="1784452" y="195415"/>
                  </a:lnTo>
                  <a:lnTo>
                    <a:pt x="1784452" y="194716"/>
                  </a:lnTo>
                  <a:lnTo>
                    <a:pt x="1784452" y="196113"/>
                  </a:lnTo>
                  <a:lnTo>
                    <a:pt x="1784452" y="194716"/>
                  </a:lnTo>
                  <a:lnTo>
                    <a:pt x="1784452" y="195415"/>
                  </a:lnTo>
                  <a:lnTo>
                    <a:pt x="1784554" y="195415"/>
                  </a:lnTo>
                  <a:lnTo>
                    <a:pt x="1784554" y="196113"/>
                  </a:lnTo>
                  <a:lnTo>
                    <a:pt x="1784554" y="195415"/>
                  </a:lnTo>
                  <a:lnTo>
                    <a:pt x="1784554" y="196113"/>
                  </a:lnTo>
                  <a:lnTo>
                    <a:pt x="1784554" y="195415"/>
                  </a:lnTo>
                  <a:lnTo>
                    <a:pt x="1784554" y="196113"/>
                  </a:lnTo>
                  <a:lnTo>
                    <a:pt x="1784554" y="195415"/>
                  </a:lnTo>
                  <a:lnTo>
                    <a:pt x="1784554" y="196113"/>
                  </a:lnTo>
                  <a:lnTo>
                    <a:pt x="1784605" y="196113"/>
                  </a:lnTo>
                  <a:lnTo>
                    <a:pt x="1784605" y="196799"/>
                  </a:lnTo>
                  <a:lnTo>
                    <a:pt x="1784605" y="196113"/>
                  </a:lnTo>
                  <a:lnTo>
                    <a:pt x="1784655" y="196113"/>
                  </a:lnTo>
                  <a:lnTo>
                    <a:pt x="1784655" y="196799"/>
                  </a:lnTo>
                  <a:lnTo>
                    <a:pt x="1784655" y="196113"/>
                  </a:lnTo>
                  <a:lnTo>
                    <a:pt x="1784655" y="196799"/>
                  </a:lnTo>
                  <a:lnTo>
                    <a:pt x="1784655" y="196113"/>
                  </a:lnTo>
                  <a:lnTo>
                    <a:pt x="1784655" y="197447"/>
                  </a:lnTo>
                  <a:lnTo>
                    <a:pt x="1784655" y="196799"/>
                  </a:lnTo>
                  <a:lnTo>
                    <a:pt x="1784757" y="196799"/>
                  </a:lnTo>
                  <a:lnTo>
                    <a:pt x="1784757" y="197447"/>
                  </a:lnTo>
                  <a:lnTo>
                    <a:pt x="1784757" y="196799"/>
                  </a:lnTo>
                  <a:lnTo>
                    <a:pt x="1784757" y="197447"/>
                  </a:lnTo>
                  <a:lnTo>
                    <a:pt x="1784757" y="196799"/>
                  </a:lnTo>
                  <a:lnTo>
                    <a:pt x="1784808" y="196799"/>
                  </a:lnTo>
                  <a:lnTo>
                    <a:pt x="1784808" y="196113"/>
                  </a:lnTo>
                  <a:lnTo>
                    <a:pt x="1784859" y="195415"/>
                  </a:lnTo>
                  <a:lnTo>
                    <a:pt x="1784859" y="194716"/>
                  </a:lnTo>
                  <a:lnTo>
                    <a:pt x="1784859" y="195415"/>
                  </a:lnTo>
                  <a:lnTo>
                    <a:pt x="1784859" y="193383"/>
                  </a:lnTo>
                  <a:lnTo>
                    <a:pt x="1784859" y="194716"/>
                  </a:lnTo>
                  <a:lnTo>
                    <a:pt x="1784897" y="194716"/>
                  </a:lnTo>
                  <a:lnTo>
                    <a:pt x="1784897" y="196113"/>
                  </a:lnTo>
                  <a:lnTo>
                    <a:pt x="1784897" y="192684"/>
                  </a:lnTo>
                  <a:lnTo>
                    <a:pt x="1784897" y="195415"/>
                  </a:lnTo>
                  <a:lnTo>
                    <a:pt x="1784998" y="196113"/>
                  </a:lnTo>
                  <a:lnTo>
                    <a:pt x="1784998" y="196799"/>
                  </a:lnTo>
                  <a:lnTo>
                    <a:pt x="1784998" y="195415"/>
                  </a:lnTo>
                  <a:lnTo>
                    <a:pt x="1784998" y="196799"/>
                  </a:lnTo>
                  <a:lnTo>
                    <a:pt x="1785049" y="196799"/>
                  </a:lnTo>
                  <a:lnTo>
                    <a:pt x="1785049" y="195415"/>
                  </a:lnTo>
                  <a:lnTo>
                    <a:pt x="1785049" y="196799"/>
                  </a:lnTo>
                  <a:lnTo>
                    <a:pt x="1785100" y="196113"/>
                  </a:lnTo>
                  <a:lnTo>
                    <a:pt x="1785100" y="196799"/>
                  </a:lnTo>
                  <a:lnTo>
                    <a:pt x="1785100" y="196113"/>
                  </a:lnTo>
                  <a:lnTo>
                    <a:pt x="1785100" y="196799"/>
                  </a:lnTo>
                  <a:lnTo>
                    <a:pt x="1785100" y="196113"/>
                  </a:lnTo>
                  <a:lnTo>
                    <a:pt x="1785100" y="196799"/>
                  </a:lnTo>
                  <a:lnTo>
                    <a:pt x="1785201" y="196799"/>
                  </a:lnTo>
                  <a:lnTo>
                    <a:pt x="1785201" y="196113"/>
                  </a:lnTo>
                  <a:lnTo>
                    <a:pt x="1785201" y="197447"/>
                  </a:lnTo>
                  <a:lnTo>
                    <a:pt x="1785201" y="196799"/>
                  </a:lnTo>
                  <a:lnTo>
                    <a:pt x="1785252" y="197447"/>
                  </a:lnTo>
                  <a:lnTo>
                    <a:pt x="1785252" y="196799"/>
                  </a:lnTo>
                  <a:lnTo>
                    <a:pt x="1785252" y="197447"/>
                  </a:lnTo>
                  <a:lnTo>
                    <a:pt x="1785252" y="196799"/>
                  </a:lnTo>
                  <a:lnTo>
                    <a:pt x="1785252" y="197447"/>
                  </a:lnTo>
                  <a:lnTo>
                    <a:pt x="1785252" y="196799"/>
                  </a:lnTo>
                  <a:lnTo>
                    <a:pt x="1785252" y="197447"/>
                  </a:lnTo>
                  <a:lnTo>
                    <a:pt x="1785252" y="196799"/>
                  </a:lnTo>
                  <a:lnTo>
                    <a:pt x="1785252" y="197447"/>
                  </a:lnTo>
                  <a:lnTo>
                    <a:pt x="1785252" y="196799"/>
                  </a:lnTo>
                  <a:lnTo>
                    <a:pt x="1785303" y="196799"/>
                  </a:lnTo>
                  <a:lnTo>
                    <a:pt x="1785303" y="196113"/>
                  </a:lnTo>
                  <a:lnTo>
                    <a:pt x="1785303" y="196799"/>
                  </a:lnTo>
                  <a:lnTo>
                    <a:pt x="1785303" y="195415"/>
                  </a:lnTo>
                  <a:lnTo>
                    <a:pt x="1785354" y="196113"/>
                  </a:lnTo>
                  <a:lnTo>
                    <a:pt x="1785354" y="192684"/>
                  </a:lnTo>
                  <a:lnTo>
                    <a:pt x="1785354" y="193383"/>
                  </a:lnTo>
                  <a:lnTo>
                    <a:pt x="1785443" y="193383"/>
                  </a:lnTo>
                  <a:lnTo>
                    <a:pt x="1785443" y="191351"/>
                  </a:lnTo>
                  <a:lnTo>
                    <a:pt x="1785443" y="192684"/>
                  </a:lnTo>
                  <a:lnTo>
                    <a:pt x="1785443" y="191986"/>
                  </a:lnTo>
                  <a:lnTo>
                    <a:pt x="1785494" y="191351"/>
                  </a:lnTo>
                  <a:lnTo>
                    <a:pt x="1785494" y="189954"/>
                  </a:lnTo>
                  <a:lnTo>
                    <a:pt x="1785494" y="194716"/>
                  </a:lnTo>
                  <a:lnTo>
                    <a:pt x="1785494" y="193383"/>
                  </a:lnTo>
                  <a:lnTo>
                    <a:pt x="1785544" y="192684"/>
                  </a:lnTo>
                  <a:lnTo>
                    <a:pt x="1785544" y="196113"/>
                  </a:lnTo>
                  <a:lnTo>
                    <a:pt x="1785544" y="194716"/>
                  </a:lnTo>
                  <a:lnTo>
                    <a:pt x="1785595" y="193383"/>
                  </a:lnTo>
                  <a:lnTo>
                    <a:pt x="1785595" y="196113"/>
                  </a:lnTo>
                  <a:lnTo>
                    <a:pt x="1785595" y="195415"/>
                  </a:lnTo>
                  <a:lnTo>
                    <a:pt x="1785595" y="196113"/>
                  </a:lnTo>
                  <a:lnTo>
                    <a:pt x="1785595" y="195415"/>
                  </a:lnTo>
                  <a:lnTo>
                    <a:pt x="1785595" y="196113"/>
                  </a:lnTo>
                  <a:lnTo>
                    <a:pt x="1785697" y="196113"/>
                  </a:lnTo>
                  <a:lnTo>
                    <a:pt x="1785697" y="196799"/>
                  </a:lnTo>
                  <a:lnTo>
                    <a:pt x="1785697" y="196113"/>
                  </a:lnTo>
                  <a:lnTo>
                    <a:pt x="1785697" y="196799"/>
                  </a:lnTo>
                  <a:lnTo>
                    <a:pt x="1785747" y="196799"/>
                  </a:lnTo>
                  <a:lnTo>
                    <a:pt x="1785747" y="197447"/>
                  </a:lnTo>
                  <a:lnTo>
                    <a:pt x="1785747" y="196799"/>
                  </a:lnTo>
                  <a:lnTo>
                    <a:pt x="1785747" y="197447"/>
                  </a:lnTo>
                  <a:lnTo>
                    <a:pt x="1785747" y="196799"/>
                  </a:lnTo>
                  <a:lnTo>
                    <a:pt x="1785747" y="197447"/>
                  </a:lnTo>
                  <a:lnTo>
                    <a:pt x="1785798" y="197447"/>
                  </a:lnTo>
                  <a:lnTo>
                    <a:pt x="1785798" y="196799"/>
                  </a:lnTo>
                  <a:lnTo>
                    <a:pt x="1785798" y="197447"/>
                  </a:lnTo>
                  <a:lnTo>
                    <a:pt x="1785798" y="196113"/>
                  </a:lnTo>
                  <a:lnTo>
                    <a:pt x="1785798" y="196799"/>
                  </a:lnTo>
                  <a:lnTo>
                    <a:pt x="1785900" y="196799"/>
                  </a:lnTo>
                  <a:lnTo>
                    <a:pt x="1785900" y="195415"/>
                  </a:lnTo>
                  <a:lnTo>
                    <a:pt x="1785900" y="196113"/>
                  </a:lnTo>
                  <a:lnTo>
                    <a:pt x="1785900" y="194716"/>
                  </a:lnTo>
                  <a:lnTo>
                    <a:pt x="1785938" y="194716"/>
                  </a:lnTo>
                  <a:lnTo>
                    <a:pt x="1785938" y="191986"/>
                  </a:lnTo>
                  <a:lnTo>
                    <a:pt x="1785938" y="192684"/>
                  </a:lnTo>
                  <a:lnTo>
                    <a:pt x="1785938" y="191986"/>
                  </a:lnTo>
                  <a:lnTo>
                    <a:pt x="1785938" y="193383"/>
                  </a:lnTo>
                  <a:lnTo>
                    <a:pt x="1785989" y="192684"/>
                  </a:lnTo>
                  <a:lnTo>
                    <a:pt x="1785989" y="191351"/>
                  </a:lnTo>
                  <a:lnTo>
                    <a:pt x="1785989" y="194716"/>
                  </a:lnTo>
                  <a:lnTo>
                    <a:pt x="1785989" y="193383"/>
                  </a:lnTo>
                  <a:lnTo>
                    <a:pt x="1786040" y="193383"/>
                  </a:lnTo>
                  <a:lnTo>
                    <a:pt x="1786040" y="192684"/>
                  </a:lnTo>
                  <a:lnTo>
                    <a:pt x="1786040" y="194716"/>
                  </a:lnTo>
                  <a:lnTo>
                    <a:pt x="1786040" y="193383"/>
                  </a:lnTo>
                  <a:lnTo>
                    <a:pt x="1786141" y="193383"/>
                  </a:lnTo>
                  <a:lnTo>
                    <a:pt x="1786141" y="194716"/>
                  </a:lnTo>
                  <a:lnTo>
                    <a:pt x="1786141" y="193383"/>
                  </a:lnTo>
                  <a:lnTo>
                    <a:pt x="1786192" y="194716"/>
                  </a:lnTo>
                  <a:lnTo>
                    <a:pt x="1786192" y="196113"/>
                  </a:lnTo>
                  <a:lnTo>
                    <a:pt x="1786192" y="195415"/>
                  </a:lnTo>
                  <a:lnTo>
                    <a:pt x="1786192" y="196799"/>
                  </a:lnTo>
                  <a:lnTo>
                    <a:pt x="1786243" y="196799"/>
                  </a:lnTo>
                  <a:lnTo>
                    <a:pt x="1786243" y="196113"/>
                  </a:lnTo>
                  <a:lnTo>
                    <a:pt x="1786243" y="196799"/>
                  </a:lnTo>
                  <a:lnTo>
                    <a:pt x="1786344" y="196799"/>
                  </a:lnTo>
                  <a:lnTo>
                    <a:pt x="1786344" y="197447"/>
                  </a:lnTo>
                  <a:lnTo>
                    <a:pt x="1786344" y="196113"/>
                  </a:lnTo>
                  <a:lnTo>
                    <a:pt x="1786395" y="196113"/>
                  </a:lnTo>
                  <a:lnTo>
                    <a:pt x="1786395" y="196799"/>
                  </a:lnTo>
                  <a:lnTo>
                    <a:pt x="1786395" y="195415"/>
                  </a:lnTo>
                  <a:lnTo>
                    <a:pt x="1786395" y="196113"/>
                  </a:lnTo>
                  <a:lnTo>
                    <a:pt x="1786395" y="195415"/>
                  </a:lnTo>
                  <a:lnTo>
                    <a:pt x="1786446" y="195415"/>
                  </a:lnTo>
                  <a:lnTo>
                    <a:pt x="1786446" y="196113"/>
                  </a:lnTo>
                  <a:lnTo>
                    <a:pt x="1786446" y="195415"/>
                  </a:lnTo>
                  <a:lnTo>
                    <a:pt x="1786484" y="196113"/>
                  </a:lnTo>
                  <a:lnTo>
                    <a:pt x="1786484" y="197447"/>
                  </a:lnTo>
                  <a:lnTo>
                    <a:pt x="1786484" y="196799"/>
                  </a:lnTo>
                  <a:lnTo>
                    <a:pt x="1786484" y="197447"/>
                  </a:lnTo>
                  <a:lnTo>
                    <a:pt x="1786484" y="196113"/>
                  </a:lnTo>
                  <a:lnTo>
                    <a:pt x="1786484" y="197447"/>
                  </a:lnTo>
                  <a:lnTo>
                    <a:pt x="1786586" y="196799"/>
                  </a:lnTo>
                  <a:lnTo>
                    <a:pt x="1786586" y="197447"/>
                  </a:lnTo>
                  <a:lnTo>
                    <a:pt x="1786586" y="196799"/>
                  </a:lnTo>
                  <a:lnTo>
                    <a:pt x="1786637" y="196799"/>
                  </a:lnTo>
                  <a:lnTo>
                    <a:pt x="1786637" y="196113"/>
                  </a:lnTo>
                  <a:lnTo>
                    <a:pt x="1786637" y="196799"/>
                  </a:lnTo>
                  <a:lnTo>
                    <a:pt x="1786687" y="196799"/>
                  </a:lnTo>
                  <a:lnTo>
                    <a:pt x="1786687" y="197447"/>
                  </a:lnTo>
                  <a:lnTo>
                    <a:pt x="1786789" y="197447"/>
                  </a:lnTo>
                  <a:lnTo>
                    <a:pt x="1786789" y="196799"/>
                  </a:lnTo>
                  <a:lnTo>
                    <a:pt x="1786789" y="197447"/>
                  </a:lnTo>
                  <a:lnTo>
                    <a:pt x="1786789" y="196799"/>
                  </a:lnTo>
                  <a:lnTo>
                    <a:pt x="1786840" y="196799"/>
                  </a:lnTo>
                  <a:lnTo>
                    <a:pt x="1786840" y="197447"/>
                  </a:lnTo>
                  <a:lnTo>
                    <a:pt x="1786840" y="196113"/>
                  </a:lnTo>
                  <a:lnTo>
                    <a:pt x="1786890" y="196113"/>
                  </a:lnTo>
                  <a:lnTo>
                    <a:pt x="1786890" y="196799"/>
                  </a:lnTo>
                  <a:lnTo>
                    <a:pt x="1786890" y="195415"/>
                  </a:lnTo>
                  <a:lnTo>
                    <a:pt x="1786890" y="196113"/>
                  </a:lnTo>
                  <a:lnTo>
                    <a:pt x="1786941" y="196799"/>
                  </a:lnTo>
                  <a:lnTo>
                    <a:pt x="1786941" y="197447"/>
                  </a:lnTo>
                  <a:lnTo>
                    <a:pt x="1786941" y="196113"/>
                  </a:lnTo>
                  <a:lnTo>
                    <a:pt x="1786941" y="198831"/>
                  </a:lnTo>
                  <a:lnTo>
                    <a:pt x="1787030" y="198831"/>
                  </a:lnTo>
                  <a:lnTo>
                    <a:pt x="1787030" y="199530"/>
                  </a:lnTo>
                  <a:lnTo>
                    <a:pt x="1787030" y="196799"/>
                  </a:lnTo>
                  <a:lnTo>
                    <a:pt x="1787030" y="198831"/>
                  </a:lnTo>
                  <a:lnTo>
                    <a:pt x="1787081" y="198831"/>
                  </a:lnTo>
                  <a:lnTo>
                    <a:pt x="1787081" y="197447"/>
                  </a:lnTo>
                  <a:lnTo>
                    <a:pt x="1787081" y="198831"/>
                  </a:lnTo>
                  <a:lnTo>
                    <a:pt x="1787081" y="197447"/>
                  </a:lnTo>
                  <a:lnTo>
                    <a:pt x="1787132" y="197447"/>
                  </a:lnTo>
                  <a:lnTo>
                    <a:pt x="1787132" y="198831"/>
                  </a:lnTo>
                  <a:lnTo>
                    <a:pt x="1787132" y="197447"/>
                  </a:lnTo>
                  <a:lnTo>
                    <a:pt x="1787132" y="198831"/>
                  </a:lnTo>
                  <a:lnTo>
                    <a:pt x="1787284" y="198831"/>
                  </a:lnTo>
                  <a:lnTo>
                    <a:pt x="1787284" y="197447"/>
                  </a:lnTo>
                  <a:lnTo>
                    <a:pt x="1787284" y="198831"/>
                  </a:lnTo>
                  <a:lnTo>
                    <a:pt x="1787335" y="197447"/>
                  </a:lnTo>
                  <a:lnTo>
                    <a:pt x="1787335" y="196113"/>
                  </a:lnTo>
                  <a:lnTo>
                    <a:pt x="1787335" y="196799"/>
                  </a:lnTo>
                  <a:lnTo>
                    <a:pt x="1787335" y="196113"/>
                  </a:lnTo>
                  <a:lnTo>
                    <a:pt x="1787335" y="197447"/>
                  </a:lnTo>
                  <a:lnTo>
                    <a:pt x="1787335" y="195415"/>
                  </a:lnTo>
                  <a:lnTo>
                    <a:pt x="1787386" y="194716"/>
                  </a:lnTo>
                  <a:lnTo>
                    <a:pt x="1787386" y="196799"/>
                  </a:lnTo>
                  <a:lnTo>
                    <a:pt x="1787386" y="196113"/>
                  </a:lnTo>
                  <a:lnTo>
                    <a:pt x="1787386" y="196799"/>
                  </a:lnTo>
                  <a:lnTo>
                    <a:pt x="1787386" y="196113"/>
                  </a:lnTo>
                  <a:lnTo>
                    <a:pt x="1787487" y="196113"/>
                  </a:lnTo>
                  <a:lnTo>
                    <a:pt x="1787487" y="198831"/>
                  </a:lnTo>
                  <a:lnTo>
                    <a:pt x="1787487" y="197447"/>
                  </a:lnTo>
                  <a:lnTo>
                    <a:pt x="1787487" y="198831"/>
                  </a:lnTo>
                  <a:lnTo>
                    <a:pt x="1787487" y="197447"/>
                  </a:lnTo>
                  <a:lnTo>
                    <a:pt x="1787525" y="196799"/>
                  </a:lnTo>
                  <a:lnTo>
                    <a:pt x="1787525" y="199530"/>
                  </a:lnTo>
                  <a:lnTo>
                    <a:pt x="1787525" y="198831"/>
                  </a:lnTo>
                  <a:lnTo>
                    <a:pt x="1787576" y="198831"/>
                  </a:lnTo>
                  <a:lnTo>
                    <a:pt x="1787576" y="199530"/>
                  </a:lnTo>
                  <a:lnTo>
                    <a:pt x="1787576" y="198831"/>
                  </a:lnTo>
                  <a:lnTo>
                    <a:pt x="1787576" y="199530"/>
                  </a:lnTo>
                  <a:lnTo>
                    <a:pt x="1787576" y="198831"/>
                  </a:lnTo>
                  <a:lnTo>
                    <a:pt x="1787576" y="199530"/>
                  </a:lnTo>
                  <a:lnTo>
                    <a:pt x="1787576" y="198831"/>
                  </a:lnTo>
                  <a:lnTo>
                    <a:pt x="1787576" y="199530"/>
                  </a:lnTo>
                  <a:lnTo>
                    <a:pt x="1787576" y="198831"/>
                  </a:lnTo>
                  <a:lnTo>
                    <a:pt x="1787576" y="199530"/>
                  </a:lnTo>
                  <a:lnTo>
                    <a:pt x="1787627" y="199530"/>
                  </a:lnTo>
                  <a:lnTo>
                    <a:pt x="1787627" y="200228"/>
                  </a:lnTo>
                  <a:lnTo>
                    <a:pt x="1787627" y="199530"/>
                  </a:lnTo>
                  <a:lnTo>
                    <a:pt x="1787729" y="199530"/>
                  </a:lnTo>
                  <a:lnTo>
                    <a:pt x="1787729" y="200228"/>
                  </a:lnTo>
                  <a:lnTo>
                    <a:pt x="1787729" y="199530"/>
                  </a:lnTo>
                  <a:lnTo>
                    <a:pt x="1787780" y="199530"/>
                  </a:lnTo>
                  <a:lnTo>
                    <a:pt x="1787780" y="198831"/>
                  </a:lnTo>
                  <a:lnTo>
                    <a:pt x="1787780" y="199530"/>
                  </a:lnTo>
                  <a:lnTo>
                    <a:pt x="1787780" y="198831"/>
                  </a:lnTo>
                  <a:lnTo>
                    <a:pt x="1787780" y="199530"/>
                  </a:lnTo>
                  <a:lnTo>
                    <a:pt x="1787780" y="197447"/>
                  </a:lnTo>
                  <a:lnTo>
                    <a:pt x="1787830" y="197447"/>
                  </a:lnTo>
                  <a:lnTo>
                    <a:pt x="1787830" y="198831"/>
                  </a:lnTo>
                  <a:lnTo>
                    <a:pt x="1787830" y="195415"/>
                  </a:lnTo>
                  <a:lnTo>
                    <a:pt x="1787830" y="196113"/>
                  </a:lnTo>
                  <a:lnTo>
                    <a:pt x="1787932" y="196113"/>
                  </a:lnTo>
                  <a:lnTo>
                    <a:pt x="1787932" y="196799"/>
                  </a:lnTo>
                  <a:lnTo>
                    <a:pt x="1787932" y="196113"/>
                  </a:lnTo>
                  <a:lnTo>
                    <a:pt x="1787932" y="198831"/>
                  </a:lnTo>
                  <a:lnTo>
                    <a:pt x="1787983" y="198831"/>
                  </a:lnTo>
                  <a:lnTo>
                    <a:pt x="1787983" y="199530"/>
                  </a:lnTo>
                  <a:lnTo>
                    <a:pt x="1787983" y="197447"/>
                  </a:lnTo>
                  <a:lnTo>
                    <a:pt x="1787983" y="199530"/>
                  </a:lnTo>
                  <a:lnTo>
                    <a:pt x="1788034" y="200228"/>
                  </a:lnTo>
                  <a:lnTo>
                    <a:pt x="1788034" y="198831"/>
                  </a:lnTo>
                  <a:lnTo>
                    <a:pt x="1788034" y="199530"/>
                  </a:lnTo>
                  <a:lnTo>
                    <a:pt x="1788034" y="198831"/>
                  </a:lnTo>
                  <a:lnTo>
                    <a:pt x="1788034" y="199530"/>
                  </a:lnTo>
                  <a:lnTo>
                    <a:pt x="1788034" y="198831"/>
                  </a:lnTo>
                  <a:lnTo>
                    <a:pt x="1788034" y="199530"/>
                  </a:lnTo>
                  <a:lnTo>
                    <a:pt x="1788072" y="199530"/>
                  </a:lnTo>
                  <a:lnTo>
                    <a:pt x="1788072" y="200228"/>
                  </a:lnTo>
                  <a:lnTo>
                    <a:pt x="1788072" y="199530"/>
                  </a:lnTo>
                  <a:lnTo>
                    <a:pt x="1788173" y="199530"/>
                  </a:lnTo>
                  <a:lnTo>
                    <a:pt x="1788173" y="200228"/>
                  </a:lnTo>
                  <a:lnTo>
                    <a:pt x="1788173" y="199530"/>
                  </a:lnTo>
                  <a:lnTo>
                    <a:pt x="1788173" y="200228"/>
                  </a:lnTo>
                  <a:lnTo>
                    <a:pt x="1788173" y="199530"/>
                  </a:lnTo>
                  <a:lnTo>
                    <a:pt x="1788173" y="200228"/>
                  </a:lnTo>
                  <a:lnTo>
                    <a:pt x="1788173" y="199530"/>
                  </a:lnTo>
                  <a:lnTo>
                    <a:pt x="1788173" y="200228"/>
                  </a:lnTo>
                  <a:lnTo>
                    <a:pt x="1788224" y="200228"/>
                  </a:lnTo>
                  <a:lnTo>
                    <a:pt x="1788224" y="199530"/>
                  </a:lnTo>
                  <a:lnTo>
                    <a:pt x="1788275" y="198831"/>
                  </a:lnTo>
                  <a:lnTo>
                    <a:pt x="1788275" y="197447"/>
                  </a:lnTo>
                  <a:lnTo>
                    <a:pt x="1788376" y="196799"/>
                  </a:lnTo>
                  <a:lnTo>
                    <a:pt x="1788376" y="196113"/>
                  </a:lnTo>
                  <a:lnTo>
                    <a:pt x="1788376" y="197447"/>
                  </a:lnTo>
                  <a:lnTo>
                    <a:pt x="1788376" y="196113"/>
                  </a:lnTo>
                  <a:lnTo>
                    <a:pt x="1788376" y="197447"/>
                  </a:lnTo>
                  <a:lnTo>
                    <a:pt x="1788427" y="197447"/>
                  </a:lnTo>
                  <a:lnTo>
                    <a:pt x="1788427" y="196799"/>
                  </a:lnTo>
                  <a:lnTo>
                    <a:pt x="1788427" y="199530"/>
                  </a:lnTo>
                  <a:lnTo>
                    <a:pt x="1788478" y="199530"/>
                  </a:lnTo>
                  <a:lnTo>
                    <a:pt x="1788478" y="198831"/>
                  </a:lnTo>
                  <a:lnTo>
                    <a:pt x="1788478" y="200228"/>
                  </a:lnTo>
                  <a:lnTo>
                    <a:pt x="1788478" y="198831"/>
                  </a:lnTo>
                  <a:lnTo>
                    <a:pt x="1788478" y="199530"/>
                  </a:lnTo>
                  <a:lnTo>
                    <a:pt x="1788529" y="199530"/>
                  </a:lnTo>
                  <a:lnTo>
                    <a:pt x="1788529" y="198831"/>
                  </a:lnTo>
                  <a:lnTo>
                    <a:pt x="1788529" y="199530"/>
                  </a:lnTo>
                  <a:lnTo>
                    <a:pt x="1788529" y="198831"/>
                  </a:lnTo>
                  <a:lnTo>
                    <a:pt x="1788529" y="199530"/>
                  </a:lnTo>
                  <a:lnTo>
                    <a:pt x="1788529" y="198831"/>
                  </a:lnTo>
                  <a:lnTo>
                    <a:pt x="1788529" y="199530"/>
                  </a:lnTo>
                  <a:lnTo>
                    <a:pt x="1788669" y="199530"/>
                  </a:lnTo>
                  <a:lnTo>
                    <a:pt x="1788669" y="200228"/>
                  </a:lnTo>
                  <a:lnTo>
                    <a:pt x="1788719" y="200228"/>
                  </a:lnTo>
                  <a:lnTo>
                    <a:pt x="1788719" y="199530"/>
                  </a:lnTo>
                  <a:lnTo>
                    <a:pt x="1788719" y="200228"/>
                  </a:lnTo>
                  <a:lnTo>
                    <a:pt x="1788719" y="198831"/>
                  </a:lnTo>
                  <a:lnTo>
                    <a:pt x="1788770" y="198831"/>
                  </a:lnTo>
                  <a:lnTo>
                    <a:pt x="1788770" y="196113"/>
                  </a:lnTo>
                  <a:lnTo>
                    <a:pt x="1788872" y="196113"/>
                  </a:lnTo>
                  <a:lnTo>
                    <a:pt x="1788872" y="197447"/>
                  </a:lnTo>
                  <a:lnTo>
                    <a:pt x="1788872" y="196113"/>
                  </a:lnTo>
                  <a:lnTo>
                    <a:pt x="1788922" y="196113"/>
                  </a:lnTo>
                  <a:lnTo>
                    <a:pt x="1788922" y="198831"/>
                  </a:lnTo>
                  <a:lnTo>
                    <a:pt x="1788922" y="197447"/>
                  </a:lnTo>
                  <a:lnTo>
                    <a:pt x="1788973" y="196799"/>
                  </a:lnTo>
                  <a:lnTo>
                    <a:pt x="1788973" y="198831"/>
                  </a:lnTo>
                  <a:lnTo>
                    <a:pt x="1788973" y="197447"/>
                  </a:lnTo>
                  <a:lnTo>
                    <a:pt x="1789075" y="197447"/>
                  </a:lnTo>
                  <a:lnTo>
                    <a:pt x="1789075" y="198831"/>
                  </a:lnTo>
                  <a:lnTo>
                    <a:pt x="1789113" y="198831"/>
                  </a:lnTo>
                  <a:lnTo>
                    <a:pt x="1789113" y="199530"/>
                  </a:lnTo>
                  <a:lnTo>
                    <a:pt x="1789113" y="198831"/>
                  </a:lnTo>
                  <a:lnTo>
                    <a:pt x="1789113" y="199530"/>
                  </a:lnTo>
                  <a:lnTo>
                    <a:pt x="1789113" y="198831"/>
                  </a:lnTo>
                  <a:lnTo>
                    <a:pt x="1789113" y="199530"/>
                  </a:lnTo>
                  <a:lnTo>
                    <a:pt x="1789113" y="198831"/>
                  </a:lnTo>
                  <a:lnTo>
                    <a:pt x="1789113" y="199530"/>
                  </a:lnTo>
                  <a:lnTo>
                    <a:pt x="1789113" y="198831"/>
                  </a:lnTo>
                  <a:lnTo>
                    <a:pt x="1789164" y="199530"/>
                  </a:lnTo>
                  <a:lnTo>
                    <a:pt x="1789164" y="198831"/>
                  </a:lnTo>
                  <a:lnTo>
                    <a:pt x="1789164" y="199530"/>
                  </a:lnTo>
                  <a:lnTo>
                    <a:pt x="1789164" y="198831"/>
                  </a:lnTo>
                  <a:lnTo>
                    <a:pt x="1789164" y="199530"/>
                  </a:lnTo>
                  <a:lnTo>
                    <a:pt x="1789164" y="198831"/>
                  </a:lnTo>
                  <a:lnTo>
                    <a:pt x="1789164" y="199530"/>
                  </a:lnTo>
                  <a:lnTo>
                    <a:pt x="1789164" y="198831"/>
                  </a:lnTo>
                  <a:lnTo>
                    <a:pt x="1789164" y="199530"/>
                  </a:lnTo>
                  <a:lnTo>
                    <a:pt x="1789164" y="198831"/>
                  </a:lnTo>
                  <a:lnTo>
                    <a:pt x="1789215" y="198831"/>
                  </a:lnTo>
                  <a:lnTo>
                    <a:pt x="1789215" y="199530"/>
                  </a:lnTo>
                  <a:lnTo>
                    <a:pt x="1789215" y="197447"/>
                  </a:lnTo>
                  <a:lnTo>
                    <a:pt x="1789215" y="198831"/>
                  </a:lnTo>
                  <a:lnTo>
                    <a:pt x="1789215" y="197447"/>
                  </a:lnTo>
                  <a:lnTo>
                    <a:pt x="1789316" y="197447"/>
                  </a:lnTo>
                  <a:lnTo>
                    <a:pt x="1789316" y="196799"/>
                  </a:lnTo>
                  <a:lnTo>
                    <a:pt x="1789316" y="197447"/>
                  </a:lnTo>
                  <a:lnTo>
                    <a:pt x="1789316" y="196113"/>
                  </a:lnTo>
                  <a:lnTo>
                    <a:pt x="1789316" y="196799"/>
                  </a:lnTo>
                  <a:lnTo>
                    <a:pt x="1789316" y="196113"/>
                  </a:lnTo>
                  <a:lnTo>
                    <a:pt x="1789316" y="196799"/>
                  </a:lnTo>
                  <a:lnTo>
                    <a:pt x="1789367" y="196799"/>
                  </a:lnTo>
                  <a:lnTo>
                    <a:pt x="1789367" y="197447"/>
                  </a:lnTo>
                  <a:lnTo>
                    <a:pt x="1789367" y="196113"/>
                  </a:lnTo>
                  <a:lnTo>
                    <a:pt x="1789367" y="198831"/>
                  </a:lnTo>
                  <a:lnTo>
                    <a:pt x="1789418" y="198831"/>
                  </a:lnTo>
                  <a:lnTo>
                    <a:pt x="1789418" y="199530"/>
                  </a:lnTo>
                  <a:lnTo>
                    <a:pt x="1789418" y="197447"/>
                  </a:lnTo>
                  <a:lnTo>
                    <a:pt x="1789418" y="198831"/>
                  </a:lnTo>
                  <a:lnTo>
                    <a:pt x="1789418" y="197447"/>
                  </a:lnTo>
                  <a:lnTo>
                    <a:pt x="1789418" y="199530"/>
                  </a:lnTo>
                  <a:lnTo>
                    <a:pt x="1789519" y="199530"/>
                  </a:lnTo>
                  <a:lnTo>
                    <a:pt x="1789519" y="197447"/>
                  </a:lnTo>
                  <a:lnTo>
                    <a:pt x="1789519" y="198831"/>
                  </a:lnTo>
                  <a:lnTo>
                    <a:pt x="1789570" y="199530"/>
                  </a:lnTo>
                  <a:lnTo>
                    <a:pt x="1789570" y="198831"/>
                  </a:lnTo>
                  <a:lnTo>
                    <a:pt x="1789570" y="199530"/>
                  </a:lnTo>
                  <a:lnTo>
                    <a:pt x="1789659" y="199530"/>
                  </a:lnTo>
                  <a:lnTo>
                    <a:pt x="1789659" y="200228"/>
                  </a:lnTo>
                  <a:lnTo>
                    <a:pt x="1789659" y="199530"/>
                  </a:lnTo>
                  <a:lnTo>
                    <a:pt x="1789761" y="199530"/>
                  </a:lnTo>
                  <a:lnTo>
                    <a:pt x="1789761" y="198831"/>
                  </a:lnTo>
                  <a:lnTo>
                    <a:pt x="1789761" y="199530"/>
                  </a:lnTo>
                  <a:lnTo>
                    <a:pt x="1789761" y="197447"/>
                  </a:lnTo>
                  <a:lnTo>
                    <a:pt x="1789812" y="197447"/>
                  </a:lnTo>
                  <a:lnTo>
                    <a:pt x="1789812" y="196799"/>
                  </a:lnTo>
                  <a:lnTo>
                    <a:pt x="1789812" y="199530"/>
                  </a:lnTo>
                  <a:lnTo>
                    <a:pt x="1789812" y="198831"/>
                  </a:lnTo>
                  <a:lnTo>
                    <a:pt x="1789862" y="198831"/>
                  </a:lnTo>
                  <a:lnTo>
                    <a:pt x="1789862" y="199530"/>
                  </a:lnTo>
                  <a:lnTo>
                    <a:pt x="1789862" y="198831"/>
                  </a:lnTo>
                  <a:lnTo>
                    <a:pt x="1789862" y="200876"/>
                  </a:lnTo>
                  <a:lnTo>
                    <a:pt x="1789862" y="199530"/>
                  </a:lnTo>
                  <a:lnTo>
                    <a:pt x="1789964" y="200228"/>
                  </a:lnTo>
                  <a:lnTo>
                    <a:pt x="1789964" y="199530"/>
                  </a:lnTo>
                  <a:lnTo>
                    <a:pt x="1789964" y="200876"/>
                  </a:lnTo>
                  <a:lnTo>
                    <a:pt x="1789964" y="200228"/>
                  </a:lnTo>
                  <a:lnTo>
                    <a:pt x="1790015" y="200228"/>
                  </a:lnTo>
                  <a:lnTo>
                    <a:pt x="1790015" y="200876"/>
                  </a:lnTo>
                  <a:lnTo>
                    <a:pt x="1790015" y="200228"/>
                  </a:lnTo>
                  <a:lnTo>
                    <a:pt x="1790015" y="200876"/>
                  </a:lnTo>
                  <a:lnTo>
                    <a:pt x="1790015" y="200228"/>
                  </a:lnTo>
                  <a:lnTo>
                    <a:pt x="1790015" y="200876"/>
                  </a:lnTo>
                  <a:lnTo>
                    <a:pt x="1790015" y="200228"/>
                  </a:lnTo>
                  <a:lnTo>
                    <a:pt x="1790015" y="200876"/>
                  </a:lnTo>
                  <a:lnTo>
                    <a:pt x="1790015" y="200228"/>
                  </a:lnTo>
                  <a:lnTo>
                    <a:pt x="1790015" y="200876"/>
                  </a:lnTo>
                  <a:lnTo>
                    <a:pt x="1790015" y="200228"/>
                  </a:lnTo>
                  <a:lnTo>
                    <a:pt x="1790065" y="200228"/>
                  </a:lnTo>
                  <a:lnTo>
                    <a:pt x="1790065" y="200876"/>
                  </a:lnTo>
                  <a:lnTo>
                    <a:pt x="1790065" y="200228"/>
                  </a:lnTo>
                  <a:lnTo>
                    <a:pt x="1790116" y="200228"/>
                  </a:lnTo>
                  <a:lnTo>
                    <a:pt x="1790116" y="199530"/>
                  </a:lnTo>
                  <a:lnTo>
                    <a:pt x="1790116" y="200228"/>
                  </a:lnTo>
                  <a:lnTo>
                    <a:pt x="1790116" y="199530"/>
                  </a:lnTo>
                  <a:lnTo>
                    <a:pt x="1790116" y="200228"/>
                  </a:lnTo>
                  <a:lnTo>
                    <a:pt x="1790116" y="199530"/>
                  </a:lnTo>
                  <a:lnTo>
                    <a:pt x="1790116" y="200228"/>
                  </a:lnTo>
                  <a:lnTo>
                    <a:pt x="1790116" y="199530"/>
                  </a:lnTo>
                  <a:lnTo>
                    <a:pt x="1790205" y="199530"/>
                  </a:lnTo>
                  <a:lnTo>
                    <a:pt x="1790205" y="198831"/>
                  </a:lnTo>
                  <a:lnTo>
                    <a:pt x="1790256" y="198831"/>
                  </a:lnTo>
                  <a:lnTo>
                    <a:pt x="1790256" y="197447"/>
                  </a:lnTo>
                  <a:lnTo>
                    <a:pt x="1790256" y="198831"/>
                  </a:lnTo>
                  <a:lnTo>
                    <a:pt x="1790256" y="196799"/>
                  </a:lnTo>
                  <a:lnTo>
                    <a:pt x="1790256" y="197447"/>
                  </a:lnTo>
                  <a:lnTo>
                    <a:pt x="1790256" y="196799"/>
                  </a:lnTo>
                  <a:lnTo>
                    <a:pt x="1790256" y="197447"/>
                  </a:lnTo>
                  <a:lnTo>
                    <a:pt x="1790307" y="197447"/>
                  </a:lnTo>
                  <a:lnTo>
                    <a:pt x="1790307" y="198831"/>
                  </a:lnTo>
                  <a:lnTo>
                    <a:pt x="1790307" y="197447"/>
                  </a:lnTo>
                  <a:lnTo>
                    <a:pt x="1790307" y="200228"/>
                  </a:lnTo>
                  <a:lnTo>
                    <a:pt x="1790358" y="200228"/>
                  </a:lnTo>
                  <a:lnTo>
                    <a:pt x="1790358" y="199530"/>
                  </a:lnTo>
                  <a:lnTo>
                    <a:pt x="1790358" y="200876"/>
                  </a:lnTo>
                  <a:lnTo>
                    <a:pt x="1790358" y="200228"/>
                  </a:lnTo>
                  <a:lnTo>
                    <a:pt x="1790459" y="200228"/>
                  </a:lnTo>
                  <a:lnTo>
                    <a:pt x="1790459" y="199530"/>
                  </a:lnTo>
                  <a:lnTo>
                    <a:pt x="1790459" y="200228"/>
                  </a:lnTo>
                  <a:lnTo>
                    <a:pt x="1790459" y="199530"/>
                  </a:lnTo>
                  <a:lnTo>
                    <a:pt x="1790459" y="200228"/>
                  </a:lnTo>
                  <a:lnTo>
                    <a:pt x="1790459" y="199530"/>
                  </a:lnTo>
                  <a:lnTo>
                    <a:pt x="1790459" y="200876"/>
                  </a:lnTo>
                  <a:lnTo>
                    <a:pt x="1790459" y="200228"/>
                  </a:lnTo>
                  <a:lnTo>
                    <a:pt x="1790510" y="200228"/>
                  </a:lnTo>
                  <a:lnTo>
                    <a:pt x="1790510" y="199530"/>
                  </a:lnTo>
                  <a:lnTo>
                    <a:pt x="1790510" y="200228"/>
                  </a:lnTo>
                  <a:lnTo>
                    <a:pt x="1790510" y="199530"/>
                  </a:lnTo>
                  <a:lnTo>
                    <a:pt x="1790510" y="200228"/>
                  </a:lnTo>
                  <a:lnTo>
                    <a:pt x="1790561" y="200228"/>
                  </a:lnTo>
                  <a:lnTo>
                    <a:pt x="1790561" y="199530"/>
                  </a:lnTo>
                  <a:lnTo>
                    <a:pt x="1790561" y="200876"/>
                  </a:lnTo>
                  <a:lnTo>
                    <a:pt x="1790561" y="200228"/>
                  </a:lnTo>
                  <a:lnTo>
                    <a:pt x="1790561" y="200876"/>
                  </a:lnTo>
                  <a:lnTo>
                    <a:pt x="1790561" y="200228"/>
                  </a:lnTo>
                  <a:lnTo>
                    <a:pt x="1790561" y="200876"/>
                  </a:lnTo>
                  <a:lnTo>
                    <a:pt x="1790662" y="200228"/>
                  </a:lnTo>
                  <a:lnTo>
                    <a:pt x="1790662" y="199530"/>
                  </a:lnTo>
                  <a:lnTo>
                    <a:pt x="1790662" y="200228"/>
                  </a:lnTo>
                  <a:lnTo>
                    <a:pt x="1790662" y="199530"/>
                  </a:lnTo>
                  <a:lnTo>
                    <a:pt x="1790700" y="199530"/>
                  </a:lnTo>
                  <a:lnTo>
                    <a:pt x="1790700" y="198831"/>
                  </a:lnTo>
                  <a:lnTo>
                    <a:pt x="1790700" y="199530"/>
                  </a:lnTo>
                  <a:lnTo>
                    <a:pt x="1790700" y="197447"/>
                  </a:lnTo>
                  <a:lnTo>
                    <a:pt x="1790700" y="198831"/>
                  </a:lnTo>
                  <a:lnTo>
                    <a:pt x="1790700" y="197447"/>
                  </a:lnTo>
                  <a:lnTo>
                    <a:pt x="1790751" y="197447"/>
                  </a:lnTo>
                  <a:lnTo>
                    <a:pt x="1790751" y="196113"/>
                  </a:lnTo>
                  <a:lnTo>
                    <a:pt x="1790751" y="198831"/>
                  </a:lnTo>
                  <a:lnTo>
                    <a:pt x="1790751" y="197447"/>
                  </a:lnTo>
                  <a:lnTo>
                    <a:pt x="1790802" y="197447"/>
                  </a:lnTo>
                  <a:lnTo>
                    <a:pt x="1790802" y="196799"/>
                  </a:lnTo>
                  <a:lnTo>
                    <a:pt x="1790802" y="197447"/>
                  </a:lnTo>
                  <a:lnTo>
                    <a:pt x="1790802" y="196799"/>
                  </a:lnTo>
                  <a:lnTo>
                    <a:pt x="1790802" y="199530"/>
                  </a:lnTo>
                  <a:lnTo>
                    <a:pt x="1790904" y="199530"/>
                  </a:lnTo>
                  <a:lnTo>
                    <a:pt x="1790904" y="198831"/>
                  </a:lnTo>
                  <a:lnTo>
                    <a:pt x="1790904" y="199530"/>
                  </a:lnTo>
                  <a:lnTo>
                    <a:pt x="1790904" y="198831"/>
                  </a:lnTo>
                  <a:lnTo>
                    <a:pt x="1790904" y="199530"/>
                  </a:lnTo>
                  <a:lnTo>
                    <a:pt x="1790955" y="199530"/>
                  </a:lnTo>
                  <a:lnTo>
                    <a:pt x="1790955" y="200228"/>
                  </a:lnTo>
                  <a:lnTo>
                    <a:pt x="1790955" y="199530"/>
                  </a:lnTo>
                  <a:lnTo>
                    <a:pt x="1790955" y="200228"/>
                  </a:lnTo>
                  <a:lnTo>
                    <a:pt x="1791005" y="200228"/>
                  </a:lnTo>
                  <a:lnTo>
                    <a:pt x="1791005" y="199530"/>
                  </a:lnTo>
                  <a:lnTo>
                    <a:pt x="1791005" y="200228"/>
                  </a:lnTo>
                  <a:lnTo>
                    <a:pt x="1791005" y="199530"/>
                  </a:lnTo>
                  <a:lnTo>
                    <a:pt x="1791005" y="200228"/>
                  </a:lnTo>
                  <a:lnTo>
                    <a:pt x="1791107" y="200228"/>
                  </a:lnTo>
                  <a:lnTo>
                    <a:pt x="1791107" y="200876"/>
                  </a:lnTo>
                  <a:lnTo>
                    <a:pt x="1791107" y="200228"/>
                  </a:lnTo>
                  <a:lnTo>
                    <a:pt x="1791107" y="200876"/>
                  </a:lnTo>
                  <a:lnTo>
                    <a:pt x="1791107" y="200228"/>
                  </a:lnTo>
                  <a:lnTo>
                    <a:pt x="1791107" y="200876"/>
                  </a:lnTo>
                  <a:lnTo>
                    <a:pt x="1791107" y="200228"/>
                  </a:lnTo>
                  <a:lnTo>
                    <a:pt x="1791107" y="200876"/>
                  </a:lnTo>
                  <a:lnTo>
                    <a:pt x="1791107" y="200228"/>
                  </a:lnTo>
                  <a:lnTo>
                    <a:pt x="1791158" y="200876"/>
                  </a:lnTo>
                  <a:lnTo>
                    <a:pt x="1791158" y="198831"/>
                  </a:lnTo>
                  <a:lnTo>
                    <a:pt x="1791209" y="198831"/>
                  </a:lnTo>
                  <a:lnTo>
                    <a:pt x="1791209" y="199530"/>
                  </a:lnTo>
                  <a:lnTo>
                    <a:pt x="1791209" y="196799"/>
                  </a:lnTo>
                  <a:lnTo>
                    <a:pt x="1791247" y="196799"/>
                  </a:lnTo>
                  <a:lnTo>
                    <a:pt x="1791247" y="195415"/>
                  </a:lnTo>
                  <a:lnTo>
                    <a:pt x="1791247" y="196113"/>
                  </a:lnTo>
                  <a:lnTo>
                    <a:pt x="1791247" y="195415"/>
                  </a:lnTo>
                  <a:lnTo>
                    <a:pt x="1791247" y="196113"/>
                  </a:lnTo>
                  <a:lnTo>
                    <a:pt x="1791247" y="195415"/>
                  </a:lnTo>
                  <a:lnTo>
                    <a:pt x="1791247" y="196113"/>
                  </a:lnTo>
                  <a:lnTo>
                    <a:pt x="1791247" y="195415"/>
                  </a:lnTo>
                  <a:lnTo>
                    <a:pt x="1791247" y="196113"/>
                  </a:lnTo>
                  <a:lnTo>
                    <a:pt x="1791348" y="196113"/>
                  </a:lnTo>
                  <a:lnTo>
                    <a:pt x="1791348" y="196799"/>
                  </a:lnTo>
                  <a:lnTo>
                    <a:pt x="1791348" y="196113"/>
                  </a:lnTo>
                  <a:lnTo>
                    <a:pt x="1791348" y="197447"/>
                  </a:lnTo>
                  <a:lnTo>
                    <a:pt x="1791399" y="197447"/>
                  </a:lnTo>
                  <a:lnTo>
                    <a:pt x="1791399" y="196799"/>
                  </a:lnTo>
                  <a:lnTo>
                    <a:pt x="1791399" y="198831"/>
                  </a:lnTo>
                  <a:lnTo>
                    <a:pt x="1791450" y="197447"/>
                  </a:lnTo>
                  <a:lnTo>
                    <a:pt x="1791450" y="199530"/>
                  </a:lnTo>
                  <a:lnTo>
                    <a:pt x="1791450" y="198831"/>
                  </a:lnTo>
                  <a:lnTo>
                    <a:pt x="1791450" y="199530"/>
                  </a:lnTo>
                  <a:lnTo>
                    <a:pt x="1791551" y="199530"/>
                  </a:lnTo>
                  <a:lnTo>
                    <a:pt x="1791551" y="198831"/>
                  </a:lnTo>
                  <a:lnTo>
                    <a:pt x="1791551" y="199530"/>
                  </a:lnTo>
                  <a:lnTo>
                    <a:pt x="1791602" y="198831"/>
                  </a:lnTo>
                  <a:lnTo>
                    <a:pt x="1791602" y="199530"/>
                  </a:lnTo>
                  <a:lnTo>
                    <a:pt x="1791602" y="198831"/>
                  </a:lnTo>
                  <a:lnTo>
                    <a:pt x="1791602" y="200228"/>
                  </a:lnTo>
                  <a:lnTo>
                    <a:pt x="1791602" y="199530"/>
                  </a:lnTo>
                  <a:lnTo>
                    <a:pt x="1791653" y="200228"/>
                  </a:lnTo>
                  <a:lnTo>
                    <a:pt x="1791653" y="198831"/>
                  </a:lnTo>
                  <a:lnTo>
                    <a:pt x="1791653" y="199530"/>
                  </a:lnTo>
                  <a:lnTo>
                    <a:pt x="1791704" y="199530"/>
                  </a:lnTo>
                  <a:lnTo>
                    <a:pt x="1791704" y="198831"/>
                  </a:lnTo>
                  <a:lnTo>
                    <a:pt x="1791704" y="199530"/>
                  </a:lnTo>
                  <a:lnTo>
                    <a:pt x="1791704" y="198831"/>
                  </a:lnTo>
                  <a:lnTo>
                    <a:pt x="1791704" y="199530"/>
                  </a:lnTo>
                  <a:lnTo>
                    <a:pt x="1791704" y="197447"/>
                  </a:lnTo>
                  <a:lnTo>
                    <a:pt x="1791793" y="197447"/>
                  </a:lnTo>
                  <a:lnTo>
                    <a:pt x="1791793" y="195415"/>
                  </a:lnTo>
                  <a:lnTo>
                    <a:pt x="1791793" y="196799"/>
                  </a:lnTo>
                  <a:lnTo>
                    <a:pt x="1791844" y="196799"/>
                  </a:lnTo>
                  <a:lnTo>
                    <a:pt x="1791844" y="195415"/>
                  </a:lnTo>
                  <a:lnTo>
                    <a:pt x="1791844" y="197447"/>
                  </a:lnTo>
                  <a:lnTo>
                    <a:pt x="1791844" y="196799"/>
                  </a:lnTo>
                  <a:lnTo>
                    <a:pt x="1791894" y="196799"/>
                  </a:lnTo>
                  <a:lnTo>
                    <a:pt x="1791894" y="195415"/>
                  </a:lnTo>
                  <a:lnTo>
                    <a:pt x="1791894" y="197447"/>
                  </a:lnTo>
                  <a:lnTo>
                    <a:pt x="1791894" y="196113"/>
                  </a:lnTo>
                  <a:lnTo>
                    <a:pt x="1791945" y="196113"/>
                  </a:lnTo>
                  <a:lnTo>
                    <a:pt x="1791945" y="197447"/>
                  </a:lnTo>
                  <a:lnTo>
                    <a:pt x="1791945" y="196799"/>
                  </a:lnTo>
                  <a:lnTo>
                    <a:pt x="1791945" y="197447"/>
                  </a:lnTo>
                  <a:lnTo>
                    <a:pt x="1791945" y="196799"/>
                  </a:lnTo>
                  <a:lnTo>
                    <a:pt x="1791945" y="197447"/>
                  </a:lnTo>
                  <a:lnTo>
                    <a:pt x="1791945" y="196799"/>
                  </a:lnTo>
                  <a:lnTo>
                    <a:pt x="1792047" y="196799"/>
                  </a:lnTo>
                  <a:lnTo>
                    <a:pt x="1792047" y="197447"/>
                  </a:lnTo>
                  <a:lnTo>
                    <a:pt x="1792097" y="197447"/>
                  </a:lnTo>
                  <a:lnTo>
                    <a:pt x="1792097" y="198831"/>
                  </a:lnTo>
                  <a:lnTo>
                    <a:pt x="1792148" y="198831"/>
                  </a:lnTo>
                  <a:lnTo>
                    <a:pt x="1792148" y="199530"/>
                  </a:lnTo>
                  <a:lnTo>
                    <a:pt x="1792148" y="197447"/>
                  </a:lnTo>
                  <a:lnTo>
                    <a:pt x="1792148" y="198831"/>
                  </a:lnTo>
                  <a:lnTo>
                    <a:pt x="1792148" y="197447"/>
                  </a:lnTo>
                  <a:lnTo>
                    <a:pt x="1792250" y="197447"/>
                  </a:lnTo>
                  <a:lnTo>
                    <a:pt x="1792250" y="198831"/>
                  </a:lnTo>
                  <a:lnTo>
                    <a:pt x="1792250" y="196799"/>
                  </a:lnTo>
                  <a:lnTo>
                    <a:pt x="1792250" y="197447"/>
                  </a:lnTo>
                  <a:lnTo>
                    <a:pt x="1792250" y="196799"/>
                  </a:lnTo>
                  <a:lnTo>
                    <a:pt x="1792288" y="196799"/>
                  </a:lnTo>
                  <a:lnTo>
                    <a:pt x="1792288" y="196113"/>
                  </a:lnTo>
                  <a:lnTo>
                    <a:pt x="1792288" y="198831"/>
                  </a:lnTo>
                  <a:lnTo>
                    <a:pt x="1792288" y="196113"/>
                  </a:lnTo>
                  <a:lnTo>
                    <a:pt x="1792288" y="196799"/>
                  </a:lnTo>
                  <a:lnTo>
                    <a:pt x="1792339" y="196799"/>
                  </a:lnTo>
                  <a:lnTo>
                    <a:pt x="1792339" y="199530"/>
                  </a:lnTo>
                  <a:lnTo>
                    <a:pt x="1792339" y="197447"/>
                  </a:lnTo>
                  <a:lnTo>
                    <a:pt x="1792390" y="197447"/>
                  </a:lnTo>
                  <a:lnTo>
                    <a:pt x="1792390" y="198831"/>
                  </a:lnTo>
                  <a:lnTo>
                    <a:pt x="1792390" y="197447"/>
                  </a:lnTo>
                  <a:lnTo>
                    <a:pt x="1792491" y="197447"/>
                  </a:lnTo>
                  <a:lnTo>
                    <a:pt x="1792491" y="198831"/>
                  </a:lnTo>
                  <a:lnTo>
                    <a:pt x="1792491" y="197447"/>
                  </a:lnTo>
                  <a:lnTo>
                    <a:pt x="1792491" y="198831"/>
                  </a:lnTo>
                  <a:lnTo>
                    <a:pt x="1792542" y="197447"/>
                  </a:lnTo>
                  <a:lnTo>
                    <a:pt x="1792542" y="198831"/>
                  </a:lnTo>
                  <a:lnTo>
                    <a:pt x="1792542" y="197447"/>
                  </a:lnTo>
                  <a:lnTo>
                    <a:pt x="1792542" y="198831"/>
                  </a:lnTo>
                  <a:lnTo>
                    <a:pt x="1792593" y="199530"/>
                  </a:lnTo>
                  <a:lnTo>
                    <a:pt x="1792593" y="198831"/>
                  </a:lnTo>
                  <a:lnTo>
                    <a:pt x="1792593" y="199530"/>
                  </a:lnTo>
                  <a:lnTo>
                    <a:pt x="1792593" y="198831"/>
                  </a:lnTo>
                  <a:lnTo>
                    <a:pt x="1792593" y="199530"/>
                  </a:lnTo>
                  <a:lnTo>
                    <a:pt x="1792593" y="198831"/>
                  </a:lnTo>
                  <a:lnTo>
                    <a:pt x="1792694" y="197447"/>
                  </a:lnTo>
                  <a:lnTo>
                    <a:pt x="1792694" y="196799"/>
                  </a:lnTo>
                  <a:lnTo>
                    <a:pt x="1792745" y="196799"/>
                  </a:lnTo>
                  <a:lnTo>
                    <a:pt x="1792745" y="197447"/>
                  </a:lnTo>
                  <a:lnTo>
                    <a:pt x="1792745" y="196113"/>
                  </a:lnTo>
                  <a:lnTo>
                    <a:pt x="1792745" y="196799"/>
                  </a:lnTo>
                  <a:lnTo>
                    <a:pt x="1792745" y="196113"/>
                  </a:lnTo>
                  <a:lnTo>
                    <a:pt x="1792796" y="195415"/>
                  </a:lnTo>
                  <a:lnTo>
                    <a:pt x="1792796" y="196113"/>
                  </a:lnTo>
                  <a:lnTo>
                    <a:pt x="1792796" y="195415"/>
                  </a:lnTo>
                  <a:lnTo>
                    <a:pt x="1792796" y="197447"/>
                  </a:lnTo>
                  <a:lnTo>
                    <a:pt x="1792796" y="195415"/>
                  </a:lnTo>
                  <a:lnTo>
                    <a:pt x="1792834" y="196113"/>
                  </a:lnTo>
                  <a:lnTo>
                    <a:pt x="1792834" y="199530"/>
                  </a:lnTo>
                  <a:lnTo>
                    <a:pt x="1792834" y="196799"/>
                  </a:lnTo>
                  <a:lnTo>
                    <a:pt x="1792936" y="196799"/>
                  </a:lnTo>
                  <a:lnTo>
                    <a:pt x="1792936" y="198831"/>
                  </a:lnTo>
                  <a:lnTo>
                    <a:pt x="1792936" y="196799"/>
                  </a:lnTo>
                  <a:lnTo>
                    <a:pt x="1792936" y="197447"/>
                  </a:lnTo>
                  <a:lnTo>
                    <a:pt x="1792987" y="197447"/>
                  </a:lnTo>
                  <a:lnTo>
                    <a:pt x="1792987" y="199530"/>
                  </a:lnTo>
                  <a:lnTo>
                    <a:pt x="1792987" y="198831"/>
                  </a:lnTo>
                  <a:lnTo>
                    <a:pt x="1792987" y="199530"/>
                  </a:lnTo>
                  <a:lnTo>
                    <a:pt x="1792987" y="197447"/>
                  </a:lnTo>
                  <a:lnTo>
                    <a:pt x="1792987" y="198831"/>
                  </a:lnTo>
                  <a:lnTo>
                    <a:pt x="1793037" y="198831"/>
                  </a:lnTo>
                  <a:lnTo>
                    <a:pt x="1793037" y="199530"/>
                  </a:lnTo>
                  <a:lnTo>
                    <a:pt x="1793037" y="198831"/>
                  </a:lnTo>
                  <a:lnTo>
                    <a:pt x="1793139" y="198831"/>
                  </a:lnTo>
                  <a:lnTo>
                    <a:pt x="1793139" y="199530"/>
                  </a:lnTo>
                  <a:lnTo>
                    <a:pt x="1793139" y="198831"/>
                  </a:lnTo>
                  <a:lnTo>
                    <a:pt x="1793139" y="199530"/>
                  </a:lnTo>
                  <a:lnTo>
                    <a:pt x="1793139" y="198831"/>
                  </a:lnTo>
                  <a:lnTo>
                    <a:pt x="1793190" y="198831"/>
                  </a:lnTo>
                  <a:lnTo>
                    <a:pt x="1793190" y="196799"/>
                  </a:lnTo>
                  <a:lnTo>
                    <a:pt x="1793190" y="197447"/>
                  </a:lnTo>
                  <a:lnTo>
                    <a:pt x="1793190" y="196799"/>
                  </a:lnTo>
                  <a:lnTo>
                    <a:pt x="1793240" y="196799"/>
                  </a:lnTo>
                  <a:lnTo>
                    <a:pt x="1793240" y="195415"/>
                  </a:lnTo>
                  <a:lnTo>
                    <a:pt x="1793240" y="196113"/>
                  </a:lnTo>
                  <a:lnTo>
                    <a:pt x="1793240" y="194716"/>
                  </a:lnTo>
                  <a:lnTo>
                    <a:pt x="1793291" y="193383"/>
                  </a:lnTo>
                  <a:lnTo>
                    <a:pt x="1793291" y="192684"/>
                  </a:lnTo>
                  <a:lnTo>
                    <a:pt x="1793291" y="195415"/>
                  </a:lnTo>
                  <a:lnTo>
                    <a:pt x="1793291" y="193383"/>
                  </a:lnTo>
                  <a:lnTo>
                    <a:pt x="1793380" y="193383"/>
                  </a:lnTo>
                  <a:lnTo>
                    <a:pt x="1793380" y="196799"/>
                  </a:lnTo>
                  <a:lnTo>
                    <a:pt x="1793380" y="194716"/>
                  </a:lnTo>
                  <a:lnTo>
                    <a:pt x="1793431" y="194716"/>
                  </a:lnTo>
                  <a:lnTo>
                    <a:pt x="1793431" y="197447"/>
                  </a:lnTo>
                  <a:lnTo>
                    <a:pt x="1793431" y="196113"/>
                  </a:lnTo>
                  <a:lnTo>
                    <a:pt x="1793431" y="196799"/>
                  </a:lnTo>
                  <a:lnTo>
                    <a:pt x="1793482" y="196799"/>
                  </a:lnTo>
                  <a:lnTo>
                    <a:pt x="1793482" y="197447"/>
                  </a:lnTo>
                  <a:lnTo>
                    <a:pt x="1793482" y="196799"/>
                  </a:lnTo>
                  <a:lnTo>
                    <a:pt x="1793533" y="197447"/>
                  </a:lnTo>
                  <a:lnTo>
                    <a:pt x="1793533" y="198831"/>
                  </a:lnTo>
                  <a:lnTo>
                    <a:pt x="1793533" y="196799"/>
                  </a:lnTo>
                  <a:lnTo>
                    <a:pt x="1793533" y="198831"/>
                  </a:lnTo>
                  <a:lnTo>
                    <a:pt x="1793533" y="197447"/>
                  </a:lnTo>
                  <a:lnTo>
                    <a:pt x="1793533" y="198831"/>
                  </a:lnTo>
                  <a:lnTo>
                    <a:pt x="1793634" y="198831"/>
                  </a:lnTo>
                  <a:lnTo>
                    <a:pt x="1793634" y="197447"/>
                  </a:lnTo>
                  <a:lnTo>
                    <a:pt x="1793634" y="198831"/>
                  </a:lnTo>
                  <a:lnTo>
                    <a:pt x="1793634" y="197447"/>
                  </a:lnTo>
                  <a:lnTo>
                    <a:pt x="1793634" y="198831"/>
                  </a:lnTo>
                  <a:lnTo>
                    <a:pt x="1793685" y="198831"/>
                  </a:lnTo>
                  <a:lnTo>
                    <a:pt x="1793685" y="196799"/>
                  </a:lnTo>
                  <a:lnTo>
                    <a:pt x="1793685" y="197447"/>
                  </a:lnTo>
                  <a:lnTo>
                    <a:pt x="1793736" y="197447"/>
                  </a:lnTo>
                  <a:lnTo>
                    <a:pt x="1793736" y="194716"/>
                  </a:lnTo>
                  <a:lnTo>
                    <a:pt x="1793837" y="194716"/>
                  </a:lnTo>
                  <a:lnTo>
                    <a:pt x="1793837" y="195415"/>
                  </a:lnTo>
                  <a:lnTo>
                    <a:pt x="1793837" y="194716"/>
                  </a:lnTo>
                  <a:lnTo>
                    <a:pt x="1793875" y="194716"/>
                  </a:lnTo>
                  <a:lnTo>
                    <a:pt x="1793875" y="196113"/>
                  </a:lnTo>
                  <a:lnTo>
                    <a:pt x="1793875" y="195415"/>
                  </a:lnTo>
                  <a:lnTo>
                    <a:pt x="1793926" y="195415"/>
                  </a:lnTo>
                  <a:lnTo>
                    <a:pt x="1793926" y="196799"/>
                  </a:lnTo>
                  <a:lnTo>
                    <a:pt x="1793926" y="196113"/>
                  </a:lnTo>
                  <a:lnTo>
                    <a:pt x="1793977" y="196799"/>
                  </a:lnTo>
                  <a:lnTo>
                    <a:pt x="1793977" y="197447"/>
                  </a:lnTo>
                  <a:lnTo>
                    <a:pt x="1793977" y="196799"/>
                  </a:lnTo>
                  <a:lnTo>
                    <a:pt x="1794079" y="196799"/>
                  </a:lnTo>
                  <a:lnTo>
                    <a:pt x="1794079" y="197447"/>
                  </a:lnTo>
                  <a:lnTo>
                    <a:pt x="1794079" y="196799"/>
                  </a:lnTo>
                  <a:lnTo>
                    <a:pt x="1794079" y="197447"/>
                  </a:lnTo>
                  <a:lnTo>
                    <a:pt x="1794079" y="196799"/>
                  </a:lnTo>
                  <a:lnTo>
                    <a:pt x="1794079" y="198831"/>
                  </a:lnTo>
                  <a:lnTo>
                    <a:pt x="1794079" y="197447"/>
                  </a:lnTo>
                  <a:lnTo>
                    <a:pt x="1794130" y="197447"/>
                  </a:lnTo>
                  <a:lnTo>
                    <a:pt x="1794130" y="198831"/>
                  </a:lnTo>
                  <a:lnTo>
                    <a:pt x="1794130" y="197447"/>
                  </a:lnTo>
                  <a:lnTo>
                    <a:pt x="1794180" y="197447"/>
                  </a:lnTo>
                  <a:lnTo>
                    <a:pt x="1794180" y="198831"/>
                  </a:lnTo>
                  <a:lnTo>
                    <a:pt x="1794180" y="196799"/>
                  </a:lnTo>
                  <a:lnTo>
                    <a:pt x="1794180" y="197447"/>
                  </a:lnTo>
                  <a:lnTo>
                    <a:pt x="1794180" y="196799"/>
                  </a:lnTo>
                  <a:lnTo>
                    <a:pt x="1794282" y="197447"/>
                  </a:lnTo>
                  <a:lnTo>
                    <a:pt x="1794282" y="195415"/>
                  </a:lnTo>
                  <a:lnTo>
                    <a:pt x="1794333" y="195415"/>
                  </a:lnTo>
                  <a:lnTo>
                    <a:pt x="1794333" y="194716"/>
                  </a:lnTo>
                  <a:lnTo>
                    <a:pt x="1794333" y="196113"/>
                  </a:lnTo>
                  <a:lnTo>
                    <a:pt x="1794333" y="194716"/>
                  </a:lnTo>
                  <a:lnTo>
                    <a:pt x="1794384" y="194716"/>
                  </a:lnTo>
                  <a:lnTo>
                    <a:pt x="1794384" y="196799"/>
                  </a:lnTo>
                  <a:lnTo>
                    <a:pt x="1794384" y="195415"/>
                  </a:lnTo>
                  <a:lnTo>
                    <a:pt x="1794384" y="196113"/>
                  </a:lnTo>
                  <a:lnTo>
                    <a:pt x="1794422" y="195415"/>
                  </a:lnTo>
                  <a:lnTo>
                    <a:pt x="1794422" y="196799"/>
                  </a:lnTo>
                  <a:lnTo>
                    <a:pt x="1794422" y="196113"/>
                  </a:lnTo>
                  <a:lnTo>
                    <a:pt x="1794422" y="196799"/>
                  </a:lnTo>
                  <a:lnTo>
                    <a:pt x="1794422" y="196113"/>
                  </a:lnTo>
                  <a:lnTo>
                    <a:pt x="1794422" y="196799"/>
                  </a:lnTo>
                  <a:lnTo>
                    <a:pt x="1794422" y="196113"/>
                  </a:lnTo>
                  <a:lnTo>
                    <a:pt x="1794422" y="196799"/>
                  </a:lnTo>
                  <a:lnTo>
                    <a:pt x="1794523" y="196799"/>
                  </a:lnTo>
                  <a:lnTo>
                    <a:pt x="1794523" y="197447"/>
                  </a:lnTo>
                  <a:lnTo>
                    <a:pt x="1794523" y="196799"/>
                  </a:lnTo>
                  <a:lnTo>
                    <a:pt x="1794523" y="197447"/>
                  </a:lnTo>
                  <a:lnTo>
                    <a:pt x="1794574" y="197447"/>
                  </a:lnTo>
                  <a:lnTo>
                    <a:pt x="1794574" y="196799"/>
                  </a:lnTo>
                  <a:lnTo>
                    <a:pt x="1794574" y="198831"/>
                  </a:lnTo>
                  <a:lnTo>
                    <a:pt x="1794625" y="198831"/>
                  </a:lnTo>
                  <a:lnTo>
                    <a:pt x="1794625" y="197447"/>
                  </a:lnTo>
                  <a:lnTo>
                    <a:pt x="1794625" y="198831"/>
                  </a:lnTo>
                  <a:lnTo>
                    <a:pt x="1794625" y="197447"/>
                  </a:lnTo>
                  <a:lnTo>
                    <a:pt x="1794625" y="198831"/>
                  </a:lnTo>
                  <a:lnTo>
                    <a:pt x="1794625" y="197447"/>
                  </a:lnTo>
                  <a:lnTo>
                    <a:pt x="1794726" y="198831"/>
                  </a:lnTo>
                  <a:lnTo>
                    <a:pt x="1794726" y="197447"/>
                  </a:lnTo>
                  <a:lnTo>
                    <a:pt x="1794726" y="198831"/>
                  </a:lnTo>
                  <a:lnTo>
                    <a:pt x="1794726" y="197447"/>
                  </a:lnTo>
                  <a:lnTo>
                    <a:pt x="1794726" y="198831"/>
                  </a:lnTo>
                  <a:lnTo>
                    <a:pt x="1794726" y="197447"/>
                  </a:lnTo>
                  <a:lnTo>
                    <a:pt x="1794726" y="198831"/>
                  </a:lnTo>
                  <a:lnTo>
                    <a:pt x="1794726" y="197447"/>
                  </a:lnTo>
                  <a:lnTo>
                    <a:pt x="1794777" y="197447"/>
                  </a:lnTo>
                  <a:lnTo>
                    <a:pt x="1794777" y="196113"/>
                  </a:lnTo>
                  <a:lnTo>
                    <a:pt x="1794777" y="196799"/>
                  </a:lnTo>
                  <a:lnTo>
                    <a:pt x="1794777" y="196113"/>
                  </a:lnTo>
                  <a:lnTo>
                    <a:pt x="1794828" y="196113"/>
                  </a:lnTo>
                  <a:lnTo>
                    <a:pt x="1794828" y="196799"/>
                  </a:lnTo>
                  <a:lnTo>
                    <a:pt x="1794828" y="194716"/>
                  </a:lnTo>
                  <a:lnTo>
                    <a:pt x="1794828" y="196799"/>
                  </a:lnTo>
                  <a:lnTo>
                    <a:pt x="1794879" y="197447"/>
                  </a:lnTo>
                  <a:lnTo>
                    <a:pt x="1794879" y="196799"/>
                  </a:lnTo>
                  <a:lnTo>
                    <a:pt x="1794879" y="197447"/>
                  </a:lnTo>
                  <a:lnTo>
                    <a:pt x="1794879" y="196113"/>
                  </a:lnTo>
                  <a:lnTo>
                    <a:pt x="1794879" y="196799"/>
                  </a:lnTo>
                  <a:lnTo>
                    <a:pt x="1794968" y="196799"/>
                  </a:lnTo>
                  <a:lnTo>
                    <a:pt x="1794968" y="197447"/>
                  </a:lnTo>
                  <a:lnTo>
                    <a:pt x="1794968" y="196113"/>
                  </a:lnTo>
                  <a:lnTo>
                    <a:pt x="1794968" y="197447"/>
                  </a:lnTo>
                  <a:lnTo>
                    <a:pt x="1795019" y="197447"/>
                  </a:lnTo>
                  <a:lnTo>
                    <a:pt x="1795019" y="196799"/>
                  </a:lnTo>
                  <a:lnTo>
                    <a:pt x="1795019" y="197447"/>
                  </a:lnTo>
                  <a:lnTo>
                    <a:pt x="1795019" y="196799"/>
                  </a:lnTo>
                  <a:lnTo>
                    <a:pt x="1795019" y="197447"/>
                  </a:lnTo>
                  <a:lnTo>
                    <a:pt x="1795019" y="196799"/>
                  </a:lnTo>
                  <a:lnTo>
                    <a:pt x="1795069" y="196799"/>
                  </a:lnTo>
                  <a:lnTo>
                    <a:pt x="1795069" y="197447"/>
                  </a:lnTo>
                  <a:lnTo>
                    <a:pt x="1795069" y="196799"/>
                  </a:lnTo>
                  <a:lnTo>
                    <a:pt x="1795069" y="197447"/>
                  </a:lnTo>
                  <a:lnTo>
                    <a:pt x="1795069" y="196799"/>
                  </a:lnTo>
                  <a:lnTo>
                    <a:pt x="1795069" y="197447"/>
                  </a:lnTo>
                  <a:lnTo>
                    <a:pt x="1795120" y="197447"/>
                  </a:lnTo>
                  <a:lnTo>
                    <a:pt x="1795120" y="196799"/>
                  </a:lnTo>
                  <a:lnTo>
                    <a:pt x="1795120" y="197447"/>
                  </a:lnTo>
                  <a:lnTo>
                    <a:pt x="1795120" y="196799"/>
                  </a:lnTo>
                  <a:lnTo>
                    <a:pt x="1795222" y="197447"/>
                  </a:lnTo>
                  <a:lnTo>
                    <a:pt x="1795222" y="196799"/>
                  </a:lnTo>
                  <a:lnTo>
                    <a:pt x="1795272" y="196799"/>
                  </a:lnTo>
                  <a:lnTo>
                    <a:pt x="1795272" y="197447"/>
                  </a:lnTo>
                  <a:lnTo>
                    <a:pt x="1795272" y="196113"/>
                  </a:lnTo>
                  <a:lnTo>
                    <a:pt x="1795272" y="197447"/>
                  </a:lnTo>
                  <a:lnTo>
                    <a:pt x="1795323" y="196799"/>
                  </a:lnTo>
                  <a:lnTo>
                    <a:pt x="1795323" y="196113"/>
                  </a:lnTo>
                  <a:lnTo>
                    <a:pt x="1795323" y="199530"/>
                  </a:lnTo>
                  <a:lnTo>
                    <a:pt x="1795323" y="198831"/>
                  </a:lnTo>
                  <a:lnTo>
                    <a:pt x="1795425" y="198831"/>
                  </a:lnTo>
                  <a:lnTo>
                    <a:pt x="1795425" y="196799"/>
                  </a:lnTo>
                  <a:lnTo>
                    <a:pt x="1795425" y="197447"/>
                  </a:lnTo>
                  <a:lnTo>
                    <a:pt x="1795425" y="196799"/>
                  </a:lnTo>
                  <a:lnTo>
                    <a:pt x="1795425" y="198831"/>
                  </a:lnTo>
                  <a:lnTo>
                    <a:pt x="1795463" y="198831"/>
                  </a:lnTo>
                  <a:lnTo>
                    <a:pt x="1795463" y="197447"/>
                  </a:lnTo>
                  <a:lnTo>
                    <a:pt x="1795463" y="199530"/>
                  </a:lnTo>
                  <a:lnTo>
                    <a:pt x="1795463" y="198831"/>
                  </a:lnTo>
                  <a:lnTo>
                    <a:pt x="1795514" y="198831"/>
                  </a:lnTo>
                  <a:lnTo>
                    <a:pt x="1795514" y="199530"/>
                  </a:lnTo>
                  <a:lnTo>
                    <a:pt x="1795514" y="198831"/>
                  </a:lnTo>
                  <a:lnTo>
                    <a:pt x="1795514" y="199530"/>
                  </a:lnTo>
                  <a:lnTo>
                    <a:pt x="1795514" y="198831"/>
                  </a:lnTo>
                  <a:lnTo>
                    <a:pt x="1795565" y="198831"/>
                  </a:lnTo>
                  <a:lnTo>
                    <a:pt x="1795565" y="199530"/>
                  </a:lnTo>
                  <a:lnTo>
                    <a:pt x="1795565" y="198831"/>
                  </a:lnTo>
                  <a:lnTo>
                    <a:pt x="1795666" y="198831"/>
                  </a:lnTo>
                  <a:lnTo>
                    <a:pt x="1795666" y="197447"/>
                  </a:lnTo>
                  <a:lnTo>
                    <a:pt x="1795717" y="197447"/>
                  </a:lnTo>
                  <a:lnTo>
                    <a:pt x="1795717" y="196113"/>
                  </a:lnTo>
                  <a:lnTo>
                    <a:pt x="1795768" y="196113"/>
                  </a:lnTo>
                  <a:lnTo>
                    <a:pt x="1795768" y="197447"/>
                  </a:lnTo>
                  <a:lnTo>
                    <a:pt x="1795768" y="196113"/>
                  </a:lnTo>
                  <a:lnTo>
                    <a:pt x="1795869" y="196113"/>
                  </a:lnTo>
                  <a:lnTo>
                    <a:pt x="1795869" y="199530"/>
                  </a:lnTo>
                  <a:lnTo>
                    <a:pt x="1795869" y="197447"/>
                  </a:lnTo>
                  <a:lnTo>
                    <a:pt x="1795920" y="197447"/>
                  </a:lnTo>
                  <a:lnTo>
                    <a:pt x="1795920" y="199530"/>
                  </a:lnTo>
                  <a:lnTo>
                    <a:pt x="1795920" y="198831"/>
                  </a:lnTo>
                  <a:lnTo>
                    <a:pt x="1795920" y="199530"/>
                  </a:lnTo>
                  <a:lnTo>
                    <a:pt x="1795920" y="198831"/>
                  </a:lnTo>
                  <a:lnTo>
                    <a:pt x="1795971" y="198831"/>
                  </a:lnTo>
                  <a:lnTo>
                    <a:pt x="1795971" y="199530"/>
                  </a:lnTo>
                  <a:lnTo>
                    <a:pt x="1796009" y="199530"/>
                  </a:lnTo>
                  <a:lnTo>
                    <a:pt x="1796009" y="200228"/>
                  </a:lnTo>
                  <a:lnTo>
                    <a:pt x="1796009" y="199530"/>
                  </a:lnTo>
                  <a:lnTo>
                    <a:pt x="1796009" y="200228"/>
                  </a:lnTo>
                  <a:lnTo>
                    <a:pt x="1796009" y="199530"/>
                  </a:lnTo>
                  <a:lnTo>
                    <a:pt x="1796111" y="199530"/>
                  </a:lnTo>
                  <a:lnTo>
                    <a:pt x="1796111" y="198831"/>
                  </a:lnTo>
                  <a:lnTo>
                    <a:pt x="1796162" y="199530"/>
                  </a:lnTo>
                  <a:lnTo>
                    <a:pt x="1796162" y="197447"/>
                  </a:lnTo>
                  <a:lnTo>
                    <a:pt x="1796162" y="198831"/>
                  </a:lnTo>
                  <a:lnTo>
                    <a:pt x="1796162" y="197447"/>
                  </a:lnTo>
                  <a:lnTo>
                    <a:pt x="1796212" y="197447"/>
                  </a:lnTo>
                  <a:lnTo>
                    <a:pt x="1796212" y="196799"/>
                  </a:lnTo>
                  <a:lnTo>
                    <a:pt x="1796212" y="197447"/>
                  </a:lnTo>
                  <a:lnTo>
                    <a:pt x="1796212" y="195415"/>
                  </a:lnTo>
                  <a:lnTo>
                    <a:pt x="1796212" y="196113"/>
                  </a:lnTo>
                  <a:lnTo>
                    <a:pt x="1796314" y="196113"/>
                  </a:lnTo>
                  <a:lnTo>
                    <a:pt x="1796314" y="198831"/>
                  </a:lnTo>
                  <a:lnTo>
                    <a:pt x="1796314" y="196113"/>
                  </a:lnTo>
                  <a:lnTo>
                    <a:pt x="1796314" y="196799"/>
                  </a:lnTo>
                  <a:lnTo>
                    <a:pt x="1796365" y="197447"/>
                  </a:lnTo>
                  <a:lnTo>
                    <a:pt x="1796365" y="198831"/>
                  </a:lnTo>
                  <a:lnTo>
                    <a:pt x="1796365" y="197447"/>
                  </a:lnTo>
                  <a:lnTo>
                    <a:pt x="1796365" y="200228"/>
                  </a:lnTo>
                  <a:lnTo>
                    <a:pt x="1796415" y="200228"/>
                  </a:lnTo>
                  <a:lnTo>
                    <a:pt x="1796415" y="198831"/>
                  </a:lnTo>
                  <a:lnTo>
                    <a:pt x="1796415" y="199530"/>
                  </a:lnTo>
                  <a:lnTo>
                    <a:pt x="1796415" y="198831"/>
                  </a:lnTo>
                  <a:lnTo>
                    <a:pt x="1796415" y="199530"/>
                  </a:lnTo>
                  <a:lnTo>
                    <a:pt x="1796415" y="198831"/>
                  </a:lnTo>
                  <a:lnTo>
                    <a:pt x="1796415" y="199530"/>
                  </a:lnTo>
                  <a:lnTo>
                    <a:pt x="1796415" y="198831"/>
                  </a:lnTo>
                  <a:lnTo>
                    <a:pt x="1796415" y="199530"/>
                  </a:lnTo>
                  <a:lnTo>
                    <a:pt x="1796466" y="199530"/>
                  </a:lnTo>
                  <a:lnTo>
                    <a:pt x="1796466" y="200228"/>
                  </a:lnTo>
                  <a:lnTo>
                    <a:pt x="1796466" y="198831"/>
                  </a:lnTo>
                  <a:lnTo>
                    <a:pt x="1796466" y="199530"/>
                  </a:lnTo>
                  <a:lnTo>
                    <a:pt x="1796555" y="199530"/>
                  </a:lnTo>
                  <a:lnTo>
                    <a:pt x="1796555" y="198831"/>
                  </a:lnTo>
                  <a:lnTo>
                    <a:pt x="1796555" y="200228"/>
                  </a:lnTo>
                  <a:lnTo>
                    <a:pt x="1796555" y="199530"/>
                  </a:lnTo>
                  <a:lnTo>
                    <a:pt x="1796657" y="199530"/>
                  </a:lnTo>
                  <a:lnTo>
                    <a:pt x="1796657" y="197447"/>
                  </a:lnTo>
                  <a:lnTo>
                    <a:pt x="1796657" y="198831"/>
                  </a:lnTo>
                  <a:lnTo>
                    <a:pt x="1796657" y="197447"/>
                  </a:lnTo>
                  <a:lnTo>
                    <a:pt x="1796708" y="197447"/>
                  </a:lnTo>
                  <a:lnTo>
                    <a:pt x="1796708" y="196113"/>
                  </a:lnTo>
                  <a:lnTo>
                    <a:pt x="1796708" y="197447"/>
                  </a:lnTo>
                  <a:lnTo>
                    <a:pt x="1796809" y="197447"/>
                  </a:lnTo>
                  <a:lnTo>
                    <a:pt x="1796809" y="196113"/>
                  </a:lnTo>
                  <a:lnTo>
                    <a:pt x="1796809" y="198831"/>
                  </a:lnTo>
                  <a:lnTo>
                    <a:pt x="1796860" y="198831"/>
                  </a:lnTo>
                  <a:lnTo>
                    <a:pt x="1796860" y="197447"/>
                  </a:lnTo>
                  <a:lnTo>
                    <a:pt x="1796860" y="199530"/>
                  </a:lnTo>
                  <a:lnTo>
                    <a:pt x="1796860" y="198831"/>
                  </a:lnTo>
                  <a:lnTo>
                    <a:pt x="1796860" y="199530"/>
                  </a:lnTo>
                  <a:lnTo>
                    <a:pt x="1796911" y="199530"/>
                  </a:lnTo>
                  <a:lnTo>
                    <a:pt x="1796911" y="198831"/>
                  </a:lnTo>
                  <a:lnTo>
                    <a:pt x="1796911" y="199530"/>
                  </a:lnTo>
                  <a:lnTo>
                    <a:pt x="1796911" y="198831"/>
                  </a:lnTo>
                  <a:lnTo>
                    <a:pt x="1796911" y="199530"/>
                  </a:lnTo>
                  <a:lnTo>
                    <a:pt x="1797012" y="199530"/>
                  </a:lnTo>
                  <a:lnTo>
                    <a:pt x="1797012" y="200228"/>
                  </a:lnTo>
                  <a:lnTo>
                    <a:pt x="1797012" y="199530"/>
                  </a:lnTo>
                  <a:lnTo>
                    <a:pt x="1797012" y="200228"/>
                  </a:lnTo>
                  <a:lnTo>
                    <a:pt x="1797012" y="199530"/>
                  </a:lnTo>
                  <a:lnTo>
                    <a:pt x="1797012" y="200228"/>
                  </a:lnTo>
                  <a:lnTo>
                    <a:pt x="1797050" y="199530"/>
                  </a:lnTo>
                  <a:lnTo>
                    <a:pt x="1797050" y="200228"/>
                  </a:lnTo>
                  <a:lnTo>
                    <a:pt x="1797050" y="199530"/>
                  </a:lnTo>
                  <a:lnTo>
                    <a:pt x="1797101" y="199530"/>
                  </a:lnTo>
                  <a:lnTo>
                    <a:pt x="1797101" y="200228"/>
                  </a:lnTo>
                  <a:lnTo>
                    <a:pt x="1797101" y="199530"/>
                  </a:lnTo>
                  <a:lnTo>
                    <a:pt x="1797101" y="200228"/>
                  </a:lnTo>
                  <a:lnTo>
                    <a:pt x="1797101" y="199530"/>
                  </a:lnTo>
                  <a:lnTo>
                    <a:pt x="1797101" y="200228"/>
                  </a:lnTo>
                  <a:lnTo>
                    <a:pt x="1797101" y="199530"/>
                  </a:lnTo>
                  <a:lnTo>
                    <a:pt x="1797101" y="200228"/>
                  </a:lnTo>
                  <a:lnTo>
                    <a:pt x="1797101" y="198831"/>
                  </a:lnTo>
                  <a:lnTo>
                    <a:pt x="1797101" y="199530"/>
                  </a:lnTo>
                  <a:lnTo>
                    <a:pt x="1797152" y="198831"/>
                  </a:lnTo>
                  <a:lnTo>
                    <a:pt x="1797152" y="199530"/>
                  </a:lnTo>
                  <a:lnTo>
                    <a:pt x="1797152" y="196113"/>
                  </a:lnTo>
                  <a:lnTo>
                    <a:pt x="1797152" y="196799"/>
                  </a:lnTo>
                  <a:lnTo>
                    <a:pt x="1797254" y="196799"/>
                  </a:lnTo>
                  <a:lnTo>
                    <a:pt x="1797254" y="196113"/>
                  </a:lnTo>
                  <a:lnTo>
                    <a:pt x="1797254" y="196799"/>
                  </a:lnTo>
                  <a:lnTo>
                    <a:pt x="1797254" y="195415"/>
                  </a:lnTo>
                  <a:lnTo>
                    <a:pt x="1797254" y="196799"/>
                  </a:lnTo>
                  <a:lnTo>
                    <a:pt x="1797305" y="196799"/>
                  </a:lnTo>
                  <a:lnTo>
                    <a:pt x="1797305" y="194716"/>
                  </a:lnTo>
                  <a:lnTo>
                    <a:pt x="1797305" y="197447"/>
                  </a:lnTo>
                  <a:lnTo>
                    <a:pt x="1797355" y="197447"/>
                  </a:lnTo>
                  <a:lnTo>
                    <a:pt x="1797355" y="196113"/>
                  </a:lnTo>
                  <a:lnTo>
                    <a:pt x="1797355" y="199530"/>
                  </a:lnTo>
                  <a:lnTo>
                    <a:pt x="1797355" y="198831"/>
                  </a:lnTo>
                  <a:lnTo>
                    <a:pt x="1797457" y="198831"/>
                  </a:lnTo>
                  <a:lnTo>
                    <a:pt x="1797457" y="197447"/>
                  </a:lnTo>
                  <a:lnTo>
                    <a:pt x="1797457" y="198831"/>
                  </a:lnTo>
                  <a:lnTo>
                    <a:pt x="1797457" y="197447"/>
                  </a:lnTo>
                  <a:lnTo>
                    <a:pt x="1797457" y="198831"/>
                  </a:lnTo>
                  <a:lnTo>
                    <a:pt x="1797457" y="197447"/>
                  </a:lnTo>
                  <a:lnTo>
                    <a:pt x="1797457" y="198831"/>
                  </a:lnTo>
                  <a:lnTo>
                    <a:pt x="1797457" y="197447"/>
                  </a:lnTo>
                  <a:lnTo>
                    <a:pt x="1797508" y="197447"/>
                  </a:lnTo>
                  <a:lnTo>
                    <a:pt x="1797508" y="199530"/>
                  </a:lnTo>
                  <a:lnTo>
                    <a:pt x="1797508" y="198831"/>
                  </a:lnTo>
                  <a:lnTo>
                    <a:pt x="1797559" y="198831"/>
                  </a:lnTo>
                  <a:lnTo>
                    <a:pt x="1797559" y="199530"/>
                  </a:lnTo>
                  <a:lnTo>
                    <a:pt x="1797559" y="198831"/>
                  </a:lnTo>
                  <a:lnTo>
                    <a:pt x="1797559" y="200228"/>
                  </a:lnTo>
                  <a:lnTo>
                    <a:pt x="1797559" y="199530"/>
                  </a:lnTo>
                  <a:lnTo>
                    <a:pt x="1797597" y="199530"/>
                  </a:lnTo>
                  <a:lnTo>
                    <a:pt x="1797597" y="200228"/>
                  </a:lnTo>
                  <a:lnTo>
                    <a:pt x="1797597" y="199530"/>
                  </a:lnTo>
                  <a:lnTo>
                    <a:pt x="1797698" y="198831"/>
                  </a:lnTo>
                  <a:lnTo>
                    <a:pt x="1797698" y="199530"/>
                  </a:lnTo>
                  <a:lnTo>
                    <a:pt x="1797698" y="197447"/>
                  </a:lnTo>
                  <a:lnTo>
                    <a:pt x="1797698" y="198831"/>
                  </a:lnTo>
                  <a:lnTo>
                    <a:pt x="1797698" y="196799"/>
                  </a:lnTo>
                  <a:lnTo>
                    <a:pt x="1797698" y="197447"/>
                  </a:lnTo>
                  <a:lnTo>
                    <a:pt x="1797698" y="196799"/>
                  </a:lnTo>
                  <a:lnTo>
                    <a:pt x="1797749" y="197447"/>
                  </a:lnTo>
                  <a:lnTo>
                    <a:pt x="1797749" y="195415"/>
                  </a:lnTo>
                  <a:lnTo>
                    <a:pt x="1797749" y="197447"/>
                  </a:lnTo>
                  <a:lnTo>
                    <a:pt x="1797749" y="196113"/>
                  </a:lnTo>
                  <a:lnTo>
                    <a:pt x="1797800" y="196113"/>
                  </a:lnTo>
                  <a:lnTo>
                    <a:pt x="1797800" y="195415"/>
                  </a:lnTo>
                  <a:lnTo>
                    <a:pt x="1797800" y="197447"/>
                  </a:lnTo>
                  <a:lnTo>
                    <a:pt x="1797800" y="196799"/>
                  </a:lnTo>
                  <a:lnTo>
                    <a:pt x="1797901" y="196799"/>
                  </a:lnTo>
                  <a:lnTo>
                    <a:pt x="1797901" y="197447"/>
                  </a:lnTo>
                  <a:lnTo>
                    <a:pt x="1797901" y="196799"/>
                  </a:lnTo>
                  <a:lnTo>
                    <a:pt x="1797952" y="197447"/>
                  </a:lnTo>
                  <a:lnTo>
                    <a:pt x="1797952" y="196799"/>
                  </a:lnTo>
                  <a:lnTo>
                    <a:pt x="1797952" y="197447"/>
                  </a:lnTo>
                  <a:lnTo>
                    <a:pt x="1798003" y="197447"/>
                  </a:lnTo>
                  <a:lnTo>
                    <a:pt x="1798003" y="198831"/>
                  </a:lnTo>
                  <a:lnTo>
                    <a:pt x="1798003" y="197447"/>
                  </a:lnTo>
                  <a:lnTo>
                    <a:pt x="1798003" y="198831"/>
                  </a:lnTo>
                  <a:lnTo>
                    <a:pt x="1798003" y="197447"/>
                  </a:lnTo>
                  <a:lnTo>
                    <a:pt x="1798003" y="198831"/>
                  </a:lnTo>
                  <a:lnTo>
                    <a:pt x="1798003" y="197447"/>
                  </a:lnTo>
                  <a:lnTo>
                    <a:pt x="1798003" y="198831"/>
                  </a:lnTo>
                  <a:lnTo>
                    <a:pt x="1798054" y="198831"/>
                  </a:lnTo>
                  <a:lnTo>
                    <a:pt x="1798054" y="199530"/>
                  </a:lnTo>
                  <a:lnTo>
                    <a:pt x="1798054" y="198831"/>
                  </a:lnTo>
                  <a:lnTo>
                    <a:pt x="1798143" y="199530"/>
                  </a:lnTo>
                  <a:lnTo>
                    <a:pt x="1798143" y="198831"/>
                  </a:lnTo>
                  <a:lnTo>
                    <a:pt x="1798143" y="199530"/>
                  </a:lnTo>
                  <a:lnTo>
                    <a:pt x="1798143" y="198831"/>
                  </a:lnTo>
                  <a:lnTo>
                    <a:pt x="1798194" y="198831"/>
                  </a:lnTo>
                  <a:lnTo>
                    <a:pt x="1798194" y="196799"/>
                  </a:lnTo>
                  <a:lnTo>
                    <a:pt x="1798194" y="197447"/>
                  </a:lnTo>
                  <a:lnTo>
                    <a:pt x="1798194" y="196113"/>
                  </a:lnTo>
                  <a:lnTo>
                    <a:pt x="1798244" y="196799"/>
                  </a:lnTo>
                  <a:lnTo>
                    <a:pt x="1798244" y="198831"/>
                  </a:lnTo>
                  <a:lnTo>
                    <a:pt x="1798244" y="196113"/>
                  </a:lnTo>
                  <a:lnTo>
                    <a:pt x="1798244" y="196799"/>
                  </a:lnTo>
                  <a:lnTo>
                    <a:pt x="1798295" y="197447"/>
                  </a:lnTo>
                  <a:lnTo>
                    <a:pt x="1798295" y="199530"/>
                  </a:lnTo>
                  <a:lnTo>
                    <a:pt x="1798295" y="198831"/>
                  </a:lnTo>
                  <a:lnTo>
                    <a:pt x="1798295" y="199530"/>
                  </a:lnTo>
                  <a:lnTo>
                    <a:pt x="1798295" y="197447"/>
                  </a:lnTo>
                  <a:lnTo>
                    <a:pt x="1798295" y="198831"/>
                  </a:lnTo>
                  <a:lnTo>
                    <a:pt x="1798397" y="198831"/>
                  </a:lnTo>
                  <a:lnTo>
                    <a:pt x="1798397" y="199530"/>
                  </a:lnTo>
                  <a:lnTo>
                    <a:pt x="1798397" y="198831"/>
                  </a:lnTo>
                  <a:lnTo>
                    <a:pt x="1798447" y="198831"/>
                  </a:lnTo>
                  <a:lnTo>
                    <a:pt x="1798447" y="199530"/>
                  </a:lnTo>
                  <a:lnTo>
                    <a:pt x="1798447" y="197447"/>
                  </a:lnTo>
                  <a:lnTo>
                    <a:pt x="1798447" y="198831"/>
                  </a:lnTo>
                  <a:lnTo>
                    <a:pt x="1798498" y="198831"/>
                  </a:lnTo>
                  <a:lnTo>
                    <a:pt x="1798498" y="199530"/>
                  </a:lnTo>
                  <a:lnTo>
                    <a:pt x="1798498" y="198831"/>
                  </a:lnTo>
                  <a:lnTo>
                    <a:pt x="1798498" y="199530"/>
                  </a:lnTo>
                  <a:lnTo>
                    <a:pt x="1798498" y="198831"/>
                  </a:lnTo>
                  <a:lnTo>
                    <a:pt x="1798498" y="199530"/>
                  </a:lnTo>
                  <a:lnTo>
                    <a:pt x="1798600" y="199530"/>
                  </a:lnTo>
                  <a:lnTo>
                    <a:pt x="1798600" y="198831"/>
                  </a:lnTo>
                  <a:lnTo>
                    <a:pt x="1798600" y="199530"/>
                  </a:lnTo>
                  <a:lnTo>
                    <a:pt x="1798600" y="198831"/>
                  </a:lnTo>
                  <a:lnTo>
                    <a:pt x="1798600" y="199530"/>
                  </a:lnTo>
                  <a:lnTo>
                    <a:pt x="1798638" y="199530"/>
                  </a:lnTo>
                  <a:lnTo>
                    <a:pt x="1798638" y="198831"/>
                  </a:lnTo>
                  <a:lnTo>
                    <a:pt x="1798638" y="199530"/>
                  </a:lnTo>
                  <a:lnTo>
                    <a:pt x="1798638" y="198831"/>
                  </a:lnTo>
                  <a:lnTo>
                    <a:pt x="1798638" y="199530"/>
                  </a:lnTo>
                  <a:lnTo>
                    <a:pt x="1798638" y="197447"/>
                  </a:lnTo>
                  <a:lnTo>
                    <a:pt x="1798689" y="196799"/>
                  </a:lnTo>
                  <a:lnTo>
                    <a:pt x="1798689" y="197447"/>
                  </a:lnTo>
                  <a:lnTo>
                    <a:pt x="1798689" y="196113"/>
                  </a:lnTo>
                  <a:lnTo>
                    <a:pt x="1798689" y="197447"/>
                  </a:lnTo>
                  <a:lnTo>
                    <a:pt x="1798740" y="197447"/>
                  </a:lnTo>
                  <a:lnTo>
                    <a:pt x="1798740" y="198831"/>
                  </a:lnTo>
                  <a:lnTo>
                    <a:pt x="1798740" y="196113"/>
                  </a:lnTo>
                  <a:lnTo>
                    <a:pt x="1798740" y="199530"/>
                  </a:lnTo>
                  <a:lnTo>
                    <a:pt x="1798841" y="199530"/>
                  </a:lnTo>
                  <a:lnTo>
                    <a:pt x="1798841" y="198831"/>
                  </a:lnTo>
                  <a:lnTo>
                    <a:pt x="1798841" y="199530"/>
                  </a:lnTo>
                  <a:lnTo>
                    <a:pt x="1798892" y="199530"/>
                  </a:lnTo>
                  <a:lnTo>
                    <a:pt x="1798892" y="198831"/>
                  </a:lnTo>
                  <a:lnTo>
                    <a:pt x="1798892" y="200228"/>
                  </a:lnTo>
                  <a:lnTo>
                    <a:pt x="1798892" y="199530"/>
                  </a:lnTo>
                  <a:lnTo>
                    <a:pt x="1798943" y="199530"/>
                  </a:lnTo>
                  <a:lnTo>
                    <a:pt x="1798943" y="200228"/>
                  </a:lnTo>
                  <a:lnTo>
                    <a:pt x="1798943" y="198831"/>
                  </a:lnTo>
                  <a:lnTo>
                    <a:pt x="1799044" y="198831"/>
                  </a:lnTo>
                  <a:lnTo>
                    <a:pt x="1799044" y="199530"/>
                  </a:lnTo>
                  <a:lnTo>
                    <a:pt x="1799044" y="198831"/>
                  </a:lnTo>
                  <a:lnTo>
                    <a:pt x="1799044" y="199530"/>
                  </a:lnTo>
                  <a:lnTo>
                    <a:pt x="1799095" y="199530"/>
                  </a:lnTo>
                  <a:lnTo>
                    <a:pt x="1799095" y="198831"/>
                  </a:lnTo>
                  <a:lnTo>
                    <a:pt x="1799095" y="199530"/>
                  </a:lnTo>
                  <a:lnTo>
                    <a:pt x="1799095" y="198831"/>
                  </a:lnTo>
                  <a:lnTo>
                    <a:pt x="1799095" y="199530"/>
                  </a:lnTo>
                  <a:lnTo>
                    <a:pt x="1799095" y="198831"/>
                  </a:lnTo>
                  <a:lnTo>
                    <a:pt x="1799146" y="198831"/>
                  </a:lnTo>
                  <a:lnTo>
                    <a:pt x="1799146" y="197447"/>
                  </a:lnTo>
                  <a:lnTo>
                    <a:pt x="1799184" y="196799"/>
                  </a:lnTo>
                  <a:lnTo>
                    <a:pt x="1799184" y="195415"/>
                  </a:lnTo>
                  <a:lnTo>
                    <a:pt x="1799184" y="197447"/>
                  </a:lnTo>
                  <a:lnTo>
                    <a:pt x="1799184" y="196799"/>
                  </a:lnTo>
                  <a:lnTo>
                    <a:pt x="1799184" y="197447"/>
                  </a:lnTo>
                  <a:lnTo>
                    <a:pt x="1799184" y="196799"/>
                  </a:lnTo>
                  <a:lnTo>
                    <a:pt x="1799286" y="196113"/>
                  </a:lnTo>
                  <a:lnTo>
                    <a:pt x="1799286" y="199530"/>
                  </a:lnTo>
                  <a:lnTo>
                    <a:pt x="1799286" y="198831"/>
                  </a:lnTo>
                  <a:lnTo>
                    <a:pt x="1799337" y="198831"/>
                  </a:lnTo>
                  <a:lnTo>
                    <a:pt x="1799337" y="200228"/>
                  </a:lnTo>
                  <a:lnTo>
                    <a:pt x="1799337" y="199530"/>
                  </a:lnTo>
                  <a:lnTo>
                    <a:pt x="1799387" y="199530"/>
                  </a:lnTo>
                  <a:lnTo>
                    <a:pt x="1799387" y="198831"/>
                  </a:lnTo>
                  <a:lnTo>
                    <a:pt x="1799387" y="200228"/>
                  </a:lnTo>
                  <a:lnTo>
                    <a:pt x="1799387" y="199530"/>
                  </a:lnTo>
                  <a:lnTo>
                    <a:pt x="1799387" y="200228"/>
                  </a:lnTo>
                  <a:lnTo>
                    <a:pt x="1799489" y="199530"/>
                  </a:lnTo>
                  <a:lnTo>
                    <a:pt x="1799489" y="200228"/>
                  </a:lnTo>
                  <a:lnTo>
                    <a:pt x="1799489" y="199530"/>
                  </a:lnTo>
                  <a:lnTo>
                    <a:pt x="1799489" y="200228"/>
                  </a:lnTo>
                  <a:lnTo>
                    <a:pt x="1799489" y="199530"/>
                  </a:lnTo>
                  <a:lnTo>
                    <a:pt x="1799489" y="200228"/>
                  </a:lnTo>
                  <a:lnTo>
                    <a:pt x="1799489" y="199530"/>
                  </a:lnTo>
                  <a:lnTo>
                    <a:pt x="1799489" y="200228"/>
                  </a:lnTo>
                  <a:lnTo>
                    <a:pt x="1799489" y="199530"/>
                  </a:lnTo>
                  <a:lnTo>
                    <a:pt x="1799540" y="199530"/>
                  </a:lnTo>
                  <a:lnTo>
                    <a:pt x="1799540" y="200228"/>
                  </a:lnTo>
                  <a:lnTo>
                    <a:pt x="1799540" y="199530"/>
                  </a:lnTo>
                  <a:lnTo>
                    <a:pt x="1799590" y="199530"/>
                  </a:lnTo>
                  <a:lnTo>
                    <a:pt x="1799590" y="200228"/>
                  </a:lnTo>
                  <a:lnTo>
                    <a:pt x="1799590" y="198831"/>
                  </a:lnTo>
                  <a:lnTo>
                    <a:pt x="1799590" y="199530"/>
                  </a:lnTo>
                  <a:lnTo>
                    <a:pt x="1799641" y="198831"/>
                  </a:lnTo>
                  <a:lnTo>
                    <a:pt x="1799641" y="197447"/>
                  </a:lnTo>
                  <a:lnTo>
                    <a:pt x="1799641" y="198831"/>
                  </a:lnTo>
                  <a:lnTo>
                    <a:pt x="1799641" y="197447"/>
                  </a:lnTo>
                  <a:lnTo>
                    <a:pt x="1799641" y="198831"/>
                  </a:lnTo>
                  <a:lnTo>
                    <a:pt x="1799641" y="196113"/>
                  </a:lnTo>
                  <a:lnTo>
                    <a:pt x="1799730" y="196113"/>
                  </a:lnTo>
                  <a:lnTo>
                    <a:pt x="1799730" y="198831"/>
                  </a:lnTo>
                  <a:lnTo>
                    <a:pt x="1799730" y="196113"/>
                  </a:lnTo>
                  <a:lnTo>
                    <a:pt x="1799730" y="197447"/>
                  </a:lnTo>
                  <a:lnTo>
                    <a:pt x="1799781" y="198831"/>
                  </a:lnTo>
                  <a:lnTo>
                    <a:pt x="1799781" y="200228"/>
                  </a:lnTo>
                  <a:lnTo>
                    <a:pt x="1799781" y="197447"/>
                  </a:lnTo>
                  <a:lnTo>
                    <a:pt x="1799781" y="199530"/>
                  </a:lnTo>
                  <a:lnTo>
                    <a:pt x="1799832" y="199530"/>
                  </a:lnTo>
                  <a:lnTo>
                    <a:pt x="1799832" y="200228"/>
                  </a:lnTo>
                  <a:lnTo>
                    <a:pt x="1799832" y="198831"/>
                  </a:lnTo>
                  <a:lnTo>
                    <a:pt x="1799832" y="199530"/>
                  </a:lnTo>
                  <a:lnTo>
                    <a:pt x="1799832" y="198831"/>
                  </a:lnTo>
                  <a:lnTo>
                    <a:pt x="1799832" y="199530"/>
                  </a:lnTo>
                  <a:lnTo>
                    <a:pt x="1799832" y="198831"/>
                  </a:lnTo>
                  <a:lnTo>
                    <a:pt x="1799832" y="199530"/>
                  </a:lnTo>
                  <a:lnTo>
                    <a:pt x="1799984" y="199530"/>
                  </a:lnTo>
                  <a:lnTo>
                    <a:pt x="1799984" y="200228"/>
                  </a:lnTo>
                  <a:lnTo>
                    <a:pt x="1799984" y="198831"/>
                  </a:lnTo>
                  <a:lnTo>
                    <a:pt x="1799984" y="199530"/>
                  </a:lnTo>
                  <a:lnTo>
                    <a:pt x="1799984" y="198831"/>
                  </a:lnTo>
                  <a:lnTo>
                    <a:pt x="1799984" y="199530"/>
                  </a:lnTo>
                  <a:lnTo>
                    <a:pt x="1800035" y="199530"/>
                  </a:lnTo>
                  <a:lnTo>
                    <a:pt x="1800035" y="200228"/>
                  </a:lnTo>
                  <a:lnTo>
                    <a:pt x="1800035" y="199530"/>
                  </a:lnTo>
                  <a:lnTo>
                    <a:pt x="1800035" y="200228"/>
                  </a:lnTo>
                  <a:lnTo>
                    <a:pt x="1800035" y="199530"/>
                  </a:lnTo>
                  <a:lnTo>
                    <a:pt x="1800086" y="199530"/>
                  </a:lnTo>
                  <a:lnTo>
                    <a:pt x="1800086" y="197447"/>
                  </a:lnTo>
                  <a:lnTo>
                    <a:pt x="1800187" y="197447"/>
                  </a:lnTo>
                  <a:lnTo>
                    <a:pt x="1800187" y="196113"/>
                  </a:lnTo>
                  <a:lnTo>
                    <a:pt x="1800187" y="197447"/>
                  </a:lnTo>
                  <a:lnTo>
                    <a:pt x="1800225" y="197447"/>
                  </a:lnTo>
                  <a:lnTo>
                    <a:pt x="1800225" y="196113"/>
                  </a:lnTo>
                  <a:lnTo>
                    <a:pt x="1800225" y="198831"/>
                  </a:lnTo>
                  <a:lnTo>
                    <a:pt x="1800276" y="198831"/>
                  </a:lnTo>
                  <a:lnTo>
                    <a:pt x="1800276" y="197447"/>
                  </a:lnTo>
                  <a:lnTo>
                    <a:pt x="1800276" y="199530"/>
                  </a:lnTo>
                  <a:lnTo>
                    <a:pt x="1800327" y="199530"/>
                  </a:lnTo>
                  <a:lnTo>
                    <a:pt x="1800327" y="198831"/>
                  </a:lnTo>
                  <a:lnTo>
                    <a:pt x="1800327" y="199530"/>
                  </a:lnTo>
                  <a:lnTo>
                    <a:pt x="1800327" y="198831"/>
                  </a:lnTo>
                  <a:lnTo>
                    <a:pt x="1800327" y="199530"/>
                  </a:lnTo>
                  <a:lnTo>
                    <a:pt x="1800327" y="198831"/>
                  </a:lnTo>
                  <a:lnTo>
                    <a:pt x="1800429" y="198831"/>
                  </a:lnTo>
                  <a:lnTo>
                    <a:pt x="1800429" y="199530"/>
                  </a:lnTo>
                  <a:lnTo>
                    <a:pt x="1800429" y="198831"/>
                  </a:lnTo>
                  <a:lnTo>
                    <a:pt x="1800429" y="199530"/>
                  </a:lnTo>
                  <a:lnTo>
                    <a:pt x="1800429" y="198831"/>
                  </a:lnTo>
                  <a:lnTo>
                    <a:pt x="1800429" y="200228"/>
                  </a:lnTo>
                  <a:lnTo>
                    <a:pt x="1800429" y="198831"/>
                  </a:lnTo>
                  <a:lnTo>
                    <a:pt x="1800429" y="199530"/>
                  </a:lnTo>
                  <a:lnTo>
                    <a:pt x="1800480" y="199530"/>
                  </a:lnTo>
                  <a:lnTo>
                    <a:pt x="1800480" y="200228"/>
                  </a:lnTo>
                  <a:lnTo>
                    <a:pt x="1800480" y="199530"/>
                  </a:lnTo>
                  <a:lnTo>
                    <a:pt x="1800480" y="200228"/>
                  </a:lnTo>
                  <a:lnTo>
                    <a:pt x="1800480" y="199530"/>
                  </a:lnTo>
                  <a:lnTo>
                    <a:pt x="1800530" y="199530"/>
                  </a:lnTo>
                  <a:lnTo>
                    <a:pt x="1800530" y="200228"/>
                  </a:lnTo>
                  <a:lnTo>
                    <a:pt x="1800530" y="199530"/>
                  </a:lnTo>
                  <a:lnTo>
                    <a:pt x="1800530" y="200228"/>
                  </a:lnTo>
                  <a:lnTo>
                    <a:pt x="1800530" y="198831"/>
                  </a:lnTo>
                  <a:lnTo>
                    <a:pt x="1800632" y="198831"/>
                  </a:lnTo>
                  <a:lnTo>
                    <a:pt x="1800632" y="196799"/>
                  </a:lnTo>
                  <a:lnTo>
                    <a:pt x="1800683" y="196113"/>
                  </a:lnTo>
                  <a:lnTo>
                    <a:pt x="1800683" y="197447"/>
                  </a:lnTo>
                  <a:lnTo>
                    <a:pt x="1800683" y="196113"/>
                  </a:lnTo>
                  <a:lnTo>
                    <a:pt x="1800734" y="196113"/>
                  </a:lnTo>
                  <a:lnTo>
                    <a:pt x="1800734" y="198831"/>
                  </a:lnTo>
                  <a:lnTo>
                    <a:pt x="1800734" y="197447"/>
                  </a:lnTo>
                  <a:lnTo>
                    <a:pt x="1800734" y="198831"/>
                  </a:lnTo>
                  <a:lnTo>
                    <a:pt x="1800734" y="197447"/>
                  </a:lnTo>
                  <a:lnTo>
                    <a:pt x="1800772" y="196799"/>
                  </a:lnTo>
                  <a:lnTo>
                    <a:pt x="1800772" y="199530"/>
                  </a:lnTo>
                  <a:lnTo>
                    <a:pt x="1800772" y="197447"/>
                  </a:lnTo>
                  <a:lnTo>
                    <a:pt x="1800772" y="198831"/>
                  </a:lnTo>
                  <a:lnTo>
                    <a:pt x="1800772" y="197447"/>
                  </a:lnTo>
                  <a:lnTo>
                    <a:pt x="1800873" y="198831"/>
                  </a:lnTo>
                  <a:lnTo>
                    <a:pt x="1800873" y="197447"/>
                  </a:lnTo>
                  <a:lnTo>
                    <a:pt x="1800873" y="198831"/>
                  </a:lnTo>
                  <a:lnTo>
                    <a:pt x="1800873" y="197447"/>
                  </a:lnTo>
                  <a:lnTo>
                    <a:pt x="1800924" y="197447"/>
                  </a:lnTo>
                  <a:lnTo>
                    <a:pt x="1800924" y="198831"/>
                  </a:lnTo>
                  <a:lnTo>
                    <a:pt x="1800924" y="197447"/>
                  </a:lnTo>
                  <a:lnTo>
                    <a:pt x="1800924" y="199530"/>
                  </a:lnTo>
                  <a:lnTo>
                    <a:pt x="1800924" y="198831"/>
                  </a:lnTo>
                  <a:lnTo>
                    <a:pt x="1800975" y="198831"/>
                  </a:lnTo>
                  <a:lnTo>
                    <a:pt x="1800975" y="197447"/>
                  </a:lnTo>
                  <a:lnTo>
                    <a:pt x="1800975" y="199530"/>
                  </a:lnTo>
                  <a:lnTo>
                    <a:pt x="1800975" y="198831"/>
                  </a:lnTo>
                  <a:lnTo>
                    <a:pt x="1801076" y="198831"/>
                  </a:lnTo>
                  <a:lnTo>
                    <a:pt x="1801076" y="197447"/>
                  </a:lnTo>
                  <a:lnTo>
                    <a:pt x="1801076" y="198831"/>
                  </a:lnTo>
                  <a:lnTo>
                    <a:pt x="1801076" y="197447"/>
                  </a:lnTo>
                  <a:lnTo>
                    <a:pt x="1801127" y="197447"/>
                  </a:lnTo>
                  <a:lnTo>
                    <a:pt x="1801127" y="195415"/>
                  </a:lnTo>
                  <a:lnTo>
                    <a:pt x="1801127" y="196113"/>
                  </a:lnTo>
                  <a:lnTo>
                    <a:pt x="1801178" y="196113"/>
                  </a:lnTo>
                  <a:lnTo>
                    <a:pt x="1801178" y="197447"/>
                  </a:lnTo>
                  <a:lnTo>
                    <a:pt x="1801178" y="194716"/>
                  </a:lnTo>
                  <a:lnTo>
                    <a:pt x="1801178" y="197447"/>
                  </a:lnTo>
                  <a:lnTo>
                    <a:pt x="1801229" y="198831"/>
                  </a:lnTo>
                  <a:lnTo>
                    <a:pt x="1801229" y="196799"/>
                  </a:lnTo>
                  <a:lnTo>
                    <a:pt x="1801229" y="199530"/>
                  </a:lnTo>
                  <a:lnTo>
                    <a:pt x="1801318" y="199530"/>
                  </a:lnTo>
                  <a:lnTo>
                    <a:pt x="1801318" y="198831"/>
                  </a:lnTo>
                  <a:lnTo>
                    <a:pt x="1801318" y="199530"/>
                  </a:lnTo>
                  <a:lnTo>
                    <a:pt x="1801369" y="199530"/>
                  </a:lnTo>
                  <a:lnTo>
                    <a:pt x="1801369" y="198831"/>
                  </a:lnTo>
                  <a:lnTo>
                    <a:pt x="1801369" y="199530"/>
                  </a:lnTo>
                  <a:lnTo>
                    <a:pt x="1801369" y="198831"/>
                  </a:lnTo>
                  <a:lnTo>
                    <a:pt x="1801419" y="198831"/>
                  </a:lnTo>
                  <a:lnTo>
                    <a:pt x="1801419" y="199530"/>
                  </a:lnTo>
                  <a:lnTo>
                    <a:pt x="1801470" y="199530"/>
                  </a:lnTo>
                  <a:lnTo>
                    <a:pt x="1801470" y="200228"/>
                  </a:lnTo>
                  <a:lnTo>
                    <a:pt x="1801470" y="198831"/>
                  </a:lnTo>
                  <a:lnTo>
                    <a:pt x="1801572" y="198831"/>
                  </a:lnTo>
                  <a:lnTo>
                    <a:pt x="1801572" y="197447"/>
                  </a:lnTo>
                  <a:lnTo>
                    <a:pt x="1801572" y="198831"/>
                  </a:lnTo>
                  <a:lnTo>
                    <a:pt x="1801572" y="197447"/>
                  </a:lnTo>
                  <a:lnTo>
                    <a:pt x="1801622" y="197447"/>
                  </a:lnTo>
                  <a:lnTo>
                    <a:pt x="1801622" y="195415"/>
                  </a:lnTo>
                  <a:lnTo>
                    <a:pt x="1801622" y="196113"/>
                  </a:lnTo>
                  <a:lnTo>
                    <a:pt x="1801622" y="195415"/>
                  </a:lnTo>
                  <a:lnTo>
                    <a:pt x="1801622" y="196113"/>
                  </a:lnTo>
                  <a:lnTo>
                    <a:pt x="1801673" y="196799"/>
                  </a:lnTo>
                  <a:lnTo>
                    <a:pt x="1801673" y="197447"/>
                  </a:lnTo>
                  <a:lnTo>
                    <a:pt x="1801673" y="196113"/>
                  </a:lnTo>
                  <a:lnTo>
                    <a:pt x="1801673" y="198831"/>
                  </a:lnTo>
                  <a:lnTo>
                    <a:pt x="1801775" y="198831"/>
                  </a:lnTo>
                  <a:lnTo>
                    <a:pt x="1801775" y="197447"/>
                  </a:lnTo>
                  <a:lnTo>
                    <a:pt x="1801775" y="199530"/>
                  </a:lnTo>
                  <a:lnTo>
                    <a:pt x="1801813" y="199530"/>
                  </a:lnTo>
                  <a:lnTo>
                    <a:pt x="1801813" y="197447"/>
                  </a:lnTo>
                  <a:lnTo>
                    <a:pt x="1801813" y="198831"/>
                  </a:lnTo>
                  <a:lnTo>
                    <a:pt x="1801813" y="197447"/>
                  </a:lnTo>
                  <a:lnTo>
                    <a:pt x="1801813" y="199530"/>
                  </a:lnTo>
                  <a:lnTo>
                    <a:pt x="1801864" y="199530"/>
                  </a:lnTo>
                  <a:lnTo>
                    <a:pt x="1801864" y="198831"/>
                  </a:lnTo>
                  <a:lnTo>
                    <a:pt x="1801915" y="198831"/>
                  </a:lnTo>
                  <a:lnTo>
                    <a:pt x="1801915" y="199530"/>
                  </a:lnTo>
                  <a:lnTo>
                    <a:pt x="1801915" y="198831"/>
                  </a:lnTo>
                  <a:lnTo>
                    <a:pt x="1801915" y="199530"/>
                  </a:lnTo>
                  <a:lnTo>
                    <a:pt x="1801915" y="198831"/>
                  </a:lnTo>
                  <a:lnTo>
                    <a:pt x="1801915" y="199530"/>
                  </a:lnTo>
                  <a:lnTo>
                    <a:pt x="1801915" y="198831"/>
                  </a:lnTo>
                  <a:lnTo>
                    <a:pt x="1801915" y="200228"/>
                  </a:lnTo>
                  <a:lnTo>
                    <a:pt x="1801915" y="199530"/>
                  </a:lnTo>
                  <a:lnTo>
                    <a:pt x="1802016" y="199530"/>
                  </a:lnTo>
                  <a:lnTo>
                    <a:pt x="1802016" y="198831"/>
                  </a:lnTo>
                  <a:lnTo>
                    <a:pt x="1802016" y="199530"/>
                  </a:lnTo>
                  <a:lnTo>
                    <a:pt x="1802016" y="198831"/>
                  </a:lnTo>
                  <a:lnTo>
                    <a:pt x="1802016" y="199530"/>
                  </a:lnTo>
                  <a:lnTo>
                    <a:pt x="1802016" y="198831"/>
                  </a:lnTo>
                  <a:lnTo>
                    <a:pt x="1802067" y="198831"/>
                  </a:lnTo>
                  <a:lnTo>
                    <a:pt x="1802067" y="196799"/>
                  </a:lnTo>
                  <a:lnTo>
                    <a:pt x="1802118" y="196799"/>
                  </a:lnTo>
                  <a:lnTo>
                    <a:pt x="1802118" y="194716"/>
                  </a:lnTo>
                  <a:lnTo>
                    <a:pt x="1802118" y="195415"/>
                  </a:lnTo>
                  <a:lnTo>
                    <a:pt x="1802118" y="194716"/>
                  </a:lnTo>
                  <a:lnTo>
                    <a:pt x="1802118" y="195415"/>
                  </a:lnTo>
                  <a:lnTo>
                    <a:pt x="1802219" y="195415"/>
                  </a:lnTo>
                  <a:lnTo>
                    <a:pt x="1802219" y="196113"/>
                  </a:lnTo>
                  <a:lnTo>
                    <a:pt x="1802219" y="195415"/>
                  </a:lnTo>
                  <a:lnTo>
                    <a:pt x="1802219" y="196113"/>
                  </a:lnTo>
                  <a:lnTo>
                    <a:pt x="1802270" y="196799"/>
                  </a:lnTo>
                  <a:lnTo>
                    <a:pt x="1802270" y="196113"/>
                  </a:lnTo>
                  <a:lnTo>
                    <a:pt x="1802270" y="196799"/>
                  </a:lnTo>
                  <a:lnTo>
                    <a:pt x="1802270" y="196113"/>
                  </a:lnTo>
                  <a:lnTo>
                    <a:pt x="1802270" y="196799"/>
                  </a:lnTo>
                  <a:lnTo>
                    <a:pt x="1802321" y="196799"/>
                  </a:lnTo>
                  <a:lnTo>
                    <a:pt x="1802321" y="197447"/>
                  </a:lnTo>
                  <a:lnTo>
                    <a:pt x="1802321" y="196799"/>
                  </a:lnTo>
                  <a:lnTo>
                    <a:pt x="1802321" y="197447"/>
                  </a:lnTo>
                  <a:lnTo>
                    <a:pt x="1802321" y="196799"/>
                  </a:lnTo>
                  <a:lnTo>
                    <a:pt x="1802321" y="197447"/>
                  </a:lnTo>
                  <a:lnTo>
                    <a:pt x="1802359" y="197447"/>
                  </a:lnTo>
                  <a:lnTo>
                    <a:pt x="1802359" y="196799"/>
                  </a:lnTo>
                  <a:lnTo>
                    <a:pt x="1802359" y="197447"/>
                  </a:lnTo>
                  <a:lnTo>
                    <a:pt x="1802359" y="196799"/>
                  </a:lnTo>
                  <a:lnTo>
                    <a:pt x="1802359" y="197447"/>
                  </a:lnTo>
                  <a:lnTo>
                    <a:pt x="1802461" y="197447"/>
                  </a:lnTo>
                  <a:lnTo>
                    <a:pt x="1802461" y="199530"/>
                  </a:lnTo>
                  <a:lnTo>
                    <a:pt x="1802461" y="198831"/>
                  </a:lnTo>
                  <a:lnTo>
                    <a:pt x="1802461" y="199530"/>
                  </a:lnTo>
                  <a:lnTo>
                    <a:pt x="1802461" y="198831"/>
                  </a:lnTo>
                  <a:lnTo>
                    <a:pt x="1802512" y="198831"/>
                  </a:lnTo>
                  <a:lnTo>
                    <a:pt x="1802512" y="199530"/>
                  </a:lnTo>
                  <a:lnTo>
                    <a:pt x="1802512" y="198831"/>
                  </a:lnTo>
                  <a:lnTo>
                    <a:pt x="1802562" y="198831"/>
                  </a:lnTo>
                  <a:lnTo>
                    <a:pt x="1802562" y="197447"/>
                  </a:lnTo>
                  <a:lnTo>
                    <a:pt x="1802562" y="198831"/>
                  </a:lnTo>
                  <a:lnTo>
                    <a:pt x="1802562" y="196113"/>
                  </a:lnTo>
                  <a:lnTo>
                    <a:pt x="1802664" y="196113"/>
                  </a:lnTo>
                  <a:lnTo>
                    <a:pt x="1802664" y="196799"/>
                  </a:lnTo>
                  <a:lnTo>
                    <a:pt x="1802664" y="195415"/>
                  </a:lnTo>
                  <a:lnTo>
                    <a:pt x="1802715" y="195415"/>
                  </a:lnTo>
                  <a:lnTo>
                    <a:pt x="1802715" y="196799"/>
                  </a:lnTo>
                  <a:lnTo>
                    <a:pt x="1802715" y="195415"/>
                  </a:lnTo>
                  <a:lnTo>
                    <a:pt x="1802715" y="196799"/>
                  </a:lnTo>
                  <a:lnTo>
                    <a:pt x="1802765" y="197447"/>
                  </a:lnTo>
                  <a:lnTo>
                    <a:pt x="1802765" y="196799"/>
                  </a:lnTo>
                  <a:lnTo>
                    <a:pt x="1802816" y="196799"/>
                  </a:lnTo>
                  <a:lnTo>
                    <a:pt x="1802816" y="197447"/>
                  </a:lnTo>
                  <a:lnTo>
                    <a:pt x="1802816" y="196113"/>
                  </a:lnTo>
                  <a:lnTo>
                    <a:pt x="1802816" y="196799"/>
                  </a:lnTo>
                  <a:lnTo>
                    <a:pt x="1802905" y="196799"/>
                  </a:lnTo>
                  <a:lnTo>
                    <a:pt x="1802905" y="197447"/>
                  </a:lnTo>
                  <a:lnTo>
                    <a:pt x="1802905" y="196799"/>
                  </a:lnTo>
                  <a:lnTo>
                    <a:pt x="1802905" y="198831"/>
                  </a:lnTo>
                  <a:lnTo>
                    <a:pt x="1802905" y="197447"/>
                  </a:lnTo>
                  <a:lnTo>
                    <a:pt x="1802905" y="198831"/>
                  </a:lnTo>
                  <a:lnTo>
                    <a:pt x="1802956" y="198831"/>
                  </a:lnTo>
                  <a:lnTo>
                    <a:pt x="1802956" y="197447"/>
                  </a:lnTo>
                  <a:lnTo>
                    <a:pt x="1802956" y="199530"/>
                  </a:lnTo>
                  <a:lnTo>
                    <a:pt x="1802956" y="197447"/>
                  </a:lnTo>
                  <a:lnTo>
                    <a:pt x="1802956" y="198831"/>
                  </a:lnTo>
                  <a:lnTo>
                    <a:pt x="1803007" y="198831"/>
                  </a:lnTo>
                  <a:lnTo>
                    <a:pt x="1803007" y="197447"/>
                  </a:lnTo>
                  <a:lnTo>
                    <a:pt x="1803007" y="198831"/>
                  </a:lnTo>
                  <a:lnTo>
                    <a:pt x="1803007" y="197447"/>
                  </a:lnTo>
                  <a:lnTo>
                    <a:pt x="1803007" y="198831"/>
                  </a:lnTo>
                  <a:lnTo>
                    <a:pt x="1803007" y="197447"/>
                  </a:lnTo>
                  <a:lnTo>
                    <a:pt x="1803007" y="198831"/>
                  </a:lnTo>
                  <a:lnTo>
                    <a:pt x="1803058" y="197447"/>
                  </a:lnTo>
                  <a:lnTo>
                    <a:pt x="1803058" y="196113"/>
                  </a:lnTo>
                  <a:lnTo>
                    <a:pt x="1803058" y="196799"/>
                  </a:lnTo>
                  <a:lnTo>
                    <a:pt x="1803159" y="196113"/>
                  </a:lnTo>
                  <a:lnTo>
                    <a:pt x="1803159" y="195415"/>
                  </a:lnTo>
                  <a:lnTo>
                    <a:pt x="1803159" y="196113"/>
                  </a:lnTo>
                  <a:lnTo>
                    <a:pt x="1803159" y="195415"/>
                  </a:lnTo>
                  <a:lnTo>
                    <a:pt x="1803159" y="196113"/>
                  </a:lnTo>
                  <a:lnTo>
                    <a:pt x="1803159" y="195415"/>
                  </a:lnTo>
                  <a:lnTo>
                    <a:pt x="1803159" y="196113"/>
                  </a:lnTo>
                  <a:lnTo>
                    <a:pt x="1803159" y="194716"/>
                  </a:lnTo>
                  <a:lnTo>
                    <a:pt x="1803210" y="194716"/>
                  </a:lnTo>
                  <a:lnTo>
                    <a:pt x="1803210" y="193383"/>
                  </a:lnTo>
                  <a:lnTo>
                    <a:pt x="1803210" y="195415"/>
                  </a:lnTo>
                  <a:lnTo>
                    <a:pt x="1803210" y="193383"/>
                  </a:lnTo>
                  <a:lnTo>
                    <a:pt x="1803261" y="193383"/>
                  </a:lnTo>
                  <a:lnTo>
                    <a:pt x="1803261" y="196799"/>
                  </a:lnTo>
                  <a:lnTo>
                    <a:pt x="1803261" y="194716"/>
                  </a:lnTo>
                  <a:lnTo>
                    <a:pt x="1803261" y="195415"/>
                  </a:lnTo>
                  <a:lnTo>
                    <a:pt x="1803362" y="194716"/>
                  </a:lnTo>
                  <a:lnTo>
                    <a:pt x="1803362" y="196799"/>
                  </a:lnTo>
                  <a:lnTo>
                    <a:pt x="1803362" y="195415"/>
                  </a:lnTo>
                  <a:lnTo>
                    <a:pt x="1803400" y="195415"/>
                  </a:lnTo>
                  <a:lnTo>
                    <a:pt x="1803400" y="197447"/>
                  </a:lnTo>
                  <a:lnTo>
                    <a:pt x="1803451" y="198831"/>
                  </a:lnTo>
                  <a:lnTo>
                    <a:pt x="1803451" y="197447"/>
                  </a:lnTo>
                  <a:lnTo>
                    <a:pt x="1803451" y="198831"/>
                  </a:lnTo>
                  <a:lnTo>
                    <a:pt x="1803502" y="198831"/>
                  </a:lnTo>
                  <a:lnTo>
                    <a:pt x="1803502" y="197447"/>
                  </a:lnTo>
                  <a:lnTo>
                    <a:pt x="1803502" y="198831"/>
                  </a:lnTo>
                  <a:lnTo>
                    <a:pt x="1803502" y="197447"/>
                  </a:lnTo>
                  <a:lnTo>
                    <a:pt x="1803502" y="198831"/>
                  </a:lnTo>
                  <a:lnTo>
                    <a:pt x="1803502" y="197447"/>
                  </a:lnTo>
                  <a:lnTo>
                    <a:pt x="1803604" y="197447"/>
                  </a:lnTo>
                  <a:lnTo>
                    <a:pt x="1803604" y="198831"/>
                  </a:lnTo>
                  <a:lnTo>
                    <a:pt x="1803604" y="196799"/>
                  </a:lnTo>
                  <a:lnTo>
                    <a:pt x="1803604" y="197447"/>
                  </a:lnTo>
                  <a:lnTo>
                    <a:pt x="1803604" y="196799"/>
                  </a:lnTo>
                  <a:lnTo>
                    <a:pt x="1803655" y="196799"/>
                  </a:lnTo>
                  <a:lnTo>
                    <a:pt x="1803655" y="196113"/>
                  </a:lnTo>
                  <a:lnTo>
                    <a:pt x="1803655" y="196799"/>
                  </a:lnTo>
                  <a:lnTo>
                    <a:pt x="1803655" y="195415"/>
                  </a:lnTo>
                  <a:lnTo>
                    <a:pt x="1803705" y="194716"/>
                  </a:lnTo>
                  <a:lnTo>
                    <a:pt x="1803705" y="196113"/>
                  </a:lnTo>
                  <a:lnTo>
                    <a:pt x="1803705" y="193383"/>
                  </a:lnTo>
                  <a:lnTo>
                    <a:pt x="1803807" y="194716"/>
                  </a:lnTo>
                  <a:lnTo>
                    <a:pt x="1803807" y="196113"/>
                  </a:lnTo>
                  <a:lnTo>
                    <a:pt x="1803807" y="194716"/>
                  </a:lnTo>
                  <a:lnTo>
                    <a:pt x="1803807" y="195415"/>
                  </a:lnTo>
                  <a:lnTo>
                    <a:pt x="1803858" y="195415"/>
                  </a:lnTo>
                  <a:lnTo>
                    <a:pt x="1803858" y="196113"/>
                  </a:lnTo>
                  <a:lnTo>
                    <a:pt x="1803858" y="195415"/>
                  </a:lnTo>
                  <a:lnTo>
                    <a:pt x="1803909" y="196113"/>
                  </a:lnTo>
                  <a:lnTo>
                    <a:pt x="1803909" y="196799"/>
                  </a:lnTo>
                  <a:lnTo>
                    <a:pt x="1803909" y="196113"/>
                  </a:lnTo>
                  <a:lnTo>
                    <a:pt x="1803947" y="196799"/>
                  </a:lnTo>
                  <a:lnTo>
                    <a:pt x="1803947" y="197447"/>
                  </a:lnTo>
                  <a:lnTo>
                    <a:pt x="1803947" y="196799"/>
                  </a:lnTo>
                  <a:lnTo>
                    <a:pt x="1803947" y="197447"/>
                  </a:lnTo>
                  <a:lnTo>
                    <a:pt x="1804048" y="197447"/>
                  </a:lnTo>
                  <a:lnTo>
                    <a:pt x="1804048" y="196799"/>
                  </a:lnTo>
                  <a:lnTo>
                    <a:pt x="1804048" y="197447"/>
                  </a:lnTo>
                  <a:lnTo>
                    <a:pt x="1804048" y="196799"/>
                  </a:lnTo>
                  <a:lnTo>
                    <a:pt x="1804048" y="197447"/>
                  </a:lnTo>
                  <a:lnTo>
                    <a:pt x="1804099" y="197447"/>
                  </a:lnTo>
                  <a:lnTo>
                    <a:pt x="1804099" y="196799"/>
                  </a:lnTo>
                  <a:lnTo>
                    <a:pt x="1804099" y="197447"/>
                  </a:lnTo>
                  <a:lnTo>
                    <a:pt x="1804099" y="196799"/>
                  </a:lnTo>
                  <a:lnTo>
                    <a:pt x="1804099" y="197447"/>
                  </a:lnTo>
                  <a:lnTo>
                    <a:pt x="1804099" y="196799"/>
                  </a:lnTo>
                  <a:lnTo>
                    <a:pt x="1804150" y="197447"/>
                  </a:lnTo>
                  <a:lnTo>
                    <a:pt x="1804150" y="196113"/>
                  </a:lnTo>
                  <a:lnTo>
                    <a:pt x="1804150" y="197447"/>
                  </a:lnTo>
                  <a:lnTo>
                    <a:pt x="1804251" y="197447"/>
                  </a:lnTo>
                  <a:lnTo>
                    <a:pt x="1804251" y="195415"/>
                  </a:lnTo>
                  <a:lnTo>
                    <a:pt x="1804251" y="198831"/>
                  </a:lnTo>
                  <a:lnTo>
                    <a:pt x="1804302" y="198831"/>
                  </a:lnTo>
                  <a:lnTo>
                    <a:pt x="1804302" y="196799"/>
                  </a:lnTo>
                  <a:lnTo>
                    <a:pt x="1804302" y="198831"/>
                  </a:lnTo>
                  <a:lnTo>
                    <a:pt x="1804353" y="198831"/>
                  </a:lnTo>
                  <a:lnTo>
                    <a:pt x="1804353" y="196799"/>
                  </a:lnTo>
                  <a:lnTo>
                    <a:pt x="1804353" y="198831"/>
                  </a:lnTo>
                  <a:lnTo>
                    <a:pt x="1804353" y="197447"/>
                  </a:lnTo>
                  <a:lnTo>
                    <a:pt x="1804353" y="198831"/>
                  </a:lnTo>
                  <a:lnTo>
                    <a:pt x="1804353" y="197447"/>
                  </a:lnTo>
                  <a:lnTo>
                    <a:pt x="1804353" y="198831"/>
                  </a:lnTo>
                  <a:lnTo>
                    <a:pt x="1804404" y="197447"/>
                  </a:lnTo>
                  <a:lnTo>
                    <a:pt x="1804404" y="198831"/>
                  </a:lnTo>
                  <a:lnTo>
                    <a:pt x="1804404" y="197447"/>
                  </a:lnTo>
                  <a:lnTo>
                    <a:pt x="1804493" y="197447"/>
                  </a:lnTo>
                  <a:lnTo>
                    <a:pt x="1804493" y="198831"/>
                  </a:lnTo>
                  <a:lnTo>
                    <a:pt x="1804493" y="197447"/>
                  </a:lnTo>
                  <a:lnTo>
                    <a:pt x="1804544" y="197447"/>
                  </a:lnTo>
                  <a:lnTo>
                    <a:pt x="1804544" y="196799"/>
                  </a:lnTo>
                  <a:lnTo>
                    <a:pt x="1804544" y="198831"/>
                  </a:lnTo>
                  <a:lnTo>
                    <a:pt x="1804544" y="197447"/>
                  </a:lnTo>
                  <a:lnTo>
                    <a:pt x="1804544" y="198831"/>
                  </a:lnTo>
                  <a:lnTo>
                    <a:pt x="1804544" y="196799"/>
                  </a:lnTo>
                  <a:lnTo>
                    <a:pt x="1804594" y="197447"/>
                  </a:lnTo>
                  <a:lnTo>
                    <a:pt x="1804594" y="196799"/>
                  </a:lnTo>
                  <a:lnTo>
                    <a:pt x="1804594" y="197447"/>
                  </a:lnTo>
                  <a:lnTo>
                    <a:pt x="1804594" y="196113"/>
                  </a:lnTo>
                  <a:lnTo>
                    <a:pt x="1804645" y="195415"/>
                  </a:lnTo>
                  <a:lnTo>
                    <a:pt x="1804645" y="198831"/>
                  </a:lnTo>
                  <a:lnTo>
                    <a:pt x="1804645" y="196799"/>
                  </a:lnTo>
                  <a:lnTo>
                    <a:pt x="1804747" y="196799"/>
                  </a:lnTo>
                  <a:lnTo>
                    <a:pt x="1804747" y="196113"/>
                  </a:lnTo>
                  <a:lnTo>
                    <a:pt x="1804747" y="199530"/>
                  </a:lnTo>
                  <a:lnTo>
                    <a:pt x="1804747" y="197447"/>
                  </a:lnTo>
                  <a:lnTo>
                    <a:pt x="1804797" y="197447"/>
                  </a:lnTo>
                  <a:lnTo>
                    <a:pt x="1804797" y="200228"/>
                  </a:lnTo>
                  <a:lnTo>
                    <a:pt x="1804797" y="198831"/>
                  </a:lnTo>
                  <a:lnTo>
                    <a:pt x="1804848" y="198831"/>
                  </a:lnTo>
                  <a:lnTo>
                    <a:pt x="1804848" y="199530"/>
                  </a:lnTo>
                  <a:lnTo>
                    <a:pt x="1804950" y="199530"/>
                  </a:lnTo>
                  <a:lnTo>
                    <a:pt x="1804950" y="198831"/>
                  </a:lnTo>
                  <a:lnTo>
                    <a:pt x="1804988" y="198831"/>
                  </a:lnTo>
                  <a:lnTo>
                    <a:pt x="1804988" y="199530"/>
                  </a:lnTo>
                  <a:lnTo>
                    <a:pt x="1804988" y="197447"/>
                  </a:lnTo>
                  <a:lnTo>
                    <a:pt x="1804988" y="198831"/>
                  </a:lnTo>
                  <a:lnTo>
                    <a:pt x="1804988" y="197447"/>
                  </a:lnTo>
                  <a:lnTo>
                    <a:pt x="1805039" y="197447"/>
                  </a:lnTo>
                  <a:lnTo>
                    <a:pt x="1805039" y="196799"/>
                  </a:lnTo>
                  <a:lnTo>
                    <a:pt x="1805039" y="197447"/>
                  </a:lnTo>
                  <a:lnTo>
                    <a:pt x="1805039" y="196799"/>
                  </a:lnTo>
                  <a:lnTo>
                    <a:pt x="1805039" y="197447"/>
                  </a:lnTo>
                  <a:lnTo>
                    <a:pt x="1805090" y="197447"/>
                  </a:lnTo>
                  <a:lnTo>
                    <a:pt x="1805090" y="195415"/>
                  </a:lnTo>
                  <a:lnTo>
                    <a:pt x="1805090" y="196113"/>
                  </a:lnTo>
                  <a:lnTo>
                    <a:pt x="1805090" y="195415"/>
                  </a:lnTo>
                  <a:lnTo>
                    <a:pt x="1805090" y="196113"/>
                  </a:lnTo>
                  <a:lnTo>
                    <a:pt x="1805191" y="196113"/>
                  </a:lnTo>
                  <a:lnTo>
                    <a:pt x="1805191" y="197447"/>
                  </a:lnTo>
                  <a:lnTo>
                    <a:pt x="1805191" y="196113"/>
                  </a:lnTo>
                  <a:lnTo>
                    <a:pt x="1805191" y="197447"/>
                  </a:lnTo>
                  <a:lnTo>
                    <a:pt x="1805242" y="198831"/>
                  </a:lnTo>
                  <a:lnTo>
                    <a:pt x="1805242" y="199530"/>
                  </a:lnTo>
                  <a:lnTo>
                    <a:pt x="1805242" y="196799"/>
                  </a:lnTo>
                  <a:lnTo>
                    <a:pt x="1805242" y="198831"/>
                  </a:lnTo>
                  <a:lnTo>
                    <a:pt x="1805293" y="198831"/>
                  </a:lnTo>
                  <a:lnTo>
                    <a:pt x="1805293" y="199530"/>
                  </a:lnTo>
                  <a:lnTo>
                    <a:pt x="1805293" y="198831"/>
                  </a:lnTo>
                  <a:lnTo>
                    <a:pt x="1805293" y="199530"/>
                  </a:lnTo>
                  <a:lnTo>
                    <a:pt x="1805394" y="200228"/>
                  </a:lnTo>
                  <a:lnTo>
                    <a:pt x="1805394" y="199530"/>
                  </a:lnTo>
                  <a:lnTo>
                    <a:pt x="1805394" y="200228"/>
                  </a:lnTo>
                  <a:lnTo>
                    <a:pt x="1805394" y="199530"/>
                  </a:lnTo>
                  <a:lnTo>
                    <a:pt x="1805394" y="200228"/>
                  </a:lnTo>
                  <a:lnTo>
                    <a:pt x="1805394" y="199530"/>
                  </a:lnTo>
                  <a:lnTo>
                    <a:pt x="1805394" y="200228"/>
                  </a:lnTo>
                  <a:lnTo>
                    <a:pt x="1805445" y="200228"/>
                  </a:lnTo>
                  <a:lnTo>
                    <a:pt x="1805445" y="200876"/>
                  </a:lnTo>
                  <a:lnTo>
                    <a:pt x="1805445" y="200228"/>
                  </a:lnTo>
                  <a:lnTo>
                    <a:pt x="1805496" y="200228"/>
                  </a:lnTo>
                  <a:lnTo>
                    <a:pt x="1805496" y="198831"/>
                  </a:lnTo>
                  <a:lnTo>
                    <a:pt x="1805534" y="199530"/>
                  </a:lnTo>
                  <a:lnTo>
                    <a:pt x="1805534" y="196799"/>
                  </a:lnTo>
                  <a:lnTo>
                    <a:pt x="1805636" y="196799"/>
                  </a:lnTo>
                  <a:lnTo>
                    <a:pt x="1805636" y="197447"/>
                  </a:lnTo>
                  <a:lnTo>
                    <a:pt x="1805636" y="195415"/>
                  </a:lnTo>
                  <a:lnTo>
                    <a:pt x="1805636" y="196799"/>
                  </a:lnTo>
                  <a:lnTo>
                    <a:pt x="1805687" y="197447"/>
                  </a:lnTo>
                  <a:lnTo>
                    <a:pt x="1805687" y="196113"/>
                  </a:lnTo>
                  <a:lnTo>
                    <a:pt x="1805687" y="196799"/>
                  </a:lnTo>
                  <a:lnTo>
                    <a:pt x="1805687" y="195415"/>
                  </a:lnTo>
                  <a:lnTo>
                    <a:pt x="1805687" y="197447"/>
                  </a:lnTo>
                  <a:lnTo>
                    <a:pt x="1805737" y="197447"/>
                  </a:lnTo>
                  <a:lnTo>
                    <a:pt x="1805737" y="198831"/>
                  </a:lnTo>
                  <a:lnTo>
                    <a:pt x="1805737" y="196799"/>
                  </a:lnTo>
                  <a:lnTo>
                    <a:pt x="1805737" y="198831"/>
                  </a:lnTo>
                  <a:lnTo>
                    <a:pt x="1805737" y="197447"/>
                  </a:lnTo>
                  <a:lnTo>
                    <a:pt x="1805839" y="197447"/>
                  </a:lnTo>
                  <a:lnTo>
                    <a:pt x="1805839" y="199530"/>
                  </a:lnTo>
                  <a:lnTo>
                    <a:pt x="1805890" y="199530"/>
                  </a:lnTo>
                  <a:lnTo>
                    <a:pt x="1805890" y="198831"/>
                  </a:lnTo>
                  <a:lnTo>
                    <a:pt x="1805890" y="199530"/>
                  </a:lnTo>
                  <a:lnTo>
                    <a:pt x="1805940" y="199530"/>
                  </a:lnTo>
                  <a:lnTo>
                    <a:pt x="1805940" y="200228"/>
                  </a:lnTo>
                  <a:lnTo>
                    <a:pt x="1805940" y="199530"/>
                  </a:lnTo>
                  <a:lnTo>
                    <a:pt x="1805940" y="200228"/>
                  </a:lnTo>
                  <a:lnTo>
                    <a:pt x="1805940" y="199530"/>
                  </a:lnTo>
                  <a:lnTo>
                    <a:pt x="1805991" y="199530"/>
                  </a:lnTo>
                  <a:lnTo>
                    <a:pt x="1805991" y="198831"/>
                  </a:lnTo>
                  <a:lnTo>
                    <a:pt x="1805991" y="199530"/>
                  </a:lnTo>
                  <a:lnTo>
                    <a:pt x="1805991" y="198831"/>
                  </a:lnTo>
                  <a:lnTo>
                    <a:pt x="1805991" y="199530"/>
                  </a:lnTo>
                  <a:lnTo>
                    <a:pt x="1806080" y="198831"/>
                  </a:lnTo>
                  <a:lnTo>
                    <a:pt x="1806080" y="197447"/>
                  </a:lnTo>
                  <a:lnTo>
                    <a:pt x="1806080" y="198831"/>
                  </a:lnTo>
                  <a:lnTo>
                    <a:pt x="1806080" y="197447"/>
                  </a:lnTo>
                  <a:lnTo>
                    <a:pt x="1806080" y="198831"/>
                  </a:lnTo>
                  <a:lnTo>
                    <a:pt x="1806080" y="196799"/>
                  </a:lnTo>
                  <a:lnTo>
                    <a:pt x="1806131" y="196799"/>
                  </a:lnTo>
                  <a:lnTo>
                    <a:pt x="1806131" y="194716"/>
                  </a:lnTo>
                  <a:lnTo>
                    <a:pt x="1806131" y="196113"/>
                  </a:lnTo>
                  <a:lnTo>
                    <a:pt x="1806182" y="196799"/>
                  </a:lnTo>
                  <a:lnTo>
                    <a:pt x="1806182" y="194716"/>
                  </a:lnTo>
                  <a:lnTo>
                    <a:pt x="1806182" y="197447"/>
                  </a:lnTo>
                  <a:lnTo>
                    <a:pt x="1806233" y="197447"/>
                  </a:lnTo>
                  <a:lnTo>
                    <a:pt x="1806233" y="196113"/>
                  </a:lnTo>
                  <a:lnTo>
                    <a:pt x="1806233" y="197447"/>
                  </a:lnTo>
                  <a:lnTo>
                    <a:pt x="1806334" y="197447"/>
                  </a:lnTo>
                  <a:lnTo>
                    <a:pt x="1806334" y="196799"/>
                  </a:lnTo>
                  <a:lnTo>
                    <a:pt x="1806334" y="197447"/>
                  </a:lnTo>
                  <a:lnTo>
                    <a:pt x="1806334" y="196799"/>
                  </a:lnTo>
                  <a:lnTo>
                    <a:pt x="1806334" y="198831"/>
                  </a:lnTo>
                  <a:lnTo>
                    <a:pt x="1806334" y="197447"/>
                  </a:lnTo>
                  <a:lnTo>
                    <a:pt x="1806334" y="198831"/>
                  </a:lnTo>
                  <a:lnTo>
                    <a:pt x="1806385" y="198831"/>
                  </a:lnTo>
                  <a:lnTo>
                    <a:pt x="1806385" y="197447"/>
                  </a:lnTo>
                  <a:lnTo>
                    <a:pt x="1806385" y="198831"/>
                  </a:lnTo>
                  <a:lnTo>
                    <a:pt x="1806385" y="197447"/>
                  </a:lnTo>
                  <a:lnTo>
                    <a:pt x="1806385" y="198831"/>
                  </a:lnTo>
                  <a:lnTo>
                    <a:pt x="1806436" y="197447"/>
                  </a:lnTo>
                  <a:lnTo>
                    <a:pt x="1806436" y="199530"/>
                  </a:lnTo>
                  <a:lnTo>
                    <a:pt x="1806537" y="199530"/>
                  </a:lnTo>
                  <a:lnTo>
                    <a:pt x="1806537" y="200228"/>
                  </a:lnTo>
                  <a:lnTo>
                    <a:pt x="1806537" y="198831"/>
                  </a:lnTo>
                  <a:lnTo>
                    <a:pt x="1806537" y="199530"/>
                  </a:lnTo>
                  <a:lnTo>
                    <a:pt x="1806575" y="198831"/>
                  </a:lnTo>
                  <a:lnTo>
                    <a:pt x="1806575" y="197447"/>
                  </a:lnTo>
                  <a:lnTo>
                    <a:pt x="1806626" y="196799"/>
                  </a:lnTo>
                  <a:lnTo>
                    <a:pt x="1806626" y="195415"/>
                  </a:lnTo>
                  <a:lnTo>
                    <a:pt x="1806626" y="196799"/>
                  </a:lnTo>
                  <a:lnTo>
                    <a:pt x="1806626" y="196113"/>
                  </a:lnTo>
                  <a:lnTo>
                    <a:pt x="1806677" y="196113"/>
                  </a:lnTo>
                  <a:lnTo>
                    <a:pt x="1806677" y="193383"/>
                  </a:lnTo>
                  <a:lnTo>
                    <a:pt x="1806677" y="197447"/>
                  </a:lnTo>
                  <a:lnTo>
                    <a:pt x="1806779" y="197447"/>
                  </a:lnTo>
                  <a:lnTo>
                    <a:pt x="1806779" y="195415"/>
                  </a:lnTo>
                  <a:lnTo>
                    <a:pt x="1806779" y="196113"/>
                  </a:lnTo>
                  <a:lnTo>
                    <a:pt x="1806779" y="195415"/>
                  </a:lnTo>
                  <a:lnTo>
                    <a:pt x="1806779" y="197447"/>
                  </a:lnTo>
                  <a:lnTo>
                    <a:pt x="1806779" y="196799"/>
                  </a:lnTo>
                  <a:lnTo>
                    <a:pt x="1806830" y="196799"/>
                  </a:lnTo>
                  <a:lnTo>
                    <a:pt x="1806830" y="196113"/>
                  </a:lnTo>
                  <a:lnTo>
                    <a:pt x="1806830" y="196799"/>
                  </a:lnTo>
                  <a:lnTo>
                    <a:pt x="1806880" y="196799"/>
                  </a:lnTo>
                  <a:lnTo>
                    <a:pt x="1806880" y="197447"/>
                  </a:lnTo>
                  <a:lnTo>
                    <a:pt x="1806880" y="196799"/>
                  </a:lnTo>
                  <a:lnTo>
                    <a:pt x="1806982" y="196799"/>
                  </a:lnTo>
                  <a:lnTo>
                    <a:pt x="1806982" y="197447"/>
                  </a:lnTo>
                  <a:lnTo>
                    <a:pt x="1806982" y="196799"/>
                  </a:lnTo>
                  <a:lnTo>
                    <a:pt x="1806982" y="197447"/>
                  </a:lnTo>
                  <a:lnTo>
                    <a:pt x="1807033" y="197447"/>
                  </a:lnTo>
                  <a:lnTo>
                    <a:pt x="1807033" y="198831"/>
                  </a:lnTo>
                  <a:lnTo>
                    <a:pt x="1807033" y="197447"/>
                  </a:lnTo>
                  <a:lnTo>
                    <a:pt x="1807033" y="198831"/>
                  </a:lnTo>
                  <a:lnTo>
                    <a:pt x="1807033" y="197447"/>
                  </a:lnTo>
                  <a:lnTo>
                    <a:pt x="1807033" y="198831"/>
                  </a:lnTo>
                  <a:lnTo>
                    <a:pt x="1807084" y="198831"/>
                  </a:lnTo>
                  <a:lnTo>
                    <a:pt x="1807084" y="197447"/>
                  </a:lnTo>
                  <a:lnTo>
                    <a:pt x="1807084" y="198831"/>
                  </a:lnTo>
                  <a:lnTo>
                    <a:pt x="1807084" y="196799"/>
                  </a:lnTo>
                  <a:lnTo>
                    <a:pt x="1807084" y="197447"/>
                  </a:lnTo>
                  <a:lnTo>
                    <a:pt x="1807084" y="196799"/>
                  </a:lnTo>
                  <a:lnTo>
                    <a:pt x="1807122" y="197447"/>
                  </a:lnTo>
                  <a:lnTo>
                    <a:pt x="1807122" y="196113"/>
                  </a:lnTo>
                  <a:lnTo>
                    <a:pt x="1807122" y="197447"/>
                  </a:lnTo>
                  <a:lnTo>
                    <a:pt x="1807122" y="196113"/>
                  </a:lnTo>
                  <a:lnTo>
                    <a:pt x="1807223" y="196113"/>
                  </a:lnTo>
                  <a:lnTo>
                    <a:pt x="1807223" y="195415"/>
                  </a:lnTo>
                  <a:lnTo>
                    <a:pt x="1807223" y="199530"/>
                  </a:lnTo>
                  <a:lnTo>
                    <a:pt x="1807223" y="197447"/>
                  </a:lnTo>
                  <a:lnTo>
                    <a:pt x="1807274" y="197447"/>
                  </a:lnTo>
                  <a:lnTo>
                    <a:pt x="1807274" y="198831"/>
                  </a:lnTo>
                  <a:lnTo>
                    <a:pt x="1807274" y="197447"/>
                  </a:lnTo>
                  <a:lnTo>
                    <a:pt x="1807325" y="197447"/>
                  </a:lnTo>
                  <a:lnTo>
                    <a:pt x="1807325" y="199530"/>
                  </a:lnTo>
                  <a:lnTo>
                    <a:pt x="1807325" y="197447"/>
                  </a:lnTo>
                  <a:lnTo>
                    <a:pt x="1807325" y="198831"/>
                  </a:lnTo>
                  <a:lnTo>
                    <a:pt x="1807426" y="197447"/>
                  </a:lnTo>
                  <a:lnTo>
                    <a:pt x="1807426" y="198831"/>
                  </a:lnTo>
                  <a:lnTo>
                    <a:pt x="1807426" y="197447"/>
                  </a:lnTo>
                  <a:lnTo>
                    <a:pt x="1807426" y="198831"/>
                  </a:lnTo>
                  <a:lnTo>
                    <a:pt x="1807426" y="197447"/>
                  </a:lnTo>
                  <a:lnTo>
                    <a:pt x="1807426" y="198831"/>
                  </a:lnTo>
                  <a:lnTo>
                    <a:pt x="1807426" y="197447"/>
                  </a:lnTo>
                  <a:lnTo>
                    <a:pt x="1807426" y="198831"/>
                  </a:lnTo>
                  <a:lnTo>
                    <a:pt x="1807477" y="198831"/>
                  </a:lnTo>
                  <a:lnTo>
                    <a:pt x="1807477" y="199530"/>
                  </a:lnTo>
                  <a:lnTo>
                    <a:pt x="1807477" y="198831"/>
                  </a:lnTo>
                  <a:lnTo>
                    <a:pt x="1807477" y="199530"/>
                  </a:lnTo>
                  <a:lnTo>
                    <a:pt x="1807477" y="198831"/>
                  </a:lnTo>
                  <a:lnTo>
                    <a:pt x="1807477" y="199530"/>
                  </a:lnTo>
                  <a:lnTo>
                    <a:pt x="1807528" y="199530"/>
                  </a:lnTo>
                  <a:lnTo>
                    <a:pt x="1807528" y="198831"/>
                  </a:lnTo>
                  <a:lnTo>
                    <a:pt x="1807579" y="198831"/>
                  </a:lnTo>
                  <a:lnTo>
                    <a:pt x="1807579" y="196113"/>
                  </a:lnTo>
                  <a:lnTo>
                    <a:pt x="1807668" y="196113"/>
                  </a:lnTo>
                  <a:lnTo>
                    <a:pt x="1807668" y="198831"/>
                  </a:lnTo>
                  <a:lnTo>
                    <a:pt x="1807668" y="196113"/>
                  </a:lnTo>
                  <a:lnTo>
                    <a:pt x="1807668" y="197447"/>
                  </a:lnTo>
                  <a:lnTo>
                    <a:pt x="1807719" y="197447"/>
                  </a:lnTo>
                  <a:lnTo>
                    <a:pt x="1807719" y="199530"/>
                  </a:lnTo>
                  <a:lnTo>
                    <a:pt x="1807719" y="198831"/>
                  </a:lnTo>
                  <a:lnTo>
                    <a:pt x="1807719" y="200228"/>
                  </a:lnTo>
                  <a:lnTo>
                    <a:pt x="1807769" y="200228"/>
                  </a:lnTo>
                  <a:lnTo>
                    <a:pt x="1807769" y="199530"/>
                  </a:lnTo>
                  <a:lnTo>
                    <a:pt x="1807769" y="200228"/>
                  </a:lnTo>
                  <a:lnTo>
                    <a:pt x="1807769" y="199530"/>
                  </a:lnTo>
                  <a:lnTo>
                    <a:pt x="1807922" y="199530"/>
                  </a:lnTo>
                  <a:lnTo>
                    <a:pt x="1807922" y="198831"/>
                  </a:lnTo>
                  <a:lnTo>
                    <a:pt x="1807922" y="199530"/>
                  </a:lnTo>
                  <a:lnTo>
                    <a:pt x="1807922" y="198831"/>
                  </a:lnTo>
                  <a:lnTo>
                    <a:pt x="1807972" y="199530"/>
                  </a:lnTo>
                  <a:lnTo>
                    <a:pt x="1807972" y="198831"/>
                  </a:lnTo>
                  <a:lnTo>
                    <a:pt x="1807972" y="199530"/>
                  </a:lnTo>
                  <a:lnTo>
                    <a:pt x="1807972" y="198831"/>
                  </a:lnTo>
                  <a:lnTo>
                    <a:pt x="1807972" y="199530"/>
                  </a:lnTo>
                  <a:lnTo>
                    <a:pt x="1807972" y="198831"/>
                  </a:lnTo>
                  <a:lnTo>
                    <a:pt x="1807972" y="199530"/>
                  </a:lnTo>
                  <a:lnTo>
                    <a:pt x="1808023" y="199530"/>
                  </a:lnTo>
                  <a:lnTo>
                    <a:pt x="1808023" y="196799"/>
                  </a:lnTo>
                  <a:lnTo>
                    <a:pt x="1808023" y="197447"/>
                  </a:lnTo>
                  <a:lnTo>
                    <a:pt x="1808023" y="196799"/>
                  </a:lnTo>
                  <a:lnTo>
                    <a:pt x="1808023" y="197447"/>
                  </a:lnTo>
                  <a:lnTo>
                    <a:pt x="1808023" y="196799"/>
                  </a:lnTo>
                  <a:lnTo>
                    <a:pt x="1808125" y="196799"/>
                  </a:lnTo>
                  <a:lnTo>
                    <a:pt x="1808125" y="196113"/>
                  </a:lnTo>
                  <a:lnTo>
                    <a:pt x="1808125" y="196799"/>
                  </a:lnTo>
                  <a:lnTo>
                    <a:pt x="1808125" y="195415"/>
                  </a:lnTo>
                  <a:lnTo>
                    <a:pt x="1808125" y="196799"/>
                  </a:lnTo>
                  <a:lnTo>
                    <a:pt x="1808163" y="197447"/>
                  </a:lnTo>
                  <a:lnTo>
                    <a:pt x="1808163" y="196113"/>
                  </a:lnTo>
                  <a:lnTo>
                    <a:pt x="1808163" y="199530"/>
                  </a:lnTo>
                  <a:lnTo>
                    <a:pt x="1808214" y="199530"/>
                  </a:lnTo>
                  <a:lnTo>
                    <a:pt x="1808214" y="198831"/>
                  </a:lnTo>
                  <a:lnTo>
                    <a:pt x="1808214" y="200228"/>
                  </a:lnTo>
                  <a:lnTo>
                    <a:pt x="1808265" y="200228"/>
                  </a:lnTo>
                  <a:lnTo>
                    <a:pt x="1808265" y="198831"/>
                  </a:lnTo>
                  <a:lnTo>
                    <a:pt x="1808265" y="199530"/>
                  </a:lnTo>
                  <a:lnTo>
                    <a:pt x="1808265" y="198831"/>
                  </a:lnTo>
                  <a:lnTo>
                    <a:pt x="1808265" y="199530"/>
                  </a:lnTo>
                  <a:lnTo>
                    <a:pt x="1808366" y="199530"/>
                  </a:lnTo>
                  <a:lnTo>
                    <a:pt x="1808366" y="198831"/>
                  </a:lnTo>
                  <a:lnTo>
                    <a:pt x="1808366" y="199530"/>
                  </a:lnTo>
                  <a:lnTo>
                    <a:pt x="1808366" y="198831"/>
                  </a:lnTo>
                  <a:lnTo>
                    <a:pt x="1808366" y="199530"/>
                  </a:lnTo>
                  <a:lnTo>
                    <a:pt x="1808366" y="198831"/>
                  </a:lnTo>
                  <a:lnTo>
                    <a:pt x="1808366" y="199530"/>
                  </a:lnTo>
                  <a:lnTo>
                    <a:pt x="1808366" y="198831"/>
                  </a:lnTo>
                  <a:lnTo>
                    <a:pt x="1808366" y="199530"/>
                  </a:lnTo>
                  <a:lnTo>
                    <a:pt x="1808417" y="199530"/>
                  </a:lnTo>
                  <a:lnTo>
                    <a:pt x="1808417" y="200228"/>
                  </a:lnTo>
                  <a:lnTo>
                    <a:pt x="1808417" y="199530"/>
                  </a:lnTo>
                  <a:lnTo>
                    <a:pt x="1808417" y="200228"/>
                  </a:lnTo>
                  <a:lnTo>
                    <a:pt x="1808468" y="200228"/>
                  </a:lnTo>
                  <a:lnTo>
                    <a:pt x="1808468" y="199530"/>
                  </a:lnTo>
                  <a:lnTo>
                    <a:pt x="1808468" y="200228"/>
                  </a:lnTo>
                  <a:lnTo>
                    <a:pt x="1808468" y="199530"/>
                  </a:lnTo>
                  <a:lnTo>
                    <a:pt x="1808468" y="200228"/>
                  </a:lnTo>
                  <a:lnTo>
                    <a:pt x="1808468" y="198831"/>
                  </a:lnTo>
                  <a:lnTo>
                    <a:pt x="1808569" y="198831"/>
                  </a:lnTo>
                  <a:lnTo>
                    <a:pt x="1808569" y="196799"/>
                  </a:lnTo>
                  <a:lnTo>
                    <a:pt x="1808620" y="196799"/>
                  </a:lnTo>
                  <a:lnTo>
                    <a:pt x="1808620" y="196113"/>
                  </a:lnTo>
                  <a:lnTo>
                    <a:pt x="1808620" y="196799"/>
                  </a:lnTo>
                  <a:lnTo>
                    <a:pt x="1808620" y="195415"/>
                  </a:lnTo>
                  <a:lnTo>
                    <a:pt x="1808620" y="197447"/>
                  </a:lnTo>
                  <a:lnTo>
                    <a:pt x="1808620" y="196799"/>
                  </a:lnTo>
                  <a:lnTo>
                    <a:pt x="1808620" y="197447"/>
                  </a:lnTo>
                  <a:lnTo>
                    <a:pt x="1808620" y="196799"/>
                  </a:lnTo>
                  <a:lnTo>
                    <a:pt x="1808671" y="196799"/>
                  </a:lnTo>
                  <a:lnTo>
                    <a:pt x="1808671" y="196113"/>
                  </a:lnTo>
                  <a:lnTo>
                    <a:pt x="1808671" y="198831"/>
                  </a:lnTo>
                  <a:lnTo>
                    <a:pt x="1808709" y="197447"/>
                  </a:lnTo>
                  <a:lnTo>
                    <a:pt x="1808709" y="200228"/>
                  </a:lnTo>
                  <a:lnTo>
                    <a:pt x="1808709" y="198831"/>
                  </a:lnTo>
                  <a:lnTo>
                    <a:pt x="1808709" y="199530"/>
                  </a:lnTo>
                  <a:lnTo>
                    <a:pt x="1808811" y="199530"/>
                  </a:lnTo>
                  <a:lnTo>
                    <a:pt x="1808811" y="198831"/>
                  </a:lnTo>
                  <a:lnTo>
                    <a:pt x="1808811" y="200228"/>
                  </a:lnTo>
                  <a:lnTo>
                    <a:pt x="1808811" y="199530"/>
                  </a:lnTo>
                  <a:lnTo>
                    <a:pt x="1808862" y="199530"/>
                  </a:lnTo>
                  <a:lnTo>
                    <a:pt x="1808862" y="198831"/>
                  </a:lnTo>
                  <a:lnTo>
                    <a:pt x="1808862" y="199530"/>
                  </a:lnTo>
                  <a:lnTo>
                    <a:pt x="1808862" y="198831"/>
                  </a:lnTo>
                  <a:lnTo>
                    <a:pt x="1808862" y="199530"/>
                  </a:lnTo>
                  <a:lnTo>
                    <a:pt x="1808912" y="199530"/>
                  </a:lnTo>
                  <a:lnTo>
                    <a:pt x="1808912" y="200228"/>
                  </a:lnTo>
                  <a:lnTo>
                    <a:pt x="1808912" y="199530"/>
                  </a:lnTo>
                  <a:lnTo>
                    <a:pt x="1808912" y="200228"/>
                  </a:lnTo>
                  <a:lnTo>
                    <a:pt x="1808912" y="199530"/>
                  </a:lnTo>
                  <a:lnTo>
                    <a:pt x="1809014" y="199530"/>
                  </a:lnTo>
                  <a:lnTo>
                    <a:pt x="1809014" y="198831"/>
                  </a:lnTo>
                  <a:lnTo>
                    <a:pt x="1809065" y="198831"/>
                  </a:lnTo>
                  <a:lnTo>
                    <a:pt x="1809065" y="196113"/>
                  </a:lnTo>
                  <a:lnTo>
                    <a:pt x="1809065" y="196799"/>
                  </a:lnTo>
                  <a:lnTo>
                    <a:pt x="1809115" y="196799"/>
                  </a:lnTo>
                  <a:lnTo>
                    <a:pt x="1809115" y="194716"/>
                  </a:lnTo>
                  <a:lnTo>
                    <a:pt x="1809115" y="196799"/>
                  </a:lnTo>
                  <a:lnTo>
                    <a:pt x="1809115" y="195415"/>
                  </a:lnTo>
                  <a:lnTo>
                    <a:pt x="1809166" y="195415"/>
                  </a:lnTo>
                  <a:lnTo>
                    <a:pt x="1809166" y="198831"/>
                  </a:lnTo>
                  <a:lnTo>
                    <a:pt x="1809166" y="197447"/>
                  </a:lnTo>
                  <a:lnTo>
                    <a:pt x="1809255" y="197447"/>
                  </a:lnTo>
                  <a:lnTo>
                    <a:pt x="1809255" y="196799"/>
                  </a:lnTo>
                  <a:lnTo>
                    <a:pt x="1809255" y="199530"/>
                  </a:lnTo>
                  <a:lnTo>
                    <a:pt x="1809255" y="197447"/>
                  </a:lnTo>
                  <a:lnTo>
                    <a:pt x="1809255" y="198831"/>
                  </a:lnTo>
                  <a:lnTo>
                    <a:pt x="1809306" y="197447"/>
                  </a:lnTo>
                  <a:lnTo>
                    <a:pt x="1809306" y="198831"/>
                  </a:lnTo>
                  <a:lnTo>
                    <a:pt x="1809306" y="197447"/>
                  </a:lnTo>
                  <a:lnTo>
                    <a:pt x="1809306" y="198831"/>
                  </a:lnTo>
                  <a:lnTo>
                    <a:pt x="1809306" y="197447"/>
                  </a:lnTo>
                  <a:lnTo>
                    <a:pt x="1809306" y="198831"/>
                  </a:lnTo>
                  <a:lnTo>
                    <a:pt x="1809357" y="199530"/>
                  </a:lnTo>
                  <a:lnTo>
                    <a:pt x="1809357" y="198831"/>
                  </a:lnTo>
                  <a:lnTo>
                    <a:pt x="1809357" y="200228"/>
                  </a:lnTo>
                  <a:lnTo>
                    <a:pt x="1809408" y="200228"/>
                  </a:lnTo>
                  <a:lnTo>
                    <a:pt x="1809408" y="199530"/>
                  </a:lnTo>
                  <a:lnTo>
                    <a:pt x="1809408" y="200228"/>
                  </a:lnTo>
                  <a:lnTo>
                    <a:pt x="1809408" y="199530"/>
                  </a:lnTo>
                  <a:lnTo>
                    <a:pt x="1809408" y="200228"/>
                  </a:lnTo>
                  <a:lnTo>
                    <a:pt x="1809408" y="199530"/>
                  </a:lnTo>
                  <a:lnTo>
                    <a:pt x="1809408" y="200228"/>
                  </a:lnTo>
                  <a:lnTo>
                    <a:pt x="1809509" y="199530"/>
                  </a:lnTo>
                  <a:lnTo>
                    <a:pt x="1809509" y="200228"/>
                  </a:lnTo>
                  <a:lnTo>
                    <a:pt x="1809509" y="199530"/>
                  </a:lnTo>
                  <a:lnTo>
                    <a:pt x="1809509" y="200228"/>
                  </a:lnTo>
                  <a:lnTo>
                    <a:pt x="1809509" y="198831"/>
                  </a:lnTo>
                  <a:lnTo>
                    <a:pt x="1809560" y="198831"/>
                  </a:lnTo>
                  <a:lnTo>
                    <a:pt x="1809560" y="196799"/>
                  </a:lnTo>
                  <a:lnTo>
                    <a:pt x="1809560" y="197447"/>
                  </a:lnTo>
                  <a:lnTo>
                    <a:pt x="1809560" y="196113"/>
                  </a:lnTo>
                  <a:lnTo>
                    <a:pt x="1809611" y="196113"/>
                  </a:lnTo>
                  <a:lnTo>
                    <a:pt x="1809611" y="195415"/>
                  </a:lnTo>
                  <a:lnTo>
                    <a:pt x="1809611" y="196799"/>
                  </a:lnTo>
                  <a:lnTo>
                    <a:pt x="1809611" y="195415"/>
                  </a:lnTo>
                  <a:lnTo>
                    <a:pt x="1809712" y="195415"/>
                  </a:lnTo>
                  <a:lnTo>
                    <a:pt x="1809712" y="199530"/>
                  </a:lnTo>
                  <a:lnTo>
                    <a:pt x="1809712" y="196799"/>
                  </a:lnTo>
                  <a:lnTo>
                    <a:pt x="1809712" y="197447"/>
                  </a:lnTo>
                  <a:lnTo>
                    <a:pt x="1809750" y="197447"/>
                  </a:lnTo>
                  <a:lnTo>
                    <a:pt x="1809750" y="198831"/>
                  </a:lnTo>
                  <a:lnTo>
                    <a:pt x="1809750" y="196799"/>
                  </a:lnTo>
                  <a:lnTo>
                    <a:pt x="1809750" y="197447"/>
                  </a:lnTo>
                  <a:lnTo>
                    <a:pt x="1809750" y="196799"/>
                  </a:lnTo>
                  <a:lnTo>
                    <a:pt x="1809801" y="197447"/>
                  </a:lnTo>
                  <a:lnTo>
                    <a:pt x="1809801" y="196799"/>
                  </a:lnTo>
                  <a:lnTo>
                    <a:pt x="1809801" y="197447"/>
                  </a:lnTo>
                  <a:lnTo>
                    <a:pt x="1809852" y="198831"/>
                  </a:lnTo>
                  <a:lnTo>
                    <a:pt x="1809954" y="198831"/>
                  </a:lnTo>
                  <a:lnTo>
                    <a:pt x="1809954" y="199530"/>
                  </a:lnTo>
                  <a:lnTo>
                    <a:pt x="1809954" y="198831"/>
                  </a:lnTo>
                  <a:lnTo>
                    <a:pt x="1809954" y="199530"/>
                  </a:lnTo>
                  <a:lnTo>
                    <a:pt x="1809954" y="198831"/>
                  </a:lnTo>
                  <a:lnTo>
                    <a:pt x="1809954" y="199530"/>
                  </a:lnTo>
                  <a:lnTo>
                    <a:pt x="1809954" y="198831"/>
                  </a:lnTo>
                  <a:lnTo>
                    <a:pt x="1809954" y="199530"/>
                  </a:lnTo>
                  <a:lnTo>
                    <a:pt x="1810005" y="199530"/>
                  </a:lnTo>
                  <a:lnTo>
                    <a:pt x="1810005" y="197447"/>
                  </a:lnTo>
                  <a:lnTo>
                    <a:pt x="1810005" y="198831"/>
                  </a:lnTo>
                  <a:lnTo>
                    <a:pt x="1810005" y="197447"/>
                  </a:lnTo>
                  <a:lnTo>
                    <a:pt x="1810055" y="197447"/>
                  </a:lnTo>
                  <a:lnTo>
                    <a:pt x="1810055" y="195415"/>
                  </a:lnTo>
                  <a:lnTo>
                    <a:pt x="1810055" y="196113"/>
                  </a:lnTo>
                  <a:lnTo>
                    <a:pt x="1810157" y="196799"/>
                  </a:lnTo>
                  <a:lnTo>
                    <a:pt x="1810157" y="198831"/>
                  </a:lnTo>
                  <a:lnTo>
                    <a:pt x="1810157" y="196113"/>
                  </a:lnTo>
                  <a:lnTo>
                    <a:pt x="1810157" y="198831"/>
                  </a:lnTo>
                  <a:lnTo>
                    <a:pt x="1810208" y="199530"/>
                  </a:lnTo>
                  <a:lnTo>
                    <a:pt x="1810208" y="197447"/>
                  </a:lnTo>
                  <a:lnTo>
                    <a:pt x="1810208" y="199530"/>
                  </a:lnTo>
                  <a:lnTo>
                    <a:pt x="1810259" y="199530"/>
                  </a:lnTo>
                  <a:lnTo>
                    <a:pt x="1810259" y="197447"/>
                  </a:lnTo>
                  <a:lnTo>
                    <a:pt x="1810259" y="198831"/>
                  </a:lnTo>
                  <a:lnTo>
                    <a:pt x="1810259" y="197447"/>
                  </a:lnTo>
                  <a:lnTo>
                    <a:pt x="1810259" y="198831"/>
                  </a:lnTo>
                  <a:lnTo>
                    <a:pt x="1810297" y="198831"/>
                  </a:lnTo>
                  <a:lnTo>
                    <a:pt x="1810297" y="197447"/>
                  </a:lnTo>
                  <a:lnTo>
                    <a:pt x="1810297" y="198831"/>
                  </a:lnTo>
                  <a:lnTo>
                    <a:pt x="1810297" y="197447"/>
                  </a:lnTo>
                  <a:lnTo>
                    <a:pt x="1810297" y="198831"/>
                  </a:lnTo>
                  <a:lnTo>
                    <a:pt x="1810297" y="197447"/>
                  </a:lnTo>
                  <a:lnTo>
                    <a:pt x="1810297" y="199530"/>
                  </a:lnTo>
                  <a:lnTo>
                    <a:pt x="1810297" y="198831"/>
                  </a:lnTo>
                  <a:lnTo>
                    <a:pt x="1810297" y="199530"/>
                  </a:lnTo>
                  <a:lnTo>
                    <a:pt x="1810398" y="199530"/>
                  </a:lnTo>
                  <a:lnTo>
                    <a:pt x="1810398" y="200228"/>
                  </a:lnTo>
                  <a:lnTo>
                    <a:pt x="1810398" y="199530"/>
                  </a:lnTo>
                  <a:lnTo>
                    <a:pt x="1810398" y="200228"/>
                  </a:lnTo>
                  <a:lnTo>
                    <a:pt x="1810398" y="199530"/>
                  </a:lnTo>
                  <a:lnTo>
                    <a:pt x="1810500" y="199530"/>
                  </a:lnTo>
                  <a:lnTo>
                    <a:pt x="1810500" y="197447"/>
                  </a:lnTo>
                  <a:lnTo>
                    <a:pt x="1810601" y="197447"/>
                  </a:lnTo>
                  <a:lnTo>
                    <a:pt x="1810601" y="196113"/>
                  </a:lnTo>
                  <a:lnTo>
                    <a:pt x="1810601" y="198831"/>
                  </a:lnTo>
                  <a:lnTo>
                    <a:pt x="1810652" y="198831"/>
                  </a:lnTo>
                  <a:lnTo>
                    <a:pt x="1810652" y="196799"/>
                  </a:lnTo>
                  <a:lnTo>
                    <a:pt x="1810652" y="197447"/>
                  </a:lnTo>
                  <a:lnTo>
                    <a:pt x="1810652" y="196113"/>
                  </a:lnTo>
                  <a:lnTo>
                    <a:pt x="1810652" y="200228"/>
                  </a:lnTo>
                  <a:lnTo>
                    <a:pt x="1810652" y="199530"/>
                  </a:lnTo>
                  <a:lnTo>
                    <a:pt x="1810703" y="199530"/>
                  </a:lnTo>
                  <a:lnTo>
                    <a:pt x="1810703" y="197447"/>
                  </a:lnTo>
                  <a:lnTo>
                    <a:pt x="1810703" y="199530"/>
                  </a:lnTo>
                  <a:lnTo>
                    <a:pt x="1810754" y="199530"/>
                  </a:lnTo>
                  <a:lnTo>
                    <a:pt x="1810754" y="198831"/>
                  </a:lnTo>
                  <a:lnTo>
                    <a:pt x="1810754" y="199530"/>
                  </a:lnTo>
                  <a:lnTo>
                    <a:pt x="1810754" y="198831"/>
                  </a:lnTo>
                  <a:lnTo>
                    <a:pt x="1810754" y="199530"/>
                  </a:lnTo>
                  <a:lnTo>
                    <a:pt x="1810754" y="198831"/>
                  </a:lnTo>
                  <a:lnTo>
                    <a:pt x="1810754" y="199530"/>
                  </a:lnTo>
                  <a:lnTo>
                    <a:pt x="1810754" y="198831"/>
                  </a:lnTo>
                  <a:lnTo>
                    <a:pt x="1810754" y="199530"/>
                  </a:lnTo>
                  <a:lnTo>
                    <a:pt x="1810754" y="198831"/>
                  </a:lnTo>
                  <a:lnTo>
                    <a:pt x="1810843" y="198831"/>
                  </a:lnTo>
                  <a:lnTo>
                    <a:pt x="1810843" y="199530"/>
                  </a:lnTo>
                  <a:lnTo>
                    <a:pt x="1810843" y="198831"/>
                  </a:lnTo>
                  <a:lnTo>
                    <a:pt x="1810843" y="199530"/>
                  </a:lnTo>
                  <a:lnTo>
                    <a:pt x="1810894" y="199530"/>
                  </a:lnTo>
                  <a:lnTo>
                    <a:pt x="1810894" y="200228"/>
                  </a:lnTo>
                  <a:lnTo>
                    <a:pt x="1810894" y="199530"/>
                  </a:lnTo>
                  <a:lnTo>
                    <a:pt x="1810894" y="200228"/>
                  </a:lnTo>
                  <a:lnTo>
                    <a:pt x="1810894" y="198831"/>
                  </a:lnTo>
                  <a:lnTo>
                    <a:pt x="1810944" y="198831"/>
                  </a:lnTo>
                  <a:lnTo>
                    <a:pt x="1810944" y="199530"/>
                  </a:lnTo>
                  <a:lnTo>
                    <a:pt x="1810944" y="197447"/>
                  </a:lnTo>
                  <a:lnTo>
                    <a:pt x="1810995" y="197447"/>
                  </a:lnTo>
                  <a:lnTo>
                    <a:pt x="1810995" y="196113"/>
                  </a:lnTo>
                  <a:lnTo>
                    <a:pt x="1811097" y="196799"/>
                  </a:lnTo>
                  <a:lnTo>
                    <a:pt x="1811097" y="195415"/>
                  </a:lnTo>
                  <a:lnTo>
                    <a:pt x="1811097" y="197447"/>
                  </a:lnTo>
                  <a:lnTo>
                    <a:pt x="1811097" y="196799"/>
                  </a:lnTo>
                  <a:lnTo>
                    <a:pt x="1811147" y="196799"/>
                  </a:lnTo>
                  <a:lnTo>
                    <a:pt x="1811147" y="196113"/>
                  </a:lnTo>
                  <a:lnTo>
                    <a:pt x="1811147" y="199530"/>
                  </a:lnTo>
                  <a:lnTo>
                    <a:pt x="1811147" y="198831"/>
                  </a:lnTo>
                  <a:lnTo>
                    <a:pt x="1811198" y="197447"/>
                  </a:lnTo>
                  <a:lnTo>
                    <a:pt x="1811198" y="199530"/>
                  </a:lnTo>
                  <a:lnTo>
                    <a:pt x="1811198" y="198831"/>
                  </a:lnTo>
                  <a:lnTo>
                    <a:pt x="1811198" y="199530"/>
                  </a:lnTo>
                  <a:lnTo>
                    <a:pt x="1811198" y="198831"/>
                  </a:lnTo>
                  <a:lnTo>
                    <a:pt x="1811300" y="198831"/>
                  </a:lnTo>
                  <a:lnTo>
                    <a:pt x="1811300" y="197447"/>
                  </a:lnTo>
                  <a:lnTo>
                    <a:pt x="1811300" y="198831"/>
                  </a:lnTo>
                  <a:lnTo>
                    <a:pt x="1811338" y="198831"/>
                  </a:lnTo>
                  <a:lnTo>
                    <a:pt x="1811338" y="200228"/>
                  </a:lnTo>
                  <a:lnTo>
                    <a:pt x="1811338" y="199530"/>
                  </a:lnTo>
                  <a:lnTo>
                    <a:pt x="1811338" y="200228"/>
                  </a:lnTo>
                  <a:lnTo>
                    <a:pt x="1811389" y="199530"/>
                  </a:lnTo>
                  <a:lnTo>
                    <a:pt x="1811389" y="200228"/>
                  </a:lnTo>
                  <a:lnTo>
                    <a:pt x="1811389" y="199530"/>
                  </a:lnTo>
                  <a:lnTo>
                    <a:pt x="1811389" y="200228"/>
                  </a:lnTo>
                  <a:lnTo>
                    <a:pt x="1811389" y="199530"/>
                  </a:lnTo>
                  <a:lnTo>
                    <a:pt x="1811440" y="199530"/>
                  </a:lnTo>
                  <a:lnTo>
                    <a:pt x="1811440" y="200228"/>
                  </a:lnTo>
                  <a:lnTo>
                    <a:pt x="1811440" y="198831"/>
                  </a:lnTo>
                  <a:lnTo>
                    <a:pt x="1811541" y="197447"/>
                  </a:lnTo>
                  <a:lnTo>
                    <a:pt x="1811541" y="196799"/>
                  </a:lnTo>
                  <a:lnTo>
                    <a:pt x="1811541" y="197447"/>
                  </a:lnTo>
                  <a:lnTo>
                    <a:pt x="1811541" y="196799"/>
                  </a:lnTo>
                  <a:lnTo>
                    <a:pt x="1811592" y="196113"/>
                  </a:lnTo>
                  <a:lnTo>
                    <a:pt x="1811592" y="198831"/>
                  </a:lnTo>
                  <a:lnTo>
                    <a:pt x="1811592" y="196113"/>
                  </a:lnTo>
                  <a:lnTo>
                    <a:pt x="1811643" y="196113"/>
                  </a:lnTo>
                  <a:lnTo>
                    <a:pt x="1811643" y="198831"/>
                  </a:lnTo>
                  <a:lnTo>
                    <a:pt x="1811643" y="197447"/>
                  </a:lnTo>
                  <a:lnTo>
                    <a:pt x="1811744" y="197447"/>
                  </a:lnTo>
                  <a:lnTo>
                    <a:pt x="1811744" y="198831"/>
                  </a:lnTo>
                  <a:lnTo>
                    <a:pt x="1811744" y="197447"/>
                  </a:lnTo>
                  <a:lnTo>
                    <a:pt x="1811744" y="198831"/>
                  </a:lnTo>
                  <a:lnTo>
                    <a:pt x="1811744" y="197447"/>
                  </a:lnTo>
                  <a:lnTo>
                    <a:pt x="1811744" y="198831"/>
                  </a:lnTo>
                  <a:lnTo>
                    <a:pt x="1811744" y="197447"/>
                  </a:lnTo>
                  <a:lnTo>
                    <a:pt x="1811744" y="198831"/>
                  </a:lnTo>
                  <a:lnTo>
                    <a:pt x="1811744" y="197447"/>
                  </a:lnTo>
                  <a:lnTo>
                    <a:pt x="1811744" y="198831"/>
                  </a:lnTo>
                  <a:lnTo>
                    <a:pt x="1811795" y="198831"/>
                  </a:lnTo>
                  <a:lnTo>
                    <a:pt x="1811795" y="199530"/>
                  </a:lnTo>
                  <a:lnTo>
                    <a:pt x="1811846" y="199530"/>
                  </a:lnTo>
                  <a:lnTo>
                    <a:pt x="1811846" y="200228"/>
                  </a:lnTo>
                  <a:lnTo>
                    <a:pt x="1811846" y="199530"/>
                  </a:lnTo>
                  <a:lnTo>
                    <a:pt x="1811846" y="200228"/>
                  </a:lnTo>
                  <a:lnTo>
                    <a:pt x="1811846" y="199530"/>
                  </a:lnTo>
                  <a:lnTo>
                    <a:pt x="1811884" y="200228"/>
                  </a:lnTo>
                  <a:lnTo>
                    <a:pt x="1811884" y="199530"/>
                  </a:lnTo>
                  <a:lnTo>
                    <a:pt x="1811884" y="200228"/>
                  </a:lnTo>
                  <a:lnTo>
                    <a:pt x="1811884" y="199530"/>
                  </a:lnTo>
                  <a:lnTo>
                    <a:pt x="1811884" y="200228"/>
                  </a:lnTo>
                  <a:lnTo>
                    <a:pt x="1811884" y="198831"/>
                  </a:lnTo>
                  <a:lnTo>
                    <a:pt x="1811986" y="198831"/>
                  </a:lnTo>
                  <a:lnTo>
                    <a:pt x="1811986" y="199530"/>
                  </a:lnTo>
                  <a:lnTo>
                    <a:pt x="1811986" y="197447"/>
                  </a:lnTo>
                  <a:lnTo>
                    <a:pt x="1811986" y="198831"/>
                  </a:lnTo>
                  <a:lnTo>
                    <a:pt x="1811986" y="197447"/>
                  </a:lnTo>
                  <a:lnTo>
                    <a:pt x="1812037" y="197447"/>
                  </a:lnTo>
                  <a:lnTo>
                    <a:pt x="1812037" y="195415"/>
                  </a:lnTo>
                  <a:lnTo>
                    <a:pt x="1812037" y="196799"/>
                  </a:lnTo>
                  <a:lnTo>
                    <a:pt x="1812037" y="196113"/>
                  </a:lnTo>
                  <a:lnTo>
                    <a:pt x="1812087" y="196113"/>
                  </a:lnTo>
                  <a:lnTo>
                    <a:pt x="1812087" y="195415"/>
                  </a:lnTo>
                  <a:lnTo>
                    <a:pt x="1812087" y="196799"/>
                  </a:lnTo>
                  <a:lnTo>
                    <a:pt x="1812087" y="196113"/>
                  </a:lnTo>
                  <a:lnTo>
                    <a:pt x="1812087" y="196799"/>
                  </a:lnTo>
                  <a:lnTo>
                    <a:pt x="1812087" y="196113"/>
                  </a:lnTo>
                  <a:lnTo>
                    <a:pt x="1812087" y="196799"/>
                  </a:lnTo>
                  <a:lnTo>
                    <a:pt x="1812087" y="196113"/>
                  </a:lnTo>
                  <a:lnTo>
                    <a:pt x="1812189" y="196113"/>
                  </a:lnTo>
                  <a:lnTo>
                    <a:pt x="1812189" y="197447"/>
                  </a:lnTo>
                  <a:lnTo>
                    <a:pt x="1812189" y="196799"/>
                  </a:lnTo>
                  <a:lnTo>
                    <a:pt x="1812240" y="196799"/>
                  </a:lnTo>
                  <a:lnTo>
                    <a:pt x="1812240" y="198831"/>
                  </a:lnTo>
                  <a:lnTo>
                    <a:pt x="1812240" y="197447"/>
                  </a:lnTo>
                  <a:lnTo>
                    <a:pt x="1812240" y="198831"/>
                  </a:lnTo>
                  <a:lnTo>
                    <a:pt x="1812240" y="197447"/>
                  </a:lnTo>
                  <a:lnTo>
                    <a:pt x="1812290" y="197447"/>
                  </a:lnTo>
                  <a:lnTo>
                    <a:pt x="1812290" y="198831"/>
                  </a:lnTo>
                  <a:lnTo>
                    <a:pt x="1812290" y="197447"/>
                  </a:lnTo>
                  <a:lnTo>
                    <a:pt x="1812290" y="199530"/>
                  </a:lnTo>
                  <a:lnTo>
                    <a:pt x="1812341" y="199530"/>
                  </a:lnTo>
                  <a:lnTo>
                    <a:pt x="1812341" y="198831"/>
                  </a:lnTo>
                  <a:lnTo>
                    <a:pt x="1812341" y="199530"/>
                  </a:lnTo>
                  <a:lnTo>
                    <a:pt x="1812341" y="198831"/>
                  </a:lnTo>
                  <a:lnTo>
                    <a:pt x="1812341" y="200228"/>
                  </a:lnTo>
                  <a:lnTo>
                    <a:pt x="1812341" y="199530"/>
                  </a:lnTo>
                  <a:lnTo>
                    <a:pt x="1812430" y="199530"/>
                  </a:lnTo>
                  <a:lnTo>
                    <a:pt x="1812430" y="198831"/>
                  </a:lnTo>
                  <a:lnTo>
                    <a:pt x="1812430" y="199530"/>
                  </a:lnTo>
                  <a:lnTo>
                    <a:pt x="1812430" y="198831"/>
                  </a:lnTo>
                  <a:lnTo>
                    <a:pt x="1812481" y="198831"/>
                  </a:lnTo>
                  <a:lnTo>
                    <a:pt x="1812481" y="197447"/>
                  </a:lnTo>
                  <a:lnTo>
                    <a:pt x="1812532" y="197447"/>
                  </a:lnTo>
                  <a:lnTo>
                    <a:pt x="1812532" y="196113"/>
                  </a:lnTo>
                  <a:lnTo>
                    <a:pt x="1812532" y="196799"/>
                  </a:lnTo>
                  <a:lnTo>
                    <a:pt x="1812583" y="196113"/>
                  </a:lnTo>
                  <a:lnTo>
                    <a:pt x="1812583" y="196799"/>
                  </a:lnTo>
                  <a:lnTo>
                    <a:pt x="1812583" y="196113"/>
                  </a:lnTo>
                  <a:lnTo>
                    <a:pt x="1812583" y="196799"/>
                  </a:lnTo>
                  <a:lnTo>
                    <a:pt x="1812583" y="195415"/>
                  </a:lnTo>
                  <a:lnTo>
                    <a:pt x="1812583" y="197447"/>
                  </a:lnTo>
                  <a:lnTo>
                    <a:pt x="1812684" y="197447"/>
                  </a:lnTo>
                  <a:lnTo>
                    <a:pt x="1812684" y="196113"/>
                  </a:lnTo>
                  <a:lnTo>
                    <a:pt x="1812684" y="196799"/>
                  </a:lnTo>
                  <a:lnTo>
                    <a:pt x="1812735" y="196799"/>
                  </a:lnTo>
                  <a:lnTo>
                    <a:pt x="1812735" y="197447"/>
                  </a:lnTo>
                  <a:lnTo>
                    <a:pt x="1812735" y="196799"/>
                  </a:lnTo>
                  <a:lnTo>
                    <a:pt x="1812735" y="198831"/>
                  </a:lnTo>
                  <a:lnTo>
                    <a:pt x="1812735" y="196799"/>
                  </a:lnTo>
                  <a:lnTo>
                    <a:pt x="1812786" y="196799"/>
                  </a:lnTo>
                  <a:lnTo>
                    <a:pt x="1812786" y="197447"/>
                  </a:lnTo>
                  <a:lnTo>
                    <a:pt x="1812786" y="196799"/>
                  </a:lnTo>
                  <a:lnTo>
                    <a:pt x="1812786" y="197447"/>
                  </a:lnTo>
                  <a:lnTo>
                    <a:pt x="1812786" y="196799"/>
                  </a:lnTo>
                  <a:lnTo>
                    <a:pt x="1812786" y="198831"/>
                  </a:lnTo>
                  <a:lnTo>
                    <a:pt x="1812925" y="198831"/>
                  </a:lnTo>
                  <a:lnTo>
                    <a:pt x="1812925" y="197447"/>
                  </a:lnTo>
                  <a:lnTo>
                    <a:pt x="1812925" y="198831"/>
                  </a:lnTo>
                  <a:lnTo>
                    <a:pt x="1812925" y="197447"/>
                  </a:lnTo>
                  <a:lnTo>
                    <a:pt x="1812925" y="198831"/>
                  </a:lnTo>
                  <a:lnTo>
                    <a:pt x="1812976" y="198831"/>
                  </a:lnTo>
                  <a:lnTo>
                    <a:pt x="1812976" y="196799"/>
                  </a:lnTo>
                  <a:lnTo>
                    <a:pt x="1812976" y="197447"/>
                  </a:lnTo>
                  <a:lnTo>
                    <a:pt x="1812976" y="196113"/>
                  </a:lnTo>
                  <a:lnTo>
                    <a:pt x="1813027" y="196799"/>
                  </a:lnTo>
                  <a:lnTo>
                    <a:pt x="1813027" y="196113"/>
                  </a:lnTo>
                  <a:lnTo>
                    <a:pt x="1813027" y="199530"/>
                  </a:lnTo>
                  <a:lnTo>
                    <a:pt x="1813027" y="196799"/>
                  </a:lnTo>
                  <a:lnTo>
                    <a:pt x="1813129" y="196799"/>
                  </a:lnTo>
                  <a:lnTo>
                    <a:pt x="1813129" y="196113"/>
                  </a:lnTo>
                  <a:lnTo>
                    <a:pt x="1813129" y="200228"/>
                  </a:lnTo>
                  <a:lnTo>
                    <a:pt x="1813129" y="197447"/>
                  </a:lnTo>
                  <a:lnTo>
                    <a:pt x="1813180" y="197447"/>
                  </a:lnTo>
                  <a:lnTo>
                    <a:pt x="1813180" y="199530"/>
                  </a:lnTo>
                  <a:lnTo>
                    <a:pt x="1813180" y="198831"/>
                  </a:lnTo>
                  <a:lnTo>
                    <a:pt x="1813180" y="200228"/>
                  </a:lnTo>
                  <a:lnTo>
                    <a:pt x="1813180" y="198831"/>
                  </a:lnTo>
                  <a:lnTo>
                    <a:pt x="1813230" y="199530"/>
                  </a:lnTo>
                  <a:lnTo>
                    <a:pt x="1813230" y="198831"/>
                  </a:lnTo>
                  <a:lnTo>
                    <a:pt x="1813230" y="199530"/>
                  </a:lnTo>
                  <a:lnTo>
                    <a:pt x="1813332" y="199530"/>
                  </a:lnTo>
                  <a:lnTo>
                    <a:pt x="1813332" y="200228"/>
                  </a:lnTo>
                  <a:lnTo>
                    <a:pt x="1813332" y="198831"/>
                  </a:lnTo>
                  <a:lnTo>
                    <a:pt x="1813332" y="200228"/>
                  </a:lnTo>
                  <a:lnTo>
                    <a:pt x="1813383" y="200228"/>
                  </a:lnTo>
                  <a:lnTo>
                    <a:pt x="1813383" y="199530"/>
                  </a:lnTo>
                  <a:lnTo>
                    <a:pt x="1813383" y="200228"/>
                  </a:lnTo>
                  <a:lnTo>
                    <a:pt x="1813383" y="198831"/>
                  </a:lnTo>
                  <a:lnTo>
                    <a:pt x="1813434" y="199530"/>
                  </a:lnTo>
                  <a:lnTo>
                    <a:pt x="1813434" y="198831"/>
                  </a:lnTo>
                  <a:lnTo>
                    <a:pt x="1813434" y="199530"/>
                  </a:lnTo>
                  <a:lnTo>
                    <a:pt x="1813434" y="198831"/>
                  </a:lnTo>
                  <a:lnTo>
                    <a:pt x="1813472" y="198831"/>
                  </a:lnTo>
                  <a:lnTo>
                    <a:pt x="1813472" y="197447"/>
                  </a:lnTo>
                  <a:lnTo>
                    <a:pt x="1813472" y="198831"/>
                  </a:lnTo>
                  <a:lnTo>
                    <a:pt x="1813472" y="196799"/>
                  </a:lnTo>
                  <a:lnTo>
                    <a:pt x="1813472" y="197447"/>
                  </a:lnTo>
                  <a:lnTo>
                    <a:pt x="1813472" y="196799"/>
                  </a:lnTo>
                  <a:lnTo>
                    <a:pt x="1813472" y="197447"/>
                  </a:lnTo>
                  <a:lnTo>
                    <a:pt x="1813573" y="197447"/>
                  </a:lnTo>
                  <a:lnTo>
                    <a:pt x="1813573" y="199530"/>
                  </a:lnTo>
                  <a:lnTo>
                    <a:pt x="1813573" y="196799"/>
                  </a:lnTo>
                  <a:lnTo>
                    <a:pt x="1813573" y="199530"/>
                  </a:lnTo>
                  <a:lnTo>
                    <a:pt x="1813624" y="199530"/>
                  </a:lnTo>
                  <a:lnTo>
                    <a:pt x="1813624" y="200876"/>
                  </a:lnTo>
                  <a:lnTo>
                    <a:pt x="1813624" y="198831"/>
                  </a:lnTo>
                  <a:lnTo>
                    <a:pt x="1813624" y="199530"/>
                  </a:lnTo>
                  <a:lnTo>
                    <a:pt x="1813624" y="198831"/>
                  </a:lnTo>
                  <a:lnTo>
                    <a:pt x="1813624" y="199530"/>
                  </a:lnTo>
                  <a:lnTo>
                    <a:pt x="1813624" y="198831"/>
                  </a:lnTo>
                  <a:lnTo>
                    <a:pt x="1813624" y="199530"/>
                  </a:lnTo>
                  <a:lnTo>
                    <a:pt x="1813675" y="200228"/>
                  </a:lnTo>
                  <a:lnTo>
                    <a:pt x="1813675" y="199530"/>
                  </a:lnTo>
                  <a:lnTo>
                    <a:pt x="1813675" y="200228"/>
                  </a:lnTo>
                  <a:lnTo>
                    <a:pt x="1813776" y="200228"/>
                  </a:lnTo>
                  <a:lnTo>
                    <a:pt x="1813776" y="200876"/>
                  </a:lnTo>
                  <a:lnTo>
                    <a:pt x="1813776" y="200228"/>
                  </a:lnTo>
                  <a:lnTo>
                    <a:pt x="1813776" y="200876"/>
                  </a:lnTo>
                  <a:lnTo>
                    <a:pt x="1813827" y="200876"/>
                  </a:lnTo>
                  <a:lnTo>
                    <a:pt x="1813827" y="200228"/>
                  </a:lnTo>
                  <a:lnTo>
                    <a:pt x="1813827" y="200876"/>
                  </a:lnTo>
                  <a:lnTo>
                    <a:pt x="1813827" y="200228"/>
                  </a:lnTo>
                  <a:lnTo>
                    <a:pt x="1813827" y="200876"/>
                  </a:lnTo>
                  <a:lnTo>
                    <a:pt x="1813827" y="200228"/>
                  </a:lnTo>
                  <a:lnTo>
                    <a:pt x="1813827" y="200876"/>
                  </a:lnTo>
                  <a:lnTo>
                    <a:pt x="1813827" y="200228"/>
                  </a:lnTo>
                  <a:lnTo>
                    <a:pt x="1813878" y="199530"/>
                  </a:lnTo>
                  <a:lnTo>
                    <a:pt x="1813878" y="200228"/>
                  </a:lnTo>
                  <a:lnTo>
                    <a:pt x="1813878" y="198831"/>
                  </a:lnTo>
                  <a:lnTo>
                    <a:pt x="1813929" y="198831"/>
                  </a:lnTo>
                  <a:lnTo>
                    <a:pt x="1813929" y="197447"/>
                  </a:lnTo>
                  <a:lnTo>
                    <a:pt x="1813929" y="198831"/>
                  </a:lnTo>
                  <a:lnTo>
                    <a:pt x="1813929" y="197447"/>
                  </a:lnTo>
                  <a:lnTo>
                    <a:pt x="1814018" y="197447"/>
                  </a:lnTo>
                  <a:lnTo>
                    <a:pt x="1814018" y="196113"/>
                  </a:lnTo>
                  <a:lnTo>
                    <a:pt x="1814018" y="196799"/>
                  </a:lnTo>
                  <a:lnTo>
                    <a:pt x="1814018" y="196113"/>
                  </a:lnTo>
                  <a:lnTo>
                    <a:pt x="1814018" y="198831"/>
                  </a:lnTo>
                  <a:lnTo>
                    <a:pt x="1814069" y="198831"/>
                  </a:lnTo>
                  <a:lnTo>
                    <a:pt x="1814069" y="196113"/>
                  </a:lnTo>
                  <a:lnTo>
                    <a:pt x="1814069" y="196799"/>
                  </a:lnTo>
                  <a:lnTo>
                    <a:pt x="1814069" y="196113"/>
                  </a:lnTo>
                  <a:lnTo>
                    <a:pt x="1814069" y="199530"/>
                  </a:lnTo>
                  <a:lnTo>
                    <a:pt x="1814069" y="198831"/>
                  </a:lnTo>
                  <a:lnTo>
                    <a:pt x="1814119" y="198831"/>
                  </a:lnTo>
                  <a:lnTo>
                    <a:pt x="1814119" y="196799"/>
                  </a:lnTo>
                  <a:lnTo>
                    <a:pt x="1814119" y="199530"/>
                  </a:lnTo>
                  <a:lnTo>
                    <a:pt x="1814170" y="199530"/>
                  </a:lnTo>
                  <a:lnTo>
                    <a:pt x="1814170" y="198831"/>
                  </a:lnTo>
                  <a:lnTo>
                    <a:pt x="1814170" y="200228"/>
                  </a:lnTo>
                  <a:lnTo>
                    <a:pt x="1814170" y="199530"/>
                  </a:lnTo>
                  <a:lnTo>
                    <a:pt x="1814272" y="200228"/>
                  </a:lnTo>
                  <a:lnTo>
                    <a:pt x="1814322" y="200228"/>
                  </a:lnTo>
                  <a:lnTo>
                    <a:pt x="1814322" y="199530"/>
                  </a:lnTo>
                  <a:lnTo>
                    <a:pt x="1814322" y="200228"/>
                  </a:lnTo>
                  <a:lnTo>
                    <a:pt x="1814322" y="199530"/>
                  </a:lnTo>
                  <a:lnTo>
                    <a:pt x="1814373" y="199530"/>
                  </a:lnTo>
                  <a:lnTo>
                    <a:pt x="1814373" y="198831"/>
                  </a:lnTo>
                  <a:lnTo>
                    <a:pt x="1814475" y="198831"/>
                  </a:lnTo>
                  <a:lnTo>
                    <a:pt x="1814475" y="196799"/>
                  </a:lnTo>
                  <a:lnTo>
                    <a:pt x="1814513" y="196799"/>
                  </a:lnTo>
                  <a:lnTo>
                    <a:pt x="1814513" y="196113"/>
                  </a:lnTo>
                  <a:lnTo>
                    <a:pt x="1814513" y="198831"/>
                  </a:lnTo>
                  <a:lnTo>
                    <a:pt x="1814513" y="196799"/>
                  </a:lnTo>
                  <a:lnTo>
                    <a:pt x="1814564" y="196113"/>
                  </a:lnTo>
                  <a:lnTo>
                    <a:pt x="1814564" y="199530"/>
                  </a:lnTo>
                  <a:lnTo>
                    <a:pt x="1814564" y="196799"/>
                  </a:lnTo>
                  <a:lnTo>
                    <a:pt x="1814615" y="196799"/>
                  </a:lnTo>
                  <a:lnTo>
                    <a:pt x="1814615" y="199530"/>
                  </a:lnTo>
                  <a:lnTo>
                    <a:pt x="1814615" y="197447"/>
                  </a:lnTo>
                  <a:lnTo>
                    <a:pt x="1814716" y="197447"/>
                  </a:lnTo>
                  <a:lnTo>
                    <a:pt x="1814716" y="199530"/>
                  </a:lnTo>
                  <a:lnTo>
                    <a:pt x="1814716" y="198831"/>
                  </a:lnTo>
                  <a:lnTo>
                    <a:pt x="1814767" y="199530"/>
                  </a:lnTo>
                  <a:lnTo>
                    <a:pt x="1814767" y="200228"/>
                  </a:lnTo>
                  <a:lnTo>
                    <a:pt x="1814767" y="199530"/>
                  </a:lnTo>
                  <a:lnTo>
                    <a:pt x="1814767" y="200228"/>
                  </a:lnTo>
                  <a:lnTo>
                    <a:pt x="1814767" y="199530"/>
                  </a:lnTo>
                  <a:lnTo>
                    <a:pt x="1814818" y="199530"/>
                  </a:lnTo>
                  <a:lnTo>
                    <a:pt x="1814818" y="200228"/>
                  </a:lnTo>
                  <a:lnTo>
                    <a:pt x="1814818" y="199530"/>
                  </a:lnTo>
                  <a:lnTo>
                    <a:pt x="1814818" y="200228"/>
                  </a:lnTo>
                  <a:lnTo>
                    <a:pt x="1814818" y="199530"/>
                  </a:lnTo>
                  <a:lnTo>
                    <a:pt x="1814919" y="199530"/>
                  </a:lnTo>
                  <a:lnTo>
                    <a:pt x="1814919" y="197447"/>
                  </a:lnTo>
                  <a:lnTo>
                    <a:pt x="1814919" y="198831"/>
                  </a:lnTo>
                  <a:lnTo>
                    <a:pt x="1814970" y="198831"/>
                  </a:lnTo>
                  <a:lnTo>
                    <a:pt x="1814970" y="196799"/>
                  </a:lnTo>
                  <a:lnTo>
                    <a:pt x="1814970" y="197447"/>
                  </a:lnTo>
                  <a:lnTo>
                    <a:pt x="1814970" y="196113"/>
                  </a:lnTo>
                  <a:lnTo>
                    <a:pt x="1815021" y="196113"/>
                  </a:lnTo>
                  <a:lnTo>
                    <a:pt x="1815021" y="195415"/>
                  </a:lnTo>
                  <a:lnTo>
                    <a:pt x="1815021" y="196113"/>
                  </a:lnTo>
                  <a:lnTo>
                    <a:pt x="1815021" y="195415"/>
                  </a:lnTo>
                  <a:lnTo>
                    <a:pt x="1815021" y="196799"/>
                  </a:lnTo>
                  <a:lnTo>
                    <a:pt x="1815021" y="195415"/>
                  </a:lnTo>
                  <a:lnTo>
                    <a:pt x="1815059" y="195415"/>
                  </a:lnTo>
                  <a:lnTo>
                    <a:pt x="1815059" y="196113"/>
                  </a:lnTo>
                  <a:lnTo>
                    <a:pt x="1815059" y="195415"/>
                  </a:lnTo>
                  <a:lnTo>
                    <a:pt x="1815059" y="197447"/>
                  </a:lnTo>
                  <a:lnTo>
                    <a:pt x="1815059" y="196113"/>
                  </a:lnTo>
                  <a:lnTo>
                    <a:pt x="1815059" y="196799"/>
                  </a:lnTo>
                  <a:lnTo>
                    <a:pt x="1815161" y="196799"/>
                  </a:lnTo>
                  <a:lnTo>
                    <a:pt x="1815161" y="197447"/>
                  </a:lnTo>
                  <a:lnTo>
                    <a:pt x="1815161" y="196799"/>
                  </a:lnTo>
                  <a:lnTo>
                    <a:pt x="1815161" y="197447"/>
                  </a:lnTo>
                  <a:lnTo>
                    <a:pt x="1815212" y="197447"/>
                  </a:lnTo>
                  <a:lnTo>
                    <a:pt x="1815212" y="198831"/>
                  </a:lnTo>
                  <a:lnTo>
                    <a:pt x="1815212" y="197447"/>
                  </a:lnTo>
                  <a:lnTo>
                    <a:pt x="1815212" y="198831"/>
                  </a:lnTo>
                  <a:lnTo>
                    <a:pt x="1815262" y="198831"/>
                  </a:lnTo>
                  <a:lnTo>
                    <a:pt x="1815262" y="199530"/>
                  </a:lnTo>
                  <a:lnTo>
                    <a:pt x="1815364" y="198831"/>
                  </a:lnTo>
                  <a:lnTo>
                    <a:pt x="1815364" y="199530"/>
                  </a:lnTo>
                  <a:lnTo>
                    <a:pt x="1815364" y="198831"/>
                  </a:lnTo>
                  <a:lnTo>
                    <a:pt x="1815364" y="199530"/>
                  </a:lnTo>
                  <a:lnTo>
                    <a:pt x="1815364" y="198831"/>
                  </a:lnTo>
                  <a:lnTo>
                    <a:pt x="1815415" y="198831"/>
                  </a:lnTo>
                  <a:lnTo>
                    <a:pt x="1815415" y="197447"/>
                  </a:lnTo>
                  <a:lnTo>
                    <a:pt x="1815415" y="198831"/>
                  </a:lnTo>
                  <a:lnTo>
                    <a:pt x="1815465" y="198831"/>
                  </a:lnTo>
                  <a:lnTo>
                    <a:pt x="1815465" y="196113"/>
                  </a:lnTo>
                  <a:lnTo>
                    <a:pt x="1815465" y="196799"/>
                  </a:lnTo>
                  <a:lnTo>
                    <a:pt x="1815516" y="196799"/>
                  </a:lnTo>
                  <a:lnTo>
                    <a:pt x="1815516" y="196113"/>
                  </a:lnTo>
                  <a:lnTo>
                    <a:pt x="1815516" y="196799"/>
                  </a:lnTo>
                  <a:lnTo>
                    <a:pt x="1815516" y="195415"/>
                  </a:lnTo>
                  <a:lnTo>
                    <a:pt x="1815605" y="195415"/>
                  </a:lnTo>
                  <a:lnTo>
                    <a:pt x="1815605" y="197447"/>
                  </a:lnTo>
                  <a:lnTo>
                    <a:pt x="1815605" y="196113"/>
                  </a:lnTo>
                  <a:lnTo>
                    <a:pt x="1815656" y="196799"/>
                  </a:lnTo>
                  <a:lnTo>
                    <a:pt x="1815656" y="197447"/>
                  </a:lnTo>
                  <a:lnTo>
                    <a:pt x="1815656" y="196799"/>
                  </a:lnTo>
                  <a:lnTo>
                    <a:pt x="1815656" y="197447"/>
                  </a:lnTo>
                  <a:lnTo>
                    <a:pt x="1815656" y="196799"/>
                  </a:lnTo>
                  <a:lnTo>
                    <a:pt x="1815707" y="196799"/>
                  </a:lnTo>
                  <a:lnTo>
                    <a:pt x="1815707" y="197447"/>
                  </a:lnTo>
                  <a:lnTo>
                    <a:pt x="1815707" y="196799"/>
                  </a:lnTo>
                  <a:lnTo>
                    <a:pt x="1815707" y="197447"/>
                  </a:lnTo>
                  <a:lnTo>
                    <a:pt x="1815707" y="196799"/>
                  </a:lnTo>
                  <a:lnTo>
                    <a:pt x="1815707" y="197447"/>
                  </a:lnTo>
                  <a:lnTo>
                    <a:pt x="1815707" y="196799"/>
                  </a:lnTo>
                  <a:lnTo>
                    <a:pt x="1815707" y="197447"/>
                  </a:lnTo>
                  <a:lnTo>
                    <a:pt x="1815758" y="197447"/>
                  </a:lnTo>
                  <a:lnTo>
                    <a:pt x="1815758" y="198831"/>
                  </a:lnTo>
                  <a:lnTo>
                    <a:pt x="1815758" y="197447"/>
                  </a:lnTo>
                  <a:lnTo>
                    <a:pt x="1815758" y="198831"/>
                  </a:lnTo>
                  <a:lnTo>
                    <a:pt x="1815859" y="197447"/>
                  </a:lnTo>
                  <a:lnTo>
                    <a:pt x="1815859" y="198831"/>
                  </a:lnTo>
                  <a:lnTo>
                    <a:pt x="1815910" y="198831"/>
                  </a:lnTo>
                  <a:lnTo>
                    <a:pt x="1815910" y="197447"/>
                  </a:lnTo>
                  <a:lnTo>
                    <a:pt x="1815961" y="197447"/>
                  </a:lnTo>
                  <a:lnTo>
                    <a:pt x="1815961" y="196113"/>
                  </a:lnTo>
                  <a:lnTo>
                    <a:pt x="1815961" y="196799"/>
                  </a:lnTo>
                  <a:lnTo>
                    <a:pt x="1816062" y="196799"/>
                  </a:lnTo>
                  <a:lnTo>
                    <a:pt x="1816062" y="195415"/>
                  </a:lnTo>
                  <a:lnTo>
                    <a:pt x="1816062" y="196113"/>
                  </a:lnTo>
                  <a:lnTo>
                    <a:pt x="1816062" y="195415"/>
                  </a:lnTo>
                  <a:lnTo>
                    <a:pt x="1816062" y="197447"/>
                  </a:lnTo>
                  <a:lnTo>
                    <a:pt x="1816100" y="197447"/>
                  </a:lnTo>
                  <a:lnTo>
                    <a:pt x="1816100" y="196799"/>
                  </a:lnTo>
                  <a:lnTo>
                    <a:pt x="1816100" y="197447"/>
                  </a:lnTo>
                  <a:lnTo>
                    <a:pt x="1816100" y="196799"/>
                  </a:lnTo>
                  <a:lnTo>
                    <a:pt x="1816100" y="197447"/>
                  </a:lnTo>
                  <a:lnTo>
                    <a:pt x="1816100" y="196799"/>
                  </a:lnTo>
                  <a:lnTo>
                    <a:pt x="1816100" y="198831"/>
                  </a:lnTo>
                  <a:lnTo>
                    <a:pt x="1816151" y="198831"/>
                  </a:lnTo>
                  <a:lnTo>
                    <a:pt x="1816151" y="197447"/>
                  </a:lnTo>
                  <a:lnTo>
                    <a:pt x="1816151" y="198831"/>
                  </a:lnTo>
                  <a:lnTo>
                    <a:pt x="1816151" y="197447"/>
                  </a:lnTo>
                  <a:lnTo>
                    <a:pt x="1816151" y="199530"/>
                  </a:lnTo>
                  <a:lnTo>
                    <a:pt x="1816151" y="197447"/>
                  </a:lnTo>
                  <a:lnTo>
                    <a:pt x="1816202" y="197447"/>
                  </a:lnTo>
                  <a:lnTo>
                    <a:pt x="1816202" y="198831"/>
                  </a:lnTo>
                  <a:lnTo>
                    <a:pt x="1816202" y="197447"/>
                  </a:lnTo>
                  <a:lnTo>
                    <a:pt x="1816202" y="198831"/>
                  </a:lnTo>
                  <a:lnTo>
                    <a:pt x="1816202" y="197447"/>
                  </a:lnTo>
                  <a:lnTo>
                    <a:pt x="1816202" y="198831"/>
                  </a:lnTo>
                  <a:lnTo>
                    <a:pt x="1816202" y="197447"/>
                  </a:lnTo>
                  <a:lnTo>
                    <a:pt x="1816202" y="198831"/>
                  </a:lnTo>
                  <a:lnTo>
                    <a:pt x="1816304" y="198831"/>
                  </a:lnTo>
                  <a:lnTo>
                    <a:pt x="1816304" y="197447"/>
                  </a:lnTo>
                  <a:lnTo>
                    <a:pt x="1816304" y="198831"/>
                  </a:lnTo>
                  <a:lnTo>
                    <a:pt x="1816355" y="197447"/>
                  </a:lnTo>
                  <a:lnTo>
                    <a:pt x="1816355" y="199530"/>
                  </a:lnTo>
                  <a:lnTo>
                    <a:pt x="1816355" y="198831"/>
                  </a:lnTo>
                  <a:lnTo>
                    <a:pt x="1816405" y="198831"/>
                  </a:lnTo>
                  <a:lnTo>
                    <a:pt x="1816405" y="197447"/>
                  </a:lnTo>
                  <a:lnTo>
                    <a:pt x="1816405" y="198831"/>
                  </a:lnTo>
                  <a:lnTo>
                    <a:pt x="1816405" y="196799"/>
                  </a:lnTo>
                  <a:lnTo>
                    <a:pt x="1816405" y="197447"/>
                  </a:lnTo>
                  <a:lnTo>
                    <a:pt x="1816405" y="196799"/>
                  </a:lnTo>
                  <a:lnTo>
                    <a:pt x="1816507" y="197447"/>
                  </a:lnTo>
                  <a:lnTo>
                    <a:pt x="1816507" y="196113"/>
                  </a:lnTo>
                  <a:lnTo>
                    <a:pt x="1816507" y="196799"/>
                  </a:lnTo>
                  <a:lnTo>
                    <a:pt x="1816558" y="196799"/>
                  </a:lnTo>
                  <a:lnTo>
                    <a:pt x="1816558" y="197447"/>
                  </a:lnTo>
                  <a:lnTo>
                    <a:pt x="1816558" y="196799"/>
                  </a:lnTo>
                  <a:lnTo>
                    <a:pt x="1816558" y="198831"/>
                  </a:lnTo>
                  <a:lnTo>
                    <a:pt x="1816558" y="197447"/>
                  </a:lnTo>
                  <a:lnTo>
                    <a:pt x="1816609" y="197447"/>
                  </a:lnTo>
                  <a:lnTo>
                    <a:pt x="1816609" y="198831"/>
                  </a:lnTo>
                  <a:lnTo>
                    <a:pt x="1816609" y="197447"/>
                  </a:lnTo>
                  <a:lnTo>
                    <a:pt x="1816609" y="199530"/>
                  </a:lnTo>
                  <a:lnTo>
                    <a:pt x="1816609" y="198831"/>
                  </a:lnTo>
                  <a:lnTo>
                    <a:pt x="1816647" y="199530"/>
                  </a:lnTo>
                  <a:lnTo>
                    <a:pt x="1816647" y="198831"/>
                  </a:lnTo>
                  <a:lnTo>
                    <a:pt x="1816647" y="199530"/>
                  </a:lnTo>
                  <a:lnTo>
                    <a:pt x="1816647" y="198831"/>
                  </a:lnTo>
                  <a:lnTo>
                    <a:pt x="1816647" y="199530"/>
                  </a:lnTo>
                  <a:lnTo>
                    <a:pt x="1816748" y="198831"/>
                  </a:lnTo>
                  <a:lnTo>
                    <a:pt x="1816748" y="199530"/>
                  </a:lnTo>
                  <a:lnTo>
                    <a:pt x="1816748" y="198831"/>
                  </a:lnTo>
                  <a:lnTo>
                    <a:pt x="1816799" y="198831"/>
                  </a:lnTo>
                  <a:lnTo>
                    <a:pt x="1816799" y="197447"/>
                  </a:lnTo>
                  <a:lnTo>
                    <a:pt x="1816799" y="198831"/>
                  </a:lnTo>
                  <a:lnTo>
                    <a:pt x="1816799" y="197447"/>
                  </a:lnTo>
                  <a:lnTo>
                    <a:pt x="1816799" y="198831"/>
                  </a:lnTo>
                  <a:lnTo>
                    <a:pt x="1816799" y="197447"/>
                  </a:lnTo>
                  <a:lnTo>
                    <a:pt x="1816850" y="197447"/>
                  </a:lnTo>
                  <a:lnTo>
                    <a:pt x="1816850" y="198831"/>
                  </a:lnTo>
                  <a:lnTo>
                    <a:pt x="1816850" y="197447"/>
                  </a:lnTo>
                  <a:lnTo>
                    <a:pt x="1816850" y="198831"/>
                  </a:lnTo>
                  <a:lnTo>
                    <a:pt x="1816850" y="197447"/>
                  </a:lnTo>
                  <a:lnTo>
                    <a:pt x="1816850" y="198831"/>
                  </a:lnTo>
                  <a:lnTo>
                    <a:pt x="1816850" y="197447"/>
                  </a:lnTo>
                  <a:lnTo>
                    <a:pt x="1816951" y="197447"/>
                  </a:lnTo>
                  <a:lnTo>
                    <a:pt x="1816951" y="198831"/>
                  </a:lnTo>
                  <a:lnTo>
                    <a:pt x="1816951" y="196113"/>
                  </a:lnTo>
                  <a:lnTo>
                    <a:pt x="1816951" y="196799"/>
                  </a:lnTo>
                  <a:lnTo>
                    <a:pt x="1816951" y="196113"/>
                  </a:lnTo>
                  <a:lnTo>
                    <a:pt x="1817002" y="196113"/>
                  </a:lnTo>
                  <a:lnTo>
                    <a:pt x="1817002" y="195415"/>
                  </a:lnTo>
                  <a:lnTo>
                    <a:pt x="1817002" y="197447"/>
                  </a:lnTo>
                  <a:lnTo>
                    <a:pt x="1817002" y="195415"/>
                  </a:lnTo>
                  <a:lnTo>
                    <a:pt x="1817053" y="195415"/>
                  </a:lnTo>
                  <a:lnTo>
                    <a:pt x="1817053" y="198831"/>
                  </a:lnTo>
                  <a:lnTo>
                    <a:pt x="1817053" y="196799"/>
                  </a:lnTo>
                  <a:lnTo>
                    <a:pt x="1817104" y="196799"/>
                  </a:lnTo>
                  <a:lnTo>
                    <a:pt x="1817104" y="198831"/>
                  </a:lnTo>
                  <a:lnTo>
                    <a:pt x="1817193" y="198831"/>
                  </a:lnTo>
                  <a:lnTo>
                    <a:pt x="1817193" y="197447"/>
                  </a:lnTo>
                  <a:lnTo>
                    <a:pt x="1817193" y="199530"/>
                  </a:lnTo>
                  <a:lnTo>
                    <a:pt x="1817193" y="198831"/>
                  </a:lnTo>
                  <a:lnTo>
                    <a:pt x="1817244" y="199530"/>
                  </a:lnTo>
                  <a:lnTo>
                    <a:pt x="1817244" y="198831"/>
                  </a:lnTo>
                  <a:lnTo>
                    <a:pt x="1817244" y="199530"/>
                  </a:lnTo>
                  <a:lnTo>
                    <a:pt x="1817244" y="198831"/>
                  </a:lnTo>
                  <a:lnTo>
                    <a:pt x="1817244" y="199530"/>
                  </a:lnTo>
                  <a:lnTo>
                    <a:pt x="1817294" y="199530"/>
                  </a:lnTo>
                  <a:lnTo>
                    <a:pt x="1817294" y="198831"/>
                  </a:lnTo>
                  <a:lnTo>
                    <a:pt x="1817294" y="199530"/>
                  </a:lnTo>
                  <a:lnTo>
                    <a:pt x="1817294" y="197447"/>
                  </a:lnTo>
                  <a:lnTo>
                    <a:pt x="1817294" y="199530"/>
                  </a:lnTo>
                  <a:lnTo>
                    <a:pt x="1817294" y="198831"/>
                  </a:lnTo>
                  <a:lnTo>
                    <a:pt x="1817345" y="198831"/>
                  </a:lnTo>
                  <a:lnTo>
                    <a:pt x="1817447" y="197447"/>
                  </a:lnTo>
                  <a:lnTo>
                    <a:pt x="1817447" y="195415"/>
                  </a:lnTo>
                  <a:lnTo>
                    <a:pt x="1817497" y="195415"/>
                  </a:lnTo>
                  <a:lnTo>
                    <a:pt x="1817497" y="196113"/>
                  </a:lnTo>
                  <a:lnTo>
                    <a:pt x="1817497" y="194716"/>
                  </a:lnTo>
                  <a:lnTo>
                    <a:pt x="1817497" y="196113"/>
                  </a:lnTo>
                  <a:lnTo>
                    <a:pt x="1817548" y="196113"/>
                  </a:lnTo>
                  <a:lnTo>
                    <a:pt x="1817548" y="197447"/>
                  </a:lnTo>
                  <a:lnTo>
                    <a:pt x="1817548" y="196799"/>
                  </a:lnTo>
                  <a:lnTo>
                    <a:pt x="1817548" y="197447"/>
                  </a:lnTo>
                  <a:lnTo>
                    <a:pt x="1817548" y="196799"/>
                  </a:lnTo>
                  <a:lnTo>
                    <a:pt x="1817548" y="197447"/>
                  </a:lnTo>
                  <a:lnTo>
                    <a:pt x="1817650" y="197447"/>
                  </a:lnTo>
                  <a:lnTo>
                    <a:pt x="1817650" y="198831"/>
                  </a:lnTo>
                  <a:lnTo>
                    <a:pt x="1817650" y="197447"/>
                  </a:lnTo>
                  <a:lnTo>
                    <a:pt x="1817688" y="198831"/>
                  </a:lnTo>
                  <a:lnTo>
                    <a:pt x="1817688" y="197447"/>
                  </a:lnTo>
                  <a:lnTo>
                    <a:pt x="1817688" y="198831"/>
                  </a:lnTo>
                  <a:lnTo>
                    <a:pt x="1817688" y="197447"/>
                  </a:lnTo>
                  <a:lnTo>
                    <a:pt x="1817688" y="198831"/>
                  </a:lnTo>
                  <a:lnTo>
                    <a:pt x="1817739" y="198831"/>
                  </a:lnTo>
                  <a:lnTo>
                    <a:pt x="1817739" y="199530"/>
                  </a:lnTo>
                  <a:lnTo>
                    <a:pt x="1817739" y="198831"/>
                  </a:lnTo>
                  <a:lnTo>
                    <a:pt x="1817739" y="199530"/>
                  </a:lnTo>
                  <a:lnTo>
                    <a:pt x="1817739" y="198831"/>
                  </a:lnTo>
                  <a:lnTo>
                    <a:pt x="1817790" y="198831"/>
                  </a:lnTo>
                  <a:lnTo>
                    <a:pt x="1817790" y="199530"/>
                  </a:lnTo>
                  <a:lnTo>
                    <a:pt x="1817790" y="197447"/>
                  </a:lnTo>
                  <a:lnTo>
                    <a:pt x="1817790" y="198831"/>
                  </a:lnTo>
                  <a:lnTo>
                    <a:pt x="1817891" y="198831"/>
                  </a:lnTo>
                  <a:lnTo>
                    <a:pt x="1817891" y="197447"/>
                  </a:lnTo>
                  <a:lnTo>
                    <a:pt x="1817942" y="197447"/>
                  </a:lnTo>
                  <a:lnTo>
                    <a:pt x="1817942" y="194716"/>
                  </a:lnTo>
                  <a:lnTo>
                    <a:pt x="1817993" y="194716"/>
                  </a:lnTo>
                  <a:lnTo>
                    <a:pt x="1817993" y="196113"/>
                  </a:lnTo>
                  <a:lnTo>
                    <a:pt x="1817993" y="194716"/>
                  </a:lnTo>
                  <a:lnTo>
                    <a:pt x="1818094" y="194716"/>
                  </a:lnTo>
                  <a:lnTo>
                    <a:pt x="1818094" y="196799"/>
                  </a:lnTo>
                  <a:lnTo>
                    <a:pt x="1818094" y="196113"/>
                  </a:lnTo>
                  <a:lnTo>
                    <a:pt x="1818145" y="196113"/>
                  </a:lnTo>
                  <a:lnTo>
                    <a:pt x="1818145" y="197447"/>
                  </a:lnTo>
                  <a:lnTo>
                    <a:pt x="1818145" y="196799"/>
                  </a:lnTo>
                  <a:lnTo>
                    <a:pt x="1818145" y="197447"/>
                  </a:lnTo>
                  <a:lnTo>
                    <a:pt x="1818145" y="196799"/>
                  </a:lnTo>
                  <a:lnTo>
                    <a:pt x="1818145" y="197447"/>
                  </a:lnTo>
                  <a:lnTo>
                    <a:pt x="1818196" y="197447"/>
                  </a:lnTo>
                  <a:lnTo>
                    <a:pt x="1818196" y="196799"/>
                  </a:lnTo>
                  <a:lnTo>
                    <a:pt x="1818196" y="197447"/>
                  </a:lnTo>
                  <a:lnTo>
                    <a:pt x="1818196" y="196799"/>
                  </a:lnTo>
                  <a:lnTo>
                    <a:pt x="1818196" y="197447"/>
                  </a:lnTo>
                  <a:lnTo>
                    <a:pt x="1818196" y="196799"/>
                  </a:lnTo>
                  <a:lnTo>
                    <a:pt x="1818196" y="197447"/>
                  </a:lnTo>
                  <a:lnTo>
                    <a:pt x="1818234" y="197447"/>
                  </a:lnTo>
                  <a:lnTo>
                    <a:pt x="1818234" y="198831"/>
                  </a:lnTo>
                  <a:lnTo>
                    <a:pt x="1818234" y="197447"/>
                  </a:lnTo>
                  <a:lnTo>
                    <a:pt x="1818234" y="199530"/>
                  </a:lnTo>
                  <a:lnTo>
                    <a:pt x="1818234" y="198831"/>
                  </a:lnTo>
                  <a:lnTo>
                    <a:pt x="1818336" y="199530"/>
                  </a:lnTo>
                  <a:lnTo>
                    <a:pt x="1818336" y="198831"/>
                  </a:lnTo>
                  <a:lnTo>
                    <a:pt x="1818336" y="199530"/>
                  </a:lnTo>
                  <a:lnTo>
                    <a:pt x="1818336" y="198831"/>
                  </a:lnTo>
                  <a:lnTo>
                    <a:pt x="1818336" y="199530"/>
                  </a:lnTo>
                  <a:lnTo>
                    <a:pt x="1818336" y="198831"/>
                  </a:lnTo>
                  <a:lnTo>
                    <a:pt x="1818336" y="199530"/>
                  </a:lnTo>
                  <a:lnTo>
                    <a:pt x="1818387" y="199530"/>
                  </a:lnTo>
                  <a:lnTo>
                    <a:pt x="1818387" y="197447"/>
                  </a:lnTo>
                  <a:lnTo>
                    <a:pt x="1818437" y="197447"/>
                  </a:lnTo>
                  <a:lnTo>
                    <a:pt x="1818437" y="195415"/>
                  </a:lnTo>
                  <a:lnTo>
                    <a:pt x="1818437" y="196113"/>
                  </a:lnTo>
                  <a:lnTo>
                    <a:pt x="1818437" y="195415"/>
                  </a:lnTo>
                  <a:lnTo>
                    <a:pt x="1818539" y="195415"/>
                  </a:lnTo>
                  <a:lnTo>
                    <a:pt x="1818539" y="196113"/>
                  </a:lnTo>
                  <a:lnTo>
                    <a:pt x="1818539" y="194716"/>
                  </a:lnTo>
                  <a:lnTo>
                    <a:pt x="1818539" y="196113"/>
                  </a:lnTo>
                  <a:lnTo>
                    <a:pt x="1818590" y="196113"/>
                  </a:lnTo>
                  <a:lnTo>
                    <a:pt x="1818590" y="196799"/>
                  </a:lnTo>
                  <a:lnTo>
                    <a:pt x="1818590" y="196113"/>
                  </a:lnTo>
                  <a:lnTo>
                    <a:pt x="1818590" y="196799"/>
                  </a:lnTo>
                  <a:lnTo>
                    <a:pt x="1818640" y="197447"/>
                  </a:lnTo>
                  <a:lnTo>
                    <a:pt x="1818640" y="196113"/>
                  </a:lnTo>
                  <a:lnTo>
                    <a:pt x="1818640" y="196799"/>
                  </a:lnTo>
                  <a:lnTo>
                    <a:pt x="1818640" y="196113"/>
                  </a:lnTo>
                  <a:lnTo>
                    <a:pt x="1818640" y="196799"/>
                  </a:lnTo>
                  <a:lnTo>
                    <a:pt x="1818640" y="196113"/>
                  </a:lnTo>
                  <a:lnTo>
                    <a:pt x="1818691" y="196799"/>
                  </a:lnTo>
                  <a:lnTo>
                    <a:pt x="1818691" y="195415"/>
                  </a:lnTo>
                  <a:lnTo>
                    <a:pt x="1818691" y="196113"/>
                  </a:lnTo>
                  <a:lnTo>
                    <a:pt x="1818780" y="196113"/>
                  </a:lnTo>
                  <a:lnTo>
                    <a:pt x="1818780" y="197447"/>
                  </a:lnTo>
                  <a:lnTo>
                    <a:pt x="1818780" y="196799"/>
                  </a:lnTo>
                  <a:lnTo>
                    <a:pt x="1818780" y="197447"/>
                  </a:lnTo>
                  <a:lnTo>
                    <a:pt x="1818780" y="196799"/>
                  </a:lnTo>
                  <a:lnTo>
                    <a:pt x="1818780" y="197447"/>
                  </a:lnTo>
                  <a:lnTo>
                    <a:pt x="1818780" y="196799"/>
                  </a:lnTo>
                  <a:lnTo>
                    <a:pt x="1818780" y="197447"/>
                  </a:lnTo>
                  <a:lnTo>
                    <a:pt x="1818831" y="197447"/>
                  </a:lnTo>
                  <a:lnTo>
                    <a:pt x="1818831" y="196799"/>
                  </a:lnTo>
                  <a:lnTo>
                    <a:pt x="1818831" y="198831"/>
                  </a:lnTo>
                  <a:lnTo>
                    <a:pt x="1818831" y="197447"/>
                  </a:lnTo>
                  <a:lnTo>
                    <a:pt x="1818831" y="198831"/>
                  </a:lnTo>
                  <a:lnTo>
                    <a:pt x="1818831" y="197447"/>
                  </a:lnTo>
                  <a:lnTo>
                    <a:pt x="1818831" y="198831"/>
                  </a:lnTo>
                  <a:lnTo>
                    <a:pt x="1818882" y="197447"/>
                  </a:lnTo>
                  <a:lnTo>
                    <a:pt x="1818882" y="196799"/>
                  </a:lnTo>
                  <a:lnTo>
                    <a:pt x="1818882" y="197447"/>
                  </a:lnTo>
                  <a:lnTo>
                    <a:pt x="1818882" y="196799"/>
                  </a:lnTo>
                  <a:lnTo>
                    <a:pt x="1818882" y="197447"/>
                  </a:lnTo>
                  <a:lnTo>
                    <a:pt x="1818882" y="196113"/>
                  </a:lnTo>
                  <a:lnTo>
                    <a:pt x="1818933" y="196799"/>
                  </a:lnTo>
                  <a:lnTo>
                    <a:pt x="1818933" y="195415"/>
                  </a:lnTo>
                  <a:lnTo>
                    <a:pt x="1818933" y="196799"/>
                  </a:lnTo>
                  <a:lnTo>
                    <a:pt x="1819034" y="196799"/>
                  </a:lnTo>
                  <a:lnTo>
                    <a:pt x="1819034" y="194716"/>
                  </a:lnTo>
                  <a:lnTo>
                    <a:pt x="1819034" y="199530"/>
                  </a:lnTo>
                  <a:lnTo>
                    <a:pt x="1819034" y="198831"/>
                  </a:lnTo>
                  <a:lnTo>
                    <a:pt x="1819085" y="198831"/>
                  </a:lnTo>
                  <a:lnTo>
                    <a:pt x="1819085" y="196113"/>
                  </a:lnTo>
                  <a:lnTo>
                    <a:pt x="1819085" y="198831"/>
                  </a:lnTo>
                  <a:lnTo>
                    <a:pt x="1819136" y="198831"/>
                  </a:lnTo>
                  <a:lnTo>
                    <a:pt x="1819136" y="197447"/>
                  </a:lnTo>
                  <a:lnTo>
                    <a:pt x="1819136" y="198831"/>
                  </a:lnTo>
                  <a:lnTo>
                    <a:pt x="1819136" y="197447"/>
                  </a:lnTo>
                  <a:lnTo>
                    <a:pt x="1819136" y="198831"/>
                  </a:lnTo>
                  <a:lnTo>
                    <a:pt x="1819136" y="197447"/>
                  </a:lnTo>
                  <a:lnTo>
                    <a:pt x="1819237" y="197447"/>
                  </a:lnTo>
                  <a:lnTo>
                    <a:pt x="1819237" y="196799"/>
                  </a:lnTo>
                  <a:lnTo>
                    <a:pt x="1819237" y="198831"/>
                  </a:lnTo>
                  <a:lnTo>
                    <a:pt x="1819237" y="197447"/>
                  </a:lnTo>
                  <a:lnTo>
                    <a:pt x="1819275" y="198831"/>
                  </a:lnTo>
                  <a:lnTo>
                    <a:pt x="1819275" y="197447"/>
                  </a:lnTo>
                  <a:lnTo>
                    <a:pt x="1819275" y="198831"/>
                  </a:lnTo>
                  <a:lnTo>
                    <a:pt x="1819326" y="198831"/>
                  </a:lnTo>
                  <a:lnTo>
                    <a:pt x="1819326" y="199530"/>
                  </a:lnTo>
                  <a:lnTo>
                    <a:pt x="1819326" y="197447"/>
                  </a:lnTo>
                  <a:lnTo>
                    <a:pt x="1819377" y="197447"/>
                  </a:lnTo>
                  <a:lnTo>
                    <a:pt x="1819377" y="198831"/>
                  </a:lnTo>
                  <a:lnTo>
                    <a:pt x="1819377" y="196113"/>
                  </a:lnTo>
                  <a:lnTo>
                    <a:pt x="1819479" y="196113"/>
                  </a:lnTo>
                  <a:lnTo>
                    <a:pt x="1819479" y="195415"/>
                  </a:lnTo>
                  <a:lnTo>
                    <a:pt x="1819479" y="196799"/>
                  </a:lnTo>
                  <a:lnTo>
                    <a:pt x="1819530" y="196113"/>
                  </a:lnTo>
                  <a:lnTo>
                    <a:pt x="1819530" y="196799"/>
                  </a:lnTo>
                  <a:lnTo>
                    <a:pt x="1819530" y="196113"/>
                  </a:lnTo>
                  <a:lnTo>
                    <a:pt x="1819530" y="200228"/>
                  </a:lnTo>
                  <a:lnTo>
                    <a:pt x="1819530" y="198831"/>
                  </a:lnTo>
                  <a:lnTo>
                    <a:pt x="1819580" y="198831"/>
                  </a:lnTo>
                  <a:lnTo>
                    <a:pt x="1819580" y="199530"/>
                  </a:lnTo>
                  <a:lnTo>
                    <a:pt x="1819580" y="198831"/>
                  </a:lnTo>
                  <a:lnTo>
                    <a:pt x="1819682" y="198831"/>
                  </a:lnTo>
                  <a:lnTo>
                    <a:pt x="1819682" y="199530"/>
                  </a:lnTo>
                  <a:lnTo>
                    <a:pt x="1819682" y="198831"/>
                  </a:lnTo>
                  <a:lnTo>
                    <a:pt x="1819733" y="198831"/>
                  </a:lnTo>
                  <a:lnTo>
                    <a:pt x="1819733" y="199530"/>
                  </a:lnTo>
                  <a:lnTo>
                    <a:pt x="1819822" y="199530"/>
                  </a:lnTo>
                  <a:lnTo>
                    <a:pt x="1819822" y="197447"/>
                  </a:lnTo>
                  <a:lnTo>
                    <a:pt x="1819822" y="198831"/>
                  </a:lnTo>
                  <a:lnTo>
                    <a:pt x="1819822" y="196799"/>
                  </a:lnTo>
                  <a:lnTo>
                    <a:pt x="1819923" y="197447"/>
                  </a:lnTo>
                  <a:lnTo>
                    <a:pt x="1819923" y="196113"/>
                  </a:lnTo>
                  <a:lnTo>
                    <a:pt x="1819923" y="196799"/>
                  </a:lnTo>
                  <a:lnTo>
                    <a:pt x="1819923" y="195415"/>
                  </a:lnTo>
                  <a:lnTo>
                    <a:pt x="1819974" y="195415"/>
                  </a:lnTo>
                  <a:lnTo>
                    <a:pt x="1819974" y="194716"/>
                  </a:lnTo>
                  <a:lnTo>
                    <a:pt x="1819974" y="196113"/>
                  </a:lnTo>
                  <a:lnTo>
                    <a:pt x="1820025" y="196113"/>
                  </a:lnTo>
                  <a:lnTo>
                    <a:pt x="1820025" y="195415"/>
                  </a:lnTo>
                  <a:lnTo>
                    <a:pt x="1820025" y="197447"/>
                  </a:lnTo>
                  <a:lnTo>
                    <a:pt x="1820025" y="196799"/>
                  </a:lnTo>
                  <a:lnTo>
                    <a:pt x="1820126" y="196799"/>
                  </a:lnTo>
                  <a:lnTo>
                    <a:pt x="1820126" y="197447"/>
                  </a:lnTo>
                  <a:lnTo>
                    <a:pt x="1820177" y="196799"/>
                  </a:lnTo>
                  <a:lnTo>
                    <a:pt x="1820177" y="197447"/>
                  </a:lnTo>
                  <a:lnTo>
                    <a:pt x="1820177" y="196799"/>
                  </a:lnTo>
                  <a:lnTo>
                    <a:pt x="1820177" y="198831"/>
                  </a:lnTo>
                  <a:lnTo>
                    <a:pt x="1820228" y="198831"/>
                  </a:lnTo>
                  <a:lnTo>
                    <a:pt x="1820228" y="199530"/>
                  </a:lnTo>
                  <a:lnTo>
                    <a:pt x="1820228" y="198831"/>
                  </a:lnTo>
                  <a:lnTo>
                    <a:pt x="1820228" y="199530"/>
                  </a:lnTo>
                  <a:lnTo>
                    <a:pt x="1820279" y="199530"/>
                  </a:lnTo>
                  <a:lnTo>
                    <a:pt x="1820279" y="200228"/>
                  </a:lnTo>
                  <a:lnTo>
                    <a:pt x="1820279" y="199530"/>
                  </a:lnTo>
                  <a:lnTo>
                    <a:pt x="1820368" y="199530"/>
                  </a:lnTo>
                  <a:lnTo>
                    <a:pt x="1820368" y="198831"/>
                  </a:lnTo>
                  <a:lnTo>
                    <a:pt x="1820368" y="199530"/>
                  </a:lnTo>
                  <a:lnTo>
                    <a:pt x="1820368" y="197447"/>
                  </a:lnTo>
                  <a:lnTo>
                    <a:pt x="1820419" y="197447"/>
                  </a:lnTo>
                  <a:lnTo>
                    <a:pt x="1820419" y="196113"/>
                  </a:lnTo>
                  <a:lnTo>
                    <a:pt x="1820469" y="195415"/>
                  </a:lnTo>
                  <a:lnTo>
                    <a:pt x="1820469" y="194716"/>
                  </a:lnTo>
                  <a:lnTo>
                    <a:pt x="1820469" y="196799"/>
                  </a:lnTo>
                  <a:lnTo>
                    <a:pt x="1820469" y="195415"/>
                  </a:lnTo>
                  <a:lnTo>
                    <a:pt x="1820520" y="195415"/>
                  </a:lnTo>
                  <a:lnTo>
                    <a:pt x="1820520" y="197447"/>
                  </a:lnTo>
                  <a:lnTo>
                    <a:pt x="1820520" y="196799"/>
                  </a:lnTo>
                  <a:lnTo>
                    <a:pt x="1820622" y="196113"/>
                  </a:lnTo>
                  <a:lnTo>
                    <a:pt x="1820622" y="197447"/>
                  </a:lnTo>
                  <a:lnTo>
                    <a:pt x="1820622" y="196799"/>
                  </a:lnTo>
                  <a:lnTo>
                    <a:pt x="1820672" y="196799"/>
                  </a:lnTo>
                  <a:lnTo>
                    <a:pt x="1820672" y="197447"/>
                  </a:lnTo>
                  <a:lnTo>
                    <a:pt x="1820672" y="196799"/>
                  </a:lnTo>
                  <a:lnTo>
                    <a:pt x="1820672" y="197447"/>
                  </a:lnTo>
                  <a:lnTo>
                    <a:pt x="1820723" y="197447"/>
                  </a:lnTo>
                  <a:lnTo>
                    <a:pt x="1820723" y="198831"/>
                  </a:lnTo>
                  <a:lnTo>
                    <a:pt x="1820723" y="197447"/>
                  </a:lnTo>
                  <a:lnTo>
                    <a:pt x="1820723" y="198831"/>
                  </a:lnTo>
                  <a:lnTo>
                    <a:pt x="1820825" y="198831"/>
                  </a:lnTo>
                  <a:lnTo>
                    <a:pt x="1820825" y="199530"/>
                  </a:lnTo>
                  <a:lnTo>
                    <a:pt x="1820825" y="198831"/>
                  </a:lnTo>
                  <a:lnTo>
                    <a:pt x="1820863" y="198831"/>
                  </a:lnTo>
                  <a:lnTo>
                    <a:pt x="1820863" y="199530"/>
                  </a:lnTo>
                  <a:lnTo>
                    <a:pt x="1820863" y="197447"/>
                  </a:lnTo>
                  <a:lnTo>
                    <a:pt x="1820914" y="197447"/>
                  </a:lnTo>
                  <a:lnTo>
                    <a:pt x="1820914" y="196113"/>
                  </a:lnTo>
                  <a:lnTo>
                    <a:pt x="1820914" y="196799"/>
                  </a:lnTo>
                  <a:lnTo>
                    <a:pt x="1820914" y="196113"/>
                  </a:lnTo>
                  <a:lnTo>
                    <a:pt x="1820965" y="196113"/>
                  </a:lnTo>
                  <a:lnTo>
                    <a:pt x="1820965" y="194716"/>
                  </a:lnTo>
                  <a:lnTo>
                    <a:pt x="1820965" y="196113"/>
                  </a:lnTo>
                  <a:lnTo>
                    <a:pt x="1820965" y="195415"/>
                  </a:lnTo>
                  <a:lnTo>
                    <a:pt x="1821066" y="195415"/>
                  </a:lnTo>
                  <a:lnTo>
                    <a:pt x="1821066" y="194716"/>
                  </a:lnTo>
                  <a:lnTo>
                    <a:pt x="1821066" y="197447"/>
                  </a:lnTo>
                  <a:lnTo>
                    <a:pt x="1821066" y="196113"/>
                  </a:lnTo>
                  <a:lnTo>
                    <a:pt x="1821117" y="196113"/>
                  </a:lnTo>
                  <a:lnTo>
                    <a:pt x="1821117" y="195415"/>
                  </a:lnTo>
                  <a:lnTo>
                    <a:pt x="1821117" y="196799"/>
                  </a:lnTo>
                  <a:lnTo>
                    <a:pt x="1821168" y="196799"/>
                  </a:lnTo>
                  <a:lnTo>
                    <a:pt x="1821168" y="196113"/>
                  </a:lnTo>
                  <a:lnTo>
                    <a:pt x="1821168" y="196799"/>
                  </a:lnTo>
                  <a:lnTo>
                    <a:pt x="1821168" y="196113"/>
                  </a:lnTo>
                  <a:lnTo>
                    <a:pt x="1821168" y="197447"/>
                  </a:lnTo>
                  <a:lnTo>
                    <a:pt x="1821269" y="197447"/>
                  </a:lnTo>
                  <a:lnTo>
                    <a:pt x="1821269" y="198831"/>
                  </a:lnTo>
                  <a:lnTo>
                    <a:pt x="1821269" y="197447"/>
                  </a:lnTo>
                  <a:lnTo>
                    <a:pt x="1821269" y="198831"/>
                  </a:lnTo>
                  <a:lnTo>
                    <a:pt x="1821320" y="198831"/>
                  </a:lnTo>
                  <a:lnTo>
                    <a:pt x="1821320" y="199530"/>
                  </a:lnTo>
                  <a:lnTo>
                    <a:pt x="1821320" y="198831"/>
                  </a:lnTo>
                  <a:lnTo>
                    <a:pt x="1821320" y="199530"/>
                  </a:lnTo>
                  <a:lnTo>
                    <a:pt x="1821320" y="198831"/>
                  </a:lnTo>
                  <a:lnTo>
                    <a:pt x="1821371" y="198831"/>
                  </a:lnTo>
                  <a:lnTo>
                    <a:pt x="1821371" y="197447"/>
                  </a:lnTo>
                  <a:lnTo>
                    <a:pt x="1821371" y="198831"/>
                  </a:lnTo>
                  <a:lnTo>
                    <a:pt x="1821371" y="197447"/>
                  </a:lnTo>
                  <a:lnTo>
                    <a:pt x="1821371" y="198831"/>
                  </a:lnTo>
                  <a:lnTo>
                    <a:pt x="1821371" y="197447"/>
                  </a:lnTo>
                  <a:lnTo>
                    <a:pt x="1821409" y="197447"/>
                  </a:lnTo>
                  <a:lnTo>
                    <a:pt x="1821409" y="196799"/>
                  </a:lnTo>
                  <a:lnTo>
                    <a:pt x="1821409" y="197447"/>
                  </a:lnTo>
                  <a:lnTo>
                    <a:pt x="1821409" y="196113"/>
                  </a:lnTo>
                  <a:lnTo>
                    <a:pt x="1821409" y="196799"/>
                  </a:lnTo>
                  <a:lnTo>
                    <a:pt x="1821409" y="196113"/>
                  </a:lnTo>
                  <a:lnTo>
                    <a:pt x="1821511" y="196113"/>
                  </a:lnTo>
                  <a:lnTo>
                    <a:pt x="1821511" y="196799"/>
                  </a:lnTo>
                  <a:lnTo>
                    <a:pt x="1821511" y="195415"/>
                  </a:lnTo>
                  <a:lnTo>
                    <a:pt x="1821562" y="195415"/>
                  </a:lnTo>
                  <a:lnTo>
                    <a:pt x="1821562" y="198831"/>
                  </a:lnTo>
                  <a:lnTo>
                    <a:pt x="1821562" y="196113"/>
                  </a:lnTo>
                  <a:lnTo>
                    <a:pt x="1821612" y="196113"/>
                  </a:lnTo>
                  <a:lnTo>
                    <a:pt x="1821612" y="197447"/>
                  </a:lnTo>
                  <a:lnTo>
                    <a:pt x="1821612" y="196113"/>
                  </a:lnTo>
                  <a:lnTo>
                    <a:pt x="1821612" y="196799"/>
                  </a:lnTo>
                  <a:lnTo>
                    <a:pt x="1821714" y="196799"/>
                  </a:lnTo>
                  <a:lnTo>
                    <a:pt x="1821714" y="197447"/>
                  </a:lnTo>
                  <a:lnTo>
                    <a:pt x="1821714" y="196799"/>
                  </a:lnTo>
                  <a:lnTo>
                    <a:pt x="1821714" y="197447"/>
                  </a:lnTo>
                  <a:lnTo>
                    <a:pt x="1821714" y="196799"/>
                  </a:lnTo>
                  <a:lnTo>
                    <a:pt x="1821765" y="196799"/>
                  </a:lnTo>
                  <a:lnTo>
                    <a:pt x="1821765" y="198831"/>
                  </a:lnTo>
                  <a:lnTo>
                    <a:pt x="1821815" y="198831"/>
                  </a:lnTo>
                  <a:lnTo>
                    <a:pt x="1821815" y="197447"/>
                  </a:lnTo>
                  <a:lnTo>
                    <a:pt x="1821815" y="198831"/>
                  </a:lnTo>
                  <a:lnTo>
                    <a:pt x="1821815" y="197447"/>
                  </a:lnTo>
                  <a:lnTo>
                    <a:pt x="1821815" y="198831"/>
                  </a:lnTo>
                  <a:lnTo>
                    <a:pt x="1821815" y="197447"/>
                  </a:lnTo>
                  <a:lnTo>
                    <a:pt x="1821866" y="197447"/>
                  </a:lnTo>
                  <a:lnTo>
                    <a:pt x="1821866" y="198831"/>
                  </a:lnTo>
                  <a:lnTo>
                    <a:pt x="1821866" y="196799"/>
                  </a:lnTo>
                  <a:lnTo>
                    <a:pt x="1821866" y="197447"/>
                  </a:lnTo>
                  <a:lnTo>
                    <a:pt x="1821955" y="197447"/>
                  </a:lnTo>
                  <a:lnTo>
                    <a:pt x="1821955" y="198831"/>
                  </a:lnTo>
                  <a:lnTo>
                    <a:pt x="1821955" y="196113"/>
                  </a:lnTo>
                  <a:lnTo>
                    <a:pt x="1821955" y="197447"/>
                  </a:lnTo>
                  <a:lnTo>
                    <a:pt x="1822006" y="198831"/>
                  </a:lnTo>
                  <a:lnTo>
                    <a:pt x="1822006" y="199530"/>
                  </a:lnTo>
                  <a:lnTo>
                    <a:pt x="1822006" y="196113"/>
                  </a:lnTo>
                  <a:lnTo>
                    <a:pt x="1822006" y="199530"/>
                  </a:lnTo>
                  <a:lnTo>
                    <a:pt x="1822057" y="199530"/>
                  </a:lnTo>
                  <a:lnTo>
                    <a:pt x="1822057" y="197447"/>
                  </a:lnTo>
                  <a:lnTo>
                    <a:pt x="1822057" y="198831"/>
                  </a:lnTo>
                  <a:lnTo>
                    <a:pt x="1822108" y="198831"/>
                  </a:lnTo>
                  <a:lnTo>
                    <a:pt x="1822108" y="199530"/>
                  </a:lnTo>
                  <a:lnTo>
                    <a:pt x="1822108" y="198831"/>
                  </a:lnTo>
                  <a:lnTo>
                    <a:pt x="1822108" y="199530"/>
                  </a:lnTo>
                  <a:lnTo>
                    <a:pt x="1822209" y="199530"/>
                  </a:lnTo>
                  <a:lnTo>
                    <a:pt x="1822209" y="198831"/>
                  </a:lnTo>
                  <a:lnTo>
                    <a:pt x="1822209" y="199530"/>
                  </a:lnTo>
                  <a:lnTo>
                    <a:pt x="1822260" y="199530"/>
                  </a:lnTo>
                  <a:lnTo>
                    <a:pt x="1822260" y="198831"/>
                  </a:lnTo>
                  <a:lnTo>
                    <a:pt x="1822260" y="199530"/>
                  </a:lnTo>
                  <a:lnTo>
                    <a:pt x="1822260" y="198831"/>
                  </a:lnTo>
                  <a:lnTo>
                    <a:pt x="1822260" y="199530"/>
                  </a:lnTo>
                  <a:lnTo>
                    <a:pt x="1822260" y="198831"/>
                  </a:lnTo>
                  <a:lnTo>
                    <a:pt x="1822260" y="199530"/>
                  </a:lnTo>
                  <a:lnTo>
                    <a:pt x="1822260" y="198831"/>
                  </a:lnTo>
                  <a:lnTo>
                    <a:pt x="1822260" y="199530"/>
                  </a:lnTo>
                  <a:lnTo>
                    <a:pt x="1822311" y="198831"/>
                  </a:lnTo>
                  <a:lnTo>
                    <a:pt x="1822311" y="197447"/>
                  </a:lnTo>
                  <a:lnTo>
                    <a:pt x="1822311" y="198831"/>
                  </a:lnTo>
                  <a:lnTo>
                    <a:pt x="1822311" y="197447"/>
                  </a:lnTo>
                  <a:lnTo>
                    <a:pt x="1822311" y="198831"/>
                  </a:lnTo>
                  <a:lnTo>
                    <a:pt x="1822412" y="197447"/>
                  </a:lnTo>
                  <a:lnTo>
                    <a:pt x="1822412" y="198831"/>
                  </a:lnTo>
                  <a:lnTo>
                    <a:pt x="1822412" y="197447"/>
                  </a:lnTo>
                  <a:lnTo>
                    <a:pt x="1822412" y="198831"/>
                  </a:lnTo>
                  <a:lnTo>
                    <a:pt x="1822412" y="197447"/>
                  </a:lnTo>
                  <a:lnTo>
                    <a:pt x="1822450" y="196799"/>
                  </a:lnTo>
                  <a:lnTo>
                    <a:pt x="1822450" y="197447"/>
                  </a:lnTo>
                  <a:lnTo>
                    <a:pt x="1822450" y="196113"/>
                  </a:lnTo>
                  <a:lnTo>
                    <a:pt x="1822450" y="196799"/>
                  </a:lnTo>
                  <a:lnTo>
                    <a:pt x="1822450" y="196113"/>
                  </a:lnTo>
                  <a:lnTo>
                    <a:pt x="1822450" y="198831"/>
                  </a:lnTo>
                  <a:lnTo>
                    <a:pt x="1822450" y="197447"/>
                  </a:lnTo>
                  <a:lnTo>
                    <a:pt x="1822501" y="197447"/>
                  </a:lnTo>
                  <a:lnTo>
                    <a:pt x="1822501" y="196799"/>
                  </a:lnTo>
                  <a:lnTo>
                    <a:pt x="1822501" y="199530"/>
                  </a:lnTo>
                  <a:lnTo>
                    <a:pt x="1822552" y="198831"/>
                  </a:lnTo>
                  <a:lnTo>
                    <a:pt x="1822552" y="197447"/>
                  </a:lnTo>
                  <a:lnTo>
                    <a:pt x="1822552" y="199530"/>
                  </a:lnTo>
                  <a:lnTo>
                    <a:pt x="1822552" y="198831"/>
                  </a:lnTo>
                  <a:lnTo>
                    <a:pt x="1822654" y="198831"/>
                  </a:lnTo>
                  <a:lnTo>
                    <a:pt x="1822654" y="197447"/>
                  </a:lnTo>
                  <a:lnTo>
                    <a:pt x="1822654" y="199530"/>
                  </a:lnTo>
                  <a:lnTo>
                    <a:pt x="1822705" y="199530"/>
                  </a:lnTo>
                  <a:lnTo>
                    <a:pt x="1822705" y="200228"/>
                  </a:lnTo>
                  <a:lnTo>
                    <a:pt x="1822705" y="199530"/>
                  </a:lnTo>
                  <a:lnTo>
                    <a:pt x="1822705" y="200228"/>
                  </a:lnTo>
                  <a:lnTo>
                    <a:pt x="1822705" y="199530"/>
                  </a:lnTo>
                  <a:lnTo>
                    <a:pt x="1822755" y="199530"/>
                  </a:lnTo>
                  <a:lnTo>
                    <a:pt x="1822755" y="198831"/>
                  </a:lnTo>
                  <a:lnTo>
                    <a:pt x="1822857" y="198831"/>
                  </a:lnTo>
                  <a:lnTo>
                    <a:pt x="1822857" y="199530"/>
                  </a:lnTo>
                  <a:lnTo>
                    <a:pt x="1822857" y="197447"/>
                  </a:lnTo>
                  <a:lnTo>
                    <a:pt x="1822857" y="198831"/>
                  </a:lnTo>
                  <a:lnTo>
                    <a:pt x="1822857" y="197447"/>
                  </a:lnTo>
                  <a:lnTo>
                    <a:pt x="1822857" y="198831"/>
                  </a:lnTo>
                  <a:lnTo>
                    <a:pt x="1822857" y="197447"/>
                  </a:lnTo>
                  <a:lnTo>
                    <a:pt x="1822908" y="197447"/>
                  </a:lnTo>
                  <a:lnTo>
                    <a:pt x="1822908" y="196799"/>
                  </a:lnTo>
                  <a:lnTo>
                    <a:pt x="1822908" y="197447"/>
                  </a:lnTo>
                  <a:lnTo>
                    <a:pt x="1822908" y="196799"/>
                  </a:lnTo>
                  <a:lnTo>
                    <a:pt x="1822908" y="197447"/>
                  </a:lnTo>
                  <a:lnTo>
                    <a:pt x="1822908" y="196799"/>
                  </a:lnTo>
                  <a:lnTo>
                    <a:pt x="1822959" y="196799"/>
                  </a:lnTo>
                  <a:lnTo>
                    <a:pt x="1822959" y="196113"/>
                  </a:lnTo>
                  <a:lnTo>
                    <a:pt x="1822959" y="198831"/>
                  </a:lnTo>
                  <a:lnTo>
                    <a:pt x="1822959" y="196113"/>
                  </a:lnTo>
                  <a:lnTo>
                    <a:pt x="1822997" y="196113"/>
                  </a:lnTo>
                  <a:lnTo>
                    <a:pt x="1822997" y="199530"/>
                  </a:lnTo>
                  <a:lnTo>
                    <a:pt x="1822997" y="197447"/>
                  </a:lnTo>
                  <a:lnTo>
                    <a:pt x="1823098" y="197447"/>
                  </a:lnTo>
                  <a:lnTo>
                    <a:pt x="1823098" y="199530"/>
                  </a:lnTo>
                  <a:lnTo>
                    <a:pt x="1823098" y="198831"/>
                  </a:lnTo>
                  <a:lnTo>
                    <a:pt x="1823149" y="198831"/>
                  </a:lnTo>
                  <a:lnTo>
                    <a:pt x="1823149" y="200228"/>
                  </a:lnTo>
                  <a:lnTo>
                    <a:pt x="1823149" y="199530"/>
                  </a:lnTo>
                  <a:lnTo>
                    <a:pt x="1823149" y="200228"/>
                  </a:lnTo>
                  <a:lnTo>
                    <a:pt x="1823149" y="199530"/>
                  </a:lnTo>
                  <a:lnTo>
                    <a:pt x="1823149" y="200228"/>
                  </a:lnTo>
                  <a:lnTo>
                    <a:pt x="1823301" y="200228"/>
                  </a:lnTo>
                  <a:lnTo>
                    <a:pt x="1823301" y="199530"/>
                  </a:lnTo>
                  <a:lnTo>
                    <a:pt x="1823301" y="200228"/>
                  </a:lnTo>
                  <a:lnTo>
                    <a:pt x="1823301" y="199530"/>
                  </a:lnTo>
                  <a:lnTo>
                    <a:pt x="1823301" y="200228"/>
                  </a:lnTo>
                  <a:lnTo>
                    <a:pt x="1823301" y="199530"/>
                  </a:lnTo>
                  <a:lnTo>
                    <a:pt x="1823301" y="200228"/>
                  </a:lnTo>
                  <a:lnTo>
                    <a:pt x="1823301" y="199530"/>
                  </a:lnTo>
                  <a:lnTo>
                    <a:pt x="1823352" y="199530"/>
                  </a:lnTo>
                  <a:lnTo>
                    <a:pt x="1823352" y="198831"/>
                  </a:lnTo>
                  <a:lnTo>
                    <a:pt x="1823352" y="199530"/>
                  </a:lnTo>
                  <a:lnTo>
                    <a:pt x="1823352" y="197447"/>
                  </a:lnTo>
                  <a:lnTo>
                    <a:pt x="1823352" y="198831"/>
                  </a:lnTo>
                  <a:lnTo>
                    <a:pt x="1823352" y="197447"/>
                  </a:lnTo>
                  <a:lnTo>
                    <a:pt x="1823352" y="198831"/>
                  </a:lnTo>
                  <a:lnTo>
                    <a:pt x="1823403" y="198831"/>
                  </a:lnTo>
                  <a:lnTo>
                    <a:pt x="1823403" y="197447"/>
                  </a:lnTo>
                  <a:lnTo>
                    <a:pt x="1823403" y="198831"/>
                  </a:lnTo>
                  <a:lnTo>
                    <a:pt x="1823454" y="199530"/>
                  </a:lnTo>
                  <a:lnTo>
                    <a:pt x="1823454" y="197447"/>
                  </a:lnTo>
                  <a:lnTo>
                    <a:pt x="1823454" y="198831"/>
                  </a:lnTo>
                  <a:lnTo>
                    <a:pt x="1823454" y="196799"/>
                  </a:lnTo>
                  <a:lnTo>
                    <a:pt x="1823454" y="200228"/>
                  </a:lnTo>
                  <a:lnTo>
                    <a:pt x="1823454" y="199530"/>
                  </a:lnTo>
                  <a:lnTo>
                    <a:pt x="1823543" y="199530"/>
                  </a:lnTo>
                  <a:lnTo>
                    <a:pt x="1823543" y="198831"/>
                  </a:lnTo>
                  <a:lnTo>
                    <a:pt x="1823543" y="200228"/>
                  </a:lnTo>
                  <a:lnTo>
                    <a:pt x="1823543" y="199530"/>
                  </a:lnTo>
                  <a:lnTo>
                    <a:pt x="1823594" y="199530"/>
                  </a:lnTo>
                  <a:lnTo>
                    <a:pt x="1823594" y="200228"/>
                  </a:lnTo>
                  <a:lnTo>
                    <a:pt x="1823594" y="199530"/>
                  </a:lnTo>
                  <a:lnTo>
                    <a:pt x="1823594" y="200228"/>
                  </a:lnTo>
                  <a:lnTo>
                    <a:pt x="1823594" y="199530"/>
                  </a:lnTo>
                  <a:lnTo>
                    <a:pt x="1823594" y="200228"/>
                  </a:lnTo>
                  <a:lnTo>
                    <a:pt x="1823594" y="199530"/>
                  </a:lnTo>
                  <a:lnTo>
                    <a:pt x="1823594" y="200228"/>
                  </a:lnTo>
                  <a:lnTo>
                    <a:pt x="1823594" y="199530"/>
                  </a:lnTo>
                  <a:lnTo>
                    <a:pt x="1823644" y="200228"/>
                  </a:lnTo>
                  <a:lnTo>
                    <a:pt x="1823644" y="199530"/>
                  </a:lnTo>
                  <a:lnTo>
                    <a:pt x="1823644" y="200228"/>
                  </a:lnTo>
                  <a:lnTo>
                    <a:pt x="1823695" y="200228"/>
                  </a:lnTo>
                  <a:lnTo>
                    <a:pt x="1823695" y="199530"/>
                  </a:lnTo>
                  <a:lnTo>
                    <a:pt x="1823695" y="200228"/>
                  </a:lnTo>
                  <a:lnTo>
                    <a:pt x="1823695" y="199530"/>
                  </a:lnTo>
                  <a:lnTo>
                    <a:pt x="1823695" y="200228"/>
                  </a:lnTo>
                  <a:lnTo>
                    <a:pt x="1823797" y="200228"/>
                  </a:lnTo>
                  <a:lnTo>
                    <a:pt x="1823797" y="199530"/>
                  </a:lnTo>
                  <a:lnTo>
                    <a:pt x="1823797" y="200228"/>
                  </a:lnTo>
                  <a:lnTo>
                    <a:pt x="1823797" y="199530"/>
                  </a:lnTo>
                  <a:lnTo>
                    <a:pt x="1823797" y="200228"/>
                  </a:lnTo>
                  <a:lnTo>
                    <a:pt x="1823797" y="199530"/>
                  </a:lnTo>
                  <a:lnTo>
                    <a:pt x="1823797" y="200228"/>
                  </a:lnTo>
                  <a:lnTo>
                    <a:pt x="1823797" y="199530"/>
                  </a:lnTo>
                  <a:lnTo>
                    <a:pt x="1823847" y="199530"/>
                  </a:lnTo>
                  <a:lnTo>
                    <a:pt x="1823847" y="196799"/>
                  </a:lnTo>
                  <a:lnTo>
                    <a:pt x="1823898" y="196799"/>
                  </a:lnTo>
                  <a:lnTo>
                    <a:pt x="1823898" y="196113"/>
                  </a:lnTo>
                  <a:lnTo>
                    <a:pt x="1823898" y="198831"/>
                  </a:lnTo>
                  <a:lnTo>
                    <a:pt x="1823898" y="197447"/>
                  </a:lnTo>
                  <a:lnTo>
                    <a:pt x="1824000" y="196799"/>
                  </a:lnTo>
                  <a:lnTo>
                    <a:pt x="1824000" y="196113"/>
                  </a:lnTo>
                  <a:lnTo>
                    <a:pt x="1824000" y="199530"/>
                  </a:lnTo>
                  <a:lnTo>
                    <a:pt x="1824000" y="198831"/>
                  </a:lnTo>
                  <a:lnTo>
                    <a:pt x="1824038" y="198831"/>
                  </a:lnTo>
                  <a:lnTo>
                    <a:pt x="1824038" y="197447"/>
                  </a:lnTo>
                  <a:lnTo>
                    <a:pt x="1824038" y="199530"/>
                  </a:lnTo>
                  <a:lnTo>
                    <a:pt x="1824089" y="199530"/>
                  </a:lnTo>
                  <a:lnTo>
                    <a:pt x="1824089" y="200228"/>
                  </a:lnTo>
                  <a:lnTo>
                    <a:pt x="1824089" y="199530"/>
                  </a:lnTo>
                  <a:lnTo>
                    <a:pt x="1824089" y="200228"/>
                  </a:lnTo>
                  <a:lnTo>
                    <a:pt x="1824241" y="200228"/>
                  </a:lnTo>
                  <a:lnTo>
                    <a:pt x="1824241" y="199530"/>
                  </a:lnTo>
                  <a:lnTo>
                    <a:pt x="1824343" y="199530"/>
                  </a:lnTo>
                  <a:lnTo>
                    <a:pt x="1824343" y="198831"/>
                  </a:lnTo>
                  <a:lnTo>
                    <a:pt x="1824343" y="199530"/>
                  </a:lnTo>
                  <a:lnTo>
                    <a:pt x="1824343" y="196799"/>
                  </a:lnTo>
                  <a:lnTo>
                    <a:pt x="1824444" y="196799"/>
                  </a:lnTo>
                  <a:lnTo>
                    <a:pt x="1824444" y="197447"/>
                  </a:lnTo>
                  <a:lnTo>
                    <a:pt x="1824444" y="196113"/>
                  </a:lnTo>
                  <a:lnTo>
                    <a:pt x="1824495" y="196113"/>
                  </a:lnTo>
                  <a:lnTo>
                    <a:pt x="1824495" y="198831"/>
                  </a:lnTo>
                  <a:lnTo>
                    <a:pt x="1824495" y="196113"/>
                  </a:lnTo>
                  <a:lnTo>
                    <a:pt x="1824546" y="196799"/>
                  </a:lnTo>
                  <a:lnTo>
                    <a:pt x="1824546" y="198831"/>
                  </a:lnTo>
                  <a:lnTo>
                    <a:pt x="1824546" y="197447"/>
                  </a:lnTo>
                  <a:lnTo>
                    <a:pt x="1824584" y="197447"/>
                  </a:lnTo>
                  <a:lnTo>
                    <a:pt x="1824584" y="199530"/>
                  </a:lnTo>
                  <a:lnTo>
                    <a:pt x="1824584" y="198831"/>
                  </a:lnTo>
                  <a:lnTo>
                    <a:pt x="1824584" y="199530"/>
                  </a:lnTo>
                  <a:lnTo>
                    <a:pt x="1824584" y="198831"/>
                  </a:lnTo>
                  <a:lnTo>
                    <a:pt x="1824686" y="198831"/>
                  </a:lnTo>
                  <a:lnTo>
                    <a:pt x="1824686" y="199530"/>
                  </a:lnTo>
                  <a:lnTo>
                    <a:pt x="1824686" y="198831"/>
                  </a:lnTo>
                  <a:lnTo>
                    <a:pt x="1824737" y="198831"/>
                  </a:lnTo>
                  <a:lnTo>
                    <a:pt x="1824737" y="199530"/>
                  </a:lnTo>
                  <a:lnTo>
                    <a:pt x="1824737" y="198831"/>
                  </a:lnTo>
                  <a:lnTo>
                    <a:pt x="1824787" y="198831"/>
                  </a:lnTo>
                  <a:lnTo>
                    <a:pt x="1824787" y="199530"/>
                  </a:lnTo>
                  <a:lnTo>
                    <a:pt x="1824787" y="198831"/>
                  </a:lnTo>
                  <a:lnTo>
                    <a:pt x="1824787" y="199530"/>
                  </a:lnTo>
                  <a:lnTo>
                    <a:pt x="1824787" y="198831"/>
                  </a:lnTo>
                  <a:lnTo>
                    <a:pt x="1824889" y="197447"/>
                  </a:lnTo>
                  <a:lnTo>
                    <a:pt x="1824889" y="196113"/>
                  </a:lnTo>
                  <a:lnTo>
                    <a:pt x="1824889" y="196799"/>
                  </a:lnTo>
                  <a:lnTo>
                    <a:pt x="1824940" y="197447"/>
                  </a:lnTo>
                  <a:lnTo>
                    <a:pt x="1824940" y="196113"/>
                  </a:lnTo>
                  <a:lnTo>
                    <a:pt x="1824940" y="199530"/>
                  </a:lnTo>
                  <a:lnTo>
                    <a:pt x="1824990" y="199530"/>
                  </a:lnTo>
                  <a:lnTo>
                    <a:pt x="1824990" y="196799"/>
                  </a:lnTo>
                  <a:lnTo>
                    <a:pt x="1824990" y="199530"/>
                  </a:lnTo>
                  <a:lnTo>
                    <a:pt x="1825041" y="199530"/>
                  </a:lnTo>
                  <a:lnTo>
                    <a:pt x="1825041" y="197447"/>
                  </a:lnTo>
                  <a:lnTo>
                    <a:pt x="1825041" y="199530"/>
                  </a:lnTo>
                  <a:lnTo>
                    <a:pt x="1825041" y="198831"/>
                  </a:lnTo>
                  <a:lnTo>
                    <a:pt x="1825041" y="199530"/>
                  </a:lnTo>
                  <a:lnTo>
                    <a:pt x="1825130" y="199530"/>
                  </a:lnTo>
                  <a:lnTo>
                    <a:pt x="1825130" y="198831"/>
                  </a:lnTo>
                  <a:lnTo>
                    <a:pt x="1825130" y="199530"/>
                  </a:lnTo>
                  <a:lnTo>
                    <a:pt x="1825130" y="198831"/>
                  </a:lnTo>
                  <a:lnTo>
                    <a:pt x="1825130" y="199530"/>
                  </a:lnTo>
                  <a:lnTo>
                    <a:pt x="1825130" y="198831"/>
                  </a:lnTo>
                  <a:lnTo>
                    <a:pt x="1825130" y="200228"/>
                  </a:lnTo>
                  <a:lnTo>
                    <a:pt x="1825130" y="199530"/>
                  </a:lnTo>
                  <a:lnTo>
                    <a:pt x="1825181" y="198831"/>
                  </a:lnTo>
                  <a:lnTo>
                    <a:pt x="1825181" y="200228"/>
                  </a:lnTo>
                  <a:lnTo>
                    <a:pt x="1825181" y="199530"/>
                  </a:lnTo>
                  <a:lnTo>
                    <a:pt x="1825283" y="199530"/>
                  </a:lnTo>
                  <a:lnTo>
                    <a:pt x="1825283" y="198831"/>
                  </a:lnTo>
                  <a:lnTo>
                    <a:pt x="1825283" y="199530"/>
                  </a:lnTo>
                  <a:lnTo>
                    <a:pt x="1825283" y="197447"/>
                  </a:lnTo>
                  <a:lnTo>
                    <a:pt x="1825283" y="198831"/>
                  </a:lnTo>
                  <a:lnTo>
                    <a:pt x="1825384" y="197447"/>
                  </a:lnTo>
                  <a:lnTo>
                    <a:pt x="1825384" y="198831"/>
                  </a:lnTo>
                  <a:lnTo>
                    <a:pt x="1825384" y="196799"/>
                  </a:lnTo>
                  <a:lnTo>
                    <a:pt x="1825384" y="199530"/>
                  </a:lnTo>
                  <a:lnTo>
                    <a:pt x="1825384" y="198831"/>
                  </a:lnTo>
                  <a:lnTo>
                    <a:pt x="1825435" y="198831"/>
                  </a:lnTo>
                  <a:lnTo>
                    <a:pt x="1825435" y="196799"/>
                  </a:lnTo>
                  <a:lnTo>
                    <a:pt x="1825435" y="200228"/>
                  </a:lnTo>
                  <a:lnTo>
                    <a:pt x="1825435" y="199530"/>
                  </a:lnTo>
                  <a:lnTo>
                    <a:pt x="1825486" y="199530"/>
                  </a:lnTo>
                  <a:lnTo>
                    <a:pt x="1825486" y="198831"/>
                  </a:lnTo>
                  <a:lnTo>
                    <a:pt x="1825486" y="200228"/>
                  </a:lnTo>
                  <a:lnTo>
                    <a:pt x="1825486" y="199530"/>
                  </a:lnTo>
                  <a:lnTo>
                    <a:pt x="1825587" y="199530"/>
                  </a:lnTo>
                  <a:lnTo>
                    <a:pt x="1825587" y="200228"/>
                  </a:lnTo>
                  <a:lnTo>
                    <a:pt x="1825587" y="199530"/>
                  </a:lnTo>
                  <a:lnTo>
                    <a:pt x="1825625" y="199530"/>
                  </a:lnTo>
                  <a:lnTo>
                    <a:pt x="1825625" y="200228"/>
                  </a:lnTo>
                  <a:lnTo>
                    <a:pt x="1825625" y="199530"/>
                  </a:lnTo>
                  <a:lnTo>
                    <a:pt x="1825625" y="200228"/>
                  </a:lnTo>
                  <a:lnTo>
                    <a:pt x="1825625" y="199530"/>
                  </a:lnTo>
                  <a:lnTo>
                    <a:pt x="1825676" y="199530"/>
                  </a:lnTo>
                  <a:lnTo>
                    <a:pt x="1825676" y="200228"/>
                  </a:lnTo>
                  <a:lnTo>
                    <a:pt x="1825676" y="198831"/>
                  </a:lnTo>
                  <a:lnTo>
                    <a:pt x="1825676" y="199530"/>
                  </a:lnTo>
                  <a:lnTo>
                    <a:pt x="1825727" y="199530"/>
                  </a:lnTo>
                  <a:lnTo>
                    <a:pt x="1825727" y="198831"/>
                  </a:lnTo>
                  <a:lnTo>
                    <a:pt x="1825727" y="199530"/>
                  </a:lnTo>
                  <a:lnTo>
                    <a:pt x="1825727" y="197447"/>
                  </a:lnTo>
                  <a:lnTo>
                    <a:pt x="1825727" y="199530"/>
                  </a:lnTo>
                  <a:lnTo>
                    <a:pt x="1825727" y="198831"/>
                  </a:lnTo>
                  <a:lnTo>
                    <a:pt x="1825829" y="198831"/>
                  </a:lnTo>
                  <a:lnTo>
                    <a:pt x="1825829" y="197447"/>
                  </a:lnTo>
                  <a:lnTo>
                    <a:pt x="1825829" y="198831"/>
                  </a:lnTo>
                  <a:lnTo>
                    <a:pt x="1825829" y="197447"/>
                  </a:lnTo>
                  <a:lnTo>
                    <a:pt x="1825829" y="198831"/>
                  </a:lnTo>
                  <a:lnTo>
                    <a:pt x="1825829" y="196799"/>
                  </a:lnTo>
                  <a:lnTo>
                    <a:pt x="1825880" y="196799"/>
                  </a:lnTo>
                  <a:lnTo>
                    <a:pt x="1825880" y="196113"/>
                  </a:lnTo>
                  <a:lnTo>
                    <a:pt x="1825880" y="197447"/>
                  </a:lnTo>
                  <a:lnTo>
                    <a:pt x="1825880" y="196113"/>
                  </a:lnTo>
                  <a:lnTo>
                    <a:pt x="1825930" y="196113"/>
                  </a:lnTo>
                  <a:lnTo>
                    <a:pt x="1825930" y="199530"/>
                  </a:lnTo>
                  <a:lnTo>
                    <a:pt x="1825930" y="197447"/>
                  </a:lnTo>
                  <a:lnTo>
                    <a:pt x="1826032" y="197447"/>
                  </a:lnTo>
                  <a:lnTo>
                    <a:pt x="1826032" y="199530"/>
                  </a:lnTo>
                  <a:lnTo>
                    <a:pt x="1826032" y="198831"/>
                  </a:lnTo>
                  <a:lnTo>
                    <a:pt x="1826032" y="199530"/>
                  </a:lnTo>
                  <a:lnTo>
                    <a:pt x="1826032" y="198831"/>
                  </a:lnTo>
                  <a:lnTo>
                    <a:pt x="1826083" y="199530"/>
                  </a:lnTo>
                  <a:lnTo>
                    <a:pt x="1826083" y="200228"/>
                  </a:lnTo>
                  <a:lnTo>
                    <a:pt x="1826083" y="199530"/>
                  </a:lnTo>
                  <a:lnTo>
                    <a:pt x="1826083" y="200228"/>
                  </a:lnTo>
                  <a:lnTo>
                    <a:pt x="1826083" y="199530"/>
                  </a:lnTo>
                  <a:lnTo>
                    <a:pt x="1826134" y="199530"/>
                  </a:lnTo>
                  <a:lnTo>
                    <a:pt x="1826134" y="200228"/>
                  </a:lnTo>
                  <a:lnTo>
                    <a:pt x="1826134" y="199530"/>
                  </a:lnTo>
                  <a:lnTo>
                    <a:pt x="1826134" y="200228"/>
                  </a:lnTo>
                  <a:lnTo>
                    <a:pt x="1826134" y="198831"/>
                  </a:lnTo>
                  <a:lnTo>
                    <a:pt x="1826134" y="199530"/>
                  </a:lnTo>
                  <a:lnTo>
                    <a:pt x="1826172" y="199530"/>
                  </a:lnTo>
                  <a:lnTo>
                    <a:pt x="1826172" y="200228"/>
                  </a:lnTo>
                  <a:lnTo>
                    <a:pt x="1826172" y="198831"/>
                  </a:lnTo>
                  <a:lnTo>
                    <a:pt x="1826172" y="199530"/>
                  </a:lnTo>
                  <a:lnTo>
                    <a:pt x="1826273" y="199530"/>
                  </a:lnTo>
                  <a:lnTo>
                    <a:pt x="1826273" y="198831"/>
                  </a:lnTo>
                  <a:lnTo>
                    <a:pt x="1826273" y="199530"/>
                  </a:lnTo>
                  <a:lnTo>
                    <a:pt x="1826273" y="197447"/>
                  </a:lnTo>
                  <a:lnTo>
                    <a:pt x="1826324" y="197447"/>
                  </a:lnTo>
                  <a:lnTo>
                    <a:pt x="1826324" y="195415"/>
                  </a:lnTo>
                  <a:lnTo>
                    <a:pt x="1826375" y="195415"/>
                  </a:lnTo>
                  <a:lnTo>
                    <a:pt x="1826375" y="196799"/>
                  </a:lnTo>
                  <a:lnTo>
                    <a:pt x="1826375" y="195415"/>
                  </a:lnTo>
                  <a:lnTo>
                    <a:pt x="1826375" y="196113"/>
                  </a:lnTo>
                  <a:lnTo>
                    <a:pt x="1826476" y="196113"/>
                  </a:lnTo>
                  <a:lnTo>
                    <a:pt x="1826476" y="198831"/>
                  </a:lnTo>
                  <a:lnTo>
                    <a:pt x="1826476" y="196113"/>
                  </a:lnTo>
                  <a:lnTo>
                    <a:pt x="1826476" y="196799"/>
                  </a:lnTo>
                  <a:lnTo>
                    <a:pt x="1826527" y="197447"/>
                  </a:lnTo>
                  <a:lnTo>
                    <a:pt x="1826527" y="198831"/>
                  </a:lnTo>
                  <a:lnTo>
                    <a:pt x="1826527" y="197447"/>
                  </a:lnTo>
                  <a:lnTo>
                    <a:pt x="1826527" y="199530"/>
                  </a:lnTo>
                  <a:lnTo>
                    <a:pt x="1826578" y="199530"/>
                  </a:lnTo>
                  <a:lnTo>
                    <a:pt x="1826578" y="198831"/>
                  </a:lnTo>
                  <a:lnTo>
                    <a:pt x="1826578" y="199530"/>
                  </a:lnTo>
                  <a:lnTo>
                    <a:pt x="1826578" y="198831"/>
                  </a:lnTo>
                  <a:lnTo>
                    <a:pt x="1826578" y="199530"/>
                  </a:lnTo>
                  <a:lnTo>
                    <a:pt x="1826578" y="198831"/>
                  </a:lnTo>
                  <a:lnTo>
                    <a:pt x="1826629" y="199530"/>
                  </a:lnTo>
                  <a:lnTo>
                    <a:pt x="1826629" y="198831"/>
                  </a:lnTo>
                  <a:lnTo>
                    <a:pt x="1826629" y="199530"/>
                  </a:lnTo>
                  <a:lnTo>
                    <a:pt x="1826629" y="198831"/>
                  </a:lnTo>
                  <a:lnTo>
                    <a:pt x="1826629" y="199530"/>
                  </a:lnTo>
                  <a:lnTo>
                    <a:pt x="1826629" y="198831"/>
                  </a:lnTo>
                  <a:lnTo>
                    <a:pt x="1826718" y="198831"/>
                  </a:lnTo>
                  <a:lnTo>
                    <a:pt x="1826718" y="199530"/>
                  </a:lnTo>
                  <a:lnTo>
                    <a:pt x="1826718" y="198831"/>
                  </a:lnTo>
                  <a:lnTo>
                    <a:pt x="1826718" y="199530"/>
                  </a:lnTo>
                  <a:lnTo>
                    <a:pt x="1826718" y="198831"/>
                  </a:lnTo>
                  <a:lnTo>
                    <a:pt x="1826718" y="199530"/>
                  </a:lnTo>
                  <a:lnTo>
                    <a:pt x="1826769" y="199530"/>
                  </a:lnTo>
                  <a:lnTo>
                    <a:pt x="1826769" y="197447"/>
                  </a:lnTo>
                  <a:lnTo>
                    <a:pt x="1826769" y="198831"/>
                  </a:lnTo>
                  <a:lnTo>
                    <a:pt x="1826769" y="197447"/>
                  </a:lnTo>
                  <a:lnTo>
                    <a:pt x="1826769" y="198831"/>
                  </a:lnTo>
                  <a:lnTo>
                    <a:pt x="1826819" y="197447"/>
                  </a:lnTo>
                  <a:lnTo>
                    <a:pt x="1826819" y="196113"/>
                  </a:lnTo>
                  <a:lnTo>
                    <a:pt x="1826819" y="196799"/>
                  </a:lnTo>
                  <a:lnTo>
                    <a:pt x="1826819" y="195415"/>
                  </a:lnTo>
                  <a:lnTo>
                    <a:pt x="1826870" y="196113"/>
                  </a:lnTo>
                  <a:lnTo>
                    <a:pt x="1826870" y="193383"/>
                  </a:lnTo>
                  <a:lnTo>
                    <a:pt x="1826870" y="196113"/>
                  </a:lnTo>
                  <a:lnTo>
                    <a:pt x="1826870" y="194716"/>
                  </a:lnTo>
                  <a:lnTo>
                    <a:pt x="1826972" y="194716"/>
                  </a:lnTo>
                  <a:lnTo>
                    <a:pt x="1826972" y="193383"/>
                  </a:lnTo>
                  <a:lnTo>
                    <a:pt x="1826972" y="197447"/>
                  </a:lnTo>
                  <a:lnTo>
                    <a:pt x="1826972" y="196113"/>
                  </a:lnTo>
                  <a:lnTo>
                    <a:pt x="1827022" y="196113"/>
                  </a:lnTo>
                  <a:lnTo>
                    <a:pt x="1827022" y="197447"/>
                  </a:lnTo>
                  <a:lnTo>
                    <a:pt x="1827022" y="196799"/>
                  </a:lnTo>
                  <a:lnTo>
                    <a:pt x="1827022" y="197447"/>
                  </a:lnTo>
                  <a:lnTo>
                    <a:pt x="1827022" y="196799"/>
                  </a:lnTo>
                  <a:lnTo>
                    <a:pt x="1827022" y="197447"/>
                  </a:lnTo>
                  <a:lnTo>
                    <a:pt x="1827022" y="196113"/>
                  </a:lnTo>
                  <a:lnTo>
                    <a:pt x="1827073" y="196799"/>
                  </a:lnTo>
                  <a:lnTo>
                    <a:pt x="1827073" y="197447"/>
                  </a:lnTo>
                  <a:lnTo>
                    <a:pt x="1827175" y="197447"/>
                  </a:lnTo>
                  <a:lnTo>
                    <a:pt x="1827175" y="198831"/>
                  </a:lnTo>
                  <a:lnTo>
                    <a:pt x="1827175" y="197447"/>
                  </a:lnTo>
                  <a:lnTo>
                    <a:pt x="1827175" y="198831"/>
                  </a:lnTo>
                  <a:lnTo>
                    <a:pt x="1827175" y="197447"/>
                  </a:lnTo>
                  <a:lnTo>
                    <a:pt x="1827175" y="199530"/>
                  </a:lnTo>
                  <a:lnTo>
                    <a:pt x="1827175" y="198831"/>
                  </a:lnTo>
                  <a:lnTo>
                    <a:pt x="1827175" y="199530"/>
                  </a:lnTo>
                  <a:lnTo>
                    <a:pt x="1827175" y="198831"/>
                  </a:lnTo>
                  <a:lnTo>
                    <a:pt x="1827213" y="198831"/>
                  </a:lnTo>
                  <a:lnTo>
                    <a:pt x="1827213" y="199530"/>
                  </a:lnTo>
                  <a:lnTo>
                    <a:pt x="1827213" y="198831"/>
                  </a:lnTo>
                  <a:lnTo>
                    <a:pt x="1827213" y="199530"/>
                  </a:lnTo>
                  <a:lnTo>
                    <a:pt x="1827264" y="199530"/>
                  </a:lnTo>
                  <a:lnTo>
                    <a:pt x="1827264" y="198831"/>
                  </a:lnTo>
                  <a:lnTo>
                    <a:pt x="1827264" y="199530"/>
                  </a:lnTo>
                  <a:lnTo>
                    <a:pt x="1827264" y="198831"/>
                  </a:lnTo>
                  <a:lnTo>
                    <a:pt x="1827264" y="199530"/>
                  </a:lnTo>
                  <a:lnTo>
                    <a:pt x="1827264" y="198831"/>
                  </a:lnTo>
                  <a:lnTo>
                    <a:pt x="1827315" y="198831"/>
                  </a:lnTo>
                  <a:lnTo>
                    <a:pt x="1827315" y="196799"/>
                  </a:lnTo>
                  <a:lnTo>
                    <a:pt x="1827315" y="197447"/>
                  </a:lnTo>
                  <a:lnTo>
                    <a:pt x="1827315" y="195415"/>
                  </a:lnTo>
                  <a:lnTo>
                    <a:pt x="1827416" y="195415"/>
                  </a:lnTo>
                  <a:lnTo>
                    <a:pt x="1827416" y="194716"/>
                  </a:lnTo>
                  <a:lnTo>
                    <a:pt x="1827416" y="196113"/>
                  </a:lnTo>
                  <a:lnTo>
                    <a:pt x="1827416" y="194716"/>
                  </a:lnTo>
                  <a:lnTo>
                    <a:pt x="1827467" y="193383"/>
                  </a:lnTo>
                  <a:lnTo>
                    <a:pt x="1827467" y="197447"/>
                  </a:lnTo>
                  <a:lnTo>
                    <a:pt x="1827467" y="196113"/>
                  </a:lnTo>
                  <a:lnTo>
                    <a:pt x="1827518" y="196113"/>
                  </a:lnTo>
                  <a:lnTo>
                    <a:pt x="1827518" y="196799"/>
                  </a:lnTo>
                  <a:lnTo>
                    <a:pt x="1827518" y="196113"/>
                  </a:lnTo>
                  <a:lnTo>
                    <a:pt x="1827518" y="196799"/>
                  </a:lnTo>
                  <a:lnTo>
                    <a:pt x="1827518" y="196113"/>
                  </a:lnTo>
                  <a:lnTo>
                    <a:pt x="1827619" y="196113"/>
                  </a:lnTo>
                  <a:lnTo>
                    <a:pt x="1827619" y="196799"/>
                  </a:lnTo>
                  <a:lnTo>
                    <a:pt x="1827619" y="196113"/>
                  </a:lnTo>
                  <a:lnTo>
                    <a:pt x="1827619" y="196799"/>
                  </a:lnTo>
                  <a:lnTo>
                    <a:pt x="1827619" y="196113"/>
                  </a:lnTo>
                  <a:lnTo>
                    <a:pt x="1827619" y="196799"/>
                  </a:lnTo>
                  <a:lnTo>
                    <a:pt x="1827619" y="196113"/>
                  </a:lnTo>
                  <a:lnTo>
                    <a:pt x="1827619" y="196799"/>
                  </a:lnTo>
                  <a:lnTo>
                    <a:pt x="1827619" y="196113"/>
                  </a:lnTo>
                  <a:lnTo>
                    <a:pt x="1827670" y="196113"/>
                  </a:lnTo>
                  <a:lnTo>
                    <a:pt x="1827670" y="197447"/>
                  </a:lnTo>
                  <a:lnTo>
                    <a:pt x="1827670" y="196799"/>
                  </a:lnTo>
                  <a:lnTo>
                    <a:pt x="1827670" y="197447"/>
                  </a:lnTo>
                  <a:lnTo>
                    <a:pt x="1827670" y="196799"/>
                  </a:lnTo>
                  <a:lnTo>
                    <a:pt x="1827670" y="197447"/>
                  </a:lnTo>
                  <a:lnTo>
                    <a:pt x="1827721" y="197447"/>
                  </a:lnTo>
                  <a:lnTo>
                    <a:pt x="1827721" y="198831"/>
                  </a:lnTo>
                  <a:lnTo>
                    <a:pt x="1827721" y="197447"/>
                  </a:lnTo>
                  <a:lnTo>
                    <a:pt x="1827721" y="198831"/>
                  </a:lnTo>
                  <a:lnTo>
                    <a:pt x="1827721" y="197447"/>
                  </a:lnTo>
                  <a:lnTo>
                    <a:pt x="1827721" y="198831"/>
                  </a:lnTo>
                  <a:lnTo>
                    <a:pt x="1827721" y="197447"/>
                  </a:lnTo>
                  <a:lnTo>
                    <a:pt x="1827721" y="198831"/>
                  </a:lnTo>
                  <a:lnTo>
                    <a:pt x="1827721" y="197447"/>
                  </a:lnTo>
                  <a:lnTo>
                    <a:pt x="1827721" y="198831"/>
                  </a:lnTo>
                  <a:lnTo>
                    <a:pt x="1827759" y="198831"/>
                  </a:lnTo>
                  <a:lnTo>
                    <a:pt x="1827759" y="197447"/>
                  </a:lnTo>
                  <a:lnTo>
                    <a:pt x="1827861" y="197447"/>
                  </a:lnTo>
                  <a:lnTo>
                    <a:pt x="1827861" y="196113"/>
                  </a:lnTo>
                  <a:lnTo>
                    <a:pt x="1827912" y="196799"/>
                  </a:lnTo>
                  <a:lnTo>
                    <a:pt x="1827912" y="197447"/>
                  </a:lnTo>
                  <a:lnTo>
                    <a:pt x="1827912" y="196113"/>
                  </a:lnTo>
                  <a:lnTo>
                    <a:pt x="1827912" y="198831"/>
                  </a:lnTo>
                  <a:lnTo>
                    <a:pt x="1827962" y="198831"/>
                  </a:lnTo>
                  <a:lnTo>
                    <a:pt x="1827962" y="197447"/>
                  </a:lnTo>
                  <a:lnTo>
                    <a:pt x="1827962" y="198831"/>
                  </a:lnTo>
                  <a:lnTo>
                    <a:pt x="1828064" y="199530"/>
                  </a:lnTo>
                  <a:lnTo>
                    <a:pt x="1828064" y="197447"/>
                  </a:lnTo>
                  <a:lnTo>
                    <a:pt x="1828064" y="198831"/>
                  </a:lnTo>
                  <a:lnTo>
                    <a:pt x="1828064" y="197447"/>
                  </a:lnTo>
                  <a:lnTo>
                    <a:pt x="1828064" y="198831"/>
                  </a:lnTo>
                  <a:lnTo>
                    <a:pt x="1828115" y="198831"/>
                  </a:lnTo>
                  <a:lnTo>
                    <a:pt x="1828115" y="197447"/>
                  </a:lnTo>
                  <a:lnTo>
                    <a:pt x="1828115" y="198831"/>
                  </a:lnTo>
                  <a:lnTo>
                    <a:pt x="1828115" y="197447"/>
                  </a:lnTo>
                  <a:lnTo>
                    <a:pt x="1828115" y="198831"/>
                  </a:lnTo>
                  <a:lnTo>
                    <a:pt x="1828115" y="197447"/>
                  </a:lnTo>
                  <a:lnTo>
                    <a:pt x="1828165" y="197447"/>
                  </a:lnTo>
                  <a:lnTo>
                    <a:pt x="1828165" y="196799"/>
                  </a:lnTo>
                  <a:lnTo>
                    <a:pt x="1828165" y="199530"/>
                  </a:lnTo>
                  <a:lnTo>
                    <a:pt x="1828165" y="198831"/>
                  </a:lnTo>
                  <a:lnTo>
                    <a:pt x="1828165" y="199530"/>
                  </a:lnTo>
                  <a:lnTo>
                    <a:pt x="1828216" y="198831"/>
                  </a:lnTo>
                  <a:lnTo>
                    <a:pt x="1828216" y="199530"/>
                  </a:lnTo>
                  <a:lnTo>
                    <a:pt x="1828216" y="198831"/>
                  </a:lnTo>
                  <a:lnTo>
                    <a:pt x="1828216" y="199530"/>
                  </a:lnTo>
                  <a:lnTo>
                    <a:pt x="1828216" y="198831"/>
                  </a:lnTo>
                  <a:lnTo>
                    <a:pt x="1828216" y="199530"/>
                  </a:lnTo>
                  <a:lnTo>
                    <a:pt x="1828216" y="198831"/>
                  </a:lnTo>
                  <a:lnTo>
                    <a:pt x="1828305" y="198831"/>
                  </a:lnTo>
                  <a:lnTo>
                    <a:pt x="1828305" y="196799"/>
                  </a:lnTo>
                  <a:lnTo>
                    <a:pt x="1828305" y="197447"/>
                  </a:lnTo>
                  <a:lnTo>
                    <a:pt x="1828305" y="196799"/>
                  </a:lnTo>
                  <a:lnTo>
                    <a:pt x="1828356" y="196799"/>
                  </a:lnTo>
                  <a:lnTo>
                    <a:pt x="1828356" y="197447"/>
                  </a:lnTo>
                  <a:lnTo>
                    <a:pt x="1828356" y="195415"/>
                  </a:lnTo>
                  <a:lnTo>
                    <a:pt x="1828356" y="196113"/>
                  </a:lnTo>
                  <a:lnTo>
                    <a:pt x="1828356" y="195415"/>
                  </a:lnTo>
                  <a:lnTo>
                    <a:pt x="1828356" y="198831"/>
                  </a:lnTo>
                  <a:lnTo>
                    <a:pt x="1828407" y="198831"/>
                  </a:lnTo>
                  <a:lnTo>
                    <a:pt x="1828407" y="196113"/>
                  </a:lnTo>
                  <a:lnTo>
                    <a:pt x="1828407" y="199530"/>
                  </a:lnTo>
                  <a:lnTo>
                    <a:pt x="1828458" y="199530"/>
                  </a:lnTo>
                  <a:lnTo>
                    <a:pt x="1828458" y="197447"/>
                  </a:lnTo>
                  <a:lnTo>
                    <a:pt x="1828458" y="199530"/>
                  </a:lnTo>
                  <a:lnTo>
                    <a:pt x="1828559" y="199530"/>
                  </a:lnTo>
                  <a:lnTo>
                    <a:pt x="1828559" y="198831"/>
                  </a:lnTo>
                  <a:lnTo>
                    <a:pt x="1828559" y="199530"/>
                  </a:lnTo>
                  <a:lnTo>
                    <a:pt x="1828559" y="198831"/>
                  </a:lnTo>
                  <a:lnTo>
                    <a:pt x="1828559" y="199530"/>
                  </a:lnTo>
                  <a:lnTo>
                    <a:pt x="1828559" y="198831"/>
                  </a:lnTo>
                  <a:lnTo>
                    <a:pt x="1828559" y="199530"/>
                  </a:lnTo>
                  <a:lnTo>
                    <a:pt x="1828559" y="198831"/>
                  </a:lnTo>
                  <a:lnTo>
                    <a:pt x="1828559" y="199530"/>
                  </a:lnTo>
                  <a:lnTo>
                    <a:pt x="1828610" y="198831"/>
                  </a:lnTo>
                  <a:lnTo>
                    <a:pt x="1828610" y="199530"/>
                  </a:lnTo>
                  <a:lnTo>
                    <a:pt x="1828610" y="197447"/>
                  </a:lnTo>
                  <a:lnTo>
                    <a:pt x="1828610" y="198831"/>
                  </a:lnTo>
                  <a:lnTo>
                    <a:pt x="1828762" y="198831"/>
                  </a:lnTo>
                  <a:lnTo>
                    <a:pt x="1828762" y="197447"/>
                  </a:lnTo>
                  <a:lnTo>
                    <a:pt x="1828762" y="199530"/>
                  </a:lnTo>
                  <a:lnTo>
                    <a:pt x="1828762" y="197447"/>
                  </a:lnTo>
                  <a:lnTo>
                    <a:pt x="1828762" y="198831"/>
                  </a:lnTo>
                  <a:lnTo>
                    <a:pt x="1828762" y="197447"/>
                  </a:lnTo>
                  <a:lnTo>
                    <a:pt x="1828800" y="197447"/>
                  </a:lnTo>
                  <a:lnTo>
                    <a:pt x="1828800" y="195415"/>
                  </a:lnTo>
                  <a:lnTo>
                    <a:pt x="1828800" y="196113"/>
                  </a:lnTo>
                  <a:lnTo>
                    <a:pt x="1828851" y="196799"/>
                  </a:lnTo>
                  <a:lnTo>
                    <a:pt x="1828851" y="194716"/>
                  </a:lnTo>
                  <a:lnTo>
                    <a:pt x="1828851" y="196799"/>
                  </a:lnTo>
                  <a:lnTo>
                    <a:pt x="1828851" y="196113"/>
                  </a:lnTo>
                  <a:lnTo>
                    <a:pt x="1828902" y="196113"/>
                  </a:lnTo>
                  <a:lnTo>
                    <a:pt x="1828902" y="194716"/>
                  </a:lnTo>
                  <a:lnTo>
                    <a:pt x="1828902" y="198831"/>
                  </a:lnTo>
                  <a:lnTo>
                    <a:pt x="1828902" y="197447"/>
                  </a:lnTo>
                  <a:lnTo>
                    <a:pt x="1829004" y="197447"/>
                  </a:lnTo>
                  <a:lnTo>
                    <a:pt x="1829004" y="196799"/>
                  </a:lnTo>
                  <a:lnTo>
                    <a:pt x="1829004" y="199530"/>
                  </a:lnTo>
                  <a:lnTo>
                    <a:pt x="1829004" y="198831"/>
                  </a:lnTo>
                  <a:lnTo>
                    <a:pt x="1829055" y="198831"/>
                  </a:lnTo>
                  <a:lnTo>
                    <a:pt x="1829055" y="197447"/>
                  </a:lnTo>
                  <a:lnTo>
                    <a:pt x="1829055" y="198831"/>
                  </a:lnTo>
                  <a:lnTo>
                    <a:pt x="1829055" y="197447"/>
                  </a:lnTo>
                  <a:lnTo>
                    <a:pt x="1829105" y="198831"/>
                  </a:lnTo>
                  <a:lnTo>
                    <a:pt x="1829105" y="197447"/>
                  </a:lnTo>
                  <a:lnTo>
                    <a:pt x="1829105" y="199530"/>
                  </a:lnTo>
                  <a:lnTo>
                    <a:pt x="1829105" y="198831"/>
                  </a:lnTo>
                  <a:lnTo>
                    <a:pt x="1829105" y="199530"/>
                  </a:lnTo>
                  <a:lnTo>
                    <a:pt x="1829105" y="198831"/>
                  </a:lnTo>
                  <a:lnTo>
                    <a:pt x="1829207" y="199530"/>
                  </a:lnTo>
                  <a:lnTo>
                    <a:pt x="1829207" y="198831"/>
                  </a:lnTo>
                  <a:lnTo>
                    <a:pt x="1829207" y="199530"/>
                  </a:lnTo>
                  <a:lnTo>
                    <a:pt x="1829258" y="199530"/>
                  </a:lnTo>
                  <a:lnTo>
                    <a:pt x="1829258" y="197447"/>
                  </a:lnTo>
                  <a:lnTo>
                    <a:pt x="1829309" y="197447"/>
                  </a:lnTo>
                  <a:lnTo>
                    <a:pt x="1829309" y="196799"/>
                  </a:lnTo>
                  <a:lnTo>
                    <a:pt x="1829309" y="197447"/>
                  </a:lnTo>
                  <a:lnTo>
                    <a:pt x="1829309" y="196113"/>
                  </a:lnTo>
                  <a:lnTo>
                    <a:pt x="1829309" y="196799"/>
                  </a:lnTo>
                  <a:lnTo>
                    <a:pt x="1829309" y="196113"/>
                  </a:lnTo>
                  <a:lnTo>
                    <a:pt x="1829347" y="195415"/>
                  </a:lnTo>
                  <a:lnTo>
                    <a:pt x="1829347" y="197447"/>
                  </a:lnTo>
                  <a:lnTo>
                    <a:pt x="1829347" y="195415"/>
                  </a:lnTo>
                  <a:lnTo>
                    <a:pt x="1829347" y="196113"/>
                  </a:lnTo>
                  <a:lnTo>
                    <a:pt x="1829448" y="196113"/>
                  </a:lnTo>
                  <a:lnTo>
                    <a:pt x="1829448" y="199530"/>
                  </a:lnTo>
                  <a:lnTo>
                    <a:pt x="1829448" y="197447"/>
                  </a:lnTo>
                  <a:lnTo>
                    <a:pt x="1829499" y="198831"/>
                  </a:lnTo>
                  <a:lnTo>
                    <a:pt x="1829499" y="197447"/>
                  </a:lnTo>
                  <a:lnTo>
                    <a:pt x="1829499" y="198831"/>
                  </a:lnTo>
                  <a:lnTo>
                    <a:pt x="1829550" y="198831"/>
                  </a:lnTo>
                  <a:lnTo>
                    <a:pt x="1829550" y="199530"/>
                  </a:lnTo>
                  <a:lnTo>
                    <a:pt x="1829550" y="198831"/>
                  </a:lnTo>
                  <a:lnTo>
                    <a:pt x="1829550" y="199530"/>
                  </a:lnTo>
                  <a:lnTo>
                    <a:pt x="1829651" y="199530"/>
                  </a:lnTo>
                  <a:lnTo>
                    <a:pt x="1829651" y="198831"/>
                  </a:lnTo>
                  <a:lnTo>
                    <a:pt x="1829651" y="199530"/>
                  </a:lnTo>
                  <a:lnTo>
                    <a:pt x="1829651" y="198831"/>
                  </a:lnTo>
                  <a:lnTo>
                    <a:pt x="1829651" y="199530"/>
                  </a:lnTo>
                  <a:lnTo>
                    <a:pt x="1829702" y="200228"/>
                  </a:lnTo>
                  <a:lnTo>
                    <a:pt x="1829702" y="199530"/>
                  </a:lnTo>
                  <a:lnTo>
                    <a:pt x="1829702" y="200228"/>
                  </a:lnTo>
                  <a:lnTo>
                    <a:pt x="1829702" y="198831"/>
                  </a:lnTo>
                  <a:lnTo>
                    <a:pt x="1829753" y="198831"/>
                  </a:lnTo>
                  <a:lnTo>
                    <a:pt x="1829753" y="199530"/>
                  </a:lnTo>
                  <a:lnTo>
                    <a:pt x="1829753" y="196799"/>
                  </a:lnTo>
                  <a:lnTo>
                    <a:pt x="1829753" y="197447"/>
                  </a:lnTo>
                  <a:lnTo>
                    <a:pt x="1829804" y="197447"/>
                  </a:lnTo>
                  <a:lnTo>
                    <a:pt x="1829804" y="196113"/>
                  </a:lnTo>
                  <a:lnTo>
                    <a:pt x="1829804" y="196799"/>
                  </a:lnTo>
                  <a:lnTo>
                    <a:pt x="1829804" y="195415"/>
                  </a:lnTo>
                  <a:lnTo>
                    <a:pt x="1829893" y="196113"/>
                  </a:lnTo>
                  <a:lnTo>
                    <a:pt x="1829893" y="196799"/>
                  </a:lnTo>
                  <a:lnTo>
                    <a:pt x="1829893" y="195415"/>
                  </a:lnTo>
                  <a:lnTo>
                    <a:pt x="1829893" y="196799"/>
                  </a:lnTo>
                  <a:lnTo>
                    <a:pt x="1829944" y="196799"/>
                  </a:lnTo>
                  <a:lnTo>
                    <a:pt x="1829944" y="198831"/>
                  </a:lnTo>
                  <a:lnTo>
                    <a:pt x="1829944" y="196799"/>
                  </a:lnTo>
                  <a:lnTo>
                    <a:pt x="1829944" y="197447"/>
                  </a:lnTo>
                  <a:lnTo>
                    <a:pt x="1829944" y="196799"/>
                  </a:lnTo>
                  <a:lnTo>
                    <a:pt x="1829944" y="197447"/>
                  </a:lnTo>
                  <a:lnTo>
                    <a:pt x="1830045" y="197447"/>
                  </a:lnTo>
                  <a:lnTo>
                    <a:pt x="1830045" y="199530"/>
                  </a:lnTo>
                  <a:lnTo>
                    <a:pt x="1830045" y="197447"/>
                  </a:lnTo>
                  <a:lnTo>
                    <a:pt x="1830045" y="198831"/>
                  </a:lnTo>
                  <a:lnTo>
                    <a:pt x="1830147" y="199530"/>
                  </a:lnTo>
                  <a:lnTo>
                    <a:pt x="1830147" y="198831"/>
                  </a:lnTo>
                  <a:lnTo>
                    <a:pt x="1830147" y="199530"/>
                  </a:lnTo>
                  <a:lnTo>
                    <a:pt x="1830197" y="199530"/>
                  </a:lnTo>
                  <a:lnTo>
                    <a:pt x="1830197" y="198831"/>
                  </a:lnTo>
                  <a:lnTo>
                    <a:pt x="1830197" y="199530"/>
                  </a:lnTo>
                  <a:lnTo>
                    <a:pt x="1830197" y="198831"/>
                  </a:lnTo>
                  <a:lnTo>
                    <a:pt x="1830248" y="198831"/>
                  </a:lnTo>
                  <a:lnTo>
                    <a:pt x="1830248" y="197447"/>
                  </a:lnTo>
                  <a:lnTo>
                    <a:pt x="1830248" y="198831"/>
                  </a:lnTo>
                  <a:lnTo>
                    <a:pt x="1830248" y="196799"/>
                  </a:lnTo>
                  <a:lnTo>
                    <a:pt x="1830350" y="197447"/>
                  </a:lnTo>
                  <a:lnTo>
                    <a:pt x="1830350" y="195415"/>
                  </a:lnTo>
                  <a:lnTo>
                    <a:pt x="1830350" y="196799"/>
                  </a:lnTo>
                  <a:lnTo>
                    <a:pt x="1830388" y="197447"/>
                  </a:lnTo>
                  <a:lnTo>
                    <a:pt x="1830388" y="195415"/>
                  </a:lnTo>
                  <a:lnTo>
                    <a:pt x="1830388" y="197447"/>
                  </a:lnTo>
                  <a:lnTo>
                    <a:pt x="1830439" y="198831"/>
                  </a:lnTo>
                  <a:lnTo>
                    <a:pt x="1830439" y="196113"/>
                  </a:lnTo>
                  <a:lnTo>
                    <a:pt x="1830439" y="197447"/>
                  </a:lnTo>
                  <a:lnTo>
                    <a:pt x="1830439" y="196799"/>
                  </a:lnTo>
                  <a:lnTo>
                    <a:pt x="1830439" y="197447"/>
                  </a:lnTo>
                  <a:lnTo>
                    <a:pt x="1830490" y="197447"/>
                  </a:lnTo>
                  <a:lnTo>
                    <a:pt x="1830490" y="196799"/>
                  </a:lnTo>
                  <a:lnTo>
                    <a:pt x="1830490" y="197447"/>
                  </a:lnTo>
                  <a:lnTo>
                    <a:pt x="1830490" y="196799"/>
                  </a:lnTo>
                  <a:lnTo>
                    <a:pt x="1830490" y="197447"/>
                  </a:lnTo>
                  <a:lnTo>
                    <a:pt x="1830490" y="196799"/>
                  </a:lnTo>
                  <a:lnTo>
                    <a:pt x="1830490" y="197447"/>
                  </a:lnTo>
                  <a:lnTo>
                    <a:pt x="1830591" y="196799"/>
                  </a:lnTo>
                  <a:lnTo>
                    <a:pt x="1830591" y="197447"/>
                  </a:lnTo>
                  <a:lnTo>
                    <a:pt x="1830591" y="196799"/>
                  </a:lnTo>
                  <a:lnTo>
                    <a:pt x="1830591" y="197447"/>
                  </a:lnTo>
                  <a:lnTo>
                    <a:pt x="1830591" y="196799"/>
                  </a:lnTo>
                  <a:lnTo>
                    <a:pt x="1830591" y="198831"/>
                  </a:lnTo>
                  <a:lnTo>
                    <a:pt x="1830642" y="197447"/>
                  </a:lnTo>
                  <a:lnTo>
                    <a:pt x="1830642" y="198831"/>
                  </a:lnTo>
                  <a:lnTo>
                    <a:pt x="1830642" y="197447"/>
                  </a:lnTo>
                  <a:lnTo>
                    <a:pt x="1830642" y="198831"/>
                  </a:lnTo>
                  <a:lnTo>
                    <a:pt x="1830693" y="197447"/>
                  </a:lnTo>
                  <a:lnTo>
                    <a:pt x="1830693" y="198831"/>
                  </a:lnTo>
                  <a:lnTo>
                    <a:pt x="1830693" y="197447"/>
                  </a:lnTo>
                  <a:lnTo>
                    <a:pt x="1830794" y="197447"/>
                  </a:lnTo>
                  <a:lnTo>
                    <a:pt x="1830794" y="196799"/>
                  </a:lnTo>
                  <a:lnTo>
                    <a:pt x="1830794" y="197447"/>
                  </a:lnTo>
                  <a:lnTo>
                    <a:pt x="1830794" y="196113"/>
                  </a:lnTo>
                  <a:lnTo>
                    <a:pt x="1830794" y="196799"/>
                  </a:lnTo>
                  <a:lnTo>
                    <a:pt x="1830845" y="196799"/>
                  </a:lnTo>
                  <a:lnTo>
                    <a:pt x="1830845" y="195415"/>
                  </a:lnTo>
                  <a:lnTo>
                    <a:pt x="1830845" y="197447"/>
                  </a:lnTo>
                  <a:lnTo>
                    <a:pt x="1830896" y="196799"/>
                  </a:lnTo>
                  <a:lnTo>
                    <a:pt x="1830896" y="196113"/>
                  </a:lnTo>
                  <a:lnTo>
                    <a:pt x="1830896" y="198831"/>
                  </a:lnTo>
                  <a:lnTo>
                    <a:pt x="1830934" y="197447"/>
                  </a:lnTo>
                  <a:lnTo>
                    <a:pt x="1830934" y="199530"/>
                  </a:lnTo>
                  <a:lnTo>
                    <a:pt x="1830934" y="197447"/>
                  </a:lnTo>
                  <a:lnTo>
                    <a:pt x="1831036" y="197447"/>
                  </a:lnTo>
                  <a:lnTo>
                    <a:pt x="1831036" y="199530"/>
                  </a:lnTo>
                  <a:lnTo>
                    <a:pt x="1831036" y="198831"/>
                  </a:lnTo>
                  <a:lnTo>
                    <a:pt x="1831087" y="198831"/>
                  </a:lnTo>
                  <a:lnTo>
                    <a:pt x="1831087" y="199530"/>
                  </a:lnTo>
                  <a:lnTo>
                    <a:pt x="1831087" y="198831"/>
                  </a:lnTo>
                  <a:lnTo>
                    <a:pt x="1831087" y="199530"/>
                  </a:lnTo>
                  <a:lnTo>
                    <a:pt x="1831087" y="198831"/>
                  </a:lnTo>
                  <a:lnTo>
                    <a:pt x="1831087" y="199530"/>
                  </a:lnTo>
                  <a:lnTo>
                    <a:pt x="1831137" y="199530"/>
                  </a:lnTo>
                  <a:lnTo>
                    <a:pt x="1831137" y="200228"/>
                  </a:lnTo>
                  <a:lnTo>
                    <a:pt x="1831137" y="198831"/>
                  </a:lnTo>
                  <a:lnTo>
                    <a:pt x="1831137" y="199530"/>
                  </a:lnTo>
                  <a:lnTo>
                    <a:pt x="1831239" y="199530"/>
                  </a:lnTo>
                  <a:lnTo>
                    <a:pt x="1831239" y="198831"/>
                  </a:lnTo>
                  <a:lnTo>
                    <a:pt x="1831239" y="199530"/>
                  </a:lnTo>
                  <a:lnTo>
                    <a:pt x="1831239" y="198831"/>
                  </a:lnTo>
                  <a:lnTo>
                    <a:pt x="1831239" y="199530"/>
                  </a:lnTo>
                  <a:lnTo>
                    <a:pt x="1831239" y="197447"/>
                  </a:lnTo>
                  <a:lnTo>
                    <a:pt x="1831290" y="197447"/>
                  </a:lnTo>
                  <a:lnTo>
                    <a:pt x="1831290" y="196799"/>
                  </a:lnTo>
                  <a:lnTo>
                    <a:pt x="1831290" y="197447"/>
                  </a:lnTo>
                  <a:lnTo>
                    <a:pt x="1831340" y="196799"/>
                  </a:lnTo>
                  <a:lnTo>
                    <a:pt x="1831340" y="198831"/>
                  </a:lnTo>
                  <a:lnTo>
                    <a:pt x="1831340" y="196799"/>
                  </a:lnTo>
                  <a:lnTo>
                    <a:pt x="1831340" y="197447"/>
                  </a:lnTo>
                  <a:lnTo>
                    <a:pt x="1831340" y="196799"/>
                  </a:lnTo>
                  <a:lnTo>
                    <a:pt x="1831391" y="197447"/>
                  </a:lnTo>
                  <a:lnTo>
                    <a:pt x="1831391" y="199530"/>
                  </a:lnTo>
                  <a:lnTo>
                    <a:pt x="1831391" y="197447"/>
                  </a:lnTo>
                  <a:lnTo>
                    <a:pt x="1831391" y="198831"/>
                  </a:lnTo>
                  <a:lnTo>
                    <a:pt x="1831480" y="198831"/>
                  </a:lnTo>
                  <a:lnTo>
                    <a:pt x="1831480" y="199530"/>
                  </a:lnTo>
                  <a:lnTo>
                    <a:pt x="1831480" y="198831"/>
                  </a:lnTo>
                  <a:lnTo>
                    <a:pt x="1831480" y="199530"/>
                  </a:lnTo>
                  <a:lnTo>
                    <a:pt x="1831480" y="198831"/>
                  </a:lnTo>
                  <a:lnTo>
                    <a:pt x="1831480" y="199530"/>
                  </a:lnTo>
                  <a:lnTo>
                    <a:pt x="1831480" y="198831"/>
                  </a:lnTo>
                  <a:lnTo>
                    <a:pt x="1831480" y="199530"/>
                  </a:lnTo>
                  <a:lnTo>
                    <a:pt x="1831480" y="198831"/>
                  </a:lnTo>
                  <a:lnTo>
                    <a:pt x="1831531" y="198831"/>
                  </a:lnTo>
                  <a:lnTo>
                    <a:pt x="1831531" y="199530"/>
                  </a:lnTo>
                  <a:lnTo>
                    <a:pt x="1831531" y="198831"/>
                  </a:lnTo>
                  <a:lnTo>
                    <a:pt x="1831531" y="199530"/>
                  </a:lnTo>
                  <a:lnTo>
                    <a:pt x="1831582" y="199530"/>
                  </a:lnTo>
                  <a:lnTo>
                    <a:pt x="1831582" y="200228"/>
                  </a:lnTo>
                  <a:lnTo>
                    <a:pt x="1831582" y="199530"/>
                  </a:lnTo>
                  <a:lnTo>
                    <a:pt x="1831582" y="200228"/>
                  </a:lnTo>
                  <a:lnTo>
                    <a:pt x="1831582" y="199530"/>
                  </a:lnTo>
                  <a:lnTo>
                    <a:pt x="1831582" y="200228"/>
                  </a:lnTo>
                  <a:lnTo>
                    <a:pt x="1831582" y="199530"/>
                  </a:lnTo>
                  <a:lnTo>
                    <a:pt x="1831633" y="199530"/>
                  </a:lnTo>
                  <a:lnTo>
                    <a:pt x="1831633" y="200228"/>
                  </a:lnTo>
                  <a:lnTo>
                    <a:pt x="1831633" y="198831"/>
                  </a:lnTo>
                  <a:lnTo>
                    <a:pt x="1831734" y="198831"/>
                  </a:lnTo>
                  <a:lnTo>
                    <a:pt x="1831734" y="199530"/>
                  </a:lnTo>
                  <a:lnTo>
                    <a:pt x="1831734" y="196799"/>
                  </a:lnTo>
                  <a:lnTo>
                    <a:pt x="1831785" y="196799"/>
                  </a:lnTo>
                  <a:lnTo>
                    <a:pt x="1831785" y="196113"/>
                  </a:lnTo>
                  <a:lnTo>
                    <a:pt x="1831785" y="196799"/>
                  </a:lnTo>
                  <a:lnTo>
                    <a:pt x="1831785" y="196113"/>
                  </a:lnTo>
                  <a:lnTo>
                    <a:pt x="1831785" y="196799"/>
                  </a:lnTo>
                  <a:lnTo>
                    <a:pt x="1831785" y="196113"/>
                  </a:lnTo>
                  <a:lnTo>
                    <a:pt x="1831836" y="196113"/>
                  </a:lnTo>
                  <a:lnTo>
                    <a:pt x="1831836" y="196799"/>
                  </a:lnTo>
                  <a:lnTo>
                    <a:pt x="1831836" y="196113"/>
                  </a:lnTo>
                  <a:lnTo>
                    <a:pt x="1831836" y="197447"/>
                  </a:lnTo>
                  <a:lnTo>
                    <a:pt x="1831937" y="197447"/>
                  </a:lnTo>
                  <a:lnTo>
                    <a:pt x="1831937" y="198831"/>
                  </a:lnTo>
                  <a:lnTo>
                    <a:pt x="1831937" y="197447"/>
                  </a:lnTo>
                  <a:lnTo>
                    <a:pt x="1831937" y="198831"/>
                  </a:lnTo>
                  <a:lnTo>
                    <a:pt x="1831937" y="196799"/>
                  </a:lnTo>
                  <a:lnTo>
                    <a:pt x="1831937" y="198831"/>
                  </a:lnTo>
                  <a:lnTo>
                    <a:pt x="1831975" y="198831"/>
                  </a:lnTo>
                  <a:lnTo>
                    <a:pt x="1831975" y="197447"/>
                  </a:lnTo>
                  <a:lnTo>
                    <a:pt x="1831975" y="198831"/>
                  </a:lnTo>
                  <a:lnTo>
                    <a:pt x="1832026" y="198831"/>
                  </a:lnTo>
                  <a:lnTo>
                    <a:pt x="1832026" y="199530"/>
                  </a:lnTo>
                  <a:lnTo>
                    <a:pt x="1832026" y="198831"/>
                  </a:lnTo>
                  <a:lnTo>
                    <a:pt x="1832026" y="199530"/>
                  </a:lnTo>
                  <a:lnTo>
                    <a:pt x="1832077" y="199530"/>
                  </a:lnTo>
                  <a:lnTo>
                    <a:pt x="1832077" y="200228"/>
                  </a:lnTo>
                  <a:lnTo>
                    <a:pt x="1832077" y="199530"/>
                  </a:lnTo>
                  <a:lnTo>
                    <a:pt x="1832179" y="199530"/>
                  </a:lnTo>
                  <a:lnTo>
                    <a:pt x="1832179" y="198831"/>
                  </a:lnTo>
                  <a:lnTo>
                    <a:pt x="1832179" y="199530"/>
                  </a:lnTo>
                  <a:lnTo>
                    <a:pt x="1832179" y="198831"/>
                  </a:lnTo>
                  <a:lnTo>
                    <a:pt x="1832179" y="199530"/>
                  </a:lnTo>
                  <a:lnTo>
                    <a:pt x="1832179" y="198831"/>
                  </a:lnTo>
                  <a:lnTo>
                    <a:pt x="1832179" y="199530"/>
                  </a:lnTo>
                  <a:lnTo>
                    <a:pt x="1832230" y="198831"/>
                  </a:lnTo>
                  <a:lnTo>
                    <a:pt x="1832230" y="196799"/>
                  </a:lnTo>
                  <a:lnTo>
                    <a:pt x="1832230" y="197447"/>
                  </a:lnTo>
                  <a:lnTo>
                    <a:pt x="1832280" y="196799"/>
                  </a:lnTo>
                  <a:lnTo>
                    <a:pt x="1832280" y="196113"/>
                  </a:lnTo>
                  <a:lnTo>
                    <a:pt x="1832280" y="196799"/>
                  </a:lnTo>
                  <a:lnTo>
                    <a:pt x="1832280" y="196113"/>
                  </a:lnTo>
                  <a:lnTo>
                    <a:pt x="1832280" y="196799"/>
                  </a:lnTo>
                  <a:lnTo>
                    <a:pt x="1832280" y="196113"/>
                  </a:lnTo>
                  <a:lnTo>
                    <a:pt x="1832280" y="197447"/>
                  </a:lnTo>
                  <a:lnTo>
                    <a:pt x="1832382" y="196799"/>
                  </a:lnTo>
                  <a:lnTo>
                    <a:pt x="1832382" y="198831"/>
                  </a:lnTo>
                  <a:lnTo>
                    <a:pt x="1832433" y="198831"/>
                  </a:lnTo>
                  <a:lnTo>
                    <a:pt x="1832433" y="197447"/>
                  </a:lnTo>
                  <a:lnTo>
                    <a:pt x="1832433" y="198831"/>
                  </a:lnTo>
                  <a:lnTo>
                    <a:pt x="1832433" y="197447"/>
                  </a:lnTo>
                  <a:lnTo>
                    <a:pt x="1832433" y="198831"/>
                  </a:lnTo>
                  <a:lnTo>
                    <a:pt x="1832484" y="198831"/>
                  </a:lnTo>
                  <a:lnTo>
                    <a:pt x="1832484" y="197447"/>
                  </a:lnTo>
                  <a:lnTo>
                    <a:pt x="1832484" y="199530"/>
                  </a:lnTo>
                  <a:lnTo>
                    <a:pt x="1832484" y="198831"/>
                  </a:lnTo>
                  <a:lnTo>
                    <a:pt x="1832522" y="198831"/>
                  </a:lnTo>
                  <a:lnTo>
                    <a:pt x="1832522" y="199530"/>
                  </a:lnTo>
                  <a:lnTo>
                    <a:pt x="1832522" y="198831"/>
                  </a:lnTo>
                  <a:lnTo>
                    <a:pt x="1832522" y="199530"/>
                  </a:lnTo>
                  <a:lnTo>
                    <a:pt x="1832623" y="199530"/>
                  </a:lnTo>
                  <a:lnTo>
                    <a:pt x="1832623" y="200228"/>
                  </a:lnTo>
                  <a:lnTo>
                    <a:pt x="1832623" y="199530"/>
                  </a:lnTo>
                  <a:lnTo>
                    <a:pt x="1832623" y="200228"/>
                  </a:lnTo>
                  <a:lnTo>
                    <a:pt x="1832623" y="199530"/>
                  </a:lnTo>
                  <a:lnTo>
                    <a:pt x="1832623" y="200228"/>
                  </a:lnTo>
                  <a:lnTo>
                    <a:pt x="1832623" y="199530"/>
                  </a:lnTo>
                  <a:lnTo>
                    <a:pt x="1832674" y="199530"/>
                  </a:lnTo>
                  <a:lnTo>
                    <a:pt x="1832674" y="197447"/>
                  </a:lnTo>
                  <a:lnTo>
                    <a:pt x="1832674" y="198831"/>
                  </a:lnTo>
                  <a:lnTo>
                    <a:pt x="1832674" y="197447"/>
                  </a:lnTo>
                  <a:lnTo>
                    <a:pt x="1832674" y="198831"/>
                  </a:lnTo>
                  <a:lnTo>
                    <a:pt x="1832674" y="197447"/>
                  </a:lnTo>
                  <a:lnTo>
                    <a:pt x="1832725" y="198831"/>
                  </a:lnTo>
                  <a:lnTo>
                    <a:pt x="1832725" y="196799"/>
                  </a:lnTo>
                  <a:lnTo>
                    <a:pt x="1832725" y="197447"/>
                  </a:lnTo>
                  <a:lnTo>
                    <a:pt x="1832725" y="196113"/>
                  </a:lnTo>
                  <a:lnTo>
                    <a:pt x="1832826" y="196113"/>
                  </a:lnTo>
                  <a:lnTo>
                    <a:pt x="1832826" y="195415"/>
                  </a:lnTo>
                  <a:lnTo>
                    <a:pt x="1832826" y="196113"/>
                  </a:lnTo>
                  <a:lnTo>
                    <a:pt x="1832877" y="196799"/>
                  </a:lnTo>
                  <a:lnTo>
                    <a:pt x="1832877" y="195415"/>
                  </a:lnTo>
                  <a:lnTo>
                    <a:pt x="1832877" y="197447"/>
                  </a:lnTo>
                  <a:lnTo>
                    <a:pt x="1832928" y="197447"/>
                  </a:lnTo>
                  <a:lnTo>
                    <a:pt x="1832928" y="196799"/>
                  </a:lnTo>
                  <a:lnTo>
                    <a:pt x="1832928" y="197447"/>
                  </a:lnTo>
                  <a:lnTo>
                    <a:pt x="1832928" y="196799"/>
                  </a:lnTo>
                  <a:lnTo>
                    <a:pt x="1832979" y="196799"/>
                  </a:lnTo>
                  <a:lnTo>
                    <a:pt x="1832979" y="198831"/>
                  </a:lnTo>
                  <a:lnTo>
                    <a:pt x="1832979" y="197447"/>
                  </a:lnTo>
                  <a:lnTo>
                    <a:pt x="1833068" y="197447"/>
                  </a:lnTo>
                  <a:lnTo>
                    <a:pt x="1833068" y="199530"/>
                  </a:lnTo>
                  <a:lnTo>
                    <a:pt x="1833068" y="198831"/>
                  </a:lnTo>
                  <a:lnTo>
                    <a:pt x="1833068" y="199530"/>
                  </a:lnTo>
                  <a:lnTo>
                    <a:pt x="1833119" y="199530"/>
                  </a:lnTo>
                  <a:lnTo>
                    <a:pt x="1833119" y="198831"/>
                  </a:lnTo>
                  <a:lnTo>
                    <a:pt x="1833119" y="199530"/>
                  </a:lnTo>
                  <a:lnTo>
                    <a:pt x="1833169" y="199530"/>
                  </a:lnTo>
                  <a:lnTo>
                    <a:pt x="1833169" y="198831"/>
                  </a:lnTo>
                  <a:lnTo>
                    <a:pt x="1833220" y="198831"/>
                  </a:lnTo>
                  <a:lnTo>
                    <a:pt x="1833220" y="196799"/>
                  </a:lnTo>
                  <a:lnTo>
                    <a:pt x="1833220" y="197447"/>
                  </a:lnTo>
                  <a:lnTo>
                    <a:pt x="1833220" y="196799"/>
                  </a:lnTo>
                  <a:lnTo>
                    <a:pt x="1833220" y="197447"/>
                  </a:lnTo>
                  <a:lnTo>
                    <a:pt x="1833322" y="197447"/>
                  </a:lnTo>
                  <a:lnTo>
                    <a:pt x="1833322" y="196113"/>
                  </a:lnTo>
                  <a:lnTo>
                    <a:pt x="1833322" y="197447"/>
                  </a:lnTo>
                  <a:lnTo>
                    <a:pt x="1833322" y="196799"/>
                  </a:lnTo>
                  <a:lnTo>
                    <a:pt x="1833372" y="196113"/>
                  </a:lnTo>
                  <a:lnTo>
                    <a:pt x="1833372" y="195415"/>
                  </a:lnTo>
                  <a:lnTo>
                    <a:pt x="1833372" y="197447"/>
                  </a:lnTo>
                  <a:lnTo>
                    <a:pt x="1833372" y="196799"/>
                  </a:lnTo>
                  <a:lnTo>
                    <a:pt x="1833372" y="197447"/>
                  </a:lnTo>
                  <a:lnTo>
                    <a:pt x="1833372" y="196799"/>
                  </a:lnTo>
                  <a:lnTo>
                    <a:pt x="1833423" y="196799"/>
                  </a:lnTo>
                  <a:lnTo>
                    <a:pt x="1833423" y="196113"/>
                  </a:lnTo>
                  <a:lnTo>
                    <a:pt x="1833423" y="197447"/>
                  </a:lnTo>
                  <a:lnTo>
                    <a:pt x="1833423" y="196799"/>
                  </a:lnTo>
                  <a:lnTo>
                    <a:pt x="1833423" y="197447"/>
                  </a:lnTo>
                  <a:lnTo>
                    <a:pt x="1833423" y="196113"/>
                  </a:lnTo>
                  <a:lnTo>
                    <a:pt x="1833525" y="196113"/>
                  </a:lnTo>
                  <a:lnTo>
                    <a:pt x="1833525" y="196799"/>
                  </a:lnTo>
                  <a:lnTo>
                    <a:pt x="1833525" y="196113"/>
                  </a:lnTo>
                  <a:lnTo>
                    <a:pt x="1833525" y="197447"/>
                  </a:lnTo>
                  <a:lnTo>
                    <a:pt x="1833525" y="196799"/>
                  </a:lnTo>
                  <a:lnTo>
                    <a:pt x="1833563" y="196799"/>
                  </a:lnTo>
                  <a:lnTo>
                    <a:pt x="1833563" y="197447"/>
                  </a:lnTo>
                  <a:lnTo>
                    <a:pt x="1833563" y="196799"/>
                  </a:lnTo>
                  <a:lnTo>
                    <a:pt x="1833563" y="198831"/>
                  </a:lnTo>
                  <a:lnTo>
                    <a:pt x="1833563" y="197447"/>
                  </a:lnTo>
                  <a:lnTo>
                    <a:pt x="1833563" y="198831"/>
                  </a:lnTo>
                  <a:lnTo>
                    <a:pt x="1833563" y="197447"/>
                  </a:lnTo>
                  <a:lnTo>
                    <a:pt x="1833563" y="198831"/>
                  </a:lnTo>
                  <a:lnTo>
                    <a:pt x="1833563" y="197447"/>
                  </a:lnTo>
                  <a:lnTo>
                    <a:pt x="1833614" y="197447"/>
                  </a:lnTo>
                  <a:lnTo>
                    <a:pt x="1833614" y="198831"/>
                  </a:lnTo>
                  <a:lnTo>
                    <a:pt x="1833614" y="197447"/>
                  </a:lnTo>
                  <a:lnTo>
                    <a:pt x="1833665" y="197447"/>
                  </a:lnTo>
                  <a:lnTo>
                    <a:pt x="1833665" y="198831"/>
                  </a:lnTo>
                  <a:lnTo>
                    <a:pt x="1833665" y="197447"/>
                  </a:lnTo>
                  <a:lnTo>
                    <a:pt x="1833665" y="198831"/>
                  </a:lnTo>
                  <a:lnTo>
                    <a:pt x="1833665" y="197447"/>
                  </a:lnTo>
                  <a:lnTo>
                    <a:pt x="1833665" y="198831"/>
                  </a:lnTo>
                  <a:lnTo>
                    <a:pt x="1833665" y="197447"/>
                  </a:lnTo>
                  <a:lnTo>
                    <a:pt x="1833665" y="198831"/>
                  </a:lnTo>
                  <a:lnTo>
                    <a:pt x="1833766" y="198831"/>
                  </a:lnTo>
                  <a:lnTo>
                    <a:pt x="1833766" y="196799"/>
                  </a:lnTo>
                  <a:lnTo>
                    <a:pt x="1833766" y="197447"/>
                  </a:lnTo>
                  <a:lnTo>
                    <a:pt x="1833766" y="196113"/>
                  </a:lnTo>
                  <a:lnTo>
                    <a:pt x="1833817" y="196113"/>
                  </a:lnTo>
                  <a:lnTo>
                    <a:pt x="1833817" y="197447"/>
                  </a:lnTo>
                  <a:lnTo>
                    <a:pt x="1833817" y="196113"/>
                  </a:lnTo>
                  <a:lnTo>
                    <a:pt x="1833868" y="196113"/>
                  </a:lnTo>
                  <a:lnTo>
                    <a:pt x="1833868" y="199530"/>
                  </a:lnTo>
                  <a:lnTo>
                    <a:pt x="1833868" y="197447"/>
                  </a:lnTo>
                  <a:lnTo>
                    <a:pt x="1833969" y="198831"/>
                  </a:lnTo>
                  <a:lnTo>
                    <a:pt x="1834071" y="198831"/>
                  </a:lnTo>
                  <a:lnTo>
                    <a:pt x="1834071" y="197447"/>
                  </a:lnTo>
                  <a:lnTo>
                    <a:pt x="1834071" y="198831"/>
                  </a:lnTo>
                  <a:lnTo>
                    <a:pt x="1834109" y="198831"/>
                  </a:lnTo>
                  <a:lnTo>
                    <a:pt x="1834109" y="199530"/>
                  </a:lnTo>
                  <a:lnTo>
                    <a:pt x="1834109" y="197447"/>
                  </a:lnTo>
                  <a:lnTo>
                    <a:pt x="1834109" y="198831"/>
                  </a:lnTo>
                  <a:lnTo>
                    <a:pt x="1834211" y="198831"/>
                  </a:lnTo>
                  <a:lnTo>
                    <a:pt x="1834211" y="196799"/>
                  </a:lnTo>
                  <a:lnTo>
                    <a:pt x="1834211" y="197447"/>
                  </a:lnTo>
                  <a:lnTo>
                    <a:pt x="1834262" y="197447"/>
                  </a:lnTo>
                  <a:lnTo>
                    <a:pt x="1834262" y="196799"/>
                  </a:lnTo>
                  <a:lnTo>
                    <a:pt x="1834262" y="197447"/>
                  </a:lnTo>
                  <a:lnTo>
                    <a:pt x="1834262" y="195415"/>
                  </a:lnTo>
                  <a:lnTo>
                    <a:pt x="1834262" y="196113"/>
                  </a:lnTo>
                  <a:lnTo>
                    <a:pt x="1834312" y="196113"/>
                  </a:lnTo>
                  <a:lnTo>
                    <a:pt x="1834312" y="198831"/>
                  </a:lnTo>
                  <a:lnTo>
                    <a:pt x="1834312" y="196113"/>
                  </a:lnTo>
                  <a:lnTo>
                    <a:pt x="1834312" y="197447"/>
                  </a:lnTo>
                  <a:lnTo>
                    <a:pt x="1834414" y="197447"/>
                  </a:lnTo>
                  <a:lnTo>
                    <a:pt x="1834414" y="199530"/>
                  </a:lnTo>
                  <a:lnTo>
                    <a:pt x="1834414" y="197447"/>
                  </a:lnTo>
                  <a:lnTo>
                    <a:pt x="1834414" y="198831"/>
                  </a:lnTo>
                  <a:lnTo>
                    <a:pt x="1834465" y="198831"/>
                  </a:lnTo>
                  <a:lnTo>
                    <a:pt x="1834465" y="197447"/>
                  </a:lnTo>
                  <a:lnTo>
                    <a:pt x="1834465" y="199530"/>
                  </a:lnTo>
                  <a:lnTo>
                    <a:pt x="1834515" y="199530"/>
                  </a:lnTo>
                  <a:lnTo>
                    <a:pt x="1834515" y="198831"/>
                  </a:lnTo>
                  <a:lnTo>
                    <a:pt x="1834566" y="198831"/>
                  </a:lnTo>
                  <a:lnTo>
                    <a:pt x="1834566" y="199530"/>
                  </a:lnTo>
                  <a:lnTo>
                    <a:pt x="1834566" y="198831"/>
                  </a:lnTo>
                  <a:lnTo>
                    <a:pt x="1834566" y="199530"/>
                  </a:lnTo>
                  <a:lnTo>
                    <a:pt x="1834566" y="198831"/>
                  </a:lnTo>
                  <a:lnTo>
                    <a:pt x="1834566" y="199530"/>
                  </a:lnTo>
                  <a:lnTo>
                    <a:pt x="1834655" y="199530"/>
                  </a:lnTo>
                  <a:lnTo>
                    <a:pt x="1834655" y="198831"/>
                  </a:lnTo>
                  <a:lnTo>
                    <a:pt x="1834655" y="199530"/>
                  </a:lnTo>
                  <a:lnTo>
                    <a:pt x="1834655" y="197447"/>
                  </a:lnTo>
                  <a:lnTo>
                    <a:pt x="1834655" y="198831"/>
                  </a:lnTo>
                  <a:lnTo>
                    <a:pt x="1834706" y="197447"/>
                  </a:lnTo>
                  <a:lnTo>
                    <a:pt x="1834706" y="196799"/>
                  </a:lnTo>
                  <a:lnTo>
                    <a:pt x="1834706" y="197447"/>
                  </a:lnTo>
                  <a:lnTo>
                    <a:pt x="1834706" y="196113"/>
                  </a:lnTo>
                  <a:lnTo>
                    <a:pt x="1834757" y="196113"/>
                  </a:lnTo>
                  <a:lnTo>
                    <a:pt x="1834757" y="195415"/>
                  </a:lnTo>
                  <a:lnTo>
                    <a:pt x="1834757" y="196799"/>
                  </a:lnTo>
                  <a:lnTo>
                    <a:pt x="1834808" y="196799"/>
                  </a:lnTo>
                  <a:lnTo>
                    <a:pt x="1834808" y="197447"/>
                  </a:lnTo>
                  <a:lnTo>
                    <a:pt x="1834808" y="195415"/>
                  </a:lnTo>
                  <a:lnTo>
                    <a:pt x="1834808" y="198831"/>
                  </a:lnTo>
                  <a:lnTo>
                    <a:pt x="1834909" y="198831"/>
                  </a:lnTo>
                  <a:lnTo>
                    <a:pt x="1834909" y="196799"/>
                  </a:lnTo>
                  <a:lnTo>
                    <a:pt x="1834909" y="198831"/>
                  </a:lnTo>
                  <a:lnTo>
                    <a:pt x="1834960" y="198831"/>
                  </a:lnTo>
                  <a:lnTo>
                    <a:pt x="1834960" y="197447"/>
                  </a:lnTo>
                  <a:lnTo>
                    <a:pt x="1834960" y="199530"/>
                  </a:lnTo>
                  <a:lnTo>
                    <a:pt x="1834960" y="198831"/>
                  </a:lnTo>
                  <a:lnTo>
                    <a:pt x="1835011" y="198831"/>
                  </a:lnTo>
                  <a:lnTo>
                    <a:pt x="1835011" y="199530"/>
                  </a:lnTo>
                  <a:lnTo>
                    <a:pt x="1835011" y="198831"/>
                  </a:lnTo>
                  <a:lnTo>
                    <a:pt x="1835011" y="199530"/>
                  </a:lnTo>
                  <a:lnTo>
                    <a:pt x="1835011" y="198831"/>
                  </a:lnTo>
                  <a:lnTo>
                    <a:pt x="1835011" y="199530"/>
                  </a:lnTo>
                  <a:lnTo>
                    <a:pt x="1835112" y="199530"/>
                  </a:lnTo>
                  <a:lnTo>
                    <a:pt x="1835112" y="198831"/>
                  </a:lnTo>
                  <a:lnTo>
                    <a:pt x="1835112" y="199530"/>
                  </a:lnTo>
                  <a:lnTo>
                    <a:pt x="1835150" y="199530"/>
                  </a:lnTo>
                  <a:lnTo>
                    <a:pt x="1835150" y="198831"/>
                  </a:lnTo>
                  <a:lnTo>
                    <a:pt x="1835150" y="199530"/>
                  </a:lnTo>
                  <a:lnTo>
                    <a:pt x="1835150" y="198831"/>
                  </a:lnTo>
                  <a:lnTo>
                    <a:pt x="1835150" y="199530"/>
                  </a:lnTo>
                  <a:lnTo>
                    <a:pt x="1835150" y="198831"/>
                  </a:lnTo>
                  <a:lnTo>
                    <a:pt x="1835150" y="199530"/>
                  </a:lnTo>
                  <a:lnTo>
                    <a:pt x="1835150" y="198831"/>
                  </a:lnTo>
                  <a:lnTo>
                    <a:pt x="1835201" y="198831"/>
                  </a:lnTo>
                  <a:lnTo>
                    <a:pt x="1835201" y="196799"/>
                  </a:lnTo>
                  <a:lnTo>
                    <a:pt x="1835201" y="197447"/>
                  </a:lnTo>
                  <a:lnTo>
                    <a:pt x="1835252" y="196799"/>
                  </a:lnTo>
                  <a:lnTo>
                    <a:pt x="1835252" y="196113"/>
                  </a:lnTo>
                  <a:lnTo>
                    <a:pt x="1835252" y="197447"/>
                  </a:lnTo>
                  <a:lnTo>
                    <a:pt x="1835252" y="196799"/>
                  </a:lnTo>
                  <a:lnTo>
                    <a:pt x="1835354" y="196799"/>
                  </a:lnTo>
                  <a:lnTo>
                    <a:pt x="1835354" y="196113"/>
                  </a:lnTo>
                  <a:lnTo>
                    <a:pt x="1835354" y="198831"/>
                  </a:lnTo>
                  <a:lnTo>
                    <a:pt x="1835354" y="197447"/>
                  </a:lnTo>
                  <a:lnTo>
                    <a:pt x="1835354" y="198831"/>
                  </a:lnTo>
                  <a:lnTo>
                    <a:pt x="1835354" y="197447"/>
                  </a:lnTo>
                  <a:lnTo>
                    <a:pt x="1835405" y="197447"/>
                  </a:lnTo>
                  <a:lnTo>
                    <a:pt x="1835405" y="199530"/>
                  </a:lnTo>
                  <a:lnTo>
                    <a:pt x="1835405" y="197447"/>
                  </a:lnTo>
                  <a:lnTo>
                    <a:pt x="1835455" y="197447"/>
                  </a:lnTo>
                  <a:lnTo>
                    <a:pt x="1835455" y="198831"/>
                  </a:lnTo>
                  <a:lnTo>
                    <a:pt x="1835455" y="197447"/>
                  </a:lnTo>
                  <a:lnTo>
                    <a:pt x="1835455" y="198831"/>
                  </a:lnTo>
                  <a:lnTo>
                    <a:pt x="1835455" y="197447"/>
                  </a:lnTo>
                  <a:lnTo>
                    <a:pt x="1835455" y="199530"/>
                  </a:lnTo>
                  <a:lnTo>
                    <a:pt x="1835455" y="198831"/>
                  </a:lnTo>
                  <a:lnTo>
                    <a:pt x="1835557" y="198831"/>
                  </a:lnTo>
                  <a:lnTo>
                    <a:pt x="1835557" y="199530"/>
                  </a:lnTo>
                  <a:lnTo>
                    <a:pt x="1835557" y="198831"/>
                  </a:lnTo>
                  <a:lnTo>
                    <a:pt x="1835557" y="199530"/>
                  </a:lnTo>
                  <a:lnTo>
                    <a:pt x="1835557" y="198831"/>
                  </a:lnTo>
                  <a:lnTo>
                    <a:pt x="1835557" y="199530"/>
                  </a:lnTo>
                  <a:lnTo>
                    <a:pt x="1835608" y="199530"/>
                  </a:lnTo>
                  <a:lnTo>
                    <a:pt x="1835608" y="198831"/>
                  </a:lnTo>
                  <a:lnTo>
                    <a:pt x="1835608" y="199530"/>
                  </a:lnTo>
                  <a:lnTo>
                    <a:pt x="1835608" y="198831"/>
                  </a:lnTo>
                  <a:lnTo>
                    <a:pt x="1835608" y="199530"/>
                  </a:lnTo>
                  <a:lnTo>
                    <a:pt x="1835659" y="199530"/>
                  </a:lnTo>
                  <a:lnTo>
                    <a:pt x="1835659" y="198831"/>
                  </a:lnTo>
                  <a:lnTo>
                    <a:pt x="1835659" y="199530"/>
                  </a:lnTo>
                  <a:lnTo>
                    <a:pt x="1835659" y="197447"/>
                  </a:lnTo>
                  <a:lnTo>
                    <a:pt x="1835659" y="198831"/>
                  </a:lnTo>
                  <a:lnTo>
                    <a:pt x="1835697" y="198831"/>
                  </a:lnTo>
                  <a:lnTo>
                    <a:pt x="1835697" y="196113"/>
                  </a:lnTo>
                  <a:lnTo>
                    <a:pt x="1835798" y="196799"/>
                  </a:lnTo>
                  <a:lnTo>
                    <a:pt x="1835798" y="194716"/>
                  </a:lnTo>
                  <a:lnTo>
                    <a:pt x="1835798" y="196113"/>
                  </a:lnTo>
                  <a:lnTo>
                    <a:pt x="1835798" y="195415"/>
                  </a:lnTo>
                  <a:lnTo>
                    <a:pt x="1835849" y="195415"/>
                  </a:lnTo>
                  <a:lnTo>
                    <a:pt x="1835849" y="194716"/>
                  </a:lnTo>
                  <a:lnTo>
                    <a:pt x="1835849" y="197447"/>
                  </a:lnTo>
                  <a:lnTo>
                    <a:pt x="1835849" y="196799"/>
                  </a:lnTo>
                  <a:lnTo>
                    <a:pt x="1835900" y="196113"/>
                  </a:lnTo>
                  <a:lnTo>
                    <a:pt x="1835900" y="198831"/>
                  </a:lnTo>
                  <a:lnTo>
                    <a:pt x="1835900" y="196799"/>
                  </a:lnTo>
                  <a:lnTo>
                    <a:pt x="1836001" y="196799"/>
                  </a:lnTo>
                  <a:lnTo>
                    <a:pt x="1836001" y="198831"/>
                  </a:lnTo>
                  <a:lnTo>
                    <a:pt x="1836001" y="197447"/>
                  </a:lnTo>
                  <a:lnTo>
                    <a:pt x="1836001" y="198831"/>
                  </a:lnTo>
                  <a:lnTo>
                    <a:pt x="1836052" y="198831"/>
                  </a:lnTo>
                  <a:lnTo>
                    <a:pt x="1836052" y="197447"/>
                  </a:lnTo>
                  <a:lnTo>
                    <a:pt x="1836052" y="198831"/>
                  </a:lnTo>
                  <a:lnTo>
                    <a:pt x="1836052" y="197447"/>
                  </a:lnTo>
                  <a:lnTo>
                    <a:pt x="1836052" y="198831"/>
                  </a:lnTo>
                  <a:lnTo>
                    <a:pt x="1836103" y="198831"/>
                  </a:lnTo>
                  <a:lnTo>
                    <a:pt x="1836103" y="199530"/>
                  </a:lnTo>
                  <a:lnTo>
                    <a:pt x="1836103" y="198831"/>
                  </a:lnTo>
                  <a:lnTo>
                    <a:pt x="1836154" y="198831"/>
                  </a:lnTo>
                  <a:lnTo>
                    <a:pt x="1836154" y="199530"/>
                  </a:lnTo>
                  <a:lnTo>
                    <a:pt x="1836154" y="198831"/>
                  </a:lnTo>
                  <a:lnTo>
                    <a:pt x="1836154" y="199530"/>
                  </a:lnTo>
                  <a:lnTo>
                    <a:pt x="1836154" y="197447"/>
                  </a:lnTo>
                  <a:lnTo>
                    <a:pt x="1836243" y="197447"/>
                  </a:lnTo>
                  <a:lnTo>
                    <a:pt x="1836243" y="196799"/>
                  </a:lnTo>
                  <a:lnTo>
                    <a:pt x="1836243" y="197447"/>
                  </a:lnTo>
                  <a:lnTo>
                    <a:pt x="1836243" y="195415"/>
                  </a:lnTo>
                  <a:lnTo>
                    <a:pt x="1836294" y="196113"/>
                  </a:lnTo>
                  <a:lnTo>
                    <a:pt x="1836294" y="195415"/>
                  </a:lnTo>
                  <a:lnTo>
                    <a:pt x="1836294" y="196799"/>
                  </a:lnTo>
                  <a:lnTo>
                    <a:pt x="1836294" y="195415"/>
                  </a:lnTo>
                  <a:lnTo>
                    <a:pt x="1836344" y="194716"/>
                  </a:lnTo>
                  <a:lnTo>
                    <a:pt x="1836344" y="196799"/>
                  </a:lnTo>
                  <a:lnTo>
                    <a:pt x="1836344" y="196113"/>
                  </a:lnTo>
                  <a:lnTo>
                    <a:pt x="1836395" y="196113"/>
                  </a:lnTo>
                  <a:lnTo>
                    <a:pt x="1836395" y="196799"/>
                  </a:lnTo>
                  <a:lnTo>
                    <a:pt x="1836395" y="196113"/>
                  </a:lnTo>
                  <a:lnTo>
                    <a:pt x="1836497" y="196799"/>
                  </a:lnTo>
                  <a:lnTo>
                    <a:pt x="1836547" y="196799"/>
                  </a:lnTo>
                  <a:lnTo>
                    <a:pt x="1836547" y="197447"/>
                  </a:lnTo>
                  <a:lnTo>
                    <a:pt x="1836547" y="196799"/>
                  </a:lnTo>
                  <a:lnTo>
                    <a:pt x="1836598" y="197447"/>
                  </a:lnTo>
                  <a:lnTo>
                    <a:pt x="1836598" y="198831"/>
                  </a:lnTo>
                  <a:lnTo>
                    <a:pt x="1836598" y="197447"/>
                  </a:lnTo>
                  <a:lnTo>
                    <a:pt x="1836598" y="198831"/>
                  </a:lnTo>
                  <a:lnTo>
                    <a:pt x="1836700" y="198831"/>
                  </a:lnTo>
                  <a:lnTo>
                    <a:pt x="1836700" y="196799"/>
                  </a:lnTo>
                  <a:lnTo>
                    <a:pt x="1836738" y="197447"/>
                  </a:lnTo>
                  <a:lnTo>
                    <a:pt x="1836738" y="196113"/>
                  </a:lnTo>
                  <a:lnTo>
                    <a:pt x="1836789" y="196113"/>
                  </a:lnTo>
                  <a:lnTo>
                    <a:pt x="1836789" y="196799"/>
                  </a:lnTo>
                  <a:lnTo>
                    <a:pt x="1836789" y="195415"/>
                  </a:lnTo>
                  <a:lnTo>
                    <a:pt x="1836789" y="196799"/>
                  </a:lnTo>
                  <a:lnTo>
                    <a:pt x="1836840" y="197447"/>
                  </a:lnTo>
                  <a:lnTo>
                    <a:pt x="1836840" y="198831"/>
                  </a:lnTo>
                  <a:lnTo>
                    <a:pt x="1836840" y="197447"/>
                  </a:lnTo>
                  <a:lnTo>
                    <a:pt x="1836840" y="198831"/>
                  </a:lnTo>
                  <a:lnTo>
                    <a:pt x="1836840" y="196799"/>
                  </a:lnTo>
                  <a:lnTo>
                    <a:pt x="1836840" y="198831"/>
                  </a:lnTo>
                  <a:lnTo>
                    <a:pt x="1836941" y="198831"/>
                  </a:lnTo>
                  <a:lnTo>
                    <a:pt x="1836941" y="196799"/>
                  </a:lnTo>
                  <a:lnTo>
                    <a:pt x="1836941" y="197447"/>
                  </a:lnTo>
                  <a:lnTo>
                    <a:pt x="1836941" y="196799"/>
                  </a:lnTo>
                  <a:lnTo>
                    <a:pt x="1836941" y="198831"/>
                  </a:lnTo>
                  <a:lnTo>
                    <a:pt x="1836992" y="198831"/>
                  </a:lnTo>
                  <a:lnTo>
                    <a:pt x="1836992" y="197447"/>
                  </a:lnTo>
                  <a:lnTo>
                    <a:pt x="1836992" y="198831"/>
                  </a:lnTo>
                  <a:lnTo>
                    <a:pt x="1837043" y="198831"/>
                  </a:lnTo>
                  <a:lnTo>
                    <a:pt x="1837043" y="197447"/>
                  </a:lnTo>
                  <a:lnTo>
                    <a:pt x="1837043" y="198831"/>
                  </a:lnTo>
                  <a:lnTo>
                    <a:pt x="1837043" y="197447"/>
                  </a:lnTo>
                  <a:lnTo>
                    <a:pt x="1837043" y="198831"/>
                  </a:lnTo>
                  <a:lnTo>
                    <a:pt x="1837195" y="198831"/>
                  </a:lnTo>
                  <a:lnTo>
                    <a:pt x="1837195" y="196799"/>
                  </a:lnTo>
                  <a:lnTo>
                    <a:pt x="1837195" y="197447"/>
                  </a:lnTo>
                  <a:lnTo>
                    <a:pt x="1837246" y="197447"/>
                  </a:lnTo>
                  <a:lnTo>
                    <a:pt x="1837246" y="196799"/>
                  </a:lnTo>
                  <a:lnTo>
                    <a:pt x="1837246" y="197447"/>
                  </a:lnTo>
                  <a:lnTo>
                    <a:pt x="1837284" y="197447"/>
                  </a:lnTo>
                  <a:lnTo>
                    <a:pt x="1837284" y="196799"/>
                  </a:lnTo>
                  <a:lnTo>
                    <a:pt x="1837284" y="199530"/>
                  </a:lnTo>
                  <a:lnTo>
                    <a:pt x="1837386" y="199530"/>
                  </a:lnTo>
                  <a:lnTo>
                    <a:pt x="1837386" y="198831"/>
                  </a:lnTo>
                  <a:lnTo>
                    <a:pt x="1837386" y="200228"/>
                  </a:lnTo>
                  <a:lnTo>
                    <a:pt x="1837386" y="199530"/>
                  </a:lnTo>
                  <a:lnTo>
                    <a:pt x="1837437" y="199530"/>
                  </a:lnTo>
                  <a:lnTo>
                    <a:pt x="1837437" y="198831"/>
                  </a:lnTo>
                  <a:lnTo>
                    <a:pt x="1837437" y="199530"/>
                  </a:lnTo>
                  <a:lnTo>
                    <a:pt x="1837437" y="198831"/>
                  </a:lnTo>
                  <a:lnTo>
                    <a:pt x="1837437" y="199530"/>
                  </a:lnTo>
                  <a:lnTo>
                    <a:pt x="1837437" y="198831"/>
                  </a:lnTo>
                  <a:lnTo>
                    <a:pt x="1837437" y="199530"/>
                  </a:lnTo>
                  <a:lnTo>
                    <a:pt x="1837487" y="199530"/>
                  </a:lnTo>
                  <a:lnTo>
                    <a:pt x="1837487" y="198831"/>
                  </a:lnTo>
                  <a:lnTo>
                    <a:pt x="1837487" y="199530"/>
                  </a:lnTo>
                  <a:lnTo>
                    <a:pt x="1837487" y="198831"/>
                  </a:lnTo>
                  <a:lnTo>
                    <a:pt x="1837589" y="199530"/>
                  </a:lnTo>
                  <a:lnTo>
                    <a:pt x="1837589" y="198831"/>
                  </a:lnTo>
                  <a:lnTo>
                    <a:pt x="1837589" y="199530"/>
                  </a:lnTo>
                  <a:lnTo>
                    <a:pt x="1837640" y="199530"/>
                  </a:lnTo>
                  <a:lnTo>
                    <a:pt x="1837640" y="198831"/>
                  </a:lnTo>
                  <a:lnTo>
                    <a:pt x="1837690" y="198831"/>
                  </a:lnTo>
                  <a:lnTo>
                    <a:pt x="1837690" y="196113"/>
                  </a:lnTo>
                  <a:lnTo>
                    <a:pt x="1837690" y="196799"/>
                  </a:lnTo>
                  <a:lnTo>
                    <a:pt x="1837690" y="196113"/>
                  </a:lnTo>
                  <a:lnTo>
                    <a:pt x="1837741" y="195415"/>
                  </a:lnTo>
                  <a:lnTo>
                    <a:pt x="1837741" y="197447"/>
                  </a:lnTo>
                  <a:lnTo>
                    <a:pt x="1837741" y="195415"/>
                  </a:lnTo>
                  <a:lnTo>
                    <a:pt x="1837741" y="196113"/>
                  </a:lnTo>
                  <a:lnTo>
                    <a:pt x="1837830" y="196113"/>
                  </a:lnTo>
                  <a:lnTo>
                    <a:pt x="1837830" y="198831"/>
                  </a:lnTo>
                  <a:lnTo>
                    <a:pt x="1837830" y="197447"/>
                  </a:lnTo>
                  <a:lnTo>
                    <a:pt x="1837881" y="198831"/>
                  </a:lnTo>
                  <a:lnTo>
                    <a:pt x="1837881" y="200228"/>
                  </a:lnTo>
                  <a:lnTo>
                    <a:pt x="1837881" y="198831"/>
                  </a:lnTo>
                  <a:lnTo>
                    <a:pt x="1837932" y="199530"/>
                  </a:lnTo>
                  <a:lnTo>
                    <a:pt x="1837932" y="198831"/>
                  </a:lnTo>
                  <a:lnTo>
                    <a:pt x="1837932" y="199530"/>
                  </a:lnTo>
                  <a:lnTo>
                    <a:pt x="1837932" y="198831"/>
                  </a:lnTo>
                  <a:lnTo>
                    <a:pt x="1837932" y="199530"/>
                  </a:lnTo>
                  <a:lnTo>
                    <a:pt x="1838084" y="199530"/>
                  </a:lnTo>
                  <a:lnTo>
                    <a:pt x="1838084" y="200228"/>
                  </a:lnTo>
                  <a:lnTo>
                    <a:pt x="1838084" y="199530"/>
                  </a:lnTo>
                  <a:lnTo>
                    <a:pt x="1838084" y="200228"/>
                  </a:lnTo>
                  <a:lnTo>
                    <a:pt x="1838084" y="199530"/>
                  </a:lnTo>
                  <a:lnTo>
                    <a:pt x="1838135" y="199530"/>
                  </a:lnTo>
                  <a:lnTo>
                    <a:pt x="1838135" y="200228"/>
                  </a:lnTo>
                  <a:lnTo>
                    <a:pt x="1838135" y="197447"/>
                  </a:lnTo>
                  <a:lnTo>
                    <a:pt x="1838186" y="197447"/>
                  </a:lnTo>
                  <a:lnTo>
                    <a:pt x="1838186" y="196113"/>
                  </a:lnTo>
                  <a:lnTo>
                    <a:pt x="1838186" y="196799"/>
                  </a:lnTo>
                  <a:lnTo>
                    <a:pt x="1838287" y="197447"/>
                  </a:lnTo>
                  <a:lnTo>
                    <a:pt x="1838287" y="198831"/>
                  </a:lnTo>
                  <a:lnTo>
                    <a:pt x="1838287" y="196113"/>
                  </a:lnTo>
                  <a:lnTo>
                    <a:pt x="1838287" y="199530"/>
                  </a:lnTo>
                  <a:lnTo>
                    <a:pt x="1838325" y="200228"/>
                  </a:lnTo>
                  <a:lnTo>
                    <a:pt x="1838325" y="197447"/>
                  </a:lnTo>
                  <a:lnTo>
                    <a:pt x="1838325" y="200228"/>
                  </a:lnTo>
                  <a:lnTo>
                    <a:pt x="1838325" y="199530"/>
                  </a:lnTo>
                  <a:lnTo>
                    <a:pt x="1838376" y="199530"/>
                  </a:lnTo>
                  <a:lnTo>
                    <a:pt x="1838376" y="198831"/>
                  </a:lnTo>
                  <a:lnTo>
                    <a:pt x="1838376" y="199530"/>
                  </a:lnTo>
                  <a:lnTo>
                    <a:pt x="1838427" y="199530"/>
                  </a:lnTo>
                  <a:lnTo>
                    <a:pt x="1838427" y="198831"/>
                  </a:lnTo>
                  <a:lnTo>
                    <a:pt x="1838427" y="199530"/>
                  </a:lnTo>
                  <a:lnTo>
                    <a:pt x="1838427" y="198831"/>
                  </a:lnTo>
                  <a:lnTo>
                    <a:pt x="1838427" y="199530"/>
                  </a:lnTo>
                  <a:lnTo>
                    <a:pt x="1838427" y="198831"/>
                  </a:lnTo>
                  <a:lnTo>
                    <a:pt x="1838427" y="199530"/>
                  </a:lnTo>
                  <a:lnTo>
                    <a:pt x="1838427" y="198831"/>
                  </a:lnTo>
                  <a:lnTo>
                    <a:pt x="1838427" y="199530"/>
                  </a:lnTo>
                  <a:lnTo>
                    <a:pt x="1838529" y="199530"/>
                  </a:lnTo>
                  <a:lnTo>
                    <a:pt x="1838529" y="200228"/>
                  </a:lnTo>
                  <a:lnTo>
                    <a:pt x="1838529" y="199530"/>
                  </a:lnTo>
                  <a:lnTo>
                    <a:pt x="1838580" y="199530"/>
                  </a:lnTo>
                  <a:lnTo>
                    <a:pt x="1838580" y="198831"/>
                  </a:lnTo>
                  <a:lnTo>
                    <a:pt x="1838580" y="200228"/>
                  </a:lnTo>
                  <a:lnTo>
                    <a:pt x="1838580" y="198831"/>
                  </a:lnTo>
                  <a:lnTo>
                    <a:pt x="1838630" y="198831"/>
                  </a:lnTo>
                  <a:lnTo>
                    <a:pt x="1838630" y="199530"/>
                  </a:lnTo>
                  <a:lnTo>
                    <a:pt x="1838630" y="196799"/>
                  </a:lnTo>
                  <a:lnTo>
                    <a:pt x="1838732" y="196799"/>
                  </a:lnTo>
                  <a:lnTo>
                    <a:pt x="1838732" y="195415"/>
                  </a:lnTo>
                  <a:lnTo>
                    <a:pt x="1838732" y="196799"/>
                  </a:lnTo>
                  <a:lnTo>
                    <a:pt x="1838783" y="196799"/>
                  </a:lnTo>
                  <a:lnTo>
                    <a:pt x="1838783" y="195415"/>
                  </a:lnTo>
                  <a:lnTo>
                    <a:pt x="1838783" y="197447"/>
                  </a:lnTo>
                  <a:lnTo>
                    <a:pt x="1838834" y="197447"/>
                  </a:lnTo>
                  <a:lnTo>
                    <a:pt x="1838834" y="198831"/>
                  </a:lnTo>
                  <a:lnTo>
                    <a:pt x="1838834" y="196799"/>
                  </a:lnTo>
                  <a:lnTo>
                    <a:pt x="1838834" y="198831"/>
                  </a:lnTo>
                  <a:lnTo>
                    <a:pt x="1838872" y="197447"/>
                  </a:lnTo>
                  <a:lnTo>
                    <a:pt x="1838872" y="199530"/>
                  </a:lnTo>
                  <a:lnTo>
                    <a:pt x="1838872" y="198831"/>
                  </a:lnTo>
                  <a:lnTo>
                    <a:pt x="1838872" y="199530"/>
                  </a:lnTo>
                  <a:lnTo>
                    <a:pt x="1838973" y="199530"/>
                  </a:lnTo>
                  <a:lnTo>
                    <a:pt x="1838973" y="198831"/>
                  </a:lnTo>
                  <a:lnTo>
                    <a:pt x="1838973" y="199530"/>
                  </a:lnTo>
                  <a:lnTo>
                    <a:pt x="1839024" y="199530"/>
                  </a:lnTo>
                  <a:lnTo>
                    <a:pt x="1839024" y="198831"/>
                  </a:lnTo>
                  <a:lnTo>
                    <a:pt x="1839024" y="199530"/>
                  </a:lnTo>
                  <a:lnTo>
                    <a:pt x="1839075" y="200228"/>
                  </a:lnTo>
                  <a:lnTo>
                    <a:pt x="1839075" y="199530"/>
                  </a:lnTo>
                  <a:lnTo>
                    <a:pt x="1839075" y="200228"/>
                  </a:lnTo>
                  <a:lnTo>
                    <a:pt x="1839075" y="199530"/>
                  </a:lnTo>
                  <a:lnTo>
                    <a:pt x="1839176" y="199530"/>
                  </a:lnTo>
                  <a:lnTo>
                    <a:pt x="1839176" y="197447"/>
                  </a:lnTo>
                  <a:lnTo>
                    <a:pt x="1839227" y="197447"/>
                  </a:lnTo>
                  <a:lnTo>
                    <a:pt x="1839227" y="196113"/>
                  </a:lnTo>
                  <a:lnTo>
                    <a:pt x="1839227" y="196799"/>
                  </a:lnTo>
                  <a:lnTo>
                    <a:pt x="1839278" y="196799"/>
                  </a:lnTo>
                  <a:lnTo>
                    <a:pt x="1839278" y="195415"/>
                  </a:lnTo>
                  <a:lnTo>
                    <a:pt x="1839278" y="197447"/>
                  </a:lnTo>
                  <a:lnTo>
                    <a:pt x="1839329" y="197447"/>
                  </a:lnTo>
                  <a:lnTo>
                    <a:pt x="1839329" y="196799"/>
                  </a:lnTo>
                  <a:lnTo>
                    <a:pt x="1839329" y="197447"/>
                  </a:lnTo>
                  <a:lnTo>
                    <a:pt x="1839418" y="197447"/>
                  </a:lnTo>
                  <a:lnTo>
                    <a:pt x="1839418" y="196799"/>
                  </a:lnTo>
                  <a:lnTo>
                    <a:pt x="1839418" y="197447"/>
                  </a:lnTo>
                  <a:lnTo>
                    <a:pt x="1839418" y="196799"/>
                  </a:lnTo>
                  <a:lnTo>
                    <a:pt x="1839469" y="196799"/>
                  </a:lnTo>
                  <a:lnTo>
                    <a:pt x="1839469" y="198831"/>
                  </a:lnTo>
                  <a:lnTo>
                    <a:pt x="1839519" y="198831"/>
                  </a:lnTo>
                  <a:lnTo>
                    <a:pt x="1839519" y="197447"/>
                  </a:lnTo>
                  <a:lnTo>
                    <a:pt x="1839519" y="199530"/>
                  </a:lnTo>
                  <a:lnTo>
                    <a:pt x="1839519" y="198831"/>
                  </a:lnTo>
                  <a:lnTo>
                    <a:pt x="1839570" y="198831"/>
                  </a:lnTo>
                  <a:lnTo>
                    <a:pt x="1839570" y="199530"/>
                  </a:lnTo>
                  <a:lnTo>
                    <a:pt x="1839570" y="198831"/>
                  </a:lnTo>
                  <a:lnTo>
                    <a:pt x="1839672" y="198831"/>
                  </a:lnTo>
                  <a:lnTo>
                    <a:pt x="1839672" y="196799"/>
                  </a:lnTo>
                  <a:lnTo>
                    <a:pt x="1839722" y="196799"/>
                  </a:lnTo>
                  <a:lnTo>
                    <a:pt x="1839722" y="197447"/>
                  </a:lnTo>
                  <a:lnTo>
                    <a:pt x="1839773" y="197447"/>
                  </a:lnTo>
                  <a:lnTo>
                    <a:pt x="1839773" y="199530"/>
                  </a:lnTo>
                  <a:lnTo>
                    <a:pt x="1839773" y="198831"/>
                  </a:lnTo>
                  <a:lnTo>
                    <a:pt x="1839773" y="199530"/>
                  </a:lnTo>
                  <a:lnTo>
                    <a:pt x="1839773" y="197447"/>
                  </a:lnTo>
                  <a:lnTo>
                    <a:pt x="1839773" y="198831"/>
                  </a:lnTo>
                  <a:lnTo>
                    <a:pt x="1839875" y="198831"/>
                  </a:lnTo>
                  <a:lnTo>
                    <a:pt x="1839875" y="197447"/>
                  </a:lnTo>
                  <a:lnTo>
                    <a:pt x="1839875" y="198831"/>
                  </a:lnTo>
                  <a:lnTo>
                    <a:pt x="1839913" y="198831"/>
                  </a:lnTo>
                  <a:lnTo>
                    <a:pt x="1839913" y="199530"/>
                  </a:lnTo>
                  <a:lnTo>
                    <a:pt x="1839913" y="198831"/>
                  </a:lnTo>
                  <a:lnTo>
                    <a:pt x="1839964" y="198831"/>
                  </a:lnTo>
                  <a:lnTo>
                    <a:pt x="1839964" y="199530"/>
                  </a:lnTo>
                  <a:lnTo>
                    <a:pt x="1840015" y="199530"/>
                  </a:lnTo>
                  <a:lnTo>
                    <a:pt x="1840015" y="198831"/>
                  </a:lnTo>
                  <a:lnTo>
                    <a:pt x="1840015" y="199530"/>
                  </a:lnTo>
                  <a:lnTo>
                    <a:pt x="1840015" y="198831"/>
                  </a:lnTo>
                  <a:lnTo>
                    <a:pt x="1840116" y="198831"/>
                  </a:lnTo>
                  <a:lnTo>
                    <a:pt x="1840116" y="197447"/>
                  </a:lnTo>
                  <a:lnTo>
                    <a:pt x="1840167" y="197447"/>
                  </a:lnTo>
                  <a:lnTo>
                    <a:pt x="1840167" y="196113"/>
                  </a:lnTo>
                  <a:lnTo>
                    <a:pt x="1840167" y="196799"/>
                  </a:lnTo>
                  <a:lnTo>
                    <a:pt x="1840167" y="196113"/>
                  </a:lnTo>
                  <a:lnTo>
                    <a:pt x="1840167" y="196799"/>
                  </a:lnTo>
                  <a:lnTo>
                    <a:pt x="1840218" y="196799"/>
                  </a:lnTo>
                  <a:lnTo>
                    <a:pt x="1840218" y="197447"/>
                  </a:lnTo>
                  <a:lnTo>
                    <a:pt x="1840218" y="196799"/>
                  </a:lnTo>
                  <a:lnTo>
                    <a:pt x="1840218" y="199530"/>
                  </a:lnTo>
                  <a:lnTo>
                    <a:pt x="1840319" y="199530"/>
                  </a:lnTo>
                  <a:lnTo>
                    <a:pt x="1840319" y="200228"/>
                  </a:lnTo>
                  <a:lnTo>
                    <a:pt x="1840319" y="198831"/>
                  </a:lnTo>
                  <a:lnTo>
                    <a:pt x="1840319" y="200228"/>
                  </a:lnTo>
                  <a:lnTo>
                    <a:pt x="1840370" y="200228"/>
                  </a:lnTo>
                  <a:lnTo>
                    <a:pt x="1840370" y="199530"/>
                  </a:lnTo>
                  <a:lnTo>
                    <a:pt x="1840370" y="200228"/>
                  </a:lnTo>
                  <a:lnTo>
                    <a:pt x="1840370" y="198831"/>
                  </a:lnTo>
                  <a:lnTo>
                    <a:pt x="1840370" y="199530"/>
                  </a:lnTo>
                  <a:lnTo>
                    <a:pt x="1840421" y="199530"/>
                  </a:lnTo>
                  <a:lnTo>
                    <a:pt x="1840421" y="198831"/>
                  </a:lnTo>
                  <a:lnTo>
                    <a:pt x="1840421" y="199530"/>
                  </a:lnTo>
                  <a:lnTo>
                    <a:pt x="1840421" y="198831"/>
                  </a:lnTo>
                  <a:lnTo>
                    <a:pt x="1840421" y="199530"/>
                  </a:lnTo>
                  <a:lnTo>
                    <a:pt x="1840459" y="199530"/>
                  </a:lnTo>
                  <a:lnTo>
                    <a:pt x="1840459" y="198831"/>
                  </a:lnTo>
                  <a:lnTo>
                    <a:pt x="1840459" y="199530"/>
                  </a:lnTo>
                  <a:lnTo>
                    <a:pt x="1840459" y="198831"/>
                  </a:lnTo>
                  <a:lnTo>
                    <a:pt x="1840459" y="199530"/>
                  </a:lnTo>
                  <a:lnTo>
                    <a:pt x="1840561" y="199530"/>
                  </a:lnTo>
                  <a:lnTo>
                    <a:pt x="1840561" y="198831"/>
                  </a:lnTo>
                  <a:lnTo>
                    <a:pt x="1840561" y="199530"/>
                  </a:lnTo>
                  <a:lnTo>
                    <a:pt x="1840561" y="198831"/>
                  </a:lnTo>
                  <a:lnTo>
                    <a:pt x="1840612" y="197447"/>
                  </a:lnTo>
                  <a:lnTo>
                    <a:pt x="1840612" y="196113"/>
                  </a:lnTo>
                  <a:lnTo>
                    <a:pt x="1840662" y="196113"/>
                  </a:lnTo>
                  <a:lnTo>
                    <a:pt x="1840662" y="194716"/>
                  </a:lnTo>
                  <a:lnTo>
                    <a:pt x="1840764" y="194716"/>
                  </a:lnTo>
                  <a:lnTo>
                    <a:pt x="1840764" y="196799"/>
                  </a:lnTo>
                  <a:lnTo>
                    <a:pt x="1840764" y="194716"/>
                  </a:lnTo>
                  <a:lnTo>
                    <a:pt x="1840764" y="197447"/>
                  </a:lnTo>
                  <a:lnTo>
                    <a:pt x="1840815" y="197447"/>
                  </a:lnTo>
                  <a:lnTo>
                    <a:pt x="1840815" y="196113"/>
                  </a:lnTo>
                  <a:lnTo>
                    <a:pt x="1840815" y="197447"/>
                  </a:lnTo>
                  <a:lnTo>
                    <a:pt x="1840865" y="197447"/>
                  </a:lnTo>
                  <a:lnTo>
                    <a:pt x="1840865" y="196799"/>
                  </a:lnTo>
                  <a:lnTo>
                    <a:pt x="1840865" y="197447"/>
                  </a:lnTo>
                  <a:lnTo>
                    <a:pt x="1840865" y="196799"/>
                  </a:lnTo>
                  <a:lnTo>
                    <a:pt x="1840865" y="197447"/>
                  </a:lnTo>
                  <a:lnTo>
                    <a:pt x="1840865" y="196799"/>
                  </a:lnTo>
                  <a:lnTo>
                    <a:pt x="1840865" y="197447"/>
                  </a:lnTo>
                  <a:lnTo>
                    <a:pt x="1840916" y="198831"/>
                  </a:lnTo>
                  <a:lnTo>
                    <a:pt x="1840916" y="197447"/>
                  </a:lnTo>
                  <a:lnTo>
                    <a:pt x="1840916" y="199530"/>
                  </a:lnTo>
                  <a:lnTo>
                    <a:pt x="1840916" y="198831"/>
                  </a:lnTo>
                  <a:lnTo>
                    <a:pt x="1841005" y="198831"/>
                  </a:lnTo>
                  <a:lnTo>
                    <a:pt x="1841005" y="199530"/>
                  </a:lnTo>
                  <a:lnTo>
                    <a:pt x="1841005" y="198831"/>
                  </a:lnTo>
                  <a:lnTo>
                    <a:pt x="1841005" y="199530"/>
                  </a:lnTo>
                  <a:lnTo>
                    <a:pt x="1841005" y="198831"/>
                  </a:lnTo>
                  <a:lnTo>
                    <a:pt x="1841005" y="199530"/>
                  </a:lnTo>
                  <a:lnTo>
                    <a:pt x="1841056" y="198831"/>
                  </a:lnTo>
                  <a:lnTo>
                    <a:pt x="1841056" y="199530"/>
                  </a:lnTo>
                  <a:lnTo>
                    <a:pt x="1841056" y="198831"/>
                  </a:lnTo>
                  <a:lnTo>
                    <a:pt x="1841056" y="199530"/>
                  </a:lnTo>
                  <a:lnTo>
                    <a:pt x="1841056" y="197447"/>
                  </a:lnTo>
                  <a:lnTo>
                    <a:pt x="1841056" y="198831"/>
                  </a:lnTo>
                  <a:lnTo>
                    <a:pt x="1841107" y="198831"/>
                  </a:lnTo>
                  <a:lnTo>
                    <a:pt x="1841107" y="196799"/>
                  </a:lnTo>
                  <a:lnTo>
                    <a:pt x="1841107" y="197447"/>
                  </a:lnTo>
                  <a:lnTo>
                    <a:pt x="1841107" y="196113"/>
                  </a:lnTo>
                  <a:lnTo>
                    <a:pt x="1841158" y="196113"/>
                  </a:lnTo>
                  <a:lnTo>
                    <a:pt x="1841158" y="194716"/>
                  </a:lnTo>
                  <a:lnTo>
                    <a:pt x="1841158" y="195415"/>
                  </a:lnTo>
                  <a:lnTo>
                    <a:pt x="1841158" y="194716"/>
                  </a:lnTo>
                  <a:lnTo>
                    <a:pt x="1841259" y="196113"/>
                  </a:lnTo>
                  <a:lnTo>
                    <a:pt x="1841259" y="194716"/>
                  </a:lnTo>
                  <a:lnTo>
                    <a:pt x="1841259" y="196799"/>
                  </a:lnTo>
                  <a:lnTo>
                    <a:pt x="1841310" y="197447"/>
                  </a:lnTo>
                  <a:lnTo>
                    <a:pt x="1841310" y="196113"/>
                  </a:lnTo>
                  <a:lnTo>
                    <a:pt x="1841310" y="197447"/>
                  </a:lnTo>
                  <a:lnTo>
                    <a:pt x="1841310" y="196799"/>
                  </a:lnTo>
                  <a:lnTo>
                    <a:pt x="1841310" y="197447"/>
                  </a:lnTo>
                  <a:lnTo>
                    <a:pt x="1841361" y="196799"/>
                  </a:lnTo>
                  <a:lnTo>
                    <a:pt x="1841361" y="196113"/>
                  </a:lnTo>
                  <a:lnTo>
                    <a:pt x="1841361" y="197447"/>
                  </a:lnTo>
                  <a:lnTo>
                    <a:pt x="1841462" y="197447"/>
                  </a:lnTo>
                  <a:lnTo>
                    <a:pt x="1841462" y="196799"/>
                  </a:lnTo>
                  <a:lnTo>
                    <a:pt x="1841462" y="198831"/>
                  </a:lnTo>
                  <a:lnTo>
                    <a:pt x="1841462" y="197447"/>
                  </a:lnTo>
                  <a:lnTo>
                    <a:pt x="1841500" y="197447"/>
                  </a:lnTo>
                  <a:lnTo>
                    <a:pt x="1841500" y="199530"/>
                  </a:lnTo>
                  <a:lnTo>
                    <a:pt x="1841500" y="198831"/>
                  </a:lnTo>
                  <a:lnTo>
                    <a:pt x="1841551" y="198831"/>
                  </a:lnTo>
                  <a:lnTo>
                    <a:pt x="1841551" y="197447"/>
                  </a:lnTo>
                  <a:lnTo>
                    <a:pt x="1841551" y="198831"/>
                  </a:lnTo>
                  <a:lnTo>
                    <a:pt x="1841551" y="197447"/>
                  </a:lnTo>
                  <a:lnTo>
                    <a:pt x="1841602" y="197447"/>
                  </a:lnTo>
                  <a:lnTo>
                    <a:pt x="1841602" y="196799"/>
                  </a:lnTo>
                  <a:lnTo>
                    <a:pt x="1841602" y="197447"/>
                  </a:lnTo>
                  <a:lnTo>
                    <a:pt x="1841602" y="196799"/>
                  </a:lnTo>
                  <a:lnTo>
                    <a:pt x="1841704" y="196113"/>
                  </a:lnTo>
                  <a:lnTo>
                    <a:pt x="1841704" y="194716"/>
                  </a:lnTo>
                  <a:lnTo>
                    <a:pt x="1841704" y="195415"/>
                  </a:lnTo>
                  <a:lnTo>
                    <a:pt x="1841755" y="195415"/>
                  </a:lnTo>
                  <a:lnTo>
                    <a:pt x="1841755" y="194716"/>
                  </a:lnTo>
                  <a:lnTo>
                    <a:pt x="1841755" y="196113"/>
                  </a:lnTo>
                  <a:lnTo>
                    <a:pt x="1841805" y="196113"/>
                  </a:lnTo>
                  <a:lnTo>
                    <a:pt x="1841805" y="195415"/>
                  </a:lnTo>
                  <a:lnTo>
                    <a:pt x="1841805" y="196113"/>
                  </a:lnTo>
                  <a:lnTo>
                    <a:pt x="1841907" y="196113"/>
                  </a:lnTo>
                  <a:lnTo>
                    <a:pt x="1841907" y="196799"/>
                  </a:lnTo>
                  <a:lnTo>
                    <a:pt x="1841907" y="196113"/>
                  </a:lnTo>
                  <a:lnTo>
                    <a:pt x="1841907" y="196799"/>
                  </a:lnTo>
                  <a:lnTo>
                    <a:pt x="1841907" y="196113"/>
                  </a:lnTo>
                  <a:lnTo>
                    <a:pt x="1841907" y="196799"/>
                  </a:lnTo>
                  <a:lnTo>
                    <a:pt x="1841958" y="196799"/>
                  </a:lnTo>
                  <a:lnTo>
                    <a:pt x="1841958" y="198831"/>
                  </a:lnTo>
                  <a:lnTo>
                    <a:pt x="1841958" y="196799"/>
                  </a:lnTo>
                  <a:lnTo>
                    <a:pt x="1841958" y="198831"/>
                  </a:lnTo>
                  <a:lnTo>
                    <a:pt x="1842009" y="198831"/>
                  </a:lnTo>
                  <a:lnTo>
                    <a:pt x="1842009" y="197447"/>
                  </a:lnTo>
                  <a:lnTo>
                    <a:pt x="1842009" y="198831"/>
                  </a:lnTo>
                  <a:lnTo>
                    <a:pt x="1842009" y="197447"/>
                  </a:lnTo>
                  <a:lnTo>
                    <a:pt x="1842009" y="199530"/>
                  </a:lnTo>
                  <a:lnTo>
                    <a:pt x="1842009" y="198831"/>
                  </a:lnTo>
                  <a:lnTo>
                    <a:pt x="1842047" y="198831"/>
                  </a:lnTo>
                  <a:lnTo>
                    <a:pt x="1842047" y="197447"/>
                  </a:lnTo>
                  <a:lnTo>
                    <a:pt x="1842047" y="198831"/>
                  </a:lnTo>
                  <a:lnTo>
                    <a:pt x="1842047" y="197447"/>
                  </a:lnTo>
                  <a:lnTo>
                    <a:pt x="1842047" y="198831"/>
                  </a:lnTo>
                  <a:lnTo>
                    <a:pt x="1842047" y="197447"/>
                  </a:lnTo>
                  <a:lnTo>
                    <a:pt x="1842148" y="197447"/>
                  </a:lnTo>
                  <a:lnTo>
                    <a:pt x="1842148" y="196799"/>
                  </a:lnTo>
                  <a:lnTo>
                    <a:pt x="1842148" y="197447"/>
                  </a:lnTo>
                  <a:lnTo>
                    <a:pt x="1842148" y="196799"/>
                  </a:lnTo>
                  <a:lnTo>
                    <a:pt x="1842199" y="196799"/>
                  </a:lnTo>
                  <a:lnTo>
                    <a:pt x="1842199" y="195415"/>
                  </a:lnTo>
                  <a:lnTo>
                    <a:pt x="1842199" y="196113"/>
                  </a:lnTo>
                  <a:lnTo>
                    <a:pt x="1842199" y="195415"/>
                  </a:lnTo>
                  <a:lnTo>
                    <a:pt x="1842199" y="196113"/>
                  </a:lnTo>
                  <a:lnTo>
                    <a:pt x="1842250" y="195415"/>
                  </a:lnTo>
                  <a:lnTo>
                    <a:pt x="1842250" y="196799"/>
                  </a:lnTo>
                  <a:lnTo>
                    <a:pt x="1842351" y="196799"/>
                  </a:lnTo>
                  <a:lnTo>
                    <a:pt x="1842351" y="195415"/>
                  </a:lnTo>
                  <a:lnTo>
                    <a:pt x="1842351" y="196799"/>
                  </a:lnTo>
                  <a:lnTo>
                    <a:pt x="1842351" y="196113"/>
                  </a:lnTo>
                  <a:lnTo>
                    <a:pt x="1842402" y="196799"/>
                  </a:lnTo>
                  <a:lnTo>
                    <a:pt x="1842402" y="195415"/>
                  </a:lnTo>
                  <a:lnTo>
                    <a:pt x="1842402" y="196799"/>
                  </a:lnTo>
                  <a:lnTo>
                    <a:pt x="1842402" y="196113"/>
                  </a:lnTo>
                  <a:lnTo>
                    <a:pt x="1842402" y="196799"/>
                  </a:lnTo>
                  <a:lnTo>
                    <a:pt x="1842453" y="196113"/>
                  </a:lnTo>
                  <a:lnTo>
                    <a:pt x="1842453" y="196799"/>
                  </a:lnTo>
                  <a:lnTo>
                    <a:pt x="1842504" y="196799"/>
                  </a:lnTo>
                  <a:lnTo>
                    <a:pt x="1842504" y="197447"/>
                  </a:lnTo>
                  <a:lnTo>
                    <a:pt x="1842593" y="197447"/>
                  </a:lnTo>
                  <a:lnTo>
                    <a:pt x="1842593" y="196799"/>
                  </a:lnTo>
                  <a:lnTo>
                    <a:pt x="1842593" y="197447"/>
                  </a:lnTo>
                  <a:lnTo>
                    <a:pt x="1842593" y="196799"/>
                  </a:lnTo>
                  <a:lnTo>
                    <a:pt x="1842593" y="197447"/>
                  </a:lnTo>
                  <a:lnTo>
                    <a:pt x="1842593" y="196799"/>
                  </a:lnTo>
                  <a:lnTo>
                    <a:pt x="1842593" y="197447"/>
                  </a:lnTo>
                  <a:lnTo>
                    <a:pt x="1842593" y="196799"/>
                  </a:lnTo>
                  <a:lnTo>
                    <a:pt x="1842593" y="197447"/>
                  </a:lnTo>
                  <a:lnTo>
                    <a:pt x="1842593" y="196799"/>
                  </a:lnTo>
                  <a:lnTo>
                    <a:pt x="1842644" y="196799"/>
                  </a:lnTo>
                  <a:lnTo>
                    <a:pt x="1842644" y="196113"/>
                  </a:lnTo>
                  <a:lnTo>
                    <a:pt x="1842694" y="196113"/>
                  </a:lnTo>
                  <a:lnTo>
                    <a:pt x="1842694" y="195415"/>
                  </a:lnTo>
                  <a:lnTo>
                    <a:pt x="1842694" y="196799"/>
                  </a:lnTo>
                  <a:lnTo>
                    <a:pt x="1842694" y="195415"/>
                  </a:lnTo>
                  <a:lnTo>
                    <a:pt x="1842694" y="196113"/>
                  </a:lnTo>
                  <a:lnTo>
                    <a:pt x="1842745" y="196113"/>
                  </a:lnTo>
                  <a:lnTo>
                    <a:pt x="1842745" y="197447"/>
                  </a:lnTo>
                  <a:lnTo>
                    <a:pt x="1842745" y="196799"/>
                  </a:lnTo>
                  <a:lnTo>
                    <a:pt x="1842745" y="197447"/>
                  </a:lnTo>
                  <a:lnTo>
                    <a:pt x="1842745" y="196799"/>
                  </a:lnTo>
                  <a:lnTo>
                    <a:pt x="1842847" y="196799"/>
                  </a:lnTo>
                  <a:lnTo>
                    <a:pt x="1842847" y="196113"/>
                  </a:lnTo>
                  <a:lnTo>
                    <a:pt x="1842847" y="197447"/>
                  </a:lnTo>
                  <a:lnTo>
                    <a:pt x="1842847" y="196799"/>
                  </a:lnTo>
                  <a:lnTo>
                    <a:pt x="1842897" y="196799"/>
                  </a:lnTo>
                  <a:lnTo>
                    <a:pt x="1842897" y="197447"/>
                  </a:lnTo>
                  <a:lnTo>
                    <a:pt x="1842897" y="196799"/>
                  </a:lnTo>
                  <a:lnTo>
                    <a:pt x="1842897" y="197447"/>
                  </a:lnTo>
                  <a:lnTo>
                    <a:pt x="1842948" y="197447"/>
                  </a:lnTo>
                  <a:lnTo>
                    <a:pt x="1842948" y="196799"/>
                  </a:lnTo>
                  <a:lnTo>
                    <a:pt x="1842948" y="198831"/>
                  </a:lnTo>
                  <a:lnTo>
                    <a:pt x="1842948" y="197447"/>
                  </a:lnTo>
                  <a:lnTo>
                    <a:pt x="1842948" y="198831"/>
                  </a:lnTo>
                  <a:lnTo>
                    <a:pt x="1842948" y="197447"/>
                  </a:lnTo>
                  <a:lnTo>
                    <a:pt x="1842948" y="198831"/>
                  </a:lnTo>
                  <a:lnTo>
                    <a:pt x="1843050" y="198831"/>
                  </a:lnTo>
                  <a:lnTo>
                    <a:pt x="1843050" y="197447"/>
                  </a:lnTo>
                  <a:lnTo>
                    <a:pt x="1843050" y="198831"/>
                  </a:lnTo>
                  <a:lnTo>
                    <a:pt x="1843050" y="197447"/>
                  </a:lnTo>
                  <a:lnTo>
                    <a:pt x="1843088" y="197447"/>
                  </a:lnTo>
                  <a:lnTo>
                    <a:pt x="1843088" y="198831"/>
                  </a:lnTo>
                  <a:lnTo>
                    <a:pt x="1843088" y="197447"/>
                  </a:lnTo>
                  <a:lnTo>
                    <a:pt x="1843088" y="198831"/>
                  </a:lnTo>
                  <a:lnTo>
                    <a:pt x="1843088" y="197447"/>
                  </a:lnTo>
                  <a:lnTo>
                    <a:pt x="1843139" y="197447"/>
                  </a:lnTo>
                  <a:lnTo>
                    <a:pt x="1843139" y="196799"/>
                  </a:lnTo>
                  <a:lnTo>
                    <a:pt x="1843139" y="197447"/>
                  </a:lnTo>
                  <a:lnTo>
                    <a:pt x="1843139" y="196113"/>
                  </a:lnTo>
                  <a:lnTo>
                    <a:pt x="1843190" y="196113"/>
                  </a:lnTo>
                  <a:lnTo>
                    <a:pt x="1843190" y="197447"/>
                  </a:lnTo>
                  <a:lnTo>
                    <a:pt x="1843190" y="196799"/>
                  </a:lnTo>
                  <a:lnTo>
                    <a:pt x="1843190" y="197447"/>
                  </a:lnTo>
                  <a:lnTo>
                    <a:pt x="1843190" y="196799"/>
                  </a:lnTo>
                  <a:lnTo>
                    <a:pt x="1843291" y="196113"/>
                  </a:lnTo>
                  <a:lnTo>
                    <a:pt x="1843291" y="198831"/>
                  </a:lnTo>
                  <a:lnTo>
                    <a:pt x="1843291" y="197447"/>
                  </a:lnTo>
                  <a:lnTo>
                    <a:pt x="1843291" y="198831"/>
                  </a:lnTo>
                  <a:lnTo>
                    <a:pt x="1843291" y="197447"/>
                  </a:lnTo>
                  <a:lnTo>
                    <a:pt x="1843342" y="197447"/>
                  </a:lnTo>
                  <a:lnTo>
                    <a:pt x="1843342" y="199530"/>
                  </a:lnTo>
                  <a:lnTo>
                    <a:pt x="1843342" y="197447"/>
                  </a:lnTo>
                  <a:lnTo>
                    <a:pt x="1843342" y="198831"/>
                  </a:lnTo>
                  <a:lnTo>
                    <a:pt x="1843393" y="198831"/>
                  </a:lnTo>
                  <a:lnTo>
                    <a:pt x="1843393" y="199530"/>
                  </a:lnTo>
                  <a:lnTo>
                    <a:pt x="1843393" y="198831"/>
                  </a:lnTo>
                  <a:lnTo>
                    <a:pt x="1843393" y="199530"/>
                  </a:lnTo>
                  <a:lnTo>
                    <a:pt x="1843393" y="198831"/>
                  </a:lnTo>
                  <a:lnTo>
                    <a:pt x="1843393" y="199530"/>
                  </a:lnTo>
                  <a:lnTo>
                    <a:pt x="1843494" y="199530"/>
                  </a:lnTo>
                  <a:lnTo>
                    <a:pt x="1843494" y="198831"/>
                  </a:lnTo>
                  <a:lnTo>
                    <a:pt x="1843494" y="199530"/>
                  </a:lnTo>
                  <a:lnTo>
                    <a:pt x="1843494" y="198831"/>
                  </a:lnTo>
                  <a:lnTo>
                    <a:pt x="1843545" y="198831"/>
                  </a:lnTo>
                  <a:lnTo>
                    <a:pt x="1843545" y="197447"/>
                  </a:lnTo>
                  <a:lnTo>
                    <a:pt x="1843545" y="198831"/>
                  </a:lnTo>
                  <a:lnTo>
                    <a:pt x="1843596" y="197447"/>
                  </a:lnTo>
                  <a:lnTo>
                    <a:pt x="1843596" y="198831"/>
                  </a:lnTo>
                  <a:lnTo>
                    <a:pt x="1843596" y="196799"/>
                  </a:lnTo>
                  <a:lnTo>
                    <a:pt x="1843596" y="197447"/>
                  </a:lnTo>
                  <a:lnTo>
                    <a:pt x="1843596" y="196799"/>
                  </a:lnTo>
                  <a:lnTo>
                    <a:pt x="1843634" y="196799"/>
                  </a:lnTo>
                  <a:lnTo>
                    <a:pt x="1843634" y="195415"/>
                  </a:lnTo>
                  <a:lnTo>
                    <a:pt x="1843634" y="196113"/>
                  </a:lnTo>
                  <a:lnTo>
                    <a:pt x="1843736" y="196113"/>
                  </a:lnTo>
                  <a:lnTo>
                    <a:pt x="1843736" y="194716"/>
                  </a:lnTo>
                  <a:lnTo>
                    <a:pt x="1843736" y="196113"/>
                  </a:lnTo>
                  <a:lnTo>
                    <a:pt x="1843736" y="195415"/>
                  </a:lnTo>
                  <a:lnTo>
                    <a:pt x="1843787" y="195415"/>
                  </a:lnTo>
                  <a:lnTo>
                    <a:pt x="1843787" y="197447"/>
                  </a:lnTo>
                  <a:lnTo>
                    <a:pt x="1843787" y="196113"/>
                  </a:lnTo>
                  <a:lnTo>
                    <a:pt x="1843837" y="196113"/>
                  </a:lnTo>
                  <a:lnTo>
                    <a:pt x="1843837" y="197447"/>
                  </a:lnTo>
                  <a:lnTo>
                    <a:pt x="1843837" y="196799"/>
                  </a:lnTo>
                  <a:lnTo>
                    <a:pt x="1843837" y="197447"/>
                  </a:lnTo>
                  <a:lnTo>
                    <a:pt x="1843939" y="197447"/>
                  </a:lnTo>
                  <a:lnTo>
                    <a:pt x="1843939" y="198831"/>
                  </a:lnTo>
                  <a:lnTo>
                    <a:pt x="1843939" y="197447"/>
                  </a:lnTo>
                  <a:lnTo>
                    <a:pt x="1843939" y="198831"/>
                  </a:lnTo>
                  <a:lnTo>
                    <a:pt x="1843939" y="197447"/>
                  </a:lnTo>
                  <a:lnTo>
                    <a:pt x="1843939" y="198831"/>
                  </a:lnTo>
                  <a:lnTo>
                    <a:pt x="1843990" y="198831"/>
                  </a:lnTo>
                  <a:lnTo>
                    <a:pt x="1843990" y="199530"/>
                  </a:lnTo>
                  <a:lnTo>
                    <a:pt x="1843990" y="197447"/>
                  </a:lnTo>
                  <a:lnTo>
                    <a:pt x="1843990" y="198831"/>
                  </a:lnTo>
                  <a:lnTo>
                    <a:pt x="1844040" y="198831"/>
                  </a:lnTo>
                  <a:lnTo>
                    <a:pt x="1844040" y="199530"/>
                  </a:lnTo>
                  <a:lnTo>
                    <a:pt x="1844040" y="198831"/>
                  </a:lnTo>
                  <a:lnTo>
                    <a:pt x="1844040" y="199530"/>
                  </a:lnTo>
                  <a:lnTo>
                    <a:pt x="1844040" y="198831"/>
                  </a:lnTo>
                  <a:lnTo>
                    <a:pt x="1844091" y="198831"/>
                  </a:lnTo>
                  <a:lnTo>
                    <a:pt x="1844091" y="196799"/>
                  </a:lnTo>
                  <a:lnTo>
                    <a:pt x="1844091" y="197447"/>
                  </a:lnTo>
                  <a:lnTo>
                    <a:pt x="1844180" y="197447"/>
                  </a:lnTo>
                  <a:lnTo>
                    <a:pt x="1844180" y="196799"/>
                  </a:lnTo>
                  <a:lnTo>
                    <a:pt x="1844180" y="197447"/>
                  </a:lnTo>
                  <a:lnTo>
                    <a:pt x="1844180" y="196113"/>
                  </a:lnTo>
                  <a:lnTo>
                    <a:pt x="1844180" y="196799"/>
                  </a:lnTo>
                  <a:lnTo>
                    <a:pt x="1844180" y="196113"/>
                  </a:lnTo>
                  <a:lnTo>
                    <a:pt x="1844180" y="197447"/>
                  </a:lnTo>
                  <a:lnTo>
                    <a:pt x="1844231" y="197447"/>
                  </a:lnTo>
                  <a:lnTo>
                    <a:pt x="1844231" y="196113"/>
                  </a:lnTo>
                  <a:lnTo>
                    <a:pt x="1844231" y="198831"/>
                  </a:lnTo>
                  <a:lnTo>
                    <a:pt x="1844282" y="198831"/>
                  </a:lnTo>
                  <a:lnTo>
                    <a:pt x="1844282" y="196799"/>
                  </a:lnTo>
                  <a:lnTo>
                    <a:pt x="1844282" y="199530"/>
                  </a:lnTo>
                  <a:lnTo>
                    <a:pt x="1844282" y="198831"/>
                  </a:lnTo>
                  <a:lnTo>
                    <a:pt x="1844333" y="198831"/>
                  </a:lnTo>
                  <a:lnTo>
                    <a:pt x="1844333" y="199530"/>
                  </a:lnTo>
                  <a:lnTo>
                    <a:pt x="1844333" y="198831"/>
                  </a:lnTo>
                  <a:lnTo>
                    <a:pt x="1844333" y="199530"/>
                  </a:lnTo>
                  <a:lnTo>
                    <a:pt x="1844333" y="198831"/>
                  </a:lnTo>
                  <a:lnTo>
                    <a:pt x="1844333" y="199530"/>
                  </a:lnTo>
                  <a:lnTo>
                    <a:pt x="1844434" y="199530"/>
                  </a:lnTo>
                  <a:lnTo>
                    <a:pt x="1844434" y="200228"/>
                  </a:lnTo>
                  <a:lnTo>
                    <a:pt x="1844434" y="199530"/>
                  </a:lnTo>
                  <a:lnTo>
                    <a:pt x="1844485" y="199530"/>
                  </a:lnTo>
                  <a:lnTo>
                    <a:pt x="1844485" y="198831"/>
                  </a:lnTo>
                  <a:lnTo>
                    <a:pt x="1844485" y="199530"/>
                  </a:lnTo>
                  <a:lnTo>
                    <a:pt x="1844485" y="198831"/>
                  </a:lnTo>
                  <a:lnTo>
                    <a:pt x="1844536" y="198831"/>
                  </a:lnTo>
                  <a:lnTo>
                    <a:pt x="1844536" y="199530"/>
                  </a:lnTo>
                  <a:lnTo>
                    <a:pt x="1844536" y="198831"/>
                  </a:lnTo>
                  <a:lnTo>
                    <a:pt x="1844637" y="198831"/>
                  </a:lnTo>
                  <a:lnTo>
                    <a:pt x="1844637" y="196799"/>
                  </a:lnTo>
                  <a:lnTo>
                    <a:pt x="1844637" y="197447"/>
                  </a:lnTo>
                  <a:lnTo>
                    <a:pt x="1844637" y="196799"/>
                  </a:lnTo>
                  <a:lnTo>
                    <a:pt x="1844675" y="196799"/>
                  </a:lnTo>
                  <a:lnTo>
                    <a:pt x="1844675" y="196113"/>
                  </a:lnTo>
                  <a:lnTo>
                    <a:pt x="1844675" y="196799"/>
                  </a:lnTo>
                  <a:lnTo>
                    <a:pt x="1844675" y="196113"/>
                  </a:lnTo>
                  <a:lnTo>
                    <a:pt x="1844675" y="196799"/>
                  </a:lnTo>
                  <a:lnTo>
                    <a:pt x="1844675" y="195415"/>
                  </a:lnTo>
                  <a:lnTo>
                    <a:pt x="1844675" y="196799"/>
                  </a:lnTo>
                  <a:lnTo>
                    <a:pt x="1844726" y="196799"/>
                  </a:lnTo>
                  <a:lnTo>
                    <a:pt x="1844726" y="195415"/>
                  </a:lnTo>
                  <a:lnTo>
                    <a:pt x="1844726" y="198831"/>
                  </a:lnTo>
                  <a:lnTo>
                    <a:pt x="1844777" y="197447"/>
                  </a:lnTo>
                  <a:lnTo>
                    <a:pt x="1844777" y="196799"/>
                  </a:lnTo>
                  <a:lnTo>
                    <a:pt x="1844777" y="198831"/>
                  </a:lnTo>
                  <a:lnTo>
                    <a:pt x="1844879" y="198831"/>
                  </a:lnTo>
                  <a:lnTo>
                    <a:pt x="1844879" y="197447"/>
                  </a:lnTo>
                  <a:lnTo>
                    <a:pt x="1844879" y="198831"/>
                  </a:lnTo>
                  <a:lnTo>
                    <a:pt x="1844879" y="197447"/>
                  </a:lnTo>
                  <a:lnTo>
                    <a:pt x="1844879" y="198831"/>
                  </a:lnTo>
                  <a:lnTo>
                    <a:pt x="1844879" y="197447"/>
                  </a:lnTo>
                  <a:lnTo>
                    <a:pt x="1844879" y="199530"/>
                  </a:lnTo>
                  <a:lnTo>
                    <a:pt x="1844879" y="198831"/>
                  </a:lnTo>
                  <a:lnTo>
                    <a:pt x="1844930" y="198831"/>
                  </a:lnTo>
                  <a:lnTo>
                    <a:pt x="1844930" y="199530"/>
                  </a:lnTo>
                  <a:lnTo>
                    <a:pt x="1844980" y="199530"/>
                  </a:lnTo>
                  <a:lnTo>
                    <a:pt x="1844980" y="200228"/>
                  </a:lnTo>
                  <a:lnTo>
                    <a:pt x="1844980" y="199530"/>
                  </a:lnTo>
                  <a:lnTo>
                    <a:pt x="1844980" y="200228"/>
                  </a:lnTo>
                  <a:lnTo>
                    <a:pt x="1844980" y="199530"/>
                  </a:lnTo>
                  <a:lnTo>
                    <a:pt x="1845082" y="199530"/>
                  </a:lnTo>
                  <a:lnTo>
                    <a:pt x="1845082" y="200228"/>
                  </a:lnTo>
                  <a:lnTo>
                    <a:pt x="1845082" y="199530"/>
                  </a:lnTo>
                  <a:lnTo>
                    <a:pt x="1845082" y="200228"/>
                  </a:lnTo>
                  <a:lnTo>
                    <a:pt x="1845082" y="198831"/>
                  </a:lnTo>
                  <a:lnTo>
                    <a:pt x="1845133" y="198831"/>
                  </a:lnTo>
                  <a:lnTo>
                    <a:pt x="1845133" y="196799"/>
                  </a:lnTo>
                  <a:lnTo>
                    <a:pt x="1845184" y="196799"/>
                  </a:lnTo>
                  <a:lnTo>
                    <a:pt x="1845184" y="196113"/>
                  </a:lnTo>
                  <a:lnTo>
                    <a:pt x="1845184" y="196799"/>
                  </a:lnTo>
                  <a:lnTo>
                    <a:pt x="1845184" y="196113"/>
                  </a:lnTo>
                  <a:lnTo>
                    <a:pt x="1845184" y="197447"/>
                  </a:lnTo>
                  <a:lnTo>
                    <a:pt x="1845184" y="196113"/>
                  </a:lnTo>
                  <a:lnTo>
                    <a:pt x="1845222" y="196113"/>
                  </a:lnTo>
                  <a:lnTo>
                    <a:pt x="1845222" y="198831"/>
                  </a:lnTo>
                  <a:lnTo>
                    <a:pt x="1845222" y="196799"/>
                  </a:lnTo>
                  <a:lnTo>
                    <a:pt x="1845323" y="196799"/>
                  </a:lnTo>
                  <a:lnTo>
                    <a:pt x="1845323" y="198831"/>
                  </a:lnTo>
                  <a:lnTo>
                    <a:pt x="1845323" y="197447"/>
                  </a:lnTo>
                  <a:lnTo>
                    <a:pt x="1845374" y="197447"/>
                  </a:lnTo>
                  <a:lnTo>
                    <a:pt x="1845374" y="198831"/>
                  </a:lnTo>
                  <a:lnTo>
                    <a:pt x="1845374" y="197447"/>
                  </a:lnTo>
                  <a:lnTo>
                    <a:pt x="1845425" y="197447"/>
                  </a:lnTo>
                  <a:lnTo>
                    <a:pt x="1845425" y="199530"/>
                  </a:lnTo>
                  <a:lnTo>
                    <a:pt x="1845425" y="198831"/>
                  </a:lnTo>
                  <a:lnTo>
                    <a:pt x="1845425" y="199530"/>
                  </a:lnTo>
                  <a:lnTo>
                    <a:pt x="1845425" y="198831"/>
                  </a:lnTo>
                  <a:lnTo>
                    <a:pt x="1845425" y="199530"/>
                  </a:lnTo>
                  <a:lnTo>
                    <a:pt x="1845425" y="198831"/>
                  </a:lnTo>
                  <a:lnTo>
                    <a:pt x="1845425" y="199530"/>
                  </a:lnTo>
                  <a:lnTo>
                    <a:pt x="1845526" y="199530"/>
                  </a:lnTo>
                  <a:lnTo>
                    <a:pt x="1845526" y="198831"/>
                  </a:lnTo>
                  <a:lnTo>
                    <a:pt x="1845526" y="199530"/>
                  </a:lnTo>
                  <a:lnTo>
                    <a:pt x="1845526" y="198831"/>
                  </a:lnTo>
                  <a:lnTo>
                    <a:pt x="1845526" y="199530"/>
                  </a:lnTo>
                  <a:lnTo>
                    <a:pt x="1845526" y="198831"/>
                  </a:lnTo>
                  <a:lnTo>
                    <a:pt x="1845577" y="198831"/>
                  </a:lnTo>
                  <a:lnTo>
                    <a:pt x="1845577" y="197447"/>
                  </a:lnTo>
                  <a:lnTo>
                    <a:pt x="1845577" y="198831"/>
                  </a:lnTo>
                  <a:lnTo>
                    <a:pt x="1845577" y="197447"/>
                  </a:lnTo>
                  <a:lnTo>
                    <a:pt x="1845628" y="196799"/>
                  </a:lnTo>
                  <a:lnTo>
                    <a:pt x="1845628" y="197447"/>
                  </a:lnTo>
                  <a:lnTo>
                    <a:pt x="1845628" y="196799"/>
                  </a:lnTo>
                  <a:lnTo>
                    <a:pt x="1845679" y="196799"/>
                  </a:lnTo>
                  <a:lnTo>
                    <a:pt x="1845679" y="197447"/>
                  </a:lnTo>
                  <a:lnTo>
                    <a:pt x="1845679" y="196799"/>
                  </a:lnTo>
                  <a:lnTo>
                    <a:pt x="1845679" y="198831"/>
                  </a:lnTo>
                  <a:lnTo>
                    <a:pt x="1845768" y="198831"/>
                  </a:lnTo>
                  <a:lnTo>
                    <a:pt x="1845768" y="197447"/>
                  </a:lnTo>
                  <a:lnTo>
                    <a:pt x="1845768" y="199530"/>
                  </a:lnTo>
                  <a:lnTo>
                    <a:pt x="1845819" y="199530"/>
                  </a:lnTo>
                  <a:lnTo>
                    <a:pt x="1845819" y="198831"/>
                  </a:lnTo>
                  <a:lnTo>
                    <a:pt x="1845819" y="199530"/>
                  </a:lnTo>
                  <a:lnTo>
                    <a:pt x="1845869" y="198831"/>
                  </a:lnTo>
                  <a:lnTo>
                    <a:pt x="1845869" y="199530"/>
                  </a:lnTo>
                  <a:lnTo>
                    <a:pt x="1845869" y="198831"/>
                  </a:lnTo>
                  <a:lnTo>
                    <a:pt x="1845869" y="199530"/>
                  </a:lnTo>
                  <a:lnTo>
                    <a:pt x="1845869" y="198831"/>
                  </a:lnTo>
                  <a:lnTo>
                    <a:pt x="1845869" y="200228"/>
                  </a:lnTo>
                  <a:lnTo>
                    <a:pt x="1845920" y="200228"/>
                  </a:lnTo>
                  <a:lnTo>
                    <a:pt x="1845920" y="199530"/>
                  </a:lnTo>
                  <a:lnTo>
                    <a:pt x="1846022" y="199530"/>
                  </a:lnTo>
                  <a:lnTo>
                    <a:pt x="1846022" y="200228"/>
                  </a:lnTo>
                  <a:lnTo>
                    <a:pt x="1846022" y="198831"/>
                  </a:lnTo>
                  <a:lnTo>
                    <a:pt x="1846072" y="198831"/>
                  </a:lnTo>
                  <a:lnTo>
                    <a:pt x="1846072" y="199530"/>
                  </a:lnTo>
                  <a:lnTo>
                    <a:pt x="1846072" y="198831"/>
                  </a:lnTo>
                  <a:lnTo>
                    <a:pt x="1846072" y="199530"/>
                  </a:lnTo>
                  <a:lnTo>
                    <a:pt x="1846072" y="197447"/>
                  </a:lnTo>
                  <a:lnTo>
                    <a:pt x="1846123" y="197447"/>
                  </a:lnTo>
                  <a:lnTo>
                    <a:pt x="1846123" y="199530"/>
                  </a:lnTo>
                  <a:lnTo>
                    <a:pt x="1846123" y="198831"/>
                  </a:lnTo>
                  <a:lnTo>
                    <a:pt x="1846123" y="199530"/>
                  </a:lnTo>
                  <a:lnTo>
                    <a:pt x="1846123" y="197447"/>
                  </a:lnTo>
                  <a:lnTo>
                    <a:pt x="1846123" y="198831"/>
                  </a:lnTo>
                  <a:lnTo>
                    <a:pt x="1846225" y="198831"/>
                  </a:lnTo>
                  <a:lnTo>
                    <a:pt x="1846225" y="200876"/>
                  </a:lnTo>
                  <a:lnTo>
                    <a:pt x="1846225" y="199530"/>
                  </a:lnTo>
                  <a:lnTo>
                    <a:pt x="1846225" y="200228"/>
                  </a:lnTo>
                  <a:lnTo>
                    <a:pt x="1846225" y="199530"/>
                  </a:lnTo>
                  <a:lnTo>
                    <a:pt x="1846225" y="200228"/>
                  </a:lnTo>
                  <a:lnTo>
                    <a:pt x="1846225" y="199530"/>
                  </a:lnTo>
                  <a:lnTo>
                    <a:pt x="1846225" y="200228"/>
                  </a:lnTo>
                  <a:lnTo>
                    <a:pt x="1846263" y="200228"/>
                  </a:lnTo>
                  <a:lnTo>
                    <a:pt x="1846263" y="200876"/>
                  </a:lnTo>
                  <a:lnTo>
                    <a:pt x="1846263" y="200228"/>
                  </a:lnTo>
                  <a:lnTo>
                    <a:pt x="1846263" y="200876"/>
                  </a:lnTo>
                  <a:lnTo>
                    <a:pt x="1846314" y="200228"/>
                  </a:lnTo>
                  <a:lnTo>
                    <a:pt x="1846314" y="200876"/>
                  </a:lnTo>
                  <a:lnTo>
                    <a:pt x="1846314" y="200228"/>
                  </a:lnTo>
                  <a:lnTo>
                    <a:pt x="1846365" y="200228"/>
                  </a:lnTo>
                  <a:lnTo>
                    <a:pt x="1846365" y="199530"/>
                  </a:lnTo>
                  <a:lnTo>
                    <a:pt x="1846365" y="200228"/>
                  </a:lnTo>
                  <a:lnTo>
                    <a:pt x="1846365" y="199530"/>
                  </a:lnTo>
                  <a:lnTo>
                    <a:pt x="1846365" y="200228"/>
                  </a:lnTo>
                  <a:lnTo>
                    <a:pt x="1846466" y="200228"/>
                  </a:lnTo>
                  <a:lnTo>
                    <a:pt x="1846466" y="199530"/>
                  </a:lnTo>
                  <a:lnTo>
                    <a:pt x="1846517" y="199530"/>
                  </a:lnTo>
                  <a:lnTo>
                    <a:pt x="1846517" y="197447"/>
                  </a:lnTo>
                  <a:lnTo>
                    <a:pt x="1846517" y="198831"/>
                  </a:lnTo>
                  <a:lnTo>
                    <a:pt x="1846517" y="197447"/>
                  </a:lnTo>
                  <a:lnTo>
                    <a:pt x="1846568" y="197447"/>
                  </a:lnTo>
                  <a:lnTo>
                    <a:pt x="1846568" y="196799"/>
                  </a:lnTo>
                  <a:lnTo>
                    <a:pt x="1846568" y="199530"/>
                  </a:lnTo>
                  <a:lnTo>
                    <a:pt x="1846568" y="197447"/>
                  </a:lnTo>
                  <a:lnTo>
                    <a:pt x="1846669" y="197447"/>
                  </a:lnTo>
                  <a:lnTo>
                    <a:pt x="1846669" y="200228"/>
                  </a:lnTo>
                  <a:lnTo>
                    <a:pt x="1846669" y="199530"/>
                  </a:lnTo>
                  <a:lnTo>
                    <a:pt x="1846669" y="200228"/>
                  </a:lnTo>
                  <a:lnTo>
                    <a:pt x="1846720" y="200228"/>
                  </a:lnTo>
                  <a:lnTo>
                    <a:pt x="1846720" y="199530"/>
                  </a:lnTo>
                  <a:lnTo>
                    <a:pt x="1846720" y="200876"/>
                  </a:lnTo>
                  <a:lnTo>
                    <a:pt x="1846720" y="200228"/>
                  </a:lnTo>
                  <a:lnTo>
                    <a:pt x="1846720" y="200876"/>
                  </a:lnTo>
                  <a:lnTo>
                    <a:pt x="1846720" y="200228"/>
                  </a:lnTo>
                  <a:lnTo>
                    <a:pt x="1846771" y="200228"/>
                  </a:lnTo>
                  <a:lnTo>
                    <a:pt x="1846771" y="200876"/>
                  </a:lnTo>
                  <a:lnTo>
                    <a:pt x="1846771" y="200228"/>
                  </a:lnTo>
                  <a:lnTo>
                    <a:pt x="1846771" y="200876"/>
                  </a:lnTo>
                  <a:lnTo>
                    <a:pt x="1846809" y="200876"/>
                  </a:lnTo>
                  <a:lnTo>
                    <a:pt x="1846809" y="200228"/>
                  </a:lnTo>
                  <a:lnTo>
                    <a:pt x="1846911" y="200228"/>
                  </a:lnTo>
                  <a:lnTo>
                    <a:pt x="1846911" y="200876"/>
                  </a:lnTo>
                  <a:lnTo>
                    <a:pt x="1846911" y="200228"/>
                  </a:lnTo>
                  <a:lnTo>
                    <a:pt x="1846911" y="200876"/>
                  </a:lnTo>
                  <a:lnTo>
                    <a:pt x="1846911" y="200228"/>
                  </a:lnTo>
                  <a:lnTo>
                    <a:pt x="1846911" y="200876"/>
                  </a:lnTo>
                  <a:lnTo>
                    <a:pt x="1846911" y="200228"/>
                  </a:lnTo>
                  <a:lnTo>
                    <a:pt x="1846962" y="200228"/>
                  </a:lnTo>
                  <a:lnTo>
                    <a:pt x="1846962" y="200876"/>
                  </a:lnTo>
                  <a:lnTo>
                    <a:pt x="1846962" y="200228"/>
                  </a:lnTo>
                  <a:lnTo>
                    <a:pt x="1846962" y="200876"/>
                  </a:lnTo>
                  <a:lnTo>
                    <a:pt x="1846962" y="199530"/>
                  </a:lnTo>
                  <a:lnTo>
                    <a:pt x="1846962" y="200228"/>
                  </a:lnTo>
                  <a:lnTo>
                    <a:pt x="1846962" y="199530"/>
                  </a:lnTo>
                  <a:lnTo>
                    <a:pt x="1847012" y="198831"/>
                  </a:lnTo>
                  <a:lnTo>
                    <a:pt x="1847012" y="197447"/>
                  </a:lnTo>
                  <a:lnTo>
                    <a:pt x="1847012" y="199530"/>
                  </a:lnTo>
                  <a:lnTo>
                    <a:pt x="1847012" y="197447"/>
                  </a:lnTo>
                  <a:lnTo>
                    <a:pt x="1847114" y="196799"/>
                  </a:lnTo>
                  <a:lnTo>
                    <a:pt x="1847114" y="197447"/>
                  </a:lnTo>
                  <a:lnTo>
                    <a:pt x="1847114" y="196799"/>
                  </a:lnTo>
                  <a:lnTo>
                    <a:pt x="1847114" y="198831"/>
                  </a:lnTo>
                  <a:lnTo>
                    <a:pt x="1847114" y="196799"/>
                  </a:lnTo>
                  <a:lnTo>
                    <a:pt x="1847114" y="197447"/>
                  </a:lnTo>
                  <a:lnTo>
                    <a:pt x="1847114" y="196799"/>
                  </a:lnTo>
                  <a:lnTo>
                    <a:pt x="1847165" y="196799"/>
                  </a:lnTo>
                  <a:lnTo>
                    <a:pt x="1847165" y="199530"/>
                  </a:lnTo>
                  <a:lnTo>
                    <a:pt x="1847165" y="198831"/>
                  </a:lnTo>
                  <a:lnTo>
                    <a:pt x="1847215" y="198831"/>
                  </a:lnTo>
                  <a:lnTo>
                    <a:pt x="1847215" y="200228"/>
                  </a:lnTo>
                  <a:lnTo>
                    <a:pt x="1847215" y="199530"/>
                  </a:lnTo>
                  <a:lnTo>
                    <a:pt x="1847266" y="199530"/>
                  </a:lnTo>
                  <a:lnTo>
                    <a:pt x="1847266" y="200228"/>
                  </a:lnTo>
                  <a:lnTo>
                    <a:pt x="1847355" y="200228"/>
                  </a:lnTo>
                  <a:lnTo>
                    <a:pt x="1847355" y="199530"/>
                  </a:lnTo>
                  <a:lnTo>
                    <a:pt x="1847355" y="200228"/>
                  </a:lnTo>
                  <a:lnTo>
                    <a:pt x="1847406" y="200228"/>
                  </a:lnTo>
                  <a:lnTo>
                    <a:pt x="1847406" y="200876"/>
                  </a:lnTo>
                  <a:lnTo>
                    <a:pt x="1847406" y="199530"/>
                  </a:lnTo>
                  <a:lnTo>
                    <a:pt x="1847406" y="200228"/>
                  </a:lnTo>
                  <a:lnTo>
                    <a:pt x="1847457" y="200228"/>
                  </a:lnTo>
                  <a:lnTo>
                    <a:pt x="1847457" y="199530"/>
                  </a:lnTo>
                  <a:lnTo>
                    <a:pt x="1847457" y="200228"/>
                  </a:lnTo>
                  <a:lnTo>
                    <a:pt x="1847457" y="198831"/>
                  </a:lnTo>
                  <a:lnTo>
                    <a:pt x="1847508" y="198831"/>
                  </a:lnTo>
                  <a:lnTo>
                    <a:pt x="1847508" y="196799"/>
                  </a:lnTo>
                  <a:lnTo>
                    <a:pt x="1847508" y="197447"/>
                  </a:lnTo>
                  <a:lnTo>
                    <a:pt x="1847508" y="195415"/>
                  </a:lnTo>
                  <a:lnTo>
                    <a:pt x="1847508" y="196113"/>
                  </a:lnTo>
                  <a:lnTo>
                    <a:pt x="1847609" y="195415"/>
                  </a:lnTo>
                  <a:lnTo>
                    <a:pt x="1847609" y="196113"/>
                  </a:lnTo>
                  <a:lnTo>
                    <a:pt x="1847609" y="195415"/>
                  </a:lnTo>
                  <a:lnTo>
                    <a:pt x="1847609" y="196113"/>
                  </a:lnTo>
                  <a:lnTo>
                    <a:pt x="1847609" y="195415"/>
                  </a:lnTo>
                  <a:lnTo>
                    <a:pt x="1847660" y="195415"/>
                  </a:lnTo>
                  <a:lnTo>
                    <a:pt x="1847660" y="197447"/>
                  </a:lnTo>
                  <a:lnTo>
                    <a:pt x="1847660" y="196113"/>
                  </a:lnTo>
                  <a:lnTo>
                    <a:pt x="1847711" y="196799"/>
                  </a:lnTo>
                  <a:lnTo>
                    <a:pt x="1847711" y="197447"/>
                  </a:lnTo>
                  <a:lnTo>
                    <a:pt x="1847711" y="196799"/>
                  </a:lnTo>
                  <a:lnTo>
                    <a:pt x="1847711" y="197447"/>
                  </a:lnTo>
                  <a:lnTo>
                    <a:pt x="1847711" y="196799"/>
                  </a:lnTo>
                  <a:lnTo>
                    <a:pt x="1847711" y="197447"/>
                  </a:lnTo>
                  <a:lnTo>
                    <a:pt x="1847711" y="196799"/>
                  </a:lnTo>
                  <a:lnTo>
                    <a:pt x="1847711" y="197447"/>
                  </a:lnTo>
                  <a:lnTo>
                    <a:pt x="1847812" y="197447"/>
                  </a:lnTo>
                  <a:lnTo>
                    <a:pt x="1847812" y="196799"/>
                  </a:lnTo>
                  <a:lnTo>
                    <a:pt x="1847812" y="197447"/>
                  </a:lnTo>
                  <a:lnTo>
                    <a:pt x="1847812" y="196799"/>
                  </a:lnTo>
                  <a:lnTo>
                    <a:pt x="1847812" y="198831"/>
                  </a:lnTo>
                  <a:lnTo>
                    <a:pt x="1847850" y="198831"/>
                  </a:lnTo>
                  <a:lnTo>
                    <a:pt x="1847850" y="199530"/>
                  </a:lnTo>
                  <a:lnTo>
                    <a:pt x="1847850" y="198831"/>
                  </a:lnTo>
                  <a:lnTo>
                    <a:pt x="1847850" y="199530"/>
                  </a:lnTo>
                  <a:lnTo>
                    <a:pt x="1847850" y="198831"/>
                  </a:lnTo>
                  <a:lnTo>
                    <a:pt x="1847850" y="199530"/>
                  </a:lnTo>
                  <a:lnTo>
                    <a:pt x="1847901" y="199530"/>
                  </a:lnTo>
                  <a:lnTo>
                    <a:pt x="1847901" y="198831"/>
                  </a:lnTo>
                  <a:lnTo>
                    <a:pt x="1847901" y="199530"/>
                  </a:lnTo>
                  <a:lnTo>
                    <a:pt x="1847952" y="199530"/>
                  </a:lnTo>
                  <a:lnTo>
                    <a:pt x="1847952" y="198831"/>
                  </a:lnTo>
                  <a:lnTo>
                    <a:pt x="1847952" y="199530"/>
                  </a:lnTo>
                  <a:lnTo>
                    <a:pt x="1847952" y="197447"/>
                  </a:lnTo>
                  <a:lnTo>
                    <a:pt x="1848054" y="197447"/>
                  </a:lnTo>
                  <a:lnTo>
                    <a:pt x="1848054" y="198831"/>
                  </a:lnTo>
                  <a:lnTo>
                    <a:pt x="1848054" y="196113"/>
                  </a:lnTo>
                  <a:lnTo>
                    <a:pt x="1848105" y="195415"/>
                  </a:lnTo>
                  <a:lnTo>
                    <a:pt x="1848105" y="194716"/>
                  </a:lnTo>
                  <a:lnTo>
                    <a:pt x="1848105" y="196113"/>
                  </a:lnTo>
                  <a:lnTo>
                    <a:pt x="1848105" y="192684"/>
                  </a:lnTo>
                  <a:lnTo>
                    <a:pt x="1848155" y="192684"/>
                  </a:lnTo>
                  <a:lnTo>
                    <a:pt x="1848155" y="196799"/>
                  </a:lnTo>
                  <a:lnTo>
                    <a:pt x="1848155" y="194716"/>
                  </a:lnTo>
                  <a:lnTo>
                    <a:pt x="1848257" y="194716"/>
                  </a:lnTo>
                  <a:lnTo>
                    <a:pt x="1848257" y="196799"/>
                  </a:lnTo>
                  <a:lnTo>
                    <a:pt x="1848257" y="196113"/>
                  </a:lnTo>
                  <a:lnTo>
                    <a:pt x="1848308" y="196113"/>
                  </a:lnTo>
                  <a:lnTo>
                    <a:pt x="1848308" y="196799"/>
                  </a:lnTo>
                  <a:lnTo>
                    <a:pt x="1848308" y="196113"/>
                  </a:lnTo>
                  <a:lnTo>
                    <a:pt x="1848308" y="196799"/>
                  </a:lnTo>
                  <a:lnTo>
                    <a:pt x="1848308" y="196113"/>
                  </a:lnTo>
                  <a:lnTo>
                    <a:pt x="1848308" y="196799"/>
                  </a:lnTo>
                  <a:lnTo>
                    <a:pt x="1848359" y="196799"/>
                  </a:lnTo>
                  <a:lnTo>
                    <a:pt x="1848359" y="197447"/>
                  </a:lnTo>
                  <a:lnTo>
                    <a:pt x="1848359" y="196799"/>
                  </a:lnTo>
                  <a:lnTo>
                    <a:pt x="1848359" y="197447"/>
                  </a:lnTo>
                  <a:lnTo>
                    <a:pt x="1848359" y="196799"/>
                  </a:lnTo>
                  <a:lnTo>
                    <a:pt x="1848359" y="197447"/>
                  </a:lnTo>
                  <a:lnTo>
                    <a:pt x="1848397" y="197447"/>
                  </a:lnTo>
                  <a:lnTo>
                    <a:pt x="1848397" y="198831"/>
                  </a:lnTo>
                  <a:lnTo>
                    <a:pt x="1848498" y="198831"/>
                  </a:lnTo>
                  <a:lnTo>
                    <a:pt x="1848498" y="196799"/>
                  </a:lnTo>
                  <a:lnTo>
                    <a:pt x="1848498" y="197447"/>
                  </a:lnTo>
                  <a:lnTo>
                    <a:pt x="1848498" y="196799"/>
                  </a:lnTo>
                  <a:lnTo>
                    <a:pt x="1848549" y="196799"/>
                  </a:lnTo>
                  <a:lnTo>
                    <a:pt x="1848549" y="196113"/>
                  </a:lnTo>
                  <a:lnTo>
                    <a:pt x="1848549" y="196799"/>
                  </a:lnTo>
                  <a:lnTo>
                    <a:pt x="1848549" y="196113"/>
                  </a:lnTo>
                  <a:lnTo>
                    <a:pt x="1848600" y="196113"/>
                  </a:lnTo>
                  <a:lnTo>
                    <a:pt x="1848600" y="196799"/>
                  </a:lnTo>
                  <a:lnTo>
                    <a:pt x="1848600" y="195415"/>
                  </a:lnTo>
                  <a:lnTo>
                    <a:pt x="1848600" y="196799"/>
                  </a:lnTo>
                  <a:lnTo>
                    <a:pt x="1848701" y="197447"/>
                  </a:lnTo>
                  <a:lnTo>
                    <a:pt x="1848701" y="198831"/>
                  </a:lnTo>
                  <a:lnTo>
                    <a:pt x="1848701" y="196799"/>
                  </a:lnTo>
                  <a:lnTo>
                    <a:pt x="1848701" y="198831"/>
                  </a:lnTo>
                  <a:lnTo>
                    <a:pt x="1848752" y="197447"/>
                  </a:lnTo>
                  <a:lnTo>
                    <a:pt x="1848752" y="198831"/>
                  </a:lnTo>
                  <a:lnTo>
                    <a:pt x="1848752" y="196799"/>
                  </a:lnTo>
                  <a:lnTo>
                    <a:pt x="1848752" y="197447"/>
                  </a:lnTo>
                  <a:lnTo>
                    <a:pt x="1848803" y="197447"/>
                  </a:lnTo>
                  <a:lnTo>
                    <a:pt x="1848803" y="196799"/>
                  </a:lnTo>
                  <a:lnTo>
                    <a:pt x="1848803" y="197447"/>
                  </a:lnTo>
                  <a:lnTo>
                    <a:pt x="1848803" y="196799"/>
                  </a:lnTo>
                  <a:lnTo>
                    <a:pt x="1848803" y="197447"/>
                  </a:lnTo>
                  <a:lnTo>
                    <a:pt x="1848803" y="196799"/>
                  </a:lnTo>
                  <a:lnTo>
                    <a:pt x="1848854" y="196799"/>
                  </a:lnTo>
                  <a:lnTo>
                    <a:pt x="1848854" y="197447"/>
                  </a:lnTo>
                  <a:lnTo>
                    <a:pt x="1848854" y="196799"/>
                  </a:lnTo>
                  <a:lnTo>
                    <a:pt x="1848854" y="197447"/>
                  </a:lnTo>
                  <a:lnTo>
                    <a:pt x="1848854" y="196799"/>
                  </a:lnTo>
                  <a:lnTo>
                    <a:pt x="1848854" y="197447"/>
                  </a:lnTo>
                  <a:lnTo>
                    <a:pt x="1848943" y="198831"/>
                  </a:lnTo>
                  <a:lnTo>
                    <a:pt x="1848943" y="197447"/>
                  </a:lnTo>
                  <a:lnTo>
                    <a:pt x="1848943" y="198831"/>
                  </a:lnTo>
                  <a:lnTo>
                    <a:pt x="1848943" y="197447"/>
                  </a:lnTo>
                  <a:lnTo>
                    <a:pt x="1848943" y="198831"/>
                  </a:lnTo>
                  <a:lnTo>
                    <a:pt x="1848943" y="197447"/>
                  </a:lnTo>
                  <a:lnTo>
                    <a:pt x="1848943" y="198831"/>
                  </a:lnTo>
                  <a:lnTo>
                    <a:pt x="1848994" y="198831"/>
                  </a:lnTo>
                  <a:lnTo>
                    <a:pt x="1848994" y="196799"/>
                  </a:lnTo>
                  <a:lnTo>
                    <a:pt x="1848994" y="197447"/>
                  </a:lnTo>
                  <a:lnTo>
                    <a:pt x="1848994" y="196799"/>
                  </a:lnTo>
                  <a:lnTo>
                    <a:pt x="1848994" y="197447"/>
                  </a:lnTo>
                  <a:lnTo>
                    <a:pt x="1848994" y="196799"/>
                  </a:lnTo>
                  <a:lnTo>
                    <a:pt x="1849044" y="196799"/>
                  </a:lnTo>
                  <a:lnTo>
                    <a:pt x="1849044" y="195415"/>
                  </a:lnTo>
                  <a:lnTo>
                    <a:pt x="1849044" y="196799"/>
                  </a:lnTo>
                  <a:lnTo>
                    <a:pt x="1849095" y="197447"/>
                  </a:lnTo>
                  <a:lnTo>
                    <a:pt x="1849095" y="196113"/>
                  </a:lnTo>
                  <a:lnTo>
                    <a:pt x="1849095" y="199530"/>
                  </a:lnTo>
                  <a:lnTo>
                    <a:pt x="1849197" y="199530"/>
                  </a:lnTo>
                  <a:lnTo>
                    <a:pt x="1849197" y="197447"/>
                  </a:lnTo>
                  <a:lnTo>
                    <a:pt x="1849197" y="199530"/>
                  </a:lnTo>
                  <a:lnTo>
                    <a:pt x="1849247" y="199530"/>
                  </a:lnTo>
                  <a:lnTo>
                    <a:pt x="1849247" y="197447"/>
                  </a:lnTo>
                  <a:lnTo>
                    <a:pt x="1849247" y="199530"/>
                  </a:lnTo>
                  <a:lnTo>
                    <a:pt x="1849298" y="198831"/>
                  </a:lnTo>
                  <a:lnTo>
                    <a:pt x="1849298" y="197447"/>
                  </a:lnTo>
                  <a:lnTo>
                    <a:pt x="1849298" y="198831"/>
                  </a:lnTo>
                  <a:lnTo>
                    <a:pt x="1849298" y="197447"/>
                  </a:lnTo>
                  <a:lnTo>
                    <a:pt x="1849298" y="198831"/>
                  </a:lnTo>
                  <a:lnTo>
                    <a:pt x="1849400" y="197447"/>
                  </a:lnTo>
                  <a:lnTo>
                    <a:pt x="1849400" y="198831"/>
                  </a:lnTo>
                  <a:lnTo>
                    <a:pt x="1849438" y="198831"/>
                  </a:lnTo>
                  <a:lnTo>
                    <a:pt x="1849438" y="197447"/>
                  </a:lnTo>
                  <a:lnTo>
                    <a:pt x="1849438" y="198831"/>
                  </a:lnTo>
                  <a:lnTo>
                    <a:pt x="1849438" y="197447"/>
                  </a:lnTo>
                  <a:lnTo>
                    <a:pt x="1849489" y="197447"/>
                  </a:lnTo>
                  <a:lnTo>
                    <a:pt x="1849489" y="195415"/>
                  </a:lnTo>
                  <a:lnTo>
                    <a:pt x="1849489" y="196113"/>
                  </a:lnTo>
                  <a:lnTo>
                    <a:pt x="1849489" y="195415"/>
                  </a:lnTo>
                  <a:lnTo>
                    <a:pt x="1849540" y="195415"/>
                  </a:lnTo>
                  <a:lnTo>
                    <a:pt x="1849540" y="192684"/>
                  </a:lnTo>
                  <a:lnTo>
                    <a:pt x="1849641" y="192684"/>
                  </a:lnTo>
                  <a:lnTo>
                    <a:pt x="1849641" y="195415"/>
                  </a:lnTo>
                  <a:lnTo>
                    <a:pt x="1849641" y="193383"/>
                  </a:lnTo>
                  <a:lnTo>
                    <a:pt x="1849641" y="194716"/>
                  </a:lnTo>
                  <a:lnTo>
                    <a:pt x="1849692" y="194716"/>
                  </a:lnTo>
                  <a:lnTo>
                    <a:pt x="1849692" y="196799"/>
                  </a:lnTo>
                  <a:lnTo>
                    <a:pt x="1849692" y="196113"/>
                  </a:lnTo>
                  <a:lnTo>
                    <a:pt x="1849692" y="196799"/>
                  </a:lnTo>
                  <a:lnTo>
                    <a:pt x="1849692" y="195415"/>
                  </a:lnTo>
                  <a:lnTo>
                    <a:pt x="1849692" y="196113"/>
                  </a:lnTo>
                  <a:lnTo>
                    <a:pt x="1849692" y="195415"/>
                  </a:lnTo>
                  <a:lnTo>
                    <a:pt x="1849692" y="196113"/>
                  </a:lnTo>
                  <a:lnTo>
                    <a:pt x="1849692" y="195415"/>
                  </a:lnTo>
                  <a:lnTo>
                    <a:pt x="1849692" y="196799"/>
                  </a:lnTo>
                  <a:lnTo>
                    <a:pt x="1849743" y="196799"/>
                  </a:lnTo>
                  <a:lnTo>
                    <a:pt x="1849743" y="197447"/>
                  </a:lnTo>
                  <a:lnTo>
                    <a:pt x="1849743" y="196113"/>
                  </a:lnTo>
                  <a:lnTo>
                    <a:pt x="1849743" y="196799"/>
                  </a:lnTo>
                  <a:lnTo>
                    <a:pt x="1849743" y="196113"/>
                  </a:lnTo>
                  <a:lnTo>
                    <a:pt x="1849743" y="196799"/>
                  </a:lnTo>
                  <a:lnTo>
                    <a:pt x="1849743" y="196113"/>
                  </a:lnTo>
                  <a:lnTo>
                    <a:pt x="1849743" y="196799"/>
                  </a:lnTo>
                  <a:lnTo>
                    <a:pt x="1849743" y="196113"/>
                  </a:lnTo>
                  <a:lnTo>
                    <a:pt x="1849844" y="196799"/>
                  </a:lnTo>
                  <a:lnTo>
                    <a:pt x="1849844" y="197447"/>
                  </a:lnTo>
                  <a:lnTo>
                    <a:pt x="1849844" y="196799"/>
                  </a:lnTo>
                  <a:lnTo>
                    <a:pt x="1849844" y="197447"/>
                  </a:lnTo>
                  <a:lnTo>
                    <a:pt x="1849895" y="198831"/>
                  </a:lnTo>
                  <a:lnTo>
                    <a:pt x="1849895" y="197447"/>
                  </a:lnTo>
                  <a:lnTo>
                    <a:pt x="1849895" y="198831"/>
                  </a:lnTo>
                  <a:lnTo>
                    <a:pt x="1849895" y="197447"/>
                  </a:lnTo>
                  <a:lnTo>
                    <a:pt x="1849895" y="198831"/>
                  </a:lnTo>
                  <a:lnTo>
                    <a:pt x="1849946" y="198831"/>
                  </a:lnTo>
                  <a:lnTo>
                    <a:pt x="1849946" y="197447"/>
                  </a:lnTo>
                  <a:lnTo>
                    <a:pt x="1849946" y="198831"/>
                  </a:lnTo>
                  <a:lnTo>
                    <a:pt x="1849946" y="197447"/>
                  </a:lnTo>
                  <a:lnTo>
                    <a:pt x="1849984" y="197447"/>
                  </a:lnTo>
                  <a:lnTo>
                    <a:pt x="1849984" y="196799"/>
                  </a:lnTo>
                  <a:lnTo>
                    <a:pt x="1849984" y="197447"/>
                  </a:lnTo>
                  <a:lnTo>
                    <a:pt x="1849984" y="196113"/>
                  </a:lnTo>
                  <a:lnTo>
                    <a:pt x="1850086" y="196113"/>
                  </a:lnTo>
                  <a:lnTo>
                    <a:pt x="1850086" y="194716"/>
                  </a:lnTo>
                  <a:lnTo>
                    <a:pt x="1850086" y="196113"/>
                  </a:lnTo>
                  <a:lnTo>
                    <a:pt x="1850137" y="196113"/>
                  </a:lnTo>
                  <a:lnTo>
                    <a:pt x="1850137" y="194716"/>
                  </a:lnTo>
                  <a:lnTo>
                    <a:pt x="1850137" y="197447"/>
                  </a:lnTo>
                  <a:lnTo>
                    <a:pt x="1850137" y="196799"/>
                  </a:lnTo>
                  <a:lnTo>
                    <a:pt x="1850187" y="196799"/>
                  </a:lnTo>
                  <a:lnTo>
                    <a:pt x="1850187" y="196113"/>
                  </a:lnTo>
                  <a:lnTo>
                    <a:pt x="1850187" y="197447"/>
                  </a:lnTo>
                  <a:lnTo>
                    <a:pt x="1850187" y="196799"/>
                  </a:lnTo>
                  <a:lnTo>
                    <a:pt x="1850289" y="196799"/>
                  </a:lnTo>
                  <a:lnTo>
                    <a:pt x="1850289" y="196113"/>
                  </a:lnTo>
                  <a:lnTo>
                    <a:pt x="1850289" y="197447"/>
                  </a:lnTo>
                  <a:lnTo>
                    <a:pt x="1850289" y="196799"/>
                  </a:lnTo>
                  <a:lnTo>
                    <a:pt x="1850289" y="197447"/>
                  </a:lnTo>
                  <a:lnTo>
                    <a:pt x="1850289" y="196799"/>
                  </a:lnTo>
                  <a:lnTo>
                    <a:pt x="1850340" y="196799"/>
                  </a:lnTo>
                  <a:lnTo>
                    <a:pt x="1850340" y="196113"/>
                  </a:lnTo>
                  <a:lnTo>
                    <a:pt x="1850340" y="197447"/>
                  </a:lnTo>
                  <a:lnTo>
                    <a:pt x="1850340" y="196799"/>
                  </a:lnTo>
                  <a:lnTo>
                    <a:pt x="1850340" y="197447"/>
                  </a:lnTo>
                  <a:lnTo>
                    <a:pt x="1850340" y="196799"/>
                  </a:lnTo>
                  <a:lnTo>
                    <a:pt x="1850390" y="197447"/>
                  </a:lnTo>
                  <a:lnTo>
                    <a:pt x="1850390" y="198831"/>
                  </a:lnTo>
                  <a:lnTo>
                    <a:pt x="1850390" y="197447"/>
                  </a:lnTo>
                  <a:lnTo>
                    <a:pt x="1850390" y="198831"/>
                  </a:lnTo>
                  <a:lnTo>
                    <a:pt x="1850390" y="197447"/>
                  </a:lnTo>
                  <a:lnTo>
                    <a:pt x="1850390" y="198831"/>
                  </a:lnTo>
                  <a:lnTo>
                    <a:pt x="1850390" y="197447"/>
                  </a:lnTo>
                  <a:lnTo>
                    <a:pt x="1850441" y="198831"/>
                  </a:lnTo>
                  <a:lnTo>
                    <a:pt x="1850441" y="197447"/>
                  </a:lnTo>
                  <a:lnTo>
                    <a:pt x="1850441" y="198831"/>
                  </a:lnTo>
                  <a:lnTo>
                    <a:pt x="1850441" y="197447"/>
                  </a:lnTo>
                  <a:lnTo>
                    <a:pt x="1850441" y="198831"/>
                  </a:lnTo>
                  <a:lnTo>
                    <a:pt x="1850441" y="197447"/>
                  </a:lnTo>
                  <a:lnTo>
                    <a:pt x="1850441" y="198831"/>
                  </a:lnTo>
                  <a:lnTo>
                    <a:pt x="1850441" y="197447"/>
                  </a:lnTo>
                  <a:lnTo>
                    <a:pt x="1850441" y="198831"/>
                  </a:lnTo>
                  <a:lnTo>
                    <a:pt x="1850441" y="197447"/>
                  </a:lnTo>
                  <a:lnTo>
                    <a:pt x="1850530" y="197447"/>
                  </a:lnTo>
                  <a:lnTo>
                    <a:pt x="1850530" y="195415"/>
                  </a:lnTo>
                  <a:lnTo>
                    <a:pt x="1850530" y="196113"/>
                  </a:lnTo>
                  <a:lnTo>
                    <a:pt x="1850581" y="195415"/>
                  </a:lnTo>
                  <a:lnTo>
                    <a:pt x="1850581" y="194716"/>
                  </a:lnTo>
                  <a:lnTo>
                    <a:pt x="1850581" y="195415"/>
                  </a:lnTo>
                  <a:lnTo>
                    <a:pt x="1850581" y="193383"/>
                  </a:lnTo>
                  <a:lnTo>
                    <a:pt x="1850632" y="193383"/>
                  </a:lnTo>
                  <a:lnTo>
                    <a:pt x="1850632" y="194716"/>
                  </a:lnTo>
                  <a:lnTo>
                    <a:pt x="1850632" y="193383"/>
                  </a:lnTo>
                  <a:lnTo>
                    <a:pt x="1850632" y="195415"/>
                  </a:lnTo>
                  <a:lnTo>
                    <a:pt x="1850683" y="195415"/>
                  </a:lnTo>
                  <a:lnTo>
                    <a:pt x="1850683" y="196113"/>
                  </a:lnTo>
                  <a:lnTo>
                    <a:pt x="1850683" y="195415"/>
                  </a:lnTo>
                  <a:lnTo>
                    <a:pt x="1850683" y="196113"/>
                  </a:lnTo>
                  <a:lnTo>
                    <a:pt x="1850784" y="196113"/>
                  </a:lnTo>
                  <a:lnTo>
                    <a:pt x="1850784" y="195415"/>
                  </a:lnTo>
                  <a:lnTo>
                    <a:pt x="1850784" y="196113"/>
                  </a:lnTo>
                  <a:lnTo>
                    <a:pt x="1850784" y="195415"/>
                  </a:lnTo>
                  <a:lnTo>
                    <a:pt x="1850784" y="196799"/>
                  </a:lnTo>
                  <a:lnTo>
                    <a:pt x="1850784" y="196113"/>
                  </a:lnTo>
                  <a:lnTo>
                    <a:pt x="1850835" y="196113"/>
                  </a:lnTo>
                  <a:lnTo>
                    <a:pt x="1850835" y="197447"/>
                  </a:lnTo>
                  <a:lnTo>
                    <a:pt x="1850886" y="197447"/>
                  </a:lnTo>
                  <a:lnTo>
                    <a:pt x="1850886" y="196799"/>
                  </a:lnTo>
                  <a:lnTo>
                    <a:pt x="1850886" y="197447"/>
                  </a:lnTo>
                  <a:lnTo>
                    <a:pt x="1850886" y="196799"/>
                  </a:lnTo>
                  <a:lnTo>
                    <a:pt x="1850886" y="198831"/>
                  </a:lnTo>
                  <a:lnTo>
                    <a:pt x="1850886" y="197447"/>
                  </a:lnTo>
                  <a:lnTo>
                    <a:pt x="1850886" y="198831"/>
                  </a:lnTo>
                  <a:lnTo>
                    <a:pt x="1850987" y="198831"/>
                  </a:lnTo>
                  <a:lnTo>
                    <a:pt x="1850987" y="197447"/>
                  </a:lnTo>
                  <a:lnTo>
                    <a:pt x="1850987" y="199530"/>
                  </a:lnTo>
                  <a:lnTo>
                    <a:pt x="1850987" y="197447"/>
                  </a:lnTo>
                  <a:lnTo>
                    <a:pt x="1850987" y="198831"/>
                  </a:lnTo>
                  <a:lnTo>
                    <a:pt x="1851025" y="198831"/>
                  </a:lnTo>
                  <a:lnTo>
                    <a:pt x="1851025" y="196113"/>
                  </a:lnTo>
                  <a:lnTo>
                    <a:pt x="1851076" y="196113"/>
                  </a:lnTo>
                  <a:lnTo>
                    <a:pt x="1851076" y="196799"/>
                  </a:lnTo>
                  <a:lnTo>
                    <a:pt x="1851076" y="195415"/>
                  </a:lnTo>
                  <a:lnTo>
                    <a:pt x="1851076" y="196113"/>
                  </a:lnTo>
                  <a:lnTo>
                    <a:pt x="1851076" y="193383"/>
                  </a:lnTo>
                  <a:lnTo>
                    <a:pt x="1851127" y="193383"/>
                  </a:lnTo>
                  <a:lnTo>
                    <a:pt x="1851127" y="196113"/>
                  </a:lnTo>
                  <a:lnTo>
                    <a:pt x="1851127" y="193383"/>
                  </a:lnTo>
                  <a:lnTo>
                    <a:pt x="1851127" y="196113"/>
                  </a:lnTo>
                  <a:lnTo>
                    <a:pt x="1851229" y="196799"/>
                  </a:lnTo>
                  <a:lnTo>
                    <a:pt x="1851229" y="196113"/>
                  </a:lnTo>
                  <a:lnTo>
                    <a:pt x="1851229" y="196799"/>
                  </a:lnTo>
                  <a:lnTo>
                    <a:pt x="1851229" y="195415"/>
                  </a:lnTo>
                  <a:lnTo>
                    <a:pt x="1851229" y="196113"/>
                  </a:lnTo>
                  <a:lnTo>
                    <a:pt x="1851280" y="196113"/>
                  </a:lnTo>
                  <a:lnTo>
                    <a:pt x="1851280" y="194716"/>
                  </a:lnTo>
                  <a:lnTo>
                    <a:pt x="1851280" y="196113"/>
                  </a:lnTo>
                  <a:lnTo>
                    <a:pt x="1851280" y="195415"/>
                  </a:lnTo>
                  <a:lnTo>
                    <a:pt x="1851280" y="196113"/>
                  </a:lnTo>
                  <a:lnTo>
                    <a:pt x="1851330" y="196113"/>
                  </a:lnTo>
                  <a:lnTo>
                    <a:pt x="1851330" y="196799"/>
                  </a:lnTo>
                  <a:lnTo>
                    <a:pt x="1851432" y="196799"/>
                  </a:lnTo>
                  <a:lnTo>
                    <a:pt x="1851432" y="196113"/>
                  </a:lnTo>
                  <a:lnTo>
                    <a:pt x="1851432" y="197447"/>
                  </a:lnTo>
                  <a:lnTo>
                    <a:pt x="1851432" y="196799"/>
                  </a:lnTo>
                  <a:lnTo>
                    <a:pt x="1851432" y="197447"/>
                  </a:lnTo>
                  <a:lnTo>
                    <a:pt x="1851432" y="196799"/>
                  </a:lnTo>
                  <a:lnTo>
                    <a:pt x="1851483" y="196799"/>
                  </a:lnTo>
                  <a:lnTo>
                    <a:pt x="1851483" y="197447"/>
                  </a:lnTo>
                  <a:lnTo>
                    <a:pt x="1851483" y="196799"/>
                  </a:lnTo>
                  <a:lnTo>
                    <a:pt x="1851483" y="197447"/>
                  </a:lnTo>
                  <a:lnTo>
                    <a:pt x="1851483" y="196799"/>
                  </a:lnTo>
                  <a:lnTo>
                    <a:pt x="1851534" y="196799"/>
                  </a:lnTo>
                  <a:lnTo>
                    <a:pt x="1851534" y="196113"/>
                  </a:lnTo>
                  <a:lnTo>
                    <a:pt x="1851534" y="196799"/>
                  </a:lnTo>
                  <a:lnTo>
                    <a:pt x="1851534" y="196113"/>
                  </a:lnTo>
                  <a:lnTo>
                    <a:pt x="1851572" y="196113"/>
                  </a:lnTo>
                  <a:lnTo>
                    <a:pt x="1851572" y="195415"/>
                  </a:lnTo>
                  <a:lnTo>
                    <a:pt x="1851572" y="196799"/>
                  </a:lnTo>
                  <a:lnTo>
                    <a:pt x="1851572" y="196113"/>
                  </a:lnTo>
                  <a:lnTo>
                    <a:pt x="1851673" y="196113"/>
                  </a:lnTo>
                  <a:lnTo>
                    <a:pt x="1851673" y="197447"/>
                  </a:lnTo>
                  <a:lnTo>
                    <a:pt x="1851724" y="197447"/>
                  </a:lnTo>
                  <a:lnTo>
                    <a:pt x="1851724" y="196799"/>
                  </a:lnTo>
                  <a:lnTo>
                    <a:pt x="1851724" y="197447"/>
                  </a:lnTo>
                  <a:lnTo>
                    <a:pt x="1851724" y="196799"/>
                  </a:lnTo>
                  <a:lnTo>
                    <a:pt x="1851724" y="198831"/>
                  </a:lnTo>
                  <a:lnTo>
                    <a:pt x="1851724" y="197447"/>
                  </a:lnTo>
                  <a:lnTo>
                    <a:pt x="1851775" y="197447"/>
                  </a:lnTo>
                  <a:lnTo>
                    <a:pt x="1851775" y="196799"/>
                  </a:lnTo>
                  <a:lnTo>
                    <a:pt x="1851775" y="197447"/>
                  </a:lnTo>
                  <a:lnTo>
                    <a:pt x="1851775" y="196799"/>
                  </a:lnTo>
                  <a:lnTo>
                    <a:pt x="1851775" y="197447"/>
                  </a:lnTo>
                  <a:lnTo>
                    <a:pt x="1851775" y="196799"/>
                  </a:lnTo>
                  <a:lnTo>
                    <a:pt x="1851876" y="197447"/>
                  </a:lnTo>
                  <a:lnTo>
                    <a:pt x="1851876" y="198831"/>
                  </a:lnTo>
                  <a:lnTo>
                    <a:pt x="1851876" y="197447"/>
                  </a:lnTo>
                  <a:lnTo>
                    <a:pt x="1851927" y="197447"/>
                  </a:lnTo>
                  <a:lnTo>
                    <a:pt x="1851927" y="198831"/>
                  </a:lnTo>
                  <a:lnTo>
                    <a:pt x="1851927" y="197447"/>
                  </a:lnTo>
                  <a:lnTo>
                    <a:pt x="1851978" y="197447"/>
                  </a:lnTo>
                  <a:lnTo>
                    <a:pt x="1851978" y="198831"/>
                  </a:lnTo>
                  <a:lnTo>
                    <a:pt x="1851978" y="197447"/>
                  </a:lnTo>
                  <a:lnTo>
                    <a:pt x="1852029" y="197447"/>
                  </a:lnTo>
                  <a:lnTo>
                    <a:pt x="1852029" y="196113"/>
                  </a:lnTo>
                  <a:lnTo>
                    <a:pt x="1852029" y="196799"/>
                  </a:lnTo>
                  <a:lnTo>
                    <a:pt x="1852029" y="196113"/>
                  </a:lnTo>
                  <a:lnTo>
                    <a:pt x="1852118" y="196113"/>
                  </a:lnTo>
                  <a:lnTo>
                    <a:pt x="1852118" y="195415"/>
                  </a:lnTo>
                  <a:lnTo>
                    <a:pt x="1852118" y="197447"/>
                  </a:lnTo>
                  <a:lnTo>
                    <a:pt x="1852118" y="196799"/>
                  </a:lnTo>
                  <a:lnTo>
                    <a:pt x="1852169" y="196799"/>
                  </a:lnTo>
                  <a:lnTo>
                    <a:pt x="1852169" y="196113"/>
                  </a:lnTo>
                  <a:lnTo>
                    <a:pt x="1852169" y="198831"/>
                  </a:lnTo>
                  <a:lnTo>
                    <a:pt x="1852169" y="197447"/>
                  </a:lnTo>
                  <a:lnTo>
                    <a:pt x="1852219" y="197447"/>
                  </a:lnTo>
                  <a:lnTo>
                    <a:pt x="1852219" y="196799"/>
                  </a:lnTo>
                  <a:lnTo>
                    <a:pt x="1852219" y="198831"/>
                  </a:lnTo>
                  <a:lnTo>
                    <a:pt x="1852219" y="197447"/>
                  </a:lnTo>
                  <a:lnTo>
                    <a:pt x="1852270" y="197447"/>
                  </a:lnTo>
                  <a:lnTo>
                    <a:pt x="1852270" y="198831"/>
                  </a:lnTo>
                  <a:lnTo>
                    <a:pt x="1852270" y="196799"/>
                  </a:lnTo>
                  <a:lnTo>
                    <a:pt x="1852270" y="198831"/>
                  </a:lnTo>
                  <a:lnTo>
                    <a:pt x="1852270" y="197447"/>
                  </a:lnTo>
                  <a:lnTo>
                    <a:pt x="1852372" y="197447"/>
                  </a:lnTo>
                  <a:lnTo>
                    <a:pt x="1852372" y="198831"/>
                  </a:lnTo>
                  <a:lnTo>
                    <a:pt x="1852422" y="198831"/>
                  </a:lnTo>
                  <a:lnTo>
                    <a:pt x="1852422" y="197447"/>
                  </a:lnTo>
                  <a:lnTo>
                    <a:pt x="1852422" y="198831"/>
                  </a:lnTo>
                  <a:lnTo>
                    <a:pt x="1852422" y="197447"/>
                  </a:lnTo>
                  <a:lnTo>
                    <a:pt x="1852473" y="197447"/>
                  </a:lnTo>
                  <a:lnTo>
                    <a:pt x="1852473" y="198831"/>
                  </a:lnTo>
                  <a:lnTo>
                    <a:pt x="1852473" y="196799"/>
                  </a:lnTo>
                  <a:lnTo>
                    <a:pt x="1852473" y="197447"/>
                  </a:lnTo>
                  <a:lnTo>
                    <a:pt x="1852473" y="196799"/>
                  </a:lnTo>
                  <a:lnTo>
                    <a:pt x="1852575" y="197447"/>
                  </a:lnTo>
                  <a:lnTo>
                    <a:pt x="1852575" y="195415"/>
                  </a:lnTo>
                  <a:lnTo>
                    <a:pt x="1852613" y="195415"/>
                  </a:lnTo>
                  <a:lnTo>
                    <a:pt x="1852613" y="194716"/>
                  </a:lnTo>
                  <a:lnTo>
                    <a:pt x="1852613" y="196799"/>
                  </a:lnTo>
                  <a:lnTo>
                    <a:pt x="1852613" y="196113"/>
                  </a:lnTo>
                  <a:lnTo>
                    <a:pt x="1852664" y="196113"/>
                  </a:lnTo>
                  <a:lnTo>
                    <a:pt x="1852664" y="197447"/>
                  </a:lnTo>
                  <a:lnTo>
                    <a:pt x="1852664" y="196799"/>
                  </a:lnTo>
                  <a:lnTo>
                    <a:pt x="1852715" y="196799"/>
                  </a:lnTo>
                  <a:lnTo>
                    <a:pt x="1852715" y="199530"/>
                  </a:lnTo>
                  <a:lnTo>
                    <a:pt x="1852715" y="197447"/>
                  </a:lnTo>
                  <a:lnTo>
                    <a:pt x="1852816" y="197447"/>
                  </a:lnTo>
                  <a:lnTo>
                    <a:pt x="1852816" y="199530"/>
                  </a:lnTo>
                  <a:lnTo>
                    <a:pt x="1852816" y="198831"/>
                  </a:lnTo>
                  <a:lnTo>
                    <a:pt x="1852867" y="198831"/>
                  </a:lnTo>
                  <a:lnTo>
                    <a:pt x="1852867" y="199530"/>
                  </a:lnTo>
                  <a:lnTo>
                    <a:pt x="1852918" y="199530"/>
                  </a:lnTo>
                  <a:lnTo>
                    <a:pt x="1852918" y="198831"/>
                  </a:lnTo>
                  <a:lnTo>
                    <a:pt x="1852918" y="199530"/>
                  </a:lnTo>
                  <a:lnTo>
                    <a:pt x="1852918" y="198831"/>
                  </a:lnTo>
                  <a:lnTo>
                    <a:pt x="1852918" y="199530"/>
                  </a:lnTo>
                  <a:lnTo>
                    <a:pt x="1852918" y="198831"/>
                  </a:lnTo>
                  <a:lnTo>
                    <a:pt x="1852918" y="199530"/>
                  </a:lnTo>
                  <a:lnTo>
                    <a:pt x="1852918" y="198831"/>
                  </a:lnTo>
                  <a:lnTo>
                    <a:pt x="1853019" y="198831"/>
                  </a:lnTo>
                  <a:lnTo>
                    <a:pt x="1853019" y="197447"/>
                  </a:lnTo>
                  <a:lnTo>
                    <a:pt x="1853070" y="197447"/>
                  </a:lnTo>
                  <a:lnTo>
                    <a:pt x="1853070" y="196113"/>
                  </a:lnTo>
                  <a:lnTo>
                    <a:pt x="1853070" y="196799"/>
                  </a:lnTo>
                  <a:lnTo>
                    <a:pt x="1853121" y="197447"/>
                  </a:lnTo>
                  <a:lnTo>
                    <a:pt x="1853121" y="196113"/>
                  </a:lnTo>
                  <a:lnTo>
                    <a:pt x="1853121" y="198831"/>
                  </a:lnTo>
                  <a:lnTo>
                    <a:pt x="1853159" y="198831"/>
                  </a:lnTo>
                  <a:lnTo>
                    <a:pt x="1853159" y="196799"/>
                  </a:lnTo>
                  <a:lnTo>
                    <a:pt x="1853159" y="199530"/>
                  </a:lnTo>
                  <a:lnTo>
                    <a:pt x="1853261" y="199530"/>
                  </a:lnTo>
                  <a:lnTo>
                    <a:pt x="1853261" y="197447"/>
                  </a:lnTo>
                  <a:lnTo>
                    <a:pt x="1853261" y="199530"/>
                  </a:lnTo>
                  <a:lnTo>
                    <a:pt x="1853312" y="198831"/>
                  </a:lnTo>
                  <a:lnTo>
                    <a:pt x="1853312" y="199530"/>
                  </a:lnTo>
                  <a:lnTo>
                    <a:pt x="1853312" y="198831"/>
                  </a:lnTo>
                  <a:lnTo>
                    <a:pt x="1853312" y="199530"/>
                  </a:lnTo>
                  <a:lnTo>
                    <a:pt x="1853362" y="198831"/>
                  </a:lnTo>
                  <a:lnTo>
                    <a:pt x="1853362" y="199530"/>
                  </a:lnTo>
                  <a:lnTo>
                    <a:pt x="1853362" y="198831"/>
                  </a:lnTo>
                  <a:lnTo>
                    <a:pt x="1853362" y="199530"/>
                  </a:lnTo>
                  <a:lnTo>
                    <a:pt x="1853464" y="199530"/>
                  </a:lnTo>
                  <a:lnTo>
                    <a:pt x="1853464" y="198831"/>
                  </a:lnTo>
                  <a:lnTo>
                    <a:pt x="1853464" y="199530"/>
                  </a:lnTo>
                  <a:lnTo>
                    <a:pt x="1853464" y="198831"/>
                  </a:lnTo>
                  <a:lnTo>
                    <a:pt x="1853464" y="199530"/>
                  </a:lnTo>
                  <a:lnTo>
                    <a:pt x="1853464" y="198831"/>
                  </a:lnTo>
                  <a:lnTo>
                    <a:pt x="1853515" y="198831"/>
                  </a:lnTo>
                  <a:lnTo>
                    <a:pt x="1853515" y="197447"/>
                  </a:lnTo>
                  <a:lnTo>
                    <a:pt x="1853515" y="198831"/>
                  </a:lnTo>
                  <a:lnTo>
                    <a:pt x="1853515" y="196799"/>
                  </a:lnTo>
                  <a:lnTo>
                    <a:pt x="1853515" y="197447"/>
                  </a:lnTo>
                  <a:lnTo>
                    <a:pt x="1853515" y="196799"/>
                  </a:lnTo>
                  <a:lnTo>
                    <a:pt x="1853565" y="196799"/>
                  </a:lnTo>
                  <a:lnTo>
                    <a:pt x="1853565" y="195415"/>
                  </a:lnTo>
                  <a:lnTo>
                    <a:pt x="1853565" y="196799"/>
                  </a:lnTo>
                  <a:lnTo>
                    <a:pt x="1853616" y="196799"/>
                  </a:lnTo>
                  <a:lnTo>
                    <a:pt x="1853616" y="195415"/>
                  </a:lnTo>
                  <a:lnTo>
                    <a:pt x="1853616" y="198831"/>
                  </a:lnTo>
                  <a:lnTo>
                    <a:pt x="1853705" y="198831"/>
                  </a:lnTo>
                  <a:lnTo>
                    <a:pt x="1853705" y="196799"/>
                  </a:lnTo>
                  <a:lnTo>
                    <a:pt x="1853705" y="198831"/>
                  </a:lnTo>
                  <a:lnTo>
                    <a:pt x="1853756" y="198831"/>
                  </a:lnTo>
                  <a:lnTo>
                    <a:pt x="1853756" y="197447"/>
                  </a:lnTo>
                  <a:lnTo>
                    <a:pt x="1853756" y="198831"/>
                  </a:lnTo>
                  <a:lnTo>
                    <a:pt x="1853807" y="198831"/>
                  </a:lnTo>
                  <a:lnTo>
                    <a:pt x="1853807" y="199530"/>
                  </a:lnTo>
                  <a:lnTo>
                    <a:pt x="1853807" y="198831"/>
                  </a:lnTo>
                  <a:lnTo>
                    <a:pt x="1853807" y="199530"/>
                  </a:lnTo>
                  <a:lnTo>
                    <a:pt x="1853858" y="199530"/>
                  </a:lnTo>
                  <a:lnTo>
                    <a:pt x="1853858" y="198831"/>
                  </a:lnTo>
                  <a:lnTo>
                    <a:pt x="1853858" y="199530"/>
                  </a:lnTo>
                  <a:lnTo>
                    <a:pt x="1853959" y="199530"/>
                  </a:lnTo>
                  <a:lnTo>
                    <a:pt x="1853959" y="198831"/>
                  </a:lnTo>
                  <a:lnTo>
                    <a:pt x="1853959" y="199530"/>
                  </a:lnTo>
                  <a:lnTo>
                    <a:pt x="1853959" y="198831"/>
                  </a:lnTo>
                  <a:lnTo>
                    <a:pt x="1853959" y="199530"/>
                  </a:lnTo>
                  <a:lnTo>
                    <a:pt x="1853959" y="198831"/>
                  </a:lnTo>
                  <a:lnTo>
                    <a:pt x="1853959" y="199530"/>
                  </a:lnTo>
                  <a:lnTo>
                    <a:pt x="1853959" y="198831"/>
                  </a:lnTo>
                  <a:lnTo>
                    <a:pt x="1854010" y="198831"/>
                  </a:lnTo>
                  <a:lnTo>
                    <a:pt x="1854010" y="197447"/>
                  </a:lnTo>
                  <a:lnTo>
                    <a:pt x="1854061" y="196799"/>
                  </a:lnTo>
                  <a:lnTo>
                    <a:pt x="1854061" y="196113"/>
                  </a:lnTo>
                  <a:lnTo>
                    <a:pt x="1854061" y="197447"/>
                  </a:lnTo>
                  <a:lnTo>
                    <a:pt x="1854061" y="196113"/>
                  </a:lnTo>
                  <a:lnTo>
                    <a:pt x="1854162" y="196113"/>
                  </a:lnTo>
                  <a:lnTo>
                    <a:pt x="1854162" y="195415"/>
                  </a:lnTo>
                  <a:lnTo>
                    <a:pt x="1854162" y="198831"/>
                  </a:lnTo>
                  <a:lnTo>
                    <a:pt x="1854162" y="196799"/>
                  </a:lnTo>
                  <a:lnTo>
                    <a:pt x="1854200" y="196113"/>
                  </a:lnTo>
                  <a:lnTo>
                    <a:pt x="1854200" y="198831"/>
                  </a:lnTo>
                  <a:lnTo>
                    <a:pt x="1854200" y="196799"/>
                  </a:lnTo>
                  <a:lnTo>
                    <a:pt x="1854200" y="197447"/>
                  </a:lnTo>
                  <a:lnTo>
                    <a:pt x="1854251" y="197447"/>
                  </a:lnTo>
                  <a:lnTo>
                    <a:pt x="1854251" y="198831"/>
                  </a:lnTo>
                  <a:lnTo>
                    <a:pt x="1854251" y="197447"/>
                  </a:lnTo>
                  <a:lnTo>
                    <a:pt x="1854302" y="198831"/>
                  </a:lnTo>
                  <a:lnTo>
                    <a:pt x="1854302" y="197447"/>
                  </a:lnTo>
                  <a:lnTo>
                    <a:pt x="1854302" y="198831"/>
                  </a:lnTo>
                  <a:lnTo>
                    <a:pt x="1854302" y="197447"/>
                  </a:lnTo>
                  <a:lnTo>
                    <a:pt x="1854302" y="198831"/>
                  </a:lnTo>
                  <a:lnTo>
                    <a:pt x="1854404" y="198831"/>
                  </a:lnTo>
                  <a:lnTo>
                    <a:pt x="1854404" y="197447"/>
                  </a:lnTo>
                  <a:lnTo>
                    <a:pt x="1854404" y="198831"/>
                  </a:lnTo>
                  <a:lnTo>
                    <a:pt x="1854455" y="198831"/>
                  </a:lnTo>
                  <a:lnTo>
                    <a:pt x="1854455" y="197447"/>
                  </a:lnTo>
                  <a:lnTo>
                    <a:pt x="1854455" y="198831"/>
                  </a:lnTo>
                  <a:lnTo>
                    <a:pt x="1854455" y="197447"/>
                  </a:lnTo>
                  <a:lnTo>
                    <a:pt x="1854505" y="198831"/>
                  </a:lnTo>
                  <a:lnTo>
                    <a:pt x="1854505" y="196799"/>
                  </a:lnTo>
                  <a:lnTo>
                    <a:pt x="1854505" y="197447"/>
                  </a:lnTo>
                  <a:lnTo>
                    <a:pt x="1854505" y="196799"/>
                  </a:lnTo>
                  <a:lnTo>
                    <a:pt x="1854505" y="197447"/>
                  </a:lnTo>
                  <a:lnTo>
                    <a:pt x="1854505" y="196113"/>
                  </a:lnTo>
                  <a:lnTo>
                    <a:pt x="1854607" y="196113"/>
                  </a:lnTo>
                  <a:lnTo>
                    <a:pt x="1854607" y="197447"/>
                  </a:lnTo>
                  <a:lnTo>
                    <a:pt x="1854607" y="195415"/>
                  </a:lnTo>
                  <a:lnTo>
                    <a:pt x="1854658" y="195415"/>
                  </a:lnTo>
                  <a:lnTo>
                    <a:pt x="1854658" y="198831"/>
                  </a:lnTo>
                  <a:lnTo>
                    <a:pt x="1854658" y="196799"/>
                  </a:lnTo>
                  <a:lnTo>
                    <a:pt x="1854709" y="196799"/>
                  </a:lnTo>
                  <a:lnTo>
                    <a:pt x="1854709" y="198831"/>
                  </a:lnTo>
                  <a:lnTo>
                    <a:pt x="1854709" y="197447"/>
                  </a:lnTo>
                  <a:lnTo>
                    <a:pt x="1854709" y="198831"/>
                  </a:lnTo>
                  <a:lnTo>
                    <a:pt x="1854709" y="197447"/>
                  </a:lnTo>
                  <a:lnTo>
                    <a:pt x="1854709" y="198831"/>
                  </a:lnTo>
                  <a:lnTo>
                    <a:pt x="1854747" y="198831"/>
                  </a:lnTo>
                  <a:lnTo>
                    <a:pt x="1854747" y="199530"/>
                  </a:lnTo>
                  <a:lnTo>
                    <a:pt x="1854747" y="198831"/>
                  </a:lnTo>
                  <a:lnTo>
                    <a:pt x="1854848" y="198831"/>
                  </a:lnTo>
                  <a:lnTo>
                    <a:pt x="1854848" y="199530"/>
                  </a:lnTo>
                  <a:lnTo>
                    <a:pt x="1854848" y="198831"/>
                  </a:lnTo>
                  <a:lnTo>
                    <a:pt x="1854848" y="199530"/>
                  </a:lnTo>
                  <a:lnTo>
                    <a:pt x="1854899" y="199530"/>
                  </a:lnTo>
                  <a:lnTo>
                    <a:pt x="1854899" y="198831"/>
                  </a:lnTo>
                  <a:lnTo>
                    <a:pt x="1854899" y="199530"/>
                  </a:lnTo>
                  <a:lnTo>
                    <a:pt x="1854899" y="198831"/>
                  </a:lnTo>
                  <a:lnTo>
                    <a:pt x="1854899" y="199530"/>
                  </a:lnTo>
                  <a:lnTo>
                    <a:pt x="1854950" y="198831"/>
                  </a:lnTo>
                  <a:lnTo>
                    <a:pt x="1854950" y="199530"/>
                  </a:lnTo>
                  <a:lnTo>
                    <a:pt x="1854950" y="198831"/>
                  </a:lnTo>
                  <a:lnTo>
                    <a:pt x="1854950" y="199530"/>
                  </a:lnTo>
                  <a:lnTo>
                    <a:pt x="1854950" y="198831"/>
                  </a:lnTo>
                  <a:lnTo>
                    <a:pt x="1854950" y="199530"/>
                  </a:lnTo>
                  <a:lnTo>
                    <a:pt x="1854950" y="198831"/>
                  </a:lnTo>
                  <a:lnTo>
                    <a:pt x="1854950" y="199530"/>
                  </a:lnTo>
                  <a:lnTo>
                    <a:pt x="1854950" y="198831"/>
                  </a:lnTo>
                  <a:lnTo>
                    <a:pt x="1855051" y="198831"/>
                  </a:lnTo>
                  <a:lnTo>
                    <a:pt x="1855051" y="199530"/>
                  </a:lnTo>
                  <a:lnTo>
                    <a:pt x="1855051" y="197447"/>
                  </a:lnTo>
                  <a:lnTo>
                    <a:pt x="1855051" y="199530"/>
                  </a:lnTo>
                  <a:lnTo>
                    <a:pt x="1855102" y="199530"/>
                  </a:lnTo>
                  <a:lnTo>
                    <a:pt x="1855102" y="198831"/>
                  </a:lnTo>
                  <a:lnTo>
                    <a:pt x="1855102" y="200228"/>
                  </a:lnTo>
                  <a:lnTo>
                    <a:pt x="1855153" y="200228"/>
                  </a:lnTo>
                  <a:lnTo>
                    <a:pt x="1855153" y="199530"/>
                  </a:lnTo>
                  <a:lnTo>
                    <a:pt x="1855153" y="200876"/>
                  </a:lnTo>
                  <a:lnTo>
                    <a:pt x="1855153" y="200228"/>
                  </a:lnTo>
                  <a:lnTo>
                    <a:pt x="1855153" y="200876"/>
                  </a:lnTo>
                  <a:lnTo>
                    <a:pt x="1855153" y="200228"/>
                  </a:lnTo>
                  <a:lnTo>
                    <a:pt x="1855204" y="200228"/>
                  </a:lnTo>
                  <a:lnTo>
                    <a:pt x="1855204" y="200876"/>
                  </a:lnTo>
                  <a:lnTo>
                    <a:pt x="1855204" y="200228"/>
                  </a:lnTo>
                  <a:lnTo>
                    <a:pt x="1855293" y="200228"/>
                  </a:lnTo>
                  <a:lnTo>
                    <a:pt x="1855293" y="199530"/>
                  </a:lnTo>
                  <a:lnTo>
                    <a:pt x="1855293" y="200228"/>
                  </a:lnTo>
                  <a:lnTo>
                    <a:pt x="1855293" y="199530"/>
                  </a:lnTo>
                  <a:lnTo>
                    <a:pt x="1855344" y="199530"/>
                  </a:lnTo>
                  <a:lnTo>
                    <a:pt x="1855344" y="200228"/>
                  </a:lnTo>
                  <a:lnTo>
                    <a:pt x="1855344" y="199530"/>
                  </a:lnTo>
                  <a:lnTo>
                    <a:pt x="1855344" y="200228"/>
                  </a:lnTo>
                  <a:lnTo>
                    <a:pt x="1855344" y="199530"/>
                  </a:lnTo>
                  <a:lnTo>
                    <a:pt x="1855344" y="200228"/>
                  </a:lnTo>
                  <a:lnTo>
                    <a:pt x="1855344" y="199530"/>
                  </a:lnTo>
                  <a:lnTo>
                    <a:pt x="1855344" y="200228"/>
                  </a:lnTo>
                  <a:lnTo>
                    <a:pt x="1855344" y="198831"/>
                  </a:lnTo>
                  <a:lnTo>
                    <a:pt x="1855344" y="199530"/>
                  </a:lnTo>
                  <a:lnTo>
                    <a:pt x="1855394" y="199530"/>
                  </a:lnTo>
                  <a:lnTo>
                    <a:pt x="1855394" y="198831"/>
                  </a:lnTo>
                  <a:lnTo>
                    <a:pt x="1855394" y="199530"/>
                  </a:lnTo>
                  <a:lnTo>
                    <a:pt x="1855394" y="198831"/>
                  </a:lnTo>
                  <a:lnTo>
                    <a:pt x="1855394" y="199530"/>
                  </a:lnTo>
                  <a:lnTo>
                    <a:pt x="1855394" y="198831"/>
                  </a:lnTo>
                  <a:lnTo>
                    <a:pt x="1855445" y="198831"/>
                  </a:lnTo>
                  <a:lnTo>
                    <a:pt x="1855445" y="197447"/>
                  </a:lnTo>
                  <a:lnTo>
                    <a:pt x="1855445" y="198831"/>
                  </a:lnTo>
                  <a:lnTo>
                    <a:pt x="1855445" y="196113"/>
                  </a:lnTo>
                  <a:lnTo>
                    <a:pt x="1855547" y="196113"/>
                  </a:lnTo>
                  <a:lnTo>
                    <a:pt x="1855547" y="198831"/>
                  </a:lnTo>
                  <a:lnTo>
                    <a:pt x="1855547" y="196113"/>
                  </a:lnTo>
                  <a:lnTo>
                    <a:pt x="1855597" y="196113"/>
                  </a:lnTo>
                  <a:lnTo>
                    <a:pt x="1855597" y="199530"/>
                  </a:lnTo>
                  <a:lnTo>
                    <a:pt x="1855597" y="197447"/>
                  </a:lnTo>
                  <a:lnTo>
                    <a:pt x="1855597" y="198831"/>
                  </a:lnTo>
                  <a:lnTo>
                    <a:pt x="1855648" y="198831"/>
                  </a:lnTo>
                  <a:lnTo>
                    <a:pt x="1855648" y="200228"/>
                  </a:lnTo>
                  <a:lnTo>
                    <a:pt x="1855648" y="199530"/>
                  </a:lnTo>
                  <a:lnTo>
                    <a:pt x="1855648" y="200228"/>
                  </a:lnTo>
                  <a:lnTo>
                    <a:pt x="1855788" y="200228"/>
                  </a:lnTo>
                  <a:lnTo>
                    <a:pt x="1855788" y="200876"/>
                  </a:lnTo>
                  <a:lnTo>
                    <a:pt x="1855788" y="200228"/>
                  </a:lnTo>
                  <a:lnTo>
                    <a:pt x="1855839" y="200228"/>
                  </a:lnTo>
                  <a:lnTo>
                    <a:pt x="1855839" y="199530"/>
                  </a:lnTo>
                  <a:lnTo>
                    <a:pt x="1855839" y="200228"/>
                  </a:lnTo>
                  <a:lnTo>
                    <a:pt x="1855839" y="199530"/>
                  </a:lnTo>
                  <a:lnTo>
                    <a:pt x="1855839" y="200228"/>
                  </a:lnTo>
                  <a:lnTo>
                    <a:pt x="1855890" y="199530"/>
                  </a:lnTo>
                  <a:lnTo>
                    <a:pt x="1855890" y="197447"/>
                  </a:lnTo>
                  <a:lnTo>
                    <a:pt x="1855991" y="197447"/>
                  </a:lnTo>
                  <a:lnTo>
                    <a:pt x="1855991" y="196799"/>
                  </a:lnTo>
                  <a:lnTo>
                    <a:pt x="1855991" y="197447"/>
                  </a:lnTo>
                  <a:lnTo>
                    <a:pt x="1855991" y="196799"/>
                  </a:lnTo>
                  <a:lnTo>
                    <a:pt x="1855991" y="197447"/>
                  </a:lnTo>
                  <a:lnTo>
                    <a:pt x="1856042" y="198831"/>
                  </a:lnTo>
                  <a:lnTo>
                    <a:pt x="1856042" y="196113"/>
                  </a:lnTo>
                  <a:lnTo>
                    <a:pt x="1856042" y="200228"/>
                  </a:lnTo>
                  <a:lnTo>
                    <a:pt x="1856093" y="200228"/>
                  </a:lnTo>
                  <a:lnTo>
                    <a:pt x="1856093" y="197447"/>
                  </a:lnTo>
                  <a:lnTo>
                    <a:pt x="1856093" y="199530"/>
                  </a:lnTo>
                  <a:lnTo>
                    <a:pt x="1856194" y="199530"/>
                  </a:lnTo>
                  <a:lnTo>
                    <a:pt x="1856194" y="198831"/>
                  </a:lnTo>
                  <a:lnTo>
                    <a:pt x="1856194" y="199530"/>
                  </a:lnTo>
                  <a:lnTo>
                    <a:pt x="1856194" y="198831"/>
                  </a:lnTo>
                  <a:lnTo>
                    <a:pt x="1856194" y="200228"/>
                  </a:lnTo>
                  <a:lnTo>
                    <a:pt x="1856194" y="199530"/>
                  </a:lnTo>
                  <a:lnTo>
                    <a:pt x="1856245" y="199530"/>
                  </a:lnTo>
                  <a:lnTo>
                    <a:pt x="1856245" y="200228"/>
                  </a:lnTo>
                  <a:lnTo>
                    <a:pt x="1856245" y="199530"/>
                  </a:lnTo>
                  <a:lnTo>
                    <a:pt x="1856245" y="200876"/>
                  </a:lnTo>
                  <a:lnTo>
                    <a:pt x="1856296" y="200228"/>
                  </a:lnTo>
                  <a:lnTo>
                    <a:pt x="1856296" y="199530"/>
                  </a:lnTo>
                  <a:lnTo>
                    <a:pt x="1856296" y="200228"/>
                  </a:lnTo>
                  <a:lnTo>
                    <a:pt x="1856334" y="200228"/>
                  </a:lnTo>
                  <a:lnTo>
                    <a:pt x="1856334" y="198831"/>
                  </a:lnTo>
                  <a:lnTo>
                    <a:pt x="1856334" y="199530"/>
                  </a:lnTo>
                  <a:lnTo>
                    <a:pt x="1856436" y="199530"/>
                  </a:lnTo>
                  <a:lnTo>
                    <a:pt x="1856436" y="197447"/>
                  </a:lnTo>
                  <a:lnTo>
                    <a:pt x="1856436" y="198831"/>
                  </a:lnTo>
                  <a:lnTo>
                    <a:pt x="1856487" y="197447"/>
                  </a:lnTo>
                  <a:lnTo>
                    <a:pt x="1856487" y="195415"/>
                  </a:lnTo>
                  <a:lnTo>
                    <a:pt x="1856537" y="195415"/>
                  </a:lnTo>
                  <a:lnTo>
                    <a:pt x="1856537" y="194716"/>
                  </a:lnTo>
                  <a:lnTo>
                    <a:pt x="1856537" y="196799"/>
                  </a:lnTo>
                  <a:lnTo>
                    <a:pt x="1856537" y="194716"/>
                  </a:lnTo>
                  <a:lnTo>
                    <a:pt x="1856537" y="195415"/>
                  </a:lnTo>
                  <a:lnTo>
                    <a:pt x="1856639" y="196113"/>
                  </a:lnTo>
                  <a:lnTo>
                    <a:pt x="1856639" y="196799"/>
                  </a:lnTo>
                  <a:lnTo>
                    <a:pt x="1856639" y="196113"/>
                  </a:lnTo>
                  <a:lnTo>
                    <a:pt x="1856639" y="196799"/>
                  </a:lnTo>
                  <a:lnTo>
                    <a:pt x="1856639" y="196113"/>
                  </a:lnTo>
                  <a:lnTo>
                    <a:pt x="1856639" y="197447"/>
                  </a:lnTo>
                  <a:lnTo>
                    <a:pt x="1856690" y="197447"/>
                  </a:lnTo>
                  <a:lnTo>
                    <a:pt x="1856690" y="198831"/>
                  </a:lnTo>
                  <a:lnTo>
                    <a:pt x="1856690" y="196799"/>
                  </a:lnTo>
                  <a:lnTo>
                    <a:pt x="1856690" y="198831"/>
                  </a:lnTo>
                  <a:lnTo>
                    <a:pt x="1856740" y="198831"/>
                  </a:lnTo>
                  <a:lnTo>
                    <a:pt x="1856740" y="199530"/>
                  </a:lnTo>
                  <a:lnTo>
                    <a:pt x="1856740" y="198831"/>
                  </a:lnTo>
                  <a:lnTo>
                    <a:pt x="1856740" y="199530"/>
                  </a:lnTo>
                  <a:lnTo>
                    <a:pt x="1856740" y="198831"/>
                  </a:lnTo>
                  <a:lnTo>
                    <a:pt x="1856791" y="199530"/>
                  </a:lnTo>
                  <a:lnTo>
                    <a:pt x="1856791" y="200228"/>
                  </a:lnTo>
                  <a:lnTo>
                    <a:pt x="1856791" y="199530"/>
                  </a:lnTo>
                  <a:lnTo>
                    <a:pt x="1856791" y="200228"/>
                  </a:lnTo>
                  <a:lnTo>
                    <a:pt x="1856791" y="199530"/>
                  </a:lnTo>
                  <a:lnTo>
                    <a:pt x="1856880" y="199530"/>
                  </a:lnTo>
                  <a:lnTo>
                    <a:pt x="1856880" y="200228"/>
                  </a:lnTo>
                  <a:lnTo>
                    <a:pt x="1856880" y="199530"/>
                  </a:lnTo>
                  <a:lnTo>
                    <a:pt x="1856931" y="199530"/>
                  </a:lnTo>
                  <a:lnTo>
                    <a:pt x="1856931" y="197447"/>
                  </a:lnTo>
                  <a:lnTo>
                    <a:pt x="1856982" y="197447"/>
                  </a:lnTo>
                  <a:lnTo>
                    <a:pt x="1856982" y="196113"/>
                  </a:lnTo>
                  <a:lnTo>
                    <a:pt x="1856982" y="197447"/>
                  </a:lnTo>
                  <a:lnTo>
                    <a:pt x="1857033" y="196799"/>
                  </a:lnTo>
                  <a:lnTo>
                    <a:pt x="1857033" y="195415"/>
                  </a:lnTo>
                  <a:lnTo>
                    <a:pt x="1857033" y="197447"/>
                  </a:lnTo>
                  <a:lnTo>
                    <a:pt x="1857134" y="196799"/>
                  </a:lnTo>
                  <a:lnTo>
                    <a:pt x="1857134" y="196113"/>
                  </a:lnTo>
                  <a:lnTo>
                    <a:pt x="1857134" y="197447"/>
                  </a:lnTo>
                  <a:lnTo>
                    <a:pt x="1857185" y="196799"/>
                  </a:lnTo>
                  <a:lnTo>
                    <a:pt x="1857185" y="197447"/>
                  </a:lnTo>
                  <a:lnTo>
                    <a:pt x="1857185" y="196799"/>
                  </a:lnTo>
                  <a:lnTo>
                    <a:pt x="1857185" y="197447"/>
                  </a:lnTo>
                  <a:lnTo>
                    <a:pt x="1857185" y="196799"/>
                  </a:lnTo>
                  <a:lnTo>
                    <a:pt x="1857236" y="196799"/>
                  </a:lnTo>
                  <a:lnTo>
                    <a:pt x="1857236" y="198831"/>
                  </a:lnTo>
                  <a:lnTo>
                    <a:pt x="1857236" y="197447"/>
                  </a:lnTo>
                  <a:lnTo>
                    <a:pt x="1857337" y="196799"/>
                  </a:lnTo>
                  <a:lnTo>
                    <a:pt x="1857337" y="198831"/>
                  </a:lnTo>
                  <a:lnTo>
                    <a:pt x="1857375" y="198831"/>
                  </a:lnTo>
                  <a:lnTo>
                    <a:pt x="1857375" y="199530"/>
                  </a:lnTo>
                  <a:lnTo>
                    <a:pt x="1857375" y="198831"/>
                  </a:lnTo>
                  <a:lnTo>
                    <a:pt x="1857426" y="198831"/>
                  </a:lnTo>
                  <a:lnTo>
                    <a:pt x="1857426" y="196799"/>
                  </a:lnTo>
                  <a:lnTo>
                    <a:pt x="1857477" y="196799"/>
                  </a:lnTo>
                  <a:lnTo>
                    <a:pt x="1857477" y="197447"/>
                  </a:lnTo>
                  <a:lnTo>
                    <a:pt x="1857477" y="196113"/>
                  </a:lnTo>
                  <a:lnTo>
                    <a:pt x="1857477" y="197447"/>
                  </a:lnTo>
                  <a:lnTo>
                    <a:pt x="1857477" y="196799"/>
                  </a:lnTo>
                  <a:lnTo>
                    <a:pt x="1857579" y="196799"/>
                  </a:lnTo>
                  <a:lnTo>
                    <a:pt x="1857579" y="196113"/>
                  </a:lnTo>
                  <a:lnTo>
                    <a:pt x="1857579" y="198831"/>
                  </a:lnTo>
                  <a:lnTo>
                    <a:pt x="1857579" y="197447"/>
                  </a:lnTo>
                  <a:lnTo>
                    <a:pt x="1857630" y="197447"/>
                  </a:lnTo>
                  <a:lnTo>
                    <a:pt x="1857630" y="198831"/>
                  </a:lnTo>
                  <a:lnTo>
                    <a:pt x="1857630" y="197447"/>
                  </a:lnTo>
                  <a:lnTo>
                    <a:pt x="1857680" y="198831"/>
                  </a:lnTo>
                  <a:lnTo>
                    <a:pt x="1857680" y="197447"/>
                  </a:lnTo>
                  <a:lnTo>
                    <a:pt x="1857680" y="198831"/>
                  </a:lnTo>
                  <a:lnTo>
                    <a:pt x="1857680" y="197447"/>
                  </a:lnTo>
                  <a:lnTo>
                    <a:pt x="1857782" y="198831"/>
                  </a:lnTo>
                  <a:lnTo>
                    <a:pt x="1857782" y="199530"/>
                  </a:lnTo>
                  <a:lnTo>
                    <a:pt x="1857782" y="198831"/>
                  </a:lnTo>
                  <a:lnTo>
                    <a:pt x="1857782" y="199530"/>
                  </a:lnTo>
                  <a:lnTo>
                    <a:pt x="1857782" y="197447"/>
                  </a:lnTo>
                  <a:lnTo>
                    <a:pt x="1857782" y="198831"/>
                  </a:lnTo>
                  <a:lnTo>
                    <a:pt x="1857833" y="198831"/>
                  </a:lnTo>
                  <a:lnTo>
                    <a:pt x="1857833" y="199530"/>
                  </a:lnTo>
                  <a:lnTo>
                    <a:pt x="1857833" y="197447"/>
                  </a:lnTo>
                  <a:lnTo>
                    <a:pt x="1857833" y="199530"/>
                  </a:lnTo>
                  <a:lnTo>
                    <a:pt x="1857833" y="198831"/>
                  </a:lnTo>
                  <a:lnTo>
                    <a:pt x="1857884" y="198831"/>
                  </a:lnTo>
                  <a:lnTo>
                    <a:pt x="1857884" y="197447"/>
                  </a:lnTo>
                  <a:lnTo>
                    <a:pt x="1857884" y="198831"/>
                  </a:lnTo>
                  <a:lnTo>
                    <a:pt x="1857884" y="197447"/>
                  </a:lnTo>
                  <a:lnTo>
                    <a:pt x="1857922" y="197447"/>
                  </a:lnTo>
                  <a:lnTo>
                    <a:pt x="1857922" y="196799"/>
                  </a:lnTo>
                  <a:lnTo>
                    <a:pt x="1857922" y="197447"/>
                  </a:lnTo>
                  <a:lnTo>
                    <a:pt x="1857922" y="195415"/>
                  </a:lnTo>
                  <a:lnTo>
                    <a:pt x="1857922" y="196113"/>
                  </a:lnTo>
                  <a:lnTo>
                    <a:pt x="1858023" y="196113"/>
                  </a:lnTo>
                  <a:lnTo>
                    <a:pt x="1858023" y="197447"/>
                  </a:lnTo>
                  <a:lnTo>
                    <a:pt x="1858023" y="196799"/>
                  </a:lnTo>
                  <a:lnTo>
                    <a:pt x="1858023" y="197447"/>
                  </a:lnTo>
                  <a:lnTo>
                    <a:pt x="1858074" y="197447"/>
                  </a:lnTo>
                  <a:lnTo>
                    <a:pt x="1858074" y="199530"/>
                  </a:lnTo>
                  <a:lnTo>
                    <a:pt x="1858074" y="198831"/>
                  </a:lnTo>
                  <a:lnTo>
                    <a:pt x="1858074" y="199530"/>
                  </a:lnTo>
                  <a:lnTo>
                    <a:pt x="1858074" y="198831"/>
                  </a:lnTo>
                  <a:lnTo>
                    <a:pt x="1858074" y="199530"/>
                  </a:lnTo>
                  <a:lnTo>
                    <a:pt x="1858074" y="197447"/>
                  </a:lnTo>
                  <a:lnTo>
                    <a:pt x="1858074" y="198831"/>
                  </a:lnTo>
                  <a:lnTo>
                    <a:pt x="1858125" y="198831"/>
                  </a:lnTo>
                  <a:lnTo>
                    <a:pt x="1858125" y="200228"/>
                  </a:lnTo>
                  <a:lnTo>
                    <a:pt x="1858125" y="198831"/>
                  </a:lnTo>
                  <a:lnTo>
                    <a:pt x="1858125" y="199530"/>
                  </a:lnTo>
                  <a:lnTo>
                    <a:pt x="1858226" y="199530"/>
                  </a:lnTo>
                  <a:lnTo>
                    <a:pt x="1858226" y="198831"/>
                  </a:lnTo>
                  <a:lnTo>
                    <a:pt x="1858226" y="199530"/>
                  </a:lnTo>
                  <a:lnTo>
                    <a:pt x="1858226" y="198831"/>
                  </a:lnTo>
                  <a:lnTo>
                    <a:pt x="1858226" y="199530"/>
                  </a:lnTo>
                  <a:lnTo>
                    <a:pt x="1858226" y="198831"/>
                  </a:lnTo>
                  <a:lnTo>
                    <a:pt x="1858226" y="199530"/>
                  </a:lnTo>
                  <a:lnTo>
                    <a:pt x="1858226" y="198831"/>
                  </a:lnTo>
                  <a:lnTo>
                    <a:pt x="1858277" y="198831"/>
                  </a:lnTo>
                  <a:lnTo>
                    <a:pt x="1858277" y="199530"/>
                  </a:lnTo>
                  <a:lnTo>
                    <a:pt x="1858277" y="198831"/>
                  </a:lnTo>
                  <a:lnTo>
                    <a:pt x="1858277" y="199530"/>
                  </a:lnTo>
                  <a:lnTo>
                    <a:pt x="1858328" y="199530"/>
                  </a:lnTo>
                  <a:lnTo>
                    <a:pt x="1858328" y="198831"/>
                  </a:lnTo>
                  <a:lnTo>
                    <a:pt x="1858328" y="199530"/>
                  </a:lnTo>
                  <a:lnTo>
                    <a:pt x="1858328" y="198831"/>
                  </a:lnTo>
                  <a:lnTo>
                    <a:pt x="1858379" y="198831"/>
                  </a:lnTo>
                  <a:lnTo>
                    <a:pt x="1858379" y="196113"/>
                  </a:lnTo>
                  <a:lnTo>
                    <a:pt x="1858468" y="196799"/>
                  </a:lnTo>
                  <a:lnTo>
                    <a:pt x="1858468" y="195415"/>
                  </a:lnTo>
                  <a:lnTo>
                    <a:pt x="1858519" y="194716"/>
                  </a:lnTo>
                  <a:lnTo>
                    <a:pt x="1858519" y="192684"/>
                  </a:lnTo>
                  <a:lnTo>
                    <a:pt x="1858519" y="195415"/>
                  </a:lnTo>
                  <a:lnTo>
                    <a:pt x="1858569" y="194716"/>
                  </a:lnTo>
                  <a:lnTo>
                    <a:pt x="1858569" y="192684"/>
                  </a:lnTo>
                  <a:lnTo>
                    <a:pt x="1858569" y="196799"/>
                  </a:lnTo>
                  <a:lnTo>
                    <a:pt x="1858569" y="196113"/>
                  </a:lnTo>
                  <a:lnTo>
                    <a:pt x="1858620" y="196113"/>
                  </a:lnTo>
                  <a:lnTo>
                    <a:pt x="1858620" y="195415"/>
                  </a:lnTo>
                  <a:lnTo>
                    <a:pt x="1858620" y="197447"/>
                  </a:lnTo>
                  <a:lnTo>
                    <a:pt x="1858620" y="196799"/>
                  </a:lnTo>
                  <a:lnTo>
                    <a:pt x="1858722" y="196113"/>
                  </a:lnTo>
                  <a:lnTo>
                    <a:pt x="1858722" y="196799"/>
                  </a:lnTo>
                  <a:lnTo>
                    <a:pt x="1858722" y="196113"/>
                  </a:lnTo>
                  <a:lnTo>
                    <a:pt x="1858722" y="197447"/>
                  </a:lnTo>
                  <a:lnTo>
                    <a:pt x="1858722" y="196799"/>
                  </a:lnTo>
                  <a:lnTo>
                    <a:pt x="1858722" y="197447"/>
                  </a:lnTo>
                  <a:lnTo>
                    <a:pt x="1858772" y="197447"/>
                  </a:lnTo>
                  <a:lnTo>
                    <a:pt x="1858772" y="196799"/>
                  </a:lnTo>
                  <a:lnTo>
                    <a:pt x="1858772" y="198831"/>
                  </a:lnTo>
                  <a:lnTo>
                    <a:pt x="1858823" y="198831"/>
                  </a:lnTo>
                  <a:lnTo>
                    <a:pt x="1858823" y="199530"/>
                  </a:lnTo>
                  <a:lnTo>
                    <a:pt x="1858823" y="198831"/>
                  </a:lnTo>
                  <a:lnTo>
                    <a:pt x="1858823" y="199530"/>
                  </a:lnTo>
                  <a:lnTo>
                    <a:pt x="1858823" y="198831"/>
                  </a:lnTo>
                  <a:lnTo>
                    <a:pt x="1858925" y="198831"/>
                  </a:lnTo>
                  <a:lnTo>
                    <a:pt x="1858925" y="197447"/>
                  </a:lnTo>
                  <a:lnTo>
                    <a:pt x="1858963" y="197447"/>
                  </a:lnTo>
                  <a:lnTo>
                    <a:pt x="1858963" y="196113"/>
                  </a:lnTo>
                  <a:lnTo>
                    <a:pt x="1859014" y="196113"/>
                  </a:lnTo>
                  <a:lnTo>
                    <a:pt x="1859014" y="195415"/>
                  </a:lnTo>
                  <a:lnTo>
                    <a:pt x="1859014" y="197447"/>
                  </a:lnTo>
                  <a:lnTo>
                    <a:pt x="1859014" y="196113"/>
                  </a:lnTo>
                  <a:lnTo>
                    <a:pt x="1859065" y="196113"/>
                  </a:lnTo>
                  <a:lnTo>
                    <a:pt x="1859065" y="198831"/>
                  </a:lnTo>
                  <a:lnTo>
                    <a:pt x="1859065" y="196799"/>
                  </a:lnTo>
                  <a:lnTo>
                    <a:pt x="1859166" y="196799"/>
                  </a:lnTo>
                  <a:lnTo>
                    <a:pt x="1859166" y="197447"/>
                  </a:lnTo>
                  <a:lnTo>
                    <a:pt x="1859217" y="197447"/>
                  </a:lnTo>
                  <a:lnTo>
                    <a:pt x="1859217" y="196799"/>
                  </a:lnTo>
                  <a:lnTo>
                    <a:pt x="1859217" y="197447"/>
                  </a:lnTo>
                  <a:lnTo>
                    <a:pt x="1859268" y="197447"/>
                  </a:lnTo>
                  <a:lnTo>
                    <a:pt x="1859268" y="198831"/>
                  </a:lnTo>
                  <a:lnTo>
                    <a:pt x="1859268" y="197447"/>
                  </a:lnTo>
                  <a:lnTo>
                    <a:pt x="1859268" y="198831"/>
                  </a:lnTo>
                  <a:lnTo>
                    <a:pt x="1859268" y="197447"/>
                  </a:lnTo>
                  <a:lnTo>
                    <a:pt x="1859268" y="198831"/>
                  </a:lnTo>
                  <a:lnTo>
                    <a:pt x="1859369" y="198831"/>
                  </a:lnTo>
                  <a:lnTo>
                    <a:pt x="1859369" y="199530"/>
                  </a:lnTo>
                  <a:lnTo>
                    <a:pt x="1859369" y="198831"/>
                  </a:lnTo>
                  <a:lnTo>
                    <a:pt x="1859420" y="197447"/>
                  </a:lnTo>
                  <a:lnTo>
                    <a:pt x="1859420" y="198831"/>
                  </a:lnTo>
                  <a:lnTo>
                    <a:pt x="1859420" y="197447"/>
                  </a:lnTo>
                  <a:lnTo>
                    <a:pt x="1859420" y="198831"/>
                  </a:lnTo>
                  <a:lnTo>
                    <a:pt x="1859420" y="196799"/>
                  </a:lnTo>
                  <a:lnTo>
                    <a:pt x="1859471" y="196799"/>
                  </a:lnTo>
                  <a:lnTo>
                    <a:pt x="1859471" y="196113"/>
                  </a:lnTo>
                  <a:lnTo>
                    <a:pt x="1859471" y="196799"/>
                  </a:lnTo>
                  <a:lnTo>
                    <a:pt x="1859471" y="195415"/>
                  </a:lnTo>
                  <a:lnTo>
                    <a:pt x="1859471" y="196113"/>
                  </a:lnTo>
                  <a:lnTo>
                    <a:pt x="1859471" y="195415"/>
                  </a:lnTo>
                  <a:lnTo>
                    <a:pt x="1859509" y="195415"/>
                  </a:lnTo>
                  <a:lnTo>
                    <a:pt x="1859509" y="196799"/>
                  </a:lnTo>
                  <a:lnTo>
                    <a:pt x="1859509" y="195415"/>
                  </a:lnTo>
                  <a:lnTo>
                    <a:pt x="1859611" y="195415"/>
                  </a:lnTo>
                  <a:lnTo>
                    <a:pt x="1859611" y="196799"/>
                  </a:lnTo>
                  <a:lnTo>
                    <a:pt x="1859611" y="196113"/>
                  </a:lnTo>
                  <a:lnTo>
                    <a:pt x="1859611" y="196799"/>
                  </a:lnTo>
                  <a:lnTo>
                    <a:pt x="1859611" y="196113"/>
                  </a:lnTo>
                  <a:lnTo>
                    <a:pt x="1859611" y="196799"/>
                  </a:lnTo>
                  <a:lnTo>
                    <a:pt x="1859662" y="196799"/>
                  </a:lnTo>
                  <a:lnTo>
                    <a:pt x="1859662" y="197447"/>
                  </a:lnTo>
                  <a:lnTo>
                    <a:pt x="1859662" y="196799"/>
                  </a:lnTo>
                  <a:lnTo>
                    <a:pt x="1859712" y="196799"/>
                  </a:lnTo>
                  <a:lnTo>
                    <a:pt x="1859712" y="198831"/>
                  </a:lnTo>
                  <a:lnTo>
                    <a:pt x="1859712" y="197447"/>
                  </a:lnTo>
                  <a:lnTo>
                    <a:pt x="1859814" y="198831"/>
                  </a:lnTo>
                  <a:lnTo>
                    <a:pt x="1859814" y="197447"/>
                  </a:lnTo>
                  <a:lnTo>
                    <a:pt x="1859814" y="198831"/>
                  </a:lnTo>
                  <a:lnTo>
                    <a:pt x="1859814" y="197447"/>
                  </a:lnTo>
                  <a:lnTo>
                    <a:pt x="1859814" y="198831"/>
                  </a:lnTo>
                  <a:lnTo>
                    <a:pt x="1859915" y="198831"/>
                  </a:lnTo>
                  <a:lnTo>
                    <a:pt x="1859915" y="197447"/>
                  </a:lnTo>
                  <a:lnTo>
                    <a:pt x="1859966" y="196799"/>
                  </a:lnTo>
                  <a:lnTo>
                    <a:pt x="1859966" y="196113"/>
                  </a:lnTo>
                  <a:lnTo>
                    <a:pt x="1860055" y="196113"/>
                  </a:lnTo>
                  <a:lnTo>
                    <a:pt x="1860055" y="196799"/>
                  </a:lnTo>
                  <a:lnTo>
                    <a:pt x="1860055" y="196113"/>
                  </a:lnTo>
                  <a:lnTo>
                    <a:pt x="1860055" y="196799"/>
                  </a:lnTo>
                  <a:lnTo>
                    <a:pt x="1860055" y="196113"/>
                  </a:lnTo>
                  <a:lnTo>
                    <a:pt x="1860055" y="197447"/>
                  </a:lnTo>
                  <a:lnTo>
                    <a:pt x="1860055" y="196799"/>
                  </a:lnTo>
                  <a:lnTo>
                    <a:pt x="1860106" y="197447"/>
                  </a:lnTo>
                  <a:lnTo>
                    <a:pt x="1860106" y="196799"/>
                  </a:lnTo>
                  <a:lnTo>
                    <a:pt x="1860106" y="197447"/>
                  </a:lnTo>
                  <a:lnTo>
                    <a:pt x="1860157" y="197447"/>
                  </a:lnTo>
                  <a:lnTo>
                    <a:pt x="1860157" y="196799"/>
                  </a:lnTo>
                  <a:lnTo>
                    <a:pt x="1860157" y="197447"/>
                  </a:lnTo>
                  <a:lnTo>
                    <a:pt x="1860157" y="196799"/>
                  </a:lnTo>
                  <a:lnTo>
                    <a:pt x="1860157" y="197447"/>
                  </a:lnTo>
                  <a:lnTo>
                    <a:pt x="1860157" y="196799"/>
                  </a:lnTo>
                  <a:lnTo>
                    <a:pt x="1860157" y="197447"/>
                  </a:lnTo>
                  <a:lnTo>
                    <a:pt x="1860208" y="197447"/>
                  </a:lnTo>
                  <a:lnTo>
                    <a:pt x="1860208" y="196799"/>
                  </a:lnTo>
                  <a:lnTo>
                    <a:pt x="1860208" y="197447"/>
                  </a:lnTo>
                  <a:lnTo>
                    <a:pt x="1860309" y="197447"/>
                  </a:lnTo>
                  <a:lnTo>
                    <a:pt x="1860309" y="198831"/>
                  </a:lnTo>
                  <a:lnTo>
                    <a:pt x="1860309" y="196799"/>
                  </a:lnTo>
                  <a:lnTo>
                    <a:pt x="1860360" y="197447"/>
                  </a:lnTo>
                  <a:lnTo>
                    <a:pt x="1860360" y="198831"/>
                  </a:lnTo>
                  <a:lnTo>
                    <a:pt x="1860360" y="196799"/>
                  </a:lnTo>
                  <a:lnTo>
                    <a:pt x="1860360" y="197447"/>
                  </a:lnTo>
                  <a:lnTo>
                    <a:pt x="1860411" y="197447"/>
                  </a:lnTo>
                  <a:lnTo>
                    <a:pt x="1860411" y="196113"/>
                  </a:lnTo>
                  <a:lnTo>
                    <a:pt x="1860411" y="196799"/>
                  </a:lnTo>
                  <a:lnTo>
                    <a:pt x="1860512" y="196799"/>
                  </a:lnTo>
                  <a:lnTo>
                    <a:pt x="1860512" y="195415"/>
                  </a:lnTo>
                  <a:lnTo>
                    <a:pt x="1860512" y="196113"/>
                  </a:lnTo>
                  <a:lnTo>
                    <a:pt x="1860512" y="195415"/>
                  </a:lnTo>
                  <a:lnTo>
                    <a:pt x="1860512" y="197447"/>
                  </a:lnTo>
                  <a:lnTo>
                    <a:pt x="1860512" y="196799"/>
                  </a:lnTo>
                  <a:lnTo>
                    <a:pt x="1860550" y="196113"/>
                  </a:lnTo>
                  <a:lnTo>
                    <a:pt x="1860550" y="198831"/>
                  </a:lnTo>
                  <a:lnTo>
                    <a:pt x="1860550" y="197447"/>
                  </a:lnTo>
                  <a:lnTo>
                    <a:pt x="1860601" y="197447"/>
                  </a:lnTo>
                  <a:lnTo>
                    <a:pt x="1860601" y="196799"/>
                  </a:lnTo>
                  <a:lnTo>
                    <a:pt x="1860601" y="198831"/>
                  </a:lnTo>
                  <a:lnTo>
                    <a:pt x="1860754" y="198831"/>
                  </a:lnTo>
                  <a:lnTo>
                    <a:pt x="1860754" y="199530"/>
                  </a:lnTo>
                  <a:lnTo>
                    <a:pt x="1860754" y="198831"/>
                  </a:lnTo>
                  <a:lnTo>
                    <a:pt x="1860805" y="198831"/>
                  </a:lnTo>
                  <a:lnTo>
                    <a:pt x="1860805" y="199530"/>
                  </a:lnTo>
                  <a:lnTo>
                    <a:pt x="1860805" y="198831"/>
                  </a:lnTo>
                  <a:lnTo>
                    <a:pt x="1860805" y="199530"/>
                  </a:lnTo>
                  <a:lnTo>
                    <a:pt x="1860805" y="198831"/>
                  </a:lnTo>
                  <a:lnTo>
                    <a:pt x="1860855" y="199530"/>
                  </a:lnTo>
                  <a:lnTo>
                    <a:pt x="1860855" y="197447"/>
                  </a:lnTo>
                  <a:lnTo>
                    <a:pt x="1860855" y="198831"/>
                  </a:lnTo>
                  <a:lnTo>
                    <a:pt x="1860855" y="197447"/>
                  </a:lnTo>
                  <a:lnTo>
                    <a:pt x="1860855" y="198831"/>
                  </a:lnTo>
                  <a:lnTo>
                    <a:pt x="1860855" y="197447"/>
                  </a:lnTo>
                  <a:lnTo>
                    <a:pt x="1860957" y="197447"/>
                  </a:lnTo>
                  <a:lnTo>
                    <a:pt x="1860957" y="198831"/>
                  </a:lnTo>
                  <a:lnTo>
                    <a:pt x="1860957" y="196799"/>
                  </a:lnTo>
                  <a:lnTo>
                    <a:pt x="1860957" y="197447"/>
                  </a:lnTo>
                  <a:lnTo>
                    <a:pt x="1860957" y="196799"/>
                  </a:lnTo>
                  <a:lnTo>
                    <a:pt x="1861008" y="196799"/>
                  </a:lnTo>
                  <a:lnTo>
                    <a:pt x="1861008" y="196113"/>
                  </a:lnTo>
                  <a:lnTo>
                    <a:pt x="1861008" y="197447"/>
                  </a:lnTo>
                  <a:lnTo>
                    <a:pt x="1861008" y="196799"/>
                  </a:lnTo>
                  <a:lnTo>
                    <a:pt x="1861008" y="197447"/>
                  </a:lnTo>
                  <a:lnTo>
                    <a:pt x="1861008" y="196799"/>
                  </a:lnTo>
                  <a:lnTo>
                    <a:pt x="1861008" y="197447"/>
                  </a:lnTo>
                  <a:lnTo>
                    <a:pt x="1861059" y="197447"/>
                  </a:lnTo>
                  <a:lnTo>
                    <a:pt x="1861059" y="199530"/>
                  </a:lnTo>
                  <a:lnTo>
                    <a:pt x="1861059" y="198831"/>
                  </a:lnTo>
                  <a:lnTo>
                    <a:pt x="1861059" y="199530"/>
                  </a:lnTo>
                  <a:lnTo>
                    <a:pt x="1861097" y="198831"/>
                  </a:lnTo>
                  <a:lnTo>
                    <a:pt x="1861097" y="199530"/>
                  </a:lnTo>
                  <a:lnTo>
                    <a:pt x="1861097" y="198831"/>
                  </a:lnTo>
                  <a:lnTo>
                    <a:pt x="1861097" y="199530"/>
                  </a:lnTo>
                  <a:lnTo>
                    <a:pt x="1861198" y="199530"/>
                  </a:lnTo>
                  <a:lnTo>
                    <a:pt x="1861198" y="200228"/>
                  </a:lnTo>
                  <a:lnTo>
                    <a:pt x="1861198" y="199530"/>
                  </a:lnTo>
                  <a:lnTo>
                    <a:pt x="1861249" y="199530"/>
                  </a:lnTo>
                  <a:lnTo>
                    <a:pt x="1861249" y="200228"/>
                  </a:lnTo>
                  <a:lnTo>
                    <a:pt x="1861249" y="199530"/>
                  </a:lnTo>
                  <a:lnTo>
                    <a:pt x="1861249" y="200228"/>
                  </a:lnTo>
                  <a:lnTo>
                    <a:pt x="1861249" y="199530"/>
                  </a:lnTo>
                  <a:lnTo>
                    <a:pt x="1861401" y="199530"/>
                  </a:lnTo>
                  <a:lnTo>
                    <a:pt x="1861401" y="196799"/>
                  </a:lnTo>
                  <a:lnTo>
                    <a:pt x="1861401" y="197447"/>
                  </a:lnTo>
                  <a:lnTo>
                    <a:pt x="1861452" y="197447"/>
                  </a:lnTo>
                  <a:lnTo>
                    <a:pt x="1861452" y="196799"/>
                  </a:lnTo>
                  <a:lnTo>
                    <a:pt x="1861503" y="196799"/>
                  </a:lnTo>
                  <a:lnTo>
                    <a:pt x="1861503" y="197447"/>
                  </a:lnTo>
                  <a:lnTo>
                    <a:pt x="1861503" y="196799"/>
                  </a:lnTo>
                  <a:lnTo>
                    <a:pt x="1861503" y="199530"/>
                  </a:lnTo>
                  <a:lnTo>
                    <a:pt x="1861554" y="199530"/>
                  </a:lnTo>
                  <a:lnTo>
                    <a:pt x="1861554" y="197447"/>
                  </a:lnTo>
                  <a:lnTo>
                    <a:pt x="1861554" y="199530"/>
                  </a:lnTo>
                  <a:lnTo>
                    <a:pt x="1861643" y="199530"/>
                  </a:lnTo>
                  <a:lnTo>
                    <a:pt x="1861643" y="198831"/>
                  </a:lnTo>
                  <a:lnTo>
                    <a:pt x="1861643" y="199530"/>
                  </a:lnTo>
                  <a:lnTo>
                    <a:pt x="1861643" y="198831"/>
                  </a:lnTo>
                  <a:lnTo>
                    <a:pt x="1861643" y="199530"/>
                  </a:lnTo>
                  <a:lnTo>
                    <a:pt x="1861694" y="199530"/>
                  </a:lnTo>
                  <a:lnTo>
                    <a:pt x="1861694" y="200228"/>
                  </a:lnTo>
                  <a:lnTo>
                    <a:pt x="1861694" y="199530"/>
                  </a:lnTo>
                  <a:lnTo>
                    <a:pt x="1861694" y="200228"/>
                  </a:lnTo>
                  <a:lnTo>
                    <a:pt x="1861744" y="200228"/>
                  </a:lnTo>
                  <a:lnTo>
                    <a:pt x="1861744" y="199530"/>
                  </a:lnTo>
                  <a:lnTo>
                    <a:pt x="1861744" y="200228"/>
                  </a:lnTo>
                  <a:lnTo>
                    <a:pt x="1861744" y="199530"/>
                  </a:lnTo>
                  <a:lnTo>
                    <a:pt x="1861744" y="200228"/>
                  </a:lnTo>
                  <a:lnTo>
                    <a:pt x="1861795" y="199530"/>
                  </a:lnTo>
                  <a:lnTo>
                    <a:pt x="1861795" y="200228"/>
                  </a:lnTo>
                  <a:lnTo>
                    <a:pt x="1861795" y="198831"/>
                  </a:lnTo>
                  <a:lnTo>
                    <a:pt x="1861795" y="199530"/>
                  </a:lnTo>
                  <a:lnTo>
                    <a:pt x="1861897" y="199530"/>
                  </a:lnTo>
                  <a:lnTo>
                    <a:pt x="1861897" y="196799"/>
                  </a:lnTo>
                  <a:lnTo>
                    <a:pt x="1861897" y="197447"/>
                  </a:lnTo>
                  <a:lnTo>
                    <a:pt x="1861947" y="196799"/>
                  </a:lnTo>
                  <a:lnTo>
                    <a:pt x="1861947" y="197447"/>
                  </a:lnTo>
                  <a:lnTo>
                    <a:pt x="1861947" y="196113"/>
                  </a:lnTo>
                  <a:lnTo>
                    <a:pt x="1861947" y="196799"/>
                  </a:lnTo>
                  <a:lnTo>
                    <a:pt x="1861998" y="196799"/>
                  </a:lnTo>
                  <a:lnTo>
                    <a:pt x="1861998" y="197447"/>
                  </a:lnTo>
                  <a:lnTo>
                    <a:pt x="1861998" y="195415"/>
                  </a:lnTo>
                  <a:lnTo>
                    <a:pt x="1861998" y="199530"/>
                  </a:lnTo>
                  <a:lnTo>
                    <a:pt x="1861998" y="198831"/>
                  </a:lnTo>
                  <a:lnTo>
                    <a:pt x="1862100" y="198831"/>
                  </a:lnTo>
                  <a:lnTo>
                    <a:pt x="1862100" y="197447"/>
                  </a:lnTo>
                  <a:lnTo>
                    <a:pt x="1862100" y="198831"/>
                  </a:lnTo>
                  <a:lnTo>
                    <a:pt x="1862100" y="197447"/>
                  </a:lnTo>
                  <a:lnTo>
                    <a:pt x="1862100" y="199530"/>
                  </a:lnTo>
                  <a:lnTo>
                    <a:pt x="1862100" y="198831"/>
                  </a:lnTo>
                  <a:lnTo>
                    <a:pt x="1862138" y="198831"/>
                  </a:lnTo>
                  <a:lnTo>
                    <a:pt x="1862138" y="199530"/>
                  </a:lnTo>
                  <a:lnTo>
                    <a:pt x="1862138" y="198831"/>
                  </a:lnTo>
                  <a:lnTo>
                    <a:pt x="1862138" y="199530"/>
                  </a:lnTo>
                  <a:lnTo>
                    <a:pt x="1862189" y="199530"/>
                  </a:lnTo>
                  <a:lnTo>
                    <a:pt x="1862189" y="200228"/>
                  </a:lnTo>
                  <a:lnTo>
                    <a:pt x="1862189" y="199530"/>
                  </a:lnTo>
                  <a:lnTo>
                    <a:pt x="1862189" y="200228"/>
                  </a:lnTo>
                  <a:lnTo>
                    <a:pt x="1862189" y="199530"/>
                  </a:lnTo>
                  <a:lnTo>
                    <a:pt x="1862240" y="199530"/>
                  </a:lnTo>
                  <a:lnTo>
                    <a:pt x="1862240" y="200228"/>
                  </a:lnTo>
                  <a:lnTo>
                    <a:pt x="1862341" y="200228"/>
                  </a:lnTo>
                  <a:lnTo>
                    <a:pt x="1862341" y="199530"/>
                  </a:lnTo>
                  <a:lnTo>
                    <a:pt x="1862341" y="200228"/>
                  </a:lnTo>
                  <a:lnTo>
                    <a:pt x="1862341" y="198831"/>
                  </a:lnTo>
                  <a:lnTo>
                    <a:pt x="1862392" y="198831"/>
                  </a:lnTo>
                  <a:lnTo>
                    <a:pt x="1862392" y="197447"/>
                  </a:lnTo>
                  <a:lnTo>
                    <a:pt x="1862392" y="198831"/>
                  </a:lnTo>
                  <a:lnTo>
                    <a:pt x="1862392" y="196799"/>
                  </a:lnTo>
                  <a:lnTo>
                    <a:pt x="1862443" y="196799"/>
                  </a:lnTo>
                  <a:lnTo>
                    <a:pt x="1862443" y="194716"/>
                  </a:lnTo>
                  <a:lnTo>
                    <a:pt x="1862443" y="195415"/>
                  </a:lnTo>
                  <a:lnTo>
                    <a:pt x="1862544" y="195415"/>
                  </a:lnTo>
                  <a:lnTo>
                    <a:pt x="1862544" y="196113"/>
                  </a:lnTo>
                  <a:lnTo>
                    <a:pt x="1862544" y="193383"/>
                  </a:lnTo>
                  <a:lnTo>
                    <a:pt x="1862544" y="196113"/>
                  </a:lnTo>
                  <a:lnTo>
                    <a:pt x="1862595" y="196799"/>
                  </a:lnTo>
                  <a:lnTo>
                    <a:pt x="1862595" y="195415"/>
                  </a:lnTo>
                  <a:lnTo>
                    <a:pt x="1862595" y="196799"/>
                  </a:lnTo>
                  <a:lnTo>
                    <a:pt x="1862646" y="196799"/>
                  </a:lnTo>
                  <a:lnTo>
                    <a:pt x="1862646" y="197447"/>
                  </a:lnTo>
                  <a:lnTo>
                    <a:pt x="1862646" y="196799"/>
                  </a:lnTo>
                  <a:lnTo>
                    <a:pt x="1862646" y="197447"/>
                  </a:lnTo>
                  <a:lnTo>
                    <a:pt x="1862646" y="196799"/>
                  </a:lnTo>
                  <a:lnTo>
                    <a:pt x="1862646" y="197447"/>
                  </a:lnTo>
                  <a:lnTo>
                    <a:pt x="1862646" y="196799"/>
                  </a:lnTo>
                  <a:lnTo>
                    <a:pt x="1862646" y="197447"/>
                  </a:lnTo>
                  <a:lnTo>
                    <a:pt x="1862684" y="197447"/>
                  </a:lnTo>
                  <a:lnTo>
                    <a:pt x="1862684" y="198831"/>
                  </a:lnTo>
                  <a:lnTo>
                    <a:pt x="1862684" y="197447"/>
                  </a:lnTo>
                  <a:lnTo>
                    <a:pt x="1862684" y="198831"/>
                  </a:lnTo>
                  <a:lnTo>
                    <a:pt x="1862684" y="197447"/>
                  </a:lnTo>
                  <a:lnTo>
                    <a:pt x="1862684" y="198831"/>
                  </a:lnTo>
                  <a:lnTo>
                    <a:pt x="1862684" y="197447"/>
                  </a:lnTo>
                  <a:lnTo>
                    <a:pt x="1862684" y="198831"/>
                  </a:lnTo>
                  <a:lnTo>
                    <a:pt x="1862786" y="198831"/>
                  </a:lnTo>
                  <a:lnTo>
                    <a:pt x="1862786" y="200228"/>
                  </a:lnTo>
                  <a:lnTo>
                    <a:pt x="1862837" y="199530"/>
                  </a:lnTo>
                  <a:lnTo>
                    <a:pt x="1862837" y="200228"/>
                  </a:lnTo>
                  <a:lnTo>
                    <a:pt x="1862837" y="199530"/>
                  </a:lnTo>
                  <a:lnTo>
                    <a:pt x="1862887" y="199530"/>
                  </a:lnTo>
                  <a:lnTo>
                    <a:pt x="1862887" y="198831"/>
                  </a:lnTo>
                  <a:lnTo>
                    <a:pt x="1862887" y="199530"/>
                  </a:lnTo>
                  <a:lnTo>
                    <a:pt x="1862887" y="197447"/>
                  </a:lnTo>
                  <a:lnTo>
                    <a:pt x="1862887" y="198831"/>
                  </a:lnTo>
                  <a:lnTo>
                    <a:pt x="1862887" y="197447"/>
                  </a:lnTo>
                  <a:lnTo>
                    <a:pt x="1862887" y="198831"/>
                  </a:lnTo>
                  <a:lnTo>
                    <a:pt x="1862989" y="197447"/>
                  </a:lnTo>
                  <a:lnTo>
                    <a:pt x="1862989" y="196113"/>
                  </a:lnTo>
                  <a:lnTo>
                    <a:pt x="1862989" y="197447"/>
                  </a:lnTo>
                  <a:lnTo>
                    <a:pt x="1862989" y="196799"/>
                  </a:lnTo>
                  <a:lnTo>
                    <a:pt x="1863040" y="196799"/>
                  </a:lnTo>
                  <a:lnTo>
                    <a:pt x="1863040" y="195415"/>
                  </a:lnTo>
                  <a:lnTo>
                    <a:pt x="1863040" y="198831"/>
                  </a:lnTo>
                  <a:lnTo>
                    <a:pt x="1863040" y="197447"/>
                  </a:lnTo>
                  <a:lnTo>
                    <a:pt x="1863090" y="197447"/>
                  </a:lnTo>
                  <a:lnTo>
                    <a:pt x="1863090" y="196113"/>
                  </a:lnTo>
                  <a:lnTo>
                    <a:pt x="1863090" y="197447"/>
                  </a:lnTo>
                  <a:lnTo>
                    <a:pt x="1863141" y="196799"/>
                  </a:lnTo>
                  <a:lnTo>
                    <a:pt x="1863141" y="196113"/>
                  </a:lnTo>
                  <a:lnTo>
                    <a:pt x="1863141" y="197447"/>
                  </a:lnTo>
                  <a:lnTo>
                    <a:pt x="1863141" y="196799"/>
                  </a:lnTo>
                  <a:lnTo>
                    <a:pt x="1863230" y="196799"/>
                  </a:lnTo>
                  <a:lnTo>
                    <a:pt x="1863230" y="197447"/>
                  </a:lnTo>
                  <a:lnTo>
                    <a:pt x="1863230" y="196799"/>
                  </a:lnTo>
                  <a:lnTo>
                    <a:pt x="1863230" y="197447"/>
                  </a:lnTo>
                  <a:lnTo>
                    <a:pt x="1863281" y="197447"/>
                  </a:lnTo>
                  <a:lnTo>
                    <a:pt x="1863281" y="198831"/>
                  </a:lnTo>
                  <a:lnTo>
                    <a:pt x="1863281" y="197447"/>
                  </a:lnTo>
                  <a:lnTo>
                    <a:pt x="1863281" y="198831"/>
                  </a:lnTo>
                  <a:lnTo>
                    <a:pt x="1863281" y="197447"/>
                  </a:lnTo>
                  <a:lnTo>
                    <a:pt x="1863332" y="197447"/>
                  </a:lnTo>
                  <a:lnTo>
                    <a:pt x="1863332" y="198831"/>
                  </a:lnTo>
                  <a:lnTo>
                    <a:pt x="1863332" y="197447"/>
                  </a:lnTo>
                  <a:lnTo>
                    <a:pt x="1863332" y="198831"/>
                  </a:lnTo>
                  <a:lnTo>
                    <a:pt x="1863332" y="197447"/>
                  </a:lnTo>
                  <a:lnTo>
                    <a:pt x="1863383" y="197447"/>
                  </a:lnTo>
                  <a:lnTo>
                    <a:pt x="1863383" y="198831"/>
                  </a:lnTo>
                  <a:lnTo>
                    <a:pt x="1863383" y="196799"/>
                  </a:lnTo>
                  <a:lnTo>
                    <a:pt x="1863383" y="197447"/>
                  </a:lnTo>
                  <a:lnTo>
                    <a:pt x="1863383" y="196799"/>
                  </a:lnTo>
                  <a:lnTo>
                    <a:pt x="1863484" y="196799"/>
                  </a:lnTo>
                  <a:lnTo>
                    <a:pt x="1863484" y="196113"/>
                  </a:lnTo>
                  <a:lnTo>
                    <a:pt x="1863484" y="198831"/>
                  </a:lnTo>
                  <a:lnTo>
                    <a:pt x="1863484" y="196113"/>
                  </a:lnTo>
                  <a:lnTo>
                    <a:pt x="1863535" y="196113"/>
                  </a:lnTo>
                  <a:lnTo>
                    <a:pt x="1863535" y="199530"/>
                  </a:lnTo>
                  <a:lnTo>
                    <a:pt x="1863535" y="197447"/>
                  </a:lnTo>
                  <a:lnTo>
                    <a:pt x="1863586" y="197447"/>
                  </a:lnTo>
                  <a:lnTo>
                    <a:pt x="1863586" y="199530"/>
                  </a:lnTo>
                  <a:lnTo>
                    <a:pt x="1863586" y="198831"/>
                  </a:lnTo>
                  <a:lnTo>
                    <a:pt x="1863687" y="198831"/>
                  </a:lnTo>
                  <a:lnTo>
                    <a:pt x="1863687" y="199530"/>
                  </a:lnTo>
                  <a:lnTo>
                    <a:pt x="1863687" y="198831"/>
                  </a:lnTo>
                  <a:lnTo>
                    <a:pt x="1863687" y="199530"/>
                  </a:lnTo>
                  <a:lnTo>
                    <a:pt x="1863687" y="198831"/>
                  </a:lnTo>
                  <a:lnTo>
                    <a:pt x="1863687" y="199530"/>
                  </a:lnTo>
                  <a:lnTo>
                    <a:pt x="1863687" y="198831"/>
                  </a:lnTo>
                  <a:lnTo>
                    <a:pt x="1863725" y="198831"/>
                  </a:lnTo>
                  <a:lnTo>
                    <a:pt x="1863725" y="199530"/>
                  </a:lnTo>
                  <a:lnTo>
                    <a:pt x="1863725" y="198831"/>
                  </a:lnTo>
                  <a:lnTo>
                    <a:pt x="1863725" y="199530"/>
                  </a:lnTo>
                  <a:lnTo>
                    <a:pt x="1863725" y="198831"/>
                  </a:lnTo>
                  <a:lnTo>
                    <a:pt x="1863725" y="199530"/>
                  </a:lnTo>
                  <a:lnTo>
                    <a:pt x="1863725" y="198831"/>
                  </a:lnTo>
                  <a:lnTo>
                    <a:pt x="1863725" y="199530"/>
                  </a:lnTo>
                  <a:lnTo>
                    <a:pt x="1863776" y="199530"/>
                  </a:lnTo>
                  <a:lnTo>
                    <a:pt x="1863776" y="200228"/>
                  </a:lnTo>
                  <a:lnTo>
                    <a:pt x="1863776" y="198831"/>
                  </a:lnTo>
                  <a:lnTo>
                    <a:pt x="1863776" y="199530"/>
                  </a:lnTo>
                  <a:lnTo>
                    <a:pt x="1863776" y="198831"/>
                  </a:lnTo>
                  <a:lnTo>
                    <a:pt x="1863776" y="199530"/>
                  </a:lnTo>
                  <a:lnTo>
                    <a:pt x="1863776" y="198831"/>
                  </a:lnTo>
                  <a:lnTo>
                    <a:pt x="1863827" y="198831"/>
                  </a:lnTo>
                  <a:lnTo>
                    <a:pt x="1863827" y="199530"/>
                  </a:lnTo>
                  <a:lnTo>
                    <a:pt x="1863827" y="197447"/>
                  </a:lnTo>
                  <a:lnTo>
                    <a:pt x="1863929" y="197447"/>
                  </a:lnTo>
                  <a:lnTo>
                    <a:pt x="1863929" y="196799"/>
                  </a:lnTo>
                  <a:lnTo>
                    <a:pt x="1863929" y="197447"/>
                  </a:lnTo>
                  <a:lnTo>
                    <a:pt x="1863929" y="196113"/>
                  </a:lnTo>
                  <a:lnTo>
                    <a:pt x="1863929" y="196799"/>
                  </a:lnTo>
                  <a:lnTo>
                    <a:pt x="1863980" y="196799"/>
                  </a:lnTo>
                  <a:lnTo>
                    <a:pt x="1863980" y="198831"/>
                  </a:lnTo>
                  <a:lnTo>
                    <a:pt x="1863980" y="196799"/>
                  </a:lnTo>
                  <a:lnTo>
                    <a:pt x="1863980" y="197447"/>
                  </a:lnTo>
                  <a:lnTo>
                    <a:pt x="1864030" y="198831"/>
                  </a:lnTo>
                  <a:lnTo>
                    <a:pt x="1864030" y="200228"/>
                  </a:lnTo>
                  <a:lnTo>
                    <a:pt x="1864030" y="197447"/>
                  </a:lnTo>
                  <a:lnTo>
                    <a:pt x="1864030" y="199530"/>
                  </a:lnTo>
                  <a:lnTo>
                    <a:pt x="1864132" y="199530"/>
                  </a:lnTo>
                  <a:lnTo>
                    <a:pt x="1864132" y="200228"/>
                  </a:lnTo>
                  <a:lnTo>
                    <a:pt x="1864132" y="199530"/>
                  </a:lnTo>
                  <a:lnTo>
                    <a:pt x="1864234" y="199530"/>
                  </a:lnTo>
                  <a:lnTo>
                    <a:pt x="1864234" y="198831"/>
                  </a:lnTo>
                  <a:lnTo>
                    <a:pt x="1864234" y="199530"/>
                  </a:lnTo>
                  <a:lnTo>
                    <a:pt x="1864234" y="198831"/>
                  </a:lnTo>
                  <a:lnTo>
                    <a:pt x="1864234" y="199530"/>
                  </a:lnTo>
                  <a:lnTo>
                    <a:pt x="1864272" y="199530"/>
                  </a:lnTo>
                  <a:lnTo>
                    <a:pt x="1864272" y="198831"/>
                  </a:lnTo>
                  <a:lnTo>
                    <a:pt x="1864272" y="199530"/>
                  </a:lnTo>
                  <a:lnTo>
                    <a:pt x="1864272" y="198831"/>
                  </a:lnTo>
                  <a:lnTo>
                    <a:pt x="1864272" y="199530"/>
                  </a:lnTo>
                  <a:lnTo>
                    <a:pt x="1864272" y="198831"/>
                  </a:lnTo>
                  <a:lnTo>
                    <a:pt x="1864272" y="199530"/>
                  </a:lnTo>
                  <a:lnTo>
                    <a:pt x="1864272" y="198831"/>
                  </a:lnTo>
                  <a:lnTo>
                    <a:pt x="1864373" y="198831"/>
                  </a:lnTo>
                  <a:lnTo>
                    <a:pt x="1864373" y="197447"/>
                  </a:lnTo>
                  <a:lnTo>
                    <a:pt x="1864373" y="198831"/>
                  </a:lnTo>
                  <a:lnTo>
                    <a:pt x="1864373" y="196799"/>
                  </a:lnTo>
                  <a:lnTo>
                    <a:pt x="1864373" y="197447"/>
                  </a:lnTo>
                  <a:lnTo>
                    <a:pt x="1864373" y="196799"/>
                  </a:lnTo>
                  <a:lnTo>
                    <a:pt x="1864424" y="196799"/>
                  </a:lnTo>
                  <a:lnTo>
                    <a:pt x="1864424" y="196113"/>
                  </a:lnTo>
                  <a:lnTo>
                    <a:pt x="1864424" y="196799"/>
                  </a:lnTo>
                  <a:lnTo>
                    <a:pt x="1864424" y="194716"/>
                  </a:lnTo>
                  <a:lnTo>
                    <a:pt x="1864475" y="194716"/>
                  </a:lnTo>
                  <a:lnTo>
                    <a:pt x="1864475" y="196799"/>
                  </a:lnTo>
                  <a:lnTo>
                    <a:pt x="1864475" y="195415"/>
                  </a:lnTo>
                  <a:lnTo>
                    <a:pt x="1864475" y="196799"/>
                  </a:lnTo>
                  <a:lnTo>
                    <a:pt x="1864576" y="197447"/>
                  </a:lnTo>
                  <a:lnTo>
                    <a:pt x="1864576" y="198831"/>
                  </a:lnTo>
                  <a:lnTo>
                    <a:pt x="1864576" y="196799"/>
                  </a:lnTo>
                  <a:lnTo>
                    <a:pt x="1864576" y="197447"/>
                  </a:lnTo>
                  <a:lnTo>
                    <a:pt x="1864627" y="198831"/>
                  </a:lnTo>
                  <a:lnTo>
                    <a:pt x="1864627" y="199530"/>
                  </a:lnTo>
                  <a:lnTo>
                    <a:pt x="1864627" y="197447"/>
                  </a:lnTo>
                  <a:lnTo>
                    <a:pt x="1864627" y="198831"/>
                  </a:lnTo>
                  <a:lnTo>
                    <a:pt x="1864678" y="198831"/>
                  </a:lnTo>
                  <a:lnTo>
                    <a:pt x="1864678" y="199530"/>
                  </a:lnTo>
                  <a:lnTo>
                    <a:pt x="1864729" y="199530"/>
                  </a:lnTo>
                  <a:lnTo>
                    <a:pt x="1864729" y="200228"/>
                  </a:lnTo>
                  <a:lnTo>
                    <a:pt x="1864729" y="199530"/>
                  </a:lnTo>
                  <a:lnTo>
                    <a:pt x="1864818" y="199530"/>
                  </a:lnTo>
                  <a:lnTo>
                    <a:pt x="1864818" y="200228"/>
                  </a:lnTo>
                  <a:lnTo>
                    <a:pt x="1864818" y="199530"/>
                  </a:lnTo>
                  <a:lnTo>
                    <a:pt x="1864818" y="200228"/>
                  </a:lnTo>
                  <a:lnTo>
                    <a:pt x="1864818" y="199530"/>
                  </a:lnTo>
                  <a:lnTo>
                    <a:pt x="1864869" y="198831"/>
                  </a:lnTo>
                  <a:lnTo>
                    <a:pt x="1864869" y="199530"/>
                  </a:lnTo>
                  <a:lnTo>
                    <a:pt x="1864869" y="198831"/>
                  </a:lnTo>
                  <a:lnTo>
                    <a:pt x="1864869" y="199530"/>
                  </a:lnTo>
                  <a:lnTo>
                    <a:pt x="1864869" y="196799"/>
                  </a:lnTo>
                  <a:lnTo>
                    <a:pt x="1864919" y="196799"/>
                  </a:lnTo>
                  <a:lnTo>
                    <a:pt x="1864919" y="197447"/>
                  </a:lnTo>
                  <a:lnTo>
                    <a:pt x="1864919" y="196113"/>
                  </a:lnTo>
                  <a:lnTo>
                    <a:pt x="1864919" y="197447"/>
                  </a:lnTo>
                  <a:lnTo>
                    <a:pt x="1864970" y="197447"/>
                  </a:lnTo>
                  <a:lnTo>
                    <a:pt x="1864970" y="196113"/>
                  </a:lnTo>
                  <a:lnTo>
                    <a:pt x="1864970" y="200228"/>
                  </a:lnTo>
                  <a:lnTo>
                    <a:pt x="1864970" y="199530"/>
                  </a:lnTo>
                  <a:lnTo>
                    <a:pt x="1865072" y="198831"/>
                  </a:lnTo>
                  <a:lnTo>
                    <a:pt x="1865072" y="199530"/>
                  </a:lnTo>
                  <a:lnTo>
                    <a:pt x="1865072" y="198831"/>
                  </a:lnTo>
                  <a:lnTo>
                    <a:pt x="1865122" y="198831"/>
                  </a:lnTo>
                  <a:lnTo>
                    <a:pt x="1865122" y="199530"/>
                  </a:lnTo>
                  <a:lnTo>
                    <a:pt x="1865122" y="198831"/>
                  </a:lnTo>
                  <a:lnTo>
                    <a:pt x="1865173" y="199530"/>
                  </a:lnTo>
                  <a:lnTo>
                    <a:pt x="1865173" y="200228"/>
                  </a:lnTo>
                  <a:lnTo>
                    <a:pt x="1865173" y="199530"/>
                  </a:lnTo>
                  <a:lnTo>
                    <a:pt x="1865173" y="200228"/>
                  </a:lnTo>
                  <a:lnTo>
                    <a:pt x="1865173" y="199530"/>
                  </a:lnTo>
                  <a:lnTo>
                    <a:pt x="1865173" y="200228"/>
                  </a:lnTo>
                  <a:lnTo>
                    <a:pt x="1865173" y="199530"/>
                  </a:lnTo>
                  <a:lnTo>
                    <a:pt x="1865275" y="199530"/>
                  </a:lnTo>
                  <a:lnTo>
                    <a:pt x="1865275" y="198831"/>
                  </a:lnTo>
                  <a:lnTo>
                    <a:pt x="1865275" y="199530"/>
                  </a:lnTo>
                  <a:lnTo>
                    <a:pt x="1865313" y="199530"/>
                  </a:lnTo>
                  <a:lnTo>
                    <a:pt x="1865313" y="198831"/>
                  </a:lnTo>
                  <a:lnTo>
                    <a:pt x="1865364" y="198831"/>
                  </a:lnTo>
                  <a:lnTo>
                    <a:pt x="1865364" y="196799"/>
                  </a:lnTo>
                  <a:lnTo>
                    <a:pt x="1865364" y="197447"/>
                  </a:lnTo>
                  <a:lnTo>
                    <a:pt x="1865364" y="196799"/>
                  </a:lnTo>
                  <a:lnTo>
                    <a:pt x="1865364" y="197447"/>
                  </a:lnTo>
                  <a:lnTo>
                    <a:pt x="1865364" y="196799"/>
                  </a:lnTo>
                  <a:lnTo>
                    <a:pt x="1865415" y="196799"/>
                  </a:lnTo>
                  <a:lnTo>
                    <a:pt x="1865415" y="196113"/>
                  </a:lnTo>
                  <a:lnTo>
                    <a:pt x="1865415" y="197447"/>
                  </a:lnTo>
                  <a:lnTo>
                    <a:pt x="1865415" y="196113"/>
                  </a:lnTo>
                  <a:lnTo>
                    <a:pt x="1865415" y="196799"/>
                  </a:lnTo>
                  <a:lnTo>
                    <a:pt x="1865516" y="196799"/>
                  </a:lnTo>
                  <a:lnTo>
                    <a:pt x="1865516" y="198831"/>
                  </a:lnTo>
                  <a:lnTo>
                    <a:pt x="1865516" y="197447"/>
                  </a:lnTo>
                  <a:lnTo>
                    <a:pt x="1865516" y="198831"/>
                  </a:lnTo>
                  <a:lnTo>
                    <a:pt x="1865516" y="197447"/>
                  </a:lnTo>
                  <a:lnTo>
                    <a:pt x="1865567" y="197447"/>
                  </a:lnTo>
                  <a:lnTo>
                    <a:pt x="1865567" y="199530"/>
                  </a:lnTo>
                  <a:lnTo>
                    <a:pt x="1865567" y="197447"/>
                  </a:lnTo>
                  <a:lnTo>
                    <a:pt x="1865618" y="198831"/>
                  </a:lnTo>
                  <a:lnTo>
                    <a:pt x="1865719" y="198831"/>
                  </a:lnTo>
                  <a:lnTo>
                    <a:pt x="1865719" y="199530"/>
                  </a:lnTo>
                  <a:lnTo>
                    <a:pt x="1865719" y="198831"/>
                  </a:lnTo>
                  <a:lnTo>
                    <a:pt x="1865719" y="199530"/>
                  </a:lnTo>
                  <a:lnTo>
                    <a:pt x="1865770" y="200228"/>
                  </a:lnTo>
                  <a:lnTo>
                    <a:pt x="1865770" y="198831"/>
                  </a:lnTo>
                  <a:lnTo>
                    <a:pt x="1865770" y="200228"/>
                  </a:lnTo>
                  <a:lnTo>
                    <a:pt x="1865770" y="199530"/>
                  </a:lnTo>
                  <a:lnTo>
                    <a:pt x="1865821" y="199530"/>
                  </a:lnTo>
                  <a:lnTo>
                    <a:pt x="1865821" y="200228"/>
                  </a:lnTo>
                  <a:lnTo>
                    <a:pt x="1865821" y="198831"/>
                  </a:lnTo>
                  <a:lnTo>
                    <a:pt x="1865859" y="197447"/>
                  </a:lnTo>
                  <a:lnTo>
                    <a:pt x="1865859" y="196799"/>
                  </a:lnTo>
                  <a:lnTo>
                    <a:pt x="1865859" y="197447"/>
                  </a:lnTo>
                  <a:lnTo>
                    <a:pt x="1865859" y="196799"/>
                  </a:lnTo>
                  <a:lnTo>
                    <a:pt x="1865961" y="196799"/>
                  </a:lnTo>
                  <a:lnTo>
                    <a:pt x="1865961" y="196113"/>
                  </a:lnTo>
                  <a:lnTo>
                    <a:pt x="1865961" y="196799"/>
                  </a:lnTo>
                  <a:lnTo>
                    <a:pt x="1866012" y="196799"/>
                  </a:lnTo>
                  <a:lnTo>
                    <a:pt x="1866012" y="197447"/>
                  </a:lnTo>
                  <a:lnTo>
                    <a:pt x="1866012" y="196799"/>
                  </a:lnTo>
                  <a:lnTo>
                    <a:pt x="1866012" y="197447"/>
                  </a:lnTo>
                  <a:lnTo>
                    <a:pt x="1866062" y="198831"/>
                  </a:lnTo>
                  <a:lnTo>
                    <a:pt x="1866062" y="197447"/>
                  </a:lnTo>
                  <a:lnTo>
                    <a:pt x="1866062" y="198831"/>
                  </a:lnTo>
                  <a:lnTo>
                    <a:pt x="1866062" y="197447"/>
                  </a:lnTo>
                  <a:lnTo>
                    <a:pt x="1866164" y="197447"/>
                  </a:lnTo>
                  <a:lnTo>
                    <a:pt x="1866164" y="198831"/>
                  </a:lnTo>
                  <a:lnTo>
                    <a:pt x="1866164" y="197447"/>
                  </a:lnTo>
                  <a:lnTo>
                    <a:pt x="1866164" y="198831"/>
                  </a:lnTo>
                  <a:lnTo>
                    <a:pt x="1866164" y="197447"/>
                  </a:lnTo>
                  <a:lnTo>
                    <a:pt x="1866164" y="198831"/>
                  </a:lnTo>
                  <a:lnTo>
                    <a:pt x="1866215" y="198831"/>
                  </a:lnTo>
                  <a:lnTo>
                    <a:pt x="1866215" y="199530"/>
                  </a:lnTo>
                  <a:lnTo>
                    <a:pt x="1866215" y="198831"/>
                  </a:lnTo>
                  <a:lnTo>
                    <a:pt x="1866265" y="198831"/>
                  </a:lnTo>
                  <a:lnTo>
                    <a:pt x="1866265" y="199530"/>
                  </a:lnTo>
                  <a:lnTo>
                    <a:pt x="1866265" y="198831"/>
                  </a:lnTo>
                  <a:lnTo>
                    <a:pt x="1866316" y="198831"/>
                  </a:lnTo>
                  <a:lnTo>
                    <a:pt x="1866316" y="197447"/>
                  </a:lnTo>
                  <a:lnTo>
                    <a:pt x="1866316" y="198831"/>
                  </a:lnTo>
                  <a:lnTo>
                    <a:pt x="1866316" y="196799"/>
                  </a:lnTo>
                  <a:lnTo>
                    <a:pt x="1866316" y="197447"/>
                  </a:lnTo>
                  <a:lnTo>
                    <a:pt x="1866316" y="196799"/>
                  </a:lnTo>
                  <a:lnTo>
                    <a:pt x="1866405" y="196113"/>
                  </a:lnTo>
                  <a:lnTo>
                    <a:pt x="1866405" y="196799"/>
                  </a:lnTo>
                  <a:lnTo>
                    <a:pt x="1866405" y="196113"/>
                  </a:lnTo>
                  <a:lnTo>
                    <a:pt x="1866405" y="197447"/>
                  </a:lnTo>
                  <a:lnTo>
                    <a:pt x="1866405" y="196799"/>
                  </a:lnTo>
                  <a:lnTo>
                    <a:pt x="1866456" y="196799"/>
                  </a:lnTo>
                  <a:lnTo>
                    <a:pt x="1866456" y="196113"/>
                  </a:lnTo>
                  <a:lnTo>
                    <a:pt x="1866456" y="199530"/>
                  </a:lnTo>
                  <a:lnTo>
                    <a:pt x="1866456" y="198831"/>
                  </a:lnTo>
                  <a:lnTo>
                    <a:pt x="1866456" y="199530"/>
                  </a:lnTo>
                  <a:lnTo>
                    <a:pt x="1866507" y="198831"/>
                  </a:lnTo>
                  <a:lnTo>
                    <a:pt x="1866507" y="197447"/>
                  </a:lnTo>
                  <a:lnTo>
                    <a:pt x="1866507" y="198831"/>
                  </a:lnTo>
                  <a:lnTo>
                    <a:pt x="1866507" y="197447"/>
                  </a:lnTo>
                  <a:lnTo>
                    <a:pt x="1866507" y="199530"/>
                  </a:lnTo>
                  <a:lnTo>
                    <a:pt x="1866507" y="198831"/>
                  </a:lnTo>
                  <a:lnTo>
                    <a:pt x="1866558" y="198831"/>
                  </a:lnTo>
                  <a:lnTo>
                    <a:pt x="1866558" y="199530"/>
                  </a:lnTo>
                  <a:lnTo>
                    <a:pt x="1866558" y="198831"/>
                  </a:lnTo>
                  <a:lnTo>
                    <a:pt x="1866558" y="199530"/>
                  </a:lnTo>
                  <a:lnTo>
                    <a:pt x="1866558" y="198831"/>
                  </a:lnTo>
                  <a:lnTo>
                    <a:pt x="1866659" y="198831"/>
                  </a:lnTo>
                  <a:lnTo>
                    <a:pt x="1866659" y="200228"/>
                  </a:lnTo>
                  <a:lnTo>
                    <a:pt x="1866659" y="199530"/>
                  </a:lnTo>
                  <a:lnTo>
                    <a:pt x="1866710" y="199530"/>
                  </a:lnTo>
                  <a:lnTo>
                    <a:pt x="1866710" y="200228"/>
                  </a:lnTo>
                  <a:lnTo>
                    <a:pt x="1866710" y="199530"/>
                  </a:lnTo>
                  <a:lnTo>
                    <a:pt x="1866710" y="200228"/>
                  </a:lnTo>
                  <a:lnTo>
                    <a:pt x="1866710" y="199530"/>
                  </a:lnTo>
                  <a:lnTo>
                    <a:pt x="1866761" y="199530"/>
                  </a:lnTo>
                  <a:lnTo>
                    <a:pt x="1866761" y="198831"/>
                  </a:lnTo>
                  <a:lnTo>
                    <a:pt x="1866862" y="198831"/>
                  </a:lnTo>
                  <a:lnTo>
                    <a:pt x="1866862" y="199530"/>
                  </a:lnTo>
                  <a:lnTo>
                    <a:pt x="1866862" y="197447"/>
                  </a:lnTo>
                  <a:lnTo>
                    <a:pt x="1866862" y="198831"/>
                  </a:lnTo>
                  <a:lnTo>
                    <a:pt x="1866862" y="197447"/>
                  </a:lnTo>
                  <a:lnTo>
                    <a:pt x="1866862" y="198831"/>
                  </a:lnTo>
                  <a:lnTo>
                    <a:pt x="1866862" y="197447"/>
                  </a:lnTo>
                  <a:lnTo>
                    <a:pt x="1866900" y="197447"/>
                  </a:lnTo>
                  <a:lnTo>
                    <a:pt x="1866900" y="196799"/>
                  </a:lnTo>
                  <a:lnTo>
                    <a:pt x="1866900" y="198831"/>
                  </a:lnTo>
                  <a:lnTo>
                    <a:pt x="1866900" y="196799"/>
                  </a:lnTo>
                  <a:lnTo>
                    <a:pt x="1866900" y="197447"/>
                  </a:lnTo>
                  <a:lnTo>
                    <a:pt x="1866951" y="197447"/>
                  </a:lnTo>
                  <a:lnTo>
                    <a:pt x="1866951" y="199530"/>
                  </a:lnTo>
                  <a:lnTo>
                    <a:pt x="1866951" y="198831"/>
                  </a:lnTo>
                  <a:lnTo>
                    <a:pt x="1867002" y="198831"/>
                  </a:lnTo>
                  <a:lnTo>
                    <a:pt x="1867002" y="200228"/>
                  </a:lnTo>
                  <a:lnTo>
                    <a:pt x="1867002" y="199530"/>
                  </a:lnTo>
                  <a:lnTo>
                    <a:pt x="1867104" y="199530"/>
                  </a:lnTo>
                  <a:lnTo>
                    <a:pt x="1867104" y="200228"/>
                  </a:lnTo>
                  <a:lnTo>
                    <a:pt x="1867104" y="199530"/>
                  </a:lnTo>
                  <a:lnTo>
                    <a:pt x="1867104" y="200228"/>
                  </a:lnTo>
                  <a:lnTo>
                    <a:pt x="1867104" y="199530"/>
                  </a:lnTo>
                  <a:lnTo>
                    <a:pt x="1867155" y="199530"/>
                  </a:lnTo>
                  <a:lnTo>
                    <a:pt x="1867155" y="200228"/>
                  </a:lnTo>
                  <a:lnTo>
                    <a:pt x="1867155" y="199530"/>
                  </a:lnTo>
                  <a:lnTo>
                    <a:pt x="1867155" y="200228"/>
                  </a:lnTo>
                  <a:lnTo>
                    <a:pt x="1867155" y="199530"/>
                  </a:lnTo>
                  <a:lnTo>
                    <a:pt x="1867155" y="200228"/>
                  </a:lnTo>
                  <a:lnTo>
                    <a:pt x="1867155" y="199530"/>
                  </a:lnTo>
                  <a:lnTo>
                    <a:pt x="1867205" y="200228"/>
                  </a:lnTo>
                  <a:lnTo>
                    <a:pt x="1867205" y="199530"/>
                  </a:lnTo>
                  <a:lnTo>
                    <a:pt x="1867205" y="200228"/>
                  </a:lnTo>
                  <a:lnTo>
                    <a:pt x="1867205" y="199530"/>
                  </a:lnTo>
                  <a:lnTo>
                    <a:pt x="1867205" y="200228"/>
                  </a:lnTo>
                  <a:lnTo>
                    <a:pt x="1867307" y="200228"/>
                  </a:lnTo>
                  <a:lnTo>
                    <a:pt x="1867307" y="198831"/>
                  </a:lnTo>
                  <a:lnTo>
                    <a:pt x="1867358" y="198831"/>
                  </a:lnTo>
                  <a:lnTo>
                    <a:pt x="1867358" y="196113"/>
                  </a:lnTo>
                  <a:lnTo>
                    <a:pt x="1867358" y="196799"/>
                  </a:lnTo>
                  <a:lnTo>
                    <a:pt x="1867358" y="196113"/>
                  </a:lnTo>
                  <a:lnTo>
                    <a:pt x="1867409" y="196113"/>
                  </a:lnTo>
                  <a:lnTo>
                    <a:pt x="1867409" y="196799"/>
                  </a:lnTo>
                  <a:lnTo>
                    <a:pt x="1867447" y="196799"/>
                  </a:lnTo>
                  <a:lnTo>
                    <a:pt x="1867447" y="197447"/>
                  </a:lnTo>
                  <a:lnTo>
                    <a:pt x="1867548" y="197447"/>
                  </a:lnTo>
                  <a:lnTo>
                    <a:pt x="1867548" y="198831"/>
                  </a:lnTo>
                  <a:lnTo>
                    <a:pt x="1867548" y="197447"/>
                  </a:lnTo>
                  <a:lnTo>
                    <a:pt x="1867548" y="198831"/>
                  </a:lnTo>
                  <a:lnTo>
                    <a:pt x="1867548" y="197447"/>
                  </a:lnTo>
                  <a:lnTo>
                    <a:pt x="1867599" y="197447"/>
                  </a:lnTo>
                  <a:lnTo>
                    <a:pt x="1867599" y="198831"/>
                  </a:lnTo>
                  <a:lnTo>
                    <a:pt x="1867650" y="198831"/>
                  </a:lnTo>
                  <a:lnTo>
                    <a:pt x="1867650" y="199530"/>
                  </a:lnTo>
                  <a:lnTo>
                    <a:pt x="1867650" y="198831"/>
                  </a:lnTo>
                  <a:lnTo>
                    <a:pt x="1867650" y="199530"/>
                  </a:lnTo>
                  <a:lnTo>
                    <a:pt x="1867751" y="199530"/>
                  </a:lnTo>
                  <a:lnTo>
                    <a:pt x="1867751" y="200228"/>
                  </a:lnTo>
                  <a:lnTo>
                    <a:pt x="1867751" y="198831"/>
                  </a:lnTo>
                  <a:lnTo>
                    <a:pt x="1867802" y="198831"/>
                  </a:lnTo>
                  <a:lnTo>
                    <a:pt x="1867802" y="199530"/>
                  </a:lnTo>
                  <a:lnTo>
                    <a:pt x="1867802" y="197447"/>
                  </a:lnTo>
                  <a:lnTo>
                    <a:pt x="1867853" y="197447"/>
                  </a:lnTo>
                  <a:lnTo>
                    <a:pt x="1867853" y="196113"/>
                  </a:lnTo>
                  <a:lnTo>
                    <a:pt x="1867904" y="196113"/>
                  </a:lnTo>
                  <a:lnTo>
                    <a:pt x="1867904" y="197447"/>
                  </a:lnTo>
                  <a:lnTo>
                    <a:pt x="1867904" y="196113"/>
                  </a:lnTo>
                  <a:lnTo>
                    <a:pt x="1867904" y="197447"/>
                  </a:lnTo>
                  <a:lnTo>
                    <a:pt x="1867993" y="197447"/>
                  </a:lnTo>
                  <a:lnTo>
                    <a:pt x="1867993" y="198831"/>
                  </a:lnTo>
                  <a:lnTo>
                    <a:pt x="1867993" y="196799"/>
                  </a:lnTo>
                  <a:lnTo>
                    <a:pt x="1867993" y="197447"/>
                  </a:lnTo>
                  <a:lnTo>
                    <a:pt x="1868044" y="197447"/>
                  </a:lnTo>
                  <a:lnTo>
                    <a:pt x="1868044" y="198831"/>
                  </a:lnTo>
                  <a:lnTo>
                    <a:pt x="1868044" y="197447"/>
                  </a:lnTo>
                  <a:lnTo>
                    <a:pt x="1868044" y="199530"/>
                  </a:lnTo>
                  <a:lnTo>
                    <a:pt x="1868094" y="198831"/>
                  </a:lnTo>
                  <a:lnTo>
                    <a:pt x="1868094" y="199530"/>
                  </a:lnTo>
                  <a:lnTo>
                    <a:pt x="1868145" y="198831"/>
                  </a:lnTo>
                  <a:lnTo>
                    <a:pt x="1868145" y="199530"/>
                  </a:lnTo>
                  <a:lnTo>
                    <a:pt x="1868247" y="199530"/>
                  </a:lnTo>
                  <a:lnTo>
                    <a:pt x="1868247" y="198831"/>
                  </a:lnTo>
                  <a:lnTo>
                    <a:pt x="1868247" y="199530"/>
                  </a:lnTo>
                  <a:lnTo>
                    <a:pt x="1868297" y="198831"/>
                  </a:lnTo>
                  <a:lnTo>
                    <a:pt x="1868297" y="196799"/>
                  </a:lnTo>
                  <a:lnTo>
                    <a:pt x="1868297" y="197447"/>
                  </a:lnTo>
                  <a:lnTo>
                    <a:pt x="1868297" y="196799"/>
                  </a:lnTo>
                  <a:lnTo>
                    <a:pt x="1868348" y="196799"/>
                  </a:lnTo>
                  <a:lnTo>
                    <a:pt x="1868348" y="197447"/>
                  </a:lnTo>
                  <a:lnTo>
                    <a:pt x="1868348" y="195415"/>
                  </a:lnTo>
                  <a:lnTo>
                    <a:pt x="1868450" y="195415"/>
                  </a:lnTo>
                  <a:lnTo>
                    <a:pt x="1868450" y="196799"/>
                  </a:lnTo>
                  <a:lnTo>
                    <a:pt x="1868450" y="194716"/>
                  </a:lnTo>
                  <a:lnTo>
                    <a:pt x="1868450" y="196113"/>
                  </a:lnTo>
                  <a:lnTo>
                    <a:pt x="1868488" y="196799"/>
                  </a:lnTo>
                  <a:lnTo>
                    <a:pt x="1868488" y="197447"/>
                  </a:lnTo>
                  <a:lnTo>
                    <a:pt x="1868488" y="196113"/>
                  </a:lnTo>
                  <a:lnTo>
                    <a:pt x="1868488" y="196799"/>
                  </a:lnTo>
                  <a:lnTo>
                    <a:pt x="1868539" y="197447"/>
                  </a:lnTo>
                  <a:lnTo>
                    <a:pt x="1868539" y="196799"/>
                  </a:lnTo>
                  <a:lnTo>
                    <a:pt x="1868539" y="197447"/>
                  </a:lnTo>
                  <a:lnTo>
                    <a:pt x="1868590" y="198831"/>
                  </a:lnTo>
                  <a:lnTo>
                    <a:pt x="1868590" y="197447"/>
                  </a:lnTo>
                  <a:lnTo>
                    <a:pt x="1868590" y="198831"/>
                  </a:lnTo>
                  <a:lnTo>
                    <a:pt x="1868590" y="197447"/>
                  </a:lnTo>
                  <a:lnTo>
                    <a:pt x="1868590" y="198831"/>
                  </a:lnTo>
                  <a:lnTo>
                    <a:pt x="1868590" y="197447"/>
                  </a:lnTo>
                  <a:lnTo>
                    <a:pt x="1868590" y="199530"/>
                  </a:lnTo>
                  <a:lnTo>
                    <a:pt x="1868691" y="199530"/>
                  </a:lnTo>
                  <a:lnTo>
                    <a:pt x="1868691" y="198831"/>
                  </a:lnTo>
                  <a:lnTo>
                    <a:pt x="1868691" y="199530"/>
                  </a:lnTo>
                  <a:lnTo>
                    <a:pt x="1868691" y="198831"/>
                  </a:lnTo>
                  <a:lnTo>
                    <a:pt x="1868691" y="199530"/>
                  </a:lnTo>
                  <a:lnTo>
                    <a:pt x="1868691" y="198831"/>
                  </a:lnTo>
                  <a:lnTo>
                    <a:pt x="1868691" y="199530"/>
                  </a:lnTo>
                  <a:lnTo>
                    <a:pt x="1868691" y="198831"/>
                  </a:lnTo>
                  <a:lnTo>
                    <a:pt x="1868742" y="198831"/>
                  </a:lnTo>
                  <a:lnTo>
                    <a:pt x="1868742" y="199530"/>
                  </a:lnTo>
                  <a:lnTo>
                    <a:pt x="1868742" y="198831"/>
                  </a:lnTo>
                  <a:lnTo>
                    <a:pt x="1868742" y="199530"/>
                  </a:lnTo>
                  <a:lnTo>
                    <a:pt x="1868742" y="198831"/>
                  </a:lnTo>
                  <a:lnTo>
                    <a:pt x="1868742" y="199530"/>
                  </a:lnTo>
                  <a:lnTo>
                    <a:pt x="1868742" y="198831"/>
                  </a:lnTo>
                  <a:lnTo>
                    <a:pt x="1868793" y="198831"/>
                  </a:lnTo>
                  <a:lnTo>
                    <a:pt x="1868793" y="197447"/>
                  </a:lnTo>
                  <a:lnTo>
                    <a:pt x="1868793" y="198831"/>
                  </a:lnTo>
                  <a:lnTo>
                    <a:pt x="1868793" y="197447"/>
                  </a:lnTo>
                  <a:lnTo>
                    <a:pt x="1868894" y="197447"/>
                  </a:lnTo>
                  <a:lnTo>
                    <a:pt x="1868894" y="195415"/>
                  </a:lnTo>
                  <a:lnTo>
                    <a:pt x="1868894" y="196113"/>
                  </a:lnTo>
                  <a:lnTo>
                    <a:pt x="1868945" y="196113"/>
                  </a:lnTo>
                  <a:lnTo>
                    <a:pt x="1868945" y="197447"/>
                  </a:lnTo>
                  <a:lnTo>
                    <a:pt x="1868945" y="195415"/>
                  </a:lnTo>
                  <a:lnTo>
                    <a:pt x="1868945" y="197447"/>
                  </a:lnTo>
                  <a:lnTo>
                    <a:pt x="1868996" y="197447"/>
                  </a:lnTo>
                  <a:lnTo>
                    <a:pt x="1868996" y="196113"/>
                  </a:lnTo>
                  <a:lnTo>
                    <a:pt x="1868996" y="196799"/>
                  </a:lnTo>
                  <a:lnTo>
                    <a:pt x="1868996" y="196113"/>
                  </a:lnTo>
                  <a:lnTo>
                    <a:pt x="1868996" y="197447"/>
                  </a:lnTo>
                  <a:lnTo>
                    <a:pt x="1869034" y="197447"/>
                  </a:lnTo>
                  <a:lnTo>
                    <a:pt x="1869034" y="196799"/>
                  </a:lnTo>
                  <a:lnTo>
                    <a:pt x="1869034" y="197447"/>
                  </a:lnTo>
                  <a:lnTo>
                    <a:pt x="1869034" y="196113"/>
                  </a:lnTo>
                  <a:lnTo>
                    <a:pt x="1869034" y="197447"/>
                  </a:lnTo>
                  <a:lnTo>
                    <a:pt x="1869136" y="197447"/>
                  </a:lnTo>
                  <a:lnTo>
                    <a:pt x="1869136" y="196799"/>
                  </a:lnTo>
                  <a:lnTo>
                    <a:pt x="1869136" y="197447"/>
                  </a:lnTo>
                  <a:lnTo>
                    <a:pt x="1869136" y="196799"/>
                  </a:lnTo>
                  <a:lnTo>
                    <a:pt x="1869136" y="197447"/>
                  </a:lnTo>
                  <a:lnTo>
                    <a:pt x="1869187" y="197447"/>
                  </a:lnTo>
                  <a:lnTo>
                    <a:pt x="1869187" y="198831"/>
                  </a:lnTo>
                  <a:lnTo>
                    <a:pt x="1869237" y="198831"/>
                  </a:lnTo>
                  <a:lnTo>
                    <a:pt x="1869237" y="197447"/>
                  </a:lnTo>
                  <a:lnTo>
                    <a:pt x="1869339" y="197447"/>
                  </a:lnTo>
                  <a:lnTo>
                    <a:pt x="1869339" y="196799"/>
                  </a:lnTo>
                  <a:lnTo>
                    <a:pt x="1869390" y="196113"/>
                  </a:lnTo>
                  <a:lnTo>
                    <a:pt x="1869390" y="196799"/>
                  </a:lnTo>
                  <a:lnTo>
                    <a:pt x="1869390" y="196113"/>
                  </a:lnTo>
                  <a:lnTo>
                    <a:pt x="1869390" y="197447"/>
                  </a:lnTo>
                  <a:lnTo>
                    <a:pt x="1869390" y="196799"/>
                  </a:lnTo>
                  <a:lnTo>
                    <a:pt x="1869390" y="197447"/>
                  </a:lnTo>
                  <a:lnTo>
                    <a:pt x="1869390" y="196799"/>
                  </a:lnTo>
                  <a:lnTo>
                    <a:pt x="1869390" y="197447"/>
                  </a:lnTo>
                  <a:lnTo>
                    <a:pt x="1869390" y="196799"/>
                  </a:lnTo>
                  <a:lnTo>
                    <a:pt x="1869440" y="196799"/>
                  </a:lnTo>
                  <a:lnTo>
                    <a:pt x="1869440" y="199530"/>
                  </a:lnTo>
                  <a:lnTo>
                    <a:pt x="1869440" y="198831"/>
                  </a:lnTo>
                  <a:lnTo>
                    <a:pt x="1869491" y="198831"/>
                  </a:lnTo>
                  <a:lnTo>
                    <a:pt x="1869491" y="199530"/>
                  </a:lnTo>
                  <a:lnTo>
                    <a:pt x="1869491" y="198831"/>
                  </a:lnTo>
                  <a:lnTo>
                    <a:pt x="1869580" y="198831"/>
                  </a:lnTo>
                  <a:lnTo>
                    <a:pt x="1869580" y="199530"/>
                  </a:lnTo>
                  <a:lnTo>
                    <a:pt x="1869580" y="198831"/>
                  </a:lnTo>
                  <a:lnTo>
                    <a:pt x="1869580" y="199530"/>
                  </a:lnTo>
                  <a:lnTo>
                    <a:pt x="1869631" y="199530"/>
                  </a:lnTo>
                  <a:lnTo>
                    <a:pt x="1869631" y="198831"/>
                  </a:lnTo>
                  <a:lnTo>
                    <a:pt x="1869631" y="199530"/>
                  </a:lnTo>
                  <a:lnTo>
                    <a:pt x="1869631" y="198831"/>
                  </a:lnTo>
                  <a:lnTo>
                    <a:pt x="1869631" y="199530"/>
                  </a:lnTo>
                  <a:lnTo>
                    <a:pt x="1869682" y="199530"/>
                  </a:lnTo>
                  <a:lnTo>
                    <a:pt x="1869682" y="198831"/>
                  </a:lnTo>
                  <a:lnTo>
                    <a:pt x="1869733" y="198831"/>
                  </a:lnTo>
                  <a:lnTo>
                    <a:pt x="1869733" y="199530"/>
                  </a:lnTo>
                  <a:lnTo>
                    <a:pt x="1869733" y="198831"/>
                  </a:lnTo>
                  <a:lnTo>
                    <a:pt x="1869834" y="198831"/>
                  </a:lnTo>
                  <a:lnTo>
                    <a:pt x="1869834" y="196799"/>
                  </a:lnTo>
                  <a:lnTo>
                    <a:pt x="1869834" y="197447"/>
                  </a:lnTo>
                  <a:lnTo>
                    <a:pt x="1869834" y="196799"/>
                  </a:lnTo>
                  <a:lnTo>
                    <a:pt x="1869885" y="196799"/>
                  </a:lnTo>
                  <a:lnTo>
                    <a:pt x="1869885" y="196113"/>
                  </a:lnTo>
                  <a:lnTo>
                    <a:pt x="1869885" y="197447"/>
                  </a:lnTo>
                  <a:lnTo>
                    <a:pt x="1869885" y="196799"/>
                  </a:lnTo>
                  <a:lnTo>
                    <a:pt x="1869936" y="197447"/>
                  </a:lnTo>
                  <a:lnTo>
                    <a:pt x="1869936" y="199530"/>
                  </a:lnTo>
                  <a:lnTo>
                    <a:pt x="1869936" y="197447"/>
                  </a:lnTo>
                  <a:lnTo>
                    <a:pt x="1869936" y="199530"/>
                  </a:lnTo>
                  <a:lnTo>
                    <a:pt x="1870037" y="199530"/>
                  </a:lnTo>
                  <a:lnTo>
                    <a:pt x="1870037" y="198831"/>
                  </a:lnTo>
                  <a:lnTo>
                    <a:pt x="1870037" y="199530"/>
                  </a:lnTo>
                  <a:lnTo>
                    <a:pt x="1870037" y="198831"/>
                  </a:lnTo>
                  <a:lnTo>
                    <a:pt x="1870037" y="199530"/>
                  </a:lnTo>
                  <a:lnTo>
                    <a:pt x="1870075" y="199530"/>
                  </a:lnTo>
                  <a:lnTo>
                    <a:pt x="1870075" y="200228"/>
                  </a:lnTo>
                  <a:lnTo>
                    <a:pt x="1870075" y="199530"/>
                  </a:lnTo>
                  <a:lnTo>
                    <a:pt x="1870075" y="200228"/>
                  </a:lnTo>
                  <a:lnTo>
                    <a:pt x="1870075" y="199530"/>
                  </a:lnTo>
                  <a:lnTo>
                    <a:pt x="1870126" y="199530"/>
                  </a:lnTo>
                  <a:lnTo>
                    <a:pt x="1870126" y="200228"/>
                  </a:lnTo>
                  <a:lnTo>
                    <a:pt x="1870126" y="199530"/>
                  </a:lnTo>
                  <a:lnTo>
                    <a:pt x="1870177" y="199530"/>
                  </a:lnTo>
                  <a:lnTo>
                    <a:pt x="1870177" y="198831"/>
                  </a:lnTo>
                  <a:lnTo>
                    <a:pt x="1870177" y="199530"/>
                  </a:lnTo>
                  <a:lnTo>
                    <a:pt x="1870177" y="198831"/>
                  </a:lnTo>
                  <a:lnTo>
                    <a:pt x="1870279" y="198831"/>
                  </a:lnTo>
                  <a:lnTo>
                    <a:pt x="1870279" y="197447"/>
                  </a:lnTo>
                  <a:lnTo>
                    <a:pt x="1870279" y="198831"/>
                  </a:lnTo>
                  <a:lnTo>
                    <a:pt x="1870279" y="196799"/>
                  </a:lnTo>
                  <a:lnTo>
                    <a:pt x="1870330" y="197447"/>
                  </a:lnTo>
                  <a:lnTo>
                    <a:pt x="1870330" y="196113"/>
                  </a:lnTo>
                  <a:lnTo>
                    <a:pt x="1870330" y="196799"/>
                  </a:lnTo>
                  <a:lnTo>
                    <a:pt x="1870330" y="196113"/>
                  </a:lnTo>
                  <a:lnTo>
                    <a:pt x="1870330" y="198831"/>
                  </a:lnTo>
                  <a:lnTo>
                    <a:pt x="1870380" y="197447"/>
                  </a:lnTo>
                  <a:lnTo>
                    <a:pt x="1870380" y="196113"/>
                  </a:lnTo>
                  <a:lnTo>
                    <a:pt x="1870380" y="199530"/>
                  </a:lnTo>
                  <a:lnTo>
                    <a:pt x="1870380" y="198831"/>
                  </a:lnTo>
                  <a:lnTo>
                    <a:pt x="1870482" y="198831"/>
                  </a:lnTo>
                  <a:lnTo>
                    <a:pt x="1870482" y="197447"/>
                  </a:lnTo>
                  <a:lnTo>
                    <a:pt x="1870482" y="200228"/>
                  </a:lnTo>
                  <a:lnTo>
                    <a:pt x="1870482" y="199530"/>
                  </a:lnTo>
                  <a:lnTo>
                    <a:pt x="1870533" y="199530"/>
                  </a:lnTo>
                  <a:lnTo>
                    <a:pt x="1870533" y="198831"/>
                  </a:lnTo>
                  <a:lnTo>
                    <a:pt x="1870533" y="200228"/>
                  </a:lnTo>
                  <a:lnTo>
                    <a:pt x="1870533" y="199530"/>
                  </a:lnTo>
                  <a:lnTo>
                    <a:pt x="1870584" y="199530"/>
                  </a:lnTo>
                  <a:lnTo>
                    <a:pt x="1870584" y="200228"/>
                  </a:lnTo>
                  <a:lnTo>
                    <a:pt x="1870622" y="200228"/>
                  </a:lnTo>
                  <a:lnTo>
                    <a:pt x="1870622" y="199530"/>
                  </a:lnTo>
                  <a:lnTo>
                    <a:pt x="1870622" y="200228"/>
                  </a:lnTo>
                  <a:lnTo>
                    <a:pt x="1870622" y="199530"/>
                  </a:lnTo>
                  <a:lnTo>
                    <a:pt x="1870622" y="200228"/>
                  </a:lnTo>
                  <a:lnTo>
                    <a:pt x="1870622" y="199530"/>
                  </a:lnTo>
                  <a:lnTo>
                    <a:pt x="1870622" y="200228"/>
                  </a:lnTo>
                  <a:lnTo>
                    <a:pt x="1870622" y="199530"/>
                  </a:lnTo>
                  <a:lnTo>
                    <a:pt x="1870622" y="200228"/>
                  </a:lnTo>
                  <a:lnTo>
                    <a:pt x="1870723" y="199530"/>
                  </a:lnTo>
                  <a:lnTo>
                    <a:pt x="1870723" y="200228"/>
                  </a:lnTo>
                  <a:lnTo>
                    <a:pt x="1870723" y="198831"/>
                  </a:lnTo>
                  <a:lnTo>
                    <a:pt x="1870774" y="198831"/>
                  </a:lnTo>
                  <a:lnTo>
                    <a:pt x="1870774" y="197447"/>
                  </a:lnTo>
                  <a:lnTo>
                    <a:pt x="1870774" y="198831"/>
                  </a:lnTo>
                  <a:lnTo>
                    <a:pt x="1870774" y="196799"/>
                  </a:lnTo>
                  <a:lnTo>
                    <a:pt x="1870825" y="196799"/>
                  </a:lnTo>
                  <a:lnTo>
                    <a:pt x="1870825" y="196113"/>
                  </a:lnTo>
                  <a:lnTo>
                    <a:pt x="1870825" y="197447"/>
                  </a:lnTo>
                  <a:lnTo>
                    <a:pt x="1870825" y="196799"/>
                  </a:lnTo>
                  <a:lnTo>
                    <a:pt x="1870926" y="196113"/>
                  </a:lnTo>
                  <a:lnTo>
                    <a:pt x="1870926" y="198831"/>
                  </a:lnTo>
                  <a:lnTo>
                    <a:pt x="1870926" y="197447"/>
                  </a:lnTo>
                  <a:lnTo>
                    <a:pt x="1870926" y="198831"/>
                  </a:lnTo>
                  <a:lnTo>
                    <a:pt x="1870926" y="197447"/>
                  </a:lnTo>
                  <a:lnTo>
                    <a:pt x="1870977" y="197447"/>
                  </a:lnTo>
                  <a:lnTo>
                    <a:pt x="1870977" y="199530"/>
                  </a:lnTo>
                  <a:lnTo>
                    <a:pt x="1870977" y="198831"/>
                  </a:lnTo>
                  <a:lnTo>
                    <a:pt x="1871028" y="198831"/>
                  </a:lnTo>
                  <a:lnTo>
                    <a:pt x="1871028" y="199530"/>
                  </a:lnTo>
                  <a:lnTo>
                    <a:pt x="1871028" y="198831"/>
                  </a:lnTo>
                  <a:lnTo>
                    <a:pt x="1871028" y="199530"/>
                  </a:lnTo>
                  <a:lnTo>
                    <a:pt x="1871079" y="199530"/>
                  </a:lnTo>
                  <a:lnTo>
                    <a:pt x="1871079" y="200228"/>
                  </a:lnTo>
                  <a:lnTo>
                    <a:pt x="1871079" y="199530"/>
                  </a:lnTo>
                  <a:lnTo>
                    <a:pt x="1871168" y="199530"/>
                  </a:lnTo>
                  <a:lnTo>
                    <a:pt x="1871168" y="200228"/>
                  </a:lnTo>
                  <a:lnTo>
                    <a:pt x="1871168" y="199530"/>
                  </a:lnTo>
                  <a:lnTo>
                    <a:pt x="1871168" y="200228"/>
                  </a:lnTo>
                  <a:lnTo>
                    <a:pt x="1871168" y="199530"/>
                  </a:lnTo>
                  <a:lnTo>
                    <a:pt x="1871168" y="200228"/>
                  </a:lnTo>
                  <a:lnTo>
                    <a:pt x="1871219" y="199530"/>
                  </a:lnTo>
                  <a:lnTo>
                    <a:pt x="1871219" y="200228"/>
                  </a:lnTo>
                  <a:lnTo>
                    <a:pt x="1871219" y="198831"/>
                  </a:lnTo>
                  <a:lnTo>
                    <a:pt x="1871219" y="199530"/>
                  </a:lnTo>
                  <a:lnTo>
                    <a:pt x="1871219" y="198831"/>
                  </a:lnTo>
                  <a:lnTo>
                    <a:pt x="1871219" y="199530"/>
                  </a:lnTo>
                  <a:lnTo>
                    <a:pt x="1871219" y="198831"/>
                  </a:lnTo>
                  <a:lnTo>
                    <a:pt x="1871269" y="198831"/>
                  </a:lnTo>
                  <a:lnTo>
                    <a:pt x="1871269" y="196113"/>
                  </a:lnTo>
                  <a:lnTo>
                    <a:pt x="1871320" y="196113"/>
                  </a:lnTo>
                  <a:lnTo>
                    <a:pt x="1871320" y="195415"/>
                  </a:lnTo>
                  <a:lnTo>
                    <a:pt x="1871320" y="196113"/>
                  </a:lnTo>
                  <a:lnTo>
                    <a:pt x="1871320" y="195415"/>
                  </a:lnTo>
                  <a:lnTo>
                    <a:pt x="1871422" y="195415"/>
                  </a:lnTo>
                  <a:lnTo>
                    <a:pt x="1871422" y="193383"/>
                  </a:lnTo>
                  <a:lnTo>
                    <a:pt x="1871422" y="197447"/>
                  </a:lnTo>
                  <a:lnTo>
                    <a:pt x="1871422" y="196799"/>
                  </a:lnTo>
                  <a:lnTo>
                    <a:pt x="1871422" y="197447"/>
                  </a:lnTo>
                  <a:lnTo>
                    <a:pt x="1871422" y="196799"/>
                  </a:lnTo>
                  <a:lnTo>
                    <a:pt x="1871472" y="196799"/>
                  </a:lnTo>
                  <a:lnTo>
                    <a:pt x="1871472" y="196113"/>
                  </a:lnTo>
                  <a:lnTo>
                    <a:pt x="1871472" y="197447"/>
                  </a:lnTo>
                  <a:lnTo>
                    <a:pt x="1871523" y="197447"/>
                  </a:lnTo>
                  <a:lnTo>
                    <a:pt x="1871523" y="196799"/>
                  </a:lnTo>
                  <a:lnTo>
                    <a:pt x="1871523" y="197447"/>
                  </a:lnTo>
                  <a:lnTo>
                    <a:pt x="1871523" y="196799"/>
                  </a:lnTo>
                  <a:lnTo>
                    <a:pt x="1871523" y="198831"/>
                  </a:lnTo>
                  <a:lnTo>
                    <a:pt x="1871523" y="197447"/>
                  </a:lnTo>
                  <a:lnTo>
                    <a:pt x="1871625" y="197447"/>
                  </a:lnTo>
                  <a:lnTo>
                    <a:pt x="1871625" y="199530"/>
                  </a:lnTo>
                  <a:lnTo>
                    <a:pt x="1871625" y="198831"/>
                  </a:lnTo>
                  <a:lnTo>
                    <a:pt x="1871625" y="199530"/>
                  </a:lnTo>
                  <a:lnTo>
                    <a:pt x="1871663" y="199530"/>
                  </a:lnTo>
                  <a:lnTo>
                    <a:pt x="1871663" y="198831"/>
                  </a:lnTo>
                  <a:lnTo>
                    <a:pt x="1871663" y="199530"/>
                  </a:lnTo>
                  <a:lnTo>
                    <a:pt x="1871663" y="198831"/>
                  </a:lnTo>
                  <a:lnTo>
                    <a:pt x="1871663" y="199530"/>
                  </a:lnTo>
                  <a:lnTo>
                    <a:pt x="1871714" y="199530"/>
                  </a:lnTo>
                  <a:lnTo>
                    <a:pt x="1871714" y="198831"/>
                  </a:lnTo>
                  <a:lnTo>
                    <a:pt x="1871765" y="198831"/>
                  </a:lnTo>
                  <a:lnTo>
                    <a:pt x="1871765" y="196113"/>
                  </a:lnTo>
                  <a:lnTo>
                    <a:pt x="1871765" y="196799"/>
                  </a:lnTo>
                  <a:lnTo>
                    <a:pt x="1871765" y="196113"/>
                  </a:lnTo>
                  <a:lnTo>
                    <a:pt x="1871866" y="196113"/>
                  </a:lnTo>
                  <a:lnTo>
                    <a:pt x="1871866" y="196799"/>
                  </a:lnTo>
                  <a:lnTo>
                    <a:pt x="1871866" y="195415"/>
                  </a:lnTo>
                  <a:lnTo>
                    <a:pt x="1871917" y="195415"/>
                  </a:lnTo>
                  <a:lnTo>
                    <a:pt x="1871917" y="197447"/>
                  </a:lnTo>
                  <a:lnTo>
                    <a:pt x="1871917" y="196113"/>
                  </a:lnTo>
                  <a:lnTo>
                    <a:pt x="1871968" y="196113"/>
                  </a:lnTo>
                  <a:lnTo>
                    <a:pt x="1871968" y="196799"/>
                  </a:lnTo>
                  <a:lnTo>
                    <a:pt x="1872069" y="196799"/>
                  </a:lnTo>
                  <a:lnTo>
                    <a:pt x="1872069" y="196113"/>
                  </a:lnTo>
                  <a:lnTo>
                    <a:pt x="1872069" y="196799"/>
                  </a:lnTo>
                  <a:lnTo>
                    <a:pt x="1872120" y="196799"/>
                  </a:lnTo>
                  <a:lnTo>
                    <a:pt x="1872120" y="197447"/>
                  </a:lnTo>
                  <a:lnTo>
                    <a:pt x="1872120" y="196799"/>
                  </a:lnTo>
                  <a:lnTo>
                    <a:pt x="1872120" y="197447"/>
                  </a:lnTo>
                  <a:lnTo>
                    <a:pt x="1872120" y="196799"/>
                  </a:lnTo>
                  <a:lnTo>
                    <a:pt x="1872120" y="197447"/>
                  </a:lnTo>
                  <a:lnTo>
                    <a:pt x="1872171" y="197447"/>
                  </a:lnTo>
                  <a:lnTo>
                    <a:pt x="1872171" y="196799"/>
                  </a:lnTo>
                  <a:lnTo>
                    <a:pt x="1872171" y="198831"/>
                  </a:lnTo>
                  <a:lnTo>
                    <a:pt x="1872209" y="198831"/>
                  </a:lnTo>
                  <a:lnTo>
                    <a:pt x="1872209" y="197447"/>
                  </a:lnTo>
                  <a:lnTo>
                    <a:pt x="1872209" y="198831"/>
                  </a:lnTo>
                  <a:lnTo>
                    <a:pt x="1872209" y="197447"/>
                  </a:lnTo>
                  <a:lnTo>
                    <a:pt x="1872209" y="198831"/>
                  </a:lnTo>
                  <a:lnTo>
                    <a:pt x="1872209" y="197447"/>
                  </a:lnTo>
                  <a:lnTo>
                    <a:pt x="1872209" y="198831"/>
                  </a:lnTo>
                  <a:lnTo>
                    <a:pt x="1872209" y="197447"/>
                  </a:lnTo>
                  <a:lnTo>
                    <a:pt x="1872311" y="197447"/>
                  </a:lnTo>
                  <a:lnTo>
                    <a:pt x="1872311" y="196799"/>
                  </a:lnTo>
                  <a:lnTo>
                    <a:pt x="1872311" y="197447"/>
                  </a:lnTo>
                  <a:lnTo>
                    <a:pt x="1872311" y="196799"/>
                  </a:lnTo>
                  <a:lnTo>
                    <a:pt x="1872311" y="197447"/>
                  </a:lnTo>
                  <a:lnTo>
                    <a:pt x="1872311" y="196799"/>
                  </a:lnTo>
                  <a:lnTo>
                    <a:pt x="1872311" y="197447"/>
                  </a:lnTo>
                  <a:lnTo>
                    <a:pt x="1872311" y="195415"/>
                  </a:lnTo>
                  <a:lnTo>
                    <a:pt x="1872311" y="196113"/>
                  </a:lnTo>
                  <a:lnTo>
                    <a:pt x="1872362" y="196113"/>
                  </a:lnTo>
                  <a:lnTo>
                    <a:pt x="1872362" y="195415"/>
                  </a:lnTo>
                  <a:lnTo>
                    <a:pt x="1872362" y="196113"/>
                  </a:lnTo>
                  <a:lnTo>
                    <a:pt x="1872362" y="195415"/>
                  </a:lnTo>
                  <a:lnTo>
                    <a:pt x="1872412" y="194716"/>
                  </a:lnTo>
                  <a:lnTo>
                    <a:pt x="1872412" y="197447"/>
                  </a:lnTo>
                  <a:lnTo>
                    <a:pt x="1872412" y="196799"/>
                  </a:lnTo>
                  <a:lnTo>
                    <a:pt x="1872514" y="196113"/>
                  </a:lnTo>
                  <a:lnTo>
                    <a:pt x="1872514" y="198831"/>
                  </a:lnTo>
                  <a:lnTo>
                    <a:pt x="1872514" y="196799"/>
                  </a:lnTo>
                  <a:lnTo>
                    <a:pt x="1872514" y="197447"/>
                  </a:lnTo>
                  <a:lnTo>
                    <a:pt x="1872514" y="196799"/>
                  </a:lnTo>
                  <a:lnTo>
                    <a:pt x="1872565" y="197447"/>
                  </a:lnTo>
                  <a:lnTo>
                    <a:pt x="1872565" y="196799"/>
                  </a:lnTo>
                  <a:lnTo>
                    <a:pt x="1872565" y="197447"/>
                  </a:lnTo>
                  <a:lnTo>
                    <a:pt x="1872565" y="196799"/>
                  </a:lnTo>
                  <a:lnTo>
                    <a:pt x="1872565" y="197447"/>
                  </a:lnTo>
                  <a:lnTo>
                    <a:pt x="1872565" y="196799"/>
                  </a:lnTo>
                  <a:lnTo>
                    <a:pt x="1872565" y="198831"/>
                  </a:lnTo>
                  <a:lnTo>
                    <a:pt x="1872615" y="197447"/>
                  </a:lnTo>
                  <a:lnTo>
                    <a:pt x="1872615" y="196799"/>
                  </a:lnTo>
                  <a:lnTo>
                    <a:pt x="1872615" y="197447"/>
                  </a:lnTo>
                  <a:lnTo>
                    <a:pt x="1872615" y="196799"/>
                  </a:lnTo>
                  <a:lnTo>
                    <a:pt x="1872615" y="198831"/>
                  </a:lnTo>
                  <a:lnTo>
                    <a:pt x="1872615" y="197447"/>
                  </a:lnTo>
                  <a:lnTo>
                    <a:pt x="1872666" y="197447"/>
                  </a:lnTo>
                  <a:lnTo>
                    <a:pt x="1872666" y="198831"/>
                  </a:lnTo>
                  <a:lnTo>
                    <a:pt x="1872666" y="197447"/>
                  </a:lnTo>
                  <a:lnTo>
                    <a:pt x="1872666" y="199530"/>
                  </a:lnTo>
                  <a:lnTo>
                    <a:pt x="1872666" y="198831"/>
                  </a:lnTo>
                  <a:lnTo>
                    <a:pt x="1872755" y="198831"/>
                  </a:lnTo>
                  <a:lnTo>
                    <a:pt x="1872755" y="197447"/>
                  </a:lnTo>
                  <a:lnTo>
                    <a:pt x="1872755" y="198831"/>
                  </a:lnTo>
                  <a:lnTo>
                    <a:pt x="1872755" y="197447"/>
                  </a:lnTo>
                  <a:lnTo>
                    <a:pt x="1872806" y="197447"/>
                  </a:lnTo>
                  <a:lnTo>
                    <a:pt x="1872806" y="196799"/>
                  </a:lnTo>
                  <a:lnTo>
                    <a:pt x="1872806" y="197447"/>
                  </a:lnTo>
                  <a:lnTo>
                    <a:pt x="1872857" y="197447"/>
                  </a:lnTo>
                  <a:lnTo>
                    <a:pt x="1872857" y="198831"/>
                  </a:lnTo>
                  <a:lnTo>
                    <a:pt x="1872857" y="197447"/>
                  </a:lnTo>
                  <a:lnTo>
                    <a:pt x="1872857" y="198831"/>
                  </a:lnTo>
                  <a:lnTo>
                    <a:pt x="1872857" y="196799"/>
                  </a:lnTo>
                  <a:lnTo>
                    <a:pt x="1872857" y="198831"/>
                  </a:lnTo>
                  <a:lnTo>
                    <a:pt x="1872908" y="198831"/>
                  </a:lnTo>
                  <a:lnTo>
                    <a:pt x="1872908" y="199530"/>
                  </a:lnTo>
                  <a:lnTo>
                    <a:pt x="1872908" y="197447"/>
                  </a:lnTo>
                  <a:lnTo>
                    <a:pt x="1872908" y="199530"/>
                  </a:lnTo>
                  <a:lnTo>
                    <a:pt x="1872908" y="198831"/>
                  </a:lnTo>
                  <a:lnTo>
                    <a:pt x="1872908" y="199530"/>
                  </a:lnTo>
                  <a:lnTo>
                    <a:pt x="1873009" y="199530"/>
                  </a:lnTo>
                  <a:lnTo>
                    <a:pt x="1873009" y="198831"/>
                  </a:lnTo>
                  <a:lnTo>
                    <a:pt x="1873009" y="199530"/>
                  </a:lnTo>
                  <a:lnTo>
                    <a:pt x="1873009" y="198831"/>
                  </a:lnTo>
                  <a:lnTo>
                    <a:pt x="1873060" y="198831"/>
                  </a:lnTo>
                  <a:lnTo>
                    <a:pt x="1873060" y="199530"/>
                  </a:lnTo>
                  <a:lnTo>
                    <a:pt x="1873060" y="197447"/>
                  </a:lnTo>
                  <a:lnTo>
                    <a:pt x="1873060" y="198831"/>
                  </a:lnTo>
                  <a:lnTo>
                    <a:pt x="1873111" y="199530"/>
                  </a:lnTo>
                  <a:lnTo>
                    <a:pt x="1873111" y="198831"/>
                  </a:lnTo>
                  <a:lnTo>
                    <a:pt x="1873111" y="199530"/>
                  </a:lnTo>
                  <a:lnTo>
                    <a:pt x="1873111" y="198831"/>
                  </a:lnTo>
                  <a:lnTo>
                    <a:pt x="1873111" y="199530"/>
                  </a:lnTo>
                  <a:lnTo>
                    <a:pt x="1873111" y="197447"/>
                  </a:lnTo>
                  <a:lnTo>
                    <a:pt x="1873212" y="198831"/>
                  </a:lnTo>
                  <a:lnTo>
                    <a:pt x="1873212" y="199530"/>
                  </a:lnTo>
                  <a:lnTo>
                    <a:pt x="1873212" y="198831"/>
                  </a:lnTo>
                  <a:lnTo>
                    <a:pt x="1873212" y="199530"/>
                  </a:lnTo>
                  <a:lnTo>
                    <a:pt x="1873212" y="198831"/>
                  </a:lnTo>
                  <a:lnTo>
                    <a:pt x="1873250" y="198831"/>
                  </a:lnTo>
                  <a:lnTo>
                    <a:pt x="1873250" y="196799"/>
                  </a:lnTo>
                  <a:lnTo>
                    <a:pt x="1873301" y="196799"/>
                  </a:lnTo>
                  <a:lnTo>
                    <a:pt x="1873301" y="195415"/>
                  </a:lnTo>
                  <a:lnTo>
                    <a:pt x="1873301" y="196799"/>
                  </a:lnTo>
                  <a:lnTo>
                    <a:pt x="1873352" y="196799"/>
                  </a:lnTo>
                  <a:lnTo>
                    <a:pt x="1873352" y="196113"/>
                  </a:lnTo>
                  <a:lnTo>
                    <a:pt x="1873352" y="198831"/>
                  </a:lnTo>
                  <a:lnTo>
                    <a:pt x="1873454" y="198831"/>
                  </a:lnTo>
                  <a:lnTo>
                    <a:pt x="1873454" y="196799"/>
                  </a:lnTo>
                  <a:lnTo>
                    <a:pt x="1873454" y="198831"/>
                  </a:lnTo>
                  <a:lnTo>
                    <a:pt x="1873505" y="198831"/>
                  </a:lnTo>
                  <a:lnTo>
                    <a:pt x="1873505" y="197447"/>
                  </a:lnTo>
                  <a:lnTo>
                    <a:pt x="1873505" y="198831"/>
                  </a:lnTo>
                  <a:lnTo>
                    <a:pt x="1873505" y="197447"/>
                  </a:lnTo>
                  <a:lnTo>
                    <a:pt x="1873505" y="199530"/>
                  </a:lnTo>
                  <a:lnTo>
                    <a:pt x="1873505" y="198831"/>
                  </a:lnTo>
                  <a:lnTo>
                    <a:pt x="1873555" y="198831"/>
                  </a:lnTo>
                  <a:lnTo>
                    <a:pt x="1873555" y="200228"/>
                  </a:lnTo>
                  <a:lnTo>
                    <a:pt x="1873555" y="199530"/>
                  </a:lnTo>
                  <a:lnTo>
                    <a:pt x="1873657" y="199530"/>
                  </a:lnTo>
                  <a:lnTo>
                    <a:pt x="1873657" y="198831"/>
                  </a:lnTo>
                  <a:lnTo>
                    <a:pt x="1873657" y="199530"/>
                  </a:lnTo>
                  <a:lnTo>
                    <a:pt x="1873708" y="199530"/>
                  </a:lnTo>
                  <a:lnTo>
                    <a:pt x="1873708" y="198831"/>
                  </a:lnTo>
                  <a:lnTo>
                    <a:pt x="1873708" y="199530"/>
                  </a:lnTo>
                  <a:lnTo>
                    <a:pt x="1873708" y="197447"/>
                  </a:lnTo>
                  <a:lnTo>
                    <a:pt x="1873708" y="198831"/>
                  </a:lnTo>
                  <a:lnTo>
                    <a:pt x="1873759" y="198831"/>
                  </a:lnTo>
                  <a:lnTo>
                    <a:pt x="1873759" y="196113"/>
                  </a:lnTo>
                  <a:lnTo>
                    <a:pt x="1873797" y="196113"/>
                  </a:lnTo>
                  <a:lnTo>
                    <a:pt x="1873797" y="195415"/>
                  </a:lnTo>
                  <a:lnTo>
                    <a:pt x="1873797" y="197447"/>
                  </a:lnTo>
                  <a:lnTo>
                    <a:pt x="1873797" y="196799"/>
                  </a:lnTo>
                  <a:lnTo>
                    <a:pt x="1873797" y="197447"/>
                  </a:lnTo>
                  <a:lnTo>
                    <a:pt x="1873797" y="196113"/>
                  </a:lnTo>
                  <a:lnTo>
                    <a:pt x="1873898" y="196113"/>
                  </a:lnTo>
                  <a:lnTo>
                    <a:pt x="1873898" y="199530"/>
                  </a:lnTo>
                  <a:lnTo>
                    <a:pt x="1873898" y="197447"/>
                  </a:lnTo>
                  <a:lnTo>
                    <a:pt x="1873898" y="198831"/>
                  </a:lnTo>
                  <a:lnTo>
                    <a:pt x="1873898" y="197447"/>
                  </a:lnTo>
                  <a:lnTo>
                    <a:pt x="1873949" y="197447"/>
                  </a:lnTo>
                  <a:lnTo>
                    <a:pt x="1873949" y="199530"/>
                  </a:lnTo>
                  <a:lnTo>
                    <a:pt x="1873949" y="197447"/>
                  </a:lnTo>
                  <a:lnTo>
                    <a:pt x="1873949" y="198831"/>
                  </a:lnTo>
                  <a:lnTo>
                    <a:pt x="1873949" y="197447"/>
                  </a:lnTo>
                  <a:lnTo>
                    <a:pt x="1874000" y="197447"/>
                  </a:lnTo>
                  <a:lnTo>
                    <a:pt x="1874000" y="199530"/>
                  </a:lnTo>
                  <a:lnTo>
                    <a:pt x="1874000" y="198831"/>
                  </a:lnTo>
                  <a:lnTo>
                    <a:pt x="1874000" y="199530"/>
                  </a:lnTo>
                  <a:lnTo>
                    <a:pt x="1874000" y="198831"/>
                  </a:lnTo>
                  <a:lnTo>
                    <a:pt x="1874000" y="199530"/>
                  </a:lnTo>
                  <a:lnTo>
                    <a:pt x="1874101" y="199530"/>
                  </a:lnTo>
                  <a:lnTo>
                    <a:pt x="1874101" y="198831"/>
                  </a:lnTo>
                  <a:lnTo>
                    <a:pt x="1874101" y="200228"/>
                  </a:lnTo>
                  <a:lnTo>
                    <a:pt x="1874152" y="200228"/>
                  </a:lnTo>
                  <a:lnTo>
                    <a:pt x="1874152" y="199530"/>
                  </a:lnTo>
                  <a:lnTo>
                    <a:pt x="1874203" y="199530"/>
                  </a:lnTo>
                  <a:lnTo>
                    <a:pt x="1874203" y="197447"/>
                  </a:lnTo>
                  <a:lnTo>
                    <a:pt x="1874254" y="197447"/>
                  </a:lnTo>
                  <a:lnTo>
                    <a:pt x="1874254" y="196113"/>
                  </a:lnTo>
                  <a:lnTo>
                    <a:pt x="1874254" y="196799"/>
                  </a:lnTo>
                  <a:lnTo>
                    <a:pt x="1874254" y="195415"/>
                  </a:lnTo>
                  <a:lnTo>
                    <a:pt x="1874343" y="195415"/>
                  </a:lnTo>
                  <a:lnTo>
                    <a:pt x="1874343" y="196113"/>
                  </a:lnTo>
                  <a:lnTo>
                    <a:pt x="1874343" y="195415"/>
                  </a:lnTo>
                  <a:lnTo>
                    <a:pt x="1874394" y="195415"/>
                  </a:lnTo>
                  <a:lnTo>
                    <a:pt x="1874394" y="197447"/>
                  </a:lnTo>
                  <a:lnTo>
                    <a:pt x="1874394" y="196799"/>
                  </a:lnTo>
                  <a:lnTo>
                    <a:pt x="1874444" y="196799"/>
                  </a:lnTo>
                  <a:lnTo>
                    <a:pt x="1874444" y="197447"/>
                  </a:lnTo>
                  <a:lnTo>
                    <a:pt x="1874444" y="196799"/>
                  </a:lnTo>
                  <a:lnTo>
                    <a:pt x="1874444" y="197447"/>
                  </a:lnTo>
                  <a:lnTo>
                    <a:pt x="1874444" y="196799"/>
                  </a:lnTo>
                  <a:lnTo>
                    <a:pt x="1874444" y="197447"/>
                  </a:lnTo>
                  <a:lnTo>
                    <a:pt x="1874495" y="197447"/>
                  </a:lnTo>
                  <a:lnTo>
                    <a:pt x="1874495" y="198831"/>
                  </a:lnTo>
                  <a:lnTo>
                    <a:pt x="1874495" y="197447"/>
                  </a:lnTo>
                  <a:lnTo>
                    <a:pt x="1874495" y="198831"/>
                  </a:lnTo>
                  <a:lnTo>
                    <a:pt x="1874597" y="198831"/>
                  </a:lnTo>
                  <a:lnTo>
                    <a:pt x="1874597" y="199530"/>
                  </a:lnTo>
                  <a:lnTo>
                    <a:pt x="1874647" y="199530"/>
                  </a:lnTo>
                  <a:lnTo>
                    <a:pt x="1874647" y="200228"/>
                  </a:lnTo>
                  <a:lnTo>
                    <a:pt x="1874647" y="199530"/>
                  </a:lnTo>
                  <a:lnTo>
                    <a:pt x="1874647" y="200228"/>
                  </a:lnTo>
                  <a:lnTo>
                    <a:pt x="1874647" y="199530"/>
                  </a:lnTo>
                  <a:lnTo>
                    <a:pt x="1874647" y="200228"/>
                  </a:lnTo>
                  <a:lnTo>
                    <a:pt x="1874647" y="199530"/>
                  </a:lnTo>
                  <a:lnTo>
                    <a:pt x="1874698" y="199530"/>
                  </a:lnTo>
                  <a:lnTo>
                    <a:pt x="1874698" y="198831"/>
                  </a:lnTo>
                  <a:lnTo>
                    <a:pt x="1874698" y="199530"/>
                  </a:lnTo>
                  <a:lnTo>
                    <a:pt x="1874698" y="198831"/>
                  </a:lnTo>
                  <a:lnTo>
                    <a:pt x="1874698" y="199530"/>
                  </a:lnTo>
                  <a:lnTo>
                    <a:pt x="1874698" y="198831"/>
                  </a:lnTo>
                  <a:lnTo>
                    <a:pt x="1874800" y="198831"/>
                  </a:lnTo>
                  <a:lnTo>
                    <a:pt x="1874800" y="196113"/>
                  </a:lnTo>
                  <a:lnTo>
                    <a:pt x="1874800" y="197447"/>
                  </a:lnTo>
                  <a:lnTo>
                    <a:pt x="1874838" y="197447"/>
                  </a:lnTo>
                  <a:lnTo>
                    <a:pt x="1874838" y="196113"/>
                  </a:lnTo>
                  <a:lnTo>
                    <a:pt x="1874838" y="199530"/>
                  </a:lnTo>
                  <a:lnTo>
                    <a:pt x="1874889" y="199530"/>
                  </a:lnTo>
                  <a:lnTo>
                    <a:pt x="1874889" y="197447"/>
                  </a:lnTo>
                  <a:lnTo>
                    <a:pt x="1874889" y="199530"/>
                  </a:lnTo>
                  <a:lnTo>
                    <a:pt x="1874889" y="198831"/>
                  </a:lnTo>
                  <a:lnTo>
                    <a:pt x="1874940" y="197447"/>
                  </a:lnTo>
                  <a:lnTo>
                    <a:pt x="1874940" y="198831"/>
                  </a:lnTo>
                  <a:lnTo>
                    <a:pt x="1874940" y="197447"/>
                  </a:lnTo>
                  <a:lnTo>
                    <a:pt x="1874940" y="198831"/>
                  </a:lnTo>
                  <a:lnTo>
                    <a:pt x="1874940" y="197447"/>
                  </a:lnTo>
                  <a:lnTo>
                    <a:pt x="1874940" y="198831"/>
                  </a:lnTo>
                  <a:lnTo>
                    <a:pt x="1875041" y="197447"/>
                  </a:lnTo>
                  <a:lnTo>
                    <a:pt x="1875041" y="198831"/>
                  </a:lnTo>
                  <a:lnTo>
                    <a:pt x="1875041" y="197447"/>
                  </a:lnTo>
                  <a:lnTo>
                    <a:pt x="1875041" y="198831"/>
                  </a:lnTo>
                  <a:lnTo>
                    <a:pt x="1875041" y="197447"/>
                  </a:lnTo>
                  <a:lnTo>
                    <a:pt x="1875092" y="197447"/>
                  </a:lnTo>
                  <a:lnTo>
                    <a:pt x="1875092" y="199530"/>
                  </a:lnTo>
                  <a:lnTo>
                    <a:pt x="1875092" y="198831"/>
                  </a:lnTo>
                  <a:lnTo>
                    <a:pt x="1875092" y="199530"/>
                  </a:lnTo>
                  <a:lnTo>
                    <a:pt x="1875092" y="198831"/>
                  </a:lnTo>
                  <a:lnTo>
                    <a:pt x="1875092" y="199530"/>
                  </a:lnTo>
                  <a:lnTo>
                    <a:pt x="1875143" y="199530"/>
                  </a:lnTo>
                  <a:lnTo>
                    <a:pt x="1875143" y="198831"/>
                  </a:lnTo>
                  <a:lnTo>
                    <a:pt x="1875143" y="199530"/>
                  </a:lnTo>
                  <a:lnTo>
                    <a:pt x="1875143" y="198831"/>
                  </a:lnTo>
                  <a:lnTo>
                    <a:pt x="1875143" y="199530"/>
                  </a:lnTo>
                  <a:lnTo>
                    <a:pt x="1875143" y="198831"/>
                  </a:lnTo>
                  <a:lnTo>
                    <a:pt x="1875143" y="199530"/>
                  </a:lnTo>
                  <a:lnTo>
                    <a:pt x="1875143" y="198831"/>
                  </a:lnTo>
                  <a:lnTo>
                    <a:pt x="1875244" y="198831"/>
                  </a:lnTo>
                  <a:lnTo>
                    <a:pt x="1875244" y="196799"/>
                  </a:lnTo>
                  <a:lnTo>
                    <a:pt x="1875244" y="197447"/>
                  </a:lnTo>
                  <a:lnTo>
                    <a:pt x="1875244" y="196799"/>
                  </a:lnTo>
                  <a:lnTo>
                    <a:pt x="1875295" y="196799"/>
                  </a:lnTo>
                  <a:lnTo>
                    <a:pt x="1875295" y="196113"/>
                  </a:lnTo>
                  <a:lnTo>
                    <a:pt x="1875295" y="198831"/>
                  </a:lnTo>
                  <a:lnTo>
                    <a:pt x="1875295" y="197447"/>
                  </a:lnTo>
                  <a:lnTo>
                    <a:pt x="1875346" y="197447"/>
                  </a:lnTo>
                  <a:lnTo>
                    <a:pt x="1875346" y="196113"/>
                  </a:lnTo>
                  <a:lnTo>
                    <a:pt x="1875346" y="200228"/>
                  </a:lnTo>
                  <a:lnTo>
                    <a:pt x="1875346" y="198831"/>
                  </a:lnTo>
                  <a:lnTo>
                    <a:pt x="1875384" y="198831"/>
                  </a:lnTo>
                  <a:lnTo>
                    <a:pt x="1875384" y="197447"/>
                  </a:lnTo>
                  <a:lnTo>
                    <a:pt x="1875384" y="200228"/>
                  </a:lnTo>
                  <a:lnTo>
                    <a:pt x="1875384" y="198831"/>
                  </a:lnTo>
                  <a:lnTo>
                    <a:pt x="1875486" y="198831"/>
                  </a:lnTo>
                  <a:lnTo>
                    <a:pt x="1875486" y="197447"/>
                  </a:lnTo>
                  <a:lnTo>
                    <a:pt x="1875486" y="199530"/>
                  </a:lnTo>
                  <a:lnTo>
                    <a:pt x="1875537" y="199530"/>
                  </a:lnTo>
                  <a:lnTo>
                    <a:pt x="1875537" y="200228"/>
                  </a:lnTo>
                  <a:lnTo>
                    <a:pt x="1875537" y="199530"/>
                  </a:lnTo>
                  <a:lnTo>
                    <a:pt x="1875537" y="200228"/>
                  </a:lnTo>
                  <a:lnTo>
                    <a:pt x="1875537" y="199530"/>
                  </a:lnTo>
                  <a:lnTo>
                    <a:pt x="1875587" y="199530"/>
                  </a:lnTo>
                  <a:lnTo>
                    <a:pt x="1875587" y="198831"/>
                  </a:lnTo>
                  <a:lnTo>
                    <a:pt x="1875587" y="199530"/>
                  </a:lnTo>
                  <a:lnTo>
                    <a:pt x="1875587" y="198831"/>
                  </a:lnTo>
                  <a:lnTo>
                    <a:pt x="1875689" y="199530"/>
                  </a:lnTo>
                  <a:lnTo>
                    <a:pt x="1875689" y="200228"/>
                  </a:lnTo>
                  <a:lnTo>
                    <a:pt x="1875689" y="198831"/>
                  </a:lnTo>
                  <a:lnTo>
                    <a:pt x="1875689" y="199530"/>
                  </a:lnTo>
                  <a:lnTo>
                    <a:pt x="1875689" y="197447"/>
                  </a:lnTo>
                  <a:lnTo>
                    <a:pt x="1875740" y="197447"/>
                  </a:lnTo>
                  <a:lnTo>
                    <a:pt x="1875740" y="196799"/>
                  </a:lnTo>
                  <a:lnTo>
                    <a:pt x="1875790" y="196799"/>
                  </a:lnTo>
                  <a:lnTo>
                    <a:pt x="1875790" y="198831"/>
                  </a:lnTo>
                  <a:lnTo>
                    <a:pt x="1875790" y="197447"/>
                  </a:lnTo>
                  <a:lnTo>
                    <a:pt x="1875790" y="199530"/>
                  </a:lnTo>
                  <a:lnTo>
                    <a:pt x="1875841" y="199530"/>
                  </a:lnTo>
                  <a:lnTo>
                    <a:pt x="1875841" y="200228"/>
                  </a:lnTo>
                  <a:lnTo>
                    <a:pt x="1875841" y="199530"/>
                  </a:lnTo>
                  <a:lnTo>
                    <a:pt x="1875930" y="199530"/>
                  </a:lnTo>
                  <a:lnTo>
                    <a:pt x="1875930" y="200228"/>
                  </a:lnTo>
                  <a:lnTo>
                    <a:pt x="1875930" y="199530"/>
                  </a:lnTo>
                  <a:lnTo>
                    <a:pt x="1875981" y="199530"/>
                  </a:lnTo>
                  <a:lnTo>
                    <a:pt x="1875981" y="200228"/>
                  </a:lnTo>
                  <a:lnTo>
                    <a:pt x="1875981" y="199530"/>
                  </a:lnTo>
                  <a:lnTo>
                    <a:pt x="1875981" y="200228"/>
                  </a:lnTo>
                  <a:lnTo>
                    <a:pt x="1875981" y="199530"/>
                  </a:lnTo>
                  <a:lnTo>
                    <a:pt x="1875981" y="200228"/>
                  </a:lnTo>
                  <a:lnTo>
                    <a:pt x="1876032" y="200228"/>
                  </a:lnTo>
                  <a:lnTo>
                    <a:pt x="1876032" y="199530"/>
                  </a:lnTo>
                  <a:lnTo>
                    <a:pt x="1876032" y="200228"/>
                  </a:lnTo>
                  <a:lnTo>
                    <a:pt x="1876032" y="199530"/>
                  </a:lnTo>
                  <a:lnTo>
                    <a:pt x="1876083" y="199530"/>
                  </a:lnTo>
                  <a:lnTo>
                    <a:pt x="1876083" y="198831"/>
                  </a:lnTo>
                  <a:lnTo>
                    <a:pt x="1876184" y="198831"/>
                  </a:lnTo>
                  <a:lnTo>
                    <a:pt x="1876184" y="199530"/>
                  </a:lnTo>
                  <a:lnTo>
                    <a:pt x="1876184" y="196113"/>
                  </a:lnTo>
                  <a:lnTo>
                    <a:pt x="1876235" y="196799"/>
                  </a:lnTo>
                  <a:lnTo>
                    <a:pt x="1876235" y="195415"/>
                  </a:lnTo>
                  <a:lnTo>
                    <a:pt x="1876235" y="196799"/>
                  </a:lnTo>
                  <a:lnTo>
                    <a:pt x="1876286" y="196799"/>
                  </a:lnTo>
                  <a:lnTo>
                    <a:pt x="1876286" y="197447"/>
                  </a:lnTo>
                  <a:lnTo>
                    <a:pt x="1876286" y="196799"/>
                  </a:lnTo>
                  <a:lnTo>
                    <a:pt x="1876286" y="198831"/>
                  </a:lnTo>
                  <a:lnTo>
                    <a:pt x="1876387" y="198831"/>
                  </a:lnTo>
                  <a:lnTo>
                    <a:pt x="1876387" y="197447"/>
                  </a:lnTo>
                  <a:lnTo>
                    <a:pt x="1876387" y="198831"/>
                  </a:lnTo>
                  <a:lnTo>
                    <a:pt x="1876387" y="197447"/>
                  </a:lnTo>
                  <a:lnTo>
                    <a:pt x="1876387" y="199530"/>
                  </a:lnTo>
                  <a:lnTo>
                    <a:pt x="1876387" y="198831"/>
                  </a:lnTo>
                  <a:lnTo>
                    <a:pt x="1876387" y="199530"/>
                  </a:lnTo>
                  <a:lnTo>
                    <a:pt x="1876387" y="198831"/>
                  </a:lnTo>
                  <a:lnTo>
                    <a:pt x="1876425" y="199530"/>
                  </a:lnTo>
                  <a:lnTo>
                    <a:pt x="1876425" y="198831"/>
                  </a:lnTo>
                  <a:lnTo>
                    <a:pt x="1876425" y="199530"/>
                  </a:lnTo>
                  <a:lnTo>
                    <a:pt x="1876425" y="198831"/>
                  </a:lnTo>
                  <a:lnTo>
                    <a:pt x="1876425" y="199530"/>
                  </a:lnTo>
                  <a:lnTo>
                    <a:pt x="1876425" y="198831"/>
                  </a:lnTo>
                  <a:lnTo>
                    <a:pt x="1876425" y="200228"/>
                  </a:lnTo>
                  <a:lnTo>
                    <a:pt x="1876425" y="198831"/>
                  </a:lnTo>
                  <a:lnTo>
                    <a:pt x="1876476" y="198831"/>
                  </a:lnTo>
                  <a:lnTo>
                    <a:pt x="1876476" y="200228"/>
                  </a:lnTo>
                  <a:lnTo>
                    <a:pt x="1876476" y="199530"/>
                  </a:lnTo>
                  <a:lnTo>
                    <a:pt x="1876476" y="200228"/>
                  </a:lnTo>
                  <a:lnTo>
                    <a:pt x="1876527" y="199530"/>
                  </a:lnTo>
                  <a:lnTo>
                    <a:pt x="1876527" y="200228"/>
                  </a:lnTo>
                  <a:lnTo>
                    <a:pt x="1876527" y="199530"/>
                  </a:lnTo>
                  <a:lnTo>
                    <a:pt x="1876629" y="199530"/>
                  </a:lnTo>
                  <a:lnTo>
                    <a:pt x="1876629" y="200228"/>
                  </a:lnTo>
                  <a:lnTo>
                    <a:pt x="1876629" y="199530"/>
                  </a:lnTo>
                  <a:lnTo>
                    <a:pt x="1876629" y="200228"/>
                  </a:lnTo>
                  <a:lnTo>
                    <a:pt x="1876629" y="199530"/>
                  </a:lnTo>
                  <a:lnTo>
                    <a:pt x="1876629" y="200228"/>
                  </a:lnTo>
                  <a:lnTo>
                    <a:pt x="1876629" y="198831"/>
                  </a:lnTo>
                  <a:lnTo>
                    <a:pt x="1876680" y="198831"/>
                  </a:lnTo>
                  <a:lnTo>
                    <a:pt x="1876680" y="196113"/>
                  </a:lnTo>
                  <a:lnTo>
                    <a:pt x="1876680" y="196799"/>
                  </a:lnTo>
                  <a:lnTo>
                    <a:pt x="1876730" y="196799"/>
                  </a:lnTo>
                  <a:lnTo>
                    <a:pt x="1876730" y="196113"/>
                  </a:lnTo>
                  <a:lnTo>
                    <a:pt x="1876730" y="198831"/>
                  </a:lnTo>
                  <a:lnTo>
                    <a:pt x="1876730" y="196799"/>
                  </a:lnTo>
                  <a:lnTo>
                    <a:pt x="1876832" y="196799"/>
                  </a:lnTo>
                  <a:lnTo>
                    <a:pt x="1876832" y="199530"/>
                  </a:lnTo>
                  <a:lnTo>
                    <a:pt x="1876832" y="197447"/>
                  </a:lnTo>
                  <a:lnTo>
                    <a:pt x="1876883" y="198831"/>
                  </a:lnTo>
                  <a:lnTo>
                    <a:pt x="1876883" y="199530"/>
                  </a:lnTo>
                  <a:lnTo>
                    <a:pt x="1876883" y="198831"/>
                  </a:lnTo>
                  <a:lnTo>
                    <a:pt x="1876883" y="199530"/>
                  </a:lnTo>
                  <a:lnTo>
                    <a:pt x="1876883" y="198831"/>
                  </a:lnTo>
                  <a:lnTo>
                    <a:pt x="1876883" y="199530"/>
                  </a:lnTo>
                  <a:lnTo>
                    <a:pt x="1876883" y="198831"/>
                  </a:lnTo>
                  <a:lnTo>
                    <a:pt x="1876934" y="199530"/>
                  </a:lnTo>
                  <a:lnTo>
                    <a:pt x="1876972" y="199530"/>
                  </a:lnTo>
                  <a:lnTo>
                    <a:pt x="1876972" y="200228"/>
                  </a:lnTo>
                  <a:lnTo>
                    <a:pt x="1876972" y="199530"/>
                  </a:lnTo>
                  <a:lnTo>
                    <a:pt x="1876972" y="200228"/>
                  </a:lnTo>
                  <a:lnTo>
                    <a:pt x="1876972" y="199530"/>
                  </a:lnTo>
                  <a:lnTo>
                    <a:pt x="1876972" y="200228"/>
                  </a:lnTo>
                  <a:lnTo>
                    <a:pt x="1877073" y="200228"/>
                  </a:lnTo>
                  <a:lnTo>
                    <a:pt x="1877073" y="198831"/>
                  </a:lnTo>
                  <a:lnTo>
                    <a:pt x="1877073" y="199530"/>
                  </a:lnTo>
                  <a:lnTo>
                    <a:pt x="1877124" y="199530"/>
                  </a:lnTo>
                  <a:lnTo>
                    <a:pt x="1877124" y="197447"/>
                  </a:lnTo>
                  <a:lnTo>
                    <a:pt x="1877124" y="198831"/>
                  </a:lnTo>
                  <a:lnTo>
                    <a:pt x="1877124" y="197447"/>
                  </a:lnTo>
                  <a:lnTo>
                    <a:pt x="1877175" y="197447"/>
                  </a:lnTo>
                  <a:lnTo>
                    <a:pt x="1877175" y="198831"/>
                  </a:lnTo>
                  <a:lnTo>
                    <a:pt x="1877175" y="196113"/>
                  </a:lnTo>
                  <a:lnTo>
                    <a:pt x="1877276" y="196113"/>
                  </a:lnTo>
                  <a:lnTo>
                    <a:pt x="1877276" y="195415"/>
                  </a:lnTo>
                  <a:lnTo>
                    <a:pt x="1877276" y="196113"/>
                  </a:lnTo>
                  <a:lnTo>
                    <a:pt x="1877276" y="195415"/>
                  </a:lnTo>
                  <a:lnTo>
                    <a:pt x="1877276" y="196113"/>
                  </a:lnTo>
                  <a:lnTo>
                    <a:pt x="1877276" y="194716"/>
                  </a:lnTo>
                  <a:lnTo>
                    <a:pt x="1877327" y="194716"/>
                  </a:lnTo>
                  <a:lnTo>
                    <a:pt x="1877327" y="197447"/>
                  </a:lnTo>
                  <a:lnTo>
                    <a:pt x="1877327" y="196113"/>
                  </a:lnTo>
                  <a:lnTo>
                    <a:pt x="1877327" y="196799"/>
                  </a:lnTo>
                  <a:lnTo>
                    <a:pt x="1877327" y="196113"/>
                  </a:lnTo>
                  <a:lnTo>
                    <a:pt x="1877327" y="196799"/>
                  </a:lnTo>
                  <a:lnTo>
                    <a:pt x="1877378" y="196799"/>
                  </a:lnTo>
                  <a:lnTo>
                    <a:pt x="1877378" y="197447"/>
                  </a:lnTo>
                  <a:lnTo>
                    <a:pt x="1877378" y="196799"/>
                  </a:lnTo>
                  <a:lnTo>
                    <a:pt x="1877378" y="197447"/>
                  </a:lnTo>
                  <a:lnTo>
                    <a:pt x="1877429" y="197447"/>
                  </a:lnTo>
                  <a:lnTo>
                    <a:pt x="1877429" y="198831"/>
                  </a:lnTo>
                  <a:lnTo>
                    <a:pt x="1877429" y="197447"/>
                  </a:lnTo>
                  <a:lnTo>
                    <a:pt x="1877429" y="198831"/>
                  </a:lnTo>
                  <a:lnTo>
                    <a:pt x="1877429" y="197447"/>
                  </a:lnTo>
                  <a:lnTo>
                    <a:pt x="1877429" y="198831"/>
                  </a:lnTo>
                  <a:lnTo>
                    <a:pt x="1877429" y="197447"/>
                  </a:lnTo>
                  <a:lnTo>
                    <a:pt x="1877429" y="198831"/>
                  </a:lnTo>
                  <a:lnTo>
                    <a:pt x="1877518" y="199530"/>
                  </a:lnTo>
                  <a:lnTo>
                    <a:pt x="1877518" y="198831"/>
                  </a:lnTo>
                  <a:lnTo>
                    <a:pt x="1877518" y="199530"/>
                  </a:lnTo>
                  <a:lnTo>
                    <a:pt x="1877518" y="198831"/>
                  </a:lnTo>
                  <a:lnTo>
                    <a:pt x="1877518" y="199530"/>
                  </a:lnTo>
                  <a:lnTo>
                    <a:pt x="1877518" y="198831"/>
                  </a:lnTo>
                  <a:lnTo>
                    <a:pt x="1877518" y="199530"/>
                  </a:lnTo>
                  <a:lnTo>
                    <a:pt x="1877569" y="199530"/>
                  </a:lnTo>
                  <a:lnTo>
                    <a:pt x="1877569" y="198831"/>
                  </a:lnTo>
                  <a:lnTo>
                    <a:pt x="1877569" y="199530"/>
                  </a:lnTo>
                  <a:lnTo>
                    <a:pt x="1877569" y="198831"/>
                  </a:lnTo>
                  <a:lnTo>
                    <a:pt x="1877619" y="198831"/>
                  </a:lnTo>
                  <a:lnTo>
                    <a:pt x="1877619" y="197447"/>
                  </a:lnTo>
                  <a:lnTo>
                    <a:pt x="1877619" y="198831"/>
                  </a:lnTo>
                  <a:lnTo>
                    <a:pt x="1877619" y="196799"/>
                  </a:lnTo>
                  <a:lnTo>
                    <a:pt x="1877619" y="197447"/>
                  </a:lnTo>
                  <a:lnTo>
                    <a:pt x="1877670" y="197447"/>
                  </a:lnTo>
                  <a:lnTo>
                    <a:pt x="1877670" y="196799"/>
                  </a:lnTo>
                  <a:lnTo>
                    <a:pt x="1877670" y="197447"/>
                  </a:lnTo>
                  <a:lnTo>
                    <a:pt x="1877670" y="196113"/>
                  </a:lnTo>
                  <a:lnTo>
                    <a:pt x="1877670" y="196799"/>
                  </a:lnTo>
                  <a:lnTo>
                    <a:pt x="1877670" y="195415"/>
                  </a:lnTo>
                  <a:lnTo>
                    <a:pt x="1877772" y="196113"/>
                  </a:lnTo>
                  <a:lnTo>
                    <a:pt x="1877772" y="196799"/>
                  </a:lnTo>
                  <a:lnTo>
                    <a:pt x="1877772" y="194716"/>
                  </a:lnTo>
                  <a:lnTo>
                    <a:pt x="1877772" y="195415"/>
                  </a:lnTo>
                  <a:lnTo>
                    <a:pt x="1877772" y="194716"/>
                  </a:lnTo>
                  <a:lnTo>
                    <a:pt x="1877772" y="196799"/>
                  </a:lnTo>
                  <a:lnTo>
                    <a:pt x="1877822" y="197447"/>
                  </a:lnTo>
                  <a:lnTo>
                    <a:pt x="1877822" y="196113"/>
                  </a:lnTo>
                  <a:lnTo>
                    <a:pt x="1877822" y="196799"/>
                  </a:lnTo>
                  <a:lnTo>
                    <a:pt x="1877873" y="197447"/>
                  </a:lnTo>
                  <a:lnTo>
                    <a:pt x="1877873" y="196113"/>
                  </a:lnTo>
                  <a:lnTo>
                    <a:pt x="1877873" y="197447"/>
                  </a:lnTo>
                  <a:lnTo>
                    <a:pt x="1877873" y="196799"/>
                  </a:lnTo>
                  <a:lnTo>
                    <a:pt x="1877975" y="196799"/>
                  </a:lnTo>
                  <a:lnTo>
                    <a:pt x="1877975" y="197447"/>
                  </a:lnTo>
                  <a:lnTo>
                    <a:pt x="1877975" y="196799"/>
                  </a:lnTo>
                  <a:lnTo>
                    <a:pt x="1878013" y="196799"/>
                  </a:lnTo>
                  <a:lnTo>
                    <a:pt x="1878013" y="198831"/>
                  </a:lnTo>
                  <a:lnTo>
                    <a:pt x="1878013" y="197447"/>
                  </a:lnTo>
                  <a:lnTo>
                    <a:pt x="1878115" y="197447"/>
                  </a:lnTo>
                  <a:lnTo>
                    <a:pt x="1878115" y="196799"/>
                  </a:lnTo>
                  <a:lnTo>
                    <a:pt x="1878115" y="197447"/>
                  </a:lnTo>
                  <a:lnTo>
                    <a:pt x="1878115" y="196799"/>
                  </a:lnTo>
                  <a:lnTo>
                    <a:pt x="1878115" y="197447"/>
                  </a:lnTo>
                  <a:lnTo>
                    <a:pt x="1878115" y="196799"/>
                  </a:lnTo>
                  <a:lnTo>
                    <a:pt x="1878216" y="196799"/>
                  </a:lnTo>
                  <a:lnTo>
                    <a:pt x="1878216" y="194716"/>
                  </a:lnTo>
                  <a:lnTo>
                    <a:pt x="1878267" y="194716"/>
                  </a:lnTo>
                  <a:lnTo>
                    <a:pt x="1878267" y="191351"/>
                  </a:lnTo>
                  <a:lnTo>
                    <a:pt x="1878318" y="189954"/>
                  </a:lnTo>
                  <a:lnTo>
                    <a:pt x="1878318" y="185890"/>
                  </a:lnTo>
                  <a:lnTo>
                    <a:pt x="1878419" y="185890"/>
                  </a:lnTo>
                  <a:lnTo>
                    <a:pt x="1878419" y="183807"/>
                  </a:lnTo>
                  <a:lnTo>
                    <a:pt x="1878470" y="183807"/>
                  </a:lnTo>
                  <a:lnTo>
                    <a:pt x="1878470" y="185191"/>
                  </a:lnTo>
                  <a:lnTo>
                    <a:pt x="1878470" y="183807"/>
                  </a:lnTo>
                  <a:lnTo>
                    <a:pt x="1878470" y="185191"/>
                  </a:lnTo>
                  <a:lnTo>
                    <a:pt x="1878521" y="185191"/>
                  </a:lnTo>
                  <a:lnTo>
                    <a:pt x="1878521" y="188620"/>
                  </a:lnTo>
                  <a:lnTo>
                    <a:pt x="1878559" y="188620"/>
                  </a:lnTo>
                  <a:lnTo>
                    <a:pt x="1878559" y="191986"/>
                  </a:lnTo>
                  <a:lnTo>
                    <a:pt x="1878661" y="192684"/>
                  </a:lnTo>
                  <a:lnTo>
                    <a:pt x="1878661" y="195415"/>
                  </a:lnTo>
                  <a:lnTo>
                    <a:pt x="1878661" y="194716"/>
                  </a:lnTo>
                  <a:lnTo>
                    <a:pt x="1878661" y="196799"/>
                  </a:lnTo>
                  <a:lnTo>
                    <a:pt x="1878712" y="196799"/>
                  </a:lnTo>
                  <a:lnTo>
                    <a:pt x="1878712" y="196113"/>
                  </a:lnTo>
                  <a:lnTo>
                    <a:pt x="1878712" y="197447"/>
                  </a:lnTo>
                  <a:lnTo>
                    <a:pt x="1878712" y="196799"/>
                  </a:lnTo>
                  <a:lnTo>
                    <a:pt x="1878712" y="197447"/>
                  </a:lnTo>
                  <a:lnTo>
                    <a:pt x="1878712" y="196799"/>
                  </a:lnTo>
                  <a:lnTo>
                    <a:pt x="1878712" y="197447"/>
                  </a:lnTo>
                  <a:lnTo>
                    <a:pt x="1878762" y="197447"/>
                  </a:lnTo>
                  <a:lnTo>
                    <a:pt x="1878762" y="196799"/>
                  </a:lnTo>
                  <a:lnTo>
                    <a:pt x="1878864" y="196799"/>
                  </a:lnTo>
                  <a:lnTo>
                    <a:pt x="1878864" y="196113"/>
                  </a:lnTo>
                  <a:lnTo>
                    <a:pt x="1878864" y="196799"/>
                  </a:lnTo>
                  <a:lnTo>
                    <a:pt x="1878864" y="194716"/>
                  </a:lnTo>
                  <a:lnTo>
                    <a:pt x="1878864" y="195415"/>
                  </a:lnTo>
                  <a:lnTo>
                    <a:pt x="1878864" y="194716"/>
                  </a:lnTo>
                  <a:lnTo>
                    <a:pt x="1878915" y="194716"/>
                  </a:lnTo>
                  <a:lnTo>
                    <a:pt x="1878915" y="191351"/>
                  </a:lnTo>
                  <a:lnTo>
                    <a:pt x="1878915" y="193383"/>
                  </a:lnTo>
                  <a:lnTo>
                    <a:pt x="1878915" y="192684"/>
                  </a:lnTo>
                  <a:lnTo>
                    <a:pt x="1878965" y="192684"/>
                  </a:lnTo>
                  <a:lnTo>
                    <a:pt x="1878965" y="191351"/>
                  </a:lnTo>
                  <a:lnTo>
                    <a:pt x="1878965" y="192684"/>
                  </a:lnTo>
                  <a:lnTo>
                    <a:pt x="1879016" y="191986"/>
                  </a:lnTo>
                  <a:lnTo>
                    <a:pt x="1879016" y="191351"/>
                  </a:lnTo>
                  <a:lnTo>
                    <a:pt x="1879016" y="191986"/>
                  </a:lnTo>
                  <a:lnTo>
                    <a:pt x="1879016" y="191351"/>
                  </a:lnTo>
                  <a:lnTo>
                    <a:pt x="1879105" y="191351"/>
                  </a:lnTo>
                  <a:lnTo>
                    <a:pt x="1879105" y="193383"/>
                  </a:lnTo>
                  <a:lnTo>
                    <a:pt x="1879156" y="193383"/>
                  </a:lnTo>
                  <a:lnTo>
                    <a:pt x="1879156" y="196113"/>
                  </a:lnTo>
                  <a:lnTo>
                    <a:pt x="1879156" y="195415"/>
                  </a:lnTo>
                  <a:lnTo>
                    <a:pt x="1879156" y="196113"/>
                  </a:lnTo>
                  <a:lnTo>
                    <a:pt x="1879207" y="196799"/>
                  </a:lnTo>
                  <a:lnTo>
                    <a:pt x="1879207" y="196113"/>
                  </a:lnTo>
                  <a:lnTo>
                    <a:pt x="1879207" y="197447"/>
                  </a:lnTo>
                  <a:lnTo>
                    <a:pt x="1879207" y="196799"/>
                  </a:lnTo>
                  <a:lnTo>
                    <a:pt x="1879207" y="197447"/>
                  </a:lnTo>
                  <a:lnTo>
                    <a:pt x="1879258" y="197447"/>
                  </a:lnTo>
                  <a:lnTo>
                    <a:pt x="1879258" y="198831"/>
                  </a:lnTo>
                  <a:lnTo>
                    <a:pt x="1879258" y="196799"/>
                  </a:lnTo>
                  <a:lnTo>
                    <a:pt x="1879258" y="197447"/>
                  </a:lnTo>
                  <a:lnTo>
                    <a:pt x="1879258" y="196799"/>
                  </a:lnTo>
                  <a:lnTo>
                    <a:pt x="1879258" y="197447"/>
                  </a:lnTo>
                  <a:lnTo>
                    <a:pt x="1879359" y="197447"/>
                  </a:lnTo>
                  <a:lnTo>
                    <a:pt x="1879359" y="196799"/>
                  </a:lnTo>
                  <a:lnTo>
                    <a:pt x="1879359" y="197447"/>
                  </a:lnTo>
                  <a:lnTo>
                    <a:pt x="1879359" y="196799"/>
                  </a:lnTo>
                  <a:lnTo>
                    <a:pt x="1879410" y="196799"/>
                  </a:lnTo>
                  <a:lnTo>
                    <a:pt x="1879410" y="195415"/>
                  </a:lnTo>
                  <a:lnTo>
                    <a:pt x="1879410" y="196799"/>
                  </a:lnTo>
                  <a:lnTo>
                    <a:pt x="1879410" y="196113"/>
                  </a:lnTo>
                  <a:lnTo>
                    <a:pt x="1879461" y="196113"/>
                  </a:lnTo>
                  <a:lnTo>
                    <a:pt x="1879461" y="195415"/>
                  </a:lnTo>
                  <a:lnTo>
                    <a:pt x="1879461" y="197447"/>
                  </a:lnTo>
                  <a:lnTo>
                    <a:pt x="1879461" y="196113"/>
                  </a:lnTo>
                  <a:lnTo>
                    <a:pt x="1879562" y="196113"/>
                  </a:lnTo>
                  <a:lnTo>
                    <a:pt x="1879562" y="195415"/>
                  </a:lnTo>
                  <a:lnTo>
                    <a:pt x="1879562" y="196799"/>
                  </a:lnTo>
                  <a:lnTo>
                    <a:pt x="1879562" y="195415"/>
                  </a:lnTo>
                  <a:lnTo>
                    <a:pt x="1879562" y="196113"/>
                  </a:lnTo>
                  <a:lnTo>
                    <a:pt x="1879600" y="196113"/>
                  </a:lnTo>
                  <a:lnTo>
                    <a:pt x="1879600" y="195415"/>
                  </a:lnTo>
                  <a:lnTo>
                    <a:pt x="1879600" y="196113"/>
                  </a:lnTo>
                  <a:lnTo>
                    <a:pt x="1879600" y="195415"/>
                  </a:lnTo>
                  <a:lnTo>
                    <a:pt x="1879600" y="196113"/>
                  </a:lnTo>
                  <a:lnTo>
                    <a:pt x="1879600" y="195415"/>
                  </a:lnTo>
                  <a:lnTo>
                    <a:pt x="1879600" y="196113"/>
                  </a:lnTo>
                  <a:lnTo>
                    <a:pt x="1879651" y="196113"/>
                  </a:lnTo>
                  <a:lnTo>
                    <a:pt x="1879651" y="196799"/>
                  </a:lnTo>
                  <a:lnTo>
                    <a:pt x="1879651" y="196113"/>
                  </a:lnTo>
                  <a:lnTo>
                    <a:pt x="1879651" y="196799"/>
                  </a:lnTo>
                  <a:lnTo>
                    <a:pt x="1879651" y="196113"/>
                  </a:lnTo>
                  <a:lnTo>
                    <a:pt x="1879651" y="196799"/>
                  </a:lnTo>
                  <a:lnTo>
                    <a:pt x="1879702" y="197447"/>
                  </a:lnTo>
                  <a:lnTo>
                    <a:pt x="1879702" y="196799"/>
                  </a:lnTo>
                  <a:lnTo>
                    <a:pt x="1879702" y="197447"/>
                  </a:lnTo>
                  <a:lnTo>
                    <a:pt x="1879702" y="196113"/>
                  </a:lnTo>
                  <a:lnTo>
                    <a:pt x="1879702" y="197447"/>
                  </a:lnTo>
                  <a:lnTo>
                    <a:pt x="1879804" y="197447"/>
                  </a:lnTo>
                  <a:lnTo>
                    <a:pt x="1879804" y="196799"/>
                  </a:lnTo>
                  <a:lnTo>
                    <a:pt x="1879804" y="197447"/>
                  </a:lnTo>
                  <a:lnTo>
                    <a:pt x="1879804" y="196799"/>
                  </a:lnTo>
                  <a:lnTo>
                    <a:pt x="1879804" y="197447"/>
                  </a:lnTo>
                  <a:lnTo>
                    <a:pt x="1879855" y="197447"/>
                  </a:lnTo>
                  <a:lnTo>
                    <a:pt x="1879855" y="196113"/>
                  </a:lnTo>
                  <a:lnTo>
                    <a:pt x="1879855" y="196799"/>
                  </a:lnTo>
                  <a:lnTo>
                    <a:pt x="1879905" y="196799"/>
                  </a:lnTo>
                  <a:lnTo>
                    <a:pt x="1879905" y="196113"/>
                  </a:lnTo>
                  <a:lnTo>
                    <a:pt x="1879905" y="198831"/>
                  </a:lnTo>
                  <a:lnTo>
                    <a:pt x="1879905" y="197447"/>
                  </a:lnTo>
                  <a:lnTo>
                    <a:pt x="1879905" y="198831"/>
                  </a:lnTo>
                  <a:lnTo>
                    <a:pt x="1879905" y="196113"/>
                  </a:lnTo>
                  <a:lnTo>
                    <a:pt x="1880007" y="196799"/>
                  </a:lnTo>
                  <a:lnTo>
                    <a:pt x="1880007" y="199530"/>
                  </a:lnTo>
                  <a:lnTo>
                    <a:pt x="1880007" y="197447"/>
                  </a:lnTo>
                  <a:lnTo>
                    <a:pt x="1880007" y="198831"/>
                  </a:lnTo>
                  <a:lnTo>
                    <a:pt x="1880007" y="197447"/>
                  </a:lnTo>
                  <a:lnTo>
                    <a:pt x="1880058" y="197447"/>
                  </a:lnTo>
                  <a:lnTo>
                    <a:pt x="1880058" y="198831"/>
                  </a:lnTo>
                  <a:lnTo>
                    <a:pt x="1880058" y="197447"/>
                  </a:lnTo>
                  <a:lnTo>
                    <a:pt x="1880058" y="198831"/>
                  </a:lnTo>
                  <a:lnTo>
                    <a:pt x="1880058" y="197447"/>
                  </a:lnTo>
                  <a:lnTo>
                    <a:pt x="1880109" y="197447"/>
                  </a:lnTo>
                  <a:lnTo>
                    <a:pt x="1880109" y="198831"/>
                  </a:lnTo>
                  <a:lnTo>
                    <a:pt x="1880109" y="197447"/>
                  </a:lnTo>
                  <a:lnTo>
                    <a:pt x="1880109" y="198831"/>
                  </a:lnTo>
                  <a:lnTo>
                    <a:pt x="1880109" y="197447"/>
                  </a:lnTo>
                  <a:lnTo>
                    <a:pt x="1880109" y="198831"/>
                  </a:lnTo>
                  <a:lnTo>
                    <a:pt x="1880109" y="197447"/>
                  </a:lnTo>
                  <a:lnTo>
                    <a:pt x="1880147" y="198831"/>
                  </a:lnTo>
                  <a:lnTo>
                    <a:pt x="1880147" y="197447"/>
                  </a:lnTo>
                  <a:lnTo>
                    <a:pt x="1880147" y="198831"/>
                  </a:lnTo>
                  <a:lnTo>
                    <a:pt x="1880147" y="197447"/>
                  </a:lnTo>
                  <a:lnTo>
                    <a:pt x="1880147" y="198831"/>
                  </a:lnTo>
                  <a:lnTo>
                    <a:pt x="1880248" y="198831"/>
                  </a:lnTo>
                  <a:lnTo>
                    <a:pt x="1880248" y="197447"/>
                  </a:lnTo>
                  <a:lnTo>
                    <a:pt x="1880248" y="198831"/>
                  </a:lnTo>
                  <a:lnTo>
                    <a:pt x="1880248" y="197447"/>
                  </a:lnTo>
                  <a:lnTo>
                    <a:pt x="1880299" y="197447"/>
                  </a:lnTo>
                  <a:lnTo>
                    <a:pt x="1880299" y="196799"/>
                  </a:lnTo>
                  <a:lnTo>
                    <a:pt x="1880299" y="197447"/>
                  </a:lnTo>
                  <a:lnTo>
                    <a:pt x="1880299" y="196799"/>
                  </a:lnTo>
                  <a:lnTo>
                    <a:pt x="1880350" y="196799"/>
                  </a:lnTo>
                  <a:lnTo>
                    <a:pt x="1880350" y="196113"/>
                  </a:lnTo>
                  <a:lnTo>
                    <a:pt x="1880350" y="196799"/>
                  </a:lnTo>
                  <a:lnTo>
                    <a:pt x="1880350" y="195415"/>
                  </a:lnTo>
                  <a:lnTo>
                    <a:pt x="1880451" y="195415"/>
                  </a:lnTo>
                  <a:lnTo>
                    <a:pt x="1880451" y="197447"/>
                  </a:lnTo>
                  <a:lnTo>
                    <a:pt x="1880451" y="196113"/>
                  </a:lnTo>
                  <a:lnTo>
                    <a:pt x="1880451" y="196799"/>
                  </a:lnTo>
                  <a:lnTo>
                    <a:pt x="1880502" y="197447"/>
                  </a:lnTo>
                  <a:lnTo>
                    <a:pt x="1880502" y="199530"/>
                  </a:lnTo>
                  <a:lnTo>
                    <a:pt x="1880502" y="197447"/>
                  </a:lnTo>
                  <a:lnTo>
                    <a:pt x="1880502" y="198831"/>
                  </a:lnTo>
                  <a:lnTo>
                    <a:pt x="1880553" y="198831"/>
                  </a:lnTo>
                  <a:lnTo>
                    <a:pt x="1880553" y="199530"/>
                  </a:lnTo>
                  <a:lnTo>
                    <a:pt x="1880553" y="198831"/>
                  </a:lnTo>
                  <a:lnTo>
                    <a:pt x="1880553" y="199530"/>
                  </a:lnTo>
                  <a:lnTo>
                    <a:pt x="1880553" y="198831"/>
                  </a:lnTo>
                  <a:lnTo>
                    <a:pt x="1880553" y="200228"/>
                  </a:lnTo>
                  <a:lnTo>
                    <a:pt x="1880604" y="200228"/>
                  </a:lnTo>
                  <a:lnTo>
                    <a:pt x="1880604" y="199530"/>
                  </a:lnTo>
                  <a:lnTo>
                    <a:pt x="1880604" y="200228"/>
                  </a:lnTo>
                  <a:lnTo>
                    <a:pt x="1880604" y="199530"/>
                  </a:lnTo>
                  <a:lnTo>
                    <a:pt x="1880604" y="200228"/>
                  </a:lnTo>
                  <a:lnTo>
                    <a:pt x="1880693" y="200228"/>
                  </a:lnTo>
                  <a:lnTo>
                    <a:pt x="1880693" y="199530"/>
                  </a:lnTo>
                  <a:lnTo>
                    <a:pt x="1880693" y="200228"/>
                  </a:lnTo>
                  <a:lnTo>
                    <a:pt x="1880744" y="200228"/>
                  </a:lnTo>
                  <a:lnTo>
                    <a:pt x="1880744" y="199530"/>
                  </a:lnTo>
                  <a:lnTo>
                    <a:pt x="1880744" y="200228"/>
                  </a:lnTo>
                  <a:lnTo>
                    <a:pt x="1880744" y="199530"/>
                  </a:lnTo>
                  <a:lnTo>
                    <a:pt x="1880744" y="200228"/>
                  </a:lnTo>
                  <a:lnTo>
                    <a:pt x="1880744" y="199530"/>
                  </a:lnTo>
                  <a:lnTo>
                    <a:pt x="1880744" y="200228"/>
                  </a:lnTo>
                  <a:lnTo>
                    <a:pt x="1880744" y="199530"/>
                  </a:lnTo>
                  <a:lnTo>
                    <a:pt x="1880794" y="199530"/>
                  </a:lnTo>
                  <a:lnTo>
                    <a:pt x="1880794" y="200228"/>
                  </a:lnTo>
                  <a:lnTo>
                    <a:pt x="1880794" y="198831"/>
                  </a:lnTo>
                  <a:lnTo>
                    <a:pt x="1880794" y="200228"/>
                  </a:lnTo>
                  <a:lnTo>
                    <a:pt x="1880845" y="200228"/>
                  </a:lnTo>
                  <a:lnTo>
                    <a:pt x="1880845" y="202959"/>
                  </a:lnTo>
                  <a:lnTo>
                    <a:pt x="1880947" y="202959"/>
                  </a:lnTo>
                  <a:lnTo>
                    <a:pt x="1880947" y="200876"/>
                  </a:lnTo>
                  <a:lnTo>
                    <a:pt x="1880947" y="203594"/>
                  </a:lnTo>
                  <a:lnTo>
                    <a:pt x="1880947" y="202959"/>
                  </a:lnTo>
                  <a:lnTo>
                    <a:pt x="1880997" y="202959"/>
                  </a:lnTo>
                  <a:lnTo>
                    <a:pt x="1880997" y="200876"/>
                  </a:lnTo>
                  <a:lnTo>
                    <a:pt x="1880997" y="202959"/>
                  </a:lnTo>
                  <a:lnTo>
                    <a:pt x="1880997" y="202260"/>
                  </a:lnTo>
                  <a:lnTo>
                    <a:pt x="1881048" y="202260"/>
                  </a:lnTo>
                  <a:lnTo>
                    <a:pt x="1881048" y="202959"/>
                  </a:lnTo>
                  <a:lnTo>
                    <a:pt x="1881048" y="202260"/>
                  </a:lnTo>
                  <a:lnTo>
                    <a:pt x="1881048" y="202959"/>
                  </a:lnTo>
                  <a:lnTo>
                    <a:pt x="1881048" y="202260"/>
                  </a:lnTo>
                  <a:lnTo>
                    <a:pt x="1881048" y="202959"/>
                  </a:lnTo>
                  <a:lnTo>
                    <a:pt x="1881048" y="202260"/>
                  </a:lnTo>
                  <a:lnTo>
                    <a:pt x="1881150" y="202260"/>
                  </a:lnTo>
                  <a:lnTo>
                    <a:pt x="1881150" y="200876"/>
                  </a:lnTo>
                  <a:lnTo>
                    <a:pt x="1881150" y="202260"/>
                  </a:lnTo>
                  <a:lnTo>
                    <a:pt x="1881188" y="202260"/>
                  </a:lnTo>
                  <a:lnTo>
                    <a:pt x="1881188" y="200228"/>
                  </a:lnTo>
                  <a:lnTo>
                    <a:pt x="1881188" y="202260"/>
                  </a:lnTo>
                  <a:lnTo>
                    <a:pt x="1881239" y="202959"/>
                  </a:lnTo>
                  <a:lnTo>
                    <a:pt x="1881239" y="202260"/>
                  </a:lnTo>
                  <a:lnTo>
                    <a:pt x="1881239" y="202959"/>
                  </a:lnTo>
                  <a:lnTo>
                    <a:pt x="1881239" y="202260"/>
                  </a:lnTo>
                  <a:lnTo>
                    <a:pt x="1881239" y="204990"/>
                  </a:lnTo>
                  <a:lnTo>
                    <a:pt x="1881290" y="204990"/>
                  </a:lnTo>
                  <a:lnTo>
                    <a:pt x="1881290" y="206324"/>
                  </a:lnTo>
                  <a:lnTo>
                    <a:pt x="1881290" y="204292"/>
                  </a:lnTo>
                  <a:lnTo>
                    <a:pt x="1881290" y="206324"/>
                  </a:lnTo>
                  <a:lnTo>
                    <a:pt x="1881391" y="206324"/>
                  </a:lnTo>
                  <a:lnTo>
                    <a:pt x="1881391" y="204990"/>
                  </a:lnTo>
                  <a:lnTo>
                    <a:pt x="1881391" y="206324"/>
                  </a:lnTo>
                  <a:lnTo>
                    <a:pt x="1881391" y="204990"/>
                  </a:lnTo>
                  <a:lnTo>
                    <a:pt x="1881391" y="206324"/>
                  </a:lnTo>
                  <a:lnTo>
                    <a:pt x="1881442" y="206324"/>
                  </a:lnTo>
                  <a:lnTo>
                    <a:pt x="1881442" y="204990"/>
                  </a:lnTo>
                  <a:lnTo>
                    <a:pt x="1881442" y="206324"/>
                  </a:lnTo>
                  <a:lnTo>
                    <a:pt x="1881442" y="204990"/>
                  </a:lnTo>
                  <a:lnTo>
                    <a:pt x="1881442" y="206324"/>
                  </a:lnTo>
                  <a:lnTo>
                    <a:pt x="1881442" y="204990"/>
                  </a:lnTo>
                  <a:lnTo>
                    <a:pt x="1881442" y="206324"/>
                  </a:lnTo>
                  <a:lnTo>
                    <a:pt x="1881442" y="204990"/>
                  </a:lnTo>
                  <a:lnTo>
                    <a:pt x="1881442" y="206324"/>
                  </a:lnTo>
                  <a:lnTo>
                    <a:pt x="1881442" y="204990"/>
                  </a:lnTo>
                  <a:lnTo>
                    <a:pt x="1881442" y="206324"/>
                  </a:lnTo>
                  <a:lnTo>
                    <a:pt x="1881493" y="204990"/>
                  </a:lnTo>
                  <a:lnTo>
                    <a:pt x="1881493" y="204292"/>
                  </a:lnTo>
                  <a:lnTo>
                    <a:pt x="1881493" y="204990"/>
                  </a:lnTo>
                  <a:lnTo>
                    <a:pt x="1881493" y="204292"/>
                  </a:lnTo>
                  <a:lnTo>
                    <a:pt x="1881493" y="204990"/>
                  </a:lnTo>
                  <a:lnTo>
                    <a:pt x="1881493" y="204292"/>
                  </a:lnTo>
                  <a:lnTo>
                    <a:pt x="1881493" y="204990"/>
                  </a:lnTo>
                  <a:lnTo>
                    <a:pt x="1881594" y="204990"/>
                  </a:lnTo>
                  <a:lnTo>
                    <a:pt x="1881594" y="203594"/>
                  </a:lnTo>
                  <a:lnTo>
                    <a:pt x="1881594" y="204292"/>
                  </a:lnTo>
                  <a:lnTo>
                    <a:pt x="1881594" y="203594"/>
                  </a:lnTo>
                  <a:lnTo>
                    <a:pt x="1881645" y="203594"/>
                  </a:lnTo>
                  <a:lnTo>
                    <a:pt x="1881645" y="200876"/>
                  </a:lnTo>
                  <a:lnTo>
                    <a:pt x="1881645" y="202260"/>
                  </a:lnTo>
                  <a:lnTo>
                    <a:pt x="1881645" y="200876"/>
                  </a:lnTo>
                  <a:lnTo>
                    <a:pt x="1881696" y="200228"/>
                  </a:lnTo>
                  <a:lnTo>
                    <a:pt x="1881696" y="199530"/>
                  </a:lnTo>
                  <a:lnTo>
                    <a:pt x="1881696" y="200228"/>
                  </a:lnTo>
                  <a:lnTo>
                    <a:pt x="1881696" y="199530"/>
                  </a:lnTo>
                  <a:lnTo>
                    <a:pt x="1881696" y="202260"/>
                  </a:lnTo>
                  <a:lnTo>
                    <a:pt x="1881696" y="200876"/>
                  </a:lnTo>
                  <a:lnTo>
                    <a:pt x="1881734" y="200876"/>
                  </a:lnTo>
                  <a:lnTo>
                    <a:pt x="1881734" y="199530"/>
                  </a:lnTo>
                  <a:lnTo>
                    <a:pt x="1881734" y="202959"/>
                  </a:lnTo>
                  <a:lnTo>
                    <a:pt x="1881734" y="202260"/>
                  </a:lnTo>
                  <a:lnTo>
                    <a:pt x="1881836" y="202260"/>
                  </a:lnTo>
                  <a:lnTo>
                    <a:pt x="1881836" y="200876"/>
                  </a:lnTo>
                  <a:lnTo>
                    <a:pt x="1881836" y="203594"/>
                  </a:lnTo>
                  <a:lnTo>
                    <a:pt x="1881836" y="202959"/>
                  </a:lnTo>
                  <a:lnTo>
                    <a:pt x="1881887" y="202959"/>
                  </a:lnTo>
                  <a:lnTo>
                    <a:pt x="1881887" y="203594"/>
                  </a:lnTo>
                  <a:lnTo>
                    <a:pt x="1881937" y="203594"/>
                  </a:lnTo>
                  <a:lnTo>
                    <a:pt x="1881937" y="204292"/>
                  </a:lnTo>
                  <a:lnTo>
                    <a:pt x="1881937" y="203594"/>
                  </a:lnTo>
                  <a:lnTo>
                    <a:pt x="1881937" y="204292"/>
                  </a:lnTo>
                  <a:lnTo>
                    <a:pt x="1881937" y="203594"/>
                  </a:lnTo>
                  <a:lnTo>
                    <a:pt x="1881937" y="204292"/>
                  </a:lnTo>
                  <a:lnTo>
                    <a:pt x="1882039" y="204292"/>
                  </a:lnTo>
                  <a:lnTo>
                    <a:pt x="1882039" y="203594"/>
                  </a:lnTo>
                  <a:lnTo>
                    <a:pt x="1882039" y="204292"/>
                  </a:lnTo>
                  <a:lnTo>
                    <a:pt x="1882039" y="203594"/>
                  </a:lnTo>
                  <a:lnTo>
                    <a:pt x="1882039" y="204292"/>
                  </a:lnTo>
                  <a:lnTo>
                    <a:pt x="1882039" y="203594"/>
                  </a:lnTo>
                  <a:lnTo>
                    <a:pt x="1882090" y="203594"/>
                  </a:lnTo>
                  <a:lnTo>
                    <a:pt x="1882090" y="204292"/>
                  </a:lnTo>
                  <a:lnTo>
                    <a:pt x="1882090" y="202959"/>
                  </a:lnTo>
                  <a:lnTo>
                    <a:pt x="1882140" y="202260"/>
                  </a:lnTo>
                  <a:lnTo>
                    <a:pt x="1882140" y="199530"/>
                  </a:lnTo>
                  <a:lnTo>
                    <a:pt x="1882140" y="200228"/>
                  </a:lnTo>
                  <a:lnTo>
                    <a:pt x="1882191" y="199530"/>
                  </a:lnTo>
                  <a:lnTo>
                    <a:pt x="1882191" y="198831"/>
                  </a:lnTo>
                  <a:lnTo>
                    <a:pt x="1882191" y="199530"/>
                  </a:lnTo>
                  <a:lnTo>
                    <a:pt x="1882280" y="199530"/>
                  </a:lnTo>
                  <a:lnTo>
                    <a:pt x="1882280" y="197447"/>
                  </a:lnTo>
                  <a:lnTo>
                    <a:pt x="1882280" y="200228"/>
                  </a:lnTo>
                  <a:lnTo>
                    <a:pt x="1882280" y="199530"/>
                  </a:lnTo>
                  <a:lnTo>
                    <a:pt x="1882331" y="199530"/>
                  </a:lnTo>
                  <a:lnTo>
                    <a:pt x="1882331" y="200228"/>
                  </a:lnTo>
                  <a:lnTo>
                    <a:pt x="1882331" y="199530"/>
                  </a:lnTo>
                  <a:lnTo>
                    <a:pt x="1882331" y="200876"/>
                  </a:lnTo>
                  <a:lnTo>
                    <a:pt x="1882331" y="200228"/>
                  </a:lnTo>
                  <a:lnTo>
                    <a:pt x="1882382" y="200228"/>
                  </a:lnTo>
                  <a:lnTo>
                    <a:pt x="1882382" y="200876"/>
                  </a:lnTo>
                  <a:lnTo>
                    <a:pt x="1882382" y="200228"/>
                  </a:lnTo>
                  <a:lnTo>
                    <a:pt x="1882382" y="200876"/>
                  </a:lnTo>
                  <a:lnTo>
                    <a:pt x="1882382" y="200228"/>
                  </a:lnTo>
                  <a:lnTo>
                    <a:pt x="1882382" y="200876"/>
                  </a:lnTo>
                  <a:lnTo>
                    <a:pt x="1882382" y="200228"/>
                  </a:lnTo>
                  <a:lnTo>
                    <a:pt x="1882382" y="200876"/>
                  </a:lnTo>
                  <a:lnTo>
                    <a:pt x="1882382" y="200228"/>
                  </a:lnTo>
                  <a:lnTo>
                    <a:pt x="1882382" y="200876"/>
                  </a:lnTo>
                  <a:lnTo>
                    <a:pt x="1882433" y="200876"/>
                  </a:lnTo>
                  <a:lnTo>
                    <a:pt x="1882433" y="202260"/>
                  </a:lnTo>
                  <a:lnTo>
                    <a:pt x="1882433" y="200876"/>
                  </a:lnTo>
                  <a:lnTo>
                    <a:pt x="1882433" y="202260"/>
                  </a:lnTo>
                  <a:lnTo>
                    <a:pt x="1882433" y="200876"/>
                  </a:lnTo>
                  <a:lnTo>
                    <a:pt x="1882433" y="202260"/>
                  </a:lnTo>
                  <a:lnTo>
                    <a:pt x="1882534" y="202959"/>
                  </a:lnTo>
                  <a:lnTo>
                    <a:pt x="1882585" y="202959"/>
                  </a:lnTo>
                  <a:lnTo>
                    <a:pt x="1882585" y="202260"/>
                  </a:lnTo>
                  <a:lnTo>
                    <a:pt x="1882636" y="202260"/>
                  </a:lnTo>
                  <a:lnTo>
                    <a:pt x="1882636" y="200876"/>
                  </a:lnTo>
                  <a:lnTo>
                    <a:pt x="1882636" y="202260"/>
                  </a:lnTo>
                  <a:lnTo>
                    <a:pt x="1882636" y="199530"/>
                  </a:lnTo>
                  <a:lnTo>
                    <a:pt x="1882737" y="199530"/>
                  </a:lnTo>
                  <a:lnTo>
                    <a:pt x="1882737" y="198831"/>
                  </a:lnTo>
                  <a:lnTo>
                    <a:pt x="1882737" y="199530"/>
                  </a:lnTo>
                  <a:lnTo>
                    <a:pt x="1882737" y="198831"/>
                  </a:lnTo>
                  <a:lnTo>
                    <a:pt x="1882775" y="198831"/>
                  </a:lnTo>
                  <a:lnTo>
                    <a:pt x="1882775" y="200228"/>
                  </a:lnTo>
                  <a:lnTo>
                    <a:pt x="1882775" y="199530"/>
                  </a:lnTo>
                  <a:lnTo>
                    <a:pt x="1882877" y="199530"/>
                  </a:lnTo>
                  <a:lnTo>
                    <a:pt x="1882877" y="200228"/>
                  </a:lnTo>
                  <a:lnTo>
                    <a:pt x="1882979" y="200228"/>
                  </a:lnTo>
                  <a:lnTo>
                    <a:pt x="1882979" y="200876"/>
                  </a:lnTo>
                  <a:lnTo>
                    <a:pt x="1882979" y="200228"/>
                  </a:lnTo>
                  <a:lnTo>
                    <a:pt x="1882979" y="200876"/>
                  </a:lnTo>
                  <a:lnTo>
                    <a:pt x="1883030" y="200228"/>
                  </a:lnTo>
                  <a:lnTo>
                    <a:pt x="1883030" y="200876"/>
                  </a:lnTo>
                  <a:lnTo>
                    <a:pt x="1883030" y="200228"/>
                  </a:lnTo>
                  <a:lnTo>
                    <a:pt x="1883030" y="202260"/>
                  </a:lnTo>
                  <a:lnTo>
                    <a:pt x="1883030" y="200228"/>
                  </a:lnTo>
                  <a:lnTo>
                    <a:pt x="1883080" y="200228"/>
                  </a:lnTo>
                  <a:lnTo>
                    <a:pt x="1883080" y="200876"/>
                  </a:lnTo>
                  <a:lnTo>
                    <a:pt x="1883080" y="200228"/>
                  </a:lnTo>
                  <a:lnTo>
                    <a:pt x="1883080" y="200876"/>
                  </a:lnTo>
                  <a:lnTo>
                    <a:pt x="1883080" y="199530"/>
                  </a:lnTo>
                  <a:lnTo>
                    <a:pt x="1883182" y="199530"/>
                  </a:lnTo>
                  <a:lnTo>
                    <a:pt x="1883182" y="197447"/>
                  </a:lnTo>
                  <a:lnTo>
                    <a:pt x="1883182" y="198831"/>
                  </a:lnTo>
                  <a:lnTo>
                    <a:pt x="1883182" y="197447"/>
                  </a:lnTo>
                  <a:lnTo>
                    <a:pt x="1883233" y="198831"/>
                  </a:lnTo>
                  <a:lnTo>
                    <a:pt x="1883233" y="199530"/>
                  </a:lnTo>
                  <a:lnTo>
                    <a:pt x="1883233" y="197447"/>
                  </a:lnTo>
                  <a:lnTo>
                    <a:pt x="1883284" y="197447"/>
                  </a:lnTo>
                  <a:lnTo>
                    <a:pt x="1883284" y="200228"/>
                  </a:lnTo>
                  <a:lnTo>
                    <a:pt x="1883284" y="199530"/>
                  </a:lnTo>
                  <a:lnTo>
                    <a:pt x="1883322" y="199530"/>
                  </a:lnTo>
                  <a:lnTo>
                    <a:pt x="1883322" y="198831"/>
                  </a:lnTo>
                  <a:lnTo>
                    <a:pt x="1883322" y="200228"/>
                  </a:lnTo>
                  <a:lnTo>
                    <a:pt x="1883322" y="199530"/>
                  </a:lnTo>
                  <a:lnTo>
                    <a:pt x="1883423" y="199530"/>
                  </a:lnTo>
                  <a:lnTo>
                    <a:pt x="1883423" y="198831"/>
                  </a:lnTo>
                  <a:lnTo>
                    <a:pt x="1883423" y="199530"/>
                  </a:lnTo>
                  <a:lnTo>
                    <a:pt x="1883423" y="198831"/>
                  </a:lnTo>
                  <a:lnTo>
                    <a:pt x="1883423" y="199530"/>
                  </a:lnTo>
                  <a:lnTo>
                    <a:pt x="1883423" y="198831"/>
                  </a:lnTo>
                  <a:lnTo>
                    <a:pt x="1883423" y="199530"/>
                  </a:lnTo>
                  <a:lnTo>
                    <a:pt x="1883423" y="198831"/>
                  </a:lnTo>
                  <a:lnTo>
                    <a:pt x="1883474" y="199530"/>
                  </a:lnTo>
                  <a:lnTo>
                    <a:pt x="1883474" y="200228"/>
                  </a:lnTo>
                  <a:lnTo>
                    <a:pt x="1883474" y="199530"/>
                  </a:lnTo>
                  <a:lnTo>
                    <a:pt x="1883474" y="200228"/>
                  </a:lnTo>
                  <a:lnTo>
                    <a:pt x="1883474" y="199530"/>
                  </a:lnTo>
                  <a:lnTo>
                    <a:pt x="1883474" y="200228"/>
                  </a:lnTo>
                  <a:lnTo>
                    <a:pt x="1883474" y="199530"/>
                  </a:lnTo>
                  <a:lnTo>
                    <a:pt x="1883525" y="199530"/>
                  </a:lnTo>
                  <a:lnTo>
                    <a:pt x="1883525" y="200228"/>
                  </a:lnTo>
                  <a:lnTo>
                    <a:pt x="1883525" y="199530"/>
                  </a:lnTo>
                  <a:lnTo>
                    <a:pt x="1883525" y="200228"/>
                  </a:lnTo>
                  <a:lnTo>
                    <a:pt x="1883525" y="199530"/>
                  </a:lnTo>
                  <a:lnTo>
                    <a:pt x="1883525" y="200228"/>
                  </a:lnTo>
                  <a:lnTo>
                    <a:pt x="1883626" y="200228"/>
                  </a:lnTo>
                  <a:lnTo>
                    <a:pt x="1883626" y="199530"/>
                  </a:lnTo>
                  <a:lnTo>
                    <a:pt x="1883626" y="200228"/>
                  </a:lnTo>
                  <a:lnTo>
                    <a:pt x="1883626" y="198831"/>
                  </a:lnTo>
                  <a:lnTo>
                    <a:pt x="1883626" y="199530"/>
                  </a:lnTo>
                  <a:lnTo>
                    <a:pt x="1883626" y="198831"/>
                  </a:lnTo>
                  <a:lnTo>
                    <a:pt x="1883677" y="198831"/>
                  </a:lnTo>
                  <a:lnTo>
                    <a:pt x="1883677" y="196799"/>
                  </a:lnTo>
                  <a:lnTo>
                    <a:pt x="1883728" y="196799"/>
                  </a:lnTo>
                  <a:lnTo>
                    <a:pt x="1883728" y="196113"/>
                  </a:lnTo>
                  <a:lnTo>
                    <a:pt x="1883728" y="197447"/>
                  </a:lnTo>
                  <a:lnTo>
                    <a:pt x="1883728" y="196113"/>
                  </a:lnTo>
                  <a:lnTo>
                    <a:pt x="1883779" y="196113"/>
                  </a:lnTo>
                  <a:lnTo>
                    <a:pt x="1883779" y="194716"/>
                  </a:lnTo>
                  <a:lnTo>
                    <a:pt x="1883779" y="198831"/>
                  </a:lnTo>
                  <a:lnTo>
                    <a:pt x="1883779" y="196113"/>
                  </a:lnTo>
                  <a:lnTo>
                    <a:pt x="1883868" y="196113"/>
                  </a:lnTo>
                  <a:lnTo>
                    <a:pt x="1883868" y="198831"/>
                  </a:lnTo>
                  <a:lnTo>
                    <a:pt x="1883868" y="196113"/>
                  </a:lnTo>
                  <a:lnTo>
                    <a:pt x="1883919" y="196113"/>
                  </a:lnTo>
                  <a:lnTo>
                    <a:pt x="1883919" y="198831"/>
                  </a:lnTo>
                  <a:lnTo>
                    <a:pt x="1883919" y="197447"/>
                  </a:lnTo>
                  <a:lnTo>
                    <a:pt x="1883969" y="197447"/>
                  </a:lnTo>
                  <a:lnTo>
                    <a:pt x="1883969" y="198831"/>
                  </a:lnTo>
                  <a:lnTo>
                    <a:pt x="1883969" y="197447"/>
                  </a:lnTo>
                  <a:lnTo>
                    <a:pt x="1883969" y="198831"/>
                  </a:lnTo>
                  <a:lnTo>
                    <a:pt x="1883969" y="197447"/>
                  </a:lnTo>
                  <a:lnTo>
                    <a:pt x="1883969" y="198831"/>
                  </a:lnTo>
                  <a:lnTo>
                    <a:pt x="1884020" y="198831"/>
                  </a:lnTo>
                  <a:lnTo>
                    <a:pt x="1884020" y="199530"/>
                  </a:lnTo>
                  <a:lnTo>
                    <a:pt x="1884020" y="198831"/>
                  </a:lnTo>
                  <a:lnTo>
                    <a:pt x="1884020" y="199530"/>
                  </a:lnTo>
                  <a:lnTo>
                    <a:pt x="1884020" y="198831"/>
                  </a:lnTo>
                  <a:lnTo>
                    <a:pt x="1884122" y="198831"/>
                  </a:lnTo>
                  <a:lnTo>
                    <a:pt x="1884122" y="199530"/>
                  </a:lnTo>
                  <a:lnTo>
                    <a:pt x="1884122" y="197447"/>
                  </a:lnTo>
                  <a:lnTo>
                    <a:pt x="1884172" y="197447"/>
                  </a:lnTo>
                  <a:lnTo>
                    <a:pt x="1884172" y="196799"/>
                  </a:lnTo>
                  <a:lnTo>
                    <a:pt x="1884172" y="197447"/>
                  </a:lnTo>
                  <a:lnTo>
                    <a:pt x="1884172" y="196799"/>
                  </a:lnTo>
                  <a:lnTo>
                    <a:pt x="1884172" y="197447"/>
                  </a:lnTo>
                  <a:lnTo>
                    <a:pt x="1884172" y="196799"/>
                  </a:lnTo>
                  <a:lnTo>
                    <a:pt x="1884172" y="197447"/>
                  </a:lnTo>
                  <a:lnTo>
                    <a:pt x="1884172" y="196113"/>
                  </a:lnTo>
                  <a:lnTo>
                    <a:pt x="1884223" y="196113"/>
                  </a:lnTo>
                  <a:lnTo>
                    <a:pt x="1884223" y="197447"/>
                  </a:lnTo>
                  <a:lnTo>
                    <a:pt x="1884223" y="196113"/>
                  </a:lnTo>
                  <a:lnTo>
                    <a:pt x="1884325" y="196799"/>
                  </a:lnTo>
                  <a:lnTo>
                    <a:pt x="1884325" y="199530"/>
                  </a:lnTo>
                  <a:lnTo>
                    <a:pt x="1884325" y="197447"/>
                  </a:lnTo>
                  <a:lnTo>
                    <a:pt x="1884363" y="197447"/>
                  </a:lnTo>
                  <a:lnTo>
                    <a:pt x="1884363" y="198831"/>
                  </a:lnTo>
                  <a:lnTo>
                    <a:pt x="1884363" y="197447"/>
                  </a:lnTo>
                  <a:lnTo>
                    <a:pt x="1884363" y="198831"/>
                  </a:lnTo>
                  <a:lnTo>
                    <a:pt x="1884414" y="198831"/>
                  </a:lnTo>
                  <a:lnTo>
                    <a:pt x="1884414" y="197447"/>
                  </a:lnTo>
                  <a:lnTo>
                    <a:pt x="1884414" y="198831"/>
                  </a:lnTo>
                  <a:lnTo>
                    <a:pt x="1884465" y="198831"/>
                  </a:lnTo>
                  <a:lnTo>
                    <a:pt x="1884465" y="199530"/>
                  </a:lnTo>
                  <a:lnTo>
                    <a:pt x="1884465" y="198831"/>
                  </a:lnTo>
                  <a:lnTo>
                    <a:pt x="1884465" y="199530"/>
                  </a:lnTo>
                  <a:lnTo>
                    <a:pt x="1884566" y="199530"/>
                  </a:lnTo>
                  <a:lnTo>
                    <a:pt x="1884566" y="198831"/>
                  </a:lnTo>
                  <a:lnTo>
                    <a:pt x="1884566" y="199530"/>
                  </a:lnTo>
                  <a:lnTo>
                    <a:pt x="1884566" y="198831"/>
                  </a:lnTo>
                  <a:lnTo>
                    <a:pt x="1884566" y="199530"/>
                  </a:lnTo>
                  <a:lnTo>
                    <a:pt x="1884617" y="198831"/>
                  </a:lnTo>
                  <a:lnTo>
                    <a:pt x="1884617" y="199530"/>
                  </a:lnTo>
                  <a:lnTo>
                    <a:pt x="1884617" y="198831"/>
                  </a:lnTo>
                  <a:lnTo>
                    <a:pt x="1884668" y="198831"/>
                  </a:lnTo>
                  <a:lnTo>
                    <a:pt x="1884668" y="196799"/>
                  </a:lnTo>
                  <a:lnTo>
                    <a:pt x="1884769" y="196799"/>
                  </a:lnTo>
                  <a:lnTo>
                    <a:pt x="1884769" y="197447"/>
                  </a:lnTo>
                  <a:lnTo>
                    <a:pt x="1884769" y="196799"/>
                  </a:lnTo>
                  <a:lnTo>
                    <a:pt x="1884769" y="197447"/>
                  </a:lnTo>
                  <a:lnTo>
                    <a:pt x="1884769" y="196799"/>
                  </a:lnTo>
                  <a:lnTo>
                    <a:pt x="1884769" y="197447"/>
                  </a:lnTo>
                  <a:lnTo>
                    <a:pt x="1884769" y="196113"/>
                  </a:lnTo>
                  <a:lnTo>
                    <a:pt x="1884769" y="196799"/>
                  </a:lnTo>
                  <a:lnTo>
                    <a:pt x="1884820" y="197447"/>
                  </a:lnTo>
                  <a:lnTo>
                    <a:pt x="1884820" y="198831"/>
                  </a:lnTo>
                  <a:lnTo>
                    <a:pt x="1884820" y="197447"/>
                  </a:lnTo>
                  <a:lnTo>
                    <a:pt x="1884820" y="198831"/>
                  </a:lnTo>
                  <a:lnTo>
                    <a:pt x="1884871" y="198831"/>
                  </a:lnTo>
                  <a:lnTo>
                    <a:pt x="1884871" y="199530"/>
                  </a:lnTo>
                  <a:lnTo>
                    <a:pt x="1884871" y="198831"/>
                  </a:lnTo>
                  <a:lnTo>
                    <a:pt x="1884871" y="199530"/>
                  </a:lnTo>
                  <a:lnTo>
                    <a:pt x="1884871" y="197447"/>
                  </a:lnTo>
                  <a:lnTo>
                    <a:pt x="1884871" y="198831"/>
                  </a:lnTo>
                  <a:lnTo>
                    <a:pt x="1884909" y="198831"/>
                  </a:lnTo>
                  <a:lnTo>
                    <a:pt x="1884909" y="199530"/>
                  </a:lnTo>
                  <a:lnTo>
                    <a:pt x="1884909" y="198831"/>
                  </a:lnTo>
                  <a:lnTo>
                    <a:pt x="1884909" y="199530"/>
                  </a:lnTo>
                  <a:lnTo>
                    <a:pt x="1884909" y="198831"/>
                  </a:lnTo>
                  <a:lnTo>
                    <a:pt x="1885011" y="199530"/>
                  </a:lnTo>
                  <a:lnTo>
                    <a:pt x="1885011" y="198831"/>
                  </a:lnTo>
                  <a:lnTo>
                    <a:pt x="1885011" y="200228"/>
                  </a:lnTo>
                  <a:lnTo>
                    <a:pt x="1885011" y="198831"/>
                  </a:lnTo>
                  <a:lnTo>
                    <a:pt x="1885011" y="199530"/>
                  </a:lnTo>
                  <a:lnTo>
                    <a:pt x="1885062" y="198831"/>
                  </a:lnTo>
                  <a:lnTo>
                    <a:pt x="1885062" y="199530"/>
                  </a:lnTo>
                  <a:lnTo>
                    <a:pt x="1885062" y="198831"/>
                  </a:lnTo>
                  <a:lnTo>
                    <a:pt x="1885062" y="199530"/>
                  </a:lnTo>
                  <a:lnTo>
                    <a:pt x="1885062" y="198831"/>
                  </a:lnTo>
                  <a:lnTo>
                    <a:pt x="1885112" y="198831"/>
                  </a:lnTo>
                  <a:lnTo>
                    <a:pt x="1885112" y="197447"/>
                  </a:lnTo>
                  <a:lnTo>
                    <a:pt x="1885112" y="198831"/>
                  </a:lnTo>
                  <a:lnTo>
                    <a:pt x="1885112" y="197447"/>
                  </a:lnTo>
                  <a:lnTo>
                    <a:pt x="1885112" y="198831"/>
                  </a:lnTo>
                  <a:lnTo>
                    <a:pt x="1885214" y="198831"/>
                  </a:lnTo>
                  <a:lnTo>
                    <a:pt x="1885214" y="196113"/>
                  </a:lnTo>
                  <a:lnTo>
                    <a:pt x="1885214" y="196799"/>
                  </a:lnTo>
                  <a:lnTo>
                    <a:pt x="1885214" y="196113"/>
                  </a:lnTo>
                  <a:lnTo>
                    <a:pt x="1885214" y="197447"/>
                  </a:lnTo>
                  <a:lnTo>
                    <a:pt x="1885265" y="197447"/>
                  </a:lnTo>
                  <a:lnTo>
                    <a:pt x="1885265" y="196799"/>
                  </a:lnTo>
                  <a:lnTo>
                    <a:pt x="1885265" y="199530"/>
                  </a:lnTo>
                  <a:lnTo>
                    <a:pt x="1885315" y="198831"/>
                  </a:lnTo>
                  <a:lnTo>
                    <a:pt x="1885315" y="196799"/>
                  </a:lnTo>
                  <a:lnTo>
                    <a:pt x="1885315" y="199530"/>
                  </a:lnTo>
                  <a:lnTo>
                    <a:pt x="1885366" y="199530"/>
                  </a:lnTo>
                  <a:lnTo>
                    <a:pt x="1885366" y="198831"/>
                  </a:lnTo>
                  <a:lnTo>
                    <a:pt x="1885366" y="199530"/>
                  </a:lnTo>
                  <a:lnTo>
                    <a:pt x="1885455" y="198831"/>
                  </a:lnTo>
                  <a:lnTo>
                    <a:pt x="1885455" y="199530"/>
                  </a:lnTo>
                  <a:lnTo>
                    <a:pt x="1885455" y="198831"/>
                  </a:lnTo>
                  <a:lnTo>
                    <a:pt x="1885455" y="199530"/>
                  </a:lnTo>
                  <a:lnTo>
                    <a:pt x="1885455" y="198831"/>
                  </a:lnTo>
                  <a:lnTo>
                    <a:pt x="1885455" y="199530"/>
                  </a:lnTo>
                  <a:lnTo>
                    <a:pt x="1885506" y="199530"/>
                  </a:lnTo>
                  <a:lnTo>
                    <a:pt x="1885506" y="200228"/>
                  </a:lnTo>
                  <a:lnTo>
                    <a:pt x="1885506" y="198831"/>
                  </a:lnTo>
                  <a:lnTo>
                    <a:pt x="1885506" y="199530"/>
                  </a:lnTo>
                  <a:lnTo>
                    <a:pt x="1885557" y="199530"/>
                  </a:lnTo>
                  <a:lnTo>
                    <a:pt x="1885557" y="198831"/>
                  </a:lnTo>
                  <a:lnTo>
                    <a:pt x="1885557" y="199530"/>
                  </a:lnTo>
                  <a:lnTo>
                    <a:pt x="1885557" y="198831"/>
                  </a:lnTo>
                  <a:lnTo>
                    <a:pt x="1885557" y="199530"/>
                  </a:lnTo>
                  <a:lnTo>
                    <a:pt x="1885557" y="198831"/>
                  </a:lnTo>
                  <a:lnTo>
                    <a:pt x="1885608" y="198831"/>
                  </a:lnTo>
                  <a:lnTo>
                    <a:pt x="1885608" y="197447"/>
                  </a:lnTo>
                  <a:lnTo>
                    <a:pt x="1885709" y="196799"/>
                  </a:lnTo>
                  <a:lnTo>
                    <a:pt x="1885709" y="196113"/>
                  </a:lnTo>
                  <a:lnTo>
                    <a:pt x="1885709" y="198831"/>
                  </a:lnTo>
                  <a:lnTo>
                    <a:pt x="1885709" y="196799"/>
                  </a:lnTo>
                  <a:lnTo>
                    <a:pt x="1885760" y="196799"/>
                  </a:lnTo>
                  <a:lnTo>
                    <a:pt x="1885760" y="200228"/>
                  </a:lnTo>
                  <a:lnTo>
                    <a:pt x="1885760" y="198831"/>
                  </a:lnTo>
                  <a:lnTo>
                    <a:pt x="1885811" y="198831"/>
                  </a:lnTo>
                  <a:lnTo>
                    <a:pt x="1885811" y="197447"/>
                  </a:lnTo>
                  <a:lnTo>
                    <a:pt x="1885811" y="199530"/>
                  </a:lnTo>
                  <a:lnTo>
                    <a:pt x="1885912" y="199530"/>
                  </a:lnTo>
                  <a:lnTo>
                    <a:pt x="1885912" y="198831"/>
                  </a:lnTo>
                  <a:lnTo>
                    <a:pt x="1885912" y="200228"/>
                  </a:lnTo>
                  <a:lnTo>
                    <a:pt x="1885912" y="199530"/>
                  </a:lnTo>
                  <a:lnTo>
                    <a:pt x="1885950" y="199530"/>
                  </a:lnTo>
                  <a:lnTo>
                    <a:pt x="1885950" y="200228"/>
                  </a:lnTo>
                  <a:lnTo>
                    <a:pt x="1885950" y="199530"/>
                  </a:lnTo>
                  <a:lnTo>
                    <a:pt x="1885950" y="200228"/>
                  </a:lnTo>
                  <a:lnTo>
                    <a:pt x="1885950" y="199530"/>
                  </a:lnTo>
                  <a:lnTo>
                    <a:pt x="1885950" y="200228"/>
                  </a:lnTo>
                  <a:lnTo>
                    <a:pt x="1886001" y="200228"/>
                  </a:lnTo>
                  <a:lnTo>
                    <a:pt x="1886001" y="199530"/>
                  </a:lnTo>
                  <a:lnTo>
                    <a:pt x="1886052" y="199530"/>
                  </a:lnTo>
                  <a:lnTo>
                    <a:pt x="1886052" y="198831"/>
                  </a:lnTo>
                  <a:lnTo>
                    <a:pt x="1886052" y="199530"/>
                  </a:lnTo>
                  <a:lnTo>
                    <a:pt x="1886052" y="197447"/>
                  </a:lnTo>
                  <a:lnTo>
                    <a:pt x="1886052" y="198831"/>
                  </a:lnTo>
                  <a:lnTo>
                    <a:pt x="1886052" y="197447"/>
                  </a:lnTo>
                  <a:lnTo>
                    <a:pt x="1886052" y="198831"/>
                  </a:lnTo>
                  <a:lnTo>
                    <a:pt x="1886052" y="197447"/>
                  </a:lnTo>
                  <a:lnTo>
                    <a:pt x="1886154" y="197447"/>
                  </a:lnTo>
                  <a:lnTo>
                    <a:pt x="1886154" y="198831"/>
                  </a:lnTo>
                  <a:lnTo>
                    <a:pt x="1886154" y="196799"/>
                  </a:lnTo>
                  <a:lnTo>
                    <a:pt x="1886154" y="197447"/>
                  </a:lnTo>
                  <a:lnTo>
                    <a:pt x="1886154" y="196113"/>
                  </a:lnTo>
                  <a:lnTo>
                    <a:pt x="1886205" y="195415"/>
                  </a:lnTo>
                  <a:lnTo>
                    <a:pt x="1886205" y="197447"/>
                  </a:lnTo>
                  <a:lnTo>
                    <a:pt x="1886205" y="196113"/>
                  </a:lnTo>
                  <a:lnTo>
                    <a:pt x="1886255" y="196113"/>
                  </a:lnTo>
                  <a:lnTo>
                    <a:pt x="1886255" y="199530"/>
                  </a:lnTo>
                  <a:lnTo>
                    <a:pt x="1886255" y="196799"/>
                  </a:lnTo>
                  <a:lnTo>
                    <a:pt x="1886255" y="197447"/>
                  </a:lnTo>
                  <a:lnTo>
                    <a:pt x="1886357" y="197447"/>
                  </a:lnTo>
                  <a:lnTo>
                    <a:pt x="1886357" y="199530"/>
                  </a:lnTo>
                  <a:lnTo>
                    <a:pt x="1886357" y="198831"/>
                  </a:lnTo>
                  <a:lnTo>
                    <a:pt x="1886357" y="199530"/>
                  </a:lnTo>
                  <a:lnTo>
                    <a:pt x="1886357" y="198831"/>
                  </a:lnTo>
                  <a:lnTo>
                    <a:pt x="1886357" y="199530"/>
                  </a:lnTo>
                  <a:lnTo>
                    <a:pt x="1886408" y="199530"/>
                  </a:lnTo>
                  <a:lnTo>
                    <a:pt x="1886408" y="198831"/>
                  </a:lnTo>
                  <a:lnTo>
                    <a:pt x="1886408" y="199530"/>
                  </a:lnTo>
                  <a:lnTo>
                    <a:pt x="1886408" y="198831"/>
                  </a:lnTo>
                  <a:lnTo>
                    <a:pt x="1886408" y="200228"/>
                  </a:lnTo>
                  <a:lnTo>
                    <a:pt x="1886408" y="199530"/>
                  </a:lnTo>
                  <a:lnTo>
                    <a:pt x="1886459" y="199530"/>
                  </a:lnTo>
                  <a:lnTo>
                    <a:pt x="1886459" y="200228"/>
                  </a:lnTo>
                  <a:lnTo>
                    <a:pt x="1886459" y="199530"/>
                  </a:lnTo>
                  <a:lnTo>
                    <a:pt x="1886459" y="200228"/>
                  </a:lnTo>
                  <a:lnTo>
                    <a:pt x="1886497" y="200228"/>
                  </a:lnTo>
                  <a:lnTo>
                    <a:pt x="1886497" y="200876"/>
                  </a:lnTo>
                  <a:lnTo>
                    <a:pt x="1886497" y="199530"/>
                  </a:lnTo>
                  <a:lnTo>
                    <a:pt x="1886497" y="200228"/>
                  </a:lnTo>
                  <a:lnTo>
                    <a:pt x="1886497" y="199530"/>
                  </a:lnTo>
                  <a:lnTo>
                    <a:pt x="1886497" y="200228"/>
                  </a:lnTo>
                  <a:lnTo>
                    <a:pt x="1886598" y="200228"/>
                  </a:lnTo>
                  <a:lnTo>
                    <a:pt x="1886598" y="199530"/>
                  </a:lnTo>
                  <a:lnTo>
                    <a:pt x="1886598" y="200228"/>
                  </a:lnTo>
                  <a:lnTo>
                    <a:pt x="1886598" y="198831"/>
                  </a:lnTo>
                  <a:lnTo>
                    <a:pt x="1886649" y="198831"/>
                  </a:lnTo>
                  <a:lnTo>
                    <a:pt x="1886649" y="199530"/>
                  </a:lnTo>
                  <a:lnTo>
                    <a:pt x="1886649" y="196799"/>
                  </a:lnTo>
                  <a:lnTo>
                    <a:pt x="1886649" y="197447"/>
                  </a:lnTo>
                  <a:lnTo>
                    <a:pt x="1886649" y="196799"/>
                  </a:lnTo>
                  <a:lnTo>
                    <a:pt x="1886700" y="197447"/>
                  </a:lnTo>
                  <a:lnTo>
                    <a:pt x="1886700" y="198831"/>
                  </a:lnTo>
                  <a:lnTo>
                    <a:pt x="1886700" y="196113"/>
                  </a:lnTo>
                  <a:lnTo>
                    <a:pt x="1886700" y="198831"/>
                  </a:lnTo>
                  <a:lnTo>
                    <a:pt x="1886801" y="198831"/>
                  </a:lnTo>
                  <a:lnTo>
                    <a:pt x="1886801" y="199530"/>
                  </a:lnTo>
                  <a:lnTo>
                    <a:pt x="1886801" y="197447"/>
                  </a:lnTo>
                  <a:lnTo>
                    <a:pt x="1886801" y="199530"/>
                  </a:lnTo>
                  <a:lnTo>
                    <a:pt x="1886801" y="198831"/>
                  </a:lnTo>
                  <a:lnTo>
                    <a:pt x="1886852" y="198831"/>
                  </a:lnTo>
                  <a:lnTo>
                    <a:pt x="1886852" y="197447"/>
                  </a:lnTo>
                  <a:lnTo>
                    <a:pt x="1886852" y="198831"/>
                  </a:lnTo>
                  <a:lnTo>
                    <a:pt x="1886852" y="197447"/>
                  </a:lnTo>
                  <a:lnTo>
                    <a:pt x="1886852" y="199530"/>
                  </a:lnTo>
                  <a:lnTo>
                    <a:pt x="1886903" y="199530"/>
                  </a:lnTo>
                  <a:lnTo>
                    <a:pt x="1886903" y="198831"/>
                  </a:lnTo>
                  <a:lnTo>
                    <a:pt x="1886903" y="199530"/>
                  </a:lnTo>
                  <a:lnTo>
                    <a:pt x="1886903" y="198831"/>
                  </a:lnTo>
                  <a:lnTo>
                    <a:pt x="1886903" y="199530"/>
                  </a:lnTo>
                  <a:lnTo>
                    <a:pt x="1886954" y="199530"/>
                  </a:lnTo>
                  <a:lnTo>
                    <a:pt x="1886954" y="200228"/>
                  </a:lnTo>
                  <a:lnTo>
                    <a:pt x="1886954" y="199530"/>
                  </a:lnTo>
                  <a:lnTo>
                    <a:pt x="1886954" y="200228"/>
                  </a:lnTo>
                  <a:lnTo>
                    <a:pt x="1886954" y="199530"/>
                  </a:lnTo>
                  <a:lnTo>
                    <a:pt x="1887043" y="199530"/>
                  </a:lnTo>
                  <a:lnTo>
                    <a:pt x="1887043" y="198831"/>
                  </a:lnTo>
                  <a:lnTo>
                    <a:pt x="1887043" y="199530"/>
                  </a:lnTo>
                  <a:lnTo>
                    <a:pt x="1887043" y="198831"/>
                  </a:lnTo>
                  <a:lnTo>
                    <a:pt x="1887043" y="199530"/>
                  </a:lnTo>
                  <a:lnTo>
                    <a:pt x="1887043" y="198831"/>
                  </a:lnTo>
                  <a:lnTo>
                    <a:pt x="1887094" y="198831"/>
                  </a:lnTo>
                  <a:lnTo>
                    <a:pt x="1887094" y="199530"/>
                  </a:lnTo>
                  <a:lnTo>
                    <a:pt x="1887094" y="197447"/>
                  </a:lnTo>
                  <a:lnTo>
                    <a:pt x="1887144" y="198831"/>
                  </a:lnTo>
                  <a:lnTo>
                    <a:pt x="1887144" y="200228"/>
                  </a:lnTo>
                  <a:lnTo>
                    <a:pt x="1887144" y="198831"/>
                  </a:lnTo>
                  <a:lnTo>
                    <a:pt x="1887144" y="199530"/>
                  </a:lnTo>
                  <a:lnTo>
                    <a:pt x="1887195" y="200228"/>
                  </a:lnTo>
                  <a:lnTo>
                    <a:pt x="1887195" y="202260"/>
                  </a:lnTo>
                  <a:lnTo>
                    <a:pt x="1887195" y="200228"/>
                  </a:lnTo>
                  <a:lnTo>
                    <a:pt x="1887195" y="200876"/>
                  </a:lnTo>
                  <a:lnTo>
                    <a:pt x="1887297" y="202260"/>
                  </a:lnTo>
                  <a:lnTo>
                    <a:pt x="1887297" y="200228"/>
                  </a:lnTo>
                  <a:lnTo>
                    <a:pt x="1887297" y="200876"/>
                  </a:lnTo>
                  <a:lnTo>
                    <a:pt x="1887347" y="200876"/>
                  </a:lnTo>
                  <a:lnTo>
                    <a:pt x="1887347" y="202260"/>
                  </a:lnTo>
                  <a:lnTo>
                    <a:pt x="1887347" y="200876"/>
                  </a:lnTo>
                  <a:lnTo>
                    <a:pt x="1887347" y="202260"/>
                  </a:lnTo>
                  <a:lnTo>
                    <a:pt x="1887347" y="200876"/>
                  </a:lnTo>
                  <a:lnTo>
                    <a:pt x="1887347" y="202260"/>
                  </a:lnTo>
                  <a:lnTo>
                    <a:pt x="1887347" y="200876"/>
                  </a:lnTo>
                  <a:lnTo>
                    <a:pt x="1887347" y="202260"/>
                  </a:lnTo>
                  <a:lnTo>
                    <a:pt x="1887398" y="200876"/>
                  </a:lnTo>
                  <a:lnTo>
                    <a:pt x="1887398" y="200228"/>
                  </a:lnTo>
                  <a:lnTo>
                    <a:pt x="1887398" y="200876"/>
                  </a:lnTo>
                  <a:lnTo>
                    <a:pt x="1887398" y="200228"/>
                  </a:lnTo>
                  <a:lnTo>
                    <a:pt x="1887500" y="200228"/>
                  </a:lnTo>
                  <a:lnTo>
                    <a:pt x="1887500" y="200876"/>
                  </a:lnTo>
                  <a:lnTo>
                    <a:pt x="1887500" y="200228"/>
                  </a:lnTo>
                  <a:lnTo>
                    <a:pt x="1887500" y="200876"/>
                  </a:lnTo>
                  <a:lnTo>
                    <a:pt x="1887500" y="200228"/>
                  </a:lnTo>
                  <a:lnTo>
                    <a:pt x="1887500" y="200876"/>
                  </a:lnTo>
                  <a:lnTo>
                    <a:pt x="1887500" y="200228"/>
                  </a:lnTo>
                  <a:lnTo>
                    <a:pt x="1887538" y="200228"/>
                  </a:lnTo>
                  <a:lnTo>
                    <a:pt x="1887538" y="198831"/>
                  </a:lnTo>
                  <a:lnTo>
                    <a:pt x="1887538" y="199530"/>
                  </a:lnTo>
                  <a:lnTo>
                    <a:pt x="1887538" y="198831"/>
                  </a:lnTo>
                  <a:lnTo>
                    <a:pt x="1887589" y="198831"/>
                  </a:lnTo>
                  <a:lnTo>
                    <a:pt x="1887589" y="199530"/>
                  </a:lnTo>
                  <a:lnTo>
                    <a:pt x="1887589" y="197447"/>
                  </a:lnTo>
                  <a:lnTo>
                    <a:pt x="1887589" y="198831"/>
                  </a:lnTo>
                  <a:lnTo>
                    <a:pt x="1887589" y="197447"/>
                  </a:lnTo>
                  <a:lnTo>
                    <a:pt x="1887589" y="198831"/>
                  </a:lnTo>
                  <a:lnTo>
                    <a:pt x="1887589" y="196799"/>
                  </a:lnTo>
                  <a:lnTo>
                    <a:pt x="1887589" y="199530"/>
                  </a:lnTo>
                  <a:lnTo>
                    <a:pt x="1887640" y="199530"/>
                  </a:lnTo>
                  <a:lnTo>
                    <a:pt x="1887640" y="200228"/>
                  </a:lnTo>
                  <a:lnTo>
                    <a:pt x="1887640" y="197447"/>
                  </a:lnTo>
                  <a:lnTo>
                    <a:pt x="1887640" y="200876"/>
                  </a:lnTo>
                  <a:lnTo>
                    <a:pt x="1887741" y="200876"/>
                  </a:lnTo>
                  <a:lnTo>
                    <a:pt x="1887741" y="199530"/>
                  </a:lnTo>
                  <a:lnTo>
                    <a:pt x="1887741" y="200876"/>
                  </a:lnTo>
                  <a:lnTo>
                    <a:pt x="1887792" y="200876"/>
                  </a:lnTo>
                  <a:lnTo>
                    <a:pt x="1887792" y="200228"/>
                  </a:lnTo>
                  <a:lnTo>
                    <a:pt x="1887792" y="200876"/>
                  </a:lnTo>
                  <a:lnTo>
                    <a:pt x="1887843" y="200876"/>
                  </a:lnTo>
                  <a:lnTo>
                    <a:pt x="1887843" y="200228"/>
                  </a:lnTo>
                  <a:lnTo>
                    <a:pt x="1887843" y="202260"/>
                  </a:lnTo>
                  <a:lnTo>
                    <a:pt x="1887843" y="200876"/>
                  </a:lnTo>
                  <a:lnTo>
                    <a:pt x="1887944" y="200876"/>
                  </a:lnTo>
                  <a:lnTo>
                    <a:pt x="1887944" y="202260"/>
                  </a:lnTo>
                  <a:lnTo>
                    <a:pt x="1887944" y="200876"/>
                  </a:lnTo>
                  <a:lnTo>
                    <a:pt x="1887944" y="202260"/>
                  </a:lnTo>
                  <a:lnTo>
                    <a:pt x="1887944" y="200228"/>
                  </a:lnTo>
                  <a:lnTo>
                    <a:pt x="1887995" y="200228"/>
                  </a:lnTo>
                  <a:lnTo>
                    <a:pt x="1887995" y="199530"/>
                  </a:lnTo>
                  <a:lnTo>
                    <a:pt x="1888046" y="199530"/>
                  </a:lnTo>
                  <a:lnTo>
                    <a:pt x="1888046" y="197447"/>
                  </a:lnTo>
                  <a:lnTo>
                    <a:pt x="1888084" y="196799"/>
                  </a:lnTo>
                  <a:lnTo>
                    <a:pt x="1888084" y="197447"/>
                  </a:lnTo>
                  <a:lnTo>
                    <a:pt x="1888084" y="196799"/>
                  </a:lnTo>
                  <a:lnTo>
                    <a:pt x="1888084" y="199530"/>
                  </a:lnTo>
                  <a:lnTo>
                    <a:pt x="1888084" y="197447"/>
                  </a:lnTo>
                  <a:lnTo>
                    <a:pt x="1888084" y="198831"/>
                  </a:lnTo>
                  <a:lnTo>
                    <a:pt x="1888084" y="197447"/>
                  </a:lnTo>
                  <a:lnTo>
                    <a:pt x="1888084" y="199530"/>
                  </a:lnTo>
                  <a:lnTo>
                    <a:pt x="1888186" y="200228"/>
                  </a:lnTo>
                  <a:lnTo>
                    <a:pt x="1888186" y="202260"/>
                  </a:lnTo>
                  <a:lnTo>
                    <a:pt x="1888186" y="198831"/>
                  </a:lnTo>
                  <a:lnTo>
                    <a:pt x="1888186" y="200876"/>
                  </a:lnTo>
                  <a:lnTo>
                    <a:pt x="1888237" y="200876"/>
                  </a:lnTo>
                  <a:lnTo>
                    <a:pt x="1888237" y="200228"/>
                  </a:lnTo>
                  <a:lnTo>
                    <a:pt x="1888237" y="200876"/>
                  </a:lnTo>
                  <a:lnTo>
                    <a:pt x="1888237" y="200228"/>
                  </a:lnTo>
                  <a:lnTo>
                    <a:pt x="1888237" y="202260"/>
                  </a:lnTo>
                  <a:lnTo>
                    <a:pt x="1888237" y="200876"/>
                  </a:lnTo>
                  <a:lnTo>
                    <a:pt x="1888287" y="200876"/>
                  </a:lnTo>
                  <a:lnTo>
                    <a:pt x="1888287" y="200228"/>
                  </a:lnTo>
                  <a:lnTo>
                    <a:pt x="1888287" y="202260"/>
                  </a:lnTo>
                  <a:lnTo>
                    <a:pt x="1888287" y="200876"/>
                  </a:lnTo>
                  <a:lnTo>
                    <a:pt x="1888389" y="200876"/>
                  </a:lnTo>
                  <a:lnTo>
                    <a:pt x="1888389" y="202260"/>
                  </a:lnTo>
                  <a:lnTo>
                    <a:pt x="1888389" y="200876"/>
                  </a:lnTo>
                  <a:lnTo>
                    <a:pt x="1888389" y="202260"/>
                  </a:lnTo>
                  <a:lnTo>
                    <a:pt x="1888389" y="200876"/>
                  </a:lnTo>
                  <a:lnTo>
                    <a:pt x="1888389" y="202260"/>
                  </a:lnTo>
                  <a:lnTo>
                    <a:pt x="1888440" y="202260"/>
                  </a:lnTo>
                  <a:lnTo>
                    <a:pt x="1888440" y="200228"/>
                  </a:lnTo>
                  <a:lnTo>
                    <a:pt x="1888440" y="200876"/>
                  </a:lnTo>
                  <a:lnTo>
                    <a:pt x="1888440" y="200228"/>
                  </a:lnTo>
                  <a:lnTo>
                    <a:pt x="1888490" y="200228"/>
                  </a:lnTo>
                  <a:lnTo>
                    <a:pt x="1888490" y="198831"/>
                  </a:lnTo>
                  <a:lnTo>
                    <a:pt x="1888541" y="198831"/>
                  </a:lnTo>
                  <a:lnTo>
                    <a:pt x="1888541" y="197447"/>
                  </a:lnTo>
                  <a:lnTo>
                    <a:pt x="1888541" y="198831"/>
                  </a:lnTo>
                  <a:lnTo>
                    <a:pt x="1888541" y="196799"/>
                  </a:lnTo>
                  <a:lnTo>
                    <a:pt x="1888541" y="197447"/>
                  </a:lnTo>
                  <a:lnTo>
                    <a:pt x="1888541" y="196799"/>
                  </a:lnTo>
                  <a:lnTo>
                    <a:pt x="1888630" y="196799"/>
                  </a:lnTo>
                  <a:lnTo>
                    <a:pt x="1888630" y="198831"/>
                  </a:lnTo>
                  <a:lnTo>
                    <a:pt x="1888630" y="196799"/>
                  </a:lnTo>
                  <a:lnTo>
                    <a:pt x="1888630" y="198831"/>
                  </a:lnTo>
                  <a:lnTo>
                    <a:pt x="1888681" y="199530"/>
                  </a:lnTo>
                  <a:lnTo>
                    <a:pt x="1888681" y="197447"/>
                  </a:lnTo>
                  <a:lnTo>
                    <a:pt x="1888681" y="199530"/>
                  </a:lnTo>
                  <a:lnTo>
                    <a:pt x="1888681" y="198831"/>
                  </a:lnTo>
                  <a:lnTo>
                    <a:pt x="1888681" y="199530"/>
                  </a:lnTo>
                  <a:lnTo>
                    <a:pt x="1888732" y="199530"/>
                  </a:lnTo>
                  <a:lnTo>
                    <a:pt x="1888732" y="198831"/>
                  </a:lnTo>
                  <a:lnTo>
                    <a:pt x="1888732" y="199530"/>
                  </a:lnTo>
                  <a:lnTo>
                    <a:pt x="1888732" y="198831"/>
                  </a:lnTo>
                  <a:lnTo>
                    <a:pt x="1888732" y="200228"/>
                  </a:lnTo>
                  <a:lnTo>
                    <a:pt x="1888732" y="199530"/>
                  </a:lnTo>
                  <a:lnTo>
                    <a:pt x="1888783" y="199530"/>
                  </a:lnTo>
                  <a:lnTo>
                    <a:pt x="1888783" y="198831"/>
                  </a:lnTo>
                  <a:lnTo>
                    <a:pt x="1888783" y="200876"/>
                  </a:lnTo>
                  <a:lnTo>
                    <a:pt x="1888783" y="200228"/>
                  </a:lnTo>
                  <a:lnTo>
                    <a:pt x="1888884" y="200228"/>
                  </a:lnTo>
                  <a:lnTo>
                    <a:pt x="1888884" y="200876"/>
                  </a:lnTo>
                  <a:lnTo>
                    <a:pt x="1888884" y="200228"/>
                  </a:lnTo>
                  <a:lnTo>
                    <a:pt x="1888884" y="200876"/>
                  </a:lnTo>
                  <a:lnTo>
                    <a:pt x="1888884" y="200228"/>
                  </a:lnTo>
                  <a:lnTo>
                    <a:pt x="1888935" y="200228"/>
                  </a:lnTo>
                  <a:lnTo>
                    <a:pt x="1888935" y="199530"/>
                  </a:lnTo>
                  <a:lnTo>
                    <a:pt x="1888935" y="200228"/>
                  </a:lnTo>
                  <a:lnTo>
                    <a:pt x="1888935" y="199530"/>
                  </a:lnTo>
                  <a:lnTo>
                    <a:pt x="1888935" y="200228"/>
                  </a:lnTo>
                  <a:lnTo>
                    <a:pt x="1888986" y="199530"/>
                  </a:lnTo>
                  <a:lnTo>
                    <a:pt x="1888986" y="198831"/>
                  </a:lnTo>
                  <a:lnTo>
                    <a:pt x="1889087" y="198831"/>
                  </a:lnTo>
                  <a:lnTo>
                    <a:pt x="1889087" y="195415"/>
                  </a:lnTo>
                  <a:lnTo>
                    <a:pt x="1889125" y="195415"/>
                  </a:lnTo>
                  <a:lnTo>
                    <a:pt x="1889125" y="196799"/>
                  </a:lnTo>
                  <a:lnTo>
                    <a:pt x="1889125" y="194716"/>
                  </a:lnTo>
                  <a:lnTo>
                    <a:pt x="1889125" y="196799"/>
                  </a:lnTo>
                  <a:lnTo>
                    <a:pt x="1889176" y="196799"/>
                  </a:lnTo>
                  <a:lnTo>
                    <a:pt x="1889176" y="197447"/>
                  </a:lnTo>
                  <a:lnTo>
                    <a:pt x="1889176" y="196799"/>
                  </a:lnTo>
                  <a:lnTo>
                    <a:pt x="1889176" y="197447"/>
                  </a:lnTo>
                  <a:lnTo>
                    <a:pt x="1889176" y="196799"/>
                  </a:lnTo>
                  <a:lnTo>
                    <a:pt x="1889176" y="197447"/>
                  </a:lnTo>
                  <a:lnTo>
                    <a:pt x="1889227" y="197447"/>
                  </a:lnTo>
                  <a:lnTo>
                    <a:pt x="1889227" y="198831"/>
                  </a:lnTo>
                  <a:lnTo>
                    <a:pt x="1889329" y="198831"/>
                  </a:lnTo>
                  <a:lnTo>
                    <a:pt x="1889329" y="197447"/>
                  </a:lnTo>
                  <a:lnTo>
                    <a:pt x="1889329" y="198831"/>
                  </a:lnTo>
                  <a:lnTo>
                    <a:pt x="1889329" y="197447"/>
                  </a:lnTo>
                  <a:lnTo>
                    <a:pt x="1889329" y="199530"/>
                  </a:lnTo>
                  <a:lnTo>
                    <a:pt x="1889380" y="199530"/>
                  </a:lnTo>
                  <a:lnTo>
                    <a:pt x="1889380" y="198831"/>
                  </a:lnTo>
                  <a:lnTo>
                    <a:pt x="1889380" y="199530"/>
                  </a:lnTo>
                  <a:lnTo>
                    <a:pt x="1889380" y="198831"/>
                  </a:lnTo>
                  <a:lnTo>
                    <a:pt x="1889380" y="199530"/>
                  </a:lnTo>
                  <a:lnTo>
                    <a:pt x="1889430" y="199530"/>
                  </a:lnTo>
                  <a:lnTo>
                    <a:pt x="1889430" y="198831"/>
                  </a:lnTo>
                  <a:lnTo>
                    <a:pt x="1889430" y="199530"/>
                  </a:lnTo>
                  <a:lnTo>
                    <a:pt x="1889430" y="198831"/>
                  </a:lnTo>
                  <a:lnTo>
                    <a:pt x="1889430" y="199530"/>
                  </a:lnTo>
                  <a:lnTo>
                    <a:pt x="1889532" y="199530"/>
                  </a:lnTo>
                  <a:lnTo>
                    <a:pt x="1889532" y="197447"/>
                  </a:lnTo>
                  <a:lnTo>
                    <a:pt x="1889583" y="197447"/>
                  </a:lnTo>
                  <a:lnTo>
                    <a:pt x="1889583" y="196113"/>
                  </a:lnTo>
                  <a:lnTo>
                    <a:pt x="1889583" y="196799"/>
                  </a:lnTo>
                  <a:lnTo>
                    <a:pt x="1889634" y="196799"/>
                  </a:lnTo>
                  <a:lnTo>
                    <a:pt x="1889634" y="196113"/>
                  </a:lnTo>
                  <a:lnTo>
                    <a:pt x="1889634" y="196799"/>
                  </a:lnTo>
                  <a:lnTo>
                    <a:pt x="1889634" y="195415"/>
                  </a:lnTo>
                  <a:lnTo>
                    <a:pt x="1889634" y="196113"/>
                  </a:lnTo>
                  <a:lnTo>
                    <a:pt x="1889634" y="194716"/>
                  </a:lnTo>
                  <a:lnTo>
                    <a:pt x="1889634" y="196799"/>
                  </a:lnTo>
                  <a:lnTo>
                    <a:pt x="1889672" y="197447"/>
                  </a:lnTo>
                  <a:lnTo>
                    <a:pt x="1889672" y="195415"/>
                  </a:lnTo>
                  <a:lnTo>
                    <a:pt x="1889672" y="196799"/>
                  </a:lnTo>
                  <a:lnTo>
                    <a:pt x="1889773" y="196799"/>
                  </a:lnTo>
                  <a:lnTo>
                    <a:pt x="1889773" y="197447"/>
                  </a:lnTo>
                  <a:lnTo>
                    <a:pt x="1889773" y="196799"/>
                  </a:lnTo>
                  <a:lnTo>
                    <a:pt x="1889773" y="197447"/>
                  </a:lnTo>
                  <a:lnTo>
                    <a:pt x="1889773" y="196113"/>
                  </a:lnTo>
                  <a:lnTo>
                    <a:pt x="1889773" y="196799"/>
                  </a:lnTo>
                  <a:lnTo>
                    <a:pt x="1889824" y="196799"/>
                  </a:lnTo>
                  <a:lnTo>
                    <a:pt x="1889824" y="197447"/>
                  </a:lnTo>
                  <a:lnTo>
                    <a:pt x="1889824" y="196799"/>
                  </a:lnTo>
                  <a:lnTo>
                    <a:pt x="1889824" y="197447"/>
                  </a:lnTo>
                  <a:lnTo>
                    <a:pt x="1889824" y="196799"/>
                  </a:lnTo>
                  <a:lnTo>
                    <a:pt x="1889824" y="197447"/>
                  </a:lnTo>
                  <a:lnTo>
                    <a:pt x="1889824" y="196799"/>
                  </a:lnTo>
                  <a:lnTo>
                    <a:pt x="1889824" y="197447"/>
                  </a:lnTo>
                  <a:lnTo>
                    <a:pt x="1889824" y="196799"/>
                  </a:lnTo>
                  <a:lnTo>
                    <a:pt x="1889875" y="197447"/>
                  </a:lnTo>
                  <a:lnTo>
                    <a:pt x="1889875" y="196799"/>
                  </a:lnTo>
                  <a:lnTo>
                    <a:pt x="1889875" y="197447"/>
                  </a:lnTo>
                  <a:lnTo>
                    <a:pt x="1889875" y="196799"/>
                  </a:lnTo>
                  <a:lnTo>
                    <a:pt x="1889875" y="198831"/>
                  </a:lnTo>
                  <a:lnTo>
                    <a:pt x="1889875" y="197447"/>
                  </a:lnTo>
                  <a:lnTo>
                    <a:pt x="1889976" y="197447"/>
                  </a:lnTo>
                  <a:lnTo>
                    <a:pt x="1889976" y="198831"/>
                  </a:lnTo>
                  <a:lnTo>
                    <a:pt x="1889976" y="197447"/>
                  </a:lnTo>
                  <a:lnTo>
                    <a:pt x="1889976" y="198831"/>
                  </a:lnTo>
                  <a:lnTo>
                    <a:pt x="1889976" y="197447"/>
                  </a:lnTo>
                  <a:lnTo>
                    <a:pt x="1889976" y="198831"/>
                  </a:lnTo>
                  <a:lnTo>
                    <a:pt x="1889976" y="197447"/>
                  </a:lnTo>
                  <a:lnTo>
                    <a:pt x="1890027" y="198831"/>
                  </a:lnTo>
                  <a:lnTo>
                    <a:pt x="1890027" y="196799"/>
                  </a:lnTo>
                  <a:lnTo>
                    <a:pt x="1890027" y="198831"/>
                  </a:lnTo>
                  <a:lnTo>
                    <a:pt x="1890027" y="196113"/>
                  </a:lnTo>
                  <a:lnTo>
                    <a:pt x="1890027" y="196799"/>
                  </a:lnTo>
                  <a:lnTo>
                    <a:pt x="1890078" y="196799"/>
                  </a:lnTo>
                  <a:lnTo>
                    <a:pt x="1890078" y="196113"/>
                  </a:lnTo>
                  <a:lnTo>
                    <a:pt x="1890078" y="197447"/>
                  </a:lnTo>
                  <a:lnTo>
                    <a:pt x="1890078" y="196113"/>
                  </a:lnTo>
                  <a:lnTo>
                    <a:pt x="1890129" y="196113"/>
                  </a:lnTo>
                  <a:lnTo>
                    <a:pt x="1890129" y="198831"/>
                  </a:lnTo>
                  <a:lnTo>
                    <a:pt x="1890129" y="196799"/>
                  </a:lnTo>
                  <a:lnTo>
                    <a:pt x="1890218" y="197447"/>
                  </a:lnTo>
                  <a:lnTo>
                    <a:pt x="1890218" y="199530"/>
                  </a:lnTo>
                  <a:lnTo>
                    <a:pt x="1890218" y="197447"/>
                  </a:lnTo>
                  <a:lnTo>
                    <a:pt x="1890269" y="197447"/>
                  </a:lnTo>
                  <a:lnTo>
                    <a:pt x="1890269" y="199530"/>
                  </a:lnTo>
                  <a:lnTo>
                    <a:pt x="1890269" y="197447"/>
                  </a:lnTo>
                  <a:lnTo>
                    <a:pt x="1890269" y="198831"/>
                  </a:lnTo>
                  <a:lnTo>
                    <a:pt x="1890319" y="198831"/>
                  </a:lnTo>
                  <a:lnTo>
                    <a:pt x="1890319" y="199530"/>
                  </a:lnTo>
                  <a:lnTo>
                    <a:pt x="1890319" y="198831"/>
                  </a:lnTo>
                  <a:lnTo>
                    <a:pt x="1890370" y="198831"/>
                  </a:lnTo>
                  <a:lnTo>
                    <a:pt x="1890370" y="197447"/>
                  </a:lnTo>
                  <a:lnTo>
                    <a:pt x="1890370" y="198831"/>
                  </a:lnTo>
                  <a:lnTo>
                    <a:pt x="1890472" y="198831"/>
                  </a:lnTo>
                  <a:lnTo>
                    <a:pt x="1890472" y="197447"/>
                  </a:lnTo>
                  <a:lnTo>
                    <a:pt x="1890472" y="198831"/>
                  </a:lnTo>
                  <a:lnTo>
                    <a:pt x="1890472" y="197447"/>
                  </a:lnTo>
                  <a:lnTo>
                    <a:pt x="1890472" y="198831"/>
                  </a:lnTo>
                  <a:lnTo>
                    <a:pt x="1890472" y="197447"/>
                  </a:lnTo>
                  <a:lnTo>
                    <a:pt x="1890472" y="198831"/>
                  </a:lnTo>
                  <a:lnTo>
                    <a:pt x="1890522" y="198831"/>
                  </a:lnTo>
                  <a:lnTo>
                    <a:pt x="1890522" y="196799"/>
                  </a:lnTo>
                  <a:lnTo>
                    <a:pt x="1890522" y="197447"/>
                  </a:lnTo>
                  <a:lnTo>
                    <a:pt x="1890522" y="196113"/>
                  </a:lnTo>
                  <a:lnTo>
                    <a:pt x="1890522" y="196799"/>
                  </a:lnTo>
                  <a:lnTo>
                    <a:pt x="1890522" y="196113"/>
                  </a:lnTo>
                  <a:lnTo>
                    <a:pt x="1890573" y="196113"/>
                  </a:lnTo>
                  <a:lnTo>
                    <a:pt x="1890573" y="195415"/>
                  </a:lnTo>
                  <a:lnTo>
                    <a:pt x="1890573" y="197447"/>
                  </a:lnTo>
                  <a:lnTo>
                    <a:pt x="1890573" y="196799"/>
                  </a:lnTo>
                  <a:lnTo>
                    <a:pt x="1890675" y="196113"/>
                  </a:lnTo>
                  <a:lnTo>
                    <a:pt x="1890675" y="196799"/>
                  </a:lnTo>
                  <a:lnTo>
                    <a:pt x="1890675" y="196113"/>
                  </a:lnTo>
                  <a:lnTo>
                    <a:pt x="1890675" y="198831"/>
                  </a:lnTo>
                  <a:lnTo>
                    <a:pt x="1890675" y="197447"/>
                  </a:lnTo>
                  <a:lnTo>
                    <a:pt x="1890675" y="198831"/>
                  </a:lnTo>
                  <a:lnTo>
                    <a:pt x="1890675" y="197447"/>
                  </a:lnTo>
                  <a:lnTo>
                    <a:pt x="1890713" y="197447"/>
                  </a:lnTo>
                  <a:lnTo>
                    <a:pt x="1890713" y="199530"/>
                  </a:lnTo>
                  <a:lnTo>
                    <a:pt x="1890713" y="198831"/>
                  </a:lnTo>
                  <a:lnTo>
                    <a:pt x="1890764" y="198831"/>
                  </a:lnTo>
                  <a:lnTo>
                    <a:pt x="1890764" y="199530"/>
                  </a:lnTo>
                  <a:lnTo>
                    <a:pt x="1890764" y="198831"/>
                  </a:lnTo>
                  <a:lnTo>
                    <a:pt x="1890764" y="199530"/>
                  </a:lnTo>
                  <a:lnTo>
                    <a:pt x="1890764" y="198831"/>
                  </a:lnTo>
                  <a:lnTo>
                    <a:pt x="1890815" y="198831"/>
                  </a:lnTo>
                  <a:lnTo>
                    <a:pt x="1890815" y="197447"/>
                  </a:lnTo>
                  <a:lnTo>
                    <a:pt x="1890815" y="199530"/>
                  </a:lnTo>
                  <a:lnTo>
                    <a:pt x="1890815" y="198831"/>
                  </a:lnTo>
                  <a:lnTo>
                    <a:pt x="1890815" y="199530"/>
                  </a:lnTo>
                  <a:lnTo>
                    <a:pt x="1890815" y="198831"/>
                  </a:lnTo>
                  <a:lnTo>
                    <a:pt x="1890815" y="199530"/>
                  </a:lnTo>
                  <a:lnTo>
                    <a:pt x="1890916" y="199530"/>
                  </a:lnTo>
                  <a:lnTo>
                    <a:pt x="1890916" y="198831"/>
                  </a:lnTo>
                  <a:lnTo>
                    <a:pt x="1890967" y="198831"/>
                  </a:lnTo>
                  <a:lnTo>
                    <a:pt x="1890967" y="197447"/>
                  </a:lnTo>
                  <a:lnTo>
                    <a:pt x="1890967" y="198831"/>
                  </a:lnTo>
                  <a:lnTo>
                    <a:pt x="1891018" y="197447"/>
                  </a:lnTo>
                  <a:lnTo>
                    <a:pt x="1891018" y="195415"/>
                  </a:lnTo>
                  <a:lnTo>
                    <a:pt x="1891119" y="195415"/>
                  </a:lnTo>
                  <a:lnTo>
                    <a:pt x="1891119" y="193383"/>
                  </a:lnTo>
                  <a:lnTo>
                    <a:pt x="1891119" y="196113"/>
                  </a:lnTo>
                  <a:lnTo>
                    <a:pt x="1891119" y="194716"/>
                  </a:lnTo>
                  <a:lnTo>
                    <a:pt x="1891170" y="194716"/>
                  </a:lnTo>
                  <a:lnTo>
                    <a:pt x="1891170" y="193383"/>
                  </a:lnTo>
                  <a:lnTo>
                    <a:pt x="1891170" y="196799"/>
                  </a:lnTo>
                  <a:lnTo>
                    <a:pt x="1891170" y="196113"/>
                  </a:lnTo>
                  <a:lnTo>
                    <a:pt x="1891221" y="196113"/>
                  </a:lnTo>
                  <a:lnTo>
                    <a:pt x="1891221" y="197447"/>
                  </a:lnTo>
                  <a:lnTo>
                    <a:pt x="1891221" y="196799"/>
                  </a:lnTo>
                  <a:lnTo>
                    <a:pt x="1891259" y="196113"/>
                  </a:lnTo>
                  <a:lnTo>
                    <a:pt x="1891259" y="197447"/>
                  </a:lnTo>
                  <a:lnTo>
                    <a:pt x="1891259" y="196799"/>
                  </a:lnTo>
                  <a:lnTo>
                    <a:pt x="1891361" y="196799"/>
                  </a:lnTo>
                  <a:lnTo>
                    <a:pt x="1891361" y="198831"/>
                  </a:lnTo>
                  <a:lnTo>
                    <a:pt x="1891361" y="197447"/>
                  </a:lnTo>
                  <a:lnTo>
                    <a:pt x="1891361" y="198831"/>
                  </a:lnTo>
                  <a:lnTo>
                    <a:pt x="1891361" y="197447"/>
                  </a:lnTo>
                  <a:lnTo>
                    <a:pt x="1891361" y="198831"/>
                  </a:lnTo>
                  <a:lnTo>
                    <a:pt x="1891412" y="198831"/>
                  </a:lnTo>
                  <a:lnTo>
                    <a:pt x="1891412" y="197447"/>
                  </a:lnTo>
                  <a:lnTo>
                    <a:pt x="1891412" y="198831"/>
                  </a:lnTo>
                  <a:lnTo>
                    <a:pt x="1891412" y="197447"/>
                  </a:lnTo>
                  <a:lnTo>
                    <a:pt x="1891462" y="198831"/>
                  </a:lnTo>
                  <a:lnTo>
                    <a:pt x="1891462" y="196799"/>
                  </a:lnTo>
                  <a:lnTo>
                    <a:pt x="1891462" y="197447"/>
                  </a:lnTo>
                  <a:lnTo>
                    <a:pt x="1891462" y="196799"/>
                  </a:lnTo>
                  <a:lnTo>
                    <a:pt x="1891462" y="197447"/>
                  </a:lnTo>
                  <a:lnTo>
                    <a:pt x="1891564" y="196799"/>
                  </a:lnTo>
                  <a:lnTo>
                    <a:pt x="1891564" y="196113"/>
                  </a:lnTo>
                  <a:lnTo>
                    <a:pt x="1891564" y="196799"/>
                  </a:lnTo>
                  <a:lnTo>
                    <a:pt x="1891564" y="195415"/>
                  </a:lnTo>
                  <a:lnTo>
                    <a:pt x="1891564" y="196113"/>
                  </a:lnTo>
                  <a:lnTo>
                    <a:pt x="1891615" y="196113"/>
                  </a:lnTo>
                  <a:lnTo>
                    <a:pt x="1891615" y="197447"/>
                  </a:lnTo>
                  <a:lnTo>
                    <a:pt x="1891615" y="195415"/>
                  </a:lnTo>
                  <a:lnTo>
                    <a:pt x="1891615" y="196799"/>
                  </a:lnTo>
                  <a:lnTo>
                    <a:pt x="1891665" y="197447"/>
                  </a:lnTo>
                  <a:lnTo>
                    <a:pt x="1891665" y="198831"/>
                  </a:lnTo>
                  <a:lnTo>
                    <a:pt x="1891665" y="196799"/>
                  </a:lnTo>
                  <a:lnTo>
                    <a:pt x="1891665" y="198831"/>
                  </a:lnTo>
                  <a:lnTo>
                    <a:pt x="1891716" y="198831"/>
                  </a:lnTo>
                  <a:lnTo>
                    <a:pt x="1891716" y="196799"/>
                  </a:lnTo>
                  <a:lnTo>
                    <a:pt x="1891716" y="198831"/>
                  </a:lnTo>
                  <a:lnTo>
                    <a:pt x="1891716" y="197447"/>
                  </a:lnTo>
                  <a:lnTo>
                    <a:pt x="1891805" y="198831"/>
                  </a:lnTo>
                  <a:lnTo>
                    <a:pt x="1891805" y="197447"/>
                  </a:lnTo>
                  <a:lnTo>
                    <a:pt x="1891805" y="198831"/>
                  </a:lnTo>
                  <a:lnTo>
                    <a:pt x="1891805" y="197447"/>
                  </a:lnTo>
                  <a:lnTo>
                    <a:pt x="1891805" y="198831"/>
                  </a:lnTo>
                  <a:lnTo>
                    <a:pt x="1891805" y="197447"/>
                  </a:lnTo>
                  <a:lnTo>
                    <a:pt x="1891856" y="197447"/>
                  </a:lnTo>
                  <a:lnTo>
                    <a:pt x="1891856" y="198831"/>
                  </a:lnTo>
                  <a:lnTo>
                    <a:pt x="1891856" y="197447"/>
                  </a:lnTo>
                  <a:lnTo>
                    <a:pt x="1891856" y="198831"/>
                  </a:lnTo>
                  <a:lnTo>
                    <a:pt x="1891856" y="197447"/>
                  </a:lnTo>
                  <a:lnTo>
                    <a:pt x="1891856" y="198831"/>
                  </a:lnTo>
                  <a:lnTo>
                    <a:pt x="1891856" y="197447"/>
                  </a:lnTo>
                  <a:lnTo>
                    <a:pt x="1891907" y="197447"/>
                  </a:lnTo>
                  <a:lnTo>
                    <a:pt x="1891907" y="198831"/>
                  </a:lnTo>
                  <a:lnTo>
                    <a:pt x="1891907" y="197447"/>
                  </a:lnTo>
                  <a:lnTo>
                    <a:pt x="1891907" y="198831"/>
                  </a:lnTo>
                  <a:lnTo>
                    <a:pt x="1891907" y="197447"/>
                  </a:lnTo>
                  <a:lnTo>
                    <a:pt x="1891907" y="198831"/>
                  </a:lnTo>
                  <a:lnTo>
                    <a:pt x="1891907" y="197447"/>
                  </a:lnTo>
                  <a:lnTo>
                    <a:pt x="1891958" y="197447"/>
                  </a:lnTo>
                  <a:lnTo>
                    <a:pt x="1891958" y="198831"/>
                  </a:lnTo>
                  <a:lnTo>
                    <a:pt x="1891958" y="197447"/>
                  </a:lnTo>
                  <a:lnTo>
                    <a:pt x="1891958" y="198831"/>
                  </a:lnTo>
                  <a:lnTo>
                    <a:pt x="1891958" y="196799"/>
                  </a:lnTo>
                  <a:lnTo>
                    <a:pt x="1891958" y="197447"/>
                  </a:lnTo>
                  <a:lnTo>
                    <a:pt x="1891958" y="196799"/>
                  </a:lnTo>
                  <a:lnTo>
                    <a:pt x="1892059" y="196113"/>
                  </a:lnTo>
                  <a:lnTo>
                    <a:pt x="1892059" y="195415"/>
                  </a:lnTo>
                  <a:lnTo>
                    <a:pt x="1892059" y="196113"/>
                  </a:lnTo>
                  <a:lnTo>
                    <a:pt x="1892059" y="194716"/>
                  </a:lnTo>
                  <a:lnTo>
                    <a:pt x="1892110" y="194716"/>
                  </a:lnTo>
                  <a:lnTo>
                    <a:pt x="1892110" y="196113"/>
                  </a:lnTo>
                  <a:lnTo>
                    <a:pt x="1892110" y="194716"/>
                  </a:lnTo>
                  <a:lnTo>
                    <a:pt x="1892110" y="196799"/>
                  </a:lnTo>
                  <a:lnTo>
                    <a:pt x="1892161" y="196799"/>
                  </a:lnTo>
                  <a:lnTo>
                    <a:pt x="1892161" y="196113"/>
                  </a:lnTo>
                  <a:lnTo>
                    <a:pt x="1892161" y="197447"/>
                  </a:lnTo>
                  <a:lnTo>
                    <a:pt x="1892262" y="197447"/>
                  </a:lnTo>
                  <a:lnTo>
                    <a:pt x="1892262" y="196799"/>
                  </a:lnTo>
                  <a:lnTo>
                    <a:pt x="1892262" y="198831"/>
                  </a:lnTo>
                  <a:lnTo>
                    <a:pt x="1892300" y="198831"/>
                  </a:lnTo>
                  <a:lnTo>
                    <a:pt x="1892300" y="197447"/>
                  </a:lnTo>
                  <a:lnTo>
                    <a:pt x="1892300" y="198831"/>
                  </a:lnTo>
                  <a:lnTo>
                    <a:pt x="1892351" y="198831"/>
                  </a:lnTo>
                  <a:lnTo>
                    <a:pt x="1892402" y="199530"/>
                  </a:lnTo>
                  <a:lnTo>
                    <a:pt x="1892402" y="197447"/>
                  </a:lnTo>
                  <a:lnTo>
                    <a:pt x="1892504" y="197447"/>
                  </a:lnTo>
                  <a:lnTo>
                    <a:pt x="1892504" y="198831"/>
                  </a:lnTo>
                  <a:lnTo>
                    <a:pt x="1892504" y="196113"/>
                  </a:lnTo>
                  <a:lnTo>
                    <a:pt x="1892555" y="196799"/>
                  </a:lnTo>
                  <a:lnTo>
                    <a:pt x="1892555" y="194716"/>
                  </a:lnTo>
                  <a:lnTo>
                    <a:pt x="1892555" y="196113"/>
                  </a:lnTo>
                  <a:lnTo>
                    <a:pt x="1892605" y="196113"/>
                  </a:lnTo>
                  <a:lnTo>
                    <a:pt x="1892605" y="193383"/>
                  </a:lnTo>
                  <a:lnTo>
                    <a:pt x="1892605" y="197447"/>
                  </a:lnTo>
                  <a:lnTo>
                    <a:pt x="1892707" y="197447"/>
                  </a:lnTo>
                  <a:lnTo>
                    <a:pt x="1892707" y="196113"/>
                  </a:lnTo>
                  <a:lnTo>
                    <a:pt x="1892707" y="197447"/>
                  </a:lnTo>
                  <a:lnTo>
                    <a:pt x="1892707" y="196799"/>
                  </a:lnTo>
                  <a:lnTo>
                    <a:pt x="1892758" y="196799"/>
                  </a:lnTo>
                  <a:lnTo>
                    <a:pt x="1892758" y="196113"/>
                  </a:lnTo>
                  <a:lnTo>
                    <a:pt x="1892758" y="196799"/>
                  </a:lnTo>
                  <a:lnTo>
                    <a:pt x="1892758" y="196113"/>
                  </a:lnTo>
                  <a:lnTo>
                    <a:pt x="1892758" y="196799"/>
                  </a:lnTo>
                  <a:lnTo>
                    <a:pt x="1892758" y="196113"/>
                  </a:lnTo>
                  <a:lnTo>
                    <a:pt x="1892758" y="196799"/>
                  </a:lnTo>
                  <a:lnTo>
                    <a:pt x="1892809" y="196799"/>
                  </a:lnTo>
                  <a:lnTo>
                    <a:pt x="1892809" y="196113"/>
                  </a:lnTo>
                  <a:lnTo>
                    <a:pt x="1892809" y="197447"/>
                  </a:lnTo>
                  <a:lnTo>
                    <a:pt x="1892809" y="196799"/>
                  </a:lnTo>
                  <a:lnTo>
                    <a:pt x="1892809" y="197447"/>
                  </a:lnTo>
                  <a:lnTo>
                    <a:pt x="1892847" y="196799"/>
                  </a:lnTo>
                  <a:lnTo>
                    <a:pt x="1892847" y="197447"/>
                  </a:lnTo>
                  <a:lnTo>
                    <a:pt x="1892948" y="197447"/>
                  </a:lnTo>
                  <a:lnTo>
                    <a:pt x="1892948" y="198831"/>
                  </a:lnTo>
                  <a:lnTo>
                    <a:pt x="1892948" y="197447"/>
                  </a:lnTo>
                  <a:lnTo>
                    <a:pt x="1892999" y="197447"/>
                  </a:lnTo>
                  <a:lnTo>
                    <a:pt x="1892999" y="196799"/>
                  </a:lnTo>
                  <a:lnTo>
                    <a:pt x="1892999" y="197447"/>
                  </a:lnTo>
                  <a:lnTo>
                    <a:pt x="1892999" y="196113"/>
                  </a:lnTo>
                  <a:lnTo>
                    <a:pt x="1893050" y="196113"/>
                  </a:lnTo>
                  <a:lnTo>
                    <a:pt x="1893050" y="194716"/>
                  </a:lnTo>
                  <a:lnTo>
                    <a:pt x="1893050" y="195415"/>
                  </a:lnTo>
                  <a:lnTo>
                    <a:pt x="1893050" y="194716"/>
                  </a:lnTo>
                  <a:lnTo>
                    <a:pt x="1893050" y="196799"/>
                  </a:lnTo>
                  <a:lnTo>
                    <a:pt x="1893050" y="196113"/>
                  </a:lnTo>
                  <a:lnTo>
                    <a:pt x="1893050" y="196799"/>
                  </a:lnTo>
                  <a:lnTo>
                    <a:pt x="1893050" y="196113"/>
                  </a:lnTo>
                  <a:lnTo>
                    <a:pt x="1893151" y="196113"/>
                  </a:lnTo>
                  <a:lnTo>
                    <a:pt x="1893151" y="195415"/>
                  </a:lnTo>
                  <a:lnTo>
                    <a:pt x="1893151" y="197447"/>
                  </a:lnTo>
                  <a:lnTo>
                    <a:pt x="1893151" y="196799"/>
                  </a:lnTo>
                  <a:lnTo>
                    <a:pt x="1893202" y="196799"/>
                  </a:lnTo>
                  <a:lnTo>
                    <a:pt x="1893202" y="195415"/>
                  </a:lnTo>
                  <a:lnTo>
                    <a:pt x="1893202" y="197447"/>
                  </a:lnTo>
                  <a:lnTo>
                    <a:pt x="1893202" y="196799"/>
                  </a:lnTo>
                  <a:lnTo>
                    <a:pt x="1893253" y="196799"/>
                  </a:lnTo>
                  <a:lnTo>
                    <a:pt x="1893253" y="198831"/>
                  </a:lnTo>
                  <a:lnTo>
                    <a:pt x="1893253" y="197447"/>
                  </a:lnTo>
                  <a:lnTo>
                    <a:pt x="1893393" y="197447"/>
                  </a:lnTo>
                  <a:lnTo>
                    <a:pt x="1893393" y="198831"/>
                  </a:lnTo>
                  <a:lnTo>
                    <a:pt x="1893393" y="197447"/>
                  </a:lnTo>
                  <a:lnTo>
                    <a:pt x="1893393" y="198831"/>
                  </a:lnTo>
                  <a:lnTo>
                    <a:pt x="1893444" y="198831"/>
                  </a:lnTo>
                  <a:lnTo>
                    <a:pt x="1893444" y="197447"/>
                  </a:lnTo>
                  <a:lnTo>
                    <a:pt x="1893444" y="198831"/>
                  </a:lnTo>
                  <a:lnTo>
                    <a:pt x="1893444" y="197447"/>
                  </a:lnTo>
                  <a:lnTo>
                    <a:pt x="1893444" y="198831"/>
                  </a:lnTo>
                  <a:lnTo>
                    <a:pt x="1893444" y="196799"/>
                  </a:lnTo>
                  <a:lnTo>
                    <a:pt x="1893444" y="197447"/>
                  </a:lnTo>
                  <a:lnTo>
                    <a:pt x="1893494" y="197447"/>
                  </a:lnTo>
                  <a:lnTo>
                    <a:pt x="1893494" y="196113"/>
                  </a:lnTo>
                  <a:lnTo>
                    <a:pt x="1893494" y="196799"/>
                  </a:lnTo>
                  <a:lnTo>
                    <a:pt x="1893494" y="196113"/>
                  </a:lnTo>
                  <a:lnTo>
                    <a:pt x="1893494" y="196799"/>
                  </a:lnTo>
                  <a:lnTo>
                    <a:pt x="1893494" y="196113"/>
                  </a:lnTo>
                  <a:lnTo>
                    <a:pt x="1893545" y="196113"/>
                  </a:lnTo>
                  <a:lnTo>
                    <a:pt x="1893545" y="194716"/>
                  </a:lnTo>
                  <a:lnTo>
                    <a:pt x="1893545" y="197447"/>
                  </a:lnTo>
                  <a:lnTo>
                    <a:pt x="1893545" y="196799"/>
                  </a:lnTo>
                  <a:lnTo>
                    <a:pt x="1893545" y="197447"/>
                  </a:lnTo>
                  <a:lnTo>
                    <a:pt x="1893545" y="196113"/>
                  </a:lnTo>
                  <a:lnTo>
                    <a:pt x="1893647" y="196113"/>
                  </a:lnTo>
                  <a:lnTo>
                    <a:pt x="1893647" y="195415"/>
                  </a:lnTo>
                  <a:lnTo>
                    <a:pt x="1893647" y="199530"/>
                  </a:lnTo>
                  <a:lnTo>
                    <a:pt x="1893647" y="196799"/>
                  </a:lnTo>
                  <a:lnTo>
                    <a:pt x="1893697" y="196799"/>
                  </a:lnTo>
                  <a:lnTo>
                    <a:pt x="1893697" y="198831"/>
                  </a:lnTo>
                  <a:lnTo>
                    <a:pt x="1893697" y="197447"/>
                  </a:lnTo>
                  <a:lnTo>
                    <a:pt x="1893748" y="197447"/>
                  </a:lnTo>
                  <a:lnTo>
                    <a:pt x="1893748" y="198831"/>
                  </a:lnTo>
                  <a:lnTo>
                    <a:pt x="1893748" y="197447"/>
                  </a:lnTo>
                  <a:lnTo>
                    <a:pt x="1893850" y="198831"/>
                  </a:lnTo>
                  <a:lnTo>
                    <a:pt x="1893850" y="197447"/>
                  </a:lnTo>
                  <a:lnTo>
                    <a:pt x="1893850" y="198831"/>
                  </a:lnTo>
                  <a:lnTo>
                    <a:pt x="1893850" y="197447"/>
                  </a:lnTo>
                  <a:lnTo>
                    <a:pt x="1893888" y="198831"/>
                  </a:lnTo>
                  <a:lnTo>
                    <a:pt x="1893888" y="197447"/>
                  </a:lnTo>
                  <a:lnTo>
                    <a:pt x="1893888" y="198831"/>
                  </a:lnTo>
                  <a:lnTo>
                    <a:pt x="1893888" y="197447"/>
                  </a:lnTo>
                  <a:lnTo>
                    <a:pt x="1893888" y="198831"/>
                  </a:lnTo>
                  <a:lnTo>
                    <a:pt x="1893888" y="197447"/>
                  </a:lnTo>
                  <a:lnTo>
                    <a:pt x="1893888" y="198831"/>
                  </a:lnTo>
                  <a:lnTo>
                    <a:pt x="1893888" y="197447"/>
                  </a:lnTo>
                  <a:lnTo>
                    <a:pt x="1893939" y="197447"/>
                  </a:lnTo>
                  <a:lnTo>
                    <a:pt x="1893939" y="198831"/>
                  </a:lnTo>
                  <a:lnTo>
                    <a:pt x="1893939" y="196799"/>
                  </a:lnTo>
                  <a:lnTo>
                    <a:pt x="1893990" y="196799"/>
                  </a:lnTo>
                  <a:lnTo>
                    <a:pt x="1893990" y="195415"/>
                  </a:lnTo>
                  <a:lnTo>
                    <a:pt x="1893990" y="196113"/>
                  </a:lnTo>
                  <a:lnTo>
                    <a:pt x="1893990" y="195415"/>
                  </a:lnTo>
                  <a:lnTo>
                    <a:pt x="1893990" y="196113"/>
                  </a:lnTo>
                  <a:lnTo>
                    <a:pt x="1893990" y="194716"/>
                  </a:lnTo>
                  <a:lnTo>
                    <a:pt x="1894091" y="194716"/>
                  </a:lnTo>
                  <a:lnTo>
                    <a:pt x="1894091" y="197447"/>
                  </a:lnTo>
                  <a:lnTo>
                    <a:pt x="1894091" y="195415"/>
                  </a:lnTo>
                  <a:lnTo>
                    <a:pt x="1894091" y="196113"/>
                  </a:lnTo>
                  <a:lnTo>
                    <a:pt x="1894142" y="196799"/>
                  </a:lnTo>
                  <a:lnTo>
                    <a:pt x="1894142" y="198831"/>
                  </a:lnTo>
                  <a:lnTo>
                    <a:pt x="1894142" y="196113"/>
                  </a:lnTo>
                  <a:lnTo>
                    <a:pt x="1894142" y="196799"/>
                  </a:lnTo>
                  <a:lnTo>
                    <a:pt x="1894142" y="196113"/>
                  </a:lnTo>
                  <a:lnTo>
                    <a:pt x="1894142" y="197447"/>
                  </a:lnTo>
                  <a:lnTo>
                    <a:pt x="1894193" y="197447"/>
                  </a:lnTo>
                  <a:lnTo>
                    <a:pt x="1894193" y="198831"/>
                  </a:lnTo>
                  <a:lnTo>
                    <a:pt x="1894193" y="197447"/>
                  </a:lnTo>
                  <a:lnTo>
                    <a:pt x="1894193" y="198831"/>
                  </a:lnTo>
                  <a:lnTo>
                    <a:pt x="1894193" y="197447"/>
                  </a:lnTo>
                  <a:lnTo>
                    <a:pt x="1894193" y="198831"/>
                  </a:lnTo>
                  <a:lnTo>
                    <a:pt x="1894294" y="198831"/>
                  </a:lnTo>
                  <a:lnTo>
                    <a:pt x="1894294" y="197447"/>
                  </a:lnTo>
                  <a:lnTo>
                    <a:pt x="1894294" y="198831"/>
                  </a:lnTo>
                  <a:lnTo>
                    <a:pt x="1894345" y="198831"/>
                  </a:lnTo>
                  <a:lnTo>
                    <a:pt x="1894345" y="199530"/>
                  </a:lnTo>
                  <a:lnTo>
                    <a:pt x="1894345" y="198831"/>
                  </a:lnTo>
                  <a:lnTo>
                    <a:pt x="1894345" y="199530"/>
                  </a:lnTo>
                  <a:lnTo>
                    <a:pt x="1894396" y="199530"/>
                  </a:lnTo>
                  <a:lnTo>
                    <a:pt x="1894396" y="198831"/>
                  </a:lnTo>
                  <a:lnTo>
                    <a:pt x="1894396" y="199530"/>
                  </a:lnTo>
                  <a:lnTo>
                    <a:pt x="1894396" y="198831"/>
                  </a:lnTo>
                  <a:lnTo>
                    <a:pt x="1894434" y="197447"/>
                  </a:lnTo>
                  <a:lnTo>
                    <a:pt x="1894434" y="196799"/>
                  </a:lnTo>
                  <a:lnTo>
                    <a:pt x="1894434" y="197447"/>
                  </a:lnTo>
                  <a:lnTo>
                    <a:pt x="1894434" y="196799"/>
                  </a:lnTo>
                  <a:lnTo>
                    <a:pt x="1894536" y="196799"/>
                  </a:lnTo>
                  <a:lnTo>
                    <a:pt x="1894536" y="195415"/>
                  </a:lnTo>
                  <a:lnTo>
                    <a:pt x="1894536" y="196113"/>
                  </a:lnTo>
                  <a:lnTo>
                    <a:pt x="1894536" y="194716"/>
                  </a:lnTo>
                  <a:lnTo>
                    <a:pt x="1894536" y="195415"/>
                  </a:lnTo>
                  <a:lnTo>
                    <a:pt x="1894536" y="194716"/>
                  </a:lnTo>
                  <a:lnTo>
                    <a:pt x="1894587" y="194716"/>
                  </a:lnTo>
                  <a:lnTo>
                    <a:pt x="1894587" y="195415"/>
                  </a:lnTo>
                  <a:lnTo>
                    <a:pt x="1894587" y="194716"/>
                  </a:lnTo>
                  <a:lnTo>
                    <a:pt x="1894637" y="194716"/>
                  </a:lnTo>
                  <a:lnTo>
                    <a:pt x="1894637" y="196799"/>
                  </a:lnTo>
                  <a:lnTo>
                    <a:pt x="1894637" y="195415"/>
                  </a:lnTo>
                  <a:lnTo>
                    <a:pt x="1894637" y="196113"/>
                  </a:lnTo>
                  <a:lnTo>
                    <a:pt x="1894739" y="196113"/>
                  </a:lnTo>
                  <a:lnTo>
                    <a:pt x="1894739" y="196799"/>
                  </a:lnTo>
                  <a:lnTo>
                    <a:pt x="1894739" y="196113"/>
                  </a:lnTo>
                  <a:lnTo>
                    <a:pt x="1894739" y="196799"/>
                  </a:lnTo>
                  <a:lnTo>
                    <a:pt x="1894790" y="196799"/>
                  </a:lnTo>
                  <a:lnTo>
                    <a:pt x="1894790" y="197447"/>
                  </a:lnTo>
                  <a:lnTo>
                    <a:pt x="1894790" y="196799"/>
                  </a:lnTo>
                  <a:lnTo>
                    <a:pt x="1894790" y="197447"/>
                  </a:lnTo>
                  <a:lnTo>
                    <a:pt x="1894840" y="197447"/>
                  </a:lnTo>
                  <a:lnTo>
                    <a:pt x="1894840" y="198831"/>
                  </a:lnTo>
                  <a:lnTo>
                    <a:pt x="1894840" y="197447"/>
                  </a:lnTo>
                  <a:lnTo>
                    <a:pt x="1894840" y="198831"/>
                  </a:lnTo>
                  <a:lnTo>
                    <a:pt x="1894840" y="197447"/>
                  </a:lnTo>
                  <a:lnTo>
                    <a:pt x="1894840" y="198831"/>
                  </a:lnTo>
                  <a:lnTo>
                    <a:pt x="1894980" y="198831"/>
                  </a:lnTo>
                  <a:lnTo>
                    <a:pt x="1894980" y="196799"/>
                  </a:lnTo>
                  <a:lnTo>
                    <a:pt x="1895031" y="196799"/>
                  </a:lnTo>
                  <a:lnTo>
                    <a:pt x="1895031" y="194716"/>
                  </a:lnTo>
                  <a:lnTo>
                    <a:pt x="1895082" y="194716"/>
                  </a:lnTo>
                  <a:lnTo>
                    <a:pt x="1895082" y="195415"/>
                  </a:lnTo>
                  <a:lnTo>
                    <a:pt x="1895082" y="194716"/>
                  </a:lnTo>
                  <a:lnTo>
                    <a:pt x="1895082" y="195415"/>
                  </a:lnTo>
                  <a:lnTo>
                    <a:pt x="1895082" y="194716"/>
                  </a:lnTo>
                  <a:lnTo>
                    <a:pt x="1895133" y="194716"/>
                  </a:lnTo>
                  <a:lnTo>
                    <a:pt x="1895133" y="196799"/>
                  </a:lnTo>
                  <a:lnTo>
                    <a:pt x="1895133" y="195415"/>
                  </a:lnTo>
                  <a:lnTo>
                    <a:pt x="1895234" y="195415"/>
                  </a:lnTo>
                  <a:lnTo>
                    <a:pt x="1895234" y="196799"/>
                  </a:lnTo>
                  <a:lnTo>
                    <a:pt x="1895234" y="196113"/>
                  </a:lnTo>
                  <a:lnTo>
                    <a:pt x="1895234" y="196799"/>
                  </a:lnTo>
                  <a:lnTo>
                    <a:pt x="1895285" y="196113"/>
                  </a:lnTo>
                  <a:lnTo>
                    <a:pt x="1895285" y="197447"/>
                  </a:lnTo>
                  <a:lnTo>
                    <a:pt x="1895336" y="197447"/>
                  </a:lnTo>
                  <a:lnTo>
                    <a:pt x="1895336" y="198831"/>
                  </a:lnTo>
                  <a:lnTo>
                    <a:pt x="1895437" y="199530"/>
                  </a:lnTo>
                  <a:lnTo>
                    <a:pt x="1895437" y="197447"/>
                  </a:lnTo>
                  <a:lnTo>
                    <a:pt x="1895437" y="198831"/>
                  </a:lnTo>
                  <a:lnTo>
                    <a:pt x="1895475" y="197447"/>
                  </a:lnTo>
                  <a:lnTo>
                    <a:pt x="1895475" y="196799"/>
                  </a:lnTo>
                  <a:lnTo>
                    <a:pt x="1895526" y="196799"/>
                  </a:lnTo>
                  <a:lnTo>
                    <a:pt x="1895526" y="195415"/>
                  </a:lnTo>
                  <a:lnTo>
                    <a:pt x="1895526" y="196799"/>
                  </a:lnTo>
                  <a:lnTo>
                    <a:pt x="1895526" y="196113"/>
                  </a:lnTo>
                  <a:lnTo>
                    <a:pt x="1895526" y="196799"/>
                  </a:lnTo>
                  <a:lnTo>
                    <a:pt x="1895577" y="196799"/>
                  </a:lnTo>
                  <a:lnTo>
                    <a:pt x="1895577" y="195415"/>
                  </a:lnTo>
                  <a:lnTo>
                    <a:pt x="1895577" y="197447"/>
                  </a:lnTo>
                  <a:lnTo>
                    <a:pt x="1895679" y="196799"/>
                  </a:lnTo>
                  <a:lnTo>
                    <a:pt x="1895679" y="196113"/>
                  </a:lnTo>
                  <a:lnTo>
                    <a:pt x="1895679" y="197447"/>
                  </a:lnTo>
                  <a:lnTo>
                    <a:pt x="1895679" y="196799"/>
                  </a:lnTo>
                  <a:lnTo>
                    <a:pt x="1895730" y="196799"/>
                  </a:lnTo>
                  <a:lnTo>
                    <a:pt x="1895730" y="196113"/>
                  </a:lnTo>
                  <a:lnTo>
                    <a:pt x="1895730" y="197447"/>
                  </a:lnTo>
                  <a:lnTo>
                    <a:pt x="1895730" y="196113"/>
                  </a:lnTo>
                  <a:lnTo>
                    <a:pt x="1895780" y="196799"/>
                  </a:lnTo>
                  <a:lnTo>
                    <a:pt x="1895780" y="197447"/>
                  </a:lnTo>
                  <a:lnTo>
                    <a:pt x="1895780" y="196799"/>
                  </a:lnTo>
                  <a:lnTo>
                    <a:pt x="1895780" y="197447"/>
                  </a:lnTo>
                  <a:lnTo>
                    <a:pt x="1895780" y="196113"/>
                  </a:lnTo>
                  <a:lnTo>
                    <a:pt x="1895780" y="196799"/>
                  </a:lnTo>
                  <a:lnTo>
                    <a:pt x="1895882" y="196799"/>
                  </a:lnTo>
                  <a:lnTo>
                    <a:pt x="1895882" y="197447"/>
                  </a:lnTo>
                  <a:lnTo>
                    <a:pt x="1895882" y="196799"/>
                  </a:lnTo>
                  <a:lnTo>
                    <a:pt x="1895882" y="197447"/>
                  </a:lnTo>
                  <a:lnTo>
                    <a:pt x="1895882" y="196799"/>
                  </a:lnTo>
                  <a:lnTo>
                    <a:pt x="1895933" y="197447"/>
                  </a:lnTo>
                  <a:lnTo>
                    <a:pt x="1895933" y="196799"/>
                  </a:lnTo>
                  <a:lnTo>
                    <a:pt x="1895933" y="197447"/>
                  </a:lnTo>
                  <a:lnTo>
                    <a:pt x="1895933" y="196799"/>
                  </a:lnTo>
                  <a:lnTo>
                    <a:pt x="1895933" y="197447"/>
                  </a:lnTo>
                  <a:lnTo>
                    <a:pt x="1895933" y="196799"/>
                  </a:lnTo>
                  <a:lnTo>
                    <a:pt x="1895984" y="196799"/>
                  </a:lnTo>
                  <a:lnTo>
                    <a:pt x="1895984" y="197447"/>
                  </a:lnTo>
                  <a:lnTo>
                    <a:pt x="1895984" y="196113"/>
                  </a:lnTo>
                  <a:lnTo>
                    <a:pt x="1896022" y="196113"/>
                  </a:lnTo>
                  <a:lnTo>
                    <a:pt x="1896022" y="197447"/>
                  </a:lnTo>
                  <a:lnTo>
                    <a:pt x="1896022" y="196113"/>
                  </a:lnTo>
                  <a:lnTo>
                    <a:pt x="1896022" y="196799"/>
                  </a:lnTo>
                  <a:lnTo>
                    <a:pt x="1896022" y="196113"/>
                  </a:lnTo>
                  <a:lnTo>
                    <a:pt x="1896123" y="196113"/>
                  </a:lnTo>
                  <a:lnTo>
                    <a:pt x="1896123" y="199530"/>
                  </a:lnTo>
                  <a:lnTo>
                    <a:pt x="1896123" y="197447"/>
                  </a:lnTo>
                  <a:lnTo>
                    <a:pt x="1896123" y="198831"/>
                  </a:lnTo>
                  <a:lnTo>
                    <a:pt x="1896123" y="197447"/>
                  </a:lnTo>
                  <a:lnTo>
                    <a:pt x="1896174" y="198831"/>
                  </a:lnTo>
                  <a:lnTo>
                    <a:pt x="1896174" y="200228"/>
                  </a:lnTo>
                  <a:lnTo>
                    <a:pt x="1896174" y="199530"/>
                  </a:lnTo>
                  <a:lnTo>
                    <a:pt x="1896174" y="200228"/>
                  </a:lnTo>
                  <a:lnTo>
                    <a:pt x="1896174" y="198831"/>
                  </a:lnTo>
                  <a:lnTo>
                    <a:pt x="1896225" y="198831"/>
                  </a:lnTo>
                  <a:lnTo>
                    <a:pt x="1896225" y="199530"/>
                  </a:lnTo>
                  <a:lnTo>
                    <a:pt x="1896225" y="198831"/>
                  </a:lnTo>
                  <a:lnTo>
                    <a:pt x="1896225" y="199530"/>
                  </a:lnTo>
                  <a:lnTo>
                    <a:pt x="1896225" y="198831"/>
                  </a:lnTo>
                  <a:lnTo>
                    <a:pt x="1896326" y="199530"/>
                  </a:lnTo>
                  <a:lnTo>
                    <a:pt x="1896326" y="198831"/>
                  </a:lnTo>
                  <a:lnTo>
                    <a:pt x="1896326" y="199530"/>
                  </a:lnTo>
                  <a:lnTo>
                    <a:pt x="1896326" y="198831"/>
                  </a:lnTo>
                  <a:lnTo>
                    <a:pt x="1896326" y="199530"/>
                  </a:lnTo>
                  <a:lnTo>
                    <a:pt x="1896326" y="198831"/>
                  </a:lnTo>
                  <a:lnTo>
                    <a:pt x="1896326" y="199530"/>
                  </a:lnTo>
                  <a:lnTo>
                    <a:pt x="1896326" y="198831"/>
                  </a:lnTo>
                  <a:lnTo>
                    <a:pt x="1896326" y="199530"/>
                  </a:lnTo>
                  <a:lnTo>
                    <a:pt x="1896326" y="198831"/>
                  </a:lnTo>
                  <a:lnTo>
                    <a:pt x="1896326" y="199530"/>
                  </a:lnTo>
                  <a:lnTo>
                    <a:pt x="1896377" y="199530"/>
                  </a:lnTo>
                  <a:lnTo>
                    <a:pt x="1896377" y="197447"/>
                  </a:lnTo>
                  <a:lnTo>
                    <a:pt x="1896377" y="199530"/>
                  </a:lnTo>
                  <a:lnTo>
                    <a:pt x="1896377" y="198831"/>
                  </a:lnTo>
                  <a:lnTo>
                    <a:pt x="1896377" y="199530"/>
                  </a:lnTo>
                  <a:lnTo>
                    <a:pt x="1896377" y="198831"/>
                  </a:lnTo>
                  <a:lnTo>
                    <a:pt x="1896428" y="198831"/>
                  </a:lnTo>
                  <a:lnTo>
                    <a:pt x="1896428" y="196799"/>
                  </a:lnTo>
                  <a:lnTo>
                    <a:pt x="1896428" y="197447"/>
                  </a:lnTo>
                  <a:lnTo>
                    <a:pt x="1896479" y="197447"/>
                  </a:lnTo>
                  <a:lnTo>
                    <a:pt x="1896479" y="196799"/>
                  </a:lnTo>
                  <a:lnTo>
                    <a:pt x="1896479" y="197447"/>
                  </a:lnTo>
                  <a:lnTo>
                    <a:pt x="1896479" y="195415"/>
                  </a:lnTo>
                  <a:lnTo>
                    <a:pt x="1896479" y="196113"/>
                  </a:lnTo>
                  <a:lnTo>
                    <a:pt x="1896568" y="196113"/>
                  </a:lnTo>
                  <a:lnTo>
                    <a:pt x="1896568" y="197447"/>
                  </a:lnTo>
                  <a:lnTo>
                    <a:pt x="1896568" y="196113"/>
                  </a:lnTo>
                  <a:lnTo>
                    <a:pt x="1896568" y="198831"/>
                  </a:lnTo>
                  <a:lnTo>
                    <a:pt x="1896619" y="198831"/>
                  </a:lnTo>
                  <a:lnTo>
                    <a:pt x="1896619" y="199530"/>
                  </a:lnTo>
                  <a:lnTo>
                    <a:pt x="1896619" y="197447"/>
                  </a:lnTo>
                  <a:lnTo>
                    <a:pt x="1896619" y="199530"/>
                  </a:lnTo>
                  <a:lnTo>
                    <a:pt x="1896669" y="199530"/>
                  </a:lnTo>
                  <a:lnTo>
                    <a:pt x="1896669" y="198831"/>
                  </a:lnTo>
                  <a:lnTo>
                    <a:pt x="1896669" y="199530"/>
                  </a:lnTo>
                  <a:lnTo>
                    <a:pt x="1896669" y="198831"/>
                  </a:lnTo>
                  <a:lnTo>
                    <a:pt x="1896669" y="200228"/>
                  </a:lnTo>
                  <a:lnTo>
                    <a:pt x="1896720" y="199530"/>
                  </a:lnTo>
                  <a:lnTo>
                    <a:pt x="1896720" y="200228"/>
                  </a:lnTo>
                  <a:lnTo>
                    <a:pt x="1896720" y="199530"/>
                  </a:lnTo>
                  <a:lnTo>
                    <a:pt x="1896720" y="200228"/>
                  </a:lnTo>
                  <a:lnTo>
                    <a:pt x="1896822" y="199530"/>
                  </a:lnTo>
                  <a:lnTo>
                    <a:pt x="1896872" y="199530"/>
                  </a:lnTo>
                  <a:lnTo>
                    <a:pt x="1896872" y="200228"/>
                  </a:lnTo>
                  <a:lnTo>
                    <a:pt x="1896872" y="198831"/>
                  </a:lnTo>
                  <a:lnTo>
                    <a:pt x="1896872" y="199530"/>
                  </a:lnTo>
                  <a:lnTo>
                    <a:pt x="1896872" y="198831"/>
                  </a:lnTo>
                  <a:lnTo>
                    <a:pt x="1896872" y="199530"/>
                  </a:lnTo>
                  <a:lnTo>
                    <a:pt x="1896872" y="198831"/>
                  </a:lnTo>
                  <a:lnTo>
                    <a:pt x="1896923" y="198831"/>
                  </a:lnTo>
                  <a:lnTo>
                    <a:pt x="1896923" y="197447"/>
                  </a:lnTo>
                  <a:lnTo>
                    <a:pt x="1896923" y="198831"/>
                  </a:lnTo>
                  <a:lnTo>
                    <a:pt x="1896923" y="196799"/>
                  </a:lnTo>
                  <a:lnTo>
                    <a:pt x="1897025" y="196799"/>
                  </a:lnTo>
                  <a:lnTo>
                    <a:pt x="1897025" y="196113"/>
                  </a:lnTo>
                  <a:lnTo>
                    <a:pt x="1897025" y="198831"/>
                  </a:lnTo>
                  <a:lnTo>
                    <a:pt x="1897025" y="196799"/>
                  </a:lnTo>
                  <a:lnTo>
                    <a:pt x="1897063" y="196799"/>
                  </a:lnTo>
                  <a:lnTo>
                    <a:pt x="1897063" y="199530"/>
                  </a:lnTo>
                  <a:lnTo>
                    <a:pt x="1897063" y="198831"/>
                  </a:lnTo>
                  <a:lnTo>
                    <a:pt x="1897114" y="198831"/>
                  </a:lnTo>
                  <a:lnTo>
                    <a:pt x="1897114" y="199530"/>
                  </a:lnTo>
                  <a:lnTo>
                    <a:pt x="1897114" y="198831"/>
                  </a:lnTo>
                  <a:lnTo>
                    <a:pt x="1897114" y="199530"/>
                  </a:lnTo>
                  <a:lnTo>
                    <a:pt x="1897114" y="198831"/>
                  </a:lnTo>
                  <a:lnTo>
                    <a:pt x="1897114" y="199530"/>
                  </a:lnTo>
                  <a:lnTo>
                    <a:pt x="1897114" y="198831"/>
                  </a:lnTo>
                  <a:lnTo>
                    <a:pt x="1897165" y="199530"/>
                  </a:lnTo>
                  <a:lnTo>
                    <a:pt x="1897165" y="198831"/>
                  </a:lnTo>
                  <a:lnTo>
                    <a:pt x="1897165" y="199530"/>
                  </a:lnTo>
                  <a:lnTo>
                    <a:pt x="1897165" y="198831"/>
                  </a:lnTo>
                  <a:lnTo>
                    <a:pt x="1897165" y="200228"/>
                  </a:lnTo>
                  <a:lnTo>
                    <a:pt x="1897266" y="199530"/>
                  </a:lnTo>
                  <a:lnTo>
                    <a:pt x="1897266" y="200228"/>
                  </a:lnTo>
                  <a:lnTo>
                    <a:pt x="1897317" y="200228"/>
                  </a:lnTo>
                  <a:lnTo>
                    <a:pt x="1897317" y="199530"/>
                  </a:lnTo>
                  <a:lnTo>
                    <a:pt x="1897317" y="200228"/>
                  </a:lnTo>
                  <a:lnTo>
                    <a:pt x="1897317" y="199530"/>
                  </a:lnTo>
                  <a:lnTo>
                    <a:pt x="1897317" y="200228"/>
                  </a:lnTo>
                  <a:lnTo>
                    <a:pt x="1897317" y="199530"/>
                  </a:lnTo>
                  <a:lnTo>
                    <a:pt x="1897317" y="200228"/>
                  </a:lnTo>
                  <a:lnTo>
                    <a:pt x="1897317" y="199530"/>
                  </a:lnTo>
                  <a:lnTo>
                    <a:pt x="1897368" y="199530"/>
                  </a:lnTo>
                  <a:lnTo>
                    <a:pt x="1897368" y="198831"/>
                  </a:lnTo>
                  <a:lnTo>
                    <a:pt x="1897368" y="199530"/>
                  </a:lnTo>
                  <a:lnTo>
                    <a:pt x="1897368" y="198831"/>
                  </a:lnTo>
                  <a:lnTo>
                    <a:pt x="1897368" y="199530"/>
                  </a:lnTo>
                  <a:lnTo>
                    <a:pt x="1897368" y="198831"/>
                  </a:lnTo>
                  <a:lnTo>
                    <a:pt x="1897368" y="199530"/>
                  </a:lnTo>
                  <a:lnTo>
                    <a:pt x="1897368" y="197447"/>
                  </a:lnTo>
                  <a:lnTo>
                    <a:pt x="1897469" y="197447"/>
                  </a:lnTo>
                  <a:lnTo>
                    <a:pt x="1897469" y="196799"/>
                  </a:lnTo>
                  <a:lnTo>
                    <a:pt x="1897469" y="197447"/>
                  </a:lnTo>
                  <a:lnTo>
                    <a:pt x="1897469" y="196113"/>
                  </a:lnTo>
                  <a:lnTo>
                    <a:pt x="1897469" y="196799"/>
                  </a:lnTo>
                  <a:lnTo>
                    <a:pt x="1897469" y="196113"/>
                  </a:lnTo>
                  <a:lnTo>
                    <a:pt x="1897520" y="196113"/>
                  </a:lnTo>
                  <a:lnTo>
                    <a:pt x="1897520" y="195415"/>
                  </a:lnTo>
                  <a:lnTo>
                    <a:pt x="1897520" y="197447"/>
                  </a:lnTo>
                  <a:lnTo>
                    <a:pt x="1897520" y="196113"/>
                  </a:lnTo>
                  <a:lnTo>
                    <a:pt x="1897520" y="196799"/>
                  </a:lnTo>
                  <a:lnTo>
                    <a:pt x="1897520" y="196113"/>
                  </a:lnTo>
                  <a:lnTo>
                    <a:pt x="1897571" y="196113"/>
                  </a:lnTo>
                  <a:lnTo>
                    <a:pt x="1897571" y="198831"/>
                  </a:lnTo>
                  <a:lnTo>
                    <a:pt x="1897571" y="197447"/>
                  </a:lnTo>
                  <a:lnTo>
                    <a:pt x="1897609" y="197447"/>
                  </a:lnTo>
                  <a:lnTo>
                    <a:pt x="1897609" y="196799"/>
                  </a:lnTo>
                  <a:lnTo>
                    <a:pt x="1897609" y="199530"/>
                  </a:lnTo>
                  <a:lnTo>
                    <a:pt x="1897609" y="197447"/>
                  </a:lnTo>
                  <a:lnTo>
                    <a:pt x="1897609" y="198831"/>
                  </a:lnTo>
                  <a:lnTo>
                    <a:pt x="1897609" y="197447"/>
                  </a:lnTo>
                  <a:lnTo>
                    <a:pt x="1897609" y="198831"/>
                  </a:lnTo>
                  <a:lnTo>
                    <a:pt x="1897711" y="197447"/>
                  </a:lnTo>
                  <a:lnTo>
                    <a:pt x="1897711" y="199530"/>
                  </a:lnTo>
                  <a:lnTo>
                    <a:pt x="1897711" y="198831"/>
                  </a:lnTo>
                  <a:lnTo>
                    <a:pt x="1897762" y="198831"/>
                  </a:lnTo>
                  <a:lnTo>
                    <a:pt x="1897762" y="199530"/>
                  </a:lnTo>
                  <a:lnTo>
                    <a:pt x="1897762" y="198831"/>
                  </a:lnTo>
                  <a:lnTo>
                    <a:pt x="1897762" y="199530"/>
                  </a:lnTo>
                  <a:lnTo>
                    <a:pt x="1897812" y="199530"/>
                  </a:lnTo>
                  <a:lnTo>
                    <a:pt x="1897812" y="198831"/>
                  </a:lnTo>
                  <a:lnTo>
                    <a:pt x="1897812" y="199530"/>
                  </a:lnTo>
                  <a:lnTo>
                    <a:pt x="1897812" y="198831"/>
                  </a:lnTo>
                  <a:lnTo>
                    <a:pt x="1897812" y="199530"/>
                  </a:lnTo>
                  <a:lnTo>
                    <a:pt x="1897812" y="198831"/>
                  </a:lnTo>
                  <a:lnTo>
                    <a:pt x="1897914" y="198831"/>
                  </a:lnTo>
                  <a:lnTo>
                    <a:pt x="1897914" y="199530"/>
                  </a:lnTo>
                  <a:lnTo>
                    <a:pt x="1897914" y="197447"/>
                  </a:lnTo>
                  <a:lnTo>
                    <a:pt x="1897965" y="197447"/>
                  </a:lnTo>
                  <a:lnTo>
                    <a:pt x="1897965" y="194716"/>
                  </a:lnTo>
                  <a:lnTo>
                    <a:pt x="1898015" y="194716"/>
                  </a:lnTo>
                  <a:lnTo>
                    <a:pt x="1898015" y="195415"/>
                  </a:lnTo>
                  <a:lnTo>
                    <a:pt x="1898015" y="194716"/>
                  </a:lnTo>
                  <a:lnTo>
                    <a:pt x="1898015" y="196799"/>
                  </a:lnTo>
                  <a:lnTo>
                    <a:pt x="1898015" y="195415"/>
                  </a:lnTo>
                  <a:lnTo>
                    <a:pt x="1898015" y="196113"/>
                  </a:lnTo>
                  <a:lnTo>
                    <a:pt x="1898066" y="196113"/>
                  </a:lnTo>
                  <a:lnTo>
                    <a:pt x="1898066" y="197447"/>
                  </a:lnTo>
                  <a:lnTo>
                    <a:pt x="1898066" y="196799"/>
                  </a:lnTo>
                  <a:lnTo>
                    <a:pt x="1898066" y="197447"/>
                  </a:lnTo>
                  <a:lnTo>
                    <a:pt x="1898066" y="196113"/>
                  </a:lnTo>
                  <a:lnTo>
                    <a:pt x="1898066" y="196799"/>
                  </a:lnTo>
                  <a:lnTo>
                    <a:pt x="1898155" y="197447"/>
                  </a:lnTo>
                  <a:lnTo>
                    <a:pt x="1898155" y="198831"/>
                  </a:lnTo>
                  <a:lnTo>
                    <a:pt x="1898155" y="197447"/>
                  </a:lnTo>
                  <a:lnTo>
                    <a:pt x="1898206" y="197447"/>
                  </a:lnTo>
                  <a:lnTo>
                    <a:pt x="1898206" y="199530"/>
                  </a:lnTo>
                  <a:lnTo>
                    <a:pt x="1898206" y="198831"/>
                  </a:lnTo>
                  <a:lnTo>
                    <a:pt x="1898257" y="198831"/>
                  </a:lnTo>
                  <a:lnTo>
                    <a:pt x="1898257" y="199530"/>
                  </a:lnTo>
                  <a:lnTo>
                    <a:pt x="1898257" y="198831"/>
                  </a:lnTo>
                  <a:lnTo>
                    <a:pt x="1898257" y="199530"/>
                  </a:lnTo>
                  <a:lnTo>
                    <a:pt x="1898257" y="198831"/>
                  </a:lnTo>
                  <a:lnTo>
                    <a:pt x="1898257" y="199530"/>
                  </a:lnTo>
                  <a:lnTo>
                    <a:pt x="1898257" y="198831"/>
                  </a:lnTo>
                  <a:lnTo>
                    <a:pt x="1898257" y="199530"/>
                  </a:lnTo>
                  <a:lnTo>
                    <a:pt x="1898308" y="199530"/>
                  </a:lnTo>
                  <a:lnTo>
                    <a:pt x="1898308" y="198831"/>
                  </a:lnTo>
                  <a:lnTo>
                    <a:pt x="1898308" y="199530"/>
                  </a:lnTo>
                  <a:lnTo>
                    <a:pt x="1898409" y="199530"/>
                  </a:lnTo>
                  <a:lnTo>
                    <a:pt x="1898409" y="196799"/>
                  </a:lnTo>
                  <a:lnTo>
                    <a:pt x="1898460" y="196799"/>
                  </a:lnTo>
                  <a:lnTo>
                    <a:pt x="1898460" y="194716"/>
                  </a:lnTo>
                  <a:lnTo>
                    <a:pt x="1898511" y="194716"/>
                  </a:lnTo>
                  <a:lnTo>
                    <a:pt x="1898511" y="195415"/>
                  </a:lnTo>
                  <a:lnTo>
                    <a:pt x="1898511" y="194716"/>
                  </a:lnTo>
                  <a:lnTo>
                    <a:pt x="1898511" y="196113"/>
                  </a:lnTo>
                  <a:lnTo>
                    <a:pt x="1898511" y="193383"/>
                  </a:lnTo>
                  <a:lnTo>
                    <a:pt x="1898511" y="195415"/>
                  </a:lnTo>
                  <a:lnTo>
                    <a:pt x="1898612" y="196113"/>
                  </a:lnTo>
                  <a:lnTo>
                    <a:pt x="1898612" y="196799"/>
                  </a:lnTo>
                  <a:lnTo>
                    <a:pt x="1898612" y="195415"/>
                  </a:lnTo>
                  <a:lnTo>
                    <a:pt x="1898612" y="196113"/>
                  </a:lnTo>
                  <a:lnTo>
                    <a:pt x="1898650" y="196113"/>
                  </a:lnTo>
                  <a:lnTo>
                    <a:pt x="1898650" y="196799"/>
                  </a:lnTo>
                  <a:lnTo>
                    <a:pt x="1898650" y="196113"/>
                  </a:lnTo>
                  <a:lnTo>
                    <a:pt x="1898650" y="196799"/>
                  </a:lnTo>
                  <a:lnTo>
                    <a:pt x="1898701" y="196799"/>
                  </a:lnTo>
                  <a:lnTo>
                    <a:pt x="1898701" y="196113"/>
                  </a:lnTo>
                  <a:lnTo>
                    <a:pt x="1898701" y="197447"/>
                  </a:lnTo>
                  <a:lnTo>
                    <a:pt x="1898854" y="197447"/>
                  </a:lnTo>
                  <a:lnTo>
                    <a:pt x="1898854" y="198831"/>
                  </a:lnTo>
                  <a:lnTo>
                    <a:pt x="1898854" y="196799"/>
                  </a:lnTo>
                  <a:lnTo>
                    <a:pt x="1898854" y="198831"/>
                  </a:lnTo>
                  <a:lnTo>
                    <a:pt x="1898854" y="197447"/>
                  </a:lnTo>
                  <a:lnTo>
                    <a:pt x="1898905" y="197447"/>
                  </a:lnTo>
                  <a:lnTo>
                    <a:pt x="1898905" y="196799"/>
                  </a:lnTo>
                  <a:lnTo>
                    <a:pt x="1898905" y="197447"/>
                  </a:lnTo>
                  <a:lnTo>
                    <a:pt x="1898905" y="196799"/>
                  </a:lnTo>
                  <a:lnTo>
                    <a:pt x="1898955" y="196799"/>
                  </a:lnTo>
                  <a:lnTo>
                    <a:pt x="1898955" y="195415"/>
                  </a:lnTo>
                  <a:lnTo>
                    <a:pt x="1898955" y="196113"/>
                  </a:lnTo>
                  <a:lnTo>
                    <a:pt x="1898955" y="195415"/>
                  </a:lnTo>
                  <a:lnTo>
                    <a:pt x="1898955" y="196113"/>
                  </a:lnTo>
                  <a:lnTo>
                    <a:pt x="1899057" y="196113"/>
                  </a:lnTo>
                  <a:lnTo>
                    <a:pt x="1899057" y="196799"/>
                  </a:lnTo>
                  <a:lnTo>
                    <a:pt x="1899057" y="194716"/>
                  </a:lnTo>
                  <a:lnTo>
                    <a:pt x="1899057" y="197447"/>
                  </a:lnTo>
                  <a:lnTo>
                    <a:pt x="1899108" y="197447"/>
                  </a:lnTo>
                  <a:lnTo>
                    <a:pt x="1899108" y="198831"/>
                  </a:lnTo>
                  <a:lnTo>
                    <a:pt x="1899108" y="196113"/>
                  </a:lnTo>
                  <a:lnTo>
                    <a:pt x="1899108" y="197447"/>
                  </a:lnTo>
                  <a:lnTo>
                    <a:pt x="1899159" y="197447"/>
                  </a:lnTo>
                  <a:lnTo>
                    <a:pt x="1899159" y="196113"/>
                  </a:lnTo>
                  <a:lnTo>
                    <a:pt x="1899159" y="197447"/>
                  </a:lnTo>
                  <a:lnTo>
                    <a:pt x="1899197" y="197447"/>
                  </a:lnTo>
                  <a:lnTo>
                    <a:pt x="1899197" y="196799"/>
                  </a:lnTo>
                  <a:lnTo>
                    <a:pt x="1899197" y="197447"/>
                  </a:lnTo>
                  <a:lnTo>
                    <a:pt x="1899197" y="196799"/>
                  </a:lnTo>
                  <a:lnTo>
                    <a:pt x="1899197" y="197447"/>
                  </a:lnTo>
                  <a:lnTo>
                    <a:pt x="1899197" y="196799"/>
                  </a:lnTo>
                  <a:lnTo>
                    <a:pt x="1899197" y="197447"/>
                  </a:lnTo>
                  <a:lnTo>
                    <a:pt x="1899197" y="196799"/>
                  </a:lnTo>
                  <a:lnTo>
                    <a:pt x="1899197" y="197447"/>
                  </a:lnTo>
                  <a:lnTo>
                    <a:pt x="1899298" y="196799"/>
                  </a:lnTo>
                  <a:lnTo>
                    <a:pt x="1899298" y="198831"/>
                  </a:lnTo>
                  <a:lnTo>
                    <a:pt x="1899298" y="197447"/>
                  </a:lnTo>
                  <a:lnTo>
                    <a:pt x="1899298" y="198831"/>
                  </a:lnTo>
                  <a:lnTo>
                    <a:pt x="1899349" y="198831"/>
                  </a:lnTo>
                  <a:lnTo>
                    <a:pt x="1899349" y="197447"/>
                  </a:lnTo>
                  <a:lnTo>
                    <a:pt x="1899349" y="198831"/>
                  </a:lnTo>
                  <a:lnTo>
                    <a:pt x="1899349" y="197447"/>
                  </a:lnTo>
                  <a:lnTo>
                    <a:pt x="1899349" y="198831"/>
                  </a:lnTo>
                  <a:lnTo>
                    <a:pt x="1899349" y="197447"/>
                  </a:lnTo>
                  <a:lnTo>
                    <a:pt x="1899349" y="198831"/>
                  </a:lnTo>
                  <a:lnTo>
                    <a:pt x="1899349" y="197447"/>
                  </a:lnTo>
                  <a:lnTo>
                    <a:pt x="1899400" y="197447"/>
                  </a:lnTo>
                  <a:lnTo>
                    <a:pt x="1899400" y="198831"/>
                  </a:lnTo>
                  <a:lnTo>
                    <a:pt x="1899400" y="196799"/>
                  </a:lnTo>
                  <a:lnTo>
                    <a:pt x="1899501" y="196799"/>
                  </a:lnTo>
                  <a:lnTo>
                    <a:pt x="1899501" y="194716"/>
                  </a:lnTo>
                  <a:lnTo>
                    <a:pt x="1899501" y="196113"/>
                  </a:lnTo>
                  <a:lnTo>
                    <a:pt x="1899552" y="196799"/>
                  </a:lnTo>
                  <a:lnTo>
                    <a:pt x="1899552" y="194716"/>
                  </a:lnTo>
                  <a:lnTo>
                    <a:pt x="1899552" y="197447"/>
                  </a:lnTo>
                  <a:lnTo>
                    <a:pt x="1899603" y="197447"/>
                  </a:lnTo>
                  <a:lnTo>
                    <a:pt x="1899603" y="196113"/>
                  </a:lnTo>
                  <a:lnTo>
                    <a:pt x="1899603" y="197447"/>
                  </a:lnTo>
                  <a:lnTo>
                    <a:pt x="1899654" y="197447"/>
                  </a:lnTo>
                  <a:lnTo>
                    <a:pt x="1899654" y="196799"/>
                  </a:lnTo>
                  <a:lnTo>
                    <a:pt x="1899654" y="197447"/>
                  </a:lnTo>
                  <a:lnTo>
                    <a:pt x="1899654" y="196113"/>
                  </a:lnTo>
                  <a:lnTo>
                    <a:pt x="1899654" y="197447"/>
                  </a:lnTo>
                  <a:lnTo>
                    <a:pt x="1899743" y="197447"/>
                  </a:lnTo>
                  <a:lnTo>
                    <a:pt x="1899743" y="198831"/>
                  </a:lnTo>
                  <a:lnTo>
                    <a:pt x="1899743" y="196799"/>
                  </a:lnTo>
                  <a:lnTo>
                    <a:pt x="1899743" y="197447"/>
                  </a:lnTo>
                  <a:lnTo>
                    <a:pt x="1899743" y="196799"/>
                  </a:lnTo>
                  <a:lnTo>
                    <a:pt x="1899743" y="198831"/>
                  </a:lnTo>
                  <a:lnTo>
                    <a:pt x="1899743" y="197447"/>
                  </a:lnTo>
                  <a:lnTo>
                    <a:pt x="1899743" y="198831"/>
                  </a:lnTo>
                  <a:lnTo>
                    <a:pt x="1899794" y="197447"/>
                  </a:lnTo>
                  <a:lnTo>
                    <a:pt x="1899794" y="198831"/>
                  </a:lnTo>
                  <a:lnTo>
                    <a:pt x="1899794" y="197447"/>
                  </a:lnTo>
                  <a:lnTo>
                    <a:pt x="1899794" y="198831"/>
                  </a:lnTo>
                  <a:lnTo>
                    <a:pt x="1899794" y="197447"/>
                  </a:lnTo>
                  <a:lnTo>
                    <a:pt x="1899794" y="198831"/>
                  </a:lnTo>
                  <a:lnTo>
                    <a:pt x="1899794" y="197447"/>
                  </a:lnTo>
                  <a:lnTo>
                    <a:pt x="1899794" y="198831"/>
                  </a:lnTo>
                  <a:lnTo>
                    <a:pt x="1899794" y="197447"/>
                  </a:lnTo>
                  <a:lnTo>
                    <a:pt x="1899844" y="197447"/>
                  </a:lnTo>
                  <a:lnTo>
                    <a:pt x="1899844" y="196799"/>
                  </a:lnTo>
                  <a:lnTo>
                    <a:pt x="1899844" y="197447"/>
                  </a:lnTo>
                  <a:lnTo>
                    <a:pt x="1899844" y="196799"/>
                  </a:lnTo>
                  <a:lnTo>
                    <a:pt x="1899844" y="197447"/>
                  </a:lnTo>
                  <a:lnTo>
                    <a:pt x="1899844" y="196799"/>
                  </a:lnTo>
                  <a:lnTo>
                    <a:pt x="1899844" y="197447"/>
                  </a:lnTo>
                  <a:lnTo>
                    <a:pt x="1899844" y="196799"/>
                  </a:lnTo>
                  <a:lnTo>
                    <a:pt x="1899895" y="197447"/>
                  </a:lnTo>
                  <a:lnTo>
                    <a:pt x="1899895" y="196113"/>
                  </a:lnTo>
                  <a:lnTo>
                    <a:pt x="1899997" y="196113"/>
                  </a:lnTo>
                  <a:lnTo>
                    <a:pt x="1899997" y="194716"/>
                  </a:lnTo>
                  <a:lnTo>
                    <a:pt x="1899997" y="196799"/>
                  </a:lnTo>
                  <a:lnTo>
                    <a:pt x="1899997" y="196113"/>
                  </a:lnTo>
                  <a:lnTo>
                    <a:pt x="1900047" y="196113"/>
                  </a:lnTo>
                  <a:lnTo>
                    <a:pt x="1900047" y="195415"/>
                  </a:lnTo>
                  <a:lnTo>
                    <a:pt x="1900047" y="198831"/>
                  </a:lnTo>
                  <a:lnTo>
                    <a:pt x="1900047" y="196799"/>
                  </a:lnTo>
                  <a:lnTo>
                    <a:pt x="1900098" y="196799"/>
                  </a:lnTo>
                  <a:lnTo>
                    <a:pt x="1900098" y="198831"/>
                  </a:lnTo>
                  <a:lnTo>
                    <a:pt x="1900098" y="197447"/>
                  </a:lnTo>
                  <a:lnTo>
                    <a:pt x="1900200" y="197447"/>
                  </a:lnTo>
                  <a:lnTo>
                    <a:pt x="1900200" y="198831"/>
                  </a:lnTo>
                  <a:lnTo>
                    <a:pt x="1900200" y="197447"/>
                  </a:lnTo>
                  <a:lnTo>
                    <a:pt x="1900200" y="198831"/>
                  </a:lnTo>
                  <a:lnTo>
                    <a:pt x="1900200" y="197447"/>
                  </a:lnTo>
                  <a:lnTo>
                    <a:pt x="1900238" y="197447"/>
                  </a:lnTo>
                  <a:lnTo>
                    <a:pt x="1900238" y="198831"/>
                  </a:lnTo>
                  <a:lnTo>
                    <a:pt x="1900238" y="197447"/>
                  </a:lnTo>
                  <a:lnTo>
                    <a:pt x="1900238" y="198831"/>
                  </a:lnTo>
                  <a:lnTo>
                    <a:pt x="1900289" y="198831"/>
                  </a:lnTo>
                  <a:lnTo>
                    <a:pt x="1900289" y="197447"/>
                  </a:lnTo>
                  <a:lnTo>
                    <a:pt x="1900289" y="198831"/>
                  </a:lnTo>
                  <a:lnTo>
                    <a:pt x="1900289" y="197447"/>
                  </a:lnTo>
                  <a:lnTo>
                    <a:pt x="1900340" y="197447"/>
                  </a:lnTo>
                  <a:lnTo>
                    <a:pt x="1900340" y="198831"/>
                  </a:lnTo>
                  <a:lnTo>
                    <a:pt x="1900340" y="197447"/>
                  </a:lnTo>
                  <a:lnTo>
                    <a:pt x="1900340" y="198831"/>
                  </a:lnTo>
                  <a:lnTo>
                    <a:pt x="1900340" y="196799"/>
                  </a:lnTo>
                  <a:lnTo>
                    <a:pt x="1900441" y="196799"/>
                  </a:lnTo>
                  <a:lnTo>
                    <a:pt x="1900441" y="196113"/>
                  </a:lnTo>
                  <a:lnTo>
                    <a:pt x="1900441" y="196799"/>
                  </a:lnTo>
                  <a:lnTo>
                    <a:pt x="1900441" y="196113"/>
                  </a:lnTo>
                  <a:lnTo>
                    <a:pt x="1900441" y="196799"/>
                  </a:lnTo>
                  <a:lnTo>
                    <a:pt x="1900492" y="196799"/>
                  </a:lnTo>
                  <a:lnTo>
                    <a:pt x="1900492" y="197447"/>
                  </a:lnTo>
                  <a:lnTo>
                    <a:pt x="1900492" y="196799"/>
                  </a:lnTo>
                  <a:lnTo>
                    <a:pt x="1900492" y="197447"/>
                  </a:lnTo>
                  <a:lnTo>
                    <a:pt x="1900492" y="196799"/>
                  </a:lnTo>
                  <a:lnTo>
                    <a:pt x="1900492" y="198831"/>
                  </a:lnTo>
                  <a:lnTo>
                    <a:pt x="1900543" y="198831"/>
                  </a:lnTo>
                  <a:lnTo>
                    <a:pt x="1900543" y="200228"/>
                  </a:lnTo>
                  <a:lnTo>
                    <a:pt x="1900543" y="197447"/>
                  </a:lnTo>
                  <a:lnTo>
                    <a:pt x="1900543" y="199530"/>
                  </a:lnTo>
                  <a:lnTo>
                    <a:pt x="1900644" y="199530"/>
                  </a:lnTo>
                  <a:lnTo>
                    <a:pt x="1900644" y="198831"/>
                  </a:lnTo>
                  <a:lnTo>
                    <a:pt x="1900644" y="199530"/>
                  </a:lnTo>
                  <a:lnTo>
                    <a:pt x="1900644" y="198831"/>
                  </a:lnTo>
                  <a:lnTo>
                    <a:pt x="1900644" y="199530"/>
                  </a:lnTo>
                  <a:lnTo>
                    <a:pt x="1900746" y="199530"/>
                  </a:lnTo>
                  <a:lnTo>
                    <a:pt x="1900746" y="198831"/>
                  </a:lnTo>
                  <a:lnTo>
                    <a:pt x="1900746" y="199530"/>
                  </a:lnTo>
                  <a:lnTo>
                    <a:pt x="1900784" y="199530"/>
                  </a:lnTo>
                  <a:lnTo>
                    <a:pt x="1900784" y="198831"/>
                  </a:lnTo>
                  <a:lnTo>
                    <a:pt x="1900784" y="199530"/>
                  </a:lnTo>
                  <a:lnTo>
                    <a:pt x="1900784" y="198831"/>
                  </a:lnTo>
                  <a:lnTo>
                    <a:pt x="1900886" y="197447"/>
                  </a:lnTo>
                  <a:lnTo>
                    <a:pt x="1900886" y="196113"/>
                  </a:lnTo>
                  <a:lnTo>
                    <a:pt x="1900886" y="196799"/>
                  </a:lnTo>
                  <a:lnTo>
                    <a:pt x="1900886" y="196113"/>
                  </a:lnTo>
                  <a:lnTo>
                    <a:pt x="1900937" y="196113"/>
                  </a:lnTo>
                  <a:lnTo>
                    <a:pt x="1900937" y="195415"/>
                  </a:lnTo>
                  <a:lnTo>
                    <a:pt x="1900937" y="196113"/>
                  </a:lnTo>
                  <a:lnTo>
                    <a:pt x="1900937" y="195415"/>
                  </a:lnTo>
                  <a:lnTo>
                    <a:pt x="1900937" y="196799"/>
                  </a:lnTo>
                  <a:lnTo>
                    <a:pt x="1900987" y="196799"/>
                  </a:lnTo>
                  <a:lnTo>
                    <a:pt x="1900987" y="195415"/>
                  </a:lnTo>
                  <a:lnTo>
                    <a:pt x="1900987" y="198831"/>
                  </a:lnTo>
                  <a:lnTo>
                    <a:pt x="1900987" y="197447"/>
                  </a:lnTo>
                  <a:lnTo>
                    <a:pt x="1901089" y="197447"/>
                  </a:lnTo>
                  <a:lnTo>
                    <a:pt x="1901089" y="196799"/>
                  </a:lnTo>
                  <a:lnTo>
                    <a:pt x="1901089" y="199530"/>
                  </a:lnTo>
                  <a:lnTo>
                    <a:pt x="1901089" y="197447"/>
                  </a:lnTo>
                  <a:lnTo>
                    <a:pt x="1901140" y="197447"/>
                  </a:lnTo>
                  <a:lnTo>
                    <a:pt x="1901140" y="198831"/>
                  </a:lnTo>
                  <a:lnTo>
                    <a:pt x="1901190" y="198831"/>
                  </a:lnTo>
                  <a:lnTo>
                    <a:pt x="1901190" y="199530"/>
                  </a:lnTo>
                  <a:lnTo>
                    <a:pt x="1901190" y="198831"/>
                  </a:lnTo>
                  <a:lnTo>
                    <a:pt x="1901190" y="199530"/>
                  </a:lnTo>
                  <a:lnTo>
                    <a:pt x="1901190" y="198831"/>
                  </a:lnTo>
                  <a:lnTo>
                    <a:pt x="1901241" y="199530"/>
                  </a:lnTo>
                  <a:lnTo>
                    <a:pt x="1901241" y="198831"/>
                  </a:lnTo>
                  <a:lnTo>
                    <a:pt x="1901241" y="199530"/>
                  </a:lnTo>
                  <a:lnTo>
                    <a:pt x="1901330" y="198831"/>
                  </a:lnTo>
                  <a:lnTo>
                    <a:pt x="1901330" y="199530"/>
                  </a:lnTo>
                  <a:lnTo>
                    <a:pt x="1901330" y="197447"/>
                  </a:lnTo>
                  <a:lnTo>
                    <a:pt x="1901381" y="197447"/>
                  </a:lnTo>
                  <a:lnTo>
                    <a:pt x="1901381" y="198831"/>
                  </a:lnTo>
                  <a:lnTo>
                    <a:pt x="1901381" y="196113"/>
                  </a:lnTo>
                  <a:lnTo>
                    <a:pt x="1901432" y="195415"/>
                  </a:lnTo>
                  <a:lnTo>
                    <a:pt x="1901432" y="196113"/>
                  </a:lnTo>
                  <a:lnTo>
                    <a:pt x="1901432" y="195415"/>
                  </a:lnTo>
                  <a:lnTo>
                    <a:pt x="1901432" y="196113"/>
                  </a:lnTo>
                  <a:lnTo>
                    <a:pt x="1901432" y="195415"/>
                  </a:lnTo>
                  <a:lnTo>
                    <a:pt x="1901432" y="196113"/>
                  </a:lnTo>
                  <a:lnTo>
                    <a:pt x="1901432" y="195415"/>
                  </a:lnTo>
                  <a:lnTo>
                    <a:pt x="1901483" y="195415"/>
                  </a:lnTo>
                  <a:lnTo>
                    <a:pt x="1901483" y="193383"/>
                  </a:lnTo>
                  <a:lnTo>
                    <a:pt x="1901483" y="196799"/>
                  </a:lnTo>
                  <a:lnTo>
                    <a:pt x="1901483" y="196113"/>
                  </a:lnTo>
                  <a:lnTo>
                    <a:pt x="1901483" y="196799"/>
                  </a:lnTo>
                  <a:lnTo>
                    <a:pt x="1901584" y="196113"/>
                  </a:lnTo>
                  <a:lnTo>
                    <a:pt x="1901584" y="197447"/>
                  </a:lnTo>
                  <a:lnTo>
                    <a:pt x="1901584" y="196113"/>
                  </a:lnTo>
                  <a:lnTo>
                    <a:pt x="1901584" y="196799"/>
                  </a:lnTo>
                  <a:lnTo>
                    <a:pt x="1901635" y="196799"/>
                  </a:lnTo>
                  <a:lnTo>
                    <a:pt x="1901635" y="196113"/>
                  </a:lnTo>
                  <a:lnTo>
                    <a:pt x="1901635" y="197447"/>
                  </a:lnTo>
                  <a:lnTo>
                    <a:pt x="1901635" y="196799"/>
                  </a:lnTo>
                  <a:lnTo>
                    <a:pt x="1901635" y="197447"/>
                  </a:lnTo>
                  <a:lnTo>
                    <a:pt x="1901686" y="197447"/>
                  </a:lnTo>
                  <a:lnTo>
                    <a:pt x="1901686" y="198831"/>
                  </a:lnTo>
                  <a:lnTo>
                    <a:pt x="1901686" y="197447"/>
                  </a:lnTo>
                  <a:lnTo>
                    <a:pt x="1901686" y="198831"/>
                  </a:lnTo>
                  <a:lnTo>
                    <a:pt x="1901686" y="197447"/>
                  </a:lnTo>
                  <a:lnTo>
                    <a:pt x="1901787" y="197447"/>
                  </a:lnTo>
                  <a:lnTo>
                    <a:pt x="1901787" y="198831"/>
                  </a:lnTo>
                  <a:lnTo>
                    <a:pt x="1901787" y="197447"/>
                  </a:lnTo>
                  <a:lnTo>
                    <a:pt x="1901787" y="198831"/>
                  </a:lnTo>
                  <a:lnTo>
                    <a:pt x="1901787" y="197447"/>
                  </a:lnTo>
                  <a:lnTo>
                    <a:pt x="1901787" y="199530"/>
                  </a:lnTo>
                  <a:lnTo>
                    <a:pt x="1901825" y="198831"/>
                  </a:lnTo>
                  <a:lnTo>
                    <a:pt x="1901825" y="196799"/>
                  </a:lnTo>
                  <a:lnTo>
                    <a:pt x="1901825" y="197447"/>
                  </a:lnTo>
                  <a:lnTo>
                    <a:pt x="1901876" y="197447"/>
                  </a:lnTo>
                  <a:lnTo>
                    <a:pt x="1901876" y="196113"/>
                  </a:lnTo>
                  <a:lnTo>
                    <a:pt x="1901927" y="196113"/>
                  </a:lnTo>
                  <a:lnTo>
                    <a:pt x="1901927" y="196799"/>
                  </a:lnTo>
                  <a:lnTo>
                    <a:pt x="1901927" y="196113"/>
                  </a:lnTo>
                  <a:lnTo>
                    <a:pt x="1901927" y="196799"/>
                  </a:lnTo>
                  <a:lnTo>
                    <a:pt x="1901927" y="196113"/>
                  </a:lnTo>
                  <a:lnTo>
                    <a:pt x="1901927" y="196799"/>
                  </a:lnTo>
                  <a:lnTo>
                    <a:pt x="1902029" y="197447"/>
                  </a:lnTo>
                  <a:lnTo>
                    <a:pt x="1902029" y="199530"/>
                  </a:lnTo>
                  <a:lnTo>
                    <a:pt x="1902029" y="196113"/>
                  </a:lnTo>
                  <a:lnTo>
                    <a:pt x="1902029" y="197447"/>
                  </a:lnTo>
                  <a:lnTo>
                    <a:pt x="1902080" y="197447"/>
                  </a:lnTo>
                  <a:lnTo>
                    <a:pt x="1902080" y="198831"/>
                  </a:lnTo>
                  <a:lnTo>
                    <a:pt x="1902080" y="197447"/>
                  </a:lnTo>
                  <a:lnTo>
                    <a:pt x="1902080" y="198831"/>
                  </a:lnTo>
                  <a:lnTo>
                    <a:pt x="1902130" y="198831"/>
                  </a:lnTo>
                  <a:lnTo>
                    <a:pt x="1902130" y="196799"/>
                  </a:lnTo>
                  <a:lnTo>
                    <a:pt x="1902130" y="198831"/>
                  </a:lnTo>
                  <a:lnTo>
                    <a:pt x="1902232" y="198831"/>
                  </a:lnTo>
                  <a:lnTo>
                    <a:pt x="1902232" y="197447"/>
                  </a:lnTo>
                  <a:lnTo>
                    <a:pt x="1902232" y="198831"/>
                  </a:lnTo>
                  <a:lnTo>
                    <a:pt x="1902283" y="198831"/>
                  </a:lnTo>
                  <a:lnTo>
                    <a:pt x="1902283" y="197447"/>
                  </a:lnTo>
                  <a:lnTo>
                    <a:pt x="1902283" y="198831"/>
                  </a:lnTo>
                  <a:lnTo>
                    <a:pt x="1902283" y="197447"/>
                  </a:lnTo>
                  <a:lnTo>
                    <a:pt x="1902283" y="198831"/>
                  </a:lnTo>
                  <a:lnTo>
                    <a:pt x="1902283" y="197447"/>
                  </a:lnTo>
                  <a:lnTo>
                    <a:pt x="1902283" y="199530"/>
                  </a:lnTo>
                  <a:lnTo>
                    <a:pt x="1902334" y="199530"/>
                  </a:lnTo>
                  <a:lnTo>
                    <a:pt x="1902334" y="196799"/>
                  </a:lnTo>
                  <a:lnTo>
                    <a:pt x="1902334" y="197447"/>
                  </a:lnTo>
                  <a:lnTo>
                    <a:pt x="1902372" y="196799"/>
                  </a:lnTo>
                  <a:lnTo>
                    <a:pt x="1902372" y="195415"/>
                  </a:lnTo>
                  <a:lnTo>
                    <a:pt x="1902372" y="196799"/>
                  </a:lnTo>
                  <a:lnTo>
                    <a:pt x="1902372" y="196113"/>
                  </a:lnTo>
                  <a:lnTo>
                    <a:pt x="1902372" y="196799"/>
                  </a:lnTo>
                  <a:lnTo>
                    <a:pt x="1902473" y="196799"/>
                  </a:lnTo>
                  <a:lnTo>
                    <a:pt x="1902473" y="197447"/>
                  </a:lnTo>
                  <a:lnTo>
                    <a:pt x="1902473" y="196799"/>
                  </a:lnTo>
                  <a:lnTo>
                    <a:pt x="1902473" y="197447"/>
                  </a:lnTo>
                  <a:lnTo>
                    <a:pt x="1902473" y="196113"/>
                  </a:lnTo>
                  <a:lnTo>
                    <a:pt x="1902473" y="199530"/>
                  </a:lnTo>
                  <a:lnTo>
                    <a:pt x="1902524" y="199530"/>
                  </a:lnTo>
                  <a:lnTo>
                    <a:pt x="1902524" y="196799"/>
                  </a:lnTo>
                  <a:lnTo>
                    <a:pt x="1902524" y="199530"/>
                  </a:lnTo>
                  <a:lnTo>
                    <a:pt x="1902575" y="199530"/>
                  </a:lnTo>
                  <a:lnTo>
                    <a:pt x="1902575" y="197447"/>
                  </a:lnTo>
                  <a:lnTo>
                    <a:pt x="1902575" y="199530"/>
                  </a:lnTo>
                  <a:lnTo>
                    <a:pt x="1902575" y="198831"/>
                  </a:lnTo>
                  <a:lnTo>
                    <a:pt x="1902676" y="198831"/>
                  </a:lnTo>
                  <a:lnTo>
                    <a:pt x="1902676" y="197447"/>
                  </a:lnTo>
                  <a:lnTo>
                    <a:pt x="1902676" y="198831"/>
                  </a:lnTo>
                  <a:lnTo>
                    <a:pt x="1902778" y="198831"/>
                  </a:lnTo>
                  <a:lnTo>
                    <a:pt x="1902778" y="197447"/>
                  </a:lnTo>
                  <a:lnTo>
                    <a:pt x="1902778" y="198831"/>
                  </a:lnTo>
                  <a:lnTo>
                    <a:pt x="1902778" y="197447"/>
                  </a:lnTo>
                  <a:lnTo>
                    <a:pt x="1902778" y="198831"/>
                  </a:lnTo>
                  <a:lnTo>
                    <a:pt x="1902778" y="197447"/>
                  </a:lnTo>
                  <a:lnTo>
                    <a:pt x="1902778" y="198831"/>
                  </a:lnTo>
                  <a:lnTo>
                    <a:pt x="1902778" y="197447"/>
                  </a:lnTo>
                  <a:lnTo>
                    <a:pt x="1902829" y="197447"/>
                  </a:lnTo>
                  <a:lnTo>
                    <a:pt x="1902829" y="196799"/>
                  </a:lnTo>
                  <a:lnTo>
                    <a:pt x="1902829" y="197447"/>
                  </a:lnTo>
                  <a:lnTo>
                    <a:pt x="1902829" y="195415"/>
                  </a:lnTo>
                  <a:lnTo>
                    <a:pt x="1902918" y="195415"/>
                  </a:lnTo>
                  <a:lnTo>
                    <a:pt x="1902918" y="196113"/>
                  </a:lnTo>
                  <a:lnTo>
                    <a:pt x="1902918" y="195415"/>
                  </a:lnTo>
                  <a:lnTo>
                    <a:pt x="1902918" y="196799"/>
                  </a:lnTo>
                  <a:lnTo>
                    <a:pt x="1902918" y="196113"/>
                  </a:lnTo>
                  <a:lnTo>
                    <a:pt x="1902969" y="196113"/>
                  </a:lnTo>
                  <a:lnTo>
                    <a:pt x="1902969" y="195415"/>
                  </a:lnTo>
                  <a:lnTo>
                    <a:pt x="1902969" y="199530"/>
                  </a:lnTo>
                  <a:lnTo>
                    <a:pt x="1902969" y="197447"/>
                  </a:lnTo>
                  <a:lnTo>
                    <a:pt x="1903019" y="196799"/>
                  </a:lnTo>
                  <a:lnTo>
                    <a:pt x="1903019" y="199530"/>
                  </a:lnTo>
                  <a:lnTo>
                    <a:pt x="1903019" y="198831"/>
                  </a:lnTo>
                  <a:lnTo>
                    <a:pt x="1903070" y="197447"/>
                  </a:lnTo>
                  <a:lnTo>
                    <a:pt x="1903070" y="199530"/>
                  </a:lnTo>
                  <a:lnTo>
                    <a:pt x="1903070" y="198831"/>
                  </a:lnTo>
                  <a:lnTo>
                    <a:pt x="1903172" y="198831"/>
                  </a:lnTo>
                  <a:lnTo>
                    <a:pt x="1903172" y="197447"/>
                  </a:lnTo>
                  <a:lnTo>
                    <a:pt x="1903172" y="198831"/>
                  </a:lnTo>
                  <a:lnTo>
                    <a:pt x="1903222" y="198831"/>
                  </a:lnTo>
                  <a:lnTo>
                    <a:pt x="1903222" y="197447"/>
                  </a:lnTo>
                  <a:lnTo>
                    <a:pt x="1903273" y="198831"/>
                  </a:lnTo>
                  <a:lnTo>
                    <a:pt x="1903273" y="197447"/>
                  </a:lnTo>
                  <a:lnTo>
                    <a:pt x="1903273" y="198831"/>
                  </a:lnTo>
                  <a:lnTo>
                    <a:pt x="1903273" y="197447"/>
                  </a:lnTo>
                  <a:lnTo>
                    <a:pt x="1903273" y="198831"/>
                  </a:lnTo>
                  <a:lnTo>
                    <a:pt x="1903273" y="197447"/>
                  </a:lnTo>
                  <a:lnTo>
                    <a:pt x="1903273" y="198831"/>
                  </a:lnTo>
                  <a:lnTo>
                    <a:pt x="1903273" y="197447"/>
                  </a:lnTo>
                  <a:lnTo>
                    <a:pt x="1903273" y="198831"/>
                  </a:lnTo>
                  <a:lnTo>
                    <a:pt x="1903375" y="198831"/>
                  </a:lnTo>
                  <a:lnTo>
                    <a:pt x="1903375" y="196113"/>
                  </a:lnTo>
                  <a:lnTo>
                    <a:pt x="1903375" y="196799"/>
                  </a:lnTo>
                  <a:lnTo>
                    <a:pt x="1903375" y="195415"/>
                  </a:lnTo>
                  <a:lnTo>
                    <a:pt x="1903413" y="195415"/>
                  </a:lnTo>
                  <a:lnTo>
                    <a:pt x="1903413" y="194716"/>
                  </a:lnTo>
                  <a:lnTo>
                    <a:pt x="1903413" y="196113"/>
                  </a:lnTo>
                  <a:lnTo>
                    <a:pt x="1903413" y="195415"/>
                  </a:lnTo>
                  <a:lnTo>
                    <a:pt x="1903464" y="195415"/>
                  </a:lnTo>
                  <a:lnTo>
                    <a:pt x="1903464" y="194716"/>
                  </a:lnTo>
                  <a:lnTo>
                    <a:pt x="1903464" y="197447"/>
                  </a:lnTo>
                  <a:lnTo>
                    <a:pt x="1903464" y="196113"/>
                  </a:lnTo>
                  <a:lnTo>
                    <a:pt x="1903515" y="196113"/>
                  </a:lnTo>
                  <a:lnTo>
                    <a:pt x="1903515" y="196799"/>
                  </a:lnTo>
                  <a:lnTo>
                    <a:pt x="1903515" y="196113"/>
                  </a:lnTo>
                  <a:lnTo>
                    <a:pt x="1903515" y="197447"/>
                  </a:lnTo>
                  <a:lnTo>
                    <a:pt x="1903515" y="196799"/>
                  </a:lnTo>
                  <a:lnTo>
                    <a:pt x="1903515" y="197447"/>
                  </a:lnTo>
                  <a:lnTo>
                    <a:pt x="1903515" y="196799"/>
                  </a:lnTo>
                  <a:lnTo>
                    <a:pt x="1903515" y="197447"/>
                  </a:lnTo>
                  <a:lnTo>
                    <a:pt x="1903515" y="196799"/>
                  </a:lnTo>
                  <a:lnTo>
                    <a:pt x="1903515" y="197447"/>
                  </a:lnTo>
                  <a:lnTo>
                    <a:pt x="1903515" y="196799"/>
                  </a:lnTo>
                  <a:lnTo>
                    <a:pt x="1903616" y="196799"/>
                  </a:lnTo>
                  <a:lnTo>
                    <a:pt x="1903616" y="197447"/>
                  </a:lnTo>
                  <a:lnTo>
                    <a:pt x="1903616" y="196799"/>
                  </a:lnTo>
                  <a:lnTo>
                    <a:pt x="1903616" y="197447"/>
                  </a:lnTo>
                  <a:lnTo>
                    <a:pt x="1903616" y="196799"/>
                  </a:lnTo>
                  <a:lnTo>
                    <a:pt x="1903616" y="197447"/>
                  </a:lnTo>
                  <a:lnTo>
                    <a:pt x="1903616" y="196799"/>
                  </a:lnTo>
                  <a:lnTo>
                    <a:pt x="1903616" y="197447"/>
                  </a:lnTo>
                  <a:lnTo>
                    <a:pt x="1903667" y="196799"/>
                  </a:lnTo>
                  <a:lnTo>
                    <a:pt x="1903667" y="198831"/>
                  </a:lnTo>
                  <a:lnTo>
                    <a:pt x="1903667" y="197447"/>
                  </a:lnTo>
                  <a:lnTo>
                    <a:pt x="1903718" y="198831"/>
                  </a:lnTo>
                  <a:lnTo>
                    <a:pt x="1903718" y="197447"/>
                  </a:lnTo>
                  <a:lnTo>
                    <a:pt x="1903718" y="198831"/>
                  </a:lnTo>
                  <a:lnTo>
                    <a:pt x="1903718" y="197447"/>
                  </a:lnTo>
                  <a:lnTo>
                    <a:pt x="1903718" y="198831"/>
                  </a:lnTo>
                  <a:lnTo>
                    <a:pt x="1903718" y="197447"/>
                  </a:lnTo>
                  <a:lnTo>
                    <a:pt x="1903718" y="198831"/>
                  </a:lnTo>
                  <a:lnTo>
                    <a:pt x="1903718" y="197447"/>
                  </a:lnTo>
                  <a:lnTo>
                    <a:pt x="1903718" y="198831"/>
                  </a:lnTo>
                  <a:lnTo>
                    <a:pt x="1903718" y="197447"/>
                  </a:lnTo>
                  <a:lnTo>
                    <a:pt x="1903718" y="198831"/>
                  </a:lnTo>
                  <a:lnTo>
                    <a:pt x="1903819" y="198831"/>
                  </a:lnTo>
                  <a:lnTo>
                    <a:pt x="1903819" y="197447"/>
                  </a:lnTo>
                  <a:lnTo>
                    <a:pt x="1903819" y="198831"/>
                  </a:lnTo>
                  <a:lnTo>
                    <a:pt x="1903819" y="197447"/>
                  </a:lnTo>
                  <a:lnTo>
                    <a:pt x="1903870" y="197447"/>
                  </a:lnTo>
                  <a:lnTo>
                    <a:pt x="1903870" y="196113"/>
                  </a:lnTo>
                  <a:lnTo>
                    <a:pt x="1903870" y="196799"/>
                  </a:lnTo>
                  <a:lnTo>
                    <a:pt x="1903870" y="195415"/>
                  </a:lnTo>
                  <a:lnTo>
                    <a:pt x="1903921" y="195415"/>
                  </a:lnTo>
                  <a:lnTo>
                    <a:pt x="1903921" y="194716"/>
                  </a:lnTo>
                  <a:lnTo>
                    <a:pt x="1903921" y="195415"/>
                  </a:lnTo>
                  <a:lnTo>
                    <a:pt x="1903921" y="193383"/>
                  </a:lnTo>
                  <a:lnTo>
                    <a:pt x="1903921" y="194716"/>
                  </a:lnTo>
                  <a:lnTo>
                    <a:pt x="1903921" y="191986"/>
                  </a:lnTo>
                  <a:lnTo>
                    <a:pt x="1903921" y="192684"/>
                  </a:lnTo>
                  <a:lnTo>
                    <a:pt x="1903959" y="193383"/>
                  </a:lnTo>
                  <a:lnTo>
                    <a:pt x="1903959" y="191351"/>
                  </a:lnTo>
                  <a:lnTo>
                    <a:pt x="1903959" y="194716"/>
                  </a:lnTo>
                  <a:lnTo>
                    <a:pt x="1904061" y="195415"/>
                  </a:lnTo>
                  <a:lnTo>
                    <a:pt x="1904061" y="193383"/>
                  </a:lnTo>
                  <a:lnTo>
                    <a:pt x="1904061" y="196113"/>
                  </a:lnTo>
                  <a:lnTo>
                    <a:pt x="1904112" y="196113"/>
                  </a:lnTo>
                  <a:lnTo>
                    <a:pt x="1904112" y="195415"/>
                  </a:lnTo>
                  <a:lnTo>
                    <a:pt x="1904112" y="196799"/>
                  </a:lnTo>
                  <a:lnTo>
                    <a:pt x="1904112" y="196113"/>
                  </a:lnTo>
                  <a:lnTo>
                    <a:pt x="1904112" y="196799"/>
                  </a:lnTo>
                  <a:lnTo>
                    <a:pt x="1904162" y="196113"/>
                  </a:lnTo>
                  <a:lnTo>
                    <a:pt x="1904162" y="196799"/>
                  </a:lnTo>
                  <a:lnTo>
                    <a:pt x="1904162" y="196113"/>
                  </a:lnTo>
                  <a:lnTo>
                    <a:pt x="1904162" y="196799"/>
                  </a:lnTo>
                  <a:lnTo>
                    <a:pt x="1904264" y="196799"/>
                  </a:lnTo>
                  <a:lnTo>
                    <a:pt x="1904264" y="198831"/>
                  </a:lnTo>
                  <a:lnTo>
                    <a:pt x="1904264" y="197447"/>
                  </a:lnTo>
                  <a:lnTo>
                    <a:pt x="1904264" y="198831"/>
                  </a:lnTo>
                  <a:lnTo>
                    <a:pt x="1904264" y="197447"/>
                  </a:lnTo>
                  <a:lnTo>
                    <a:pt x="1904315" y="197447"/>
                  </a:lnTo>
                  <a:lnTo>
                    <a:pt x="1904315" y="198831"/>
                  </a:lnTo>
                  <a:lnTo>
                    <a:pt x="1904315" y="197447"/>
                  </a:lnTo>
                  <a:lnTo>
                    <a:pt x="1904315" y="198831"/>
                  </a:lnTo>
                  <a:lnTo>
                    <a:pt x="1904315" y="197447"/>
                  </a:lnTo>
                  <a:lnTo>
                    <a:pt x="1904315" y="198831"/>
                  </a:lnTo>
                  <a:lnTo>
                    <a:pt x="1904365" y="198831"/>
                  </a:lnTo>
                  <a:lnTo>
                    <a:pt x="1904365" y="195415"/>
                  </a:lnTo>
                  <a:lnTo>
                    <a:pt x="1904416" y="195415"/>
                  </a:lnTo>
                  <a:lnTo>
                    <a:pt x="1904416" y="194716"/>
                  </a:lnTo>
                  <a:lnTo>
                    <a:pt x="1904505" y="194716"/>
                  </a:lnTo>
                  <a:lnTo>
                    <a:pt x="1904505" y="193383"/>
                  </a:lnTo>
                  <a:lnTo>
                    <a:pt x="1904505" y="195415"/>
                  </a:lnTo>
                  <a:lnTo>
                    <a:pt x="1904556" y="195415"/>
                  </a:lnTo>
                  <a:lnTo>
                    <a:pt x="1904556" y="194716"/>
                  </a:lnTo>
                  <a:lnTo>
                    <a:pt x="1904556" y="195415"/>
                  </a:lnTo>
                  <a:lnTo>
                    <a:pt x="1904607" y="194716"/>
                  </a:lnTo>
                  <a:lnTo>
                    <a:pt x="1904607" y="195415"/>
                  </a:lnTo>
                  <a:lnTo>
                    <a:pt x="1904607" y="194716"/>
                  </a:lnTo>
                  <a:lnTo>
                    <a:pt x="1904607" y="195415"/>
                  </a:lnTo>
                  <a:lnTo>
                    <a:pt x="1904658" y="195415"/>
                  </a:lnTo>
                  <a:lnTo>
                    <a:pt x="1904658" y="194716"/>
                  </a:lnTo>
                  <a:lnTo>
                    <a:pt x="1904658" y="196113"/>
                  </a:lnTo>
                  <a:lnTo>
                    <a:pt x="1904658" y="195415"/>
                  </a:lnTo>
                  <a:lnTo>
                    <a:pt x="1904658" y="196113"/>
                  </a:lnTo>
                  <a:lnTo>
                    <a:pt x="1904759" y="196113"/>
                  </a:lnTo>
                  <a:lnTo>
                    <a:pt x="1904759" y="196799"/>
                  </a:lnTo>
                  <a:lnTo>
                    <a:pt x="1904759" y="196113"/>
                  </a:lnTo>
                  <a:lnTo>
                    <a:pt x="1904759" y="197447"/>
                  </a:lnTo>
                  <a:lnTo>
                    <a:pt x="1904810" y="196799"/>
                  </a:lnTo>
                  <a:lnTo>
                    <a:pt x="1904810" y="197447"/>
                  </a:lnTo>
                  <a:lnTo>
                    <a:pt x="1904810" y="196799"/>
                  </a:lnTo>
                  <a:lnTo>
                    <a:pt x="1904810" y="197447"/>
                  </a:lnTo>
                  <a:lnTo>
                    <a:pt x="1904810" y="196799"/>
                  </a:lnTo>
                  <a:lnTo>
                    <a:pt x="1904810" y="197447"/>
                  </a:lnTo>
                  <a:lnTo>
                    <a:pt x="1904810" y="196799"/>
                  </a:lnTo>
                  <a:lnTo>
                    <a:pt x="1904810" y="197447"/>
                  </a:lnTo>
                  <a:lnTo>
                    <a:pt x="1904810" y="196799"/>
                  </a:lnTo>
                  <a:lnTo>
                    <a:pt x="1904810" y="197447"/>
                  </a:lnTo>
                  <a:lnTo>
                    <a:pt x="1904861" y="196799"/>
                  </a:lnTo>
                  <a:lnTo>
                    <a:pt x="1904861" y="196113"/>
                  </a:lnTo>
                  <a:lnTo>
                    <a:pt x="1904861" y="196799"/>
                  </a:lnTo>
                  <a:lnTo>
                    <a:pt x="1904861" y="195415"/>
                  </a:lnTo>
                  <a:lnTo>
                    <a:pt x="1904861" y="196113"/>
                  </a:lnTo>
                  <a:lnTo>
                    <a:pt x="1904861" y="195415"/>
                  </a:lnTo>
                  <a:lnTo>
                    <a:pt x="1904962" y="195415"/>
                  </a:lnTo>
                  <a:lnTo>
                    <a:pt x="1904962" y="194716"/>
                  </a:lnTo>
                  <a:lnTo>
                    <a:pt x="1904962" y="195415"/>
                  </a:lnTo>
                  <a:lnTo>
                    <a:pt x="1904962" y="194716"/>
                  </a:lnTo>
                  <a:lnTo>
                    <a:pt x="1904962" y="196113"/>
                  </a:lnTo>
                  <a:lnTo>
                    <a:pt x="1905000" y="195415"/>
                  </a:lnTo>
                  <a:lnTo>
                    <a:pt x="1905000" y="196799"/>
                  </a:lnTo>
                  <a:lnTo>
                    <a:pt x="1905051" y="196799"/>
                  </a:lnTo>
                  <a:lnTo>
                    <a:pt x="1905051" y="196113"/>
                  </a:lnTo>
                  <a:lnTo>
                    <a:pt x="1905051" y="196799"/>
                  </a:lnTo>
                  <a:lnTo>
                    <a:pt x="1905051" y="196113"/>
                  </a:lnTo>
                  <a:lnTo>
                    <a:pt x="1905102" y="196113"/>
                  </a:lnTo>
                  <a:lnTo>
                    <a:pt x="1905102" y="196799"/>
                  </a:lnTo>
                  <a:lnTo>
                    <a:pt x="1905102" y="196113"/>
                  </a:lnTo>
                  <a:lnTo>
                    <a:pt x="1905102" y="196799"/>
                  </a:lnTo>
                  <a:lnTo>
                    <a:pt x="1905102" y="196113"/>
                  </a:lnTo>
                  <a:lnTo>
                    <a:pt x="1905204" y="196113"/>
                  </a:lnTo>
                  <a:lnTo>
                    <a:pt x="1905204" y="196799"/>
                  </a:lnTo>
                  <a:lnTo>
                    <a:pt x="1905204" y="196113"/>
                  </a:lnTo>
                  <a:lnTo>
                    <a:pt x="1905204" y="196799"/>
                  </a:lnTo>
                  <a:lnTo>
                    <a:pt x="1905204" y="196113"/>
                  </a:lnTo>
                  <a:lnTo>
                    <a:pt x="1905204" y="196799"/>
                  </a:lnTo>
                  <a:lnTo>
                    <a:pt x="1905255" y="196799"/>
                  </a:lnTo>
                  <a:lnTo>
                    <a:pt x="1905255" y="197447"/>
                  </a:lnTo>
                  <a:lnTo>
                    <a:pt x="1905305" y="197447"/>
                  </a:lnTo>
                  <a:lnTo>
                    <a:pt x="1905305" y="196799"/>
                  </a:lnTo>
                  <a:lnTo>
                    <a:pt x="1905305" y="197447"/>
                  </a:lnTo>
                  <a:lnTo>
                    <a:pt x="1905305" y="196799"/>
                  </a:lnTo>
                  <a:lnTo>
                    <a:pt x="1905305" y="197447"/>
                  </a:lnTo>
                  <a:lnTo>
                    <a:pt x="1905407" y="197447"/>
                  </a:lnTo>
                  <a:lnTo>
                    <a:pt x="1905407" y="196113"/>
                  </a:lnTo>
                  <a:lnTo>
                    <a:pt x="1905458" y="196113"/>
                  </a:lnTo>
                  <a:lnTo>
                    <a:pt x="1905458" y="196799"/>
                  </a:lnTo>
                  <a:lnTo>
                    <a:pt x="1905458" y="194716"/>
                  </a:lnTo>
                  <a:lnTo>
                    <a:pt x="1905458" y="196799"/>
                  </a:lnTo>
                  <a:lnTo>
                    <a:pt x="1905509" y="196113"/>
                  </a:lnTo>
                  <a:lnTo>
                    <a:pt x="1905509" y="196799"/>
                  </a:lnTo>
                  <a:lnTo>
                    <a:pt x="1905509" y="194716"/>
                  </a:lnTo>
                  <a:lnTo>
                    <a:pt x="1905509" y="197447"/>
                  </a:lnTo>
                  <a:lnTo>
                    <a:pt x="1905547" y="197447"/>
                  </a:lnTo>
                  <a:lnTo>
                    <a:pt x="1905547" y="196799"/>
                  </a:lnTo>
                  <a:lnTo>
                    <a:pt x="1905547" y="197447"/>
                  </a:lnTo>
                  <a:lnTo>
                    <a:pt x="1905547" y="196113"/>
                  </a:lnTo>
                  <a:lnTo>
                    <a:pt x="1905547" y="197447"/>
                  </a:lnTo>
                  <a:lnTo>
                    <a:pt x="1905547" y="196799"/>
                  </a:lnTo>
                  <a:lnTo>
                    <a:pt x="1905648" y="196799"/>
                  </a:lnTo>
                  <a:lnTo>
                    <a:pt x="1905648" y="196113"/>
                  </a:lnTo>
                  <a:lnTo>
                    <a:pt x="1905648" y="197447"/>
                  </a:lnTo>
                  <a:lnTo>
                    <a:pt x="1905648" y="196799"/>
                  </a:lnTo>
                  <a:lnTo>
                    <a:pt x="1905699" y="197447"/>
                  </a:lnTo>
                  <a:lnTo>
                    <a:pt x="1905699" y="196799"/>
                  </a:lnTo>
                  <a:lnTo>
                    <a:pt x="1905699" y="197447"/>
                  </a:lnTo>
                  <a:lnTo>
                    <a:pt x="1905699" y="196799"/>
                  </a:lnTo>
                  <a:lnTo>
                    <a:pt x="1905699" y="197447"/>
                  </a:lnTo>
                  <a:lnTo>
                    <a:pt x="1905699" y="196799"/>
                  </a:lnTo>
                  <a:lnTo>
                    <a:pt x="1905699" y="197447"/>
                  </a:lnTo>
                  <a:lnTo>
                    <a:pt x="1905750" y="197447"/>
                  </a:lnTo>
                  <a:lnTo>
                    <a:pt x="1905750" y="196799"/>
                  </a:lnTo>
                  <a:lnTo>
                    <a:pt x="1905750" y="197447"/>
                  </a:lnTo>
                  <a:lnTo>
                    <a:pt x="1905851" y="197447"/>
                  </a:lnTo>
                  <a:lnTo>
                    <a:pt x="1905851" y="196799"/>
                  </a:lnTo>
                  <a:lnTo>
                    <a:pt x="1905902" y="196113"/>
                  </a:lnTo>
                  <a:lnTo>
                    <a:pt x="1905902" y="194716"/>
                  </a:lnTo>
                  <a:lnTo>
                    <a:pt x="1905902" y="195415"/>
                  </a:lnTo>
                  <a:lnTo>
                    <a:pt x="1905902" y="194716"/>
                  </a:lnTo>
                  <a:lnTo>
                    <a:pt x="1905953" y="195415"/>
                  </a:lnTo>
                  <a:lnTo>
                    <a:pt x="1905953" y="192684"/>
                  </a:lnTo>
                  <a:lnTo>
                    <a:pt x="1906004" y="192684"/>
                  </a:lnTo>
                  <a:lnTo>
                    <a:pt x="1906004" y="194716"/>
                  </a:lnTo>
                  <a:lnTo>
                    <a:pt x="1906004" y="192684"/>
                  </a:lnTo>
                  <a:lnTo>
                    <a:pt x="1906004" y="195415"/>
                  </a:lnTo>
                  <a:lnTo>
                    <a:pt x="1906093" y="196113"/>
                  </a:lnTo>
                  <a:lnTo>
                    <a:pt x="1906093" y="195415"/>
                  </a:lnTo>
                  <a:lnTo>
                    <a:pt x="1906093" y="196113"/>
                  </a:lnTo>
                  <a:lnTo>
                    <a:pt x="1906093" y="194716"/>
                  </a:lnTo>
                  <a:lnTo>
                    <a:pt x="1906093" y="196113"/>
                  </a:lnTo>
                  <a:lnTo>
                    <a:pt x="1906144" y="196113"/>
                  </a:lnTo>
                  <a:lnTo>
                    <a:pt x="1906144" y="195415"/>
                  </a:lnTo>
                  <a:lnTo>
                    <a:pt x="1906144" y="196799"/>
                  </a:lnTo>
                  <a:lnTo>
                    <a:pt x="1906144" y="196113"/>
                  </a:lnTo>
                  <a:lnTo>
                    <a:pt x="1906194" y="196113"/>
                  </a:lnTo>
                  <a:lnTo>
                    <a:pt x="1906194" y="196799"/>
                  </a:lnTo>
                  <a:lnTo>
                    <a:pt x="1906194" y="196113"/>
                  </a:lnTo>
                  <a:lnTo>
                    <a:pt x="1906194" y="196799"/>
                  </a:lnTo>
                  <a:lnTo>
                    <a:pt x="1906245" y="196799"/>
                  </a:lnTo>
                  <a:lnTo>
                    <a:pt x="1906245" y="197447"/>
                  </a:lnTo>
                  <a:lnTo>
                    <a:pt x="1906245" y="196799"/>
                  </a:lnTo>
                  <a:lnTo>
                    <a:pt x="1906245" y="197447"/>
                  </a:lnTo>
                  <a:lnTo>
                    <a:pt x="1906347" y="197447"/>
                  </a:lnTo>
                  <a:lnTo>
                    <a:pt x="1906347" y="198831"/>
                  </a:lnTo>
                  <a:lnTo>
                    <a:pt x="1906347" y="197447"/>
                  </a:lnTo>
                  <a:lnTo>
                    <a:pt x="1906397" y="197447"/>
                  </a:lnTo>
                  <a:lnTo>
                    <a:pt x="1906397" y="196113"/>
                  </a:lnTo>
                  <a:lnTo>
                    <a:pt x="1906397" y="196799"/>
                  </a:lnTo>
                  <a:lnTo>
                    <a:pt x="1906397" y="196113"/>
                  </a:lnTo>
                  <a:lnTo>
                    <a:pt x="1906448" y="196113"/>
                  </a:lnTo>
                  <a:lnTo>
                    <a:pt x="1906448" y="194716"/>
                  </a:lnTo>
                  <a:lnTo>
                    <a:pt x="1906448" y="195415"/>
                  </a:lnTo>
                  <a:lnTo>
                    <a:pt x="1906448" y="194716"/>
                  </a:lnTo>
                  <a:lnTo>
                    <a:pt x="1906448" y="195415"/>
                  </a:lnTo>
                  <a:lnTo>
                    <a:pt x="1906448" y="194716"/>
                  </a:lnTo>
                  <a:lnTo>
                    <a:pt x="1906550" y="194716"/>
                  </a:lnTo>
                  <a:lnTo>
                    <a:pt x="1906550" y="195415"/>
                  </a:lnTo>
                  <a:lnTo>
                    <a:pt x="1906550" y="193383"/>
                  </a:lnTo>
                  <a:lnTo>
                    <a:pt x="1906550" y="196113"/>
                  </a:lnTo>
                  <a:lnTo>
                    <a:pt x="1906588" y="196113"/>
                  </a:lnTo>
                  <a:lnTo>
                    <a:pt x="1906588" y="195415"/>
                  </a:lnTo>
                  <a:lnTo>
                    <a:pt x="1906588" y="196113"/>
                  </a:lnTo>
                  <a:lnTo>
                    <a:pt x="1906588" y="195415"/>
                  </a:lnTo>
                  <a:lnTo>
                    <a:pt x="1906588" y="196113"/>
                  </a:lnTo>
                  <a:lnTo>
                    <a:pt x="1906639" y="196113"/>
                  </a:lnTo>
                  <a:lnTo>
                    <a:pt x="1906639" y="195415"/>
                  </a:lnTo>
                  <a:lnTo>
                    <a:pt x="1906639" y="196799"/>
                  </a:lnTo>
                  <a:lnTo>
                    <a:pt x="1906690" y="196799"/>
                  </a:lnTo>
                  <a:lnTo>
                    <a:pt x="1906690" y="197447"/>
                  </a:lnTo>
                  <a:lnTo>
                    <a:pt x="1906690" y="196799"/>
                  </a:lnTo>
                  <a:lnTo>
                    <a:pt x="1906690" y="197447"/>
                  </a:lnTo>
                  <a:lnTo>
                    <a:pt x="1906690" y="196799"/>
                  </a:lnTo>
                  <a:lnTo>
                    <a:pt x="1906690" y="197447"/>
                  </a:lnTo>
                  <a:lnTo>
                    <a:pt x="1906842" y="197447"/>
                  </a:lnTo>
                  <a:lnTo>
                    <a:pt x="1906842" y="198831"/>
                  </a:lnTo>
                  <a:lnTo>
                    <a:pt x="1906842" y="196799"/>
                  </a:lnTo>
                  <a:lnTo>
                    <a:pt x="1906893" y="196799"/>
                  </a:lnTo>
                  <a:lnTo>
                    <a:pt x="1906893" y="197447"/>
                  </a:lnTo>
                  <a:lnTo>
                    <a:pt x="1906893" y="196113"/>
                  </a:lnTo>
                  <a:lnTo>
                    <a:pt x="1906893" y="196799"/>
                  </a:lnTo>
                  <a:lnTo>
                    <a:pt x="1906994" y="196799"/>
                  </a:lnTo>
                  <a:lnTo>
                    <a:pt x="1906994" y="195415"/>
                  </a:lnTo>
                  <a:lnTo>
                    <a:pt x="1906994" y="196799"/>
                  </a:lnTo>
                  <a:lnTo>
                    <a:pt x="1906994" y="196113"/>
                  </a:lnTo>
                  <a:lnTo>
                    <a:pt x="1907045" y="196113"/>
                  </a:lnTo>
                  <a:lnTo>
                    <a:pt x="1907045" y="193383"/>
                  </a:lnTo>
                  <a:lnTo>
                    <a:pt x="1907045" y="197447"/>
                  </a:lnTo>
                  <a:lnTo>
                    <a:pt x="1907045" y="196799"/>
                  </a:lnTo>
                  <a:lnTo>
                    <a:pt x="1907096" y="196799"/>
                  </a:lnTo>
                  <a:lnTo>
                    <a:pt x="1907096" y="196113"/>
                  </a:lnTo>
                  <a:lnTo>
                    <a:pt x="1907096" y="197447"/>
                  </a:lnTo>
                  <a:lnTo>
                    <a:pt x="1907134" y="197447"/>
                  </a:lnTo>
                  <a:lnTo>
                    <a:pt x="1907134" y="196799"/>
                  </a:lnTo>
                  <a:lnTo>
                    <a:pt x="1907134" y="197447"/>
                  </a:lnTo>
                  <a:lnTo>
                    <a:pt x="1907134" y="196799"/>
                  </a:lnTo>
                  <a:lnTo>
                    <a:pt x="1907134" y="197447"/>
                  </a:lnTo>
                  <a:lnTo>
                    <a:pt x="1907134" y="196799"/>
                  </a:lnTo>
                  <a:lnTo>
                    <a:pt x="1907134" y="197447"/>
                  </a:lnTo>
                  <a:lnTo>
                    <a:pt x="1907134" y="196799"/>
                  </a:lnTo>
                  <a:lnTo>
                    <a:pt x="1907134" y="197447"/>
                  </a:lnTo>
                  <a:lnTo>
                    <a:pt x="1907134" y="196799"/>
                  </a:lnTo>
                  <a:lnTo>
                    <a:pt x="1907236" y="196799"/>
                  </a:lnTo>
                  <a:lnTo>
                    <a:pt x="1907236" y="198831"/>
                  </a:lnTo>
                  <a:lnTo>
                    <a:pt x="1907236" y="197447"/>
                  </a:lnTo>
                  <a:lnTo>
                    <a:pt x="1907287" y="197447"/>
                  </a:lnTo>
                  <a:lnTo>
                    <a:pt x="1907287" y="196799"/>
                  </a:lnTo>
                  <a:lnTo>
                    <a:pt x="1907287" y="198831"/>
                  </a:lnTo>
                  <a:lnTo>
                    <a:pt x="1907337" y="197447"/>
                  </a:lnTo>
                  <a:lnTo>
                    <a:pt x="1907337" y="198831"/>
                  </a:lnTo>
                  <a:lnTo>
                    <a:pt x="1907337" y="197447"/>
                  </a:lnTo>
                  <a:lnTo>
                    <a:pt x="1907337" y="198831"/>
                  </a:lnTo>
                  <a:lnTo>
                    <a:pt x="1907337" y="197447"/>
                  </a:lnTo>
                  <a:lnTo>
                    <a:pt x="1907337" y="198831"/>
                  </a:lnTo>
                  <a:lnTo>
                    <a:pt x="1907337" y="197447"/>
                  </a:lnTo>
                  <a:lnTo>
                    <a:pt x="1907337" y="198831"/>
                  </a:lnTo>
                  <a:lnTo>
                    <a:pt x="1907337" y="197447"/>
                  </a:lnTo>
                  <a:lnTo>
                    <a:pt x="1907439" y="197447"/>
                  </a:lnTo>
                  <a:lnTo>
                    <a:pt x="1907439" y="198831"/>
                  </a:lnTo>
                  <a:lnTo>
                    <a:pt x="1907439" y="196799"/>
                  </a:lnTo>
                  <a:lnTo>
                    <a:pt x="1907439" y="197447"/>
                  </a:lnTo>
                  <a:lnTo>
                    <a:pt x="1907439" y="196113"/>
                  </a:lnTo>
                  <a:lnTo>
                    <a:pt x="1907490" y="196113"/>
                  </a:lnTo>
                  <a:lnTo>
                    <a:pt x="1907490" y="196799"/>
                  </a:lnTo>
                  <a:lnTo>
                    <a:pt x="1907490" y="196113"/>
                  </a:lnTo>
                  <a:lnTo>
                    <a:pt x="1907540" y="195415"/>
                  </a:lnTo>
                  <a:lnTo>
                    <a:pt x="1907540" y="197447"/>
                  </a:lnTo>
                  <a:lnTo>
                    <a:pt x="1907540" y="196799"/>
                  </a:lnTo>
                  <a:lnTo>
                    <a:pt x="1907540" y="197447"/>
                  </a:lnTo>
                  <a:lnTo>
                    <a:pt x="1907540" y="196113"/>
                  </a:lnTo>
                  <a:lnTo>
                    <a:pt x="1907591" y="196113"/>
                  </a:lnTo>
                  <a:lnTo>
                    <a:pt x="1907591" y="197447"/>
                  </a:lnTo>
                  <a:lnTo>
                    <a:pt x="1907591" y="196799"/>
                  </a:lnTo>
                  <a:lnTo>
                    <a:pt x="1907591" y="197447"/>
                  </a:lnTo>
                  <a:lnTo>
                    <a:pt x="1907591" y="196799"/>
                  </a:lnTo>
                  <a:lnTo>
                    <a:pt x="1907680" y="196799"/>
                  </a:lnTo>
                  <a:lnTo>
                    <a:pt x="1907680" y="197447"/>
                  </a:lnTo>
                  <a:lnTo>
                    <a:pt x="1907680" y="196799"/>
                  </a:lnTo>
                  <a:lnTo>
                    <a:pt x="1907680" y="197447"/>
                  </a:lnTo>
                  <a:lnTo>
                    <a:pt x="1907731" y="197447"/>
                  </a:lnTo>
                  <a:lnTo>
                    <a:pt x="1907731" y="198831"/>
                  </a:lnTo>
                  <a:lnTo>
                    <a:pt x="1907731" y="197447"/>
                  </a:lnTo>
                  <a:lnTo>
                    <a:pt x="1907782" y="198831"/>
                  </a:lnTo>
                  <a:lnTo>
                    <a:pt x="1907782" y="197447"/>
                  </a:lnTo>
                  <a:lnTo>
                    <a:pt x="1907782" y="198831"/>
                  </a:lnTo>
                  <a:lnTo>
                    <a:pt x="1907782" y="197447"/>
                  </a:lnTo>
                  <a:lnTo>
                    <a:pt x="1907782" y="198831"/>
                  </a:lnTo>
                  <a:lnTo>
                    <a:pt x="1907782" y="197447"/>
                  </a:lnTo>
                  <a:lnTo>
                    <a:pt x="1907782" y="198831"/>
                  </a:lnTo>
                  <a:lnTo>
                    <a:pt x="1907782" y="197447"/>
                  </a:lnTo>
                  <a:lnTo>
                    <a:pt x="1907782" y="198831"/>
                  </a:lnTo>
                  <a:lnTo>
                    <a:pt x="1907833" y="198831"/>
                  </a:lnTo>
                  <a:lnTo>
                    <a:pt x="1907833" y="197447"/>
                  </a:lnTo>
                  <a:lnTo>
                    <a:pt x="1907833" y="198831"/>
                  </a:lnTo>
                  <a:lnTo>
                    <a:pt x="1907833" y="196799"/>
                  </a:lnTo>
                  <a:lnTo>
                    <a:pt x="1907934" y="196799"/>
                  </a:lnTo>
                  <a:lnTo>
                    <a:pt x="1907934" y="197447"/>
                  </a:lnTo>
                  <a:lnTo>
                    <a:pt x="1907934" y="196113"/>
                  </a:lnTo>
                  <a:lnTo>
                    <a:pt x="1907934" y="197447"/>
                  </a:lnTo>
                  <a:lnTo>
                    <a:pt x="1907985" y="198831"/>
                  </a:lnTo>
                  <a:lnTo>
                    <a:pt x="1907985" y="196799"/>
                  </a:lnTo>
                  <a:lnTo>
                    <a:pt x="1907985" y="197447"/>
                  </a:lnTo>
                  <a:lnTo>
                    <a:pt x="1907985" y="196113"/>
                  </a:lnTo>
                  <a:lnTo>
                    <a:pt x="1907985" y="200228"/>
                  </a:lnTo>
                  <a:lnTo>
                    <a:pt x="1908036" y="199530"/>
                  </a:lnTo>
                  <a:lnTo>
                    <a:pt x="1908036" y="197447"/>
                  </a:lnTo>
                  <a:lnTo>
                    <a:pt x="1908036" y="199530"/>
                  </a:lnTo>
                  <a:lnTo>
                    <a:pt x="1908137" y="199530"/>
                  </a:lnTo>
                  <a:lnTo>
                    <a:pt x="1908137" y="200228"/>
                  </a:lnTo>
                  <a:lnTo>
                    <a:pt x="1908137" y="199530"/>
                  </a:lnTo>
                  <a:lnTo>
                    <a:pt x="1908175" y="199530"/>
                  </a:lnTo>
                  <a:lnTo>
                    <a:pt x="1908175" y="200228"/>
                  </a:lnTo>
                  <a:lnTo>
                    <a:pt x="1908175" y="199530"/>
                  </a:lnTo>
                  <a:lnTo>
                    <a:pt x="1908175" y="200228"/>
                  </a:lnTo>
                  <a:lnTo>
                    <a:pt x="1908226" y="200228"/>
                  </a:lnTo>
                  <a:lnTo>
                    <a:pt x="1908226" y="199530"/>
                  </a:lnTo>
                  <a:lnTo>
                    <a:pt x="1908226" y="200228"/>
                  </a:lnTo>
                  <a:lnTo>
                    <a:pt x="1908226" y="199530"/>
                  </a:lnTo>
                  <a:lnTo>
                    <a:pt x="1908277" y="199530"/>
                  </a:lnTo>
                  <a:lnTo>
                    <a:pt x="1908277" y="198831"/>
                  </a:lnTo>
                  <a:lnTo>
                    <a:pt x="1908277" y="199530"/>
                  </a:lnTo>
                  <a:lnTo>
                    <a:pt x="1908277" y="198831"/>
                  </a:lnTo>
                  <a:lnTo>
                    <a:pt x="1908277" y="199530"/>
                  </a:lnTo>
                  <a:lnTo>
                    <a:pt x="1908277" y="198831"/>
                  </a:lnTo>
                  <a:lnTo>
                    <a:pt x="1908379" y="198831"/>
                  </a:lnTo>
                  <a:lnTo>
                    <a:pt x="1908379" y="199530"/>
                  </a:lnTo>
                  <a:lnTo>
                    <a:pt x="1908379" y="198831"/>
                  </a:lnTo>
                  <a:lnTo>
                    <a:pt x="1908379" y="199530"/>
                  </a:lnTo>
                  <a:lnTo>
                    <a:pt x="1908379" y="197447"/>
                  </a:lnTo>
                  <a:lnTo>
                    <a:pt x="1908379" y="198831"/>
                  </a:lnTo>
                  <a:lnTo>
                    <a:pt x="1908430" y="197447"/>
                  </a:lnTo>
                  <a:lnTo>
                    <a:pt x="1908430" y="196799"/>
                  </a:lnTo>
                  <a:lnTo>
                    <a:pt x="1908430" y="199530"/>
                  </a:lnTo>
                  <a:lnTo>
                    <a:pt x="1908430" y="197447"/>
                  </a:lnTo>
                  <a:lnTo>
                    <a:pt x="1908480" y="197447"/>
                  </a:lnTo>
                  <a:lnTo>
                    <a:pt x="1908480" y="200876"/>
                  </a:lnTo>
                  <a:lnTo>
                    <a:pt x="1908480" y="199530"/>
                  </a:lnTo>
                  <a:lnTo>
                    <a:pt x="1908582" y="199530"/>
                  </a:lnTo>
                  <a:lnTo>
                    <a:pt x="1908582" y="200876"/>
                  </a:lnTo>
                  <a:lnTo>
                    <a:pt x="1908582" y="200228"/>
                  </a:lnTo>
                  <a:lnTo>
                    <a:pt x="1908633" y="200228"/>
                  </a:lnTo>
                  <a:lnTo>
                    <a:pt x="1908633" y="200876"/>
                  </a:lnTo>
                  <a:lnTo>
                    <a:pt x="1908633" y="200228"/>
                  </a:lnTo>
                  <a:lnTo>
                    <a:pt x="1908633" y="200876"/>
                  </a:lnTo>
                  <a:lnTo>
                    <a:pt x="1908633" y="200228"/>
                  </a:lnTo>
                  <a:lnTo>
                    <a:pt x="1908633" y="200876"/>
                  </a:lnTo>
                  <a:lnTo>
                    <a:pt x="1908633" y="200228"/>
                  </a:lnTo>
                  <a:lnTo>
                    <a:pt x="1908633" y="200876"/>
                  </a:lnTo>
                  <a:lnTo>
                    <a:pt x="1908684" y="200876"/>
                  </a:lnTo>
                  <a:lnTo>
                    <a:pt x="1908684" y="200228"/>
                  </a:lnTo>
                  <a:lnTo>
                    <a:pt x="1908684" y="200876"/>
                  </a:lnTo>
                  <a:lnTo>
                    <a:pt x="1908684" y="200228"/>
                  </a:lnTo>
                  <a:lnTo>
                    <a:pt x="1908722" y="200876"/>
                  </a:lnTo>
                  <a:lnTo>
                    <a:pt x="1908722" y="200228"/>
                  </a:lnTo>
                  <a:lnTo>
                    <a:pt x="1908823" y="200228"/>
                  </a:lnTo>
                  <a:lnTo>
                    <a:pt x="1908823" y="198831"/>
                  </a:lnTo>
                  <a:lnTo>
                    <a:pt x="1908823" y="199530"/>
                  </a:lnTo>
                  <a:lnTo>
                    <a:pt x="1908823" y="198831"/>
                  </a:lnTo>
                  <a:lnTo>
                    <a:pt x="1908823" y="199530"/>
                  </a:lnTo>
                  <a:lnTo>
                    <a:pt x="1908823" y="198831"/>
                  </a:lnTo>
                  <a:lnTo>
                    <a:pt x="1908874" y="199530"/>
                  </a:lnTo>
                  <a:lnTo>
                    <a:pt x="1908874" y="196113"/>
                  </a:lnTo>
                  <a:lnTo>
                    <a:pt x="1908874" y="197447"/>
                  </a:lnTo>
                  <a:lnTo>
                    <a:pt x="1908925" y="197447"/>
                  </a:lnTo>
                  <a:lnTo>
                    <a:pt x="1908925" y="198831"/>
                  </a:lnTo>
                  <a:lnTo>
                    <a:pt x="1908925" y="196799"/>
                  </a:lnTo>
                  <a:lnTo>
                    <a:pt x="1908925" y="199530"/>
                  </a:lnTo>
                  <a:lnTo>
                    <a:pt x="1909026" y="199530"/>
                  </a:lnTo>
                  <a:lnTo>
                    <a:pt x="1909026" y="200228"/>
                  </a:lnTo>
                  <a:lnTo>
                    <a:pt x="1909026" y="198831"/>
                  </a:lnTo>
                  <a:lnTo>
                    <a:pt x="1909026" y="199530"/>
                  </a:lnTo>
                  <a:lnTo>
                    <a:pt x="1909077" y="200228"/>
                  </a:lnTo>
                  <a:lnTo>
                    <a:pt x="1909077" y="199530"/>
                  </a:lnTo>
                  <a:lnTo>
                    <a:pt x="1909077" y="200228"/>
                  </a:lnTo>
                  <a:lnTo>
                    <a:pt x="1909077" y="199530"/>
                  </a:lnTo>
                  <a:lnTo>
                    <a:pt x="1909077" y="200228"/>
                  </a:lnTo>
                  <a:lnTo>
                    <a:pt x="1909077" y="199530"/>
                  </a:lnTo>
                  <a:lnTo>
                    <a:pt x="1909077" y="200228"/>
                  </a:lnTo>
                  <a:lnTo>
                    <a:pt x="1909128" y="200228"/>
                  </a:lnTo>
                  <a:lnTo>
                    <a:pt x="1909128" y="200876"/>
                  </a:lnTo>
                  <a:lnTo>
                    <a:pt x="1909128" y="200228"/>
                  </a:lnTo>
                  <a:lnTo>
                    <a:pt x="1909128" y="200876"/>
                  </a:lnTo>
                  <a:lnTo>
                    <a:pt x="1909179" y="200228"/>
                  </a:lnTo>
                  <a:lnTo>
                    <a:pt x="1909179" y="200876"/>
                  </a:lnTo>
                  <a:lnTo>
                    <a:pt x="1909179" y="200228"/>
                  </a:lnTo>
                  <a:lnTo>
                    <a:pt x="1909268" y="200228"/>
                  </a:lnTo>
                  <a:lnTo>
                    <a:pt x="1909268" y="199530"/>
                  </a:lnTo>
                  <a:lnTo>
                    <a:pt x="1909268" y="200228"/>
                  </a:lnTo>
                  <a:lnTo>
                    <a:pt x="1909268" y="199530"/>
                  </a:lnTo>
                  <a:lnTo>
                    <a:pt x="1909268" y="200228"/>
                  </a:lnTo>
                  <a:lnTo>
                    <a:pt x="1909268" y="199530"/>
                  </a:lnTo>
                  <a:lnTo>
                    <a:pt x="1909319" y="199530"/>
                  </a:lnTo>
                  <a:lnTo>
                    <a:pt x="1909319" y="198831"/>
                  </a:lnTo>
                  <a:lnTo>
                    <a:pt x="1909319" y="199530"/>
                  </a:lnTo>
                  <a:lnTo>
                    <a:pt x="1909319" y="198831"/>
                  </a:lnTo>
                  <a:lnTo>
                    <a:pt x="1909319" y="199530"/>
                  </a:lnTo>
                  <a:lnTo>
                    <a:pt x="1909319" y="198831"/>
                  </a:lnTo>
                  <a:lnTo>
                    <a:pt x="1909369" y="198831"/>
                  </a:lnTo>
                  <a:lnTo>
                    <a:pt x="1909369" y="196799"/>
                  </a:lnTo>
                  <a:lnTo>
                    <a:pt x="1909369" y="197447"/>
                  </a:lnTo>
                  <a:lnTo>
                    <a:pt x="1909369" y="196799"/>
                  </a:lnTo>
                  <a:lnTo>
                    <a:pt x="1909369" y="197447"/>
                  </a:lnTo>
                  <a:lnTo>
                    <a:pt x="1909420" y="197447"/>
                  </a:lnTo>
                  <a:lnTo>
                    <a:pt x="1909420" y="196799"/>
                  </a:lnTo>
                  <a:lnTo>
                    <a:pt x="1909420" y="197447"/>
                  </a:lnTo>
                  <a:lnTo>
                    <a:pt x="1909420" y="196113"/>
                  </a:lnTo>
                  <a:lnTo>
                    <a:pt x="1909420" y="198831"/>
                  </a:lnTo>
                  <a:lnTo>
                    <a:pt x="1909522" y="198831"/>
                  </a:lnTo>
                  <a:lnTo>
                    <a:pt x="1909522" y="197447"/>
                  </a:lnTo>
                  <a:lnTo>
                    <a:pt x="1909522" y="198831"/>
                  </a:lnTo>
                  <a:lnTo>
                    <a:pt x="1909522" y="197447"/>
                  </a:lnTo>
                  <a:lnTo>
                    <a:pt x="1909522" y="198831"/>
                  </a:lnTo>
                  <a:lnTo>
                    <a:pt x="1909522" y="197447"/>
                  </a:lnTo>
                  <a:lnTo>
                    <a:pt x="1909522" y="199530"/>
                  </a:lnTo>
                  <a:lnTo>
                    <a:pt x="1909522" y="198831"/>
                  </a:lnTo>
                  <a:lnTo>
                    <a:pt x="1909572" y="198831"/>
                  </a:lnTo>
                  <a:lnTo>
                    <a:pt x="1909572" y="199530"/>
                  </a:lnTo>
                  <a:lnTo>
                    <a:pt x="1909572" y="198831"/>
                  </a:lnTo>
                  <a:lnTo>
                    <a:pt x="1909572" y="199530"/>
                  </a:lnTo>
                  <a:lnTo>
                    <a:pt x="1909623" y="199530"/>
                  </a:lnTo>
                  <a:lnTo>
                    <a:pt x="1909623" y="200228"/>
                  </a:lnTo>
                  <a:lnTo>
                    <a:pt x="1909623" y="199530"/>
                  </a:lnTo>
                  <a:lnTo>
                    <a:pt x="1909623" y="200228"/>
                  </a:lnTo>
                  <a:lnTo>
                    <a:pt x="1909623" y="199530"/>
                  </a:lnTo>
                  <a:lnTo>
                    <a:pt x="1909623" y="200228"/>
                  </a:lnTo>
                  <a:lnTo>
                    <a:pt x="1909623" y="199530"/>
                  </a:lnTo>
                  <a:lnTo>
                    <a:pt x="1909725" y="199530"/>
                  </a:lnTo>
                  <a:lnTo>
                    <a:pt x="1909725" y="200228"/>
                  </a:lnTo>
                  <a:lnTo>
                    <a:pt x="1909725" y="199530"/>
                  </a:lnTo>
                  <a:lnTo>
                    <a:pt x="1909725" y="200228"/>
                  </a:lnTo>
                  <a:lnTo>
                    <a:pt x="1909725" y="199530"/>
                  </a:lnTo>
                  <a:lnTo>
                    <a:pt x="1909725" y="200228"/>
                  </a:lnTo>
                  <a:lnTo>
                    <a:pt x="1909763" y="200228"/>
                  </a:lnTo>
                  <a:lnTo>
                    <a:pt x="1909763" y="199530"/>
                  </a:lnTo>
                  <a:lnTo>
                    <a:pt x="1909763" y="200228"/>
                  </a:lnTo>
                  <a:lnTo>
                    <a:pt x="1909763" y="199530"/>
                  </a:lnTo>
                  <a:lnTo>
                    <a:pt x="1909763" y="200228"/>
                  </a:lnTo>
                  <a:lnTo>
                    <a:pt x="1909763" y="199530"/>
                  </a:lnTo>
                  <a:lnTo>
                    <a:pt x="1909814" y="199530"/>
                  </a:lnTo>
                  <a:lnTo>
                    <a:pt x="1909814" y="198831"/>
                  </a:lnTo>
                  <a:lnTo>
                    <a:pt x="1909814" y="199530"/>
                  </a:lnTo>
                  <a:lnTo>
                    <a:pt x="1909814" y="197447"/>
                  </a:lnTo>
                  <a:lnTo>
                    <a:pt x="1909814" y="198831"/>
                  </a:lnTo>
                  <a:lnTo>
                    <a:pt x="1909814" y="197447"/>
                  </a:lnTo>
                  <a:lnTo>
                    <a:pt x="1909865" y="197447"/>
                  </a:lnTo>
                  <a:lnTo>
                    <a:pt x="1909865" y="196799"/>
                  </a:lnTo>
                  <a:lnTo>
                    <a:pt x="1909865" y="197447"/>
                  </a:lnTo>
                  <a:lnTo>
                    <a:pt x="1909865" y="195415"/>
                  </a:lnTo>
                  <a:lnTo>
                    <a:pt x="1909865" y="196113"/>
                  </a:lnTo>
                  <a:lnTo>
                    <a:pt x="1909865" y="195415"/>
                  </a:lnTo>
                  <a:lnTo>
                    <a:pt x="1909865" y="196113"/>
                  </a:lnTo>
                  <a:lnTo>
                    <a:pt x="1909966" y="196799"/>
                  </a:lnTo>
                  <a:lnTo>
                    <a:pt x="1909966" y="196113"/>
                  </a:lnTo>
                  <a:lnTo>
                    <a:pt x="1909966" y="196799"/>
                  </a:lnTo>
                  <a:lnTo>
                    <a:pt x="1909966" y="196113"/>
                  </a:lnTo>
                  <a:lnTo>
                    <a:pt x="1909966" y="197447"/>
                  </a:lnTo>
                  <a:lnTo>
                    <a:pt x="1910017" y="197447"/>
                  </a:lnTo>
                  <a:lnTo>
                    <a:pt x="1910017" y="198831"/>
                  </a:lnTo>
                  <a:lnTo>
                    <a:pt x="1910017" y="196799"/>
                  </a:lnTo>
                  <a:lnTo>
                    <a:pt x="1910017" y="198831"/>
                  </a:lnTo>
                  <a:lnTo>
                    <a:pt x="1910068" y="198831"/>
                  </a:lnTo>
                  <a:lnTo>
                    <a:pt x="1910068" y="197447"/>
                  </a:lnTo>
                  <a:lnTo>
                    <a:pt x="1910068" y="199530"/>
                  </a:lnTo>
                  <a:lnTo>
                    <a:pt x="1910169" y="199530"/>
                  </a:lnTo>
                  <a:lnTo>
                    <a:pt x="1910169" y="198831"/>
                  </a:lnTo>
                  <a:lnTo>
                    <a:pt x="1910169" y="200228"/>
                  </a:lnTo>
                  <a:lnTo>
                    <a:pt x="1910169" y="199530"/>
                  </a:lnTo>
                  <a:lnTo>
                    <a:pt x="1910169" y="200228"/>
                  </a:lnTo>
                  <a:lnTo>
                    <a:pt x="1910169" y="199530"/>
                  </a:lnTo>
                  <a:lnTo>
                    <a:pt x="1910220" y="199530"/>
                  </a:lnTo>
                  <a:lnTo>
                    <a:pt x="1910220" y="200228"/>
                  </a:lnTo>
                  <a:lnTo>
                    <a:pt x="1910220" y="199530"/>
                  </a:lnTo>
                  <a:lnTo>
                    <a:pt x="1910220" y="200228"/>
                  </a:lnTo>
                  <a:lnTo>
                    <a:pt x="1910220" y="199530"/>
                  </a:lnTo>
                  <a:lnTo>
                    <a:pt x="1910220" y="200228"/>
                  </a:lnTo>
                  <a:lnTo>
                    <a:pt x="1910220" y="199530"/>
                  </a:lnTo>
                  <a:lnTo>
                    <a:pt x="1910271" y="199530"/>
                  </a:lnTo>
                  <a:lnTo>
                    <a:pt x="1910271" y="200228"/>
                  </a:lnTo>
                  <a:lnTo>
                    <a:pt x="1910271" y="199530"/>
                  </a:lnTo>
                  <a:lnTo>
                    <a:pt x="1910271" y="200228"/>
                  </a:lnTo>
                  <a:lnTo>
                    <a:pt x="1910271" y="198831"/>
                  </a:lnTo>
                  <a:lnTo>
                    <a:pt x="1910271" y="199530"/>
                  </a:lnTo>
                  <a:lnTo>
                    <a:pt x="1910309" y="199530"/>
                  </a:lnTo>
                  <a:lnTo>
                    <a:pt x="1910309" y="197447"/>
                  </a:lnTo>
                  <a:lnTo>
                    <a:pt x="1910411" y="197447"/>
                  </a:lnTo>
                  <a:lnTo>
                    <a:pt x="1910411" y="198831"/>
                  </a:lnTo>
                  <a:lnTo>
                    <a:pt x="1910411" y="196113"/>
                  </a:lnTo>
                  <a:lnTo>
                    <a:pt x="1910411" y="197447"/>
                  </a:lnTo>
                  <a:lnTo>
                    <a:pt x="1910462" y="197447"/>
                  </a:lnTo>
                  <a:lnTo>
                    <a:pt x="1910462" y="195415"/>
                  </a:lnTo>
                  <a:lnTo>
                    <a:pt x="1910462" y="198831"/>
                  </a:lnTo>
                  <a:lnTo>
                    <a:pt x="1910462" y="197447"/>
                  </a:lnTo>
                  <a:lnTo>
                    <a:pt x="1910512" y="197447"/>
                  </a:lnTo>
                  <a:lnTo>
                    <a:pt x="1910512" y="196799"/>
                  </a:lnTo>
                  <a:lnTo>
                    <a:pt x="1910512" y="198831"/>
                  </a:lnTo>
                  <a:lnTo>
                    <a:pt x="1910512" y="197447"/>
                  </a:lnTo>
                  <a:lnTo>
                    <a:pt x="1910614" y="197447"/>
                  </a:lnTo>
                  <a:lnTo>
                    <a:pt x="1910614" y="196799"/>
                  </a:lnTo>
                  <a:lnTo>
                    <a:pt x="1910614" y="197447"/>
                  </a:lnTo>
                  <a:lnTo>
                    <a:pt x="1910665" y="197447"/>
                  </a:lnTo>
                  <a:lnTo>
                    <a:pt x="1910665" y="198831"/>
                  </a:lnTo>
                  <a:lnTo>
                    <a:pt x="1910665" y="197447"/>
                  </a:lnTo>
                  <a:lnTo>
                    <a:pt x="1910665" y="198831"/>
                  </a:lnTo>
                  <a:lnTo>
                    <a:pt x="1910665" y="197447"/>
                  </a:lnTo>
                  <a:lnTo>
                    <a:pt x="1910665" y="198831"/>
                  </a:lnTo>
                  <a:lnTo>
                    <a:pt x="1910665" y="197447"/>
                  </a:lnTo>
                  <a:lnTo>
                    <a:pt x="1910715" y="197447"/>
                  </a:lnTo>
                  <a:lnTo>
                    <a:pt x="1910715" y="199530"/>
                  </a:lnTo>
                  <a:lnTo>
                    <a:pt x="1910715" y="198831"/>
                  </a:lnTo>
                  <a:lnTo>
                    <a:pt x="1910715" y="199530"/>
                  </a:lnTo>
                  <a:lnTo>
                    <a:pt x="1910715" y="198831"/>
                  </a:lnTo>
                  <a:lnTo>
                    <a:pt x="1910766" y="198831"/>
                  </a:lnTo>
                  <a:lnTo>
                    <a:pt x="1910766" y="199530"/>
                  </a:lnTo>
                  <a:lnTo>
                    <a:pt x="1910766" y="198831"/>
                  </a:lnTo>
                  <a:lnTo>
                    <a:pt x="1910766" y="199530"/>
                  </a:lnTo>
                  <a:lnTo>
                    <a:pt x="1910766" y="198831"/>
                  </a:lnTo>
                  <a:lnTo>
                    <a:pt x="1910855" y="197447"/>
                  </a:lnTo>
                  <a:lnTo>
                    <a:pt x="1910855" y="198831"/>
                  </a:lnTo>
                  <a:lnTo>
                    <a:pt x="1910855" y="196799"/>
                  </a:lnTo>
                  <a:lnTo>
                    <a:pt x="1910906" y="196799"/>
                  </a:lnTo>
                  <a:lnTo>
                    <a:pt x="1910906" y="196113"/>
                  </a:lnTo>
                  <a:lnTo>
                    <a:pt x="1910906" y="198831"/>
                  </a:lnTo>
                  <a:lnTo>
                    <a:pt x="1910906" y="196799"/>
                  </a:lnTo>
                  <a:lnTo>
                    <a:pt x="1910957" y="196799"/>
                  </a:lnTo>
                  <a:lnTo>
                    <a:pt x="1910957" y="196113"/>
                  </a:lnTo>
                  <a:lnTo>
                    <a:pt x="1910957" y="200228"/>
                  </a:lnTo>
                  <a:lnTo>
                    <a:pt x="1910957" y="198831"/>
                  </a:lnTo>
                  <a:lnTo>
                    <a:pt x="1911008" y="198831"/>
                  </a:lnTo>
                  <a:lnTo>
                    <a:pt x="1911008" y="199530"/>
                  </a:lnTo>
                  <a:lnTo>
                    <a:pt x="1911008" y="198831"/>
                  </a:lnTo>
                  <a:lnTo>
                    <a:pt x="1911008" y="199530"/>
                  </a:lnTo>
                  <a:lnTo>
                    <a:pt x="1911008" y="198831"/>
                  </a:lnTo>
                  <a:lnTo>
                    <a:pt x="1911109" y="199530"/>
                  </a:lnTo>
                  <a:lnTo>
                    <a:pt x="1911109" y="198831"/>
                  </a:lnTo>
                  <a:lnTo>
                    <a:pt x="1911160" y="198831"/>
                  </a:lnTo>
                  <a:lnTo>
                    <a:pt x="1911160" y="199530"/>
                  </a:lnTo>
                  <a:lnTo>
                    <a:pt x="1911160" y="198831"/>
                  </a:lnTo>
                  <a:lnTo>
                    <a:pt x="1911160" y="199530"/>
                  </a:lnTo>
                  <a:lnTo>
                    <a:pt x="1911160" y="198831"/>
                  </a:lnTo>
                  <a:lnTo>
                    <a:pt x="1911211" y="198831"/>
                  </a:lnTo>
                  <a:lnTo>
                    <a:pt x="1911211" y="199530"/>
                  </a:lnTo>
                  <a:lnTo>
                    <a:pt x="1911312" y="199530"/>
                  </a:lnTo>
                  <a:lnTo>
                    <a:pt x="1911312" y="198831"/>
                  </a:lnTo>
                  <a:lnTo>
                    <a:pt x="1911350" y="198831"/>
                  </a:lnTo>
                  <a:lnTo>
                    <a:pt x="1911350" y="197447"/>
                  </a:lnTo>
                  <a:lnTo>
                    <a:pt x="1911350" y="198831"/>
                  </a:lnTo>
                  <a:lnTo>
                    <a:pt x="1911350" y="197447"/>
                  </a:lnTo>
                  <a:lnTo>
                    <a:pt x="1911350" y="198831"/>
                  </a:lnTo>
                  <a:lnTo>
                    <a:pt x="1911350" y="196113"/>
                  </a:lnTo>
                  <a:lnTo>
                    <a:pt x="1911401" y="196113"/>
                  </a:lnTo>
                  <a:lnTo>
                    <a:pt x="1911401" y="198831"/>
                  </a:lnTo>
                  <a:lnTo>
                    <a:pt x="1911401" y="196799"/>
                  </a:lnTo>
                  <a:lnTo>
                    <a:pt x="1911452" y="196799"/>
                  </a:lnTo>
                  <a:lnTo>
                    <a:pt x="1911452" y="200228"/>
                  </a:lnTo>
                  <a:lnTo>
                    <a:pt x="1911452" y="197447"/>
                  </a:lnTo>
                  <a:lnTo>
                    <a:pt x="1911452" y="199530"/>
                  </a:lnTo>
                  <a:lnTo>
                    <a:pt x="1911554" y="199530"/>
                  </a:lnTo>
                  <a:lnTo>
                    <a:pt x="1911554" y="200228"/>
                  </a:lnTo>
                  <a:lnTo>
                    <a:pt x="1911554" y="199530"/>
                  </a:lnTo>
                  <a:lnTo>
                    <a:pt x="1911605" y="199530"/>
                  </a:lnTo>
                  <a:lnTo>
                    <a:pt x="1911605" y="200228"/>
                  </a:lnTo>
                  <a:lnTo>
                    <a:pt x="1911605" y="199530"/>
                  </a:lnTo>
                  <a:lnTo>
                    <a:pt x="1911605" y="200228"/>
                  </a:lnTo>
                  <a:lnTo>
                    <a:pt x="1911605" y="199530"/>
                  </a:lnTo>
                  <a:lnTo>
                    <a:pt x="1911655" y="199530"/>
                  </a:lnTo>
                  <a:lnTo>
                    <a:pt x="1911655" y="198831"/>
                  </a:lnTo>
                  <a:lnTo>
                    <a:pt x="1911655" y="199530"/>
                  </a:lnTo>
                  <a:lnTo>
                    <a:pt x="1911655" y="198831"/>
                  </a:lnTo>
                  <a:lnTo>
                    <a:pt x="1911655" y="199530"/>
                  </a:lnTo>
                  <a:lnTo>
                    <a:pt x="1911757" y="200228"/>
                  </a:lnTo>
                  <a:lnTo>
                    <a:pt x="1911757" y="199530"/>
                  </a:lnTo>
                  <a:lnTo>
                    <a:pt x="1911808" y="199530"/>
                  </a:lnTo>
                  <a:lnTo>
                    <a:pt x="1911808" y="198831"/>
                  </a:lnTo>
                  <a:lnTo>
                    <a:pt x="1911808" y="199530"/>
                  </a:lnTo>
                  <a:lnTo>
                    <a:pt x="1911808" y="198831"/>
                  </a:lnTo>
                  <a:lnTo>
                    <a:pt x="1911808" y="199530"/>
                  </a:lnTo>
                  <a:lnTo>
                    <a:pt x="1911808" y="196799"/>
                  </a:lnTo>
                  <a:lnTo>
                    <a:pt x="1911859" y="196799"/>
                  </a:lnTo>
                  <a:lnTo>
                    <a:pt x="1911859" y="197447"/>
                  </a:lnTo>
                  <a:lnTo>
                    <a:pt x="1911859" y="195415"/>
                  </a:lnTo>
                  <a:lnTo>
                    <a:pt x="1911859" y="197447"/>
                  </a:lnTo>
                  <a:lnTo>
                    <a:pt x="1911897" y="197447"/>
                  </a:lnTo>
                  <a:lnTo>
                    <a:pt x="1911897" y="198831"/>
                  </a:lnTo>
                  <a:lnTo>
                    <a:pt x="1911897" y="195415"/>
                  </a:lnTo>
                  <a:lnTo>
                    <a:pt x="1911897" y="199530"/>
                  </a:lnTo>
                  <a:lnTo>
                    <a:pt x="1911998" y="199530"/>
                  </a:lnTo>
                  <a:lnTo>
                    <a:pt x="1911998" y="197447"/>
                  </a:lnTo>
                  <a:lnTo>
                    <a:pt x="1911998" y="200228"/>
                  </a:lnTo>
                  <a:lnTo>
                    <a:pt x="1911998" y="199530"/>
                  </a:lnTo>
                  <a:lnTo>
                    <a:pt x="1912049" y="199530"/>
                  </a:lnTo>
                  <a:lnTo>
                    <a:pt x="1912049" y="198831"/>
                  </a:lnTo>
                  <a:lnTo>
                    <a:pt x="1912049" y="200228"/>
                  </a:lnTo>
                  <a:lnTo>
                    <a:pt x="1912100" y="200228"/>
                  </a:lnTo>
                  <a:lnTo>
                    <a:pt x="1912100" y="199530"/>
                  </a:lnTo>
                  <a:lnTo>
                    <a:pt x="1912100" y="200228"/>
                  </a:lnTo>
                  <a:lnTo>
                    <a:pt x="1912100" y="199530"/>
                  </a:lnTo>
                  <a:lnTo>
                    <a:pt x="1912100" y="200228"/>
                  </a:lnTo>
                  <a:lnTo>
                    <a:pt x="1912201" y="200228"/>
                  </a:lnTo>
                  <a:lnTo>
                    <a:pt x="1912201" y="199530"/>
                  </a:lnTo>
                  <a:lnTo>
                    <a:pt x="1912201" y="200876"/>
                  </a:lnTo>
                  <a:lnTo>
                    <a:pt x="1912201" y="200228"/>
                  </a:lnTo>
                  <a:lnTo>
                    <a:pt x="1912252" y="200228"/>
                  </a:lnTo>
                  <a:lnTo>
                    <a:pt x="1912252" y="199530"/>
                  </a:lnTo>
                  <a:lnTo>
                    <a:pt x="1912303" y="199530"/>
                  </a:lnTo>
                  <a:lnTo>
                    <a:pt x="1912303" y="198831"/>
                  </a:lnTo>
                  <a:lnTo>
                    <a:pt x="1912303" y="199530"/>
                  </a:lnTo>
                  <a:lnTo>
                    <a:pt x="1912303" y="196799"/>
                  </a:lnTo>
                  <a:lnTo>
                    <a:pt x="1912303" y="198831"/>
                  </a:lnTo>
                  <a:lnTo>
                    <a:pt x="1912303" y="197447"/>
                  </a:lnTo>
                  <a:lnTo>
                    <a:pt x="1912354" y="197447"/>
                  </a:lnTo>
                  <a:lnTo>
                    <a:pt x="1912354" y="196113"/>
                  </a:lnTo>
                  <a:lnTo>
                    <a:pt x="1912354" y="196799"/>
                  </a:lnTo>
                  <a:lnTo>
                    <a:pt x="1912354" y="196113"/>
                  </a:lnTo>
                  <a:lnTo>
                    <a:pt x="1912354" y="199530"/>
                  </a:lnTo>
                  <a:lnTo>
                    <a:pt x="1912354" y="197447"/>
                  </a:lnTo>
                  <a:lnTo>
                    <a:pt x="1912443" y="196799"/>
                  </a:lnTo>
                  <a:lnTo>
                    <a:pt x="1912443" y="197447"/>
                  </a:lnTo>
                  <a:lnTo>
                    <a:pt x="1912443" y="196799"/>
                  </a:lnTo>
                  <a:lnTo>
                    <a:pt x="1912443" y="200228"/>
                  </a:lnTo>
                  <a:lnTo>
                    <a:pt x="1912443" y="198831"/>
                  </a:lnTo>
                  <a:lnTo>
                    <a:pt x="1912494" y="198831"/>
                  </a:lnTo>
                  <a:lnTo>
                    <a:pt x="1912494" y="200228"/>
                  </a:lnTo>
                  <a:lnTo>
                    <a:pt x="1912494" y="199530"/>
                  </a:lnTo>
                  <a:lnTo>
                    <a:pt x="1912544" y="199530"/>
                  </a:lnTo>
                  <a:lnTo>
                    <a:pt x="1912544" y="200228"/>
                  </a:lnTo>
                  <a:lnTo>
                    <a:pt x="1912544" y="199530"/>
                  </a:lnTo>
                  <a:lnTo>
                    <a:pt x="1912544" y="200228"/>
                  </a:lnTo>
                  <a:lnTo>
                    <a:pt x="1912544" y="199530"/>
                  </a:lnTo>
                  <a:lnTo>
                    <a:pt x="1912595" y="199530"/>
                  </a:lnTo>
                  <a:lnTo>
                    <a:pt x="1912595" y="200228"/>
                  </a:lnTo>
                  <a:lnTo>
                    <a:pt x="1912595" y="199530"/>
                  </a:lnTo>
                  <a:lnTo>
                    <a:pt x="1912595" y="200228"/>
                  </a:lnTo>
                  <a:lnTo>
                    <a:pt x="1912595" y="199530"/>
                  </a:lnTo>
                  <a:lnTo>
                    <a:pt x="1912697" y="200228"/>
                  </a:lnTo>
                  <a:lnTo>
                    <a:pt x="1912747" y="200228"/>
                  </a:lnTo>
                  <a:lnTo>
                    <a:pt x="1912747" y="199530"/>
                  </a:lnTo>
                  <a:lnTo>
                    <a:pt x="1912747" y="200228"/>
                  </a:lnTo>
                  <a:lnTo>
                    <a:pt x="1912747" y="199530"/>
                  </a:lnTo>
                  <a:lnTo>
                    <a:pt x="1912747" y="200228"/>
                  </a:lnTo>
                  <a:lnTo>
                    <a:pt x="1912747" y="198831"/>
                  </a:lnTo>
                  <a:lnTo>
                    <a:pt x="1912798" y="198831"/>
                  </a:lnTo>
                  <a:lnTo>
                    <a:pt x="1912798" y="197447"/>
                  </a:lnTo>
                  <a:lnTo>
                    <a:pt x="1912798" y="198831"/>
                  </a:lnTo>
                  <a:lnTo>
                    <a:pt x="1912798" y="196113"/>
                  </a:lnTo>
                  <a:lnTo>
                    <a:pt x="1912798" y="196799"/>
                  </a:lnTo>
                  <a:lnTo>
                    <a:pt x="1912900" y="196799"/>
                  </a:lnTo>
                  <a:lnTo>
                    <a:pt x="1912900" y="196113"/>
                  </a:lnTo>
                  <a:lnTo>
                    <a:pt x="1912900" y="197447"/>
                  </a:lnTo>
                  <a:lnTo>
                    <a:pt x="1912900" y="196113"/>
                  </a:lnTo>
                  <a:lnTo>
                    <a:pt x="1912900" y="196799"/>
                  </a:lnTo>
                  <a:lnTo>
                    <a:pt x="1912938" y="196113"/>
                  </a:lnTo>
                  <a:lnTo>
                    <a:pt x="1912938" y="199530"/>
                  </a:lnTo>
                  <a:lnTo>
                    <a:pt x="1912938" y="197447"/>
                  </a:lnTo>
                  <a:lnTo>
                    <a:pt x="1912989" y="197447"/>
                  </a:lnTo>
                  <a:lnTo>
                    <a:pt x="1912989" y="199530"/>
                  </a:lnTo>
                  <a:lnTo>
                    <a:pt x="1912989" y="198831"/>
                  </a:lnTo>
                  <a:lnTo>
                    <a:pt x="1913040" y="198831"/>
                  </a:lnTo>
                  <a:lnTo>
                    <a:pt x="1913040" y="199530"/>
                  </a:lnTo>
                  <a:lnTo>
                    <a:pt x="1913141" y="199530"/>
                  </a:lnTo>
                  <a:lnTo>
                    <a:pt x="1913141" y="200228"/>
                  </a:lnTo>
                  <a:lnTo>
                    <a:pt x="1913141" y="199530"/>
                  </a:lnTo>
                  <a:lnTo>
                    <a:pt x="1913141" y="200228"/>
                  </a:lnTo>
                  <a:lnTo>
                    <a:pt x="1913141" y="199530"/>
                  </a:lnTo>
                  <a:lnTo>
                    <a:pt x="1913141" y="200228"/>
                  </a:lnTo>
                  <a:lnTo>
                    <a:pt x="1913141" y="199530"/>
                  </a:lnTo>
                  <a:lnTo>
                    <a:pt x="1913141" y="200228"/>
                  </a:lnTo>
                  <a:lnTo>
                    <a:pt x="1913141" y="199530"/>
                  </a:lnTo>
                  <a:lnTo>
                    <a:pt x="1913141" y="200228"/>
                  </a:lnTo>
                  <a:lnTo>
                    <a:pt x="1913243" y="200228"/>
                  </a:lnTo>
                  <a:lnTo>
                    <a:pt x="1913243" y="199530"/>
                  </a:lnTo>
                  <a:lnTo>
                    <a:pt x="1913243" y="200228"/>
                  </a:lnTo>
                  <a:lnTo>
                    <a:pt x="1913243" y="198831"/>
                  </a:lnTo>
                  <a:lnTo>
                    <a:pt x="1913344" y="198831"/>
                  </a:lnTo>
                  <a:lnTo>
                    <a:pt x="1913344" y="196113"/>
                  </a:lnTo>
                  <a:lnTo>
                    <a:pt x="1913344" y="196799"/>
                  </a:lnTo>
                  <a:lnTo>
                    <a:pt x="1913344" y="196113"/>
                  </a:lnTo>
                  <a:lnTo>
                    <a:pt x="1913344" y="196799"/>
                  </a:lnTo>
                  <a:lnTo>
                    <a:pt x="1913344" y="196113"/>
                  </a:lnTo>
                  <a:lnTo>
                    <a:pt x="1913395" y="196113"/>
                  </a:lnTo>
                  <a:lnTo>
                    <a:pt x="1913395" y="195415"/>
                  </a:lnTo>
                  <a:lnTo>
                    <a:pt x="1913395" y="197447"/>
                  </a:lnTo>
                  <a:lnTo>
                    <a:pt x="1913395" y="193383"/>
                  </a:lnTo>
                  <a:lnTo>
                    <a:pt x="1913446" y="194716"/>
                  </a:lnTo>
                  <a:lnTo>
                    <a:pt x="1913446" y="197447"/>
                  </a:lnTo>
                  <a:lnTo>
                    <a:pt x="1913446" y="196113"/>
                  </a:lnTo>
                  <a:lnTo>
                    <a:pt x="1913484" y="196113"/>
                  </a:lnTo>
                  <a:lnTo>
                    <a:pt x="1913484" y="198831"/>
                  </a:lnTo>
                  <a:lnTo>
                    <a:pt x="1913484" y="196799"/>
                  </a:lnTo>
                  <a:lnTo>
                    <a:pt x="1913586" y="196799"/>
                  </a:lnTo>
                  <a:lnTo>
                    <a:pt x="1913586" y="197447"/>
                  </a:lnTo>
                  <a:lnTo>
                    <a:pt x="1913586" y="196799"/>
                  </a:lnTo>
                  <a:lnTo>
                    <a:pt x="1913586" y="197447"/>
                  </a:lnTo>
                  <a:lnTo>
                    <a:pt x="1913586" y="196799"/>
                  </a:lnTo>
                  <a:lnTo>
                    <a:pt x="1913586" y="197447"/>
                  </a:lnTo>
                  <a:lnTo>
                    <a:pt x="1913586" y="196799"/>
                  </a:lnTo>
                  <a:lnTo>
                    <a:pt x="1913586" y="197447"/>
                  </a:lnTo>
                  <a:lnTo>
                    <a:pt x="1913586" y="196799"/>
                  </a:lnTo>
                  <a:lnTo>
                    <a:pt x="1913637" y="197447"/>
                  </a:lnTo>
                  <a:lnTo>
                    <a:pt x="1913637" y="198831"/>
                  </a:lnTo>
                  <a:lnTo>
                    <a:pt x="1913637" y="197447"/>
                  </a:lnTo>
                  <a:lnTo>
                    <a:pt x="1913637" y="198831"/>
                  </a:lnTo>
                  <a:lnTo>
                    <a:pt x="1913687" y="198831"/>
                  </a:lnTo>
                  <a:lnTo>
                    <a:pt x="1913687" y="199530"/>
                  </a:lnTo>
                  <a:lnTo>
                    <a:pt x="1913687" y="198831"/>
                  </a:lnTo>
                  <a:lnTo>
                    <a:pt x="1913687" y="199530"/>
                  </a:lnTo>
                  <a:lnTo>
                    <a:pt x="1913687" y="198831"/>
                  </a:lnTo>
                  <a:lnTo>
                    <a:pt x="1913687" y="199530"/>
                  </a:lnTo>
                  <a:lnTo>
                    <a:pt x="1913789" y="199530"/>
                  </a:lnTo>
                  <a:lnTo>
                    <a:pt x="1913789" y="198831"/>
                  </a:lnTo>
                  <a:lnTo>
                    <a:pt x="1913789" y="199530"/>
                  </a:lnTo>
                  <a:lnTo>
                    <a:pt x="1913789" y="197447"/>
                  </a:lnTo>
                  <a:lnTo>
                    <a:pt x="1913840" y="197447"/>
                  </a:lnTo>
                  <a:lnTo>
                    <a:pt x="1913840" y="196799"/>
                  </a:lnTo>
                  <a:lnTo>
                    <a:pt x="1913840" y="197447"/>
                  </a:lnTo>
                  <a:lnTo>
                    <a:pt x="1913840" y="196113"/>
                  </a:lnTo>
                  <a:lnTo>
                    <a:pt x="1913890" y="196799"/>
                  </a:lnTo>
                  <a:lnTo>
                    <a:pt x="1913890" y="197447"/>
                  </a:lnTo>
                  <a:lnTo>
                    <a:pt x="1913890" y="196799"/>
                  </a:lnTo>
                  <a:lnTo>
                    <a:pt x="1913890" y="199530"/>
                  </a:lnTo>
                  <a:lnTo>
                    <a:pt x="1913941" y="200228"/>
                  </a:lnTo>
                  <a:lnTo>
                    <a:pt x="1913941" y="197447"/>
                  </a:lnTo>
                  <a:lnTo>
                    <a:pt x="1913941" y="199530"/>
                  </a:lnTo>
                  <a:lnTo>
                    <a:pt x="1914030" y="199530"/>
                  </a:lnTo>
                  <a:lnTo>
                    <a:pt x="1914030" y="198831"/>
                  </a:lnTo>
                  <a:lnTo>
                    <a:pt x="1914030" y="199530"/>
                  </a:lnTo>
                  <a:lnTo>
                    <a:pt x="1914030" y="198831"/>
                  </a:lnTo>
                  <a:lnTo>
                    <a:pt x="1914030" y="199530"/>
                  </a:lnTo>
                  <a:lnTo>
                    <a:pt x="1914030" y="198831"/>
                  </a:lnTo>
                  <a:lnTo>
                    <a:pt x="1914081" y="198831"/>
                  </a:lnTo>
                  <a:lnTo>
                    <a:pt x="1914081" y="199530"/>
                  </a:lnTo>
                  <a:lnTo>
                    <a:pt x="1914081" y="198831"/>
                  </a:lnTo>
                  <a:lnTo>
                    <a:pt x="1914081" y="199530"/>
                  </a:lnTo>
                  <a:lnTo>
                    <a:pt x="1914132" y="199530"/>
                  </a:lnTo>
                  <a:lnTo>
                    <a:pt x="1914132" y="198831"/>
                  </a:lnTo>
                  <a:lnTo>
                    <a:pt x="1914132" y="200228"/>
                  </a:lnTo>
                  <a:lnTo>
                    <a:pt x="1914132" y="199530"/>
                  </a:lnTo>
                  <a:lnTo>
                    <a:pt x="1914132" y="200228"/>
                  </a:lnTo>
                  <a:lnTo>
                    <a:pt x="1914183" y="200228"/>
                  </a:lnTo>
                  <a:lnTo>
                    <a:pt x="1914183" y="199530"/>
                  </a:lnTo>
                  <a:lnTo>
                    <a:pt x="1914183" y="200228"/>
                  </a:lnTo>
                  <a:lnTo>
                    <a:pt x="1914183" y="199530"/>
                  </a:lnTo>
                  <a:lnTo>
                    <a:pt x="1914183" y="200228"/>
                  </a:lnTo>
                  <a:lnTo>
                    <a:pt x="1914183" y="199530"/>
                  </a:lnTo>
                  <a:lnTo>
                    <a:pt x="1914183" y="200228"/>
                  </a:lnTo>
                  <a:lnTo>
                    <a:pt x="1914183" y="199530"/>
                  </a:lnTo>
                  <a:lnTo>
                    <a:pt x="1914284" y="199530"/>
                  </a:lnTo>
                  <a:lnTo>
                    <a:pt x="1914284" y="197447"/>
                  </a:lnTo>
                  <a:lnTo>
                    <a:pt x="1914284" y="198831"/>
                  </a:lnTo>
                  <a:lnTo>
                    <a:pt x="1914284" y="197447"/>
                  </a:lnTo>
                  <a:lnTo>
                    <a:pt x="1914284" y="198831"/>
                  </a:lnTo>
                  <a:lnTo>
                    <a:pt x="1914284" y="197447"/>
                  </a:lnTo>
                  <a:lnTo>
                    <a:pt x="1914335" y="197447"/>
                  </a:lnTo>
                  <a:lnTo>
                    <a:pt x="1914335" y="196799"/>
                  </a:lnTo>
                  <a:lnTo>
                    <a:pt x="1914335" y="198831"/>
                  </a:lnTo>
                  <a:lnTo>
                    <a:pt x="1914386" y="198831"/>
                  </a:lnTo>
                  <a:lnTo>
                    <a:pt x="1914386" y="199530"/>
                  </a:lnTo>
                  <a:lnTo>
                    <a:pt x="1914386" y="198831"/>
                  </a:lnTo>
                  <a:lnTo>
                    <a:pt x="1914386" y="200876"/>
                  </a:lnTo>
                  <a:lnTo>
                    <a:pt x="1914386" y="200228"/>
                  </a:lnTo>
                  <a:lnTo>
                    <a:pt x="1914487" y="199530"/>
                  </a:lnTo>
                  <a:lnTo>
                    <a:pt x="1914487" y="200228"/>
                  </a:lnTo>
                  <a:lnTo>
                    <a:pt x="1914487" y="199530"/>
                  </a:lnTo>
                  <a:lnTo>
                    <a:pt x="1914487" y="200228"/>
                  </a:lnTo>
                  <a:lnTo>
                    <a:pt x="1914487" y="199530"/>
                  </a:lnTo>
                  <a:lnTo>
                    <a:pt x="1914487" y="200876"/>
                  </a:lnTo>
                  <a:lnTo>
                    <a:pt x="1914487" y="200228"/>
                  </a:lnTo>
                  <a:lnTo>
                    <a:pt x="1914525" y="200228"/>
                  </a:lnTo>
                  <a:lnTo>
                    <a:pt x="1914525" y="199530"/>
                  </a:lnTo>
                  <a:lnTo>
                    <a:pt x="1914576" y="199530"/>
                  </a:lnTo>
                  <a:lnTo>
                    <a:pt x="1914576" y="200228"/>
                  </a:lnTo>
                  <a:lnTo>
                    <a:pt x="1914576" y="199530"/>
                  </a:lnTo>
                  <a:lnTo>
                    <a:pt x="1914576" y="200228"/>
                  </a:lnTo>
                  <a:lnTo>
                    <a:pt x="1914576" y="199530"/>
                  </a:lnTo>
                  <a:lnTo>
                    <a:pt x="1914576" y="200228"/>
                  </a:lnTo>
                  <a:lnTo>
                    <a:pt x="1914576" y="199530"/>
                  </a:lnTo>
                  <a:lnTo>
                    <a:pt x="1914576" y="200228"/>
                  </a:lnTo>
                  <a:lnTo>
                    <a:pt x="1914627" y="200228"/>
                  </a:lnTo>
                  <a:lnTo>
                    <a:pt x="1914627" y="199530"/>
                  </a:lnTo>
                  <a:lnTo>
                    <a:pt x="1914627" y="200228"/>
                  </a:lnTo>
                  <a:lnTo>
                    <a:pt x="1914627" y="199530"/>
                  </a:lnTo>
                  <a:lnTo>
                    <a:pt x="1914729" y="199530"/>
                  </a:lnTo>
                  <a:lnTo>
                    <a:pt x="1914729" y="198831"/>
                  </a:lnTo>
                  <a:lnTo>
                    <a:pt x="1914780" y="197447"/>
                  </a:lnTo>
                  <a:lnTo>
                    <a:pt x="1914780" y="198831"/>
                  </a:lnTo>
                  <a:lnTo>
                    <a:pt x="1914780" y="196799"/>
                  </a:lnTo>
                  <a:lnTo>
                    <a:pt x="1914780" y="197447"/>
                  </a:lnTo>
                  <a:lnTo>
                    <a:pt x="1914780" y="196113"/>
                  </a:lnTo>
                  <a:lnTo>
                    <a:pt x="1914830" y="196113"/>
                  </a:lnTo>
                  <a:lnTo>
                    <a:pt x="1914830" y="198831"/>
                  </a:lnTo>
                  <a:lnTo>
                    <a:pt x="1914830" y="196799"/>
                  </a:lnTo>
                  <a:lnTo>
                    <a:pt x="1914932" y="196799"/>
                  </a:lnTo>
                  <a:lnTo>
                    <a:pt x="1914932" y="200228"/>
                  </a:lnTo>
                  <a:lnTo>
                    <a:pt x="1914932" y="197447"/>
                  </a:lnTo>
                  <a:lnTo>
                    <a:pt x="1914983" y="198831"/>
                  </a:lnTo>
                  <a:lnTo>
                    <a:pt x="1914983" y="200228"/>
                  </a:lnTo>
                  <a:lnTo>
                    <a:pt x="1914983" y="198831"/>
                  </a:lnTo>
                  <a:lnTo>
                    <a:pt x="1914983" y="199530"/>
                  </a:lnTo>
                  <a:lnTo>
                    <a:pt x="1915034" y="199530"/>
                  </a:lnTo>
                  <a:lnTo>
                    <a:pt x="1915072" y="200228"/>
                  </a:lnTo>
                  <a:lnTo>
                    <a:pt x="1915072" y="199530"/>
                  </a:lnTo>
                  <a:lnTo>
                    <a:pt x="1915072" y="200876"/>
                  </a:lnTo>
                  <a:lnTo>
                    <a:pt x="1915072" y="200228"/>
                  </a:lnTo>
                  <a:lnTo>
                    <a:pt x="1915173" y="200876"/>
                  </a:lnTo>
                  <a:lnTo>
                    <a:pt x="1915173" y="200228"/>
                  </a:lnTo>
                  <a:lnTo>
                    <a:pt x="1915173" y="200876"/>
                  </a:lnTo>
                  <a:lnTo>
                    <a:pt x="1915173" y="200228"/>
                  </a:lnTo>
                  <a:lnTo>
                    <a:pt x="1915173" y="200876"/>
                  </a:lnTo>
                  <a:lnTo>
                    <a:pt x="1915173" y="199530"/>
                  </a:lnTo>
                  <a:lnTo>
                    <a:pt x="1915224" y="199530"/>
                  </a:lnTo>
                  <a:lnTo>
                    <a:pt x="1915224" y="200228"/>
                  </a:lnTo>
                  <a:lnTo>
                    <a:pt x="1915224" y="197447"/>
                  </a:lnTo>
                  <a:lnTo>
                    <a:pt x="1915224" y="198831"/>
                  </a:lnTo>
                  <a:lnTo>
                    <a:pt x="1915275" y="198831"/>
                  </a:lnTo>
                  <a:lnTo>
                    <a:pt x="1915275" y="196113"/>
                  </a:lnTo>
                  <a:lnTo>
                    <a:pt x="1915376" y="196113"/>
                  </a:lnTo>
                  <a:lnTo>
                    <a:pt x="1915376" y="197447"/>
                  </a:lnTo>
                  <a:lnTo>
                    <a:pt x="1915376" y="196799"/>
                  </a:lnTo>
                  <a:lnTo>
                    <a:pt x="1915376" y="199530"/>
                  </a:lnTo>
                  <a:lnTo>
                    <a:pt x="1915427" y="199530"/>
                  </a:lnTo>
                  <a:lnTo>
                    <a:pt x="1915427" y="198831"/>
                  </a:lnTo>
                  <a:lnTo>
                    <a:pt x="1915478" y="199530"/>
                  </a:lnTo>
                  <a:lnTo>
                    <a:pt x="1915478" y="198831"/>
                  </a:lnTo>
                  <a:lnTo>
                    <a:pt x="1915478" y="199530"/>
                  </a:lnTo>
                  <a:lnTo>
                    <a:pt x="1915478" y="198831"/>
                  </a:lnTo>
                  <a:lnTo>
                    <a:pt x="1915478" y="199530"/>
                  </a:lnTo>
                  <a:lnTo>
                    <a:pt x="1915529" y="199530"/>
                  </a:lnTo>
                  <a:lnTo>
                    <a:pt x="1915529" y="200228"/>
                  </a:lnTo>
                  <a:lnTo>
                    <a:pt x="1915529" y="199530"/>
                  </a:lnTo>
                  <a:lnTo>
                    <a:pt x="1915529" y="200228"/>
                  </a:lnTo>
                  <a:lnTo>
                    <a:pt x="1915618" y="200228"/>
                  </a:lnTo>
                  <a:lnTo>
                    <a:pt x="1915618" y="200876"/>
                  </a:lnTo>
                  <a:lnTo>
                    <a:pt x="1915618" y="200228"/>
                  </a:lnTo>
                  <a:lnTo>
                    <a:pt x="1915618" y="200876"/>
                  </a:lnTo>
                  <a:lnTo>
                    <a:pt x="1915618" y="200228"/>
                  </a:lnTo>
                  <a:lnTo>
                    <a:pt x="1915669" y="200228"/>
                  </a:lnTo>
                  <a:lnTo>
                    <a:pt x="1915669" y="200876"/>
                  </a:lnTo>
                  <a:lnTo>
                    <a:pt x="1915669" y="200228"/>
                  </a:lnTo>
                  <a:lnTo>
                    <a:pt x="1915669" y="200876"/>
                  </a:lnTo>
                  <a:lnTo>
                    <a:pt x="1915669" y="200228"/>
                  </a:lnTo>
                  <a:lnTo>
                    <a:pt x="1915719" y="199530"/>
                  </a:lnTo>
                  <a:lnTo>
                    <a:pt x="1915719" y="198831"/>
                  </a:lnTo>
                  <a:lnTo>
                    <a:pt x="1915719" y="199530"/>
                  </a:lnTo>
                  <a:lnTo>
                    <a:pt x="1915719" y="196799"/>
                  </a:lnTo>
                  <a:lnTo>
                    <a:pt x="1915770" y="197447"/>
                  </a:lnTo>
                  <a:lnTo>
                    <a:pt x="1915770" y="196799"/>
                  </a:lnTo>
                  <a:lnTo>
                    <a:pt x="1915770" y="197447"/>
                  </a:lnTo>
                  <a:lnTo>
                    <a:pt x="1915770" y="196113"/>
                  </a:lnTo>
                  <a:lnTo>
                    <a:pt x="1915872" y="196799"/>
                  </a:lnTo>
                  <a:lnTo>
                    <a:pt x="1915872" y="197447"/>
                  </a:lnTo>
                  <a:lnTo>
                    <a:pt x="1915872" y="196113"/>
                  </a:lnTo>
                  <a:lnTo>
                    <a:pt x="1915872" y="198831"/>
                  </a:lnTo>
                  <a:lnTo>
                    <a:pt x="1915922" y="198831"/>
                  </a:lnTo>
                  <a:lnTo>
                    <a:pt x="1915922" y="197447"/>
                  </a:lnTo>
                  <a:lnTo>
                    <a:pt x="1915922" y="198831"/>
                  </a:lnTo>
                  <a:lnTo>
                    <a:pt x="1915922" y="196799"/>
                  </a:lnTo>
                  <a:lnTo>
                    <a:pt x="1915922" y="197447"/>
                  </a:lnTo>
                  <a:lnTo>
                    <a:pt x="1915973" y="197447"/>
                  </a:lnTo>
                  <a:lnTo>
                    <a:pt x="1915973" y="198831"/>
                  </a:lnTo>
                  <a:lnTo>
                    <a:pt x="1915973" y="197447"/>
                  </a:lnTo>
                  <a:lnTo>
                    <a:pt x="1915973" y="198831"/>
                  </a:lnTo>
                  <a:lnTo>
                    <a:pt x="1916075" y="198831"/>
                  </a:lnTo>
                  <a:lnTo>
                    <a:pt x="1916075" y="199530"/>
                  </a:lnTo>
                  <a:lnTo>
                    <a:pt x="1916113" y="199530"/>
                  </a:lnTo>
                  <a:lnTo>
                    <a:pt x="1916113" y="200876"/>
                  </a:lnTo>
                  <a:lnTo>
                    <a:pt x="1916113" y="200228"/>
                  </a:lnTo>
                  <a:lnTo>
                    <a:pt x="1916113" y="202260"/>
                  </a:lnTo>
                  <a:lnTo>
                    <a:pt x="1916113" y="200876"/>
                  </a:lnTo>
                  <a:lnTo>
                    <a:pt x="1916164" y="200876"/>
                  </a:lnTo>
                  <a:lnTo>
                    <a:pt x="1916164" y="199530"/>
                  </a:lnTo>
                  <a:lnTo>
                    <a:pt x="1916164" y="200228"/>
                  </a:lnTo>
                  <a:lnTo>
                    <a:pt x="1916215" y="200228"/>
                  </a:lnTo>
                  <a:lnTo>
                    <a:pt x="1916215" y="198831"/>
                  </a:lnTo>
                  <a:lnTo>
                    <a:pt x="1916215" y="199530"/>
                  </a:lnTo>
                  <a:lnTo>
                    <a:pt x="1916215" y="198831"/>
                  </a:lnTo>
                  <a:lnTo>
                    <a:pt x="1916316" y="198831"/>
                  </a:lnTo>
                  <a:lnTo>
                    <a:pt x="1916316" y="196799"/>
                  </a:lnTo>
                  <a:lnTo>
                    <a:pt x="1916316" y="197447"/>
                  </a:lnTo>
                  <a:lnTo>
                    <a:pt x="1916316" y="196799"/>
                  </a:lnTo>
                  <a:lnTo>
                    <a:pt x="1916316" y="197447"/>
                  </a:lnTo>
                  <a:lnTo>
                    <a:pt x="1916316" y="196113"/>
                  </a:lnTo>
                  <a:lnTo>
                    <a:pt x="1916316" y="196799"/>
                  </a:lnTo>
                  <a:lnTo>
                    <a:pt x="1916367" y="196799"/>
                  </a:lnTo>
                  <a:lnTo>
                    <a:pt x="1916367" y="197447"/>
                  </a:lnTo>
                  <a:lnTo>
                    <a:pt x="1916367" y="196799"/>
                  </a:lnTo>
                  <a:lnTo>
                    <a:pt x="1916367" y="197447"/>
                  </a:lnTo>
                  <a:lnTo>
                    <a:pt x="1916367" y="196799"/>
                  </a:lnTo>
                  <a:lnTo>
                    <a:pt x="1916367" y="197447"/>
                  </a:lnTo>
                  <a:lnTo>
                    <a:pt x="1916418" y="197447"/>
                  </a:lnTo>
                  <a:lnTo>
                    <a:pt x="1916418" y="196799"/>
                  </a:lnTo>
                  <a:lnTo>
                    <a:pt x="1916418" y="197447"/>
                  </a:lnTo>
                  <a:lnTo>
                    <a:pt x="1916418" y="196799"/>
                  </a:lnTo>
                  <a:lnTo>
                    <a:pt x="1916418" y="197447"/>
                  </a:lnTo>
                  <a:lnTo>
                    <a:pt x="1916519" y="197447"/>
                  </a:lnTo>
                  <a:lnTo>
                    <a:pt x="1916519" y="196799"/>
                  </a:lnTo>
                  <a:lnTo>
                    <a:pt x="1916519" y="197447"/>
                  </a:lnTo>
                  <a:lnTo>
                    <a:pt x="1916519" y="196799"/>
                  </a:lnTo>
                  <a:lnTo>
                    <a:pt x="1916519" y="197447"/>
                  </a:lnTo>
                  <a:lnTo>
                    <a:pt x="1916570" y="197447"/>
                  </a:lnTo>
                  <a:lnTo>
                    <a:pt x="1916570" y="198831"/>
                  </a:lnTo>
                  <a:lnTo>
                    <a:pt x="1916621" y="198831"/>
                  </a:lnTo>
                  <a:lnTo>
                    <a:pt x="1916621" y="197447"/>
                  </a:lnTo>
                  <a:lnTo>
                    <a:pt x="1916621" y="198831"/>
                  </a:lnTo>
                  <a:lnTo>
                    <a:pt x="1916621" y="197447"/>
                  </a:lnTo>
                  <a:lnTo>
                    <a:pt x="1916621" y="198831"/>
                  </a:lnTo>
                  <a:lnTo>
                    <a:pt x="1916659" y="198831"/>
                  </a:lnTo>
                  <a:lnTo>
                    <a:pt x="1916659" y="199530"/>
                  </a:lnTo>
                  <a:lnTo>
                    <a:pt x="1916659" y="198831"/>
                  </a:lnTo>
                  <a:lnTo>
                    <a:pt x="1916659" y="199530"/>
                  </a:lnTo>
                  <a:lnTo>
                    <a:pt x="1916659" y="198831"/>
                  </a:lnTo>
                  <a:lnTo>
                    <a:pt x="1916659" y="199530"/>
                  </a:lnTo>
                  <a:lnTo>
                    <a:pt x="1916659" y="198831"/>
                  </a:lnTo>
                  <a:lnTo>
                    <a:pt x="1916659" y="199530"/>
                  </a:lnTo>
                  <a:lnTo>
                    <a:pt x="1916659" y="197447"/>
                  </a:lnTo>
                  <a:lnTo>
                    <a:pt x="1916761" y="197447"/>
                  </a:lnTo>
                  <a:lnTo>
                    <a:pt x="1916761" y="198831"/>
                  </a:lnTo>
                  <a:lnTo>
                    <a:pt x="1916761" y="197447"/>
                  </a:lnTo>
                  <a:lnTo>
                    <a:pt x="1916761" y="198831"/>
                  </a:lnTo>
                  <a:lnTo>
                    <a:pt x="1916761" y="197447"/>
                  </a:lnTo>
                  <a:lnTo>
                    <a:pt x="1916812" y="197447"/>
                  </a:lnTo>
                  <a:lnTo>
                    <a:pt x="1916812" y="196799"/>
                  </a:lnTo>
                  <a:lnTo>
                    <a:pt x="1916812" y="197447"/>
                  </a:lnTo>
                  <a:lnTo>
                    <a:pt x="1916862" y="197447"/>
                  </a:lnTo>
                  <a:lnTo>
                    <a:pt x="1916862" y="196799"/>
                  </a:lnTo>
                  <a:lnTo>
                    <a:pt x="1916862" y="197447"/>
                  </a:lnTo>
                  <a:lnTo>
                    <a:pt x="1916862" y="196799"/>
                  </a:lnTo>
                  <a:lnTo>
                    <a:pt x="1916862" y="199530"/>
                  </a:lnTo>
                  <a:lnTo>
                    <a:pt x="1916862" y="198831"/>
                  </a:lnTo>
                  <a:lnTo>
                    <a:pt x="1916964" y="198831"/>
                  </a:lnTo>
                  <a:lnTo>
                    <a:pt x="1916964" y="197447"/>
                  </a:lnTo>
                  <a:lnTo>
                    <a:pt x="1916964" y="199530"/>
                  </a:lnTo>
                  <a:lnTo>
                    <a:pt x="1916964" y="198831"/>
                  </a:lnTo>
                  <a:lnTo>
                    <a:pt x="1917015" y="198831"/>
                  </a:lnTo>
                  <a:lnTo>
                    <a:pt x="1917015" y="199530"/>
                  </a:lnTo>
                  <a:lnTo>
                    <a:pt x="1917015" y="198831"/>
                  </a:lnTo>
                  <a:lnTo>
                    <a:pt x="1917015" y="199530"/>
                  </a:lnTo>
                  <a:lnTo>
                    <a:pt x="1917065" y="199530"/>
                  </a:lnTo>
                  <a:lnTo>
                    <a:pt x="1917065" y="198831"/>
                  </a:lnTo>
                  <a:lnTo>
                    <a:pt x="1917065" y="199530"/>
                  </a:lnTo>
                  <a:lnTo>
                    <a:pt x="1917065" y="198831"/>
                  </a:lnTo>
                  <a:lnTo>
                    <a:pt x="1917065" y="199530"/>
                  </a:lnTo>
                  <a:lnTo>
                    <a:pt x="1917116" y="199530"/>
                  </a:lnTo>
                  <a:lnTo>
                    <a:pt x="1917116" y="200228"/>
                  </a:lnTo>
                  <a:lnTo>
                    <a:pt x="1917205" y="200228"/>
                  </a:lnTo>
                  <a:lnTo>
                    <a:pt x="1917205" y="198831"/>
                  </a:lnTo>
                  <a:lnTo>
                    <a:pt x="1917205" y="199530"/>
                  </a:lnTo>
                  <a:lnTo>
                    <a:pt x="1917256" y="198831"/>
                  </a:lnTo>
                  <a:lnTo>
                    <a:pt x="1917256" y="197447"/>
                  </a:lnTo>
                  <a:lnTo>
                    <a:pt x="1917256" y="198831"/>
                  </a:lnTo>
                  <a:lnTo>
                    <a:pt x="1917256" y="197447"/>
                  </a:lnTo>
                  <a:lnTo>
                    <a:pt x="1917307" y="197447"/>
                  </a:lnTo>
                  <a:lnTo>
                    <a:pt x="1917307" y="196799"/>
                  </a:lnTo>
                  <a:lnTo>
                    <a:pt x="1917307" y="198831"/>
                  </a:lnTo>
                  <a:lnTo>
                    <a:pt x="1917358" y="198831"/>
                  </a:lnTo>
                  <a:lnTo>
                    <a:pt x="1917358" y="196799"/>
                  </a:lnTo>
                  <a:lnTo>
                    <a:pt x="1917358" y="199530"/>
                  </a:lnTo>
                  <a:lnTo>
                    <a:pt x="1917358" y="198831"/>
                  </a:lnTo>
                  <a:lnTo>
                    <a:pt x="1917358" y="199530"/>
                  </a:lnTo>
                  <a:lnTo>
                    <a:pt x="1917358" y="198831"/>
                  </a:lnTo>
                  <a:lnTo>
                    <a:pt x="1917459" y="198831"/>
                  </a:lnTo>
                  <a:lnTo>
                    <a:pt x="1917459" y="199530"/>
                  </a:lnTo>
                  <a:lnTo>
                    <a:pt x="1917459" y="198831"/>
                  </a:lnTo>
                  <a:lnTo>
                    <a:pt x="1917510" y="198831"/>
                  </a:lnTo>
                  <a:lnTo>
                    <a:pt x="1917510" y="199530"/>
                  </a:lnTo>
                  <a:lnTo>
                    <a:pt x="1917510" y="198831"/>
                  </a:lnTo>
                  <a:lnTo>
                    <a:pt x="1917510" y="200228"/>
                  </a:lnTo>
                  <a:lnTo>
                    <a:pt x="1917510" y="198831"/>
                  </a:lnTo>
                  <a:lnTo>
                    <a:pt x="1917561" y="199530"/>
                  </a:lnTo>
                  <a:lnTo>
                    <a:pt x="1917561" y="200228"/>
                  </a:lnTo>
                  <a:lnTo>
                    <a:pt x="1917561" y="199530"/>
                  </a:lnTo>
                  <a:lnTo>
                    <a:pt x="1917561" y="200228"/>
                  </a:lnTo>
                  <a:lnTo>
                    <a:pt x="1917561" y="199530"/>
                  </a:lnTo>
                  <a:lnTo>
                    <a:pt x="1917662" y="199530"/>
                  </a:lnTo>
                  <a:lnTo>
                    <a:pt x="1917662" y="198831"/>
                  </a:lnTo>
                  <a:lnTo>
                    <a:pt x="1917662" y="199530"/>
                  </a:lnTo>
                  <a:lnTo>
                    <a:pt x="1917662" y="198831"/>
                  </a:lnTo>
                  <a:lnTo>
                    <a:pt x="1917700" y="198831"/>
                  </a:lnTo>
                  <a:lnTo>
                    <a:pt x="1917700" y="197447"/>
                  </a:lnTo>
                  <a:lnTo>
                    <a:pt x="1917700" y="198831"/>
                  </a:lnTo>
                  <a:lnTo>
                    <a:pt x="1917700" y="197447"/>
                  </a:lnTo>
                  <a:lnTo>
                    <a:pt x="1917751" y="197447"/>
                  </a:lnTo>
                  <a:lnTo>
                    <a:pt x="1917751" y="196799"/>
                  </a:lnTo>
                  <a:lnTo>
                    <a:pt x="1917751" y="197447"/>
                  </a:lnTo>
                  <a:lnTo>
                    <a:pt x="1917751" y="196799"/>
                  </a:lnTo>
                  <a:lnTo>
                    <a:pt x="1917751" y="197447"/>
                  </a:lnTo>
                  <a:lnTo>
                    <a:pt x="1917751" y="196799"/>
                  </a:lnTo>
                  <a:lnTo>
                    <a:pt x="1917802" y="196799"/>
                  </a:lnTo>
                  <a:lnTo>
                    <a:pt x="1917802" y="196113"/>
                  </a:lnTo>
                  <a:lnTo>
                    <a:pt x="1917802" y="196799"/>
                  </a:lnTo>
                  <a:lnTo>
                    <a:pt x="1917802" y="196113"/>
                  </a:lnTo>
                  <a:lnTo>
                    <a:pt x="1917802" y="197447"/>
                  </a:lnTo>
                  <a:lnTo>
                    <a:pt x="1917802" y="196799"/>
                  </a:lnTo>
                  <a:lnTo>
                    <a:pt x="1917904" y="196799"/>
                  </a:lnTo>
                  <a:lnTo>
                    <a:pt x="1917904" y="198831"/>
                  </a:lnTo>
                  <a:lnTo>
                    <a:pt x="1917904" y="197447"/>
                  </a:lnTo>
                  <a:lnTo>
                    <a:pt x="1917955" y="198831"/>
                  </a:lnTo>
                  <a:lnTo>
                    <a:pt x="1918005" y="198831"/>
                  </a:lnTo>
                  <a:lnTo>
                    <a:pt x="1918005" y="199530"/>
                  </a:lnTo>
                  <a:lnTo>
                    <a:pt x="1918107" y="200228"/>
                  </a:lnTo>
                  <a:lnTo>
                    <a:pt x="1918107" y="199530"/>
                  </a:lnTo>
                  <a:lnTo>
                    <a:pt x="1918107" y="200228"/>
                  </a:lnTo>
                  <a:lnTo>
                    <a:pt x="1918107" y="199530"/>
                  </a:lnTo>
                  <a:lnTo>
                    <a:pt x="1918107" y="200228"/>
                  </a:lnTo>
                  <a:lnTo>
                    <a:pt x="1918107" y="199530"/>
                  </a:lnTo>
                  <a:lnTo>
                    <a:pt x="1918107" y="200228"/>
                  </a:lnTo>
                  <a:lnTo>
                    <a:pt x="1918107" y="199530"/>
                  </a:lnTo>
                  <a:lnTo>
                    <a:pt x="1918158" y="199530"/>
                  </a:lnTo>
                  <a:lnTo>
                    <a:pt x="1918158" y="200228"/>
                  </a:lnTo>
                  <a:lnTo>
                    <a:pt x="1918158" y="199530"/>
                  </a:lnTo>
                  <a:lnTo>
                    <a:pt x="1918158" y="200228"/>
                  </a:lnTo>
                  <a:lnTo>
                    <a:pt x="1918158" y="199530"/>
                  </a:lnTo>
                  <a:lnTo>
                    <a:pt x="1918209" y="199530"/>
                  </a:lnTo>
                  <a:lnTo>
                    <a:pt x="1918209" y="198831"/>
                  </a:lnTo>
                  <a:lnTo>
                    <a:pt x="1918209" y="199530"/>
                  </a:lnTo>
                  <a:lnTo>
                    <a:pt x="1918209" y="198831"/>
                  </a:lnTo>
                  <a:lnTo>
                    <a:pt x="1918209" y="199530"/>
                  </a:lnTo>
                  <a:lnTo>
                    <a:pt x="1918209" y="198831"/>
                  </a:lnTo>
                  <a:lnTo>
                    <a:pt x="1918247" y="198831"/>
                  </a:lnTo>
                  <a:lnTo>
                    <a:pt x="1918247" y="197447"/>
                  </a:lnTo>
                  <a:lnTo>
                    <a:pt x="1918247" y="198831"/>
                  </a:lnTo>
                  <a:lnTo>
                    <a:pt x="1918247" y="196113"/>
                  </a:lnTo>
                  <a:lnTo>
                    <a:pt x="1918348" y="196113"/>
                  </a:lnTo>
                  <a:lnTo>
                    <a:pt x="1918348" y="197447"/>
                  </a:lnTo>
                  <a:lnTo>
                    <a:pt x="1918348" y="196113"/>
                  </a:lnTo>
                  <a:lnTo>
                    <a:pt x="1918348" y="196799"/>
                  </a:lnTo>
                  <a:lnTo>
                    <a:pt x="1918399" y="197447"/>
                  </a:lnTo>
                  <a:lnTo>
                    <a:pt x="1918399" y="198831"/>
                  </a:lnTo>
                  <a:lnTo>
                    <a:pt x="1918399" y="197447"/>
                  </a:lnTo>
                  <a:lnTo>
                    <a:pt x="1918399" y="198831"/>
                  </a:lnTo>
                  <a:lnTo>
                    <a:pt x="1918399" y="197447"/>
                  </a:lnTo>
                  <a:lnTo>
                    <a:pt x="1918399" y="198831"/>
                  </a:lnTo>
                  <a:lnTo>
                    <a:pt x="1918450" y="198831"/>
                  </a:lnTo>
                  <a:lnTo>
                    <a:pt x="1918450" y="197447"/>
                  </a:lnTo>
                  <a:lnTo>
                    <a:pt x="1918450" y="199530"/>
                  </a:lnTo>
                  <a:lnTo>
                    <a:pt x="1918551" y="199530"/>
                  </a:lnTo>
                  <a:lnTo>
                    <a:pt x="1918551" y="198831"/>
                  </a:lnTo>
                  <a:lnTo>
                    <a:pt x="1918551" y="199530"/>
                  </a:lnTo>
                  <a:lnTo>
                    <a:pt x="1918551" y="198831"/>
                  </a:lnTo>
                  <a:lnTo>
                    <a:pt x="1918602" y="199530"/>
                  </a:lnTo>
                  <a:lnTo>
                    <a:pt x="1918602" y="200228"/>
                  </a:lnTo>
                  <a:lnTo>
                    <a:pt x="1918602" y="199530"/>
                  </a:lnTo>
                  <a:lnTo>
                    <a:pt x="1918653" y="199530"/>
                  </a:lnTo>
                  <a:lnTo>
                    <a:pt x="1918653" y="200228"/>
                  </a:lnTo>
                  <a:lnTo>
                    <a:pt x="1918653" y="199530"/>
                  </a:lnTo>
                  <a:lnTo>
                    <a:pt x="1918704" y="199530"/>
                  </a:lnTo>
                  <a:lnTo>
                    <a:pt x="1918704" y="197447"/>
                  </a:lnTo>
                  <a:lnTo>
                    <a:pt x="1918704" y="198831"/>
                  </a:lnTo>
                  <a:lnTo>
                    <a:pt x="1918704" y="197447"/>
                  </a:lnTo>
                  <a:lnTo>
                    <a:pt x="1918793" y="197447"/>
                  </a:lnTo>
                  <a:lnTo>
                    <a:pt x="1918793" y="196799"/>
                  </a:lnTo>
                  <a:lnTo>
                    <a:pt x="1918793" y="197447"/>
                  </a:lnTo>
                  <a:lnTo>
                    <a:pt x="1918793" y="195415"/>
                  </a:lnTo>
                  <a:lnTo>
                    <a:pt x="1918844" y="195415"/>
                  </a:lnTo>
                  <a:lnTo>
                    <a:pt x="1918844" y="196799"/>
                  </a:lnTo>
                  <a:lnTo>
                    <a:pt x="1918844" y="195415"/>
                  </a:lnTo>
                  <a:lnTo>
                    <a:pt x="1918894" y="196113"/>
                  </a:lnTo>
                  <a:lnTo>
                    <a:pt x="1918894" y="197447"/>
                  </a:lnTo>
                  <a:lnTo>
                    <a:pt x="1918894" y="196113"/>
                  </a:lnTo>
                  <a:lnTo>
                    <a:pt x="1918894" y="198831"/>
                  </a:lnTo>
                  <a:lnTo>
                    <a:pt x="1918945" y="198831"/>
                  </a:lnTo>
                  <a:lnTo>
                    <a:pt x="1918945" y="196799"/>
                  </a:lnTo>
                  <a:lnTo>
                    <a:pt x="1918945" y="198831"/>
                  </a:lnTo>
                  <a:lnTo>
                    <a:pt x="1919047" y="198831"/>
                  </a:lnTo>
                  <a:lnTo>
                    <a:pt x="1919047" y="197447"/>
                  </a:lnTo>
                  <a:lnTo>
                    <a:pt x="1919047" y="198831"/>
                  </a:lnTo>
                  <a:lnTo>
                    <a:pt x="1919047" y="197447"/>
                  </a:lnTo>
                  <a:lnTo>
                    <a:pt x="1919047" y="198831"/>
                  </a:lnTo>
                  <a:lnTo>
                    <a:pt x="1919097" y="198831"/>
                  </a:lnTo>
                  <a:lnTo>
                    <a:pt x="1919097" y="199530"/>
                  </a:lnTo>
                  <a:lnTo>
                    <a:pt x="1919148" y="199530"/>
                  </a:lnTo>
                  <a:lnTo>
                    <a:pt x="1919148" y="200228"/>
                  </a:lnTo>
                  <a:lnTo>
                    <a:pt x="1919148" y="199530"/>
                  </a:lnTo>
                  <a:lnTo>
                    <a:pt x="1919250" y="199530"/>
                  </a:lnTo>
                  <a:lnTo>
                    <a:pt x="1919250" y="198831"/>
                  </a:lnTo>
                  <a:lnTo>
                    <a:pt x="1919250" y="199530"/>
                  </a:lnTo>
                  <a:lnTo>
                    <a:pt x="1919250" y="198831"/>
                  </a:lnTo>
                  <a:lnTo>
                    <a:pt x="1919288" y="197447"/>
                  </a:lnTo>
                  <a:lnTo>
                    <a:pt x="1919288" y="196113"/>
                  </a:lnTo>
                  <a:lnTo>
                    <a:pt x="1919288" y="197447"/>
                  </a:lnTo>
                  <a:lnTo>
                    <a:pt x="1919339" y="197447"/>
                  </a:lnTo>
                  <a:lnTo>
                    <a:pt x="1919339" y="194716"/>
                  </a:lnTo>
                  <a:lnTo>
                    <a:pt x="1919339" y="198831"/>
                  </a:lnTo>
                  <a:lnTo>
                    <a:pt x="1919339" y="197447"/>
                  </a:lnTo>
                  <a:lnTo>
                    <a:pt x="1919390" y="197447"/>
                  </a:lnTo>
                  <a:lnTo>
                    <a:pt x="1919390" y="196799"/>
                  </a:lnTo>
                  <a:lnTo>
                    <a:pt x="1919390" y="198831"/>
                  </a:lnTo>
                  <a:lnTo>
                    <a:pt x="1919390" y="197447"/>
                  </a:lnTo>
                  <a:lnTo>
                    <a:pt x="1919390" y="198831"/>
                  </a:lnTo>
                  <a:lnTo>
                    <a:pt x="1919390" y="197447"/>
                  </a:lnTo>
                  <a:lnTo>
                    <a:pt x="1919491" y="197447"/>
                  </a:lnTo>
                  <a:lnTo>
                    <a:pt x="1919491" y="196799"/>
                  </a:lnTo>
                  <a:lnTo>
                    <a:pt x="1919491" y="198831"/>
                  </a:lnTo>
                  <a:lnTo>
                    <a:pt x="1919491" y="197447"/>
                  </a:lnTo>
                  <a:lnTo>
                    <a:pt x="1919491" y="198831"/>
                  </a:lnTo>
                  <a:lnTo>
                    <a:pt x="1919491" y="197447"/>
                  </a:lnTo>
                  <a:lnTo>
                    <a:pt x="1919542" y="197447"/>
                  </a:lnTo>
                  <a:lnTo>
                    <a:pt x="1919542" y="198831"/>
                  </a:lnTo>
                  <a:lnTo>
                    <a:pt x="1919542" y="197447"/>
                  </a:lnTo>
                  <a:lnTo>
                    <a:pt x="1919593" y="197447"/>
                  </a:lnTo>
                  <a:lnTo>
                    <a:pt x="1919593" y="198831"/>
                  </a:lnTo>
                  <a:lnTo>
                    <a:pt x="1919694" y="198831"/>
                  </a:lnTo>
                  <a:lnTo>
                    <a:pt x="1919694" y="199530"/>
                  </a:lnTo>
                  <a:lnTo>
                    <a:pt x="1919694" y="198831"/>
                  </a:lnTo>
                  <a:lnTo>
                    <a:pt x="1919694" y="199530"/>
                  </a:lnTo>
                  <a:lnTo>
                    <a:pt x="1919694" y="198831"/>
                  </a:lnTo>
                  <a:lnTo>
                    <a:pt x="1919745" y="198831"/>
                  </a:lnTo>
                  <a:lnTo>
                    <a:pt x="1919745" y="197447"/>
                  </a:lnTo>
                  <a:lnTo>
                    <a:pt x="1919745" y="198831"/>
                  </a:lnTo>
                  <a:lnTo>
                    <a:pt x="1919745" y="197447"/>
                  </a:lnTo>
                  <a:lnTo>
                    <a:pt x="1919745" y="198831"/>
                  </a:lnTo>
                  <a:lnTo>
                    <a:pt x="1919745" y="197447"/>
                  </a:lnTo>
                  <a:lnTo>
                    <a:pt x="1919796" y="197447"/>
                  </a:lnTo>
                  <a:lnTo>
                    <a:pt x="1919796" y="196799"/>
                  </a:lnTo>
                  <a:lnTo>
                    <a:pt x="1919796" y="198831"/>
                  </a:lnTo>
                  <a:lnTo>
                    <a:pt x="1919796" y="197447"/>
                  </a:lnTo>
                  <a:lnTo>
                    <a:pt x="1919796" y="198831"/>
                  </a:lnTo>
                  <a:lnTo>
                    <a:pt x="1919796" y="196799"/>
                  </a:lnTo>
                  <a:lnTo>
                    <a:pt x="1919834" y="196113"/>
                  </a:lnTo>
                  <a:lnTo>
                    <a:pt x="1919834" y="199530"/>
                  </a:lnTo>
                  <a:lnTo>
                    <a:pt x="1919834" y="198831"/>
                  </a:lnTo>
                  <a:lnTo>
                    <a:pt x="1919834" y="199530"/>
                  </a:lnTo>
                  <a:lnTo>
                    <a:pt x="1919834" y="198831"/>
                  </a:lnTo>
                  <a:lnTo>
                    <a:pt x="1919936" y="198831"/>
                  </a:lnTo>
                  <a:lnTo>
                    <a:pt x="1919936" y="200228"/>
                  </a:lnTo>
                  <a:lnTo>
                    <a:pt x="1919936" y="198831"/>
                  </a:lnTo>
                  <a:lnTo>
                    <a:pt x="1919987" y="199530"/>
                  </a:lnTo>
                  <a:lnTo>
                    <a:pt x="1919987" y="200228"/>
                  </a:lnTo>
                  <a:lnTo>
                    <a:pt x="1919987" y="199530"/>
                  </a:lnTo>
                  <a:lnTo>
                    <a:pt x="1919987" y="200228"/>
                  </a:lnTo>
                  <a:lnTo>
                    <a:pt x="1919987" y="198831"/>
                  </a:lnTo>
                  <a:lnTo>
                    <a:pt x="1920037" y="199530"/>
                  </a:lnTo>
                  <a:lnTo>
                    <a:pt x="1920139" y="199530"/>
                  </a:lnTo>
                  <a:lnTo>
                    <a:pt x="1920139" y="200228"/>
                  </a:lnTo>
                  <a:lnTo>
                    <a:pt x="1920139" y="199530"/>
                  </a:lnTo>
                  <a:lnTo>
                    <a:pt x="1920190" y="199530"/>
                  </a:lnTo>
                  <a:lnTo>
                    <a:pt x="1920190" y="200228"/>
                  </a:lnTo>
                  <a:lnTo>
                    <a:pt x="1920190" y="198831"/>
                  </a:lnTo>
                  <a:lnTo>
                    <a:pt x="1920190" y="199530"/>
                  </a:lnTo>
                  <a:lnTo>
                    <a:pt x="1920190" y="198831"/>
                  </a:lnTo>
                  <a:lnTo>
                    <a:pt x="1920190" y="199530"/>
                  </a:lnTo>
                  <a:lnTo>
                    <a:pt x="1920240" y="198831"/>
                  </a:lnTo>
                  <a:lnTo>
                    <a:pt x="1920240" y="196799"/>
                  </a:lnTo>
                  <a:lnTo>
                    <a:pt x="1920240" y="197447"/>
                  </a:lnTo>
                  <a:lnTo>
                    <a:pt x="1920240" y="196799"/>
                  </a:lnTo>
                  <a:lnTo>
                    <a:pt x="1920240" y="197447"/>
                  </a:lnTo>
                  <a:lnTo>
                    <a:pt x="1920291" y="197447"/>
                  </a:lnTo>
                  <a:lnTo>
                    <a:pt x="1920291" y="199530"/>
                  </a:lnTo>
                  <a:lnTo>
                    <a:pt x="1920291" y="197447"/>
                  </a:lnTo>
                  <a:lnTo>
                    <a:pt x="1920291" y="199530"/>
                  </a:lnTo>
                  <a:lnTo>
                    <a:pt x="1920380" y="199530"/>
                  </a:lnTo>
                  <a:lnTo>
                    <a:pt x="1920380" y="200228"/>
                  </a:lnTo>
                  <a:lnTo>
                    <a:pt x="1920431" y="200228"/>
                  </a:lnTo>
                  <a:lnTo>
                    <a:pt x="1920431" y="200876"/>
                  </a:lnTo>
                  <a:lnTo>
                    <a:pt x="1920431" y="200228"/>
                  </a:lnTo>
                  <a:lnTo>
                    <a:pt x="1920431" y="200876"/>
                  </a:lnTo>
                  <a:lnTo>
                    <a:pt x="1920431" y="200228"/>
                  </a:lnTo>
                  <a:lnTo>
                    <a:pt x="1920431" y="200876"/>
                  </a:lnTo>
                  <a:lnTo>
                    <a:pt x="1920431" y="200228"/>
                  </a:lnTo>
                  <a:lnTo>
                    <a:pt x="1920482" y="200876"/>
                  </a:lnTo>
                  <a:lnTo>
                    <a:pt x="1920482" y="200228"/>
                  </a:lnTo>
                  <a:lnTo>
                    <a:pt x="1920482" y="200876"/>
                  </a:lnTo>
                  <a:lnTo>
                    <a:pt x="1920482" y="199530"/>
                  </a:lnTo>
                  <a:lnTo>
                    <a:pt x="1920482" y="200228"/>
                  </a:lnTo>
                  <a:lnTo>
                    <a:pt x="1920533" y="200228"/>
                  </a:lnTo>
                  <a:lnTo>
                    <a:pt x="1920533" y="199530"/>
                  </a:lnTo>
                  <a:lnTo>
                    <a:pt x="1920533" y="200228"/>
                  </a:lnTo>
                  <a:lnTo>
                    <a:pt x="1920533" y="199530"/>
                  </a:lnTo>
                  <a:lnTo>
                    <a:pt x="1920533" y="200228"/>
                  </a:lnTo>
                  <a:lnTo>
                    <a:pt x="1920533" y="199530"/>
                  </a:lnTo>
                  <a:lnTo>
                    <a:pt x="1920634" y="199530"/>
                  </a:lnTo>
                  <a:lnTo>
                    <a:pt x="1920634" y="200228"/>
                  </a:lnTo>
                  <a:lnTo>
                    <a:pt x="1920634" y="199530"/>
                  </a:lnTo>
                  <a:lnTo>
                    <a:pt x="1920634" y="200228"/>
                  </a:lnTo>
                  <a:lnTo>
                    <a:pt x="1920634" y="198831"/>
                  </a:lnTo>
                  <a:lnTo>
                    <a:pt x="1920685" y="198831"/>
                  </a:lnTo>
                  <a:lnTo>
                    <a:pt x="1920685" y="199530"/>
                  </a:lnTo>
                  <a:lnTo>
                    <a:pt x="1920685" y="198831"/>
                  </a:lnTo>
                  <a:lnTo>
                    <a:pt x="1920685" y="199530"/>
                  </a:lnTo>
                  <a:lnTo>
                    <a:pt x="1920685" y="198831"/>
                  </a:lnTo>
                  <a:lnTo>
                    <a:pt x="1920685" y="199530"/>
                  </a:lnTo>
                  <a:lnTo>
                    <a:pt x="1920685" y="197447"/>
                  </a:lnTo>
                  <a:lnTo>
                    <a:pt x="1920736" y="197447"/>
                  </a:lnTo>
                  <a:lnTo>
                    <a:pt x="1920736" y="196113"/>
                  </a:lnTo>
                  <a:lnTo>
                    <a:pt x="1920736" y="197447"/>
                  </a:lnTo>
                  <a:lnTo>
                    <a:pt x="1920837" y="197447"/>
                  </a:lnTo>
                  <a:lnTo>
                    <a:pt x="1920837" y="196113"/>
                  </a:lnTo>
                  <a:lnTo>
                    <a:pt x="1920837" y="199530"/>
                  </a:lnTo>
                  <a:lnTo>
                    <a:pt x="1920875" y="199530"/>
                  </a:lnTo>
                  <a:lnTo>
                    <a:pt x="1920875" y="198831"/>
                  </a:lnTo>
                  <a:lnTo>
                    <a:pt x="1920875" y="199530"/>
                  </a:lnTo>
                  <a:lnTo>
                    <a:pt x="1920875" y="198831"/>
                  </a:lnTo>
                  <a:lnTo>
                    <a:pt x="1920875" y="200228"/>
                  </a:lnTo>
                  <a:lnTo>
                    <a:pt x="1920875" y="199530"/>
                  </a:lnTo>
                  <a:lnTo>
                    <a:pt x="1920926" y="199530"/>
                  </a:lnTo>
                  <a:lnTo>
                    <a:pt x="1920926" y="200228"/>
                  </a:lnTo>
                  <a:lnTo>
                    <a:pt x="1920926" y="199530"/>
                  </a:lnTo>
                  <a:lnTo>
                    <a:pt x="1920926" y="200228"/>
                  </a:lnTo>
                  <a:lnTo>
                    <a:pt x="1920926" y="199530"/>
                  </a:lnTo>
                  <a:lnTo>
                    <a:pt x="1920977" y="199530"/>
                  </a:lnTo>
                  <a:lnTo>
                    <a:pt x="1920977" y="200228"/>
                  </a:lnTo>
                  <a:lnTo>
                    <a:pt x="1920977" y="199530"/>
                  </a:lnTo>
                  <a:lnTo>
                    <a:pt x="1920977" y="200228"/>
                  </a:lnTo>
                  <a:lnTo>
                    <a:pt x="1921079" y="200228"/>
                  </a:lnTo>
                  <a:lnTo>
                    <a:pt x="1921079" y="199530"/>
                  </a:lnTo>
                  <a:lnTo>
                    <a:pt x="1921079" y="200228"/>
                  </a:lnTo>
                  <a:lnTo>
                    <a:pt x="1921079" y="199530"/>
                  </a:lnTo>
                  <a:lnTo>
                    <a:pt x="1921079" y="200228"/>
                  </a:lnTo>
                  <a:lnTo>
                    <a:pt x="1921130" y="200228"/>
                  </a:lnTo>
                  <a:lnTo>
                    <a:pt x="1921130" y="199530"/>
                  </a:lnTo>
                  <a:lnTo>
                    <a:pt x="1921130" y="200228"/>
                  </a:lnTo>
                  <a:lnTo>
                    <a:pt x="1921130" y="199530"/>
                  </a:lnTo>
                  <a:lnTo>
                    <a:pt x="1921130" y="200228"/>
                  </a:lnTo>
                  <a:lnTo>
                    <a:pt x="1921130" y="199530"/>
                  </a:lnTo>
                  <a:lnTo>
                    <a:pt x="1921130" y="200228"/>
                  </a:lnTo>
                  <a:lnTo>
                    <a:pt x="1921130" y="199530"/>
                  </a:lnTo>
                  <a:lnTo>
                    <a:pt x="1921130" y="200228"/>
                  </a:lnTo>
                  <a:lnTo>
                    <a:pt x="1921130" y="199530"/>
                  </a:lnTo>
                  <a:lnTo>
                    <a:pt x="1921130" y="200228"/>
                  </a:lnTo>
                  <a:lnTo>
                    <a:pt x="1921180" y="199530"/>
                  </a:lnTo>
                  <a:lnTo>
                    <a:pt x="1921180" y="200228"/>
                  </a:lnTo>
                  <a:lnTo>
                    <a:pt x="1921180" y="196799"/>
                  </a:lnTo>
                  <a:lnTo>
                    <a:pt x="1921282" y="196799"/>
                  </a:lnTo>
                  <a:lnTo>
                    <a:pt x="1921282" y="197447"/>
                  </a:lnTo>
                  <a:lnTo>
                    <a:pt x="1921282" y="196799"/>
                  </a:lnTo>
                  <a:lnTo>
                    <a:pt x="1921333" y="196799"/>
                  </a:lnTo>
                  <a:lnTo>
                    <a:pt x="1921333" y="199530"/>
                  </a:lnTo>
                  <a:lnTo>
                    <a:pt x="1921333" y="198831"/>
                  </a:lnTo>
                  <a:lnTo>
                    <a:pt x="1921333" y="199530"/>
                  </a:lnTo>
                  <a:lnTo>
                    <a:pt x="1921333" y="198831"/>
                  </a:lnTo>
                  <a:lnTo>
                    <a:pt x="1921384" y="198831"/>
                  </a:lnTo>
                  <a:lnTo>
                    <a:pt x="1921384" y="200228"/>
                  </a:lnTo>
                  <a:lnTo>
                    <a:pt x="1921384" y="199530"/>
                  </a:lnTo>
                  <a:lnTo>
                    <a:pt x="1921384" y="200228"/>
                  </a:lnTo>
                  <a:lnTo>
                    <a:pt x="1921384" y="199530"/>
                  </a:lnTo>
                  <a:lnTo>
                    <a:pt x="1921422" y="199530"/>
                  </a:lnTo>
                  <a:lnTo>
                    <a:pt x="1921422" y="200228"/>
                  </a:lnTo>
                  <a:lnTo>
                    <a:pt x="1921422" y="199530"/>
                  </a:lnTo>
                  <a:lnTo>
                    <a:pt x="1921422" y="200228"/>
                  </a:lnTo>
                  <a:lnTo>
                    <a:pt x="1921523" y="199530"/>
                  </a:lnTo>
                  <a:lnTo>
                    <a:pt x="1921523" y="200228"/>
                  </a:lnTo>
                  <a:lnTo>
                    <a:pt x="1921523" y="199530"/>
                  </a:lnTo>
                  <a:lnTo>
                    <a:pt x="1921523" y="200228"/>
                  </a:lnTo>
                  <a:lnTo>
                    <a:pt x="1921523" y="199530"/>
                  </a:lnTo>
                  <a:lnTo>
                    <a:pt x="1921523" y="200228"/>
                  </a:lnTo>
                  <a:lnTo>
                    <a:pt x="1921574" y="200228"/>
                  </a:lnTo>
                  <a:lnTo>
                    <a:pt x="1921574" y="199530"/>
                  </a:lnTo>
                  <a:lnTo>
                    <a:pt x="1921574" y="200228"/>
                  </a:lnTo>
                  <a:lnTo>
                    <a:pt x="1921574" y="199530"/>
                  </a:lnTo>
                  <a:lnTo>
                    <a:pt x="1921574" y="200228"/>
                  </a:lnTo>
                  <a:lnTo>
                    <a:pt x="1921574" y="199530"/>
                  </a:lnTo>
                  <a:lnTo>
                    <a:pt x="1921625" y="199530"/>
                  </a:lnTo>
                  <a:lnTo>
                    <a:pt x="1921625" y="200228"/>
                  </a:lnTo>
                  <a:lnTo>
                    <a:pt x="1921625" y="198831"/>
                  </a:lnTo>
                  <a:lnTo>
                    <a:pt x="1921726" y="198831"/>
                  </a:lnTo>
                  <a:lnTo>
                    <a:pt x="1921726" y="196113"/>
                  </a:lnTo>
                  <a:lnTo>
                    <a:pt x="1921777" y="196113"/>
                  </a:lnTo>
                  <a:lnTo>
                    <a:pt x="1921777" y="196799"/>
                  </a:lnTo>
                  <a:lnTo>
                    <a:pt x="1921777" y="196113"/>
                  </a:lnTo>
                  <a:lnTo>
                    <a:pt x="1921828" y="196113"/>
                  </a:lnTo>
                  <a:lnTo>
                    <a:pt x="1921828" y="198831"/>
                  </a:lnTo>
                  <a:lnTo>
                    <a:pt x="1921828" y="197447"/>
                  </a:lnTo>
                  <a:lnTo>
                    <a:pt x="1921879" y="197447"/>
                  </a:lnTo>
                  <a:lnTo>
                    <a:pt x="1921879" y="199530"/>
                  </a:lnTo>
                  <a:lnTo>
                    <a:pt x="1921879" y="198831"/>
                  </a:lnTo>
                  <a:lnTo>
                    <a:pt x="1921879" y="199530"/>
                  </a:lnTo>
                  <a:lnTo>
                    <a:pt x="1921968" y="199530"/>
                  </a:lnTo>
                  <a:lnTo>
                    <a:pt x="1921968" y="200228"/>
                  </a:lnTo>
                  <a:lnTo>
                    <a:pt x="1921968" y="198831"/>
                  </a:lnTo>
                  <a:lnTo>
                    <a:pt x="1921968" y="199530"/>
                  </a:lnTo>
                  <a:lnTo>
                    <a:pt x="1921968" y="198831"/>
                  </a:lnTo>
                  <a:lnTo>
                    <a:pt x="1921968" y="199530"/>
                  </a:lnTo>
                  <a:lnTo>
                    <a:pt x="1922019" y="199530"/>
                  </a:lnTo>
                  <a:lnTo>
                    <a:pt x="1922019" y="198831"/>
                  </a:lnTo>
                  <a:lnTo>
                    <a:pt x="1922019" y="199530"/>
                  </a:lnTo>
                  <a:lnTo>
                    <a:pt x="1922069" y="200228"/>
                  </a:lnTo>
                  <a:lnTo>
                    <a:pt x="1922069" y="200876"/>
                  </a:lnTo>
                  <a:lnTo>
                    <a:pt x="1922069" y="200228"/>
                  </a:lnTo>
                  <a:lnTo>
                    <a:pt x="1922120" y="200228"/>
                  </a:lnTo>
                  <a:lnTo>
                    <a:pt x="1922120" y="199530"/>
                  </a:lnTo>
                  <a:lnTo>
                    <a:pt x="1922120" y="200228"/>
                  </a:lnTo>
                  <a:lnTo>
                    <a:pt x="1922120" y="199530"/>
                  </a:lnTo>
                  <a:lnTo>
                    <a:pt x="1922222" y="198831"/>
                  </a:lnTo>
                  <a:lnTo>
                    <a:pt x="1922222" y="196113"/>
                  </a:lnTo>
                  <a:lnTo>
                    <a:pt x="1922222" y="196799"/>
                  </a:lnTo>
                  <a:lnTo>
                    <a:pt x="1922272" y="196799"/>
                  </a:lnTo>
                  <a:lnTo>
                    <a:pt x="1922272" y="197447"/>
                  </a:lnTo>
                  <a:lnTo>
                    <a:pt x="1922272" y="195415"/>
                  </a:lnTo>
                  <a:lnTo>
                    <a:pt x="1922272" y="196799"/>
                  </a:lnTo>
                  <a:lnTo>
                    <a:pt x="1922323" y="197447"/>
                  </a:lnTo>
                  <a:lnTo>
                    <a:pt x="1922323" y="199530"/>
                  </a:lnTo>
                  <a:lnTo>
                    <a:pt x="1922323" y="197447"/>
                  </a:lnTo>
                  <a:lnTo>
                    <a:pt x="1922323" y="198831"/>
                  </a:lnTo>
                  <a:lnTo>
                    <a:pt x="1922425" y="198831"/>
                  </a:lnTo>
                  <a:lnTo>
                    <a:pt x="1922425" y="197447"/>
                  </a:lnTo>
                  <a:lnTo>
                    <a:pt x="1922425" y="198831"/>
                  </a:lnTo>
                  <a:lnTo>
                    <a:pt x="1922463" y="198831"/>
                  </a:lnTo>
                  <a:lnTo>
                    <a:pt x="1922463" y="197447"/>
                  </a:lnTo>
                  <a:lnTo>
                    <a:pt x="1922463" y="199530"/>
                  </a:lnTo>
                  <a:lnTo>
                    <a:pt x="1922463" y="198831"/>
                  </a:lnTo>
                  <a:lnTo>
                    <a:pt x="1922514" y="198831"/>
                  </a:lnTo>
                  <a:lnTo>
                    <a:pt x="1922514" y="199530"/>
                  </a:lnTo>
                  <a:lnTo>
                    <a:pt x="1922666" y="199530"/>
                  </a:lnTo>
                  <a:lnTo>
                    <a:pt x="1922666" y="198831"/>
                  </a:lnTo>
                  <a:lnTo>
                    <a:pt x="1922666" y="199530"/>
                  </a:lnTo>
                  <a:lnTo>
                    <a:pt x="1922666" y="198831"/>
                  </a:lnTo>
                  <a:lnTo>
                    <a:pt x="1922666" y="199530"/>
                  </a:lnTo>
                  <a:lnTo>
                    <a:pt x="1922666" y="197447"/>
                  </a:lnTo>
                  <a:lnTo>
                    <a:pt x="1922717" y="197447"/>
                  </a:lnTo>
                  <a:lnTo>
                    <a:pt x="1922717" y="196113"/>
                  </a:lnTo>
                  <a:lnTo>
                    <a:pt x="1922717" y="197447"/>
                  </a:lnTo>
                  <a:lnTo>
                    <a:pt x="1922768" y="197447"/>
                  </a:lnTo>
                  <a:lnTo>
                    <a:pt x="1922768" y="196113"/>
                  </a:lnTo>
                  <a:lnTo>
                    <a:pt x="1922768" y="196799"/>
                  </a:lnTo>
                  <a:lnTo>
                    <a:pt x="1922768" y="196113"/>
                  </a:lnTo>
                  <a:lnTo>
                    <a:pt x="1922768" y="199530"/>
                  </a:lnTo>
                  <a:lnTo>
                    <a:pt x="1922869" y="199530"/>
                  </a:lnTo>
                  <a:lnTo>
                    <a:pt x="1922869" y="198831"/>
                  </a:lnTo>
                  <a:lnTo>
                    <a:pt x="1922869" y="199530"/>
                  </a:lnTo>
                  <a:lnTo>
                    <a:pt x="1922869" y="198831"/>
                  </a:lnTo>
                  <a:lnTo>
                    <a:pt x="1922920" y="199530"/>
                  </a:lnTo>
                  <a:lnTo>
                    <a:pt x="1922920" y="198831"/>
                  </a:lnTo>
                  <a:lnTo>
                    <a:pt x="1922920" y="199530"/>
                  </a:lnTo>
                  <a:lnTo>
                    <a:pt x="1922920" y="197447"/>
                  </a:lnTo>
                  <a:lnTo>
                    <a:pt x="1922920" y="199530"/>
                  </a:lnTo>
                  <a:lnTo>
                    <a:pt x="1922920" y="198831"/>
                  </a:lnTo>
                  <a:lnTo>
                    <a:pt x="1922920" y="199530"/>
                  </a:lnTo>
                  <a:lnTo>
                    <a:pt x="1922920" y="198831"/>
                  </a:lnTo>
                  <a:lnTo>
                    <a:pt x="1922971" y="198831"/>
                  </a:lnTo>
                  <a:lnTo>
                    <a:pt x="1922971" y="199530"/>
                  </a:lnTo>
                  <a:lnTo>
                    <a:pt x="1922971" y="198831"/>
                  </a:lnTo>
                  <a:lnTo>
                    <a:pt x="1922971" y="199530"/>
                  </a:lnTo>
                  <a:lnTo>
                    <a:pt x="1922971" y="198831"/>
                  </a:lnTo>
                  <a:lnTo>
                    <a:pt x="1922971" y="199530"/>
                  </a:lnTo>
                  <a:lnTo>
                    <a:pt x="1922971" y="198831"/>
                  </a:lnTo>
                  <a:lnTo>
                    <a:pt x="1922971" y="199530"/>
                  </a:lnTo>
                  <a:lnTo>
                    <a:pt x="1922971" y="198831"/>
                  </a:lnTo>
                  <a:lnTo>
                    <a:pt x="1923009" y="198831"/>
                  </a:lnTo>
                  <a:lnTo>
                    <a:pt x="1923009" y="199530"/>
                  </a:lnTo>
                  <a:lnTo>
                    <a:pt x="1923009" y="198831"/>
                  </a:lnTo>
                  <a:lnTo>
                    <a:pt x="1923009" y="199530"/>
                  </a:lnTo>
                  <a:lnTo>
                    <a:pt x="1923111" y="200228"/>
                  </a:lnTo>
                  <a:lnTo>
                    <a:pt x="1923111" y="199530"/>
                  </a:lnTo>
                  <a:lnTo>
                    <a:pt x="1923111" y="200228"/>
                  </a:lnTo>
                  <a:lnTo>
                    <a:pt x="1923111" y="199530"/>
                  </a:lnTo>
                  <a:lnTo>
                    <a:pt x="1923111" y="200228"/>
                  </a:lnTo>
                  <a:lnTo>
                    <a:pt x="1923111" y="199530"/>
                  </a:lnTo>
                  <a:lnTo>
                    <a:pt x="1923111" y="200228"/>
                  </a:lnTo>
                  <a:lnTo>
                    <a:pt x="1923111" y="198831"/>
                  </a:lnTo>
                  <a:lnTo>
                    <a:pt x="1923162" y="198831"/>
                  </a:lnTo>
                  <a:lnTo>
                    <a:pt x="1923162" y="199530"/>
                  </a:lnTo>
                  <a:lnTo>
                    <a:pt x="1923162" y="197447"/>
                  </a:lnTo>
                  <a:lnTo>
                    <a:pt x="1923212" y="196799"/>
                  </a:lnTo>
                  <a:lnTo>
                    <a:pt x="1923212" y="197447"/>
                  </a:lnTo>
                  <a:lnTo>
                    <a:pt x="1923212" y="196799"/>
                  </a:lnTo>
                  <a:lnTo>
                    <a:pt x="1923212" y="197447"/>
                  </a:lnTo>
                  <a:lnTo>
                    <a:pt x="1923314" y="197447"/>
                  </a:lnTo>
                  <a:lnTo>
                    <a:pt x="1923314" y="196799"/>
                  </a:lnTo>
                  <a:lnTo>
                    <a:pt x="1923314" y="199530"/>
                  </a:lnTo>
                  <a:lnTo>
                    <a:pt x="1923365" y="199530"/>
                  </a:lnTo>
                  <a:lnTo>
                    <a:pt x="1923365" y="198831"/>
                  </a:lnTo>
                  <a:lnTo>
                    <a:pt x="1923365" y="199530"/>
                  </a:lnTo>
                  <a:lnTo>
                    <a:pt x="1923365" y="198831"/>
                  </a:lnTo>
                  <a:lnTo>
                    <a:pt x="1923415" y="198831"/>
                  </a:lnTo>
                  <a:lnTo>
                    <a:pt x="1923415" y="199530"/>
                  </a:lnTo>
                  <a:lnTo>
                    <a:pt x="1923415" y="198831"/>
                  </a:lnTo>
                  <a:lnTo>
                    <a:pt x="1923415" y="199530"/>
                  </a:lnTo>
                  <a:lnTo>
                    <a:pt x="1923415" y="198831"/>
                  </a:lnTo>
                  <a:lnTo>
                    <a:pt x="1923466" y="198831"/>
                  </a:lnTo>
                  <a:lnTo>
                    <a:pt x="1923466" y="199530"/>
                  </a:lnTo>
                  <a:lnTo>
                    <a:pt x="1923466" y="198831"/>
                  </a:lnTo>
                  <a:lnTo>
                    <a:pt x="1923466" y="199530"/>
                  </a:lnTo>
                  <a:lnTo>
                    <a:pt x="1923555" y="199530"/>
                  </a:lnTo>
                  <a:lnTo>
                    <a:pt x="1923555" y="200228"/>
                  </a:lnTo>
                  <a:lnTo>
                    <a:pt x="1923555" y="199530"/>
                  </a:lnTo>
                  <a:lnTo>
                    <a:pt x="1923606" y="199530"/>
                  </a:lnTo>
                  <a:lnTo>
                    <a:pt x="1923606" y="198831"/>
                  </a:lnTo>
                  <a:lnTo>
                    <a:pt x="1923606" y="199530"/>
                  </a:lnTo>
                  <a:lnTo>
                    <a:pt x="1923606" y="198831"/>
                  </a:lnTo>
                  <a:lnTo>
                    <a:pt x="1923657" y="197447"/>
                  </a:lnTo>
                  <a:lnTo>
                    <a:pt x="1923657" y="196113"/>
                  </a:lnTo>
                  <a:lnTo>
                    <a:pt x="1923708" y="196113"/>
                  </a:lnTo>
                  <a:lnTo>
                    <a:pt x="1923708" y="195415"/>
                  </a:lnTo>
                  <a:lnTo>
                    <a:pt x="1923708" y="196799"/>
                  </a:lnTo>
                  <a:lnTo>
                    <a:pt x="1923809" y="196113"/>
                  </a:lnTo>
                  <a:lnTo>
                    <a:pt x="1923809" y="198831"/>
                  </a:lnTo>
                  <a:lnTo>
                    <a:pt x="1923809" y="197447"/>
                  </a:lnTo>
                  <a:lnTo>
                    <a:pt x="1923860" y="197447"/>
                  </a:lnTo>
                  <a:lnTo>
                    <a:pt x="1923860" y="198831"/>
                  </a:lnTo>
                  <a:lnTo>
                    <a:pt x="1923860" y="197447"/>
                  </a:lnTo>
                  <a:lnTo>
                    <a:pt x="1923860" y="198831"/>
                  </a:lnTo>
                  <a:lnTo>
                    <a:pt x="1923860" y="197447"/>
                  </a:lnTo>
                  <a:lnTo>
                    <a:pt x="1923860" y="198831"/>
                  </a:lnTo>
                  <a:lnTo>
                    <a:pt x="1923860" y="197447"/>
                  </a:lnTo>
                  <a:lnTo>
                    <a:pt x="1923860" y="198831"/>
                  </a:lnTo>
                  <a:lnTo>
                    <a:pt x="1923860" y="197447"/>
                  </a:lnTo>
                  <a:lnTo>
                    <a:pt x="1923860" y="198831"/>
                  </a:lnTo>
                  <a:lnTo>
                    <a:pt x="1923860" y="197447"/>
                  </a:lnTo>
                  <a:lnTo>
                    <a:pt x="1923860" y="198831"/>
                  </a:lnTo>
                  <a:lnTo>
                    <a:pt x="1923911" y="198831"/>
                  </a:lnTo>
                  <a:lnTo>
                    <a:pt x="1923911" y="197447"/>
                  </a:lnTo>
                  <a:lnTo>
                    <a:pt x="1923911" y="198831"/>
                  </a:lnTo>
                  <a:lnTo>
                    <a:pt x="1923911" y="197447"/>
                  </a:lnTo>
                  <a:lnTo>
                    <a:pt x="1923911" y="198831"/>
                  </a:lnTo>
                  <a:lnTo>
                    <a:pt x="1924012" y="198831"/>
                  </a:lnTo>
                  <a:lnTo>
                    <a:pt x="1924012" y="200228"/>
                  </a:lnTo>
                  <a:lnTo>
                    <a:pt x="1924050" y="199530"/>
                  </a:lnTo>
                  <a:lnTo>
                    <a:pt x="1924050" y="200228"/>
                  </a:lnTo>
                  <a:lnTo>
                    <a:pt x="1924101" y="199530"/>
                  </a:lnTo>
                  <a:lnTo>
                    <a:pt x="1924101" y="198831"/>
                  </a:lnTo>
                  <a:lnTo>
                    <a:pt x="1924152" y="198831"/>
                  </a:lnTo>
                  <a:lnTo>
                    <a:pt x="1924152" y="196799"/>
                  </a:lnTo>
                  <a:lnTo>
                    <a:pt x="1924152" y="197447"/>
                  </a:lnTo>
                  <a:lnTo>
                    <a:pt x="1924152" y="196799"/>
                  </a:lnTo>
                  <a:lnTo>
                    <a:pt x="1924254" y="196799"/>
                  </a:lnTo>
                  <a:lnTo>
                    <a:pt x="1924254" y="195415"/>
                  </a:lnTo>
                  <a:lnTo>
                    <a:pt x="1924254" y="197447"/>
                  </a:lnTo>
                  <a:lnTo>
                    <a:pt x="1924254" y="196799"/>
                  </a:lnTo>
                  <a:lnTo>
                    <a:pt x="1924305" y="196113"/>
                  </a:lnTo>
                  <a:lnTo>
                    <a:pt x="1924305" y="195415"/>
                  </a:lnTo>
                  <a:lnTo>
                    <a:pt x="1924305" y="198831"/>
                  </a:lnTo>
                  <a:lnTo>
                    <a:pt x="1924305" y="196799"/>
                  </a:lnTo>
                  <a:lnTo>
                    <a:pt x="1924355" y="196799"/>
                  </a:lnTo>
                  <a:lnTo>
                    <a:pt x="1924355" y="197447"/>
                  </a:lnTo>
                  <a:lnTo>
                    <a:pt x="1924355" y="196799"/>
                  </a:lnTo>
                  <a:lnTo>
                    <a:pt x="1924355" y="197447"/>
                  </a:lnTo>
                  <a:lnTo>
                    <a:pt x="1924355" y="196799"/>
                  </a:lnTo>
                  <a:lnTo>
                    <a:pt x="1924355" y="197447"/>
                  </a:lnTo>
                  <a:lnTo>
                    <a:pt x="1924355" y="196799"/>
                  </a:lnTo>
                  <a:lnTo>
                    <a:pt x="1924355" y="197447"/>
                  </a:lnTo>
                  <a:lnTo>
                    <a:pt x="1924457" y="196799"/>
                  </a:lnTo>
                  <a:lnTo>
                    <a:pt x="1924457" y="198831"/>
                  </a:lnTo>
                  <a:lnTo>
                    <a:pt x="1924508" y="198831"/>
                  </a:lnTo>
                  <a:lnTo>
                    <a:pt x="1924508" y="199530"/>
                  </a:lnTo>
                  <a:lnTo>
                    <a:pt x="1924508" y="198831"/>
                  </a:lnTo>
                  <a:lnTo>
                    <a:pt x="1924508" y="199530"/>
                  </a:lnTo>
                  <a:lnTo>
                    <a:pt x="1924508" y="198831"/>
                  </a:lnTo>
                  <a:lnTo>
                    <a:pt x="1924508" y="199530"/>
                  </a:lnTo>
                  <a:lnTo>
                    <a:pt x="1924559" y="199530"/>
                  </a:lnTo>
                  <a:lnTo>
                    <a:pt x="1924559" y="200228"/>
                  </a:lnTo>
                  <a:lnTo>
                    <a:pt x="1924559" y="198831"/>
                  </a:lnTo>
                  <a:lnTo>
                    <a:pt x="1924559" y="199530"/>
                  </a:lnTo>
                  <a:lnTo>
                    <a:pt x="1924597" y="199530"/>
                  </a:lnTo>
                  <a:lnTo>
                    <a:pt x="1924597" y="197447"/>
                  </a:lnTo>
                  <a:lnTo>
                    <a:pt x="1924698" y="197447"/>
                  </a:lnTo>
                  <a:lnTo>
                    <a:pt x="1924698" y="196113"/>
                  </a:lnTo>
                  <a:lnTo>
                    <a:pt x="1924749" y="196113"/>
                  </a:lnTo>
                  <a:lnTo>
                    <a:pt x="1924749" y="195415"/>
                  </a:lnTo>
                  <a:lnTo>
                    <a:pt x="1924749" y="196113"/>
                  </a:lnTo>
                  <a:lnTo>
                    <a:pt x="1924749" y="195415"/>
                  </a:lnTo>
                  <a:lnTo>
                    <a:pt x="1924749" y="196799"/>
                  </a:lnTo>
                  <a:lnTo>
                    <a:pt x="1924749" y="195415"/>
                  </a:lnTo>
                  <a:lnTo>
                    <a:pt x="1924800" y="195415"/>
                  </a:lnTo>
                  <a:lnTo>
                    <a:pt x="1924800" y="194716"/>
                  </a:lnTo>
                  <a:lnTo>
                    <a:pt x="1924800" y="197447"/>
                  </a:lnTo>
                  <a:lnTo>
                    <a:pt x="1924800" y="196113"/>
                  </a:lnTo>
                  <a:lnTo>
                    <a:pt x="1924901" y="196113"/>
                  </a:lnTo>
                  <a:lnTo>
                    <a:pt x="1924901" y="197447"/>
                  </a:lnTo>
                  <a:lnTo>
                    <a:pt x="1924901" y="196113"/>
                  </a:lnTo>
                  <a:lnTo>
                    <a:pt x="1924952" y="196799"/>
                  </a:lnTo>
                  <a:lnTo>
                    <a:pt x="1924952" y="196113"/>
                  </a:lnTo>
                  <a:lnTo>
                    <a:pt x="1924952" y="196799"/>
                  </a:lnTo>
                  <a:lnTo>
                    <a:pt x="1924952" y="196113"/>
                  </a:lnTo>
                  <a:lnTo>
                    <a:pt x="1924952" y="198831"/>
                  </a:lnTo>
                  <a:lnTo>
                    <a:pt x="1924952" y="197447"/>
                  </a:lnTo>
                  <a:lnTo>
                    <a:pt x="1924952" y="198831"/>
                  </a:lnTo>
                  <a:lnTo>
                    <a:pt x="1925003" y="198831"/>
                  </a:lnTo>
                  <a:lnTo>
                    <a:pt x="1925003" y="199530"/>
                  </a:lnTo>
                  <a:lnTo>
                    <a:pt x="1925003" y="198831"/>
                  </a:lnTo>
                  <a:lnTo>
                    <a:pt x="1925003" y="199530"/>
                  </a:lnTo>
                  <a:lnTo>
                    <a:pt x="1925003" y="198831"/>
                  </a:lnTo>
                  <a:lnTo>
                    <a:pt x="1925003" y="199530"/>
                  </a:lnTo>
                  <a:lnTo>
                    <a:pt x="1925003" y="198831"/>
                  </a:lnTo>
                  <a:lnTo>
                    <a:pt x="1925003" y="199530"/>
                  </a:lnTo>
                  <a:lnTo>
                    <a:pt x="1925054" y="199530"/>
                  </a:lnTo>
                  <a:lnTo>
                    <a:pt x="1925054" y="198831"/>
                  </a:lnTo>
                  <a:lnTo>
                    <a:pt x="1925054" y="199530"/>
                  </a:lnTo>
                  <a:lnTo>
                    <a:pt x="1925054" y="198831"/>
                  </a:lnTo>
                  <a:lnTo>
                    <a:pt x="1925143" y="198831"/>
                  </a:lnTo>
                  <a:lnTo>
                    <a:pt x="1925143" y="197447"/>
                  </a:lnTo>
                  <a:lnTo>
                    <a:pt x="1925143" y="198831"/>
                  </a:lnTo>
                  <a:lnTo>
                    <a:pt x="1925143" y="197447"/>
                  </a:lnTo>
                  <a:lnTo>
                    <a:pt x="1925143" y="198831"/>
                  </a:lnTo>
                  <a:lnTo>
                    <a:pt x="1925143" y="197447"/>
                  </a:lnTo>
                  <a:lnTo>
                    <a:pt x="1925194" y="197447"/>
                  </a:lnTo>
                  <a:lnTo>
                    <a:pt x="1925194" y="196113"/>
                  </a:lnTo>
                  <a:lnTo>
                    <a:pt x="1925244" y="196113"/>
                  </a:lnTo>
                  <a:lnTo>
                    <a:pt x="1925244" y="196799"/>
                  </a:lnTo>
                  <a:lnTo>
                    <a:pt x="1925244" y="195415"/>
                  </a:lnTo>
                  <a:lnTo>
                    <a:pt x="1925295" y="195415"/>
                  </a:lnTo>
                  <a:lnTo>
                    <a:pt x="1925295" y="198831"/>
                  </a:lnTo>
                  <a:lnTo>
                    <a:pt x="1925295" y="196113"/>
                  </a:lnTo>
                  <a:lnTo>
                    <a:pt x="1925397" y="196113"/>
                  </a:lnTo>
                  <a:lnTo>
                    <a:pt x="1925397" y="197447"/>
                  </a:lnTo>
                  <a:lnTo>
                    <a:pt x="1925397" y="196113"/>
                  </a:lnTo>
                  <a:lnTo>
                    <a:pt x="1925397" y="196799"/>
                  </a:lnTo>
                  <a:lnTo>
                    <a:pt x="1925447" y="196799"/>
                  </a:lnTo>
                  <a:lnTo>
                    <a:pt x="1925447" y="197447"/>
                  </a:lnTo>
                  <a:lnTo>
                    <a:pt x="1925447" y="196799"/>
                  </a:lnTo>
                  <a:lnTo>
                    <a:pt x="1925447" y="197447"/>
                  </a:lnTo>
                  <a:lnTo>
                    <a:pt x="1925447" y="196799"/>
                  </a:lnTo>
                  <a:lnTo>
                    <a:pt x="1925447" y="197447"/>
                  </a:lnTo>
                  <a:lnTo>
                    <a:pt x="1925498" y="197447"/>
                  </a:lnTo>
                  <a:lnTo>
                    <a:pt x="1925498" y="196799"/>
                  </a:lnTo>
                  <a:lnTo>
                    <a:pt x="1925498" y="198831"/>
                  </a:lnTo>
                  <a:lnTo>
                    <a:pt x="1925498" y="197447"/>
                  </a:lnTo>
                  <a:lnTo>
                    <a:pt x="1925600" y="197447"/>
                  </a:lnTo>
                  <a:lnTo>
                    <a:pt x="1925600" y="198831"/>
                  </a:lnTo>
                  <a:lnTo>
                    <a:pt x="1925600" y="197447"/>
                  </a:lnTo>
                  <a:lnTo>
                    <a:pt x="1925600" y="198831"/>
                  </a:lnTo>
                  <a:lnTo>
                    <a:pt x="1925600" y="197447"/>
                  </a:lnTo>
                  <a:lnTo>
                    <a:pt x="1925600" y="198831"/>
                  </a:lnTo>
                  <a:lnTo>
                    <a:pt x="1925600" y="197447"/>
                  </a:lnTo>
                  <a:lnTo>
                    <a:pt x="1925638" y="197447"/>
                  </a:lnTo>
                  <a:lnTo>
                    <a:pt x="1925638" y="198831"/>
                  </a:lnTo>
                  <a:lnTo>
                    <a:pt x="1925638" y="196799"/>
                  </a:lnTo>
                  <a:lnTo>
                    <a:pt x="1925689" y="196799"/>
                  </a:lnTo>
                  <a:lnTo>
                    <a:pt x="1925689" y="197447"/>
                  </a:lnTo>
                  <a:lnTo>
                    <a:pt x="1925689" y="196113"/>
                  </a:lnTo>
                  <a:lnTo>
                    <a:pt x="1925689" y="198831"/>
                  </a:lnTo>
                  <a:lnTo>
                    <a:pt x="1925740" y="199530"/>
                  </a:lnTo>
                  <a:lnTo>
                    <a:pt x="1925740" y="196799"/>
                  </a:lnTo>
                  <a:lnTo>
                    <a:pt x="1925740" y="200228"/>
                  </a:lnTo>
                  <a:lnTo>
                    <a:pt x="1925740" y="199530"/>
                  </a:lnTo>
                  <a:lnTo>
                    <a:pt x="1925841" y="199530"/>
                  </a:lnTo>
                  <a:lnTo>
                    <a:pt x="1925841" y="197447"/>
                  </a:lnTo>
                  <a:lnTo>
                    <a:pt x="1925841" y="200228"/>
                  </a:lnTo>
                  <a:lnTo>
                    <a:pt x="1925841" y="199530"/>
                  </a:lnTo>
                  <a:lnTo>
                    <a:pt x="1925892" y="199530"/>
                  </a:lnTo>
                  <a:lnTo>
                    <a:pt x="1925892" y="198831"/>
                  </a:lnTo>
                  <a:lnTo>
                    <a:pt x="1925892" y="199530"/>
                  </a:lnTo>
                  <a:lnTo>
                    <a:pt x="1925892" y="198831"/>
                  </a:lnTo>
                  <a:lnTo>
                    <a:pt x="1925892" y="199530"/>
                  </a:lnTo>
                  <a:lnTo>
                    <a:pt x="1925943" y="199530"/>
                  </a:lnTo>
                  <a:lnTo>
                    <a:pt x="1925943" y="200228"/>
                  </a:lnTo>
                  <a:lnTo>
                    <a:pt x="1926044" y="200228"/>
                  </a:lnTo>
                  <a:lnTo>
                    <a:pt x="1926044" y="198831"/>
                  </a:lnTo>
                  <a:lnTo>
                    <a:pt x="1926044" y="199530"/>
                  </a:lnTo>
                  <a:lnTo>
                    <a:pt x="1926095" y="199530"/>
                  </a:lnTo>
                  <a:lnTo>
                    <a:pt x="1926095" y="198831"/>
                  </a:lnTo>
                  <a:lnTo>
                    <a:pt x="1926095" y="199530"/>
                  </a:lnTo>
                  <a:lnTo>
                    <a:pt x="1926095" y="198831"/>
                  </a:lnTo>
                  <a:lnTo>
                    <a:pt x="1926146" y="198831"/>
                  </a:lnTo>
                  <a:lnTo>
                    <a:pt x="1926146" y="197447"/>
                  </a:lnTo>
                  <a:lnTo>
                    <a:pt x="1926184" y="197447"/>
                  </a:lnTo>
                  <a:lnTo>
                    <a:pt x="1926184" y="196799"/>
                  </a:lnTo>
                  <a:lnTo>
                    <a:pt x="1926184" y="197447"/>
                  </a:lnTo>
                  <a:lnTo>
                    <a:pt x="1926184" y="196799"/>
                  </a:lnTo>
                  <a:lnTo>
                    <a:pt x="1926184" y="199530"/>
                  </a:lnTo>
                  <a:lnTo>
                    <a:pt x="1926184" y="197447"/>
                  </a:lnTo>
                  <a:lnTo>
                    <a:pt x="1926286" y="197447"/>
                  </a:lnTo>
                  <a:lnTo>
                    <a:pt x="1926286" y="198831"/>
                  </a:lnTo>
                  <a:lnTo>
                    <a:pt x="1926286" y="197447"/>
                  </a:lnTo>
                  <a:lnTo>
                    <a:pt x="1926286" y="200228"/>
                  </a:lnTo>
                  <a:lnTo>
                    <a:pt x="1926286" y="198831"/>
                  </a:lnTo>
                  <a:lnTo>
                    <a:pt x="1926286" y="199530"/>
                  </a:lnTo>
                  <a:lnTo>
                    <a:pt x="1926337" y="199530"/>
                  </a:lnTo>
                  <a:lnTo>
                    <a:pt x="1926337" y="198831"/>
                  </a:lnTo>
                  <a:lnTo>
                    <a:pt x="1926337" y="200228"/>
                  </a:lnTo>
                  <a:lnTo>
                    <a:pt x="1926337" y="199530"/>
                  </a:lnTo>
                  <a:lnTo>
                    <a:pt x="1926337" y="200228"/>
                  </a:lnTo>
                  <a:lnTo>
                    <a:pt x="1926489" y="200228"/>
                  </a:lnTo>
                  <a:lnTo>
                    <a:pt x="1926489" y="200876"/>
                  </a:lnTo>
                  <a:lnTo>
                    <a:pt x="1926489" y="200228"/>
                  </a:lnTo>
                  <a:lnTo>
                    <a:pt x="1926489" y="200876"/>
                  </a:lnTo>
                  <a:lnTo>
                    <a:pt x="1926489" y="200228"/>
                  </a:lnTo>
                  <a:lnTo>
                    <a:pt x="1926540" y="200228"/>
                  </a:lnTo>
                  <a:lnTo>
                    <a:pt x="1926540" y="200876"/>
                  </a:lnTo>
                  <a:lnTo>
                    <a:pt x="1926540" y="199530"/>
                  </a:lnTo>
                  <a:lnTo>
                    <a:pt x="1926540" y="200228"/>
                  </a:lnTo>
                  <a:lnTo>
                    <a:pt x="1926540" y="199530"/>
                  </a:lnTo>
                  <a:lnTo>
                    <a:pt x="1926590" y="198831"/>
                  </a:lnTo>
                  <a:lnTo>
                    <a:pt x="1926590" y="199530"/>
                  </a:lnTo>
                  <a:lnTo>
                    <a:pt x="1926590" y="197447"/>
                  </a:lnTo>
                  <a:lnTo>
                    <a:pt x="1926641" y="197447"/>
                  </a:lnTo>
                  <a:lnTo>
                    <a:pt x="1926641" y="196799"/>
                  </a:lnTo>
                  <a:lnTo>
                    <a:pt x="1926641" y="197447"/>
                  </a:lnTo>
                  <a:lnTo>
                    <a:pt x="1926641" y="196799"/>
                  </a:lnTo>
                  <a:lnTo>
                    <a:pt x="1926730" y="196113"/>
                  </a:lnTo>
                  <a:lnTo>
                    <a:pt x="1926730" y="197447"/>
                  </a:lnTo>
                  <a:lnTo>
                    <a:pt x="1926730" y="196113"/>
                  </a:lnTo>
                  <a:lnTo>
                    <a:pt x="1926781" y="196799"/>
                  </a:lnTo>
                  <a:lnTo>
                    <a:pt x="1926781" y="198831"/>
                  </a:lnTo>
                  <a:lnTo>
                    <a:pt x="1926781" y="197447"/>
                  </a:lnTo>
                  <a:lnTo>
                    <a:pt x="1926781" y="198831"/>
                  </a:lnTo>
                  <a:lnTo>
                    <a:pt x="1926781" y="196799"/>
                  </a:lnTo>
                  <a:lnTo>
                    <a:pt x="1926832" y="197447"/>
                  </a:lnTo>
                  <a:lnTo>
                    <a:pt x="1926832" y="199530"/>
                  </a:lnTo>
                  <a:lnTo>
                    <a:pt x="1926832" y="198831"/>
                  </a:lnTo>
                  <a:lnTo>
                    <a:pt x="1926832" y="199530"/>
                  </a:lnTo>
                  <a:lnTo>
                    <a:pt x="1926883" y="199530"/>
                  </a:lnTo>
                  <a:lnTo>
                    <a:pt x="1926883" y="200228"/>
                  </a:lnTo>
                  <a:lnTo>
                    <a:pt x="1926883" y="199530"/>
                  </a:lnTo>
                  <a:lnTo>
                    <a:pt x="1926883" y="200876"/>
                  </a:lnTo>
                  <a:lnTo>
                    <a:pt x="1926883" y="200228"/>
                  </a:lnTo>
                  <a:lnTo>
                    <a:pt x="1926984" y="200228"/>
                  </a:lnTo>
                  <a:lnTo>
                    <a:pt x="1926984" y="200876"/>
                  </a:lnTo>
                  <a:lnTo>
                    <a:pt x="1926984" y="200228"/>
                  </a:lnTo>
                  <a:lnTo>
                    <a:pt x="1927035" y="200228"/>
                  </a:lnTo>
                  <a:lnTo>
                    <a:pt x="1927035" y="199530"/>
                  </a:lnTo>
                  <a:lnTo>
                    <a:pt x="1927035" y="200228"/>
                  </a:lnTo>
                  <a:lnTo>
                    <a:pt x="1927035" y="199530"/>
                  </a:lnTo>
                  <a:lnTo>
                    <a:pt x="1927086" y="199530"/>
                  </a:lnTo>
                  <a:lnTo>
                    <a:pt x="1927086" y="197447"/>
                  </a:lnTo>
                  <a:lnTo>
                    <a:pt x="1927187" y="197447"/>
                  </a:lnTo>
                  <a:lnTo>
                    <a:pt x="1927187" y="196113"/>
                  </a:lnTo>
                  <a:lnTo>
                    <a:pt x="1927187" y="196799"/>
                  </a:lnTo>
                  <a:lnTo>
                    <a:pt x="1927225" y="197447"/>
                  </a:lnTo>
                  <a:lnTo>
                    <a:pt x="1927225" y="198831"/>
                  </a:lnTo>
                  <a:lnTo>
                    <a:pt x="1927225" y="196113"/>
                  </a:lnTo>
                  <a:lnTo>
                    <a:pt x="1927225" y="198831"/>
                  </a:lnTo>
                  <a:lnTo>
                    <a:pt x="1927276" y="198831"/>
                  </a:lnTo>
                  <a:lnTo>
                    <a:pt x="1927276" y="197447"/>
                  </a:lnTo>
                  <a:lnTo>
                    <a:pt x="1927276" y="198831"/>
                  </a:lnTo>
                  <a:lnTo>
                    <a:pt x="1927276" y="196799"/>
                  </a:lnTo>
                  <a:lnTo>
                    <a:pt x="1927276" y="198831"/>
                  </a:lnTo>
                  <a:lnTo>
                    <a:pt x="1927327" y="198831"/>
                  </a:lnTo>
                  <a:lnTo>
                    <a:pt x="1927327" y="197447"/>
                  </a:lnTo>
                  <a:lnTo>
                    <a:pt x="1927327" y="199530"/>
                  </a:lnTo>
                  <a:lnTo>
                    <a:pt x="1927327" y="198831"/>
                  </a:lnTo>
                  <a:lnTo>
                    <a:pt x="1927327" y="199530"/>
                  </a:lnTo>
                  <a:lnTo>
                    <a:pt x="1927327" y="198831"/>
                  </a:lnTo>
                  <a:lnTo>
                    <a:pt x="1927429" y="198831"/>
                  </a:lnTo>
                  <a:lnTo>
                    <a:pt x="1927429" y="199530"/>
                  </a:lnTo>
                  <a:lnTo>
                    <a:pt x="1927429" y="198831"/>
                  </a:lnTo>
                  <a:lnTo>
                    <a:pt x="1927429" y="199530"/>
                  </a:lnTo>
                  <a:lnTo>
                    <a:pt x="1927480" y="199530"/>
                  </a:lnTo>
                  <a:lnTo>
                    <a:pt x="1927480" y="200228"/>
                  </a:lnTo>
                  <a:lnTo>
                    <a:pt x="1927480" y="199530"/>
                  </a:lnTo>
                  <a:lnTo>
                    <a:pt x="1927530" y="199530"/>
                  </a:lnTo>
                  <a:lnTo>
                    <a:pt x="1927530" y="198831"/>
                  </a:lnTo>
                  <a:lnTo>
                    <a:pt x="1927530" y="199530"/>
                  </a:lnTo>
                  <a:lnTo>
                    <a:pt x="1927530" y="198831"/>
                  </a:lnTo>
                  <a:lnTo>
                    <a:pt x="1927632" y="198831"/>
                  </a:lnTo>
                  <a:lnTo>
                    <a:pt x="1927632" y="199530"/>
                  </a:lnTo>
                  <a:lnTo>
                    <a:pt x="1927632" y="197447"/>
                  </a:lnTo>
                  <a:lnTo>
                    <a:pt x="1927632" y="198831"/>
                  </a:lnTo>
                  <a:lnTo>
                    <a:pt x="1927632" y="197447"/>
                  </a:lnTo>
                  <a:lnTo>
                    <a:pt x="1927683" y="197447"/>
                  </a:lnTo>
                  <a:lnTo>
                    <a:pt x="1927683" y="196799"/>
                  </a:lnTo>
                  <a:lnTo>
                    <a:pt x="1927683" y="197447"/>
                  </a:lnTo>
                  <a:lnTo>
                    <a:pt x="1927683" y="195415"/>
                  </a:lnTo>
                  <a:lnTo>
                    <a:pt x="1927683" y="196113"/>
                  </a:lnTo>
                  <a:lnTo>
                    <a:pt x="1927734" y="196113"/>
                  </a:lnTo>
                  <a:lnTo>
                    <a:pt x="1927734" y="196799"/>
                  </a:lnTo>
                  <a:lnTo>
                    <a:pt x="1927734" y="195415"/>
                  </a:lnTo>
                  <a:lnTo>
                    <a:pt x="1927734" y="197447"/>
                  </a:lnTo>
                  <a:lnTo>
                    <a:pt x="1927772" y="197447"/>
                  </a:lnTo>
                  <a:lnTo>
                    <a:pt x="1927772" y="196113"/>
                  </a:lnTo>
                  <a:lnTo>
                    <a:pt x="1927772" y="198831"/>
                  </a:lnTo>
                  <a:lnTo>
                    <a:pt x="1927873" y="198831"/>
                  </a:lnTo>
                  <a:lnTo>
                    <a:pt x="1927873" y="197447"/>
                  </a:lnTo>
                  <a:lnTo>
                    <a:pt x="1927873" y="198831"/>
                  </a:lnTo>
                  <a:lnTo>
                    <a:pt x="1927873" y="197447"/>
                  </a:lnTo>
                  <a:lnTo>
                    <a:pt x="1927873" y="198831"/>
                  </a:lnTo>
                  <a:lnTo>
                    <a:pt x="1927873" y="197447"/>
                  </a:lnTo>
                  <a:lnTo>
                    <a:pt x="1927873" y="198831"/>
                  </a:lnTo>
                  <a:lnTo>
                    <a:pt x="1927924" y="199530"/>
                  </a:lnTo>
                  <a:lnTo>
                    <a:pt x="1927924" y="198831"/>
                  </a:lnTo>
                  <a:lnTo>
                    <a:pt x="1927924" y="199530"/>
                  </a:lnTo>
                  <a:lnTo>
                    <a:pt x="1927975" y="200228"/>
                  </a:lnTo>
                  <a:lnTo>
                    <a:pt x="1927975" y="199530"/>
                  </a:lnTo>
                  <a:lnTo>
                    <a:pt x="1928076" y="199530"/>
                  </a:lnTo>
                  <a:lnTo>
                    <a:pt x="1928076" y="198831"/>
                  </a:lnTo>
                  <a:lnTo>
                    <a:pt x="1928127" y="199530"/>
                  </a:lnTo>
                  <a:lnTo>
                    <a:pt x="1928127" y="198831"/>
                  </a:lnTo>
                  <a:lnTo>
                    <a:pt x="1928127" y="199530"/>
                  </a:lnTo>
                  <a:lnTo>
                    <a:pt x="1928127" y="198831"/>
                  </a:lnTo>
                  <a:lnTo>
                    <a:pt x="1928127" y="199530"/>
                  </a:lnTo>
                  <a:lnTo>
                    <a:pt x="1928127" y="198831"/>
                  </a:lnTo>
                  <a:lnTo>
                    <a:pt x="1928127" y="199530"/>
                  </a:lnTo>
                  <a:lnTo>
                    <a:pt x="1928127" y="197447"/>
                  </a:lnTo>
                  <a:lnTo>
                    <a:pt x="1928178" y="197447"/>
                  </a:lnTo>
                  <a:lnTo>
                    <a:pt x="1928178" y="196799"/>
                  </a:lnTo>
                  <a:lnTo>
                    <a:pt x="1928178" y="197447"/>
                  </a:lnTo>
                  <a:lnTo>
                    <a:pt x="1928178" y="195415"/>
                  </a:lnTo>
                  <a:lnTo>
                    <a:pt x="1928178" y="196799"/>
                  </a:lnTo>
                  <a:lnTo>
                    <a:pt x="1928229" y="196799"/>
                  </a:lnTo>
                  <a:lnTo>
                    <a:pt x="1928229" y="194716"/>
                  </a:lnTo>
                  <a:lnTo>
                    <a:pt x="1928229" y="196799"/>
                  </a:lnTo>
                  <a:lnTo>
                    <a:pt x="1928318" y="197447"/>
                  </a:lnTo>
                  <a:lnTo>
                    <a:pt x="1928318" y="196113"/>
                  </a:lnTo>
                  <a:lnTo>
                    <a:pt x="1928318" y="197447"/>
                  </a:lnTo>
                  <a:lnTo>
                    <a:pt x="1928369" y="197447"/>
                  </a:lnTo>
                  <a:lnTo>
                    <a:pt x="1928369" y="196799"/>
                  </a:lnTo>
                  <a:lnTo>
                    <a:pt x="1928369" y="197447"/>
                  </a:lnTo>
                  <a:lnTo>
                    <a:pt x="1928369" y="196113"/>
                  </a:lnTo>
                  <a:lnTo>
                    <a:pt x="1928369" y="198831"/>
                  </a:lnTo>
                  <a:lnTo>
                    <a:pt x="1928369" y="197447"/>
                  </a:lnTo>
                  <a:lnTo>
                    <a:pt x="1928419" y="196799"/>
                  </a:lnTo>
                  <a:lnTo>
                    <a:pt x="1928419" y="197447"/>
                  </a:lnTo>
                  <a:lnTo>
                    <a:pt x="1928470" y="197447"/>
                  </a:lnTo>
                  <a:lnTo>
                    <a:pt x="1928470" y="198831"/>
                  </a:lnTo>
                  <a:lnTo>
                    <a:pt x="1928470" y="197447"/>
                  </a:lnTo>
                  <a:lnTo>
                    <a:pt x="1928470" y="198831"/>
                  </a:lnTo>
                  <a:lnTo>
                    <a:pt x="1928572" y="198831"/>
                  </a:lnTo>
                  <a:lnTo>
                    <a:pt x="1928572" y="197447"/>
                  </a:lnTo>
                  <a:lnTo>
                    <a:pt x="1928572" y="198831"/>
                  </a:lnTo>
                  <a:lnTo>
                    <a:pt x="1928572" y="197447"/>
                  </a:lnTo>
                  <a:lnTo>
                    <a:pt x="1928572" y="199530"/>
                  </a:lnTo>
                  <a:lnTo>
                    <a:pt x="1928572" y="198831"/>
                  </a:lnTo>
                  <a:lnTo>
                    <a:pt x="1928572" y="199530"/>
                  </a:lnTo>
                  <a:lnTo>
                    <a:pt x="1928572" y="198831"/>
                  </a:lnTo>
                  <a:lnTo>
                    <a:pt x="1928572" y="199530"/>
                  </a:lnTo>
                  <a:lnTo>
                    <a:pt x="1928572" y="198831"/>
                  </a:lnTo>
                  <a:lnTo>
                    <a:pt x="1928622" y="198831"/>
                  </a:lnTo>
                  <a:lnTo>
                    <a:pt x="1928622" y="197447"/>
                  </a:lnTo>
                  <a:lnTo>
                    <a:pt x="1928622" y="198831"/>
                  </a:lnTo>
                  <a:lnTo>
                    <a:pt x="1928622" y="197447"/>
                  </a:lnTo>
                  <a:lnTo>
                    <a:pt x="1928673" y="197447"/>
                  </a:lnTo>
                  <a:lnTo>
                    <a:pt x="1928673" y="195415"/>
                  </a:lnTo>
                  <a:lnTo>
                    <a:pt x="1928673" y="197447"/>
                  </a:lnTo>
                  <a:lnTo>
                    <a:pt x="1928775" y="196799"/>
                  </a:lnTo>
                  <a:lnTo>
                    <a:pt x="1928775" y="195415"/>
                  </a:lnTo>
                  <a:lnTo>
                    <a:pt x="1928775" y="198831"/>
                  </a:lnTo>
                  <a:lnTo>
                    <a:pt x="1928775" y="197447"/>
                  </a:lnTo>
                  <a:lnTo>
                    <a:pt x="1928813" y="197447"/>
                  </a:lnTo>
                  <a:lnTo>
                    <a:pt x="1928813" y="196799"/>
                  </a:lnTo>
                  <a:lnTo>
                    <a:pt x="1928813" y="198831"/>
                  </a:lnTo>
                  <a:lnTo>
                    <a:pt x="1928864" y="198831"/>
                  </a:lnTo>
                  <a:lnTo>
                    <a:pt x="1928864" y="197447"/>
                  </a:lnTo>
                  <a:lnTo>
                    <a:pt x="1928864" y="198831"/>
                  </a:lnTo>
                  <a:lnTo>
                    <a:pt x="1928915" y="198831"/>
                  </a:lnTo>
                  <a:lnTo>
                    <a:pt x="1928915" y="197447"/>
                  </a:lnTo>
                  <a:lnTo>
                    <a:pt x="1928915" y="198831"/>
                  </a:lnTo>
                  <a:lnTo>
                    <a:pt x="1928915" y="197447"/>
                  </a:lnTo>
                  <a:lnTo>
                    <a:pt x="1928915" y="198831"/>
                  </a:lnTo>
                  <a:lnTo>
                    <a:pt x="1928915" y="197447"/>
                  </a:lnTo>
                  <a:lnTo>
                    <a:pt x="1928915" y="198831"/>
                  </a:lnTo>
                  <a:lnTo>
                    <a:pt x="1928915" y="197447"/>
                  </a:lnTo>
                  <a:lnTo>
                    <a:pt x="1929016" y="198831"/>
                  </a:lnTo>
                  <a:lnTo>
                    <a:pt x="1929016" y="199530"/>
                  </a:lnTo>
                  <a:lnTo>
                    <a:pt x="1929016" y="198831"/>
                  </a:lnTo>
                  <a:lnTo>
                    <a:pt x="1929016" y="199530"/>
                  </a:lnTo>
                  <a:lnTo>
                    <a:pt x="1929016" y="198831"/>
                  </a:lnTo>
                  <a:lnTo>
                    <a:pt x="1929067" y="198831"/>
                  </a:lnTo>
                  <a:lnTo>
                    <a:pt x="1929067" y="199530"/>
                  </a:lnTo>
                  <a:lnTo>
                    <a:pt x="1929067" y="198831"/>
                  </a:lnTo>
                  <a:lnTo>
                    <a:pt x="1929067" y="199530"/>
                  </a:lnTo>
                  <a:lnTo>
                    <a:pt x="1929067" y="198831"/>
                  </a:lnTo>
                  <a:lnTo>
                    <a:pt x="1929118" y="198831"/>
                  </a:lnTo>
                  <a:lnTo>
                    <a:pt x="1929118" y="199530"/>
                  </a:lnTo>
                  <a:lnTo>
                    <a:pt x="1929118" y="197447"/>
                  </a:lnTo>
                  <a:lnTo>
                    <a:pt x="1929118" y="198831"/>
                  </a:lnTo>
                  <a:lnTo>
                    <a:pt x="1929118" y="196799"/>
                  </a:lnTo>
                  <a:lnTo>
                    <a:pt x="1929219" y="196799"/>
                  </a:lnTo>
                  <a:lnTo>
                    <a:pt x="1929219" y="196113"/>
                  </a:lnTo>
                  <a:lnTo>
                    <a:pt x="1929219" y="198831"/>
                  </a:lnTo>
                  <a:lnTo>
                    <a:pt x="1929219" y="196799"/>
                  </a:lnTo>
                  <a:lnTo>
                    <a:pt x="1929219" y="197447"/>
                  </a:lnTo>
                  <a:lnTo>
                    <a:pt x="1929270" y="196799"/>
                  </a:lnTo>
                  <a:lnTo>
                    <a:pt x="1929270" y="196113"/>
                  </a:lnTo>
                  <a:lnTo>
                    <a:pt x="1929270" y="200228"/>
                  </a:lnTo>
                  <a:lnTo>
                    <a:pt x="1929270" y="198831"/>
                  </a:lnTo>
                  <a:lnTo>
                    <a:pt x="1929321" y="198831"/>
                  </a:lnTo>
                  <a:lnTo>
                    <a:pt x="1929321" y="197447"/>
                  </a:lnTo>
                  <a:lnTo>
                    <a:pt x="1929321" y="200228"/>
                  </a:lnTo>
                  <a:lnTo>
                    <a:pt x="1929321" y="198831"/>
                  </a:lnTo>
                  <a:lnTo>
                    <a:pt x="1929359" y="198831"/>
                  </a:lnTo>
                  <a:lnTo>
                    <a:pt x="1929359" y="199530"/>
                  </a:lnTo>
                  <a:lnTo>
                    <a:pt x="1929359" y="198831"/>
                  </a:lnTo>
                  <a:lnTo>
                    <a:pt x="1929359" y="199530"/>
                  </a:lnTo>
                  <a:lnTo>
                    <a:pt x="1929359" y="198831"/>
                  </a:lnTo>
                  <a:lnTo>
                    <a:pt x="1929461" y="198831"/>
                  </a:lnTo>
                  <a:lnTo>
                    <a:pt x="1929461" y="199530"/>
                  </a:lnTo>
                  <a:lnTo>
                    <a:pt x="1929461" y="198831"/>
                  </a:lnTo>
                  <a:lnTo>
                    <a:pt x="1929461" y="199530"/>
                  </a:lnTo>
                  <a:lnTo>
                    <a:pt x="1929461" y="198831"/>
                  </a:lnTo>
                  <a:lnTo>
                    <a:pt x="1929461" y="199530"/>
                  </a:lnTo>
                  <a:lnTo>
                    <a:pt x="1929461" y="198831"/>
                  </a:lnTo>
                  <a:lnTo>
                    <a:pt x="1929461" y="199530"/>
                  </a:lnTo>
                  <a:lnTo>
                    <a:pt x="1929512" y="199530"/>
                  </a:lnTo>
                  <a:lnTo>
                    <a:pt x="1929512" y="198831"/>
                  </a:lnTo>
                  <a:lnTo>
                    <a:pt x="1929512" y="199530"/>
                  </a:lnTo>
                  <a:lnTo>
                    <a:pt x="1929512" y="198831"/>
                  </a:lnTo>
                  <a:lnTo>
                    <a:pt x="1929512" y="199530"/>
                  </a:lnTo>
                  <a:lnTo>
                    <a:pt x="1929562" y="199530"/>
                  </a:lnTo>
                  <a:lnTo>
                    <a:pt x="1929562" y="198831"/>
                  </a:lnTo>
                  <a:lnTo>
                    <a:pt x="1929664" y="198831"/>
                  </a:lnTo>
                  <a:lnTo>
                    <a:pt x="1929664" y="196799"/>
                  </a:lnTo>
                  <a:lnTo>
                    <a:pt x="1929664" y="197447"/>
                  </a:lnTo>
                  <a:lnTo>
                    <a:pt x="1929664" y="195415"/>
                  </a:lnTo>
                  <a:lnTo>
                    <a:pt x="1929715" y="195415"/>
                  </a:lnTo>
                  <a:lnTo>
                    <a:pt x="1929715" y="197447"/>
                  </a:lnTo>
                  <a:lnTo>
                    <a:pt x="1929715" y="196113"/>
                  </a:lnTo>
                  <a:lnTo>
                    <a:pt x="1929715" y="196799"/>
                  </a:lnTo>
                  <a:lnTo>
                    <a:pt x="1929715" y="196113"/>
                  </a:lnTo>
                  <a:lnTo>
                    <a:pt x="1929715" y="196799"/>
                  </a:lnTo>
                  <a:lnTo>
                    <a:pt x="1929765" y="197447"/>
                  </a:lnTo>
                  <a:lnTo>
                    <a:pt x="1929765" y="200228"/>
                  </a:lnTo>
                  <a:lnTo>
                    <a:pt x="1929765" y="198831"/>
                  </a:lnTo>
                  <a:lnTo>
                    <a:pt x="1929765" y="199530"/>
                  </a:lnTo>
                  <a:lnTo>
                    <a:pt x="1929816" y="199530"/>
                  </a:lnTo>
                  <a:lnTo>
                    <a:pt x="1929816" y="200228"/>
                  </a:lnTo>
                  <a:lnTo>
                    <a:pt x="1929816" y="199530"/>
                  </a:lnTo>
                  <a:lnTo>
                    <a:pt x="1929816" y="200228"/>
                  </a:lnTo>
                  <a:lnTo>
                    <a:pt x="1929816" y="199530"/>
                  </a:lnTo>
                  <a:lnTo>
                    <a:pt x="1929816" y="200228"/>
                  </a:lnTo>
                  <a:lnTo>
                    <a:pt x="1929816" y="199530"/>
                  </a:lnTo>
                  <a:lnTo>
                    <a:pt x="1929816" y="200228"/>
                  </a:lnTo>
                  <a:lnTo>
                    <a:pt x="1929905" y="200228"/>
                  </a:lnTo>
                  <a:lnTo>
                    <a:pt x="1929905" y="199530"/>
                  </a:lnTo>
                  <a:lnTo>
                    <a:pt x="1929905" y="200228"/>
                  </a:lnTo>
                  <a:lnTo>
                    <a:pt x="1929905" y="199530"/>
                  </a:lnTo>
                  <a:lnTo>
                    <a:pt x="1929956" y="199530"/>
                  </a:lnTo>
                  <a:lnTo>
                    <a:pt x="1929956" y="200228"/>
                  </a:lnTo>
                  <a:lnTo>
                    <a:pt x="1929956" y="199530"/>
                  </a:lnTo>
                  <a:lnTo>
                    <a:pt x="1930007" y="199530"/>
                  </a:lnTo>
                  <a:lnTo>
                    <a:pt x="1930007" y="200228"/>
                  </a:lnTo>
                  <a:lnTo>
                    <a:pt x="1930007" y="199530"/>
                  </a:lnTo>
                  <a:lnTo>
                    <a:pt x="1930007" y="200228"/>
                  </a:lnTo>
                  <a:lnTo>
                    <a:pt x="1930007" y="199530"/>
                  </a:lnTo>
                  <a:lnTo>
                    <a:pt x="1930058" y="199530"/>
                  </a:lnTo>
                  <a:lnTo>
                    <a:pt x="1930058" y="197447"/>
                  </a:lnTo>
                  <a:lnTo>
                    <a:pt x="1930058" y="198831"/>
                  </a:lnTo>
                  <a:lnTo>
                    <a:pt x="1930058" y="197447"/>
                  </a:lnTo>
                  <a:lnTo>
                    <a:pt x="1930159" y="197447"/>
                  </a:lnTo>
                  <a:lnTo>
                    <a:pt x="1930159" y="196113"/>
                  </a:lnTo>
                  <a:lnTo>
                    <a:pt x="1930159" y="197447"/>
                  </a:lnTo>
                  <a:lnTo>
                    <a:pt x="1930210" y="197447"/>
                  </a:lnTo>
                  <a:lnTo>
                    <a:pt x="1930210" y="198831"/>
                  </a:lnTo>
                  <a:lnTo>
                    <a:pt x="1930210" y="196113"/>
                  </a:lnTo>
                  <a:lnTo>
                    <a:pt x="1930210" y="200228"/>
                  </a:lnTo>
                  <a:lnTo>
                    <a:pt x="1930261" y="200228"/>
                  </a:lnTo>
                  <a:lnTo>
                    <a:pt x="1930261" y="198831"/>
                  </a:lnTo>
                  <a:lnTo>
                    <a:pt x="1930261" y="199530"/>
                  </a:lnTo>
                  <a:lnTo>
                    <a:pt x="1930362" y="199530"/>
                  </a:lnTo>
                  <a:lnTo>
                    <a:pt x="1930362" y="198831"/>
                  </a:lnTo>
                  <a:lnTo>
                    <a:pt x="1930362" y="199530"/>
                  </a:lnTo>
                  <a:lnTo>
                    <a:pt x="1930362" y="198831"/>
                  </a:lnTo>
                  <a:lnTo>
                    <a:pt x="1930362" y="200228"/>
                  </a:lnTo>
                  <a:lnTo>
                    <a:pt x="1930362" y="199530"/>
                  </a:lnTo>
                  <a:lnTo>
                    <a:pt x="1930362" y="200228"/>
                  </a:lnTo>
                  <a:lnTo>
                    <a:pt x="1930362" y="199530"/>
                  </a:lnTo>
                  <a:lnTo>
                    <a:pt x="1930400" y="199530"/>
                  </a:lnTo>
                  <a:lnTo>
                    <a:pt x="1930400" y="200228"/>
                  </a:lnTo>
                  <a:lnTo>
                    <a:pt x="1930400" y="199530"/>
                  </a:lnTo>
                  <a:lnTo>
                    <a:pt x="1930400" y="200228"/>
                  </a:lnTo>
                  <a:lnTo>
                    <a:pt x="1930400" y="199530"/>
                  </a:lnTo>
                  <a:lnTo>
                    <a:pt x="1930451" y="200228"/>
                  </a:lnTo>
                  <a:lnTo>
                    <a:pt x="1930451" y="199530"/>
                  </a:lnTo>
                  <a:lnTo>
                    <a:pt x="1930451" y="200228"/>
                  </a:lnTo>
                  <a:lnTo>
                    <a:pt x="1930451" y="199530"/>
                  </a:lnTo>
                  <a:lnTo>
                    <a:pt x="1930451" y="200228"/>
                  </a:lnTo>
                  <a:lnTo>
                    <a:pt x="1930451" y="199530"/>
                  </a:lnTo>
                  <a:lnTo>
                    <a:pt x="1930451" y="200228"/>
                  </a:lnTo>
                  <a:lnTo>
                    <a:pt x="1930502" y="200228"/>
                  </a:lnTo>
                  <a:lnTo>
                    <a:pt x="1930502" y="199530"/>
                  </a:lnTo>
                  <a:lnTo>
                    <a:pt x="1930502" y="200228"/>
                  </a:lnTo>
                  <a:lnTo>
                    <a:pt x="1930502" y="199530"/>
                  </a:lnTo>
                  <a:lnTo>
                    <a:pt x="1930502" y="200228"/>
                  </a:lnTo>
                  <a:lnTo>
                    <a:pt x="1930502" y="199530"/>
                  </a:lnTo>
                  <a:lnTo>
                    <a:pt x="1930604" y="199530"/>
                  </a:lnTo>
                  <a:lnTo>
                    <a:pt x="1930604" y="198831"/>
                  </a:lnTo>
                  <a:lnTo>
                    <a:pt x="1930604" y="199530"/>
                  </a:lnTo>
                  <a:lnTo>
                    <a:pt x="1930604" y="198831"/>
                  </a:lnTo>
                  <a:lnTo>
                    <a:pt x="1930604" y="199530"/>
                  </a:lnTo>
                  <a:lnTo>
                    <a:pt x="1930604" y="196799"/>
                  </a:lnTo>
                  <a:lnTo>
                    <a:pt x="1930604" y="197447"/>
                  </a:lnTo>
                  <a:lnTo>
                    <a:pt x="1930604" y="196799"/>
                  </a:lnTo>
                  <a:lnTo>
                    <a:pt x="1930655" y="196799"/>
                  </a:lnTo>
                  <a:lnTo>
                    <a:pt x="1930655" y="197447"/>
                  </a:lnTo>
                  <a:lnTo>
                    <a:pt x="1930655" y="194716"/>
                  </a:lnTo>
                  <a:lnTo>
                    <a:pt x="1930655" y="196799"/>
                  </a:lnTo>
                  <a:lnTo>
                    <a:pt x="1930705" y="196799"/>
                  </a:lnTo>
                  <a:lnTo>
                    <a:pt x="1930705" y="195415"/>
                  </a:lnTo>
                  <a:lnTo>
                    <a:pt x="1930705" y="199530"/>
                  </a:lnTo>
                  <a:lnTo>
                    <a:pt x="1930705" y="198831"/>
                  </a:lnTo>
                  <a:lnTo>
                    <a:pt x="1930807" y="198831"/>
                  </a:lnTo>
                  <a:lnTo>
                    <a:pt x="1930807" y="197447"/>
                  </a:lnTo>
                  <a:lnTo>
                    <a:pt x="1930807" y="198831"/>
                  </a:lnTo>
                  <a:lnTo>
                    <a:pt x="1930807" y="197447"/>
                  </a:lnTo>
                  <a:lnTo>
                    <a:pt x="1930807" y="199530"/>
                  </a:lnTo>
                  <a:lnTo>
                    <a:pt x="1930858" y="198831"/>
                  </a:lnTo>
                  <a:lnTo>
                    <a:pt x="1930858" y="199530"/>
                  </a:lnTo>
                  <a:lnTo>
                    <a:pt x="1930909" y="199530"/>
                  </a:lnTo>
                  <a:lnTo>
                    <a:pt x="1930909" y="198831"/>
                  </a:lnTo>
                  <a:lnTo>
                    <a:pt x="1930909" y="200228"/>
                  </a:lnTo>
                  <a:lnTo>
                    <a:pt x="1930947" y="199530"/>
                  </a:lnTo>
                  <a:lnTo>
                    <a:pt x="1930947" y="200228"/>
                  </a:lnTo>
                  <a:lnTo>
                    <a:pt x="1931048" y="200228"/>
                  </a:lnTo>
                  <a:lnTo>
                    <a:pt x="1931048" y="199530"/>
                  </a:lnTo>
                  <a:lnTo>
                    <a:pt x="1931048" y="200228"/>
                  </a:lnTo>
                  <a:lnTo>
                    <a:pt x="1931048" y="199530"/>
                  </a:lnTo>
                  <a:lnTo>
                    <a:pt x="1931048" y="200228"/>
                  </a:lnTo>
                  <a:lnTo>
                    <a:pt x="1931048" y="198831"/>
                  </a:lnTo>
                  <a:lnTo>
                    <a:pt x="1931048" y="199530"/>
                  </a:lnTo>
                  <a:lnTo>
                    <a:pt x="1931099" y="199530"/>
                  </a:lnTo>
                  <a:lnTo>
                    <a:pt x="1931099" y="196799"/>
                  </a:lnTo>
                  <a:lnTo>
                    <a:pt x="1931150" y="196799"/>
                  </a:lnTo>
                  <a:lnTo>
                    <a:pt x="1931150" y="195415"/>
                  </a:lnTo>
                  <a:lnTo>
                    <a:pt x="1931150" y="196799"/>
                  </a:lnTo>
                  <a:lnTo>
                    <a:pt x="1931150" y="196113"/>
                  </a:lnTo>
                  <a:lnTo>
                    <a:pt x="1931251" y="196113"/>
                  </a:lnTo>
                  <a:lnTo>
                    <a:pt x="1931251" y="195415"/>
                  </a:lnTo>
                  <a:lnTo>
                    <a:pt x="1931251" y="196113"/>
                  </a:lnTo>
                  <a:lnTo>
                    <a:pt x="1931251" y="195415"/>
                  </a:lnTo>
                  <a:lnTo>
                    <a:pt x="1931251" y="198831"/>
                  </a:lnTo>
                  <a:lnTo>
                    <a:pt x="1931251" y="197447"/>
                  </a:lnTo>
                  <a:lnTo>
                    <a:pt x="1931302" y="196799"/>
                  </a:lnTo>
                  <a:lnTo>
                    <a:pt x="1931302" y="196113"/>
                  </a:lnTo>
                  <a:lnTo>
                    <a:pt x="1931302" y="197447"/>
                  </a:lnTo>
                  <a:lnTo>
                    <a:pt x="1931302" y="196799"/>
                  </a:lnTo>
                  <a:lnTo>
                    <a:pt x="1931353" y="196799"/>
                  </a:lnTo>
                  <a:lnTo>
                    <a:pt x="1931353" y="197447"/>
                  </a:lnTo>
                  <a:lnTo>
                    <a:pt x="1931353" y="196799"/>
                  </a:lnTo>
                  <a:lnTo>
                    <a:pt x="1931353" y="197447"/>
                  </a:lnTo>
                  <a:lnTo>
                    <a:pt x="1931353" y="196799"/>
                  </a:lnTo>
                  <a:lnTo>
                    <a:pt x="1931353" y="197447"/>
                  </a:lnTo>
                  <a:lnTo>
                    <a:pt x="1931353" y="196799"/>
                  </a:lnTo>
                  <a:lnTo>
                    <a:pt x="1931353" y="197447"/>
                  </a:lnTo>
                  <a:lnTo>
                    <a:pt x="1931404" y="196799"/>
                  </a:lnTo>
                  <a:lnTo>
                    <a:pt x="1931404" y="198831"/>
                  </a:lnTo>
                  <a:lnTo>
                    <a:pt x="1931493" y="198831"/>
                  </a:lnTo>
                  <a:lnTo>
                    <a:pt x="1931493" y="199530"/>
                  </a:lnTo>
                  <a:lnTo>
                    <a:pt x="1931544" y="199530"/>
                  </a:lnTo>
                  <a:lnTo>
                    <a:pt x="1931544" y="198831"/>
                  </a:lnTo>
                  <a:lnTo>
                    <a:pt x="1931544" y="199530"/>
                  </a:lnTo>
                  <a:lnTo>
                    <a:pt x="1931544" y="198831"/>
                  </a:lnTo>
                  <a:lnTo>
                    <a:pt x="1931594" y="198831"/>
                  </a:lnTo>
                  <a:lnTo>
                    <a:pt x="1931594" y="197447"/>
                  </a:lnTo>
                  <a:lnTo>
                    <a:pt x="1931594" y="198831"/>
                  </a:lnTo>
                  <a:lnTo>
                    <a:pt x="1931594" y="197447"/>
                  </a:lnTo>
                  <a:lnTo>
                    <a:pt x="1931594" y="198831"/>
                  </a:lnTo>
                  <a:lnTo>
                    <a:pt x="1931594" y="196113"/>
                  </a:lnTo>
                  <a:lnTo>
                    <a:pt x="1931594" y="196799"/>
                  </a:lnTo>
                  <a:lnTo>
                    <a:pt x="1931645" y="196113"/>
                  </a:lnTo>
                  <a:lnTo>
                    <a:pt x="1931645" y="197447"/>
                  </a:lnTo>
                  <a:lnTo>
                    <a:pt x="1931645" y="196799"/>
                  </a:lnTo>
                  <a:lnTo>
                    <a:pt x="1931747" y="196799"/>
                  </a:lnTo>
                  <a:lnTo>
                    <a:pt x="1931747" y="200228"/>
                  </a:lnTo>
                  <a:lnTo>
                    <a:pt x="1931747" y="198831"/>
                  </a:lnTo>
                  <a:lnTo>
                    <a:pt x="1931797" y="199530"/>
                  </a:lnTo>
                  <a:lnTo>
                    <a:pt x="1931797" y="198831"/>
                  </a:lnTo>
                  <a:lnTo>
                    <a:pt x="1931797" y="199530"/>
                  </a:lnTo>
                  <a:lnTo>
                    <a:pt x="1931797" y="197447"/>
                  </a:lnTo>
                  <a:lnTo>
                    <a:pt x="1931797" y="198831"/>
                  </a:lnTo>
                  <a:lnTo>
                    <a:pt x="1931848" y="198831"/>
                  </a:lnTo>
                  <a:lnTo>
                    <a:pt x="1931848" y="199530"/>
                  </a:lnTo>
                  <a:lnTo>
                    <a:pt x="1931848" y="198831"/>
                  </a:lnTo>
                  <a:lnTo>
                    <a:pt x="1931848" y="199530"/>
                  </a:lnTo>
                  <a:lnTo>
                    <a:pt x="1931848" y="198831"/>
                  </a:lnTo>
                  <a:lnTo>
                    <a:pt x="1931848" y="199530"/>
                  </a:lnTo>
                  <a:lnTo>
                    <a:pt x="1931950" y="199530"/>
                  </a:lnTo>
                  <a:lnTo>
                    <a:pt x="1931950" y="198831"/>
                  </a:lnTo>
                  <a:lnTo>
                    <a:pt x="1931950" y="200228"/>
                  </a:lnTo>
                  <a:lnTo>
                    <a:pt x="1931950" y="199530"/>
                  </a:lnTo>
                  <a:lnTo>
                    <a:pt x="1931988" y="200228"/>
                  </a:lnTo>
                  <a:lnTo>
                    <a:pt x="1931988" y="199530"/>
                  </a:lnTo>
                  <a:lnTo>
                    <a:pt x="1931988" y="200228"/>
                  </a:lnTo>
                  <a:lnTo>
                    <a:pt x="1931988" y="199530"/>
                  </a:lnTo>
                  <a:lnTo>
                    <a:pt x="1931988" y="200228"/>
                  </a:lnTo>
                  <a:lnTo>
                    <a:pt x="1931988" y="199530"/>
                  </a:lnTo>
                  <a:lnTo>
                    <a:pt x="1931988" y="200228"/>
                  </a:lnTo>
                  <a:lnTo>
                    <a:pt x="1931988" y="199530"/>
                  </a:lnTo>
                  <a:lnTo>
                    <a:pt x="1932039" y="199530"/>
                  </a:lnTo>
                  <a:lnTo>
                    <a:pt x="1932039" y="197447"/>
                  </a:lnTo>
                  <a:lnTo>
                    <a:pt x="1932090" y="198831"/>
                  </a:lnTo>
                  <a:lnTo>
                    <a:pt x="1932090" y="196799"/>
                  </a:lnTo>
                  <a:lnTo>
                    <a:pt x="1932090" y="199530"/>
                  </a:lnTo>
                  <a:lnTo>
                    <a:pt x="1932191" y="199530"/>
                  </a:lnTo>
                  <a:lnTo>
                    <a:pt x="1932191" y="197447"/>
                  </a:lnTo>
                  <a:lnTo>
                    <a:pt x="1932191" y="200876"/>
                  </a:lnTo>
                  <a:lnTo>
                    <a:pt x="1932242" y="200228"/>
                  </a:lnTo>
                  <a:lnTo>
                    <a:pt x="1932242" y="200876"/>
                  </a:lnTo>
                  <a:lnTo>
                    <a:pt x="1932242" y="199530"/>
                  </a:lnTo>
                  <a:lnTo>
                    <a:pt x="1932242" y="202260"/>
                  </a:lnTo>
                  <a:lnTo>
                    <a:pt x="1932242" y="200876"/>
                  </a:lnTo>
                  <a:lnTo>
                    <a:pt x="1932293" y="200228"/>
                  </a:lnTo>
                  <a:lnTo>
                    <a:pt x="1932293" y="199530"/>
                  </a:lnTo>
                  <a:lnTo>
                    <a:pt x="1932293" y="200876"/>
                  </a:lnTo>
                  <a:lnTo>
                    <a:pt x="1932293" y="200228"/>
                  </a:lnTo>
                  <a:lnTo>
                    <a:pt x="1932394" y="200228"/>
                  </a:lnTo>
                  <a:lnTo>
                    <a:pt x="1932394" y="199530"/>
                  </a:lnTo>
                  <a:lnTo>
                    <a:pt x="1932445" y="200228"/>
                  </a:lnTo>
                  <a:lnTo>
                    <a:pt x="1932445" y="199530"/>
                  </a:lnTo>
                  <a:lnTo>
                    <a:pt x="1932445" y="200228"/>
                  </a:lnTo>
                  <a:lnTo>
                    <a:pt x="1932496" y="200228"/>
                  </a:lnTo>
                  <a:lnTo>
                    <a:pt x="1932496" y="199530"/>
                  </a:lnTo>
                  <a:lnTo>
                    <a:pt x="1932496" y="200228"/>
                  </a:lnTo>
                  <a:lnTo>
                    <a:pt x="1932496" y="199530"/>
                  </a:lnTo>
                  <a:lnTo>
                    <a:pt x="1932496" y="200228"/>
                  </a:lnTo>
                  <a:lnTo>
                    <a:pt x="1932496" y="198831"/>
                  </a:lnTo>
                  <a:lnTo>
                    <a:pt x="1932534" y="198831"/>
                  </a:lnTo>
                  <a:lnTo>
                    <a:pt x="1932534" y="196799"/>
                  </a:lnTo>
                  <a:lnTo>
                    <a:pt x="1932534" y="197447"/>
                  </a:lnTo>
                  <a:lnTo>
                    <a:pt x="1932636" y="197447"/>
                  </a:lnTo>
                  <a:lnTo>
                    <a:pt x="1932636" y="195415"/>
                  </a:lnTo>
                  <a:lnTo>
                    <a:pt x="1932636" y="198831"/>
                  </a:lnTo>
                  <a:lnTo>
                    <a:pt x="1932636" y="197447"/>
                  </a:lnTo>
                  <a:lnTo>
                    <a:pt x="1932687" y="197447"/>
                  </a:lnTo>
                  <a:lnTo>
                    <a:pt x="1932687" y="196113"/>
                  </a:lnTo>
                  <a:lnTo>
                    <a:pt x="1932687" y="200228"/>
                  </a:lnTo>
                  <a:lnTo>
                    <a:pt x="1932687" y="199530"/>
                  </a:lnTo>
                  <a:lnTo>
                    <a:pt x="1932737" y="198831"/>
                  </a:lnTo>
                  <a:lnTo>
                    <a:pt x="1932737" y="200228"/>
                  </a:lnTo>
                  <a:lnTo>
                    <a:pt x="1932737" y="199530"/>
                  </a:lnTo>
                  <a:lnTo>
                    <a:pt x="1932839" y="199530"/>
                  </a:lnTo>
                  <a:lnTo>
                    <a:pt x="1932839" y="198831"/>
                  </a:lnTo>
                  <a:lnTo>
                    <a:pt x="1932839" y="199530"/>
                  </a:lnTo>
                  <a:lnTo>
                    <a:pt x="1932839" y="198831"/>
                  </a:lnTo>
                  <a:lnTo>
                    <a:pt x="1932839" y="200228"/>
                  </a:lnTo>
                  <a:lnTo>
                    <a:pt x="1932839" y="199530"/>
                  </a:lnTo>
                  <a:lnTo>
                    <a:pt x="1932839" y="200228"/>
                  </a:lnTo>
                  <a:lnTo>
                    <a:pt x="1932839" y="199530"/>
                  </a:lnTo>
                  <a:lnTo>
                    <a:pt x="1932890" y="199530"/>
                  </a:lnTo>
                  <a:lnTo>
                    <a:pt x="1932890" y="200876"/>
                  </a:lnTo>
                  <a:lnTo>
                    <a:pt x="1932890" y="200228"/>
                  </a:lnTo>
                  <a:lnTo>
                    <a:pt x="1932991" y="200228"/>
                  </a:lnTo>
                  <a:lnTo>
                    <a:pt x="1932991" y="198831"/>
                  </a:lnTo>
                  <a:lnTo>
                    <a:pt x="1933080" y="197447"/>
                  </a:lnTo>
                  <a:lnTo>
                    <a:pt x="1933080" y="196799"/>
                  </a:lnTo>
                  <a:lnTo>
                    <a:pt x="1933080" y="197447"/>
                  </a:lnTo>
                  <a:lnTo>
                    <a:pt x="1933080" y="196799"/>
                  </a:lnTo>
                  <a:lnTo>
                    <a:pt x="1933080" y="197447"/>
                  </a:lnTo>
                  <a:lnTo>
                    <a:pt x="1933080" y="196799"/>
                  </a:lnTo>
                  <a:lnTo>
                    <a:pt x="1933131" y="196799"/>
                  </a:lnTo>
                  <a:lnTo>
                    <a:pt x="1933131" y="198831"/>
                  </a:lnTo>
                  <a:lnTo>
                    <a:pt x="1933131" y="196799"/>
                  </a:lnTo>
                  <a:lnTo>
                    <a:pt x="1933131" y="197447"/>
                  </a:lnTo>
                  <a:lnTo>
                    <a:pt x="1933182" y="198831"/>
                  </a:lnTo>
                  <a:lnTo>
                    <a:pt x="1933182" y="200228"/>
                  </a:lnTo>
                  <a:lnTo>
                    <a:pt x="1933182" y="199530"/>
                  </a:lnTo>
                  <a:lnTo>
                    <a:pt x="1933233" y="200228"/>
                  </a:lnTo>
                  <a:lnTo>
                    <a:pt x="1933233" y="200876"/>
                  </a:lnTo>
                  <a:lnTo>
                    <a:pt x="1933233" y="199530"/>
                  </a:lnTo>
                  <a:lnTo>
                    <a:pt x="1933233" y="200228"/>
                  </a:lnTo>
                  <a:lnTo>
                    <a:pt x="1933233" y="199530"/>
                  </a:lnTo>
                  <a:lnTo>
                    <a:pt x="1933233" y="200228"/>
                  </a:lnTo>
                  <a:lnTo>
                    <a:pt x="1933233" y="199530"/>
                  </a:lnTo>
                  <a:lnTo>
                    <a:pt x="1933233" y="200228"/>
                  </a:lnTo>
                  <a:lnTo>
                    <a:pt x="1933334" y="199530"/>
                  </a:lnTo>
                  <a:lnTo>
                    <a:pt x="1933334" y="200228"/>
                  </a:lnTo>
                  <a:lnTo>
                    <a:pt x="1933334" y="199530"/>
                  </a:lnTo>
                  <a:lnTo>
                    <a:pt x="1933385" y="199530"/>
                  </a:lnTo>
                  <a:lnTo>
                    <a:pt x="1933385" y="200228"/>
                  </a:lnTo>
                  <a:lnTo>
                    <a:pt x="1933385" y="199530"/>
                  </a:lnTo>
                  <a:lnTo>
                    <a:pt x="1933385" y="200876"/>
                  </a:lnTo>
                  <a:lnTo>
                    <a:pt x="1933385" y="200228"/>
                  </a:lnTo>
                  <a:lnTo>
                    <a:pt x="1933385" y="200876"/>
                  </a:lnTo>
                  <a:lnTo>
                    <a:pt x="1933385" y="200228"/>
                  </a:lnTo>
                  <a:lnTo>
                    <a:pt x="1933385" y="200876"/>
                  </a:lnTo>
                  <a:lnTo>
                    <a:pt x="1933385" y="200228"/>
                  </a:lnTo>
                  <a:lnTo>
                    <a:pt x="1933436" y="200228"/>
                  </a:lnTo>
                  <a:lnTo>
                    <a:pt x="1933436" y="200876"/>
                  </a:lnTo>
                  <a:lnTo>
                    <a:pt x="1933436" y="199530"/>
                  </a:lnTo>
                  <a:lnTo>
                    <a:pt x="1933436" y="200876"/>
                  </a:lnTo>
                  <a:lnTo>
                    <a:pt x="1933436" y="200228"/>
                  </a:lnTo>
                  <a:lnTo>
                    <a:pt x="1933537" y="200228"/>
                  </a:lnTo>
                  <a:lnTo>
                    <a:pt x="1933537" y="198831"/>
                  </a:lnTo>
                  <a:lnTo>
                    <a:pt x="1933537" y="199530"/>
                  </a:lnTo>
                  <a:lnTo>
                    <a:pt x="1933537" y="198831"/>
                  </a:lnTo>
                  <a:lnTo>
                    <a:pt x="1933575" y="197447"/>
                  </a:lnTo>
                  <a:lnTo>
                    <a:pt x="1933575" y="196113"/>
                  </a:lnTo>
                  <a:lnTo>
                    <a:pt x="1933626" y="196113"/>
                  </a:lnTo>
                  <a:lnTo>
                    <a:pt x="1933626" y="197447"/>
                  </a:lnTo>
                  <a:lnTo>
                    <a:pt x="1933626" y="196113"/>
                  </a:lnTo>
                  <a:lnTo>
                    <a:pt x="1933626" y="197447"/>
                  </a:lnTo>
                  <a:lnTo>
                    <a:pt x="1933677" y="198831"/>
                  </a:lnTo>
                  <a:lnTo>
                    <a:pt x="1933677" y="197447"/>
                  </a:lnTo>
                  <a:lnTo>
                    <a:pt x="1933677" y="198831"/>
                  </a:lnTo>
                  <a:lnTo>
                    <a:pt x="1933677" y="197447"/>
                  </a:lnTo>
                  <a:lnTo>
                    <a:pt x="1933677" y="199530"/>
                  </a:lnTo>
                  <a:lnTo>
                    <a:pt x="1933779" y="199530"/>
                  </a:lnTo>
                  <a:lnTo>
                    <a:pt x="1933779" y="198831"/>
                  </a:lnTo>
                  <a:lnTo>
                    <a:pt x="1933779" y="199530"/>
                  </a:lnTo>
                  <a:lnTo>
                    <a:pt x="1933779" y="198831"/>
                  </a:lnTo>
                  <a:lnTo>
                    <a:pt x="1933779" y="199530"/>
                  </a:lnTo>
                  <a:lnTo>
                    <a:pt x="1933830" y="199530"/>
                  </a:lnTo>
                  <a:lnTo>
                    <a:pt x="1933830" y="198831"/>
                  </a:lnTo>
                  <a:lnTo>
                    <a:pt x="1933830" y="199530"/>
                  </a:lnTo>
                  <a:lnTo>
                    <a:pt x="1933830" y="198831"/>
                  </a:lnTo>
                  <a:lnTo>
                    <a:pt x="1933830" y="200228"/>
                  </a:lnTo>
                  <a:lnTo>
                    <a:pt x="1933880" y="200876"/>
                  </a:lnTo>
                  <a:lnTo>
                    <a:pt x="1933880" y="200228"/>
                  </a:lnTo>
                  <a:lnTo>
                    <a:pt x="1933880" y="200876"/>
                  </a:lnTo>
                  <a:lnTo>
                    <a:pt x="1933880" y="200228"/>
                  </a:lnTo>
                  <a:lnTo>
                    <a:pt x="1933880" y="200876"/>
                  </a:lnTo>
                  <a:lnTo>
                    <a:pt x="1933880" y="200228"/>
                  </a:lnTo>
                  <a:lnTo>
                    <a:pt x="1933880" y="200876"/>
                  </a:lnTo>
                  <a:lnTo>
                    <a:pt x="1933982" y="200876"/>
                  </a:lnTo>
                  <a:lnTo>
                    <a:pt x="1933982" y="200228"/>
                  </a:lnTo>
                  <a:lnTo>
                    <a:pt x="1933982" y="200876"/>
                  </a:lnTo>
                  <a:lnTo>
                    <a:pt x="1933982" y="199530"/>
                  </a:lnTo>
                  <a:lnTo>
                    <a:pt x="1933982" y="200228"/>
                  </a:lnTo>
                  <a:lnTo>
                    <a:pt x="1933982" y="199530"/>
                  </a:lnTo>
                  <a:lnTo>
                    <a:pt x="1934033" y="199530"/>
                  </a:lnTo>
                  <a:lnTo>
                    <a:pt x="1934033" y="200228"/>
                  </a:lnTo>
                  <a:lnTo>
                    <a:pt x="1934033" y="197447"/>
                  </a:lnTo>
                  <a:lnTo>
                    <a:pt x="1934084" y="197447"/>
                  </a:lnTo>
                  <a:lnTo>
                    <a:pt x="1934084" y="196799"/>
                  </a:lnTo>
                  <a:lnTo>
                    <a:pt x="1934084" y="197447"/>
                  </a:lnTo>
                  <a:lnTo>
                    <a:pt x="1934084" y="196799"/>
                  </a:lnTo>
                  <a:lnTo>
                    <a:pt x="1934084" y="198831"/>
                  </a:lnTo>
                  <a:lnTo>
                    <a:pt x="1934084" y="197447"/>
                  </a:lnTo>
                  <a:lnTo>
                    <a:pt x="1934122" y="197447"/>
                  </a:lnTo>
                  <a:lnTo>
                    <a:pt x="1934122" y="196799"/>
                  </a:lnTo>
                  <a:lnTo>
                    <a:pt x="1934122" y="199530"/>
                  </a:lnTo>
                  <a:lnTo>
                    <a:pt x="1934122" y="198831"/>
                  </a:lnTo>
                  <a:lnTo>
                    <a:pt x="1934223" y="198831"/>
                  </a:lnTo>
                  <a:lnTo>
                    <a:pt x="1934223" y="197447"/>
                  </a:lnTo>
                  <a:lnTo>
                    <a:pt x="1934223" y="198831"/>
                  </a:lnTo>
                  <a:lnTo>
                    <a:pt x="1934223" y="197447"/>
                  </a:lnTo>
                  <a:lnTo>
                    <a:pt x="1934223" y="199530"/>
                  </a:lnTo>
                  <a:lnTo>
                    <a:pt x="1934223" y="198831"/>
                  </a:lnTo>
                  <a:lnTo>
                    <a:pt x="1934223" y="199530"/>
                  </a:lnTo>
                  <a:lnTo>
                    <a:pt x="1934223" y="198831"/>
                  </a:lnTo>
                  <a:lnTo>
                    <a:pt x="1934325" y="198831"/>
                  </a:lnTo>
                  <a:lnTo>
                    <a:pt x="1934325" y="199530"/>
                  </a:lnTo>
                  <a:lnTo>
                    <a:pt x="1934426" y="199530"/>
                  </a:lnTo>
                  <a:lnTo>
                    <a:pt x="1934426" y="198831"/>
                  </a:lnTo>
                  <a:lnTo>
                    <a:pt x="1934426" y="199530"/>
                  </a:lnTo>
                  <a:lnTo>
                    <a:pt x="1934426" y="198831"/>
                  </a:lnTo>
                  <a:lnTo>
                    <a:pt x="1934426" y="199530"/>
                  </a:lnTo>
                  <a:lnTo>
                    <a:pt x="1934477" y="199530"/>
                  </a:lnTo>
                  <a:lnTo>
                    <a:pt x="1934477" y="198831"/>
                  </a:lnTo>
                  <a:lnTo>
                    <a:pt x="1934477" y="199530"/>
                  </a:lnTo>
                  <a:lnTo>
                    <a:pt x="1934477" y="198831"/>
                  </a:lnTo>
                  <a:lnTo>
                    <a:pt x="1934477" y="199530"/>
                  </a:lnTo>
                  <a:lnTo>
                    <a:pt x="1934477" y="198831"/>
                  </a:lnTo>
                  <a:lnTo>
                    <a:pt x="1934528" y="198831"/>
                  </a:lnTo>
                  <a:lnTo>
                    <a:pt x="1934528" y="196799"/>
                  </a:lnTo>
                  <a:lnTo>
                    <a:pt x="1934528" y="197447"/>
                  </a:lnTo>
                  <a:lnTo>
                    <a:pt x="1934528" y="196799"/>
                  </a:lnTo>
                  <a:lnTo>
                    <a:pt x="1934579" y="196799"/>
                  </a:lnTo>
                  <a:lnTo>
                    <a:pt x="1934579" y="199530"/>
                  </a:lnTo>
                  <a:lnTo>
                    <a:pt x="1934579" y="196799"/>
                  </a:lnTo>
                  <a:lnTo>
                    <a:pt x="1934668" y="197447"/>
                  </a:lnTo>
                  <a:lnTo>
                    <a:pt x="1934668" y="200876"/>
                  </a:lnTo>
                  <a:lnTo>
                    <a:pt x="1934668" y="198831"/>
                  </a:lnTo>
                  <a:lnTo>
                    <a:pt x="1934668" y="199530"/>
                  </a:lnTo>
                  <a:lnTo>
                    <a:pt x="1934719" y="199530"/>
                  </a:lnTo>
                  <a:lnTo>
                    <a:pt x="1934719" y="200228"/>
                  </a:lnTo>
                  <a:lnTo>
                    <a:pt x="1934719" y="199530"/>
                  </a:lnTo>
                  <a:lnTo>
                    <a:pt x="1934769" y="199530"/>
                  </a:lnTo>
                  <a:lnTo>
                    <a:pt x="1934769" y="200228"/>
                  </a:lnTo>
                  <a:lnTo>
                    <a:pt x="1934769" y="199530"/>
                  </a:lnTo>
                  <a:lnTo>
                    <a:pt x="1934769" y="200228"/>
                  </a:lnTo>
                  <a:lnTo>
                    <a:pt x="1934769" y="199530"/>
                  </a:lnTo>
                  <a:lnTo>
                    <a:pt x="1934769" y="200228"/>
                  </a:lnTo>
                  <a:lnTo>
                    <a:pt x="1934820" y="199530"/>
                  </a:lnTo>
                  <a:lnTo>
                    <a:pt x="1934820" y="200228"/>
                  </a:lnTo>
                  <a:lnTo>
                    <a:pt x="1934820" y="199530"/>
                  </a:lnTo>
                  <a:lnTo>
                    <a:pt x="1934820" y="200228"/>
                  </a:lnTo>
                  <a:lnTo>
                    <a:pt x="1934922" y="200228"/>
                  </a:lnTo>
                  <a:lnTo>
                    <a:pt x="1934922" y="199530"/>
                  </a:lnTo>
                  <a:lnTo>
                    <a:pt x="1934922" y="200228"/>
                  </a:lnTo>
                  <a:lnTo>
                    <a:pt x="1934922" y="199530"/>
                  </a:lnTo>
                  <a:lnTo>
                    <a:pt x="1934972" y="199530"/>
                  </a:lnTo>
                  <a:lnTo>
                    <a:pt x="1934972" y="198831"/>
                  </a:lnTo>
                  <a:lnTo>
                    <a:pt x="1934972" y="199530"/>
                  </a:lnTo>
                  <a:lnTo>
                    <a:pt x="1934972" y="198831"/>
                  </a:lnTo>
                  <a:lnTo>
                    <a:pt x="1934972" y="199530"/>
                  </a:lnTo>
                  <a:lnTo>
                    <a:pt x="1934972" y="198831"/>
                  </a:lnTo>
                  <a:lnTo>
                    <a:pt x="1934972" y="199530"/>
                  </a:lnTo>
                  <a:lnTo>
                    <a:pt x="1934972" y="198831"/>
                  </a:lnTo>
                  <a:lnTo>
                    <a:pt x="1935023" y="198831"/>
                  </a:lnTo>
                  <a:lnTo>
                    <a:pt x="1935023" y="196113"/>
                  </a:lnTo>
                  <a:lnTo>
                    <a:pt x="1935023" y="197447"/>
                  </a:lnTo>
                  <a:lnTo>
                    <a:pt x="1935125" y="198831"/>
                  </a:lnTo>
                  <a:lnTo>
                    <a:pt x="1935125" y="199530"/>
                  </a:lnTo>
                  <a:lnTo>
                    <a:pt x="1935125" y="196799"/>
                  </a:lnTo>
                  <a:lnTo>
                    <a:pt x="1935125" y="200228"/>
                  </a:lnTo>
                  <a:lnTo>
                    <a:pt x="1935163" y="200876"/>
                  </a:lnTo>
                  <a:lnTo>
                    <a:pt x="1935163" y="198831"/>
                  </a:lnTo>
                  <a:lnTo>
                    <a:pt x="1935163" y="199530"/>
                  </a:lnTo>
                  <a:lnTo>
                    <a:pt x="1935163" y="198831"/>
                  </a:lnTo>
                  <a:lnTo>
                    <a:pt x="1935163" y="200228"/>
                  </a:lnTo>
                  <a:lnTo>
                    <a:pt x="1935214" y="200228"/>
                  </a:lnTo>
                  <a:lnTo>
                    <a:pt x="1935214" y="198831"/>
                  </a:lnTo>
                  <a:lnTo>
                    <a:pt x="1935214" y="200228"/>
                  </a:lnTo>
                  <a:lnTo>
                    <a:pt x="1935265" y="200228"/>
                  </a:lnTo>
                  <a:lnTo>
                    <a:pt x="1935265" y="199530"/>
                  </a:lnTo>
                  <a:lnTo>
                    <a:pt x="1935265" y="200228"/>
                  </a:lnTo>
                  <a:lnTo>
                    <a:pt x="1935265" y="199530"/>
                  </a:lnTo>
                  <a:lnTo>
                    <a:pt x="1935265" y="200876"/>
                  </a:lnTo>
                  <a:lnTo>
                    <a:pt x="1935265" y="200228"/>
                  </a:lnTo>
                  <a:lnTo>
                    <a:pt x="1935366" y="200228"/>
                  </a:lnTo>
                  <a:lnTo>
                    <a:pt x="1935366" y="199530"/>
                  </a:lnTo>
                  <a:lnTo>
                    <a:pt x="1935417" y="199530"/>
                  </a:lnTo>
                  <a:lnTo>
                    <a:pt x="1935417" y="198831"/>
                  </a:lnTo>
                  <a:lnTo>
                    <a:pt x="1935417" y="199530"/>
                  </a:lnTo>
                  <a:lnTo>
                    <a:pt x="1935417" y="198831"/>
                  </a:lnTo>
                  <a:lnTo>
                    <a:pt x="1935468" y="198831"/>
                  </a:lnTo>
                  <a:lnTo>
                    <a:pt x="1935468" y="196799"/>
                  </a:lnTo>
                  <a:lnTo>
                    <a:pt x="1935569" y="196799"/>
                  </a:lnTo>
                  <a:lnTo>
                    <a:pt x="1935569" y="195415"/>
                  </a:lnTo>
                  <a:lnTo>
                    <a:pt x="1935569" y="196113"/>
                  </a:lnTo>
                  <a:lnTo>
                    <a:pt x="1935569" y="195415"/>
                  </a:lnTo>
                  <a:lnTo>
                    <a:pt x="1935569" y="196799"/>
                  </a:lnTo>
                  <a:lnTo>
                    <a:pt x="1935620" y="197447"/>
                  </a:lnTo>
                  <a:lnTo>
                    <a:pt x="1935620" y="196113"/>
                  </a:lnTo>
                  <a:lnTo>
                    <a:pt x="1935620" y="198831"/>
                  </a:lnTo>
                  <a:lnTo>
                    <a:pt x="1935671" y="198831"/>
                  </a:lnTo>
                  <a:lnTo>
                    <a:pt x="1935671" y="196799"/>
                  </a:lnTo>
                  <a:lnTo>
                    <a:pt x="1935671" y="198831"/>
                  </a:lnTo>
                  <a:lnTo>
                    <a:pt x="1935709" y="197447"/>
                  </a:lnTo>
                  <a:lnTo>
                    <a:pt x="1935709" y="198831"/>
                  </a:lnTo>
                  <a:lnTo>
                    <a:pt x="1935709" y="197447"/>
                  </a:lnTo>
                  <a:lnTo>
                    <a:pt x="1935709" y="199530"/>
                  </a:lnTo>
                  <a:lnTo>
                    <a:pt x="1935709" y="198831"/>
                  </a:lnTo>
                  <a:lnTo>
                    <a:pt x="1935709" y="199530"/>
                  </a:lnTo>
                  <a:lnTo>
                    <a:pt x="1935811" y="199530"/>
                  </a:lnTo>
                  <a:lnTo>
                    <a:pt x="1935811" y="198831"/>
                  </a:lnTo>
                  <a:lnTo>
                    <a:pt x="1935811" y="200228"/>
                  </a:lnTo>
                  <a:lnTo>
                    <a:pt x="1935811" y="199530"/>
                  </a:lnTo>
                  <a:lnTo>
                    <a:pt x="1935862" y="200228"/>
                  </a:lnTo>
                  <a:lnTo>
                    <a:pt x="1935862" y="199530"/>
                  </a:lnTo>
                  <a:lnTo>
                    <a:pt x="1935862" y="200228"/>
                  </a:lnTo>
                  <a:lnTo>
                    <a:pt x="1935912" y="200228"/>
                  </a:lnTo>
                  <a:lnTo>
                    <a:pt x="1935912" y="199530"/>
                  </a:lnTo>
                  <a:lnTo>
                    <a:pt x="1935912" y="200228"/>
                  </a:lnTo>
                  <a:lnTo>
                    <a:pt x="1935912" y="199530"/>
                  </a:lnTo>
                  <a:lnTo>
                    <a:pt x="1935912" y="200228"/>
                  </a:lnTo>
                  <a:lnTo>
                    <a:pt x="1935912" y="199530"/>
                  </a:lnTo>
                  <a:lnTo>
                    <a:pt x="1935912" y="200228"/>
                  </a:lnTo>
                  <a:lnTo>
                    <a:pt x="1935912" y="198831"/>
                  </a:lnTo>
                  <a:lnTo>
                    <a:pt x="1935912" y="199530"/>
                  </a:lnTo>
                  <a:lnTo>
                    <a:pt x="1935912" y="198831"/>
                  </a:lnTo>
                  <a:lnTo>
                    <a:pt x="1936014" y="198831"/>
                  </a:lnTo>
                  <a:lnTo>
                    <a:pt x="1936014" y="197447"/>
                  </a:lnTo>
                  <a:lnTo>
                    <a:pt x="1936014" y="198831"/>
                  </a:lnTo>
                  <a:lnTo>
                    <a:pt x="1936014" y="196799"/>
                  </a:lnTo>
                  <a:lnTo>
                    <a:pt x="1936065" y="196799"/>
                  </a:lnTo>
                  <a:lnTo>
                    <a:pt x="1936065" y="197447"/>
                  </a:lnTo>
                  <a:lnTo>
                    <a:pt x="1936065" y="195415"/>
                  </a:lnTo>
                  <a:lnTo>
                    <a:pt x="1936065" y="196799"/>
                  </a:lnTo>
                  <a:lnTo>
                    <a:pt x="1936115" y="196113"/>
                  </a:lnTo>
                  <a:lnTo>
                    <a:pt x="1936115" y="197447"/>
                  </a:lnTo>
                  <a:lnTo>
                    <a:pt x="1936166" y="196799"/>
                  </a:lnTo>
                  <a:lnTo>
                    <a:pt x="1936166" y="197447"/>
                  </a:lnTo>
                  <a:lnTo>
                    <a:pt x="1936166" y="196799"/>
                  </a:lnTo>
                  <a:lnTo>
                    <a:pt x="1936166" y="197447"/>
                  </a:lnTo>
                  <a:lnTo>
                    <a:pt x="1936166" y="196799"/>
                  </a:lnTo>
                  <a:lnTo>
                    <a:pt x="1936166" y="197447"/>
                  </a:lnTo>
                  <a:lnTo>
                    <a:pt x="1936255" y="197447"/>
                  </a:lnTo>
                  <a:lnTo>
                    <a:pt x="1936255" y="196799"/>
                  </a:lnTo>
                  <a:lnTo>
                    <a:pt x="1936255" y="199530"/>
                  </a:lnTo>
                  <a:lnTo>
                    <a:pt x="1936255" y="198831"/>
                  </a:lnTo>
                  <a:lnTo>
                    <a:pt x="1936306" y="198831"/>
                  </a:lnTo>
                  <a:lnTo>
                    <a:pt x="1936306" y="200228"/>
                  </a:lnTo>
                  <a:lnTo>
                    <a:pt x="1936306" y="198831"/>
                  </a:lnTo>
                  <a:lnTo>
                    <a:pt x="1936357" y="198831"/>
                  </a:lnTo>
                  <a:lnTo>
                    <a:pt x="1936357" y="200228"/>
                  </a:lnTo>
                  <a:lnTo>
                    <a:pt x="1936357" y="199530"/>
                  </a:lnTo>
                  <a:lnTo>
                    <a:pt x="1936357" y="200228"/>
                  </a:lnTo>
                  <a:lnTo>
                    <a:pt x="1936357" y="198831"/>
                  </a:lnTo>
                  <a:lnTo>
                    <a:pt x="1936357" y="199530"/>
                  </a:lnTo>
                  <a:lnTo>
                    <a:pt x="1936357" y="198831"/>
                  </a:lnTo>
                  <a:lnTo>
                    <a:pt x="1936408" y="198831"/>
                  </a:lnTo>
                  <a:lnTo>
                    <a:pt x="1936408" y="199530"/>
                  </a:lnTo>
                  <a:lnTo>
                    <a:pt x="1936408" y="198831"/>
                  </a:lnTo>
                  <a:lnTo>
                    <a:pt x="1936509" y="198831"/>
                  </a:lnTo>
                  <a:lnTo>
                    <a:pt x="1936509" y="196799"/>
                  </a:lnTo>
                  <a:lnTo>
                    <a:pt x="1936560" y="196799"/>
                  </a:lnTo>
                  <a:lnTo>
                    <a:pt x="1936560" y="196113"/>
                  </a:lnTo>
                  <a:lnTo>
                    <a:pt x="1936560" y="196799"/>
                  </a:lnTo>
                  <a:lnTo>
                    <a:pt x="1936560" y="196113"/>
                  </a:lnTo>
                  <a:lnTo>
                    <a:pt x="1936560" y="196799"/>
                  </a:lnTo>
                  <a:lnTo>
                    <a:pt x="1936560" y="195415"/>
                  </a:lnTo>
                  <a:lnTo>
                    <a:pt x="1936560" y="196799"/>
                  </a:lnTo>
                  <a:lnTo>
                    <a:pt x="1936611" y="196799"/>
                  </a:lnTo>
                  <a:lnTo>
                    <a:pt x="1936611" y="194716"/>
                  </a:lnTo>
                  <a:lnTo>
                    <a:pt x="1936611" y="197447"/>
                  </a:lnTo>
                  <a:lnTo>
                    <a:pt x="1936611" y="196799"/>
                  </a:lnTo>
                  <a:lnTo>
                    <a:pt x="1936712" y="196799"/>
                  </a:lnTo>
                  <a:lnTo>
                    <a:pt x="1936712" y="195415"/>
                  </a:lnTo>
                  <a:lnTo>
                    <a:pt x="1936712" y="196799"/>
                  </a:lnTo>
                  <a:lnTo>
                    <a:pt x="1936750" y="196799"/>
                  </a:lnTo>
                  <a:lnTo>
                    <a:pt x="1936750" y="196113"/>
                  </a:lnTo>
                  <a:lnTo>
                    <a:pt x="1936750" y="197447"/>
                  </a:lnTo>
                  <a:lnTo>
                    <a:pt x="1936801" y="198831"/>
                  </a:lnTo>
                  <a:lnTo>
                    <a:pt x="1936801" y="197447"/>
                  </a:lnTo>
                  <a:lnTo>
                    <a:pt x="1936801" y="198831"/>
                  </a:lnTo>
                  <a:lnTo>
                    <a:pt x="1936801" y="197447"/>
                  </a:lnTo>
                  <a:lnTo>
                    <a:pt x="1936801" y="198831"/>
                  </a:lnTo>
                  <a:lnTo>
                    <a:pt x="1936801" y="197447"/>
                  </a:lnTo>
                  <a:lnTo>
                    <a:pt x="1936801" y="198831"/>
                  </a:lnTo>
                  <a:lnTo>
                    <a:pt x="1936852" y="198831"/>
                  </a:lnTo>
                  <a:lnTo>
                    <a:pt x="1936852" y="199530"/>
                  </a:lnTo>
                  <a:lnTo>
                    <a:pt x="1936852" y="198831"/>
                  </a:lnTo>
                  <a:lnTo>
                    <a:pt x="1936954" y="198831"/>
                  </a:lnTo>
                  <a:lnTo>
                    <a:pt x="1936954" y="199530"/>
                  </a:lnTo>
                  <a:lnTo>
                    <a:pt x="1936954" y="198831"/>
                  </a:lnTo>
                  <a:lnTo>
                    <a:pt x="1936954" y="199530"/>
                  </a:lnTo>
                  <a:lnTo>
                    <a:pt x="1936954" y="198831"/>
                  </a:lnTo>
                  <a:lnTo>
                    <a:pt x="1937005" y="198831"/>
                  </a:lnTo>
                  <a:lnTo>
                    <a:pt x="1937005" y="197447"/>
                  </a:lnTo>
                  <a:lnTo>
                    <a:pt x="1937005" y="198831"/>
                  </a:lnTo>
                  <a:lnTo>
                    <a:pt x="1937005" y="196799"/>
                  </a:lnTo>
                  <a:lnTo>
                    <a:pt x="1937055" y="196799"/>
                  </a:lnTo>
                  <a:lnTo>
                    <a:pt x="1937055" y="197447"/>
                  </a:lnTo>
                  <a:lnTo>
                    <a:pt x="1937055" y="196113"/>
                  </a:lnTo>
                  <a:lnTo>
                    <a:pt x="1937157" y="195415"/>
                  </a:lnTo>
                  <a:lnTo>
                    <a:pt x="1937157" y="197447"/>
                  </a:lnTo>
                  <a:lnTo>
                    <a:pt x="1937157" y="196799"/>
                  </a:lnTo>
                  <a:lnTo>
                    <a:pt x="1937157" y="197447"/>
                  </a:lnTo>
                  <a:lnTo>
                    <a:pt x="1937157" y="196799"/>
                  </a:lnTo>
                  <a:lnTo>
                    <a:pt x="1937208" y="196799"/>
                  </a:lnTo>
                  <a:lnTo>
                    <a:pt x="1937208" y="197447"/>
                  </a:lnTo>
                  <a:lnTo>
                    <a:pt x="1937208" y="196799"/>
                  </a:lnTo>
                  <a:lnTo>
                    <a:pt x="1937259" y="196799"/>
                  </a:lnTo>
                  <a:lnTo>
                    <a:pt x="1937259" y="198831"/>
                  </a:lnTo>
                  <a:lnTo>
                    <a:pt x="1937259" y="197447"/>
                  </a:lnTo>
                  <a:lnTo>
                    <a:pt x="1937297" y="197447"/>
                  </a:lnTo>
                  <a:lnTo>
                    <a:pt x="1937297" y="196799"/>
                  </a:lnTo>
                  <a:lnTo>
                    <a:pt x="1937297" y="197447"/>
                  </a:lnTo>
                  <a:lnTo>
                    <a:pt x="1937398" y="197447"/>
                  </a:lnTo>
                  <a:lnTo>
                    <a:pt x="1937398" y="198831"/>
                  </a:lnTo>
                  <a:lnTo>
                    <a:pt x="1937398" y="197447"/>
                  </a:lnTo>
                  <a:lnTo>
                    <a:pt x="1937398" y="198831"/>
                  </a:lnTo>
                  <a:lnTo>
                    <a:pt x="1937398" y="197447"/>
                  </a:lnTo>
                  <a:lnTo>
                    <a:pt x="1937449" y="198831"/>
                  </a:lnTo>
                  <a:lnTo>
                    <a:pt x="1937449" y="196799"/>
                  </a:lnTo>
                  <a:lnTo>
                    <a:pt x="1937449" y="197447"/>
                  </a:lnTo>
                  <a:lnTo>
                    <a:pt x="1937500" y="196799"/>
                  </a:lnTo>
                  <a:lnTo>
                    <a:pt x="1937500" y="197447"/>
                  </a:lnTo>
                  <a:lnTo>
                    <a:pt x="1937500" y="196799"/>
                  </a:lnTo>
                  <a:lnTo>
                    <a:pt x="1937500" y="197447"/>
                  </a:lnTo>
                  <a:lnTo>
                    <a:pt x="1937500" y="196799"/>
                  </a:lnTo>
                  <a:lnTo>
                    <a:pt x="1937500" y="197447"/>
                  </a:lnTo>
                  <a:lnTo>
                    <a:pt x="1937500" y="196113"/>
                  </a:lnTo>
                  <a:lnTo>
                    <a:pt x="1937500" y="197447"/>
                  </a:lnTo>
                  <a:lnTo>
                    <a:pt x="1937601" y="197447"/>
                  </a:lnTo>
                  <a:lnTo>
                    <a:pt x="1937601" y="198831"/>
                  </a:lnTo>
                  <a:lnTo>
                    <a:pt x="1937601" y="196799"/>
                  </a:lnTo>
                  <a:lnTo>
                    <a:pt x="1937601" y="197447"/>
                  </a:lnTo>
                  <a:lnTo>
                    <a:pt x="1937601" y="196799"/>
                  </a:lnTo>
                  <a:lnTo>
                    <a:pt x="1937601" y="200228"/>
                  </a:lnTo>
                  <a:lnTo>
                    <a:pt x="1937652" y="200228"/>
                  </a:lnTo>
                  <a:lnTo>
                    <a:pt x="1937652" y="197447"/>
                  </a:lnTo>
                  <a:lnTo>
                    <a:pt x="1937652" y="199530"/>
                  </a:lnTo>
                  <a:lnTo>
                    <a:pt x="1937652" y="198831"/>
                  </a:lnTo>
                  <a:lnTo>
                    <a:pt x="1937652" y="200228"/>
                  </a:lnTo>
                  <a:lnTo>
                    <a:pt x="1937703" y="199530"/>
                  </a:lnTo>
                  <a:lnTo>
                    <a:pt x="1937703" y="198831"/>
                  </a:lnTo>
                  <a:lnTo>
                    <a:pt x="1937703" y="200228"/>
                  </a:lnTo>
                  <a:lnTo>
                    <a:pt x="1937703" y="199530"/>
                  </a:lnTo>
                  <a:lnTo>
                    <a:pt x="1937754" y="199530"/>
                  </a:lnTo>
                  <a:lnTo>
                    <a:pt x="1937754" y="200228"/>
                  </a:lnTo>
                  <a:lnTo>
                    <a:pt x="1937754" y="199530"/>
                  </a:lnTo>
                  <a:lnTo>
                    <a:pt x="1937843" y="199530"/>
                  </a:lnTo>
                  <a:lnTo>
                    <a:pt x="1937843" y="198831"/>
                  </a:lnTo>
                  <a:lnTo>
                    <a:pt x="1937843" y="199530"/>
                  </a:lnTo>
                  <a:lnTo>
                    <a:pt x="1937843" y="198831"/>
                  </a:lnTo>
                  <a:lnTo>
                    <a:pt x="1937843" y="199530"/>
                  </a:lnTo>
                  <a:lnTo>
                    <a:pt x="1937894" y="198831"/>
                  </a:lnTo>
                  <a:lnTo>
                    <a:pt x="1937894" y="199530"/>
                  </a:lnTo>
                  <a:lnTo>
                    <a:pt x="1937894" y="198831"/>
                  </a:lnTo>
                  <a:lnTo>
                    <a:pt x="1937944" y="198831"/>
                  </a:lnTo>
                  <a:lnTo>
                    <a:pt x="1937944" y="197447"/>
                  </a:lnTo>
                  <a:lnTo>
                    <a:pt x="1937944" y="198831"/>
                  </a:lnTo>
                  <a:lnTo>
                    <a:pt x="1937944" y="197447"/>
                  </a:lnTo>
                  <a:lnTo>
                    <a:pt x="1937944" y="198831"/>
                  </a:lnTo>
                  <a:lnTo>
                    <a:pt x="1937944" y="196799"/>
                  </a:lnTo>
                  <a:lnTo>
                    <a:pt x="1937995" y="196799"/>
                  </a:lnTo>
                  <a:lnTo>
                    <a:pt x="1937995" y="198831"/>
                  </a:lnTo>
                  <a:lnTo>
                    <a:pt x="1938097" y="197447"/>
                  </a:lnTo>
                  <a:lnTo>
                    <a:pt x="1938097" y="196799"/>
                  </a:lnTo>
                  <a:lnTo>
                    <a:pt x="1938097" y="200228"/>
                  </a:lnTo>
                  <a:lnTo>
                    <a:pt x="1938097" y="198831"/>
                  </a:lnTo>
                  <a:lnTo>
                    <a:pt x="1938147" y="198831"/>
                  </a:lnTo>
                  <a:lnTo>
                    <a:pt x="1938147" y="200876"/>
                  </a:lnTo>
                  <a:lnTo>
                    <a:pt x="1938147" y="199530"/>
                  </a:lnTo>
                  <a:lnTo>
                    <a:pt x="1938198" y="199530"/>
                  </a:lnTo>
                  <a:lnTo>
                    <a:pt x="1938198" y="200876"/>
                  </a:lnTo>
                  <a:lnTo>
                    <a:pt x="1938198" y="200228"/>
                  </a:lnTo>
                  <a:lnTo>
                    <a:pt x="1938300" y="200228"/>
                  </a:lnTo>
                  <a:lnTo>
                    <a:pt x="1938300" y="200876"/>
                  </a:lnTo>
                  <a:lnTo>
                    <a:pt x="1938300" y="200228"/>
                  </a:lnTo>
                  <a:lnTo>
                    <a:pt x="1938300" y="200876"/>
                  </a:lnTo>
                  <a:lnTo>
                    <a:pt x="1938338" y="200876"/>
                  </a:lnTo>
                  <a:lnTo>
                    <a:pt x="1938338" y="199530"/>
                  </a:lnTo>
                  <a:lnTo>
                    <a:pt x="1938338" y="200228"/>
                  </a:lnTo>
                  <a:lnTo>
                    <a:pt x="1938389" y="199530"/>
                  </a:lnTo>
                  <a:lnTo>
                    <a:pt x="1938389" y="197447"/>
                  </a:lnTo>
                  <a:lnTo>
                    <a:pt x="1938440" y="197447"/>
                  </a:lnTo>
                  <a:lnTo>
                    <a:pt x="1938440" y="196113"/>
                  </a:lnTo>
                  <a:lnTo>
                    <a:pt x="1938541" y="196113"/>
                  </a:lnTo>
                  <a:lnTo>
                    <a:pt x="1938541" y="197447"/>
                  </a:lnTo>
                  <a:lnTo>
                    <a:pt x="1938541" y="196799"/>
                  </a:lnTo>
                  <a:lnTo>
                    <a:pt x="1938541" y="197447"/>
                  </a:lnTo>
                  <a:lnTo>
                    <a:pt x="1938541" y="196113"/>
                  </a:lnTo>
                  <a:lnTo>
                    <a:pt x="1938592" y="196113"/>
                  </a:lnTo>
                  <a:lnTo>
                    <a:pt x="1938592" y="199530"/>
                  </a:lnTo>
                  <a:lnTo>
                    <a:pt x="1938592" y="197447"/>
                  </a:lnTo>
                  <a:lnTo>
                    <a:pt x="1938643" y="197447"/>
                  </a:lnTo>
                  <a:lnTo>
                    <a:pt x="1938643" y="199530"/>
                  </a:lnTo>
                  <a:lnTo>
                    <a:pt x="1938643" y="197447"/>
                  </a:lnTo>
                  <a:lnTo>
                    <a:pt x="1938643" y="198831"/>
                  </a:lnTo>
                  <a:lnTo>
                    <a:pt x="1938744" y="198831"/>
                  </a:lnTo>
                  <a:lnTo>
                    <a:pt x="1938744" y="199530"/>
                  </a:lnTo>
                  <a:lnTo>
                    <a:pt x="1938744" y="198831"/>
                  </a:lnTo>
                  <a:lnTo>
                    <a:pt x="1938744" y="199530"/>
                  </a:lnTo>
                  <a:lnTo>
                    <a:pt x="1938795" y="200228"/>
                  </a:lnTo>
                  <a:lnTo>
                    <a:pt x="1938795" y="199530"/>
                  </a:lnTo>
                  <a:lnTo>
                    <a:pt x="1938795" y="200228"/>
                  </a:lnTo>
                  <a:lnTo>
                    <a:pt x="1938795" y="199530"/>
                  </a:lnTo>
                  <a:lnTo>
                    <a:pt x="1938795" y="200228"/>
                  </a:lnTo>
                  <a:lnTo>
                    <a:pt x="1938846" y="200228"/>
                  </a:lnTo>
                  <a:lnTo>
                    <a:pt x="1938846" y="199530"/>
                  </a:lnTo>
                  <a:lnTo>
                    <a:pt x="1938846" y="200228"/>
                  </a:lnTo>
                  <a:lnTo>
                    <a:pt x="1938846" y="199530"/>
                  </a:lnTo>
                  <a:lnTo>
                    <a:pt x="1938884" y="199530"/>
                  </a:lnTo>
                  <a:lnTo>
                    <a:pt x="1938884" y="198831"/>
                  </a:lnTo>
                  <a:lnTo>
                    <a:pt x="1938884" y="199530"/>
                  </a:lnTo>
                  <a:lnTo>
                    <a:pt x="1938884" y="198831"/>
                  </a:lnTo>
                  <a:lnTo>
                    <a:pt x="1938986" y="197447"/>
                  </a:lnTo>
                  <a:lnTo>
                    <a:pt x="1938986" y="196799"/>
                  </a:lnTo>
                  <a:lnTo>
                    <a:pt x="1938986" y="197447"/>
                  </a:lnTo>
                  <a:lnTo>
                    <a:pt x="1939037" y="197447"/>
                  </a:lnTo>
                  <a:lnTo>
                    <a:pt x="1939037" y="198831"/>
                  </a:lnTo>
                  <a:lnTo>
                    <a:pt x="1939087" y="198831"/>
                  </a:lnTo>
                  <a:lnTo>
                    <a:pt x="1939087" y="197447"/>
                  </a:lnTo>
                  <a:lnTo>
                    <a:pt x="1939087" y="198831"/>
                  </a:lnTo>
                  <a:lnTo>
                    <a:pt x="1939087" y="197447"/>
                  </a:lnTo>
                  <a:lnTo>
                    <a:pt x="1939087" y="198831"/>
                  </a:lnTo>
                  <a:lnTo>
                    <a:pt x="1939189" y="198831"/>
                  </a:lnTo>
                  <a:lnTo>
                    <a:pt x="1939189" y="199530"/>
                  </a:lnTo>
                  <a:lnTo>
                    <a:pt x="1939189" y="198831"/>
                  </a:lnTo>
                  <a:lnTo>
                    <a:pt x="1939189" y="199530"/>
                  </a:lnTo>
                  <a:lnTo>
                    <a:pt x="1939189" y="198831"/>
                  </a:lnTo>
                  <a:lnTo>
                    <a:pt x="1939189" y="199530"/>
                  </a:lnTo>
                  <a:lnTo>
                    <a:pt x="1939189" y="198831"/>
                  </a:lnTo>
                  <a:lnTo>
                    <a:pt x="1939240" y="198831"/>
                  </a:lnTo>
                  <a:lnTo>
                    <a:pt x="1939240" y="199530"/>
                  </a:lnTo>
                  <a:lnTo>
                    <a:pt x="1939240" y="198831"/>
                  </a:lnTo>
                  <a:lnTo>
                    <a:pt x="1939240" y="199530"/>
                  </a:lnTo>
                  <a:lnTo>
                    <a:pt x="1939240" y="198831"/>
                  </a:lnTo>
                  <a:lnTo>
                    <a:pt x="1939240" y="199530"/>
                  </a:lnTo>
                  <a:lnTo>
                    <a:pt x="1939240" y="198831"/>
                  </a:lnTo>
                  <a:lnTo>
                    <a:pt x="1939240" y="199530"/>
                  </a:lnTo>
                  <a:lnTo>
                    <a:pt x="1939290" y="199530"/>
                  </a:lnTo>
                  <a:lnTo>
                    <a:pt x="1939290" y="200228"/>
                  </a:lnTo>
                  <a:lnTo>
                    <a:pt x="1939290" y="198831"/>
                  </a:lnTo>
                  <a:lnTo>
                    <a:pt x="1939290" y="200228"/>
                  </a:lnTo>
                  <a:lnTo>
                    <a:pt x="1939290" y="199530"/>
                  </a:lnTo>
                  <a:lnTo>
                    <a:pt x="1939290" y="200228"/>
                  </a:lnTo>
                  <a:lnTo>
                    <a:pt x="1939290" y="199530"/>
                  </a:lnTo>
                  <a:lnTo>
                    <a:pt x="1939341" y="199530"/>
                  </a:lnTo>
                  <a:lnTo>
                    <a:pt x="1939341" y="200228"/>
                  </a:lnTo>
                  <a:lnTo>
                    <a:pt x="1939341" y="198831"/>
                  </a:lnTo>
                  <a:lnTo>
                    <a:pt x="1939341" y="199530"/>
                  </a:lnTo>
                  <a:lnTo>
                    <a:pt x="1939341" y="198831"/>
                  </a:lnTo>
                  <a:lnTo>
                    <a:pt x="1939341" y="199530"/>
                  </a:lnTo>
                  <a:lnTo>
                    <a:pt x="1939341" y="198831"/>
                  </a:lnTo>
                  <a:lnTo>
                    <a:pt x="1939430" y="198831"/>
                  </a:lnTo>
                  <a:lnTo>
                    <a:pt x="1939430" y="197447"/>
                  </a:lnTo>
                  <a:lnTo>
                    <a:pt x="1939481" y="197447"/>
                  </a:lnTo>
                  <a:lnTo>
                    <a:pt x="1939481" y="195415"/>
                  </a:lnTo>
                  <a:lnTo>
                    <a:pt x="1939481" y="196113"/>
                  </a:lnTo>
                  <a:lnTo>
                    <a:pt x="1939481" y="195415"/>
                  </a:lnTo>
                  <a:lnTo>
                    <a:pt x="1939481" y="196113"/>
                  </a:lnTo>
                  <a:lnTo>
                    <a:pt x="1939532" y="196799"/>
                  </a:lnTo>
                  <a:lnTo>
                    <a:pt x="1939532" y="195415"/>
                  </a:lnTo>
                  <a:lnTo>
                    <a:pt x="1939532" y="197447"/>
                  </a:lnTo>
                  <a:lnTo>
                    <a:pt x="1939583" y="198831"/>
                  </a:lnTo>
                  <a:lnTo>
                    <a:pt x="1939583" y="196799"/>
                  </a:lnTo>
                  <a:lnTo>
                    <a:pt x="1939583" y="197447"/>
                  </a:lnTo>
                  <a:lnTo>
                    <a:pt x="1939583" y="196799"/>
                  </a:lnTo>
                  <a:lnTo>
                    <a:pt x="1939583" y="198831"/>
                  </a:lnTo>
                  <a:lnTo>
                    <a:pt x="1939684" y="198831"/>
                  </a:lnTo>
                  <a:lnTo>
                    <a:pt x="1939684" y="196799"/>
                  </a:lnTo>
                  <a:lnTo>
                    <a:pt x="1939684" y="199530"/>
                  </a:lnTo>
                  <a:lnTo>
                    <a:pt x="1939684" y="198831"/>
                  </a:lnTo>
                  <a:lnTo>
                    <a:pt x="1939735" y="198831"/>
                  </a:lnTo>
                  <a:lnTo>
                    <a:pt x="1939735" y="199530"/>
                  </a:lnTo>
                  <a:lnTo>
                    <a:pt x="1939735" y="198831"/>
                  </a:lnTo>
                  <a:lnTo>
                    <a:pt x="1939735" y="199530"/>
                  </a:lnTo>
                  <a:lnTo>
                    <a:pt x="1939735" y="198831"/>
                  </a:lnTo>
                  <a:lnTo>
                    <a:pt x="1939735" y="199530"/>
                  </a:lnTo>
                  <a:lnTo>
                    <a:pt x="1939786" y="199530"/>
                  </a:lnTo>
                  <a:lnTo>
                    <a:pt x="1939786" y="198831"/>
                  </a:lnTo>
                  <a:lnTo>
                    <a:pt x="1939786" y="199530"/>
                  </a:lnTo>
                  <a:lnTo>
                    <a:pt x="1939786" y="198831"/>
                  </a:lnTo>
                  <a:lnTo>
                    <a:pt x="1939887" y="198831"/>
                  </a:lnTo>
                  <a:lnTo>
                    <a:pt x="1939887" y="199530"/>
                  </a:lnTo>
                  <a:lnTo>
                    <a:pt x="1939887" y="198831"/>
                  </a:lnTo>
                  <a:lnTo>
                    <a:pt x="1939887" y="199530"/>
                  </a:lnTo>
                  <a:lnTo>
                    <a:pt x="1939887" y="198831"/>
                  </a:lnTo>
                  <a:lnTo>
                    <a:pt x="1939887" y="199530"/>
                  </a:lnTo>
                  <a:lnTo>
                    <a:pt x="1939887" y="198831"/>
                  </a:lnTo>
                  <a:lnTo>
                    <a:pt x="1939887" y="199530"/>
                  </a:lnTo>
                  <a:lnTo>
                    <a:pt x="1939887" y="198831"/>
                  </a:lnTo>
                  <a:lnTo>
                    <a:pt x="1939925" y="198831"/>
                  </a:lnTo>
                  <a:lnTo>
                    <a:pt x="1939925" y="197447"/>
                  </a:lnTo>
                  <a:lnTo>
                    <a:pt x="1939925" y="198831"/>
                  </a:lnTo>
                  <a:lnTo>
                    <a:pt x="1939925" y="197447"/>
                  </a:lnTo>
                  <a:lnTo>
                    <a:pt x="1939925" y="198831"/>
                  </a:lnTo>
                  <a:lnTo>
                    <a:pt x="1939925" y="196799"/>
                  </a:lnTo>
                  <a:lnTo>
                    <a:pt x="1939976" y="196799"/>
                  </a:lnTo>
                  <a:lnTo>
                    <a:pt x="1939976" y="195415"/>
                  </a:lnTo>
                  <a:lnTo>
                    <a:pt x="1939976" y="196799"/>
                  </a:lnTo>
                  <a:lnTo>
                    <a:pt x="1940027" y="196799"/>
                  </a:lnTo>
                  <a:lnTo>
                    <a:pt x="1940027" y="195415"/>
                  </a:lnTo>
                  <a:lnTo>
                    <a:pt x="1940027" y="198831"/>
                  </a:lnTo>
                  <a:lnTo>
                    <a:pt x="1940027" y="196799"/>
                  </a:lnTo>
                  <a:lnTo>
                    <a:pt x="1940129" y="196799"/>
                  </a:lnTo>
                  <a:lnTo>
                    <a:pt x="1940129" y="196113"/>
                  </a:lnTo>
                  <a:lnTo>
                    <a:pt x="1940129" y="198831"/>
                  </a:lnTo>
                  <a:lnTo>
                    <a:pt x="1940129" y="196799"/>
                  </a:lnTo>
                  <a:lnTo>
                    <a:pt x="1940180" y="196799"/>
                  </a:lnTo>
                  <a:lnTo>
                    <a:pt x="1940180" y="197447"/>
                  </a:lnTo>
                  <a:lnTo>
                    <a:pt x="1940180" y="196799"/>
                  </a:lnTo>
                  <a:lnTo>
                    <a:pt x="1940180" y="197447"/>
                  </a:lnTo>
                  <a:lnTo>
                    <a:pt x="1940180" y="196799"/>
                  </a:lnTo>
                  <a:lnTo>
                    <a:pt x="1940230" y="196799"/>
                  </a:lnTo>
                  <a:lnTo>
                    <a:pt x="1940230" y="197447"/>
                  </a:lnTo>
                  <a:lnTo>
                    <a:pt x="1940230" y="196799"/>
                  </a:lnTo>
                  <a:lnTo>
                    <a:pt x="1940230" y="198831"/>
                  </a:lnTo>
                  <a:lnTo>
                    <a:pt x="1940230" y="197447"/>
                  </a:lnTo>
                  <a:lnTo>
                    <a:pt x="1940230" y="198831"/>
                  </a:lnTo>
                  <a:lnTo>
                    <a:pt x="1940332" y="198831"/>
                  </a:lnTo>
                  <a:lnTo>
                    <a:pt x="1940332" y="197447"/>
                  </a:lnTo>
                  <a:lnTo>
                    <a:pt x="1940332" y="198831"/>
                  </a:lnTo>
                  <a:lnTo>
                    <a:pt x="1940332" y="197447"/>
                  </a:lnTo>
                  <a:lnTo>
                    <a:pt x="1940383" y="197447"/>
                  </a:lnTo>
                  <a:lnTo>
                    <a:pt x="1940383" y="198831"/>
                  </a:lnTo>
                  <a:lnTo>
                    <a:pt x="1940383" y="197447"/>
                  </a:lnTo>
                  <a:lnTo>
                    <a:pt x="1940383" y="198831"/>
                  </a:lnTo>
                  <a:lnTo>
                    <a:pt x="1940383" y="197447"/>
                  </a:lnTo>
                  <a:lnTo>
                    <a:pt x="1940434" y="197447"/>
                  </a:lnTo>
                  <a:lnTo>
                    <a:pt x="1940434" y="196113"/>
                  </a:lnTo>
                  <a:lnTo>
                    <a:pt x="1940472" y="196113"/>
                  </a:lnTo>
                  <a:lnTo>
                    <a:pt x="1940472" y="195415"/>
                  </a:lnTo>
                  <a:lnTo>
                    <a:pt x="1940472" y="196799"/>
                  </a:lnTo>
                  <a:lnTo>
                    <a:pt x="1940472" y="196113"/>
                  </a:lnTo>
                  <a:lnTo>
                    <a:pt x="1940573" y="195415"/>
                  </a:lnTo>
                  <a:lnTo>
                    <a:pt x="1940573" y="196113"/>
                  </a:lnTo>
                  <a:lnTo>
                    <a:pt x="1940573" y="195415"/>
                  </a:lnTo>
                  <a:lnTo>
                    <a:pt x="1940573" y="198831"/>
                  </a:lnTo>
                  <a:lnTo>
                    <a:pt x="1940573" y="196799"/>
                  </a:lnTo>
                  <a:lnTo>
                    <a:pt x="1940624" y="196799"/>
                  </a:lnTo>
                  <a:lnTo>
                    <a:pt x="1940624" y="199530"/>
                  </a:lnTo>
                  <a:lnTo>
                    <a:pt x="1940624" y="197447"/>
                  </a:lnTo>
                  <a:lnTo>
                    <a:pt x="1940675" y="197447"/>
                  </a:lnTo>
                  <a:lnTo>
                    <a:pt x="1940675" y="196799"/>
                  </a:lnTo>
                  <a:lnTo>
                    <a:pt x="1940675" y="197447"/>
                  </a:lnTo>
                  <a:lnTo>
                    <a:pt x="1940675" y="196799"/>
                  </a:lnTo>
                  <a:lnTo>
                    <a:pt x="1940675" y="198831"/>
                  </a:lnTo>
                  <a:lnTo>
                    <a:pt x="1940675" y="197447"/>
                  </a:lnTo>
                  <a:lnTo>
                    <a:pt x="1940776" y="197447"/>
                  </a:lnTo>
                  <a:lnTo>
                    <a:pt x="1940776" y="198831"/>
                  </a:lnTo>
                  <a:lnTo>
                    <a:pt x="1940776" y="197447"/>
                  </a:lnTo>
                  <a:lnTo>
                    <a:pt x="1940827" y="198831"/>
                  </a:lnTo>
                  <a:lnTo>
                    <a:pt x="1940878" y="198831"/>
                  </a:lnTo>
                  <a:lnTo>
                    <a:pt x="1940878" y="199530"/>
                  </a:lnTo>
                  <a:lnTo>
                    <a:pt x="1940878" y="197447"/>
                  </a:lnTo>
                  <a:lnTo>
                    <a:pt x="1940878" y="198831"/>
                  </a:lnTo>
                  <a:lnTo>
                    <a:pt x="1940878" y="197447"/>
                  </a:lnTo>
                  <a:lnTo>
                    <a:pt x="1940929" y="197447"/>
                  </a:lnTo>
                  <a:lnTo>
                    <a:pt x="1940929" y="196113"/>
                  </a:lnTo>
                  <a:lnTo>
                    <a:pt x="1941018" y="196113"/>
                  </a:lnTo>
                  <a:lnTo>
                    <a:pt x="1941018" y="198831"/>
                  </a:lnTo>
                  <a:lnTo>
                    <a:pt x="1941018" y="196113"/>
                  </a:lnTo>
                  <a:lnTo>
                    <a:pt x="1941069" y="196113"/>
                  </a:lnTo>
                  <a:lnTo>
                    <a:pt x="1941069" y="199530"/>
                  </a:lnTo>
                  <a:lnTo>
                    <a:pt x="1941069" y="196799"/>
                  </a:lnTo>
                  <a:lnTo>
                    <a:pt x="1941069" y="197447"/>
                  </a:lnTo>
                  <a:lnTo>
                    <a:pt x="1941119" y="196799"/>
                  </a:lnTo>
                  <a:lnTo>
                    <a:pt x="1941119" y="199530"/>
                  </a:lnTo>
                  <a:lnTo>
                    <a:pt x="1941119" y="197447"/>
                  </a:lnTo>
                  <a:lnTo>
                    <a:pt x="1941119" y="198831"/>
                  </a:lnTo>
                  <a:lnTo>
                    <a:pt x="1941170" y="198831"/>
                  </a:lnTo>
                  <a:lnTo>
                    <a:pt x="1941170" y="197447"/>
                  </a:lnTo>
                  <a:lnTo>
                    <a:pt x="1941170" y="198831"/>
                  </a:lnTo>
                  <a:lnTo>
                    <a:pt x="1941170" y="197447"/>
                  </a:lnTo>
                  <a:lnTo>
                    <a:pt x="1941170" y="198831"/>
                  </a:lnTo>
                  <a:lnTo>
                    <a:pt x="1941272" y="198831"/>
                  </a:lnTo>
                  <a:lnTo>
                    <a:pt x="1941272" y="199530"/>
                  </a:lnTo>
                  <a:lnTo>
                    <a:pt x="1941272" y="197447"/>
                  </a:lnTo>
                  <a:lnTo>
                    <a:pt x="1941272" y="198831"/>
                  </a:lnTo>
                  <a:lnTo>
                    <a:pt x="1941322" y="198831"/>
                  </a:lnTo>
                  <a:lnTo>
                    <a:pt x="1941322" y="197447"/>
                  </a:lnTo>
                  <a:lnTo>
                    <a:pt x="1941322" y="198831"/>
                  </a:lnTo>
                  <a:lnTo>
                    <a:pt x="1941322" y="197447"/>
                  </a:lnTo>
                  <a:lnTo>
                    <a:pt x="1941373" y="197447"/>
                  </a:lnTo>
                  <a:lnTo>
                    <a:pt x="1941373" y="198831"/>
                  </a:lnTo>
                  <a:lnTo>
                    <a:pt x="1941373" y="197447"/>
                  </a:lnTo>
                  <a:lnTo>
                    <a:pt x="1941373" y="198831"/>
                  </a:lnTo>
                  <a:lnTo>
                    <a:pt x="1941373" y="196799"/>
                  </a:lnTo>
                  <a:lnTo>
                    <a:pt x="1941475" y="196799"/>
                  </a:lnTo>
                  <a:lnTo>
                    <a:pt x="1941475" y="194716"/>
                  </a:lnTo>
                  <a:lnTo>
                    <a:pt x="1941513" y="194716"/>
                  </a:lnTo>
                  <a:lnTo>
                    <a:pt x="1941513" y="196799"/>
                  </a:lnTo>
                  <a:lnTo>
                    <a:pt x="1941513" y="195415"/>
                  </a:lnTo>
                  <a:lnTo>
                    <a:pt x="1941513" y="196113"/>
                  </a:lnTo>
                  <a:lnTo>
                    <a:pt x="1941564" y="196799"/>
                  </a:lnTo>
                  <a:lnTo>
                    <a:pt x="1941564" y="198831"/>
                  </a:lnTo>
                  <a:lnTo>
                    <a:pt x="1941564" y="196799"/>
                  </a:lnTo>
                  <a:lnTo>
                    <a:pt x="1941564" y="197447"/>
                  </a:lnTo>
                  <a:lnTo>
                    <a:pt x="1941615" y="197447"/>
                  </a:lnTo>
                  <a:lnTo>
                    <a:pt x="1941615" y="198831"/>
                  </a:lnTo>
                  <a:lnTo>
                    <a:pt x="1941615" y="197447"/>
                  </a:lnTo>
                  <a:lnTo>
                    <a:pt x="1941615" y="198831"/>
                  </a:lnTo>
                  <a:lnTo>
                    <a:pt x="1941615" y="197447"/>
                  </a:lnTo>
                  <a:lnTo>
                    <a:pt x="1941615" y="198831"/>
                  </a:lnTo>
                  <a:lnTo>
                    <a:pt x="1941716" y="198831"/>
                  </a:lnTo>
                  <a:lnTo>
                    <a:pt x="1941716" y="197447"/>
                  </a:lnTo>
                  <a:lnTo>
                    <a:pt x="1941716" y="198831"/>
                  </a:lnTo>
                  <a:lnTo>
                    <a:pt x="1941716" y="197447"/>
                  </a:lnTo>
                  <a:lnTo>
                    <a:pt x="1941767" y="197447"/>
                  </a:lnTo>
                  <a:lnTo>
                    <a:pt x="1941767" y="198831"/>
                  </a:lnTo>
                  <a:lnTo>
                    <a:pt x="1941818" y="198831"/>
                  </a:lnTo>
                  <a:lnTo>
                    <a:pt x="1941818" y="197447"/>
                  </a:lnTo>
                  <a:lnTo>
                    <a:pt x="1941818" y="198831"/>
                  </a:lnTo>
                  <a:lnTo>
                    <a:pt x="1941919" y="198831"/>
                  </a:lnTo>
                  <a:lnTo>
                    <a:pt x="1941919" y="197447"/>
                  </a:lnTo>
                  <a:lnTo>
                    <a:pt x="1941919" y="198831"/>
                  </a:lnTo>
                  <a:lnTo>
                    <a:pt x="1941919" y="196799"/>
                  </a:lnTo>
                  <a:lnTo>
                    <a:pt x="1941919" y="197447"/>
                  </a:lnTo>
                  <a:lnTo>
                    <a:pt x="1941919" y="196799"/>
                  </a:lnTo>
                  <a:lnTo>
                    <a:pt x="1941970" y="196799"/>
                  </a:lnTo>
                  <a:lnTo>
                    <a:pt x="1941970" y="196113"/>
                  </a:lnTo>
                  <a:lnTo>
                    <a:pt x="1941970" y="196799"/>
                  </a:lnTo>
                  <a:lnTo>
                    <a:pt x="1941970" y="195415"/>
                  </a:lnTo>
                  <a:lnTo>
                    <a:pt x="1941970" y="196113"/>
                  </a:lnTo>
                  <a:lnTo>
                    <a:pt x="1941970" y="195415"/>
                  </a:lnTo>
                  <a:lnTo>
                    <a:pt x="1941970" y="196799"/>
                  </a:lnTo>
                  <a:lnTo>
                    <a:pt x="1942021" y="196799"/>
                  </a:lnTo>
                  <a:lnTo>
                    <a:pt x="1942021" y="195415"/>
                  </a:lnTo>
                  <a:lnTo>
                    <a:pt x="1942021" y="198831"/>
                  </a:lnTo>
                  <a:lnTo>
                    <a:pt x="1942059" y="198831"/>
                  </a:lnTo>
                  <a:lnTo>
                    <a:pt x="1942059" y="196799"/>
                  </a:lnTo>
                  <a:lnTo>
                    <a:pt x="1942059" y="197447"/>
                  </a:lnTo>
                  <a:lnTo>
                    <a:pt x="1942161" y="197447"/>
                  </a:lnTo>
                  <a:lnTo>
                    <a:pt x="1942161" y="196799"/>
                  </a:lnTo>
                  <a:lnTo>
                    <a:pt x="1942161" y="198831"/>
                  </a:lnTo>
                  <a:lnTo>
                    <a:pt x="1942161" y="197447"/>
                  </a:lnTo>
                  <a:lnTo>
                    <a:pt x="1942161" y="198831"/>
                  </a:lnTo>
                  <a:lnTo>
                    <a:pt x="1942161" y="197447"/>
                  </a:lnTo>
                  <a:lnTo>
                    <a:pt x="1942212" y="197447"/>
                  </a:lnTo>
                  <a:lnTo>
                    <a:pt x="1942212" y="198831"/>
                  </a:lnTo>
                  <a:lnTo>
                    <a:pt x="1942212" y="197447"/>
                  </a:lnTo>
                  <a:lnTo>
                    <a:pt x="1942212" y="198831"/>
                  </a:lnTo>
                  <a:lnTo>
                    <a:pt x="1942212" y="197447"/>
                  </a:lnTo>
                  <a:lnTo>
                    <a:pt x="1942212" y="198831"/>
                  </a:lnTo>
                  <a:lnTo>
                    <a:pt x="1942262" y="198831"/>
                  </a:lnTo>
                  <a:lnTo>
                    <a:pt x="1942262" y="199530"/>
                  </a:lnTo>
                  <a:lnTo>
                    <a:pt x="1942262" y="198831"/>
                  </a:lnTo>
                  <a:lnTo>
                    <a:pt x="1942262" y="199530"/>
                  </a:lnTo>
                  <a:lnTo>
                    <a:pt x="1942262" y="198831"/>
                  </a:lnTo>
                  <a:lnTo>
                    <a:pt x="1942364" y="198831"/>
                  </a:lnTo>
                  <a:lnTo>
                    <a:pt x="1942364" y="199530"/>
                  </a:lnTo>
                  <a:lnTo>
                    <a:pt x="1942364" y="198831"/>
                  </a:lnTo>
                  <a:lnTo>
                    <a:pt x="1942364" y="199530"/>
                  </a:lnTo>
                  <a:lnTo>
                    <a:pt x="1942364" y="198831"/>
                  </a:lnTo>
                  <a:lnTo>
                    <a:pt x="1942415" y="198831"/>
                  </a:lnTo>
                  <a:lnTo>
                    <a:pt x="1942415" y="196113"/>
                  </a:lnTo>
                  <a:lnTo>
                    <a:pt x="1942465" y="196799"/>
                  </a:lnTo>
                  <a:lnTo>
                    <a:pt x="1942465" y="194716"/>
                  </a:lnTo>
                  <a:lnTo>
                    <a:pt x="1942516" y="194716"/>
                  </a:lnTo>
                  <a:lnTo>
                    <a:pt x="1942516" y="195415"/>
                  </a:lnTo>
                  <a:lnTo>
                    <a:pt x="1942516" y="194716"/>
                  </a:lnTo>
                  <a:lnTo>
                    <a:pt x="1942516" y="196799"/>
                  </a:lnTo>
                  <a:lnTo>
                    <a:pt x="1942605" y="196799"/>
                  </a:lnTo>
                  <a:lnTo>
                    <a:pt x="1942605" y="196113"/>
                  </a:lnTo>
                  <a:lnTo>
                    <a:pt x="1942605" y="196799"/>
                  </a:lnTo>
                  <a:lnTo>
                    <a:pt x="1942605" y="196113"/>
                  </a:lnTo>
                  <a:lnTo>
                    <a:pt x="1942605" y="196799"/>
                  </a:lnTo>
                  <a:lnTo>
                    <a:pt x="1942656" y="196799"/>
                  </a:lnTo>
                  <a:lnTo>
                    <a:pt x="1942656" y="196113"/>
                  </a:lnTo>
                  <a:lnTo>
                    <a:pt x="1942656" y="196799"/>
                  </a:lnTo>
                  <a:lnTo>
                    <a:pt x="1942707" y="196799"/>
                  </a:lnTo>
                  <a:lnTo>
                    <a:pt x="1942707" y="198831"/>
                  </a:lnTo>
                  <a:lnTo>
                    <a:pt x="1942707" y="197447"/>
                  </a:lnTo>
                  <a:lnTo>
                    <a:pt x="1942758" y="197447"/>
                  </a:lnTo>
                  <a:lnTo>
                    <a:pt x="1942758" y="198831"/>
                  </a:lnTo>
                  <a:lnTo>
                    <a:pt x="1942758" y="197447"/>
                  </a:lnTo>
                  <a:lnTo>
                    <a:pt x="1942758" y="199530"/>
                  </a:lnTo>
                  <a:lnTo>
                    <a:pt x="1942758" y="198831"/>
                  </a:lnTo>
                  <a:lnTo>
                    <a:pt x="1942859" y="198831"/>
                  </a:lnTo>
                  <a:lnTo>
                    <a:pt x="1942859" y="197447"/>
                  </a:lnTo>
                  <a:lnTo>
                    <a:pt x="1942859" y="198831"/>
                  </a:lnTo>
                  <a:lnTo>
                    <a:pt x="1942859" y="197447"/>
                  </a:lnTo>
                  <a:lnTo>
                    <a:pt x="1942859" y="198831"/>
                  </a:lnTo>
                  <a:lnTo>
                    <a:pt x="1942859" y="197447"/>
                  </a:lnTo>
                  <a:lnTo>
                    <a:pt x="1942859" y="198831"/>
                  </a:lnTo>
                  <a:lnTo>
                    <a:pt x="1942859" y="197447"/>
                  </a:lnTo>
                  <a:lnTo>
                    <a:pt x="1942859" y="198831"/>
                  </a:lnTo>
                  <a:lnTo>
                    <a:pt x="1942859" y="197447"/>
                  </a:lnTo>
                  <a:lnTo>
                    <a:pt x="1942859" y="198831"/>
                  </a:lnTo>
                  <a:lnTo>
                    <a:pt x="1942910" y="198831"/>
                  </a:lnTo>
                  <a:lnTo>
                    <a:pt x="1942910" y="196799"/>
                  </a:lnTo>
                  <a:lnTo>
                    <a:pt x="1942910" y="197447"/>
                  </a:lnTo>
                  <a:lnTo>
                    <a:pt x="1942910" y="196113"/>
                  </a:lnTo>
                  <a:lnTo>
                    <a:pt x="1942961" y="196113"/>
                  </a:lnTo>
                  <a:lnTo>
                    <a:pt x="1942961" y="195415"/>
                  </a:lnTo>
                  <a:lnTo>
                    <a:pt x="1942961" y="196113"/>
                  </a:lnTo>
                  <a:lnTo>
                    <a:pt x="1942961" y="194716"/>
                  </a:lnTo>
                  <a:lnTo>
                    <a:pt x="1942961" y="196113"/>
                  </a:lnTo>
                  <a:lnTo>
                    <a:pt x="1943062" y="196113"/>
                  </a:lnTo>
                  <a:lnTo>
                    <a:pt x="1943062" y="195415"/>
                  </a:lnTo>
                  <a:lnTo>
                    <a:pt x="1943062" y="196113"/>
                  </a:lnTo>
                  <a:lnTo>
                    <a:pt x="1943062" y="195415"/>
                  </a:lnTo>
                  <a:lnTo>
                    <a:pt x="1943062" y="196113"/>
                  </a:lnTo>
                  <a:lnTo>
                    <a:pt x="1943062" y="194716"/>
                  </a:lnTo>
                  <a:lnTo>
                    <a:pt x="1943062" y="196799"/>
                  </a:lnTo>
                  <a:lnTo>
                    <a:pt x="1943100" y="196799"/>
                  </a:lnTo>
                  <a:lnTo>
                    <a:pt x="1943100" y="195415"/>
                  </a:lnTo>
                  <a:lnTo>
                    <a:pt x="1943100" y="196113"/>
                  </a:lnTo>
                  <a:lnTo>
                    <a:pt x="1943151" y="196113"/>
                  </a:lnTo>
                  <a:lnTo>
                    <a:pt x="1943151" y="195415"/>
                  </a:lnTo>
                  <a:lnTo>
                    <a:pt x="1943151" y="196113"/>
                  </a:lnTo>
                  <a:lnTo>
                    <a:pt x="1943151" y="195415"/>
                  </a:lnTo>
                  <a:lnTo>
                    <a:pt x="1943202" y="195415"/>
                  </a:lnTo>
                  <a:lnTo>
                    <a:pt x="1943202" y="196799"/>
                  </a:lnTo>
                  <a:lnTo>
                    <a:pt x="1943202" y="196113"/>
                  </a:lnTo>
                  <a:lnTo>
                    <a:pt x="1943202" y="196799"/>
                  </a:lnTo>
                  <a:lnTo>
                    <a:pt x="1943202" y="196113"/>
                  </a:lnTo>
                  <a:lnTo>
                    <a:pt x="1943202" y="196799"/>
                  </a:lnTo>
                  <a:lnTo>
                    <a:pt x="1943304" y="196799"/>
                  </a:lnTo>
                  <a:lnTo>
                    <a:pt x="1943304" y="198831"/>
                  </a:lnTo>
                  <a:lnTo>
                    <a:pt x="1943304" y="197447"/>
                  </a:lnTo>
                  <a:lnTo>
                    <a:pt x="1943355" y="197447"/>
                  </a:lnTo>
                  <a:lnTo>
                    <a:pt x="1943355" y="198831"/>
                  </a:lnTo>
                  <a:lnTo>
                    <a:pt x="1943355" y="197447"/>
                  </a:lnTo>
                  <a:lnTo>
                    <a:pt x="1943405" y="196799"/>
                  </a:lnTo>
                  <a:lnTo>
                    <a:pt x="1943405" y="196113"/>
                  </a:lnTo>
                  <a:lnTo>
                    <a:pt x="1943405" y="196799"/>
                  </a:lnTo>
                  <a:lnTo>
                    <a:pt x="1943405" y="196113"/>
                  </a:lnTo>
                  <a:lnTo>
                    <a:pt x="1943405" y="196799"/>
                  </a:lnTo>
                  <a:lnTo>
                    <a:pt x="1943405" y="196113"/>
                  </a:lnTo>
                  <a:lnTo>
                    <a:pt x="1943507" y="196113"/>
                  </a:lnTo>
                  <a:lnTo>
                    <a:pt x="1943507" y="195415"/>
                  </a:lnTo>
                  <a:lnTo>
                    <a:pt x="1943507" y="196113"/>
                  </a:lnTo>
                  <a:lnTo>
                    <a:pt x="1943507" y="194716"/>
                  </a:lnTo>
                  <a:lnTo>
                    <a:pt x="1943507" y="196113"/>
                  </a:lnTo>
                  <a:lnTo>
                    <a:pt x="1943558" y="196113"/>
                  </a:lnTo>
                  <a:lnTo>
                    <a:pt x="1943558" y="195415"/>
                  </a:lnTo>
                  <a:lnTo>
                    <a:pt x="1943558" y="196799"/>
                  </a:lnTo>
                  <a:lnTo>
                    <a:pt x="1943558" y="196113"/>
                  </a:lnTo>
                  <a:lnTo>
                    <a:pt x="1943558" y="196799"/>
                  </a:lnTo>
                  <a:lnTo>
                    <a:pt x="1943609" y="196799"/>
                  </a:lnTo>
                  <a:lnTo>
                    <a:pt x="1943609" y="196113"/>
                  </a:lnTo>
                  <a:lnTo>
                    <a:pt x="1943609" y="197447"/>
                  </a:lnTo>
                  <a:lnTo>
                    <a:pt x="1943609" y="196799"/>
                  </a:lnTo>
                  <a:lnTo>
                    <a:pt x="1943647" y="196799"/>
                  </a:lnTo>
                  <a:lnTo>
                    <a:pt x="1943748" y="197447"/>
                  </a:lnTo>
                  <a:lnTo>
                    <a:pt x="1943748" y="196799"/>
                  </a:lnTo>
                  <a:lnTo>
                    <a:pt x="1943748" y="197447"/>
                  </a:lnTo>
                  <a:lnTo>
                    <a:pt x="1943748" y="196799"/>
                  </a:lnTo>
                  <a:lnTo>
                    <a:pt x="1943748" y="197447"/>
                  </a:lnTo>
                  <a:lnTo>
                    <a:pt x="1943748" y="196799"/>
                  </a:lnTo>
                  <a:lnTo>
                    <a:pt x="1943799" y="197447"/>
                  </a:lnTo>
                  <a:lnTo>
                    <a:pt x="1943799" y="196799"/>
                  </a:lnTo>
                  <a:lnTo>
                    <a:pt x="1943799" y="198831"/>
                  </a:lnTo>
                  <a:lnTo>
                    <a:pt x="1943799" y="197447"/>
                  </a:lnTo>
                  <a:lnTo>
                    <a:pt x="1943799" y="198831"/>
                  </a:lnTo>
                  <a:lnTo>
                    <a:pt x="1943799" y="197447"/>
                  </a:lnTo>
                  <a:lnTo>
                    <a:pt x="1943799" y="198831"/>
                  </a:lnTo>
                  <a:lnTo>
                    <a:pt x="1943799" y="197447"/>
                  </a:lnTo>
                  <a:lnTo>
                    <a:pt x="1943799" y="198831"/>
                  </a:lnTo>
                  <a:lnTo>
                    <a:pt x="1943850" y="198831"/>
                  </a:lnTo>
                  <a:lnTo>
                    <a:pt x="1943850" y="197447"/>
                  </a:lnTo>
                  <a:lnTo>
                    <a:pt x="1943850" y="198831"/>
                  </a:lnTo>
                  <a:lnTo>
                    <a:pt x="1943850" y="197447"/>
                  </a:lnTo>
                  <a:lnTo>
                    <a:pt x="1943951" y="197447"/>
                  </a:lnTo>
                  <a:lnTo>
                    <a:pt x="1943951" y="196113"/>
                  </a:lnTo>
                  <a:lnTo>
                    <a:pt x="1943951" y="196799"/>
                  </a:lnTo>
                  <a:lnTo>
                    <a:pt x="1944002" y="196799"/>
                  </a:lnTo>
                  <a:lnTo>
                    <a:pt x="1944002" y="196113"/>
                  </a:lnTo>
                  <a:lnTo>
                    <a:pt x="1944002" y="197447"/>
                  </a:lnTo>
                  <a:lnTo>
                    <a:pt x="1944002" y="196799"/>
                  </a:lnTo>
                  <a:lnTo>
                    <a:pt x="1944053" y="196799"/>
                  </a:lnTo>
                  <a:lnTo>
                    <a:pt x="1944053" y="199530"/>
                  </a:lnTo>
                  <a:lnTo>
                    <a:pt x="1944053" y="197447"/>
                  </a:lnTo>
                  <a:lnTo>
                    <a:pt x="1944104" y="197447"/>
                  </a:lnTo>
                  <a:lnTo>
                    <a:pt x="1944104" y="199530"/>
                  </a:lnTo>
                  <a:lnTo>
                    <a:pt x="1944104" y="197447"/>
                  </a:lnTo>
                  <a:lnTo>
                    <a:pt x="1944104" y="198831"/>
                  </a:lnTo>
                  <a:lnTo>
                    <a:pt x="1944193" y="197447"/>
                  </a:lnTo>
                  <a:lnTo>
                    <a:pt x="1944193" y="198831"/>
                  </a:lnTo>
                  <a:lnTo>
                    <a:pt x="1944193" y="197447"/>
                  </a:lnTo>
                  <a:lnTo>
                    <a:pt x="1944193" y="198831"/>
                  </a:lnTo>
                  <a:lnTo>
                    <a:pt x="1944193" y="197447"/>
                  </a:lnTo>
                  <a:lnTo>
                    <a:pt x="1944193" y="198831"/>
                  </a:lnTo>
                  <a:lnTo>
                    <a:pt x="1944244" y="198831"/>
                  </a:lnTo>
                  <a:lnTo>
                    <a:pt x="1944244" y="199530"/>
                  </a:lnTo>
                  <a:lnTo>
                    <a:pt x="1944244" y="197447"/>
                  </a:lnTo>
                  <a:lnTo>
                    <a:pt x="1944244" y="198831"/>
                  </a:lnTo>
                  <a:lnTo>
                    <a:pt x="1944294" y="198831"/>
                  </a:lnTo>
                  <a:lnTo>
                    <a:pt x="1944294" y="199530"/>
                  </a:lnTo>
                  <a:lnTo>
                    <a:pt x="1944294" y="198831"/>
                  </a:lnTo>
                  <a:lnTo>
                    <a:pt x="1944294" y="199530"/>
                  </a:lnTo>
                  <a:lnTo>
                    <a:pt x="1944294" y="197447"/>
                  </a:lnTo>
                  <a:lnTo>
                    <a:pt x="1944345" y="197447"/>
                  </a:lnTo>
                  <a:lnTo>
                    <a:pt x="1944345" y="196799"/>
                  </a:lnTo>
                  <a:lnTo>
                    <a:pt x="1944345" y="197447"/>
                  </a:lnTo>
                  <a:lnTo>
                    <a:pt x="1944345" y="196799"/>
                  </a:lnTo>
                  <a:lnTo>
                    <a:pt x="1944447" y="196799"/>
                  </a:lnTo>
                  <a:lnTo>
                    <a:pt x="1944447" y="196113"/>
                  </a:lnTo>
                  <a:lnTo>
                    <a:pt x="1944447" y="196799"/>
                  </a:lnTo>
                  <a:lnTo>
                    <a:pt x="1944447" y="195415"/>
                  </a:lnTo>
                  <a:lnTo>
                    <a:pt x="1944497" y="195415"/>
                  </a:lnTo>
                  <a:lnTo>
                    <a:pt x="1944497" y="194716"/>
                  </a:lnTo>
                  <a:lnTo>
                    <a:pt x="1944497" y="196113"/>
                  </a:lnTo>
                  <a:lnTo>
                    <a:pt x="1944548" y="196113"/>
                  </a:lnTo>
                  <a:lnTo>
                    <a:pt x="1944548" y="197447"/>
                  </a:lnTo>
                  <a:lnTo>
                    <a:pt x="1944548" y="196799"/>
                  </a:lnTo>
                  <a:lnTo>
                    <a:pt x="1944650" y="197447"/>
                  </a:lnTo>
                  <a:lnTo>
                    <a:pt x="1944650" y="198831"/>
                  </a:lnTo>
                  <a:lnTo>
                    <a:pt x="1944650" y="196799"/>
                  </a:lnTo>
                  <a:lnTo>
                    <a:pt x="1944650" y="198831"/>
                  </a:lnTo>
                  <a:lnTo>
                    <a:pt x="1944650" y="197447"/>
                  </a:lnTo>
                  <a:lnTo>
                    <a:pt x="1944688" y="197447"/>
                  </a:lnTo>
                  <a:lnTo>
                    <a:pt x="1944688" y="198831"/>
                  </a:lnTo>
                  <a:lnTo>
                    <a:pt x="1944688" y="197447"/>
                  </a:lnTo>
                  <a:lnTo>
                    <a:pt x="1944688" y="198831"/>
                  </a:lnTo>
                  <a:lnTo>
                    <a:pt x="1944739" y="198831"/>
                  </a:lnTo>
                  <a:lnTo>
                    <a:pt x="1944739" y="199530"/>
                  </a:lnTo>
                  <a:lnTo>
                    <a:pt x="1944739" y="198831"/>
                  </a:lnTo>
                  <a:lnTo>
                    <a:pt x="1944790" y="199530"/>
                  </a:lnTo>
                  <a:lnTo>
                    <a:pt x="1944790" y="198831"/>
                  </a:lnTo>
                  <a:lnTo>
                    <a:pt x="1944790" y="199530"/>
                  </a:lnTo>
                  <a:lnTo>
                    <a:pt x="1944790" y="198831"/>
                  </a:lnTo>
                  <a:lnTo>
                    <a:pt x="1944891" y="197447"/>
                  </a:lnTo>
                  <a:lnTo>
                    <a:pt x="1944891" y="198831"/>
                  </a:lnTo>
                  <a:lnTo>
                    <a:pt x="1944891" y="196799"/>
                  </a:lnTo>
                  <a:lnTo>
                    <a:pt x="1944891" y="197447"/>
                  </a:lnTo>
                  <a:lnTo>
                    <a:pt x="1944891" y="196799"/>
                  </a:lnTo>
                  <a:lnTo>
                    <a:pt x="1944942" y="196799"/>
                  </a:lnTo>
                  <a:lnTo>
                    <a:pt x="1944942" y="195415"/>
                  </a:lnTo>
                  <a:lnTo>
                    <a:pt x="1944993" y="195415"/>
                  </a:lnTo>
                  <a:lnTo>
                    <a:pt x="1944993" y="196799"/>
                  </a:lnTo>
                  <a:lnTo>
                    <a:pt x="1944993" y="196113"/>
                  </a:lnTo>
                  <a:lnTo>
                    <a:pt x="1944993" y="196799"/>
                  </a:lnTo>
                  <a:lnTo>
                    <a:pt x="1945094" y="196799"/>
                  </a:lnTo>
                  <a:lnTo>
                    <a:pt x="1945094" y="197447"/>
                  </a:lnTo>
                  <a:lnTo>
                    <a:pt x="1945094" y="196799"/>
                  </a:lnTo>
                  <a:lnTo>
                    <a:pt x="1945094" y="197447"/>
                  </a:lnTo>
                  <a:lnTo>
                    <a:pt x="1945094" y="196799"/>
                  </a:lnTo>
                  <a:lnTo>
                    <a:pt x="1945094" y="197447"/>
                  </a:lnTo>
                  <a:lnTo>
                    <a:pt x="1945094" y="196799"/>
                  </a:lnTo>
                  <a:lnTo>
                    <a:pt x="1945094" y="197447"/>
                  </a:lnTo>
                  <a:lnTo>
                    <a:pt x="1945094" y="196799"/>
                  </a:lnTo>
                  <a:lnTo>
                    <a:pt x="1945145" y="196799"/>
                  </a:lnTo>
                  <a:lnTo>
                    <a:pt x="1945145" y="197447"/>
                  </a:lnTo>
                  <a:lnTo>
                    <a:pt x="1945145" y="196799"/>
                  </a:lnTo>
                  <a:lnTo>
                    <a:pt x="1945145" y="198831"/>
                  </a:lnTo>
                  <a:lnTo>
                    <a:pt x="1945196" y="197447"/>
                  </a:lnTo>
                  <a:lnTo>
                    <a:pt x="1945196" y="198831"/>
                  </a:lnTo>
                  <a:lnTo>
                    <a:pt x="1945196" y="197447"/>
                  </a:lnTo>
                  <a:lnTo>
                    <a:pt x="1945196" y="198831"/>
                  </a:lnTo>
                  <a:lnTo>
                    <a:pt x="1945196" y="197447"/>
                  </a:lnTo>
                  <a:lnTo>
                    <a:pt x="1945196" y="199530"/>
                  </a:lnTo>
                  <a:lnTo>
                    <a:pt x="1945234" y="199530"/>
                  </a:lnTo>
                  <a:lnTo>
                    <a:pt x="1945234" y="198831"/>
                  </a:lnTo>
                  <a:lnTo>
                    <a:pt x="1945234" y="199530"/>
                  </a:lnTo>
                  <a:lnTo>
                    <a:pt x="1945234" y="198831"/>
                  </a:lnTo>
                  <a:lnTo>
                    <a:pt x="1945234" y="199530"/>
                  </a:lnTo>
                  <a:lnTo>
                    <a:pt x="1945234" y="198831"/>
                  </a:lnTo>
                  <a:lnTo>
                    <a:pt x="1945234" y="199530"/>
                  </a:lnTo>
                  <a:lnTo>
                    <a:pt x="1945234" y="198831"/>
                  </a:lnTo>
                  <a:lnTo>
                    <a:pt x="1945234" y="199530"/>
                  </a:lnTo>
                  <a:lnTo>
                    <a:pt x="1945336" y="199530"/>
                  </a:lnTo>
                  <a:lnTo>
                    <a:pt x="1945336" y="198831"/>
                  </a:lnTo>
                  <a:lnTo>
                    <a:pt x="1945336" y="199530"/>
                  </a:lnTo>
                  <a:lnTo>
                    <a:pt x="1945336" y="197447"/>
                  </a:lnTo>
                  <a:lnTo>
                    <a:pt x="1945387" y="197447"/>
                  </a:lnTo>
                  <a:lnTo>
                    <a:pt x="1945387" y="198831"/>
                  </a:lnTo>
                  <a:lnTo>
                    <a:pt x="1945387" y="196799"/>
                  </a:lnTo>
                  <a:lnTo>
                    <a:pt x="1945437" y="196799"/>
                  </a:lnTo>
                  <a:lnTo>
                    <a:pt x="1945437" y="195415"/>
                  </a:lnTo>
                  <a:lnTo>
                    <a:pt x="1945437" y="196113"/>
                  </a:lnTo>
                  <a:lnTo>
                    <a:pt x="1945437" y="194716"/>
                  </a:lnTo>
                  <a:lnTo>
                    <a:pt x="1945539" y="194716"/>
                  </a:lnTo>
                  <a:lnTo>
                    <a:pt x="1945539" y="193383"/>
                  </a:lnTo>
                  <a:lnTo>
                    <a:pt x="1945539" y="196113"/>
                  </a:lnTo>
                  <a:lnTo>
                    <a:pt x="1945539" y="195415"/>
                  </a:lnTo>
                  <a:lnTo>
                    <a:pt x="1945590" y="195415"/>
                  </a:lnTo>
                  <a:lnTo>
                    <a:pt x="1945590" y="196799"/>
                  </a:lnTo>
                  <a:lnTo>
                    <a:pt x="1945590" y="196113"/>
                  </a:lnTo>
                  <a:lnTo>
                    <a:pt x="1945590" y="196799"/>
                  </a:lnTo>
                  <a:lnTo>
                    <a:pt x="1945640" y="196799"/>
                  </a:lnTo>
                  <a:lnTo>
                    <a:pt x="1945640" y="197447"/>
                  </a:lnTo>
                  <a:lnTo>
                    <a:pt x="1945640" y="196799"/>
                  </a:lnTo>
                  <a:lnTo>
                    <a:pt x="1945691" y="197447"/>
                  </a:lnTo>
                  <a:lnTo>
                    <a:pt x="1945691" y="198831"/>
                  </a:lnTo>
                  <a:lnTo>
                    <a:pt x="1945691" y="197447"/>
                  </a:lnTo>
                  <a:lnTo>
                    <a:pt x="1945691" y="198831"/>
                  </a:lnTo>
                  <a:lnTo>
                    <a:pt x="1945691" y="197447"/>
                  </a:lnTo>
                  <a:lnTo>
                    <a:pt x="1945691" y="199530"/>
                  </a:lnTo>
                  <a:lnTo>
                    <a:pt x="1945691" y="198831"/>
                  </a:lnTo>
                  <a:lnTo>
                    <a:pt x="1945780" y="198831"/>
                  </a:lnTo>
                  <a:lnTo>
                    <a:pt x="1945780" y="199530"/>
                  </a:lnTo>
                  <a:lnTo>
                    <a:pt x="1945780" y="198831"/>
                  </a:lnTo>
                  <a:lnTo>
                    <a:pt x="1945780" y="199530"/>
                  </a:lnTo>
                  <a:lnTo>
                    <a:pt x="1945831" y="199530"/>
                  </a:lnTo>
                  <a:lnTo>
                    <a:pt x="1945831" y="198831"/>
                  </a:lnTo>
                  <a:lnTo>
                    <a:pt x="1945831" y="199530"/>
                  </a:lnTo>
                  <a:lnTo>
                    <a:pt x="1945831" y="198831"/>
                  </a:lnTo>
                  <a:lnTo>
                    <a:pt x="1945882" y="198831"/>
                  </a:lnTo>
                  <a:lnTo>
                    <a:pt x="1945882" y="197447"/>
                  </a:lnTo>
                  <a:lnTo>
                    <a:pt x="1945882" y="198831"/>
                  </a:lnTo>
                  <a:lnTo>
                    <a:pt x="1945882" y="197447"/>
                  </a:lnTo>
                  <a:lnTo>
                    <a:pt x="1945882" y="198831"/>
                  </a:lnTo>
                  <a:lnTo>
                    <a:pt x="1945882" y="197447"/>
                  </a:lnTo>
                  <a:lnTo>
                    <a:pt x="1945882" y="198831"/>
                  </a:lnTo>
                  <a:lnTo>
                    <a:pt x="1945882" y="197447"/>
                  </a:lnTo>
                  <a:lnTo>
                    <a:pt x="1945882" y="198831"/>
                  </a:lnTo>
                  <a:lnTo>
                    <a:pt x="1945882" y="197447"/>
                  </a:lnTo>
                  <a:lnTo>
                    <a:pt x="1945933" y="197447"/>
                  </a:lnTo>
                  <a:lnTo>
                    <a:pt x="1945933" y="196799"/>
                  </a:lnTo>
                  <a:lnTo>
                    <a:pt x="1945933" y="197447"/>
                  </a:lnTo>
                  <a:lnTo>
                    <a:pt x="1945933" y="195415"/>
                  </a:lnTo>
                  <a:lnTo>
                    <a:pt x="1945933" y="196113"/>
                  </a:lnTo>
                  <a:lnTo>
                    <a:pt x="1946034" y="196113"/>
                  </a:lnTo>
                  <a:lnTo>
                    <a:pt x="1946034" y="196799"/>
                  </a:lnTo>
                  <a:lnTo>
                    <a:pt x="1946034" y="194716"/>
                  </a:lnTo>
                  <a:lnTo>
                    <a:pt x="1946034" y="196113"/>
                  </a:lnTo>
                  <a:lnTo>
                    <a:pt x="1946085" y="196799"/>
                  </a:lnTo>
                  <a:lnTo>
                    <a:pt x="1946085" y="197447"/>
                  </a:lnTo>
                  <a:lnTo>
                    <a:pt x="1946085" y="196113"/>
                  </a:lnTo>
                  <a:lnTo>
                    <a:pt x="1946085" y="196799"/>
                  </a:lnTo>
                  <a:lnTo>
                    <a:pt x="1946085" y="196113"/>
                  </a:lnTo>
                  <a:lnTo>
                    <a:pt x="1946085" y="196799"/>
                  </a:lnTo>
                  <a:lnTo>
                    <a:pt x="1946136" y="196799"/>
                  </a:lnTo>
                  <a:lnTo>
                    <a:pt x="1946136" y="195415"/>
                  </a:lnTo>
                  <a:lnTo>
                    <a:pt x="1946136" y="196799"/>
                  </a:lnTo>
                  <a:lnTo>
                    <a:pt x="1946136" y="196113"/>
                  </a:lnTo>
                  <a:lnTo>
                    <a:pt x="1946136" y="196799"/>
                  </a:lnTo>
                  <a:lnTo>
                    <a:pt x="1946237" y="196799"/>
                  </a:lnTo>
                  <a:lnTo>
                    <a:pt x="1946237" y="197447"/>
                  </a:lnTo>
                  <a:lnTo>
                    <a:pt x="1946237" y="196799"/>
                  </a:lnTo>
                  <a:lnTo>
                    <a:pt x="1946237" y="197447"/>
                  </a:lnTo>
                  <a:lnTo>
                    <a:pt x="1946275" y="197447"/>
                  </a:lnTo>
                  <a:lnTo>
                    <a:pt x="1946275" y="196799"/>
                  </a:lnTo>
                  <a:lnTo>
                    <a:pt x="1946275" y="197447"/>
                  </a:lnTo>
                  <a:lnTo>
                    <a:pt x="1946275" y="196799"/>
                  </a:lnTo>
                  <a:lnTo>
                    <a:pt x="1946275" y="198831"/>
                  </a:lnTo>
                  <a:lnTo>
                    <a:pt x="1946275" y="197447"/>
                  </a:lnTo>
                  <a:lnTo>
                    <a:pt x="1946275" y="198831"/>
                  </a:lnTo>
                  <a:lnTo>
                    <a:pt x="1946326" y="198831"/>
                  </a:lnTo>
                  <a:lnTo>
                    <a:pt x="1946326" y="197447"/>
                  </a:lnTo>
                  <a:lnTo>
                    <a:pt x="1946326" y="198831"/>
                  </a:lnTo>
                  <a:lnTo>
                    <a:pt x="1946326" y="197447"/>
                  </a:lnTo>
                  <a:lnTo>
                    <a:pt x="1946326" y="198831"/>
                  </a:lnTo>
                  <a:lnTo>
                    <a:pt x="1946326" y="197447"/>
                  </a:lnTo>
                  <a:lnTo>
                    <a:pt x="1946326" y="198831"/>
                  </a:lnTo>
                  <a:lnTo>
                    <a:pt x="1946326" y="197447"/>
                  </a:lnTo>
                  <a:lnTo>
                    <a:pt x="1946326" y="198831"/>
                  </a:lnTo>
                  <a:lnTo>
                    <a:pt x="1946326" y="197447"/>
                  </a:lnTo>
                  <a:lnTo>
                    <a:pt x="1946377" y="197447"/>
                  </a:lnTo>
                  <a:lnTo>
                    <a:pt x="1946377" y="196799"/>
                  </a:lnTo>
                  <a:lnTo>
                    <a:pt x="1946377" y="197447"/>
                  </a:lnTo>
                  <a:lnTo>
                    <a:pt x="1946377" y="196799"/>
                  </a:lnTo>
                  <a:lnTo>
                    <a:pt x="1946479" y="196799"/>
                  </a:lnTo>
                  <a:lnTo>
                    <a:pt x="1946479" y="197447"/>
                  </a:lnTo>
                  <a:lnTo>
                    <a:pt x="1946479" y="196113"/>
                  </a:lnTo>
                  <a:lnTo>
                    <a:pt x="1946479" y="197447"/>
                  </a:lnTo>
                  <a:lnTo>
                    <a:pt x="1946530" y="197447"/>
                  </a:lnTo>
                  <a:lnTo>
                    <a:pt x="1946530" y="195415"/>
                  </a:lnTo>
                  <a:lnTo>
                    <a:pt x="1946530" y="198831"/>
                  </a:lnTo>
                  <a:lnTo>
                    <a:pt x="1946580" y="198831"/>
                  </a:lnTo>
                  <a:lnTo>
                    <a:pt x="1946580" y="196799"/>
                  </a:lnTo>
                  <a:lnTo>
                    <a:pt x="1946580" y="198831"/>
                  </a:lnTo>
                  <a:lnTo>
                    <a:pt x="1946682" y="198831"/>
                  </a:lnTo>
                  <a:lnTo>
                    <a:pt x="1946682" y="197447"/>
                  </a:lnTo>
                  <a:lnTo>
                    <a:pt x="1946682" y="198831"/>
                  </a:lnTo>
                  <a:lnTo>
                    <a:pt x="1946733" y="198831"/>
                  </a:lnTo>
                  <a:lnTo>
                    <a:pt x="1946733" y="199530"/>
                  </a:lnTo>
                  <a:lnTo>
                    <a:pt x="1946733" y="198831"/>
                  </a:lnTo>
                  <a:lnTo>
                    <a:pt x="1946733" y="199530"/>
                  </a:lnTo>
                  <a:lnTo>
                    <a:pt x="1946733" y="198831"/>
                  </a:lnTo>
                  <a:lnTo>
                    <a:pt x="1946784" y="198831"/>
                  </a:lnTo>
                  <a:lnTo>
                    <a:pt x="1946784" y="199530"/>
                  </a:lnTo>
                  <a:lnTo>
                    <a:pt x="1946784" y="198831"/>
                  </a:lnTo>
                  <a:lnTo>
                    <a:pt x="1946822" y="198831"/>
                  </a:lnTo>
                  <a:lnTo>
                    <a:pt x="1946822" y="197447"/>
                  </a:lnTo>
                  <a:lnTo>
                    <a:pt x="1946923" y="197447"/>
                  </a:lnTo>
                  <a:lnTo>
                    <a:pt x="1946923" y="198831"/>
                  </a:lnTo>
                  <a:lnTo>
                    <a:pt x="1946923" y="196799"/>
                  </a:lnTo>
                  <a:lnTo>
                    <a:pt x="1946923" y="197447"/>
                  </a:lnTo>
                  <a:lnTo>
                    <a:pt x="1946974" y="196799"/>
                  </a:lnTo>
                  <a:lnTo>
                    <a:pt x="1946974" y="196113"/>
                  </a:lnTo>
                  <a:lnTo>
                    <a:pt x="1946974" y="199530"/>
                  </a:lnTo>
                  <a:lnTo>
                    <a:pt x="1946974" y="197447"/>
                  </a:lnTo>
                  <a:lnTo>
                    <a:pt x="1947025" y="197447"/>
                  </a:lnTo>
                  <a:lnTo>
                    <a:pt x="1947025" y="196799"/>
                  </a:lnTo>
                  <a:lnTo>
                    <a:pt x="1947025" y="200228"/>
                  </a:lnTo>
                  <a:lnTo>
                    <a:pt x="1947025" y="198831"/>
                  </a:lnTo>
                  <a:lnTo>
                    <a:pt x="1947126" y="197447"/>
                  </a:lnTo>
                  <a:lnTo>
                    <a:pt x="1947126" y="199530"/>
                  </a:lnTo>
                  <a:lnTo>
                    <a:pt x="1947126" y="198831"/>
                  </a:lnTo>
                  <a:lnTo>
                    <a:pt x="1947177" y="198831"/>
                  </a:lnTo>
                  <a:lnTo>
                    <a:pt x="1947177" y="199530"/>
                  </a:lnTo>
                  <a:lnTo>
                    <a:pt x="1947177" y="198831"/>
                  </a:lnTo>
                  <a:lnTo>
                    <a:pt x="1947177" y="199530"/>
                  </a:lnTo>
                  <a:lnTo>
                    <a:pt x="1947177" y="198831"/>
                  </a:lnTo>
                  <a:lnTo>
                    <a:pt x="1947177" y="199530"/>
                  </a:lnTo>
                  <a:lnTo>
                    <a:pt x="1947228" y="199530"/>
                  </a:lnTo>
                  <a:lnTo>
                    <a:pt x="1947228" y="198831"/>
                  </a:lnTo>
                  <a:lnTo>
                    <a:pt x="1947228" y="199530"/>
                  </a:lnTo>
                  <a:lnTo>
                    <a:pt x="1947228" y="198831"/>
                  </a:lnTo>
                  <a:lnTo>
                    <a:pt x="1947279" y="198831"/>
                  </a:lnTo>
                  <a:lnTo>
                    <a:pt x="1947279" y="199530"/>
                  </a:lnTo>
                  <a:lnTo>
                    <a:pt x="1947279" y="198831"/>
                  </a:lnTo>
                  <a:lnTo>
                    <a:pt x="1947279" y="199530"/>
                  </a:lnTo>
                  <a:lnTo>
                    <a:pt x="1947279" y="198831"/>
                  </a:lnTo>
                  <a:lnTo>
                    <a:pt x="1947279" y="199530"/>
                  </a:lnTo>
                  <a:lnTo>
                    <a:pt x="1947279" y="198831"/>
                  </a:lnTo>
                  <a:lnTo>
                    <a:pt x="1947368" y="198831"/>
                  </a:lnTo>
                  <a:lnTo>
                    <a:pt x="1947368" y="196799"/>
                  </a:lnTo>
                  <a:lnTo>
                    <a:pt x="1947368" y="197447"/>
                  </a:lnTo>
                  <a:lnTo>
                    <a:pt x="1947419" y="197447"/>
                  </a:lnTo>
                  <a:lnTo>
                    <a:pt x="1947419" y="196799"/>
                  </a:lnTo>
                  <a:lnTo>
                    <a:pt x="1947419" y="197447"/>
                  </a:lnTo>
                  <a:lnTo>
                    <a:pt x="1947419" y="196799"/>
                  </a:lnTo>
                  <a:lnTo>
                    <a:pt x="1947419" y="197447"/>
                  </a:lnTo>
                  <a:lnTo>
                    <a:pt x="1947419" y="195415"/>
                  </a:lnTo>
                  <a:lnTo>
                    <a:pt x="1947469" y="195415"/>
                  </a:lnTo>
                  <a:lnTo>
                    <a:pt x="1947469" y="194716"/>
                  </a:lnTo>
                  <a:lnTo>
                    <a:pt x="1947469" y="196799"/>
                  </a:lnTo>
                  <a:lnTo>
                    <a:pt x="1947469" y="195415"/>
                  </a:lnTo>
                  <a:lnTo>
                    <a:pt x="1947520" y="196113"/>
                  </a:lnTo>
                  <a:lnTo>
                    <a:pt x="1947520" y="199530"/>
                  </a:lnTo>
                  <a:lnTo>
                    <a:pt x="1947520" y="196799"/>
                  </a:lnTo>
                  <a:lnTo>
                    <a:pt x="1947622" y="196799"/>
                  </a:lnTo>
                  <a:lnTo>
                    <a:pt x="1947622" y="199530"/>
                  </a:lnTo>
                  <a:lnTo>
                    <a:pt x="1947622" y="197447"/>
                  </a:lnTo>
                  <a:lnTo>
                    <a:pt x="1947622" y="198831"/>
                  </a:lnTo>
                  <a:lnTo>
                    <a:pt x="1947672" y="198831"/>
                  </a:lnTo>
                  <a:lnTo>
                    <a:pt x="1947672" y="199530"/>
                  </a:lnTo>
                  <a:lnTo>
                    <a:pt x="1947672" y="198831"/>
                  </a:lnTo>
                  <a:lnTo>
                    <a:pt x="1947672" y="199530"/>
                  </a:lnTo>
                  <a:lnTo>
                    <a:pt x="1947723" y="199530"/>
                  </a:lnTo>
                  <a:lnTo>
                    <a:pt x="1947723" y="200228"/>
                  </a:lnTo>
                  <a:lnTo>
                    <a:pt x="1947723" y="199530"/>
                  </a:lnTo>
                  <a:lnTo>
                    <a:pt x="1947723" y="200228"/>
                  </a:lnTo>
                  <a:lnTo>
                    <a:pt x="1947825" y="199530"/>
                  </a:lnTo>
                  <a:lnTo>
                    <a:pt x="1947825" y="200228"/>
                  </a:lnTo>
                  <a:lnTo>
                    <a:pt x="1947825" y="198831"/>
                  </a:lnTo>
                  <a:lnTo>
                    <a:pt x="1947825" y="199530"/>
                  </a:lnTo>
                  <a:lnTo>
                    <a:pt x="1947825" y="198831"/>
                  </a:lnTo>
                  <a:lnTo>
                    <a:pt x="1947825" y="199530"/>
                  </a:lnTo>
                  <a:lnTo>
                    <a:pt x="1947863" y="199530"/>
                  </a:lnTo>
                  <a:lnTo>
                    <a:pt x="1947863" y="197447"/>
                  </a:lnTo>
                  <a:lnTo>
                    <a:pt x="1947914" y="197447"/>
                  </a:lnTo>
                  <a:lnTo>
                    <a:pt x="1947914" y="196799"/>
                  </a:lnTo>
                  <a:lnTo>
                    <a:pt x="1947914" y="197447"/>
                  </a:lnTo>
                  <a:lnTo>
                    <a:pt x="1947914" y="195415"/>
                  </a:lnTo>
                  <a:lnTo>
                    <a:pt x="1947914" y="196113"/>
                  </a:lnTo>
                  <a:lnTo>
                    <a:pt x="1947965" y="196113"/>
                  </a:lnTo>
                  <a:lnTo>
                    <a:pt x="1947965" y="197447"/>
                  </a:lnTo>
                  <a:lnTo>
                    <a:pt x="1947965" y="195415"/>
                  </a:lnTo>
                  <a:lnTo>
                    <a:pt x="1947965" y="196799"/>
                  </a:lnTo>
                  <a:lnTo>
                    <a:pt x="1948066" y="197447"/>
                  </a:lnTo>
                  <a:lnTo>
                    <a:pt x="1948066" y="198831"/>
                  </a:lnTo>
                  <a:lnTo>
                    <a:pt x="1948066" y="197447"/>
                  </a:lnTo>
                  <a:lnTo>
                    <a:pt x="1948066" y="198831"/>
                  </a:lnTo>
                  <a:lnTo>
                    <a:pt x="1948066" y="196799"/>
                  </a:lnTo>
                  <a:lnTo>
                    <a:pt x="1948066" y="198831"/>
                  </a:lnTo>
                  <a:lnTo>
                    <a:pt x="1948117" y="198831"/>
                  </a:lnTo>
                  <a:lnTo>
                    <a:pt x="1948117" y="199530"/>
                  </a:lnTo>
                  <a:lnTo>
                    <a:pt x="1948117" y="197447"/>
                  </a:lnTo>
                  <a:lnTo>
                    <a:pt x="1948117" y="198831"/>
                  </a:lnTo>
                  <a:lnTo>
                    <a:pt x="1948168" y="198831"/>
                  </a:lnTo>
                  <a:lnTo>
                    <a:pt x="1948168" y="199530"/>
                  </a:lnTo>
                  <a:lnTo>
                    <a:pt x="1948168" y="198831"/>
                  </a:lnTo>
                  <a:lnTo>
                    <a:pt x="1948168" y="199530"/>
                  </a:lnTo>
                  <a:lnTo>
                    <a:pt x="1948168" y="198831"/>
                  </a:lnTo>
                  <a:lnTo>
                    <a:pt x="1948168" y="199530"/>
                  </a:lnTo>
                  <a:lnTo>
                    <a:pt x="1948269" y="199530"/>
                  </a:lnTo>
                  <a:lnTo>
                    <a:pt x="1948269" y="198831"/>
                  </a:lnTo>
                  <a:lnTo>
                    <a:pt x="1948269" y="199530"/>
                  </a:lnTo>
                  <a:lnTo>
                    <a:pt x="1948269" y="198831"/>
                  </a:lnTo>
                  <a:lnTo>
                    <a:pt x="1948269" y="199530"/>
                  </a:lnTo>
                  <a:lnTo>
                    <a:pt x="1948320" y="199530"/>
                  </a:lnTo>
                  <a:lnTo>
                    <a:pt x="1948320" y="200228"/>
                  </a:lnTo>
                  <a:lnTo>
                    <a:pt x="1948320" y="199530"/>
                  </a:lnTo>
                  <a:lnTo>
                    <a:pt x="1948320" y="200228"/>
                  </a:lnTo>
                  <a:lnTo>
                    <a:pt x="1948320" y="199530"/>
                  </a:lnTo>
                  <a:lnTo>
                    <a:pt x="1948371" y="199530"/>
                  </a:lnTo>
                  <a:lnTo>
                    <a:pt x="1948371" y="198831"/>
                  </a:lnTo>
                  <a:lnTo>
                    <a:pt x="1948371" y="199530"/>
                  </a:lnTo>
                  <a:lnTo>
                    <a:pt x="1948371" y="198831"/>
                  </a:lnTo>
                  <a:lnTo>
                    <a:pt x="1948371" y="199530"/>
                  </a:lnTo>
                  <a:lnTo>
                    <a:pt x="1948371" y="197447"/>
                  </a:lnTo>
                  <a:lnTo>
                    <a:pt x="1948409" y="197447"/>
                  </a:lnTo>
                  <a:lnTo>
                    <a:pt x="1948409" y="195415"/>
                  </a:lnTo>
                  <a:lnTo>
                    <a:pt x="1948409" y="196113"/>
                  </a:lnTo>
                  <a:lnTo>
                    <a:pt x="1948511" y="196799"/>
                  </a:lnTo>
                  <a:lnTo>
                    <a:pt x="1948511" y="195415"/>
                  </a:lnTo>
                  <a:lnTo>
                    <a:pt x="1948511" y="197447"/>
                  </a:lnTo>
                  <a:lnTo>
                    <a:pt x="1948562" y="197447"/>
                  </a:lnTo>
                  <a:lnTo>
                    <a:pt x="1948562" y="198831"/>
                  </a:lnTo>
                  <a:lnTo>
                    <a:pt x="1948562" y="196799"/>
                  </a:lnTo>
                  <a:lnTo>
                    <a:pt x="1948562" y="198831"/>
                  </a:lnTo>
                  <a:lnTo>
                    <a:pt x="1948612" y="198831"/>
                  </a:lnTo>
                  <a:lnTo>
                    <a:pt x="1948612" y="197447"/>
                  </a:lnTo>
                  <a:lnTo>
                    <a:pt x="1948612" y="198831"/>
                  </a:lnTo>
                  <a:lnTo>
                    <a:pt x="1948612" y="196799"/>
                  </a:lnTo>
                  <a:lnTo>
                    <a:pt x="1948612" y="198831"/>
                  </a:lnTo>
                  <a:lnTo>
                    <a:pt x="1948714" y="199530"/>
                  </a:lnTo>
                  <a:lnTo>
                    <a:pt x="1948714" y="198831"/>
                  </a:lnTo>
                  <a:lnTo>
                    <a:pt x="1948714" y="199530"/>
                  </a:lnTo>
                  <a:lnTo>
                    <a:pt x="1948714" y="198831"/>
                  </a:lnTo>
                  <a:lnTo>
                    <a:pt x="1948765" y="198831"/>
                  </a:lnTo>
                  <a:lnTo>
                    <a:pt x="1948765" y="199530"/>
                  </a:lnTo>
                  <a:lnTo>
                    <a:pt x="1948765" y="198831"/>
                  </a:lnTo>
                  <a:lnTo>
                    <a:pt x="1948765" y="199530"/>
                  </a:lnTo>
                  <a:lnTo>
                    <a:pt x="1948815" y="199530"/>
                  </a:lnTo>
                  <a:lnTo>
                    <a:pt x="1948815" y="200228"/>
                  </a:lnTo>
                  <a:lnTo>
                    <a:pt x="1948815" y="199530"/>
                  </a:lnTo>
                  <a:lnTo>
                    <a:pt x="1948866" y="199530"/>
                  </a:lnTo>
                  <a:lnTo>
                    <a:pt x="1948866" y="197447"/>
                  </a:lnTo>
                  <a:lnTo>
                    <a:pt x="1948866" y="198831"/>
                  </a:lnTo>
                  <a:lnTo>
                    <a:pt x="1948866" y="197447"/>
                  </a:lnTo>
                  <a:lnTo>
                    <a:pt x="1948955" y="197447"/>
                  </a:lnTo>
                  <a:lnTo>
                    <a:pt x="1948955" y="196799"/>
                  </a:lnTo>
                  <a:lnTo>
                    <a:pt x="1948955" y="197447"/>
                  </a:lnTo>
                  <a:lnTo>
                    <a:pt x="1948955" y="196113"/>
                  </a:lnTo>
                  <a:lnTo>
                    <a:pt x="1948955" y="196799"/>
                  </a:lnTo>
                  <a:lnTo>
                    <a:pt x="1948955" y="196113"/>
                  </a:lnTo>
                  <a:lnTo>
                    <a:pt x="1948955" y="196799"/>
                  </a:lnTo>
                  <a:lnTo>
                    <a:pt x="1949006" y="196799"/>
                  </a:lnTo>
                  <a:lnTo>
                    <a:pt x="1949006" y="197447"/>
                  </a:lnTo>
                  <a:lnTo>
                    <a:pt x="1949006" y="195415"/>
                  </a:lnTo>
                  <a:lnTo>
                    <a:pt x="1949006" y="198831"/>
                  </a:lnTo>
                  <a:lnTo>
                    <a:pt x="1949006" y="197447"/>
                  </a:lnTo>
                  <a:lnTo>
                    <a:pt x="1949057" y="197447"/>
                  </a:lnTo>
                  <a:lnTo>
                    <a:pt x="1949057" y="196799"/>
                  </a:lnTo>
                  <a:lnTo>
                    <a:pt x="1949057" y="198831"/>
                  </a:lnTo>
                  <a:lnTo>
                    <a:pt x="1949057" y="197447"/>
                  </a:lnTo>
                  <a:lnTo>
                    <a:pt x="1949108" y="197447"/>
                  </a:lnTo>
                  <a:lnTo>
                    <a:pt x="1949108" y="196799"/>
                  </a:lnTo>
                  <a:lnTo>
                    <a:pt x="1949108" y="197447"/>
                  </a:lnTo>
                  <a:lnTo>
                    <a:pt x="1949209" y="197447"/>
                  </a:lnTo>
                  <a:lnTo>
                    <a:pt x="1949209" y="198831"/>
                  </a:lnTo>
                  <a:lnTo>
                    <a:pt x="1949209" y="197447"/>
                  </a:lnTo>
                  <a:lnTo>
                    <a:pt x="1949260" y="197447"/>
                  </a:lnTo>
                  <a:lnTo>
                    <a:pt x="1949260" y="198831"/>
                  </a:lnTo>
                  <a:lnTo>
                    <a:pt x="1949260" y="197447"/>
                  </a:lnTo>
                  <a:lnTo>
                    <a:pt x="1949260" y="198831"/>
                  </a:lnTo>
                  <a:lnTo>
                    <a:pt x="1949311" y="198831"/>
                  </a:lnTo>
                  <a:lnTo>
                    <a:pt x="1949311" y="199530"/>
                  </a:lnTo>
                  <a:lnTo>
                    <a:pt x="1949311" y="198831"/>
                  </a:lnTo>
                  <a:lnTo>
                    <a:pt x="1949412" y="198831"/>
                  </a:lnTo>
                  <a:lnTo>
                    <a:pt x="1949412" y="197447"/>
                  </a:lnTo>
                  <a:lnTo>
                    <a:pt x="1949412" y="198831"/>
                  </a:lnTo>
                  <a:lnTo>
                    <a:pt x="1949412" y="196799"/>
                  </a:lnTo>
                  <a:lnTo>
                    <a:pt x="1949450" y="196799"/>
                  </a:lnTo>
                  <a:lnTo>
                    <a:pt x="1949450" y="198831"/>
                  </a:lnTo>
                  <a:lnTo>
                    <a:pt x="1949450" y="196799"/>
                  </a:lnTo>
                  <a:lnTo>
                    <a:pt x="1949501" y="197447"/>
                  </a:lnTo>
                  <a:lnTo>
                    <a:pt x="1949501" y="200228"/>
                  </a:lnTo>
                  <a:lnTo>
                    <a:pt x="1949501" y="198831"/>
                  </a:lnTo>
                  <a:lnTo>
                    <a:pt x="1949552" y="198831"/>
                  </a:lnTo>
                  <a:lnTo>
                    <a:pt x="1949552" y="200228"/>
                  </a:lnTo>
                  <a:lnTo>
                    <a:pt x="1949552" y="198831"/>
                  </a:lnTo>
                  <a:lnTo>
                    <a:pt x="1949552" y="199530"/>
                  </a:lnTo>
                  <a:lnTo>
                    <a:pt x="1949654" y="200228"/>
                  </a:lnTo>
                  <a:lnTo>
                    <a:pt x="1949654" y="199530"/>
                  </a:lnTo>
                  <a:lnTo>
                    <a:pt x="1949857" y="199530"/>
                  </a:lnTo>
                  <a:lnTo>
                    <a:pt x="1949857" y="200228"/>
                  </a:lnTo>
                  <a:lnTo>
                    <a:pt x="1949857" y="198831"/>
                  </a:lnTo>
                  <a:lnTo>
                    <a:pt x="1949857" y="199530"/>
                  </a:lnTo>
                  <a:lnTo>
                    <a:pt x="1949857" y="198831"/>
                  </a:lnTo>
                  <a:lnTo>
                    <a:pt x="1949857" y="199530"/>
                  </a:lnTo>
                  <a:lnTo>
                    <a:pt x="1949857" y="198831"/>
                  </a:lnTo>
                  <a:lnTo>
                    <a:pt x="1949908" y="198831"/>
                  </a:lnTo>
                  <a:lnTo>
                    <a:pt x="1949908" y="196799"/>
                  </a:lnTo>
                  <a:lnTo>
                    <a:pt x="1949908" y="197447"/>
                  </a:lnTo>
                  <a:lnTo>
                    <a:pt x="1949908" y="196799"/>
                  </a:lnTo>
                  <a:lnTo>
                    <a:pt x="1949908" y="198831"/>
                  </a:lnTo>
                  <a:lnTo>
                    <a:pt x="1949959" y="199530"/>
                  </a:lnTo>
                  <a:lnTo>
                    <a:pt x="1949959" y="197447"/>
                  </a:lnTo>
                  <a:lnTo>
                    <a:pt x="1949959" y="200228"/>
                  </a:lnTo>
                  <a:lnTo>
                    <a:pt x="1949997" y="200228"/>
                  </a:lnTo>
                  <a:lnTo>
                    <a:pt x="1949997" y="199530"/>
                  </a:lnTo>
                  <a:lnTo>
                    <a:pt x="1949997" y="200876"/>
                  </a:lnTo>
                  <a:lnTo>
                    <a:pt x="1950098" y="200876"/>
                  </a:lnTo>
                  <a:lnTo>
                    <a:pt x="1950098" y="200228"/>
                  </a:lnTo>
                  <a:lnTo>
                    <a:pt x="1950098" y="200876"/>
                  </a:lnTo>
                  <a:lnTo>
                    <a:pt x="1950098" y="200228"/>
                  </a:lnTo>
                  <a:lnTo>
                    <a:pt x="1950098" y="200876"/>
                  </a:lnTo>
                  <a:lnTo>
                    <a:pt x="1950098" y="200228"/>
                  </a:lnTo>
                  <a:lnTo>
                    <a:pt x="1950098" y="200876"/>
                  </a:lnTo>
                  <a:lnTo>
                    <a:pt x="1950098" y="200228"/>
                  </a:lnTo>
                  <a:lnTo>
                    <a:pt x="1950200" y="200228"/>
                  </a:lnTo>
                  <a:lnTo>
                    <a:pt x="1950200" y="200876"/>
                  </a:lnTo>
                  <a:lnTo>
                    <a:pt x="1950200" y="200228"/>
                  </a:lnTo>
                  <a:lnTo>
                    <a:pt x="1950200" y="200876"/>
                  </a:lnTo>
                  <a:lnTo>
                    <a:pt x="1950200" y="199530"/>
                  </a:lnTo>
                  <a:lnTo>
                    <a:pt x="1950200" y="200228"/>
                  </a:lnTo>
                  <a:lnTo>
                    <a:pt x="1950301" y="200228"/>
                  </a:lnTo>
                  <a:lnTo>
                    <a:pt x="1950301" y="199530"/>
                  </a:lnTo>
                  <a:lnTo>
                    <a:pt x="1950301" y="200228"/>
                  </a:lnTo>
                  <a:lnTo>
                    <a:pt x="1950301" y="199530"/>
                  </a:lnTo>
                  <a:lnTo>
                    <a:pt x="1950301" y="200228"/>
                  </a:lnTo>
                  <a:lnTo>
                    <a:pt x="1950301" y="199530"/>
                  </a:lnTo>
                  <a:lnTo>
                    <a:pt x="1950301" y="200228"/>
                  </a:lnTo>
                  <a:lnTo>
                    <a:pt x="1950301" y="199530"/>
                  </a:lnTo>
                  <a:lnTo>
                    <a:pt x="1950301" y="200228"/>
                  </a:lnTo>
                  <a:lnTo>
                    <a:pt x="1950301" y="199530"/>
                  </a:lnTo>
                  <a:lnTo>
                    <a:pt x="1950352" y="199530"/>
                  </a:lnTo>
                  <a:lnTo>
                    <a:pt x="1950352" y="198831"/>
                  </a:lnTo>
                  <a:lnTo>
                    <a:pt x="1950352" y="199530"/>
                  </a:lnTo>
                  <a:lnTo>
                    <a:pt x="1950352" y="197447"/>
                  </a:lnTo>
                  <a:lnTo>
                    <a:pt x="1950352" y="198831"/>
                  </a:lnTo>
                  <a:lnTo>
                    <a:pt x="1950352" y="196799"/>
                  </a:lnTo>
                  <a:lnTo>
                    <a:pt x="1950403" y="196799"/>
                  </a:lnTo>
                  <a:lnTo>
                    <a:pt x="1950403" y="196113"/>
                  </a:lnTo>
                  <a:lnTo>
                    <a:pt x="1950403" y="199530"/>
                  </a:lnTo>
                  <a:lnTo>
                    <a:pt x="1950403" y="196799"/>
                  </a:lnTo>
                  <a:lnTo>
                    <a:pt x="1950454" y="196799"/>
                  </a:lnTo>
                  <a:lnTo>
                    <a:pt x="1950454" y="200228"/>
                  </a:lnTo>
                  <a:lnTo>
                    <a:pt x="1950454" y="198831"/>
                  </a:lnTo>
                  <a:lnTo>
                    <a:pt x="1950543" y="198831"/>
                  </a:lnTo>
                  <a:lnTo>
                    <a:pt x="1950543" y="199530"/>
                  </a:lnTo>
                  <a:lnTo>
                    <a:pt x="1950543" y="198831"/>
                  </a:lnTo>
                  <a:lnTo>
                    <a:pt x="1950543" y="200876"/>
                  </a:lnTo>
                  <a:lnTo>
                    <a:pt x="1950543" y="199530"/>
                  </a:lnTo>
                  <a:lnTo>
                    <a:pt x="1950594" y="200228"/>
                  </a:lnTo>
                  <a:lnTo>
                    <a:pt x="1950594" y="199530"/>
                  </a:lnTo>
                  <a:lnTo>
                    <a:pt x="1950644" y="200228"/>
                  </a:lnTo>
                  <a:lnTo>
                    <a:pt x="1950644" y="200876"/>
                  </a:lnTo>
                  <a:lnTo>
                    <a:pt x="1950644" y="200228"/>
                  </a:lnTo>
                  <a:lnTo>
                    <a:pt x="1950644" y="200876"/>
                  </a:lnTo>
                  <a:lnTo>
                    <a:pt x="1950644" y="200228"/>
                  </a:lnTo>
                  <a:lnTo>
                    <a:pt x="1950695" y="200228"/>
                  </a:lnTo>
                  <a:lnTo>
                    <a:pt x="1950695" y="200876"/>
                  </a:lnTo>
                  <a:lnTo>
                    <a:pt x="1950695" y="200228"/>
                  </a:lnTo>
                  <a:lnTo>
                    <a:pt x="1950695" y="200876"/>
                  </a:lnTo>
                  <a:lnTo>
                    <a:pt x="1950695" y="200228"/>
                  </a:lnTo>
                  <a:lnTo>
                    <a:pt x="1950695" y="200876"/>
                  </a:lnTo>
                  <a:lnTo>
                    <a:pt x="1950695" y="200228"/>
                  </a:lnTo>
                  <a:lnTo>
                    <a:pt x="1950797" y="200228"/>
                  </a:lnTo>
                  <a:lnTo>
                    <a:pt x="1950797" y="199530"/>
                  </a:lnTo>
                  <a:lnTo>
                    <a:pt x="1950847" y="198831"/>
                  </a:lnTo>
                  <a:lnTo>
                    <a:pt x="1950847" y="196799"/>
                  </a:lnTo>
                  <a:lnTo>
                    <a:pt x="1950898" y="196799"/>
                  </a:lnTo>
                  <a:lnTo>
                    <a:pt x="1950898" y="198831"/>
                  </a:lnTo>
                  <a:lnTo>
                    <a:pt x="1950898" y="196799"/>
                  </a:lnTo>
                  <a:lnTo>
                    <a:pt x="1950898" y="199530"/>
                  </a:lnTo>
                  <a:lnTo>
                    <a:pt x="1951000" y="199530"/>
                  </a:lnTo>
                  <a:lnTo>
                    <a:pt x="1951000" y="200228"/>
                  </a:lnTo>
                  <a:lnTo>
                    <a:pt x="1951000" y="198831"/>
                  </a:lnTo>
                  <a:lnTo>
                    <a:pt x="1951000" y="200228"/>
                  </a:lnTo>
                  <a:lnTo>
                    <a:pt x="1951038" y="200228"/>
                  </a:lnTo>
                  <a:lnTo>
                    <a:pt x="1951038" y="199530"/>
                  </a:lnTo>
                  <a:lnTo>
                    <a:pt x="1951038" y="200876"/>
                  </a:lnTo>
                  <a:lnTo>
                    <a:pt x="1951089" y="200876"/>
                  </a:lnTo>
                  <a:lnTo>
                    <a:pt x="1951089" y="200228"/>
                  </a:lnTo>
                  <a:lnTo>
                    <a:pt x="1951292" y="200228"/>
                  </a:lnTo>
                  <a:lnTo>
                    <a:pt x="1951292" y="199530"/>
                  </a:lnTo>
                  <a:lnTo>
                    <a:pt x="1951292" y="200228"/>
                  </a:lnTo>
                  <a:lnTo>
                    <a:pt x="1951292" y="198831"/>
                  </a:lnTo>
                  <a:lnTo>
                    <a:pt x="1951292" y="199530"/>
                  </a:lnTo>
                  <a:lnTo>
                    <a:pt x="1951292" y="198831"/>
                  </a:lnTo>
                  <a:lnTo>
                    <a:pt x="1951343" y="198831"/>
                  </a:lnTo>
                  <a:lnTo>
                    <a:pt x="1951343" y="196113"/>
                  </a:lnTo>
                  <a:lnTo>
                    <a:pt x="1951444" y="196113"/>
                  </a:lnTo>
                  <a:lnTo>
                    <a:pt x="1951444" y="197447"/>
                  </a:lnTo>
                  <a:lnTo>
                    <a:pt x="1951444" y="196113"/>
                  </a:lnTo>
                  <a:lnTo>
                    <a:pt x="1951444" y="197447"/>
                  </a:lnTo>
                  <a:lnTo>
                    <a:pt x="1951495" y="197447"/>
                  </a:lnTo>
                  <a:lnTo>
                    <a:pt x="1951495" y="198831"/>
                  </a:lnTo>
                  <a:lnTo>
                    <a:pt x="1951495" y="196799"/>
                  </a:lnTo>
                  <a:lnTo>
                    <a:pt x="1951495" y="197447"/>
                  </a:lnTo>
                  <a:lnTo>
                    <a:pt x="1951495" y="196799"/>
                  </a:lnTo>
                  <a:lnTo>
                    <a:pt x="1951495" y="198831"/>
                  </a:lnTo>
                  <a:lnTo>
                    <a:pt x="1951546" y="199530"/>
                  </a:lnTo>
                  <a:lnTo>
                    <a:pt x="1951546" y="197447"/>
                  </a:lnTo>
                  <a:lnTo>
                    <a:pt x="1951546" y="199530"/>
                  </a:lnTo>
                  <a:lnTo>
                    <a:pt x="1951584" y="199530"/>
                  </a:lnTo>
                  <a:lnTo>
                    <a:pt x="1951584" y="198831"/>
                  </a:lnTo>
                  <a:lnTo>
                    <a:pt x="1951584" y="199530"/>
                  </a:lnTo>
                  <a:lnTo>
                    <a:pt x="1951584" y="198831"/>
                  </a:lnTo>
                  <a:lnTo>
                    <a:pt x="1951584" y="199530"/>
                  </a:lnTo>
                  <a:lnTo>
                    <a:pt x="1951686" y="199530"/>
                  </a:lnTo>
                  <a:lnTo>
                    <a:pt x="1951686" y="200228"/>
                  </a:lnTo>
                  <a:lnTo>
                    <a:pt x="1951686" y="199530"/>
                  </a:lnTo>
                  <a:lnTo>
                    <a:pt x="1951686" y="200228"/>
                  </a:lnTo>
                  <a:lnTo>
                    <a:pt x="1951686" y="199530"/>
                  </a:lnTo>
                  <a:lnTo>
                    <a:pt x="1951686" y="200876"/>
                  </a:lnTo>
                  <a:lnTo>
                    <a:pt x="1951686" y="200228"/>
                  </a:lnTo>
                  <a:lnTo>
                    <a:pt x="1951737" y="200228"/>
                  </a:lnTo>
                  <a:lnTo>
                    <a:pt x="1951737" y="199530"/>
                  </a:lnTo>
                  <a:lnTo>
                    <a:pt x="1951737" y="200228"/>
                  </a:lnTo>
                  <a:lnTo>
                    <a:pt x="1951737" y="199530"/>
                  </a:lnTo>
                  <a:lnTo>
                    <a:pt x="1951737" y="200228"/>
                  </a:lnTo>
                  <a:lnTo>
                    <a:pt x="1951787" y="200228"/>
                  </a:lnTo>
                  <a:lnTo>
                    <a:pt x="1951787" y="199530"/>
                  </a:lnTo>
                  <a:lnTo>
                    <a:pt x="1951787" y="200228"/>
                  </a:lnTo>
                  <a:lnTo>
                    <a:pt x="1951787" y="197447"/>
                  </a:lnTo>
                  <a:lnTo>
                    <a:pt x="1951889" y="197447"/>
                  </a:lnTo>
                  <a:lnTo>
                    <a:pt x="1951889" y="198831"/>
                  </a:lnTo>
                  <a:lnTo>
                    <a:pt x="1951889" y="197447"/>
                  </a:lnTo>
                  <a:lnTo>
                    <a:pt x="1951889" y="198831"/>
                  </a:lnTo>
                  <a:lnTo>
                    <a:pt x="1951889" y="196113"/>
                  </a:lnTo>
                  <a:lnTo>
                    <a:pt x="1951889" y="196799"/>
                  </a:lnTo>
                  <a:lnTo>
                    <a:pt x="1951889" y="196113"/>
                  </a:lnTo>
                  <a:lnTo>
                    <a:pt x="1951889" y="196799"/>
                  </a:lnTo>
                  <a:lnTo>
                    <a:pt x="1951889" y="196113"/>
                  </a:lnTo>
                  <a:lnTo>
                    <a:pt x="1951940" y="196799"/>
                  </a:lnTo>
                  <a:lnTo>
                    <a:pt x="1951940" y="196113"/>
                  </a:lnTo>
                  <a:lnTo>
                    <a:pt x="1951940" y="196799"/>
                  </a:lnTo>
                  <a:lnTo>
                    <a:pt x="1951940" y="196113"/>
                  </a:lnTo>
                  <a:lnTo>
                    <a:pt x="1951940" y="196799"/>
                  </a:lnTo>
                  <a:lnTo>
                    <a:pt x="1951940" y="196113"/>
                  </a:lnTo>
                  <a:lnTo>
                    <a:pt x="1951940" y="197447"/>
                  </a:lnTo>
                  <a:lnTo>
                    <a:pt x="1951990" y="198831"/>
                  </a:lnTo>
                  <a:lnTo>
                    <a:pt x="1951990" y="196799"/>
                  </a:lnTo>
                  <a:lnTo>
                    <a:pt x="1951990" y="198831"/>
                  </a:lnTo>
                  <a:lnTo>
                    <a:pt x="1952041" y="198831"/>
                  </a:lnTo>
                  <a:lnTo>
                    <a:pt x="1952041" y="197447"/>
                  </a:lnTo>
                  <a:lnTo>
                    <a:pt x="1952041" y="198831"/>
                  </a:lnTo>
                  <a:lnTo>
                    <a:pt x="1952041" y="197447"/>
                  </a:lnTo>
                  <a:lnTo>
                    <a:pt x="1952041" y="198831"/>
                  </a:lnTo>
                  <a:lnTo>
                    <a:pt x="1952130" y="198831"/>
                  </a:lnTo>
                  <a:lnTo>
                    <a:pt x="1952130" y="197447"/>
                  </a:lnTo>
                  <a:lnTo>
                    <a:pt x="1952130" y="198831"/>
                  </a:lnTo>
                  <a:lnTo>
                    <a:pt x="1952130" y="197447"/>
                  </a:lnTo>
                  <a:lnTo>
                    <a:pt x="1952181" y="197447"/>
                  </a:lnTo>
                  <a:lnTo>
                    <a:pt x="1952181" y="199530"/>
                  </a:lnTo>
                  <a:lnTo>
                    <a:pt x="1952181" y="198831"/>
                  </a:lnTo>
                  <a:lnTo>
                    <a:pt x="1952181" y="199530"/>
                  </a:lnTo>
                  <a:lnTo>
                    <a:pt x="1952181" y="198831"/>
                  </a:lnTo>
                  <a:lnTo>
                    <a:pt x="1952181" y="199530"/>
                  </a:lnTo>
                  <a:lnTo>
                    <a:pt x="1952181" y="198831"/>
                  </a:lnTo>
                  <a:lnTo>
                    <a:pt x="1952181" y="199530"/>
                  </a:lnTo>
                  <a:lnTo>
                    <a:pt x="1952181" y="198831"/>
                  </a:lnTo>
                  <a:lnTo>
                    <a:pt x="1952181" y="199530"/>
                  </a:lnTo>
                  <a:lnTo>
                    <a:pt x="1952232" y="198831"/>
                  </a:lnTo>
                  <a:lnTo>
                    <a:pt x="1952232" y="199530"/>
                  </a:lnTo>
                  <a:lnTo>
                    <a:pt x="1952232" y="198831"/>
                  </a:lnTo>
                  <a:lnTo>
                    <a:pt x="1952232" y="199530"/>
                  </a:lnTo>
                  <a:lnTo>
                    <a:pt x="1952232" y="198831"/>
                  </a:lnTo>
                  <a:lnTo>
                    <a:pt x="1952283" y="198831"/>
                  </a:lnTo>
                  <a:lnTo>
                    <a:pt x="1952283" y="199530"/>
                  </a:lnTo>
                  <a:lnTo>
                    <a:pt x="1952283" y="197447"/>
                  </a:lnTo>
                  <a:lnTo>
                    <a:pt x="1952283" y="198831"/>
                  </a:lnTo>
                  <a:lnTo>
                    <a:pt x="1952283" y="197447"/>
                  </a:lnTo>
                  <a:lnTo>
                    <a:pt x="1952283" y="198831"/>
                  </a:lnTo>
                  <a:lnTo>
                    <a:pt x="1952283" y="196799"/>
                  </a:lnTo>
                  <a:lnTo>
                    <a:pt x="1952384" y="196799"/>
                  </a:lnTo>
                  <a:lnTo>
                    <a:pt x="1952384" y="196113"/>
                  </a:lnTo>
                  <a:lnTo>
                    <a:pt x="1952384" y="197447"/>
                  </a:lnTo>
                  <a:lnTo>
                    <a:pt x="1952384" y="196799"/>
                  </a:lnTo>
                  <a:lnTo>
                    <a:pt x="1952384" y="197447"/>
                  </a:lnTo>
                  <a:lnTo>
                    <a:pt x="1952435" y="197447"/>
                  </a:lnTo>
                  <a:lnTo>
                    <a:pt x="1952435" y="196799"/>
                  </a:lnTo>
                  <a:lnTo>
                    <a:pt x="1952435" y="197447"/>
                  </a:lnTo>
                  <a:lnTo>
                    <a:pt x="1952435" y="196799"/>
                  </a:lnTo>
                  <a:lnTo>
                    <a:pt x="1952435" y="199530"/>
                  </a:lnTo>
                  <a:lnTo>
                    <a:pt x="1952435" y="198831"/>
                  </a:lnTo>
                  <a:lnTo>
                    <a:pt x="1952435" y="199530"/>
                  </a:lnTo>
                  <a:lnTo>
                    <a:pt x="1952435" y="198831"/>
                  </a:lnTo>
                  <a:lnTo>
                    <a:pt x="1952486" y="198831"/>
                  </a:lnTo>
                  <a:lnTo>
                    <a:pt x="1952486" y="197447"/>
                  </a:lnTo>
                  <a:lnTo>
                    <a:pt x="1952486" y="199530"/>
                  </a:lnTo>
                  <a:lnTo>
                    <a:pt x="1952486" y="198831"/>
                  </a:lnTo>
                  <a:lnTo>
                    <a:pt x="1952587" y="197447"/>
                  </a:lnTo>
                  <a:lnTo>
                    <a:pt x="1952587" y="199530"/>
                  </a:lnTo>
                  <a:lnTo>
                    <a:pt x="1952587" y="198831"/>
                  </a:lnTo>
                  <a:lnTo>
                    <a:pt x="1952587" y="199530"/>
                  </a:lnTo>
                  <a:lnTo>
                    <a:pt x="1952587" y="198831"/>
                  </a:lnTo>
                  <a:lnTo>
                    <a:pt x="1952587" y="199530"/>
                  </a:lnTo>
                  <a:lnTo>
                    <a:pt x="1952625" y="199530"/>
                  </a:lnTo>
                  <a:lnTo>
                    <a:pt x="1952625" y="198831"/>
                  </a:lnTo>
                  <a:lnTo>
                    <a:pt x="1952625" y="199530"/>
                  </a:lnTo>
                  <a:lnTo>
                    <a:pt x="1952625" y="198831"/>
                  </a:lnTo>
                  <a:lnTo>
                    <a:pt x="1952625" y="199530"/>
                  </a:lnTo>
                  <a:lnTo>
                    <a:pt x="1952625" y="198831"/>
                  </a:lnTo>
                  <a:lnTo>
                    <a:pt x="1952676" y="198831"/>
                  </a:lnTo>
                  <a:lnTo>
                    <a:pt x="1952676" y="200228"/>
                  </a:lnTo>
                  <a:lnTo>
                    <a:pt x="1952676" y="199530"/>
                  </a:lnTo>
                  <a:lnTo>
                    <a:pt x="1952727" y="199530"/>
                  </a:lnTo>
                  <a:lnTo>
                    <a:pt x="1952727" y="198831"/>
                  </a:lnTo>
                  <a:lnTo>
                    <a:pt x="1952727" y="199530"/>
                  </a:lnTo>
                  <a:lnTo>
                    <a:pt x="1952727" y="198831"/>
                  </a:lnTo>
                  <a:lnTo>
                    <a:pt x="1952727" y="199530"/>
                  </a:lnTo>
                  <a:lnTo>
                    <a:pt x="1952727" y="198831"/>
                  </a:lnTo>
                  <a:lnTo>
                    <a:pt x="1952829" y="198831"/>
                  </a:lnTo>
                  <a:lnTo>
                    <a:pt x="1952829" y="196799"/>
                  </a:lnTo>
                  <a:lnTo>
                    <a:pt x="1952880" y="196799"/>
                  </a:lnTo>
                  <a:lnTo>
                    <a:pt x="1952880" y="197447"/>
                  </a:lnTo>
                  <a:lnTo>
                    <a:pt x="1952880" y="196113"/>
                  </a:lnTo>
                  <a:lnTo>
                    <a:pt x="1952880" y="197447"/>
                  </a:lnTo>
                  <a:lnTo>
                    <a:pt x="1952930" y="197447"/>
                  </a:lnTo>
                  <a:lnTo>
                    <a:pt x="1952930" y="196799"/>
                  </a:lnTo>
                  <a:lnTo>
                    <a:pt x="1952930" y="199530"/>
                  </a:lnTo>
                  <a:lnTo>
                    <a:pt x="1952930" y="198831"/>
                  </a:lnTo>
                  <a:lnTo>
                    <a:pt x="1953032" y="198831"/>
                  </a:lnTo>
                  <a:lnTo>
                    <a:pt x="1953032" y="197447"/>
                  </a:lnTo>
                  <a:lnTo>
                    <a:pt x="1953032" y="199530"/>
                  </a:lnTo>
                  <a:lnTo>
                    <a:pt x="1953032" y="198831"/>
                  </a:lnTo>
                  <a:lnTo>
                    <a:pt x="1953083" y="197447"/>
                  </a:lnTo>
                  <a:lnTo>
                    <a:pt x="1953083" y="199530"/>
                  </a:lnTo>
                  <a:lnTo>
                    <a:pt x="1953083" y="198831"/>
                  </a:lnTo>
                  <a:lnTo>
                    <a:pt x="1953134" y="198831"/>
                  </a:lnTo>
                  <a:lnTo>
                    <a:pt x="1953134" y="199530"/>
                  </a:lnTo>
                  <a:lnTo>
                    <a:pt x="1953134" y="198831"/>
                  </a:lnTo>
                  <a:lnTo>
                    <a:pt x="1953134" y="199530"/>
                  </a:lnTo>
                  <a:lnTo>
                    <a:pt x="1953134" y="198831"/>
                  </a:lnTo>
                  <a:lnTo>
                    <a:pt x="1953134" y="199530"/>
                  </a:lnTo>
                  <a:lnTo>
                    <a:pt x="1953134" y="198831"/>
                  </a:lnTo>
                  <a:lnTo>
                    <a:pt x="1953172" y="199530"/>
                  </a:lnTo>
                  <a:lnTo>
                    <a:pt x="1953172" y="198831"/>
                  </a:lnTo>
                  <a:lnTo>
                    <a:pt x="1953172" y="199530"/>
                  </a:lnTo>
                  <a:lnTo>
                    <a:pt x="1953172" y="198831"/>
                  </a:lnTo>
                  <a:lnTo>
                    <a:pt x="1953172" y="199530"/>
                  </a:lnTo>
                  <a:lnTo>
                    <a:pt x="1953172" y="198831"/>
                  </a:lnTo>
                  <a:lnTo>
                    <a:pt x="1953172" y="199530"/>
                  </a:lnTo>
                  <a:lnTo>
                    <a:pt x="1953273" y="199530"/>
                  </a:lnTo>
                  <a:lnTo>
                    <a:pt x="1953273" y="198831"/>
                  </a:lnTo>
                  <a:lnTo>
                    <a:pt x="1953273" y="199530"/>
                  </a:lnTo>
                  <a:lnTo>
                    <a:pt x="1953273" y="198831"/>
                  </a:lnTo>
                  <a:lnTo>
                    <a:pt x="1953273" y="199530"/>
                  </a:lnTo>
                  <a:lnTo>
                    <a:pt x="1953273" y="197447"/>
                  </a:lnTo>
                  <a:lnTo>
                    <a:pt x="1953273" y="198831"/>
                  </a:lnTo>
                  <a:lnTo>
                    <a:pt x="1953273" y="197447"/>
                  </a:lnTo>
                  <a:lnTo>
                    <a:pt x="1953324" y="197447"/>
                  </a:lnTo>
                  <a:lnTo>
                    <a:pt x="1953324" y="196113"/>
                  </a:lnTo>
                  <a:lnTo>
                    <a:pt x="1953324" y="196799"/>
                  </a:lnTo>
                  <a:lnTo>
                    <a:pt x="1953324" y="196113"/>
                  </a:lnTo>
                  <a:lnTo>
                    <a:pt x="1953375" y="196113"/>
                  </a:lnTo>
                  <a:lnTo>
                    <a:pt x="1953375" y="194716"/>
                  </a:lnTo>
                  <a:lnTo>
                    <a:pt x="1953375" y="196799"/>
                  </a:lnTo>
                  <a:lnTo>
                    <a:pt x="1953375" y="196113"/>
                  </a:lnTo>
                  <a:lnTo>
                    <a:pt x="1953476" y="196113"/>
                  </a:lnTo>
                  <a:lnTo>
                    <a:pt x="1953476" y="195415"/>
                  </a:lnTo>
                  <a:lnTo>
                    <a:pt x="1953476" y="198831"/>
                  </a:lnTo>
                  <a:lnTo>
                    <a:pt x="1953476" y="197447"/>
                  </a:lnTo>
                  <a:lnTo>
                    <a:pt x="1953527" y="197447"/>
                  </a:lnTo>
                  <a:lnTo>
                    <a:pt x="1953527" y="198831"/>
                  </a:lnTo>
                  <a:lnTo>
                    <a:pt x="1953527" y="197447"/>
                  </a:lnTo>
                  <a:lnTo>
                    <a:pt x="1953578" y="197447"/>
                  </a:lnTo>
                  <a:lnTo>
                    <a:pt x="1953578" y="198831"/>
                  </a:lnTo>
                  <a:lnTo>
                    <a:pt x="1953578" y="197447"/>
                  </a:lnTo>
                  <a:lnTo>
                    <a:pt x="1953578" y="198831"/>
                  </a:lnTo>
                  <a:lnTo>
                    <a:pt x="1953578" y="197447"/>
                  </a:lnTo>
                  <a:lnTo>
                    <a:pt x="1953578" y="198831"/>
                  </a:lnTo>
                  <a:lnTo>
                    <a:pt x="1953578" y="197447"/>
                  </a:lnTo>
                  <a:lnTo>
                    <a:pt x="1953578" y="198831"/>
                  </a:lnTo>
                  <a:lnTo>
                    <a:pt x="1953629" y="199530"/>
                  </a:lnTo>
                  <a:lnTo>
                    <a:pt x="1953629" y="198831"/>
                  </a:lnTo>
                  <a:lnTo>
                    <a:pt x="1953629" y="199530"/>
                  </a:lnTo>
                  <a:lnTo>
                    <a:pt x="1953629" y="198831"/>
                  </a:lnTo>
                  <a:lnTo>
                    <a:pt x="1953629" y="199530"/>
                  </a:lnTo>
                  <a:lnTo>
                    <a:pt x="1953718" y="199530"/>
                  </a:lnTo>
                  <a:lnTo>
                    <a:pt x="1953718" y="200228"/>
                  </a:lnTo>
                  <a:lnTo>
                    <a:pt x="1953718" y="199530"/>
                  </a:lnTo>
                  <a:lnTo>
                    <a:pt x="1953718" y="200228"/>
                  </a:lnTo>
                  <a:lnTo>
                    <a:pt x="1953718" y="199530"/>
                  </a:lnTo>
                  <a:lnTo>
                    <a:pt x="1953718" y="200228"/>
                  </a:lnTo>
                  <a:lnTo>
                    <a:pt x="1953718" y="199530"/>
                  </a:lnTo>
                  <a:lnTo>
                    <a:pt x="1953769" y="199530"/>
                  </a:lnTo>
                  <a:lnTo>
                    <a:pt x="1953769" y="197447"/>
                  </a:lnTo>
                  <a:lnTo>
                    <a:pt x="1953819" y="197447"/>
                  </a:lnTo>
                  <a:lnTo>
                    <a:pt x="1953819" y="198831"/>
                  </a:lnTo>
                  <a:lnTo>
                    <a:pt x="1953819" y="196113"/>
                  </a:lnTo>
                  <a:lnTo>
                    <a:pt x="1953819" y="196799"/>
                  </a:lnTo>
                  <a:lnTo>
                    <a:pt x="1953819" y="196113"/>
                  </a:lnTo>
                  <a:lnTo>
                    <a:pt x="1953870" y="196113"/>
                  </a:lnTo>
                  <a:lnTo>
                    <a:pt x="1953870" y="197447"/>
                  </a:lnTo>
                  <a:lnTo>
                    <a:pt x="1953870" y="196799"/>
                  </a:lnTo>
                  <a:lnTo>
                    <a:pt x="1953972" y="196799"/>
                  </a:lnTo>
                  <a:lnTo>
                    <a:pt x="1953972" y="198831"/>
                  </a:lnTo>
                  <a:lnTo>
                    <a:pt x="1953972" y="197447"/>
                  </a:lnTo>
                  <a:lnTo>
                    <a:pt x="1954022" y="197447"/>
                  </a:lnTo>
                  <a:lnTo>
                    <a:pt x="1954022" y="198831"/>
                  </a:lnTo>
                  <a:lnTo>
                    <a:pt x="1954022" y="197447"/>
                  </a:lnTo>
                  <a:lnTo>
                    <a:pt x="1954022" y="198831"/>
                  </a:lnTo>
                  <a:lnTo>
                    <a:pt x="1954073" y="197447"/>
                  </a:lnTo>
                  <a:lnTo>
                    <a:pt x="1954073" y="199530"/>
                  </a:lnTo>
                  <a:lnTo>
                    <a:pt x="1954175" y="199530"/>
                  </a:lnTo>
                  <a:lnTo>
                    <a:pt x="1954175" y="198831"/>
                  </a:lnTo>
                  <a:lnTo>
                    <a:pt x="1954175" y="199530"/>
                  </a:lnTo>
                  <a:lnTo>
                    <a:pt x="1954213" y="200228"/>
                  </a:lnTo>
                  <a:lnTo>
                    <a:pt x="1954213" y="198831"/>
                  </a:lnTo>
                  <a:lnTo>
                    <a:pt x="1954213" y="199530"/>
                  </a:lnTo>
                  <a:lnTo>
                    <a:pt x="1954264" y="198831"/>
                  </a:lnTo>
                  <a:lnTo>
                    <a:pt x="1954264" y="199530"/>
                  </a:lnTo>
                  <a:lnTo>
                    <a:pt x="1954264" y="197447"/>
                  </a:lnTo>
                  <a:lnTo>
                    <a:pt x="1954264" y="198831"/>
                  </a:lnTo>
                  <a:lnTo>
                    <a:pt x="1954264" y="196799"/>
                  </a:lnTo>
                  <a:lnTo>
                    <a:pt x="1954315" y="196799"/>
                  </a:lnTo>
                  <a:lnTo>
                    <a:pt x="1954315" y="195415"/>
                  </a:lnTo>
                  <a:lnTo>
                    <a:pt x="1954315" y="196113"/>
                  </a:lnTo>
                  <a:lnTo>
                    <a:pt x="1954416" y="195415"/>
                  </a:lnTo>
                  <a:lnTo>
                    <a:pt x="1954416" y="196799"/>
                  </a:lnTo>
                  <a:lnTo>
                    <a:pt x="1954416" y="196113"/>
                  </a:lnTo>
                  <a:lnTo>
                    <a:pt x="1954416" y="196799"/>
                  </a:lnTo>
                  <a:lnTo>
                    <a:pt x="1954416" y="196113"/>
                  </a:lnTo>
                  <a:lnTo>
                    <a:pt x="1954416" y="196799"/>
                  </a:lnTo>
                  <a:lnTo>
                    <a:pt x="1954467" y="196799"/>
                  </a:lnTo>
                  <a:lnTo>
                    <a:pt x="1954467" y="197447"/>
                  </a:lnTo>
                  <a:lnTo>
                    <a:pt x="1954467" y="196799"/>
                  </a:lnTo>
                  <a:lnTo>
                    <a:pt x="1954467" y="197447"/>
                  </a:lnTo>
                  <a:lnTo>
                    <a:pt x="1954518" y="197447"/>
                  </a:lnTo>
                  <a:lnTo>
                    <a:pt x="1954518" y="198831"/>
                  </a:lnTo>
                  <a:lnTo>
                    <a:pt x="1954518" y="197447"/>
                  </a:lnTo>
                  <a:lnTo>
                    <a:pt x="1954518" y="198831"/>
                  </a:lnTo>
                  <a:lnTo>
                    <a:pt x="1954518" y="196799"/>
                  </a:lnTo>
                  <a:lnTo>
                    <a:pt x="1954518" y="197447"/>
                  </a:lnTo>
                  <a:lnTo>
                    <a:pt x="1954619" y="197447"/>
                  </a:lnTo>
                  <a:lnTo>
                    <a:pt x="1954619" y="198831"/>
                  </a:lnTo>
                  <a:lnTo>
                    <a:pt x="1954619" y="197447"/>
                  </a:lnTo>
                  <a:lnTo>
                    <a:pt x="1954619" y="199530"/>
                  </a:lnTo>
                  <a:lnTo>
                    <a:pt x="1954619" y="198831"/>
                  </a:lnTo>
                  <a:lnTo>
                    <a:pt x="1954670" y="198831"/>
                  </a:lnTo>
                  <a:lnTo>
                    <a:pt x="1954670" y="199530"/>
                  </a:lnTo>
                  <a:lnTo>
                    <a:pt x="1954670" y="198831"/>
                  </a:lnTo>
                  <a:lnTo>
                    <a:pt x="1954670" y="199530"/>
                  </a:lnTo>
                  <a:lnTo>
                    <a:pt x="1954670" y="198831"/>
                  </a:lnTo>
                  <a:lnTo>
                    <a:pt x="1954670" y="199530"/>
                  </a:lnTo>
                  <a:lnTo>
                    <a:pt x="1954721" y="199530"/>
                  </a:lnTo>
                  <a:lnTo>
                    <a:pt x="1954721" y="198831"/>
                  </a:lnTo>
                  <a:lnTo>
                    <a:pt x="1954721" y="199530"/>
                  </a:lnTo>
                  <a:lnTo>
                    <a:pt x="1954721" y="198831"/>
                  </a:lnTo>
                  <a:lnTo>
                    <a:pt x="1954759" y="198831"/>
                  </a:lnTo>
                  <a:lnTo>
                    <a:pt x="1954759" y="197447"/>
                  </a:lnTo>
                  <a:lnTo>
                    <a:pt x="1954759" y="198831"/>
                  </a:lnTo>
                  <a:lnTo>
                    <a:pt x="1954759" y="197447"/>
                  </a:lnTo>
                  <a:lnTo>
                    <a:pt x="1954861" y="197447"/>
                  </a:lnTo>
                  <a:lnTo>
                    <a:pt x="1954861" y="196799"/>
                  </a:lnTo>
                  <a:lnTo>
                    <a:pt x="1954861" y="197447"/>
                  </a:lnTo>
                  <a:lnTo>
                    <a:pt x="1954861" y="196799"/>
                  </a:lnTo>
                  <a:lnTo>
                    <a:pt x="1954861" y="197447"/>
                  </a:lnTo>
                  <a:lnTo>
                    <a:pt x="1954861" y="196113"/>
                  </a:lnTo>
                  <a:lnTo>
                    <a:pt x="1954861" y="196799"/>
                  </a:lnTo>
                  <a:lnTo>
                    <a:pt x="1954861" y="196113"/>
                  </a:lnTo>
                  <a:lnTo>
                    <a:pt x="1954912" y="196113"/>
                  </a:lnTo>
                  <a:lnTo>
                    <a:pt x="1954912" y="197447"/>
                  </a:lnTo>
                  <a:lnTo>
                    <a:pt x="1954912" y="196799"/>
                  </a:lnTo>
                  <a:lnTo>
                    <a:pt x="1954912" y="197447"/>
                  </a:lnTo>
                  <a:lnTo>
                    <a:pt x="1954962" y="197447"/>
                  </a:lnTo>
                  <a:lnTo>
                    <a:pt x="1954962" y="196799"/>
                  </a:lnTo>
                  <a:lnTo>
                    <a:pt x="1954962" y="197447"/>
                  </a:lnTo>
                  <a:lnTo>
                    <a:pt x="1954962" y="196799"/>
                  </a:lnTo>
                  <a:lnTo>
                    <a:pt x="1954962" y="197447"/>
                  </a:lnTo>
                  <a:lnTo>
                    <a:pt x="1954962" y="196799"/>
                  </a:lnTo>
                  <a:lnTo>
                    <a:pt x="1954962" y="197447"/>
                  </a:lnTo>
                  <a:lnTo>
                    <a:pt x="1955064" y="197447"/>
                  </a:lnTo>
                  <a:lnTo>
                    <a:pt x="1955064" y="196799"/>
                  </a:lnTo>
                  <a:lnTo>
                    <a:pt x="1955064" y="197447"/>
                  </a:lnTo>
                  <a:lnTo>
                    <a:pt x="1955064" y="196799"/>
                  </a:lnTo>
                  <a:lnTo>
                    <a:pt x="1955064" y="197447"/>
                  </a:lnTo>
                  <a:lnTo>
                    <a:pt x="1955115" y="197447"/>
                  </a:lnTo>
                  <a:lnTo>
                    <a:pt x="1955115" y="199530"/>
                  </a:lnTo>
                  <a:lnTo>
                    <a:pt x="1955115" y="198831"/>
                  </a:lnTo>
                  <a:lnTo>
                    <a:pt x="1955216" y="198831"/>
                  </a:lnTo>
                  <a:lnTo>
                    <a:pt x="1955216" y="197447"/>
                  </a:lnTo>
                  <a:lnTo>
                    <a:pt x="1955216" y="198831"/>
                  </a:lnTo>
                  <a:lnTo>
                    <a:pt x="1955216" y="197447"/>
                  </a:lnTo>
                  <a:lnTo>
                    <a:pt x="1955216" y="198831"/>
                  </a:lnTo>
                  <a:lnTo>
                    <a:pt x="1955216" y="197447"/>
                  </a:lnTo>
                  <a:lnTo>
                    <a:pt x="1955305" y="197447"/>
                  </a:lnTo>
                  <a:lnTo>
                    <a:pt x="1955305" y="196799"/>
                  </a:lnTo>
                  <a:lnTo>
                    <a:pt x="1955305" y="198831"/>
                  </a:lnTo>
                  <a:lnTo>
                    <a:pt x="1955305" y="196799"/>
                  </a:lnTo>
                  <a:lnTo>
                    <a:pt x="1955356" y="196799"/>
                  </a:lnTo>
                  <a:lnTo>
                    <a:pt x="1955356" y="198831"/>
                  </a:lnTo>
                  <a:lnTo>
                    <a:pt x="1955356" y="196113"/>
                  </a:lnTo>
                  <a:lnTo>
                    <a:pt x="1955356" y="196799"/>
                  </a:lnTo>
                  <a:lnTo>
                    <a:pt x="1955407" y="196799"/>
                  </a:lnTo>
                  <a:lnTo>
                    <a:pt x="1955407" y="200228"/>
                  </a:lnTo>
                  <a:lnTo>
                    <a:pt x="1955407" y="198831"/>
                  </a:lnTo>
                  <a:lnTo>
                    <a:pt x="1955458" y="198831"/>
                  </a:lnTo>
                  <a:lnTo>
                    <a:pt x="1955458" y="200228"/>
                  </a:lnTo>
                  <a:lnTo>
                    <a:pt x="1955458" y="198831"/>
                  </a:lnTo>
                  <a:lnTo>
                    <a:pt x="1955559" y="198831"/>
                  </a:lnTo>
                  <a:lnTo>
                    <a:pt x="1955559" y="199530"/>
                  </a:lnTo>
                  <a:lnTo>
                    <a:pt x="1955559" y="198831"/>
                  </a:lnTo>
                  <a:lnTo>
                    <a:pt x="1955559" y="199530"/>
                  </a:lnTo>
                  <a:lnTo>
                    <a:pt x="1955559" y="198831"/>
                  </a:lnTo>
                  <a:lnTo>
                    <a:pt x="1955559" y="199530"/>
                  </a:lnTo>
                  <a:lnTo>
                    <a:pt x="1955610" y="199530"/>
                  </a:lnTo>
                  <a:lnTo>
                    <a:pt x="1955610" y="200228"/>
                  </a:lnTo>
                  <a:lnTo>
                    <a:pt x="1955610" y="199530"/>
                  </a:lnTo>
                  <a:lnTo>
                    <a:pt x="1955610" y="200228"/>
                  </a:lnTo>
                  <a:lnTo>
                    <a:pt x="1955610" y="198831"/>
                  </a:lnTo>
                  <a:lnTo>
                    <a:pt x="1955610" y="199530"/>
                  </a:lnTo>
                  <a:lnTo>
                    <a:pt x="1955661" y="199530"/>
                  </a:lnTo>
                  <a:lnTo>
                    <a:pt x="1955661" y="198831"/>
                  </a:lnTo>
                  <a:lnTo>
                    <a:pt x="1955762" y="199530"/>
                  </a:lnTo>
                  <a:lnTo>
                    <a:pt x="1955762" y="197447"/>
                  </a:lnTo>
                  <a:lnTo>
                    <a:pt x="1955800" y="197447"/>
                  </a:lnTo>
                  <a:lnTo>
                    <a:pt x="1955800" y="196799"/>
                  </a:lnTo>
                  <a:lnTo>
                    <a:pt x="1955800" y="197447"/>
                  </a:lnTo>
                  <a:lnTo>
                    <a:pt x="1955851" y="197447"/>
                  </a:lnTo>
                  <a:lnTo>
                    <a:pt x="1955851" y="199530"/>
                  </a:lnTo>
                  <a:lnTo>
                    <a:pt x="1955851" y="198831"/>
                  </a:lnTo>
                  <a:lnTo>
                    <a:pt x="1955851" y="199530"/>
                  </a:lnTo>
                  <a:lnTo>
                    <a:pt x="1955851" y="197447"/>
                  </a:lnTo>
                  <a:lnTo>
                    <a:pt x="1955851" y="199530"/>
                  </a:lnTo>
                  <a:lnTo>
                    <a:pt x="1955902" y="199530"/>
                  </a:lnTo>
                  <a:lnTo>
                    <a:pt x="1955902" y="200228"/>
                  </a:lnTo>
                  <a:lnTo>
                    <a:pt x="1955902" y="198831"/>
                  </a:lnTo>
                  <a:lnTo>
                    <a:pt x="1955902" y="199530"/>
                  </a:lnTo>
                  <a:lnTo>
                    <a:pt x="1956004" y="199530"/>
                  </a:lnTo>
                  <a:lnTo>
                    <a:pt x="1956004" y="200228"/>
                  </a:lnTo>
                  <a:lnTo>
                    <a:pt x="1956004" y="199530"/>
                  </a:lnTo>
                  <a:lnTo>
                    <a:pt x="1956004" y="200228"/>
                  </a:lnTo>
                  <a:lnTo>
                    <a:pt x="1956055" y="200228"/>
                  </a:lnTo>
                  <a:lnTo>
                    <a:pt x="1956055" y="199530"/>
                  </a:lnTo>
                  <a:lnTo>
                    <a:pt x="1956055" y="200228"/>
                  </a:lnTo>
                  <a:lnTo>
                    <a:pt x="1956055" y="199530"/>
                  </a:lnTo>
                  <a:lnTo>
                    <a:pt x="1956055" y="200876"/>
                  </a:lnTo>
                  <a:lnTo>
                    <a:pt x="1956055" y="200228"/>
                  </a:lnTo>
                  <a:lnTo>
                    <a:pt x="1956055" y="200876"/>
                  </a:lnTo>
                  <a:lnTo>
                    <a:pt x="1956055" y="200228"/>
                  </a:lnTo>
                  <a:lnTo>
                    <a:pt x="1956105" y="200876"/>
                  </a:lnTo>
                  <a:lnTo>
                    <a:pt x="1956105" y="200228"/>
                  </a:lnTo>
                  <a:lnTo>
                    <a:pt x="1956105" y="200876"/>
                  </a:lnTo>
                  <a:lnTo>
                    <a:pt x="1956105" y="200228"/>
                  </a:lnTo>
                  <a:lnTo>
                    <a:pt x="1956207" y="200228"/>
                  </a:lnTo>
                  <a:lnTo>
                    <a:pt x="1956207" y="199530"/>
                  </a:lnTo>
                  <a:lnTo>
                    <a:pt x="1956207" y="200228"/>
                  </a:lnTo>
                  <a:lnTo>
                    <a:pt x="1956207" y="198831"/>
                  </a:lnTo>
                  <a:lnTo>
                    <a:pt x="1956207" y="199530"/>
                  </a:lnTo>
                  <a:lnTo>
                    <a:pt x="1956258" y="199530"/>
                  </a:lnTo>
                  <a:lnTo>
                    <a:pt x="1956258" y="197447"/>
                  </a:lnTo>
                  <a:lnTo>
                    <a:pt x="1956258" y="198831"/>
                  </a:lnTo>
                  <a:lnTo>
                    <a:pt x="1956258" y="196799"/>
                  </a:lnTo>
                  <a:lnTo>
                    <a:pt x="1956309" y="196799"/>
                  </a:lnTo>
                  <a:lnTo>
                    <a:pt x="1956309" y="196113"/>
                  </a:lnTo>
                  <a:lnTo>
                    <a:pt x="1956309" y="196799"/>
                  </a:lnTo>
                  <a:lnTo>
                    <a:pt x="1956309" y="196113"/>
                  </a:lnTo>
                  <a:lnTo>
                    <a:pt x="1956309" y="197447"/>
                  </a:lnTo>
                  <a:lnTo>
                    <a:pt x="1956347" y="197447"/>
                  </a:lnTo>
                  <a:lnTo>
                    <a:pt x="1956347" y="196113"/>
                  </a:lnTo>
                  <a:lnTo>
                    <a:pt x="1956347" y="198831"/>
                  </a:lnTo>
                  <a:lnTo>
                    <a:pt x="1956448" y="198831"/>
                  </a:lnTo>
                  <a:lnTo>
                    <a:pt x="1956448" y="196799"/>
                  </a:lnTo>
                  <a:lnTo>
                    <a:pt x="1956448" y="198831"/>
                  </a:lnTo>
                  <a:lnTo>
                    <a:pt x="1956499" y="198831"/>
                  </a:lnTo>
                  <a:lnTo>
                    <a:pt x="1956499" y="197447"/>
                  </a:lnTo>
                  <a:lnTo>
                    <a:pt x="1956499" y="199530"/>
                  </a:lnTo>
                  <a:lnTo>
                    <a:pt x="1956499" y="198831"/>
                  </a:lnTo>
                  <a:lnTo>
                    <a:pt x="1956499" y="199530"/>
                  </a:lnTo>
                  <a:lnTo>
                    <a:pt x="1956499" y="198831"/>
                  </a:lnTo>
                  <a:lnTo>
                    <a:pt x="1956499" y="199530"/>
                  </a:lnTo>
                  <a:lnTo>
                    <a:pt x="1956550" y="199530"/>
                  </a:lnTo>
                  <a:lnTo>
                    <a:pt x="1956550" y="198831"/>
                  </a:lnTo>
                  <a:lnTo>
                    <a:pt x="1956550" y="200228"/>
                  </a:lnTo>
                  <a:lnTo>
                    <a:pt x="1956550" y="199530"/>
                  </a:lnTo>
                  <a:lnTo>
                    <a:pt x="1956550" y="200228"/>
                  </a:lnTo>
                  <a:lnTo>
                    <a:pt x="1956550" y="199530"/>
                  </a:lnTo>
                  <a:lnTo>
                    <a:pt x="1956550" y="200228"/>
                  </a:lnTo>
                  <a:lnTo>
                    <a:pt x="1956651" y="199530"/>
                  </a:lnTo>
                  <a:lnTo>
                    <a:pt x="1956651" y="200228"/>
                  </a:lnTo>
                  <a:lnTo>
                    <a:pt x="1956651" y="199530"/>
                  </a:lnTo>
                  <a:lnTo>
                    <a:pt x="1956651" y="200228"/>
                  </a:lnTo>
                  <a:lnTo>
                    <a:pt x="1956651" y="199530"/>
                  </a:lnTo>
                  <a:lnTo>
                    <a:pt x="1956702" y="199530"/>
                  </a:lnTo>
                  <a:lnTo>
                    <a:pt x="1956702" y="200228"/>
                  </a:lnTo>
                  <a:lnTo>
                    <a:pt x="1956702" y="199530"/>
                  </a:lnTo>
                  <a:lnTo>
                    <a:pt x="1956702" y="200228"/>
                  </a:lnTo>
                  <a:lnTo>
                    <a:pt x="1956702" y="199530"/>
                  </a:lnTo>
                  <a:lnTo>
                    <a:pt x="1956753" y="199530"/>
                  </a:lnTo>
                  <a:lnTo>
                    <a:pt x="1956753" y="197447"/>
                  </a:lnTo>
                  <a:lnTo>
                    <a:pt x="1956804" y="196799"/>
                  </a:lnTo>
                  <a:lnTo>
                    <a:pt x="1956804" y="198831"/>
                  </a:lnTo>
                  <a:lnTo>
                    <a:pt x="1956804" y="197447"/>
                  </a:lnTo>
                  <a:lnTo>
                    <a:pt x="1956893" y="197447"/>
                  </a:lnTo>
                  <a:lnTo>
                    <a:pt x="1956893" y="198831"/>
                  </a:lnTo>
                  <a:lnTo>
                    <a:pt x="1956893" y="196799"/>
                  </a:lnTo>
                  <a:lnTo>
                    <a:pt x="1956893" y="198831"/>
                  </a:lnTo>
                  <a:lnTo>
                    <a:pt x="1956893" y="197447"/>
                  </a:lnTo>
                  <a:lnTo>
                    <a:pt x="1956893" y="198831"/>
                  </a:lnTo>
                  <a:lnTo>
                    <a:pt x="1956944" y="198831"/>
                  </a:lnTo>
                  <a:lnTo>
                    <a:pt x="1956944" y="197447"/>
                  </a:lnTo>
                  <a:lnTo>
                    <a:pt x="1956944" y="198831"/>
                  </a:lnTo>
                  <a:lnTo>
                    <a:pt x="1956994" y="197447"/>
                  </a:lnTo>
                  <a:lnTo>
                    <a:pt x="1956994" y="198831"/>
                  </a:lnTo>
                  <a:lnTo>
                    <a:pt x="1956994" y="197447"/>
                  </a:lnTo>
                  <a:lnTo>
                    <a:pt x="1956994" y="199530"/>
                  </a:lnTo>
                  <a:lnTo>
                    <a:pt x="1956994" y="198831"/>
                  </a:lnTo>
                  <a:lnTo>
                    <a:pt x="1956994" y="199530"/>
                  </a:lnTo>
                  <a:lnTo>
                    <a:pt x="1956994" y="198831"/>
                  </a:lnTo>
                  <a:lnTo>
                    <a:pt x="1957045" y="198831"/>
                  </a:lnTo>
                  <a:lnTo>
                    <a:pt x="1957045" y="200228"/>
                  </a:lnTo>
                  <a:lnTo>
                    <a:pt x="1957045" y="199530"/>
                  </a:lnTo>
                  <a:lnTo>
                    <a:pt x="1957045" y="200228"/>
                  </a:lnTo>
                  <a:lnTo>
                    <a:pt x="1957045" y="199530"/>
                  </a:lnTo>
                  <a:lnTo>
                    <a:pt x="1957045" y="200228"/>
                  </a:lnTo>
                  <a:lnTo>
                    <a:pt x="1957147" y="200228"/>
                  </a:lnTo>
                  <a:lnTo>
                    <a:pt x="1957147" y="199530"/>
                  </a:lnTo>
                  <a:lnTo>
                    <a:pt x="1957147" y="200228"/>
                  </a:lnTo>
                  <a:lnTo>
                    <a:pt x="1957147" y="199530"/>
                  </a:lnTo>
                  <a:lnTo>
                    <a:pt x="1957197" y="199530"/>
                  </a:lnTo>
                  <a:lnTo>
                    <a:pt x="1957197" y="198831"/>
                  </a:lnTo>
                  <a:lnTo>
                    <a:pt x="1957197" y="199530"/>
                  </a:lnTo>
                  <a:lnTo>
                    <a:pt x="1957197" y="198831"/>
                  </a:lnTo>
                  <a:lnTo>
                    <a:pt x="1957248" y="198831"/>
                  </a:lnTo>
                  <a:lnTo>
                    <a:pt x="1957248" y="196799"/>
                  </a:lnTo>
                  <a:lnTo>
                    <a:pt x="1957248" y="197447"/>
                  </a:lnTo>
                  <a:lnTo>
                    <a:pt x="1957248" y="196113"/>
                  </a:lnTo>
                  <a:lnTo>
                    <a:pt x="1957350" y="196113"/>
                  </a:lnTo>
                  <a:lnTo>
                    <a:pt x="1957350" y="196799"/>
                  </a:lnTo>
                  <a:lnTo>
                    <a:pt x="1957350" y="195415"/>
                  </a:lnTo>
                  <a:lnTo>
                    <a:pt x="1957350" y="196799"/>
                  </a:lnTo>
                  <a:lnTo>
                    <a:pt x="1957350" y="196113"/>
                  </a:lnTo>
                  <a:lnTo>
                    <a:pt x="1957350" y="196799"/>
                  </a:lnTo>
                  <a:lnTo>
                    <a:pt x="1957388" y="196799"/>
                  </a:lnTo>
                  <a:lnTo>
                    <a:pt x="1957388" y="195415"/>
                  </a:lnTo>
                  <a:lnTo>
                    <a:pt x="1957388" y="198831"/>
                  </a:lnTo>
                  <a:lnTo>
                    <a:pt x="1957388" y="197447"/>
                  </a:lnTo>
                  <a:lnTo>
                    <a:pt x="1957439" y="197447"/>
                  </a:lnTo>
                  <a:lnTo>
                    <a:pt x="1957439" y="196799"/>
                  </a:lnTo>
                  <a:lnTo>
                    <a:pt x="1957439" y="198831"/>
                  </a:lnTo>
                  <a:lnTo>
                    <a:pt x="1957439" y="197447"/>
                  </a:lnTo>
                  <a:lnTo>
                    <a:pt x="1957490" y="197447"/>
                  </a:lnTo>
                  <a:lnTo>
                    <a:pt x="1957490" y="198831"/>
                  </a:lnTo>
                  <a:lnTo>
                    <a:pt x="1957490" y="197447"/>
                  </a:lnTo>
                  <a:lnTo>
                    <a:pt x="1957490" y="198831"/>
                  </a:lnTo>
                  <a:lnTo>
                    <a:pt x="1957490" y="197447"/>
                  </a:lnTo>
                  <a:lnTo>
                    <a:pt x="1957490" y="198831"/>
                  </a:lnTo>
                  <a:lnTo>
                    <a:pt x="1957490" y="197447"/>
                  </a:lnTo>
                  <a:lnTo>
                    <a:pt x="1957490" y="198831"/>
                  </a:lnTo>
                  <a:lnTo>
                    <a:pt x="1957591" y="198831"/>
                  </a:lnTo>
                  <a:lnTo>
                    <a:pt x="1957591" y="199530"/>
                  </a:lnTo>
                  <a:lnTo>
                    <a:pt x="1957591" y="198831"/>
                  </a:lnTo>
                  <a:lnTo>
                    <a:pt x="1957591" y="199530"/>
                  </a:lnTo>
                  <a:lnTo>
                    <a:pt x="1957642" y="199530"/>
                  </a:lnTo>
                  <a:lnTo>
                    <a:pt x="1957642" y="198831"/>
                  </a:lnTo>
                  <a:lnTo>
                    <a:pt x="1957693" y="199530"/>
                  </a:lnTo>
                  <a:lnTo>
                    <a:pt x="1957693" y="198831"/>
                  </a:lnTo>
                  <a:lnTo>
                    <a:pt x="1957794" y="199530"/>
                  </a:lnTo>
                  <a:lnTo>
                    <a:pt x="1957794" y="196799"/>
                  </a:lnTo>
                  <a:lnTo>
                    <a:pt x="1957794" y="197447"/>
                  </a:lnTo>
                  <a:lnTo>
                    <a:pt x="1957794" y="196799"/>
                  </a:lnTo>
                  <a:lnTo>
                    <a:pt x="1957794" y="197447"/>
                  </a:lnTo>
                  <a:lnTo>
                    <a:pt x="1957845" y="197447"/>
                  </a:lnTo>
                  <a:lnTo>
                    <a:pt x="1957845" y="196113"/>
                  </a:lnTo>
                  <a:lnTo>
                    <a:pt x="1957845" y="197447"/>
                  </a:lnTo>
                  <a:lnTo>
                    <a:pt x="1957845" y="196113"/>
                  </a:lnTo>
                  <a:lnTo>
                    <a:pt x="1957896" y="195415"/>
                  </a:lnTo>
                  <a:lnTo>
                    <a:pt x="1957896" y="197447"/>
                  </a:lnTo>
                  <a:lnTo>
                    <a:pt x="1957896" y="196113"/>
                  </a:lnTo>
                  <a:lnTo>
                    <a:pt x="1957934" y="196113"/>
                  </a:lnTo>
                  <a:lnTo>
                    <a:pt x="1957934" y="197447"/>
                  </a:lnTo>
                  <a:lnTo>
                    <a:pt x="1957934" y="196799"/>
                  </a:lnTo>
                  <a:lnTo>
                    <a:pt x="1958036" y="196799"/>
                  </a:lnTo>
                  <a:lnTo>
                    <a:pt x="1958036" y="197447"/>
                  </a:lnTo>
                  <a:lnTo>
                    <a:pt x="1958087" y="197447"/>
                  </a:lnTo>
                  <a:lnTo>
                    <a:pt x="1958087" y="198831"/>
                  </a:lnTo>
                  <a:lnTo>
                    <a:pt x="1958087" y="197447"/>
                  </a:lnTo>
                  <a:lnTo>
                    <a:pt x="1958087" y="198831"/>
                  </a:lnTo>
                  <a:lnTo>
                    <a:pt x="1958087" y="197447"/>
                  </a:lnTo>
                  <a:lnTo>
                    <a:pt x="1958087" y="198831"/>
                  </a:lnTo>
                  <a:lnTo>
                    <a:pt x="1958137" y="198831"/>
                  </a:lnTo>
                  <a:lnTo>
                    <a:pt x="1958137" y="197447"/>
                  </a:lnTo>
                  <a:lnTo>
                    <a:pt x="1958137" y="198831"/>
                  </a:lnTo>
                  <a:lnTo>
                    <a:pt x="1958137" y="197447"/>
                  </a:lnTo>
                  <a:lnTo>
                    <a:pt x="1958137" y="198831"/>
                  </a:lnTo>
                  <a:lnTo>
                    <a:pt x="1958239" y="198831"/>
                  </a:lnTo>
                  <a:lnTo>
                    <a:pt x="1958239" y="197447"/>
                  </a:lnTo>
                  <a:lnTo>
                    <a:pt x="1958239" y="198831"/>
                  </a:lnTo>
                  <a:lnTo>
                    <a:pt x="1958239" y="197447"/>
                  </a:lnTo>
                  <a:lnTo>
                    <a:pt x="1958239" y="198831"/>
                  </a:lnTo>
                  <a:lnTo>
                    <a:pt x="1958239" y="197447"/>
                  </a:lnTo>
                  <a:lnTo>
                    <a:pt x="1958290" y="197447"/>
                  </a:lnTo>
                  <a:lnTo>
                    <a:pt x="1958290" y="196113"/>
                  </a:lnTo>
                  <a:lnTo>
                    <a:pt x="1958290" y="196799"/>
                  </a:lnTo>
                  <a:lnTo>
                    <a:pt x="1958290" y="196113"/>
                  </a:lnTo>
                  <a:lnTo>
                    <a:pt x="1958290" y="197447"/>
                  </a:lnTo>
                  <a:lnTo>
                    <a:pt x="1958340" y="197447"/>
                  </a:lnTo>
                  <a:lnTo>
                    <a:pt x="1958340" y="196799"/>
                  </a:lnTo>
                  <a:lnTo>
                    <a:pt x="1958340" y="198831"/>
                  </a:lnTo>
                  <a:lnTo>
                    <a:pt x="1958391" y="199530"/>
                  </a:lnTo>
                  <a:lnTo>
                    <a:pt x="1958391" y="197447"/>
                  </a:lnTo>
                  <a:lnTo>
                    <a:pt x="1958391" y="198831"/>
                  </a:lnTo>
                  <a:lnTo>
                    <a:pt x="1958391" y="197447"/>
                  </a:lnTo>
                  <a:lnTo>
                    <a:pt x="1958391" y="199530"/>
                  </a:lnTo>
                  <a:lnTo>
                    <a:pt x="1958480" y="200228"/>
                  </a:lnTo>
                  <a:lnTo>
                    <a:pt x="1958480" y="198831"/>
                  </a:lnTo>
                  <a:lnTo>
                    <a:pt x="1958480" y="199530"/>
                  </a:lnTo>
                  <a:lnTo>
                    <a:pt x="1958480" y="198831"/>
                  </a:lnTo>
                  <a:lnTo>
                    <a:pt x="1958480" y="199530"/>
                  </a:lnTo>
                  <a:lnTo>
                    <a:pt x="1958531" y="199530"/>
                  </a:lnTo>
                  <a:lnTo>
                    <a:pt x="1958531" y="198831"/>
                  </a:lnTo>
                  <a:lnTo>
                    <a:pt x="1958531" y="199530"/>
                  </a:lnTo>
                  <a:lnTo>
                    <a:pt x="1958531" y="198831"/>
                  </a:lnTo>
                  <a:lnTo>
                    <a:pt x="1958531" y="199530"/>
                  </a:lnTo>
                  <a:lnTo>
                    <a:pt x="1958582" y="198831"/>
                  </a:lnTo>
                  <a:lnTo>
                    <a:pt x="1958582" y="199530"/>
                  </a:lnTo>
                  <a:lnTo>
                    <a:pt x="1958582" y="198831"/>
                  </a:lnTo>
                  <a:lnTo>
                    <a:pt x="1958582" y="199530"/>
                  </a:lnTo>
                  <a:lnTo>
                    <a:pt x="1958582" y="198831"/>
                  </a:lnTo>
                  <a:lnTo>
                    <a:pt x="1958582" y="199530"/>
                  </a:lnTo>
                  <a:lnTo>
                    <a:pt x="1958633" y="199530"/>
                  </a:lnTo>
                  <a:lnTo>
                    <a:pt x="1958633" y="198831"/>
                  </a:lnTo>
                  <a:lnTo>
                    <a:pt x="1958633" y="199530"/>
                  </a:lnTo>
                  <a:lnTo>
                    <a:pt x="1958633" y="197447"/>
                  </a:lnTo>
                  <a:lnTo>
                    <a:pt x="1958633" y="199530"/>
                  </a:lnTo>
                  <a:lnTo>
                    <a:pt x="1958734" y="199530"/>
                  </a:lnTo>
                  <a:lnTo>
                    <a:pt x="1958734" y="198831"/>
                  </a:lnTo>
                  <a:lnTo>
                    <a:pt x="1958734" y="199530"/>
                  </a:lnTo>
                  <a:lnTo>
                    <a:pt x="1958734" y="197447"/>
                  </a:lnTo>
                  <a:lnTo>
                    <a:pt x="1958785" y="197447"/>
                  </a:lnTo>
                  <a:lnTo>
                    <a:pt x="1958785" y="196799"/>
                  </a:lnTo>
                  <a:lnTo>
                    <a:pt x="1958785" y="198831"/>
                  </a:lnTo>
                  <a:lnTo>
                    <a:pt x="1958785" y="197447"/>
                  </a:lnTo>
                  <a:lnTo>
                    <a:pt x="1958836" y="197447"/>
                  </a:lnTo>
                  <a:lnTo>
                    <a:pt x="1958836" y="196799"/>
                  </a:lnTo>
                  <a:lnTo>
                    <a:pt x="1958836" y="200228"/>
                  </a:lnTo>
                  <a:lnTo>
                    <a:pt x="1958836" y="198831"/>
                  </a:lnTo>
                  <a:lnTo>
                    <a:pt x="1958836" y="199530"/>
                  </a:lnTo>
                  <a:lnTo>
                    <a:pt x="1958937" y="198831"/>
                  </a:lnTo>
                  <a:lnTo>
                    <a:pt x="1958937" y="200228"/>
                  </a:lnTo>
                  <a:lnTo>
                    <a:pt x="1958937" y="198831"/>
                  </a:lnTo>
                  <a:lnTo>
                    <a:pt x="1958975" y="199530"/>
                  </a:lnTo>
                  <a:lnTo>
                    <a:pt x="1958975" y="198831"/>
                  </a:lnTo>
                  <a:lnTo>
                    <a:pt x="1958975" y="200228"/>
                  </a:lnTo>
                  <a:lnTo>
                    <a:pt x="1959026" y="199530"/>
                  </a:lnTo>
                  <a:lnTo>
                    <a:pt x="1959077" y="199530"/>
                  </a:lnTo>
                  <a:lnTo>
                    <a:pt x="1959077" y="200228"/>
                  </a:lnTo>
                  <a:lnTo>
                    <a:pt x="1959077" y="199530"/>
                  </a:lnTo>
                  <a:lnTo>
                    <a:pt x="1959077" y="200228"/>
                  </a:lnTo>
                  <a:lnTo>
                    <a:pt x="1959077" y="198831"/>
                  </a:lnTo>
                  <a:lnTo>
                    <a:pt x="1959179" y="198831"/>
                  </a:lnTo>
                  <a:lnTo>
                    <a:pt x="1959179" y="199530"/>
                  </a:lnTo>
                  <a:lnTo>
                    <a:pt x="1959179" y="197447"/>
                  </a:lnTo>
                  <a:lnTo>
                    <a:pt x="1959179" y="198831"/>
                  </a:lnTo>
                  <a:lnTo>
                    <a:pt x="1959179" y="197447"/>
                  </a:lnTo>
                  <a:lnTo>
                    <a:pt x="1959179" y="198831"/>
                  </a:lnTo>
                  <a:lnTo>
                    <a:pt x="1959230" y="197447"/>
                  </a:lnTo>
                  <a:lnTo>
                    <a:pt x="1959230" y="196799"/>
                  </a:lnTo>
                  <a:lnTo>
                    <a:pt x="1959280" y="196113"/>
                  </a:lnTo>
                  <a:lnTo>
                    <a:pt x="1959280" y="194716"/>
                  </a:lnTo>
                  <a:lnTo>
                    <a:pt x="1959280" y="197447"/>
                  </a:lnTo>
                  <a:lnTo>
                    <a:pt x="1959280" y="196113"/>
                  </a:lnTo>
                  <a:lnTo>
                    <a:pt x="1959382" y="196113"/>
                  </a:lnTo>
                  <a:lnTo>
                    <a:pt x="1959382" y="198831"/>
                  </a:lnTo>
                  <a:lnTo>
                    <a:pt x="1959382" y="197447"/>
                  </a:lnTo>
                  <a:lnTo>
                    <a:pt x="1959382" y="198831"/>
                  </a:lnTo>
                  <a:lnTo>
                    <a:pt x="1959382" y="197447"/>
                  </a:lnTo>
                  <a:lnTo>
                    <a:pt x="1959382" y="198831"/>
                  </a:lnTo>
                  <a:lnTo>
                    <a:pt x="1959433" y="197447"/>
                  </a:lnTo>
                  <a:lnTo>
                    <a:pt x="1959433" y="199530"/>
                  </a:lnTo>
                  <a:lnTo>
                    <a:pt x="1959433" y="198831"/>
                  </a:lnTo>
                  <a:lnTo>
                    <a:pt x="1959484" y="198831"/>
                  </a:lnTo>
                  <a:lnTo>
                    <a:pt x="1959484" y="200228"/>
                  </a:lnTo>
                  <a:lnTo>
                    <a:pt x="1959484" y="199530"/>
                  </a:lnTo>
                  <a:lnTo>
                    <a:pt x="1959522" y="199530"/>
                  </a:lnTo>
                  <a:lnTo>
                    <a:pt x="1959522" y="200228"/>
                  </a:lnTo>
                  <a:lnTo>
                    <a:pt x="1959522" y="199530"/>
                  </a:lnTo>
                  <a:lnTo>
                    <a:pt x="1959623" y="199530"/>
                  </a:lnTo>
                  <a:lnTo>
                    <a:pt x="1959623" y="200228"/>
                  </a:lnTo>
                  <a:lnTo>
                    <a:pt x="1959674" y="200228"/>
                  </a:lnTo>
                  <a:lnTo>
                    <a:pt x="1959674" y="198831"/>
                  </a:lnTo>
                  <a:lnTo>
                    <a:pt x="1959674" y="199530"/>
                  </a:lnTo>
                  <a:lnTo>
                    <a:pt x="1959674" y="198831"/>
                  </a:lnTo>
                  <a:lnTo>
                    <a:pt x="1959725" y="198831"/>
                  </a:lnTo>
                  <a:lnTo>
                    <a:pt x="1959725" y="196113"/>
                  </a:lnTo>
                  <a:lnTo>
                    <a:pt x="1959826" y="196113"/>
                  </a:lnTo>
                  <a:lnTo>
                    <a:pt x="1959826" y="196799"/>
                  </a:lnTo>
                  <a:lnTo>
                    <a:pt x="1959826" y="196113"/>
                  </a:lnTo>
                  <a:lnTo>
                    <a:pt x="1959877" y="196113"/>
                  </a:lnTo>
                  <a:lnTo>
                    <a:pt x="1959877" y="198831"/>
                  </a:lnTo>
                  <a:lnTo>
                    <a:pt x="1959877" y="196799"/>
                  </a:lnTo>
                  <a:lnTo>
                    <a:pt x="1959928" y="196799"/>
                  </a:lnTo>
                  <a:lnTo>
                    <a:pt x="1959928" y="198831"/>
                  </a:lnTo>
                  <a:lnTo>
                    <a:pt x="1959928" y="197447"/>
                  </a:lnTo>
                  <a:lnTo>
                    <a:pt x="1959928" y="198831"/>
                  </a:lnTo>
                  <a:lnTo>
                    <a:pt x="1959979" y="198831"/>
                  </a:lnTo>
                  <a:lnTo>
                    <a:pt x="1959979" y="199530"/>
                  </a:lnTo>
                  <a:lnTo>
                    <a:pt x="1959979" y="198831"/>
                  </a:lnTo>
                  <a:lnTo>
                    <a:pt x="1960068" y="198831"/>
                  </a:lnTo>
                  <a:lnTo>
                    <a:pt x="1960068" y="199530"/>
                  </a:lnTo>
                  <a:lnTo>
                    <a:pt x="1960068" y="198831"/>
                  </a:lnTo>
                  <a:lnTo>
                    <a:pt x="1960068" y="199530"/>
                  </a:lnTo>
                  <a:lnTo>
                    <a:pt x="1960119" y="199530"/>
                  </a:lnTo>
                  <a:lnTo>
                    <a:pt x="1960119" y="198831"/>
                  </a:lnTo>
                  <a:lnTo>
                    <a:pt x="1960119" y="199530"/>
                  </a:lnTo>
                  <a:lnTo>
                    <a:pt x="1960169" y="199530"/>
                  </a:lnTo>
                  <a:lnTo>
                    <a:pt x="1960169" y="198831"/>
                  </a:lnTo>
                  <a:lnTo>
                    <a:pt x="1960169" y="199530"/>
                  </a:lnTo>
                  <a:lnTo>
                    <a:pt x="1960169" y="198831"/>
                  </a:lnTo>
                  <a:lnTo>
                    <a:pt x="1960169" y="199530"/>
                  </a:lnTo>
                  <a:lnTo>
                    <a:pt x="1960169" y="198831"/>
                  </a:lnTo>
                  <a:lnTo>
                    <a:pt x="1960220" y="197447"/>
                  </a:lnTo>
                  <a:lnTo>
                    <a:pt x="1960220" y="195415"/>
                  </a:lnTo>
                  <a:lnTo>
                    <a:pt x="1960322" y="195415"/>
                  </a:lnTo>
                  <a:lnTo>
                    <a:pt x="1960322" y="196113"/>
                  </a:lnTo>
                  <a:lnTo>
                    <a:pt x="1960322" y="195415"/>
                  </a:lnTo>
                  <a:lnTo>
                    <a:pt x="1960372" y="195415"/>
                  </a:lnTo>
                  <a:lnTo>
                    <a:pt x="1960372" y="197447"/>
                  </a:lnTo>
                  <a:lnTo>
                    <a:pt x="1960372" y="196799"/>
                  </a:lnTo>
                  <a:lnTo>
                    <a:pt x="1960372" y="197447"/>
                  </a:lnTo>
                  <a:lnTo>
                    <a:pt x="1960372" y="196799"/>
                  </a:lnTo>
                  <a:lnTo>
                    <a:pt x="1960423" y="196799"/>
                  </a:lnTo>
                  <a:lnTo>
                    <a:pt x="1960423" y="197447"/>
                  </a:lnTo>
                  <a:lnTo>
                    <a:pt x="1960423" y="196799"/>
                  </a:lnTo>
                  <a:lnTo>
                    <a:pt x="1960423" y="197447"/>
                  </a:lnTo>
                  <a:lnTo>
                    <a:pt x="1960423" y="196799"/>
                  </a:lnTo>
                  <a:lnTo>
                    <a:pt x="1960525" y="197447"/>
                  </a:lnTo>
                  <a:lnTo>
                    <a:pt x="1960563" y="197447"/>
                  </a:lnTo>
                  <a:lnTo>
                    <a:pt x="1960563" y="196799"/>
                  </a:lnTo>
                  <a:lnTo>
                    <a:pt x="1960563" y="199530"/>
                  </a:lnTo>
                  <a:lnTo>
                    <a:pt x="1960563" y="198831"/>
                  </a:lnTo>
                  <a:lnTo>
                    <a:pt x="1960563" y="199530"/>
                  </a:lnTo>
                  <a:lnTo>
                    <a:pt x="1960614" y="199530"/>
                  </a:lnTo>
                  <a:lnTo>
                    <a:pt x="1960614" y="198831"/>
                  </a:lnTo>
                  <a:lnTo>
                    <a:pt x="1960614" y="199530"/>
                  </a:lnTo>
                  <a:lnTo>
                    <a:pt x="1960665" y="199530"/>
                  </a:lnTo>
                  <a:lnTo>
                    <a:pt x="1960665" y="197447"/>
                  </a:lnTo>
                  <a:lnTo>
                    <a:pt x="1960665" y="198831"/>
                  </a:lnTo>
                  <a:lnTo>
                    <a:pt x="1960665" y="197447"/>
                  </a:lnTo>
                  <a:lnTo>
                    <a:pt x="1960665" y="198831"/>
                  </a:lnTo>
                  <a:lnTo>
                    <a:pt x="1960665" y="197447"/>
                  </a:lnTo>
                  <a:lnTo>
                    <a:pt x="1960766" y="197447"/>
                  </a:lnTo>
                  <a:lnTo>
                    <a:pt x="1960766" y="198831"/>
                  </a:lnTo>
                  <a:lnTo>
                    <a:pt x="1960766" y="196113"/>
                  </a:lnTo>
                  <a:lnTo>
                    <a:pt x="1960817" y="195415"/>
                  </a:lnTo>
                  <a:lnTo>
                    <a:pt x="1960817" y="194716"/>
                  </a:lnTo>
                  <a:lnTo>
                    <a:pt x="1960817" y="196113"/>
                  </a:lnTo>
                  <a:lnTo>
                    <a:pt x="1960817" y="194716"/>
                  </a:lnTo>
                  <a:lnTo>
                    <a:pt x="1960868" y="193383"/>
                  </a:lnTo>
                  <a:lnTo>
                    <a:pt x="1960868" y="196799"/>
                  </a:lnTo>
                  <a:lnTo>
                    <a:pt x="1960868" y="195415"/>
                  </a:lnTo>
                  <a:lnTo>
                    <a:pt x="1960969" y="196113"/>
                  </a:lnTo>
                  <a:lnTo>
                    <a:pt x="1960969" y="196799"/>
                  </a:lnTo>
                  <a:lnTo>
                    <a:pt x="1960969" y="196113"/>
                  </a:lnTo>
                  <a:lnTo>
                    <a:pt x="1960969" y="196799"/>
                  </a:lnTo>
                  <a:lnTo>
                    <a:pt x="1960969" y="196113"/>
                  </a:lnTo>
                  <a:lnTo>
                    <a:pt x="1960969" y="196799"/>
                  </a:lnTo>
                  <a:lnTo>
                    <a:pt x="1961020" y="196799"/>
                  </a:lnTo>
                  <a:lnTo>
                    <a:pt x="1961020" y="196113"/>
                  </a:lnTo>
                  <a:lnTo>
                    <a:pt x="1961020" y="196799"/>
                  </a:lnTo>
                  <a:lnTo>
                    <a:pt x="1961071" y="196799"/>
                  </a:lnTo>
                  <a:lnTo>
                    <a:pt x="1961071" y="197447"/>
                  </a:lnTo>
                  <a:lnTo>
                    <a:pt x="1961071" y="196799"/>
                  </a:lnTo>
                  <a:lnTo>
                    <a:pt x="1961071" y="197447"/>
                  </a:lnTo>
                  <a:lnTo>
                    <a:pt x="1961109" y="197447"/>
                  </a:lnTo>
                  <a:lnTo>
                    <a:pt x="1961109" y="198831"/>
                  </a:lnTo>
                  <a:lnTo>
                    <a:pt x="1961109" y="197447"/>
                  </a:lnTo>
                  <a:lnTo>
                    <a:pt x="1961109" y="198831"/>
                  </a:lnTo>
                  <a:lnTo>
                    <a:pt x="1961109" y="197447"/>
                  </a:lnTo>
                  <a:lnTo>
                    <a:pt x="1961109" y="198831"/>
                  </a:lnTo>
                  <a:lnTo>
                    <a:pt x="1961211" y="198831"/>
                  </a:lnTo>
                  <a:lnTo>
                    <a:pt x="1961211" y="197447"/>
                  </a:lnTo>
                  <a:lnTo>
                    <a:pt x="1961211" y="198831"/>
                  </a:lnTo>
                  <a:lnTo>
                    <a:pt x="1961211" y="196799"/>
                  </a:lnTo>
                  <a:lnTo>
                    <a:pt x="1961262" y="196799"/>
                  </a:lnTo>
                  <a:lnTo>
                    <a:pt x="1961262" y="196113"/>
                  </a:lnTo>
                  <a:lnTo>
                    <a:pt x="1961262" y="196799"/>
                  </a:lnTo>
                  <a:lnTo>
                    <a:pt x="1961262" y="195415"/>
                  </a:lnTo>
                  <a:lnTo>
                    <a:pt x="1961262" y="196113"/>
                  </a:lnTo>
                  <a:lnTo>
                    <a:pt x="1961312" y="196113"/>
                  </a:lnTo>
                  <a:lnTo>
                    <a:pt x="1961312" y="196799"/>
                  </a:lnTo>
                  <a:lnTo>
                    <a:pt x="1961312" y="196113"/>
                  </a:lnTo>
                  <a:lnTo>
                    <a:pt x="1961312" y="196799"/>
                  </a:lnTo>
                  <a:lnTo>
                    <a:pt x="1961312" y="195415"/>
                  </a:lnTo>
                  <a:lnTo>
                    <a:pt x="1961312" y="196799"/>
                  </a:lnTo>
                  <a:lnTo>
                    <a:pt x="1961414" y="197447"/>
                  </a:lnTo>
                  <a:lnTo>
                    <a:pt x="1961414" y="198831"/>
                  </a:lnTo>
                  <a:lnTo>
                    <a:pt x="1961414" y="196799"/>
                  </a:lnTo>
                  <a:lnTo>
                    <a:pt x="1961414" y="197447"/>
                  </a:lnTo>
                  <a:lnTo>
                    <a:pt x="1961414" y="196799"/>
                  </a:lnTo>
                  <a:lnTo>
                    <a:pt x="1961414" y="197447"/>
                  </a:lnTo>
                  <a:lnTo>
                    <a:pt x="1961414" y="196799"/>
                  </a:lnTo>
                  <a:lnTo>
                    <a:pt x="1961414" y="197447"/>
                  </a:lnTo>
                  <a:lnTo>
                    <a:pt x="1961465" y="197447"/>
                  </a:lnTo>
                  <a:lnTo>
                    <a:pt x="1961465" y="196799"/>
                  </a:lnTo>
                  <a:lnTo>
                    <a:pt x="1961465" y="197447"/>
                  </a:lnTo>
                  <a:lnTo>
                    <a:pt x="1961515" y="197447"/>
                  </a:lnTo>
                  <a:lnTo>
                    <a:pt x="1961515" y="196799"/>
                  </a:lnTo>
                  <a:lnTo>
                    <a:pt x="1961515" y="198831"/>
                  </a:lnTo>
                  <a:lnTo>
                    <a:pt x="1961515" y="197447"/>
                  </a:lnTo>
                  <a:lnTo>
                    <a:pt x="1961566" y="197447"/>
                  </a:lnTo>
                  <a:lnTo>
                    <a:pt x="1961566" y="198831"/>
                  </a:lnTo>
                  <a:lnTo>
                    <a:pt x="1961706" y="198831"/>
                  </a:lnTo>
                  <a:lnTo>
                    <a:pt x="1961706" y="197447"/>
                  </a:lnTo>
                  <a:lnTo>
                    <a:pt x="1961706" y="198831"/>
                  </a:lnTo>
                  <a:lnTo>
                    <a:pt x="1961706" y="197447"/>
                  </a:lnTo>
                  <a:lnTo>
                    <a:pt x="1961706" y="198831"/>
                  </a:lnTo>
                  <a:lnTo>
                    <a:pt x="1961706" y="196799"/>
                  </a:lnTo>
                  <a:lnTo>
                    <a:pt x="1961757" y="197447"/>
                  </a:lnTo>
                  <a:lnTo>
                    <a:pt x="1961757" y="195415"/>
                  </a:lnTo>
                  <a:lnTo>
                    <a:pt x="1961757" y="196113"/>
                  </a:lnTo>
                  <a:lnTo>
                    <a:pt x="1961808" y="196799"/>
                  </a:lnTo>
                  <a:lnTo>
                    <a:pt x="1961808" y="198831"/>
                  </a:lnTo>
                  <a:lnTo>
                    <a:pt x="1961808" y="196113"/>
                  </a:lnTo>
                  <a:lnTo>
                    <a:pt x="1961808" y="199530"/>
                  </a:lnTo>
                  <a:lnTo>
                    <a:pt x="1961909" y="199530"/>
                  </a:lnTo>
                  <a:lnTo>
                    <a:pt x="1961909" y="197447"/>
                  </a:lnTo>
                  <a:lnTo>
                    <a:pt x="1961909" y="199530"/>
                  </a:lnTo>
                  <a:lnTo>
                    <a:pt x="1961909" y="198831"/>
                  </a:lnTo>
                  <a:lnTo>
                    <a:pt x="1961960" y="199530"/>
                  </a:lnTo>
                  <a:lnTo>
                    <a:pt x="1961960" y="197447"/>
                  </a:lnTo>
                  <a:lnTo>
                    <a:pt x="1961960" y="198831"/>
                  </a:lnTo>
                  <a:lnTo>
                    <a:pt x="1962011" y="198831"/>
                  </a:lnTo>
                  <a:lnTo>
                    <a:pt x="1962011" y="197447"/>
                  </a:lnTo>
                  <a:lnTo>
                    <a:pt x="1962011" y="198831"/>
                  </a:lnTo>
                  <a:lnTo>
                    <a:pt x="1962112" y="198831"/>
                  </a:lnTo>
                  <a:lnTo>
                    <a:pt x="1962112" y="199530"/>
                  </a:lnTo>
                  <a:lnTo>
                    <a:pt x="1962150" y="199530"/>
                  </a:lnTo>
                  <a:lnTo>
                    <a:pt x="1962150" y="197447"/>
                  </a:lnTo>
                  <a:lnTo>
                    <a:pt x="1962201" y="197447"/>
                  </a:lnTo>
                  <a:lnTo>
                    <a:pt x="1962201" y="196799"/>
                  </a:lnTo>
                  <a:lnTo>
                    <a:pt x="1962252" y="196799"/>
                  </a:lnTo>
                  <a:lnTo>
                    <a:pt x="1962252" y="196113"/>
                  </a:lnTo>
                  <a:lnTo>
                    <a:pt x="1962252" y="196799"/>
                  </a:lnTo>
                  <a:lnTo>
                    <a:pt x="1962252" y="194716"/>
                  </a:lnTo>
                  <a:lnTo>
                    <a:pt x="1962252" y="195415"/>
                  </a:lnTo>
                  <a:lnTo>
                    <a:pt x="1962354" y="196113"/>
                  </a:lnTo>
                  <a:lnTo>
                    <a:pt x="1962354" y="196799"/>
                  </a:lnTo>
                  <a:lnTo>
                    <a:pt x="1962354" y="195415"/>
                  </a:lnTo>
                  <a:lnTo>
                    <a:pt x="1962354" y="197447"/>
                  </a:lnTo>
                  <a:lnTo>
                    <a:pt x="1962405" y="198831"/>
                  </a:lnTo>
                  <a:lnTo>
                    <a:pt x="1962405" y="197447"/>
                  </a:lnTo>
                  <a:lnTo>
                    <a:pt x="1962405" y="198831"/>
                  </a:lnTo>
                  <a:lnTo>
                    <a:pt x="1962405" y="196799"/>
                  </a:lnTo>
                  <a:lnTo>
                    <a:pt x="1962405" y="198831"/>
                  </a:lnTo>
                  <a:lnTo>
                    <a:pt x="1962455" y="198831"/>
                  </a:lnTo>
                  <a:lnTo>
                    <a:pt x="1962455" y="196799"/>
                  </a:lnTo>
                  <a:lnTo>
                    <a:pt x="1962455" y="198831"/>
                  </a:lnTo>
                  <a:lnTo>
                    <a:pt x="1962557" y="198831"/>
                  </a:lnTo>
                  <a:lnTo>
                    <a:pt x="1962557" y="197447"/>
                  </a:lnTo>
                  <a:lnTo>
                    <a:pt x="1962557" y="199530"/>
                  </a:lnTo>
                  <a:lnTo>
                    <a:pt x="1962557" y="198831"/>
                  </a:lnTo>
                  <a:lnTo>
                    <a:pt x="1962557" y="199530"/>
                  </a:lnTo>
                  <a:lnTo>
                    <a:pt x="1962659" y="199530"/>
                  </a:lnTo>
                  <a:lnTo>
                    <a:pt x="1962659" y="198831"/>
                  </a:lnTo>
                  <a:lnTo>
                    <a:pt x="1962659" y="199530"/>
                  </a:lnTo>
                  <a:lnTo>
                    <a:pt x="1962659" y="197447"/>
                  </a:lnTo>
                  <a:lnTo>
                    <a:pt x="1962697" y="197447"/>
                  </a:lnTo>
                  <a:lnTo>
                    <a:pt x="1962697" y="198831"/>
                  </a:lnTo>
                  <a:lnTo>
                    <a:pt x="1962697" y="196799"/>
                  </a:lnTo>
                  <a:lnTo>
                    <a:pt x="1962697" y="197447"/>
                  </a:lnTo>
                  <a:lnTo>
                    <a:pt x="1962697" y="196799"/>
                  </a:lnTo>
                  <a:lnTo>
                    <a:pt x="1962798" y="197447"/>
                  </a:lnTo>
                  <a:lnTo>
                    <a:pt x="1962798" y="198831"/>
                  </a:lnTo>
                  <a:lnTo>
                    <a:pt x="1962798" y="197447"/>
                  </a:lnTo>
                  <a:lnTo>
                    <a:pt x="1962798" y="198831"/>
                  </a:lnTo>
                  <a:lnTo>
                    <a:pt x="1962798" y="197447"/>
                  </a:lnTo>
                  <a:lnTo>
                    <a:pt x="1962849" y="197447"/>
                  </a:lnTo>
                  <a:lnTo>
                    <a:pt x="1962849" y="200876"/>
                  </a:lnTo>
                  <a:lnTo>
                    <a:pt x="1962849" y="198831"/>
                  </a:lnTo>
                  <a:lnTo>
                    <a:pt x="1962900" y="199530"/>
                  </a:lnTo>
                  <a:lnTo>
                    <a:pt x="1962900" y="200228"/>
                  </a:lnTo>
                  <a:lnTo>
                    <a:pt x="1962900" y="198831"/>
                  </a:lnTo>
                  <a:lnTo>
                    <a:pt x="1962900" y="199530"/>
                  </a:lnTo>
                  <a:lnTo>
                    <a:pt x="1963001" y="199530"/>
                  </a:lnTo>
                  <a:lnTo>
                    <a:pt x="1963001" y="200228"/>
                  </a:lnTo>
                  <a:lnTo>
                    <a:pt x="1963001" y="199530"/>
                  </a:lnTo>
                  <a:lnTo>
                    <a:pt x="1963001" y="200228"/>
                  </a:lnTo>
                  <a:lnTo>
                    <a:pt x="1963001" y="199530"/>
                  </a:lnTo>
                  <a:lnTo>
                    <a:pt x="1963001" y="200228"/>
                  </a:lnTo>
                  <a:lnTo>
                    <a:pt x="1963052" y="200228"/>
                  </a:lnTo>
                  <a:lnTo>
                    <a:pt x="1963052" y="199530"/>
                  </a:lnTo>
                  <a:lnTo>
                    <a:pt x="1963052" y="200228"/>
                  </a:lnTo>
                  <a:lnTo>
                    <a:pt x="1963052" y="199530"/>
                  </a:lnTo>
                  <a:lnTo>
                    <a:pt x="1963052" y="200228"/>
                  </a:lnTo>
                  <a:lnTo>
                    <a:pt x="1963052" y="199530"/>
                  </a:lnTo>
                  <a:lnTo>
                    <a:pt x="1963052" y="200228"/>
                  </a:lnTo>
                  <a:lnTo>
                    <a:pt x="1963103" y="200228"/>
                  </a:lnTo>
                  <a:lnTo>
                    <a:pt x="1963103" y="199530"/>
                  </a:lnTo>
                  <a:lnTo>
                    <a:pt x="1963103" y="200228"/>
                  </a:lnTo>
                  <a:lnTo>
                    <a:pt x="1963103" y="199530"/>
                  </a:lnTo>
                  <a:lnTo>
                    <a:pt x="1963103" y="200228"/>
                  </a:lnTo>
                  <a:lnTo>
                    <a:pt x="1963103" y="199530"/>
                  </a:lnTo>
                  <a:lnTo>
                    <a:pt x="1963103" y="200228"/>
                  </a:lnTo>
                  <a:lnTo>
                    <a:pt x="1963103" y="199530"/>
                  </a:lnTo>
                  <a:lnTo>
                    <a:pt x="1963154" y="199530"/>
                  </a:lnTo>
                  <a:lnTo>
                    <a:pt x="1963154" y="197447"/>
                  </a:lnTo>
                  <a:lnTo>
                    <a:pt x="1963243" y="197447"/>
                  </a:lnTo>
                  <a:lnTo>
                    <a:pt x="1963243" y="196113"/>
                  </a:lnTo>
                  <a:lnTo>
                    <a:pt x="1963243" y="196799"/>
                  </a:lnTo>
                  <a:lnTo>
                    <a:pt x="1963243" y="196113"/>
                  </a:lnTo>
                  <a:lnTo>
                    <a:pt x="1963294" y="196113"/>
                  </a:lnTo>
                  <a:lnTo>
                    <a:pt x="1963294" y="194716"/>
                  </a:lnTo>
                  <a:lnTo>
                    <a:pt x="1963294" y="196799"/>
                  </a:lnTo>
                  <a:lnTo>
                    <a:pt x="1963294" y="196113"/>
                  </a:lnTo>
                  <a:lnTo>
                    <a:pt x="1963344" y="195415"/>
                  </a:lnTo>
                  <a:lnTo>
                    <a:pt x="1963344" y="199530"/>
                  </a:lnTo>
                  <a:lnTo>
                    <a:pt x="1963344" y="197447"/>
                  </a:lnTo>
                  <a:lnTo>
                    <a:pt x="1963395" y="197447"/>
                  </a:lnTo>
                  <a:lnTo>
                    <a:pt x="1963395" y="196799"/>
                  </a:lnTo>
                  <a:lnTo>
                    <a:pt x="1963395" y="199530"/>
                  </a:lnTo>
                  <a:lnTo>
                    <a:pt x="1963395" y="197447"/>
                  </a:lnTo>
                  <a:lnTo>
                    <a:pt x="1963497" y="197447"/>
                  </a:lnTo>
                  <a:lnTo>
                    <a:pt x="1963497" y="200228"/>
                  </a:lnTo>
                  <a:lnTo>
                    <a:pt x="1963497" y="199530"/>
                  </a:lnTo>
                  <a:lnTo>
                    <a:pt x="1963547" y="200228"/>
                  </a:lnTo>
                  <a:lnTo>
                    <a:pt x="1963700" y="200228"/>
                  </a:lnTo>
                  <a:lnTo>
                    <a:pt x="1963700" y="198831"/>
                  </a:lnTo>
                  <a:lnTo>
                    <a:pt x="1963700" y="199530"/>
                  </a:lnTo>
                  <a:lnTo>
                    <a:pt x="1963700" y="197447"/>
                  </a:lnTo>
                  <a:lnTo>
                    <a:pt x="1963738" y="197447"/>
                  </a:lnTo>
                  <a:lnTo>
                    <a:pt x="1963738" y="198831"/>
                  </a:lnTo>
                  <a:lnTo>
                    <a:pt x="1963738" y="196799"/>
                  </a:lnTo>
                  <a:lnTo>
                    <a:pt x="1963738" y="197447"/>
                  </a:lnTo>
                  <a:lnTo>
                    <a:pt x="1963789" y="197447"/>
                  </a:lnTo>
                  <a:lnTo>
                    <a:pt x="1963789" y="196799"/>
                  </a:lnTo>
                  <a:lnTo>
                    <a:pt x="1963789" y="198831"/>
                  </a:lnTo>
                  <a:lnTo>
                    <a:pt x="1963840" y="198831"/>
                  </a:lnTo>
                  <a:lnTo>
                    <a:pt x="1963840" y="197447"/>
                  </a:lnTo>
                  <a:lnTo>
                    <a:pt x="1963840" y="198831"/>
                  </a:lnTo>
                  <a:lnTo>
                    <a:pt x="1963840" y="197447"/>
                  </a:lnTo>
                  <a:lnTo>
                    <a:pt x="1963840" y="198831"/>
                  </a:lnTo>
                  <a:lnTo>
                    <a:pt x="1963840" y="197447"/>
                  </a:lnTo>
                  <a:lnTo>
                    <a:pt x="1963840" y="198831"/>
                  </a:lnTo>
                  <a:lnTo>
                    <a:pt x="1963941" y="198831"/>
                  </a:lnTo>
                  <a:lnTo>
                    <a:pt x="1963941" y="197447"/>
                  </a:lnTo>
                  <a:lnTo>
                    <a:pt x="1963941" y="198831"/>
                  </a:lnTo>
                  <a:lnTo>
                    <a:pt x="1963941" y="197447"/>
                  </a:lnTo>
                  <a:lnTo>
                    <a:pt x="1963941" y="198831"/>
                  </a:lnTo>
                  <a:lnTo>
                    <a:pt x="1963992" y="197447"/>
                  </a:lnTo>
                  <a:lnTo>
                    <a:pt x="1963992" y="199530"/>
                  </a:lnTo>
                  <a:lnTo>
                    <a:pt x="1963992" y="198831"/>
                  </a:lnTo>
                  <a:lnTo>
                    <a:pt x="1963992" y="199530"/>
                  </a:lnTo>
                  <a:lnTo>
                    <a:pt x="1964043" y="199530"/>
                  </a:lnTo>
                  <a:lnTo>
                    <a:pt x="1964043" y="198831"/>
                  </a:lnTo>
                  <a:lnTo>
                    <a:pt x="1964043" y="199530"/>
                  </a:lnTo>
                  <a:lnTo>
                    <a:pt x="1964043" y="198831"/>
                  </a:lnTo>
                  <a:lnTo>
                    <a:pt x="1964144" y="198831"/>
                  </a:lnTo>
                  <a:lnTo>
                    <a:pt x="1964144" y="200228"/>
                  </a:lnTo>
                  <a:lnTo>
                    <a:pt x="1964144" y="198831"/>
                  </a:lnTo>
                  <a:lnTo>
                    <a:pt x="1964195" y="198831"/>
                  </a:lnTo>
                  <a:lnTo>
                    <a:pt x="1964195" y="196799"/>
                  </a:lnTo>
                  <a:lnTo>
                    <a:pt x="1964246" y="196799"/>
                  </a:lnTo>
                  <a:lnTo>
                    <a:pt x="1964246" y="198831"/>
                  </a:lnTo>
                  <a:lnTo>
                    <a:pt x="1964246" y="197447"/>
                  </a:lnTo>
                  <a:lnTo>
                    <a:pt x="1964284" y="196799"/>
                  </a:lnTo>
                  <a:lnTo>
                    <a:pt x="1964284" y="196113"/>
                  </a:lnTo>
                  <a:lnTo>
                    <a:pt x="1964284" y="199530"/>
                  </a:lnTo>
                  <a:lnTo>
                    <a:pt x="1964284" y="198831"/>
                  </a:lnTo>
                  <a:lnTo>
                    <a:pt x="1964386" y="198831"/>
                  </a:lnTo>
                  <a:lnTo>
                    <a:pt x="1964386" y="197447"/>
                  </a:lnTo>
                  <a:lnTo>
                    <a:pt x="1964386" y="199530"/>
                  </a:lnTo>
                  <a:lnTo>
                    <a:pt x="1964386" y="198831"/>
                  </a:lnTo>
                  <a:lnTo>
                    <a:pt x="1964437" y="198831"/>
                  </a:lnTo>
                  <a:lnTo>
                    <a:pt x="1964437" y="199530"/>
                  </a:lnTo>
                  <a:lnTo>
                    <a:pt x="1964437" y="198831"/>
                  </a:lnTo>
                  <a:lnTo>
                    <a:pt x="1964437" y="199530"/>
                  </a:lnTo>
                  <a:lnTo>
                    <a:pt x="1964487" y="199530"/>
                  </a:lnTo>
                  <a:lnTo>
                    <a:pt x="1964487" y="200228"/>
                  </a:lnTo>
                  <a:lnTo>
                    <a:pt x="1964487" y="199530"/>
                  </a:lnTo>
                  <a:lnTo>
                    <a:pt x="1964487" y="200228"/>
                  </a:lnTo>
                  <a:lnTo>
                    <a:pt x="1964589" y="200228"/>
                  </a:lnTo>
                  <a:lnTo>
                    <a:pt x="1964589" y="199530"/>
                  </a:lnTo>
                  <a:lnTo>
                    <a:pt x="1964589" y="200228"/>
                  </a:lnTo>
                  <a:lnTo>
                    <a:pt x="1964589" y="199530"/>
                  </a:lnTo>
                  <a:lnTo>
                    <a:pt x="1964589" y="200228"/>
                  </a:lnTo>
                  <a:lnTo>
                    <a:pt x="1964589" y="199530"/>
                  </a:lnTo>
                  <a:lnTo>
                    <a:pt x="1964640" y="199530"/>
                  </a:lnTo>
                  <a:lnTo>
                    <a:pt x="1964640" y="200228"/>
                  </a:lnTo>
                  <a:lnTo>
                    <a:pt x="1964640" y="198831"/>
                  </a:lnTo>
                  <a:lnTo>
                    <a:pt x="1964640" y="199530"/>
                  </a:lnTo>
                  <a:lnTo>
                    <a:pt x="1964690" y="198831"/>
                  </a:lnTo>
                  <a:lnTo>
                    <a:pt x="1964690" y="197447"/>
                  </a:lnTo>
                  <a:lnTo>
                    <a:pt x="1964690" y="198831"/>
                  </a:lnTo>
                  <a:lnTo>
                    <a:pt x="1964741" y="199530"/>
                  </a:lnTo>
                  <a:lnTo>
                    <a:pt x="1964741" y="200228"/>
                  </a:lnTo>
                  <a:lnTo>
                    <a:pt x="1964741" y="198831"/>
                  </a:lnTo>
                  <a:lnTo>
                    <a:pt x="1964741" y="200228"/>
                  </a:lnTo>
                  <a:lnTo>
                    <a:pt x="1964830" y="200876"/>
                  </a:lnTo>
                  <a:lnTo>
                    <a:pt x="1964830" y="199530"/>
                  </a:lnTo>
                  <a:lnTo>
                    <a:pt x="1964830" y="200228"/>
                  </a:lnTo>
                  <a:lnTo>
                    <a:pt x="1964881" y="200876"/>
                  </a:lnTo>
                  <a:lnTo>
                    <a:pt x="1964881" y="200228"/>
                  </a:lnTo>
                  <a:lnTo>
                    <a:pt x="1964881" y="200876"/>
                  </a:lnTo>
                  <a:lnTo>
                    <a:pt x="1964932" y="200876"/>
                  </a:lnTo>
                  <a:lnTo>
                    <a:pt x="1964932" y="199530"/>
                  </a:lnTo>
                  <a:lnTo>
                    <a:pt x="1964932" y="200876"/>
                  </a:lnTo>
                  <a:lnTo>
                    <a:pt x="1964932" y="200228"/>
                  </a:lnTo>
                  <a:lnTo>
                    <a:pt x="1964932" y="200876"/>
                  </a:lnTo>
                  <a:lnTo>
                    <a:pt x="1964983" y="200876"/>
                  </a:lnTo>
                  <a:lnTo>
                    <a:pt x="1964983" y="200228"/>
                  </a:lnTo>
                  <a:lnTo>
                    <a:pt x="1965084" y="200228"/>
                  </a:lnTo>
                  <a:lnTo>
                    <a:pt x="1965084" y="199530"/>
                  </a:lnTo>
                  <a:lnTo>
                    <a:pt x="1965084" y="200228"/>
                  </a:lnTo>
                  <a:lnTo>
                    <a:pt x="1965084" y="199530"/>
                  </a:lnTo>
                  <a:lnTo>
                    <a:pt x="1965135" y="199530"/>
                  </a:lnTo>
                  <a:lnTo>
                    <a:pt x="1965135" y="197447"/>
                  </a:lnTo>
                  <a:lnTo>
                    <a:pt x="1965186" y="197447"/>
                  </a:lnTo>
                  <a:lnTo>
                    <a:pt x="1965186" y="196113"/>
                  </a:lnTo>
                  <a:lnTo>
                    <a:pt x="1965186" y="197447"/>
                  </a:lnTo>
                  <a:lnTo>
                    <a:pt x="1965287" y="197447"/>
                  </a:lnTo>
                  <a:lnTo>
                    <a:pt x="1965287" y="196113"/>
                  </a:lnTo>
                  <a:lnTo>
                    <a:pt x="1965287" y="200228"/>
                  </a:lnTo>
                  <a:lnTo>
                    <a:pt x="1965287" y="199530"/>
                  </a:lnTo>
                  <a:lnTo>
                    <a:pt x="1965287" y="200228"/>
                  </a:lnTo>
                  <a:lnTo>
                    <a:pt x="1965287" y="199530"/>
                  </a:lnTo>
                  <a:lnTo>
                    <a:pt x="1965325" y="199530"/>
                  </a:lnTo>
                  <a:lnTo>
                    <a:pt x="1965325" y="197447"/>
                  </a:lnTo>
                  <a:lnTo>
                    <a:pt x="1965325" y="199530"/>
                  </a:lnTo>
                  <a:lnTo>
                    <a:pt x="1965376" y="199530"/>
                  </a:lnTo>
                  <a:lnTo>
                    <a:pt x="1965376" y="200228"/>
                  </a:lnTo>
                  <a:lnTo>
                    <a:pt x="1965376" y="199530"/>
                  </a:lnTo>
                  <a:lnTo>
                    <a:pt x="1965376" y="200228"/>
                  </a:lnTo>
                  <a:lnTo>
                    <a:pt x="1965427" y="199530"/>
                  </a:lnTo>
                  <a:lnTo>
                    <a:pt x="1965427" y="200228"/>
                  </a:lnTo>
                  <a:lnTo>
                    <a:pt x="1965427" y="199530"/>
                  </a:lnTo>
                  <a:lnTo>
                    <a:pt x="1965427" y="200876"/>
                  </a:lnTo>
                  <a:lnTo>
                    <a:pt x="1965427" y="200228"/>
                  </a:lnTo>
                  <a:lnTo>
                    <a:pt x="1965427" y="200876"/>
                  </a:lnTo>
                  <a:lnTo>
                    <a:pt x="1965427" y="200228"/>
                  </a:lnTo>
                  <a:lnTo>
                    <a:pt x="1965529" y="200228"/>
                  </a:lnTo>
                  <a:lnTo>
                    <a:pt x="1965529" y="200876"/>
                  </a:lnTo>
                  <a:lnTo>
                    <a:pt x="1965529" y="200228"/>
                  </a:lnTo>
                  <a:lnTo>
                    <a:pt x="1965580" y="200228"/>
                  </a:lnTo>
                  <a:lnTo>
                    <a:pt x="1965580" y="199530"/>
                  </a:lnTo>
                  <a:lnTo>
                    <a:pt x="1965630" y="199530"/>
                  </a:lnTo>
                  <a:lnTo>
                    <a:pt x="1965630" y="197447"/>
                  </a:lnTo>
                  <a:lnTo>
                    <a:pt x="1965630" y="198831"/>
                  </a:lnTo>
                  <a:lnTo>
                    <a:pt x="1965630" y="196799"/>
                  </a:lnTo>
                  <a:lnTo>
                    <a:pt x="1965732" y="196799"/>
                  </a:lnTo>
                  <a:lnTo>
                    <a:pt x="1965732" y="196113"/>
                  </a:lnTo>
                  <a:lnTo>
                    <a:pt x="1965732" y="196799"/>
                  </a:lnTo>
                  <a:lnTo>
                    <a:pt x="1965783" y="196799"/>
                  </a:lnTo>
                  <a:lnTo>
                    <a:pt x="1965783" y="196113"/>
                  </a:lnTo>
                  <a:lnTo>
                    <a:pt x="1965783" y="198831"/>
                  </a:lnTo>
                  <a:lnTo>
                    <a:pt x="1965834" y="198831"/>
                  </a:lnTo>
                  <a:lnTo>
                    <a:pt x="1965834" y="196799"/>
                  </a:lnTo>
                  <a:lnTo>
                    <a:pt x="1965834" y="198831"/>
                  </a:lnTo>
                  <a:lnTo>
                    <a:pt x="1965872" y="198831"/>
                  </a:lnTo>
                  <a:lnTo>
                    <a:pt x="1965872" y="197447"/>
                  </a:lnTo>
                  <a:lnTo>
                    <a:pt x="1965872" y="198831"/>
                  </a:lnTo>
                  <a:lnTo>
                    <a:pt x="1965872" y="197447"/>
                  </a:lnTo>
                  <a:lnTo>
                    <a:pt x="1965872" y="199530"/>
                  </a:lnTo>
                  <a:lnTo>
                    <a:pt x="1965872" y="198831"/>
                  </a:lnTo>
                  <a:lnTo>
                    <a:pt x="1965973" y="198831"/>
                  </a:lnTo>
                  <a:lnTo>
                    <a:pt x="1965973" y="199530"/>
                  </a:lnTo>
                  <a:lnTo>
                    <a:pt x="1965973" y="198831"/>
                  </a:lnTo>
                  <a:lnTo>
                    <a:pt x="1965973" y="200228"/>
                  </a:lnTo>
                  <a:lnTo>
                    <a:pt x="1966024" y="200228"/>
                  </a:lnTo>
                  <a:lnTo>
                    <a:pt x="1966024" y="199530"/>
                  </a:lnTo>
                  <a:lnTo>
                    <a:pt x="1966024" y="200228"/>
                  </a:lnTo>
                  <a:lnTo>
                    <a:pt x="1966024" y="199530"/>
                  </a:lnTo>
                  <a:lnTo>
                    <a:pt x="1966024" y="200228"/>
                  </a:lnTo>
                  <a:lnTo>
                    <a:pt x="1966024" y="199530"/>
                  </a:lnTo>
                  <a:lnTo>
                    <a:pt x="1966075" y="199530"/>
                  </a:lnTo>
                  <a:lnTo>
                    <a:pt x="1966075" y="200228"/>
                  </a:lnTo>
                  <a:lnTo>
                    <a:pt x="1966075" y="199530"/>
                  </a:lnTo>
                  <a:lnTo>
                    <a:pt x="1966075" y="200228"/>
                  </a:lnTo>
                  <a:lnTo>
                    <a:pt x="1966075" y="198831"/>
                  </a:lnTo>
                  <a:lnTo>
                    <a:pt x="1966176" y="198831"/>
                  </a:lnTo>
                  <a:lnTo>
                    <a:pt x="1966176" y="199530"/>
                  </a:lnTo>
                  <a:lnTo>
                    <a:pt x="1966176" y="197447"/>
                  </a:lnTo>
                  <a:lnTo>
                    <a:pt x="1966176" y="198831"/>
                  </a:lnTo>
                  <a:lnTo>
                    <a:pt x="1966176" y="196799"/>
                  </a:lnTo>
                  <a:lnTo>
                    <a:pt x="1966176" y="197447"/>
                  </a:lnTo>
                  <a:lnTo>
                    <a:pt x="1966227" y="197447"/>
                  </a:lnTo>
                  <a:lnTo>
                    <a:pt x="1966227" y="196113"/>
                  </a:lnTo>
                  <a:lnTo>
                    <a:pt x="1966278" y="196799"/>
                  </a:lnTo>
                  <a:lnTo>
                    <a:pt x="1966278" y="195415"/>
                  </a:lnTo>
                  <a:lnTo>
                    <a:pt x="1966278" y="196113"/>
                  </a:lnTo>
                  <a:lnTo>
                    <a:pt x="1966278" y="195415"/>
                  </a:lnTo>
                  <a:lnTo>
                    <a:pt x="1966278" y="196799"/>
                  </a:lnTo>
                  <a:lnTo>
                    <a:pt x="1966329" y="196799"/>
                  </a:lnTo>
                  <a:lnTo>
                    <a:pt x="1966329" y="196113"/>
                  </a:lnTo>
                  <a:lnTo>
                    <a:pt x="1966329" y="196799"/>
                  </a:lnTo>
                  <a:lnTo>
                    <a:pt x="1966418" y="196799"/>
                  </a:lnTo>
                  <a:lnTo>
                    <a:pt x="1966418" y="197447"/>
                  </a:lnTo>
                  <a:lnTo>
                    <a:pt x="1966418" y="196799"/>
                  </a:lnTo>
                  <a:lnTo>
                    <a:pt x="1966418" y="197447"/>
                  </a:lnTo>
                  <a:lnTo>
                    <a:pt x="1966418" y="196799"/>
                  </a:lnTo>
                  <a:lnTo>
                    <a:pt x="1966418" y="198831"/>
                  </a:lnTo>
                  <a:lnTo>
                    <a:pt x="1966418" y="197447"/>
                  </a:lnTo>
                  <a:lnTo>
                    <a:pt x="1966418" y="198831"/>
                  </a:lnTo>
                  <a:lnTo>
                    <a:pt x="1966469" y="198831"/>
                  </a:lnTo>
                  <a:lnTo>
                    <a:pt x="1966469" y="197447"/>
                  </a:lnTo>
                  <a:lnTo>
                    <a:pt x="1966469" y="198831"/>
                  </a:lnTo>
                  <a:lnTo>
                    <a:pt x="1966469" y="197447"/>
                  </a:lnTo>
                  <a:lnTo>
                    <a:pt x="1966469" y="198831"/>
                  </a:lnTo>
                  <a:lnTo>
                    <a:pt x="1966469" y="197447"/>
                  </a:lnTo>
                  <a:lnTo>
                    <a:pt x="1966469" y="199530"/>
                  </a:lnTo>
                  <a:lnTo>
                    <a:pt x="1966469" y="198831"/>
                  </a:lnTo>
                  <a:lnTo>
                    <a:pt x="1966469" y="199530"/>
                  </a:lnTo>
                  <a:lnTo>
                    <a:pt x="1966469" y="198831"/>
                  </a:lnTo>
                  <a:lnTo>
                    <a:pt x="1966519" y="198831"/>
                  </a:lnTo>
                  <a:lnTo>
                    <a:pt x="1966519" y="199530"/>
                  </a:lnTo>
                  <a:lnTo>
                    <a:pt x="1966519" y="198831"/>
                  </a:lnTo>
                  <a:lnTo>
                    <a:pt x="1966570" y="199530"/>
                  </a:lnTo>
                  <a:lnTo>
                    <a:pt x="1966570" y="198831"/>
                  </a:lnTo>
                  <a:lnTo>
                    <a:pt x="1966570" y="199530"/>
                  </a:lnTo>
                  <a:lnTo>
                    <a:pt x="1966672" y="198831"/>
                  </a:lnTo>
                  <a:lnTo>
                    <a:pt x="1966672" y="199530"/>
                  </a:lnTo>
                  <a:lnTo>
                    <a:pt x="1966672" y="197447"/>
                  </a:lnTo>
                  <a:lnTo>
                    <a:pt x="1966672" y="198831"/>
                  </a:lnTo>
                  <a:lnTo>
                    <a:pt x="1966672" y="197447"/>
                  </a:lnTo>
                  <a:lnTo>
                    <a:pt x="1966672" y="198831"/>
                  </a:lnTo>
                  <a:lnTo>
                    <a:pt x="1966672" y="196799"/>
                  </a:lnTo>
                  <a:lnTo>
                    <a:pt x="1966672" y="197447"/>
                  </a:lnTo>
                  <a:lnTo>
                    <a:pt x="1966722" y="197447"/>
                  </a:lnTo>
                  <a:lnTo>
                    <a:pt x="1966722" y="196113"/>
                  </a:lnTo>
                  <a:lnTo>
                    <a:pt x="1966722" y="196799"/>
                  </a:lnTo>
                  <a:lnTo>
                    <a:pt x="1966773" y="196799"/>
                  </a:lnTo>
                  <a:lnTo>
                    <a:pt x="1966773" y="196113"/>
                  </a:lnTo>
                  <a:lnTo>
                    <a:pt x="1966773" y="198831"/>
                  </a:lnTo>
                  <a:lnTo>
                    <a:pt x="1966773" y="196799"/>
                  </a:lnTo>
                  <a:lnTo>
                    <a:pt x="1966773" y="197447"/>
                  </a:lnTo>
                  <a:lnTo>
                    <a:pt x="1966875" y="197447"/>
                  </a:lnTo>
                  <a:lnTo>
                    <a:pt x="1966875" y="196799"/>
                  </a:lnTo>
                  <a:lnTo>
                    <a:pt x="1966875" y="198831"/>
                  </a:lnTo>
                  <a:lnTo>
                    <a:pt x="1966875" y="197447"/>
                  </a:lnTo>
                  <a:lnTo>
                    <a:pt x="1966913" y="196799"/>
                  </a:lnTo>
                  <a:lnTo>
                    <a:pt x="1966913" y="198831"/>
                  </a:lnTo>
                  <a:lnTo>
                    <a:pt x="1966913" y="197447"/>
                  </a:lnTo>
                  <a:lnTo>
                    <a:pt x="1966964" y="197447"/>
                  </a:lnTo>
                  <a:lnTo>
                    <a:pt x="1966964" y="198831"/>
                  </a:lnTo>
                  <a:lnTo>
                    <a:pt x="1966964" y="197447"/>
                  </a:lnTo>
                  <a:lnTo>
                    <a:pt x="1966964" y="198831"/>
                  </a:lnTo>
                  <a:lnTo>
                    <a:pt x="1966964" y="197447"/>
                  </a:lnTo>
                  <a:lnTo>
                    <a:pt x="1967015" y="197447"/>
                  </a:lnTo>
                  <a:lnTo>
                    <a:pt x="1967015" y="198831"/>
                  </a:lnTo>
                  <a:lnTo>
                    <a:pt x="1967015" y="197447"/>
                  </a:lnTo>
                  <a:lnTo>
                    <a:pt x="1967015" y="198831"/>
                  </a:lnTo>
                  <a:lnTo>
                    <a:pt x="1967116" y="198831"/>
                  </a:lnTo>
                  <a:lnTo>
                    <a:pt x="1967116" y="197447"/>
                  </a:lnTo>
                  <a:lnTo>
                    <a:pt x="1967116" y="198831"/>
                  </a:lnTo>
                  <a:lnTo>
                    <a:pt x="1967116" y="197447"/>
                  </a:lnTo>
                  <a:lnTo>
                    <a:pt x="1967167" y="197447"/>
                  </a:lnTo>
                  <a:lnTo>
                    <a:pt x="1967167" y="198831"/>
                  </a:lnTo>
                  <a:lnTo>
                    <a:pt x="1967167" y="196799"/>
                  </a:lnTo>
                  <a:lnTo>
                    <a:pt x="1967167" y="197447"/>
                  </a:lnTo>
                  <a:lnTo>
                    <a:pt x="1967218" y="197447"/>
                  </a:lnTo>
                  <a:lnTo>
                    <a:pt x="1967218" y="196113"/>
                  </a:lnTo>
                  <a:lnTo>
                    <a:pt x="1967218" y="196799"/>
                  </a:lnTo>
                  <a:lnTo>
                    <a:pt x="1967218" y="196113"/>
                  </a:lnTo>
                  <a:lnTo>
                    <a:pt x="1967218" y="198831"/>
                  </a:lnTo>
                  <a:lnTo>
                    <a:pt x="1967319" y="198831"/>
                  </a:lnTo>
                  <a:lnTo>
                    <a:pt x="1967319" y="199530"/>
                  </a:lnTo>
                  <a:lnTo>
                    <a:pt x="1967319" y="197447"/>
                  </a:lnTo>
                  <a:lnTo>
                    <a:pt x="1967319" y="199530"/>
                  </a:lnTo>
                  <a:lnTo>
                    <a:pt x="1967319" y="198831"/>
                  </a:lnTo>
                  <a:lnTo>
                    <a:pt x="1967319" y="199530"/>
                  </a:lnTo>
                  <a:lnTo>
                    <a:pt x="1967370" y="199530"/>
                  </a:lnTo>
                  <a:lnTo>
                    <a:pt x="1967370" y="200228"/>
                  </a:lnTo>
                  <a:lnTo>
                    <a:pt x="1967370" y="198831"/>
                  </a:lnTo>
                  <a:lnTo>
                    <a:pt x="1967370" y="199530"/>
                  </a:lnTo>
                  <a:lnTo>
                    <a:pt x="1967421" y="200228"/>
                  </a:lnTo>
                  <a:lnTo>
                    <a:pt x="1967421" y="198831"/>
                  </a:lnTo>
                  <a:lnTo>
                    <a:pt x="1967421" y="199530"/>
                  </a:lnTo>
                  <a:lnTo>
                    <a:pt x="1967459" y="199530"/>
                  </a:lnTo>
                  <a:lnTo>
                    <a:pt x="1967459" y="198831"/>
                  </a:lnTo>
                  <a:lnTo>
                    <a:pt x="1967459" y="199530"/>
                  </a:lnTo>
                  <a:lnTo>
                    <a:pt x="1967561" y="199530"/>
                  </a:lnTo>
                  <a:lnTo>
                    <a:pt x="1967561" y="198831"/>
                  </a:lnTo>
                  <a:lnTo>
                    <a:pt x="1967561" y="199530"/>
                  </a:lnTo>
                  <a:lnTo>
                    <a:pt x="1967561" y="198831"/>
                  </a:lnTo>
                  <a:lnTo>
                    <a:pt x="1967561" y="199530"/>
                  </a:lnTo>
                  <a:lnTo>
                    <a:pt x="1967561" y="198831"/>
                  </a:lnTo>
                  <a:lnTo>
                    <a:pt x="1967561" y="199530"/>
                  </a:lnTo>
                  <a:lnTo>
                    <a:pt x="1967561" y="198831"/>
                  </a:lnTo>
                  <a:lnTo>
                    <a:pt x="1967612" y="198831"/>
                  </a:lnTo>
                  <a:lnTo>
                    <a:pt x="1967612" y="197447"/>
                  </a:lnTo>
                  <a:lnTo>
                    <a:pt x="1967612" y="198831"/>
                  </a:lnTo>
                  <a:lnTo>
                    <a:pt x="1967612" y="197447"/>
                  </a:lnTo>
                  <a:lnTo>
                    <a:pt x="1967612" y="198831"/>
                  </a:lnTo>
                  <a:lnTo>
                    <a:pt x="1967612" y="197447"/>
                  </a:lnTo>
                  <a:lnTo>
                    <a:pt x="1967612" y="198831"/>
                  </a:lnTo>
                  <a:lnTo>
                    <a:pt x="1967662" y="198831"/>
                  </a:lnTo>
                  <a:lnTo>
                    <a:pt x="1967662" y="196799"/>
                  </a:lnTo>
                  <a:lnTo>
                    <a:pt x="1967662" y="198831"/>
                  </a:lnTo>
                  <a:lnTo>
                    <a:pt x="1967662" y="197447"/>
                  </a:lnTo>
                  <a:lnTo>
                    <a:pt x="1967764" y="197447"/>
                  </a:lnTo>
                  <a:lnTo>
                    <a:pt x="1967764" y="198831"/>
                  </a:lnTo>
                  <a:lnTo>
                    <a:pt x="1967764" y="197447"/>
                  </a:lnTo>
                  <a:lnTo>
                    <a:pt x="1967764" y="200228"/>
                  </a:lnTo>
                  <a:lnTo>
                    <a:pt x="1967815" y="200228"/>
                  </a:lnTo>
                  <a:lnTo>
                    <a:pt x="1967815" y="199530"/>
                  </a:lnTo>
                  <a:lnTo>
                    <a:pt x="1967815" y="200876"/>
                  </a:lnTo>
                  <a:lnTo>
                    <a:pt x="1967815" y="200228"/>
                  </a:lnTo>
                  <a:lnTo>
                    <a:pt x="1967865" y="200228"/>
                  </a:lnTo>
                  <a:lnTo>
                    <a:pt x="1967865" y="200876"/>
                  </a:lnTo>
                  <a:lnTo>
                    <a:pt x="1967865" y="200228"/>
                  </a:lnTo>
                  <a:lnTo>
                    <a:pt x="1967916" y="200228"/>
                  </a:lnTo>
                  <a:lnTo>
                    <a:pt x="1967916" y="200876"/>
                  </a:lnTo>
                  <a:lnTo>
                    <a:pt x="1967916" y="200228"/>
                  </a:lnTo>
                  <a:lnTo>
                    <a:pt x="1967916" y="200876"/>
                  </a:lnTo>
                  <a:lnTo>
                    <a:pt x="1967916" y="200228"/>
                  </a:lnTo>
                  <a:lnTo>
                    <a:pt x="1967916" y="200876"/>
                  </a:lnTo>
                  <a:lnTo>
                    <a:pt x="1968005" y="200228"/>
                  </a:lnTo>
                  <a:lnTo>
                    <a:pt x="1968005" y="199530"/>
                  </a:lnTo>
                  <a:lnTo>
                    <a:pt x="1968005" y="200228"/>
                  </a:lnTo>
                  <a:lnTo>
                    <a:pt x="1968005" y="199530"/>
                  </a:lnTo>
                  <a:lnTo>
                    <a:pt x="1968005" y="200228"/>
                  </a:lnTo>
                  <a:lnTo>
                    <a:pt x="1968005" y="199530"/>
                  </a:lnTo>
                  <a:lnTo>
                    <a:pt x="1968005" y="200228"/>
                  </a:lnTo>
                  <a:lnTo>
                    <a:pt x="1968005" y="199530"/>
                  </a:lnTo>
                  <a:lnTo>
                    <a:pt x="1968056" y="199530"/>
                  </a:lnTo>
                  <a:lnTo>
                    <a:pt x="1968056" y="200228"/>
                  </a:lnTo>
                  <a:lnTo>
                    <a:pt x="1968056" y="198831"/>
                  </a:lnTo>
                  <a:lnTo>
                    <a:pt x="1968056" y="199530"/>
                  </a:lnTo>
                  <a:lnTo>
                    <a:pt x="1968107" y="198831"/>
                  </a:lnTo>
                  <a:lnTo>
                    <a:pt x="1968107" y="196799"/>
                  </a:lnTo>
                  <a:lnTo>
                    <a:pt x="1968107" y="197447"/>
                  </a:lnTo>
                  <a:lnTo>
                    <a:pt x="1968107" y="196799"/>
                  </a:lnTo>
                  <a:lnTo>
                    <a:pt x="1968158" y="196113"/>
                  </a:lnTo>
                  <a:lnTo>
                    <a:pt x="1968158" y="197447"/>
                  </a:lnTo>
                  <a:lnTo>
                    <a:pt x="1968158" y="196113"/>
                  </a:lnTo>
                  <a:lnTo>
                    <a:pt x="1968259" y="196113"/>
                  </a:lnTo>
                  <a:lnTo>
                    <a:pt x="1968259" y="196799"/>
                  </a:lnTo>
                  <a:lnTo>
                    <a:pt x="1968259" y="196113"/>
                  </a:lnTo>
                  <a:lnTo>
                    <a:pt x="1968259" y="198831"/>
                  </a:lnTo>
                  <a:lnTo>
                    <a:pt x="1968259" y="196799"/>
                  </a:lnTo>
                  <a:lnTo>
                    <a:pt x="1968259" y="197447"/>
                  </a:lnTo>
                  <a:lnTo>
                    <a:pt x="1968310" y="196799"/>
                  </a:lnTo>
                  <a:lnTo>
                    <a:pt x="1968310" y="199530"/>
                  </a:lnTo>
                  <a:lnTo>
                    <a:pt x="1968310" y="198831"/>
                  </a:lnTo>
                  <a:lnTo>
                    <a:pt x="1968361" y="198831"/>
                  </a:lnTo>
                  <a:lnTo>
                    <a:pt x="1968361" y="200228"/>
                  </a:lnTo>
                  <a:lnTo>
                    <a:pt x="1968361" y="199530"/>
                  </a:lnTo>
                  <a:lnTo>
                    <a:pt x="1968361" y="200228"/>
                  </a:lnTo>
                  <a:lnTo>
                    <a:pt x="1968361" y="199530"/>
                  </a:lnTo>
                  <a:lnTo>
                    <a:pt x="1968462" y="199530"/>
                  </a:lnTo>
                  <a:lnTo>
                    <a:pt x="1968462" y="200228"/>
                  </a:lnTo>
                  <a:lnTo>
                    <a:pt x="1968462" y="199530"/>
                  </a:lnTo>
                  <a:lnTo>
                    <a:pt x="1968462" y="200876"/>
                  </a:lnTo>
                  <a:lnTo>
                    <a:pt x="1968462" y="200228"/>
                  </a:lnTo>
                  <a:lnTo>
                    <a:pt x="1968500" y="199530"/>
                  </a:lnTo>
                  <a:lnTo>
                    <a:pt x="1968500" y="200228"/>
                  </a:lnTo>
                  <a:lnTo>
                    <a:pt x="1968500" y="199530"/>
                  </a:lnTo>
                  <a:lnTo>
                    <a:pt x="1968500" y="200228"/>
                  </a:lnTo>
                  <a:lnTo>
                    <a:pt x="1968500" y="199530"/>
                  </a:lnTo>
                  <a:lnTo>
                    <a:pt x="1968500" y="200228"/>
                  </a:lnTo>
                  <a:lnTo>
                    <a:pt x="1968500" y="199530"/>
                  </a:lnTo>
                  <a:lnTo>
                    <a:pt x="1968500" y="200228"/>
                  </a:lnTo>
                  <a:lnTo>
                    <a:pt x="1968551" y="200228"/>
                  </a:lnTo>
                  <a:lnTo>
                    <a:pt x="1968551" y="199530"/>
                  </a:lnTo>
                  <a:lnTo>
                    <a:pt x="1968551" y="200228"/>
                  </a:lnTo>
                  <a:lnTo>
                    <a:pt x="1968551" y="198831"/>
                  </a:lnTo>
                  <a:lnTo>
                    <a:pt x="1968551" y="199530"/>
                  </a:lnTo>
                  <a:lnTo>
                    <a:pt x="1968551" y="198831"/>
                  </a:lnTo>
                  <a:lnTo>
                    <a:pt x="1968551" y="199530"/>
                  </a:lnTo>
                  <a:lnTo>
                    <a:pt x="1968602" y="198831"/>
                  </a:lnTo>
                  <a:lnTo>
                    <a:pt x="1968602" y="196799"/>
                  </a:lnTo>
                  <a:lnTo>
                    <a:pt x="1968602" y="197447"/>
                  </a:lnTo>
                  <a:lnTo>
                    <a:pt x="1968704" y="197447"/>
                  </a:lnTo>
                  <a:lnTo>
                    <a:pt x="1968704" y="196799"/>
                  </a:lnTo>
                  <a:lnTo>
                    <a:pt x="1968704" y="197447"/>
                  </a:lnTo>
                  <a:lnTo>
                    <a:pt x="1968704" y="196113"/>
                  </a:lnTo>
                  <a:lnTo>
                    <a:pt x="1968704" y="198831"/>
                  </a:lnTo>
                  <a:lnTo>
                    <a:pt x="1968755" y="199530"/>
                  </a:lnTo>
                  <a:lnTo>
                    <a:pt x="1968755" y="197447"/>
                  </a:lnTo>
                  <a:lnTo>
                    <a:pt x="1968755" y="199530"/>
                  </a:lnTo>
                  <a:lnTo>
                    <a:pt x="1968805" y="199530"/>
                  </a:lnTo>
                  <a:lnTo>
                    <a:pt x="1968805" y="198831"/>
                  </a:lnTo>
                  <a:lnTo>
                    <a:pt x="1968805" y="199530"/>
                  </a:lnTo>
                  <a:lnTo>
                    <a:pt x="1968805" y="198831"/>
                  </a:lnTo>
                  <a:lnTo>
                    <a:pt x="1968805" y="199530"/>
                  </a:lnTo>
                  <a:lnTo>
                    <a:pt x="1968907" y="199530"/>
                  </a:lnTo>
                  <a:lnTo>
                    <a:pt x="1968907" y="200228"/>
                  </a:lnTo>
                  <a:lnTo>
                    <a:pt x="1968958" y="199530"/>
                  </a:lnTo>
                  <a:lnTo>
                    <a:pt x="1968958" y="200228"/>
                  </a:lnTo>
                  <a:lnTo>
                    <a:pt x="1968958" y="199530"/>
                  </a:lnTo>
                  <a:lnTo>
                    <a:pt x="1968958" y="200228"/>
                  </a:lnTo>
                  <a:lnTo>
                    <a:pt x="1968958" y="199530"/>
                  </a:lnTo>
                  <a:lnTo>
                    <a:pt x="1969009" y="199530"/>
                  </a:lnTo>
                  <a:lnTo>
                    <a:pt x="1969009" y="200228"/>
                  </a:lnTo>
                  <a:lnTo>
                    <a:pt x="1969009" y="199530"/>
                  </a:lnTo>
                  <a:lnTo>
                    <a:pt x="1969047" y="199530"/>
                  </a:lnTo>
                  <a:lnTo>
                    <a:pt x="1969047" y="198831"/>
                  </a:lnTo>
                  <a:lnTo>
                    <a:pt x="1969047" y="199530"/>
                  </a:lnTo>
                  <a:lnTo>
                    <a:pt x="1969047" y="197447"/>
                  </a:lnTo>
                  <a:lnTo>
                    <a:pt x="1969148" y="198831"/>
                  </a:lnTo>
                  <a:lnTo>
                    <a:pt x="1969148" y="196799"/>
                  </a:lnTo>
                  <a:lnTo>
                    <a:pt x="1969148" y="197447"/>
                  </a:lnTo>
                  <a:lnTo>
                    <a:pt x="1969148" y="195415"/>
                  </a:lnTo>
                  <a:lnTo>
                    <a:pt x="1969199" y="196113"/>
                  </a:lnTo>
                  <a:lnTo>
                    <a:pt x="1969199" y="196799"/>
                  </a:lnTo>
                  <a:lnTo>
                    <a:pt x="1969199" y="195415"/>
                  </a:lnTo>
                  <a:lnTo>
                    <a:pt x="1969199" y="196113"/>
                  </a:lnTo>
                  <a:lnTo>
                    <a:pt x="1969199" y="195415"/>
                  </a:lnTo>
                  <a:lnTo>
                    <a:pt x="1969250" y="195415"/>
                  </a:lnTo>
                  <a:lnTo>
                    <a:pt x="1969250" y="198831"/>
                  </a:lnTo>
                  <a:lnTo>
                    <a:pt x="1969250" y="196799"/>
                  </a:lnTo>
                  <a:lnTo>
                    <a:pt x="1969250" y="197447"/>
                  </a:lnTo>
                  <a:lnTo>
                    <a:pt x="1969351" y="197447"/>
                  </a:lnTo>
                  <a:lnTo>
                    <a:pt x="1969351" y="196799"/>
                  </a:lnTo>
                  <a:lnTo>
                    <a:pt x="1969351" y="198831"/>
                  </a:lnTo>
                  <a:lnTo>
                    <a:pt x="1969402" y="198831"/>
                  </a:lnTo>
                  <a:lnTo>
                    <a:pt x="1969402" y="199530"/>
                  </a:lnTo>
                  <a:lnTo>
                    <a:pt x="1969402" y="198831"/>
                  </a:lnTo>
                  <a:lnTo>
                    <a:pt x="1969402" y="199530"/>
                  </a:lnTo>
                  <a:lnTo>
                    <a:pt x="1969402" y="198831"/>
                  </a:lnTo>
                  <a:lnTo>
                    <a:pt x="1969402" y="199530"/>
                  </a:lnTo>
                  <a:lnTo>
                    <a:pt x="1969453" y="199530"/>
                  </a:lnTo>
                  <a:lnTo>
                    <a:pt x="1969453" y="200228"/>
                  </a:lnTo>
                  <a:lnTo>
                    <a:pt x="1969453" y="198831"/>
                  </a:lnTo>
                  <a:lnTo>
                    <a:pt x="1969453" y="200228"/>
                  </a:lnTo>
                  <a:lnTo>
                    <a:pt x="1969504" y="200228"/>
                  </a:lnTo>
                  <a:lnTo>
                    <a:pt x="1969504" y="199530"/>
                  </a:lnTo>
                  <a:lnTo>
                    <a:pt x="1969593" y="199530"/>
                  </a:lnTo>
                  <a:lnTo>
                    <a:pt x="1969593" y="200228"/>
                  </a:lnTo>
                  <a:lnTo>
                    <a:pt x="1969593" y="198831"/>
                  </a:lnTo>
                  <a:lnTo>
                    <a:pt x="1969593" y="199530"/>
                  </a:lnTo>
                  <a:lnTo>
                    <a:pt x="1969593" y="198831"/>
                  </a:lnTo>
                  <a:lnTo>
                    <a:pt x="1969593" y="199530"/>
                  </a:lnTo>
                  <a:lnTo>
                    <a:pt x="1969593" y="198831"/>
                  </a:lnTo>
                  <a:lnTo>
                    <a:pt x="1969644" y="198831"/>
                  </a:lnTo>
                  <a:lnTo>
                    <a:pt x="1969644" y="196113"/>
                  </a:lnTo>
                  <a:lnTo>
                    <a:pt x="1969694" y="196113"/>
                  </a:lnTo>
                  <a:lnTo>
                    <a:pt x="1969694" y="195415"/>
                  </a:lnTo>
                  <a:lnTo>
                    <a:pt x="1969694" y="196799"/>
                  </a:lnTo>
                  <a:lnTo>
                    <a:pt x="1969745" y="196799"/>
                  </a:lnTo>
                  <a:lnTo>
                    <a:pt x="1969745" y="197447"/>
                  </a:lnTo>
                  <a:lnTo>
                    <a:pt x="1969745" y="196113"/>
                  </a:lnTo>
                  <a:lnTo>
                    <a:pt x="1969745" y="196799"/>
                  </a:lnTo>
                  <a:lnTo>
                    <a:pt x="1969847" y="197447"/>
                  </a:lnTo>
                  <a:lnTo>
                    <a:pt x="1969847" y="196799"/>
                  </a:lnTo>
                  <a:lnTo>
                    <a:pt x="1969847" y="197447"/>
                  </a:lnTo>
                  <a:lnTo>
                    <a:pt x="1969897" y="197447"/>
                  </a:lnTo>
                  <a:lnTo>
                    <a:pt x="1969897" y="198831"/>
                  </a:lnTo>
                  <a:lnTo>
                    <a:pt x="1969897" y="197447"/>
                  </a:lnTo>
                  <a:lnTo>
                    <a:pt x="1969948" y="198831"/>
                  </a:lnTo>
                  <a:lnTo>
                    <a:pt x="1969948" y="197447"/>
                  </a:lnTo>
                  <a:lnTo>
                    <a:pt x="1969948" y="198831"/>
                  </a:lnTo>
                  <a:lnTo>
                    <a:pt x="1969948" y="197447"/>
                  </a:lnTo>
                  <a:lnTo>
                    <a:pt x="1970050" y="198831"/>
                  </a:lnTo>
                  <a:lnTo>
                    <a:pt x="1970050" y="199530"/>
                  </a:lnTo>
                  <a:lnTo>
                    <a:pt x="1970050" y="198831"/>
                  </a:lnTo>
                  <a:lnTo>
                    <a:pt x="1970050" y="199530"/>
                  </a:lnTo>
                  <a:lnTo>
                    <a:pt x="1970050" y="198831"/>
                  </a:lnTo>
                  <a:lnTo>
                    <a:pt x="1970088" y="198831"/>
                  </a:lnTo>
                  <a:lnTo>
                    <a:pt x="1970088" y="196799"/>
                  </a:lnTo>
                  <a:lnTo>
                    <a:pt x="1970088" y="197447"/>
                  </a:lnTo>
                  <a:lnTo>
                    <a:pt x="1970088" y="196799"/>
                  </a:lnTo>
                  <a:lnTo>
                    <a:pt x="1970139" y="196799"/>
                  </a:lnTo>
                  <a:lnTo>
                    <a:pt x="1970139" y="197447"/>
                  </a:lnTo>
                  <a:lnTo>
                    <a:pt x="1970139" y="196113"/>
                  </a:lnTo>
                  <a:lnTo>
                    <a:pt x="1970139" y="197447"/>
                  </a:lnTo>
                  <a:lnTo>
                    <a:pt x="1970190" y="197447"/>
                  </a:lnTo>
                  <a:lnTo>
                    <a:pt x="1970190" y="196113"/>
                  </a:lnTo>
                  <a:lnTo>
                    <a:pt x="1970190" y="198831"/>
                  </a:lnTo>
                  <a:lnTo>
                    <a:pt x="1970291" y="197447"/>
                  </a:lnTo>
                  <a:lnTo>
                    <a:pt x="1970291" y="196799"/>
                  </a:lnTo>
                  <a:lnTo>
                    <a:pt x="1970291" y="198831"/>
                  </a:lnTo>
                  <a:lnTo>
                    <a:pt x="1970342" y="198831"/>
                  </a:lnTo>
                  <a:lnTo>
                    <a:pt x="1970342" y="197447"/>
                  </a:lnTo>
                  <a:lnTo>
                    <a:pt x="1970342" y="198831"/>
                  </a:lnTo>
                  <a:lnTo>
                    <a:pt x="1970342" y="197447"/>
                  </a:lnTo>
                  <a:lnTo>
                    <a:pt x="1970342" y="198831"/>
                  </a:lnTo>
                  <a:lnTo>
                    <a:pt x="1970342" y="197447"/>
                  </a:lnTo>
                  <a:lnTo>
                    <a:pt x="1970342" y="198831"/>
                  </a:lnTo>
                  <a:lnTo>
                    <a:pt x="1970342" y="197447"/>
                  </a:lnTo>
                  <a:lnTo>
                    <a:pt x="1970342" y="198831"/>
                  </a:lnTo>
                  <a:lnTo>
                    <a:pt x="1970393" y="197447"/>
                  </a:lnTo>
                  <a:lnTo>
                    <a:pt x="1970393" y="198831"/>
                  </a:lnTo>
                  <a:lnTo>
                    <a:pt x="1970393" y="197447"/>
                  </a:lnTo>
                  <a:lnTo>
                    <a:pt x="1970393" y="199530"/>
                  </a:lnTo>
                  <a:lnTo>
                    <a:pt x="1970393" y="198831"/>
                  </a:lnTo>
                  <a:lnTo>
                    <a:pt x="1970494" y="198831"/>
                  </a:lnTo>
                  <a:lnTo>
                    <a:pt x="1970494" y="199530"/>
                  </a:lnTo>
                  <a:lnTo>
                    <a:pt x="1970494" y="198831"/>
                  </a:lnTo>
                  <a:lnTo>
                    <a:pt x="1970494" y="199530"/>
                  </a:lnTo>
                  <a:lnTo>
                    <a:pt x="1970545" y="199530"/>
                  </a:lnTo>
                  <a:lnTo>
                    <a:pt x="1970545" y="198831"/>
                  </a:lnTo>
                  <a:lnTo>
                    <a:pt x="1970596" y="198831"/>
                  </a:lnTo>
                  <a:lnTo>
                    <a:pt x="1970596" y="196799"/>
                  </a:lnTo>
                  <a:lnTo>
                    <a:pt x="1970634" y="196799"/>
                  </a:lnTo>
                  <a:lnTo>
                    <a:pt x="1970634" y="196113"/>
                  </a:lnTo>
                  <a:lnTo>
                    <a:pt x="1970634" y="196799"/>
                  </a:lnTo>
                  <a:lnTo>
                    <a:pt x="1970634" y="196113"/>
                  </a:lnTo>
                  <a:lnTo>
                    <a:pt x="1970634" y="196799"/>
                  </a:lnTo>
                  <a:lnTo>
                    <a:pt x="1970634" y="196113"/>
                  </a:lnTo>
                  <a:lnTo>
                    <a:pt x="1970634" y="198831"/>
                  </a:lnTo>
                  <a:lnTo>
                    <a:pt x="1970736" y="198831"/>
                  </a:lnTo>
                  <a:lnTo>
                    <a:pt x="1970736" y="196113"/>
                  </a:lnTo>
                  <a:lnTo>
                    <a:pt x="1970736" y="199530"/>
                  </a:lnTo>
                  <a:lnTo>
                    <a:pt x="1970736" y="198831"/>
                  </a:lnTo>
                  <a:lnTo>
                    <a:pt x="1970787" y="198831"/>
                  </a:lnTo>
                  <a:lnTo>
                    <a:pt x="1970787" y="197447"/>
                  </a:lnTo>
                  <a:lnTo>
                    <a:pt x="1970787" y="198831"/>
                  </a:lnTo>
                  <a:lnTo>
                    <a:pt x="1970837" y="198831"/>
                  </a:lnTo>
                  <a:lnTo>
                    <a:pt x="1970837" y="199530"/>
                  </a:lnTo>
                  <a:lnTo>
                    <a:pt x="1970837" y="198831"/>
                  </a:lnTo>
                  <a:lnTo>
                    <a:pt x="1970837" y="199530"/>
                  </a:lnTo>
                  <a:lnTo>
                    <a:pt x="1970939" y="199530"/>
                  </a:lnTo>
                  <a:lnTo>
                    <a:pt x="1970939" y="198831"/>
                  </a:lnTo>
                  <a:lnTo>
                    <a:pt x="1970939" y="199530"/>
                  </a:lnTo>
                  <a:lnTo>
                    <a:pt x="1970939" y="198831"/>
                  </a:lnTo>
                  <a:lnTo>
                    <a:pt x="1970939" y="199530"/>
                  </a:lnTo>
                  <a:lnTo>
                    <a:pt x="1970939" y="198831"/>
                  </a:lnTo>
                  <a:lnTo>
                    <a:pt x="1970939" y="199530"/>
                  </a:lnTo>
                  <a:lnTo>
                    <a:pt x="1970939" y="198831"/>
                  </a:lnTo>
                  <a:lnTo>
                    <a:pt x="1970990" y="198831"/>
                  </a:lnTo>
                  <a:lnTo>
                    <a:pt x="1970990" y="199530"/>
                  </a:lnTo>
                  <a:lnTo>
                    <a:pt x="1970990" y="198831"/>
                  </a:lnTo>
                  <a:lnTo>
                    <a:pt x="1970990" y="199530"/>
                  </a:lnTo>
                  <a:lnTo>
                    <a:pt x="1970990" y="198831"/>
                  </a:lnTo>
                  <a:lnTo>
                    <a:pt x="1971040" y="199530"/>
                  </a:lnTo>
                  <a:lnTo>
                    <a:pt x="1971040" y="198831"/>
                  </a:lnTo>
                  <a:lnTo>
                    <a:pt x="1971040" y="199530"/>
                  </a:lnTo>
                  <a:lnTo>
                    <a:pt x="1971040" y="198831"/>
                  </a:lnTo>
                  <a:lnTo>
                    <a:pt x="1971040" y="199530"/>
                  </a:lnTo>
                  <a:lnTo>
                    <a:pt x="1971040" y="197447"/>
                  </a:lnTo>
                  <a:lnTo>
                    <a:pt x="1971091" y="196799"/>
                  </a:lnTo>
                  <a:lnTo>
                    <a:pt x="1971091" y="197447"/>
                  </a:lnTo>
                  <a:lnTo>
                    <a:pt x="1971091" y="195415"/>
                  </a:lnTo>
                  <a:lnTo>
                    <a:pt x="1971180" y="196113"/>
                  </a:lnTo>
                  <a:lnTo>
                    <a:pt x="1971180" y="195415"/>
                  </a:lnTo>
                  <a:lnTo>
                    <a:pt x="1971180" y="196113"/>
                  </a:lnTo>
                  <a:lnTo>
                    <a:pt x="1971180" y="194716"/>
                  </a:lnTo>
                  <a:lnTo>
                    <a:pt x="1971180" y="196799"/>
                  </a:lnTo>
                  <a:lnTo>
                    <a:pt x="1971231" y="196113"/>
                  </a:lnTo>
                  <a:lnTo>
                    <a:pt x="1971231" y="195415"/>
                  </a:lnTo>
                  <a:lnTo>
                    <a:pt x="1971231" y="197447"/>
                  </a:lnTo>
                  <a:lnTo>
                    <a:pt x="1971231" y="196799"/>
                  </a:lnTo>
                  <a:lnTo>
                    <a:pt x="1971282" y="196799"/>
                  </a:lnTo>
                  <a:lnTo>
                    <a:pt x="1971282" y="199530"/>
                  </a:lnTo>
                  <a:lnTo>
                    <a:pt x="1971282" y="197447"/>
                  </a:lnTo>
                  <a:lnTo>
                    <a:pt x="1971333" y="197447"/>
                  </a:lnTo>
                  <a:lnTo>
                    <a:pt x="1971333" y="198831"/>
                  </a:lnTo>
                  <a:lnTo>
                    <a:pt x="1971333" y="197447"/>
                  </a:lnTo>
                  <a:lnTo>
                    <a:pt x="1971333" y="198831"/>
                  </a:lnTo>
                  <a:lnTo>
                    <a:pt x="1971434" y="198831"/>
                  </a:lnTo>
                  <a:lnTo>
                    <a:pt x="1971434" y="197447"/>
                  </a:lnTo>
                  <a:lnTo>
                    <a:pt x="1971434" y="199530"/>
                  </a:lnTo>
                  <a:lnTo>
                    <a:pt x="1971485" y="199530"/>
                  </a:lnTo>
                  <a:lnTo>
                    <a:pt x="1971485" y="198831"/>
                  </a:lnTo>
                  <a:lnTo>
                    <a:pt x="1971485" y="200228"/>
                  </a:lnTo>
                  <a:lnTo>
                    <a:pt x="1971485" y="199530"/>
                  </a:lnTo>
                  <a:lnTo>
                    <a:pt x="1971536" y="199530"/>
                  </a:lnTo>
                  <a:lnTo>
                    <a:pt x="1971536" y="198831"/>
                  </a:lnTo>
                  <a:lnTo>
                    <a:pt x="1971536" y="199530"/>
                  </a:lnTo>
                  <a:lnTo>
                    <a:pt x="1971536" y="197447"/>
                  </a:lnTo>
                  <a:lnTo>
                    <a:pt x="1971637" y="197447"/>
                  </a:lnTo>
                  <a:lnTo>
                    <a:pt x="1971637" y="196113"/>
                  </a:lnTo>
                  <a:lnTo>
                    <a:pt x="1971637" y="196799"/>
                  </a:lnTo>
                  <a:lnTo>
                    <a:pt x="1971637" y="196113"/>
                  </a:lnTo>
                  <a:lnTo>
                    <a:pt x="1971675" y="196113"/>
                  </a:lnTo>
                  <a:lnTo>
                    <a:pt x="1971675" y="197447"/>
                  </a:lnTo>
                  <a:lnTo>
                    <a:pt x="1971675" y="196113"/>
                  </a:lnTo>
                  <a:lnTo>
                    <a:pt x="1971675" y="196799"/>
                  </a:lnTo>
                  <a:lnTo>
                    <a:pt x="1971726" y="196799"/>
                  </a:lnTo>
                  <a:lnTo>
                    <a:pt x="1971726" y="198831"/>
                  </a:lnTo>
                  <a:lnTo>
                    <a:pt x="1971726" y="197447"/>
                  </a:lnTo>
                  <a:lnTo>
                    <a:pt x="1971777" y="197447"/>
                  </a:lnTo>
                  <a:lnTo>
                    <a:pt x="1971777" y="198831"/>
                  </a:lnTo>
                  <a:lnTo>
                    <a:pt x="1971777" y="197447"/>
                  </a:lnTo>
                  <a:lnTo>
                    <a:pt x="1971777" y="198831"/>
                  </a:lnTo>
                  <a:lnTo>
                    <a:pt x="1971879" y="198831"/>
                  </a:lnTo>
                  <a:lnTo>
                    <a:pt x="1971879" y="199530"/>
                  </a:lnTo>
                  <a:lnTo>
                    <a:pt x="1971879" y="198831"/>
                  </a:lnTo>
                  <a:lnTo>
                    <a:pt x="1971879" y="199530"/>
                  </a:lnTo>
                  <a:lnTo>
                    <a:pt x="1971879" y="198831"/>
                  </a:lnTo>
                  <a:lnTo>
                    <a:pt x="1971879" y="199530"/>
                  </a:lnTo>
                  <a:lnTo>
                    <a:pt x="1971879" y="198831"/>
                  </a:lnTo>
                  <a:lnTo>
                    <a:pt x="1971930" y="198831"/>
                  </a:lnTo>
                  <a:lnTo>
                    <a:pt x="1971930" y="199530"/>
                  </a:lnTo>
                  <a:lnTo>
                    <a:pt x="1971930" y="198831"/>
                  </a:lnTo>
                  <a:lnTo>
                    <a:pt x="1971930" y="199530"/>
                  </a:lnTo>
                  <a:lnTo>
                    <a:pt x="1971930" y="198831"/>
                  </a:lnTo>
                  <a:lnTo>
                    <a:pt x="1971980" y="199530"/>
                  </a:lnTo>
                  <a:lnTo>
                    <a:pt x="1971980" y="198831"/>
                  </a:lnTo>
                  <a:lnTo>
                    <a:pt x="1971980" y="199530"/>
                  </a:lnTo>
                  <a:lnTo>
                    <a:pt x="1971980" y="198831"/>
                  </a:lnTo>
                  <a:lnTo>
                    <a:pt x="1971980" y="199530"/>
                  </a:lnTo>
                  <a:lnTo>
                    <a:pt x="1971980" y="198831"/>
                  </a:lnTo>
                  <a:lnTo>
                    <a:pt x="1971980" y="199530"/>
                  </a:lnTo>
                  <a:lnTo>
                    <a:pt x="1972082" y="198831"/>
                  </a:lnTo>
                  <a:lnTo>
                    <a:pt x="1972082" y="199530"/>
                  </a:lnTo>
                  <a:lnTo>
                    <a:pt x="1972082" y="197447"/>
                  </a:lnTo>
                  <a:lnTo>
                    <a:pt x="1972082" y="198831"/>
                  </a:lnTo>
                  <a:lnTo>
                    <a:pt x="1972082" y="196799"/>
                  </a:lnTo>
                  <a:lnTo>
                    <a:pt x="1972133" y="197447"/>
                  </a:lnTo>
                  <a:lnTo>
                    <a:pt x="1972133" y="196113"/>
                  </a:lnTo>
                  <a:lnTo>
                    <a:pt x="1972184" y="195415"/>
                  </a:lnTo>
                  <a:lnTo>
                    <a:pt x="1972184" y="194716"/>
                  </a:lnTo>
                  <a:lnTo>
                    <a:pt x="1972184" y="196799"/>
                  </a:lnTo>
                  <a:lnTo>
                    <a:pt x="1972184" y="194716"/>
                  </a:lnTo>
                  <a:lnTo>
                    <a:pt x="1972222" y="194716"/>
                  </a:lnTo>
                  <a:lnTo>
                    <a:pt x="1972222" y="197447"/>
                  </a:lnTo>
                  <a:lnTo>
                    <a:pt x="1972222" y="196113"/>
                  </a:lnTo>
                  <a:lnTo>
                    <a:pt x="1972323" y="196113"/>
                  </a:lnTo>
                  <a:lnTo>
                    <a:pt x="1972323" y="198831"/>
                  </a:lnTo>
                  <a:lnTo>
                    <a:pt x="1972323" y="196799"/>
                  </a:lnTo>
                  <a:lnTo>
                    <a:pt x="1972374" y="196799"/>
                  </a:lnTo>
                  <a:lnTo>
                    <a:pt x="1972374" y="198831"/>
                  </a:lnTo>
                  <a:lnTo>
                    <a:pt x="1972374" y="197447"/>
                  </a:lnTo>
                  <a:lnTo>
                    <a:pt x="1972425" y="198831"/>
                  </a:lnTo>
                  <a:lnTo>
                    <a:pt x="1972425" y="199530"/>
                  </a:lnTo>
                  <a:lnTo>
                    <a:pt x="1972425" y="198831"/>
                  </a:lnTo>
                  <a:lnTo>
                    <a:pt x="1972425" y="199530"/>
                  </a:lnTo>
                  <a:lnTo>
                    <a:pt x="1972425" y="198831"/>
                  </a:lnTo>
                  <a:lnTo>
                    <a:pt x="1972526" y="199530"/>
                  </a:lnTo>
                  <a:lnTo>
                    <a:pt x="1972526" y="198831"/>
                  </a:lnTo>
                  <a:lnTo>
                    <a:pt x="1972526" y="199530"/>
                  </a:lnTo>
                  <a:lnTo>
                    <a:pt x="1972526" y="198831"/>
                  </a:lnTo>
                  <a:lnTo>
                    <a:pt x="1972526" y="199530"/>
                  </a:lnTo>
                  <a:lnTo>
                    <a:pt x="1972577" y="199530"/>
                  </a:lnTo>
                  <a:lnTo>
                    <a:pt x="1972577" y="197447"/>
                  </a:lnTo>
                  <a:lnTo>
                    <a:pt x="1972577" y="198831"/>
                  </a:lnTo>
                  <a:lnTo>
                    <a:pt x="1972577" y="197447"/>
                  </a:lnTo>
                  <a:lnTo>
                    <a:pt x="1972628" y="197447"/>
                  </a:lnTo>
                  <a:lnTo>
                    <a:pt x="1972628" y="196799"/>
                  </a:lnTo>
                  <a:lnTo>
                    <a:pt x="1972628" y="197447"/>
                  </a:lnTo>
                  <a:lnTo>
                    <a:pt x="1972628" y="195415"/>
                  </a:lnTo>
                  <a:lnTo>
                    <a:pt x="1972628" y="196113"/>
                  </a:lnTo>
                  <a:lnTo>
                    <a:pt x="1972679" y="196113"/>
                  </a:lnTo>
                  <a:lnTo>
                    <a:pt x="1972679" y="196799"/>
                  </a:lnTo>
                  <a:lnTo>
                    <a:pt x="1972679" y="194716"/>
                  </a:lnTo>
                  <a:lnTo>
                    <a:pt x="1972679" y="196113"/>
                  </a:lnTo>
                  <a:lnTo>
                    <a:pt x="1972768" y="196113"/>
                  </a:lnTo>
                  <a:lnTo>
                    <a:pt x="1972768" y="197447"/>
                  </a:lnTo>
                  <a:lnTo>
                    <a:pt x="1972768" y="196113"/>
                  </a:lnTo>
                  <a:lnTo>
                    <a:pt x="1972768" y="196799"/>
                  </a:lnTo>
                  <a:lnTo>
                    <a:pt x="1972768" y="195415"/>
                  </a:lnTo>
                  <a:lnTo>
                    <a:pt x="1972768" y="196799"/>
                  </a:lnTo>
                  <a:lnTo>
                    <a:pt x="1972819" y="196799"/>
                  </a:lnTo>
                  <a:lnTo>
                    <a:pt x="1972819" y="197447"/>
                  </a:lnTo>
                  <a:lnTo>
                    <a:pt x="1972819" y="196113"/>
                  </a:lnTo>
                  <a:lnTo>
                    <a:pt x="1972819" y="196799"/>
                  </a:lnTo>
                  <a:lnTo>
                    <a:pt x="1972819" y="196113"/>
                  </a:lnTo>
                  <a:lnTo>
                    <a:pt x="1972819" y="196799"/>
                  </a:lnTo>
                  <a:lnTo>
                    <a:pt x="1972869" y="197447"/>
                  </a:lnTo>
                  <a:lnTo>
                    <a:pt x="1972869" y="196799"/>
                  </a:lnTo>
                  <a:lnTo>
                    <a:pt x="1972869" y="197447"/>
                  </a:lnTo>
                  <a:lnTo>
                    <a:pt x="1972920" y="197447"/>
                  </a:lnTo>
                  <a:lnTo>
                    <a:pt x="1972920" y="198831"/>
                  </a:lnTo>
                  <a:lnTo>
                    <a:pt x="1972920" y="197447"/>
                  </a:lnTo>
                  <a:lnTo>
                    <a:pt x="1972920" y="198831"/>
                  </a:lnTo>
                  <a:lnTo>
                    <a:pt x="1972920" y="197447"/>
                  </a:lnTo>
                  <a:lnTo>
                    <a:pt x="1972920" y="198831"/>
                  </a:lnTo>
                  <a:lnTo>
                    <a:pt x="1972920" y="197447"/>
                  </a:lnTo>
                  <a:lnTo>
                    <a:pt x="1972920" y="198831"/>
                  </a:lnTo>
                  <a:lnTo>
                    <a:pt x="1972920" y="197447"/>
                  </a:lnTo>
                  <a:lnTo>
                    <a:pt x="1972920" y="198831"/>
                  </a:lnTo>
                  <a:lnTo>
                    <a:pt x="1972920" y="197447"/>
                  </a:lnTo>
                  <a:lnTo>
                    <a:pt x="1972920" y="198831"/>
                  </a:lnTo>
                  <a:lnTo>
                    <a:pt x="1973022" y="197447"/>
                  </a:lnTo>
                  <a:lnTo>
                    <a:pt x="1973022" y="198831"/>
                  </a:lnTo>
                  <a:lnTo>
                    <a:pt x="1973022" y="197447"/>
                  </a:lnTo>
                  <a:lnTo>
                    <a:pt x="1973022" y="198831"/>
                  </a:lnTo>
                  <a:lnTo>
                    <a:pt x="1973022" y="197447"/>
                  </a:lnTo>
                  <a:lnTo>
                    <a:pt x="1973022" y="198831"/>
                  </a:lnTo>
                  <a:lnTo>
                    <a:pt x="1973072" y="198831"/>
                  </a:lnTo>
                  <a:lnTo>
                    <a:pt x="1973072" y="196799"/>
                  </a:lnTo>
                  <a:lnTo>
                    <a:pt x="1973123" y="196799"/>
                  </a:lnTo>
                  <a:lnTo>
                    <a:pt x="1973123" y="196113"/>
                  </a:lnTo>
                  <a:lnTo>
                    <a:pt x="1973123" y="196799"/>
                  </a:lnTo>
                  <a:lnTo>
                    <a:pt x="1973123" y="195415"/>
                  </a:lnTo>
                  <a:lnTo>
                    <a:pt x="1973123" y="196113"/>
                  </a:lnTo>
                  <a:lnTo>
                    <a:pt x="1973225" y="196113"/>
                  </a:lnTo>
                  <a:lnTo>
                    <a:pt x="1973225" y="197447"/>
                  </a:lnTo>
                  <a:lnTo>
                    <a:pt x="1973225" y="195415"/>
                  </a:lnTo>
                  <a:lnTo>
                    <a:pt x="1973225" y="197447"/>
                  </a:lnTo>
                  <a:lnTo>
                    <a:pt x="1973263" y="198831"/>
                  </a:lnTo>
                  <a:lnTo>
                    <a:pt x="1973263" y="197447"/>
                  </a:lnTo>
                  <a:lnTo>
                    <a:pt x="1973263" y="198831"/>
                  </a:lnTo>
                  <a:lnTo>
                    <a:pt x="1973263" y="196799"/>
                  </a:lnTo>
                  <a:lnTo>
                    <a:pt x="1973263" y="198831"/>
                  </a:lnTo>
                  <a:lnTo>
                    <a:pt x="1973314" y="198831"/>
                  </a:lnTo>
                  <a:lnTo>
                    <a:pt x="1973314" y="196799"/>
                  </a:lnTo>
                  <a:lnTo>
                    <a:pt x="1973314" y="197447"/>
                  </a:lnTo>
                  <a:lnTo>
                    <a:pt x="1973314" y="196799"/>
                  </a:lnTo>
                  <a:lnTo>
                    <a:pt x="1973314" y="197447"/>
                  </a:lnTo>
                  <a:lnTo>
                    <a:pt x="1973365" y="197447"/>
                  </a:lnTo>
                  <a:lnTo>
                    <a:pt x="1973365" y="198831"/>
                  </a:lnTo>
                  <a:lnTo>
                    <a:pt x="1973365" y="197447"/>
                  </a:lnTo>
                  <a:lnTo>
                    <a:pt x="1973365" y="198831"/>
                  </a:lnTo>
                  <a:lnTo>
                    <a:pt x="1973466" y="198831"/>
                  </a:lnTo>
                  <a:lnTo>
                    <a:pt x="1973466" y="199530"/>
                  </a:lnTo>
                  <a:lnTo>
                    <a:pt x="1973466" y="198831"/>
                  </a:lnTo>
                  <a:lnTo>
                    <a:pt x="1973466" y="199530"/>
                  </a:lnTo>
                  <a:lnTo>
                    <a:pt x="1973466" y="198831"/>
                  </a:lnTo>
                  <a:lnTo>
                    <a:pt x="1973517" y="198831"/>
                  </a:lnTo>
                  <a:lnTo>
                    <a:pt x="1973517" y="199530"/>
                  </a:lnTo>
                  <a:lnTo>
                    <a:pt x="1973517" y="198831"/>
                  </a:lnTo>
                  <a:lnTo>
                    <a:pt x="1973568" y="198831"/>
                  </a:lnTo>
                  <a:lnTo>
                    <a:pt x="1973568" y="197447"/>
                  </a:lnTo>
                  <a:lnTo>
                    <a:pt x="1973669" y="197447"/>
                  </a:lnTo>
                  <a:lnTo>
                    <a:pt x="1973669" y="198831"/>
                  </a:lnTo>
                  <a:lnTo>
                    <a:pt x="1973669" y="196113"/>
                  </a:lnTo>
                  <a:lnTo>
                    <a:pt x="1973669" y="199530"/>
                  </a:lnTo>
                  <a:lnTo>
                    <a:pt x="1973669" y="198831"/>
                  </a:lnTo>
                  <a:lnTo>
                    <a:pt x="1973720" y="198831"/>
                  </a:lnTo>
                  <a:lnTo>
                    <a:pt x="1973720" y="196799"/>
                  </a:lnTo>
                  <a:lnTo>
                    <a:pt x="1973720" y="200228"/>
                  </a:lnTo>
                  <a:lnTo>
                    <a:pt x="1973720" y="198831"/>
                  </a:lnTo>
                  <a:lnTo>
                    <a:pt x="1973771" y="198831"/>
                  </a:lnTo>
                  <a:lnTo>
                    <a:pt x="1973771" y="200228"/>
                  </a:lnTo>
                  <a:lnTo>
                    <a:pt x="1973771" y="199530"/>
                  </a:lnTo>
                  <a:lnTo>
                    <a:pt x="1973809" y="199530"/>
                  </a:lnTo>
                  <a:lnTo>
                    <a:pt x="1973809" y="198831"/>
                  </a:lnTo>
                  <a:lnTo>
                    <a:pt x="1973809" y="199530"/>
                  </a:lnTo>
                  <a:lnTo>
                    <a:pt x="1973911" y="199530"/>
                  </a:lnTo>
                  <a:lnTo>
                    <a:pt x="1973911" y="200228"/>
                  </a:lnTo>
                  <a:lnTo>
                    <a:pt x="1973911" y="199530"/>
                  </a:lnTo>
                  <a:lnTo>
                    <a:pt x="1973911" y="200228"/>
                  </a:lnTo>
                  <a:lnTo>
                    <a:pt x="1973911" y="199530"/>
                  </a:lnTo>
                  <a:lnTo>
                    <a:pt x="1973911" y="200228"/>
                  </a:lnTo>
                  <a:lnTo>
                    <a:pt x="1973911" y="199530"/>
                  </a:lnTo>
                  <a:lnTo>
                    <a:pt x="1973911" y="200228"/>
                  </a:lnTo>
                  <a:lnTo>
                    <a:pt x="1973962" y="200228"/>
                  </a:lnTo>
                  <a:lnTo>
                    <a:pt x="1973962" y="199530"/>
                  </a:lnTo>
                  <a:lnTo>
                    <a:pt x="1973962" y="200228"/>
                  </a:lnTo>
                  <a:lnTo>
                    <a:pt x="1973962" y="199530"/>
                  </a:lnTo>
                  <a:lnTo>
                    <a:pt x="1974012" y="199530"/>
                  </a:lnTo>
                  <a:lnTo>
                    <a:pt x="1974012" y="197447"/>
                  </a:lnTo>
                  <a:lnTo>
                    <a:pt x="1974114" y="197447"/>
                  </a:lnTo>
                  <a:lnTo>
                    <a:pt x="1974114" y="196799"/>
                  </a:lnTo>
                  <a:lnTo>
                    <a:pt x="1974165" y="196113"/>
                  </a:lnTo>
                  <a:lnTo>
                    <a:pt x="1974165" y="195415"/>
                  </a:lnTo>
                  <a:lnTo>
                    <a:pt x="1974165" y="197447"/>
                  </a:lnTo>
                  <a:lnTo>
                    <a:pt x="1974165" y="196799"/>
                  </a:lnTo>
                  <a:lnTo>
                    <a:pt x="1974165" y="197447"/>
                  </a:lnTo>
                  <a:lnTo>
                    <a:pt x="1974165" y="196799"/>
                  </a:lnTo>
                  <a:lnTo>
                    <a:pt x="1974215" y="196113"/>
                  </a:lnTo>
                  <a:lnTo>
                    <a:pt x="1974215" y="195415"/>
                  </a:lnTo>
                  <a:lnTo>
                    <a:pt x="1974215" y="198831"/>
                  </a:lnTo>
                  <a:lnTo>
                    <a:pt x="1974266" y="197447"/>
                  </a:lnTo>
                  <a:lnTo>
                    <a:pt x="1974266" y="199530"/>
                  </a:lnTo>
                  <a:lnTo>
                    <a:pt x="1974266" y="198831"/>
                  </a:lnTo>
                  <a:lnTo>
                    <a:pt x="1974266" y="199530"/>
                  </a:lnTo>
                  <a:lnTo>
                    <a:pt x="1974266" y="197447"/>
                  </a:lnTo>
                  <a:lnTo>
                    <a:pt x="1974355" y="197447"/>
                  </a:lnTo>
                  <a:lnTo>
                    <a:pt x="1974355" y="199530"/>
                  </a:lnTo>
                  <a:lnTo>
                    <a:pt x="1974355" y="198831"/>
                  </a:lnTo>
                  <a:lnTo>
                    <a:pt x="1974355" y="199530"/>
                  </a:lnTo>
                  <a:lnTo>
                    <a:pt x="1974457" y="199530"/>
                  </a:lnTo>
                  <a:lnTo>
                    <a:pt x="1974457" y="200228"/>
                  </a:lnTo>
                  <a:lnTo>
                    <a:pt x="1974457" y="198831"/>
                  </a:lnTo>
                  <a:lnTo>
                    <a:pt x="1974457" y="199530"/>
                  </a:lnTo>
                  <a:lnTo>
                    <a:pt x="1974457" y="198831"/>
                  </a:lnTo>
                  <a:lnTo>
                    <a:pt x="1974457" y="199530"/>
                  </a:lnTo>
                  <a:lnTo>
                    <a:pt x="1974508" y="199530"/>
                  </a:lnTo>
                  <a:lnTo>
                    <a:pt x="1974508" y="200228"/>
                  </a:lnTo>
                  <a:lnTo>
                    <a:pt x="1974508" y="198831"/>
                  </a:lnTo>
                  <a:lnTo>
                    <a:pt x="1974609" y="198831"/>
                  </a:lnTo>
                  <a:lnTo>
                    <a:pt x="1974609" y="196799"/>
                  </a:lnTo>
                  <a:lnTo>
                    <a:pt x="1974609" y="197447"/>
                  </a:lnTo>
                  <a:lnTo>
                    <a:pt x="1974609" y="196113"/>
                  </a:lnTo>
                  <a:lnTo>
                    <a:pt x="1974660" y="195415"/>
                  </a:lnTo>
                  <a:lnTo>
                    <a:pt x="1974660" y="197447"/>
                  </a:lnTo>
                  <a:lnTo>
                    <a:pt x="1974660" y="196799"/>
                  </a:lnTo>
                  <a:lnTo>
                    <a:pt x="1974660" y="197447"/>
                  </a:lnTo>
                  <a:lnTo>
                    <a:pt x="1974660" y="196113"/>
                  </a:lnTo>
                  <a:lnTo>
                    <a:pt x="1974711" y="195415"/>
                  </a:lnTo>
                  <a:lnTo>
                    <a:pt x="1974711" y="198831"/>
                  </a:lnTo>
                  <a:lnTo>
                    <a:pt x="1974711" y="196799"/>
                  </a:lnTo>
                  <a:lnTo>
                    <a:pt x="1974812" y="197447"/>
                  </a:lnTo>
                  <a:lnTo>
                    <a:pt x="1974812" y="199530"/>
                  </a:lnTo>
                  <a:lnTo>
                    <a:pt x="1974812" y="198831"/>
                  </a:lnTo>
                  <a:lnTo>
                    <a:pt x="1974812" y="199530"/>
                  </a:lnTo>
                  <a:lnTo>
                    <a:pt x="1974812" y="197447"/>
                  </a:lnTo>
                  <a:lnTo>
                    <a:pt x="1974850" y="197447"/>
                  </a:lnTo>
                  <a:lnTo>
                    <a:pt x="1974850" y="199530"/>
                  </a:lnTo>
                  <a:lnTo>
                    <a:pt x="1974850" y="198831"/>
                  </a:lnTo>
                  <a:lnTo>
                    <a:pt x="1974850" y="199530"/>
                  </a:lnTo>
                  <a:lnTo>
                    <a:pt x="1974850" y="198831"/>
                  </a:lnTo>
                  <a:lnTo>
                    <a:pt x="1974850" y="199530"/>
                  </a:lnTo>
                  <a:lnTo>
                    <a:pt x="1974901" y="199530"/>
                  </a:lnTo>
                  <a:lnTo>
                    <a:pt x="1974901" y="200228"/>
                  </a:lnTo>
                  <a:lnTo>
                    <a:pt x="1974901" y="199530"/>
                  </a:lnTo>
                  <a:lnTo>
                    <a:pt x="1974901" y="200228"/>
                  </a:lnTo>
                  <a:lnTo>
                    <a:pt x="1974901" y="199530"/>
                  </a:lnTo>
                  <a:lnTo>
                    <a:pt x="1974901" y="200228"/>
                  </a:lnTo>
                  <a:lnTo>
                    <a:pt x="1974952" y="200228"/>
                  </a:lnTo>
                  <a:lnTo>
                    <a:pt x="1974952" y="199530"/>
                  </a:lnTo>
                  <a:lnTo>
                    <a:pt x="1974952" y="200228"/>
                  </a:lnTo>
                  <a:lnTo>
                    <a:pt x="1974952" y="199530"/>
                  </a:lnTo>
                  <a:lnTo>
                    <a:pt x="1975054" y="199530"/>
                  </a:lnTo>
                  <a:lnTo>
                    <a:pt x="1975054" y="198831"/>
                  </a:lnTo>
                  <a:lnTo>
                    <a:pt x="1975054" y="199530"/>
                  </a:lnTo>
                  <a:lnTo>
                    <a:pt x="1975054" y="198831"/>
                  </a:lnTo>
                  <a:lnTo>
                    <a:pt x="1975105" y="198831"/>
                  </a:lnTo>
                  <a:lnTo>
                    <a:pt x="1975105" y="195415"/>
                  </a:lnTo>
                  <a:lnTo>
                    <a:pt x="1975155" y="195415"/>
                  </a:lnTo>
                  <a:lnTo>
                    <a:pt x="1975155" y="196113"/>
                  </a:lnTo>
                  <a:lnTo>
                    <a:pt x="1975155" y="195415"/>
                  </a:lnTo>
                  <a:lnTo>
                    <a:pt x="1975155" y="196113"/>
                  </a:lnTo>
                  <a:lnTo>
                    <a:pt x="1975257" y="195415"/>
                  </a:lnTo>
                  <a:lnTo>
                    <a:pt x="1975257" y="197447"/>
                  </a:lnTo>
                  <a:lnTo>
                    <a:pt x="1975257" y="196799"/>
                  </a:lnTo>
                  <a:lnTo>
                    <a:pt x="1975308" y="196799"/>
                  </a:lnTo>
                  <a:lnTo>
                    <a:pt x="1975308" y="197447"/>
                  </a:lnTo>
                  <a:lnTo>
                    <a:pt x="1975308" y="196799"/>
                  </a:lnTo>
                  <a:lnTo>
                    <a:pt x="1975359" y="196799"/>
                  </a:lnTo>
                  <a:lnTo>
                    <a:pt x="1975359" y="198831"/>
                  </a:lnTo>
                  <a:lnTo>
                    <a:pt x="1975359" y="197447"/>
                  </a:lnTo>
                  <a:lnTo>
                    <a:pt x="1975359" y="198831"/>
                  </a:lnTo>
                  <a:lnTo>
                    <a:pt x="1975397" y="198831"/>
                  </a:lnTo>
                  <a:lnTo>
                    <a:pt x="1975397" y="199530"/>
                  </a:lnTo>
                  <a:lnTo>
                    <a:pt x="1975397" y="198831"/>
                  </a:lnTo>
                  <a:lnTo>
                    <a:pt x="1975397" y="199530"/>
                  </a:lnTo>
                  <a:lnTo>
                    <a:pt x="1975397" y="198831"/>
                  </a:lnTo>
                  <a:lnTo>
                    <a:pt x="1975397" y="199530"/>
                  </a:lnTo>
                  <a:lnTo>
                    <a:pt x="1975397" y="198831"/>
                  </a:lnTo>
                  <a:lnTo>
                    <a:pt x="1975397" y="199530"/>
                  </a:lnTo>
                  <a:lnTo>
                    <a:pt x="1975498" y="199530"/>
                  </a:lnTo>
                  <a:lnTo>
                    <a:pt x="1975498" y="200228"/>
                  </a:lnTo>
                  <a:lnTo>
                    <a:pt x="1975498" y="199530"/>
                  </a:lnTo>
                  <a:lnTo>
                    <a:pt x="1975549" y="199530"/>
                  </a:lnTo>
                  <a:lnTo>
                    <a:pt x="1975549" y="198831"/>
                  </a:lnTo>
                  <a:lnTo>
                    <a:pt x="1975600" y="198831"/>
                  </a:lnTo>
                  <a:lnTo>
                    <a:pt x="1975600" y="196113"/>
                  </a:lnTo>
                  <a:lnTo>
                    <a:pt x="1975600" y="196799"/>
                  </a:lnTo>
                  <a:lnTo>
                    <a:pt x="1975701" y="196799"/>
                  </a:lnTo>
                  <a:lnTo>
                    <a:pt x="1975701" y="198831"/>
                  </a:lnTo>
                  <a:lnTo>
                    <a:pt x="1975701" y="196113"/>
                  </a:lnTo>
                  <a:lnTo>
                    <a:pt x="1975701" y="197447"/>
                  </a:lnTo>
                  <a:lnTo>
                    <a:pt x="1975752" y="198831"/>
                  </a:lnTo>
                  <a:lnTo>
                    <a:pt x="1975752" y="199530"/>
                  </a:lnTo>
                  <a:lnTo>
                    <a:pt x="1975752" y="196799"/>
                  </a:lnTo>
                  <a:lnTo>
                    <a:pt x="1975752" y="197447"/>
                  </a:lnTo>
                  <a:lnTo>
                    <a:pt x="1975752" y="196799"/>
                  </a:lnTo>
                  <a:lnTo>
                    <a:pt x="1975752" y="197447"/>
                  </a:lnTo>
                  <a:lnTo>
                    <a:pt x="1975803" y="198831"/>
                  </a:lnTo>
                  <a:lnTo>
                    <a:pt x="1975803" y="197447"/>
                  </a:lnTo>
                  <a:lnTo>
                    <a:pt x="1975803" y="198831"/>
                  </a:lnTo>
                  <a:lnTo>
                    <a:pt x="1975803" y="197447"/>
                  </a:lnTo>
                  <a:lnTo>
                    <a:pt x="1975854" y="198831"/>
                  </a:lnTo>
                  <a:lnTo>
                    <a:pt x="1975854" y="197447"/>
                  </a:lnTo>
                  <a:lnTo>
                    <a:pt x="1975854" y="198831"/>
                  </a:lnTo>
                  <a:lnTo>
                    <a:pt x="1975854" y="197447"/>
                  </a:lnTo>
                  <a:lnTo>
                    <a:pt x="1975854" y="198831"/>
                  </a:lnTo>
                  <a:lnTo>
                    <a:pt x="1975943" y="198831"/>
                  </a:lnTo>
                  <a:lnTo>
                    <a:pt x="1975943" y="199530"/>
                  </a:lnTo>
                  <a:lnTo>
                    <a:pt x="1975943" y="198831"/>
                  </a:lnTo>
                  <a:lnTo>
                    <a:pt x="1975943" y="199530"/>
                  </a:lnTo>
                  <a:lnTo>
                    <a:pt x="1975943" y="197447"/>
                  </a:lnTo>
                  <a:lnTo>
                    <a:pt x="1975994" y="197447"/>
                  </a:lnTo>
                  <a:lnTo>
                    <a:pt x="1975994" y="199530"/>
                  </a:lnTo>
                  <a:lnTo>
                    <a:pt x="1975994" y="198831"/>
                  </a:lnTo>
                  <a:lnTo>
                    <a:pt x="1976044" y="198831"/>
                  </a:lnTo>
                  <a:lnTo>
                    <a:pt x="1976044" y="197447"/>
                  </a:lnTo>
                  <a:lnTo>
                    <a:pt x="1976095" y="197447"/>
                  </a:lnTo>
                  <a:lnTo>
                    <a:pt x="1976095" y="196799"/>
                  </a:lnTo>
                  <a:lnTo>
                    <a:pt x="1976095" y="199530"/>
                  </a:lnTo>
                  <a:lnTo>
                    <a:pt x="1976197" y="199530"/>
                  </a:lnTo>
                  <a:lnTo>
                    <a:pt x="1976197" y="196799"/>
                  </a:lnTo>
                  <a:lnTo>
                    <a:pt x="1976197" y="200228"/>
                  </a:lnTo>
                  <a:lnTo>
                    <a:pt x="1976247" y="199530"/>
                  </a:lnTo>
                  <a:lnTo>
                    <a:pt x="1976247" y="198831"/>
                  </a:lnTo>
                  <a:lnTo>
                    <a:pt x="1976247" y="200876"/>
                  </a:lnTo>
                  <a:lnTo>
                    <a:pt x="1976247" y="199530"/>
                  </a:lnTo>
                  <a:lnTo>
                    <a:pt x="1976298" y="199530"/>
                  </a:lnTo>
                  <a:lnTo>
                    <a:pt x="1976298" y="200876"/>
                  </a:lnTo>
                  <a:lnTo>
                    <a:pt x="1976298" y="199530"/>
                  </a:lnTo>
                  <a:lnTo>
                    <a:pt x="1976400" y="199530"/>
                  </a:lnTo>
                  <a:lnTo>
                    <a:pt x="1976400" y="200228"/>
                  </a:lnTo>
                  <a:lnTo>
                    <a:pt x="1976400" y="199530"/>
                  </a:lnTo>
                  <a:lnTo>
                    <a:pt x="1976400" y="200228"/>
                  </a:lnTo>
                  <a:lnTo>
                    <a:pt x="1976400" y="199530"/>
                  </a:lnTo>
                  <a:lnTo>
                    <a:pt x="1976400" y="200228"/>
                  </a:lnTo>
                  <a:lnTo>
                    <a:pt x="1976400" y="199530"/>
                  </a:lnTo>
                  <a:lnTo>
                    <a:pt x="1976400" y="200228"/>
                  </a:lnTo>
                  <a:lnTo>
                    <a:pt x="1976400" y="199530"/>
                  </a:lnTo>
                  <a:lnTo>
                    <a:pt x="1976400" y="200228"/>
                  </a:lnTo>
                  <a:lnTo>
                    <a:pt x="1976438" y="200228"/>
                  </a:lnTo>
                  <a:lnTo>
                    <a:pt x="1976438" y="199530"/>
                  </a:lnTo>
                  <a:lnTo>
                    <a:pt x="1976540" y="199530"/>
                  </a:lnTo>
                  <a:lnTo>
                    <a:pt x="1976540" y="197447"/>
                  </a:lnTo>
                  <a:lnTo>
                    <a:pt x="1976540" y="198831"/>
                  </a:lnTo>
                  <a:lnTo>
                    <a:pt x="1976540" y="196799"/>
                  </a:lnTo>
                  <a:lnTo>
                    <a:pt x="1976641" y="196799"/>
                  </a:lnTo>
                  <a:lnTo>
                    <a:pt x="1976641" y="199530"/>
                  </a:lnTo>
                  <a:lnTo>
                    <a:pt x="1976641" y="197447"/>
                  </a:lnTo>
                  <a:lnTo>
                    <a:pt x="1976692" y="197447"/>
                  </a:lnTo>
                  <a:lnTo>
                    <a:pt x="1976692" y="200876"/>
                  </a:lnTo>
                  <a:lnTo>
                    <a:pt x="1976692" y="199530"/>
                  </a:lnTo>
                  <a:lnTo>
                    <a:pt x="1976743" y="199530"/>
                  </a:lnTo>
                  <a:lnTo>
                    <a:pt x="1976743" y="200876"/>
                  </a:lnTo>
                  <a:lnTo>
                    <a:pt x="1976743" y="200228"/>
                  </a:lnTo>
                  <a:lnTo>
                    <a:pt x="1976743" y="200876"/>
                  </a:lnTo>
                  <a:lnTo>
                    <a:pt x="1976743" y="200228"/>
                  </a:lnTo>
                  <a:lnTo>
                    <a:pt x="1976743" y="200876"/>
                  </a:lnTo>
                  <a:lnTo>
                    <a:pt x="1976743" y="200228"/>
                  </a:lnTo>
                  <a:lnTo>
                    <a:pt x="1976844" y="200876"/>
                  </a:lnTo>
                  <a:lnTo>
                    <a:pt x="1976844" y="200228"/>
                  </a:lnTo>
                  <a:lnTo>
                    <a:pt x="1976844" y="200876"/>
                  </a:lnTo>
                  <a:lnTo>
                    <a:pt x="1976844" y="200228"/>
                  </a:lnTo>
                  <a:lnTo>
                    <a:pt x="1976895" y="200876"/>
                  </a:lnTo>
                  <a:lnTo>
                    <a:pt x="1976895" y="200228"/>
                  </a:lnTo>
                  <a:lnTo>
                    <a:pt x="1976895" y="200876"/>
                  </a:lnTo>
                  <a:lnTo>
                    <a:pt x="1976895" y="200228"/>
                  </a:lnTo>
                  <a:lnTo>
                    <a:pt x="1976895" y="200876"/>
                  </a:lnTo>
                  <a:lnTo>
                    <a:pt x="1976946" y="200876"/>
                  </a:lnTo>
                  <a:lnTo>
                    <a:pt x="1976946" y="200228"/>
                  </a:lnTo>
                  <a:lnTo>
                    <a:pt x="1976946" y="200876"/>
                  </a:lnTo>
                  <a:lnTo>
                    <a:pt x="1976946" y="199530"/>
                  </a:lnTo>
                  <a:lnTo>
                    <a:pt x="1976946" y="200228"/>
                  </a:lnTo>
                  <a:lnTo>
                    <a:pt x="1976946" y="199530"/>
                  </a:lnTo>
                  <a:lnTo>
                    <a:pt x="1976946" y="200228"/>
                  </a:lnTo>
                  <a:lnTo>
                    <a:pt x="1976984" y="200228"/>
                  </a:lnTo>
                  <a:lnTo>
                    <a:pt x="1976984" y="198831"/>
                  </a:lnTo>
                  <a:lnTo>
                    <a:pt x="1976984" y="199530"/>
                  </a:lnTo>
                  <a:lnTo>
                    <a:pt x="1976984" y="197447"/>
                  </a:lnTo>
                  <a:lnTo>
                    <a:pt x="1976984" y="198831"/>
                  </a:lnTo>
                  <a:lnTo>
                    <a:pt x="1977086" y="197447"/>
                  </a:lnTo>
                  <a:lnTo>
                    <a:pt x="1977086" y="196799"/>
                  </a:lnTo>
                  <a:lnTo>
                    <a:pt x="1977086" y="197447"/>
                  </a:lnTo>
                  <a:lnTo>
                    <a:pt x="1977137" y="197447"/>
                  </a:lnTo>
                  <a:lnTo>
                    <a:pt x="1977137" y="196799"/>
                  </a:lnTo>
                  <a:lnTo>
                    <a:pt x="1977137" y="197447"/>
                  </a:lnTo>
                  <a:lnTo>
                    <a:pt x="1977137" y="196799"/>
                  </a:lnTo>
                  <a:lnTo>
                    <a:pt x="1977137" y="199530"/>
                  </a:lnTo>
                  <a:lnTo>
                    <a:pt x="1977187" y="199530"/>
                  </a:lnTo>
                  <a:lnTo>
                    <a:pt x="1977187" y="198831"/>
                  </a:lnTo>
                  <a:lnTo>
                    <a:pt x="1977187" y="199530"/>
                  </a:lnTo>
                  <a:lnTo>
                    <a:pt x="1977289" y="200228"/>
                  </a:lnTo>
                  <a:lnTo>
                    <a:pt x="1977289" y="199530"/>
                  </a:lnTo>
                  <a:lnTo>
                    <a:pt x="1977289" y="200228"/>
                  </a:lnTo>
                  <a:lnTo>
                    <a:pt x="1977340" y="200228"/>
                  </a:lnTo>
                  <a:lnTo>
                    <a:pt x="1977340" y="200876"/>
                  </a:lnTo>
                  <a:lnTo>
                    <a:pt x="1977340" y="200228"/>
                  </a:lnTo>
                  <a:lnTo>
                    <a:pt x="1977340" y="200876"/>
                  </a:lnTo>
                  <a:lnTo>
                    <a:pt x="1977340" y="200228"/>
                  </a:lnTo>
                  <a:lnTo>
                    <a:pt x="1977390" y="200228"/>
                  </a:lnTo>
                  <a:lnTo>
                    <a:pt x="1977390" y="200876"/>
                  </a:lnTo>
                  <a:lnTo>
                    <a:pt x="1977390" y="200228"/>
                  </a:lnTo>
                  <a:lnTo>
                    <a:pt x="1977390" y="200876"/>
                  </a:lnTo>
                  <a:lnTo>
                    <a:pt x="1977390" y="200228"/>
                  </a:lnTo>
                  <a:lnTo>
                    <a:pt x="1977441" y="200228"/>
                  </a:lnTo>
                  <a:lnTo>
                    <a:pt x="1977441" y="200876"/>
                  </a:lnTo>
                  <a:lnTo>
                    <a:pt x="1977441" y="200228"/>
                  </a:lnTo>
                  <a:lnTo>
                    <a:pt x="1977530" y="200228"/>
                  </a:lnTo>
                  <a:lnTo>
                    <a:pt x="1977530" y="198831"/>
                  </a:lnTo>
                  <a:lnTo>
                    <a:pt x="1977530" y="199530"/>
                  </a:lnTo>
                  <a:lnTo>
                    <a:pt x="1977530" y="198831"/>
                  </a:lnTo>
                  <a:lnTo>
                    <a:pt x="1977530" y="199530"/>
                  </a:lnTo>
                  <a:lnTo>
                    <a:pt x="1977530" y="198831"/>
                  </a:lnTo>
                  <a:lnTo>
                    <a:pt x="1977581" y="198831"/>
                  </a:lnTo>
                  <a:lnTo>
                    <a:pt x="1977581" y="197447"/>
                  </a:lnTo>
                  <a:lnTo>
                    <a:pt x="1977581" y="198831"/>
                  </a:lnTo>
                  <a:lnTo>
                    <a:pt x="1977581" y="197447"/>
                  </a:lnTo>
                  <a:lnTo>
                    <a:pt x="1977581" y="198831"/>
                  </a:lnTo>
                  <a:lnTo>
                    <a:pt x="1977581" y="197447"/>
                  </a:lnTo>
                  <a:lnTo>
                    <a:pt x="1977632" y="197447"/>
                  </a:lnTo>
                  <a:lnTo>
                    <a:pt x="1977632" y="200228"/>
                  </a:lnTo>
                  <a:lnTo>
                    <a:pt x="1977632" y="199530"/>
                  </a:lnTo>
                  <a:lnTo>
                    <a:pt x="1977632" y="200228"/>
                  </a:lnTo>
                  <a:lnTo>
                    <a:pt x="1977632" y="199530"/>
                  </a:lnTo>
                  <a:lnTo>
                    <a:pt x="1977683" y="199530"/>
                  </a:lnTo>
                  <a:lnTo>
                    <a:pt x="1977683" y="200228"/>
                  </a:lnTo>
                  <a:lnTo>
                    <a:pt x="1977683" y="199530"/>
                  </a:lnTo>
                  <a:lnTo>
                    <a:pt x="1977784" y="199530"/>
                  </a:lnTo>
                  <a:lnTo>
                    <a:pt x="1977784" y="200876"/>
                  </a:lnTo>
                  <a:lnTo>
                    <a:pt x="1977784" y="200228"/>
                  </a:lnTo>
                  <a:lnTo>
                    <a:pt x="1977835" y="200228"/>
                  </a:lnTo>
                  <a:lnTo>
                    <a:pt x="1977835" y="200876"/>
                  </a:lnTo>
                  <a:lnTo>
                    <a:pt x="1977835" y="200228"/>
                  </a:lnTo>
                  <a:lnTo>
                    <a:pt x="1977835" y="200876"/>
                  </a:lnTo>
                  <a:lnTo>
                    <a:pt x="1977835" y="200228"/>
                  </a:lnTo>
                  <a:lnTo>
                    <a:pt x="1977835" y="200876"/>
                  </a:lnTo>
                  <a:lnTo>
                    <a:pt x="1977835" y="200228"/>
                  </a:lnTo>
                  <a:lnTo>
                    <a:pt x="1977835" y="200876"/>
                  </a:lnTo>
                  <a:lnTo>
                    <a:pt x="1977886" y="200876"/>
                  </a:lnTo>
                  <a:lnTo>
                    <a:pt x="1977886" y="200228"/>
                  </a:lnTo>
                  <a:lnTo>
                    <a:pt x="1977886" y="200876"/>
                  </a:lnTo>
                  <a:lnTo>
                    <a:pt x="1977886" y="200228"/>
                  </a:lnTo>
                  <a:lnTo>
                    <a:pt x="1977987" y="200876"/>
                  </a:lnTo>
                  <a:lnTo>
                    <a:pt x="1977987" y="199530"/>
                  </a:lnTo>
                  <a:lnTo>
                    <a:pt x="1978025" y="199530"/>
                  </a:lnTo>
                  <a:lnTo>
                    <a:pt x="1978025" y="198831"/>
                  </a:lnTo>
                  <a:lnTo>
                    <a:pt x="1978025" y="199530"/>
                  </a:lnTo>
                  <a:lnTo>
                    <a:pt x="1978025" y="198831"/>
                  </a:lnTo>
                  <a:lnTo>
                    <a:pt x="1978025" y="199530"/>
                  </a:lnTo>
                  <a:lnTo>
                    <a:pt x="1978025" y="196799"/>
                  </a:lnTo>
                  <a:lnTo>
                    <a:pt x="1978025" y="197447"/>
                  </a:lnTo>
                  <a:lnTo>
                    <a:pt x="1978025" y="196799"/>
                  </a:lnTo>
                  <a:lnTo>
                    <a:pt x="1978076" y="196799"/>
                  </a:lnTo>
                  <a:lnTo>
                    <a:pt x="1978076" y="199530"/>
                  </a:lnTo>
                  <a:lnTo>
                    <a:pt x="1978076" y="196113"/>
                  </a:lnTo>
                  <a:lnTo>
                    <a:pt x="1978076" y="196799"/>
                  </a:lnTo>
                  <a:lnTo>
                    <a:pt x="1978076" y="196113"/>
                  </a:lnTo>
                  <a:lnTo>
                    <a:pt x="1978127" y="196799"/>
                  </a:lnTo>
                  <a:lnTo>
                    <a:pt x="1978127" y="200228"/>
                  </a:lnTo>
                  <a:lnTo>
                    <a:pt x="1978127" y="198831"/>
                  </a:lnTo>
                  <a:lnTo>
                    <a:pt x="1978127" y="199530"/>
                  </a:lnTo>
                  <a:lnTo>
                    <a:pt x="1978229" y="199530"/>
                  </a:lnTo>
                  <a:lnTo>
                    <a:pt x="1978229" y="200228"/>
                  </a:lnTo>
                  <a:lnTo>
                    <a:pt x="1978229" y="199530"/>
                  </a:lnTo>
                  <a:lnTo>
                    <a:pt x="1978229" y="200228"/>
                  </a:lnTo>
                  <a:lnTo>
                    <a:pt x="1978229" y="198831"/>
                  </a:lnTo>
                  <a:lnTo>
                    <a:pt x="1978229" y="199530"/>
                  </a:lnTo>
                  <a:lnTo>
                    <a:pt x="1978229" y="198831"/>
                  </a:lnTo>
                  <a:lnTo>
                    <a:pt x="1978229" y="199530"/>
                  </a:lnTo>
                  <a:lnTo>
                    <a:pt x="1978280" y="199530"/>
                  </a:lnTo>
                  <a:lnTo>
                    <a:pt x="1978280" y="200228"/>
                  </a:lnTo>
                  <a:lnTo>
                    <a:pt x="1978280" y="199530"/>
                  </a:lnTo>
                  <a:lnTo>
                    <a:pt x="1978280" y="200228"/>
                  </a:lnTo>
                  <a:lnTo>
                    <a:pt x="1978280" y="199530"/>
                  </a:lnTo>
                  <a:lnTo>
                    <a:pt x="1978280" y="200228"/>
                  </a:lnTo>
                  <a:lnTo>
                    <a:pt x="1978330" y="200228"/>
                  </a:lnTo>
                  <a:lnTo>
                    <a:pt x="1978330" y="200876"/>
                  </a:lnTo>
                  <a:lnTo>
                    <a:pt x="1978330" y="200228"/>
                  </a:lnTo>
                  <a:lnTo>
                    <a:pt x="1978432" y="200228"/>
                  </a:lnTo>
                  <a:lnTo>
                    <a:pt x="1978432" y="200876"/>
                  </a:lnTo>
                  <a:lnTo>
                    <a:pt x="1978432" y="200228"/>
                  </a:lnTo>
                  <a:lnTo>
                    <a:pt x="1978483" y="200228"/>
                  </a:lnTo>
                  <a:lnTo>
                    <a:pt x="1978483" y="199530"/>
                  </a:lnTo>
                  <a:lnTo>
                    <a:pt x="1978483" y="200228"/>
                  </a:lnTo>
                  <a:lnTo>
                    <a:pt x="1978483" y="199530"/>
                  </a:lnTo>
                  <a:lnTo>
                    <a:pt x="1978483" y="200228"/>
                  </a:lnTo>
                  <a:lnTo>
                    <a:pt x="1978483" y="198831"/>
                  </a:lnTo>
                  <a:lnTo>
                    <a:pt x="1978483" y="199530"/>
                  </a:lnTo>
                  <a:lnTo>
                    <a:pt x="1978483" y="198831"/>
                  </a:lnTo>
                  <a:lnTo>
                    <a:pt x="1978534" y="198831"/>
                  </a:lnTo>
                  <a:lnTo>
                    <a:pt x="1978534" y="196799"/>
                  </a:lnTo>
                  <a:lnTo>
                    <a:pt x="1978534" y="198831"/>
                  </a:lnTo>
                  <a:lnTo>
                    <a:pt x="1978572" y="198831"/>
                  </a:lnTo>
                  <a:lnTo>
                    <a:pt x="1978572" y="196113"/>
                  </a:lnTo>
                  <a:lnTo>
                    <a:pt x="1978572" y="196799"/>
                  </a:lnTo>
                  <a:lnTo>
                    <a:pt x="1978572" y="196113"/>
                  </a:lnTo>
                  <a:lnTo>
                    <a:pt x="1978572" y="200228"/>
                  </a:lnTo>
                  <a:lnTo>
                    <a:pt x="1978673" y="200228"/>
                  </a:lnTo>
                  <a:lnTo>
                    <a:pt x="1978673" y="197447"/>
                  </a:lnTo>
                  <a:lnTo>
                    <a:pt x="1978673" y="199530"/>
                  </a:lnTo>
                  <a:lnTo>
                    <a:pt x="1978673" y="198831"/>
                  </a:lnTo>
                  <a:lnTo>
                    <a:pt x="1978673" y="200228"/>
                  </a:lnTo>
                  <a:lnTo>
                    <a:pt x="1978724" y="199530"/>
                  </a:lnTo>
                  <a:lnTo>
                    <a:pt x="1978724" y="198831"/>
                  </a:lnTo>
                  <a:lnTo>
                    <a:pt x="1978724" y="199530"/>
                  </a:lnTo>
                  <a:lnTo>
                    <a:pt x="1978724" y="198831"/>
                  </a:lnTo>
                  <a:lnTo>
                    <a:pt x="1978775" y="199530"/>
                  </a:lnTo>
                  <a:lnTo>
                    <a:pt x="1978775" y="198831"/>
                  </a:lnTo>
                  <a:lnTo>
                    <a:pt x="1978775" y="199530"/>
                  </a:lnTo>
                  <a:lnTo>
                    <a:pt x="1978775" y="198831"/>
                  </a:lnTo>
                  <a:lnTo>
                    <a:pt x="1978775" y="199530"/>
                  </a:lnTo>
                  <a:lnTo>
                    <a:pt x="1978876" y="199530"/>
                  </a:lnTo>
                  <a:lnTo>
                    <a:pt x="1978876" y="198831"/>
                  </a:lnTo>
                  <a:lnTo>
                    <a:pt x="1978876" y="199530"/>
                  </a:lnTo>
                  <a:lnTo>
                    <a:pt x="1978876" y="198831"/>
                  </a:lnTo>
                  <a:lnTo>
                    <a:pt x="1978927" y="199530"/>
                  </a:lnTo>
                  <a:lnTo>
                    <a:pt x="1978927" y="198831"/>
                  </a:lnTo>
                  <a:lnTo>
                    <a:pt x="1978927" y="199530"/>
                  </a:lnTo>
                  <a:lnTo>
                    <a:pt x="1978978" y="199530"/>
                  </a:lnTo>
                  <a:lnTo>
                    <a:pt x="1978978" y="196799"/>
                  </a:lnTo>
                  <a:lnTo>
                    <a:pt x="1979029" y="196799"/>
                  </a:lnTo>
                  <a:lnTo>
                    <a:pt x="1979029" y="196113"/>
                  </a:lnTo>
                  <a:lnTo>
                    <a:pt x="1979029" y="197447"/>
                  </a:lnTo>
                  <a:lnTo>
                    <a:pt x="1979029" y="196799"/>
                  </a:lnTo>
                  <a:lnTo>
                    <a:pt x="1979029" y="197447"/>
                  </a:lnTo>
                  <a:lnTo>
                    <a:pt x="1979118" y="196799"/>
                  </a:lnTo>
                  <a:lnTo>
                    <a:pt x="1979118" y="196113"/>
                  </a:lnTo>
                  <a:lnTo>
                    <a:pt x="1979118" y="199530"/>
                  </a:lnTo>
                  <a:lnTo>
                    <a:pt x="1979169" y="198831"/>
                  </a:lnTo>
                  <a:lnTo>
                    <a:pt x="1979169" y="196799"/>
                  </a:lnTo>
                  <a:lnTo>
                    <a:pt x="1979169" y="200228"/>
                  </a:lnTo>
                  <a:lnTo>
                    <a:pt x="1979169" y="199530"/>
                  </a:lnTo>
                  <a:lnTo>
                    <a:pt x="1979219" y="199530"/>
                  </a:lnTo>
                  <a:lnTo>
                    <a:pt x="1979219" y="198831"/>
                  </a:lnTo>
                  <a:lnTo>
                    <a:pt x="1979219" y="200228"/>
                  </a:lnTo>
                  <a:lnTo>
                    <a:pt x="1979219" y="199530"/>
                  </a:lnTo>
                  <a:lnTo>
                    <a:pt x="1979270" y="198831"/>
                  </a:lnTo>
                  <a:lnTo>
                    <a:pt x="1979270" y="200228"/>
                  </a:lnTo>
                  <a:lnTo>
                    <a:pt x="1979270" y="199530"/>
                  </a:lnTo>
                  <a:lnTo>
                    <a:pt x="1979270" y="200228"/>
                  </a:lnTo>
                  <a:lnTo>
                    <a:pt x="1979270" y="199530"/>
                  </a:lnTo>
                  <a:lnTo>
                    <a:pt x="1979372" y="199530"/>
                  </a:lnTo>
                  <a:lnTo>
                    <a:pt x="1979372" y="200228"/>
                  </a:lnTo>
                  <a:lnTo>
                    <a:pt x="1979372" y="199530"/>
                  </a:lnTo>
                  <a:lnTo>
                    <a:pt x="1979372" y="200228"/>
                  </a:lnTo>
                  <a:lnTo>
                    <a:pt x="1979372" y="199530"/>
                  </a:lnTo>
                  <a:lnTo>
                    <a:pt x="1979372" y="200228"/>
                  </a:lnTo>
                  <a:lnTo>
                    <a:pt x="1979422" y="199530"/>
                  </a:lnTo>
                  <a:lnTo>
                    <a:pt x="1979422" y="200228"/>
                  </a:lnTo>
                  <a:lnTo>
                    <a:pt x="1979422" y="199530"/>
                  </a:lnTo>
                  <a:lnTo>
                    <a:pt x="1979422" y="200228"/>
                  </a:lnTo>
                  <a:lnTo>
                    <a:pt x="1979422" y="199530"/>
                  </a:lnTo>
                  <a:lnTo>
                    <a:pt x="1979473" y="199530"/>
                  </a:lnTo>
                  <a:lnTo>
                    <a:pt x="1979473" y="197447"/>
                  </a:lnTo>
                  <a:lnTo>
                    <a:pt x="1979473" y="198831"/>
                  </a:lnTo>
                  <a:lnTo>
                    <a:pt x="1979473" y="197447"/>
                  </a:lnTo>
                  <a:lnTo>
                    <a:pt x="1979575" y="197447"/>
                  </a:lnTo>
                  <a:lnTo>
                    <a:pt x="1979575" y="199530"/>
                  </a:lnTo>
                  <a:lnTo>
                    <a:pt x="1979575" y="198831"/>
                  </a:lnTo>
                  <a:lnTo>
                    <a:pt x="1979613" y="197447"/>
                  </a:lnTo>
                  <a:lnTo>
                    <a:pt x="1979613" y="200228"/>
                  </a:lnTo>
                  <a:lnTo>
                    <a:pt x="1979613" y="199530"/>
                  </a:lnTo>
                  <a:lnTo>
                    <a:pt x="1979664" y="199530"/>
                  </a:lnTo>
                  <a:lnTo>
                    <a:pt x="1979664" y="200876"/>
                  </a:lnTo>
                  <a:lnTo>
                    <a:pt x="1979664" y="199530"/>
                  </a:lnTo>
                  <a:lnTo>
                    <a:pt x="1979664" y="200228"/>
                  </a:lnTo>
                  <a:lnTo>
                    <a:pt x="1979664" y="199530"/>
                  </a:lnTo>
                  <a:lnTo>
                    <a:pt x="1979664" y="200228"/>
                  </a:lnTo>
                  <a:lnTo>
                    <a:pt x="1979715" y="200228"/>
                  </a:lnTo>
                  <a:lnTo>
                    <a:pt x="1979715" y="199530"/>
                  </a:lnTo>
                  <a:lnTo>
                    <a:pt x="1979715" y="200876"/>
                  </a:lnTo>
                  <a:lnTo>
                    <a:pt x="1979715" y="199530"/>
                  </a:lnTo>
                  <a:lnTo>
                    <a:pt x="1979715" y="200228"/>
                  </a:lnTo>
                  <a:lnTo>
                    <a:pt x="1979816" y="200228"/>
                  </a:lnTo>
                  <a:lnTo>
                    <a:pt x="1979816" y="199530"/>
                  </a:lnTo>
                  <a:lnTo>
                    <a:pt x="1979816" y="200228"/>
                  </a:lnTo>
                  <a:lnTo>
                    <a:pt x="1979816" y="199530"/>
                  </a:lnTo>
                  <a:lnTo>
                    <a:pt x="1979816" y="200228"/>
                  </a:lnTo>
                  <a:lnTo>
                    <a:pt x="1979816" y="199530"/>
                  </a:lnTo>
                  <a:lnTo>
                    <a:pt x="1979816" y="200228"/>
                  </a:lnTo>
                  <a:lnTo>
                    <a:pt x="1979867" y="200228"/>
                  </a:lnTo>
                  <a:lnTo>
                    <a:pt x="1979867" y="199530"/>
                  </a:lnTo>
                  <a:lnTo>
                    <a:pt x="1979867" y="200228"/>
                  </a:lnTo>
                  <a:lnTo>
                    <a:pt x="1979867" y="199530"/>
                  </a:lnTo>
                  <a:lnTo>
                    <a:pt x="1979867" y="200228"/>
                  </a:lnTo>
                  <a:lnTo>
                    <a:pt x="1979867" y="199530"/>
                  </a:lnTo>
                  <a:lnTo>
                    <a:pt x="1979918" y="199530"/>
                  </a:lnTo>
                  <a:lnTo>
                    <a:pt x="1979918" y="198831"/>
                  </a:lnTo>
                  <a:lnTo>
                    <a:pt x="1979918" y="199530"/>
                  </a:lnTo>
                  <a:lnTo>
                    <a:pt x="1979918" y="198831"/>
                  </a:lnTo>
                  <a:lnTo>
                    <a:pt x="1980019" y="198831"/>
                  </a:lnTo>
                  <a:lnTo>
                    <a:pt x="1980019" y="196113"/>
                  </a:lnTo>
                  <a:lnTo>
                    <a:pt x="1980019" y="196799"/>
                  </a:lnTo>
                  <a:lnTo>
                    <a:pt x="1980019" y="196113"/>
                  </a:lnTo>
                  <a:lnTo>
                    <a:pt x="1980070" y="196113"/>
                  </a:lnTo>
                  <a:lnTo>
                    <a:pt x="1980070" y="195415"/>
                  </a:lnTo>
                  <a:lnTo>
                    <a:pt x="1980070" y="198831"/>
                  </a:lnTo>
                  <a:lnTo>
                    <a:pt x="1980070" y="196113"/>
                  </a:lnTo>
                  <a:lnTo>
                    <a:pt x="1980070" y="196799"/>
                  </a:lnTo>
                  <a:lnTo>
                    <a:pt x="1980070" y="195415"/>
                  </a:lnTo>
                  <a:lnTo>
                    <a:pt x="1980121" y="196113"/>
                  </a:lnTo>
                  <a:lnTo>
                    <a:pt x="1980121" y="198831"/>
                  </a:lnTo>
                  <a:lnTo>
                    <a:pt x="1980121" y="196799"/>
                  </a:lnTo>
                  <a:lnTo>
                    <a:pt x="1980121" y="197447"/>
                  </a:lnTo>
                  <a:lnTo>
                    <a:pt x="1980159" y="197447"/>
                  </a:lnTo>
                  <a:lnTo>
                    <a:pt x="1980159" y="199530"/>
                  </a:lnTo>
                  <a:lnTo>
                    <a:pt x="1980159" y="197447"/>
                  </a:lnTo>
                  <a:lnTo>
                    <a:pt x="1980159" y="198831"/>
                  </a:lnTo>
                  <a:lnTo>
                    <a:pt x="1980261" y="198831"/>
                  </a:lnTo>
                  <a:lnTo>
                    <a:pt x="1980261" y="200228"/>
                  </a:lnTo>
                  <a:lnTo>
                    <a:pt x="1980261" y="198831"/>
                  </a:lnTo>
                  <a:lnTo>
                    <a:pt x="1980261" y="199530"/>
                  </a:lnTo>
                  <a:lnTo>
                    <a:pt x="1980261" y="198831"/>
                  </a:lnTo>
                  <a:lnTo>
                    <a:pt x="1980261" y="199530"/>
                  </a:lnTo>
                  <a:lnTo>
                    <a:pt x="1980312" y="199530"/>
                  </a:lnTo>
                  <a:lnTo>
                    <a:pt x="1980312" y="198831"/>
                  </a:lnTo>
                  <a:lnTo>
                    <a:pt x="1980312" y="200228"/>
                  </a:lnTo>
                  <a:lnTo>
                    <a:pt x="1980362" y="199530"/>
                  </a:lnTo>
                  <a:lnTo>
                    <a:pt x="1980362" y="198831"/>
                  </a:lnTo>
                  <a:lnTo>
                    <a:pt x="1980362" y="199530"/>
                  </a:lnTo>
                  <a:lnTo>
                    <a:pt x="1980362" y="198831"/>
                  </a:lnTo>
                  <a:lnTo>
                    <a:pt x="1980362" y="199530"/>
                  </a:lnTo>
                  <a:lnTo>
                    <a:pt x="1980464" y="199530"/>
                  </a:lnTo>
                  <a:lnTo>
                    <a:pt x="1980464" y="198831"/>
                  </a:lnTo>
                  <a:lnTo>
                    <a:pt x="1980464" y="199530"/>
                  </a:lnTo>
                  <a:lnTo>
                    <a:pt x="1980464" y="198831"/>
                  </a:lnTo>
                  <a:lnTo>
                    <a:pt x="1980515" y="197447"/>
                  </a:lnTo>
                  <a:lnTo>
                    <a:pt x="1980515" y="198831"/>
                  </a:lnTo>
                  <a:lnTo>
                    <a:pt x="1980515" y="197447"/>
                  </a:lnTo>
                  <a:lnTo>
                    <a:pt x="1980515" y="198831"/>
                  </a:lnTo>
                  <a:lnTo>
                    <a:pt x="1980515" y="196113"/>
                  </a:lnTo>
                  <a:lnTo>
                    <a:pt x="1980515" y="197447"/>
                  </a:lnTo>
                  <a:lnTo>
                    <a:pt x="1980565" y="198831"/>
                  </a:lnTo>
                  <a:lnTo>
                    <a:pt x="1980565" y="196799"/>
                  </a:lnTo>
                  <a:lnTo>
                    <a:pt x="1980565" y="200228"/>
                  </a:lnTo>
                  <a:lnTo>
                    <a:pt x="1980616" y="200228"/>
                  </a:lnTo>
                  <a:lnTo>
                    <a:pt x="1980616" y="197447"/>
                  </a:lnTo>
                  <a:lnTo>
                    <a:pt x="1980616" y="200228"/>
                  </a:lnTo>
                  <a:lnTo>
                    <a:pt x="1980705" y="200228"/>
                  </a:lnTo>
                  <a:lnTo>
                    <a:pt x="1980705" y="198831"/>
                  </a:lnTo>
                  <a:lnTo>
                    <a:pt x="1980705" y="200228"/>
                  </a:lnTo>
                  <a:lnTo>
                    <a:pt x="1980705" y="199530"/>
                  </a:lnTo>
                  <a:lnTo>
                    <a:pt x="1980705" y="200228"/>
                  </a:lnTo>
                  <a:lnTo>
                    <a:pt x="1980705" y="199530"/>
                  </a:lnTo>
                  <a:lnTo>
                    <a:pt x="1980756" y="199530"/>
                  </a:lnTo>
                  <a:lnTo>
                    <a:pt x="1980756" y="198831"/>
                  </a:lnTo>
                  <a:lnTo>
                    <a:pt x="1980756" y="199530"/>
                  </a:lnTo>
                  <a:lnTo>
                    <a:pt x="1980756" y="198831"/>
                  </a:lnTo>
                  <a:lnTo>
                    <a:pt x="1980756" y="199530"/>
                  </a:lnTo>
                  <a:lnTo>
                    <a:pt x="1980807" y="199530"/>
                  </a:lnTo>
                  <a:lnTo>
                    <a:pt x="1980807" y="198831"/>
                  </a:lnTo>
                  <a:lnTo>
                    <a:pt x="1980807" y="200228"/>
                  </a:lnTo>
                  <a:lnTo>
                    <a:pt x="1980807" y="199530"/>
                  </a:lnTo>
                  <a:lnTo>
                    <a:pt x="1980807" y="200228"/>
                  </a:lnTo>
                  <a:lnTo>
                    <a:pt x="1980807" y="199530"/>
                  </a:lnTo>
                  <a:lnTo>
                    <a:pt x="1980858" y="199530"/>
                  </a:lnTo>
                  <a:lnTo>
                    <a:pt x="1980858" y="198831"/>
                  </a:lnTo>
                  <a:lnTo>
                    <a:pt x="1980858" y="199530"/>
                  </a:lnTo>
                  <a:lnTo>
                    <a:pt x="1980959" y="198831"/>
                  </a:lnTo>
                  <a:lnTo>
                    <a:pt x="1980959" y="196799"/>
                  </a:lnTo>
                  <a:lnTo>
                    <a:pt x="1980959" y="197447"/>
                  </a:lnTo>
                  <a:lnTo>
                    <a:pt x="1980959" y="196799"/>
                  </a:lnTo>
                  <a:lnTo>
                    <a:pt x="1980959" y="197447"/>
                  </a:lnTo>
                  <a:lnTo>
                    <a:pt x="1981010" y="197447"/>
                  </a:lnTo>
                  <a:lnTo>
                    <a:pt x="1981010" y="195415"/>
                  </a:lnTo>
                  <a:lnTo>
                    <a:pt x="1981061" y="195415"/>
                  </a:lnTo>
                  <a:lnTo>
                    <a:pt x="1981061" y="196799"/>
                  </a:lnTo>
                  <a:lnTo>
                    <a:pt x="1981061" y="194716"/>
                  </a:lnTo>
                  <a:lnTo>
                    <a:pt x="1981061" y="196799"/>
                  </a:lnTo>
                  <a:lnTo>
                    <a:pt x="1981162" y="196799"/>
                  </a:lnTo>
                  <a:lnTo>
                    <a:pt x="1981162" y="196113"/>
                  </a:lnTo>
                  <a:lnTo>
                    <a:pt x="1981162" y="198831"/>
                  </a:lnTo>
                  <a:lnTo>
                    <a:pt x="1981200" y="198831"/>
                  </a:lnTo>
                  <a:lnTo>
                    <a:pt x="1981200" y="197447"/>
                  </a:lnTo>
                  <a:lnTo>
                    <a:pt x="1981200" y="198831"/>
                  </a:lnTo>
                  <a:lnTo>
                    <a:pt x="1981200" y="197447"/>
                  </a:lnTo>
                  <a:lnTo>
                    <a:pt x="1981200" y="198831"/>
                  </a:lnTo>
                  <a:lnTo>
                    <a:pt x="1981251" y="198831"/>
                  </a:lnTo>
                  <a:lnTo>
                    <a:pt x="1981251" y="199530"/>
                  </a:lnTo>
                  <a:lnTo>
                    <a:pt x="1981251" y="198831"/>
                  </a:lnTo>
                  <a:lnTo>
                    <a:pt x="1981302" y="199530"/>
                  </a:lnTo>
                  <a:lnTo>
                    <a:pt x="1981302" y="198831"/>
                  </a:lnTo>
                  <a:lnTo>
                    <a:pt x="1981302" y="199530"/>
                  </a:lnTo>
                  <a:lnTo>
                    <a:pt x="1981302" y="198831"/>
                  </a:lnTo>
                  <a:lnTo>
                    <a:pt x="1981302" y="200228"/>
                  </a:lnTo>
                  <a:lnTo>
                    <a:pt x="1981302" y="199530"/>
                  </a:lnTo>
                  <a:lnTo>
                    <a:pt x="1981404" y="200228"/>
                  </a:lnTo>
                  <a:lnTo>
                    <a:pt x="1981404" y="199530"/>
                  </a:lnTo>
                  <a:lnTo>
                    <a:pt x="1981404" y="200228"/>
                  </a:lnTo>
                  <a:lnTo>
                    <a:pt x="1981404" y="199530"/>
                  </a:lnTo>
                  <a:lnTo>
                    <a:pt x="1981455" y="199530"/>
                  </a:lnTo>
                  <a:lnTo>
                    <a:pt x="1981455" y="197447"/>
                  </a:lnTo>
                  <a:lnTo>
                    <a:pt x="1981505" y="197447"/>
                  </a:lnTo>
                  <a:lnTo>
                    <a:pt x="1981505" y="195415"/>
                  </a:lnTo>
                  <a:lnTo>
                    <a:pt x="1981505" y="196113"/>
                  </a:lnTo>
                  <a:lnTo>
                    <a:pt x="1981607" y="196113"/>
                  </a:lnTo>
                  <a:lnTo>
                    <a:pt x="1981607" y="195415"/>
                  </a:lnTo>
                  <a:lnTo>
                    <a:pt x="1981607" y="196113"/>
                  </a:lnTo>
                  <a:lnTo>
                    <a:pt x="1981607" y="195415"/>
                  </a:lnTo>
                  <a:lnTo>
                    <a:pt x="1981607" y="196799"/>
                  </a:lnTo>
                  <a:lnTo>
                    <a:pt x="1981658" y="196799"/>
                  </a:lnTo>
                  <a:lnTo>
                    <a:pt x="1981658" y="196113"/>
                  </a:lnTo>
                  <a:lnTo>
                    <a:pt x="1981658" y="196799"/>
                  </a:lnTo>
                  <a:lnTo>
                    <a:pt x="1981658" y="196113"/>
                  </a:lnTo>
                  <a:lnTo>
                    <a:pt x="1981658" y="197447"/>
                  </a:lnTo>
                  <a:lnTo>
                    <a:pt x="1981658" y="196799"/>
                  </a:lnTo>
                  <a:lnTo>
                    <a:pt x="1981747" y="196799"/>
                  </a:lnTo>
                  <a:lnTo>
                    <a:pt x="1981747" y="197447"/>
                  </a:lnTo>
                  <a:lnTo>
                    <a:pt x="1981747" y="196799"/>
                  </a:lnTo>
                  <a:lnTo>
                    <a:pt x="1981747" y="197447"/>
                  </a:lnTo>
                  <a:lnTo>
                    <a:pt x="1981747" y="196799"/>
                  </a:lnTo>
                  <a:lnTo>
                    <a:pt x="1981747" y="197447"/>
                  </a:lnTo>
                  <a:lnTo>
                    <a:pt x="1981848" y="197447"/>
                  </a:lnTo>
                  <a:lnTo>
                    <a:pt x="1981848" y="198831"/>
                  </a:lnTo>
                  <a:lnTo>
                    <a:pt x="1981899" y="198831"/>
                  </a:lnTo>
                  <a:lnTo>
                    <a:pt x="1981899" y="199530"/>
                  </a:lnTo>
                  <a:lnTo>
                    <a:pt x="1981899" y="198831"/>
                  </a:lnTo>
                  <a:lnTo>
                    <a:pt x="1981899" y="199530"/>
                  </a:lnTo>
                  <a:lnTo>
                    <a:pt x="1981899" y="198831"/>
                  </a:lnTo>
                  <a:lnTo>
                    <a:pt x="1981899" y="199530"/>
                  </a:lnTo>
                  <a:lnTo>
                    <a:pt x="1981899" y="198831"/>
                  </a:lnTo>
                  <a:lnTo>
                    <a:pt x="1981950" y="199530"/>
                  </a:lnTo>
                  <a:lnTo>
                    <a:pt x="1981950" y="197447"/>
                  </a:lnTo>
                  <a:lnTo>
                    <a:pt x="1981950" y="198831"/>
                  </a:lnTo>
                  <a:lnTo>
                    <a:pt x="1981950" y="197447"/>
                  </a:lnTo>
                  <a:lnTo>
                    <a:pt x="1981950" y="198831"/>
                  </a:lnTo>
                  <a:lnTo>
                    <a:pt x="1981950" y="197447"/>
                  </a:lnTo>
                  <a:lnTo>
                    <a:pt x="1981950" y="198831"/>
                  </a:lnTo>
                  <a:lnTo>
                    <a:pt x="1981950" y="196799"/>
                  </a:lnTo>
                  <a:lnTo>
                    <a:pt x="1982051" y="196799"/>
                  </a:lnTo>
                  <a:lnTo>
                    <a:pt x="1982051" y="196113"/>
                  </a:lnTo>
                  <a:lnTo>
                    <a:pt x="1982051" y="196799"/>
                  </a:lnTo>
                  <a:lnTo>
                    <a:pt x="1982051" y="196113"/>
                  </a:lnTo>
                  <a:lnTo>
                    <a:pt x="1982051" y="196799"/>
                  </a:lnTo>
                  <a:lnTo>
                    <a:pt x="1982102" y="196799"/>
                  </a:lnTo>
                  <a:lnTo>
                    <a:pt x="1982102" y="196113"/>
                  </a:lnTo>
                  <a:lnTo>
                    <a:pt x="1982102" y="196799"/>
                  </a:lnTo>
                  <a:lnTo>
                    <a:pt x="1982102" y="196113"/>
                  </a:lnTo>
                  <a:lnTo>
                    <a:pt x="1982102" y="197447"/>
                  </a:lnTo>
                  <a:lnTo>
                    <a:pt x="1982153" y="197447"/>
                  </a:lnTo>
                  <a:lnTo>
                    <a:pt x="1982153" y="196799"/>
                  </a:lnTo>
                  <a:lnTo>
                    <a:pt x="1982153" y="198831"/>
                  </a:lnTo>
                  <a:lnTo>
                    <a:pt x="1982153" y="197447"/>
                  </a:lnTo>
                  <a:lnTo>
                    <a:pt x="1982204" y="197447"/>
                  </a:lnTo>
                  <a:lnTo>
                    <a:pt x="1982204" y="198831"/>
                  </a:lnTo>
                  <a:lnTo>
                    <a:pt x="1982204" y="197447"/>
                  </a:lnTo>
                  <a:lnTo>
                    <a:pt x="1982293" y="197447"/>
                  </a:lnTo>
                  <a:lnTo>
                    <a:pt x="1982293" y="198831"/>
                  </a:lnTo>
                  <a:lnTo>
                    <a:pt x="1982293" y="197447"/>
                  </a:lnTo>
                  <a:lnTo>
                    <a:pt x="1982293" y="198831"/>
                  </a:lnTo>
                  <a:lnTo>
                    <a:pt x="1982293" y="197447"/>
                  </a:lnTo>
                  <a:lnTo>
                    <a:pt x="1982293" y="198831"/>
                  </a:lnTo>
                  <a:lnTo>
                    <a:pt x="1982344" y="198831"/>
                  </a:lnTo>
                  <a:lnTo>
                    <a:pt x="1982344" y="199530"/>
                  </a:lnTo>
                  <a:lnTo>
                    <a:pt x="1982344" y="198831"/>
                  </a:lnTo>
                  <a:lnTo>
                    <a:pt x="1982344" y="199530"/>
                  </a:lnTo>
                  <a:lnTo>
                    <a:pt x="1982344" y="198831"/>
                  </a:lnTo>
                  <a:lnTo>
                    <a:pt x="1982344" y="199530"/>
                  </a:lnTo>
                  <a:lnTo>
                    <a:pt x="1982344" y="198831"/>
                  </a:lnTo>
                  <a:lnTo>
                    <a:pt x="1982394" y="199530"/>
                  </a:lnTo>
                  <a:lnTo>
                    <a:pt x="1982394" y="198831"/>
                  </a:lnTo>
                  <a:lnTo>
                    <a:pt x="1982394" y="199530"/>
                  </a:lnTo>
                  <a:lnTo>
                    <a:pt x="1982394" y="197447"/>
                  </a:lnTo>
                  <a:lnTo>
                    <a:pt x="1982445" y="197447"/>
                  </a:lnTo>
                  <a:lnTo>
                    <a:pt x="1982445" y="198831"/>
                  </a:lnTo>
                  <a:lnTo>
                    <a:pt x="1982445" y="197447"/>
                  </a:lnTo>
                  <a:lnTo>
                    <a:pt x="1982445" y="198831"/>
                  </a:lnTo>
                  <a:lnTo>
                    <a:pt x="1982445" y="197447"/>
                  </a:lnTo>
                  <a:lnTo>
                    <a:pt x="1982445" y="198831"/>
                  </a:lnTo>
                  <a:lnTo>
                    <a:pt x="1982445" y="197447"/>
                  </a:lnTo>
                  <a:lnTo>
                    <a:pt x="1982445" y="198831"/>
                  </a:lnTo>
                  <a:lnTo>
                    <a:pt x="1982445" y="196799"/>
                  </a:lnTo>
                  <a:lnTo>
                    <a:pt x="1982445" y="197447"/>
                  </a:lnTo>
                  <a:lnTo>
                    <a:pt x="1982445" y="196799"/>
                  </a:lnTo>
                  <a:lnTo>
                    <a:pt x="1982547" y="196799"/>
                  </a:lnTo>
                  <a:lnTo>
                    <a:pt x="1982547" y="199530"/>
                  </a:lnTo>
                  <a:lnTo>
                    <a:pt x="1982547" y="197447"/>
                  </a:lnTo>
                  <a:lnTo>
                    <a:pt x="1982547" y="198831"/>
                  </a:lnTo>
                  <a:lnTo>
                    <a:pt x="1982547" y="197447"/>
                  </a:lnTo>
                  <a:lnTo>
                    <a:pt x="1982597" y="198831"/>
                  </a:lnTo>
                  <a:lnTo>
                    <a:pt x="1982597" y="202260"/>
                  </a:lnTo>
                  <a:lnTo>
                    <a:pt x="1982597" y="198831"/>
                  </a:lnTo>
                  <a:lnTo>
                    <a:pt x="1982597" y="199530"/>
                  </a:lnTo>
                  <a:lnTo>
                    <a:pt x="1982648" y="199530"/>
                  </a:lnTo>
                  <a:lnTo>
                    <a:pt x="1982648" y="200876"/>
                  </a:lnTo>
                  <a:lnTo>
                    <a:pt x="1982648" y="199530"/>
                  </a:lnTo>
                  <a:lnTo>
                    <a:pt x="1982648" y="200228"/>
                  </a:lnTo>
                  <a:lnTo>
                    <a:pt x="1982648" y="199530"/>
                  </a:lnTo>
                  <a:lnTo>
                    <a:pt x="1982648" y="200228"/>
                  </a:lnTo>
                  <a:lnTo>
                    <a:pt x="1982750" y="200228"/>
                  </a:lnTo>
                  <a:lnTo>
                    <a:pt x="1982750" y="199530"/>
                  </a:lnTo>
                  <a:lnTo>
                    <a:pt x="1982750" y="200228"/>
                  </a:lnTo>
                  <a:lnTo>
                    <a:pt x="1982750" y="199530"/>
                  </a:lnTo>
                  <a:lnTo>
                    <a:pt x="1982788" y="199530"/>
                  </a:lnTo>
                  <a:lnTo>
                    <a:pt x="1982788" y="200228"/>
                  </a:lnTo>
                  <a:lnTo>
                    <a:pt x="1982788" y="198831"/>
                  </a:lnTo>
                  <a:lnTo>
                    <a:pt x="1982788" y="199530"/>
                  </a:lnTo>
                  <a:lnTo>
                    <a:pt x="1982839" y="199530"/>
                  </a:lnTo>
                  <a:lnTo>
                    <a:pt x="1982839" y="198831"/>
                  </a:lnTo>
                  <a:lnTo>
                    <a:pt x="1982839" y="199530"/>
                  </a:lnTo>
                  <a:lnTo>
                    <a:pt x="1982839" y="198831"/>
                  </a:lnTo>
                  <a:lnTo>
                    <a:pt x="1982890" y="197447"/>
                  </a:lnTo>
                  <a:lnTo>
                    <a:pt x="1982890" y="198831"/>
                  </a:lnTo>
                  <a:lnTo>
                    <a:pt x="1982890" y="196799"/>
                  </a:lnTo>
                  <a:lnTo>
                    <a:pt x="1982991" y="196799"/>
                  </a:lnTo>
                  <a:lnTo>
                    <a:pt x="1982991" y="196113"/>
                  </a:lnTo>
                  <a:lnTo>
                    <a:pt x="1982991" y="196799"/>
                  </a:lnTo>
                  <a:lnTo>
                    <a:pt x="1982991" y="195415"/>
                  </a:lnTo>
                  <a:lnTo>
                    <a:pt x="1982991" y="196113"/>
                  </a:lnTo>
                  <a:lnTo>
                    <a:pt x="1983042" y="196799"/>
                  </a:lnTo>
                  <a:lnTo>
                    <a:pt x="1983042" y="196113"/>
                  </a:lnTo>
                  <a:lnTo>
                    <a:pt x="1983042" y="197447"/>
                  </a:lnTo>
                  <a:lnTo>
                    <a:pt x="1983042" y="196113"/>
                  </a:lnTo>
                  <a:lnTo>
                    <a:pt x="1983042" y="199530"/>
                  </a:lnTo>
                  <a:lnTo>
                    <a:pt x="1983093" y="199530"/>
                  </a:lnTo>
                  <a:lnTo>
                    <a:pt x="1983093" y="198831"/>
                  </a:lnTo>
                  <a:lnTo>
                    <a:pt x="1983093" y="199530"/>
                  </a:lnTo>
                  <a:lnTo>
                    <a:pt x="1983093" y="198831"/>
                  </a:lnTo>
                  <a:lnTo>
                    <a:pt x="1983093" y="199530"/>
                  </a:lnTo>
                  <a:lnTo>
                    <a:pt x="1983194" y="199530"/>
                  </a:lnTo>
                  <a:lnTo>
                    <a:pt x="1983194" y="200228"/>
                  </a:lnTo>
                  <a:lnTo>
                    <a:pt x="1983194" y="199530"/>
                  </a:lnTo>
                  <a:lnTo>
                    <a:pt x="1983194" y="200228"/>
                  </a:lnTo>
                  <a:lnTo>
                    <a:pt x="1983245" y="200228"/>
                  </a:lnTo>
                  <a:lnTo>
                    <a:pt x="1983245" y="199530"/>
                  </a:lnTo>
                  <a:lnTo>
                    <a:pt x="1983245" y="200876"/>
                  </a:lnTo>
                  <a:lnTo>
                    <a:pt x="1983245" y="200228"/>
                  </a:lnTo>
                  <a:lnTo>
                    <a:pt x="1983296" y="200228"/>
                  </a:lnTo>
                  <a:lnTo>
                    <a:pt x="1983296" y="199530"/>
                  </a:lnTo>
                  <a:lnTo>
                    <a:pt x="1983296" y="200228"/>
                  </a:lnTo>
                  <a:lnTo>
                    <a:pt x="1983334" y="200228"/>
                  </a:lnTo>
                  <a:lnTo>
                    <a:pt x="1983334" y="199530"/>
                  </a:lnTo>
                  <a:lnTo>
                    <a:pt x="1983334" y="200228"/>
                  </a:lnTo>
                  <a:lnTo>
                    <a:pt x="1983334" y="199530"/>
                  </a:lnTo>
                  <a:lnTo>
                    <a:pt x="1983436" y="199530"/>
                  </a:lnTo>
                  <a:lnTo>
                    <a:pt x="1983436" y="197447"/>
                  </a:lnTo>
                  <a:lnTo>
                    <a:pt x="1983436" y="198831"/>
                  </a:lnTo>
                  <a:lnTo>
                    <a:pt x="1983436" y="197447"/>
                  </a:lnTo>
                  <a:lnTo>
                    <a:pt x="1983487" y="197447"/>
                  </a:lnTo>
                  <a:lnTo>
                    <a:pt x="1983487" y="196113"/>
                  </a:lnTo>
                  <a:lnTo>
                    <a:pt x="1983487" y="197447"/>
                  </a:lnTo>
                  <a:lnTo>
                    <a:pt x="1983537" y="197447"/>
                  </a:lnTo>
                  <a:lnTo>
                    <a:pt x="1983537" y="195415"/>
                  </a:lnTo>
                  <a:lnTo>
                    <a:pt x="1983537" y="199530"/>
                  </a:lnTo>
                  <a:lnTo>
                    <a:pt x="1983537" y="198831"/>
                  </a:lnTo>
                  <a:lnTo>
                    <a:pt x="1983639" y="198831"/>
                  </a:lnTo>
                  <a:lnTo>
                    <a:pt x="1983639" y="196799"/>
                  </a:lnTo>
                  <a:lnTo>
                    <a:pt x="1983639" y="198831"/>
                  </a:lnTo>
                  <a:lnTo>
                    <a:pt x="1983690" y="198831"/>
                  </a:lnTo>
                  <a:lnTo>
                    <a:pt x="1983690" y="197447"/>
                  </a:lnTo>
                  <a:lnTo>
                    <a:pt x="1983690" y="199530"/>
                  </a:lnTo>
                  <a:lnTo>
                    <a:pt x="1983740" y="198831"/>
                  </a:lnTo>
                  <a:lnTo>
                    <a:pt x="1983740" y="199530"/>
                  </a:lnTo>
                  <a:lnTo>
                    <a:pt x="1983740" y="198831"/>
                  </a:lnTo>
                  <a:lnTo>
                    <a:pt x="1983740" y="200228"/>
                  </a:lnTo>
                  <a:lnTo>
                    <a:pt x="1983740" y="199530"/>
                  </a:lnTo>
                  <a:lnTo>
                    <a:pt x="1983791" y="199530"/>
                  </a:lnTo>
                  <a:lnTo>
                    <a:pt x="1983791" y="200228"/>
                  </a:lnTo>
                  <a:lnTo>
                    <a:pt x="1983791" y="199530"/>
                  </a:lnTo>
                  <a:lnTo>
                    <a:pt x="1983880" y="199530"/>
                  </a:lnTo>
                  <a:lnTo>
                    <a:pt x="1983880" y="200228"/>
                  </a:lnTo>
                  <a:lnTo>
                    <a:pt x="1983880" y="198831"/>
                  </a:lnTo>
                  <a:lnTo>
                    <a:pt x="1983931" y="198831"/>
                  </a:lnTo>
                  <a:lnTo>
                    <a:pt x="1983931" y="196799"/>
                  </a:lnTo>
                  <a:lnTo>
                    <a:pt x="1983982" y="196113"/>
                  </a:lnTo>
                  <a:lnTo>
                    <a:pt x="1983982" y="196799"/>
                  </a:lnTo>
                  <a:lnTo>
                    <a:pt x="1983982" y="194716"/>
                  </a:lnTo>
                  <a:lnTo>
                    <a:pt x="1983982" y="196113"/>
                  </a:lnTo>
                  <a:lnTo>
                    <a:pt x="1984033" y="196113"/>
                  </a:lnTo>
                  <a:lnTo>
                    <a:pt x="1984033" y="194716"/>
                  </a:lnTo>
                  <a:lnTo>
                    <a:pt x="1984033" y="197447"/>
                  </a:lnTo>
                  <a:lnTo>
                    <a:pt x="1984134" y="197447"/>
                  </a:lnTo>
                  <a:lnTo>
                    <a:pt x="1984134" y="196113"/>
                  </a:lnTo>
                  <a:lnTo>
                    <a:pt x="1984134" y="197447"/>
                  </a:lnTo>
                  <a:lnTo>
                    <a:pt x="1984134" y="196799"/>
                  </a:lnTo>
                  <a:lnTo>
                    <a:pt x="1984185" y="196799"/>
                  </a:lnTo>
                  <a:lnTo>
                    <a:pt x="1984185" y="197447"/>
                  </a:lnTo>
                  <a:lnTo>
                    <a:pt x="1984236" y="198831"/>
                  </a:lnTo>
                  <a:lnTo>
                    <a:pt x="1984236" y="197447"/>
                  </a:lnTo>
                  <a:lnTo>
                    <a:pt x="1984236" y="198831"/>
                  </a:lnTo>
                  <a:lnTo>
                    <a:pt x="1984337" y="199530"/>
                  </a:lnTo>
                  <a:lnTo>
                    <a:pt x="1984337" y="200228"/>
                  </a:lnTo>
                  <a:lnTo>
                    <a:pt x="1984337" y="199530"/>
                  </a:lnTo>
                  <a:lnTo>
                    <a:pt x="1984337" y="200228"/>
                  </a:lnTo>
                  <a:lnTo>
                    <a:pt x="1984337" y="199530"/>
                  </a:lnTo>
                  <a:lnTo>
                    <a:pt x="1984375" y="199530"/>
                  </a:lnTo>
                  <a:lnTo>
                    <a:pt x="1984375" y="200228"/>
                  </a:lnTo>
                  <a:lnTo>
                    <a:pt x="1984375" y="198831"/>
                  </a:lnTo>
                  <a:lnTo>
                    <a:pt x="1984426" y="198831"/>
                  </a:lnTo>
                  <a:lnTo>
                    <a:pt x="1984426" y="196799"/>
                  </a:lnTo>
                  <a:lnTo>
                    <a:pt x="1984477" y="196113"/>
                  </a:lnTo>
                  <a:lnTo>
                    <a:pt x="1984477" y="196799"/>
                  </a:lnTo>
                  <a:lnTo>
                    <a:pt x="1984477" y="196113"/>
                  </a:lnTo>
                  <a:lnTo>
                    <a:pt x="1984477" y="196799"/>
                  </a:lnTo>
                  <a:lnTo>
                    <a:pt x="1984477" y="196113"/>
                  </a:lnTo>
                  <a:lnTo>
                    <a:pt x="1984579" y="195415"/>
                  </a:lnTo>
                  <a:lnTo>
                    <a:pt x="1984579" y="194716"/>
                  </a:lnTo>
                  <a:lnTo>
                    <a:pt x="1984579" y="195415"/>
                  </a:lnTo>
                  <a:lnTo>
                    <a:pt x="1984579" y="194716"/>
                  </a:lnTo>
                  <a:lnTo>
                    <a:pt x="1984579" y="198831"/>
                  </a:lnTo>
                  <a:lnTo>
                    <a:pt x="1984579" y="196113"/>
                  </a:lnTo>
                  <a:lnTo>
                    <a:pt x="1984630" y="196113"/>
                  </a:lnTo>
                  <a:lnTo>
                    <a:pt x="1984630" y="197447"/>
                  </a:lnTo>
                  <a:lnTo>
                    <a:pt x="1984630" y="196113"/>
                  </a:lnTo>
                  <a:lnTo>
                    <a:pt x="1984630" y="196799"/>
                  </a:lnTo>
                  <a:lnTo>
                    <a:pt x="1984630" y="196113"/>
                  </a:lnTo>
                  <a:lnTo>
                    <a:pt x="1984680" y="196113"/>
                  </a:lnTo>
                  <a:lnTo>
                    <a:pt x="1984680" y="197447"/>
                  </a:lnTo>
                  <a:lnTo>
                    <a:pt x="1984680" y="196799"/>
                  </a:lnTo>
                  <a:lnTo>
                    <a:pt x="1984782" y="196799"/>
                  </a:lnTo>
                  <a:lnTo>
                    <a:pt x="1984782" y="197447"/>
                  </a:lnTo>
                  <a:lnTo>
                    <a:pt x="1984782" y="196799"/>
                  </a:lnTo>
                  <a:lnTo>
                    <a:pt x="1984782" y="197447"/>
                  </a:lnTo>
                  <a:lnTo>
                    <a:pt x="1984782" y="196799"/>
                  </a:lnTo>
                  <a:lnTo>
                    <a:pt x="1984782" y="197447"/>
                  </a:lnTo>
                  <a:lnTo>
                    <a:pt x="1984782" y="196799"/>
                  </a:lnTo>
                  <a:lnTo>
                    <a:pt x="1984782" y="197447"/>
                  </a:lnTo>
                  <a:lnTo>
                    <a:pt x="1984833" y="197447"/>
                  </a:lnTo>
                  <a:lnTo>
                    <a:pt x="1984833" y="198831"/>
                  </a:lnTo>
                  <a:lnTo>
                    <a:pt x="1984833" y="197447"/>
                  </a:lnTo>
                  <a:lnTo>
                    <a:pt x="1984833" y="198831"/>
                  </a:lnTo>
                  <a:lnTo>
                    <a:pt x="1984884" y="198831"/>
                  </a:lnTo>
                  <a:lnTo>
                    <a:pt x="1984884" y="197447"/>
                  </a:lnTo>
                  <a:lnTo>
                    <a:pt x="1984922" y="197447"/>
                  </a:lnTo>
                  <a:lnTo>
                    <a:pt x="1984922" y="196113"/>
                  </a:lnTo>
                  <a:lnTo>
                    <a:pt x="1985023" y="196113"/>
                  </a:lnTo>
                  <a:lnTo>
                    <a:pt x="1985023" y="196799"/>
                  </a:lnTo>
                  <a:lnTo>
                    <a:pt x="1985023" y="196113"/>
                  </a:lnTo>
                  <a:lnTo>
                    <a:pt x="1985023" y="197447"/>
                  </a:lnTo>
                  <a:lnTo>
                    <a:pt x="1985023" y="196113"/>
                  </a:lnTo>
                  <a:lnTo>
                    <a:pt x="1985023" y="196799"/>
                  </a:lnTo>
                  <a:lnTo>
                    <a:pt x="1985023" y="195415"/>
                  </a:lnTo>
                  <a:lnTo>
                    <a:pt x="1985074" y="195415"/>
                  </a:lnTo>
                  <a:lnTo>
                    <a:pt x="1985074" y="198831"/>
                  </a:lnTo>
                  <a:lnTo>
                    <a:pt x="1985074" y="196799"/>
                  </a:lnTo>
                  <a:lnTo>
                    <a:pt x="1985125" y="196799"/>
                  </a:lnTo>
                  <a:lnTo>
                    <a:pt x="1985125" y="198831"/>
                  </a:lnTo>
                  <a:lnTo>
                    <a:pt x="1985125" y="197447"/>
                  </a:lnTo>
                  <a:lnTo>
                    <a:pt x="1985125" y="198831"/>
                  </a:lnTo>
                  <a:lnTo>
                    <a:pt x="1985125" y="196799"/>
                  </a:lnTo>
                  <a:lnTo>
                    <a:pt x="1985125" y="197447"/>
                  </a:lnTo>
                  <a:lnTo>
                    <a:pt x="1985226" y="197447"/>
                  </a:lnTo>
                  <a:lnTo>
                    <a:pt x="1985226" y="198831"/>
                  </a:lnTo>
                  <a:lnTo>
                    <a:pt x="1985226" y="197447"/>
                  </a:lnTo>
                  <a:lnTo>
                    <a:pt x="1985226" y="198831"/>
                  </a:lnTo>
                  <a:lnTo>
                    <a:pt x="1985226" y="196799"/>
                  </a:lnTo>
                  <a:lnTo>
                    <a:pt x="1985226" y="197447"/>
                  </a:lnTo>
                  <a:lnTo>
                    <a:pt x="1985277" y="198831"/>
                  </a:lnTo>
                  <a:lnTo>
                    <a:pt x="1985277" y="199530"/>
                  </a:lnTo>
                  <a:lnTo>
                    <a:pt x="1985277" y="197447"/>
                  </a:lnTo>
                  <a:lnTo>
                    <a:pt x="1985277" y="198831"/>
                  </a:lnTo>
                  <a:lnTo>
                    <a:pt x="1985328" y="199530"/>
                  </a:lnTo>
                  <a:lnTo>
                    <a:pt x="1985328" y="198831"/>
                  </a:lnTo>
                  <a:lnTo>
                    <a:pt x="1985328" y="199530"/>
                  </a:lnTo>
                  <a:lnTo>
                    <a:pt x="1985328" y="198831"/>
                  </a:lnTo>
                  <a:lnTo>
                    <a:pt x="1985328" y="199530"/>
                  </a:lnTo>
                  <a:lnTo>
                    <a:pt x="1985328" y="198831"/>
                  </a:lnTo>
                  <a:lnTo>
                    <a:pt x="1985328" y="199530"/>
                  </a:lnTo>
                  <a:lnTo>
                    <a:pt x="1985379" y="198831"/>
                  </a:lnTo>
                  <a:lnTo>
                    <a:pt x="1985379" y="199530"/>
                  </a:lnTo>
                  <a:lnTo>
                    <a:pt x="1985379" y="197447"/>
                  </a:lnTo>
                  <a:lnTo>
                    <a:pt x="1985468" y="197447"/>
                  </a:lnTo>
                  <a:lnTo>
                    <a:pt x="1985468" y="196799"/>
                  </a:lnTo>
                  <a:lnTo>
                    <a:pt x="1985468" y="197447"/>
                  </a:lnTo>
                  <a:lnTo>
                    <a:pt x="1985468" y="196799"/>
                  </a:lnTo>
                  <a:lnTo>
                    <a:pt x="1985468" y="197447"/>
                  </a:lnTo>
                  <a:lnTo>
                    <a:pt x="1985468" y="196799"/>
                  </a:lnTo>
                  <a:lnTo>
                    <a:pt x="1985468" y="197447"/>
                  </a:lnTo>
                  <a:lnTo>
                    <a:pt x="1985468" y="196113"/>
                  </a:lnTo>
                  <a:lnTo>
                    <a:pt x="1985519" y="196799"/>
                  </a:lnTo>
                  <a:lnTo>
                    <a:pt x="1985519" y="197447"/>
                  </a:lnTo>
                  <a:lnTo>
                    <a:pt x="1985519" y="196799"/>
                  </a:lnTo>
                  <a:lnTo>
                    <a:pt x="1985569" y="197447"/>
                  </a:lnTo>
                  <a:lnTo>
                    <a:pt x="1985569" y="199530"/>
                  </a:lnTo>
                  <a:lnTo>
                    <a:pt x="1985569" y="197447"/>
                  </a:lnTo>
                  <a:lnTo>
                    <a:pt x="1985569" y="198831"/>
                  </a:lnTo>
                  <a:lnTo>
                    <a:pt x="1985620" y="197447"/>
                  </a:lnTo>
                  <a:lnTo>
                    <a:pt x="1985620" y="198831"/>
                  </a:lnTo>
                  <a:lnTo>
                    <a:pt x="1985722" y="198831"/>
                  </a:lnTo>
                  <a:lnTo>
                    <a:pt x="1985722" y="199530"/>
                  </a:lnTo>
                  <a:lnTo>
                    <a:pt x="1985722" y="198831"/>
                  </a:lnTo>
                  <a:lnTo>
                    <a:pt x="1985722" y="199530"/>
                  </a:lnTo>
                  <a:lnTo>
                    <a:pt x="1985722" y="198831"/>
                  </a:lnTo>
                  <a:lnTo>
                    <a:pt x="1985772" y="198831"/>
                  </a:lnTo>
                  <a:lnTo>
                    <a:pt x="1985772" y="199530"/>
                  </a:lnTo>
                  <a:lnTo>
                    <a:pt x="1985772" y="198831"/>
                  </a:lnTo>
                  <a:lnTo>
                    <a:pt x="1985772" y="199530"/>
                  </a:lnTo>
                  <a:lnTo>
                    <a:pt x="1985823" y="199530"/>
                  </a:lnTo>
                  <a:lnTo>
                    <a:pt x="1985823" y="198831"/>
                  </a:lnTo>
                  <a:lnTo>
                    <a:pt x="1985823" y="199530"/>
                  </a:lnTo>
                  <a:lnTo>
                    <a:pt x="1985823" y="198831"/>
                  </a:lnTo>
                  <a:lnTo>
                    <a:pt x="1985925" y="198831"/>
                  </a:lnTo>
                  <a:lnTo>
                    <a:pt x="1985925" y="197447"/>
                  </a:lnTo>
                  <a:lnTo>
                    <a:pt x="1985925" y="198831"/>
                  </a:lnTo>
                  <a:lnTo>
                    <a:pt x="1985925" y="196799"/>
                  </a:lnTo>
                  <a:lnTo>
                    <a:pt x="1985963" y="196799"/>
                  </a:lnTo>
                  <a:lnTo>
                    <a:pt x="1985963" y="197447"/>
                  </a:lnTo>
                  <a:lnTo>
                    <a:pt x="1985963" y="196113"/>
                  </a:lnTo>
                  <a:lnTo>
                    <a:pt x="1985963" y="196799"/>
                  </a:lnTo>
                  <a:lnTo>
                    <a:pt x="1985963" y="196113"/>
                  </a:lnTo>
                  <a:lnTo>
                    <a:pt x="1986014" y="195415"/>
                  </a:lnTo>
                  <a:lnTo>
                    <a:pt x="1986014" y="193383"/>
                  </a:lnTo>
                  <a:lnTo>
                    <a:pt x="1986014" y="194716"/>
                  </a:lnTo>
                  <a:lnTo>
                    <a:pt x="1986014" y="191986"/>
                  </a:lnTo>
                  <a:lnTo>
                    <a:pt x="1986065" y="191986"/>
                  </a:lnTo>
                  <a:lnTo>
                    <a:pt x="1986065" y="189954"/>
                  </a:lnTo>
                  <a:lnTo>
                    <a:pt x="1986065" y="193383"/>
                  </a:lnTo>
                  <a:lnTo>
                    <a:pt x="1986065" y="191351"/>
                  </a:lnTo>
                  <a:lnTo>
                    <a:pt x="1986166" y="191351"/>
                  </a:lnTo>
                  <a:lnTo>
                    <a:pt x="1986166" y="194716"/>
                  </a:lnTo>
                  <a:lnTo>
                    <a:pt x="1986166" y="193383"/>
                  </a:lnTo>
                  <a:lnTo>
                    <a:pt x="1986217" y="193383"/>
                  </a:lnTo>
                  <a:lnTo>
                    <a:pt x="1986217" y="196113"/>
                  </a:lnTo>
                  <a:lnTo>
                    <a:pt x="1986268" y="196113"/>
                  </a:lnTo>
                  <a:lnTo>
                    <a:pt x="1986268" y="196799"/>
                  </a:lnTo>
                  <a:lnTo>
                    <a:pt x="1986268" y="196113"/>
                  </a:lnTo>
                  <a:lnTo>
                    <a:pt x="1986268" y="197447"/>
                  </a:lnTo>
                  <a:lnTo>
                    <a:pt x="1986268" y="196799"/>
                  </a:lnTo>
                  <a:lnTo>
                    <a:pt x="1986268" y="197447"/>
                  </a:lnTo>
                  <a:lnTo>
                    <a:pt x="1986369" y="197447"/>
                  </a:lnTo>
                  <a:lnTo>
                    <a:pt x="1986369" y="198831"/>
                  </a:lnTo>
                  <a:lnTo>
                    <a:pt x="1986369" y="197447"/>
                  </a:lnTo>
                  <a:lnTo>
                    <a:pt x="1986369" y="198831"/>
                  </a:lnTo>
                  <a:lnTo>
                    <a:pt x="1986369" y="197447"/>
                  </a:lnTo>
                  <a:lnTo>
                    <a:pt x="1986369" y="198831"/>
                  </a:lnTo>
                  <a:lnTo>
                    <a:pt x="1986369" y="197447"/>
                  </a:lnTo>
                  <a:lnTo>
                    <a:pt x="1986369" y="198831"/>
                  </a:lnTo>
                  <a:lnTo>
                    <a:pt x="1986420" y="198831"/>
                  </a:lnTo>
                  <a:lnTo>
                    <a:pt x="1986420" y="197447"/>
                  </a:lnTo>
                  <a:lnTo>
                    <a:pt x="1986420" y="198831"/>
                  </a:lnTo>
                  <a:lnTo>
                    <a:pt x="1986471" y="198831"/>
                  </a:lnTo>
                  <a:lnTo>
                    <a:pt x="1986471" y="197447"/>
                  </a:lnTo>
                  <a:lnTo>
                    <a:pt x="1986471" y="198831"/>
                  </a:lnTo>
                  <a:lnTo>
                    <a:pt x="1986471" y="196799"/>
                  </a:lnTo>
                  <a:lnTo>
                    <a:pt x="1986509" y="196799"/>
                  </a:lnTo>
                  <a:lnTo>
                    <a:pt x="1986509" y="196113"/>
                  </a:lnTo>
                  <a:lnTo>
                    <a:pt x="1986509" y="196799"/>
                  </a:lnTo>
                  <a:lnTo>
                    <a:pt x="1986509" y="194716"/>
                  </a:lnTo>
                  <a:lnTo>
                    <a:pt x="1986611" y="193383"/>
                  </a:lnTo>
                  <a:lnTo>
                    <a:pt x="1986611" y="189268"/>
                  </a:lnTo>
                  <a:lnTo>
                    <a:pt x="1986662" y="189268"/>
                  </a:lnTo>
                  <a:lnTo>
                    <a:pt x="1986662" y="188620"/>
                  </a:lnTo>
                  <a:lnTo>
                    <a:pt x="1986662" y="189954"/>
                  </a:lnTo>
                  <a:lnTo>
                    <a:pt x="1986662" y="188620"/>
                  </a:lnTo>
                  <a:lnTo>
                    <a:pt x="1986712" y="188620"/>
                  </a:lnTo>
                  <a:lnTo>
                    <a:pt x="1986712" y="191986"/>
                  </a:lnTo>
                  <a:lnTo>
                    <a:pt x="1986712" y="189954"/>
                  </a:lnTo>
                  <a:lnTo>
                    <a:pt x="1986814" y="191351"/>
                  </a:lnTo>
                  <a:lnTo>
                    <a:pt x="1986814" y="192684"/>
                  </a:lnTo>
                  <a:lnTo>
                    <a:pt x="1986814" y="191986"/>
                  </a:lnTo>
                  <a:lnTo>
                    <a:pt x="1986814" y="193383"/>
                  </a:lnTo>
                  <a:lnTo>
                    <a:pt x="1986865" y="193383"/>
                  </a:lnTo>
                  <a:lnTo>
                    <a:pt x="1986865" y="195415"/>
                  </a:lnTo>
                  <a:lnTo>
                    <a:pt x="1986865" y="194716"/>
                  </a:lnTo>
                  <a:lnTo>
                    <a:pt x="1986865" y="196113"/>
                  </a:lnTo>
                  <a:lnTo>
                    <a:pt x="1986915" y="196113"/>
                  </a:lnTo>
                  <a:lnTo>
                    <a:pt x="1986915" y="197447"/>
                  </a:lnTo>
                  <a:lnTo>
                    <a:pt x="1986915" y="196799"/>
                  </a:lnTo>
                  <a:lnTo>
                    <a:pt x="1986915" y="198831"/>
                  </a:lnTo>
                  <a:lnTo>
                    <a:pt x="1986966" y="198831"/>
                  </a:lnTo>
                  <a:lnTo>
                    <a:pt x="1986966" y="199530"/>
                  </a:lnTo>
                  <a:lnTo>
                    <a:pt x="1986966" y="198831"/>
                  </a:lnTo>
                  <a:lnTo>
                    <a:pt x="1986966" y="199530"/>
                  </a:lnTo>
                  <a:lnTo>
                    <a:pt x="1986966" y="198831"/>
                  </a:lnTo>
                  <a:lnTo>
                    <a:pt x="1987055" y="198831"/>
                  </a:lnTo>
                  <a:lnTo>
                    <a:pt x="1987055" y="197447"/>
                  </a:lnTo>
                  <a:lnTo>
                    <a:pt x="1987106" y="196799"/>
                  </a:lnTo>
                  <a:lnTo>
                    <a:pt x="1987106" y="194716"/>
                  </a:lnTo>
                  <a:lnTo>
                    <a:pt x="1987157" y="194716"/>
                  </a:lnTo>
                  <a:lnTo>
                    <a:pt x="1987157" y="192684"/>
                  </a:lnTo>
                  <a:lnTo>
                    <a:pt x="1987157" y="193383"/>
                  </a:lnTo>
                  <a:lnTo>
                    <a:pt x="1987157" y="192684"/>
                  </a:lnTo>
                  <a:lnTo>
                    <a:pt x="1987208" y="192684"/>
                  </a:lnTo>
                  <a:lnTo>
                    <a:pt x="1987208" y="195415"/>
                  </a:lnTo>
                  <a:lnTo>
                    <a:pt x="1987208" y="193383"/>
                  </a:lnTo>
                  <a:lnTo>
                    <a:pt x="1987208" y="194716"/>
                  </a:lnTo>
                  <a:lnTo>
                    <a:pt x="1987309" y="194716"/>
                  </a:lnTo>
                  <a:lnTo>
                    <a:pt x="1987309" y="195415"/>
                  </a:lnTo>
                  <a:lnTo>
                    <a:pt x="1987309" y="193383"/>
                  </a:lnTo>
                  <a:lnTo>
                    <a:pt x="1987309" y="194716"/>
                  </a:lnTo>
                  <a:lnTo>
                    <a:pt x="1987360" y="195415"/>
                  </a:lnTo>
                  <a:lnTo>
                    <a:pt x="1987360" y="196113"/>
                  </a:lnTo>
                  <a:lnTo>
                    <a:pt x="1987360" y="195415"/>
                  </a:lnTo>
                  <a:lnTo>
                    <a:pt x="1987360" y="196113"/>
                  </a:lnTo>
                  <a:lnTo>
                    <a:pt x="1987411" y="196113"/>
                  </a:lnTo>
                  <a:lnTo>
                    <a:pt x="1987411" y="197447"/>
                  </a:lnTo>
                  <a:lnTo>
                    <a:pt x="1987411" y="196799"/>
                  </a:lnTo>
                  <a:lnTo>
                    <a:pt x="1987411" y="197447"/>
                  </a:lnTo>
                  <a:lnTo>
                    <a:pt x="1987411" y="196799"/>
                  </a:lnTo>
                  <a:lnTo>
                    <a:pt x="1987411" y="198831"/>
                  </a:lnTo>
                  <a:lnTo>
                    <a:pt x="1987512" y="198831"/>
                  </a:lnTo>
                  <a:lnTo>
                    <a:pt x="1987512" y="199530"/>
                  </a:lnTo>
                  <a:lnTo>
                    <a:pt x="1987512" y="198831"/>
                  </a:lnTo>
                  <a:lnTo>
                    <a:pt x="1987512" y="199530"/>
                  </a:lnTo>
                  <a:lnTo>
                    <a:pt x="1987550" y="200228"/>
                  </a:lnTo>
                  <a:lnTo>
                    <a:pt x="1987550" y="198831"/>
                  </a:lnTo>
                  <a:lnTo>
                    <a:pt x="1987550" y="199530"/>
                  </a:lnTo>
                  <a:lnTo>
                    <a:pt x="1987550" y="198831"/>
                  </a:lnTo>
                  <a:lnTo>
                    <a:pt x="1987550" y="199530"/>
                  </a:lnTo>
                  <a:lnTo>
                    <a:pt x="1987550" y="198831"/>
                  </a:lnTo>
                  <a:lnTo>
                    <a:pt x="1987550" y="199530"/>
                  </a:lnTo>
                  <a:lnTo>
                    <a:pt x="1987601" y="199530"/>
                  </a:lnTo>
                  <a:lnTo>
                    <a:pt x="1987601" y="197447"/>
                  </a:lnTo>
                  <a:lnTo>
                    <a:pt x="1987601" y="198831"/>
                  </a:lnTo>
                  <a:lnTo>
                    <a:pt x="1987601" y="196799"/>
                  </a:lnTo>
                  <a:lnTo>
                    <a:pt x="1987601" y="197447"/>
                  </a:lnTo>
                  <a:lnTo>
                    <a:pt x="1987601" y="196799"/>
                  </a:lnTo>
                  <a:lnTo>
                    <a:pt x="1987601" y="197447"/>
                  </a:lnTo>
                  <a:lnTo>
                    <a:pt x="1987601" y="196799"/>
                  </a:lnTo>
                  <a:lnTo>
                    <a:pt x="1987652" y="196799"/>
                  </a:lnTo>
                  <a:lnTo>
                    <a:pt x="1987652" y="197447"/>
                  </a:lnTo>
                  <a:lnTo>
                    <a:pt x="1987652" y="196799"/>
                  </a:lnTo>
                  <a:lnTo>
                    <a:pt x="1987652" y="197447"/>
                  </a:lnTo>
                  <a:lnTo>
                    <a:pt x="1987652" y="195415"/>
                  </a:lnTo>
                  <a:lnTo>
                    <a:pt x="1987652" y="198831"/>
                  </a:lnTo>
                  <a:lnTo>
                    <a:pt x="1987754" y="198831"/>
                  </a:lnTo>
                  <a:lnTo>
                    <a:pt x="1987754" y="196113"/>
                  </a:lnTo>
                  <a:lnTo>
                    <a:pt x="1987754" y="197447"/>
                  </a:lnTo>
                  <a:lnTo>
                    <a:pt x="1987805" y="197447"/>
                  </a:lnTo>
                  <a:lnTo>
                    <a:pt x="1987805" y="196113"/>
                  </a:lnTo>
                  <a:lnTo>
                    <a:pt x="1987805" y="196799"/>
                  </a:lnTo>
                  <a:lnTo>
                    <a:pt x="1987805" y="196113"/>
                  </a:lnTo>
                  <a:lnTo>
                    <a:pt x="1987805" y="196799"/>
                  </a:lnTo>
                  <a:lnTo>
                    <a:pt x="1987855" y="196799"/>
                  </a:lnTo>
                  <a:lnTo>
                    <a:pt x="1987855" y="196113"/>
                  </a:lnTo>
                  <a:lnTo>
                    <a:pt x="1987855" y="196799"/>
                  </a:lnTo>
                  <a:lnTo>
                    <a:pt x="1987957" y="196113"/>
                  </a:lnTo>
                  <a:lnTo>
                    <a:pt x="1987957" y="197447"/>
                  </a:lnTo>
                  <a:lnTo>
                    <a:pt x="1987957" y="196799"/>
                  </a:lnTo>
                  <a:lnTo>
                    <a:pt x="1987957" y="198831"/>
                  </a:lnTo>
                  <a:lnTo>
                    <a:pt x="1988008" y="198831"/>
                  </a:lnTo>
                  <a:lnTo>
                    <a:pt x="1988008" y="199530"/>
                  </a:lnTo>
                  <a:lnTo>
                    <a:pt x="1988059" y="199530"/>
                  </a:lnTo>
                  <a:lnTo>
                    <a:pt x="1988059" y="197447"/>
                  </a:lnTo>
                  <a:lnTo>
                    <a:pt x="1988059" y="198831"/>
                  </a:lnTo>
                  <a:lnTo>
                    <a:pt x="1988059" y="197447"/>
                  </a:lnTo>
                  <a:lnTo>
                    <a:pt x="1988059" y="198831"/>
                  </a:lnTo>
                  <a:lnTo>
                    <a:pt x="1988097" y="198831"/>
                  </a:lnTo>
                  <a:lnTo>
                    <a:pt x="1988097" y="197447"/>
                  </a:lnTo>
                  <a:lnTo>
                    <a:pt x="1988097" y="200228"/>
                  </a:lnTo>
                  <a:lnTo>
                    <a:pt x="1988097" y="199530"/>
                  </a:lnTo>
                  <a:lnTo>
                    <a:pt x="1988198" y="199530"/>
                  </a:lnTo>
                  <a:lnTo>
                    <a:pt x="1988198" y="198831"/>
                  </a:lnTo>
                  <a:lnTo>
                    <a:pt x="1988198" y="199530"/>
                  </a:lnTo>
                  <a:lnTo>
                    <a:pt x="1988198" y="198831"/>
                  </a:lnTo>
                  <a:lnTo>
                    <a:pt x="1988198" y="202260"/>
                  </a:lnTo>
                  <a:lnTo>
                    <a:pt x="1988198" y="200228"/>
                  </a:lnTo>
                  <a:lnTo>
                    <a:pt x="1988249" y="200228"/>
                  </a:lnTo>
                  <a:lnTo>
                    <a:pt x="1988249" y="202260"/>
                  </a:lnTo>
                  <a:lnTo>
                    <a:pt x="1988249" y="200876"/>
                  </a:lnTo>
                  <a:lnTo>
                    <a:pt x="1988249" y="202260"/>
                  </a:lnTo>
                  <a:lnTo>
                    <a:pt x="1988249" y="200228"/>
                  </a:lnTo>
                  <a:lnTo>
                    <a:pt x="1988300" y="200228"/>
                  </a:lnTo>
                  <a:lnTo>
                    <a:pt x="1988300" y="199530"/>
                  </a:lnTo>
                  <a:lnTo>
                    <a:pt x="1988300" y="200876"/>
                  </a:lnTo>
                  <a:lnTo>
                    <a:pt x="1988300" y="200228"/>
                  </a:lnTo>
                  <a:lnTo>
                    <a:pt x="1988300" y="200876"/>
                  </a:lnTo>
                  <a:lnTo>
                    <a:pt x="1988401" y="200876"/>
                  </a:lnTo>
                  <a:lnTo>
                    <a:pt x="1988401" y="200228"/>
                  </a:lnTo>
                  <a:lnTo>
                    <a:pt x="1988452" y="199530"/>
                  </a:lnTo>
                  <a:lnTo>
                    <a:pt x="1988452" y="200228"/>
                  </a:lnTo>
                  <a:lnTo>
                    <a:pt x="1988452" y="199530"/>
                  </a:lnTo>
                  <a:lnTo>
                    <a:pt x="1988452" y="200876"/>
                  </a:lnTo>
                  <a:lnTo>
                    <a:pt x="1988452" y="199530"/>
                  </a:lnTo>
                  <a:lnTo>
                    <a:pt x="1988503" y="199530"/>
                  </a:lnTo>
                  <a:lnTo>
                    <a:pt x="1988503" y="200228"/>
                  </a:lnTo>
                  <a:lnTo>
                    <a:pt x="1988503" y="199530"/>
                  </a:lnTo>
                  <a:lnTo>
                    <a:pt x="1988503" y="200228"/>
                  </a:lnTo>
                  <a:lnTo>
                    <a:pt x="1988503" y="199530"/>
                  </a:lnTo>
                  <a:lnTo>
                    <a:pt x="1988554" y="199530"/>
                  </a:lnTo>
                  <a:lnTo>
                    <a:pt x="1988554" y="197447"/>
                  </a:lnTo>
                  <a:lnTo>
                    <a:pt x="1988554" y="198831"/>
                  </a:lnTo>
                  <a:lnTo>
                    <a:pt x="1988554" y="197447"/>
                  </a:lnTo>
                  <a:lnTo>
                    <a:pt x="1988554" y="198831"/>
                  </a:lnTo>
                  <a:lnTo>
                    <a:pt x="1988554" y="197447"/>
                  </a:lnTo>
                  <a:lnTo>
                    <a:pt x="1988554" y="198831"/>
                  </a:lnTo>
                  <a:lnTo>
                    <a:pt x="1988554" y="196799"/>
                  </a:lnTo>
                  <a:lnTo>
                    <a:pt x="1988643" y="196799"/>
                  </a:lnTo>
                  <a:lnTo>
                    <a:pt x="1988643" y="199530"/>
                  </a:lnTo>
                  <a:lnTo>
                    <a:pt x="1988643" y="197447"/>
                  </a:lnTo>
                  <a:lnTo>
                    <a:pt x="1988694" y="198831"/>
                  </a:lnTo>
                  <a:lnTo>
                    <a:pt x="1988694" y="200876"/>
                  </a:lnTo>
                  <a:lnTo>
                    <a:pt x="1988694" y="200228"/>
                  </a:lnTo>
                  <a:lnTo>
                    <a:pt x="1988744" y="200876"/>
                  </a:lnTo>
                  <a:lnTo>
                    <a:pt x="1988744" y="202260"/>
                  </a:lnTo>
                  <a:lnTo>
                    <a:pt x="1988744" y="200876"/>
                  </a:lnTo>
                  <a:lnTo>
                    <a:pt x="1988795" y="200876"/>
                  </a:lnTo>
                  <a:lnTo>
                    <a:pt x="1988795" y="202260"/>
                  </a:lnTo>
                  <a:lnTo>
                    <a:pt x="1988947" y="202260"/>
                  </a:lnTo>
                  <a:lnTo>
                    <a:pt x="1988947" y="200228"/>
                  </a:lnTo>
                  <a:lnTo>
                    <a:pt x="1988947" y="202260"/>
                  </a:lnTo>
                  <a:lnTo>
                    <a:pt x="1988947" y="200876"/>
                  </a:lnTo>
                  <a:lnTo>
                    <a:pt x="1988998" y="200228"/>
                  </a:lnTo>
                  <a:lnTo>
                    <a:pt x="1988998" y="202260"/>
                  </a:lnTo>
                  <a:lnTo>
                    <a:pt x="1989100" y="202260"/>
                  </a:lnTo>
                  <a:lnTo>
                    <a:pt x="1989100" y="200228"/>
                  </a:lnTo>
                  <a:lnTo>
                    <a:pt x="1989100" y="204292"/>
                  </a:lnTo>
                  <a:lnTo>
                    <a:pt x="1989100" y="203594"/>
                  </a:lnTo>
                  <a:lnTo>
                    <a:pt x="1989138" y="203594"/>
                  </a:lnTo>
                  <a:lnTo>
                    <a:pt x="1989138" y="202959"/>
                  </a:lnTo>
                  <a:lnTo>
                    <a:pt x="1989138" y="204292"/>
                  </a:lnTo>
                  <a:lnTo>
                    <a:pt x="1989138" y="203594"/>
                  </a:lnTo>
                  <a:lnTo>
                    <a:pt x="1989138" y="204292"/>
                  </a:lnTo>
                  <a:lnTo>
                    <a:pt x="1989189" y="203594"/>
                  </a:lnTo>
                  <a:lnTo>
                    <a:pt x="1989189" y="204990"/>
                  </a:lnTo>
                  <a:lnTo>
                    <a:pt x="1989189" y="204292"/>
                  </a:lnTo>
                  <a:lnTo>
                    <a:pt x="1989240" y="204292"/>
                  </a:lnTo>
                  <a:lnTo>
                    <a:pt x="1989240" y="203594"/>
                  </a:lnTo>
                  <a:lnTo>
                    <a:pt x="1989240" y="204292"/>
                  </a:lnTo>
                  <a:lnTo>
                    <a:pt x="1989341" y="204292"/>
                  </a:lnTo>
                  <a:lnTo>
                    <a:pt x="1989341" y="203594"/>
                  </a:lnTo>
                  <a:lnTo>
                    <a:pt x="1989341" y="204292"/>
                  </a:lnTo>
                  <a:lnTo>
                    <a:pt x="1989341" y="203594"/>
                  </a:lnTo>
                  <a:lnTo>
                    <a:pt x="1989392" y="203594"/>
                  </a:lnTo>
                  <a:lnTo>
                    <a:pt x="1989392" y="204292"/>
                  </a:lnTo>
                  <a:lnTo>
                    <a:pt x="1989392" y="202959"/>
                  </a:lnTo>
                  <a:lnTo>
                    <a:pt x="1989392" y="203594"/>
                  </a:lnTo>
                  <a:lnTo>
                    <a:pt x="1989392" y="202260"/>
                  </a:lnTo>
                  <a:lnTo>
                    <a:pt x="1989443" y="202260"/>
                  </a:lnTo>
                  <a:lnTo>
                    <a:pt x="1989443" y="204990"/>
                  </a:lnTo>
                  <a:lnTo>
                    <a:pt x="1989443" y="202959"/>
                  </a:lnTo>
                  <a:lnTo>
                    <a:pt x="1989443" y="203594"/>
                  </a:lnTo>
                  <a:lnTo>
                    <a:pt x="1989544" y="204292"/>
                  </a:lnTo>
                  <a:lnTo>
                    <a:pt x="1989544" y="207022"/>
                  </a:lnTo>
                  <a:lnTo>
                    <a:pt x="1989544" y="204292"/>
                  </a:lnTo>
                  <a:lnTo>
                    <a:pt x="1989544" y="204990"/>
                  </a:lnTo>
                  <a:lnTo>
                    <a:pt x="1989595" y="206324"/>
                  </a:lnTo>
                  <a:lnTo>
                    <a:pt x="1989595" y="207022"/>
                  </a:lnTo>
                  <a:lnTo>
                    <a:pt x="1989595" y="204990"/>
                  </a:lnTo>
                  <a:lnTo>
                    <a:pt x="1989595" y="206324"/>
                  </a:lnTo>
                  <a:lnTo>
                    <a:pt x="1989646" y="207022"/>
                  </a:lnTo>
                  <a:lnTo>
                    <a:pt x="1989646" y="206324"/>
                  </a:lnTo>
                  <a:lnTo>
                    <a:pt x="1989646" y="207022"/>
                  </a:lnTo>
                  <a:lnTo>
                    <a:pt x="1989646" y="206324"/>
                  </a:lnTo>
                  <a:lnTo>
                    <a:pt x="1989684" y="206324"/>
                  </a:lnTo>
                  <a:lnTo>
                    <a:pt x="1989684" y="204990"/>
                  </a:lnTo>
                  <a:lnTo>
                    <a:pt x="1989684" y="206324"/>
                  </a:lnTo>
                  <a:lnTo>
                    <a:pt x="1989684" y="204990"/>
                  </a:lnTo>
                  <a:lnTo>
                    <a:pt x="1989684" y="206324"/>
                  </a:lnTo>
                  <a:lnTo>
                    <a:pt x="1989684" y="204990"/>
                  </a:lnTo>
                  <a:lnTo>
                    <a:pt x="1989684" y="206324"/>
                  </a:lnTo>
                  <a:lnTo>
                    <a:pt x="1989684" y="204990"/>
                  </a:lnTo>
                  <a:lnTo>
                    <a:pt x="1989786" y="204990"/>
                  </a:lnTo>
                  <a:lnTo>
                    <a:pt x="1989786" y="204292"/>
                  </a:lnTo>
                  <a:lnTo>
                    <a:pt x="1989786" y="204990"/>
                  </a:lnTo>
                  <a:lnTo>
                    <a:pt x="1989786" y="204292"/>
                  </a:lnTo>
                  <a:lnTo>
                    <a:pt x="1989786" y="204990"/>
                  </a:lnTo>
                  <a:lnTo>
                    <a:pt x="1989786" y="203594"/>
                  </a:lnTo>
                  <a:lnTo>
                    <a:pt x="1989837" y="203594"/>
                  </a:lnTo>
                  <a:lnTo>
                    <a:pt x="1989837" y="204292"/>
                  </a:lnTo>
                  <a:lnTo>
                    <a:pt x="1989837" y="203594"/>
                  </a:lnTo>
                  <a:lnTo>
                    <a:pt x="1989837" y="204292"/>
                  </a:lnTo>
                  <a:lnTo>
                    <a:pt x="1989837" y="202260"/>
                  </a:lnTo>
                  <a:lnTo>
                    <a:pt x="1989837" y="202959"/>
                  </a:lnTo>
                  <a:lnTo>
                    <a:pt x="1989887" y="202959"/>
                  </a:lnTo>
                  <a:lnTo>
                    <a:pt x="1989887" y="202260"/>
                  </a:lnTo>
                  <a:lnTo>
                    <a:pt x="1989887" y="202959"/>
                  </a:lnTo>
                  <a:lnTo>
                    <a:pt x="1989887" y="200228"/>
                  </a:lnTo>
                  <a:lnTo>
                    <a:pt x="1989887" y="200876"/>
                  </a:lnTo>
                  <a:lnTo>
                    <a:pt x="1989989" y="200876"/>
                  </a:lnTo>
                  <a:lnTo>
                    <a:pt x="1989989" y="202260"/>
                  </a:lnTo>
                  <a:lnTo>
                    <a:pt x="1989989" y="200228"/>
                  </a:lnTo>
                  <a:lnTo>
                    <a:pt x="1989989" y="203594"/>
                  </a:lnTo>
                  <a:lnTo>
                    <a:pt x="1990040" y="203594"/>
                  </a:lnTo>
                  <a:lnTo>
                    <a:pt x="1990040" y="204292"/>
                  </a:lnTo>
                  <a:lnTo>
                    <a:pt x="1990040" y="202260"/>
                  </a:lnTo>
                  <a:lnTo>
                    <a:pt x="1990040" y="204292"/>
                  </a:lnTo>
                  <a:lnTo>
                    <a:pt x="1990090" y="204292"/>
                  </a:lnTo>
                  <a:lnTo>
                    <a:pt x="1990090" y="203594"/>
                  </a:lnTo>
                  <a:lnTo>
                    <a:pt x="1990090" y="204292"/>
                  </a:lnTo>
                  <a:lnTo>
                    <a:pt x="1990141" y="204292"/>
                  </a:lnTo>
                  <a:lnTo>
                    <a:pt x="1990141" y="204990"/>
                  </a:lnTo>
                  <a:lnTo>
                    <a:pt x="1990141" y="204292"/>
                  </a:lnTo>
                  <a:lnTo>
                    <a:pt x="1990230" y="204292"/>
                  </a:lnTo>
                  <a:lnTo>
                    <a:pt x="1990230" y="204990"/>
                  </a:lnTo>
                  <a:lnTo>
                    <a:pt x="1990230" y="204292"/>
                  </a:lnTo>
                  <a:lnTo>
                    <a:pt x="1990230" y="204990"/>
                  </a:lnTo>
                  <a:lnTo>
                    <a:pt x="1990230" y="204292"/>
                  </a:lnTo>
                  <a:lnTo>
                    <a:pt x="1990281" y="204292"/>
                  </a:lnTo>
                  <a:lnTo>
                    <a:pt x="1990281" y="204990"/>
                  </a:lnTo>
                  <a:lnTo>
                    <a:pt x="1990281" y="203594"/>
                  </a:lnTo>
                  <a:lnTo>
                    <a:pt x="1990281" y="204292"/>
                  </a:lnTo>
                  <a:lnTo>
                    <a:pt x="1990281" y="203594"/>
                  </a:lnTo>
                  <a:lnTo>
                    <a:pt x="1990281" y="204292"/>
                  </a:lnTo>
                  <a:lnTo>
                    <a:pt x="1990332" y="203594"/>
                  </a:lnTo>
                  <a:lnTo>
                    <a:pt x="1990332" y="200876"/>
                  </a:lnTo>
                  <a:lnTo>
                    <a:pt x="1990383" y="202260"/>
                  </a:lnTo>
                  <a:lnTo>
                    <a:pt x="1990383" y="199530"/>
                  </a:lnTo>
                  <a:lnTo>
                    <a:pt x="1990383" y="200228"/>
                  </a:lnTo>
                  <a:lnTo>
                    <a:pt x="1990484" y="200228"/>
                  </a:lnTo>
                  <a:lnTo>
                    <a:pt x="1990484" y="198831"/>
                  </a:lnTo>
                  <a:lnTo>
                    <a:pt x="1990484" y="202260"/>
                  </a:lnTo>
                  <a:lnTo>
                    <a:pt x="1990484" y="200876"/>
                  </a:lnTo>
                  <a:lnTo>
                    <a:pt x="1990535" y="202260"/>
                  </a:lnTo>
                  <a:lnTo>
                    <a:pt x="1990535" y="199530"/>
                  </a:lnTo>
                  <a:lnTo>
                    <a:pt x="1990535" y="202260"/>
                  </a:lnTo>
                  <a:lnTo>
                    <a:pt x="1990535" y="200876"/>
                  </a:lnTo>
                  <a:lnTo>
                    <a:pt x="1990586" y="200876"/>
                  </a:lnTo>
                  <a:lnTo>
                    <a:pt x="1990586" y="202959"/>
                  </a:lnTo>
                  <a:lnTo>
                    <a:pt x="1990687" y="202260"/>
                  </a:lnTo>
                  <a:lnTo>
                    <a:pt x="1990687" y="200876"/>
                  </a:lnTo>
                  <a:lnTo>
                    <a:pt x="1990687" y="202959"/>
                  </a:lnTo>
                  <a:lnTo>
                    <a:pt x="1990687" y="202260"/>
                  </a:lnTo>
                  <a:lnTo>
                    <a:pt x="1990687" y="202959"/>
                  </a:lnTo>
                  <a:lnTo>
                    <a:pt x="1990687" y="202260"/>
                  </a:lnTo>
                  <a:lnTo>
                    <a:pt x="1990687" y="202959"/>
                  </a:lnTo>
                  <a:lnTo>
                    <a:pt x="1990687" y="202260"/>
                  </a:lnTo>
                  <a:lnTo>
                    <a:pt x="1990725" y="202260"/>
                  </a:lnTo>
                  <a:lnTo>
                    <a:pt x="1990725" y="202959"/>
                  </a:lnTo>
                  <a:lnTo>
                    <a:pt x="1990725" y="202260"/>
                  </a:lnTo>
                  <a:lnTo>
                    <a:pt x="1990725" y="202959"/>
                  </a:lnTo>
                  <a:lnTo>
                    <a:pt x="1990776" y="202959"/>
                  </a:lnTo>
                  <a:lnTo>
                    <a:pt x="1990776" y="202260"/>
                  </a:lnTo>
                  <a:lnTo>
                    <a:pt x="1990776" y="202959"/>
                  </a:lnTo>
                  <a:lnTo>
                    <a:pt x="1990776" y="202260"/>
                  </a:lnTo>
                  <a:lnTo>
                    <a:pt x="1990776" y="202959"/>
                  </a:lnTo>
                  <a:lnTo>
                    <a:pt x="1990776" y="202260"/>
                  </a:lnTo>
                  <a:lnTo>
                    <a:pt x="1990827" y="202959"/>
                  </a:lnTo>
                  <a:lnTo>
                    <a:pt x="1990827" y="200876"/>
                  </a:lnTo>
                  <a:lnTo>
                    <a:pt x="1990827" y="202260"/>
                  </a:lnTo>
                  <a:lnTo>
                    <a:pt x="1990827" y="199530"/>
                  </a:lnTo>
                  <a:lnTo>
                    <a:pt x="1990929" y="200228"/>
                  </a:lnTo>
                  <a:lnTo>
                    <a:pt x="1990929" y="199530"/>
                  </a:lnTo>
                  <a:lnTo>
                    <a:pt x="1990929" y="200228"/>
                  </a:lnTo>
                  <a:lnTo>
                    <a:pt x="1990929" y="199530"/>
                  </a:lnTo>
                  <a:lnTo>
                    <a:pt x="1990929" y="200228"/>
                  </a:lnTo>
                  <a:lnTo>
                    <a:pt x="1990980" y="199530"/>
                  </a:lnTo>
                  <a:lnTo>
                    <a:pt x="1990980" y="202959"/>
                  </a:lnTo>
                  <a:lnTo>
                    <a:pt x="1990980" y="200228"/>
                  </a:lnTo>
                  <a:lnTo>
                    <a:pt x="1991030" y="200228"/>
                  </a:lnTo>
                  <a:lnTo>
                    <a:pt x="1991030" y="202260"/>
                  </a:lnTo>
                  <a:lnTo>
                    <a:pt x="1991030" y="200228"/>
                  </a:lnTo>
                  <a:lnTo>
                    <a:pt x="1991030" y="200876"/>
                  </a:lnTo>
                  <a:lnTo>
                    <a:pt x="1991132" y="200876"/>
                  </a:lnTo>
                  <a:lnTo>
                    <a:pt x="1991132" y="202260"/>
                  </a:lnTo>
                  <a:lnTo>
                    <a:pt x="1991132" y="200876"/>
                  </a:lnTo>
                  <a:lnTo>
                    <a:pt x="1991132" y="202260"/>
                  </a:lnTo>
                  <a:lnTo>
                    <a:pt x="1991132" y="200876"/>
                  </a:lnTo>
                  <a:lnTo>
                    <a:pt x="1991132" y="202260"/>
                  </a:lnTo>
                  <a:lnTo>
                    <a:pt x="1991132" y="200876"/>
                  </a:lnTo>
                  <a:lnTo>
                    <a:pt x="1991132" y="202260"/>
                  </a:lnTo>
                  <a:lnTo>
                    <a:pt x="1991183" y="202260"/>
                  </a:lnTo>
                  <a:lnTo>
                    <a:pt x="1991183" y="200876"/>
                  </a:lnTo>
                  <a:lnTo>
                    <a:pt x="1991183" y="202260"/>
                  </a:lnTo>
                  <a:lnTo>
                    <a:pt x="1991183" y="200876"/>
                  </a:lnTo>
                  <a:lnTo>
                    <a:pt x="1991183" y="202260"/>
                  </a:lnTo>
                  <a:lnTo>
                    <a:pt x="1991234" y="202260"/>
                  </a:lnTo>
                  <a:lnTo>
                    <a:pt x="1991234" y="202959"/>
                  </a:lnTo>
                  <a:lnTo>
                    <a:pt x="1991234" y="202260"/>
                  </a:lnTo>
                  <a:lnTo>
                    <a:pt x="1991272" y="202260"/>
                  </a:lnTo>
                  <a:lnTo>
                    <a:pt x="1991272" y="200876"/>
                  </a:lnTo>
                  <a:lnTo>
                    <a:pt x="1991272" y="202260"/>
                  </a:lnTo>
                  <a:lnTo>
                    <a:pt x="1991272" y="200876"/>
                  </a:lnTo>
                  <a:lnTo>
                    <a:pt x="1991373" y="200876"/>
                  </a:lnTo>
                  <a:lnTo>
                    <a:pt x="1991373" y="200228"/>
                  </a:lnTo>
                  <a:lnTo>
                    <a:pt x="1991373" y="200876"/>
                  </a:lnTo>
                  <a:lnTo>
                    <a:pt x="1991373" y="200228"/>
                  </a:lnTo>
                  <a:lnTo>
                    <a:pt x="1991373" y="200876"/>
                  </a:lnTo>
                  <a:lnTo>
                    <a:pt x="1991373" y="199530"/>
                  </a:lnTo>
                  <a:lnTo>
                    <a:pt x="1991424" y="199530"/>
                  </a:lnTo>
                  <a:lnTo>
                    <a:pt x="1991424" y="200876"/>
                  </a:lnTo>
                  <a:lnTo>
                    <a:pt x="1991424" y="200228"/>
                  </a:lnTo>
                  <a:lnTo>
                    <a:pt x="1991424" y="200876"/>
                  </a:lnTo>
                  <a:lnTo>
                    <a:pt x="1991424" y="200228"/>
                  </a:lnTo>
                  <a:lnTo>
                    <a:pt x="1991424" y="200876"/>
                  </a:lnTo>
                  <a:lnTo>
                    <a:pt x="1991424" y="199530"/>
                  </a:lnTo>
                  <a:lnTo>
                    <a:pt x="1991424" y="200228"/>
                  </a:lnTo>
                  <a:lnTo>
                    <a:pt x="1991424" y="199530"/>
                  </a:lnTo>
                  <a:lnTo>
                    <a:pt x="1991424" y="200228"/>
                  </a:lnTo>
                  <a:lnTo>
                    <a:pt x="1991475" y="200876"/>
                  </a:lnTo>
                  <a:lnTo>
                    <a:pt x="1991475" y="202260"/>
                  </a:lnTo>
                  <a:lnTo>
                    <a:pt x="1991475" y="200876"/>
                  </a:lnTo>
                  <a:lnTo>
                    <a:pt x="1991576" y="200876"/>
                  </a:lnTo>
                  <a:lnTo>
                    <a:pt x="1991576" y="202959"/>
                  </a:lnTo>
                  <a:lnTo>
                    <a:pt x="1991576" y="200876"/>
                  </a:lnTo>
                  <a:lnTo>
                    <a:pt x="1991576" y="202260"/>
                  </a:lnTo>
                  <a:lnTo>
                    <a:pt x="1991576" y="200876"/>
                  </a:lnTo>
                  <a:lnTo>
                    <a:pt x="1991576" y="202260"/>
                  </a:lnTo>
                  <a:lnTo>
                    <a:pt x="1991627" y="200876"/>
                  </a:lnTo>
                  <a:lnTo>
                    <a:pt x="1991627" y="202260"/>
                  </a:lnTo>
                  <a:lnTo>
                    <a:pt x="1991627" y="200228"/>
                  </a:lnTo>
                  <a:lnTo>
                    <a:pt x="1991627" y="200876"/>
                  </a:lnTo>
                  <a:lnTo>
                    <a:pt x="1991678" y="202260"/>
                  </a:lnTo>
                  <a:lnTo>
                    <a:pt x="1991678" y="200876"/>
                  </a:lnTo>
                  <a:lnTo>
                    <a:pt x="1991729" y="200876"/>
                  </a:lnTo>
                  <a:lnTo>
                    <a:pt x="1991729" y="202260"/>
                  </a:lnTo>
                  <a:lnTo>
                    <a:pt x="1991729" y="200228"/>
                  </a:lnTo>
                  <a:lnTo>
                    <a:pt x="1991729" y="200876"/>
                  </a:lnTo>
                  <a:lnTo>
                    <a:pt x="1991818" y="200876"/>
                  </a:lnTo>
                  <a:lnTo>
                    <a:pt x="1991818" y="199530"/>
                  </a:lnTo>
                  <a:lnTo>
                    <a:pt x="1991818" y="200228"/>
                  </a:lnTo>
                  <a:lnTo>
                    <a:pt x="1991818" y="199530"/>
                  </a:lnTo>
                  <a:lnTo>
                    <a:pt x="1991869" y="199530"/>
                  </a:lnTo>
                  <a:lnTo>
                    <a:pt x="1991869" y="197447"/>
                  </a:lnTo>
                  <a:lnTo>
                    <a:pt x="1991869" y="198831"/>
                  </a:lnTo>
                  <a:lnTo>
                    <a:pt x="1991869" y="197447"/>
                  </a:lnTo>
                  <a:lnTo>
                    <a:pt x="1991869" y="198831"/>
                  </a:lnTo>
                  <a:lnTo>
                    <a:pt x="1991869" y="196799"/>
                  </a:lnTo>
                  <a:lnTo>
                    <a:pt x="1991869" y="197447"/>
                  </a:lnTo>
                  <a:lnTo>
                    <a:pt x="1991919" y="197447"/>
                  </a:lnTo>
                  <a:lnTo>
                    <a:pt x="1991919" y="199530"/>
                  </a:lnTo>
                  <a:lnTo>
                    <a:pt x="1991919" y="197447"/>
                  </a:lnTo>
                  <a:lnTo>
                    <a:pt x="1991919" y="200876"/>
                  </a:lnTo>
                  <a:lnTo>
                    <a:pt x="1991970" y="200876"/>
                  </a:lnTo>
                  <a:lnTo>
                    <a:pt x="1991970" y="199530"/>
                  </a:lnTo>
                  <a:lnTo>
                    <a:pt x="1991970" y="200876"/>
                  </a:lnTo>
                  <a:lnTo>
                    <a:pt x="1992072" y="200228"/>
                  </a:lnTo>
                  <a:lnTo>
                    <a:pt x="1992072" y="200876"/>
                  </a:lnTo>
                  <a:lnTo>
                    <a:pt x="1992072" y="200228"/>
                  </a:lnTo>
                  <a:lnTo>
                    <a:pt x="1992072" y="200876"/>
                  </a:lnTo>
                  <a:lnTo>
                    <a:pt x="1992072" y="200228"/>
                  </a:lnTo>
                  <a:lnTo>
                    <a:pt x="1992072" y="200876"/>
                  </a:lnTo>
                  <a:lnTo>
                    <a:pt x="1992072" y="200228"/>
                  </a:lnTo>
                  <a:lnTo>
                    <a:pt x="1992072" y="200876"/>
                  </a:lnTo>
                  <a:lnTo>
                    <a:pt x="1992122" y="200876"/>
                  </a:lnTo>
                  <a:lnTo>
                    <a:pt x="1992122" y="200228"/>
                  </a:lnTo>
                  <a:lnTo>
                    <a:pt x="1992122" y="200876"/>
                  </a:lnTo>
                  <a:lnTo>
                    <a:pt x="1992122" y="200228"/>
                  </a:lnTo>
                  <a:lnTo>
                    <a:pt x="1992122" y="200876"/>
                  </a:lnTo>
                  <a:lnTo>
                    <a:pt x="1992122" y="200228"/>
                  </a:lnTo>
                  <a:lnTo>
                    <a:pt x="1992173" y="200228"/>
                  </a:lnTo>
                  <a:lnTo>
                    <a:pt x="1992173" y="200876"/>
                  </a:lnTo>
                  <a:lnTo>
                    <a:pt x="1992173" y="200228"/>
                  </a:lnTo>
                  <a:lnTo>
                    <a:pt x="1992173" y="200876"/>
                  </a:lnTo>
                  <a:lnTo>
                    <a:pt x="1992275" y="200876"/>
                  </a:lnTo>
                  <a:lnTo>
                    <a:pt x="1992275" y="200228"/>
                  </a:lnTo>
                  <a:lnTo>
                    <a:pt x="1992275" y="202260"/>
                  </a:lnTo>
                  <a:lnTo>
                    <a:pt x="1992275" y="200228"/>
                  </a:lnTo>
                  <a:lnTo>
                    <a:pt x="1992313" y="200228"/>
                  </a:lnTo>
                  <a:lnTo>
                    <a:pt x="1992313" y="199530"/>
                  </a:lnTo>
                  <a:lnTo>
                    <a:pt x="1992313" y="200228"/>
                  </a:lnTo>
                  <a:lnTo>
                    <a:pt x="1992313" y="199530"/>
                  </a:lnTo>
                  <a:lnTo>
                    <a:pt x="1992313" y="200228"/>
                  </a:lnTo>
                  <a:lnTo>
                    <a:pt x="1992313" y="198831"/>
                  </a:lnTo>
                  <a:lnTo>
                    <a:pt x="1992364" y="198831"/>
                  </a:lnTo>
                  <a:lnTo>
                    <a:pt x="1992364" y="196799"/>
                  </a:lnTo>
                  <a:lnTo>
                    <a:pt x="1992364" y="199530"/>
                  </a:lnTo>
                  <a:lnTo>
                    <a:pt x="1992364" y="198831"/>
                  </a:lnTo>
                  <a:lnTo>
                    <a:pt x="1992415" y="199530"/>
                  </a:lnTo>
                  <a:lnTo>
                    <a:pt x="1992415" y="196799"/>
                  </a:lnTo>
                  <a:lnTo>
                    <a:pt x="1992415" y="200876"/>
                  </a:lnTo>
                  <a:lnTo>
                    <a:pt x="1992415" y="200228"/>
                  </a:lnTo>
                  <a:lnTo>
                    <a:pt x="1992516" y="200228"/>
                  </a:lnTo>
                  <a:lnTo>
                    <a:pt x="1992516" y="198831"/>
                  </a:lnTo>
                  <a:lnTo>
                    <a:pt x="1992516" y="200228"/>
                  </a:lnTo>
                  <a:lnTo>
                    <a:pt x="1992567" y="200228"/>
                  </a:lnTo>
                  <a:lnTo>
                    <a:pt x="1992567" y="199530"/>
                  </a:lnTo>
                  <a:lnTo>
                    <a:pt x="1992567" y="200876"/>
                  </a:lnTo>
                  <a:lnTo>
                    <a:pt x="1992567" y="200228"/>
                  </a:lnTo>
                  <a:lnTo>
                    <a:pt x="1992618" y="200228"/>
                  </a:lnTo>
                  <a:lnTo>
                    <a:pt x="1992618" y="200876"/>
                  </a:lnTo>
                  <a:lnTo>
                    <a:pt x="1992618" y="200228"/>
                  </a:lnTo>
                  <a:lnTo>
                    <a:pt x="1992618" y="200876"/>
                  </a:lnTo>
                  <a:lnTo>
                    <a:pt x="1992719" y="200876"/>
                  </a:lnTo>
                  <a:lnTo>
                    <a:pt x="1992719" y="200228"/>
                  </a:lnTo>
                  <a:lnTo>
                    <a:pt x="1992719" y="200876"/>
                  </a:lnTo>
                  <a:lnTo>
                    <a:pt x="1992770" y="200876"/>
                  </a:lnTo>
                  <a:lnTo>
                    <a:pt x="1992770" y="200228"/>
                  </a:lnTo>
                  <a:lnTo>
                    <a:pt x="1992770" y="200876"/>
                  </a:lnTo>
                  <a:lnTo>
                    <a:pt x="1992770" y="199530"/>
                  </a:lnTo>
                  <a:lnTo>
                    <a:pt x="1992821" y="200228"/>
                  </a:lnTo>
                  <a:lnTo>
                    <a:pt x="1992821" y="199530"/>
                  </a:lnTo>
                  <a:lnTo>
                    <a:pt x="1992821" y="200228"/>
                  </a:lnTo>
                  <a:lnTo>
                    <a:pt x="1992821" y="197447"/>
                  </a:lnTo>
                  <a:lnTo>
                    <a:pt x="1992859" y="197447"/>
                  </a:lnTo>
                  <a:lnTo>
                    <a:pt x="1992859" y="195415"/>
                  </a:lnTo>
                  <a:lnTo>
                    <a:pt x="1992859" y="196799"/>
                  </a:lnTo>
                  <a:lnTo>
                    <a:pt x="1992961" y="196799"/>
                  </a:lnTo>
                  <a:lnTo>
                    <a:pt x="1992961" y="195415"/>
                  </a:lnTo>
                  <a:lnTo>
                    <a:pt x="1992961" y="198831"/>
                  </a:lnTo>
                  <a:lnTo>
                    <a:pt x="1993012" y="198831"/>
                  </a:lnTo>
                  <a:lnTo>
                    <a:pt x="1993012" y="197447"/>
                  </a:lnTo>
                  <a:lnTo>
                    <a:pt x="1993012" y="198831"/>
                  </a:lnTo>
                  <a:lnTo>
                    <a:pt x="1993012" y="196799"/>
                  </a:lnTo>
                  <a:lnTo>
                    <a:pt x="1993012" y="198831"/>
                  </a:lnTo>
                  <a:lnTo>
                    <a:pt x="1993164" y="198831"/>
                  </a:lnTo>
                  <a:lnTo>
                    <a:pt x="1993164" y="200228"/>
                  </a:lnTo>
                  <a:lnTo>
                    <a:pt x="1993215" y="200228"/>
                  </a:lnTo>
                  <a:lnTo>
                    <a:pt x="1993215" y="199530"/>
                  </a:lnTo>
                  <a:lnTo>
                    <a:pt x="1993215" y="200876"/>
                  </a:lnTo>
                  <a:lnTo>
                    <a:pt x="1993215" y="200228"/>
                  </a:lnTo>
                  <a:lnTo>
                    <a:pt x="1993265" y="200228"/>
                  </a:lnTo>
                  <a:lnTo>
                    <a:pt x="1993265" y="200876"/>
                  </a:lnTo>
                  <a:lnTo>
                    <a:pt x="1993265" y="200228"/>
                  </a:lnTo>
                  <a:lnTo>
                    <a:pt x="1993265" y="200876"/>
                  </a:lnTo>
                  <a:lnTo>
                    <a:pt x="1993265" y="200228"/>
                  </a:lnTo>
                  <a:lnTo>
                    <a:pt x="1993265" y="200876"/>
                  </a:lnTo>
                  <a:lnTo>
                    <a:pt x="1993265" y="199530"/>
                  </a:lnTo>
                  <a:lnTo>
                    <a:pt x="1993316" y="200228"/>
                  </a:lnTo>
                  <a:lnTo>
                    <a:pt x="1993316" y="198831"/>
                  </a:lnTo>
                  <a:lnTo>
                    <a:pt x="1993405" y="197447"/>
                  </a:lnTo>
                  <a:lnTo>
                    <a:pt x="1993405" y="196799"/>
                  </a:lnTo>
                  <a:lnTo>
                    <a:pt x="1993405" y="197447"/>
                  </a:lnTo>
                  <a:lnTo>
                    <a:pt x="1993405" y="196113"/>
                  </a:lnTo>
                  <a:lnTo>
                    <a:pt x="1993405" y="196799"/>
                  </a:lnTo>
                  <a:lnTo>
                    <a:pt x="1993405" y="196113"/>
                  </a:lnTo>
                  <a:lnTo>
                    <a:pt x="1993405" y="197447"/>
                  </a:lnTo>
                  <a:lnTo>
                    <a:pt x="1993405" y="196799"/>
                  </a:lnTo>
                  <a:lnTo>
                    <a:pt x="1993405" y="197447"/>
                  </a:lnTo>
                  <a:lnTo>
                    <a:pt x="1993405" y="196799"/>
                  </a:lnTo>
                  <a:lnTo>
                    <a:pt x="1993456" y="196799"/>
                  </a:lnTo>
                  <a:lnTo>
                    <a:pt x="1993456" y="196113"/>
                  </a:lnTo>
                  <a:lnTo>
                    <a:pt x="1993456" y="199530"/>
                  </a:lnTo>
                  <a:lnTo>
                    <a:pt x="1993456" y="197447"/>
                  </a:lnTo>
                  <a:lnTo>
                    <a:pt x="1993507" y="196799"/>
                  </a:lnTo>
                  <a:lnTo>
                    <a:pt x="1993507" y="197447"/>
                  </a:lnTo>
                  <a:lnTo>
                    <a:pt x="1993507" y="196799"/>
                  </a:lnTo>
                  <a:lnTo>
                    <a:pt x="1993507" y="198831"/>
                  </a:lnTo>
                  <a:lnTo>
                    <a:pt x="1993507" y="197447"/>
                  </a:lnTo>
                  <a:lnTo>
                    <a:pt x="1993558" y="197447"/>
                  </a:lnTo>
                  <a:lnTo>
                    <a:pt x="1993558" y="196799"/>
                  </a:lnTo>
                  <a:lnTo>
                    <a:pt x="1993558" y="197447"/>
                  </a:lnTo>
                  <a:lnTo>
                    <a:pt x="1993659" y="197447"/>
                  </a:lnTo>
                  <a:lnTo>
                    <a:pt x="1993659" y="198831"/>
                  </a:lnTo>
                  <a:lnTo>
                    <a:pt x="1993710" y="198831"/>
                  </a:lnTo>
                  <a:lnTo>
                    <a:pt x="1993710" y="199530"/>
                  </a:lnTo>
                  <a:lnTo>
                    <a:pt x="1993761" y="199530"/>
                  </a:lnTo>
                  <a:lnTo>
                    <a:pt x="1993761" y="198831"/>
                  </a:lnTo>
                  <a:lnTo>
                    <a:pt x="1993761" y="199530"/>
                  </a:lnTo>
                  <a:lnTo>
                    <a:pt x="1993862" y="198831"/>
                  </a:lnTo>
                  <a:lnTo>
                    <a:pt x="1993862" y="197447"/>
                  </a:lnTo>
                  <a:lnTo>
                    <a:pt x="1993862" y="198831"/>
                  </a:lnTo>
                  <a:lnTo>
                    <a:pt x="1993862" y="196799"/>
                  </a:lnTo>
                  <a:lnTo>
                    <a:pt x="1993900" y="196799"/>
                  </a:lnTo>
                  <a:lnTo>
                    <a:pt x="1993900" y="197447"/>
                  </a:lnTo>
                  <a:lnTo>
                    <a:pt x="1993900" y="196113"/>
                  </a:lnTo>
                  <a:lnTo>
                    <a:pt x="1993900" y="197447"/>
                  </a:lnTo>
                  <a:lnTo>
                    <a:pt x="1993900" y="196799"/>
                  </a:lnTo>
                  <a:lnTo>
                    <a:pt x="1993900" y="197447"/>
                  </a:lnTo>
                  <a:lnTo>
                    <a:pt x="1993951" y="197447"/>
                  </a:lnTo>
                  <a:lnTo>
                    <a:pt x="1993951" y="196799"/>
                  </a:lnTo>
                  <a:lnTo>
                    <a:pt x="1993951" y="199530"/>
                  </a:lnTo>
                  <a:lnTo>
                    <a:pt x="1993951" y="198831"/>
                  </a:lnTo>
                  <a:lnTo>
                    <a:pt x="1993951" y="199530"/>
                  </a:lnTo>
                  <a:lnTo>
                    <a:pt x="1994002" y="198831"/>
                  </a:lnTo>
                  <a:lnTo>
                    <a:pt x="1994002" y="197447"/>
                  </a:lnTo>
                  <a:lnTo>
                    <a:pt x="1994002" y="198831"/>
                  </a:lnTo>
                  <a:lnTo>
                    <a:pt x="1994104" y="198831"/>
                  </a:lnTo>
                  <a:lnTo>
                    <a:pt x="1994104" y="197447"/>
                  </a:lnTo>
                  <a:lnTo>
                    <a:pt x="1994104" y="199530"/>
                  </a:lnTo>
                  <a:lnTo>
                    <a:pt x="1994104" y="198831"/>
                  </a:lnTo>
                  <a:lnTo>
                    <a:pt x="1994155" y="198831"/>
                  </a:lnTo>
                  <a:lnTo>
                    <a:pt x="1994155" y="199530"/>
                  </a:lnTo>
                  <a:lnTo>
                    <a:pt x="1994155" y="198831"/>
                  </a:lnTo>
                  <a:lnTo>
                    <a:pt x="1994155" y="199530"/>
                  </a:lnTo>
                  <a:lnTo>
                    <a:pt x="1994205" y="199530"/>
                  </a:lnTo>
                  <a:lnTo>
                    <a:pt x="1994205" y="200228"/>
                  </a:lnTo>
                  <a:lnTo>
                    <a:pt x="1994205" y="199530"/>
                  </a:lnTo>
                  <a:lnTo>
                    <a:pt x="1994205" y="200228"/>
                  </a:lnTo>
                  <a:lnTo>
                    <a:pt x="1994205" y="199530"/>
                  </a:lnTo>
                  <a:lnTo>
                    <a:pt x="1994307" y="200228"/>
                  </a:lnTo>
                  <a:lnTo>
                    <a:pt x="1994307" y="199530"/>
                  </a:lnTo>
                  <a:lnTo>
                    <a:pt x="1994358" y="199530"/>
                  </a:lnTo>
                  <a:lnTo>
                    <a:pt x="1994358" y="196799"/>
                  </a:lnTo>
                  <a:lnTo>
                    <a:pt x="1994358" y="198831"/>
                  </a:lnTo>
                  <a:lnTo>
                    <a:pt x="1994409" y="197447"/>
                  </a:lnTo>
                  <a:lnTo>
                    <a:pt x="1994409" y="199530"/>
                  </a:lnTo>
                  <a:lnTo>
                    <a:pt x="1994409" y="197447"/>
                  </a:lnTo>
                  <a:lnTo>
                    <a:pt x="1994409" y="199530"/>
                  </a:lnTo>
                  <a:lnTo>
                    <a:pt x="1994447" y="200228"/>
                  </a:lnTo>
                  <a:lnTo>
                    <a:pt x="1994447" y="199530"/>
                  </a:lnTo>
                  <a:lnTo>
                    <a:pt x="1994447" y="200228"/>
                  </a:lnTo>
                  <a:lnTo>
                    <a:pt x="1994548" y="200228"/>
                  </a:lnTo>
                  <a:lnTo>
                    <a:pt x="1994548" y="200876"/>
                  </a:lnTo>
                  <a:lnTo>
                    <a:pt x="1994548" y="199530"/>
                  </a:lnTo>
                  <a:lnTo>
                    <a:pt x="1994548" y="200228"/>
                  </a:lnTo>
                  <a:lnTo>
                    <a:pt x="1994599" y="199530"/>
                  </a:lnTo>
                  <a:lnTo>
                    <a:pt x="1994599" y="200228"/>
                  </a:lnTo>
                  <a:lnTo>
                    <a:pt x="1994599" y="199530"/>
                  </a:lnTo>
                  <a:lnTo>
                    <a:pt x="1994599" y="200228"/>
                  </a:lnTo>
                  <a:lnTo>
                    <a:pt x="1994599" y="199530"/>
                  </a:lnTo>
                  <a:lnTo>
                    <a:pt x="1994650" y="200228"/>
                  </a:lnTo>
                  <a:lnTo>
                    <a:pt x="1994650" y="199530"/>
                  </a:lnTo>
                  <a:lnTo>
                    <a:pt x="1994650" y="200228"/>
                  </a:lnTo>
                  <a:lnTo>
                    <a:pt x="1994650" y="199530"/>
                  </a:lnTo>
                  <a:lnTo>
                    <a:pt x="1994650" y="200228"/>
                  </a:lnTo>
                  <a:lnTo>
                    <a:pt x="1994751" y="199530"/>
                  </a:lnTo>
                  <a:lnTo>
                    <a:pt x="1994751" y="200228"/>
                  </a:lnTo>
                  <a:lnTo>
                    <a:pt x="1994751" y="199530"/>
                  </a:lnTo>
                  <a:lnTo>
                    <a:pt x="1994802" y="199530"/>
                  </a:lnTo>
                  <a:lnTo>
                    <a:pt x="1994802" y="198831"/>
                  </a:lnTo>
                  <a:lnTo>
                    <a:pt x="1994802" y="199530"/>
                  </a:lnTo>
                  <a:lnTo>
                    <a:pt x="1994802" y="197447"/>
                  </a:lnTo>
                  <a:lnTo>
                    <a:pt x="1994802" y="198831"/>
                  </a:lnTo>
                  <a:lnTo>
                    <a:pt x="1994802" y="197447"/>
                  </a:lnTo>
                  <a:lnTo>
                    <a:pt x="1994802" y="198831"/>
                  </a:lnTo>
                  <a:lnTo>
                    <a:pt x="1994802" y="196799"/>
                  </a:lnTo>
                  <a:lnTo>
                    <a:pt x="1994853" y="196799"/>
                  </a:lnTo>
                  <a:lnTo>
                    <a:pt x="1994853" y="196113"/>
                  </a:lnTo>
                  <a:lnTo>
                    <a:pt x="1994853" y="196799"/>
                  </a:lnTo>
                  <a:lnTo>
                    <a:pt x="1994853" y="196113"/>
                  </a:lnTo>
                  <a:lnTo>
                    <a:pt x="1994853" y="197447"/>
                  </a:lnTo>
                  <a:lnTo>
                    <a:pt x="1994904" y="197447"/>
                  </a:lnTo>
                  <a:lnTo>
                    <a:pt x="1994904" y="196799"/>
                  </a:lnTo>
                  <a:lnTo>
                    <a:pt x="1994904" y="199530"/>
                  </a:lnTo>
                  <a:lnTo>
                    <a:pt x="1994993" y="199530"/>
                  </a:lnTo>
                  <a:lnTo>
                    <a:pt x="1994993" y="198831"/>
                  </a:lnTo>
                  <a:lnTo>
                    <a:pt x="1994993" y="200228"/>
                  </a:lnTo>
                  <a:lnTo>
                    <a:pt x="1994993" y="199530"/>
                  </a:lnTo>
                  <a:lnTo>
                    <a:pt x="1994993" y="200228"/>
                  </a:lnTo>
                  <a:lnTo>
                    <a:pt x="1995044" y="199530"/>
                  </a:lnTo>
                  <a:lnTo>
                    <a:pt x="1995044" y="200228"/>
                  </a:lnTo>
                  <a:lnTo>
                    <a:pt x="1995044" y="199530"/>
                  </a:lnTo>
                  <a:lnTo>
                    <a:pt x="1995044" y="200228"/>
                  </a:lnTo>
                  <a:lnTo>
                    <a:pt x="1995044" y="199530"/>
                  </a:lnTo>
                  <a:lnTo>
                    <a:pt x="1995094" y="199530"/>
                  </a:lnTo>
                  <a:lnTo>
                    <a:pt x="1995094" y="200228"/>
                  </a:lnTo>
                  <a:lnTo>
                    <a:pt x="1995094" y="199530"/>
                  </a:lnTo>
                  <a:lnTo>
                    <a:pt x="1995094" y="200228"/>
                  </a:lnTo>
                  <a:lnTo>
                    <a:pt x="1995094" y="199530"/>
                  </a:lnTo>
                  <a:lnTo>
                    <a:pt x="1995094" y="200228"/>
                  </a:lnTo>
                  <a:lnTo>
                    <a:pt x="1995145" y="200228"/>
                  </a:lnTo>
                  <a:lnTo>
                    <a:pt x="1995145" y="200876"/>
                  </a:lnTo>
                  <a:lnTo>
                    <a:pt x="1995145" y="200228"/>
                  </a:lnTo>
                  <a:lnTo>
                    <a:pt x="1995145" y="200876"/>
                  </a:lnTo>
                  <a:lnTo>
                    <a:pt x="1995145" y="200228"/>
                  </a:lnTo>
                  <a:lnTo>
                    <a:pt x="1995247" y="200228"/>
                  </a:lnTo>
                  <a:lnTo>
                    <a:pt x="1995247" y="199530"/>
                  </a:lnTo>
                  <a:lnTo>
                    <a:pt x="1995247" y="200228"/>
                  </a:lnTo>
                  <a:lnTo>
                    <a:pt x="1995247" y="199530"/>
                  </a:lnTo>
                  <a:lnTo>
                    <a:pt x="1995297" y="199530"/>
                  </a:lnTo>
                  <a:lnTo>
                    <a:pt x="1995297" y="196799"/>
                  </a:lnTo>
                  <a:lnTo>
                    <a:pt x="1995348" y="196799"/>
                  </a:lnTo>
                  <a:lnTo>
                    <a:pt x="1995348" y="195415"/>
                  </a:lnTo>
                  <a:lnTo>
                    <a:pt x="1995348" y="196799"/>
                  </a:lnTo>
                  <a:lnTo>
                    <a:pt x="1995450" y="196799"/>
                  </a:lnTo>
                  <a:lnTo>
                    <a:pt x="1995450" y="197447"/>
                  </a:lnTo>
                  <a:lnTo>
                    <a:pt x="1995450" y="195415"/>
                  </a:lnTo>
                  <a:lnTo>
                    <a:pt x="1995450" y="198831"/>
                  </a:lnTo>
                  <a:lnTo>
                    <a:pt x="1995488" y="198831"/>
                  </a:lnTo>
                  <a:lnTo>
                    <a:pt x="1995488" y="196799"/>
                  </a:lnTo>
                  <a:lnTo>
                    <a:pt x="1995488" y="198831"/>
                  </a:lnTo>
                  <a:lnTo>
                    <a:pt x="1995539" y="199530"/>
                  </a:lnTo>
                  <a:lnTo>
                    <a:pt x="1995539" y="197447"/>
                  </a:lnTo>
                  <a:lnTo>
                    <a:pt x="1995539" y="198831"/>
                  </a:lnTo>
                  <a:lnTo>
                    <a:pt x="1995590" y="199530"/>
                  </a:lnTo>
                  <a:lnTo>
                    <a:pt x="1995590" y="198831"/>
                  </a:lnTo>
                  <a:lnTo>
                    <a:pt x="1995590" y="200228"/>
                  </a:lnTo>
                  <a:lnTo>
                    <a:pt x="1995691" y="200228"/>
                  </a:lnTo>
                  <a:lnTo>
                    <a:pt x="1995691" y="199530"/>
                  </a:lnTo>
                  <a:lnTo>
                    <a:pt x="1995691" y="200228"/>
                  </a:lnTo>
                  <a:lnTo>
                    <a:pt x="1995691" y="199530"/>
                  </a:lnTo>
                  <a:lnTo>
                    <a:pt x="1995691" y="200228"/>
                  </a:lnTo>
                  <a:lnTo>
                    <a:pt x="1995742" y="200228"/>
                  </a:lnTo>
                  <a:lnTo>
                    <a:pt x="1995742" y="199530"/>
                  </a:lnTo>
                  <a:lnTo>
                    <a:pt x="1995742" y="200228"/>
                  </a:lnTo>
                  <a:lnTo>
                    <a:pt x="1995742" y="198831"/>
                  </a:lnTo>
                  <a:lnTo>
                    <a:pt x="1995742" y="199530"/>
                  </a:lnTo>
                  <a:lnTo>
                    <a:pt x="1995793" y="199530"/>
                  </a:lnTo>
                  <a:lnTo>
                    <a:pt x="1995793" y="197447"/>
                  </a:lnTo>
                  <a:lnTo>
                    <a:pt x="1995894" y="197447"/>
                  </a:lnTo>
                  <a:lnTo>
                    <a:pt x="1995894" y="195415"/>
                  </a:lnTo>
                  <a:lnTo>
                    <a:pt x="1995894" y="196799"/>
                  </a:lnTo>
                  <a:lnTo>
                    <a:pt x="1995945" y="197447"/>
                  </a:lnTo>
                  <a:lnTo>
                    <a:pt x="1995945" y="195415"/>
                  </a:lnTo>
                  <a:lnTo>
                    <a:pt x="1995945" y="198831"/>
                  </a:lnTo>
                  <a:lnTo>
                    <a:pt x="1995996" y="198831"/>
                  </a:lnTo>
                  <a:lnTo>
                    <a:pt x="1995996" y="196113"/>
                  </a:lnTo>
                  <a:lnTo>
                    <a:pt x="1995996" y="197447"/>
                  </a:lnTo>
                  <a:lnTo>
                    <a:pt x="1996034" y="197447"/>
                  </a:lnTo>
                  <a:lnTo>
                    <a:pt x="1996034" y="196799"/>
                  </a:lnTo>
                  <a:lnTo>
                    <a:pt x="1996034" y="198831"/>
                  </a:lnTo>
                  <a:lnTo>
                    <a:pt x="1996136" y="198831"/>
                  </a:lnTo>
                  <a:lnTo>
                    <a:pt x="1996136" y="197447"/>
                  </a:lnTo>
                  <a:lnTo>
                    <a:pt x="1996136" y="198831"/>
                  </a:lnTo>
                  <a:lnTo>
                    <a:pt x="1996136" y="197447"/>
                  </a:lnTo>
                  <a:lnTo>
                    <a:pt x="1996136" y="199530"/>
                  </a:lnTo>
                  <a:lnTo>
                    <a:pt x="1996187" y="199530"/>
                  </a:lnTo>
                  <a:lnTo>
                    <a:pt x="1996187" y="198831"/>
                  </a:lnTo>
                  <a:lnTo>
                    <a:pt x="1996187" y="200228"/>
                  </a:lnTo>
                  <a:lnTo>
                    <a:pt x="1996187" y="199530"/>
                  </a:lnTo>
                  <a:lnTo>
                    <a:pt x="1996187" y="200228"/>
                  </a:lnTo>
                  <a:lnTo>
                    <a:pt x="1996187" y="199530"/>
                  </a:lnTo>
                  <a:lnTo>
                    <a:pt x="1996237" y="199530"/>
                  </a:lnTo>
                  <a:lnTo>
                    <a:pt x="1996237" y="200228"/>
                  </a:lnTo>
                  <a:lnTo>
                    <a:pt x="1996237" y="199530"/>
                  </a:lnTo>
                  <a:lnTo>
                    <a:pt x="1996237" y="200228"/>
                  </a:lnTo>
                  <a:lnTo>
                    <a:pt x="1996237" y="199530"/>
                  </a:lnTo>
                  <a:lnTo>
                    <a:pt x="1996237" y="200228"/>
                  </a:lnTo>
                  <a:lnTo>
                    <a:pt x="1996237" y="199530"/>
                  </a:lnTo>
                  <a:lnTo>
                    <a:pt x="1996339" y="199530"/>
                  </a:lnTo>
                  <a:lnTo>
                    <a:pt x="1996339" y="198831"/>
                  </a:lnTo>
                  <a:lnTo>
                    <a:pt x="1996339" y="199530"/>
                  </a:lnTo>
                  <a:lnTo>
                    <a:pt x="1996339" y="198831"/>
                  </a:lnTo>
                  <a:lnTo>
                    <a:pt x="1996339" y="199530"/>
                  </a:lnTo>
                  <a:lnTo>
                    <a:pt x="1996339" y="197447"/>
                  </a:lnTo>
                  <a:lnTo>
                    <a:pt x="1996339" y="198831"/>
                  </a:lnTo>
                  <a:lnTo>
                    <a:pt x="1996339" y="197447"/>
                  </a:lnTo>
                  <a:lnTo>
                    <a:pt x="1996390" y="197447"/>
                  </a:lnTo>
                  <a:lnTo>
                    <a:pt x="1996390" y="196799"/>
                  </a:lnTo>
                  <a:lnTo>
                    <a:pt x="1996390" y="198831"/>
                  </a:lnTo>
                  <a:lnTo>
                    <a:pt x="1996390" y="197447"/>
                  </a:lnTo>
                  <a:lnTo>
                    <a:pt x="1996440" y="196799"/>
                  </a:lnTo>
                  <a:lnTo>
                    <a:pt x="1996440" y="196113"/>
                  </a:lnTo>
                  <a:lnTo>
                    <a:pt x="1996440" y="199530"/>
                  </a:lnTo>
                  <a:lnTo>
                    <a:pt x="1996440" y="196799"/>
                  </a:lnTo>
                  <a:lnTo>
                    <a:pt x="1996491" y="196799"/>
                  </a:lnTo>
                  <a:lnTo>
                    <a:pt x="1996491" y="198831"/>
                  </a:lnTo>
                  <a:lnTo>
                    <a:pt x="1996491" y="197447"/>
                  </a:lnTo>
                  <a:lnTo>
                    <a:pt x="1996491" y="198831"/>
                  </a:lnTo>
                  <a:lnTo>
                    <a:pt x="1996491" y="196799"/>
                  </a:lnTo>
                  <a:lnTo>
                    <a:pt x="1996580" y="196799"/>
                  </a:lnTo>
                  <a:lnTo>
                    <a:pt x="1996580" y="198831"/>
                  </a:lnTo>
                  <a:lnTo>
                    <a:pt x="1996580" y="197447"/>
                  </a:lnTo>
                  <a:lnTo>
                    <a:pt x="1996631" y="197447"/>
                  </a:lnTo>
                  <a:lnTo>
                    <a:pt x="1996631" y="199530"/>
                  </a:lnTo>
                  <a:lnTo>
                    <a:pt x="1996631" y="198831"/>
                  </a:lnTo>
                  <a:lnTo>
                    <a:pt x="1996682" y="198831"/>
                  </a:lnTo>
                  <a:lnTo>
                    <a:pt x="1996682" y="199530"/>
                  </a:lnTo>
                  <a:lnTo>
                    <a:pt x="1996733" y="199530"/>
                  </a:lnTo>
                  <a:lnTo>
                    <a:pt x="1996733" y="197447"/>
                  </a:lnTo>
                  <a:lnTo>
                    <a:pt x="1996733" y="198831"/>
                  </a:lnTo>
                  <a:lnTo>
                    <a:pt x="1996733" y="197447"/>
                  </a:lnTo>
                  <a:lnTo>
                    <a:pt x="1996733" y="198831"/>
                  </a:lnTo>
                  <a:lnTo>
                    <a:pt x="1996733" y="197447"/>
                  </a:lnTo>
                  <a:lnTo>
                    <a:pt x="1996834" y="197447"/>
                  </a:lnTo>
                  <a:lnTo>
                    <a:pt x="1996834" y="196799"/>
                  </a:lnTo>
                  <a:lnTo>
                    <a:pt x="1996834" y="197447"/>
                  </a:lnTo>
                  <a:lnTo>
                    <a:pt x="1996834" y="196799"/>
                  </a:lnTo>
                  <a:lnTo>
                    <a:pt x="1996834" y="199530"/>
                  </a:lnTo>
                  <a:lnTo>
                    <a:pt x="1996885" y="199530"/>
                  </a:lnTo>
                  <a:lnTo>
                    <a:pt x="1996885" y="196799"/>
                  </a:lnTo>
                  <a:lnTo>
                    <a:pt x="1996885" y="200876"/>
                  </a:lnTo>
                  <a:lnTo>
                    <a:pt x="1996936" y="200228"/>
                  </a:lnTo>
                  <a:lnTo>
                    <a:pt x="1996936" y="198831"/>
                  </a:lnTo>
                  <a:lnTo>
                    <a:pt x="1996936" y="200228"/>
                  </a:lnTo>
                  <a:lnTo>
                    <a:pt x="1997037" y="200228"/>
                  </a:lnTo>
                  <a:lnTo>
                    <a:pt x="1997037" y="199530"/>
                  </a:lnTo>
                  <a:lnTo>
                    <a:pt x="1997037" y="200228"/>
                  </a:lnTo>
                  <a:lnTo>
                    <a:pt x="1997037" y="199530"/>
                  </a:lnTo>
                  <a:lnTo>
                    <a:pt x="1997037" y="200228"/>
                  </a:lnTo>
                  <a:lnTo>
                    <a:pt x="1997075" y="200228"/>
                  </a:lnTo>
                  <a:lnTo>
                    <a:pt x="1997075" y="199530"/>
                  </a:lnTo>
                  <a:lnTo>
                    <a:pt x="1997075" y="200228"/>
                  </a:lnTo>
                  <a:lnTo>
                    <a:pt x="1997075" y="199530"/>
                  </a:lnTo>
                  <a:lnTo>
                    <a:pt x="1997075" y="200228"/>
                  </a:lnTo>
                  <a:lnTo>
                    <a:pt x="1997126" y="200228"/>
                  </a:lnTo>
                  <a:lnTo>
                    <a:pt x="1997126" y="199530"/>
                  </a:lnTo>
                  <a:lnTo>
                    <a:pt x="1997126" y="200228"/>
                  </a:lnTo>
                  <a:lnTo>
                    <a:pt x="1997126" y="199530"/>
                  </a:lnTo>
                  <a:lnTo>
                    <a:pt x="1997177" y="199530"/>
                  </a:lnTo>
                  <a:lnTo>
                    <a:pt x="1997177" y="198831"/>
                  </a:lnTo>
                  <a:lnTo>
                    <a:pt x="1997177" y="199530"/>
                  </a:lnTo>
                  <a:lnTo>
                    <a:pt x="1997279" y="199530"/>
                  </a:lnTo>
                  <a:lnTo>
                    <a:pt x="1997279" y="197447"/>
                  </a:lnTo>
                  <a:lnTo>
                    <a:pt x="1997330" y="197447"/>
                  </a:lnTo>
                  <a:lnTo>
                    <a:pt x="1997330" y="196799"/>
                  </a:lnTo>
                  <a:lnTo>
                    <a:pt x="1997330" y="197447"/>
                  </a:lnTo>
                  <a:lnTo>
                    <a:pt x="1997330" y="196799"/>
                  </a:lnTo>
                  <a:lnTo>
                    <a:pt x="1997330" y="198831"/>
                  </a:lnTo>
                  <a:lnTo>
                    <a:pt x="1997330" y="197447"/>
                  </a:lnTo>
                  <a:lnTo>
                    <a:pt x="1997380" y="197447"/>
                  </a:lnTo>
                  <a:lnTo>
                    <a:pt x="1997380" y="200228"/>
                  </a:lnTo>
                  <a:lnTo>
                    <a:pt x="1997380" y="199530"/>
                  </a:lnTo>
                  <a:lnTo>
                    <a:pt x="1997482" y="199530"/>
                  </a:lnTo>
                  <a:lnTo>
                    <a:pt x="1997482" y="200228"/>
                  </a:lnTo>
                  <a:lnTo>
                    <a:pt x="1997533" y="200228"/>
                  </a:lnTo>
                  <a:lnTo>
                    <a:pt x="1997533" y="200876"/>
                  </a:lnTo>
                  <a:lnTo>
                    <a:pt x="1997533" y="200228"/>
                  </a:lnTo>
                  <a:lnTo>
                    <a:pt x="1997533" y="200876"/>
                  </a:lnTo>
                  <a:lnTo>
                    <a:pt x="1997533" y="200228"/>
                  </a:lnTo>
                  <a:lnTo>
                    <a:pt x="1997584" y="200228"/>
                  </a:lnTo>
                  <a:lnTo>
                    <a:pt x="1997584" y="200876"/>
                  </a:lnTo>
                  <a:lnTo>
                    <a:pt x="1997584" y="200228"/>
                  </a:lnTo>
                  <a:lnTo>
                    <a:pt x="1997584" y="200876"/>
                  </a:lnTo>
                  <a:lnTo>
                    <a:pt x="1997622" y="200876"/>
                  </a:lnTo>
                  <a:lnTo>
                    <a:pt x="1997622" y="200228"/>
                  </a:lnTo>
                  <a:lnTo>
                    <a:pt x="1997622" y="200876"/>
                  </a:lnTo>
                  <a:lnTo>
                    <a:pt x="1997622" y="200228"/>
                  </a:lnTo>
                  <a:lnTo>
                    <a:pt x="1997622" y="200876"/>
                  </a:lnTo>
                  <a:lnTo>
                    <a:pt x="1997622" y="200228"/>
                  </a:lnTo>
                  <a:lnTo>
                    <a:pt x="1997723" y="200228"/>
                  </a:lnTo>
                  <a:lnTo>
                    <a:pt x="1997723" y="198831"/>
                  </a:lnTo>
                  <a:lnTo>
                    <a:pt x="1997774" y="198831"/>
                  </a:lnTo>
                  <a:lnTo>
                    <a:pt x="1997774" y="196799"/>
                  </a:lnTo>
                  <a:lnTo>
                    <a:pt x="1997774" y="197447"/>
                  </a:lnTo>
                  <a:lnTo>
                    <a:pt x="1997774" y="196113"/>
                  </a:lnTo>
                  <a:lnTo>
                    <a:pt x="1997774" y="196799"/>
                  </a:lnTo>
                  <a:lnTo>
                    <a:pt x="1997774" y="196113"/>
                  </a:lnTo>
                  <a:lnTo>
                    <a:pt x="1997825" y="196113"/>
                  </a:lnTo>
                  <a:lnTo>
                    <a:pt x="1997825" y="195415"/>
                  </a:lnTo>
                  <a:lnTo>
                    <a:pt x="1997825" y="198831"/>
                  </a:lnTo>
                  <a:lnTo>
                    <a:pt x="1997825" y="196113"/>
                  </a:lnTo>
                  <a:lnTo>
                    <a:pt x="1997926" y="196113"/>
                  </a:lnTo>
                  <a:lnTo>
                    <a:pt x="1997926" y="199530"/>
                  </a:lnTo>
                  <a:lnTo>
                    <a:pt x="1997926" y="197447"/>
                  </a:lnTo>
                  <a:lnTo>
                    <a:pt x="1997977" y="197447"/>
                  </a:lnTo>
                  <a:lnTo>
                    <a:pt x="1997977" y="199530"/>
                  </a:lnTo>
                  <a:lnTo>
                    <a:pt x="1997977" y="198831"/>
                  </a:lnTo>
                  <a:lnTo>
                    <a:pt x="1997977" y="199530"/>
                  </a:lnTo>
                  <a:lnTo>
                    <a:pt x="1997977" y="198831"/>
                  </a:lnTo>
                  <a:lnTo>
                    <a:pt x="1997977" y="199530"/>
                  </a:lnTo>
                  <a:lnTo>
                    <a:pt x="1998028" y="199530"/>
                  </a:lnTo>
                  <a:lnTo>
                    <a:pt x="1998028" y="200228"/>
                  </a:lnTo>
                  <a:lnTo>
                    <a:pt x="1998028" y="198831"/>
                  </a:lnTo>
                  <a:lnTo>
                    <a:pt x="1998028" y="200228"/>
                  </a:lnTo>
                  <a:lnTo>
                    <a:pt x="1998079" y="200228"/>
                  </a:lnTo>
                  <a:lnTo>
                    <a:pt x="1998079" y="199530"/>
                  </a:lnTo>
                  <a:lnTo>
                    <a:pt x="1998079" y="200228"/>
                  </a:lnTo>
                  <a:lnTo>
                    <a:pt x="1998168" y="199530"/>
                  </a:lnTo>
                  <a:lnTo>
                    <a:pt x="1998168" y="200228"/>
                  </a:lnTo>
                  <a:lnTo>
                    <a:pt x="1998168" y="199530"/>
                  </a:lnTo>
                  <a:lnTo>
                    <a:pt x="1998168" y="200228"/>
                  </a:lnTo>
                  <a:lnTo>
                    <a:pt x="1998168" y="199530"/>
                  </a:lnTo>
                  <a:lnTo>
                    <a:pt x="1998168" y="200228"/>
                  </a:lnTo>
                  <a:lnTo>
                    <a:pt x="1998168" y="199530"/>
                  </a:lnTo>
                  <a:lnTo>
                    <a:pt x="1998219" y="199530"/>
                  </a:lnTo>
                  <a:lnTo>
                    <a:pt x="1998219" y="198831"/>
                  </a:lnTo>
                  <a:lnTo>
                    <a:pt x="1998219" y="199530"/>
                  </a:lnTo>
                  <a:lnTo>
                    <a:pt x="1998219" y="198831"/>
                  </a:lnTo>
                  <a:lnTo>
                    <a:pt x="1998219" y="199530"/>
                  </a:lnTo>
                  <a:lnTo>
                    <a:pt x="1998219" y="198831"/>
                  </a:lnTo>
                  <a:lnTo>
                    <a:pt x="1998269" y="198831"/>
                  </a:lnTo>
                  <a:lnTo>
                    <a:pt x="1998269" y="197447"/>
                  </a:lnTo>
                  <a:lnTo>
                    <a:pt x="1998269" y="198831"/>
                  </a:lnTo>
                  <a:lnTo>
                    <a:pt x="1998269" y="196799"/>
                  </a:lnTo>
                  <a:lnTo>
                    <a:pt x="1998269" y="197447"/>
                  </a:lnTo>
                  <a:lnTo>
                    <a:pt x="1998269" y="196799"/>
                  </a:lnTo>
                  <a:lnTo>
                    <a:pt x="1998269" y="197447"/>
                  </a:lnTo>
                  <a:lnTo>
                    <a:pt x="1998320" y="197447"/>
                  </a:lnTo>
                  <a:lnTo>
                    <a:pt x="1998320" y="198831"/>
                  </a:lnTo>
                  <a:lnTo>
                    <a:pt x="1998320" y="196799"/>
                  </a:lnTo>
                  <a:lnTo>
                    <a:pt x="1998320" y="199530"/>
                  </a:lnTo>
                  <a:lnTo>
                    <a:pt x="1998422" y="199530"/>
                  </a:lnTo>
                  <a:lnTo>
                    <a:pt x="1998422" y="197447"/>
                  </a:lnTo>
                  <a:lnTo>
                    <a:pt x="1998422" y="199530"/>
                  </a:lnTo>
                  <a:lnTo>
                    <a:pt x="1998472" y="199530"/>
                  </a:lnTo>
                  <a:lnTo>
                    <a:pt x="1998472" y="198831"/>
                  </a:lnTo>
                  <a:lnTo>
                    <a:pt x="1998472" y="199530"/>
                  </a:lnTo>
                  <a:lnTo>
                    <a:pt x="1998472" y="198831"/>
                  </a:lnTo>
                  <a:lnTo>
                    <a:pt x="1998472" y="199530"/>
                  </a:lnTo>
                  <a:lnTo>
                    <a:pt x="1998523" y="199530"/>
                  </a:lnTo>
                  <a:lnTo>
                    <a:pt x="1998523" y="200228"/>
                  </a:lnTo>
                  <a:lnTo>
                    <a:pt x="1998523" y="199530"/>
                  </a:lnTo>
                  <a:lnTo>
                    <a:pt x="1998523" y="200228"/>
                  </a:lnTo>
                  <a:lnTo>
                    <a:pt x="1998523" y="199530"/>
                  </a:lnTo>
                  <a:lnTo>
                    <a:pt x="1998523" y="200228"/>
                  </a:lnTo>
                  <a:lnTo>
                    <a:pt x="1998523" y="199530"/>
                  </a:lnTo>
                  <a:lnTo>
                    <a:pt x="1998625" y="199530"/>
                  </a:lnTo>
                  <a:lnTo>
                    <a:pt x="1998625" y="200228"/>
                  </a:lnTo>
                  <a:lnTo>
                    <a:pt x="1998663" y="200228"/>
                  </a:lnTo>
                  <a:lnTo>
                    <a:pt x="1998663" y="199530"/>
                  </a:lnTo>
                  <a:lnTo>
                    <a:pt x="1998714" y="199530"/>
                  </a:lnTo>
                  <a:lnTo>
                    <a:pt x="1998714" y="196799"/>
                  </a:lnTo>
                  <a:lnTo>
                    <a:pt x="1998765" y="196799"/>
                  </a:lnTo>
                  <a:lnTo>
                    <a:pt x="1998765" y="197447"/>
                  </a:lnTo>
                  <a:lnTo>
                    <a:pt x="1998765" y="196799"/>
                  </a:lnTo>
                  <a:lnTo>
                    <a:pt x="1998765" y="197447"/>
                  </a:lnTo>
                  <a:lnTo>
                    <a:pt x="1998765" y="195415"/>
                  </a:lnTo>
                  <a:lnTo>
                    <a:pt x="1998765" y="196113"/>
                  </a:lnTo>
                  <a:lnTo>
                    <a:pt x="1998866" y="196113"/>
                  </a:lnTo>
                  <a:lnTo>
                    <a:pt x="1998866" y="197447"/>
                  </a:lnTo>
                  <a:lnTo>
                    <a:pt x="1998866" y="195415"/>
                  </a:lnTo>
                  <a:lnTo>
                    <a:pt x="1998866" y="198831"/>
                  </a:lnTo>
                  <a:lnTo>
                    <a:pt x="1998917" y="198831"/>
                  </a:lnTo>
                  <a:lnTo>
                    <a:pt x="1998917" y="199530"/>
                  </a:lnTo>
                  <a:lnTo>
                    <a:pt x="1998917" y="196799"/>
                  </a:lnTo>
                  <a:lnTo>
                    <a:pt x="1998917" y="198831"/>
                  </a:lnTo>
                  <a:lnTo>
                    <a:pt x="1998968" y="198831"/>
                  </a:lnTo>
                  <a:lnTo>
                    <a:pt x="1998968" y="197447"/>
                  </a:lnTo>
                  <a:lnTo>
                    <a:pt x="1998968" y="199530"/>
                  </a:lnTo>
                  <a:lnTo>
                    <a:pt x="1999069" y="199530"/>
                  </a:lnTo>
                  <a:lnTo>
                    <a:pt x="1999069" y="198831"/>
                  </a:lnTo>
                  <a:lnTo>
                    <a:pt x="1999069" y="199530"/>
                  </a:lnTo>
                  <a:lnTo>
                    <a:pt x="1999069" y="198831"/>
                  </a:lnTo>
                  <a:lnTo>
                    <a:pt x="1999069" y="199530"/>
                  </a:lnTo>
                  <a:lnTo>
                    <a:pt x="1999069" y="198831"/>
                  </a:lnTo>
                  <a:lnTo>
                    <a:pt x="1999069" y="200228"/>
                  </a:lnTo>
                  <a:lnTo>
                    <a:pt x="1999069" y="199530"/>
                  </a:lnTo>
                  <a:lnTo>
                    <a:pt x="1999120" y="200228"/>
                  </a:lnTo>
                  <a:lnTo>
                    <a:pt x="1999120" y="199530"/>
                  </a:lnTo>
                  <a:lnTo>
                    <a:pt x="1999120" y="200228"/>
                  </a:lnTo>
                  <a:lnTo>
                    <a:pt x="1999120" y="199530"/>
                  </a:lnTo>
                  <a:lnTo>
                    <a:pt x="1999120" y="200228"/>
                  </a:lnTo>
                  <a:lnTo>
                    <a:pt x="1999120" y="199530"/>
                  </a:lnTo>
                  <a:lnTo>
                    <a:pt x="1999120" y="200228"/>
                  </a:lnTo>
                  <a:lnTo>
                    <a:pt x="1999120" y="199530"/>
                  </a:lnTo>
                  <a:lnTo>
                    <a:pt x="1999171" y="199530"/>
                  </a:lnTo>
                  <a:lnTo>
                    <a:pt x="1999171" y="200228"/>
                  </a:lnTo>
                  <a:lnTo>
                    <a:pt x="1999171" y="199530"/>
                  </a:lnTo>
                  <a:lnTo>
                    <a:pt x="1999171" y="200228"/>
                  </a:lnTo>
                  <a:lnTo>
                    <a:pt x="1999171" y="198831"/>
                  </a:lnTo>
                  <a:lnTo>
                    <a:pt x="1999171" y="199530"/>
                  </a:lnTo>
                  <a:lnTo>
                    <a:pt x="1999209" y="199530"/>
                  </a:lnTo>
                  <a:lnTo>
                    <a:pt x="1999209" y="198831"/>
                  </a:lnTo>
                  <a:lnTo>
                    <a:pt x="1999209" y="199530"/>
                  </a:lnTo>
                  <a:lnTo>
                    <a:pt x="1999209" y="198831"/>
                  </a:lnTo>
                  <a:lnTo>
                    <a:pt x="1999311" y="198831"/>
                  </a:lnTo>
                  <a:lnTo>
                    <a:pt x="1999311" y="196113"/>
                  </a:lnTo>
                  <a:lnTo>
                    <a:pt x="1999311" y="196799"/>
                  </a:lnTo>
                  <a:lnTo>
                    <a:pt x="1999362" y="196799"/>
                  </a:lnTo>
                  <a:lnTo>
                    <a:pt x="1999362" y="195415"/>
                  </a:lnTo>
                  <a:lnTo>
                    <a:pt x="1999362" y="198831"/>
                  </a:lnTo>
                  <a:lnTo>
                    <a:pt x="1999412" y="197447"/>
                  </a:lnTo>
                  <a:lnTo>
                    <a:pt x="1999412" y="196113"/>
                  </a:lnTo>
                  <a:lnTo>
                    <a:pt x="1999412" y="197447"/>
                  </a:lnTo>
                  <a:lnTo>
                    <a:pt x="1999514" y="197447"/>
                  </a:lnTo>
                  <a:lnTo>
                    <a:pt x="1999514" y="196113"/>
                  </a:lnTo>
                  <a:lnTo>
                    <a:pt x="1999514" y="198831"/>
                  </a:lnTo>
                  <a:lnTo>
                    <a:pt x="1999514" y="197447"/>
                  </a:lnTo>
                  <a:lnTo>
                    <a:pt x="1999514" y="198831"/>
                  </a:lnTo>
                  <a:lnTo>
                    <a:pt x="1999565" y="197447"/>
                  </a:lnTo>
                  <a:lnTo>
                    <a:pt x="1999565" y="198831"/>
                  </a:lnTo>
                  <a:lnTo>
                    <a:pt x="1999565" y="197447"/>
                  </a:lnTo>
                  <a:lnTo>
                    <a:pt x="1999565" y="198831"/>
                  </a:lnTo>
                  <a:lnTo>
                    <a:pt x="1999615" y="198831"/>
                  </a:lnTo>
                  <a:lnTo>
                    <a:pt x="1999615" y="197447"/>
                  </a:lnTo>
                  <a:lnTo>
                    <a:pt x="1999615" y="198831"/>
                  </a:lnTo>
                  <a:lnTo>
                    <a:pt x="1999615" y="197447"/>
                  </a:lnTo>
                  <a:lnTo>
                    <a:pt x="1999615" y="199530"/>
                  </a:lnTo>
                  <a:lnTo>
                    <a:pt x="1999615" y="198831"/>
                  </a:lnTo>
                  <a:lnTo>
                    <a:pt x="1999615" y="199530"/>
                  </a:lnTo>
                  <a:lnTo>
                    <a:pt x="1999615" y="198831"/>
                  </a:lnTo>
                  <a:lnTo>
                    <a:pt x="1999666" y="198831"/>
                  </a:lnTo>
                  <a:lnTo>
                    <a:pt x="1999666" y="199530"/>
                  </a:lnTo>
                  <a:lnTo>
                    <a:pt x="1999666" y="198831"/>
                  </a:lnTo>
                  <a:lnTo>
                    <a:pt x="1999666" y="199530"/>
                  </a:lnTo>
                  <a:lnTo>
                    <a:pt x="1999666" y="198831"/>
                  </a:lnTo>
                  <a:lnTo>
                    <a:pt x="1999755" y="198831"/>
                  </a:lnTo>
                  <a:lnTo>
                    <a:pt x="1999755" y="196799"/>
                  </a:lnTo>
                  <a:lnTo>
                    <a:pt x="1999806" y="196799"/>
                  </a:lnTo>
                  <a:lnTo>
                    <a:pt x="1999806" y="195415"/>
                  </a:lnTo>
                  <a:lnTo>
                    <a:pt x="1999806" y="196113"/>
                  </a:lnTo>
                  <a:lnTo>
                    <a:pt x="1999806" y="195415"/>
                  </a:lnTo>
                  <a:lnTo>
                    <a:pt x="1999806" y="196113"/>
                  </a:lnTo>
                  <a:lnTo>
                    <a:pt x="1999806" y="195415"/>
                  </a:lnTo>
                  <a:lnTo>
                    <a:pt x="1999806" y="197447"/>
                  </a:lnTo>
                  <a:lnTo>
                    <a:pt x="1999806" y="196799"/>
                  </a:lnTo>
                  <a:lnTo>
                    <a:pt x="1999857" y="196799"/>
                  </a:lnTo>
                  <a:lnTo>
                    <a:pt x="1999857" y="195415"/>
                  </a:lnTo>
                  <a:lnTo>
                    <a:pt x="1999857" y="199530"/>
                  </a:lnTo>
                  <a:lnTo>
                    <a:pt x="1999857" y="198831"/>
                  </a:lnTo>
                  <a:lnTo>
                    <a:pt x="1999908" y="198831"/>
                  </a:lnTo>
                  <a:lnTo>
                    <a:pt x="1999908" y="196799"/>
                  </a:lnTo>
                  <a:lnTo>
                    <a:pt x="1999908" y="199530"/>
                  </a:lnTo>
                  <a:lnTo>
                    <a:pt x="1999908" y="197447"/>
                  </a:lnTo>
                  <a:lnTo>
                    <a:pt x="2000009" y="197447"/>
                  </a:lnTo>
                  <a:lnTo>
                    <a:pt x="2000009" y="198831"/>
                  </a:lnTo>
                  <a:lnTo>
                    <a:pt x="2000009" y="197447"/>
                  </a:lnTo>
                  <a:lnTo>
                    <a:pt x="2000009" y="198831"/>
                  </a:lnTo>
                  <a:lnTo>
                    <a:pt x="2000009" y="197447"/>
                  </a:lnTo>
                  <a:lnTo>
                    <a:pt x="2000009" y="198831"/>
                  </a:lnTo>
                  <a:lnTo>
                    <a:pt x="2000060" y="198831"/>
                  </a:lnTo>
                  <a:lnTo>
                    <a:pt x="2000060" y="197447"/>
                  </a:lnTo>
                  <a:lnTo>
                    <a:pt x="2000060" y="198831"/>
                  </a:lnTo>
                  <a:lnTo>
                    <a:pt x="2000060" y="197447"/>
                  </a:lnTo>
                  <a:lnTo>
                    <a:pt x="2000060" y="198831"/>
                  </a:lnTo>
                  <a:lnTo>
                    <a:pt x="2000060" y="197447"/>
                  </a:lnTo>
                  <a:lnTo>
                    <a:pt x="2000060" y="198831"/>
                  </a:lnTo>
                  <a:lnTo>
                    <a:pt x="2000060" y="197447"/>
                  </a:lnTo>
                  <a:lnTo>
                    <a:pt x="2000111" y="198831"/>
                  </a:lnTo>
                  <a:lnTo>
                    <a:pt x="2000111" y="197447"/>
                  </a:lnTo>
                  <a:lnTo>
                    <a:pt x="2000111" y="198831"/>
                  </a:lnTo>
                  <a:lnTo>
                    <a:pt x="2000111" y="197447"/>
                  </a:lnTo>
                  <a:lnTo>
                    <a:pt x="2000111" y="198831"/>
                  </a:lnTo>
                  <a:lnTo>
                    <a:pt x="2000212" y="198831"/>
                  </a:lnTo>
                  <a:lnTo>
                    <a:pt x="2000212" y="199530"/>
                  </a:lnTo>
                  <a:lnTo>
                    <a:pt x="2000212" y="197447"/>
                  </a:lnTo>
                  <a:lnTo>
                    <a:pt x="2000250" y="197447"/>
                  </a:lnTo>
                  <a:lnTo>
                    <a:pt x="2000250" y="198831"/>
                  </a:lnTo>
                  <a:lnTo>
                    <a:pt x="2000250" y="197447"/>
                  </a:lnTo>
                  <a:lnTo>
                    <a:pt x="2000250" y="198831"/>
                  </a:lnTo>
                  <a:lnTo>
                    <a:pt x="2000250" y="196113"/>
                  </a:lnTo>
                  <a:lnTo>
                    <a:pt x="2000301" y="196799"/>
                  </a:lnTo>
                  <a:lnTo>
                    <a:pt x="2000301" y="196113"/>
                  </a:lnTo>
                  <a:lnTo>
                    <a:pt x="2000301" y="197447"/>
                  </a:lnTo>
                  <a:lnTo>
                    <a:pt x="2000301" y="196799"/>
                  </a:lnTo>
                  <a:lnTo>
                    <a:pt x="2000352" y="196799"/>
                  </a:lnTo>
                  <a:lnTo>
                    <a:pt x="2000352" y="199530"/>
                  </a:lnTo>
                  <a:lnTo>
                    <a:pt x="2000352" y="198831"/>
                  </a:lnTo>
                  <a:lnTo>
                    <a:pt x="2000454" y="198831"/>
                  </a:lnTo>
                  <a:lnTo>
                    <a:pt x="2000454" y="197447"/>
                  </a:lnTo>
                  <a:lnTo>
                    <a:pt x="2000454" y="199530"/>
                  </a:lnTo>
                  <a:lnTo>
                    <a:pt x="2000454" y="198831"/>
                  </a:lnTo>
                  <a:lnTo>
                    <a:pt x="2000505" y="198831"/>
                  </a:lnTo>
                  <a:lnTo>
                    <a:pt x="2000505" y="199530"/>
                  </a:lnTo>
                  <a:lnTo>
                    <a:pt x="2000505" y="198831"/>
                  </a:lnTo>
                  <a:lnTo>
                    <a:pt x="2000505" y="199530"/>
                  </a:lnTo>
                  <a:lnTo>
                    <a:pt x="2000505" y="198831"/>
                  </a:lnTo>
                  <a:lnTo>
                    <a:pt x="2000505" y="199530"/>
                  </a:lnTo>
                  <a:lnTo>
                    <a:pt x="2000505" y="198831"/>
                  </a:lnTo>
                  <a:lnTo>
                    <a:pt x="2000505" y="199530"/>
                  </a:lnTo>
                  <a:lnTo>
                    <a:pt x="2000555" y="199530"/>
                  </a:lnTo>
                  <a:lnTo>
                    <a:pt x="2000555" y="198831"/>
                  </a:lnTo>
                  <a:lnTo>
                    <a:pt x="2000555" y="199530"/>
                  </a:lnTo>
                  <a:lnTo>
                    <a:pt x="2000555" y="198831"/>
                  </a:lnTo>
                  <a:lnTo>
                    <a:pt x="2000657" y="198831"/>
                  </a:lnTo>
                  <a:lnTo>
                    <a:pt x="2000657" y="200228"/>
                  </a:lnTo>
                  <a:lnTo>
                    <a:pt x="2000657" y="198831"/>
                  </a:lnTo>
                  <a:lnTo>
                    <a:pt x="2000708" y="198831"/>
                  </a:lnTo>
                  <a:lnTo>
                    <a:pt x="2000708" y="199530"/>
                  </a:lnTo>
                  <a:lnTo>
                    <a:pt x="2000708" y="197447"/>
                  </a:lnTo>
                  <a:lnTo>
                    <a:pt x="2000759" y="197447"/>
                  </a:lnTo>
                  <a:lnTo>
                    <a:pt x="2000759" y="195415"/>
                  </a:lnTo>
                  <a:lnTo>
                    <a:pt x="2000797" y="195415"/>
                  </a:lnTo>
                  <a:lnTo>
                    <a:pt x="2000797" y="197447"/>
                  </a:lnTo>
                  <a:lnTo>
                    <a:pt x="2000797" y="195415"/>
                  </a:lnTo>
                  <a:lnTo>
                    <a:pt x="2000797" y="196799"/>
                  </a:lnTo>
                  <a:lnTo>
                    <a:pt x="2000898" y="196799"/>
                  </a:lnTo>
                  <a:lnTo>
                    <a:pt x="2000898" y="199530"/>
                  </a:lnTo>
                  <a:lnTo>
                    <a:pt x="2000898" y="197447"/>
                  </a:lnTo>
                  <a:lnTo>
                    <a:pt x="2000898" y="198831"/>
                  </a:lnTo>
                  <a:lnTo>
                    <a:pt x="2000949" y="199530"/>
                  </a:lnTo>
                  <a:lnTo>
                    <a:pt x="2000949" y="198831"/>
                  </a:lnTo>
                  <a:lnTo>
                    <a:pt x="2000949" y="199530"/>
                  </a:lnTo>
                  <a:lnTo>
                    <a:pt x="2001000" y="199530"/>
                  </a:lnTo>
                  <a:lnTo>
                    <a:pt x="2001000" y="198831"/>
                  </a:lnTo>
                  <a:lnTo>
                    <a:pt x="2001000" y="199530"/>
                  </a:lnTo>
                  <a:lnTo>
                    <a:pt x="2001000" y="198831"/>
                  </a:lnTo>
                  <a:lnTo>
                    <a:pt x="2001000" y="199530"/>
                  </a:lnTo>
                  <a:lnTo>
                    <a:pt x="2001101" y="199530"/>
                  </a:lnTo>
                  <a:lnTo>
                    <a:pt x="2001101" y="200228"/>
                  </a:lnTo>
                  <a:lnTo>
                    <a:pt x="2001101" y="199530"/>
                  </a:lnTo>
                  <a:lnTo>
                    <a:pt x="2001152" y="199530"/>
                  </a:lnTo>
                  <a:lnTo>
                    <a:pt x="2001152" y="198831"/>
                  </a:lnTo>
                  <a:lnTo>
                    <a:pt x="2001152" y="199530"/>
                  </a:lnTo>
                  <a:lnTo>
                    <a:pt x="2001203" y="198831"/>
                  </a:lnTo>
                  <a:lnTo>
                    <a:pt x="2001203" y="199530"/>
                  </a:lnTo>
                  <a:lnTo>
                    <a:pt x="2001203" y="197447"/>
                  </a:lnTo>
                  <a:lnTo>
                    <a:pt x="2001203" y="198831"/>
                  </a:lnTo>
                  <a:lnTo>
                    <a:pt x="2001203" y="196799"/>
                  </a:lnTo>
                  <a:lnTo>
                    <a:pt x="2001254" y="196799"/>
                  </a:lnTo>
                  <a:lnTo>
                    <a:pt x="2001254" y="197447"/>
                  </a:lnTo>
                  <a:lnTo>
                    <a:pt x="2001254" y="195415"/>
                  </a:lnTo>
                  <a:lnTo>
                    <a:pt x="2001254" y="196799"/>
                  </a:lnTo>
                  <a:lnTo>
                    <a:pt x="2001343" y="197447"/>
                  </a:lnTo>
                  <a:lnTo>
                    <a:pt x="2001343" y="195415"/>
                  </a:lnTo>
                  <a:lnTo>
                    <a:pt x="2001343" y="198831"/>
                  </a:lnTo>
                  <a:lnTo>
                    <a:pt x="2001394" y="198831"/>
                  </a:lnTo>
                  <a:lnTo>
                    <a:pt x="2001394" y="196799"/>
                  </a:lnTo>
                  <a:lnTo>
                    <a:pt x="2001394" y="199530"/>
                  </a:lnTo>
                  <a:lnTo>
                    <a:pt x="2001444" y="198831"/>
                  </a:lnTo>
                  <a:lnTo>
                    <a:pt x="2001444" y="197447"/>
                  </a:lnTo>
                  <a:lnTo>
                    <a:pt x="2001444" y="198831"/>
                  </a:lnTo>
                  <a:lnTo>
                    <a:pt x="2001495" y="198831"/>
                  </a:lnTo>
                  <a:lnTo>
                    <a:pt x="2001495" y="199530"/>
                  </a:lnTo>
                  <a:lnTo>
                    <a:pt x="2001495" y="198831"/>
                  </a:lnTo>
                  <a:lnTo>
                    <a:pt x="2001495" y="199530"/>
                  </a:lnTo>
                  <a:lnTo>
                    <a:pt x="2001495" y="198831"/>
                  </a:lnTo>
                  <a:lnTo>
                    <a:pt x="2001495" y="199530"/>
                  </a:lnTo>
                  <a:lnTo>
                    <a:pt x="2001597" y="198831"/>
                  </a:lnTo>
                  <a:lnTo>
                    <a:pt x="2001597" y="200228"/>
                  </a:lnTo>
                  <a:lnTo>
                    <a:pt x="2001597" y="199530"/>
                  </a:lnTo>
                  <a:lnTo>
                    <a:pt x="2001597" y="200228"/>
                  </a:lnTo>
                  <a:lnTo>
                    <a:pt x="2001597" y="199530"/>
                  </a:lnTo>
                  <a:lnTo>
                    <a:pt x="2001597" y="200228"/>
                  </a:lnTo>
                  <a:lnTo>
                    <a:pt x="2001597" y="198831"/>
                  </a:lnTo>
                  <a:lnTo>
                    <a:pt x="2001597" y="199530"/>
                  </a:lnTo>
                  <a:lnTo>
                    <a:pt x="2001647" y="199530"/>
                  </a:lnTo>
                  <a:lnTo>
                    <a:pt x="2001647" y="198831"/>
                  </a:lnTo>
                  <a:lnTo>
                    <a:pt x="2001698" y="198831"/>
                  </a:lnTo>
                  <a:lnTo>
                    <a:pt x="2001698" y="196799"/>
                  </a:lnTo>
                  <a:lnTo>
                    <a:pt x="2001698" y="197447"/>
                  </a:lnTo>
                  <a:lnTo>
                    <a:pt x="2001800" y="196799"/>
                  </a:lnTo>
                  <a:lnTo>
                    <a:pt x="2001800" y="195415"/>
                  </a:lnTo>
                  <a:lnTo>
                    <a:pt x="2001800" y="196799"/>
                  </a:lnTo>
                  <a:lnTo>
                    <a:pt x="2001838" y="196799"/>
                  </a:lnTo>
                  <a:lnTo>
                    <a:pt x="2001838" y="195415"/>
                  </a:lnTo>
                  <a:lnTo>
                    <a:pt x="2001838" y="197447"/>
                  </a:lnTo>
                  <a:lnTo>
                    <a:pt x="2001889" y="197447"/>
                  </a:lnTo>
                  <a:lnTo>
                    <a:pt x="2001889" y="196113"/>
                  </a:lnTo>
                  <a:lnTo>
                    <a:pt x="2001889" y="198831"/>
                  </a:lnTo>
                  <a:lnTo>
                    <a:pt x="2001889" y="197447"/>
                  </a:lnTo>
                  <a:lnTo>
                    <a:pt x="2001940" y="197447"/>
                  </a:lnTo>
                  <a:lnTo>
                    <a:pt x="2001940" y="198831"/>
                  </a:lnTo>
                  <a:lnTo>
                    <a:pt x="2002041" y="197447"/>
                  </a:lnTo>
                  <a:lnTo>
                    <a:pt x="2002041" y="199530"/>
                  </a:lnTo>
                  <a:lnTo>
                    <a:pt x="2002041" y="198831"/>
                  </a:lnTo>
                  <a:lnTo>
                    <a:pt x="2002041" y="199530"/>
                  </a:lnTo>
                  <a:lnTo>
                    <a:pt x="2002041" y="197447"/>
                  </a:lnTo>
                  <a:lnTo>
                    <a:pt x="2002041" y="198831"/>
                  </a:lnTo>
                  <a:lnTo>
                    <a:pt x="2002092" y="198831"/>
                  </a:lnTo>
                  <a:lnTo>
                    <a:pt x="2002092" y="199530"/>
                  </a:lnTo>
                  <a:lnTo>
                    <a:pt x="2002092" y="198831"/>
                  </a:lnTo>
                  <a:lnTo>
                    <a:pt x="2002092" y="199530"/>
                  </a:lnTo>
                  <a:lnTo>
                    <a:pt x="2002143" y="199530"/>
                  </a:lnTo>
                  <a:lnTo>
                    <a:pt x="2002143" y="198831"/>
                  </a:lnTo>
                  <a:lnTo>
                    <a:pt x="2002143" y="199530"/>
                  </a:lnTo>
                  <a:lnTo>
                    <a:pt x="2002143" y="198831"/>
                  </a:lnTo>
                  <a:lnTo>
                    <a:pt x="2002244" y="198831"/>
                  </a:lnTo>
                  <a:lnTo>
                    <a:pt x="2002244" y="196799"/>
                  </a:lnTo>
                  <a:lnTo>
                    <a:pt x="2002295" y="196113"/>
                  </a:lnTo>
                  <a:lnTo>
                    <a:pt x="2002295" y="195415"/>
                  </a:lnTo>
                  <a:lnTo>
                    <a:pt x="2002295" y="196113"/>
                  </a:lnTo>
                  <a:lnTo>
                    <a:pt x="2002295" y="195415"/>
                  </a:lnTo>
                  <a:lnTo>
                    <a:pt x="2002295" y="196799"/>
                  </a:lnTo>
                  <a:lnTo>
                    <a:pt x="2002295" y="196113"/>
                  </a:lnTo>
                  <a:lnTo>
                    <a:pt x="2002346" y="196113"/>
                  </a:lnTo>
                  <a:lnTo>
                    <a:pt x="2002346" y="195415"/>
                  </a:lnTo>
                  <a:lnTo>
                    <a:pt x="2002346" y="197447"/>
                  </a:lnTo>
                  <a:lnTo>
                    <a:pt x="2002346" y="196799"/>
                  </a:lnTo>
                  <a:lnTo>
                    <a:pt x="2002384" y="196799"/>
                  </a:lnTo>
                  <a:lnTo>
                    <a:pt x="2002384" y="196113"/>
                  </a:lnTo>
                  <a:lnTo>
                    <a:pt x="2002384" y="196799"/>
                  </a:lnTo>
                  <a:lnTo>
                    <a:pt x="2002486" y="196799"/>
                  </a:lnTo>
                  <a:lnTo>
                    <a:pt x="2002486" y="196113"/>
                  </a:lnTo>
                  <a:lnTo>
                    <a:pt x="2002486" y="196799"/>
                  </a:lnTo>
                  <a:lnTo>
                    <a:pt x="2002486" y="196113"/>
                  </a:lnTo>
                  <a:lnTo>
                    <a:pt x="2002486" y="196799"/>
                  </a:lnTo>
                  <a:lnTo>
                    <a:pt x="2002486" y="196113"/>
                  </a:lnTo>
                  <a:lnTo>
                    <a:pt x="2002486" y="197447"/>
                  </a:lnTo>
                  <a:lnTo>
                    <a:pt x="2002486" y="196799"/>
                  </a:lnTo>
                  <a:lnTo>
                    <a:pt x="2002537" y="196799"/>
                  </a:lnTo>
                  <a:lnTo>
                    <a:pt x="2002537" y="197447"/>
                  </a:lnTo>
                  <a:lnTo>
                    <a:pt x="2002537" y="196799"/>
                  </a:lnTo>
                  <a:lnTo>
                    <a:pt x="2002537" y="197447"/>
                  </a:lnTo>
                  <a:lnTo>
                    <a:pt x="2002537" y="196799"/>
                  </a:lnTo>
                  <a:lnTo>
                    <a:pt x="2002537" y="197447"/>
                  </a:lnTo>
                  <a:lnTo>
                    <a:pt x="2002587" y="197447"/>
                  </a:lnTo>
                  <a:lnTo>
                    <a:pt x="2002587" y="198831"/>
                  </a:lnTo>
                  <a:lnTo>
                    <a:pt x="2002587" y="197447"/>
                  </a:lnTo>
                  <a:lnTo>
                    <a:pt x="2002587" y="198831"/>
                  </a:lnTo>
                  <a:lnTo>
                    <a:pt x="2002689" y="198831"/>
                  </a:lnTo>
                  <a:lnTo>
                    <a:pt x="2002689" y="197447"/>
                  </a:lnTo>
                  <a:lnTo>
                    <a:pt x="2002740" y="197447"/>
                  </a:lnTo>
                  <a:lnTo>
                    <a:pt x="2002740" y="196113"/>
                  </a:lnTo>
                  <a:lnTo>
                    <a:pt x="2002740" y="196799"/>
                  </a:lnTo>
                  <a:lnTo>
                    <a:pt x="2002790" y="196799"/>
                  </a:lnTo>
                  <a:lnTo>
                    <a:pt x="2002790" y="197447"/>
                  </a:lnTo>
                  <a:lnTo>
                    <a:pt x="2002790" y="196799"/>
                  </a:lnTo>
                  <a:lnTo>
                    <a:pt x="2002841" y="196799"/>
                  </a:lnTo>
                  <a:lnTo>
                    <a:pt x="2002841" y="199530"/>
                  </a:lnTo>
                  <a:lnTo>
                    <a:pt x="2002841" y="197447"/>
                  </a:lnTo>
                  <a:lnTo>
                    <a:pt x="2002930" y="197447"/>
                  </a:lnTo>
                  <a:lnTo>
                    <a:pt x="2002930" y="198831"/>
                  </a:lnTo>
                  <a:lnTo>
                    <a:pt x="2002930" y="197447"/>
                  </a:lnTo>
                  <a:lnTo>
                    <a:pt x="2002930" y="198831"/>
                  </a:lnTo>
                  <a:lnTo>
                    <a:pt x="2002930" y="197447"/>
                  </a:lnTo>
                  <a:lnTo>
                    <a:pt x="2002930" y="198831"/>
                  </a:lnTo>
                  <a:lnTo>
                    <a:pt x="2002930" y="197447"/>
                  </a:lnTo>
                  <a:lnTo>
                    <a:pt x="2002930" y="198831"/>
                  </a:lnTo>
                  <a:lnTo>
                    <a:pt x="2002930" y="197447"/>
                  </a:lnTo>
                  <a:lnTo>
                    <a:pt x="2002981" y="197447"/>
                  </a:lnTo>
                  <a:lnTo>
                    <a:pt x="2002981" y="198831"/>
                  </a:lnTo>
                  <a:lnTo>
                    <a:pt x="2003032" y="198831"/>
                  </a:lnTo>
                  <a:lnTo>
                    <a:pt x="2003032" y="199530"/>
                  </a:lnTo>
                  <a:lnTo>
                    <a:pt x="2003032" y="198831"/>
                  </a:lnTo>
                  <a:lnTo>
                    <a:pt x="2003032" y="199530"/>
                  </a:lnTo>
                  <a:lnTo>
                    <a:pt x="2003083" y="199530"/>
                  </a:lnTo>
                  <a:lnTo>
                    <a:pt x="2003083" y="198831"/>
                  </a:lnTo>
                  <a:lnTo>
                    <a:pt x="2003083" y="199530"/>
                  </a:lnTo>
                  <a:lnTo>
                    <a:pt x="2003083" y="198831"/>
                  </a:lnTo>
                  <a:lnTo>
                    <a:pt x="2003083" y="199530"/>
                  </a:lnTo>
                  <a:lnTo>
                    <a:pt x="2003083" y="198831"/>
                  </a:lnTo>
                  <a:lnTo>
                    <a:pt x="2003184" y="198831"/>
                  </a:lnTo>
                  <a:lnTo>
                    <a:pt x="2003184" y="197447"/>
                  </a:lnTo>
                  <a:lnTo>
                    <a:pt x="2003184" y="198831"/>
                  </a:lnTo>
                  <a:lnTo>
                    <a:pt x="2003184" y="197447"/>
                  </a:lnTo>
                  <a:lnTo>
                    <a:pt x="2003184" y="198831"/>
                  </a:lnTo>
                  <a:lnTo>
                    <a:pt x="2003184" y="197447"/>
                  </a:lnTo>
                  <a:lnTo>
                    <a:pt x="2003235" y="197447"/>
                  </a:lnTo>
                  <a:lnTo>
                    <a:pt x="2003235" y="196799"/>
                  </a:lnTo>
                  <a:lnTo>
                    <a:pt x="2003235" y="197447"/>
                  </a:lnTo>
                  <a:lnTo>
                    <a:pt x="2003235" y="196799"/>
                  </a:lnTo>
                  <a:lnTo>
                    <a:pt x="2003286" y="196799"/>
                  </a:lnTo>
                  <a:lnTo>
                    <a:pt x="2003286" y="196113"/>
                  </a:lnTo>
                  <a:lnTo>
                    <a:pt x="2003286" y="198831"/>
                  </a:lnTo>
                  <a:lnTo>
                    <a:pt x="2003286" y="196799"/>
                  </a:lnTo>
                  <a:lnTo>
                    <a:pt x="2003286" y="197447"/>
                  </a:lnTo>
                  <a:lnTo>
                    <a:pt x="2003387" y="197447"/>
                  </a:lnTo>
                  <a:lnTo>
                    <a:pt x="2003387" y="199530"/>
                  </a:lnTo>
                  <a:lnTo>
                    <a:pt x="2003387" y="198831"/>
                  </a:lnTo>
                  <a:lnTo>
                    <a:pt x="2003425" y="199530"/>
                  </a:lnTo>
                  <a:lnTo>
                    <a:pt x="2003425" y="198831"/>
                  </a:lnTo>
                  <a:lnTo>
                    <a:pt x="2003425" y="199530"/>
                  </a:lnTo>
                  <a:lnTo>
                    <a:pt x="2003476" y="199530"/>
                  </a:lnTo>
                  <a:lnTo>
                    <a:pt x="2003476" y="198831"/>
                  </a:lnTo>
                  <a:lnTo>
                    <a:pt x="2003476" y="199530"/>
                  </a:lnTo>
                  <a:lnTo>
                    <a:pt x="2003476" y="198831"/>
                  </a:lnTo>
                  <a:lnTo>
                    <a:pt x="2003476" y="199530"/>
                  </a:lnTo>
                  <a:lnTo>
                    <a:pt x="2003476" y="198831"/>
                  </a:lnTo>
                  <a:lnTo>
                    <a:pt x="2003476" y="199530"/>
                  </a:lnTo>
                  <a:lnTo>
                    <a:pt x="2003527" y="199530"/>
                  </a:lnTo>
                  <a:lnTo>
                    <a:pt x="2003527" y="198831"/>
                  </a:lnTo>
                  <a:lnTo>
                    <a:pt x="2003527" y="199530"/>
                  </a:lnTo>
                  <a:lnTo>
                    <a:pt x="2003527" y="198831"/>
                  </a:lnTo>
                  <a:lnTo>
                    <a:pt x="2003527" y="199530"/>
                  </a:lnTo>
                  <a:lnTo>
                    <a:pt x="2003629" y="199530"/>
                  </a:lnTo>
                  <a:lnTo>
                    <a:pt x="2003629" y="198831"/>
                  </a:lnTo>
                  <a:lnTo>
                    <a:pt x="2003629" y="199530"/>
                  </a:lnTo>
                  <a:lnTo>
                    <a:pt x="2003629" y="198831"/>
                  </a:lnTo>
                  <a:lnTo>
                    <a:pt x="2003629" y="199530"/>
                  </a:lnTo>
                  <a:lnTo>
                    <a:pt x="2003680" y="199530"/>
                  </a:lnTo>
                  <a:lnTo>
                    <a:pt x="2003680" y="198831"/>
                  </a:lnTo>
                  <a:lnTo>
                    <a:pt x="2003680" y="199530"/>
                  </a:lnTo>
                  <a:lnTo>
                    <a:pt x="2003680" y="196799"/>
                  </a:lnTo>
                  <a:lnTo>
                    <a:pt x="2003730" y="196799"/>
                  </a:lnTo>
                  <a:lnTo>
                    <a:pt x="2003730" y="195415"/>
                  </a:lnTo>
                  <a:lnTo>
                    <a:pt x="2003832" y="194716"/>
                  </a:lnTo>
                  <a:lnTo>
                    <a:pt x="2003832" y="196799"/>
                  </a:lnTo>
                  <a:lnTo>
                    <a:pt x="2003832" y="195415"/>
                  </a:lnTo>
                  <a:lnTo>
                    <a:pt x="2003883" y="195415"/>
                  </a:lnTo>
                  <a:lnTo>
                    <a:pt x="2003883" y="197447"/>
                  </a:lnTo>
                  <a:lnTo>
                    <a:pt x="2003883" y="196113"/>
                  </a:lnTo>
                  <a:lnTo>
                    <a:pt x="2003883" y="196799"/>
                  </a:lnTo>
                  <a:lnTo>
                    <a:pt x="2003934" y="196113"/>
                  </a:lnTo>
                  <a:lnTo>
                    <a:pt x="2003934" y="198831"/>
                  </a:lnTo>
                  <a:lnTo>
                    <a:pt x="2003934" y="196799"/>
                  </a:lnTo>
                  <a:lnTo>
                    <a:pt x="2003934" y="197447"/>
                  </a:lnTo>
                  <a:lnTo>
                    <a:pt x="2003972" y="197447"/>
                  </a:lnTo>
                  <a:lnTo>
                    <a:pt x="2003972" y="198831"/>
                  </a:lnTo>
                  <a:lnTo>
                    <a:pt x="2003972" y="197447"/>
                  </a:lnTo>
                  <a:lnTo>
                    <a:pt x="2003972" y="198831"/>
                  </a:lnTo>
                  <a:lnTo>
                    <a:pt x="2003972" y="197447"/>
                  </a:lnTo>
                  <a:lnTo>
                    <a:pt x="2003972" y="198831"/>
                  </a:lnTo>
                  <a:lnTo>
                    <a:pt x="2004073" y="198831"/>
                  </a:lnTo>
                  <a:lnTo>
                    <a:pt x="2004073" y="199530"/>
                  </a:lnTo>
                  <a:lnTo>
                    <a:pt x="2004073" y="198831"/>
                  </a:lnTo>
                  <a:lnTo>
                    <a:pt x="2004073" y="199530"/>
                  </a:lnTo>
                  <a:lnTo>
                    <a:pt x="2004073" y="198831"/>
                  </a:lnTo>
                  <a:lnTo>
                    <a:pt x="2004124" y="199530"/>
                  </a:lnTo>
                  <a:lnTo>
                    <a:pt x="2004124" y="198831"/>
                  </a:lnTo>
                  <a:lnTo>
                    <a:pt x="2004175" y="198831"/>
                  </a:lnTo>
                  <a:lnTo>
                    <a:pt x="2004175" y="197447"/>
                  </a:lnTo>
                  <a:lnTo>
                    <a:pt x="2004175" y="198831"/>
                  </a:lnTo>
                  <a:lnTo>
                    <a:pt x="2004175" y="197447"/>
                  </a:lnTo>
                  <a:lnTo>
                    <a:pt x="2004276" y="197447"/>
                  </a:lnTo>
                  <a:lnTo>
                    <a:pt x="2004276" y="195415"/>
                  </a:lnTo>
                  <a:lnTo>
                    <a:pt x="2004327" y="195415"/>
                  </a:lnTo>
                  <a:lnTo>
                    <a:pt x="2004327" y="197447"/>
                  </a:lnTo>
                  <a:lnTo>
                    <a:pt x="2004327" y="195415"/>
                  </a:lnTo>
                  <a:lnTo>
                    <a:pt x="2004327" y="196113"/>
                  </a:lnTo>
                  <a:lnTo>
                    <a:pt x="2004378" y="196113"/>
                  </a:lnTo>
                  <a:lnTo>
                    <a:pt x="2004378" y="198831"/>
                  </a:lnTo>
                  <a:lnTo>
                    <a:pt x="2004378" y="196799"/>
                  </a:lnTo>
                  <a:lnTo>
                    <a:pt x="2004378" y="197447"/>
                  </a:lnTo>
                  <a:lnTo>
                    <a:pt x="2004429" y="197447"/>
                  </a:lnTo>
                  <a:lnTo>
                    <a:pt x="2004429" y="198831"/>
                  </a:lnTo>
                  <a:lnTo>
                    <a:pt x="2004429" y="196799"/>
                  </a:lnTo>
                  <a:lnTo>
                    <a:pt x="2004429" y="197447"/>
                  </a:lnTo>
                  <a:lnTo>
                    <a:pt x="2004518" y="197447"/>
                  </a:lnTo>
                  <a:lnTo>
                    <a:pt x="2004518" y="198831"/>
                  </a:lnTo>
                  <a:lnTo>
                    <a:pt x="2004518" y="197447"/>
                  </a:lnTo>
                  <a:lnTo>
                    <a:pt x="2004518" y="198831"/>
                  </a:lnTo>
                  <a:lnTo>
                    <a:pt x="2004518" y="197447"/>
                  </a:lnTo>
                  <a:lnTo>
                    <a:pt x="2004518" y="198831"/>
                  </a:lnTo>
                  <a:lnTo>
                    <a:pt x="2004518" y="197447"/>
                  </a:lnTo>
                  <a:lnTo>
                    <a:pt x="2004518" y="198831"/>
                  </a:lnTo>
                  <a:lnTo>
                    <a:pt x="2004569" y="198831"/>
                  </a:lnTo>
                  <a:lnTo>
                    <a:pt x="2004569" y="199530"/>
                  </a:lnTo>
                  <a:lnTo>
                    <a:pt x="2004569" y="198831"/>
                  </a:lnTo>
                  <a:lnTo>
                    <a:pt x="2004619" y="198831"/>
                  </a:lnTo>
                  <a:lnTo>
                    <a:pt x="2004619" y="199530"/>
                  </a:lnTo>
                  <a:lnTo>
                    <a:pt x="2004619" y="197447"/>
                  </a:lnTo>
                  <a:lnTo>
                    <a:pt x="2004619" y="198831"/>
                  </a:lnTo>
                  <a:lnTo>
                    <a:pt x="2004670" y="198831"/>
                  </a:lnTo>
                  <a:lnTo>
                    <a:pt x="2004670" y="196799"/>
                  </a:lnTo>
                  <a:lnTo>
                    <a:pt x="2004670" y="197447"/>
                  </a:lnTo>
                  <a:lnTo>
                    <a:pt x="2004670" y="196799"/>
                  </a:lnTo>
                  <a:lnTo>
                    <a:pt x="2004772" y="196799"/>
                  </a:lnTo>
                  <a:lnTo>
                    <a:pt x="2004772" y="197447"/>
                  </a:lnTo>
                  <a:lnTo>
                    <a:pt x="2004772" y="196113"/>
                  </a:lnTo>
                  <a:lnTo>
                    <a:pt x="2004772" y="196799"/>
                  </a:lnTo>
                  <a:lnTo>
                    <a:pt x="2004772" y="195415"/>
                  </a:lnTo>
                  <a:lnTo>
                    <a:pt x="2004822" y="195415"/>
                  </a:lnTo>
                  <a:lnTo>
                    <a:pt x="2004822" y="194716"/>
                  </a:lnTo>
                  <a:lnTo>
                    <a:pt x="2004822" y="196113"/>
                  </a:lnTo>
                  <a:lnTo>
                    <a:pt x="2004822" y="194716"/>
                  </a:lnTo>
                  <a:lnTo>
                    <a:pt x="2004822" y="195415"/>
                  </a:lnTo>
                  <a:lnTo>
                    <a:pt x="2004873" y="195415"/>
                  </a:lnTo>
                  <a:lnTo>
                    <a:pt x="2004873" y="196799"/>
                  </a:lnTo>
                  <a:lnTo>
                    <a:pt x="2004873" y="195415"/>
                  </a:lnTo>
                  <a:lnTo>
                    <a:pt x="2004873" y="196113"/>
                  </a:lnTo>
                  <a:lnTo>
                    <a:pt x="2004975" y="196799"/>
                  </a:lnTo>
                  <a:lnTo>
                    <a:pt x="2004975" y="197447"/>
                  </a:lnTo>
                  <a:lnTo>
                    <a:pt x="2004975" y="196113"/>
                  </a:lnTo>
                  <a:lnTo>
                    <a:pt x="2004975" y="197447"/>
                  </a:lnTo>
                  <a:lnTo>
                    <a:pt x="2005013" y="197447"/>
                  </a:lnTo>
                  <a:lnTo>
                    <a:pt x="2005013" y="196799"/>
                  </a:lnTo>
                  <a:lnTo>
                    <a:pt x="2005013" y="198831"/>
                  </a:lnTo>
                  <a:lnTo>
                    <a:pt x="2005013" y="197447"/>
                  </a:lnTo>
                  <a:lnTo>
                    <a:pt x="2005013" y="198831"/>
                  </a:lnTo>
                  <a:lnTo>
                    <a:pt x="2005013" y="197447"/>
                  </a:lnTo>
                  <a:lnTo>
                    <a:pt x="2005013" y="198831"/>
                  </a:lnTo>
                  <a:lnTo>
                    <a:pt x="2005013" y="197447"/>
                  </a:lnTo>
                  <a:lnTo>
                    <a:pt x="2005013" y="198831"/>
                  </a:lnTo>
                  <a:lnTo>
                    <a:pt x="2005013" y="197447"/>
                  </a:lnTo>
                  <a:lnTo>
                    <a:pt x="2005013" y="198831"/>
                  </a:lnTo>
                  <a:lnTo>
                    <a:pt x="2005064" y="198831"/>
                  </a:lnTo>
                  <a:lnTo>
                    <a:pt x="2005064" y="199530"/>
                  </a:lnTo>
                  <a:lnTo>
                    <a:pt x="2005064" y="198831"/>
                  </a:lnTo>
                  <a:lnTo>
                    <a:pt x="2005064" y="199530"/>
                  </a:lnTo>
                  <a:lnTo>
                    <a:pt x="2005064" y="198831"/>
                  </a:lnTo>
                  <a:lnTo>
                    <a:pt x="2005064" y="199530"/>
                  </a:lnTo>
                  <a:lnTo>
                    <a:pt x="2005115" y="199530"/>
                  </a:lnTo>
                  <a:lnTo>
                    <a:pt x="2005115" y="198831"/>
                  </a:lnTo>
                  <a:lnTo>
                    <a:pt x="2005115" y="199530"/>
                  </a:lnTo>
                  <a:lnTo>
                    <a:pt x="2005216" y="198831"/>
                  </a:lnTo>
                  <a:lnTo>
                    <a:pt x="2005216" y="199530"/>
                  </a:lnTo>
                  <a:lnTo>
                    <a:pt x="2005216" y="198831"/>
                  </a:lnTo>
                  <a:lnTo>
                    <a:pt x="2005216" y="199530"/>
                  </a:lnTo>
                  <a:lnTo>
                    <a:pt x="2005216" y="198831"/>
                  </a:lnTo>
                  <a:lnTo>
                    <a:pt x="2005267" y="198831"/>
                  </a:lnTo>
                  <a:lnTo>
                    <a:pt x="2005267" y="196113"/>
                  </a:lnTo>
                  <a:lnTo>
                    <a:pt x="2005267" y="197447"/>
                  </a:lnTo>
                  <a:lnTo>
                    <a:pt x="2005318" y="197447"/>
                  </a:lnTo>
                  <a:lnTo>
                    <a:pt x="2005318" y="195415"/>
                  </a:lnTo>
                  <a:lnTo>
                    <a:pt x="2005318" y="197447"/>
                  </a:lnTo>
                  <a:lnTo>
                    <a:pt x="2005419" y="198831"/>
                  </a:lnTo>
                  <a:lnTo>
                    <a:pt x="2005419" y="196799"/>
                  </a:lnTo>
                  <a:lnTo>
                    <a:pt x="2005419" y="198831"/>
                  </a:lnTo>
                  <a:lnTo>
                    <a:pt x="2005470" y="198831"/>
                  </a:lnTo>
                  <a:lnTo>
                    <a:pt x="2005470" y="196799"/>
                  </a:lnTo>
                  <a:lnTo>
                    <a:pt x="2005470" y="197447"/>
                  </a:lnTo>
                  <a:lnTo>
                    <a:pt x="2005521" y="197447"/>
                  </a:lnTo>
                  <a:lnTo>
                    <a:pt x="2005521" y="196799"/>
                  </a:lnTo>
                  <a:lnTo>
                    <a:pt x="2005521" y="197447"/>
                  </a:lnTo>
                  <a:lnTo>
                    <a:pt x="2005521" y="196799"/>
                  </a:lnTo>
                  <a:lnTo>
                    <a:pt x="2005521" y="198831"/>
                  </a:lnTo>
                  <a:lnTo>
                    <a:pt x="2005521" y="197447"/>
                  </a:lnTo>
                  <a:lnTo>
                    <a:pt x="2005521" y="198831"/>
                  </a:lnTo>
                  <a:lnTo>
                    <a:pt x="2005559" y="198831"/>
                  </a:lnTo>
                  <a:lnTo>
                    <a:pt x="2005559" y="197447"/>
                  </a:lnTo>
                  <a:lnTo>
                    <a:pt x="2005559" y="198831"/>
                  </a:lnTo>
                  <a:lnTo>
                    <a:pt x="2005559" y="197447"/>
                  </a:lnTo>
                  <a:lnTo>
                    <a:pt x="2005559" y="198831"/>
                  </a:lnTo>
                  <a:lnTo>
                    <a:pt x="2005559" y="197447"/>
                  </a:lnTo>
                  <a:lnTo>
                    <a:pt x="2005559" y="198831"/>
                  </a:lnTo>
                  <a:lnTo>
                    <a:pt x="2005559" y="197447"/>
                  </a:lnTo>
                  <a:lnTo>
                    <a:pt x="2005661" y="197447"/>
                  </a:lnTo>
                  <a:lnTo>
                    <a:pt x="2005661" y="199530"/>
                  </a:lnTo>
                  <a:lnTo>
                    <a:pt x="2005661" y="197447"/>
                  </a:lnTo>
                  <a:lnTo>
                    <a:pt x="2005661" y="198831"/>
                  </a:lnTo>
                  <a:lnTo>
                    <a:pt x="2005712" y="198831"/>
                  </a:lnTo>
                  <a:lnTo>
                    <a:pt x="2005712" y="197447"/>
                  </a:lnTo>
                  <a:lnTo>
                    <a:pt x="2005712" y="198831"/>
                  </a:lnTo>
                  <a:lnTo>
                    <a:pt x="2005712" y="197447"/>
                  </a:lnTo>
                  <a:lnTo>
                    <a:pt x="2005712" y="198831"/>
                  </a:lnTo>
                  <a:lnTo>
                    <a:pt x="2005712" y="197447"/>
                  </a:lnTo>
                  <a:lnTo>
                    <a:pt x="2005712" y="198831"/>
                  </a:lnTo>
                  <a:lnTo>
                    <a:pt x="2005712" y="197447"/>
                  </a:lnTo>
                  <a:lnTo>
                    <a:pt x="2005712" y="198831"/>
                  </a:lnTo>
                  <a:lnTo>
                    <a:pt x="2005712" y="197447"/>
                  </a:lnTo>
                  <a:lnTo>
                    <a:pt x="2005762" y="197447"/>
                  </a:lnTo>
                  <a:lnTo>
                    <a:pt x="2005762" y="196113"/>
                  </a:lnTo>
                  <a:lnTo>
                    <a:pt x="2005762" y="199530"/>
                  </a:lnTo>
                  <a:lnTo>
                    <a:pt x="2005762" y="197447"/>
                  </a:lnTo>
                  <a:lnTo>
                    <a:pt x="2005864" y="197447"/>
                  </a:lnTo>
                  <a:lnTo>
                    <a:pt x="2005864" y="196799"/>
                  </a:lnTo>
                  <a:lnTo>
                    <a:pt x="2005864" y="200228"/>
                  </a:lnTo>
                  <a:lnTo>
                    <a:pt x="2005864" y="198831"/>
                  </a:lnTo>
                  <a:lnTo>
                    <a:pt x="2005915" y="198831"/>
                  </a:lnTo>
                  <a:lnTo>
                    <a:pt x="2005915" y="197447"/>
                  </a:lnTo>
                  <a:lnTo>
                    <a:pt x="2005915" y="199530"/>
                  </a:lnTo>
                  <a:lnTo>
                    <a:pt x="2005915" y="198831"/>
                  </a:lnTo>
                  <a:lnTo>
                    <a:pt x="2005965" y="198831"/>
                  </a:lnTo>
                  <a:lnTo>
                    <a:pt x="2005965" y="199530"/>
                  </a:lnTo>
                  <a:lnTo>
                    <a:pt x="2005965" y="198831"/>
                  </a:lnTo>
                  <a:lnTo>
                    <a:pt x="2005965" y="200228"/>
                  </a:lnTo>
                  <a:lnTo>
                    <a:pt x="2005965" y="199530"/>
                  </a:lnTo>
                  <a:lnTo>
                    <a:pt x="2006016" y="199530"/>
                  </a:lnTo>
                  <a:lnTo>
                    <a:pt x="2006016" y="200228"/>
                  </a:lnTo>
                  <a:lnTo>
                    <a:pt x="2006016" y="199530"/>
                  </a:lnTo>
                  <a:lnTo>
                    <a:pt x="2006016" y="200228"/>
                  </a:lnTo>
                  <a:lnTo>
                    <a:pt x="2006016" y="199530"/>
                  </a:lnTo>
                  <a:lnTo>
                    <a:pt x="2006105" y="199530"/>
                  </a:lnTo>
                  <a:lnTo>
                    <a:pt x="2006105" y="200228"/>
                  </a:lnTo>
                  <a:lnTo>
                    <a:pt x="2006105" y="199530"/>
                  </a:lnTo>
                  <a:lnTo>
                    <a:pt x="2006105" y="200228"/>
                  </a:lnTo>
                  <a:lnTo>
                    <a:pt x="2006105" y="199530"/>
                  </a:lnTo>
                  <a:lnTo>
                    <a:pt x="2006105" y="200228"/>
                  </a:lnTo>
                  <a:lnTo>
                    <a:pt x="2006105" y="199530"/>
                  </a:lnTo>
                  <a:lnTo>
                    <a:pt x="2006105" y="200228"/>
                  </a:lnTo>
                  <a:lnTo>
                    <a:pt x="2006105" y="199530"/>
                  </a:lnTo>
                  <a:lnTo>
                    <a:pt x="2006156" y="199530"/>
                  </a:lnTo>
                  <a:lnTo>
                    <a:pt x="2006156" y="198831"/>
                  </a:lnTo>
                  <a:lnTo>
                    <a:pt x="2006156" y="199530"/>
                  </a:lnTo>
                  <a:lnTo>
                    <a:pt x="2006156" y="198831"/>
                  </a:lnTo>
                  <a:lnTo>
                    <a:pt x="2006156" y="199530"/>
                  </a:lnTo>
                  <a:lnTo>
                    <a:pt x="2006156" y="198831"/>
                  </a:lnTo>
                  <a:lnTo>
                    <a:pt x="2006207" y="198831"/>
                  </a:lnTo>
                  <a:lnTo>
                    <a:pt x="2006207" y="197447"/>
                  </a:lnTo>
                  <a:lnTo>
                    <a:pt x="2006207" y="198831"/>
                  </a:lnTo>
                  <a:lnTo>
                    <a:pt x="2006207" y="196799"/>
                  </a:lnTo>
                  <a:lnTo>
                    <a:pt x="2006258" y="196799"/>
                  </a:lnTo>
                  <a:lnTo>
                    <a:pt x="2006258" y="196113"/>
                  </a:lnTo>
                  <a:lnTo>
                    <a:pt x="2006258" y="197447"/>
                  </a:lnTo>
                  <a:lnTo>
                    <a:pt x="2006359" y="197447"/>
                  </a:lnTo>
                  <a:lnTo>
                    <a:pt x="2006359" y="196799"/>
                  </a:lnTo>
                  <a:lnTo>
                    <a:pt x="2006359" y="197447"/>
                  </a:lnTo>
                  <a:lnTo>
                    <a:pt x="2006359" y="196799"/>
                  </a:lnTo>
                  <a:lnTo>
                    <a:pt x="2006359" y="199530"/>
                  </a:lnTo>
                  <a:lnTo>
                    <a:pt x="2006359" y="198831"/>
                  </a:lnTo>
                  <a:lnTo>
                    <a:pt x="2006410" y="198831"/>
                  </a:lnTo>
                  <a:lnTo>
                    <a:pt x="2006410" y="197447"/>
                  </a:lnTo>
                  <a:lnTo>
                    <a:pt x="2006410" y="200228"/>
                  </a:lnTo>
                  <a:lnTo>
                    <a:pt x="2006410" y="199530"/>
                  </a:lnTo>
                  <a:lnTo>
                    <a:pt x="2006461" y="199530"/>
                  </a:lnTo>
                  <a:lnTo>
                    <a:pt x="2006461" y="200228"/>
                  </a:lnTo>
                  <a:lnTo>
                    <a:pt x="2006461" y="199530"/>
                  </a:lnTo>
                  <a:lnTo>
                    <a:pt x="2006562" y="199530"/>
                  </a:lnTo>
                  <a:lnTo>
                    <a:pt x="2006562" y="200228"/>
                  </a:lnTo>
                  <a:lnTo>
                    <a:pt x="2006562" y="199530"/>
                  </a:lnTo>
                  <a:lnTo>
                    <a:pt x="2006562" y="200228"/>
                  </a:lnTo>
                  <a:lnTo>
                    <a:pt x="2006600" y="200228"/>
                  </a:lnTo>
                  <a:lnTo>
                    <a:pt x="2006600" y="198831"/>
                  </a:lnTo>
                  <a:lnTo>
                    <a:pt x="2006600" y="199530"/>
                  </a:lnTo>
                  <a:lnTo>
                    <a:pt x="2006651" y="199530"/>
                  </a:lnTo>
                  <a:lnTo>
                    <a:pt x="2006651" y="198831"/>
                  </a:lnTo>
                  <a:lnTo>
                    <a:pt x="2006651" y="199530"/>
                  </a:lnTo>
                  <a:lnTo>
                    <a:pt x="2006651" y="197447"/>
                  </a:lnTo>
                  <a:lnTo>
                    <a:pt x="2006702" y="197447"/>
                  </a:lnTo>
                  <a:lnTo>
                    <a:pt x="2006702" y="198831"/>
                  </a:lnTo>
                  <a:lnTo>
                    <a:pt x="2006702" y="196799"/>
                  </a:lnTo>
                  <a:lnTo>
                    <a:pt x="2006702" y="197447"/>
                  </a:lnTo>
                  <a:lnTo>
                    <a:pt x="2006804" y="198831"/>
                  </a:lnTo>
                  <a:lnTo>
                    <a:pt x="2006804" y="196799"/>
                  </a:lnTo>
                  <a:lnTo>
                    <a:pt x="2006804" y="200228"/>
                  </a:lnTo>
                  <a:lnTo>
                    <a:pt x="2006855" y="199530"/>
                  </a:lnTo>
                  <a:lnTo>
                    <a:pt x="2006855" y="200228"/>
                  </a:lnTo>
                  <a:lnTo>
                    <a:pt x="2006855" y="198831"/>
                  </a:lnTo>
                  <a:lnTo>
                    <a:pt x="2006855" y="200228"/>
                  </a:lnTo>
                  <a:lnTo>
                    <a:pt x="2006905" y="200228"/>
                  </a:lnTo>
                  <a:lnTo>
                    <a:pt x="2006905" y="199530"/>
                  </a:lnTo>
                  <a:lnTo>
                    <a:pt x="2006905" y="200228"/>
                  </a:lnTo>
                  <a:lnTo>
                    <a:pt x="2007007" y="200228"/>
                  </a:lnTo>
                  <a:lnTo>
                    <a:pt x="2007007" y="200876"/>
                  </a:lnTo>
                  <a:lnTo>
                    <a:pt x="2007007" y="200228"/>
                  </a:lnTo>
                  <a:lnTo>
                    <a:pt x="2007007" y="200876"/>
                  </a:lnTo>
                  <a:lnTo>
                    <a:pt x="2007007" y="200228"/>
                  </a:lnTo>
                  <a:lnTo>
                    <a:pt x="2007058" y="200228"/>
                  </a:lnTo>
                  <a:lnTo>
                    <a:pt x="2007058" y="200876"/>
                  </a:lnTo>
                  <a:lnTo>
                    <a:pt x="2007058" y="200228"/>
                  </a:lnTo>
                  <a:lnTo>
                    <a:pt x="2007058" y="200876"/>
                  </a:lnTo>
                  <a:lnTo>
                    <a:pt x="2007058" y="200228"/>
                  </a:lnTo>
                  <a:lnTo>
                    <a:pt x="2007109" y="200228"/>
                  </a:lnTo>
                  <a:lnTo>
                    <a:pt x="2007109" y="200876"/>
                  </a:lnTo>
                  <a:lnTo>
                    <a:pt x="2007109" y="199530"/>
                  </a:lnTo>
                  <a:lnTo>
                    <a:pt x="2007147" y="199530"/>
                  </a:lnTo>
                  <a:lnTo>
                    <a:pt x="2007147" y="200228"/>
                  </a:lnTo>
                  <a:lnTo>
                    <a:pt x="2007147" y="199530"/>
                  </a:lnTo>
                  <a:lnTo>
                    <a:pt x="2007147" y="200228"/>
                  </a:lnTo>
                  <a:lnTo>
                    <a:pt x="2007147" y="198831"/>
                  </a:lnTo>
                  <a:lnTo>
                    <a:pt x="2007147" y="199530"/>
                  </a:lnTo>
                  <a:lnTo>
                    <a:pt x="2007147" y="197447"/>
                  </a:lnTo>
                  <a:lnTo>
                    <a:pt x="2007248" y="197447"/>
                  </a:lnTo>
                  <a:lnTo>
                    <a:pt x="2007248" y="196799"/>
                  </a:lnTo>
                  <a:lnTo>
                    <a:pt x="2007248" y="200228"/>
                  </a:lnTo>
                  <a:lnTo>
                    <a:pt x="2007248" y="197447"/>
                  </a:lnTo>
                  <a:lnTo>
                    <a:pt x="2007299" y="197447"/>
                  </a:lnTo>
                  <a:lnTo>
                    <a:pt x="2007299" y="196799"/>
                  </a:lnTo>
                  <a:lnTo>
                    <a:pt x="2007299" y="197447"/>
                  </a:lnTo>
                  <a:lnTo>
                    <a:pt x="2007299" y="196799"/>
                  </a:lnTo>
                  <a:lnTo>
                    <a:pt x="2007299" y="200228"/>
                  </a:lnTo>
                  <a:lnTo>
                    <a:pt x="2007299" y="199530"/>
                  </a:lnTo>
                  <a:lnTo>
                    <a:pt x="2007299" y="200228"/>
                  </a:lnTo>
                  <a:lnTo>
                    <a:pt x="2007299" y="199530"/>
                  </a:lnTo>
                  <a:lnTo>
                    <a:pt x="2007350" y="199530"/>
                  </a:lnTo>
                  <a:lnTo>
                    <a:pt x="2007350" y="200876"/>
                  </a:lnTo>
                  <a:lnTo>
                    <a:pt x="2007350" y="200228"/>
                  </a:lnTo>
                  <a:lnTo>
                    <a:pt x="2007350" y="200876"/>
                  </a:lnTo>
                  <a:lnTo>
                    <a:pt x="2007350" y="200228"/>
                  </a:lnTo>
                  <a:lnTo>
                    <a:pt x="2007350" y="200876"/>
                  </a:lnTo>
                  <a:lnTo>
                    <a:pt x="2007350" y="200228"/>
                  </a:lnTo>
                  <a:lnTo>
                    <a:pt x="2007350" y="200876"/>
                  </a:lnTo>
                  <a:lnTo>
                    <a:pt x="2007350" y="199530"/>
                  </a:lnTo>
                  <a:lnTo>
                    <a:pt x="2007451" y="199530"/>
                  </a:lnTo>
                  <a:lnTo>
                    <a:pt x="2007451" y="200876"/>
                  </a:lnTo>
                  <a:lnTo>
                    <a:pt x="2007451" y="200228"/>
                  </a:lnTo>
                  <a:lnTo>
                    <a:pt x="2007502" y="200876"/>
                  </a:lnTo>
                  <a:lnTo>
                    <a:pt x="2007502" y="200228"/>
                  </a:lnTo>
                  <a:lnTo>
                    <a:pt x="2007502" y="200876"/>
                  </a:lnTo>
                  <a:lnTo>
                    <a:pt x="2007553" y="200876"/>
                  </a:lnTo>
                  <a:lnTo>
                    <a:pt x="2007553" y="200228"/>
                  </a:lnTo>
                  <a:lnTo>
                    <a:pt x="2007553" y="200876"/>
                  </a:lnTo>
                  <a:lnTo>
                    <a:pt x="2007553" y="200228"/>
                  </a:lnTo>
                  <a:lnTo>
                    <a:pt x="2007604" y="200228"/>
                  </a:lnTo>
                  <a:lnTo>
                    <a:pt x="2007604" y="199530"/>
                  </a:lnTo>
                  <a:lnTo>
                    <a:pt x="2007604" y="200228"/>
                  </a:lnTo>
                  <a:lnTo>
                    <a:pt x="2007604" y="198831"/>
                  </a:lnTo>
                  <a:lnTo>
                    <a:pt x="2007693" y="198831"/>
                  </a:lnTo>
                  <a:lnTo>
                    <a:pt x="2007693" y="197447"/>
                  </a:lnTo>
                  <a:lnTo>
                    <a:pt x="2007693" y="198831"/>
                  </a:lnTo>
                  <a:lnTo>
                    <a:pt x="2007693" y="196799"/>
                  </a:lnTo>
                  <a:lnTo>
                    <a:pt x="2007744" y="196799"/>
                  </a:lnTo>
                  <a:lnTo>
                    <a:pt x="2007744" y="198831"/>
                  </a:lnTo>
                  <a:lnTo>
                    <a:pt x="2007744" y="196799"/>
                  </a:lnTo>
                  <a:lnTo>
                    <a:pt x="2007744" y="199530"/>
                  </a:lnTo>
                  <a:lnTo>
                    <a:pt x="2007794" y="199530"/>
                  </a:lnTo>
                  <a:lnTo>
                    <a:pt x="2007794" y="200228"/>
                  </a:lnTo>
                  <a:lnTo>
                    <a:pt x="2007794" y="199530"/>
                  </a:lnTo>
                  <a:lnTo>
                    <a:pt x="2007794" y="200228"/>
                  </a:lnTo>
                  <a:lnTo>
                    <a:pt x="2007794" y="199530"/>
                  </a:lnTo>
                  <a:lnTo>
                    <a:pt x="2007794" y="200228"/>
                  </a:lnTo>
                  <a:lnTo>
                    <a:pt x="2007794" y="198831"/>
                  </a:lnTo>
                  <a:lnTo>
                    <a:pt x="2007794" y="199530"/>
                  </a:lnTo>
                  <a:lnTo>
                    <a:pt x="2007845" y="200228"/>
                  </a:lnTo>
                  <a:lnTo>
                    <a:pt x="2007845" y="199530"/>
                  </a:lnTo>
                  <a:lnTo>
                    <a:pt x="2007845" y="200228"/>
                  </a:lnTo>
                  <a:lnTo>
                    <a:pt x="2007845" y="199530"/>
                  </a:lnTo>
                  <a:lnTo>
                    <a:pt x="2007845" y="200228"/>
                  </a:lnTo>
                  <a:lnTo>
                    <a:pt x="2007947" y="200228"/>
                  </a:lnTo>
                  <a:lnTo>
                    <a:pt x="2007947" y="199530"/>
                  </a:lnTo>
                  <a:lnTo>
                    <a:pt x="2007947" y="200228"/>
                  </a:lnTo>
                  <a:lnTo>
                    <a:pt x="2007947" y="199530"/>
                  </a:lnTo>
                  <a:lnTo>
                    <a:pt x="2007947" y="200228"/>
                  </a:lnTo>
                  <a:lnTo>
                    <a:pt x="2007947" y="199530"/>
                  </a:lnTo>
                  <a:lnTo>
                    <a:pt x="2007947" y="200876"/>
                  </a:lnTo>
                  <a:lnTo>
                    <a:pt x="2007947" y="200228"/>
                  </a:lnTo>
                  <a:lnTo>
                    <a:pt x="2007997" y="200228"/>
                  </a:lnTo>
                  <a:lnTo>
                    <a:pt x="2007997" y="200876"/>
                  </a:lnTo>
                  <a:lnTo>
                    <a:pt x="2008048" y="200876"/>
                  </a:lnTo>
                  <a:lnTo>
                    <a:pt x="2008048" y="200228"/>
                  </a:lnTo>
                  <a:lnTo>
                    <a:pt x="2008048" y="200876"/>
                  </a:lnTo>
                  <a:lnTo>
                    <a:pt x="2008048" y="200228"/>
                  </a:lnTo>
                  <a:lnTo>
                    <a:pt x="2008048" y="200876"/>
                  </a:lnTo>
                  <a:lnTo>
                    <a:pt x="2008048" y="200228"/>
                  </a:lnTo>
                  <a:lnTo>
                    <a:pt x="2008048" y="200876"/>
                  </a:lnTo>
                  <a:lnTo>
                    <a:pt x="2008048" y="200228"/>
                  </a:lnTo>
                  <a:lnTo>
                    <a:pt x="2008048" y="200876"/>
                  </a:lnTo>
                  <a:lnTo>
                    <a:pt x="2008150" y="200876"/>
                  </a:lnTo>
                  <a:lnTo>
                    <a:pt x="2008150" y="198831"/>
                  </a:lnTo>
                  <a:lnTo>
                    <a:pt x="2008188" y="199530"/>
                  </a:lnTo>
                  <a:lnTo>
                    <a:pt x="2008188" y="195415"/>
                  </a:lnTo>
                  <a:lnTo>
                    <a:pt x="2008188" y="196113"/>
                  </a:lnTo>
                  <a:lnTo>
                    <a:pt x="2008239" y="196113"/>
                  </a:lnTo>
                  <a:lnTo>
                    <a:pt x="2008239" y="196799"/>
                  </a:lnTo>
                  <a:lnTo>
                    <a:pt x="2008239" y="196113"/>
                  </a:lnTo>
                  <a:lnTo>
                    <a:pt x="2008239" y="196799"/>
                  </a:lnTo>
                  <a:lnTo>
                    <a:pt x="2008239" y="196113"/>
                  </a:lnTo>
                  <a:lnTo>
                    <a:pt x="2008239" y="196799"/>
                  </a:lnTo>
                  <a:lnTo>
                    <a:pt x="2008239" y="195415"/>
                  </a:lnTo>
                  <a:lnTo>
                    <a:pt x="2008239" y="197447"/>
                  </a:lnTo>
                  <a:lnTo>
                    <a:pt x="2008290" y="197447"/>
                  </a:lnTo>
                  <a:lnTo>
                    <a:pt x="2008290" y="196799"/>
                  </a:lnTo>
                  <a:lnTo>
                    <a:pt x="2008290" y="198831"/>
                  </a:lnTo>
                  <a:lnTo>
                    <a:pt x="2008391" y="198831"/>
                  </a:lnTo>
                  <a:lnTo>
                    <a:pt x="2008391" y="196799"/>
                  </a:lnTo>
                  <a:lnTo>
                    <a:pt x="2008391" y="199530"/>
                  </a:lnTo>
                  <a:lnTo>
                    <a:pt x="2008442" y="199530"/>
                  </a:lnTo>
                  <a:lnTo>
                    <a:pt x="2008442" y="197447"/>
                  </a:lnTo>
                  <a:lnTo>
                    <a:pt x="2008442" y="199530"/>
                  </a:lnTo>
                  <a:lnTo>
                    <a:pt x="2008493" y="199530"/>
                  </a:lnTo>
                  <a:lnTo>
                    <a:pt x="2008493" y="198831"/>
                  </a:lnTo>
                  <a:lnTo>
                    <a:pt x="2008493" y="199530"/>
                  </a:lnTo>
                  <a:lnTo>
                    <a:pt x="2008594" y="199530"/>
                  </a:lnTo>
                  <a:lnTo>
                    <a:pt x="2008594" y="200228"/>
                  </a:lnTo>
                  <a:lnTo>
                    <a:pt x="2008594" y="199530"/>
                  </a:lnTo>
                  <a:lnTo>
                    <a:pt x="2008645" y="199530"/>
                  </a:lnTo>
                  <a:lnTo>
                    <a:pt x="2008645" y="197447"/>
                  </a:lnTo>
                  <a:lnTo>
                    <a:pt x="2008696" y="197447"/>
                  </a:lnTo>
                  <a:lnTo>
                    <a:pt x="2008696" y="196113"/>
                  </a:lnTo>
                  <a:lnTo>
                    <a:pt x="2008696" y="196799"/>
                  </a:lnTo>
                  <a:lnTo>
                    <a:pt x="2008696" y="196113"/>
                  </a:lnTo>
                  <a:lnTo>
                    <a:pt x="2008696" y="196799"/>
                  </a:lnTo>
                  <a:lnTo>
                    <a:pt x="2008734" y="196799"/>
                  </a:lnTo>
                  <a:lnTo>
                    <a:pt x="2008734" y="196113"/>
                  </a:lnTo>
                  <a:lnTo>
                    <a:pt x="2008734" y="197447"/>
                  </a:lnTo>
                  <a:lnTo>
                    <a:pt x="2008836" y="197447"/>
                  </a:lnTo>
                  <a:lnTo>
                    <a:pt x="2008836" y="198831"/>
                  </a:lnTo>
                  <a:lnTo>
                    <a:pt x="2008836" y="196799"/>
                  </a:lnTo>
                  <a:lnTo>
                    <a:pt x="2008836" y="198831"/>
                  </a:lnTo>
                  <a:lnTo>
                    <a:pt x="2008887" y="198831"/>
                  </a:lnTo>
                  <a:lnTo>
                    <a:pt x="2008887" y="197447"/>
                  </a:lnTo>
                  <a:lnTo>
                    <a:pt x="2008887" y="198831"/>
                  </a:lnTo>
                  <a:lnTo>
                    <a:pt x="2008887" y="197447"/>
                  </a:lnTo>
                  <a:lnTo>
                    <a:pt x="2008887" y="198831"/>
                  </a:lnTo>
                  <a:lnTo>
                    <a:pt x="2008937" y="198831"/>
                  </a:lnTo>
                  <a:lnTo>
                    <a:pt x="2008937" y="199530"/>
                  </a:lnTo>
                  <a:lnTo>
                    <a:pt x="2009039" y="198831"/>
                  </a:lnTo>
                  <a:lnTo>
                    <a:pt x="2009039" y="199530"/>
                  </a:lnTo>
                  <a:lnTo>
                    <a:pt x="2009039" y="198831"/>
                  </a:lnTo>
                  <a:lnTo>
                    <a:pt x="2009039" y="200228"/>
                  </a:lnTo>
                  <a:lnTo>
                    <a:pt x="2009039" y="199530"/>
                  </a:lnTo>
                  <a:lnTo>
                    <a:pt x="2009090" y="199530"/>
                  </a:lnTo>
                  <a:lnTo>
                    <a:pt x="2009090" y="200228"/>
                  </a:lnTo>
                  <a:lnTo>
                    <a:pt x="2009090" y="199530"/>
                  </a:lnTo>
                  <a:lnTo>
                    <a:pt x="2009090" y="200228"/>
                  </a:lnTo>
                  <a:lnTo>
                    <a:pt x="2009090" y="199530"/>
                  </a:lnTo>
                  <a:lnTo>
                    <a:pt x="2009090" y="200228"/>
                  </a:lnTo>
                  <a:lnTo>
                    <a:pt x="2009090" y="199530"/>
                  </a:lnTo>
                  <a:lnTo>
                    <a:pt x="2009090" y="200228"/>
                  </a:lnTo>
                  <a:lnTo>
                    <a:pt x="2009140" y="199530"/>
                  </a:lnTo>
                  <a:lnTo>
                    <a:pt x="2009140" y="198831"/>
                  </a:lnTo>
                  <a:lnTo>
                    <a:pt x="2009140" y="199530"/>
                  </a:lnTo>
                  <a:lnTo>
                    <a:pt x="2009140" y="198831"/>
                  </a:lnTo>
                  <a:lnTo>
                    <a:pt x="2009140" y="199530"/>
                  </a:lnTo>
                  <a:lnTo>
                    <a:pt x="2009140" y="198831"/>
                  </a:lnTo>
                  <a:lnTo>
                    <a:pt x="2009191" y="198831"/>
                  </a:lnTo>
                  <a:lnTo>
                    <a:pt x="2009191" y="196799"/>
                  </a:lnTo>
                  <a:lnTo>
                    <a:pt x="2009191" y="197447"/>
                  </a:lnTo>
                  <a:lnTo>
                    <a:pt x="2009191" y="196799"/>
                  </a:lnTo>
                  <a:lnTo>
                    <a:pt x="2009191" y="199530"/>
                  </a:lnTo>
                  <a:lnTo>
                    <a:pt x="2009191" y="198831"/>
                  </a:lnTo>
                  <a:lnTo>
                    <a:pt x="2009280" y="198831"/>
                  </a:lnTo>
                  <a:lnTo>
                    <a:pt x="2009280" y="197447"/>
                  </a:lnTo>
                  <a:lnTo>
                    <a:pt x="2009280" y="200228"/>
                  </a:lnTo>
                  <a:lnTo>
                    <a:pt x="2009280" y="199530"/>
                  </a:lnTo>
                  <a:lnTo>
                    <a:pt x="2009280" y="200228"/>
                  </a:lnTo>
                  <a:lnTo>
                    <a:pt x="2009280" y="199530"/>
                  </a:lnTo>
                  <a:lnTo>
                    <a:pt x="2009331" y="199530"/>
                  </a:lnTo>
                  <a:lnTo>
                    <a:pt x="2009331" y="198831"/>
                  </a:lnTo>
                  <a:lnTo>
                    <a:pt x="2009331" y="200228"/>
                  </a:lnTo>
                  <a:lnTo>
                    <a:pt x="2009382" y="199530"/>
                  </a:lnTo>
                  <a:lnTo>
                    <a:pt x="2009382" y="200228"/>
                  </a:lnTo>
                  <a:lnTo>
                    <a:pt x="2009382" y="199530"/>
                  </a:lnTo>
                  <a:lnTo>
                    <a:pt x="2009433" y="199530"/>
                  </a:lnTo>
                  <a:lnTo>
                    <a:pt x="2009433" y="198831"/>
                  </a:lnTo>
                  <a:lnTo>
                    <a:pt x="2009433" y="200228"/>
                  </a:lnTo>
                  <a:lnTo>
                    <a:pt x="2009433" y="199530"/>
                  </a:lnTo>
                  <a:lnTo>
                    <a:pt x="2009433" y="200228"/>
                  </a:lnTo>
                  <a:lnTo>
                    <a:pt x="2009433" y="199530"/>
                  </a:lnTo>
                  <a:lnTo>
                    <a:pt x="2009534" y="199530"/>
                  </a:lnTo>
                  <a:lnTo>
                    <a:pt x="2009534" y="200228"/>
                  </a:lnTo>
                  <a:lnTo>
                    <a:pt x="2009534" y="199530"/>
                  </a:lnTo>
                  <a:lnTo>
                    <a:pt x="2009534" y="200228"/>
                  </a:lnTo>
                  <a:lnTo>
                    <a:pt x="2009534" y="199530"/>
                  </a:lnTo>
                  <a:lnTo>
                    <a:pt x="2009534" y="200228"/>
                  </a:lnTo>
                  <a:lnTo>
                    <a:pt x="2009534" y="199530"/>
                  </a:lnTo>
                  <a:lnTo>
                    <a:pt x="2009585" y="199530"/>
                  </a:lnTo>
                  <a:lnTo>
                    <a:pt x="2009585" y="200228"/>
                  </a:lnTo>
                  <a:lnTo>
                    <a:pt x="2009585" y="198831"/>
                  </a:lnTo>
                  <a:lnTo>
                    <a:pt x="2009585" y="199530"/>
                  </a:lnTo>
                  <a:lnTo>
                    <a:pt x="2009585" y="198831"/>
                  </a:lnTo>
                  <a:lnTo>
                    <a:pt x="2009636" y="198831"/>
                  </a:lnTo>
                  <a:lnTo>
                    <a:pt x="2009636" y="197447"/>
                  </a:lnTo>
                  <a:lnTo>
                    <a:pt x="2009636" y="198831"/>
                  </a:lnTo>
                  <a:lnTo>
                    <a:pt x="2009636" y="196799"/>
                  </a:lnTo>
                  <a:lnTo>
                    <a:pt x="2009737" y="196113"/>
                  </a:lnTo>
                  <a:lnTo>
                    <a:pt x="2009737" y="199530"/>
                  </a:lnTo>
                  <a:lnTo>
                    <a:pt x="2009737" y="196799"/>
                  </a:lnTo>
                  <a:lnTo>
                    <a:pt x="2009775" y="196799"/>
                  </a:lnTo>
                  <a:lnTo>
                    <a:pt x="2009775" y="200228"/>
                  </a:lnTo>
                  <a:lnTo>
                    <a:pt x="2009775" y="198831"/>
                  </a:lnTo>
                  <a:lnTo>
                    <a:pt x="2009826" y="199530"/>
                  </a:lnTo>
                  <a:lnTo>
                    <a:pt x="2009826" y="200228"/>
                  </a:lnTo>
                  <a:lnTo>
                    <a:pt x="2009826" y="199530"/>
                  </a:lnTo>
                  <a:lnTo>
                    <a:pt x="2009877" y="199530"/>
                  </a:lnTo>
                  <a:lnTo>
                    <a:pt x="2009877" y="198831"/>
                  </a:lnTo>
                  <a:lnTo>
                    <a:pt x="2009877" y="199530"/>
                  </a:lnTo>
                  <a:lnTo>
                    <a:pt x="2009979" y="200228"/>
                  </a:lnTo>
                  <a:lnTo>
                    <a:pt x="2009979" y="199530"/>
                  </a:lnTo>
                  <a:lnTo>
                    <a:pt x="2009979" y="200228"/>
                  </a:lnTo>
                  <a:lnTo>
                    <a:pt x="2009979" y="199530"/>
                  </a:lnTo>
                  <a:lnTo>
                    <a:pt x="2009979" y="200228"/>
                  </a:lnTo>
                  <a:lnTo>
                    <a:pt x="2009979" y="199530"/>
                  </a:lnTo>
                  <a:lnTo>
                    <a:pt x="2009979" y="200228"/>
                  </a:lnTo>
                  <a:lnTo>
                    <a:pt x="2010030" y="200228"/>
                  </a:lnTo>
                  <a:lnTo>
                    <a:pt x="2010030" y="199530"/>
                  </a:lnTo>
                  <a:lnTo>
                    <a:pt x="2010030" y="200228"/>
                  </a:lnTo>
                  <a:lnTo>
                    <a:pt x="2010030" y="199530"/>
                  </a:lnTo>
                  <a:lnTo>
                    <a:pt x="2010030" y="200228"/>
                  </a:lnTo>
                  <a:lnTo>
                    <a:pt x="2010080" y="200228"/>
                  </a:lnTo>
                  <a:lnTo>
                    <a:pt x="2010080" y="198831"/>
                  </a:lnTo>
                  <a:lnTo>
                    <a:pt x="2010182" y="198831"/>
                  </a:lnTo>
                  <a:lnTo>
                    <a:pt x="2010182" y="196799"/>
                  </a:lnTo>
                  <a:lnTo>
                    <a:pt x="2010182" y="197447"/>
                  </a:lnTo>
                  <a:lnTo>
                    <a:pt x="2010182" y="196113"/>
                  </a:lnTo>
                  <a:lnTo>
                    <a:pt x="2010233" y="196113"/>
                  </a:lnTo>
                  <a:lnTo>
                    <a:pt x="2010233" y="198831"/>
                  </a:lnTo>
                  <a:lnTo>
                    <a:pt x="2010233" y="196113"/>
                  </a:lnTo>
                  <a:lnTo>
                    <a:pt x="2010233" y="197447"/>
                  </a:lnTo>
                  <a:lnTo>
                    <a:pt x="2010284" y="198831"/>
                  </a:lnTo>
                  <a:lnTo>
                    <a:pt x="2010284" y="199530"/>
                  </a:lnTo>
                  <a:lnTo>
                    <a:pt x="2010284" y="196799"/>
                  </a:lnTo>
                  <a:lnTo>
                    <a:pt x="2010284" y="199530"/>
                  </a:lnTo>
                  <a:lnTo>
                    <a:pt x="2010322" y="200228"/>
                  </a:lnTo>
                  <a:lnTo>
                    <a:pt x="2010322" y="198831"/>
                  </a:lnTo>
                  <a:lnTo>
                    <a:pt x="2010322" y="199530"/>
                  </a:lnTo>
                  <a:lnTo>
                    <a:pt x="2010423" y="199530"/>
                  </a:lnTo>
                  <a:lnTo>
                    <a:pt x="2010423" y="200228"/>
                  </a:lnTo>
                  <a:lnTo>
                    <a:pt x="2010474" y="199530"/>
                  </a:lnTo>
                  <a:lnTo>
                    <a:pt x="2010474" y="200228"/>
                  </a:lnTo>
                  <a:lnTo>
                    <a:pt x="2010525" y="200228"/>
                  </a:lnTo>
                  <a:lnTo>
                    <a:pt x="2010525" y="199530"/>
                  </a:lnTo>
                  <a:lnTo>
                    <a:pt x="2010525" y="200228"/>
                  </a:lnTo>
                  <a:lnTo>
                    <a:pt x="2010525" y="199530"/>
                  </a:lnTo>
                  <a:lnTo>
                    <a:pt x="2010525" y="200228"/>
                  </a:lnTo>
                  <a:lnTo>
                    <a:pt x="2010626" y="199530"/>
                  </a:lnTo>
                  <a:lnTo>
                    <a:pt x="2010626" y="200228"/>
                  </a:lnTo>
                  <a:lnTo>
                    <a:pt x="2010626" y="198831"/>
                  </a:lnTo>
                  <a:lnTo>
                    <a:pt x="2010626" y="199530"/>
                  </a:lnTo>
                  <a:lnTo>
                    <a:pt x="2010626" y="198831"/>
                  </a:lnTo>
                  <a:lnTo>
                    <a:pt x="2010626" y="199530"/>
                  </a:lnTo>
                  <a:lnTo>
                    <a:pt x="2010626" y="196799"/>
                  </a:lnTo>
                  <a:lnTo>
                    <a:pt x="2010626" y="197447"/>
                  </a:lnTo>
                  <a:lnTo>
                    <a:pt x="2010677" y="197447"/>
                  </a:lnTo>
                  <a:lnTo>
                    <a:pt x="2010677" y="196113"/>
                  </a:lnTo>
                  <a:lnTo>
                    <a:pt x="2010677" y="196799"/>
                  </a:lnTo>
                  <a:lnTo>
                    <a:pt x="2010677" y="195415"/>
                  </a:lnTo>
                  <a:lnTo>
                    <a:pt x="2010728" y="195415"/>
                  </a:lnTo>
                  <a:lnTo>
                    <a:pt x="2010728" y="196113"/>
                  </a:lnTo>
                  <a:lnTo>
                    <a:pt x="2010728" y="195415"/>
                  </a:lnTo>
                  <a:lnTo>
                    <a:pt x="2010728" y="196113"/>
                  </a:lnTo>
                  <a:lnTo>
                    <a:pt x="2010728" y="195415"/>
                  </a:lnTo>
                  <a:lnTo>
                    <a:pt x="2010779" y="195415"/>
                  </a:lnTo>
                  <a:lnTo>
                    <a:pt x="2010779" y="197447"/>
                  </a:lnTo>
                  <a:lnTo>
                    <a:pt x="2010779" y="196799"/>
                  </a:lnTo>
                  <a:lnTo>
                    <a:pt x="2010779" y="197447"/>
                  </a:lnTo>
                  <a:lnTo>
                    <a:pt x="2010779" y="196113"/>
                  </a:lnTo>
                  <a:lnTo>
                    <a:pt x="2010868" y="196113"/>
                  </a:lnTo>
                  <a:lnTo>
                    <a:pt x="2010868" y="197447"/>
                  </a:lnTo>
                  <a:lnTo>
                    <a:pt x="2010868" y="196799"/>
                  </a:lnTo>
                  <a:lnTo>
                    <a:pt x="2010919" y="196799"/>
                  </a:lnTo>
                  <a:lnTo>
                    <a:pt x="2010919" y="198831"/>
                  </a:lnTo>
                  <a:lnTo>
                    <a:pt x="2010919" y="197447"/>
                  </a:lnTo>
                  <a:lnTo>
                    <a:pt x="2010919" y="198831"/>
                  </a:lnTo>
                  <a:lnTo>
                    <a:pt x="2010969" y="198831"/>
                  </a:lnTo>
                  <a:lnTo>
                    <a:pt x="2010969" y="199530"/>
                  </a:lnTo>
                  <a:lnTo>
                    <a:pt x="2010969" y="198831"/>
                  </a:lnTo>
                  <a:lnTo>
                    <a:pt x="2010969" y="200228"/>
                  </a:lnTo>
                  <a:lnTo>
                    <a:pt x="2011020" y="200228"/>
                  </a:lnTo>
                  <a:lnTo>
                    <a:pt x="2011020" y="199530"/>
                  </a:lnTo>
                  <a:lnTo>
                    <a:pt x="2011020" y="200228"/>
                  </a:lnTo>
                  <a:lnTo>
                    <a:pt x="2011020" y="199530"/>
                  </a:lnTo>
                  <a:lnTo>
                    <a:pt x="2011020" y="200228"/>
                  </a:lnTo>
                  <a:lnTo>
                    <a:pt x="2011020" y="199530"/>
                  </a:lnTo>
                  <a:lnTo>
                    <a:pt x="2011020" y="200228"/>
                  </a:lnTo>
                  <a:lnTo>
                    <a:pt x="2011020" y="199530"/>
                  </a:lnTo>
                  <a:lnTo>
                    <a:pt x="2011020" y="200228"/>
                  </a:lnTo>
                  <a:lnTo>
                    <a:pt x="2011020" y="199530"/>
                  </a:lnTo>
                  <a:lnTo>
                    <a:pt x="2011020" y="200228"/>
                  </a:lnTo>
                  <a:lnTo>
                    <a:pt x="2011122" y="200228"/>
                  </a:lnTo>
                  <a:lnTo>
                    <a:pt x="2011122" y="198831"/>
                  </a:lnTo>
                  <a:lnTo>
                    <a:pt x="2011122" y="199530"/>
                  </a:lnTo>
                  <a:lnTo>
                    <a:pt x="2011122" y="198831"/>
                  </a:lnTo>
                  <a:lnTo>
                    <a:pt x="2011172" y="198831"/>
                  </a:lnTo>
                  <a:lnTo>
                    <a:pt x="2011172" y="196113"/>
                  </a:lnTo>
                  <a:lnTo>
                    <a:pt x="2011223" y="196799"/>
                  </a:lnTo>
                  <a:lnTo>
                    <a:pt x="2011223" y="196113"/>
                  </a:lnTo>
                  <a:lnTo>
                    <a:pt x="2011223" y="196799"/>
                  </a:lnTo>
                  <a:lnTo>
                    <a:pt x="2011223" y="195415"/>
                  </a:lnTo>
                  <a:lnTo>
                    <a:pt x="2011223" y="196113"/>
                  </a:lnTo>
                  <a:lnTo>
                    <a:pt x="2011325" y="196113"/>
                  </a:lnTo>
                  <a:lnTo>
                    <a:pt x="2011325" y="197447"/>
                  </a:lnTo>
                  <a:lnTo>
                    <a:pt x="2011325" y="196799"/>
                  </a:lnTo>
                  <a:lnTo>
                    <a:pt x="2011325" y="197447"/>
                  </a:lnTo>
                  <a:lnTo>
                    <a:pt x="2011325" y="196113"/>
                  </a:lnTo>
                  <a:lnTo>
                    <a:pt x="2011325" y="196799"/>
                  </a:lnTo>
                  <a:lnTo>
                    <a:pt x="2011325" y="196113"/>
                  </a:lnTo>
                  <a:lnTo>
                    <a:pt x="2011325" y="196799"/>
                  </a:lnTo>
                  <a:lnTo>
                    <a:pt x="2011363" y="196799"/>
                  </a:lnTo>
                  <a:lnTo>
                    <a:pt x="2011363" y="197447"/>
                  </a:lnTo>
                  <a:lnTo>
                    <a:pt x="2011363" y="196799"/>
                  </a:lnTo>
                  <a:lnTo>
                    <a:pt x="2011363" y="197447"/>
                  </a:lnTo>
                  <a:lnTo>
                    <a:pt x="2011363" y="196799"/>
                  </a:lnTo>
                  <a:lnTo>
                    <a:pt x="2011414" y="196799"/>
                  </a:lnTo>
                  <a:lnTo>
                    <a:pt x="2011414" y="197447"/>
                  </a:lnTo>
                  <a:lnTo>
                    <a:pt x="2011414" y="196799"/>
                  </a:lnTo>
                  <a:lnTo>
                    <a:pt x="2011414" y="198831"/>
                  </a:lnTo>
                  <a:lnTo>
                    <a:pt x="2011465" y="198831"/>
                  </a:lnTo>
                  <a:lnTo>
                    <a:pt x="2011465" y="197447"/>
                  </a:lnTo>
                  <a:lnTo>
                    <a:pt x="2011465" y="199530"/>
                  </a:lnTo>
                  <a:lnTo>
                    <a:pt x="2011465" y="198831"/>
                  </a:lnTo>
                  <a:lnTo>
                    <a:pt x="2011566" y="198831"/>
                  </a:lnTo>
                  <a:lnTo>
                    <a:pt x="2011566" y="199530"/>
                  </a:lnTo>
                  <a:lnTo>
                    <a:pt x="2011566" y="198831"/>
                  </a:lnTo>
                  <a:lnTo>
                    <a:pt x="2011566" y="199530"/>
                  </a:lnTo>
                  <a:lnTo>
                    <a:pt x="2011566" y="198831"/>
                  </a:lnTo>
                  <a:lnTo>
                    <a:pt x="2011617" y="198831"/>
                  </a:lnTo>
                  <a:lnTo>
                    <a:pt x="2011617" y="197447"/>
                  </a:lnTo>
                  <a:lnTo>
                    <a:pt x="2011617" y="198831"/>
                  </a:lnTo>
                  <a:lnTo>
                    <a:pt x="2011617" y="197447"/>
                  </a:lnTo>
                  <a:lnTo>
                    <a:pt x="2011668" y="197447"/>
                  </a:lnTo>
                  <a:lnTo>
                    <a:pt x="2011668" y="196799"/>
                  </a:lnTo>
                  <a:lnTo>
                    <a:pt x="2011668" y="199530"/>
                  </a:lnTo>
                  <a:lnTo>
                    <a:pt x="2011668" y="197447"/>
                  </a:lnTo>
                  <a:lnTo>
                    <a:pt x="2011769" y="197447"/>
                  </a:lnTo>
                  <a:lnTo>
                    <a:pt x="2011769" y="200228"/>
                  </a:lnTo>
                  <a:lnTo>
                    <a:pt x="2011769" y="198831"/>
                  </a:lnTo>
                  <a:lnTo>
                    <a:pt x="2011820" y="198831"/>
                  </a:lnTo>
                  <a:lnTo>
                    <a:pt x="2011820" y="200228"/>
                  </a:lnTo>
                  <a:lnTo>
                    <a:pt x="2011820" y="199530"/>
                  </a:lnTo>
                  <a:lnTo>
                    <a:pt x="2011871" y="198831"/>
                  </a:lnTo>
                  <a:lnTo>
                    <a:pt x="2011871" y="199530"/>
                  </a:lnTo>
                  <a:lnTo>
                    <a:pt x="2011871" y="198831"/>
                  </a:lnTo>
                  <a:lnTo>
                    <a:pt x="2011871" y="199530"/>
                  </a:lnTo>
                  <a:lnTo>
                    <a:pt x="2011909" y="199530"/>
                  </a:lnTo>
                  <a:lnTo>
                    <a:pt x="2011909" y="198831"/>
                  </a:lnTo>
                  <a:lnTo>
                    <a:pt x="2011909" y="199530"/>
                  </a:lnTo>
                  <a:lnTo>
                    <a:pt x="2011909" y="198831"/>
                  </a:lnTo>
                  <a:lnTo>
                    <a:pt x="2011909" y="199530"/>
                  </a:lnTo>
                  <a:lnTo>
                    <a:pt x="2012011" y="199530"/>
                  </a:lnTo>
                  <a:lnTo>
                    <a:pt x="2012011" y="200228"/>
                  </a:lnTo>
                  <a:lnTo>
                    <a:pt x="2012011" y="199530"/>
                  </a:lnTo>
                  <a:lnTo>
                    <a:pt x="2012011" y="200228"/>
                  </a:lnTo>
                  <a:lnTo>
                    <a:pt x="2012011" y="198831"/>
                  </a:lnTo>
                  <a:lnTo>
                    <a:pt x="2012011" y="199530"/>
                  </a:lnTo>
                  <a:lnTo>
                    <a:pt x="2012011" y="198831"/>
                  </a:lnTo>
                  <a:lnTo>
                    <a:pt x="2012011" y="199530"/>
                  </a:lnTo>
                  <a:lnTo>
                    <a:pt x="2012062" y="199530"/>
                  </a:lnTo>
                  <a:lnTo>
                    <a:pt x="2012062" y="198831"/>
                  </a:lnTo>
                  <a:lnTo>
                    <a:pt x="2012062" y="199530"/>
                  </a:lnTo>
                  <a:lnTo>
                    <a:pt x="2012062" y="198831"/>
                  </a:lnTo>
                  <a:lnTo>
                    <a:pt x="2012062" y="199530"/>
                  </a:lnTo>
                  <a:lnTo>
                    <a:pt x="2012062" y="197447"/>
                  </a:lnTo>
                  <a:lnTo>
                    <a:pt x="2012062" y="198831"/>
                  </a:lnTo>
                  <a:lnTo>
                    <a:pt x="2012112" y="198831"/>
                  </a:lnTo>
                  <a:lnTo>
                    <a:pt x="2012112" y="196799"/>
                  </a:lnTo>
                  <a:lnTo>
                    <a:pt x="2012214" y="196799"/>
                  </a:lnTo>
                  <a:lnTo>
                    <a:pt x="2012214" y="197447"/>
                  </a:lnTo>
                  <a:lnTo>
                    <a:pt x="2012214" y="196113"/>
                  </a:lnTo>
                  <a:lnTo>
                    <a:pt x="2012214" y="197447"/>
                  </a:lnTo>
                  <a:lnTo>
                    <a:pt x="2012265" y="197447"/>
                  </a:lnTo>
                  <a:lnTo>
                    <a:pt x="2012265" y="196799"/>
                  </a:lnTo>
                  <a:lnTo>
                    <a:pt x="2012265" y="199530"/>
                  </a:lnTo>
                  <a:lnTo>
                    <a:pt x="2012265" y="198831"/>
                  </a:lnTo>
                  <a:lnTo>
                    <a:pt x="2012315" y="198831"/>
                  </a:lnTo>
                  <a:lnTo>
                    <a:pt x="2012315" y="200228"/>
                  </a:lnTo>
                  <a:lnTo>
                    <a:pt x="2012315" y="199530"/>
                  </a:lnTo>
                  <a:lnTo>
                    <a:pt x="2012366" y="199530"/>
                  </a:lnTo>
                  <a:lnTo>
                    <a:pt x="2012366" y="200228"/>
                  </a:lnTo>
                  <a:lnTo>
                    <a:pt x="2012366" y="199530"/>
                  </a:lnTo>
                  <a:lnTo>
                    <a:pt x="2012366" y="200228"/>
                  </a:lnTo>
                  <a:lnTo>
                    <a:pt x="2012455" y="199530"/>
                  </a:lnTo>
                  <a:lnTo>
                    <a:pt x="2012455" y="200228"/>
                  </a:lnTo>
                  <a:lnTo>
                    <a:pt x="2012455" y="199530"/>
                  </a:lnTo>
                  <a:lnTo>
                    <a:pt x="2012455" y="200228"/>
                  </a:lnTo>
                  <a:lnTo>
                    <a:pt x="2012506" y="200228"/>
                  </a:lnTo>
                  <a:lnTo>
                    <a:pt x="2012506" y="199530"/>
                  </a:lnTo>
                  <a:lnTo>
                    <a:pt x="2012557" y="198831"/>
                  </a:lnTo>
                  <a:lnTo>
                    <a:pt x="2012557" y="199530"/>
                  </a:lnTo>
                  <a:lnTo>
                    <a:pt x="2012557" y="197447"/>
                  </a:lnTo>
                  <a:lnTo>
                    <a:pt x="2012608" y="197447"/>
                  </a:lnTo>
                  <a:lnTo>
                    <a:pt x="2012608" y="196113"/>
                  </a:lnTo>
                  <a:lnTo>
                    <a:pt x="2012608" y="196799"/>
                  </a:lnTo>
                  <a:lnTo>
                    <a:pt x="2012608" y="196113"/>
                  </a:lnTo>
                  <a:lnTo>
                    <a:pt x="2012608" y="196799"/>
                  </a:lnTo>
                  <a:lnTo>
                    <a:pt x="2012608" y="196113"/>
                  </a:lnTo>
                  <a:lnTo>
                    <a:pt x="2012709" y="196113"/>
                  </a:lnTo>
                  <a:lnTo>
                    <a:pt x="2012709" y="195415"/>
                  </a:lnTo>
                  <a:lnTo>
                    <a:pt x="2012709" y="196799"/>
                  </a:lnTo>
                  <a:lnTo>
                    <a:pt x="2012709" y="196113"/>
                  </a:lnTo>
                  <a:lnTo>
                    <a:pt x="2012709" y="196799"/>
                  </a:lnTo>
                  <a:lnTo>
                    <a:pt x="2012709" y="196113"/>
                  </a:lnTo>
                  <a:lnTo>
                    <a:pt x="2012709" y="196799"/>
                  </a:lnTo>
                  <a:lnTo>
                    <a:pt x="2012709" y="196113"/>
                  </a:lnTo>
                  <a:lnTo>
                    <a:pt x="2012760" y="196113"/>
                  </a:lnTo>
                  <a:lnTo>
                    <a:pt x="2012760" y="198831"/>
                  </a:lnTo>
                  <a:lnTo>
                    <a:pt x="2012760" y="196799"/>
                  </a:lnTo>
                  <a:lnTo>
                    <a:pt x="2012760" y="197447"/>
                  </a:lnTo>
                  <a:lnTo>
                    <a:pt x="2012811" y="197447"/>
                  </a:lnTo>
                  <a:lnTo>
                    <a:pt x="2012811" y="199530"/>
                  </a:lnTo>
                  <a:lnTo>
                    <a:pt x="2012811" y="197447"/>
                  </a:lnTo>
                  <a:lnTo>
                    <a:pt x="2012912" y="198831"/>
                  </a:lnTo>
                  <a:lnTo>
                    <a:pt x="2012912" y="199530"/>
                  </a:lnTo>
                  <a:lnTo>
                    <a:pt x="2012912" y="198831"/>
                  </a:lnTo>
                  <a:lnTo>
                    <a:pt x="2012912" y="200228"/>
                  </a:lnTo>
                  <a:lnTo>
                    <a:pt x="2012912" y="199530"/>
                  </a:lnTo>
                  <a:lnTo>
                    <a:pt x="2012950" y="199530"/>
                  </a:lnTo>
                  <a:lnTo>
                    <a:pt x="2012950" y="200228"/>
                  </a:lnTo>
                  <a:lnTo>
                    <a:pt x="2012950" y="199530"/>
                  </a:lnTo>
                  <a:lnTo>
                    <a:pt x="2012950" y="200228"/>
                  </a:lnTo>
                  <a:lnTo>
                    <a:pt x="2013001" y="199530"/>
                  </a:lnTo>
                  <a:lnTo>
                    <a:pt x="2013001" y="200228"/>
                  </a:lnTo>
                  <a:lnTo>
                    <a:pt x="2013001" y="199530"/>
                  </a:lnTo>
                  <a:lnTo>
                    <a:pt x="2013001" y="200228"/>
                  </a:lnTo>
                  <a:lnTo>
                    <a:pt x="2013001" y="199530"/>
                  </a:lnTo>
                  <a:lnTo>
                    <a:pt x="2013001" y="200228"/>
                  </a:lnTo>
                  <a:lnTo>
                    <a:pt x="2013001" y="199530"/>
                  </a:lnTo>
                  <a:lnTo>
                    <a:pt x="2013001" y="200228"/>
                  </a:lnTo>
                  <a:lnTo>
                    <a:pt x="2013001" y="199530"/>
                  </a:lnTo>
                  <a:lnTo>
                    <a:pt x="2013052" y="199530"/>
                  </a:lnTo>
                  <a:lnTo>
                    <a:pt x="2013052" y="198831"/>
                  </a:lnTo>
                  <a:lnTo>
                    <a:pt x="2013052" y="199530"/>
                  </a:lnTo>
                  <a:lnTo>
                    <a:pt x="2013052" y="198831"/>
                  </a:lnTo>
                  <a:lnTo>
                    <a:pt x="2013052" y="199530"/>
                  </a:lnTo>
                  <a:lnTo>
                    <a:pt x="2013052" y="198831"/>
                  </a:lnTo>
                  <a:lnTo>
                    <a:pt x="2013154" y="197447"/>
                  </a:lnTo>
                  <a:lnTo>
                    <a:pt x="2013154" y="198831"/>
                  </a:lnTo>
                  <a:lnTo>
                    <a:pt x="2013154" y="197447"/>
                  </a:lnTo>
                  <a:lnTo>
                    <a:pt x="2013154" y="198831"/>
                  </a:lnTo>
                  <a:lnTo>
                    <a:pt x="2013154" y="195415"/>
                  </a:lnTo>
                  <a:lnTo>
                    <a:pt x="2013205" y="195415"/>
                  </a:lnTo>
                  <a:lnTo>
                    <a:pt x="2013205" y="194716"/>
                  </a:lnTo>
                  <a:lnTo>
                    <a:pt x="2013205" y="196799"/>
                  </a:lnTo>
                  <a:lnTo>
                    <a:pt x="2013205" y="194716"/>
                  </a:lnTo>
                  <a:lnTo>
                    <a:pt x="2013255" y="194716"/>
                  </a:lnTo>
                  <a:lnTo>
                    <a:pt x="2013255" y="197447"/>
                  </a:lnTo>
                  <a:lnTo>
                    <a:pt x="2013255" y="196113"/>
                  </a:lnTo>
                  <a:lnTo>
                    <a:pt x="2013255" y="196799"/>
                  </a:lnTo>
                  <a:lnTo>
                    <a:pt x="2013357" y="196799"/>
                  </a:lnTo>
                  <a:lnTo>
                    <a:pt x="2013357" y="198831"/>
                  </a:lnTo>
                  <a:lnTo>
                    <a:pt x="2013408" y="198831"/>
                  </a:lnTo>
                  <a:lnTo>
                    <a:pt x="2013408" y="199530"/>
                  </a:lnTo>
                  <a:lnTo>
                    <a:pt x="2013459" y="198831"/>
                  </a:lnTo>
                  <a:lnTo>
                    <a:pt x="2013459" y="199530"/>
                  </a:lnTo>
                  <a:lnTo>
                    <a:pt x="2013459" y="198831"/>
                  </a:lnTo>
                  <a:lnTo>
                    <a:pt x="2013459" y="199530"/>
                  </a:lnTo>
                  <a:lnTo>
                    <a:pt x="2013459" y="198831"/>
                  </a:lnTo>
                  <a:lnTo>
                    <a:pt x="2013459" y="199530"/>
                  </a:lnTo>
                  <a:lnTo>
                    <a:pt x="2013497" y="199530"/>
                  </a:lnTo>
                  <a:lnTo>
                    <a:pt x="2013497" y="200228"/>
                  </a:lnTo>
                  <a:lnTo>
                    <a:pt x="2013497" y="198831"/>
                  </a:lnTo>
                  <a:lnTo>
                    <a:pt x="2013598" y="198831"/>
                  </a:lnTo>
                  <a:lnTo>
                    <a:pt x="2013598" y="199530"/>
                  </a:lnTo>
                  <a:lnTo>
                    <a:pt x="2013598" y="198831"/>
                  </a:lnTo>
                  <a:lnTo>
                    <a:pt x="2013649" y="198831"/>
                  </a:lnTo>
                  <a:lnTo>
                    <a:pt x="2013649" y="197447"/>
                  </a:lnTo>
                  <a:lnTo>
                    <a:pt x="2013649" y="198831"/>
                  </a:lnTo>
                  <a:lnTo>
                    <a:pt x="2013649" y="195415"/>
                  </a:lnTo>
                  <a:lnTo>
                    <a:pt x="2013649" y="196113"/>
                  </a:lnTo>
                  <a:lnTo>
                    <a:pt x="2013700" y="196799"/>
                  </a:lnTo>
                  <a:lnTo>
                    <a:pt x="2013700" y="197447"/>
                  </a:lnTo>
                  <a:lnTo>
                    <a:pt x="2013700" y="195415"/>
                  </a:lnTo>
                  <a:lnTo>
                    <a:pt x="2013700" y="198831"/>
                  </a:lnTo>
                  <a:lnTo>
                    <a:pt x="2013801" y="198831"/>
                  </a:lnTo>
                  <a:lnTo>
                    <a:pt x="2013801" y="197447"/>
                  </a:lnTo>
                  <a:lnTo>
                    <a:pt x="2013801" y="198831"/>
                  </a:lnTo>
                  <a:lnTo>
                    <a:pt x="2013852" y="198831"/>
                  </a:lnTo>
                  <a:lnTo>
                    <a:pt x="2013852" y="197447"/>
                  </a:lnTo>
                  <a:lnTo>
                    <a:pt x="2013852" y="198831"/>
                  </a:lnTo>
                  <a:lnTo>
                    <a:pt x="2013852" y="197447"/>
                  </a:lnTo>
                  <a:lnTo>
                    <a:pt x="2013852" y="198831"/>
                  </a:lnTo>
                  <a:lnTo>
                    <a:pt x="2013852" y="197447"/>
                  </a:lnTo>
                  <a:lnTo>
                    <a:pt x="2013852" y="199530"/>
                  </a:lnTo>
                  <a:lnTo>
                    <a:pt x="2013852" y="198831"/>
                  </a:lnTo>
                  <a:lnTo>
                    <a:pt x="2013903" y="198831"/>
                  </a:lnTo>
                  <a:lnTo>
                    <a:pt x="2013903" y="199530"/>
                  </a:lnTo>
                  <a:lnTo>
                    <a:pt x="2013903" y="198831"/>
                  </a:lnTo>
                  <a:lnTo>
                    <a:pt x="2013903" y="199530"/>
                  </a:lnTo>
                  <a:lnTo>
                    <a:pt x="2013903" y="198831"/>
                  </a:lnTo>
                  <a:lnTo>
                    <a:pt x="2013954" y="198831"/>
                  </a:lnTo>
                  <a:lnTo>
                    <a:pt x="2013954" y="199530"/>
                  </a:lnTo>
                  <a:lnTo>
                    <a:pt x="2013954" y="198831"/>
                  </a:lnTo>
                  <a:lnTo>
                    <a:pt x="2013954" y="199530"/>
                  </a:lnTo>
                  <a:lnTo>
                    <a:pt x="2013954" y="198831"/>
                  </a:lnTo>
                  <a:lnTo>
                    <a:pt x="2013954" y="199530"/>
                  </a:lnTo>
                  <a:lnTo>
                    <a:pt x="2014043" y="199530"/>
                  </a:lnTo>
                  <a:lnTo>
                    <a:pt x="2014043" y="198831"/>
                  </a:lnTo>
                  <a:lnTo>
                    <a:pt x="2014043" y="199530"/>
                  </a:lnTo>
                  <a:lnTo>
                    <a:pt x="2014043" y="198831"/>
                  </a:lnTo>
                  <a:lnTo>
                    <a:pt x="2014043" y="199530"/>
                  </a:lnTo>
                  <a:lnTo>
                    <a:pt x="2014043" y="198831"/>
                  </a:lnTo>
                  <a:lnTo>
                    <a:pt x="2014043" y="199530"/>
                  </a:lnTo>
                  <a:lnTo>
                    <a:pt x="2014094" y="198831"/>
                  </a:lnTo>
                  <a:lnTo>
                    <a:pt x="2014094" y="199530"/>
                  </a:lnTo>
                  <a:lnTo>
                    <a:pt x="2014094" y="198831"/>
                  </a:lnTo>
                  <a:lnTo>
                    <a:pt x="2014144" y="197447"/>
                  </a:lnTo>
                  <a:lnTo>
                    <a:pt x="2014144" y="196799"/>
                  </a:lnTo>
                  <a:lnTo>
                    <a:pt x="2014144" y="197447"/>
                  </a:lnTo>
                  <a:lnTo>
                    <a:pt x="2014144" y="196113"/>
                  </a:lnTo>
                  <a:lnTo>
                    <a:pt x="2014144" y="197447"/>
                  </a:lnTo>
                  <a:lnTo>
                    <a:pt x="2014195" y="196799"/>
                  </a:lnTo>
                  <a:lnTo>
                    <a:pt x="2014195" y="195415"/>
                  </a:lnTo>
                  <a:lnTo>
                    <a:pt x="2014195" y="199530"/>
                  </a:lnTo>
                  <a:lnTo>
                    <a:pt x="2014195" y="198831"/>
                  </a:lnTo>
                  <a:lnTo>
                    <a:pt x="2014297" y="198831"/>
                  </a:lnTo>
                  <a:lnTo>
                    <a:pt x="2014297" y="196799"/>
                  </a:lnTo>
                  <a:lnTo>
                    <a:pt x="2014297" y="198831"/>
                  </a:lnTo>
                  <a:lnTo>
                    <a:pt x="2014297" y="197447"/>
                  </a:lnTo>
                  <a:lnTo>
                    <a:pt x="2014347" y="197447"/>
                  </a:lnTo>
                  <a:lnTo>
                    <a:pt x="2014347" y="196799"/>
                  </a:lnTo>
                  <a:lnTo>
                    <a:pt x="2014347" y="198831"/>
                  </a:lnTo>
                  <a:lnTo>
                    <a:pt x="2014347" y="197447"/>
                  </a:lnTo>
                  <a:lnTo>
                    <a:pt x="2014347" y="198831"/>
                  </a:lnTo>
                  <a:lnTo>
                    <a:pt x="2014347" y="197447"/>
                  </a:lnTo>
                  <a:lnTo>
                    <a:pt x="2014398" y="197447"/>
                  </a:lnTo>
                  <a:lnTo>
                    <a:pt x="2014398" y="199530"/>
                  </a:lnTo>
                  <a:lnTo>
                    <a:pt x="2014398" y="197447"/>
                  </a:lnTo>
                  <a:lnTo>
                    <a:pt x="2014500" y="197447"/>
                  </a:lnTo>
                  <a:lnTo>
                    <a:pt x="2014500" y="198831"/>
                  </a:lnTo>
                  <a:lnTo>
                    <a:pt x="2014500" y="197447"/>
                  </a:lnTo>
                  <a:lnTo>
                    <a:pt x="2014500" y="198831"/>
                  </a:lnTo>
                  <a:lnTo>
                    <a:pt x="2014538" y="198831"/>
                  </a:lnTo>
                  <a:lnTo>
                    <a:pt x="2014538" y="197447"/>
                  </a:lnTo>
                  <a:lnTo>
                    <a:pt x="2014538" y="198831"/>
                  </a:lnTo>
                  <a:lnTo>
                    <a:pt x="2014538" y="196799"/>
                  </a:lnTo>
                  <a:lnTo>
                    <a:pt x="2014538" y="197447"/>
                  </a:lnTo>
                  <a:lnTo>
                    <a:pt x="2014589" y="197447"/>
                  </a:lnTo>
                  <a:lnTo>
                    <a:pt x="2014589" y="198831"/>
                  </a:lnTo>
                  <a:lnTo>
                    <a:pt x="2014589" y="196799"/>
                  </a:lnTo>
                  <a:lnTo>
                    <a:pt x="2014640" y="196113"/>
                  </a:lnTo>
                  <a:lnTo>
                    <a:pt x="2014640" y="196799"/>
                  </a:lnTo>
                  <a:lnTo>
                    <a:pt x="2014640" y="196113"/>
                  </a:lnTo>
                  <a:lnTo>
                    <a:pt x="2014640" y="198831"/>
                  </a:lnTo>
                  <a:lnTo>
                    <a:pt x="2014640" y="196113"/>
                  </a:lnTo>
                  <a:lnTo>
                    <a:pt x="2014741" y="196113"/>
                  </a:lnTo>
                  <a:lnTo>
                    <a:pt x="2014741" y="200228"/>
                  </a:lnTo>
                  <a:lnTo>
                    <a:pt x="2014741" y="197447"/>
                  </a:lnTo>
                  <a:lnTo>
                    <a:pt x="2014792" y="198831"/>
                  </a:lnTo>
                  <a:lnTo>
                    <a:pt x="2014792" y="200228"/>
                  </a:lnTo>
                  <a:lnTo>
                    <a:pt x="2014792" y="198831"/>
                  </a:lnTo>
                  <a:lnTo>
                    <a:pt x="2014843" y="199530"/>
                  </a:lnTo>
                  <a:lnTo>
                    <a:pt x="2014843" y="200228"/>
                  </a:lnTo>
                  <a:lnTo>
                    <a:pt x="2014843" y="199530"/>
                  </a:lnTo>
                  <a:lnTo>
                    <a:pt x="2014843" y="200228"/>
                  </a:lnTo>
                  <a:lnTo>
                    <a:pt x="2014843" y="199530"/>
                  </a:lnTo>
                  <a:lnTo>
                    <a:pt x="2014843" y="200228"/>
                  </a:lnTo>
                  <a:lnTo>
                    <a:pt x="2014843" y="199530"/>
                  </a:lnTo>
                  <a:lnTo>
                    <a:pt x="2014843" y="200228"/>
                  </a:lnTo>
                  <a:lnTo>
                    <a:pt x="2014843" y="199530"/>
                  </a:lnTo>
                  <a:lnTo>
                    <a:pt x="2014944" y="199530"/>
                  </a:lnTo>
                  <a:lnTo>
                    <a:pt x="2014944" y="200228"/>
                  </a:lnTo>
                  <a:lnTo>
                    <a:pt x="2014944" y="199530"/>
                  </a:lnTo>
                  <a:lnTo>
                    <a:pt x="2014995" y="199530"/>
                  </a:lnTo>
                  <a:lnTo>
                    <a:pt x="2015046" y="200228"/>
                  </a:lnTo>
                  <a:lnTo>
                    <a:pt x="2015046" y="198831"/>
                  </a:lnTo>
                  <a:lnTo>
                    <a:pt x="2015046" y="199530"/>
                  </a:lnTo>
                  <a:lnTo>
                    <a:pt x="2015084" y="198831"/>
                  </a:lnTo>
                  <a:lnTo>
                    <a:pt x="2015084" y="196799"/>
                  </a:lnTo>
                  <a:lnTo>
                    <a:pt x="2015084" y="197447"/>
                  </a:lnTo>
                  <a:lnTo>
                    <a:pt x="2015186" y="197447"/>
                  </a:lnTo>
                  <a:lnTo>
                    <a:pt x="2015186" y="199530"/>
                  </a:lnTo>
                  <a:lnTo>
                    <a:pt x="2015186" y="196799"/>
                  </a:lnTo>
                  <a:lnTo>
                    <a:pt x="2015186" y="199530"/>
                  </a:lnTo>
                  <a:lnTo>
                    <a:pt x="2015237" y="200228"/>
                  </a:lnTo>
                  <a:lnTo>
                    <a:pt x="2015237" y="198831"/>
                  </a:lnTo>
                  <a:lnTo>
                    <a:pt x="2015237" y="200228"/>
                  </a:lnTo>
                  <a:lnTo>
                    <a:pt x="2015287" y="200228"/>
                  </a:lnTo>
                  <a:lnTo>
                    <a:pt x="2015287" y="199530"/>
                  </a:lnTo>
                  <a:lnTo>
                    <a:pt x="2015287" y="200228"/>
                  </a:lnTo>
                  <a:lnTo>
                    <a:pt x="2015389" y="200228"/>
                  </a:lnTo>
                  <a:lnTo>
                    <a:pt x="2015389" y="200876"/>
                  </a:lnTo>
                  <a:lnTo>
                    <a:pt x="2015389" y="200228"/>
                  </a:lnTo>
                  <a:lnTo>
                    <a:pt x="2015389" y="200876"/>
                  </a:lnTo>
                  <a:lnTo>
                    <a:pt x="2015389" y="200228"/>
                  </a:lnTo>
                  <a:lnTo>
                    <a:pt x="2015389" y="200876"/>
                  </a:lnTo>
                  <a:lnTo>
                    <a:pt x="2015440" y="200228"/>
                  </a:lnTo>
                  <a:lnTo>
                    <a:pt x="2015440" y="200876"/>
                  </a:lnTo>
                  <a:lnTo>
                    <a:pt x="2015440" y="199530"/>
                  </a:lnTo>
                  <a:lnTo>
                    <a:pt x="2015440" y="200228"/>
                  </a:lnTo>
                  <a:lnTo>
                    <a:pt x="2015490" y="200228"/>
                  </a:lnTo>
                  <a:lnTo>
                    <a:pt x="2015490" y="199530"/>
                  </a:lnTo>
                  <a:lnTo>
                    <a:pt x="2015490" y="200228"/>
                  </a:lnTo>
                  <a:lnTo>
                    <a:pt x="2015490" y="199530"/>
                  </a:lnTo>
                  <a:lnTo>
                    <a:pt x="2015490" y="200228"/>
                  </a:lnTo>
                  <a:lnTo>
                    <a:pt x="2015490" y="199530"/>
                  </a:lnTo>
                  <a:lnTo>
                    <a:pt x="2015541" y="199530"/>
                  </a:lnTo>
                  <a:lnTo>
                    <a:pt x="2015541" y="197447"/>
                  </a:lnTo>
                  <a:lnTo>
                    <a:pt x="2015630" y="197447"/>
                  </a:lnTo>
                  <a:lnTo>
                    <a:pt x="2015630" y="196799"/>
                  </a:lnTo>
                  <a:lnTo>
                    <a:pt x="2015630" y="197447"/>
                  </a:lnTo>
                  <a:lnTo>
                    <a:pt x="2015630" y="196113"/>
                  </a:lnTo>
                  <a:lnTo>
                    <a:pt x="2015630" y="196799"/>
                  </a:lnTo>
                  <a:lnTo>
                    <a:pt x="2015681" y="197447"/>
                  </a:lnTo>
                  <a:lnTo>
                    <a:pt x="2015681" y="196113"/>
                  </a:lnTo>
                  <a:lnTo>
                    <a:pt x="2015681" y="198831"/>
                  </a:lnTo>
                  <a:lnTo>
                    <a:pt x="2015681" y="197447"/>
                  </a:lnTo>
                  <a:lnTo>
                    <a:pt x="2015681" y="199530"/>
                  </a:lnTo>
                  <a:lnTo>
                    <a:pt x="2015732" y="198831"/>
                  </a:lnTo>
                  <a:lnTo>
                    <a:pt x="2015732" y="199530"/>
                  </a:lnTo>
                  <a:lnTo>
                    <a:pt x="2015732" y="198831"/>
                  </a:lnTo>
                  <a:lnTo>
                    <a:pt x="2015732" y="200228"/>
                  </a:lnTo>
                  <a:lnTo>
                    <a:pt x="2015732" y="199530"/>
                  </a:lnTo>
                  <a:lnTo>
                    <a:pt x="2015783" y="199530"/>
                  </a:lnTo>
                  <a:lnTo>
                    <a:pt x="2015783" y="200228"/>
                  </a:lnTo>
                  <a:lnTo>
                    <a:pt x="2015783" y="199530"/>
                  </a:lnTo>
                  <a:lnTo>
                    <a:pt x="2015783" y="200228"/>
                  </a:lnTo>
                  <a:lnTo>
                    <a:pt x="2015783" y="199530"/>
                  </a:lnTo>
                  <a:lnTo>
                    <a:pt x="2015783" y="200228"/>
                  </a:lnTo>
                  <a:lnTo>
                    <a:pt x="2015783" y="199530"/>
                  </a:lnTo>
                  <a:lnTo>
                    <a:pt x="2015884" y="200228"/>
                  </a:lnTo>
                  <a:lnTo>
                    <a:pt x="2015884" y="199530"/>
                  </a:lnTo>
                  <a:lnTo>
                    <a:pt x="2015884" y="200228"/>
                  </a:lnTo>
                  <a:lnTo>
                    <a:pt x="2015884" y="199530"/>
                  </a:lnTo>
                  <a:lnTo>
                    <a:pt x="2015884" y="200228"/>
                  </a:lnTo>
                  <a:lnTo>
                    <a:pt x="2015884" y="199530"/>
                  </a:lnTo>
                  <a:lnTo>
                    <a:pt x="2015935" y="199530"/>
                  </a:lnTo>
                  <a:lnTo>
                    <a:pt x="2015935" y="200228"/>
                  </a:lnTo>
                  <a:lnTo>
                    <a:pt x="2015935" y="199530"/>
                  </a:lnTo>
                  <a:lnTo>
                    <a:pt x="2015935" y="200228"/>
                  </a:lnTo>
                  <a:lnTo>
                    <a:pt x="2015986" y="200228"/>
                  </a:lnTo>
                  <a:lnTo>
                    <a:pt x="2015986" y="199530"/>
                  </a:lnTo>
                  <a:lnTo>
                    <a:pt x="2015986" y="200228"/>
                  </a:lnTo>
                  <a:lnTo>
                    <a:pt x="2015986" y="199530"/>
                  </a:lnTo>
                  <a:lnTo>
                    <a:pt x="2016087" y="199530"/>
                  </a:lnTo>
                  <a:lnTo>
                    <a:pt x="2016087" y="196799"/>
                  </a:lnTo>
                  <a:lnTo>
                    <a:pt x="2016125" y="196799"/>
                  </a:lnTo>
                  <a:lnTo>
                    <a:pt x="2016125" y="198831"/>
                  </a:lnTo>
                  <a:lnTo>
                    <a:pt x="2016125" y="197447"/>
                  </a:lnTo>
                  <a:lnTo>
                    <a:pt x="2016125" y="198831"/>
                  </a:lnTo>
                  <a:lnTo>
                    <a:pt x="2016125" y="196799"/>
                  </a:lnTo>
                  <a:lnTo>
                    <a:pt x="2016176" y="196799"/>
                  </a:lnTo>
                  <a:lnTo>
                    <a:pt x="2016176" y="199530"/>
                  </a:lnTo>
                  <a:lnTo>
                    <a:pt x="2016176" y="197447"/>
                  </a:lnTo>
                  <a:lnTo>
                    <a:pt x="2016227" y="197447"/>
                  </a:lnTo>
                  <a:lnTo>
                    <a:pt x="2016227" y="200228"/>
                  </a:lnTo>
                  <a:lnTo>
                    <a:pt x="2016227" y="198831"/>
                  </a:lnTo>
                  <a:lnTo>
                    <a:pt x="2016329" y="199530"/>
                  </a:lnTo>
                  <a:lnTo>
                    <a:pt x="2016329" y="200228"/>
                  </a:lnTo>
                  <a:lnTo>
                    <a:pt x="2016329" y="199530"/>
                  </a:lnTo>
                  <a:lnTo>
                    <a:pt x="2016329" y="200228"/>
                  </a:lnTo>
                  <a:lnTo>
                    <a:pt x="2016329" y="199530"/>
                  </a:lnTo>
                  <a:lnTo>
                    <a:pt x="2016380" y="199530"/>
                  </a:lnTo>
                  <a:lnTo>
                    <a:pt x="2016380" y="200228"/>
                  </a:lnTo>
                  <a:lnTo>
                    <a:pt x="2016380" y="199530"/>
                  </a:lnTo>
                  <a:lnTo>
                    <a:pt x="2016380" y="200228"/>
                  </a:lnTo>
                  <a:lnTo>
                    <a:pt x="2016380" y="199530"/>
                  </a:lnTo>
                  <a:lnTo>
                    <a:pt x="2016380" y="200876"/>
                  </a:lnTo>
                  <a:lnTo>
                    <a:pt x="2016430" y="200228"/>
                  </a:lnTo>
                  <a:lnTo>
                    <a:pt x="2016430" y="200876"/>
                  </a:lnTo>
                  <a:lnTo>
                    <a:pt x="2016430" y="199530"/>
                  </a:lnTo>
                  <a:lnTo>
                    <a:pt x="2016430" y="200876"/>
                  </a:lnTo>
                  <a:lnTo>
                    <a:pt x="2016532" y="200876"/>
                  </a:lnTo>
                  <a:lnTo>
                    <a:pt x="2016532" y="199530"/>
                  </a:lnTo>
                  <a:lnTo>
                    <a:pt x="2016532" y="200228"/>
                  </a:lnTo>
                  <a:lnTo>
                    <a:pt x="2016532" y="198831"/>
                  </a:lnTo>
                  <a:lnTo>
                    <a:pt x="2016583" y="198831"/>
                  </a:lnTo>
                  <a:lnTo>
                    <a:pt x="2016583" y="196799"/>
                  </a:lnTo>
                  <a:lnTo>
                    <a:pt x="2016634" y="196799"/>
                  </a:lnTo>
                  <a:lnTo>
                    <a:pt x="2016634" y="195415"/>
                  </a:lnTo>
                  <a:lnTo>
                    <a:pt x="2016634" y="197447"/>
                  </a:lnTo>
                  <a:lnTo>
                    <a:pt x="2016634" y="195415"/>
                  </a:lnTo>
                  <a:lnTo>
                    <a:pt x="2016634" y="196113"/>
                  </a:lnTo>
                  <a:lnTo>
                    <a:pt x="2016634" y="195415"/>
                  </a:lnTo>
                  <a:lnTo>
                    <a:pt x="2016634" y="196113"/>
                  </a:lnTo>
                  <a:lnTo>
                    <a:pt x="2016672" y="196113"/>
                  </a:lnTo>
                  <a:lnTo>
                    <a:pt x="2016672" y="199530"/>
                  </a:lnTo>
                  <a:lnTo>
                    <a:pt x="2016672" y="197447"/>
                  </a:lnTo>
                  <a:lnTo>
                    <a:pt x="2016773" y="198831"/>
                  </a:lnTo>
                  <a:lnTo>
                    <a:pt x="2016773" y="199530"/>
                  </a:lnTo>
                  <a:lnTo>
                    <a:pt x="2016773" y="198831"/>
                  </a:lnTo>
                  <a:lnTo>
                    <a:pt x="2016773" y="199530"/>
                  </a:lnTo>
                  <a:lnTo>
                    <a:pt x="2016824" y="199530"/>
                  </a:lnTo>
                  <a:lnTo>
                    <a:pt x="2016824" y="198831"/>
                  </a:lnTo>
                  <a:lnTo>
                    <a:pt x="2016824" y="199530"/>
                  </a:lnTo>
                  <a:lnTo>
                    <a:pt x="2016824" y="198831"/>
                  </a:lnTo>
                  <a:lnTo>
                    <a:pt x="2016824" y="199530"/>
                  </a:lnTo>
                  <a:lnTo>
                    <a:pt x="2016875" y="199530"/>
                  </a:lnTo>
                  <a:lnTo>
                    <a:pt x="2016875" y="200876"/>
                  </a:lnTo>
                  <a:lnTo>
                    <a:pt x="2016875" y="199530"/>
                  </a:lnTo>
                  <a:lnTo>
                    <a:pt x="2016875" y="200228"/>
                  </a:lnTo>
                  <a:lnTo>
                    <a:pt x="2016976" y="200228"/>
                  </a:lnTo>
                  <a:lnTo>
                    <a:pt x="2016976" y="199530"/>
                  </a:lnTo>
                  <a:lnTo>
                    <a:pt x="2016976" y="200228"/>
                  </a:lnTo>
                  <a:lnTo>
                    <a:pt x="2017027" y="200228"/>
                  </a:lnTo>
                  <a:lnTo>
                    <a:pt x="2017027" y="200876"/>
                  </a:lnTo>
                  <a:lnTo>
                    <a:pt x="2017027" y="198831"/>
                  </a:lnTo>
                  <a:lnTo>
                    <a:pt x="2017078" y="198831"/>
                  </a:lnTo>
                  <a:lnTo>
                    <a:pt x="2017078" y="196799"/>
                  </a:lnTo>
                  <a:lnTo>
                    <a:pt x="2017078" y="197447"/>
                  </a:lnTo>
                  <a:lnTo>
                    <a:pt x="2017129" y="197447"/>
                  </a:lnTo>
                  <a:lnTo>
                    <a:pt x="2017129" y="198831"/>
                  </a:lnTo>
                  <a:lnTo>
                    <a:pt x="2017129" y="196799"/>
                  </a:lnTo>
                  <a:lnTo>
                    <a:pt x="2017129" y="200228"/>
                  </a:lnTo>
                  <a:lnTo>
                    <a:pt x="2017218" y="200228"/>
                  </a:lnTo>
                  <a:lnTo>
                    <a:pt x="2017218" y="198831"/>
                  </a:lnTo>
                  <a:lnTo>
                    <a:pt x="2017218" y="199530"/>
                  </a:lnTo>
                  <a:lnTo>
                    <a:pt x="2017269" y="199530"/>
                  </a:lnTo>
                  <a:lnTo>
                    <a:pt x="2017269" y="198831"/>
                  </a:lnTo>
                  <a:lnTo>
                    <a:pt x="2017269" y="199530"/>
                  </a:lnTo>
                  <a:lnTo>
                    <a:pt x="2017269" y="198831"/>
                  </a:lnTo>
                  <a:lnTo>
                    <a:pt x="2017269" y="199530"/>
                  </a:lnTo>
                  <a:lnTo>
                    <a:pt x="2017319" y="199530"/>
                  </a:lnTo>
                  <a:lnTo>
                    <a:pt x="2017319" y="198831"/>
                  </a:lnTo>
                  <a:lnTo>
                    <a:pt x="2017319" y="199530"/>
                  </a:lnTo>
                  <a:lnTo>
                    <a:pt x="2017319" y="198831"/>
                  </a:lnTo>
                  <a:lnTo>
                    <a:pt x="2017319" y="199530"/>
                  </a:lnTo>
                  <a:lnTo>
                    <a:pt x="2017319" y="198831"/>
                  </a:lnTo>
                  <a:lnTo>
                    <a:pt x="2017319" y="199530"/>
                  </a:lnTo>
                  <a:lnTo>
                    <a:pt x="2017319" y="198831"/>
                  </a:lnTo>
                  <a:lnTo>
                    <a:pt x="2017370" y="198831"/>
                  </a:lnTo>
                  <a:lnTo>
                    <a:pt x="2017370" y="199530"/>
                  </a:lnTo>
                  <a:lnTo>
                    <a:pt x="2017370" y="198831"/>
                  </a:lnTo>
                  <a:lnTo>
                    <a:pt x="2017370" y="200228"/>
                  </a:lnTo>
                  <a:lnTo>
                    <a:pt x="2017370" y="199530"/>
                  </a:lnTo>
                  <a:lnTo>
                    <a:pt x="2017370" y="200228"/>
                  </a:lnTo>
                  <a:lnTo>
                    <a:pt x="2017370" y="199530"/>
                  </a:lnTo>
                  <a:lnTo>
                    <a:pt x="2017370" y="200228"/>
                  </a:lnTo>
                  <a:lnTo>
                    <a:pt x="2017370" y="199530"/>
                  </a:lnTo>
                  <a:lnTo>
                    <a:pt x="2017472" y="200228"/>
                  </a:lnTo>
                  <a:lnTo>
                    <a:pt x="2017472" y="199530"/>
                  </a:lnTo>
                  <a:lnTo>
                    <a:pt x="2017472" y="200228"/>
                  </a:lnTo>
                  <a:lnTo>
                    <a:pt x="2017472" y="199530"/>
                  </a:lnTo>
                  <a:lnTo>
                    <a:pt x="2017472" y="200228"/>
                  </a:lnTo>
                  <a:lnTo>
                    <a:pt x="2017472" y="199530"/>
                  </a:lnTo>
                  <a:lnTo>
                    <a:pt x="2017522" y="199530"/>
                  </a:lnTo>
                  <a:lnTo>
                    <a:pt x="2017522" y="198831"/>
                  </a:lnTo>
                  <a:lnTo>
                    <a:pt x="2017522" y="199530"/>
                  </a:lnTo>
                  <a:lnTo>
                    <a:pt x="2017522" y="197447"/>
                  </a:lnTo>
                  <a:lnTo>
                    <a:pt x="2017522" y="198831"/>
                  </a:lnTo>
                  <a:lnTo>
                    <a:pt x="2017522" y="197447"/>
                  </a:lnTo>
                  <a:lnTo>
                    <a:pt x="2017522" y="198831"/>
                  </a:lnTo>
                  <a:lnTo>
                    <a:pt x="2017522" y="196799"/>
                  </a:lnTo>
                  <a:lnTo>
                    <a:pt x="2017573" y="196799"/>
                  </a:lnTo>
                  <a:lnTo>
                    <a:pt x="2017573" y="198831"/>
                  </a:lnTo>
                  <a:lnTo>
                    <a:pt x="2017573" y="196799"/>
                  </a:lnTo>
                  <a:lnTo>
                    <a:pt x="2017675" y="197447"/>
                  </a:lnTo>
                  <a:lnTo>
                    <a:pt x="2017675" y="200228"/>
                  </a:lnTo>
                  <a:lnTo>
                    <a:pt x="2017675" y="199530"/>
                  </a:lnTo>
                  <a:lnTo>
                    <a:pt x="2017675" y="200228"/>
                  </a:lnTo>
                  <a:lnTo>
                    <a:pt x="2017675" y="199530"/>
                  </a:lnTo>
                  <a:lnTo>
                    <a:pt x="2017713" y="199530"/>
                  </a:lnTo>
                  <a:lnTo>
                    <a:pt x="2017713" y="200228"/>
                  </a:lnTo>
                  <a:lnTo>
                    <a:pt x="2017713" y="199530"/>
                  </a:lnTo>
                  <a:lnTo>
                    <a:pt x="2017713" y="200876"/>
                  </a:lnTo>
                  <a:lnTo>
                    <a:pt x="2017713" y="200228"/>
                  </a:lnTo>
                  <a:lnTo>
                    <a:pt x="2017764" y="200228"/>
                  </a:lnTo>
                  <a:lnTo>
                    <a:pt x="2017764" y="199530"/>
                  </a:lnTo>
                  <a:lnTo>
                    <a:pt x="2017764" y="200228"/>
                  </a:lnTo>
                  <a:lnTo>
                    <a:pt x="2017815" y="199530"/>
                  </a:lnTo>
                  <a:lnTo>
                    <a:pt x="2017815" y="200228"/>
                  </a:lnTo>
                  <a:lnTo>
                    <a:pt x="2017815" y="199530"/>
                  </a:lnTo>
                  <a:lnTo>
                    <a:pt x="2017815" y="200228"/>
                  </a:lnTo>
                  <a:lnTo>
                    <a:pt x="2017916" y="200228"/>
                  </a:lnTo>
                  <a:lnTo>
                    <a:pt x="2017916" y="199530"/>
                  </a:lnTo>
                  <a:lnTo>
                    <a:pt x="2017916" y="200228"/>
                  </a:lnTo>
                  <a:lnTo>
                    <a:pt x="2017916" y="199530"/>
                  </a:lnTo>
                  <a:lnTo>
                    <a:pt x="2017916" y="200228"/>
                  </a:lnTo>
                  <a:lnTo>
                    <a:pt x="2017967" y="199530"/>
                  </a:lnTo>
                  <a:lnTo>
                    <a:pt x="2017967" y="200228"/>
                  </a:lnTo>
                  <a:lnTo>
                    <a:pt x="2017967" y="198831"/>
                  </a:lnTo>
                  <a:lnTo>
                    <a:pt x="2018018" y="198831"/>
                  </a:lnTo>
                  <a:lnTo>
                    <a:pt x="2018018" y="196113"/>
                  </a:lnTo>
                  <a:lnTo>
                    <a:pt x="2018119" y="196799"/>
                  </a:lnTo>
                  <a:lnTo>
                    <a:pt x="2018119" y="196113"/>
                  </a:lnTo>
                  <a:lnTo>
                    <a:pt x="2018119" y="198831"/>
                  </a:lnTo>
                  <a:lnTo>
                    <a:pt x="2018119" y="197447"/>
                  </a:lnTo>
                  <a:lnTo>
                    <a:pt x="2018119" y="198831"/>
                  </a:lnTo>
                  <a:lnTo>
                    <a:pt x="2018119" y="197447"/>
                  </a:lnTo>
                  <a:lnTo>
                    <a:pt x="2018170" y="197447"/>
                  </a:lnTo>
                  <a:lnTo>
                    <a:pt x="2018170" y="200228"/>
                  </a:lnTo>
                  <a:lnTo>
                    <a:pt x="2018170" y="199530"/>
                  </a:lnTo>
                  <a:lnTo>
                    <a:pt x="2018170" y="200228"/>
                  </a:lnTo>
                  <a:lnTo>
                    <a:pt x="2018170" y="199530"/>
                  </a:lnTo>
                  <a:lnTo>
                    <a:pt x="2018221" y="199530"/>
                  </a:lnTo>
                  <a:lnTo>
                    <a:pt x="2018221" y="200228"/>
                  </a:lnTo>
                  <a:lnTo>
                    <a:pt x="2018221" y="199530"/>
                  </a:lnTo>
                  <a:lnTo>
                    <a:pt x="2018221" y="200228"/>
                  </a:lnTo>
                  <a:lnTo>
                    <a:pt x="2018221" y="199530"/>
                  </a:lnTo>
                  <a:lnTo>
                    <a:pt x="2018221" y="200228"/>
                  </a:lnTo>
                  <a:lnTo>
                    <a:pt x="2018221" y="199530"/>
                  </a:lnTo>
                  <a:lnTo>
                    <a:pt x="2018221" y="200228"/>
                  </a:lnTo>
                  <a:lnTo>
                    <a:pt x="2018221" y="199530"/>
                  </a:lnTo>
                  <a:lnTo>
                    <a:pt x="2018259" y="200228"/>
                  </a:lnTo>
                  <a:lnTo>
                    <a:pt x="2018259" y="199530"/>
                  </a:lnTo>
                  <a:lnTo>
                    <a:pt x="2018259" y="200228"/>
                  </a:lnTo>
                  <a:lnTo>
                    <a:pt x="2018259" y="199530"/>
                  </a:lnTo>
                  <a:lnTo>
                    <a:pt x="2018361" y="199530"/>
                  </a:lnTo>
                  <a:lnTo>
                    <a:pt x="2018361" y="200228"/>
                  </a:lnTo>
                  <a:lnTo>
                    <a:pt x="2018361" y="199530"/>
                  </a:lnTo>
                  <a:lnTo>
                    <a:pt x="2018361" y="200228"/>
                  </a:lnTo>
                  <a:lnTo>
                    <a:pt x="2018361" y="199530"/>
                  </a:lnTo>
                  <a:lnTo>
                    <a:pt x="2018361" y="200228"/>
                  </a:lnTo>
                  <a:lnTo>
                    <a:pt x="2018412" y="200228"/>
                  </a:lnTo>
                  <a:lnTo>
                    <a:pt x="2018412" y="200876"/>
                  </a:lnTo>
                  <a:lnTo>
                    <a:pt x="2018412" y="200228"/>
                  </a:lnTo>
                  <a:lnTo>
                    <a:pt x="2018462" y="200228"/>
                  </a:lnTo>
                  <a:lnTo>
                    <a:pt x="2018462" y="197447"/>
                  </a:lnTo>
                  <a:lnTo>
                    <a:pt x="2018564" y="197447"/>
                  </a:lnTo>
                  <a:lnTo>
                    <a:pt x="2018564" y="196799"/>
                  </a:lnTo>
                  <a:lnTo>
                    <a:pt x="2018564" y="197447"/>
                  </a:lnTo>
                  <a:lnTo>
                    <a:pt x="2018564" y="196799"/>
                  </a:lnTo>
                  <a:lnTo>
                    <a:pt x="2018564" y="197447"/>
                  </a:lnTo>
                  <a:lnTo>
                    <a:pt x="2018615" y="197447"/>
                  </a:lnTo>
                  <a:lnTo>
                    <a:pt x="2018615" y="196113"/>
                  </a:lnTo>
                  <a:lnTo>
                    <a:pt x="2018615" y="199530"/>
                  </a:lnTo>
                  <a:lnTo>
                    <a:pt x="2018665" y="199530"/>
                  </a:lnTo>
                  <a:lnTo>
                    <a:pt x="2018665" y="198831"/>
                  </a:lnTo>
                  <a:lnTo>
                    <a:pt x="2018665" y="199530"/>
                  </a:lnTo>
                  <a:lnTo>
                    <a:pt x="2018716" y="199530"/>
                  </a:lnTo>
                  <a:lnTo>
                    <a:pt x="2018716" y="198831"/>
                  </a:lnTo>
                  <a:lnTo>
                    <a:pt x="2018716" y="199530"/>
                  </a:lnTo>
                  <a:lnTo>
                    <a:pt x="2018805" y="199530"/>
                  </a:lnTo>
                  <a:lnTo>
                    <a:pt x="2018805" y="200228"/>
                  </a:lnTo>
                  <a:lnTo>
                    <a:pt x="2018805" y="199530"/>
                  </a:lnTo>
                  <a:lnTo>
                    <a:pt x="2018805" y="200228"/>
                  </a:lnTo>
                  <a:lnTo>
                    <a:pt x="2018805" y="199530"/>
                  </a:lnTo>
                  <a:lnTo>
                    <a:pt x="2018805" y="200228"/>
                  </a:lnTo>
                  <a:lnTo>
                    <a:pt x="2018805" y="199530"/>
                  </a:lnTo>
                  <a:lnTo>
                    <a:pt x="2018805" y="200228"/>
                  </a:lnTo>
                  <a:lnTo>
                    <a:pt x="2018805" y="199530"/>
                  </a:lnTo>
                  <a:lnTo>
                    <a:pt x="2018805" y="200228"/>
                  </a:lnTo>
                  <a:lnTo>
                    <a:pt x="2018805" y="199530"/>
                  </a:lnTo>
                  <a:lnTo>
                    <a:pt x="2018805" y="200228"/>
                  </a:lnTo>
                  <a:lnTo>
                    <a:pt x="2018907" y="200228"/>
                  </a:lnTo>
                  <a:lnTo>
                    <a:pt x="2018907" y="200876"/>
                  </a:lnTo>
                  <a:lnTo>
                    <a:pt x="2018907" y="199530"/>
                  </a:lnTo>
                  <a:lnTo>
                    <a:pt x="2018958" y="199530"/>
                  </a:lnTo>
                  <a:lnTo>
                    <a:pt x="2018958" y="200228"/>
                  </a:lnTo>
                  <a:lnTo>
                    <a:pt x="2018958" y="198831"/>
                  </a:lnTo>
                  <a:lnTo>
                    <a:pt x="2018958" y="199530"/>
                  </a:lnTo>
                  <a:lnTo>
                    <a:pt x="2018958" y="197447"/>
                  </a:lnTo>
                  <a:lnTo>
                    <a:pt x="2019059" y="197447"/>
                  </a:lnTo>
                  <a:lnTo>
                    <a:pt x="2019059" y="196799"/>
                  </a:lnTo>
                  <a:lnTo>
                    <a:pt x="2019059" y="198831"/>
                  </a:lnTo>
                  <a:lnTo>
                    <a:pt x="2019059" y="197447"/>
                  </a:lnTo>
                  <a:lnTo>
                    <a:pt x="2019110" y="197447"/>
                  </a:lnTo>
                  <a:lnTo>
                    <a:pt x="2019110" y="196799"/>
                  </a:lnTo>
                  <a:lnTo>
                    <a:pt x="2019110" y="200228"/>
                  </a:lnTo>
                  <a:lnTo>
                    <a:pt x="2019110" y="198831"/>
                  </a:lnTo>
                  <a:lnTo>
                    <a:pt x="2019161" y="198831"/>
                  </a:lnTo>
                  <a:lnTo>
                    <a:pt x="2019161" y="199530"/>
                  </a:lnTo>
                  <a:lnTo>
                    <a:pt x="2019161" y="198831"/>
                  </a:lnTo>
                  <a:lnTo>
                    <a:pt x="2019161" y="200228"/>
                  </a:lnTo>
                  <a:lnTo>
                    <a:pt x="2019161" y="199530"/>
                  </a:lnTo>
                  <a:lnTo>
                    <a:pt x="2019262" y="199530"/>
                  </a:lnTo>
                  <a:lnTo>
                    <a:pt x="2019262" y="200228"/>
                  </a:lnTo>
                  <a:lnTo>
                    <a:pt x="2019262" y="199530"/>
                  </a:lnTo>
                  <a:lnTo>
                    <a:pt x="2019300" y="199530"/>
                  </a:lnTo>
                  <a:lnTo>
                    <a:pt x="2019300" y="200228"/>
                  </a:lnTo>
                  <a:lnTo>
                    <a:pt x="2019300" y="199530"/>
                  </a:lnTo>
                  <a:lnTo>
                    <a:pt x="2019300" y="200228"/>
                  </a:lnTo>
                  <a:lnTo>
                    <a:pt x="2019300" y="199530"/>
                  </a:lnTo>
                  <a:lnTo>
                    <a:pt x="2019300" y="200228"/>
                  </a:lnTo>
                  <a:lnTo>
                    <a:pt x="2019300" y="199530"/>
                  </a:lnTo>
                  <a:lnTo>
                    <a:pt x="2019300" y="200228"/>
                  </a:lnTo>
                  <a:lnTo>
                    <a:pt x="2019351" y="200228"/>
                  </a:lnTo>
                  <a:lnTo>
                    <a:pt x="2019351" y="200876"/>
                  </a:lnTo>
                  <a:lnTo>
                    <a:pt x="2019351" y="200228"/>
                  </a:lnTo>
                  <a:lnTo>
                    <a:pt x="2019402" y="200228"/>
                  </a:lnTo>
                  <a:lnTo>
                    <a:pt x="2019402" y="199530"/>
                  </a:lnTo>
                  <a:lnTo>
                    <a:pt x="2019402" y="200228"/>
                  </a:lnTo>
                  <a:lnTo>
                    <a:pt x="2019402" y="199530"/>
                  </a:lnTo>
                  <a:lnTo>
                    <a:pt x="2019402" y="200228"/>
                  </a:lnTo>
                  <a:lnTo>
                    <a:pt x="2019402" y="199530"/>
                  </a:lnTo>
                  <a:lnTo>
                    <a:pt x="2019504" y="198831"/>
                  </a:lnTo>
                  <a:lnTo>
                    <a:pt x="2019504" y="196113"/>
                  </a:lnTo>
                  <a:lnTo>
                    <a:pt x="2019555" y="196113"/>
                  </a:lnTo>
                  <a:lnTo>
                    <a:pt x="2019555" y="197447"/>
                  </a:lnTo>
                  <a:lnTo>
                    <a:pt x="2019555" y="196113"/>
                  </a:lnTo>
                  <a:lnTo>
                    <a:pt x="2019605" y="196799"/>
                  </a:lnTo>
                  <a:lnTo>
                    <a:pt x="2019605" y="198831"/>
                  </a:lnTo>
                  <a:lnTo>
                    <a:pt x="2019605" y="197447"/>
                  </a:lnTo>
                  <a:lnTo>
                    <a:pt x="2019707" y="197447"/>
                  </a:lnTo>
                  <a:lnTo>
                    <a:pt x="2019707" y="198831"/>
                  </a:lnTo>
                  <a:lnTo>
                    <a:pt x="2019707" y="197447"/>
                  </a:lnTo>
                  <a:lnTo>
                    <a:pt x="2019707" y="198831"/>
                  </a:lnTo>
                  <a:lnTo>
                    <a:pt x="2019707" y="197447"/>
                  </a:lnTo>
                  <a:lnTo>
                    <a:pt x="2019707" y="198831"/>
                  </a:lnTo>
                  <a:lnTo>
                    <a:pt x="2019707" y="197447"/>
                  </a:lnTo>
                  <a:lnTo>
                    <a:pt x="2019707" y="198831"/>
                  </a:lnTo>
                  <a:lnTo>
                    <a:pt x="2019758" y="198831"/>
                  </a:lnTo>
                  <a:lnTo>
                    <a:pt x="2019758" y="199530"/>
                  </a:lnTo>
                  <a:lnTo>
                    <a:pt x="2019758" y="198831"/>
                  </a:lnTo>
                  <a:lnTo>
                    <a:pt x="2019758" y="199530"/>
                  </a:lnTo>
                  <a:lnTo>
                    <a:pt x="2019809" y="199530"/>
                  </a:lnTo>
                  <a:lnTo>
                    <a:pt x="2019809" y="200228"/>
                  </a:lnTo>
                  <a:lnTo>
                    <a:pt x="2019809" y="199530"/>
                  </a:lnTo>
                  <a:lnTo>
                    <a:pt x="2019847" y="200228"/>
                  </a:lnTo>
                  <a:lnTo>
                    <a:pt x="2019847" y="199530"/>
                  </a:lnTo>
                  <a:lnTo>
                    <a:pt x="2019847" y="200228"/>
                  </a:lnTo>
                  <a:lnTo>
                    <a:pt x="2019847" y="199530"/>
                  </a:lnTo>
                  <a:lnTo>
                    <a:pt x="2019847" y="200228"/>
                  </a:lnTo>
                  <a:lnTo>
                    <a:pt x="2019847" y="199530"/>
                  </a:lnTo>
                  <a:lnTo>
                    <a:pt x="2019948" y="199530"/>
                  </a:lnTo>
                  <a:lnTo>
                    <a:pt x="2019948" y="197447"/>
                  </a:lnTo>
                  <a:lnTo>
                    <a:pt x="2019999" y="197447"/>
                  </a:lnTo>
                  <a:lnTo>
                    <a:pt x="2019999" y="196799"/>
                  </a:lnTo>
                  <a:lnTo>
                    <a:pt x="2019999" y="197447"/>
                  </a:lnTo>
                  <a:lnTo>
                    <a:pt x="2019999" y="196113"/>
                  </a:lnTo>
                  <a:lnTo>
                    <a:pt x="2019999" y="196799"/>
                  </a:lnTo>
                  <a:lnTo>
                    <a:pt x="2019999" y="195415"/>
                  </a:lnTo>
                  <a:lnTo>
                    <a:pt x="2020050" y="195415"/>
                  </a:lnTo>
                  <a:lnTo>
                    <a:pt x="2020050" y="196113"/>
                  </a:lnTo>
                  <a:lnTo>
                    <a:pt x="2020050" y="194716"/>
                  </a:lnTo>
                  <a:lnTo>
                    <a:pt x="2020050" y="196799"/>
                  </a:lnTo>
                  <a:lnTo>
                    <a:pt x="2020050" y="195415"/>
                  </a:lnTo>
                  <a:lnTo>
                    <a:pt x="2020151" y="195415"/>
                  </a:lnTo>
                  <a:lnTo>
                    <a:pt x="2020151" y="193383"/>
                  </a:lnTo>
                  <a:lnTo>
                    <a:pt x="2020151" y="198831"/>
                  </a:lnTo>
                  <a:lnTo>
                    <a:pt x="2020151" y="196113"/>
                  </a:lnTo>
                  <a:lnTo>
                    <a:pt x="2020202" y="196113"/>
                  </a:lnTo>
                  <a:lnTo>
                    <a:pt x="2020202" y="197447"/>
                  </a:lnTo>
                  <a:lnTo>
                    <a:pt x="2020202" y="196113"/>
                  </a:lnTo>
                  <a:lnTo>
                    <a:pt x="2020253" y="196113"/>
                  </a:lnTo>
                  <a:lnTo>
                    <a:pt x="2020253" y="195415"/>
                  </a:lnTo>
                  <a:lnTo>
                    <a:pt x="2020253" y="197447"/>
                  </a:lnTo>
                  <a:lnTo>
                    <a:pt x="2020253" y="196799"/>
                  </a:lnTo>
                  <a:lnTo>
                    <a:pt x="2020304" y="196799"/>
                  </a:lnTo>
                  <a:lnTo>
                    <a:pt x="2020304" y="198831"/>
                  </a:lnTo>
                  <a:lnTo>
                    <a:pt x="2020304" y="197447"/>
                  </a:lnTo>
                  <a:lnTo>
                    <a:pt x="2020304" y="198831"/>
                  </a:lnTo>
                  <a:lnTo>
                    <a:pt x="2020304" y="197447"/>
                  </a:lnTo>
                  <a:lnTo>
                    <a:pt x="2020304" y="198831"/>
                  </a:lnTo>
                  <a:lnTo>
                    <a:pt x="2020393" y="198831"/>
                  </a:lnTo>
                  <a:lnTo>
                    <a:pt x="2020393" y="197447"/>
                  </a:lnTo>
                  <a:lnTo>
                    <a:pt x="2020393" y="199530"/>
                  </a:lnTo>
                  <a:lnTo>
                    <a:pt x="2020393" y="198831"/>
                  </a:lnTo>
                  <a:lnTo>
                    <a:pt x="2020393" y="199530"/>
                  </a:lnTo>
                  <a:lnTo>
                    <a:pt x="2020444" y="199530"/>
                  </a:lnTo>
                  <a:lnTo>
                    <a:pt x="2020444" y="197447"/>
                  </a:lnTo>
                  <a:lnTo>
                    <a:pt x="2020494" y="197447"/>
                  </a:lnTo>
                  <a:lnTo>
                    <a:pt x="2020494" y="196113"/>
                  </a:lnTo>
                  <a:lnTo>
                    <a:pt x="2020494" y="196799"/>
                  </a:lnTo>
                  <a:lnTo>
                    <a:pt x="2020494" y="196113"/>
                  </a:lnTo>
                  <a:lnTo>
                    <a:pt x="2020545" y="196113"/>
                  </a:lnTo>
                  <a:lnTo>
                    <a:pt x="2020545" y="197447"/>
                  </a:lnTo>
                  <a:lnTo>
                    <a:pt x="2020545" y="196113"/>
                  </a:lnTo>
                  <a:lnTo>
                    <a:pt x="2020647" y="196799"/>
                  </a:lnTo>
                  <a:lnTo>
                    <a:pt x="2020647" y="199530"/>
                  </a:lnTo>
                  <a:lnTo>
                    <a:pt x="2020647" y="196799"/>
                  </a:lnTo>
                  <a:lnTo>
                    <a:pt x="2020647" y="197447"/>
                  </a:lnTo>
                  <a:lnTo>
                    <a:pt x="2020697" y="198831"/>
                  </a:lnTo>
                  <a:lnTo>
                    <a:pt x="2020697" y="196799"/>
                  </a:lnTo>
                  <a:lnTo>
                    <a:pt x="2020697" y="198831"/>
                  </a:lnTo>
                  <a:lnTo>
                    <a:pt x="2020748" y="198831"/>
                  </a:lnTo>
                  <a:lnTo>
                    <a:pt x="2020748" y="197447"/>
                  </a:lnTo>
                  <a:lnTo>
                    <a:pt x="2020748" y="198831"/>
                  </a:lnTo>
                  <a:lnTo>
                    <a:pt x="2020850" y="198831"/>
                  </a:lnTo>
                  <a:lnTo>
                    <a:pt x="2020850" y="199530"/>
                  </a:lnTo>
                  <a:lnTo>
                    <a:pt x="2020850" y="198831"/>
                  </a:lnTo>
                  <a:lnTo>
                    <a:pt x="2020850" y="199530"/>
                  </a:lnTo>
                  <a:lnTo>
                    <a:pt x="2020850" y="198831"/>
                  </a:lnTo>
                  <a:lnTo>
                    <a:pt x="2020850" y="199530"/>
                  </a:lnTo>
                  <a:lnTo>
                    <a:pt x="2020850" y="198831"/>
                  </a:lnTo>
                  <a:lnTo>
                    <a:pt x="2020850" y="199530"/>
                  </a:lnTo>
                  <a:lnTo>
                    <a:pt x="2020850" y="198831"/>
                  </a:lnTo>
                  <a:lnTo>
                    <a:pt x="2020850" y="199530"/>
                  </a:lnTo>
                  <a:lnTo>
                    <a:pt x="2020850" y="198831"/>
                  </a:lnTo>
                  <a:lnTo>
                    <a:pt x="2020888" y="199530"/>
                  </a:lnTo>
                  <a:lnTo>
                    <a:pt x="2020888" y="198831"/>
                  </a:lnTo>
                  <a:lnTo>
                    <a:pt x="2020888" y="199530"/>
                  </a:lnTo>
                  <a:lnTo>
                    <a:pt x="2020888" y="198831"/>
                  </a:lnTo>
                  <a:lnTo>
                    <a:pt x="2020888" y="199530"/>
                  </a:lnTo>
                  <a:lnTo>
                    <a:pt x="2020888" y="198831"/>
                  </a:lnTo>
                  <a:lnTo>
                    <a:pt x="2020939" y="198831"/>
                  </a:lnTo>
                  <a:lnTo>
                    <a:pt x="2020939" y="197447"/>
                  </a:lnTo>
                  <a:lnTo>
                    <a:pt x="2020939" y="198831"/>
                  </a:lnTo>
                  <a:lnTo>
                    <a:pt x="2020939" y="197447"/>
                  </a:lnTo>
                  <a:lnTo>
                    <a:pt x="2020990" y="197447"/>
                  </a:lnTo>
                  <a:lnTo>
                    <a:pt x="2020990" y="196799"/>
                  </a:lnTo>
                  <a:lnTo>
                    <a:pt x="2020990" y="197447"/>
                  </a:lnTo>
                  <a:lnTo>
                    <a:pt x="2020990" y="196799"/>
                  </a:lnTo>
                  <a:lnTo>
                    <a:pt x="2020990" y="199530"/>
                  </a:lnTo>
                  <a:lnTo>
                    <a:pt x="2021091" y="199530"/>
                  </a:lnTo>
                  <a:lnTo>
                    <a:pt x="2021091" y="197447"/>
                  </a:lnTo>
                  <a:lnTo>
                    <a:pt x="2021091" y="200876"/>
                  </a:lnTo>
                  <a:lnTo>
                    <a:pt x="2021091" y="200228"/>
                  </a:lnTo>
                  <a:lnTo>
                    <a:pt x="2021142" y="200228"/>
                  </a:lnTo>
                  <a:lnTo>
                    <a:pt x="2021142" y="198831"/>
                  </a:lnTo>
                  <a:lnTo>
                    <a:pt x="2021142" y="200876"/>
                  </a:lnTo>
                  <a:lnTo>
                    <a:pt x="2021142" y="200228"/>
                  </a:lnTo>
                  <a:lnTo>
                    <a:pt x="2021193" y="199530"/>
                  </a:lnTo>
                  <a:lnTo>
                    <a:pt x="2021193" y="200228"/>
                  </a:lnTo>
                  <a:lnTo>
                    <a:pt x="2021193" y="199530"/>
                  </a:lnTo>
                  <a:lnTo>
                    <a:pt x="2021193" y="200228"/>
                  </a:lnTo>
                  <a:lnTo>
                    <a:pt x="2021193" y="198831"/>
                  </a:lnTo>
                  <a:lnTo>
                    <a:pt x="2021193" y="199530"/>
                  </a:lnTo>
                  <a:lnTo>
                    <a:pt x="2021294" y="199530"/>
                  </a:lnTo>
                  <a:lnTo>
                    <a:pt x="2021294" y="200228"/>
                  </a:lnTo>
                  <a:lnTo>
                    <a:pt x="2021294" y="199530"/>
                  </a:lnTo>
                  <a:lnTo>
                    <a:pt x="2021345" y="200228"/>
                  </a:lnTo>
                  <a:lnTo>
                    <a:pt x="2021345" y="199530"/>
                  </a:lnTo>
                  <a:lnTo>
                    <a:pt x="2021345" y="200228"/>
                  </a:lnTo>
                  <a:lnTo>
                    <a:pt x="2021345" y="199530"/>
                  </a:lnTo>
                  <a:lnTo>
                    <a:pt x="2021396" y="198831"/>
                  </a:lnTo>
                  <a:lnTo>
                    <a:pt x="2021396" y="199530"/>
                  </a:lnTo>
                  <a:lnTo>
                    <a:pt x="2021396" y="198831"/>
                  </a:lnTo>
                  <a:lnTo>
                    <a:pt x="2021396" y="199530"/>
                  </a:lnTo>
                  <a:lnTo>
                    <a:pt x="2021396" y="197447"/>
                  </a:lnTo>
                  <a:lnTo>
                    <a:pt x="2021396" y="198831"/>
                  </a:lnTo>
                  <a:lnTo>
                    <a:pt x="2021434" y="198831"/>
                  </a:lnTo>
                  <a:lnTo>
                    <a:pt x="2021434" y="196799"/>
                  </a:lnTo>
                  <a:lnTo>
                    <a:pt x="2021434" y="197447"/>
                  </a:lnTo>
                  <a:lnTo>
                    <a:pt x="2021434" y="196113"/>
                  </a:lnTo>
                  <a:lnTo>
                    <a:pt x="2021434" y="196799"/>
                  </a:lnTo>
                  <a:lnTo>
                    <a:pt x="2021434" y="196113"/>
                  </a:lnTo>
                  <a:lnTo>
                    <a:pt x="2021536" y="196113"/>
                  </a:lnTo>
                  <a:lnTo>
                    <a:pt x="2021536" y="198831"/>
                  </a:lnTo>
                  <a:lnTo>
                    <a:pt x="2021536" y="197447"/>
                  </a:lnTo>
                  <a:lnTo>
                    <a:pt x="2021587" y="197447"/>
                  </a:lnTo>
                  <a:lnTo>
                    <a:pt x="2021587" y="200228"/>
                  </a:lnTo>
                  <a:lnTo>
                    <a:pt x="2021587" y="198831"/>
                  </a:lnTo>
                  <a:lnTo>
                    <a:pt x="2021637" y="198831"/>
                  </a:lnTo>
                  <a:lnTo>
                    <a:pt x="2021637" y="200228"/>
                  </a:lnTo>
                  <a:lnTo>
                    <a:pt x="2021637" y="199530"/>
                  </a:lnTo>
                  <a:lnTo>
                    <a:pt x="2021739" y="199530"/>
                  </a:lnTo>
                  <a:lnTo>
                    <a:pt x="2021739" y="200228"/>
                  </a:lnTo>
                  <a:lnTo>
                    <a:pt x="2021739" y="199530"/>
                  </a:lnTo>
                  <a:lnTo>
                    <a:pt x="2021739" y="200228"/>
                  </a:lnTo>
                  <a:lnTo>
                    <a:pt x="2021739" y="199530"/>
                  </a:lnTo>
                  <a:lnTo>
                    <a:pt x="2021739" y="200228"/>
                  </a:lnTo>
                  <a:lnTo>
                    <a:pt x="2021739" y="199530"/>
                  </a:lnTo>
                  <a:lnTo>
                    <a:pt x="2021739" y="200228"/>
                  </a:lnTo>
                  <a:lnTo>
                    <a:pt x="2021840" y="200228"/>
                  </a:lnTo>
                  <a:lnTo>
                    <a:pt x="2021840" y="199530"/>
                  </a:lnTo>
                  <a:lnTo>
                    <a:pt x="2021891" y="199530"/>
                  </a:lnTo>
                  <a:lnTo>
                    <a:pt x="2021891" y="197447"/>
                  </a:lnTo>
                  <a:lnTo>
                    <a:pt x="2021980" y="197447"/>
                  </a:lnTo>
                  <a:lnTo>
                    <a:pt x="2021980" y="195415"/>
                  </a:lnTo>
                  <a:lnTo>
                    <a:pt x="2022031" y="195415"/>
                  </a:lnTo>
                  <a:lnTo>
                    <a:pt x="2022031" y="197447"/>
                  </a:lnTo>
                  <a:lnTo>
                    <a:pt x="2022031" y="196113"/>
                  </a:lnTo>
                  <a:lnTo>
                    <a:pt x="2022031" y="196799"/>
                  </a:lnTo>
                  <a:lnTo>
                    <a:pt x="2022082" y="197447"/>
                  </a:lnTo>
                  <a:lnTo>
                    <a:pt x="2022082" y="198831"/>
                  </a:lnTo>
                  <a:lnTo>
                    <a:pt x="2022082" y="196799"/>
                  </a:lnTo>
                  <a:lnTo>
                    <a:pt x="2022082" y="197447"/>
                  </a:lnTo>
                  <a:lnTo>
                    <a:pt x="2022133" y="198831"/>
                  </a:lnTo>
                  <a:lnTo>
                    <a:pt x="2022133" y="197447"/>
                  </a:lnTo>
                  <a:lnTo>
                    <a:pt x="2022133" y="198831"/>
                  </a:lnTo>
                  <a:lnTo>
                    <a:pt x="2022133" y="197447"/>
                  </a:lnTo>
                  <a:lnTo>
                    <a:pt x="2022133" y="198831"/>
                  </a:lnTo>
                  <a:lnTo>
                    <a:pt x="2022234" y="198831"/>
                  </a:lnTo>
                  <a:lnTo>
                    <a:pt x="2022234" y="199530"/>
                  </a:lnTo>
                  <a:lnTo>
                    <a:pt x="2022234" y="198831"/>
                  </a:lnTo>
                  <a:lnTo>
                    <a:pt x="2022234" y="199530"/>
                  </a:lnTo>
                  <a:lnTo>
                    <a:pt x="2022234" y="198831"/>
                  </a:lnTo>
                  <a:lnTo>
                    <a:pt x="2022234" y="199530"/>
                  </a:lnTo>
                  <a:lnTo>
                    <a:pt x="2022285" y="199530"/>
                  </a:lnTo>
                  <a:lnTo>
                    <a:pt x="2022285" y="200228"/>
                  </a:lnTo>
                  <a:lnTo>
                    <a:pt x="2022285" y="199530"/>
                  </a:lnTo>
                  <a:lnTo>
                    <a:pt x="2022285" y="200228"/>
                  </a:lnTo>
                  <a:lnTo>
                    <a:pt x="2022285" y="199530"/>
                  </a:lnTo>
                  <a:lnTo>
                    <a:pt x="2022336" y="199530"/>
                  </a:lnTo>
                  <a:lnTo>
                    <a:pt x="2022336" y="200228"/>
                  </a:lnTo>
                  <a:lnTo>
                    <a:pt x="2022336" y="199530"/>
                  </a:lnTo>
                  <a:lnTo>
                    <a:pt x="2022336" y="200228"/>
                  </a:lnTo>
                  <a:lnTo>
                    <a:pt x="2022336" y="198831"/>
                  </a:lnTo>
                  <a:lnTo>
                    <a:pt x="2022437" y="198831"/>
                  </a:lnTo>
                  <a:lnTo>
                    <a:pt x="2022437" y="196799"/>
                  </a:lnTo>
                  <a:lnTo>
                    <a:pt x="2022437" y="197447"/>
                  </a:lnTo>
                  <a:lnTo>
                    <a:pt x="2022475" y="197447"/>
                  </a:lnTo>
                  <a:lnTo>
                    <a:pt x="2022475" y="196799"/>
                  </a:lnTo>
                  <a:lnTo>
                    <a:pt x="2022475" y="197447"/>
                  </a:lnTo>
                  <a:lnTo>
                    <a:pt x="2022475" y="194716"/>
                  </a:lnTo>
                  <a:lnTo>
                    <a:pt x="2022526" y="194716"/>
                  </a:lnTo>
                  <a:lnTo>
                    <a:pt x="2022526" y="193383"/>
                  </a:lnTo>
                  <a:lnTo>
                    <a:pt x="2022526" y="195415"/>
                  </a:lnTo>
                  <a:lnTo>
                    <a:pt x="2022526" y="194716"/>
                  </a:lnTo>
                  <a:lnTo>
                    <a:pt x="2022577" y="194716"/>
                  </a:lnTo>
                  <a:lnTo>
                    <a:pt x="2022577" y="193383"/>
                  </a:lnTo>
                  <a:lnTo>
                    <a:pt x="2022577" y="196113"/>
                  </a:lnTo>
                  <a:lnTo>
                    <a:pt x="2022577" y="194716"/>
                  </a:lnTo>
                  <a:lnTo>
                    <a:pt x="2022577" y="195415"/>
                  </a:lnTo>
                  <a:lnTo>
                    <a:pt x="2022679" y="195415"/>
                  </a:lnTo>
                  <a:lnTo>
                    <a:pt x="2022679" y="196799"/>
                  </a:lnTo>
                  <a:lnTo>
                    <a:pt x="2022679" y="196113"/>
                  </a:lnTo>
                  <a:lnTo>
                    <a:pt x="2022730" y="196113"/>
                  </a:lnTo>
                  <a:lnTo>
                    <a:pt x="2022730" y="197447"/>
                  </a:lnTo>
                  <a:lnTo>
                    <a:pt x="2022730" y="196799"/>
                  </a:lnTo>
                  <a:lnTo>
                    <a:pt x="2022730" y="197447"/>
                  </a:lnTo>
                  <a:lnTo>
                    <a:pt x="2022730" y="196799"/>
                  </a:lnTo>
                  <a:lnTo>
                    <a:pt x="2022730" y="197447"/>
                  </a:lnTo>
                  <a:lnTo>
                    <a:pt x="2022780" y="197447"/>
                  </a:lnTo>
                  <a:lnTo>
                    <a:pt x="2022780" y="199530"/>
                  </a:lnTo>
                  <a:lnTo>
                    <a:pt x="2022882" y="199530"/>
                  </a:lnTo>
                  <a:lnTo>
                    <a:pt x="2022882" y="198831"/>
                  </a:lnTo>
                  <a:lnTo>
                    <a:pt x="2022882" y="199530"/>
                  </a:lnTo>
                  <a:lnTo>
                    <a:pt x="2022933" y="199530"/>
                  </a:lnTo>
                  <a:lnTo>
                    <a:pt x="2022933" y="198831"/>
                  </a:lnTo>
                  <a:lnTo>
                    <a:pt x="2022933" y="199530"/>
                  </a:lnTo>
                  <a:lnTo>
                    <a:pt x="2022933" y="198831"/>
                  </a:lnTo>
                  <a:lnTo>
                    <a:pt x="2022933" y="199530"/>
                  </a:lnTo>
                  <a:lnTo>
                    <a:pt x="2022933" y="198831"/>
                  </a:lnTo>
                  <a:lnTo>
                    <a:pt x="2022984" y="198831"/>
                  </a:lnTo>
                  <a:lnTo>
                    <a:pt x="2022984" y="197447"/>
                  </a:lnTo>
                  <a:lnTo>
                    <a:pt x="2022984" y="198831"/>
                  </a:lnTo>
                  <a:lnTo>
                    <a:pt x="2022984" y="196113"/>
                  </a:lnTo>
                  <a:lnTo>
                    <a:pt x="2023022" y="196113"/>
                  </a:lnTo>
                  <a:lnTo>
                    <a:pt x="2023022" y="194716"/>
                  </a:lnTo>
                  <a:lnTo>
                    <a:pt x="2023022" y="196113"/>
                  </a:lnTo>
                  <a:lnTo>
                    <a:pt x="2023022" y="194716"/>
                  </a:lnTo>
                  <a:lnTo>
                    <a:pt x="2023123" y="194716"/>
                  </a:lnTo>
                  <a:lnTo>
                    <a:pt x="2023123" y="193383"/>
                  </a:lnTo>
                  <a:lnTo>
                    <a:pt x="2023123" y="196113"/>
                  </a:lnTo>
                  <a:lnTo>
                    <a:pt x="2023123" y="195415"/>
                  </a:lnTo>
                  <a:lnTo>
                    <a:pt x="2023174" y="194716"/>
                  </a:lnTo>
                  <a:lnTo>
                    <a:pt x="2023174" y="196113"/>
                  </a:lnTo>
                  <a:lnTo>
                    <a:pt x="2023174" y="195415"/>
                  </a:lnTo>
                  <a:lnTo>
                    <a:pt x="2023174" y="196113"/>
                  </a:lnTo>
                  <a:lnTo>
                    <a:pt x="2023225" y="195415"/>
                  </a:lnTo>
                  <a:lnTo>
                    <a:pt x="2023225" y="196799"/>
                  </a:lnTo>
                  <a:lnTo>
                    <a:pt x="2023326" y="196113"/>
                  </a:lnTo>
                  <a:lnTo>
                    <a:pt x="2023326" y="196799"/>
                  </a:lnTo>
                  <a:lnTo>
                    <a:pt x="2023326" y="196113"/>
                  </a:lnTo>
                  <a:lnTo>
                    <a:pt x="2023326" y="196799"/>
                  </a:lnTo>
                  <a:lnTo>
                    <a:pt x="2023377" y="196799"/>
                  </a:lnTo>
                  <a:lnTo>
                    <a:pt x="2023377" y="197447"/>
                  </a:lnTo>
                  <a:lnTo>
                    <a:pt x="2023377" y="196799"/>
                  </a:lnTo>
                  <a:lnTo>
                    <a:pt x="2023377" y="197447"/>
                  </a:lnTo>
                  <a:lnTo>
                    <a:pt x="2023428" y="197447"/>
                  </a:lnTo>
                  <a:lnTo>
                    <a:pt x="2023428" y="198831"/>
                  </a:lnTo>
                  <a:lnTo>
                    <a:pt x="2023428" y="197447"/>
                  </a:lnTo>
                  <a:lnTo>
                    <a:pt x="2023479" y="198831"/>
                  </a:lnTo>
                  <a:lnTo>
                    <a:pt x="2023479" y="196113"/>
                  </a:lnTo>
                  <a:lnTo>
                    <a:pt x="2023568" y="196113"/>
                  </a:lnTo>
                  <a:lnTo>
                    <a:pt x="2023568" y="196799"/>
                  </a:lnTo>
                  <a:lnTo>
                    <a:pt x="2023568" y="195415"/>
                  </a:lnTo>
                  <a:lnTo>
                    <a:pt x="2023619" y="195415"/>
                  </a:lnTo>
                  <a:lnTo>
                    <a:pt x="2023619" y="197447"/>
                  </a:lnTo>
                  <a:lnTo>
                    <a:pt x="2023619" y="196113"/>
                  </a:lnTo>
                  <a:lnTo>
                    <a:pt x="2023619" y="196799"/>
                  </a:lnTo>
                  <a:lnTo>
                    <a:pt x="2023619" y="196113"/>
                  </a:lnTo>
                  <a:lnTo>
                    <a:pt x="2023619" y="196799"/>
                  </a:lnTo>
                  <a:lnTo>
                    <a:pt x="2023669" y="196799"/>
                  </a:lnTo>
                  <a:lnTo>
                    <a:pt x="2023669" y="198831"/>
                  </a:lnTo>
                  <a:lnTo>
                    <a:pt x="2023669" y="196799"/>
                  </a:lnTo>
                  <a:lnTo>
                    <a:pt x="2023720" y="196799"/>
                  </a:lnTo>
                  <a:lnTo>
                    <a:pt x="2023720" y="197447"/>
                  </a:lnTo>
                  <a:lnTo>
                    <a:pt x="2023720" y="196799"/>
                  </a:lnTo>
                  <a:lnTo>
                    <a:pt x="2023822" y="197447"/>
                  </a:lnTo>
                  <a:lnTo>
                    <a:pt x="2023872" y="197447"/>
                  </a:lnTo>
                  <a:lnTo>
                    <a:pt x="2023872" y="198831"/>
                  </a:lnTo>
                  <a:lnTo>
                    <a:pt x="2023872" y="197447"/>
                  </a:lnTo>
                  <a:lnTo>
                    <a:pt x="2023872" y="198831"/>
                  </a:lnTo>
                  <a:lnTo>
                    <a:pt x="2023872" y="197447"/>
                  </a:lnTo>
                  <a:lnTo>
                    <a:pt x="2023872" y="198831"/>
                  </a:lnTo>
                  <a:lnTo>
                    <a:pt x="2023923" y="198831"/>
                  </a:lnTo>
                  <a:lnTo>
                    <a:pt x="2023923" y="197447"/>
                  </a:lnTo>
                  <a:lnTo>
                    <a:pt x="2023923" y="198831"/>
                  </a:lnTo>
                  <a:lnTo>
                    <a:pt x="2023923" y="197447"/>
                  </a:lnTo>
                  <a:lnTo>
                    <a:pt x="2024025" y="197447"/>
                  </a:lnTo>
                  <a:lnTo>
                    <a:pt x="2024025" y="196113"/>
                  </a:lnTo>
                  <a:lnTo>
                    <a:pt x="2024025" y="196799"/>
                  </a:lnTo>
                  <a:lnTo>
                    <a:pt x="2024025" y="195415"/>
                  </a:lnTo>
                  <a:lnTo>
                    <a:pt x="2024063" y="195415"/>
                  </a:lnTo>
                  <a:lnTo>
                    <a:pt x="2024063" y="196799"/>
                  </a:lnTo>
                  <a:lnTo>
                    <a:pt x="2024063" y="195415"/>
                  </a:lnTo>
                  <a:lnTo>
                    <a:pt x="2024114" y="195415"/>
                  </a:lnTo>
                  <a:lnTo>
                    <a:pt x="2024114" y="198831"/>
                  </a:lnTo>
                  <a:lnTo>
                    <a:pt x="2024114" y="196799"/>
                  </a:lnTo>
                  <a:lnTo>
                    <a:pt x="2024165" y="197447"/>
                  </a:lnTo>
                  <a:lnTo>
                    <a:pt x="2024165" y="198831"/>
                  </a:lnTo>
                  <a:lnTo>
                    <a:pt x="2024165" y="197447"/>
                  </a:lnTo>
                  <a:lnTo>
                    <a:pt x="2024165" y="198831"/>
                  </a:lnTo>
                  <a:lnTo>
                    <a:pt x="2024165" y="197447"/>
                  </a:lnTo>
                  <a:lnTo>
                    <a:pt x="2024266" y="197447"/>
                  </a:lnTo>
                  <a:lnTo>
                    <a:pt x="2024266" y="196799"/>
                  </a:lnTo>
                  <a:lnTo>
                    <a:pt x="2024266" y="198831"/>
                  </a:lnTo>
                  <a:lnTo>
                    <a:pt x="2024266" y="197447"/>
                  </a:lnTo>
                  <a:lnTo>
                    <a:pt x="2024266" y="198831"/>
                  </a:lnTo>
                  <a:lnTo>
                    <a:pt x="2024266" y="197447"/>
                  </a:lnTo>
                  <a:lnTo>
                    <a:pt x="2024317" y="197447"/>
                  </a:lnTo>
                  <a:lnTo>
                    <a:pt x="2024317" y="198831"/>
                  </a:lnTo>
                  <a:lnTo>
                    <a:pt x="2024317" y="196799"/>
                  </a:lnTo>
                  <a:lnTo>
                    <a:pt x="2024317" y="197447"/>
                  </a:lnTo>
                  <a:lnTo>
                    <a:pt x="2024368" y="197447"/>
                  </a:lnTo>
                  <a:lnTo>
                    <a:pt x="2024368" y="198831"/>
                  </a:lnTo>
                  <a:lnTo>
                    <a:pt x="2024368" y="197447"/>
                  </a:lnTo>
                  <a:lnTo>
                    <a:pt x="2024368" y="198831"/>
                  </a:lnTo>
                  <a:lnTo>
                    <a:pt x="2024368" y="197447"/>
                  </a:lnTo>
                  <a:lnTo>
                    <a:pt x="2024368" y="198831"/>
                  </a:lnTo>
                  <a:lnTo>
                    <a:pt x="2024368" y="197447"/>
                  </a:lnTo>
                  <a:lnTo>
                    <a:pt x="2024469" y="198831"/>
                  </a:lnTo>
                  <a:lnTo>
                    <a:pt x="2024469" y="196799"/>
                  </a:lnTo>
                  <a:lnTo>
                    <a:pt x="2024520" y="196799"/>
                  </a:lnTo>
                  <a:lnTo>
                    <a:pt x="2024520" y="194716"/>
                  </a:lnTo>
                  <a:lnTo>
                    <a:pt x="2024571" y="194716"/>
                  </a:lnTo>
                  <a:lnTo>
                    <a:pt x="2024571" y="193383"/>
                  </a:lnTo>
                  <a:lnTo>
                    <a:pt x="2024571" y="196113"/>
                  </a:lnTo>
                  <a:lnTo>
                    <a:pt x="2024571" y="193383"/>
                  </a:lnTo>
                  <a:lnTo>
                    <a:pt x="2024609" y="194716"/>
                  </a:lnTo>
                  <a:lnTo>
                    <a:pt x="2024609" y="197447"/>
                  </a:lnTo>
                  <a:lnTo>
                    <a:pt x="2024609" y="196113"/>
                  </a:lnTo>
                  <a:lnTo>
                    <a:pt x="2024609" y="196799"/>
                  </a:lnTo>
                  <a:lnTo>
                    <a:pt x="2024711" y="196799"/>
                  </a:lnTo>
                  <a:lnTo>
                    <a:pt x="2024711" y="198831"/>
                  </a:lnTo>
                  <a:lnTo>
                    <a:pt x="2024711" y="196799"/>
                  </a:lnTo>
                  <a:lnTo>
                    <a:pt x="2024711" y="197447"/>
                  </a:lnTo>
                  <a:lnTo>
                    <a:pt x="2024711" y="196799"/>
                  </a:lnTo>
                  <a:lnTo>
                    <a:pt x="2024711" y="197447"/>
                  </a:lnTo>
                  <a:lnTo>
                    <a:pt x="2024762" y="197447"/>
                  </a:lnTo>
                  <a:lnTo>
                    <a:pt x="2024762" y="198831"/>
                  </a:lnTo>
                  <a:lnTo>
                    <a:pt x="2024762" y="196799"/>
                  </a:lnTo>
                  <a:lnTo>
                    <a:pt x="2024762" y="197447"/>
                  </a:lnTo>
                  <a:lnTo>
                    <a:pt x="2024812" y="197447"/>
                  </a:lnTo>
                  <a:lnTo>
                    <a:pt x="2024812" y="198831"/>
                  </a:lnTo>
                  <a:lnTo>
                    <a:pt x="2024812" y="197447"/>
                  </a:lnTo>
                  <a:lnTo>
                    <a:pt x="2024812" y="199530"/>
                  </a:lnTo>
                  <a:lnTo>
                    <a:pt x="2024812" y="198831"/>
                  </a:lnTo>
                  <a:lnTo>
                    <a:pt x="2024914" y="198831"/>
                  </a:lnTo>
                  <a:lnTo>
                    <a:pt x="2024914" y="199530"/>
                  </a:lnTo>
                  <a:lnTo>
                    <a:pt x="2024965" y="199530"/>
                  </a:lnTo>
                  <a:lnTo>
                    <a:pt x="2024965" y="197447"/>
                  </a:lnTo>
                  <a:lnTo>
                    <a:pt x="2024965" y="198831"/>
                  </a:lnTo>
                  <a:lnTo>
                    <a:pt x="2024965" y="197447"/>
                  </a:lnTo>
                  <a:lnTo>
                    <a:pt x="2024965" y="198831"/>
                  </a:lnTo>
                  <a:lnTo>
                    <a:pt x="2024965" y="196799"/>
                  </a:lnTo>
                  <a:lnTo>
                    <a:pt x="2025015" y="197447"/>
                  </a:lnTo>
                  <a:lnTo>
                    <a:pt x="2025015" y="195415"/>
                  </a:lnTo>
                  <a:lnTo>
                    <a:pt x="2025015" y="196113"/>
                  </a:lnTo>
                  <a:lnTo>
                    <a:pt x="2025015" y="195415"/>
                  </a:lnTo>
                  <a:lnTo>
                    <a:pt x="2025015" y="196113"/>
                  </a:lnTo>
                  <a:lnTo>
                    <a:pt x="2025066" y="196113"/>
                  </a:lnTo>
                  <a:lnTo>
                    <a:pt x="2025066" y="196799"/>
                  </a:lnTo>
                  <a:lnTo>
                    <a:pt x="2025066" y="195415"/>
                  </a:lnTo>
                  <a:lnTo>
                    <a:pt x="2025066" y="197447"/>
                  </a:lnTo>
                  <a:lnTo>
                    <a:pt x="2025155" y="197447"/>
                  </a:lnTo>
                  <a:lnTo>
                    <a:pt x="2025155" y="198831"/>
                  </a:lnTo>
                  <a:lnTo>
                    <a:pt x="2025155" y="196799"/>
                  </a:lnTo>
                  <a:lnTo>
                    <a:pt x="2025155" y="198831"/>
                  </a:lnTo>
                  <a:lnTo>
                    <a:pt x="2025206" y="198831"/>
                  </a:lnTo>
                  <a:lnTo>
                    <a:pt x="2025206" y="196799"/>
                  </a:lnTo>
                  <a:lnTo>
                    <a:pt x="2025206" y="197447"/>
                  </a:lnTo>
                  <a:lnTo>
                    <a:pt x="2025257" y="197447"/>
                  </a:lnTo>
                  <a:lnTo>
                    <a:pt x="2025257" y="196799"/>
                  </a:lnTo>
                  <a:lnTo>
                    <a:pt x="2025257" y="198831"/>
                  </a:lnTo>
                  <a:lnTo>
                    <a:pt x="2025257" y="197447"/>
                  </a:lnTo>
                  <a:lnTo>
                    <a:pt x="2025257" y="198831"/>
                  </a:lnTo>
                  <a:lnTo>
                    <a:pt x="2025308" y="198831"/>
                  </a:lnTo>
                  <a:lnTo>
                    <a:pt x="2025308" y="199530"/>
                  </a:lnTo>
                  <a:lnTo>
                    <a:pt x="2025308" y="197447"/>
                  </a:lnTo>
                  <a:lnTo>
                    <a:pt x="2025308" y="199530"/>
                  </a:lnTo>
                  <a:lnTo>
                    <a:pt x="2025308" y="198831"/>
                  </a:lnTo>
                  <a:lnTo>
                    <a:pt x="2025409" y="198831"/>
                  </a:lnTo>
                  <a:lnTo>
                    <a:pt x="2025409" y="199530"/>
                  </a:lnTo>
                  <a:lnTo>
                    <a:pt x="2025409" y="198831"/>
                  </a:lnTo>
                  <a:lnTo>
                    <a:pt x="2025460" y="198831"/>
                  </a:lnTo>
                  <a:lnTo>
                    <a:pt x="2025460" y="196113"/>
                  </a:lnTo>
                  <a:lnTo>
                    <a:pt x="2025460" y="196799"/>
                  </a:lnTo>
                  <a:lnTo>
                    <a:pt x="2025511" y="196799"/>
                  </a:lnTo>
                  <a:lnTo>
                    <a:pt x="2025511" y="196113"/>
                  </a:lnTo>
                  <a:lnTo>
                    <a:pt x="2025511" y="197447"/>
                  </a:lnTo>
                  <a:lnTo>
                    <a:pt x="2025612" y="197447"/>
                  </a:lnTo>
                  <a:lnTo>
                    <a:pt x="2025612" y="196113"/>
                  </a:lnTo>
                  <a:lnTo>
                    <a:pt x="2025612" y="198831"/>
                  </a:lnTo>
                  <a:lnTo>
                    <a:pt x="2025650" y="198831"/>
                  </a:lnTo>
                  <a:lnTo>
                    <a:pt x="2025650" y="197447"/>
                  </a:lnTo>
                  <a:lnTo>
                    <a:pt x="2025650" y="199530"/>
                  </a:lnTo>
                  <a:lnTo>
                    <a:pt x="2025701" y="198831"/>
                  </a:lnTo>
                  <a:lnTo>
                    <a:pt x="2025701" y="199530"/>
                  </a:lnTo>
                  <a:lnTo>
                    <a:pt x="2025701" y="198831"/>
                  </a:lnTo>
                  <a:lnTo>
                    <a:pt x="2025752" y="198831"/>
                  </a:lnTo>
                  <a:lnTo>
                    <a:pt x="2025752" y="197447"/>
                  </a:lnTo>
                  <a:lnTo>
                    <a:pt x="2025752" y="199530"/>
                  </a:lnTo>
                  <a:lnTo>
                    <a:pt x="2025752" y="198831"/>
                  </a:lnTo>
                  <a:lnTo>
                    <a:pt x="2025752" y="199530"/>
                  </a:lnTo>
                  <a:lnTo>
                    <a:pt x="2025752" y="198831"/>
                  </a:lnTo>
                  <a:lnTo>
                    <a:pt x="2025854" y="199530"/>
                  </a:lnTo>
                  <a:lnTo>
                    <a:pt x="2025854" y="198831"/>
                  </a:lnTo>
                  <a:lnTo>
                    <a:pt x="2025854" y="199530"/>
                  </a:lnTo>
                  <a:lnTo>
                    <a:pt x="2025905" y="199530"/>
                  </a:lnTo>
                  <a:lnTo>
                    <a:pt x="2025905" y="200228"/>
                  </a:lnTo>
                  <a:lnTo>
                    <a:pt x="2025905" y="198831"/>
                  </a:lnTo>
                  <a:lnTo>
                    <a:pt x="2025905" y="199530"/>
                  </a:lnTo>
                  <a:lnTo>
                    <a:pt x="2025905" y="198831"/>
                  </a:lnTo>
                  <a:lnTo>
                    <a:pt x="2025905" y="199530"/>
                  </a:lnTo>
                  <a:lnTo>
                    <a:pt x="2025905" y="198831"/>
                  </a:lnTo>
                  <a:lnTo>
                    <a:pt x="2025955" y="198831"/>
                  </a:lnTo>
                  <a:lnTo>
                    <a:pt x="2025955" y="196799"/>
                  </a:lnTo>
                  <a:lnTo>
                    <a:pt x="2025955" y="197447"/>
                  </a:lnTo>
                  <a:lnTo>
                    <a:pt x="2025955" y="196113"/>
                  </a:lnTo>
                  <a:lnTo>
                    <a:pt x="2025955" y="196799"/>
                  </a:lnTo>
                  <a:lnTo>
                    <a:pt x="2025955" y="196113"/>
                  </a:lnTo>
                  <a:lnTo>
                    <a:pt x="2026057" y="196113"/>
                  </a:lnTo>
                  <a:lnTo>
                    <a:pt x="2026057" y="195415"/>
                  </a:lnTo>
                  <a:lnTo>
                    <a:pt x="2026057" y="196799"/>
                  </a:lnTo>
                  <a:lnTo>
                    <a:pt x="2026057" y="196113"/>
                  </a:lnTo>
                  <a:lnTo>
                    <a:pt x="2026057" y="196799"/>
                  </a:lnTo>
                  <a:lnTo>
                    <a:pt x="2026057" y="196113"/>
                  </a:lnTo>
                  <a:lnTo>
                    <a:pt x="2026108" y="195415"/>
                  </a:lnTo>
                  <a:lnTo>
                    <a:pt x="2026108" y="198831"/>
                  </a:lnTo>
                  <a:lnTo>
                    <a:pt x="2026108" y="197447"/>
                  </a:lnTo>
                  <a:lnTo>
                    <a:pt x="2026159" y="197447"/>
                  </a:lnTo>
                  <a:lnTo>
                    <a:pt x="2026159" y="199530"/>
                  </a:lnTo>
                  <a:lnTo>
                    <a:pt x="2026159" y="197447"/>
                  </a:lnTo>
                  <a:lnTo>
                    <a:pt x="2026197" y="197447"/>
                  </a:lnTo>
                  <a:lnTo>
                    <a:pt x="2026197" y="198831"/>
                  </a:lnTo>
                  <a:lnTo>
                    <a:pt x="2026197" y="197447"/>
                  </a:lnTo>
                  <a:lnTo>
                    <a:pt x="2026197" y="198831"/>
                  </a:lnTo>
                  <a:lnTo>
                    <a:pt x="2026298" y="198831"/>
                  </a:lnTo>
                  <a:lnTo>
                    <a:pt x="2026298" y="199530"/>
                  </a:lnTo>
                  <a:lnTo>
                    <a:pt x="2026298" y="198831"/>
                  </a:lnTo>
                  <a:lnTo>
                    <a:pt x="2026298" y="199530"/>
                  </a:lnTo>
                  <a:lnTo>
                    <a:pt x="2026349" y="198831"/>
                  </a:lnTo>
                  <a:lnTo>
                    <a:pt x="2026349" y="199530"/>
                  </a:lnTo>
                  <a:lnTo>
                    <a:pt x="2026349" y="198831"/>
                  </a:lnTo>
                  <a:lnTo>
                    <a:pt x="2026349" y="199530"/>
                  </a:lnTo>
                  <a:lnTo>
                    <a:pt x="2026349" y="198831"/>
                  </a:lnTo>
                  <a:lnTo>
                    <a:pt x="2026349" y="199530"/>
                  </a:lnTo>
                  <a:lnTo>
                    <a:pt x="2026400" y="199530"/>
                  </a:lnTo>
                  <a:lnTo>
                    <a:pt x="2026400" y="198831"/>
                  </a:lnTo>
                  <a:lnTo>
                    <a:pt x="2026400" y="199530"/>
                  </a:lnTo>
                  <a:lnTo>
                    <a:pt x="2026400" y="198831"/>
                  </a:lnTo>
                  <a:lnTo>
                    <a:pt x="2026400" y="199530"/>
                  </a:lnTo>
                  <a:lnTo>
                    <a:pt x="2026400" y="198831"/>
                  </a:lnTo>
                  <a:lnTo>
                    <a:pt x="2026400" y="199530"/>
                  </a:lnTo>
                  <a:lnTo>
                    <a:pt x="2026400" y="197447"/>
                  </a:lnTo>
                  <a:lnTo>
                    <a:pt x="2026400" y="198831"/>
                  </a:lnTo>
                  <a:lnTo>
                    <a:pt x="2026400" y="197447"/>
                  </a:lnTo>
                  <a:lnTo>
                    <a:pt x="2026501" y="197447"/>
                  </a:lnTo>
                  <a:lnTo>
                    <a:pt x="2026501" y="196799"/>
                  </a:lnTo>
                  <a:lnTo>
                    <a:pt x="2026501" y="197447"/>
                  </a:lnTo>
                  <a:lnTo>
                    <a:pt x="2026501" y="196113"/>
                  </a:lnTo>
                  <a:lnTo>
                    <a:pt x="2026501" y="196799"/>
                  </a:lnTo>
                  <a:lnTo>
                    <a:pt x="2026501" y="196113"/>
                  </a:lnTo>
                  <a:lnTo>
                    <a:pt x="2026501" y="197447"/>
                  </a:lnTo>
                  <a:lnTo>
                    <a:pt x="2026552" y="197447"/>
                  </a:lnTo>
                  <a:lnTo>
                    <a:pt x="2026552" y="196799"/>
                  </a:lnTo>
                  <a:lnTo>
                    <a:pt x="2026552" y="199530"/>
                  </a:lnTo>
                  <a:lnTo>
                    <a:pt x="2026603" y="199530"/>
                  </a:lnTo>
                  <a:lnTo>
                    <a:pt x="2026603" y="198831"/>
                  </a:lnTo>
                  <a:lnTo>
                    <a:pt x="2026603" y="200228"/>
                  </a:lnTo>
                  <a:lnTo>
                    <a:pt x="2026654" y="200228"/>
                  </a:lnTo>
                  <a:lnTo>
                    <a:pt x="2026654" y="198831"/>
                  </a:lnTo>
                  <a:lnTo>
                    <a:pt x="2026654" y="200228"/>
                  </a:lnTo>
                  <a:lnTo>
                    <a:pt x="2026654" y="199530"/>
                  </a:lnTo>
                  <a:lnTo>
                    <a:pt x="2026743" y="199530"/>
                  </a:lnTo>
                  <a:lnTo>
                    <a:pt x="2026743" y="198831"/>
                  </a:lnTo>
                  <a:lnTo>
                    <a:pt x="2026743" y="199530"/>
                  </a:lnTo>
                  <a:lnTo>
                    <a:pt x="2026794" y="199530"/>
                  </a:lnTo>
                  <a:lnTo>
                    <a:pt x="2026794" y="200876"/>
                  </a:lnTo>
                  <a:lnTo>
                    <a:pt x="2026794" y="200228"/>
                  </a:lnTo>
                  <a:lnTo>
                    <a:pt x="2026844" y="200228"/>
                  </a:lnTo>
                  <a:lnTo>
                    <a:pt x="2026844" y="199530"/>
                  </a:lnTo>
                  <a:lnTo>
                    <a:pt x="2026895" y="199530"/>
                  </a:lnTo>
                  <a:lnTo>
                    <a:pt x="2026895" y="197447"/>
                  </a:lnTo>
                  <a:lnTo>
                    <a:pt x="2026997" y="197447"/>
                  </a:lnTo>
                  <a:lnTo>
                    <a:pt x="2026997" y="196799"/>
                  </a:lnTo>
                  <a:lnTo>
                    <a:pt x="2026997" y="197447"/>
                  </a:lnTo>
                  <a:lnTo>
                    <a:pt x="2026997" y="196799"/>
                  </a:lnTo>
                  <a:lnTo>
                    <a:pt x="2026997" y="197447"/>
                  </a:lnTo>
                  <a:lnTo>
                    <a:pt x="2027047" y="197447"/>
                  </a:lnTo>
                  <a:lnTo>
                    <a:pt x="2027047" y="198831"/>
                  </a:lnTo>
                  <a:lnTo>
                    <a:pt x="2027047" y="197447"/>
                  </a:lnTo>
                  <a:lnTo>
                    <a:pt x="2027047" y="199530"/>
                  </a:lnTo>
                  <a:lnTo>
                    <a:pt x="2027098" y="199530"/>
                  </a:lnTo>
                  <a:lnTo>
                    <a:pt x="2027098" y="198831"/>
                  </a:lnTo>
                  <a:lnTo>
                    <a:pt x="2027098" y="200228"/>
                  </a:lnTo>
                  <a:lnTo>
                    <a:pt x="2027098" y="199530"/>
                  </a:lnTo>
                  <a:lnTo>
                    <a:pt x="2027098" y="200228"/>
                  </a:lnTo>
                  <a:lnTo>
                    <a:pt x="2027098" y="199530"/>
                  </a:lnTo>
                  <a:lnTo>
                    <a:pt x="2027200" y="199530"/>
                  </a:lnTo>
                  <a:lnTo>
                    <a:pt x="2027200" y="198831"/>
                  </a:lnTo>
                  <a:lnTo>
                    <a:pt x="2027200" y="200228"/>
                  </a:lnTo>
                  <a:lnTo>
                    <a:pt x="2027200" y="199530"/>
                  </a:lnTo>
                  <a:lnTo>
                    <a:pt x="2027200" y="200228"/>
                  </a:lnTo>
                  <a:lnTo>
                    <a:pt x="2027200" y="199530"/>
                  </a:lnTo>
                  <a:lnTo>
                    <a:pt x="2027238" y="199530"/>
                  </a:lnTo>
                  <a:lnTo>
                    <a:pt x="2027238" y="200228"/>
                  </a:lnTo>
                  <a:lnTo>
                    <a:pt x="2027238" y="199530"/>
                  </a:lnTo>
                  <a:lnTo>
                    <a:pt x="2027238" y="200228"/>
                  </a:lnTo>
                  <a:lnTo>
                    <a:pt x="2027238" y="199530"/>
                  </a:lnTo>
                  <a:lnTo>
                    <a:pt x="2027238" y="200228"/>
                  </a:lnTo>
                  <a:lnTo>
                    <a:pt x="2027289" y="200228"/>
                  </a:lnTo>
                  <a:lnTo>
                    <a:pt x="2027289" y="199530"/>
                  </a:lnTo>
                  <a:lnTo>
                    <a:pt x="2027289" y="200228"/>
                  </a:lnTo>
                  <a:lnTo>
                    <a:pt x="2027289" y="199530"/>
                  </a:lnTo>
                  <a:lnTo>
                    <a:pt x="2027289" y="200228"/>
                  </a:lnTo>
                  <a:lnTo>
                    <a:pt x="2027289" y="199530"/>
                  </a:lnTo>
                  <a:lnTo>
                    <a:pt x="2027289" y="200228"/>
                  </a:lnTo>
                  <a:lnTo>
                    <a:pt x="2027289" y="199530"/>
                  </a:lnTo>
                  <a:lnTo>
                    <a:pt x="2027289" y="200228"/>
                  </a:lnTo>
                  <a:lnTo>
                    <a:pt x="2027340" y="200228"/>
                  </a:lnTo>
                  <a:lnTo>
                    <a:pt x="2027340" y="199530"/>
                  </a:lnTo>
                  <a:lnTo>
                    <a:pt x="2027340" y="200228"/>
                  </a:lnTo>
                  <a:lnTo>
                    <a:pt x="2027340" y="199530"/>
                  </a:lnTo>
                  <a:lnTo>
                    <a:pt x="2027340" y="200228"/>
                  </a:lnTo>
                  <a:lnTo>
                    <a:pt x="2027340" y="198831"/>
                  </a:lnTo>
                  <a:lnTo>
                    <a:pt x="2027441" y="198831"/>
                  </a:lnTo>
                  <a:lnTo>
                    <a:pt x="2027441" y="196799"/>
                  </a:lnTo>
                  <a:lnTo>
                    <a:pt x="2027492" y="196799"/>
                  </a:lnTo>
                  <a:lnTo>
                    <a:pt x="2027492" y="197447"/>
                  </a:lnTo>
                  <a:lnTo>
                    <a:pt x="2027492" y="196799"/>
                  </a:lnTo>
                  <a:lnTo>
                    <a:pt x="2027492" y="197447"/>
                  </a:lnTo>
                  <a:lnTo>
                    <a:pt x="2027492" y="196799"/>
                  </a:lnTo>
                  <a:lnTo>
                    <a:pt x="2027543" y="197447"/>
                  </a:lnTo>
                  <a:lnTo>
                    <a:pt x="2027543" y="199530"/>
                  </a:lnTo>
                  <a:lnTo>
                    <a:pt x="2027543" y="198831"/>
                  </a:lnTo>
                  <a:lnTo>
                    <a:pt x="2027644" y="198831"/>
                  </a:lnTo>
                  <a:lnTo>
                    <a:pt x="2027644" y="200228"/>
                  </a:lnTo>
                  <a:lnTo>
                    <a:pt x="2027644" y="198831"/>
                  </a:lnTo>
                  <a:lnTo>
                    <a:pt x="2027644" y="199530"/>
                  </a:lnTo>
                  <a:lnTo>
                    <a:pt x="2027746" y="199530"/>
                  </a:lnTo>
                  <a:lnTo>
                    <a:pt x="2027746" y="200228"/>
                  </a:lnTo>
                  <a:lnTo>
                    <a:pt x="2027746" y="199530"/>
                  </a:lnTo>
                  <a:lnTo>
                    <a:pt x="2027746" y="200876"/>
                  </a:lnTo>
                  <a:lnTo>
                    <a:pt x="2027746" y="200228"/>
                  </a:lnTo>
                  <a:lnTo>
                    <a:pt x="2027886" y="200228"/>
                  </a:lnTo>
                  <a:lnTo>
                    <a:pt x="2027886" y="198831"/>
                  </a:lnTo>
                  <a:lnTo>
                    <a:pt x="2027886" y="199530"/>
                  </a:lnTo>
                  <a:lnTo>
                    <a:pt x="2027886" y="198831"/>
                  </a:lnTo>
                  <a:lnTo>
                    <a:pt x="2027937" y="198831"/>
                  </a:lnTo>
                  <a:lnTo>
                    <a:pt x="2027937" y="196799"/>
                  </a:lnTo>
                  <a:lnTo>
                    <a:pt x="2027937" y="197447"/>
                  </a:lnTo>
                  <a:lnTo>
                    <a:pt x="2027937" y="196113"/>
                  </a:lnTo>
                  <a:lnTo>
                    <a:pt x="2027987" y="196113"/>
                  </a:lnTo>
                  <a:lnTo>
                    <a:pt x="2027987" y="197447"/>
                  </a:lnTo>
                  <a:lnTo>
                    <a:pt x="2027987" y="196113"/>
                  </a:lnTo>
                  <a:lnTo>
                    <a:pt x="2027987" y="199530"/>
                  </a:lnTo>
                  <a:lnTo>
                    <a:pt x="2028089" y="199530"/>
                  </a:lnTo>
                  <a:lnTo>
                    <a:pt x="2028089" y="198831"/>
                  </a:lnTo>
                  <a:lnTo>
                    <a:pt x="2028089" y="199530"/>
                  </a:lnTo>
                  <a:lnTo>
                    <a:pt x="2028089" y="198831"/>
                  </a:lnTo>
                  <a:lnTo>
                    <a:pt x="2028089" y="199530"/>
                  </a:lnTo>
                  <a:lnTo>
                    <a:pt x="2028140" y="199530"/>
                  </a:lnTo>
                  <a:lnTo>
                    <a:pt x="2028140" y="198831"/>
                  </a:lnTo>
                  <a:lnTo>
                    <a:pt x="2028140" y="199530"/>
                  </a:lnTo>
                  <a:lnTo>
                    <a:pt x="2028140" y="198831"/>
                  </a:lnTo>
                  <a:lnTo>
                    <a:pt x="2028140" y="199530"/>
                  </a:lnTo>
                  <a:lnTo>
                    <a:pt x="2028190" y="199530"/>
                  </a:lnTo>
                  <a:lnTo>
                    <a:pt x="2028190" y="200228"/>
                  </a:lnTo>
                  <a:lnTo>
                    <a:pt x="2028190" y="198831"/>
                  </a:lnTo>
                  <a:lnTo>
                    <a:pt x="2028190" y="200228"/>
                  </a:lnTo>
                  <a:lnTo>
                    <a:pt x="2028190" y="199530"/>
                  </a:lnTo>
                  <a:lnTo>
                    <a:pt x="2028190" y="200228"/>
                  </a:lnTo>
                  <a:lnTo>
                    <a:pt x="2028190" y="199530"/>
                  </a:lnTo>
                  <a:lnTo>
                    <a:pt x="2028241" y="199530"/>
                  </a:lnTo>
                  <a:lnTo>
                    <a:pt x="2028241" y="200228"/>
                  </a:lnTo>
                  <a:lnTo>
                    <a:pt x="2028241" y="199530"/>
                  </a:lnTo>
                  <a:lnTo>
                    <a:pt x="2028241" y="200228"/>
                  </a:lnTo>
                  <a:lnTo>
                    <a:pt x="2028241" y="199530"/>
                  </a:lnTo>
                  <a:lnTo>
                    <a:pt x="2028241" y="200228"/>
                  </a:lnTo>
                  <a:lnTo>
                    <a:pt x="2028241" y="199530"/>
                  </a:lnTo>
                  <a:lnTo>
                    <a:pt x="2028241" y="200228"/>
                  </a:lnTo>
                  <a:lnTo>
                    <a:pt x="2028330" y="200228"/>
                  </a:lnTo>
                  <a:lnTo>
                    <a:pt x="2028330" y="199530"/>
                  </a:lnTo>
                  <a:lnTo>
                    <a:pt x="2028330" y="200228"/>
                  </a:lnTo>
                  <a:lnTo>
                    <a:pt x="2028330" y="199530"/>
                  </a:lnTo>
                  <a:lnTo>
                    <a:pt x="2028381" y="199530"/>
                  </a:lnTo>
                  <a:lnTo>
                    <a:pt x="2028381" y="198831"/>
                  </a:lnTo>
                  <a:lnTo>
                    <a:pt x="2028381" y="199530"/>
                  </a:lnTo>
                  <a:lnTo>
                    <a:pt x="2028381" y="197447"/>
                  </a:lnTo>
                  <a:lnTo>
                    <a:pt x="2028432" y="196799"/>
                  </a:lnTo>
                  <a:lnTo>
                    <a:pt x="2028432" y="196113"/>
                  </a:lnTo>
                  <a:lnTo>
                    <a:pt x="2028432" y="196799"/>
                  </a:lnTo>
                  <a:lnTo>
                    <a:pt x="2028432" y="195415"/>
                  </a:lnTo>
                  <a:lnTo>
                    <a:pt x="2028483" y="194716"/>
                  </a:lnTo>
                  <a:lnTo>
                    <a:pt x="2028483" y="196799"/>
                  </a:lnTo>
                  <a:lnTo>
                    <a:pt x="2028483" y="195415"/>
                  </a:lnTo>
                  <a:lnTo>
                    <a:pt x="2028584" y="195415"/>
                  </a:lnTo>
                  <a:lnTo>
                    <a:pt x="2028584" y="198831"/>
                  </a:lnTo>
                  <a:lnTo>
                    <a:pt x="2028584" y="196113"/>
                  </a:lnTo>
                  <a:lnTo>
                    <a:pt x="2028584" y="196799"/>
                  </a:lnTo>
                  <a:lnTo>
                    <a:pt x="2028635" y="196799"/>
                  </a:lnTo>
                  <a:lnTo>
                    <a:pt x="2028635" y="198831"/>
                  </a:lnTo>
                  <a:lnTo>
                    <a:pt x="2028635" y="196799"/>
                  </a:lnTo>
                  <a:lnTo>
                    <a:pt x="2028635" y="197447"/>
                  </a:lnTo>
                  <a:lnTo>
                    <a:pt x="2028686" y="197447"/>
                  </a:lnTo>
                  <a:lnTo>
                    <a:pt x="2028686" y="198831"/>
                  </a:lnTo>
                  <a:lnTo>
                    <a:pt x="2028686" y="197447"/>
                  </a:lnTo>
                  <a:lnTo>
                    <a:pt x="2028686" y="199530"/>
                  </a:lnTo>
                  <a:lnTo>
                    <a:pt x="2028686" y="198831"/>
                  </a:lnTo>
                  <a:lnTo>
                    <a:pt x="2028686" y="199530"/>
                  </a:lnTo>
                  <a:lnTo>
                    <a:pt x="2028787" y="199530"/>
                  </a:lnTo>
                  <a:lnTo>
                    <a:pt x="2028787" y="200228"/>
                  </a:lnTo>
                  <a:lnTo>
                    <a:pt x="2028787" y="199530"/>
                  </a:lnTo>
                  <a:lnTo>
                    <a:pt x="2028787" y="200228"/>
                  </a:lnTo>
                  <a:lnTo>
                    <a:pt x="2028825" y="200228"/>
                  </a:lnTo>
                  <a:lnTo>
                    <a:pt x="2028825" y="199530"/>
                  </a:lnTo>
                  <a:lnTo>
                    <a:pt x="2028825" y="200228"/>
                  </a:lnTo>
                  <a:lnTo>
                    <a:pt x="2028825" y="199530"/>
                  </a:lnTo>
                  <a:lnTo>
                    <a:pt x="2028876" y="199530"/>
                  </a:lnTo>
                  <a:lnTo>
                    <a:pt x="2028876" y="198831"/>
                  </a:lnTo>
                  <a:lnTo>
                    <a:pt x="2028876" y="199530"/>
                  </a:lnTo>
                  <a:lnTo>
                    <a:pt x="2028876" y="198831"/>
                  </a:lnTo>
                  <a:lnTo>
                    <a:pt x="2028927" y="198831"/>
                  </a:lnTo>
                  <a:lnTo>
                    <a:pt x="2028927" y="196113"/>
                  </a:lnTo>
                  <a:lnTo>
                    <a:pt x="2029029" y="196113"/>
                  </a:lnTo>
                  <a:lnTo>
                    <a:pt x="2029029" y="197447"/>
                  </a:lnTo>
                  <a:lnTo>
                    <a:pt x="2029029" y="195415"/>
                  </a:lnTo>
                  <a:lnTo>
                    <a:pt x="2029029" y="197447"/>
                  </a:lnTo>
                  <a:lnTo>
                    <a:pt x="2029080" y="198831"/>
                  </a:lnTo>
                  <a:lnTo>
                    <a:pt x="2029080" y="196113"/>
                  </a:lnTo>
                  <a:lnTo>
                    <a:pt x="2029080" y="197447"/>
                  </a:lnTo>
                  <a:lnTo>
                    <a:pt x="2029130" y="197447"/>
                  </a:lnTo>
                  <a:lnTo>
                    <a:pt x="2029130" y="196113"/>
                  </a:lnTo>
                  <a:lnTo>
                    <a:pt x="2029130" y="197447"/>
                  </a:lnTo>
                  <a:lnTo>
                    <a:pt x="2029130" y="196799"/>
                  </a:lnTo>
                  <a:lnTo>
                    <a:pt x="2029232" y="196799"/>
                  </a:lnTo>
                  <a:lnTo>
                    <a:pt x="2029232" y="198831"/>
                  </a:lnTo>
                  <a:lnTo>
                    <a:pt x="2029232" y="197447"/>
                  </a:lnTo>
                  <a:lnTo>
                    <a:pt x="2029232" y="198831"/>
                  </a:lnTo>
                  <a:lnTo>
                    <a:pt x="2029283" y="198831"/>
                  </a:lnTo>
                  <a:lnTo>
                    <a:pt x="2029283" y="197447"/>
                  </a:lnTo>
                  <a:lnTo>
                    <a:pt x="2029334" y="198831"/>
                  </a:lnTo>
                  <a:lnTo>
                    <a:pt x="2029334" y="199530"/>
                  </a:lnTo>
                  <a:lnTo>
                    <a:pt x="2029334" y="197447"/>
                  </a:lnTo>
                  <a:lnTo>
                    <a:pt x="2029334" y="198831"/>
                  </a:lnTo>
                  <a:lnTo>
                    <a:pt x="2029372" y="197447"/>
                  </a:lnTo>
                  <a:lnTo>
                    <a:pt x="2029372" y="198831"/>
                  </a:lnTo>
                  <a:lnTo>
                    <a:pt x="2029372" y="197447"/>
                  </a:lnTo>
                  <a:lnTo>
                    <a:pt x="2029473" y="197447"/>
                  </a:lnTo>
                  <a:lnTo>
                    <a:pt x="2029473" y="198831"/>
                  </a:lnTo>
                  <a:lnTo>
                    <a:pt x="2029473" y="197447"/>
                  </a:lnTo>
                  <a:lnTo>
                    <a:pt x="2029524" y="197447"/>
                  </a:lnTo>
                  <a:lnTo>
                    <a:pt x="2029524" y="199530"/>
                  </a:lnTo>
                  <a:lnTo>
                    <a:pt x="2029524" y="198831"/>
                  </a:lnTo>
                  <a:lnTo>
                    <a:pt x="2029575" y="198831"/>
                  </a:lnTo>
                  <a:lnTo>
                    <a:pt x="2029575" y="199530"/>
                  </a:lnTo>
                  <a:lnTo>
                    <a:pt x="2029575" y="198831"/>
                  </a:lnTo>
                  <a:lnTo>
                    <a:pt x="2029575" y="199530"/>
                  </a:lnTo>
                  <a:lnTo>
                    <a:pt x="2029575" y="198831"/>
                  </a:lnTo>
                  <a:lnTo>
                    <a:pt x="2029575" y="199530"/>
                  </a:lnTo>
                  <a:lnTo>
                    <a:pt x="2029676" y="199530"/>
                  </a:lnTo>
                  <a:lnTo>
                    <a:pt x="2029676" y="198831"/>
                  </a:lnTo>
                  <a:lnTo>
                    <a:pt x="2029676" y="199530"/>
                  </a:lnTo>
                  <a:lnTo>
                    <a:pt x="2029676" y="198831"/>
                  </a:lnTo>
                  <a:lnTo>
                    <a:pt x="2029676" y="199530"/>
                  </a:lnTo>
                  <a:lnTo>
                    <a:pt x="2029676" y="198831"/>
                  </a:lnTo>
                  <a:lnTo>
                    <a:pt x="2029676" y="199530"/>
                  </a:lnTo>
                  <a:lnTo>
                    <a:pt x="2029727" y="199530"/>
                  </a:lnTo>
                  <a:lnTo>
                    <a:pt x="2029727" y="198831"/>
                  </a:lnTo>
                  <a:lnTo>
                    <a:pt x="2029727" y="199530"/>
                  </a:lnTo>
                  <a:lnTo>
                    <a:pt x="2029727" y="198831"/>
                  </a:lnTo>
                  <a:lnTo>
                    <a:pt x="2029727" y="200228"/>
                  </a:lnTo>
                  <a:lnTo>
                    <a:pt x="2029727" y="199530"/>
                  </a:lnTo>
                  <a:lnTo>
                    <a:pt x="2029778" y="199530"/>
                  </a:lnTo>
                  <a:lnTo>
                    <a:pt x="2029778" y="198831"/>
                  </a:lnTo>
                  <a:lnTo>
                    <a:pt x="2029778" y="199530"/>
                  </a:lnTo>
                  <a:lnTo>
                    <a:pt x="2029778" y="198831"/>
                  </a:lnTo>
                  <a:lnTo>
                    <a:pt x="2029778" y="200228"/>
                  </a:lnTo>
                  <a:lnTo>
                    <a:pt x="2029778" y="198831"/>
                  </a:lnTo>
                  <a:lnTo>
                    <a:pt x="2029829" y="199530"/>
                  </a:lnTo>
                  <a:lnTo>
                    <a:pt x="2029829" y="198831"/>
                  </a:lnTo>
                  <a:lnTo>
                    <a:pt x="2029829" y="199530"/>
                  </a:lnTo>
                  <a:lnTo>
                    <a:pt x="2029829" y="198831"/>
                  </a:lnTo>
                  <a:lnTo>
                    <a:pt x="2029829" y="199530"/>
                  </a:lnTo>
                  <a:lnTo>
                    <a:pt x="2029829" y="198831"/>
                  </a:lnTo>
                  <a:lnTo>
                    <a:pt x="2029918" y="198831"/>
                  </a:lnTo>
                  <a:lnTo>
                    <a:pt x="2029918" y="197447"/>
                  </a:lnTo>
                  <a:lnTo>
                    <a:pt x="2029918" y="198831"/>
                  </a:lnTo>
                  <a:lnTo>
                    <a:pt x="2029918" y="196799"/>
                  </a:lnTo>
                  <a:lnTo>
                    <a:pt x="2029969" y="196799"/>
                  </a:lnTo>
                  <a:lnTo>
                    <a:pt x="2029969" y="197447"/>
                  </a:lnTo>
                  <a:lnTo>
                    <a:pt x="2029969" y="196799"/>
                  </a:lnTo>
                  <a:lnTo>
                    <a:pt x="2029969" y="197447"/>
                  </a:lnTo>
                  <a:lnTo>
                    <a:pt x="2029969" y="196799"/>
                  </a:lnTo>
                  <a:lnTo>
                    <a:pt x="2029969" y="198831"/>
                  </a:lnTo>
                  <a:lnTo>
                    <a:pt x="2029969" y="197447"/>
                  </a:lnTo>
                  <a:lnTo>
                    <a:pt x="2030019" y="197447"/>
                  </a:lnTo>
                  <a:lnTo>
                    <a:pt x="2030019" y="199530"/>
                  </a:lnTo>
                  <a:lnTo>
                    <a:pt x="2030019" y="198831"/>
                  </a:lnTo>
                  <a:lnTo>
                    <a:pt x="2030019" y="199530"/>
                  </a:lnTo>
                  <a:lnTo>
                    <a:pt x="2030070" y="199530"/>
                  </a:lnTo>
                  <a:lnTo>
                    <a:pt x="2030070" y="198831"/>
                  </a:lnTo>
                  <a:lnTo>
                    <a:pt x="2030070" y="200228"/>
                  </a:lnTo>
                  <a:lnTo>
                    <a:pt x="2030070" y="199530"/>
                  </a:lnTo>
                  <a:lnTo>
                    <a:pt x="2030172" y="199530"/>
                  </a:lnTo>
                  <a:lnTo>
                    <a:pt x="2030172" y="200228"/>
                  </a:lnTo>
                  <a:lnTo>
                    <a:pt x="2030172" y="199530"/>
                  </a:lnTo>
                  <a:lnTo>
                    <a:pt x="2030172" y="200228"/>
                  </a:lnTo>
                  <a:lnTo>
                    <a:pt x="2030222" y="200876"/>
                  </a:lnTo>
                  <a:lnTo>
                    <a:pt x="2030222" y="200228"/>
                  </a:lnTo>
                  <a:lnTo>
                    <a:pt x="2030273" y="200228"/>
                  </a:lnTo>
                  <a:lnTo>
                    <a:pt x="2030273" y="198831"/>
                  </a:lnTo>
                  <a:lnTo>
                    <a:pt x="2030273" y="199530"/>
                  </a:lnTo>
                  <a:lnTo>
                    <a:pt x="2030273" y="198831"/>
                  </a:lnTo>
                  <a:lnTo>
                    <a:pt x="2030273" y="199530"/>
                  </a:lnTo>
                  <a:lnTo>
                    <a:pt x="2030375" y="199530"/>
                  </a:lnTo>
                  <a:lnTo>
                    <a:pt x="2030375" y="197447"/>
                  </a:lnTo>
                  <a:lnTo>
                    <a:pt x="2030413" y="197447"/>
                  </a:lnTo>
                  <a:lnTo>
                    <a:pt x="2030413" y="196113"/>
                  </a:lnTo>
                  <a:lnTo>
                    <a:pt x="2030413" y="196799"/>
                  </a:lnTo>
                  <a:lnTo>
                    <a:pt x="2030413" y="196113"/>
                  </a:lnTo>
                  <a:lnTo>
                    <a:pt x="2030413" y="196799"/>
                  </a:lnTo>
                  <a:lnTo>
                    <a:pt x="2030413" y="196113"/>
                  </a:lnTo>
                  <a:lnTo>
                    <a:pt x="2030464" y="196113"/>
                  </a:lnTo>
                  <a:lnTo>
                    <a:pt x="2030464" y="196799"/>
                  </a:lnTo>
                  <a:lnTo>
                    <a:pt x="2030464" y="196113"/>
                  </a:lnTo>
                  <a:lnTo>
                    <a:pt x="2030464" y="196799"/>
                  </a:lnTo>
                  <a:lnTo>
                    <a:pt x="2030464" y="196113"/>
                  </a:lnTo>
                  <a:lnTo>
                    <a:pt x="2030515" y="196113"/>
                  </a:lnTo>
                  <a:lnTo>
                    <a:pt x="2030515" y="198831"/>
                  </a:lnTo>
                  <a:lnTo>
                    <a:pt x="2030515" y="197447"/>
                  </a:lnTo>
                  <a:lnTo>
                    <a:pt x="2030515" y="198831"/>
                  </a:lnTo>
                  <a:lnTo>
                    <a:pt x="2030515" y="197447"/>
                  </a:lnTo>
                  <a:lnTo>
                    <a:pt x="2030515" y="198831"/>
                  </a:lnTo>
                  <a:lnTo>
                    <a:pt x="2030515" y="197447"/>
                  </a:lnTo>
                  <a:lnTo>
                    <a:pt x="2030616" y="197447"/>
                  </a:lnTo>
                  <a:lnTo>
                    <a:pt x="2030616" y="199530"/>
                  </a:lnTo>
                  <a:lnTo>
                    <a:pt x="2030616" y="198831"/>
                  </a:lnTo>
                  <a:lnTo>
                    <a:pt x="2030616" y="199530"/>
                  </a:lnTo>
                  <a:lnTo>
                    <a:pt x="2030616" y="198831"/>
                  </a:lnTo>
                  <a:lnTo>
                    <a:pt x="2030616" y="199530"/>
                  </a:lnTo>
                  <a:lnTo>
                    <a:pt x="2030667" y="198831"/>
                  </a:lnTo>
                  <a:lnTo>
                    <a:pt x="2030667" y="199530"/>
                  </a:lnTo>
                  <a:lnTo>
                    <a:pt x="2030667" y="198831"/>
                  </a:lnTo>
                  <a:lnTo>
                    <a:pt x="2030667" y="199530"/>
                  </a:lnTo>
                  <a:lnTo>
                    <a:pt x="2030667" y="198831"/>
                  </a:lnTo>
                  <a:lnTo>
                    <a:pt x="2030667" y="200228"/>
                  </a:lnTo>
                  <a:lnTo>
                    <a:pt x="2030667" y="199530"/>
                  </a:lnTo>
                  <a:lnTo>
                    <a:pt x="2030718" y="200228"/>
                  </a:lnTo>
                  <a:lnTo>
                    <a:pt x="2030718" y="199530"/>
                  </a:lnTo>
                  <a:lnTo>
                    <a:pt x="2030718" y="200228"/>
                  </a:lnTo>
                  <a:lnTo>
                    <a:pt x="2030819" y="200228"/>
                  </a:lnTo>
                  <a:lnTo>
                    <a:pt x="2030819" y="199530"/>
                  </a:lnTo>
                  <a:lnTo>
                    <a:pt x="2030819" y="200228"/>
                  </a:lnTo>
                  <a:lnTo>
                    <a:pt x="2030819" y="199530"/>
                  </a:lnTo>
                  <a:lnTo>
                    <a:pt x="2030819" y="200228"/>
                  </a:lnTo>
                  <a:lnTo>
                    <a:pt x="2030819" y="199530"/>
                  </a:lnTo>
                  <a:lnTo>
                    <a:pt x="2030819" y="200228"/>
                  </a:lnTo>
                  <a:lnTo>
                    <a:pt x="2030870" y="199530"/>
                  </a:lnTo>
                  <a:lnTo>
                    <a:pt x="2030870" y="198831"/>
                  </a:lnTo>
                  <a:lnTo>
                    <a:pt x="2030870" y="199530"/>
                  </a:lnTo>
                  <a:lnTo>
                    <a:pt x="2030870" y="198831"/>
                  </a:lnTo>
                  <a:lnTo>
                    <a:pt x="2030921" y="198831"/>
                  </a:lnTo>
                  <a:lnTo>
                    <a:pt x="2030921" y="197447"/>
                  </a:lnTo>
                  <a:lnTo>
                    <a:pt x="2030921" y="198831"/>
                  </a:lnTo>
                  <a:lnTo>
                    <a:pt x="2030921" y="196799"/>
                  </a:lnTo>
                  <a:lnTo>
                    <a:pt x="2030921" y="197447"/>
                  </a:lnTo>
                  <a:lnTo>
                    <a:pt x="2030921" y="196113"/>
                  </a:lnTo>
                  <a:lnTo>
                    <a:pt x="2030959" y="196113"/>
                  </a:lnTo>
                  <a:lnTo>
                    <a:pt x="2030959" y="195415"/>
                  </a:lnTo>
                  <a:lnTo>
                    <a:pt x="2030959" y="197447"/>
                  </a:lnTo>
                  <a:lnTo>
                    <a:pt x="2030959" y="195415"/>
                  </a:lnTo>
                  <a:lnTo>
                    <a:pt x="2031061" y="195415"/>
                  </a:lnTo>
                  <a:lnTo>
                    <a:pt x="2031061" y="197447"/>
                  </a:lnTo>
                  <a:lnTo>
                    <a:pt x="2031061" y="196113"/>
                  </a:lnTo>
                  <a:lnTo>
                    <a:pt x="2031061" y="196799"/>
                  </a:lnTo>
                  <a:lnTo>
                    <a:pt x="2031112" y="196799"/>
                  </a:lnTo>
                  <a:lnTo>
                    <a:pt x="2031112" y="198831"/>
                  </a:lnTo>
                  <a:lnTo>
                    <a:pt x="2031112" y="196799"/>
                  </a:lnTo>
                  <a:lnTo>
                    <a:pt x="2031112" y="197447"/>
                  </a:lnTo>
                  <a:lnTo>
                    <a:pt x="2031162" y="197447"/>
                  </a:lnTo>
                  <a:lnTo>
                    <a:pt x="2031162" y="199530"/>
                  </a:lnTo>
                  <a:lnTo>
                    <a:pt x="2031315" y="199530"/>
                  </a:lnTo>
                  <a:lnTo>
                    <a:pt x="2031315" y="198831"/>
                  </a:lnTo>
                  <a:lnTo>
                    <a:pt x="2031315" y="199530"/>
                  </a:lnTo>
                  <a:lnTo>
                    <a:pt x="2031365" y="199530"/>
                  </a:lnTo>
                  <a:lnTo>
                    <a:pt x="2031365" y="198831"/>
                  </a:lnTo>
                  <a:lnTo>
                    <a:pt x="2031365" y="199530"/>
                  </a:lnTo>
                  <a:lnTo>
                    <a:pt x="2031365" y="198831"/>
                  </a:lnTo>
                  <a:lnTo>
                    <a:pt x="2031365" y="199530"/>
                  </a:lnTo>
                  <a:lnTo>
                    <a:pt x="2031365" y="198831"/>
                  </a:lnTo>
                  <a:lnTo>
                    <a:pt x="2031416" y="198831"/>
                  </a:lnTo>
                  <a:lnTo>
                    <a:pt x="2031416" y="196113"/>
                  </a:lnTo>
                  <a:lnTo>
                    <a:pt x="2031505" y="195415"/>
                  </a:lnTo>
                  <a:lnTo>
                    <a:pt x="2031505" y="196799"/>
                  </a:lnTo>
                  <a:lnTo>
                    <a:pt x="2031505" y="194716"/>
                  </a:lnTo>
                  <a:lnTo>
                    <a:pt x="2031556" y="194716"/>
                  </a:lnTo>
                  <a:lnTo>
                    <a:pt x="2031556" y="197447"/>
                  </a:lnTo>
                  <a:lnTo>
                    <a:pt x="2031556" y="196113"/>
                  </a:lnTo>
                  <a:lnTo>
                    <a:pt x="2031556" y="196799"/>
                  </a:lnTo>
                  <a:lnTo>
                    <a:pt x="2031607" y="196799"/>
                  </a:lnTo>
                  <a:lnTo>
                    <a:pt x="2031607" y="198831"/>
                  </a:lnTo>
                  <a:lnTo>
                    <a:pt x="2031607" y="196799"/>
                  </a:lnTo>
                  <a:lnTo>
                    <a:pt x="2031607" y="197447"/>
                  </a:lnTo>
                  <a:lnTo>
                    <a:pt x="2031658" y="197447"/>
                  </a:lnTo>
                  <a:lnTo>
                    <a:pt x="2031658" y="198831"/>
                  </a:lnTo>
                  <a:lnTo>
                    <a:pt x="2031658" y="197447"/>
                  </a:lnTo>
                  <a:lnTo>
                    <a:pt x="2031658" y="198831"/>
                  </a:lnTo>
                  <a:lnTo>
                    <a:pt x="2031759" y="198831"/>
                  </a:lnTo>
                  <a:lnTo>
                    <a:pt x="2031759" y="199530"/>
                  </a:lnTo>
                  <a:lnTo>
                    <a:pt x="2031759" y="198831"/>
                  </a:lnTo>
                  <a:lnTo>
                    <a:pt x="2031759" y="199530"/>
                  </a:lnTo>
                  <a:lnTo>
                    <a:pt x="2031759" y="198831"/>
                  </a:lnTo>
                  <a:lnTo>
                    <a:pt x="2031810" y="199530"/>
                  </a:lnTo>
                  <a:lnTo>
                    <a:pt x="2031861" y="199530"/>
                  </a:lnTo>
                  <a:lnTo>
                    <a:pt x="2031861" y="198831"/>
                  </a:lnTo>
                  <a:lnTo>
                    <a:pt x="2031962" y="198831"/>
                  </a:lnTo>
                  <a:lnTo>
                    <a:pt x="2031962" y="195415"/>
                  </a:lnTo>
                  <a:lnTo>
                    <a:pt x="2032000" y="195415"/>
                  </a:lnTo>
                  <a:lnTo>
                    <a:pt x="2032000" y="197447"/>
                  </a:lnTo>
                  <a:lnTo>
                    <a:pt x="2032000" y="193383"/>
                  </a:lnTo>
                  <a:lnTo>
                    <a:pt x="2032000" y="195415"/>
                  </a:lnTo>
                  <a:lnTo>
                    <a:pt x="2032051" y="196799"/>
                  </a:lnTo>
                  <a:lnTo>
                    <a:pt x="2032051" y="197447"/>
                  </a:lnTo>
                  <a:lnTo>
                    <a:pt x="2032051" y="196113"/>
                  </a:lnTo>
                  <a:lnTo>
                    <a:pt x="2032051" y="196799"/>
                  </a:lnTo>
                  <a:lnTo>
                    <a:pt x="2032102" y="197447"/>
                  </a:lnTo>
                  <a:lnTo>
                    <a:pt x="2032102" y="196799"/>
                  </a:lnTo>
                  <a:lnTo>
                    <a:pt x="2032102" y="197447"/>
                  </a:lnTo>
                  <a:lnTo>
                    <a:pt x="2032204" y="197447"/>
                  </a:lnTo>
                  <a:lnTo>
                    <a:pt x="2032204" y="196799"/>
                  </a:lnTo>
                  <a:lnTo>
                    <a:pt x="2032204" y="197447"/>
                  </a:lnTo>
                  <a:lnTo>
                    <a:pt x="2032204" y="196799"/>
                  </a:lnTo>
                  <a:lnTo>
                    <a:pt x="2032204" y="198831"/>
                  </a:lnTo>
                  <a:lnTo>
                    <a:pt x="2032204" y="197447"/>
                  </a:lnTo>
                  <a:lnTo>
                    <a:pt x="2032255" y="197447"/>
                  </a:lnTo>
                  <a:lnTo>
                    <a:pt x="2032255" y="196799"/>
                  </a:lnTo>
                  <a:lnTo>
                    <a:pt x="2032255" y="198831"/>
                  </a:lnTo>
                  <a:lnTo>
                    <a:pt x="2032255" y="197447"/>
                  </a:lnTo>
                  <a:lnTo>
                    <a:pt x="2032255" y="198831"/>
                  </a:lnTo>
                  <a:lnTo>
                    <a:pt x="2032255" y="197447"/>
                  </a:lnTo>
                  <a:lnTo>
                    <a:pt x="2032255" y="198831"/>
                  </a:lnTo>
                  <a:lnTo>
                    <a:pt x="2032255" y="197447"/>
                  </a:lnTo>
                  <a:lnTo>
                    <a:pt x="2032305" y="197447"/>
                  </a:lnTo>
                  <a:lnTo>
                    <a:pt x="2032305" y="198831"/>
                  </a:lnTo>
                  <a:lnTo>
                    <a:pt x="2032305" y="197447"/>
                  </a:lnTo>
                  <a:lnTo>
                    <a:pt x="2032407" y="197447"/>
                  </a:lnTo>
                  <a:lnTo>
                    <a:pt x="2032407" y="198831"/>
                  </a:lnTo>
                  <a:lnTo>
                    <a:pt x="2032407" y="197447"/>
                  </a:lnTo>
                  <a:lnTo>
                    <a:pt x="2032458" y="197447"/>
                  </a:lnTo>
                  <a:lnTo>
                    <a:pt x="2032458" y="196113"/>
                  </a:lnTo>
                  <a:lnTo>
                    <a:pt x="2032458" y="197447"/>
                  </a:lnTo>
                  <a:lnTo>
                    <a:pt x="2032509" y="196799"/>
                  </a:lnTo>
                  <a:lnTo>
                    <a:pt x="2032509" y="196113"/>
                  </a:lnTo>
                  <a:lnTo>
                    <a:pt x="2032509" y="199530"/>
                  </a:lnTo>
                  <a:lnTo>
                    <a:pt x="2032547" y="199530"/>
                  </a:lnTo>
                  <a:lnTo>
                    <a:pt x="2032547" y="198831"/>
                  </a:lnTo>
                  <a:lnTo>
                    <a:pt x="2032547" y="199530"/>
                  </a:lnTo>
                  <a:lnTo>
                    <a:pt x="2032547" y="197447"/>
                  </a:lnTo>
                  <a:lnTo>
                    <a:pt x="2032547" y="200228"/>
                  </a:lnTo>
                  <a:lnTo>
                    <a:pt x="2032547" y="199530"/>
                  </a:lnTo>
                  <a:lnTo>
                    <a:pt x="2032648" y="199530"/>
                  </a:lnTo>
                  <a:lnTo>
                    <a:pt x="2032648" y="200228"/>
                  </a:lnTo>
                  <a:lnTo>
                    <a:pt x="2032648" y="198831"/>
                  </a:lnTo>
                  <a:lnTo>
                    <a:pt x="2032648" y="199530"/>
                  </a:lnTo>
                  <a:lnTo>
                    <a:pt x="2032648" y="198831"/>
                  </a:lnTo>
                  <a:lnTo>
                    <a:pt x="2032648" y="199530"/>
                  </a:lnTo>
                  <a:lnTo>
                    <a:pt x="2032699" y="199530"/>
                  </a:lnTo>
                  <a:lnTo>
                    <a:pt x="2032699" y="198831"/>
                  </a:lnTo>
                  <a:lnTo>
                    <a:pt x="2032699" y="199530"/>
                  </a:lnTo>
                  <a:lnTo>
                    <a:pt x="2032750" y="199530"/>
                  </a:lnTo>
                  <a:lnTo>
                    <a:pt x="2032750" y="198831"/>
                  </a:lnTo>
                  <a:lnTo>
                    <a:pt x="2032750" y="199530"/>
                  </a:lnTo>
                  <a:lnTo>
                    <a:pt x="2032750" y="198831"/>
                  </a:lnTo>
                  <a:lnTo>
                    <a:pt x="2032750" y="199530"/>
                  </a:lnTo>
                  <a:lnTo>
                    <a:pt x="2032902" y="199530"/>
                  </a:lnTo>
                  <a:lnTo>
                    <a:pt x="2032902" y="197447"/>
                  </a:lnTo>
                  <a:lnTo>
                    <a:pt x="2032953" y="196799"/>
                  </a:lnTo>
                  <a:lnTo>
                    <a:pt x="2032953" y="199530"/>
                  </a:lnTo>
                  <a:lnTo>
                    <a:pt x="2032953" y="197447"/>
                  </a:lnTo>
                  <a:lnTo>
                    <a:pt x="2033004" y="197447"/>
                  </a:lnTo>
                  <a:lnTo>
                    <a:pt x="2033004" y="200228"/>
                  </a:lnTo>
                  <a:lnTo>
                    <a:pt x="2033004" y="199530"/>
                  </a:lnTo>
                  <a:lnTo>
                    <a:pt x="2033093" y="199530"/>
                  </a:lnTo>
                  <a:lnTo>
                    <a:pt x="2033093" y="200876"/>
                  </a:lnTo>
                  <a:lnTo>
                    <a:pt x="2033093" y="200228"/>
                  </a:lnTo>
                  <a:lnTo>
                    <a:pt x="2033093" y="200876"/>
                  </a:lnTo>
                  <a:lnTo>
                    <a:pt x="2033093" y="200228"/>
                  </a:lnTo>
                  <a:lnTo>
                    <a:pt x="2033144" y="200228"/>
                  </a:lnTo>
                  <a:lnTo>
                    <a:pt x="2033144" y="200876"/>
                  </a:lnTo>
                  <a:lnTo>
                    <a:pt x="2033144" y="200228"/>
                  </a:lnTo>
                  <a:lnTo>
                    <a:pt x="2033245" y="200228"/>
                  </a:lnTo>
                  <a:lnTo>
                    <a:pt x="2033245" y="199530"/>
                  </a:lnTo>
                  <a:lnTo>
                    <a:pt x="2033245" y="200228"/>
                  </a:lnTo>
                  <a:lnTo>
                    <a:pt x="2033347" y="200228"/>
                  </a:lnTo>
                  <a:lnTo>
                    <a:pt x="2033347" y="198831"/>
                  </a:lnTo>
                  <a:lnTo>
                    <a:pt x="2033347" y="199530"/>
                  </a:lnTo>
                  <a:lnTo>
                    <a:pt x="2033347" y="198831"/>
                  </a:lnTo>
                  <a:lnTo>
                    <a:pt x="2033397" y="198831"/>
                  </a:lnTo>
                  <a:lnTo>
                    <a:pt x="2033397" y="196113"/>
                  </a:lnTo>
                  <a:lnTo>
                    <a:pt x="2033397" y="196799"/>
                  </a:lnTo>
                  <a:lnTo>
                    <a:pt x="2033448" y="196799"/>
                  </a:lnTo>
                  <a:lnTo>
                    <a:pt x="2033448" y="198831"/>
                  </a:lnTo>
                  <a:lnTo>
                    <a:pt x="2033448" y="196113"/>
                  </a:lnTo>
                  <a:lnTo>
                    <a:pt x="2033448" y="196799"/>
                  </a:lnTo>
                  <a:lnTo>
                    <a:pt x="2033550" y="197447"/>
                  </a:lnTo>
                  <a:lnTo>
                    <a:pt x="2033550" y="199530"/>
                  </a:lnTo>
                  <a:lnTo>
                    <a:pt x="2033550" y="198831"/>
                  </a:lnTo>
                  <a:lnTo>
                    <a:pt x="2033550" y="200228"/>
                  </a:lnTo>
                  <a:lnTo>
                    <a:pt x="2033588" y="200228"/>
                  </a:lnTo>
                  <a:lnTo>
                    <a:pt x="2033588" y="199530"/>
                  </a:lnTo>
                  <a:lnTo>
                    <a:pt x="2033588" y="200228"/>
                  </a:lnTo>
                  <a:lnTo>
                    <a:pt x="2033639" y="200228"/>
                  </a:lnTo>
                  <a:lnTo>
                    <a:pt x="2033639" y="199530"/>
                  </a:lnTo>
                  <a:lnTo>
                    <a:pt x="2033639" y="200228"/>
                  </a:lnTo>
                  <a:lnTo>
                    <a:pt x="2033639" y="199530"/>
                  </a:lnTo>
                  <a:lnTo>
                    <a:pt x="2033639" y="200228"/>
                  </a:lnTo>
                  <a:lnTo>
                    <a:pt x="2033639" y="199530"/>
                  </a:lnTo>
                  <a:lnTo>
                    <a:pt x="2033639" y="200228"/>
                  </a:lnTo>
                  <a:lnTo>
                    <a:pt x="2033639" y="199530"/>
                  </a:lnTo>
                  <a:lnTo>
                    <a:pt x="2033690" y="200228"/>
                  </a:lnTo>
                  <a:lnTo>
                    <a:pt x="2033690" y="199530"/>
                  </a:lnTo>
                  <a:lnTo>
                    <a:pt x="2033690" y="200228"/>
                  </a:lnTo>
                  <a:lnTo>
                    <a:pt x="2033690" y="199530"/>
                  </a:lnTo>
                  <a:lnTo>
                    <a:pt x="2033690" y="200876"/>
                  </a:lnTo>
                  <a:lnTo>
                    <a:pt x="2033690" y="200228"/>
                  </a:lnTo>
                  <a:lnTo>
                    <a:pt x="2033690" y="200876"/>
                  </a:lnTo>
                  <a:lnTo>
                    <a:pt x="2033690" y="200228"/>
                  </a:lnTo>
                  <a:lnTo>
                    <a:pt x="2033791" y="200228"/>
                  </a:lnTo>
                  <a:lnTo>
                    <a:pt x="2033791" y="200876"/>
                  </a:lnTo>
                  <a:lnTo>
                    <a:pt x="2033791" y="200228"/>
                  </a:lnTo>
                  <a:lnTo>
                    <a:pt x="2033842" y="200228"/>
                  </a:lnTo>
                  <a:lnTo>
                    <a:pt x="2033842" y="199530"/>
                  </a:lnTo>
                  <a:lnTo>
                    <a:pt x="2033842" y="200228"/>
                  </a:lnTo>
                  <a:lnTo>
                    <a:pt x="2033842" y="198831"/>
                  </a:lnTo>
                  <a:lnTo>
                    <a:pt x="2033893" y="198831"/>
                  </a:lnTo>
                  <a:lnTo>
                    <a:pt x="2033893" y="196799"/>
                  </a:lnTo>
                  <a:lnTo>
                    <a:pt x="2033893" y="197447"/>
                  </a:lnTo>
                  <a:lnTo>
                    <a:pt x="2033893" y="196799"/>
                  </a:lnTo>
                  <a:lnTo>
                    <a:pt x="2033893" y="199530"/>
                  </a:lnTo>
                  <a:lnTo>
                    <a:pt x="2033893" y="197447"/>
                  </a:lnTo>
                  <a:lnTo>
                    <a:pt x="2033994" y="198831"/>
                  </a:lnTo>
                  <a:lnTo>
                    <a:pt x="2033994" y="196799"/>
                  </a:lnTo>
                  <a:lnTo>
                    <a:pt x="2033994" y="200876"/>
                  </a:lnTo>
                  <a:lnTo>
                    <a:pt x="2033994" y="200228"/>
                  </a:lnTo>
                  <a:lnTo>
                    <a:pt x="2034045" y="199530"/>
                  </a:lnTo>
                  <a:lnTo>
                    <a:pt x="2034045" y="200228"/>
                  </a:lnTo>
                  <a:lnTo>
                    <a:pt x="2034045" y="199530"/>
                  </a:lnTo>
                  <a:lnTo>
                    <a:pt x="2034045" y="200228"/>
                  </a:lnTo>
                  <a:lnTo>
                    <a:pt x="2034045" y="199530"/>
                  </a:lnTo>
                  <a:lnTo>
                    <a:pt x="2034045" y="202260"/>
                  </a:lnTo>
                  <a:lnTo>
                    <a:pt x="2034045" y="200228"/>
                  </a:lnTo>
                  <a:lnTo>
                    <a:pt x="2034096" y="200228"/>
                  </a:lnTo>
                  <a:lnTo>
                    <a:pt x="2034096" y="199530"/>
                  </a:lnTo>
                  <a:lnTo>
                    <a:pt x="2034096" y="202260"/>
                  </a:lnTo>
                  <a:lnTo>
                    <a:pt x="2034096" y="200228"/>
                  </a:lnTo>
                  <a:lnTo>
                    <a:pt x="2034134" y="200228"/>
                  </a:lnTo>
                  <a:lnTo>
                    <a:pt x="2034134" y="199530"/>
                  </a:lnTo>
                  <a:lnTo>
                    <a:pt x="2034134" y="200228"/>
                  </a:lnTo>
                  <a:lnTo>
                    <a:pt x="2034236" y="200228"/>
                  </a:lnTo>
                  <a:lnTo>
                    <a:pt x="2034236" y="200876"/>
                  </a:lnTo>
                  <a:lnTo>
                    <a:pt x="2034236" y="200228"/>
                  </a:lnTo>
                  <a:lnTo>
                    <a:pt x="2034236" y="200876"/>
                  </a:lnTo>
                  <a:lnTo>
                    <a:pt x="2034236" y="200228"/>
                  </a:lnTo>
                  <a:lnTo>
                    <a:pt x="2034236" y="200876"/>
                  </a:lnTo>
                  <a:lnTo>
                    <a:pt x="2034287" y="200876"/>
                  </a:lnTo>
                  <a:lnTo>
                    <a:pt x="2034287" y="199530"/>
                  </a:lnTo>
                  <a:lnTo>
                    <a:pt x="2034287" y="200228"/>
                  </a:lnTo>
                  <a:lnTo>
                    <a:pt x="2034287" y="199530"/>
                  </a:lnTo>
                  <a:lnTo>
                    <a:pt x="2034337" y="199530"/>
                  </a:lnTo>
                  <a:lnTo>
                    <a:pt x="2034337" y="198831"/>
                  </a:lnTo>
                  <a:lnTo>
                    <a:pt x="2034337" y="199530"/>
                  </a:lnTo>
                  <a:lnTo>
                    <a:pt x="2034337" y="196799"/>
                  </a:lnTo>
                  <a:lnTo>
                    <a:pt x="2034439" y="196799"/>
                  </a:lnTo>
                  <a:lnTo>
                    <a:pt x="2034439" y="196113"/>
                  </a:lnTo>
                  <a:lnTo>
                    <a:pt x="2034439" y="197447"/>
                  </a:lnTo>
                  <a:lnTo>
                    <a:pt x="2034439" y="196799"/>
                  </a:lnTo>
                  <a:lnTo>
                    <a:pt x="2034490" y="196113"/>
                  </a:lnTo>
                  <a:lnTo>
                    <a:pt x="2034490" y="199530"/>
                  </a:lnTo>
                  <a:lnTo>
                    <a:pt x="2034490" y="198831"/>
                  </a:lnTo>
                  <a:lnTo>
                    <a:pt x="2034540" y="198831"/>
                  </a:lnTo>
                  <a:lnTo>
                    <a:pt x="2034540" y="200228"/>
                  </a:lnTo>
                  <a:lnTo>
                    <a:pt x="2034540" y="199530"/>
                  </a:lnTo>
                  <a:lnTo>
                    <a:pt x="2034540" y="200228"/>
                  </a:lnTo>
                  <a:lnTo>
                    <a:pt x="2034591" y="199530"/>
                  </a:lnTo>
                  <a:lnTo>
                    <a:pt x="2034591" y="200228"/>
                  </a:lnTo>
                  <a:lnTo>
                    <a:pt x="2034680" y="200228"/>
                  </a:lnTo>
                  <a:lnTo>
                    <a:pt x="2034680" y="200876"/>
                  </a:lnTo>
                  <a:lnTo>
                    <a:pt x="2034680" y="200228"/>
                  </a:lnTo>
                  <a:lnTo>
                    <a:pt x="2034731" y="200228"/>
                  </a:lnTo>
                  <a:lnTo>
                    <a:pt x="2034731" y="200876"/>
                  </a:lnTo>
                  <a:lnTo>
                    <a:pt x="2034731" y="200228"/>
                  </a:lnTo>
                  <a:lnTo>
                    <a:pt x="2034731" y="200876"/>
                  </a:lnTo>
                  <a:lnTo>
                    <a:pt x="2034731" y="200228"/>
                  </a:lnTo>
                  <a:lnTo>
                    <a:pt x="2034731" y="200876"/>
                  </a:lnTo>
                  <a:lnTo>
                    <a:pt x="2034782" y="200876"/>
                  </a:lnTo>
                  <a:lnTo>
                    <a:pt x="2034782" y="200228"/>
                  </a:lnTo>
                  <a:lnTo>
                    <a:pt x="2034782" y="200876"/>
                  </a:lnTo>
                  <a:lnTo>
                    <a:pt x="2034782" y="199530"/>
                  </a:lnTo>
                  <a:lnTo>
                    <a:pt x="2034782" y="200228"/>
                  </a:lnTo>
                  <a:lnTo>
                    <a:pt x="2034833" y="199530"/>
                  </a:lnTo>
                  <a:lnTo>
                    <a:pt x="2034833" y="197447"/>
                  </a:lnTo>
                  <a:lnTo>
                    <a:pt x="2034833" y="198831"/>
                  </a:lnTo>
                  <a:lnTo>
                    <a:pt x="2034833" y="197447"/>
                  </a:lnTo>
                  <a:lnTo>
                    <a:pt x="2034833" y="198831"/>
                  </a:lnTo>
                  <a:lnTo>
                    <a:pt x="2034833" y="196799"/>
                  </a:lnTo>
                  <a:lnTo>
                    <a:pt x="2034934" y="196799"/>
                  </a:lnTo>
                  <a:lnTo>
                    <a:pt x="2034934" y="197447"/>
                  </a:lnTo>
                  <a:lnTo>
                    <a:pt x="2034934" y="196113"/>
                  </a:lnTo>
                  <a:lnTo>
                    <a:pt x="2034934" y="196799"/>
                  </a:lnTo>
                  <a:lnTo>
                    <a:pt x="2034985" y="196799"/>
                  </a:lnTo>
                  <a:lnTo>
                    <a:pt x="2034985" y="199530"/>
                  </a:lnTo>
                  <a:lnTo>
                    <a:pt x="2034985" y="197447"/>
                  </a:lnTo>
                  <a:lnTo>
                    <a:pt x="2034985" y="198831"/>
                  </a:lnTo>
                  <a:lnTo>
                    <a:pt x="2035036" y="198831"/>
                  </a:lnTo>
                  <a:lnTo>
                    <a:pt x="2035036" y="199530"/>
                  </a:lnTo>
                  <a:lnTo>
                    <a:pt x="2035036" y="198831"/>
                  </a:lnTo>
                  <a:lnTo>
                    <a:pt x="2035036" y="199530"/>
                  </a:lnTo>
                  <a:lnTo>
                    <a:pt x="2035036" y="197447"/>
                  </a:lnTo>
                  <a:lnTo>
                    <a:pt x="2035036" y="199530"/>
                  </a:lnTo>
                  <a:lnTo>
                    <a:pt x="2035137" y="198831"/>
                  </a:lnTo>
                  <a:lnTo>
                    <a:pt x="2035137" y="199530"/>
                  </a:lnTo>
                  <a:lnTo>
                    <a:pt x="2035137" y="198831"/>
                  </a:lnTo>
                  <a:lnTo>
                    <a:pt x="2035137" y="199530"/>
                  </a:lnTo>
                  <a:lnTo>
                    <a:pt x="2035175" y="199530"/>
                  </a:lnTo>
                  <a:lnTo>
                    <a:pt x="2035175" y="200228"/>
                  </a:lnTo>
                  <a:lnTo>
                    <a:pt x="2035175" y="199530"/>
                  </a:lnTo>
                  <a:lnTo>
                    <a:pt x="2035175" y="200228"/>
                  </a:lnTo>
                  <a:lnTo>
                    <a:pt x="2035226" y="200228"/>
                  </a:lnTo>
                  <a:lnTo>
                    <a:pt x="2035226" y="199530"/>
                  </a:lnTo>
                  <a:lnTo>
                    <a:pt x="2035226" y="200228"/>
                  </a:lnTo>
                  <a:lnTo>
                    <a:pt x="2035226" y="199530"/>
                  </a:lnTo>
                  <a:lnTo>
                    <a:pt x="2035277" y="199530"/>
                  </a:lnTo>
                  <a:lnTo>
                    <a:pt x="2035277" y="200228"/>
                  </a:lnTo>
                  <a:lnTo>
                    <a:pt x="2035277" y="199530"/>
                  </a:lnTo>
                  <a:lnTo>
                    <a:pt x="2035277" y="200228"/>
                  </a:lnTo>
                  <a:lnTo>
                    <a:pt x="2035277" y="199530"/>
                  </a:lnTo>
                  <a:lnTo>
                    <a:pt x="2035277" y="200228"/>
                  </a:lnTo>
                  <a:lnTo>
                    <a:pt x="2035277" y="197447"/>
                  </a:lnTo>
                  <a:lnTo>
                    <a:pt x="2035379" y="197447"/>
                  </a:lnTo>
                  <a:lnTo>
                    <a:pt x="2035379" y="198831"/>
                  </a:lnTo>
                  <a:lnTo>
                    <a:pt x="2035379" y="196113"/>
                  </a:lnTo>
                  <a:lnTo>
                    <a:pt x="2035379" y="198831"/>
                  </a:lnTo>
                  <a:lnTo>
                    <a:pt x="2035430" y="198831"/>
                  </a:lnTo>
                  <a:lnTo>
                    <a:pt x="2035430" y="196799"/>
                  </a:lnTo>
                  <a:lnTo>
                    <a:pt x="2035430" y="200228"/>
                  </a:lnTo>
                  <a:lnTo>
                    <a:pt x="2035480" y="200228"/>
                  </a:lnTo>
                  <a:lnTo>
                    <a:pt x="2035480" y="198831"/>
                  </a:lnTo>
                  <a:lnTo>
                    <a:pt x="2035480" y="200228"/>
                  </a:lnTo>
                  <a:lnTo>
                    <a:pt x="2035582" y="200228"/>
                  </a:lnTo>
                  <a:lnTo>
                    <a:pt x="2035582" y="197447"/>
                  </a:lnTo>
                  <a:lnTo>
                    <a:pt x="2035582" y="199530"/>
                  </a:lnTo>
                  <a:lnTo>
                    <a:pt x="2035633" y="199530"/>
                  </a:lnTo>
                  <a:lnTo>
                    <a:pt x="2035633" y="200228"/>
                  </a:lnTo>
                  <a:lnTo>
                    <a:pt x="2035633" y="199530"/>
                  </a:lnTo>
                  <a:lnTo>
                    <a:pt x="2035633" y="200228"/>
                  </a:lnTo>
                  <a:lnTo>
                    <a:pt x="2035633" y="199530"/>
                  </a:lnTo>
                  <a:lnTo>
                    <a:pt x="2035684" y="199530"/>
                  </a:lnTo>
                  <a:lnTo>
                    <a:pt x="2035684" y="200228"/>
                  </a:lnTo>
                  <a:lnTo>
                    <a:pt x="2035684" y="199530"/>
                  </a:lnTo>
                  <a:lnTo>
                    <a:pt x="2035684" y="200228"/>
                  </a:lnTo>
                  <a:lnTo>
                    <a:pt x="2035722" y="200228"/>
                  </a:lnTo>
                  <a:lnTo>
                    <a:pt x="2035722" y="199530"/>
                  </a:lnTo>
                  <a:lnTo>
                    <a:pt x="2035722" y="200228"/>
                  </a:lnTo>
                  <a:lnTo>
                    <a:pt x="2035722" y="199530"/>
                  </a:lnTo>
                  <a:lnTo>
                    <a:pt x="2035823" y="199530"/>
                  </a:lnTo>
                  <a:lnTo>
                    <a:pt x="2035823" y="198831"/>
                  </a:lnTo>
                  <a:lnTo>
                    <a:pt x="2035823" y="199530"/>
                  </a:lnTo>
                  <a:lnTo>
                    <a:pt x="2035823" y="198831"/>
                  </a:lnTo>
                  <a:lnTo>
                    <a:pt x="2035823" y="199530"/>
                  </a:lnTo>
                  <a:lnTo>
                    <a:pt x="2035823" y="197447"/>
                  </a:lnTo>
                  <a:lnTo>
                    <a:pt x="2035874" y="198831"/>
                  </a:lnTo>
                  <a:lnTo>
                    <a:pt x="2035874" y="196113"/>
                  </a:lnTo>
                  <a:lnTo>
                    <a:pt x="2035874" y="198831"/>
                  </a:lnTo>
                  <a:lnTo>
                    <a:pt x="2035925" y="197447"/>
                  </a:lnTo>
                  <a:lnTo>
                    <a:pt x="2035925" y="196799"/>
                  </a:lnTo>
                  <a:lnTo>
                    <a:pt x="2035925" y="200228"/>
                  </a:lnTo>
                  <a:lnTo>
                    <a:pt x="2035925" y="199530"/>
                  </a:lnTo>
                  <a:lnTo>
                    <a:pt x="2035925" y="200228"/>
                  </a:lnTo>
                  <a:lnTo>
                    <a:pt x="2035925" y="199530"/>
                  </a:lnTo>
                  <a:lnTo>
                    <a:pt x="2036026" y="199530"/>
                  </a:lnTo>
                  <a:lnTo>
                    <a:pt x="2036026" y="198831"/>
                  </a:lnTo>
                  <a:lnTo>
                    <a:pt x="2036026" y="200228"/>
                  </a:lnTo>
                  <a:lnTo>
                    <a:pt x="2036026" y="198831"/>
                  </a:lnTo>
                  <a:lnTo>
                    <a:pt x="2036077" y="198831"/>
                  </a:lnTo>
                  <a:lnTo>
                    <a:pt x="2036077" y="199530"/>
                  </a:lnTo>
                  <a:lnTo>
                    <a:pt x="2036077" y="198831"/>
                  </a:lnTo>
                  <a:lnTo>
                    <a:pt x="2036077" y="200228"/>
                  </a:lnTo>
                  <a:lnTo>
                    <a:pt x="2036077" y="198831"/>
                  </a:lnTo>
                  <a:lnTo>
                    <a:pt x="2036128" y="199530"/>
                  </a:lnTo>
                  <a:lnTo>
                    <a:pt x="2036128" y="200228"/>
                  </a:lnTo>
                  <a:lnTo>
                    <a:pt x="2036128" y="199530"/>
                  </a:lnTo>
                  <a:lnTo>
                    <a:pt x="2036179" y="199530"/>
                  </a:lnTo>
                  <a:lnTo>
                    <a:pt x="2036179" y="200228"/>
                  </a:lnTo>
                  <a:lnTo>
                    <a:pt x="2036179" y="199530"/>
                  </a:lnTo>
                  <a:lnTo>
                    <a:pt x="2036179" y="200228"/>
                  </a:lnTo>
                  <a:lnTo>
                    <a:pt x="2036179" y="199530"/>
                  </a:lnTo>
                  <a:lnTo>
                    <a:pt x="2036179" y="200228"/>
                  </a:lnTo>
                  <a:lnTo>
                    <a:pt x="2036268" y="199530"/>
                  </a:lnTo>
                  <a:lnTo>
                    <a:pt x="2036268" y="200228"/>
                  </a:lnTo>
                  <a:lnTo>
                    <a:pt x="2036268" y="198831"/>
                  </a:lnTo>
                  <a:lnTo>
                    <a:pt x="2036268" y="199530"/>
                  </a:lnTo>
                  <a:lnTo>
                    <a:pt x="2036319" y="198831"/>
                  </a:lnTo>
                  <a:lnTo>
                    <a:pt x="2036319" y="196799"/>
                  </a:lnTo>
                  <a:lnTo>
                    <a:pt x="2036319" y="197447"/>
                  </a:lnTo>
                  <a:lnTo>
                    <a:pt x="2036319" y="196799"/>
                  </a:lnTo>
                  <a:lnTo>
                    <a:pt x="2036369" y="196799"/>
                  </a:lnTo>
                  <a:lnTo>
                    <a:pt x="2036369" y="195415"/>
                  </a:lnTo>
                  <a:lnTo>
                    <a:pt x="2036369" y="197447"/>
                  </a:lnTo>
                  <a:lnTo>
                    <a:pt x="2036369" y="196799"/>
                  </a:lnTo>
                  <a:lnTo>
                    <a:pt x="2036420" y="196113"/>
                  </a:lnTo>
                  <a:lnTo>
                    <a:pt x="2036420" y="195415"/>
                  </a:lnTo>
                  <a:lnTo>
                    <a:pt x="2036420" y="198831"/>
                  </a:lnTo>
                  <a:lnTo>
                    <a:pt x="2036420" y="197447"/>
                  </a:lnTo>
                  <a:lnTo>
                    <a:pt x="2036522" y="197447"/>
                  </a:lnTo>
                  <a:lnTo>
                    <a:pt x="2036522" y="199530"/>
                  </a:lnTo>
                  <a:lnTo>
                    <a:pt x="2036522" y="198831"/>
                  </a:lnTo>
                  <a:lnTo>
                    <a:pt x="2036522" y="199530"/>
                  </a:lnTo>
                  <a:lnTo>
                    <a:pt x="2036522" y="198831"/>
                  </a:lnTo>
                  <a:lnTo>
                    <a:pt x="2036522" y="199530"/>
                  </a:lnTo>
                  <a:lnTo>
                    <a:pt x="2036522" y="198831"/>
                  </a:lnTo>
                  <a:lnTo>
                    <a:pt x="2036572" y="198831"/>
                  </a:lnTo>
                  <a:lnTo>
                    <a:pt x="2036572" y="197447"/>
                  </a:lnTo>
                  <a:lnTo>
                    <a:pt x="2036572" y="199530"/>
                  </a:lnTo>
                  <a:lnTo>
                    <a:pt x="2036572" y="198831"/>
                  </a:lnTo>
                  <a:lnTo>
                    <a:pt x="2036572" y="199530"/>
                  </a:lnTo>
                  <a:lnTo>
                    <a:pt x="2036572" y="198831"/>
                  </a:lnTo>
                  <a:lnTo>
                    <a:pt x="2036623" y="198831"/>
                  </a:lnTo>
                  <a:lnTo>
                    <a:pt x="2036623" y="200228"/>
                  </a:lnTo>
                  <a:lnTo>
                    <a:pt x="2036623" y="199530"/>
                  </a:lnTo>
                  <a:lnTo>
                    <a:pt x="2036623" y="200228"/>
                  </a:lnTo>
                  <a:lnTo>
                    <a:pt x="2036623" y="199530"/>
                  </a:lnTo>
                  <a:lnTo>
                    <a:pt x="2036725" y="199530"/>
                  </a:lnTo>
                  <a:lnTo>
                    <a:pt x="2036725" y="200228"/>
                  </a:lnTo>
                  <a:lnTo>
                    <a:pt x="2036725" y="199530"/>
                  </a:lnTo>
                  <a:lnTo>
                    <a:pt x="2036725" y="200228"/>
                  </a:lnTo>
                  <a:lnTo>
                    <a:pt x="2036725" y="199530"/>
                  </a:lnTo>
                  <a:lnTo>
                    <a:pt x="2036725" y="200228"/>
                  </a:lnTo>
                  <a:lnTo>
                    <a:pt x="2036725" y="199530"/>
                  </a:lnTo>
                  <a:lnTo>
                    <a:pt x="2036725" y="200228"/>
                  </a:lnTo>
                  <a:lnTo>
                    <a:pt x="2036725" y="199530"/>
                  </a:lnTo>
                  <a:lnTo>
                    <a:pt x="2036763" y="200228"/>
                  </a:lnTo>
                  <a:lnTo>
                    <a:pt x="2036763" y="198831"/>
                  </a:lnTo>
                  <a:lnTo>
                    <a:pt x="2036763" y="199530"/>
                  </a:lnTo>
                  <a:lnTo>
                    <a:pt x="2036763" y="198831"/>
                  </a:lnTo>
                  <a:lnTo>
                    <a:pt x="2036763" y="199530"/>
                  </a:lnTo>
                  <a:lnTo>
                    <a:pt x="2036763" y="198831"/>
                  </a:lnTo>
                  <a:lnTo>
                    <a:pt x="2036814" y="199530"/>
                  </a:lnTo>
                  <a:lnTo>
                    <a:pt x="2036814" y="196799"/>
                  </a:lnTo>
                  <a:lnTo>
                    <a:pt x="2036814" y="197447"/>
                  </a:lnTo>
                  <a:lnTo>
                    <a:pt x="2036814" y="196799"/>
                  </a:lnTo>
                  <a:lnTo>
                    <a:pt x="2036814" y="197447"/>
                  </a:lnTo>
                  <a:lnTo>
                    <a:pt x="2036814" y="196799"/>
                  </a:lnTo>
                  <a:lnTo>
                    <a:pt x="2036865" y="196799"/>
                  </a:lnTo>
                  <a:lnTo>
                    <a:pt x="2036865" y="196113"/>
                  </a:lnTo>
                  <a:lnTo>
                    <a:pt x="2036865" y="197447"/>
                  </a:lnTo>
                  <a:lnTo>
                    <a:pt x="2036865" y="196799"/>
                  </a:lnTo>
                  <a:lnTo>
                    <a:pt x="2036966" y="196799"/>
                  </a:lnTo>
                  <a:lnTo>
                    <a:pt x="2036966" y="196113"/>
                  </a:lnTo>
                  <a:lnTo>
                    <a:pt x="2036966" y="198831"/>
                  </a:lnTo>
                  <a:lnTo>
                    <a:pt x="2036966" y="197447"/>
                  </a:lnTo>
                  <a:lnTo>
                    <a:pt x="2037017" y="197447"/>
                  </a:lnTo>
                  <a:lnTo>
                    <a:pt x="2037017" y="196799"/>
                  </a:lnTo>
                  <a:lnTo>
                    <a:pt x="2037017" y="197447"/>
                  </a:lnTo>
                  <a:lnTo>
                    <a:pt x="2037017" y="196799"/>
                  </a:lnTo>
                  <a:lnTo>
                    <a:pt x="2037017" y="198831"/>
                  </a:lnTo>
                  <a:lnTo>
                    <a:pt x="2037017" y="197447"/>
                  </a:lnTo>
                  <a:lnTo>
                    <a:pt x="2037068" y="196799"/>
                  </a:lnTo>
                  <a:lnTo>
                    <a:pt x="2037068" y="198831"/>
                  </a:lnTo>
                  <a:lnTo>
                    <a:pt x="2037068" y="197447"/>
                  </a:lnTo>
                  <a:lnTo>
                    <a:pt x="2037068" y="198831"/>
                  </a:lnTo>
                  <a:lnTo>
                    <a:pt x="2037068" y="197447"/>
                  </a:lnTo>
                  <a:lnTo>
                    <a:pt x="2037068" y="198831"/>
                  </a:lnTo>
                  <a:lnTo>
                    <a:pt x="2037169" y="198831"/>
                  </a:lnTo>
                  <a:lnTo>
                    <a:pt x="2037169" y="199530"/>
                  </a:lnTo>
                  <a:lnTo>
                    <a:pt x="2037169" y="198831"/>
                  </a:lnTo>
                  <a:lnTo>
                    <a:pt x="2037169" y="199530"/>
                  </a:lnTo>
                  <a:lnTo>
                    <a:pt x="2037220" y="199530"/>
                  </a:lnTo>
                  <a:lnTo>
                    <a:pt x="2037220" y="200228"/>
                  </a:lnTo>
                  <a:lnTo>
                    <a:pt x="2037220" y="199530"/>
                  </a:lnTo>
                  <a:lnTo>
                    <a:pt x="2037220" y="200228"/>
                  </a:lnTo>
                  <a:lnTo>
                    <a:pt x="2037271" y="199530"/>
                  </a:lnTo>
                  <a:lnTo>
                    <a:pt x="2037271" y="200228"/>
                  </a:lnTo>
                  <a:lnTo>
                    <a:pt x="2037271" y="198831"/>
                  </a:lnTo>
                  <a:lnTo>
                    <a:pt x="2037271" y="199530"/>
                  </a:lnTo>
                  <a:lnTo>
                    <a:pt x="2037271" y="198831"/>
                  </a:lnTo>
                  <a:lnTo>
                    <a:pt x="2037309" y="198831"/>
                  </a:lnTo>
                  <a:lnTo>
                    <a:pt x="2037309" y="196113"/>
                  </a:lnTo>
                  <a:lnTo>
                    <a:pt x="2037309" y="196799"/>
                  </a:lnTo>
                  <a:lnTo>
                    <a:pt x="2037411" y="196113"/>
                  </a:lnTo>
                  <a:lnTo>
                    <a:pt x="2037411" y="197447"/>
                  </a:lnTo>
                  <a:lnTo>
                    <a:pt x="2037411" y="196113"/>
                  </a:lnTo>
                  <a:lnTo>
                    <a:pt x="2037462" y="196113"/>
                  </a:lnTo>
                  <a:lnTo>
                    <a:pt x="2037462" y="198831"/>
                  </a:lnTo>
                  <a:lnTo>
                    <a:pt x="2037462" y="197447"/>
                  </a:lnTo>
                  <a:lnTo>
                    <a:pt x="2037462" y="198831"/>
                  </a:lnTo>
                  <a:lnTo>
                    <a:pt x="2037462" y="196799"/>
                  </a:lnTo>
                  <a:lnTo>
                    <a:pt x="2037462" y="197447"/>
                  </a:lnTo>
                  <a:lnTo>
                    <a:pt x="2037512" y="196799"/>
                  </a:lnTo>
                  <a:lnTo>
                    <a:pt x="2037512" y="198831"/>
                  </a:lnTo>
                  <a:lnTo>
                    <a:pt x="2037512" y="197447"/>
                  </a:lnTo>
                  <a:lnTo>
                    <a:pt x="2037614" y="197447"/>
                  </a:lnTo>
                  <a:lnTo>
                    <a:pt x="2037614" y="198831"/>
                  </a:lnTo>
                  <a:lnTo>
                    <a:pt x="2037614" y="197447"/>
                  </a:lnTo>
                  <a:lnTo>
                    <a:pt x="2037614" y="198831"/>
                  </a:lnTo>
                  <a:lnTo>
                    <a:pt x="2037665" y="198831"/>
                  </a:lnTo>
                  <a:lnTo>
                    <a:pt x="2037665" y="199530"/>
                  </a:lnTo>
                  <a:lnTo>
                    <a:pt x="2037665" y="198831"/>
                  </a:lnTo>
                  <a:lnTo>
                    <a:pt x="2037665" y="199530"/>
                  </a:lnTo>
                  <a:lnTo>
                    <a:pt x="2037715" y="199530"/>
                  </a:lnTo>
                  <a:lnTo>
                    <a:pt x="2037715" y="198831"/>
                  </a:lnTo>
                  <a:lnTo>
                    <a:pt x="2037766" y="198831"/>
                  </a:lnTo>
                  <a:lnTo>
                    <a:pt x="2037766" y="197447"/>
                  </a:lnTo>
                  <a:lnTo>
                    <a:pt x="2037766" y="198831"/>
                  </a:lnTo>
                  <a:lnTo>
                    <a:pt x="2037855" y="197447"/>
                  </a:lnTo>
                  <a:lnTo>
                    <a:pt x="2037855" y="196799"/>
                  </a:lnTo>
                  <a:lnTo>
                    <a:pt x="2037855" y="197447"/>
                  </a:lnTo>
                  <a:lnTo>
                    <a:pt x="2037855" y="196799"/>
                  </a:lnTo>
                  <a:lnTo>
                    <a:pt x="2037855" y="197447"/>
                  </a:lnTo>
                  <a:lnTo>
                    <a:pt x="2037855" y="196799"/>
                  </a:lnTo>
                  <a:lnTo>
                    <a:pt x="2037906" y="196799"/>
                  </a:lnTo>
                  <a:lnTo>
                    <a:pt x="2037906" y="196113"/>
                  </a:lnTo>
                  <a:lnTo>
                    <a:pt x="2037906" y="197447"/>
                  </a:lnTo>
                  <a:lnTo>
                    <a:pt x="2037906" y="195415"/>
                  </a:lnTo>
                  <a:lnTo>
                    <a:pt x="2037906" y="196113"/>
                  </a:lnTo>
                  <a:lnTo>
                    <a:pt x="2037957" y="196799"/>
                  </a:lnTo>
                  <a:lnTo>
                    <a:pt x="2037957" y="198831"/>
                  </a:lnTo>
                  <a:lnTo>
                    <a:pt x="2037957" y="196799"/>
                  </a:lnTo>
                  <a:lnTo>
                    <a:pt x="2037957" y="197447"/>
                  </a:lnTo>
                  <a:lnTo>
                    <a:pt x="2038008" y="197447"/>
                  </a:lnTo>
                  <a:lnTo>
                    <a:pt x="2038008" y="196799"/>
                  </a:lnTo>
                  <a:lnTo>
                    <a:pt x="2038008" y="197447"/>
                  </a:lnTo>
                  <a:lnTo>
                    <a:pt x="2038008" y="196799"/>
                  </a:lnTo>
                  <a:lnTo>
                    <a:pt x="2038008" y="197447"/>
                  </a:lnTo>
                  <a:lnTo>
                    <a:pt x="2038008" y="196799"/>
                  </a:lnTo>
                  <a:lnTo>
                    <a:pt x="2038008" y="197447"/>
                  </a:lnTo>
                  <a:lnTo>
                    <a:pt x="2038109" y="197447"/>
                  </a:lnTo>
                  <a:lnTo>
                    <a:pt x="2038109" y="198831"/>
                  </a:lnTo>
                  <a:lnTo>
                    <a:pt x="2038109" y="197447"/>
                  </a:lnTo>
                  <a:lnTo>
                    <a:pt x="2038109" y="198831"/>
                  </a:lnTo>
                  <a:lnTo>
                    <a:pt x="2038211" y="198831"/>
                  </a:lnTo>
                  <a:lnTo>
                    <a:pt x="2038211" y="199530"/>
                  </a:lnTo>
                  <a:lnTo>
                    <a:pt x="2038211" y="198831"/>
                  </a:lnTo>
                  <a:lnTo>
                    <a:pt x="2038312" y="198831"/>
                  </a:lnTo>
                  <a:lnTo>
                    <a:pt x="2038312" y="196799"/>
                  </a:lnTo>
                  <a:lnTo>
                    <a:pt x="2038312" y="197447"/>
                  </a:lnTo>
                  <a:lnTo>
                    <a:pt x="2038312" y="196799"/>
                  </a:lnTo>
                  <a:lnTo>
                    <a:pt x="2038312" y="197447"/>
                  </a:lnTo>
                  <a:lnTo>
                    <a:pt x="2038350" y="197447"/>
                  </a:lnTo>
                  <a:lnTo>
                    <a:pt x="2038350" y="196799"/>
                  </a:lnTo>
                  <a:lnTo>
                    <a:pt x="2038401" y="196799"/>
                  </a:lnTo>
                  <a:lnTo>
                    <a:pt x="2038401" y="197447"/>
                  </a:lnTo>
                  <a:lnTo>
                    <a:pt x="2038401" y="196799"/>
                  </a:lnTo>
                  <a:lnTo>
                    <a:pt x="2038401" y="199530"/>
                  </a:lnTo>
                  <a:lnTo>
                    <a:pt x="2038452" y="199530"/>
                  </a:lnTo>
                  <a:lnTo>
                    <a:pt x="2038452" y="196799"/>
                  </a:lnTo>
                  <a:lnTo>
                    <a:pt x="2038452" y="199530"/>
                  </a:lnTo>
                  <a:lnTo>
                    <a:pt x="2038554" y="199530"/>
                  </a:lnTo>
                  <a:lnTo>
                    <a:pt x="2038554" y="198831"/>
                  </a:lnTo>
                  <a:lnTo>
                    <a:pt x="2038554" y="199530"/>
                  </a:lnTo>
                  <a:lnTo>
                    <a:pt x="2038554" y="198831"/>
                  </a:lnTo>
                  <a:lnTo>
                    <a:pt x="2038554" y="199530"/>
                  </a:lnTo>
                  <a:lnTo>
                    <a:pt x="2038605" y="199530"/>
                  </a:lnTo>
                  <a:lnTo>
                    <a:pt x="2038605" y="200228"/>
                  </a:lnTo>
                  <a:lnTo>
                    <a:pt x="2038605" y="199530"/>
                  </a:lnTo>
                  <a:lnTo>
                    <a:pt x="2038605" y="200228"/>
                  </a:lnTo>
                  <a:lnTo>
                    <a:pt x="2038655" y="200228"/>
                  </a:lnTo>
                  <a:lnTo>
                    <a:pt x="2038655" y="199530"/>
                  </a:lnTo>
                  <a:lnTo>
                    <a:pt x="2038655" y="200228"/>
                  </a:lnTo>
                  <a:lnTo>
                    <a:pt x="2038655" y="199530"/>
                  </a:lnTo>
                  <a:lnTo>
                    <a:pt x="2038655" y="200228"/>
                  </a:lnTo>
                  <a:lnTo>
                    <a:pt x="2038655" y="199530"/>
                  </a:lnTo>
                  <a:lnTo>
                    <a:pt x="2038757" y="199530"/>
                  </a:lnTo>
                  <a:lnTo>
                    <a:pt x="2038757" y="198831"/>
                  </a:lnTo>
                  <a:lnTo>
                    <a:pt x="2038808" y="198831"/>
                  </a:lnTo>
                  <a:lnTo>
                    <a:pt x="2038808" y="199530"/>
                  </a:lnTo>
                  <a:lnTo>
                    <a:pt x="2038808" y="197447"/>
                  </a:lnTo>
                  <a:lnTo>
                    <a:pt x="2038808" y="198831"/>
                  </a:lnTo>
                  <a:lnTo>
                    <a:pt x="2038808" y="196799"/>
                  </a:lnTo>
                  <a:lnTo>
                    <a:pt x="2038859" y="197447"/>
                  </a:lnTo>
                  <a:lnTo>
                    <a:pt x="2038859" y="196799"/>
                  </a:lnTo>
                  <a:lnTo>
                    <a:pt x="2038859" y="199530"/>
                  </a:lnTo>
                  <a:lnTo>
                    <a:pt x="2038859" y="198831"/>
                  </a:lnTo>
                  <a:lnTo>
                    <a:pt x="2038897" y="197447"/>
                  </a:lnTo>
                  <a:lnTo>
                    <a:pt x="2038897" y="200228"/>
                  </a:lnTo>
                  <a:lnTo>
                    <a:pt x="2038897" y="199530"/>
                  </a:lnTo>
                  <a:lnTo>
                    <a:pt x="2038998" y="199530"/>
                  </a:lnTo>
                  <a:lnTo>
                    <a:pt x="2038998" y="198831"/>
                  </a:lnTo>
                  <a:lnTo>
                    <a:pt x="2038998" y="200228"/>
                  </a:lnTo>
                  <a:lnTo>
                    <a:pt x="2038998" y="199530"/>
                  </a:lnTo>
                  <a:lnTo>
                    <a:pt x="2039049" y="199530"/>
                  </a:lnTo>
                  <a:lnTo>
                    <a:pt x="2039049" y="200228"/>
                  </a:lnTo>
                  <a:lnTo>
                    <a:pt x="2039049" y="199530"/>
                  </a:lnTo>
                  <a:lnTo>
                    <a:pt x="2039049" y="200228"/>
                  </a:lnTo>
                  <a:lnTo>
                    <a:pt x="2039049" y="199530"/>
                  </a:lnTo>
                  <a:lnTo>
                    <a:pt x="2039049" y="200228"/>
                  </a:lnTo>
                  <a:lnTo>
                    <a:pt x="2039049" y="199530"/>
                  </a:lnTo>
                  <a:lnTo>
                    <a:pt x="2039100" y="200228"/>
                  </a:lnTo>
                  <a:lnTo>
                    <a:pt x="2039100" y="200876"/>
                  </a:lnTo>
                  <a:lnTo>
                    <a:pt x="2039100" y="200228"/>
                  </a:lnTo>
                  <a:lnTo>
                    <a:pt x="2039201" y="200228"/>
                  </a:lnTo>
                  <a:lnTo>
                    <a:pt x="2039201" y="199530"/>
                  </a:lnTo>
                  <a:lnTo>
                    <a:pt x="2039252" y="199530"/>
                  </a:lnTo>
                  <a:lnTo>
                    <a:pt x="2039252" y="198831"/>
                  </a:lnTo>
                  <a:lnTo>
                    <a:pt x="2039252" y="199530"/>
                  </a:lnTo>
                  <a:lnTo>
                    <a:pt x="2039252" y="197447"/>
                  </a:lnTo>
                  <a:lnTo>
                    <a:pt x="2039303" y="198831"/>
                  </a:lnTo>
                  <a:lnTo>
                    <a:pt x="2039303" y="196113"/>
                  </a:lnTo>
                  <a:lnTo>
                    <a:pt x="2039303" y="196799"/>
                  </a:lnTo>
                  <a:lnTo>
                    <a:pt x="2039354" y="196799"/>
                  </a:lnTo>
                  <a:lnTo>
                    <a:pt x="2039354" y="198831"/>
                  </a:lnTo>
                  <a:lnTo>
                    <a:pt x="2039354" y="196799"/>
                  </a:lnTo>
                  <a:lnTo>
                    <a:pt x="2039354" y="197447"/>
                  </a:lnTo>
                  <a:lnTo>
                    <a:pt x="2039354" y="196799"/>
                  </a:lnTo>
                  <a:lnTo>
                    <a:pt x="2039354" y="197447"/>
                  </a:lnTo>
                  <a:lnTo>
                    <a:pt x="2039443" y="198831"/>
                  </a:lnTo>
                  <a:lnTo>
                    <a:pt x="2039443" y="199530"/>
                  </a:lnTo>
                  <a:lnTo>
                    <a:pt x="2039443" y="197447"/>
                  </a:lnTo>
                  <a:lnTo>
                    <a:pt x="2039443" y="199530"/>
                  </a:lnTo>
                  <a:lnTo>
                    <a:pt x="2039494" y="198831"/>
                  </a:lnTo>
                  <a:lnTo>
                    <a:pt x="2039494" y="200228"/>
                  </a:lnTo>
                  <a:lnTo>
                    <a:pt x="2039544" y="200228"/>
                  </a:lnTo>
                  <a:lnTo>
                    <a:pt x="2039544" y="199530"/>
                  </a:lnTo>
                  <a:lnTo>
                    <a:pt x="2039544" y="200228"/>
                  </a:lnTo>
                  <a:lnTo>
                    <a:pt x="2039544" y="199530"/>
                  </a:lnTo>
                  <a:lnTo>
                    <a:pt x="2039544" y="200876"/>
                  </a:lnTo>
                  <a:lnTo>
                    <a:pt x="2039595" y="200228"/>
                  </a:lnTo>
                  <a:lnTo>
                    <a:pt x="2039595" y="200876"/>
                  </a:lnTo>
                  <a:lnTo>
                    <a:pt x="2039595" y="200228"/>
                  </a:lnTo>
                  <a:lnTo>
                    <a:pt x="2039697" y="200228"/>
                  </a:lnTo>
                  <a:lnTo>
                    <a:pt x="2039697" y="199530"/>
                  </a:lnTo>
                  <a:lnTo>
                    <a:pt x="2039697" y="200228"/>
                  </a:lnTo>
                  <a:lnTo>
                    <a:pt x="2039697" y="199530"/>
                  </a:lnTo>
                  <a:lnTo>
                    <a:pt x="2039697" y="200228"/>
                  </a:lnTo>
                  <a:lnTo>
                    <a:pt x="2039697" y="199530"/>
                  </a:lnTo>
                  <a:lnTo>
                    <a:pt x="2039747" y="199530"/>
                  </a:lnTo>
                  <a:lnTo>
                    <a:pt x="2039747" y="198831"/>
                  </a:lnTo>
                  <a:lnTo>
                    <a:pt x="2039747" y="199530"/>
                  </a:lnTo>
                  <a:lnTo>
                    <a:pt x="2039747" y="197447"/>
                  </a:lnTo>
                  <a:lnTo>
                    <a:pt x="2039747" y="198831"/>
                  </a:lnTo>
                  <a:lnTo>
                    <a:pt x="2039798" y="198831"/>
                  </a:lnTo>
                  <a:lnTo>
                    <a:pt x="2039798" y="196113"/>
                  </a:lnTo>
                  <a:lnTo>
                    <a:pt x="2039798" y="197447"/>
                  </a:lnTo>
                  <a:lnTo>
                    <a:pt x="2039798" y="196799"/>
                  </a:lnTo>
                  <a:lnTo>
                    <a:pt x="2039798" y="198831"/>
                  </a:lnTo>
                  <a:lnTo>
                    <a:pt x="2039900" y="197447"/>
                  </a:lnTo>
                  <a:lnTo>
                    <a:pt x="2039900" y="196799"/>
                  </a:lnTo>
                  <a:lnTo>
                    <a:pt x="2039900" y="199530"/>
                  </a:lnTo>
                  <a:lnTo>
                    <a:pt x="2039938" y="199530"/>
                  </a:lnTo>
                  <a:lnTo>
                    <a:pt x="2039938" y="197447"/>
                  </a:lnTo>
                  <a:lnTo>
                    <a:pt x="2039938" y="198831"/>
                  </a:lnTo>
                  <a:lnTo>
                    <a:pt x="2039938" y="197447"/>
                  </a:lnTo>
                  <a:lnTo>
                    <a:pt x="2039938" y="199530"/>
                  </a:lnTo>
                  <a:lnTo>
                    <a:pt x="2039989" y="199530"/>
                  </a:lnTo>
                  <a:lnTo>
                    <a:pt x="2039989" y="198831"/>
                  </a:lnTo>
                  <a:lnTo>
                    <a:pt x="2039989" y="199530"/>
                  </a:lnTo>
                  <a:lnTo>
                    <a:pt x="2039989" y="198831"/>
                  </a:lnTo>
                  <a:lnTo>
                    <a:pt x="2039989" y="200228"/>
                  </a:lnTo>
                  <a:lnTo>
                    <a:pt x="2039989" y="199530"/>
                  </a:lnTo>
                  <a:lnTo>
                    <a:pt x="2040040" y="199530"/>
                  </a:lnTo>
                  <a:lnTo>
                    <a:pt x="2040040" y="200228"/>
                  </a:lnTo>
                  <a:lnTo>
                    <a:pt x="2040040" y="199530"/>
                  </a:lnTo>
                  <a:lnTo>
                    <a:pt x="2040040" y="200228"/>
                  </a:lnTo>
                  <a:lnTo>
                    <a:pt x="2040040" y="199530"/>
                  </a:lnTo>
                  <a:lnTo>
                    <a:pt x="2040040" y="200228"/>
                  </a:lnTo>
                  <a:lnTo>
                    <a:pt x="2040040" y="199530"/>
                  </a:lnTo>
                  <a:lnTo>
                    <a:pt x="2040141" y="199530"/>
                  </a:lnTo>
                  <a:lnTo>
                    <a:pt x="2040141" y="200228"/>
                  </a:lnTo>
                  <a:lnTo>
                    <a:pt x="2040141" y="199530"/>
                  </a:lnTo>
                  <a:lnTo>
                    <a:pt x="2040141" y="200228"/>
                  </a:lnTo>
                  <a:lnTo>
                    <a:pt x="2040141" y="199530"/>
                  </a:lnTo>
                  <a:lnTo>
                    <a:pt x="2040192" y="199530"/>
                  </a:lnTo>
                  <a:lnTo>
                    <a:pt x="2040192" y="200228"/>
                  </a:lnTo>
                  <a:lnTo>
                    <a:pt x="2040192" y="199530"/>
                  </a:lnTo>
                  <a:lnTo>
                    <a:pt x="2040243" y="199530"/>
                  </a:lnTo>
                  <a:lnTo>
                    <a:pt x="2040243" y="198831"/>
                  </a:lnTo>
                  <a:lnTo>
                    <a:pt x="2040243" y="199530"/>
                  </a:lnTo>
                  <a:lnTo>
                    <a:pt x="2040243" y="197447"/>
                  </a:lnTo>
                  <a:lnTo>
                    <a:pt x="2040344" y="197447"/>
                  </a:lnTo>
                  <a:lnTo>
                    <a:pt x="2040344" y="195415"/>
                  </a:lnTo>
                  <a:lnTo>
                    <a:pt x="2040395" y="195415"/>
                  </a:lnTo>
                  <a:lnTo>
                    <a:pt x="2040395" y="196113"/>
                  </a:lnTo>
                  <a:lnTo>
                    <a:pt x="2040395" y="194716"/>
                  </a:lnTo>
                  <a:lnTo>
                    <a:pt x="2040395" y="195415"/>
                  </a:lnTo>
                  <a:lnTo>
                    <a:pt x="2040446" y="196113"/>
                  </a:lnTo>
                  <a:lnTo>
                    <a:pt x="2040446" y="197447"/>
                  </a:lnTo>
                  <a:lnTo>
                    <a:pt x="2040446" y="196113"/>
                  </a:lnTo>
                  <a:lnTo>
                    <a:pt x="2040446" y="196799"/>
                  </a:lnTo>
                  <a:lnTo>
                    <a:pt x="2040446" y="196113"/>
                  </a:lnTo>
                  <a:lnTo>
                    <a:pt x="2040446" y="196799"/>
                  </a:lnTo>
                  <a:lnTo>
                    <a:pt x="2040484" y="196799"/>
                  </a:lnTo>
                  <a:lnTo>
                    <a:pt x="2040484" y="198831"/>
                  </a:lnTo>
                  <a:lnTo>
                    <a:pt x="2040484" y="197447"/>
                  </a:lnTo>
                  <a:lnTo>
                    <a:pt x="2040484" y="198831"/>
                  </a:lnTo>
                  <a:lnTo>
                    <a:pt x="2040484" y="197447"/>
                  </a:lnTo>
                  <a:lnTo>
                    <a:pt x="2040484" y="198831"/>
                  </a:lnTo>
                  <a:lnTo>
                    <a:pt x="2040586" y="198831"/>
                  </a:lnTo>
                  <a:lnTo>
                    <a:pt x="2040586" y="199530"/>
                  </a:lnTo>
                  <a:lnTo>
                    <a:pt x="2040586" y="198831"/>
                  </a:lnTo>
                  <a:lnTo>
                    <a:pt x="2040586" y="199530"/>
                  </a:lnTo>
                  <a:lnTo>
                    <a:pt x="2040637" y="199530"/>
                  </a:lnTo>
                  <a:lnTo>
                    <a:pt x="2040637" y="200228"/>
                  </a:lnTo>
                  <a:lnTo>
                    <a:pt x="2040637" y="199530"/>
                  </a:lnTo>
                  <a:lnTo>
                    <a:pt x="2040637" y="200228"/>
                  </a:lnTo>
                  <a:lnTo>
                    <a:pt x="2040687" y="200228"/>
                  </a:lnTo>
                  <a:lnTo>
                    <a:pt x="2040687" y="199530"/>
                  </a:lnTo>
                  <a:lnTo>
                    <a:pt x="2040789" y="199530"/>
                  </a:lnTo>
                  <a:lnTo>
                    <a:pt x="2040789" y="198831"/>
                  </a:lnTo>
                  <a:lnTo>
                    <a:pt x="2040840" y="198831"/>
                  </a:lnTo>
                  <a:lnTo>
                    <a:pt x="2040840" y="196113"/>
                  </a:lnTo>
                  <a:lnTo>
                    <a:pt x="2040840" y="196799"/>
                  </a:lnTo>
                  <a:lnTo>
                    <a:pt x="2040890" y="197447"/>
                  </a:lnTo>
                  <a:lnTo>
                    <a:pt x="2040890" y="195415"/>
                  </a:lnTo>
                  <a:lnTo>
                    <a:pt x="2040890" y="198831"/>
                  </a:lnTo>
                  <a:lnTo>
                    <a:pt x="2040941" y="198831"/>
                  </a:lnTo>
                  <a:lnTo>
                    <a:pt x="2040941" y="196113"/>
                  </a:lnTo>
                  <a:lnTo>
                    <a:pt x="2040941" y="196799"/>
                  </a:lnTo>
                  <a:lnTo>
                    <a:pt x="2040941" y="196113"/>
                  </a:lnTo>
                  <a:lnTo>
                    <a:pt x="2040941" y="197447"/>
                  </a:lnTo>
                  <a:lnTo>
                    <a:pt x="2041030" y="197447"/>
                  </a:lnTo>
                  <a:lnTo>
                    <a:pt x="2041030" y="196799"/>
                  </a:lnTo>
                  <a:lnTo>
                    <a:pt x="2041030" y="197447"/>
                  </a:lnTo>
                  <a:lnTo>
                    <a:pt x="2041081" y="197447"/>
                  </a:lnTo>
                  <a:lnTo>
                    <a:pt x="2041081" y="196799"/>
                  </a:lnTo>
                  <a:lnTo>
                    <a:pt x="2041081" y="197447"/>
                  </a:lnTo>
                  <a:lnTo>
                    <a:pt x="2041081" y="196799"/>
                  </a:lnTo>
                  <a:lnTo>
                    <a:pt x="2041081" y="197447"/>
                  </a:lnTo>
                  <a:lnTo>
                    <a:pt x="2041081" y="196799"/>
                  </a:lnTo>
                  <a:lnTo>
                    <a:pt x="2041081" y="197447"/>
                  </a:lnTo>
                  <a:lnTo>
                    <a:pt x="2041132" y="197447"/>
                  </a:lnTo>
                  <a:lnTo>
                    <a:pt x="2041132" y="198831"/>
                  </a:lnTo>
                  <a:lnTo>
                    <a:pt x="2041132" y="197447"/>
                  </a:lnTo>
                  <a:lnTo>
                    <a:pt x="2041183" y="197447"/>
                  </a:lnTo>
                  <a:lnTo>
                    <a:pt x="2041183" y="198831"/>
                  </a:lnTo>
                  <a:lnTo>
                    <a:pt x="2041183" y="197447"/>
                  </a:lnTo>
                  <a:lnTo>
                    <a:pt x="2041183" y="199530"/>
                  </a:lnTo>
                  <a:lnTo>
                    <a:pt x="2041183" y="198831"/>
                  </a:lnTo>
                  <a:lnTo>
                    <a:pt x="2041284" y="198831"/>
                  </a:lnTo>
                  <a:lnTo>
                    <a:pt x="2041284" y="199530"/>
                  </a:lnTo>
                  <a:lnTo>
                    <a:pt x="2041284" y="197447"/>
                  </a:lnTo>
                  <a:lnTo>
                    <a:pt x="2041335" y="197447"/>
                  </a:lnTo>
                  <a:lnTo>
                    <a:pt x="2041335" y="196799"/>
                  </a:lnTo>
                  <a:lnTo>
                    <a:pt x="2041335" y="198831"/>
                  </a:lnTo>
                  <a:lnTo>
                    <a:pt x="2041335" y="197447"/>
                  </a:lnTo>
                  <a:lnTo>
                    <a:pt x="2041335" y="198831"/>
                  </a:lnTo>
                  <a:lnTo>
                    <a:pt x="2041335" y="197447"/>
                  </a:lnTo>
                  <a:lnTo>
                    <a:pt x="2041386" y="197447"/>
                  </a:lnTo>
                  <a:lnTo>
                    <a:pt x="2041386" y="198831"/>
                  </a:lnTo>
                  <a:lnTo>
                    <a:pt x="2041386" y="197447"/>
                  </a:lnTo>
                  <a:lnTo>
                    <a:pt x="2041386" y="199530"/>
                  </a:lnTo>
                  <a:lnTo>
                    <a:pt x="2041386" y="198831"/>
                  </a:lnTo>
                  <a:lnTo>
                    <a:pt x="2041487" y="199530"/>
                  </a:lnTo>
                  <a:lnTo>
                    <a:pt x="2041525" y="199530"/>
                  </a:lnTo>
                  <a:lnTo>
                    <a:pt x="2041525" y="198831"/>
                  </a:lnTo>
                  <a:lnTo>
                    <a:pt x="2041525" y="200228"/>
                  </a:lnTo>
                  <a:lnTo>
                    <a:pt x="2041525" y="199530"/>
                  </a:lnTo>
                  <a:lnTo>
                    <a:pt x="2041525" y="200228"/>
                  </a:lnTo>
                  <a:lnTo>
                    <a:pt x="2041525" y="199530"/>
                  </a:lnTo>
                  <a:lnTo>
                    <a:pt x="2041576" y="199530"/>
                  </a:lnTo>
                  <a:lnTo>
                    <a:pt x="2041576" y="198831"/>
                  </a:lnTo>
                  <a:lnTo>
                    <a:pt x="2041576" y="199530"/>
                  </a:lnTo>
                  <a:lnTo>
                    <a:pt x="2041729" y="199530"/>
                  </a:lnTo>
                  <a:lnTo>
                    <a:pt x="2041729" y="197447"/>
                  </a:lnTo>
                  <a:lnTo>
                    <a:pt x="2041729" y="198831"/>
                  </a:lnTo>
                  <a:lnTo>
                    <a:pt x="2041729" y="197447"/>
                  </a:lnTo>
                  <a:lnTo>
                    <a:pt x="2041780" y="198831"/>
                  </a:lnTo>
                  <a:lnTo>
                    <a:pt x="2041780" y="196799"/>
                  </a:lnTo>
                  <a:lnTo>
                    <a:pt x="2041780" y="197447"/>
                  </a:lnTo>
                  <a:lnTo>
                    <a:pt x="2041780" y="196799"/>
                  </a:lnTo>
                  <a:lnTo>
                    <a:pt x="2041780" y="197447"/>
                  </a:lnTo>
                  <a:lnTo>
                    <a:pt x="2041780" y="196799"/>
                  </a:lnTo>
                  <a:lnTo>
                    <a:pt x="2041830" y="196799"/>
                  </a:lnTo>
                  <a:lnTo>
                    <a:pt x="2041830" y="198831"/>
                  </a:lnTo>
                  <a:lnTo>
                    <a:pt x="2041830" y="197447"/>
                  </a:lnTo>
                  <a:lnTo>
                    <a:pt x="2041830" y="198831"/>
                  </a:lnTo>
                  <a:lnTo>
                    <a:pt x="2041932" y="199530"/>
                  </a:lnTo>
                  <a:lnTo>
                    <a:pt x="2041932" y="200228"/>
                  </a:lnTo>
                  <a:lnTo>
                    <a:pt x="2041932" y="199530"/>
                  </a:lnTo>
                  <a:lnTo>
                    <a:pt x="2041932" y="200228"/>
                  </a:lnTo>
                  <a:lnTo>
                    <a:pt x="2041983" y="200228"/>
                  </a:lnTo>
                  <a:lnTo>
                    <a:pt x="2041983" y="199530"/>
                  </a:lnTo>
                  <a:lnTo>
                    <a:pt x="2041983" y="200876"/>
                  </a:lnTo>
                  <a:lnTo>
                    <a:pt x="2042034" y="200876"/>
                  </a:lnTo>
                  <a:lnTo>
                    <a:pt x="2042034" y="200228"/>
                  </a:lnTo>
                  <a:lnTo>
                    <a:pt x="2042072" y="200228"/>
                  </a:lnTo>
                  <a:lnTo>
                    <a:pt x="2042072" y="199530"/>
                  </a:lnTo>
                  <a:lnTo>
                    <a:pt x="2042072" y="200228"/>
                  </a:lnTo>
                  <a:lnTo>
                    <a:pt x="2042072" y="199530"/>
                  </a:lnTo>
                  <a:lnTo>
                    <a:pt x="2042173" y="199530"/>
                  </a:lnTo>
                  <a:lnTo>
                    <a:pt x="2042173" y="198831"/>
                  </a:lnTo>
                  <a:lnTo>
                    <a:pt x="2042173" y="199530"/>
                  </a:lnTo>
                  <a:lnTo>
                    <a:pt x="2042173" y="198831"/>
                  </a:lnTo>
                  <a:lnTo>
                    <a:pt x="2042224" y="198831"/>
                  </a:lnTo>
                  <a:lnTo>
                    <a:pt x="2042224" y="197447"/>
                  </a:lnTo>
                  <a:lnTo>
                    <a:pt x="2042224" y="198831"/>
                  </a:lnTo>
                  <a:lnTo>
                    <a:pt x="2042224" y="197447"/>
                  </a:lnTo>
                  <a:lnTo>
                    <a:pt x="2042224" y="198831"/>
                  </a:lnTo>
                  <a:lnTo>
                    <a:pt x="2042224" y="197447"/>
                  </a:lnTo>
                  <a:lnTo>
                    <a:pt x="2042275" y="196799"/>
                  </a:lnTo>
                  <a:lnTo>
                    <a:pt x="2042275" y="197447"/>
                  </a:lnTo>
                  <a:lnTo>
                    <a:pt x="2042275" y="196113"/>
                  </a:lnTo>
                  <a:lnTo>
                    <a:pt x="2042275" y="196799"/>
                  </a:lnTo>
                  <a:lnTo>
                    <a:pt x="2042275" y="196113"/>
                  </a:lnTo>
                  <a:lnTo>
                    <a:pt x="2042275" y="196799"/>
                  </a:lnTo>
                  <a:lnTo>
                    <a:pt x="2042275" y="196113"/>
                  </a:lnTo>
                  <a:lnTo>
                    <a:pt x="2042275" y="197447"/>
                  </a:lnTo>
                  <a:lnTo>
                    <a:pt x="2042376" y="197447"/>
                  </a:lnTo>
                  <a:lnTo>
                    <a:pt x="2042376" y="196113"/>
                  </a:lnTo>
                  <a:lnTo>
                    <a:pt x="2042376" y="199530"/>
                  </a:lnTo>
                  <a:lnTo>
                    <a:pt x="2042376" y="198831"/>
                  </a:lnTo>
                  <a:lnTo>
                    <a:pt x="2042427" y="198831"/>
                  </a:lnTo>
                  <a:lnTo>
                    <a:pt x="2042427" y="197447"/>
                  </a:lnTo>
                  <a:lnTo>
                    <a:pt x="2042427" y="199530"/>
                  </a:lnTo>
                  <a:lnTo>
                    <a:pt x="2042427" y="198831"/>
                  </a:lnTo>
                  <a:lnTo>
                    <a:pt x="2042427" y="199530"/>
                  </a:lnTo>
                  <a:lnTo>
                    <a:pt x="2042427" y="198831"/>
                  </a:lnTo>
                  <a:lnTo>
                    <a:pt x="2042478" y="198831"/>
                  </a:lnTo>
                  <a:lnTo>
                    <a:pt x="2042478" y="199530"/>
                  </a:lnTo>
                  <a:lnTo>
                    <a:pt x="2042478" y="198831"/>
                  </a:lnTo>
                  <a:lnTo>
                    <a:pt x="2042478" y="199530"/>
                  </a:lnTo>
                  <a:lnTo>
                    <a:pt x="2042478" y="198831"/>
                  </a:lnTo>
                  <a:lnTo>
                    <a:pt x="2042478" y="199530"/>
                  </a:lnTo>
                  <a:lnTo>
                    <a:pt x="2042478" y="198831"/>
                  </a:lnTo>
                  <a:lnTo>
                    <a:pt x="2042478" y="200228"/>
                  </a:lnTo>
                  <a:lnTo>
                    <a:pt x="2042478" y="199530"/>
                  </a:lnTo>
                  <a:lnTo>
                    <a:pt x="2042478" y="200228"/>
                  </a:lnTo>
                  <a:lnTo>
                    <a:pt x="2042529" y="200228"/>
                  </a:lnTo>
                  <a:lnTo>
                    <a:pt x="2042529" y="199530"/>
                  </a:lnTo>
                  <a:lnTo>
                    <a:pt x="2042529" y="200228"/>
                  </a:lnTo>
                  <a:lnTo>
                    <a:pt x="2042529" y="199530"/>
                  </a:lnTo>
                  <a:lnTo>
                    <a:pt x="2042529" y="200228"/>
                  </a:lnTo>
                  <a:lnTo>
                    <a:pt x="2042529" y="199530"/>
                  </a:lnTo>
                  <a:lnTo>
                    <a:pt x="2042529" y="200228"/>
                  </a:lnTo>
                  <a:lnTo>
                    <a:pt x="2042618" y="200228"/>
                  </a:lnTo>
                  <a:lnTo>
                    <a:pt x="2042618" y="199530"/>
                  </a:lnTo>
                  <a:lnTo>
                    <a:pt x="2042618" y="200228"/>
                  </a:lnTo>
                  <a:lnTo>
                    <a:pt x="2042669" y="200228"/>
                  </a:lnTo>
                  <a:lnTo>
                    <a:pt x="2042669" y="199530"/>
                  </a:lnTo>
                  <a:lnTo>
                    <a:pt x="2042669" y="200228"/>
                  </a:lnTo>
                  <a:lnTo>
                    <a:pt x="2042669" y="199530"/>
                  </a:lnTo>
                  <a:lnTo>
                    <a:pt x="2042719" y="199530"/>
                  </a:lnTo>
                  <a:lnTo>
                    <a:pt x="2042719" y="197447"/>
                  </a:lnTo>
                  <a:lnTo>
                    <a:pt x="2042770" y="197447"/>
                  </a:lnTo>
                  <a:lnTo>
                    <a:pt x="2042770" y="196113"/>
                  </a:lnTo>
                  <a:lnTo>
                    <a:pt x="2042770" y="197447"/>
                  </a:lnTo>
                  <a:lnTo>
                    <a:pt x="2042770" y="196799"/>
                  </a:lnTo>
                  <a:lnTo>
                    <a:pt x="2042872" y="196799"/>
                  </a:lnTo>
                  <a:lnTo>
                    <a:pt x="2042872" y="199530"/>
                  </a:lnTo>
                  <a:lnTo>
                    <a:pt x="2042872" y="197447"/>
                  </a:lnTo>
                  <a:lnTo>
                    <a:pt x="2042922" y="197447"/>
                  </a:lnTo>
                  <a:lnTo>
                    <a:pt x="2042922" y="199530"/>
                  </a:lnTo>
                  <a:lnTo>
                    <a:pt x="2042922" y="198831"/>
                  </a:lnTo>
                  <a:lnTo>
                    <a:pt x="2042922" y="199530"/>
                  </a:lnTo>
                  <a:lnTo>
                    <a:pt x="2042922" y="198831"/>
                  </a:lnTo>
                  <a:lnTo>
                    <a:pt x="2042973" y="198831"/>
                  </a:lnTo>
                  <a:lnTo>
                    <a:pt x="2042973" y="200228"/>
                  </a:lnTo>
                  <a:lnTo>
                    <a:pt x="2042973" y="199530"/>
                  </a:lnTo>
                  <a:lnTo>
                    <a:pt x="2043075" y="199530"/>
                  </a:lnTo>
                  <a:lnTo>
                    <a:pt x="2043075" y="200228"/>
                  </a:lnTo>
                  <a:lnTo>
                    <a:pt x="2043075" y="199530"/>
                  </a:lnTo>
                  <a:lnTo>
                    <a:pt x="2043075" y="200228"/>
                  </a:lnTo>
                  <a:lnTo>
                    <a:pt x="2043075" y="199530"/>
                  </a:lnTo>
                  <a:lnTo>
                    <a:pt x="2043113" y="199530"/>
                  </a:lnTo>
                  <a:lnTo>
                    <a:pt x="2043113" y="200228"/>
                  </a:lnTo>
                  <a:lnTo>
                    <a:pt x="2043113" y="199530"/>
                  </a:lnTo>
                  <a:lnTo>
                    <a:pt x="2043113" y="200228"/>
                  </a:lnTo>
                  <a:lnTo>
                    <a:pt x="2043113" y="199530"/>
                  </a:lnTo>
                  <a:lnTo>
                    <a:pt x="2043113" y="200228"/>
                  </a:lnTo>
                  <a:lnTo>
                    <a:pt x="2043113" y="199530"/>
                  </a:lnTo>
                  <a:lnTo>
                    <a:pt x="2043164" y="200228"/>
                  </a:lnTo>
                  <a:lnTo>
                    <a:pt x="2043164" y="199530"/>
                  </a:lnTo>
                  <a:lnTo>
                    <a:pt x="2043164" y="200228"/>
                  </a:lnTo>
                  <a:lnTo>
                    <a:pt x="2043164" y="198831"/>
                  </a:lnTo>
                  <a:lnTo>
                    <a:pt x="2043164" y="199530"/>
                  </a:lnTo>
                  <a:lnTo>
                    <a:pt x="2043215" y="199530"/>
                  </a:lnTo>
                  <a:lnTo>
                    <a:pt x="2043215" y="196799"/>
                  </a:lnTo>
                  <a:lnTo>
                    <a:pt x="2043215" y="197447"/>
                  </a:lnTo>
                  <a:lnTo>
                    <a:pt x="2043215" y="196799"/>
                  </a:lnTo>
                  <a:lnTo>
                    <a:pt x="2043215" y="197447"/>
                  </a:lnTo>
                  <a:lnTo>
                    <a:pt x="2043215" y="196799"/>
                  </a:lnTo>
                  <a:lnTo>
                    <a:pt x="2043316" y="196113"/>
                  </a:lnTo>
                  <a:lnTo>
                    <a:pt x="2043316" y="195415"/>
                  </a:lnTo>
                  <a:lnTo>
                    <a:pt x="2043316" y="196113"/>
                  </a:lnTo>
                  <a:lnTo>
                    <a:pt x="2043367" y="196113"/>
                  </a:lnTo>
                  <a:lnTo>
                    <a:pt x="2043367" y="195415"/>
                  </a:lnTo>
                  <a:lnTo>
                    <a:pt x="2043367" y="197447"/>
                  </a:lnTo>
                  <a:lnTo>
                    <a:pt x="2043367" y="196799"/>
                  </a:lnTo>
                  <a:lnTo>
                    <a:pt x="2043418" y="196799"/>
                  </a:lnTo>
                  <a:lnTo>
                    <a:pt x="2043418" y="198831"/>
                  </a:lnTo>
                  <a:lnTo>
                    <a:pt x="2043418" y="197447"/>
                  </a:lnTo>
                  <a:lnTo>
                    <a:pt x="2043519" y="197447"/>
                  </a:lnTo>
                  <a:lnTo>
                    <a:pt x="2043519" y="198831"/>
                  </a:lnTo>
                  <a:lnTo>
                    <a:pt x="2043519" y="197447"/>
                  </a:lnTo>
                  <a:lnTo>
                    <a:pt x="2043519" y="199530"/>
                  </a:lnTo>
                  <a:lnTo>
                    <a:pt x="2043519" y="198831"/>
                  </a:lnTo>
                  <a:lnTo>
                    <a:pt x="2043570" y="198831"/>
                  </a:lnTo>
                  <a:lnTo>
                    <a:pt x="2043570" y="199530"/>
                  </a:lnTo>
                  <a:lnTo>
                    <a:pt x="2043570" y="198831"/>
                  </a:lnTo>
                  <a:lnTo>
                    <a:pt x="2043570" y="199530"/>
                  </a:lnTo>
                  <a:lnTo>
                    <a:pt x="2043570" y="198831"/>
                  </a:lnTo>
                  <a:lnTo>
                    <a:pt x="2043621" y="198831"/>
                  </a:lnTo>
                  <a:lnTo>
                    <a:pt x="2043621" y="200228"/>
                  </a:lnTo>
                  <a:lnTo>
                    <a:pt x="2043621" y="199530"/>
                  </a:lnTo>
                  <a:lnTo>
                    <a:pt x="2043621" y="200228"/>
                  </a:lnTo>
                  <a:lnTo>
                    <a:pt x="2043621" y="199530"/>
                  </a:lnTo>
                  <a:lnTo>
                    <a:pt x="2043621" y="200228"/>
                  </a:lnTo>
                  <a:lnTo>
                    <a:pt x="2043659" y="199530"/>
                  </a:lnTo>
                  <a:lnTo>
                    <a:pt x="2043659" y="200228"/>
                  </a:lnTo>
                  <a:lnTo>
                    <a:pt x="2043659" y="198831"/>
                  </a:lnTo>
                  <a:lnTo>
                    <a:pt x="2043761" y="198831"/>
                  </a:lnTo>
                  <a:lnTo>
                    <a:pt x="2043761" y="197447"/>
                  </a:lnTo>
                  <a:lnTo>
                    <a:pt x="2043761" y="198831"/>
                  </a:lnTo>
                  <a:lnTo>
                    <a:pt x="2043761" y="196113"/>
                  </a:lnTo>
                  <a:lnTo>
                    <a:pt x="2043812" y="196113"/>
                  </a:lnTo>
                  <a:lnTo>
                    <a:pt x="2043812" y="195415"/>
                  </a:lnTo>
                  <a:lnTo>
                    <a:pt x="2043812" y="196799"/>
                  </a:lnTo>
                  <a:lnTo>
                    <a:pt x="2043812" y="196113"/>
                  </a:lnTo>
                  <a:lnTo>
                    <a:pt x="2043862" y="195415"/>
                  </a:lnTo>
                  <a:lnTo>
                    <a:pt x="2043862" y="194716"/>
                  </a:lnTo>
                  <a:lnTo>
                    <a:pt x="2043862" y="197447"/>
                  </a:lnTo>
                  <a:lnTo>
                    <a:pt x="2043862" y="196113"/>
                  </a:lnTo>
                  <a:lnTo>
                    <a:pt x="2043964" y="196113"/>
                  </a:lnTo>
                  <a:lnTo>
                    <a:pt x="2043964" y="197447"/>
                  </a:lnTo>
                  <a:lnTo>
                    <a:pt x="2043964" y="196799"/>
                  </a:lnTo>
                  <a:lnTo>
                    <a:pt x="2044015" y="196113"/>
                  </a:lnTo>
                  <a:lnTo>
                    <a:pt x="2044015" y="197447"/>
                  </a:lnTo>
                  <a:lnTo>
                    <a:pt x="2044015" y="196799"/>
                  </a:lnTo>
                  <a:lnTo>
                    <a:pt x="2044065" y="196799"/>
                  </a:lnTo>
                  <a:lnTo>
                    <a:pt x="2044065" y="197447"/>
                  </a:lnTo>
                  <a:lnTo>
                    <a:pt x="2044065" y="196799"/>
                  </a:lnTo>
                  <a:lnTo>
                    <a:pt x="2044065" y="197447"/>
                  </a:lnTo>
                  <a:lnTo>
                    <a:pt x="2044065" y="196799"/>
                  </a:lnTo>
                  <a:lnTo>
                    <a:pt x="2044065" y="197447"/>
                  </a:lnTo>
                  <a:lnTo>
                    <a:pt x="2044116" y="198831"/>
                  </a:lnTo>
                  <a:lnTo>
                    <a:pt x="2044116" y="197447"/>
                  </a:lnTo>
                  <a:lnTo>
                    <a:pt x="2044116" y="198831"/>
                  </a:lnTo>
                  <a:lnTo>
                    <a:pt x="2044205" y="198831"/>
                  </a:lnTo>
                  <a:lnTo>
                    <a:pt x="2044205" y="199530"/>
                  </a:lnTo>
                  <a:lnTo>
                    <a:pt x="2044205" y="197447"/>
                  </a:lnTo>
                  <a:lnTo>
                    <a:pt x="2044205" y="198831"/>
                  </a:lnTo>
                  <a:lnTo>
                    <a:pt x="2044205" y="197447"/>
                  </a:lnTo>
                  <a:lnTo>
                    <a:pt x="2044205" y="198831"/>
                  </a:lnTo>
                  <a:lnTo>
                    <a:pt x="2044256" y="197447"/>
                  </a:lnTo>
                  <a:lnTo>
                    <a:pt x="2044256" y="196113"/>
                  </a:lnTo>
                  <a:lnTo>
                    <a:pt x="2044307" y="196113"/>
                  </a:lnTo>
                  <a:lnTo>
                    <a:pt x="2044307" y="196799"/>
                  </a:lnTo>
                  <a:lnTo>
                    <a:pt x="2044307" y="195415"/>
                  </a:lnTo>
                  <a:lnTo>
                    <a:pt x="2044307" y="196113"/>
                  </a:lnTo>
                  <a:lnTo>
                    <a:pt x="2044358" y="197447"/>
                  </a:lnTo>
                  <a:lnTo>
                    <a:pt x="2044358" y="198831"/>
                  </a:lnTo>
                  <a:lnTo>
                    <a:pt x="2044358" y="197447"/>
                  </a:lnTo>
                  <a:lnTo>
                    <a:pt x="2044358" y="198831"/>
                  </a:lnTo>
                  <a:lnTo>
                    <a:pt x="2044459" y="198831"/>
                  </a:lnTo>
                  <a:lnTo>
                    <a:pt x="2044459" y="199530"/>
                  </a:lnTo>
                  <a:lnTo>
                    <a:pt x="2044459" y="198831"/>
                  </a:lnTo>
                  <a:lnTo>
                    <a:pt x="2044459" y="199530"/>
                  </a:lnTo>
                  <a:lnTo>
                    <a:pt x="2044459" y="197447"/>
                  </a:lnTo>
                  <a:lnTo>
                    <a:pt x="2044510" y="197447"/>
                  </a:lnTo>
                  <a:lnTo>
                    <a:pt x="2044510" y="198831"/>
                  </a:lnTo>
                  <a:lnTo>
                    <a:pt x="2044510" y="197447"/>
                  </a:lnTo>
                  <a:lnTo>
                    <a:pt x="2044510" y="198831"/>
                  </a:lnTo>
                  <a:lnTo>
                    <a:pt x="2044510" y="197447"/>
                  </a:lnTo>
                  <a:lnTo>
                    <a:pt x="2044510" y="198831"/>
                  </a:lnTo>
                  <a:lnTo>
                    <a:pt x="2044510" y="197447"/>
                  </a:lnTo>
                  <a:lnTo>
                    <a:pt x="2044510" y="198831"/>
                  </a:lnTo>
                  <a:lnTo>
                    <a:pt x="2044561" y="198831"/>
                  </a:lnTo>
                  <a:lnTo>
                    <a:pt x="2044561" y="197447"/>
                  </a:lnTo>
                  <a:lnTo>
                    <a:pt x="2044561" y="198831"/>
                  </a:lnTo>
                  <a:lnTo>
                    <a:pt x="2044662" y="199530"/>
                  </a:lnTo>
                  <a:lnTo>
                    <a:pt x="2044662" y="198831"/>
                  </a:lnTo>
                  <a:lnTo>
                    <a:pt x="2044662" y="199530"/>
                  </a:lnTo>
                  <a:lnTo>
                    <a:pt x="2044662" y="198831"/>
                  </a:lnTo>
                  <a:lnTo>
                    <a:pt x="2044662" y="199530"/>
                  </a:lnTo>
                  <a:lnTo>
                    <a:pt x="2044662" y="198831"/>
                  </a:lnTo>
                  <a:lnTo>
                    <a:pt x="2044662" y="200228"/>
                  </a:lnTo>
                  <a:lnTo>
                    <a:pt x="2044662" y="199530"/>
                  </a:lnTo>
                  <a:lnTo>
                    <a:pt x="2044700" y="199530"/>
                  </a:lnTo>
                  <a:lnTo>
                    <a:pt x="2044700" y="197447"/>
                  </a:lnTo>
                  <a:lnTo>
                    <a:pt x="2044751" y="197447"/>
                  </a:lnTo>
                  <a:lnTo>
                    <a:pt x="2044751" y="196799"/>
                  </a:lnTo>
                  <a:lnTo>
                    <a:pt x="2044751" y="197447"/>
                  </a:lnTo>
                  <a:lnTo>
                    <a:pt x="2044751" y="196113"/>
                  </a:lnTo>
                  <a:lnTo>
                    <a:pt x="2044751" y="196799"/>
                  </a:lnTo>
                  <a:lnTo>
                    <a:pt x="2044751" y="196113"/>
                  </a:lnTo>
                  <a:lnTo>
                    <a:pt x="2044751" y="197447"/>
                  </a:lnTo>
                  <a:lnTo>
                    <a:pt x="2044802" y="198831"/>
                  </a:lnTo>
                  <a:lnTo>
                    <a:pt x="2044802" y="196799"/>
                  </a:lnTo>
                  <a:lnTo>
                    <a:pt x="2044802" y="200228"/>
                  </a:lnTo>
                  <a:lnTo>
                    <a:pt x="2044904" y="200228"/>
                  </a:lnTo>
                  <a:lnTo>
                    <a:pt x="2044904" y="198831"/>
                  </a:lnTo>
                  <a:lnTo>
                    <a:pt x="2044904" y="200228"/>
                  </a:lnTo>
                  <a:lnTo>
                    <a:pt x="2044955" y="200228"/>
                  </a:lnTo>
                  <a:lnTo>
                    <a:pt x="2044955" y="198831"/>
                  </a:lnTo>
                  <a:lnTo>
                    <a:pt x="2044955" y="199530"/>
                  </a:lnTo>
                  <a:lnTo>
                    <a:pt x="2044955" y="198831"/>
                  </a:lnTo>
                  <a:lnTo>
                    <a:pt x="2044955" y="199530"/>
                  </a:lnTo>
                  <a:lnTo>
                    <a:pt x="2045005" y="198831"/>
                  </a:lnTo>
                  <a:lnTo>
                    <a:pt x="2045005" y="200228"/>
                  </a:lnTo>
                  <a:lnTo>
                    <a:pt x="2045005" y="199530"/>
                  </a:lnTo>
                  <a:lnTo>
                    <a:pt x="2045107" y="199530"/>
                  </a:lnTo>
                  <a:lnTo>
                    <a:pt x="2045107" y="198831"/>
                  </a:lnTo>
                  <a:lnTo>
                    <a:pt x="2045107" y="200228"/>
                  </a:lnTo>
                  <a:lnTo>
                    <a:pt x="2045107" y="199530"/>
                  </a:lnTo>
                  <a:lnTo>
                    <a:pt x="2045158" y="199530"/>
                  </a:lnTo>
                  <a:lnTo>
                    <a:pt x="2045158" y="198831"/>
                  </a:lnTo>
                  <a:lnTo>
                    <a:pt x="2045158" y="199530"/>
                  </a:lnTo>
                  <a:lnTo>
                    <a:pt x="2045158" y="197447"/>
                  </a:lnTo>
                  <a:lnTo>
                    <a:pt x="2045158" y="198831"/>
                  </a:lnTo>
                  <a:lnTo>
                    <a:pt x="2045209" y="198831"/>
                  </a:lnTo>
                  <a:lnTo>
                    <a:pt x="2045209" y="196799"/>
                  </a:lnTo>
                  <a:lnTo>
                    <a:pt x="2045209" y="197447"/>
                  </a:lnTo>
                  <a:lnTo>
                    <a:pt x="2045209" y="196799"/>
                  </a:lnTo>
                  <a:lnTo>
                    <a:pt x="2045209" y="197447"/>
                  </a:lnTo>
                  <a:lnTo>
                    <a:pt x="2045209" y="196799"/>
                  </a:lnTo>
                  <a:lnTo>
                    <a:pt x="2045247" y="196113"/>
                  </a:lnTo>
                  <a:lnTo>
                    <a:pt x="2045247" y="194716"/>
                  </a:lnTo>
                  <a:lnTo>
                    <a:pt x="2045247" y="196799"/>
                  </a:lnTo>
                  <a:lnTo>
                    <a:pt x="2045348" y="196799"/>
                  </a:lnTo>
                  <a:lnTo>
                    <a:pt x="2045348" y="197447"/>
                  </a:lnTo>
                  <a:lnTo>
                    <a:pt x="2045348" y="195415"/>
                  </a:lnTo>
                  <a:lnTo>
                    <a:pt x="2045348" y="199530"/>
                  </a:lnTo>
                  <a:lnTo>
                    <a:pt x="2045399" y="198831"/>
                  </a:lnTo>
                  <a:lnTo>
                    <a:pt x="2045399" y="199530"/>
                  </a:lnTo>
                  <a:lnTo>
                    <a:pt x="2045399" y="196799"/>
                  </a:lnTo>
                  <a:lnTo>
                    <a:pt x="2045399" y="197447"/>
                  </a:lnTo>
                  <a:lnTo>
                    <a:pt x="2045399" y="196799"/>
                  </a:lnTo>
                  <a:lnTo>
                    <a:pt x="2045399" y="198831"/>
                  </a:lnTo>
                  <a:lnTo>
                    <a:pt x="2045450" y="197447"/>
                  </a:lnTo>
                  <a:lnTo>
                    <a:pt x="2045450" y="198831"/>
                  </a:lnTo>
                  <a:lnTo>
                    <a:pt x="2045450" y="197447"/>
                  </a:lnTo>
                  <a:lnTo>
                    <a:pt x="2045450" y="198831"/>
                  </a:lnTo>
                  <a:lnTo>
                    <a:pt x="2045450" y="197447"/>
                  </a:lnTo>
                  <a:lnTo>
                    <a:pt x="2045551" y="198831"/>
                  </a:lnTo>
                  <a:lnTo>
                    <a:pt x="2045551" y="199530"/>
                  </a:lnTo>
                  <a:lnTo>
                    <a:pt x="2045551" y="198831"/>
                  </a:lnTo>
                  <a:lnTo>
                    <a:pt x="2045551" y="199530"/>
                  </a:lnTo>
                  <a:lnTo>
                    <a:pt x="2045551" y="198831"/>
                  </a:lnTo>
                  <a:lnTo>
                    <a:pt x="2045602" y="199530"/>
                  </a:lnTo>
                  <a:lnTo>
                    <a:pt x="2045602" y="200228"/>
                  </a:lnTo>
                  <a:lnTo>
                    <a:pt x="2045602" y="199530"/>
                  </a:lnTo>
                  <a:lnTo>
                    <a:pt x="2045602" y="200228"/>
                  </a:lnTo>
                  <a:lnTo>
                    <a:pt x="2045653" y="199530"/>
                  </a:lnTo>
                  <a:lnTo>
                    <a:pt x="2045653" y="200228"/>
                  </a:lnTo>
                  <a:lnTo>
                    <a:pt x="2045653" y="199530"/>
                  </a:lnTo>
                  <a:lnTo>
                    <a:pt x="2045653" y="200228"/>
                  </a:lnTo>
                  <a:lnTo>
                    <a:pt x="2045653" y="198831"/>
                  </a:lnTo>
                  <a:lnTo>
                    <a:pt x="2045704" y="198831"/>
                  </a:lnTo>
                  <a:lnTo>
                    <a:pt x="2045704" y="199530"/>
                  </a:lnTo>
                  <a:lnTo>
                    <a:pt x="2045704" y="196799"/>
                  </a:lnTo>
                  <a:lnTo>
                    <a:pt x="2045704" y="197447"/>
                  </a:lnTo>
                  <a:lnTo>
                    <a:pt x="2045704" y="196799"/>
                  </a:lnTo>
                  <a:lnTo>
                    <a:pt x="2045704" y="197447"/>
                  </a:lnTo>
                  <a:lnTo>
                    <a:pt x="2045704" y="196799"/>
                  </a:lnTo>
                  <a:lnTo>
                    <a:pt x="2045793" y="196799"/>
                  </a:lnTo>
                  <a:lnTo>
                    <a:pt x="2045793" y="195415"/>
                  </a:lnTo>
                  <a:lnTo>
                    <a:pt x="2045793" y="197447"/>
                  </a:lnTo>
                  <a:lnTo>
                    <a:pt x="2045844" y="197447"/>
                  </a:lnTo>
                  <a:lnTo>
                    <a:pt x="2045844" y="195415"/>
                  </a:lnTo>
                  <a:lnTo>
                    <a:pt x="2045844" y="198831"/>
                  </a:lnTo>
                  <a:lnTo>
                    <a:pt x="2045844" y="197447"/>
                  </a:lnTo>
                  <a:lnTo>
                    <a:pt x="2045844" y="198831"/>
                  </a:lnTo>
                  <a:lnTo>
                    <a:pt x="2045894" y="198831"/>
                  </a:lnTo>
                  <a:lnTo>
                    <a:pt x="2045894" y="196799"/>
                  </a:lnTo>
                  <a:lnTo>
                    <a:pt x="2045894" y="198831"/>
                  </a:lnTo>
                  <a:lnTo>
                    <a:pt x="2045945" y="198831"/>
                  </a:lnTo>
                  <a:lnTo>
                    <a:pt x="2045945" y="196799"/>
                  </a:lnTo>
                  <a:lnTo>
                    <a:pt x="2045945" y="198831"/>
                  </a:lnTo>
                  <a:lnTo>
                    <a:pt x="2046047" y="198831"/>
                  </a:lnTo>
                  <a:lnTo>
                    <a:pt x="2046047" y="197447"/>
                  </a:lnTo>
                  <a:lnTo>
                    <a:pt x="2046047" y="199530"/>
                  </a:lnTo>
                  <a:lnTo>
                    <a:pt x="2046097" y="198831"/>
                  </a:lnTo>
                  <a:lnTo>
                    <a:pt x="2046097" y="199530"/>
                  </a:lnTo>
                  <a:lnTo>
                    <a:pt x="2046148" y="199530"/>
                  </a:lnTo>
                  <a:lnTo>
                    <a:pt x="2046148" y="200228"/>
                  </a:lnTo>
                  <a:lnTo>
                    <a:pt x="2046148" y="198831"/>
                  </a:lnTo>
                  <a:lnTo>
                    <a:pt x="2046148" y="199530"/>
                  </a:lnTo>
                  <a:lnTo>
                    <a:pt x="2046148" y="198831"/>
                  </a:lnTo>
                  <a:lnTo>
                    <a:pt x="2046250" y="198831"/>
                  </a:lnTo>
                  <a:lnTo>
                    <a:pt x="2046250" y="196799"/>
                  </a:lnTo>
                  <a:lnTo>
                    <a:pt x="2046250" y="197447"/>
                  </a:lnTo>
                  <a:lnTo>
                    <a:pt x="2046250" y="196799"/>
                  </a:lnTo>
                  <a:lnTo>
                    <a:pt x="2046288" y="196799"/>
                  </a:lnTo>
                  <a:lnTo>
                    <a:pt x="2046288" y="194716"/>
                  </a:lnTo>
                  <a:lnTo>
                    <a:pt x="2046288" y="197447"/>
                  </a:lnTo>
                  <a:lnTo>
                    <a:pt x="2046339" y="197447"/>
                  </a:lnTo>
                  <a:lnTo>
                    <a:pt x="2046339" y="195415"/>
                  </a:lnTo>
                  <a:lnTo>
                    <a:pt x="2046339" y="198831"/>
                  </a:lnTo>
                  <a:lnTo>
                    <a:pt x="2046390" y="197447"/>
                  </a:lnTo>
                  <a:lnTo>
                    <a:pt x="2046390" y="196113"/>
                  </a:lnTo>
                  <a:lnTo>
                    <a:pt x="2046390" y="198831"/>
                  </a:lnTo>
                  <a:lnTo>
                    <a:pt x="2046390" y="197447"/>
                  </a:lnTo>
                  <a:lnTo>
                    <a:pt x="2046390" y="198831"/>
                  </a:lnTo>
                  <a:lnTo>
                    <a:pt x="2046390" y="197447"/>
                  </a:lnTo>
                  <a:lnTo>
                    <a:pt x="2046491" y="197447"/>
                  </a:lnTo>
                  <a:lnTo>
                    <a:pt x="2046491" y="196799"/>
                  </a:lnTo>
                  <a:lnTo>
                    <a:pt x="2046491" y="198831"/>
                  </a:lnTo>
                  <a:lnTo>
                    <a:pt x="2046542" y="198831"/>
                  </a:lnTo>
                  <a:lnTo>
                    <a:pt x="2046542" y="199530"/>
                  </a:lnTo>
                  <a:lnTo>
                    <a:pt x="2046542" y="198831"/>
                  </a:lnTo>
                  <a:lnTo>
                    <a:pt x="2046542" y="199530"/>
                  </a:lnTo>
                  <a:lnTo>
                    <a:pt x="2046542" y="198831"/>
                  </a:lnTo>
                  <a:lnTo>
                    <a:pt x="2046542" y="199530"/>
                  </a:lnTo>
                  <a:lnTo>
                    <a:pt x="2046593" y="200228"/>
                  </a:lnTo>
                  <a:lnTo>
                    <a:pt x="2046593" y="199530"/>
                  </a:lnTo>
                  <a:lnTo>
                    <a:pt x="2046593" y="200228"/>
                  </a:lnTo>
                  <a:lnTo>
                    <a:pt x="2046593" y="199530"/>
                  </a:lnTo>
                  <a:lnTo>
                    <a:pt x="2046593" y="200228"/>
                  </a:lnTo>
                  <a:lnTo>
                    <a:pt x="2046694" y="200228"/>
                  </a:lnTo>
                  <a:lnTo>
                    <a:pt x="2046694" y="199530"/>
                  </a:lnTo>
                  <a:lnTo>
                    <a:pt x="2046694" y="200228"/>
                  </a:lnTo>
                  <a:lnTo>
                    <a:pt x="2046694" y="199530"/>
                  </a:lnTo>
                  <a:lnTo>
                    <a:pt x="2046694" y="200228"/>
                  </a:lnTo>
                  <a:lnTo>
                    <a:pt x="2046694" y="199530"/>
                  </a:lnTo>
                  <a:lnTo>
                    <a:pt x="2046745" y="199530"/>
                  </a:lnTo>
                  <a:lnTo>
                    <a:pt x="2046745" y="196799"/>
                  </a:lnTo>
                  <a:lnTo>
                    <a:pt x="2046796" y="196799"/>
                  </a:lnTo>
                  <a:lnTo>
                    <a:pt x="2046796" y="196113"/>
                  </a:lnTo>
                  <a:lnTo>
                    <a:pt x="2046796" y="196799"/>
                  </a:lnTo>
                  <a:lnTo>
                    <a:pt x="2046796" y="196113"/>
                  </a:lnTo>
                  <a:lnTo>
                    <a:pt x="2046796" y="196799"/>
                  </a:lnTo>
                  <a:lnTo>
                    <a:pt x="2046796" y="196113"/>
                  </a:lnTo>
                  <a:lnTo>
                    <a:pt x="2046796" y="197447"/>
                  </a:lnTo>
                  <a:lnTo>
                    <a:pt x="2046796" y="196799"/>
                  </a:lnTo>
                  <a:lnTo>
                    <a:pt x="2046834" y="196113"/>
                  </a:lnTo>
                  <a:lnTo>
                    <a:pt x="2046834" y="195415"/>
                  </a:lnTo>
                  <a:lnTo>
                    <a:pt x="2046834" y="198831"/>
                  </a:lnTo>
                  <a:lnTo>
                    <a:pt x="2046834" y="196799"/>
                  </a:lnTo>
                  <a:lnTo>
                    <a:pt x="2046936" y="196799"/>
                  </a:lnTo>
                  <a:lnTo>
                    <a:pt x="2046936" y="198831"/>
                  </a:lnTo>
                  <a:lnTo>
                    <a:pt x="2046936" y="197447"/>
                  </a:lnTo>
                  <a:lnTo>
                    <a:pt x="2046987" y="196799"/>
                  </a:lnTo>
                  <a:lnTo>
                    <a:pt x="2046987" y="196113"/>
                  </a:lnTo>
                  <a:lnTo>
                    <a:pt x="2046987" y="197447"/>
                  </a:lnTo>
                  <a:lnTo>
                    <a:pt x="2047037" y="197447"/>
                  </a:lnTo>
                  <a:lnTo>
                    <a:pt x="2047037" y="198831"/>
                  </a:lnTo>
                  <a:lnTo>
                    <a:pt x="2047037" y="197447"/>
                  </a:lnTo>
                  <a:lnTo>
                    <a:pt x="2047037" y="198831"/>
                  </a:lnTo>
                  <a:lnTo>
                    <a:pt x="2047139" y="198831"/>
                  </a:lnTo>
                  <a:lnTo>
                    <a:pt x="2047139" y="197447"/>
                  </a:lnTo>
                  <a:lnTo>
                    <a:pt x="2047139" y="199530"/>
                  </a:lnTo>
                  <a:lnTo>
                    <a:pt x="2047139" y="198831"/>
                  </a:lnTo>
                  <a:lnTo>
                    <a:pt x="2047190" y="198831"/>
                  </a:lnTo>
                  <a:lnTo>
                    <a:pt x="2047190" y="199530"/>
                  </a:lnTo>
                  <a:lnTo>
                    <a:pt x="2047190" y="198831"/>
                  </a:lnTo>
                  <a:lnTo>
                    <a:pt x="2047240" y="198831"/>
                  </a:lnTo>
                  <a:lnTo>
                    <a:pt x="2047240" y="197447"/>
                  </a:lnTo>
                  <a:lnTo>
                    <a:pt x="2047240" y="198831"/>
                  </a:lnTo>
                  <a:lnTo>
                    <a:pt x="2047240" y="196799"/>
                  </a:lnTo>
                  <a:lnTo>
                    <a:pt x="2047240" y="197447"/>
                  </a:lnTo>
                  <a:lnTo>
                    <a:pt x="2047240" y="196799"/>
                  </a:lnTo>
                  <a:lnTo>
                    <a:pt x="2047240" y="197447"/>
                  </a:lnTo>
                  <a:lnTo>
                    <a:pt x="2047240" y="196799"/>
                  </a:lnTo>
                  <a:lnTo>
                    <a:pt x="2047291" y="197447"/>
                  </a:lnTo>
                  <a:lnTo>
                    <a:pt x="2047291" y="196799"/>
                  </a:lnTo>
                  <a:lnTo>
                    <a:pt x="2047291" y="199530"/>
                  </a:lnTo>
                  <a:lnTo>
                    <a:pt x="2047291" y="196799"/>
                  </a:lnTo>
                  <a:lnTo>
                    <a:pt x="2047380" y="196799"/>
                  </a:lnTo>
                  <a:lnTo>
                    <a:pt x="2047380" y="200228"/>
                  </a:lnTo>
                  <a:lnTo>
                    <a:pt x="2047380" y="197447"/>
                  </a:lnTo>
                  <a:lnTo>
                    <a:pt x="2047431" y="198831"/>
                  </a:lnTo>
                  <a:lnTo>
                    <a:pt x="2047431" y="199530"/>
                  </a:lnTo>
                  <a:lnTo>
                    <a:pt x="2047431" y="198831"/>
                  </a:lnTo>
                  <a:lnTo>
                    <a:pt x="2047482" y="198831"/>
                  </a:lnTo>
                  <a:lnTo>
                    <a:pt x="2047482" y="199530"/>
                  </a:lnTo>
                  <a:lnTo>
                    <a:pt x="2047533" y="199530"/>
                  </a:lnTo>
                  <a:lnTo>
                    <a:pt x="2047533" y="200228"/>
                  </a:lnTo>
                  <a:lnTo>
                    <a:pt x="2047533" y="199530"/>
                  </a:lnTo>
                  <a:lnTo>
                    <a:pt x="2047685" y="199530"/>
                  </a:lnTo>
                  <a:lnTo>
                    <a:pt x="2047685" y="197447"/>
                  </a:lnTo>
                  <a:lnTo>
                    <a:pt x="2047736" y="197447"/>
                  </a:lnTo>
                  <a:lnTo>
                    <a:pt x="2047736" y="198831"/>
                  </a:lnTo>
                  <a:lnTo>
                    <a:pt x="2047736" y="196799"/>
                  </a:lnTo>
                  <a:lnTo>
                    <a:pt x="2047736" y="199530"/>
                  </a:lnTo>
                  <a:lnTo>
                    <a:pt x="2047837" y="199530"/>
                  </a:lnTo>
                  <a:lnTo>
                    <a:pt x="2047837" y="200228"/>
                  </a:lnTo>
                  <a:lnTo>
                    <a:pt x="2047837" y="198831"/>
                  </a:lnTo>
                  <a:lnTo>
                    <a:pt x="2047837" y="200876"/>
                  </a:lnTo>
                  <a:lnTo>
                    <a:pt x="2047837" y="200228"/>
                  </a:lnTo>
                  <a:lnTo>
                    <a:pt x="2047875" y="200228"/>
                  </a:lnTo>
                  <a:lnTo>
                    <a:pt x="2047875" y="200876"/>
                  </a:lnTo>
                  <a:lnTo>
                    <a:pt x="2047875" y="200228"/>
                  </a:lnTo>
                  <a:lnTo>
                    <a:pt x="2047875" y="200876"/>
                  </a:lnTo>
                  <a:lnTo>
                    <a:pt x="2047875" y="199530"/>
                  </a:lnTo>
                  <a:lnTo>
                    <a:pt x="2047875" y="200876"/>
                  </a:lnTo>
                  <a:lnTo>
                    <a:pt x="2047875" y="200228"/>
                  </a:lnTo>
                  <a:lnTo>
                    <a:pt x="2047926" y="200228"/>
                  </a:lnTo>
                  <a:lnTo>
                    <a:pt x="2047926" y="200876"/>
                  </a:lnTo>
                  <a:lnTo>
                    <a:pt x="2047926" y="200228"/>
                  </a:lnTo>
                  <a:lnTo>
                    <a:pt x="2047977" y="200228"/>
                  </a:lnTo>
                  <a:lnTo>
                    <a:pt x="2047977" y="200876"/>
                  </a:lnTo>
                  <a:lnTo>
                    <a:pt x="2047977" y="200228"/>
                  </a:lnTo>
                  <a:lnTo>
                    <a:pt x="2048079" y="200228"/>
                  </a:lnTo>
                  <a:lnTo>
                    <a:pt x="2048079" y="200876"/>
                  </a:lnTo>
                  <a:lnTo>
                    <a:pt x="2048079" y="199530"/>
                  </a:lnTo>
                  <a:lnTo>
                    <a:pt x="2048130" y="199530"/>
                  </a:lnTo>
                  <a:lnTo>
                    <a:pt x="2048130" y="200228"/>
                  </a:lnTo>
                  <a:lnTo>
                    <a:pt x="2048130" y="198831"/>
                  </a:lnTo>
                  <a:lnTo>
                    <a:pt x="2048130" y="199530"/>
                  </a:lnTo>
                  <a:lnTo>
                    <a:pt x="2048130" y="198831"/>
                  </a:lnTo>
                  <a:lnTo>
                    <a:pt x="2048180" y="198831"/>
                  </a:lnTo>
                  <a:lnTo>
                    <a:pt x="2048180" y="196799"/>
                  </a:lnTo>
                  <a:lnTo>
                    <a:pt x="2048180" y="197447"/>
                  </a:lnTo>
                  <a:lnTo>
                    <a:pt x="2048180" y="196799"/>
                  </a:lnTo>
                  <a:lnTo>
                    <a:pt x="2048282" y="196799"/>
                  </a:lnTo>
                  <a:lnTo>
                    <a:pt x="2048282" y="197447"/>
                  </a:lnTo>
                  <a:lnTo>
                    <a:pt x="2048282" y="196113"/>
                  </a:lnTo>
                  <a:lnTo>
                    <a:pt x="2048282" y="198831"/>
                  </a:lnTo>
                  <a:lnTo>
                    <a:pt x="2048282" y="197447"/>
                  </a:lnTo>
                  <a:lnTo>
                    <a:pt x="2048333" y="196799"/>
                  </a:lnTo>
                  <a:lnTo>
                    <a:pt x="2048333" y="199530"/>
                  </a:lnTo>
                  <a:lnTo>
                    <a:pt x="2048333" y="198831"/>
                  </a:lnTo>
                  <a:lnTo>
                    <a:pt x="2048384" y="198831"/>
                  </a:lnTo>
                  <a:lnTo>
                    <a:pt x="2048384" y="200228"/>
                  </a:lnTo>
                  <a:lnTo>
                    <a:pt x="2048384" y="199530"/>
                  </a:lnTo>
                  <a:lnTo>
                    <a:pt x="2048422" y="199530"/>
                  </a:lnTo>
                  <a:lnTo>
                    <a:pt x="2048422" y="200228"/>
                  </a:lnTo>
                  <a:lnTo>
                    <a:pt x="2048422" y="199530"/>
                  </a:lnTo>
                  <a:lnTo>
                    <a:pt x="2048422" y="200228"/>
                  </a:lnTo>
                  <a:lnTo>
                    <a:pt x="2048523" y="200228"/>
                  </a:lnTo>
                  <a:lnTo>
                    <a:pt x="2048523" y="200876"/>
                  </a:lnTo>
                  <a:lnTo>
                    <a:pt x="2048523" y="200228"/>
                  </a:lnTo>
                  <a:lnTo>
                    <a:pt x="2048523" y="200876"/>
                  </a:lnTo>
                  <a:lnTo>
                    <a:pt x="2048523" y="200228"/>
                  </a:lnTo>
                  <a:lnTo>
                    <a:pt x="2048574" y="200228"/>
                  </a:lnTo>
                  <a:lnTo>
                    <a:pt x="2048574" y="200876"/>
                  </a:lnTo>
                  <a:lnTo>
                    <a:pt x="2048625" y="200228"/>
                  </a:lnTo>
                  <a:lnTo>
                    <a:pt x="2048625" y="198831"/>
                  </a:lnTo>
                  <a:lnTo>
                    <a:pt x="2048726" y="198831"/>
                  </a:lnTo>
                  <a:lnTo>
                    <a:pt x="2048726" y="199530"/>
                  </a:lnTo>
                  <a:lnTo>
                    <a:pt x="2048726" y="196799"/>
                  </a:lnTo>
                  <a:lnTo>
                    <a:pt x="2048777" y="197447"/>
                  </a:lnTo>
                  <a:lnTo>
                    <a:pt x="2048777" y="196799"/>
                  </a:lnTo>
                  <a:lnTo>
                    <a:pt x="2048777" y="198831"/>
                  </a:lnTo>
                  <a:lnTo>
                    <a:pt x="2048777" y="196799"/>
                  </a:lnTo>
                  <a:lnTo>
                    <a:pt x="2048828" y="197447"/>
                  </a:lnTo>
                  <a:lnTo>
                    <a:pt x="2048828" y="200228"/>
                  </a:lnTo>
                  <a:lnTo>
                    <a:pt x="2048828" y="198831"/>
                  </a:lnTo>
                  <a:lnTo>
                    <a:pt x="2048828" y="199530"/>
                  </a:lnTo>
                  <a:lnTo>
                    <a:pt x="2048879" y="199530"/>
                  </a:lnTo>
                  <a:lnTo>
                    <a:pt x="2048879" y="200228"/>
                  </a:lnTo>
                  <a:lnTo>
                    <a:pt x="2048879" y="199530"/>
                  </a:lnTo>
                  <a:lnTo>
                    <a:pt x="2048879" y="200228"/>
                  </a:lnTo>
                  <a:lnTo>
                    <a:pt x="2048968" y="200228"/>
                  </a:lnTo>
                  <a:lnTo>
                    <a:pt x="2048968" y="199530"/>
                  </a:lnTo>
                  <a:lnTo>
                    <a:pt x="2048968" y="200228"/>
                  </a:lnTo>
                  <a:lnTo>
                    <a:pt x="2049019" y="200228"/>
                  </a:lnTo>
                  <a:lnTo>
                    <a:pt x="2049019" y="200876"/>
                  </a:lnTo>
                  <a:lnTo>
                    <a:pt x="2049019" y="200228"/>
                  </a:lnTo>
                  <a:lnTo>
                    <a:pt x="2049019" y="200876"/>
                  </a:lnTo>
                  <a:lnTo>
                    <a:pt x="2049069" y="200876"/>
                  </a:lnTo>
                  <a:lnTo>
                    <a:pt x="2049069" y="199530"/>
                  </a:lnTo>
                  <a:lnTo>
                    <a:pt x="2049069" y="200228"/>
                  </a:lnTo>
                  <a:lnTo>
                    <a:pt x="2049120" y="200228"/>
                  </a:lnTo>
                  <a:lnTo>
                    <a:pt x="2049120" y="198831"/>
                  </a:lnTo>
                  <a:lnTo>
                    <a:pt x="2049222" y="197447"/>
                  </a:lnTo>
                  <a:lnTo>
                    <a:pt x="2049222" y="198831"/>
                  </a:lnTo>
                  <a:lnTo>
                    <a:pt x="2049222" y="196799"/>
                  </a:lnTo>
                  <a:lnTo>
                    <a:pt x="2049222" y="197447"/>
                  </a:lnTo>
                  <a:lnTo>
                    <a:pt x="2049222" y="196113"/>
                  </a:lnTo>
                  <a:lnTo>
                    <a:pt x="2049272" y="196799"/>
                  </a:lnTo>
                  <a:lnTo>
                    <a:pt x="2049272" y="197447"/>
                  </a:lnTo>
                  <a:lnTo>
                    <a:pt x="2049272" y="196113"/>
                  </a:lnTo>
                  <a:lnTo>
                    <a:pt x="2049272" y="197447"/>
                  </a:lnTo>
                  <a:lnTo>
                    <a:pt x="2049323" y="197447"/>
                  </a:lnTo>
                  <a:lnTo>
                    <a:pt x="2049323" y="199530"/>
                  </a:lnTo>
                  <a:lnTo>
                    <a:pt x="2049323" y="197447"/>
                  </a:lnTo>
                  <a:lnTo>
                    <a:pt x="2049323" y="198831"/>
                  </a:lnTo>
                  <a:lnTo>
                    <a:pt x="2049425" y="198831"/>
                  </a:lnTo>
                  <a:lnTo>
                    <a:pt x="2049425" y="199530"/>
                  </a:lnTo>
                  <a:lnTo>
                    <a:pt x="2049425" y="198831"/>
                  </a:lnTo>
                  <a:lnTo>
                    <a:pt x="2049425" y="199530"/>
                  </a:lnTo>
                  <a:lnTo>
                    <a:pt x="2049463" y="199530"/>
                  </a:lnTo>
                  <a:lnTo>
                    <a:pt x="2049463" y="200228"/>
                  </a:lnTo>
                  <a:lnTo>
                    <a:pt x="2049514" y="200228"/>
                  </a:lnTo>
                  <a:lnTo>
                    <a:pt x="2049514" y="199530"/>
                  </a:lnTo>
                  <a:lnTo>
                    <a:pt x="2049514" y="200228"/>
                  </a:lnTo>
                  <a:lnTo>
                    <a:pt x="2049514" y="199530"/>
                  </a:lnTo>
                  <a:lnTo>
                    <a:pt x="2049565" y="199530"/>
                  </a:lnTo>
                  <a:lnTo>
                    <a:pt x="2049565" y="200228"/>
                  </a:lnTo>
                  <a:lnTo>
                    <a:pt x="2049565" y="199530"/>
                  </a:lnTo>
                  <a:lnTo>
                    <a:pt x="2049565" y="200228"/>
                  </a:lnTo>
                  <a:lnTo>
                    <a:pt x="2049565" y="199530"/>
                  </a:lnTo>
                  <a:lnTo>
                    <a:pt x="2049565" y="200228"/>
                  </a:lnTo>
                  <a:lnTo>
                    <a:pt x="2049666" y="199530"/>
                  </a:lnTo>
                  <a:lnTo>
                    <a:pt x="2049666" y="198831"/>
                  </a:lnTo>
                  <a:lnTo>
                    <a:pt x="2049717" y="198831"/>
                  </a:lnTo>
                  <a:lnTo>
                    <a:pt x="2049717" y="197447"/>
                  </a:lnTo>
                  <a:lnTo>
                    <a:pt x="2049717" y="198831"/>
                  </a:lnTo>
                  <a:lnTo>
                    <a:pt x="2049717" y="196113"/>
                  </a:lnTo>
                  <a:lnTo>
                    <a:pt x="2049717" y="196799"/>
                  </a:lnTo>
                  <a:lnTo>
                    <a:pt x="2049768" y="196799"/>
                  </a:lnTo>
                  <a:lnTo>
                    <a:pt x="2049768" y="197447"/>
                  </a:lnTo>
                  <a:lnTo>
                    <a:pt x="2049768" y="195415"/>
                  </a:lnTo>
                  <a:lnTo>
                    <a:pt x="2049768" y="198831"/>
                  </a:lnTo>
                  <a:lnTo>
                    <a:pt x="2049869" y="198831"/>
                  </a:lnTo>
                  <a:lnTo>
                    <a:pt x="2049869" y="196799"/>
                  </a:lnTo>
                  <a:lnTo>
                    <a:pt x="2049869" y="197447"/>
                  </a:lnTo>
                  <a:lnTo>
                    <a:pt x="2049920" y="197447"/>
                  </a:lnTo>
                  <a:lnTo>
                    <a:pt x="2049920" y="196799"/>
                  </a:lnTo>
                  <a:lnTo>
                    <a:pt x="2049920" y="198831"/>
                  </a:lnTo>
                  <a:lnTo>
                    <a:pt x="2049920" y="197447"/>
                  </a:lnTo>
                  <a:lnTo>
                    <a:pt x="2049971" y="197447"/>
                  </a:lnTo>
                  <a:lnTo>
                    <a:pt x="2049971" y="198831"/>
                  </a:lnTo>
                  <a:lnTo>
                    <a:pt x="2049971" y="197447"/>
                  </a:lnTo>
                  <a:lnTo>
                    <a:pt x="2049971" y="199530"/>
                  </a:lnTo>
                  <a:lnTo>
                    <a:pt x="2049971" y="198831"/>
                  </a:lnTo>
                  <a:lnTo>
                    <a:pt x="2049971" y="199530"/>
                  </a:lnTo>
                  <a:lnTo>
                    <a:pt x="2050009" y="199530"/>
                  </a:lnTo>
                  <a:lnTo>
                    <a:pt x="2050009" y="198831"/>
                  </a:lnTo>
                  <a:lnTo>
                    <a:pt x="2050009" y="199530"/>
                  </a:lnTo>
                  <a:lnTo>
                    <a:pt x="2050009" y="198831"/>
                  </a:lnTo>
                  <a:lnTo>
                    <a:pt x="2050009" y="199530"/>
                  </a:lnTo>
                  <a:lnTo>
                    <a:pt x="2050009" y="198831"/>
                  </a:lnTo>
                  <a:lnTo>
                    <a:pt x="2050111" y="198831"/>
                  </a:lnTo>
                  <a:lnTo>
                    <a:pt x="2050111" y="199530"/>
                  </a:lnTo>
                  <a:lnTo>
                    <a:pt x="2050111" y="198831"/>
                  </a:lnTo>
                  <a:lnTo>
                    <a:pt x="2050111" y="199530"/>
                  </a:lnTo>
                  <a:lnTo>
                    <a:pt x="2050111" y="198831"/>
                  </a:lnTo>
                  <a:lnTo>
                    <a:pt x="2050162" y="198831"/>
                  </a:lnTo>
                  <a:lnTo>
                    <a:pt x="2050162" y="197447"/>
                  </a:lnTo>
                  <a:lnTo>
                    <a:pt x="2050162" y="198831"/>
                  </a:lnTo>
                  <a:lnTo>
                    <a:pt x="2050162" y="197447"/>
                  </a:lnTo>
                  <a:lnTo>
                    <a:pt x="2050162" y="198831"/>
                  </a:lnTo>
                  <a:lnTo>
                    <a:pt x="2050162" y="197447"/>
                  </a:lnTo>
                  <a:lnTo>
                    <a:pt x="2050212" y="197447"/>
                  </a:lnTo>
                  <a:lnTo>
                    <a:pt x="2050212" y="196799"/>
                  </a:lnTo>
                  <a:lnTo>
                    <a:pt x="2050212" y="197447"/>
                  </a:lnTo>
                  <a:lnTo>
                    <a:pt x="2050212" y="196799"/>
                  </a:lnTo>
                  <a:lnTo>
                    <a:pt x="2050212" y="197447"/>
                  </a:lnTo>
                  <a:lnTo>
                    <a:pt x="2050212" y="196799"/>
                  </a:lnTo>
                  <a:lnTo>
                    <a:pt x="2050212" y="197447"/>
                  </a:lnTo>
                  <a:lnTo>
                    <a:pt x="2050212" y="196799"/>
                  </a:lnTo>
                  <a:lnTo>
                    <a:pt x="2050314" y="197447"/>
                  </a:lnTo>
                  <a:lnTo>
                    <a:pt x="2050314" y="196799"/>
                  </a:lnTo>
                  <a:lnTo>
                    <a:pt x="2050314" y="197447"/>
                  </a:lnTo>
                  <a:lnTo>
                    <a:pt x="2050314" y="196799"/>
                  </a:lnTo>
                  <a:lnTo>
                    <a:pt x="2050314" y="199530"/>
                  </a:lnTo>
                  <a:lnTo>
                    <a:pt x="2050314" y="198831"/>
                  </a:lnTo>
                  <a:lnTo>
                    <a:pt x="2050365" y="198831"/>
                  </a:lnTo>
                  <a:lnTo>
                    <a:pt x="2050365" y="197447"/>
                  </a:lnTo>
                  <a:lnTo>
                    <a:pt x="2050365" y="199530"/>
                  </a:lnTo>
                  <a:lnTo>
                    <a:pt x="2050365" y="198831"/>
                  </a:lnTo>
                  <a:lnTo>
                    <a:pt x="2050415" y="198831"/>
                  </a:lnTo>
                  <a:lnTo>
                    <a:pt x="2050415" y="199530"/>
                  </a:lnTo>
                  <a:lnTo>
                    <a:pt x="2050466" y="199530"/>
                  </a:lnTo>
                  <a:lnTo>
                    <a:pt x="2050466" y="198831"/>
                  </a:lnTo>
                  <a:lnTo>
                    <a:pt x="2050466" y="200228"/>
                  </a:lnTo>
                  <a:lnTo>
                    <a:pt x="2050466" y="199530"/>
                  </a:lnTo>
                  <a:lnTo>
                    <a:pt x="2050555" y="200228"/>
                  </a:lnTo>
                  <a:lnTo>
                    <a:pt x="2050555" y="199530"/>
                  </a:lnTo>
                  <a:lnTo>
                    <a:pt x="2050555" y="200228"/>
                  </a:lnTo>
                  <a:lnTo>
                    <a:pt x="2050606" y="200228"/>
                  </a:lnTo>
                  <a:lnTo>
                    <a:pt x="2050606" y="199530"/>
                  </a:lnTo>
                  <a:lnTo>
                    <a:pt x="2050606" y="200228"/>
                  </a:lnTo>
                  <a:lnTo>
                    <a:pt x="2050606" y="199530"/>
                  </a:lnTo>
                  <a:lnTo>
                    <a:pt x="2050657" y="199530"/>
                  </a:lnTo>
                  <a:lnTo>
                    <a:pt x="2050657" y="198831"/>
                  </a:lnTo>
                  <a:lnTo>
                    <a:pt x="2050708" y="199530"/>
                  </a:lnTo>
                  <a:lnTo>
                    <a:pt x="2050708" y="197447"/>
                  </a:lnTo>
                  <a:lnTo>
                    <a:pt x="2050708" y="199530"/>
                  </a:lnTo>
                  <a:lnTo>
                    <a:pt x="2050708" y="198831"/>
                  </a:lnTo>
                  <a:lnTo>
                    <a:pt x="2050809" y="198831"/>
                  </a:lnTo>
                  <a:lnTo>
                    <a:pt x="2050809" y="196799"/>
                  </a:lnTo>
                  <a:lnTo>
                    <a:pt x="2050809" y="199530"/>
                  </a:lnTo>
                  <a:lnTo>
                    <a:pt x="2050809" y="198831"/>
                  </a:lnTo>
                  <a:lnTo>
                    <a:pt x="2050860" y="198831"/>
                  </a:lnTo>
                  <a:lnTo>
                    <a:pt x="2050860" y="200228"/>
                  </a:lnTo>
                  <a:lnTo>
                    <a:pt x="2050860" y="199530"/>
                  </a:lnTo>
                  <a:lnTo>
                    <a:pt x="2050911" y="199530"/>
                  </a:lnTo>
                  <a:lnTo>
                    <a:pt x="2050911" y="200228"/>
                  </a:lnTo>
                  <a:lnTo>
                    <a:pt x="2050911" y="199530"/>
                  </a:lnTo>
                  <a:lnTo>
                    <a:pt x="2050911" y="200228"/>
                  </a:lnTo>
                  <a:lnTo>
                    <a:pt x="2050911" y="199530"/>
                  </a:lnTo>
                  <a:lnTo>
                    <a:pt x="2050911" y="200228"/>
                  </a:lnTo>
                  <a:lnTo>
                    <a:pt x="2050911" y="199530"/>
                  </a:lnTo>
                  <a:lnTo>
                    <a:pt x="2051012" y="199530"/>
                  </a:lnTo>
                  <a:lnTo>
                    <a:pt x="2051012" y="200228"/>
                  </a:lnTo>
                  <a:lnTo>
                    <a:pt x="2051012" y="199530"/>
                  </a:lnTo>
                  <a:lnTo>
                    <a:pt x="2051050" y="199530"/>
                  </a:lnTo>
                  <a:lnTo>
                    <a:pt x="2051050" y="200228"/>
                  </a:lnTo>
                  <a:lnTo>
                    <a:pt x="2051050" y="199530"/>
                  </a:lnTo>
                  <a:lnTo>
                    <a:pt x="2051050" y="200228"/>
                  </a:lnTo>
                  <a:lnTo>
                    <a:pt x="2051050" y="199530"/>
                  </a:lnTo>
                  <a:lnTo>
                    <a:pt x="2051101" y="200228"/>
                  </a:lnTo>
                  <a:lnTo>
                    <a:pt x="2051101" y="199530"/>
                  </a:lnTo>
                  <a:lnTo>
                    <a:pt x="2051101" y="200228"/>
                  </a:lnTo>
                  <a:lnTo>
                    <a:pt x="2051101" y="198831"/>
                  </a:lnTo>
                  <a:lnTo>
                    <a:pt x="2051101" y="199530"/>
                  </a:lnTo>
                  <a:lnTo>
                    <a:pt x="2051101" y="198831"/>
                  </a:lnTo>
                  <a:lnTo>
                    <a:pt x="2051152" y="198831"/>
                  </a:lnTo>
                  <a:lnTo>
                    <a:pt x="2051152" y="197447"/>
                  </a:lnTo>
                  <a:lnTo>
                    <a:pt x="2051152" y="198831"/>
                  </a:lnTo>
                  <a:lnTo>
                    <a:pt x="2051152" y="196799"/>
                  </a:lnTo>
                  <a:lnTo>
                    <a:pt x="2051152" y="197447"/>
                  </a:lnTo>
                  <a:lnTo>
                    <a:pt x="2051254" y="196799"/>
                  </a:lnTo>
                  <a:lnTo>
                    <a:pt x="2051254" y="196113"/>
                  </a:lnTo>
                  <a:lnTo>
                    <a:pt x="2051254" y="198831"/>
                  </a:lnTo>
                  <a:lnTo>
                    <a:pt x="2051254" y="196799"/>
                  </a:lnTo>
                  <a:lnTo>
                    <a:pt x="2051305" y="196799"/>
                  </a:lnTo>
                  <a:lnTo>
                    <a:pt x="2051305" y="200228"/>
                  </a:lnTo>
                  <a:lnTo>
                    <a:pt x="2051305" y="198831"/>
                  </a:lnTo>
                  <a:lnTo>
                    <a:pt x="2051355" y="199530"/>
                  </a:lnTo>
                  <a:lnTo>
                    <a:pt x="2051355" y="200228"/>
                  </a:lnTo>
                  <a:lnTo>
                    <a:pt x="2051355" y="199530"/>
                  </a:lnTo>
                  <a:lnTo>
                    <a:pt x="2051355" y="200228"/>
                  </a:lnTo>
                  <a:lnTo>
                    <a:pt x="2051355" y="199530"/>
                  </a:lnTo>
                  <a:lnTo>
                    <a:pt x="2051457" y="199530"/>
                  </a:lnTo>
                  <a:lnTo>
                    <a:pt x="2051457" y="200228"/>
                  </a:lnTo>
                  <a:lnTo>
                    <a:pt x="2051457" y="199530"/>
                  </a:lnTo>
                  <a:lnTo>
                    <a:pt x="2051457" y="200228"/>
                  </a:lnTo>
                  <a:lnTo>
                    <a:pt x="2051508" y="199530"/>
                  </a:lnTo>
                  <a:lnTo>
                    <a:pt x="2051508" y="200228"/>
                  </a:lnTo>
                  <a:lnTo>
                    <a:pt x="2051508" y="199530"/>
                  </a:lnTo>
                  <a:lnTo>
                    <a:pt x="2051508" y="200228"/>
                  </a:lnTo>
                  <a:lnTo>
                    <a:pt x="2051508" y="199530"/>
                  </a:lnTo>
                  <a:lnTo>
                    <a:pt x="2051508" y="200228"/>
                  </a:lnTo>
                  <a:lnTo>
                    <a:pt x="2051559" y="200228"/>
                  </a:lnTo>
                  <a:lnTo>
                    <a:pt x="2051559" y="199530"/>
                  </a:lnTo>
                  <a:lnTo>
                    <a:pt x="2051559" y="200228"/>
                  </a:lnTo>
                  <a:lnTo>
                    <a:pt x="2051559" y="199530"/>
                  </a:lnTo>
                  <a:lnTo>
                    <a:pt x="2051559" y="200228"/>
                  </a:lnTo>
                  <a:lnTo>
                    <a:pt x="2051559" y="199530"/>
                  </a:lnTo>
                  <a:lnTo>
                    <a:pt x="2051559" y="200228"/>
                  </a:lnTo>
                  <a:lnTo>
                    <a:pt x="2051559" y="199530"/>
                  </a:lnTo>
                  <a:lnTo>
                    <a:pt x="2051597" y="200228"/>
                  </a:lnTo>
                  <a:lnTo>
                    <a:pt x="2051597" y="198831"/>
                  </a:lnTo>
                  <a:lnTo>
                    <a:pt x="2051597" y="199530"/>
                  </a:lnTo>
                  <a:lnTo>
                    <a:pt x="2051597" y="198831"/>
                  </a:lnTo>
                  <a:lnTo>
                    <a:pt x="2051698" y="198831"/>
                  </a:lnTo>
                  <a:lnTo>
                    <a:pt x="2051698" y="197447"/>
                  </a:lnTo>
                  <a:lnTo>
                    <a:pt x="2051698" y="198831"/>
                  </a:lnTo>
                  <a:lnTo>
                    <a:pt x="2051698" y="196799"/>
                  </a:lnTo>
                  <a:lnTo>
                    <a:pt x="2051698" y="197447"/>
                  </a:lnTo>
                  <a:lnTo>
                    <a:pt x="2051698" y="196113"/>
                  </a:lnTo>
                  <a:lnTo>
                    <a:pt x="2051698" y="196799"/>
                  </a:lnTo>
                  <a:lnTo>
                    <a:pt x="2051749" y="197447"/>
                  </a:lnTo>
                  <a:lnTo>
                    <a:pt x="2051749" y="198831"/>
                  </a:lnTo>
                  <a:lnTo>
                    <a:pt x="2051749" y="196113"/>
                  </a:lnTo>
                  <a:lnTo>
                    <a:pt x="2051749" y="198831"/>
                  </a:lnTo>
                  <a:lnTo>
                    <a:pt x="2051800" y="198831"/>
                  </a:lnTo>
                  <a:lnTo>
                    <a:pt x="2051800" y="200228"/>
                  </a:lnTo>
                  <a:lnTo>
                    <a:pt x="2051800" y="198831"/>
                  </a:lnTo>
                  <a:lnTo>
                    <a:pt x="2051800" y="199530"/>
                  </a:lnTo>
                  <a:lnTo>
                    <a:pt x="2051901" y="199530"/>
                  </a:lnTo>
                  <a:lnTo>
                    <a:pt x="2051901" y="198831"/>
                  </a:lnTo>
                  <a:lnTo>
                    <a:pt x="2051901" y="200228"/>
                  </a:lnTo>
                  <a:lnTo>
                    <a:pt x="2051952" y="200228"/>
                  </a:lnTo>
                  <a:lnTo>
                    <a:pt x="2051952" y="199530"/>
                  </a:lnTo>
                  <a:lnTo>
                    <a:pt x="2051952" y="200228"/>
                  </a:lnTo>
                  <a:lnTo>
                    <a:pt x="2052003" y="200228"/>
                  </a:lnTo>
                  <a:lnTo>
                    <a:pt x="2052003" y="199530"/>
                  </a:lnTo>
                  <a:lnTo>
                    <a:pt x="2052003" y="200228"/>
                  </a:lnTo>
                  <a:lnTo>
                    <a:pt x="2052003" y="199530"/>
                  </a:lnTo>
                  <a:lnTo>
                    <a:pt x="2052054" y="199530"/>
                  </a:lnTo>
                  <a:lnTo>
                    <a:pt x="2052054" y="200228"/>
                  </a:lnTo>
                  <a:lnTo>
                    <a:pt x="2052054" y="199530"/>
                  </a:lnTo>
                  <a:lnTo>
                    <a:pt x="2052054" y="200228"/>
                  </a:lnTo>
                  <a:lnTo>
                    <a:pt x="2052054" y="199530"/>
                  </a:lnTo>
                  <a:lnTo>
                    <a:pt x="2052143" y="199530"/>
                  </a:lnTo>
                  <a:lnTo>
                    <a:pt x="2052143" y="198831"/>
                  </a:lnTo>
                  <a:lnTo>
                    <a:pt x="2052143" y="199530"/>
                  </a:lnTo>
                  <a:lnTo>
                    <a:pt x="2052143" y="197447"/>
                  </a:lnTo>
                  <a:lnTo>
                    <a:pt x="2052143" y="198831"/>
                  </a:lnTo>
                  <a:lnTo>
                    <a:pt x="2052143" y="197447"/>
                  </a:lnTo>
                  <a:lnTo>
                    <a:pt x="2052194" y="197447"/>
                  </a:lnTo>
                  <a:lnTo>
                    <a:pt x="2052194" y="196799"/>
                  </a:lnTo>
                  <a:lnTo>
                    <a:pt x="2052194" y="197447"/>
                  </a:lnTo>
                  <a:lnTo>
                    <a:pt x="2052194" y="195415"/>
                  </a:lnTo>
                  <a:lnTo>
                    <a:pt x="2052194" y="196113"/>
                  </a:lnTo>
                  <a:lnTo>
                    <a:pt x="2052244" y="196113"/>
                  </a:lnTo>
                  <a:lnTo>
                    <a:pt x="2052244" y="197447"/>
                  </a:lnTo>
                  <a:lnTo>
                    <a:pt x="2052244" y="195415"/>
                  </a:lnTo>
                  <a:lnTo>
                    <a:pt x="2052244" y="197447"/>
                  </a:lnTo>
                  <a:lnTo>
                    <a:pt x="2052295" y="198831"/>
                  </a:lnTo>
                  <a:lnTo>
                    <a:pt x="2052295" y="196799"/>
                  </a:lnTo>
                  <a:lnTo>
                    <a:pt x="2052295" y="199530"/>
                  </a:lnTo>
                  <a:lnTo>
                    <a:pt x="2052397" y="199530"/>
                  </a:lnTo>
                  <a:lnTo>
                    <a:pt x="2052397" y="197447"/>
                  </a:lnTo>
                  <a:lnTo>
                    <a:pt x="2052397" y="199530"/>
                  </a:lnTo>
                  <a:lnTo>
                    <a:pt x="2052447" y="199530"/>
                  </a:lnTo>
                  <a:lnTo>
                    <a:pt x="2052447" y="200228"/>
                  </a:lnTo>
                  <a:lnTo>
                    <a:pt x="2052447" y="199530"/>
                  </a:lnTo>
                  <a:lnTo>
                    <a:pt x="2052447" y="200228"/>
                  </a:lnTo>
                  <a:lnTo>
                    <a:pt x="2052447" y="199530"/>
                  </a:lnTo>
                  <a:lnTo>
                    <a:pt x="2052498" y="199530"/>
                  </a:lnTo>
                  <a:lnTo>
                    <a:pt x="2052498" y="200228"/>
                  </a:lnTo>
                  <a:lnTo>
                    <a:pt x="2052498" y="199530"/>
                  </a:lnTo>
                  <a:lnTo>
                    <a:pt x="2052498" y="200228"/>
                  </a:lnTo>
                  <a:lnTo>
                    <a:pt x="2052498" y="199530"/>
                  </a:lnTo>
                  <a:lnTo>
                    <a:pt x="2052600" y="199530"/>
                  </a:lnTo>
                  <a:lnTo>
                    <a:pt x="2052600" y="200876"/>
                  </a:lnTo>
                  <a:lnTo>
                    <a:pt x="2052600" y="200228"/>
                  </a:lnTo>
                  <a:lnTo>
                    <a:pt x="2052600" y="200876"/>
                  </a:lnTo>
                  <a:lnTo>
                    <a:pt x="2052600" y="199530"/>
                  </a:lnTo>
                  <a:lnTo>
                    <a:pt x="2052600" y="200228"/>
                  </a:lnTo>
                  <a:lnTo>
                    <a:pt x="2052638" y="200228"/>
                  </a:lnTo>
                  <a:lnTo>
                    <a:pt x="2052638" y="199530"/>
                  </a:lnTo>
                  <a:lnTo>
                    <a:pt x="2052638" y="200228"/>
                  </a:lnTo>
                  <a:lnTo>
                    <a:pt x="2052638" y="198831"/>
                  </a:lnTo>
                  <a:lnTo>
                    <a:pt x="2052689" y="198831"/>
                  </a:lnTo>
                  <a:lnTo>
                    <a:pt x="2052689" y="196113"/>
                  </a:lnTo>
                  <a:lnTo>
                    <a:pt x="2052689" y="198831"/>
                  </a:lnTo>
                  <a:lnTo>
                    <a:pt x="2052689" y="197447"/>
                  </a:lnTo>
                  <a:lnTo>
                    <a:pt x="2052740" y="197447"/>
                  </a:lnTo>
                  <a:lnTo>
                    <a:pt x="2052740" y="195415"/>
                  </a:lnTo>
                  <a:lnTo>
                    <a:pt x="2052740" y="199530"/>
                  </a:lnTo>
                  <a:lnTo>
                    <a:pt x="2052740" y="198831"/>
                  </a:lnTo>
                  <a:lnTo>
                    <a:pt x="2052841" y="198831"/>
                  </a:lnTo>
                  <a:lnTo>
                    <a:pt x="2052841" y="197447"/>
                  </a:lnTo>
                  <a:lnTo>
                    <a:pt x="2052841" y="198831"/>
                  </a:lnTo>
                  <a:lnTo>
                    <a:pt x="2052841" y="196799"/>
                  </a:lnTo>
                  <a:lnTo>
                    <a:pt x="2052841" y="198831"/>
                  </a:lnTo>
                  <a:lnTo>
                    <a:pt x="2052841" y="197447"/>
                  </a:lnTo>
                  <a:lnTo>
                    <a:pt x="2052892" y="197447"/>
                  </a:lnTo>
                  <a:lnTo>
                    <a:pt x="2052892" y="196799"/>
                  </a:lnTo>
                  <a:lnTo>
                    <a:pt x="2052892" y="198831"/>
                  </a:lnTo>
                  <a:lnTo>
                    <a:pt x="2052943" y="198831"/>
                  </a:lnTo>
                  <a:lnTo>
                    <a:pt x="2052943" y="199530"/>
                  </a:lnTo>
                  <a:lnTo>
                    <a:pt x="2052943" y="198831"/>
                  </a:lnTo>
                  <a:lnTo>
                    <a:pt x="2052943" y="199530"/>
                  </a:lnTo>
                  <a:lnTo>
                    <a:pt x="2052943" y="198831"/>
                  </a:lnTo>
                  <a:lnTo>
                    <a:pt x="2052943" y="199530"/>
                  </a:lnTo>
                  <a:lnTo>
                    <a:pt x="2052943" y="198831"/>
                  </a:lnTo>
                  <a:lnTo>
                    <a:pt x="2053044" y="198831"/>
                  </a:lnTo>
                  <a:lnTo>
                    <a:pt x="2053044" y="199530"/>
                  </a:lnTo>
                  <a:lnTo>
                    <a:pt x="2053044" y="198831"/>
                  </a:lnTo>
                  <a:lnTo>
                    <a:pt x="2053044" y="199530"/>
                  </a:lnTo>
                  <a:lnTo>
                    <a:pt x="2053095" y="199530"/>
                  </a:lnTo>
                  <a:lnTo>
                    <a:pt x="2053095" y="200228"/>
                  </a:lnTo>
                  <a:lnTo>
                    <a:pt x="2053095" y="199530"/>
                  </a:lnTo>
                  <a:lnTo>
                    <a:pt x="2053095" y="200228"/>
                  </a:lnTo>
                  <a:lnTo>
                    <a:pt x="2053095" y="198831"/>
                  </a:lnTo>
                  <a:lnTo>
                    <a:pt x="2053146" y="198831"/>
                  </a:lnTo>
                  <a:lnTo>
                    <a:pt x="2053146" y="197447"/>
                  </a:lnTo>
                  <a:lnTo>
                    <a:pt x="2053146" y="198831"/>
                  </a:lnTo>
                  <a:lnTo>
                    <a:pt x="2053146" y="196799"/>
                  </a:lnTo>
                  <a:lnTo>
                    <a:pt x="2053184" y="196799"/>
                  </a:lnTo>
                  <a:lnTo>
                    <a:pt x="2053184" y="199530"/>
                  </a:lnTo>
                  <a:lnTo>
                    <a:pt x="2053184" y="196799"/>
                  </a:lnTo>
                  <a:lnTo>
                    <a:pt x="2053286" y="196799"/>
                  </a:lnTo>
                  <a:lnTo>
                    <a:pt x="2053286" y="200228"/>
                  </a:lnTo>
                  <a:lnTo>
                    <a:pt x="2053286" y="198831"/>
                  </a:lnTo>
                  <a:lnTo>
                    <a:pt x="2053286" y="199530"/>
                  </a:lnTo>
                  <a:lnTo>
                    <a:pt x="2053337" y="199530"/>
                  </a:lnTo>
                  <a:lnTo>
                    <a:pt x="2053337" y="200876"/>
                  </a:lnTo>
                  <a:lnTo>
                    <a:pt x="2053337" y="200228"/>
                  </a:lnTo>
                  <a:lnTo>
                    <a:pt x="2053337" y="200876"/>
                  </a:lnTo>
                  <a:lnTo>
                    <a:pt x="2053337" y="199530"/>
                  </a:lnTo>
                  <a:lnTo>
                    <a:pt x="2053337" y="200228"/>
                  </a:lnTo>
                  <a:lnTo>
                    <a:pt x="2053337" y="199530"/>
                  </a:lnTo>
                  <a:lnTo>
                    <a:pt x="2053387" y="199530"/>
                  </a:lnTo>
                  <a:lnTo>
                    <a:pt x="2053387" y="200876"/>
                  </a:lnTo>
                  <a:lnTo>
                    <a:pt x="2053387" y="199530"/>
                  </a:lnTo>
                  <a:lnTo>
                    <a:pt x="2053387" y="200228"/>
                  </a:lnTo>
                  <a:lnTo>
                    <a:pt x="2053387" y="199530"/>
                  </a:lnTo>
                  <a:lnTo>
                    <a:pt x="2053489" y="200228"/>
                  </a:lnTo>
                  <a:lnTo>
                    <a:pt x="2053489" y="199530"/>
                  </a:lnTo>
                  <a:lnTo>
                    <a:pt x="2053489" y="200228"/>
                  </a:lnTo>
                  <a:lnTo>
                    <a:pt x="2053489" y="199530"/>
                  </a:lnTo>
                  <a:lnTo>
                    <a:pt x="2053540" y="200228"/>
                  </a:lnTo>
                  <a:lnTo>
                    <a:pt x="2053540" y="199530"/>
                  </a:lnTo>
                  <a:lnTo>
                    <a:pt x="2053540" y="200228"/>
                  </a:lnTo>
                  <a:lnTo>
                    <a:pt x="2053540" y="199530"/>
                  </a:lnTo>
                  <a:lnTo>
                    <a:pt x="2053540" y="200228"/>
                  </a:lnTo>
                  <a:lnTo>
                    <a:pt x="2053590" y="200228"/>
                  </a:lnTo>
                  <a:lnTo>
                    <a:pt x="2053590" y="199530"/>
                  </a:lnTo>
                  <a:lnTo>
                    <a:pt x="2053590" y="200228"/>
                  </a:lnTo>
                  <a:lnTo>
                    <a:pt x="2053590" y="198831"/>
                  </a:lnTo>
                  <a:lnTo>
                    <a:pt x="2053590" y="199530"/>
                  </a:lnTo>
                  <a:lnTo>
                    <a:pt x="2053590" y="197447"/>
                  </a:lnTo>
                  <a:lnTo>
                    <a:pt x="2053641" y="198831"/>
                  </a:lnTo>
                  <a:lnTo>
                    <a:pt x="2053641" y="197447"/>
                  </a:lnTo>
                  <a:lnTo>
                    <a:pt x="2053641" y="198831"/>
                  </a:lnTo>
                  <a:lnTo>
                    <a:pt x="2053641" y="196799"/>
                  </a:lnTo>
                  <a:lnTo>
                    <a:pt x="2053641" y="197447"/>
                  </a:lnTo>
                  <a:lnTo>
                    <a:pt x="2053730" y="197447"/>
                  </a:lnTo>
                  <a:lnTo>
                    <a:pt x="2053730" y="199530"/>
                  </a:lnTo>
                  <a:lnTo>
                    <a:pt x="2053730" y="197447"/>
                  </a:lnTo>
                  <a:lnTo>
                    <a:pt x="2053730" y="200228"/>
                  </a:lnTo>
                  <a:lnTo>
                    <a:pt x="2053781" y="200228"/>
                  </a:lnTo>
                  <a:lnTo>
                    <a:pt x="2053781" y="199530"/>
                  </a:lnTo>
                  <a:lnTo>
                    <a:pt x="2053781" y="200876"/>
                  </a:lnTo>
                  <a:lnTo>
                    <a:pt x="2053832" y="200876"/>
                  </a:lnTo>
                  <a:lnTo>
                    <a:pt x="2053832" y="200228"/>
                  </a:lnTo>
                  <a:lnTo>
                    <a:pt x="2053832" y="200876"/>
                  </a:lnTo>
                  <a:lnTo>
                    <a:pt x="2053832" y="200228"/>
                  </a:lnTo>
                  <a:lnTo>
                    <a:pt x="2053883" y="199530"/>
                  </a:lnTo>
                  <a:lnTo>
                    <a:pt x="2053883" y="200876"/>
                  </a:lnTo>
                  <a:lnTo>
                    <a:pt x="2053883" y="200228"/>
                  </a:lnTo>
                  <a:lnTo>
                    <a:pt x="2053883" y="200876"/>
                  </a:lnTo>
                  <a:lnTo>
                    <a:pt x="2053883" y="200228"/>
                  </a:lnTo>
                  <a:lnTo>
                    <a:pt x="2053984" y="200228"/>
                  </a:lnTo>
                  <a:lnTo>
                    <a:pt x="2053984" y="199530"/>
                  </a:lnTo>
                  <a:lnTo>
                    <a:pt x="2053984" y="200876"/>
                  </a:lnTo>
                  <a:lnTo>
                    <a:pt x="2053984" y="200228"/>
                  </a:lnTo>
                  <a:lnTo>
                    <a:pt x="2054035" y="200228"/>
                  </a:lnTo>
                  <a:lnTo>
                    <a:pt x="2054035" y="199530"/>
                  </a:lnTo>
                  <a:lnTo>
                    <a:pt x="2054086" y="199530"/>
                  </a:lnTo>
                  <a:lnTo>
                    <a:pt x="2054086" y="198831"/>
                  </a:lnTo>
                  <a:lnTo>
                    <a:pt x="2054086" y="199530"/>
                  </a:lnTo>
                  <a:lnTo>
                    <a:pt x="2054086" y="196799"/>
                  </a:lnTo>
                  <a:lnTo>
                    <a:pt x="2054086" y="197447"/>
                  </a:lnTo>
                  <a:lnTo>
                    <a:pt x="2054086" y="196799"/>
                  </a:lnTo>
                  <a:lnTo>
                    <a:pt x="2054187" y="197447"/>
                  </a:lnTo>
                  <a:lnTo>
                    <a:pt x="2054187" y="195415"/>
                  </a:lnTo>
                  <a:lnTo>
                    <a:pt x="2054187" y="196799"/>
                  </a:lnTo>
                  <a:lnTo>
                    <a:pt x="2054225" y="196799"/>
                  </a:lnTo>
                  <a:lnTo>
                    <a:pt x="2054225" y="196113"/>
                  </a:lnTo>
                  <a:lnTo>
                    <a:pt x="2054225" y="199530"/>
                  </a:lnTo>
                  <a:lnTo>
                    <a:pt x="2054225" y="198831"/>
                  </a:lnTo>
                  <a:lnTo>
                    <a:pt x="2054276" y="199530"/>
                  </a:lnTo>
                  <a:lnTo>
                    <a:pt x="2054276" y="197447"/>
                  </a:lnTo>
                  <a:lnTo>
                    <a:pt x="2054276" y="200228"/>
                  </a:lnTo>
                  <a:lnTo>
                    <a:pt x="2054327" y="199530"/>
                  </a:lnTo>
                  <a:lnTo>
                    <a:pt x="2054327" y="200228"/>
                  </a:lnTo>
                  <a:lnTo>
                    <a:pt x="2054327" y="199530"/>
                  </a:lnTo>
                  <a:lnTo>
                    <a:pt x="2054327" y="200228"/>
                  </a:lnTo>
                  <a:lnTo>
                    <a:pt x="2054327" y="199530"/>
                  </a:lnTo>
                  <a:lnTo>
                    <a:pt x="2054429" y="199530"/>
                  </a:lnTo>
                  <a:lnTo>
                    <a:pt x="2054429" y="200228"/>
                  </a:lnTo>
                  <a:lnTo>
                    <a:pt x="2054429" y="199530"/>
                  </a:lnTo>
                  <a:lnTo>
                    <a:pt x="2054429" y="200228"/>
                  </a:lnTo>
                  <a:lnTo>
                    <a:pt x="2054429" y="199530"/>
                  </a:lnTo>
                  <a:lnTo>
                    <a:pt x="2054429" y="200228"/>
                  </a:lnTo>
                  <a:lnTo>
                    <a:pt x="2054480" y="200228"/>
                  </a:lnTo>
                  <a:lnTo>
                    <a:pt x="2054480" y="200876"/>
                  </a:lnTo>
                  <a:lnTo>
                    <a:pt x="2054480" y="199530"/>
                  </a:lnTo>
                  <a:lnTo>
                    <a:pt x="2054530" y="199530"/>
                  </a:lnTo>
                  <a:lnTo>
                    <a:pt x="2054530" y="200228"/>
                  </a:lnTo>
                  <a:lnTo>
                    <a:pt x="2054530" y="199530"/>
                  </a:lnTo>
                  <a:lnTo>
                    <a:pt x="2054530" y="200228"/>
                  </a:lnTo>
                  <a:lnTo>
                    <a:pt x="2054632" y="200228"/>
                  </a:lnTo>
                  <a:lnTo>
                    <a:pt x="2054632" y="197447"/>
                  </a:lnTo>
                  <a:lnTo>
                    <a:pt x="2054632" y="198831"/>
                  </a:lnTo>
                  <a:lnTo>
                    <a:pt x="2054632" y="197447"/>
                  </a:lnTo>
                  <a:lnTo>
                    <a:pt x="2054632" y="198831"/>
                  </a:lnTo>
                  <a:lnTo>
                    <a:pt x="2054632" y="196799"/>
                  </a:lnTo>
                  <a:lnTo>
                    <a:pt x="2054683" y="196799"/>
                  </a:lnTo>
                  <a:lnTo>
                    <a:pt x="2054683" y="196113"/>
                  </a:lnTo>
                  <a:lnTo>
                    <a:pt x="2054683" y="197447"/>
                  </a:lnTo>
                  <a:lnTo>
                    <a:pt x="2054734" y="197447"/>
                  </a:lnTo>
                  <a:lnTo>
                    <a:pt x="2054734" y="196113"/>
                  </a:lnTo>
                  <a:lnTo>
                    <a:pt x="2054734" y="198831"/>
                  </a:lnTo>
                  <a:lnTo>
                    <a:pt x="2054772" y="198831"/>
                  </a:lnTo>
                  <a:lnTo>
                    <a:pt x="2054772" y="197447"/>
                  </a:lnTo>
                  <a:lnTo>
                    <a:pt x="2054772" y="199530"/>
                  </a:lnTo>
                  <a:lnTo>
                    <a:pt x="2054772" y="198831"/>
                  </a:lnTo>
                  <a:lnTo>
                    <a:pt x="2054772" y="199530"/>
                  </a:lnTo>
                  <a:lnTo>
                    <a:pt x="2054873" y="199530"/>
                  </a:lnTo>
                  <a:lnTo>
                    <a:pt x="2054873" y="198831"/>
                  </a:lnTo>
                  <a:lnTo>
                    <a:pt x="2054873" y="199530"/>
                  </a:lnTo>
                  <a:lnTo>
                    <a:pt x="2054873" y="198831"/>
                  </a:lnTo>
                  <a:lnTo>
                    <a:pt x="2054924" y="198831"/>
                  </a:lnTo>
                  <a:lnTo>
                    <a:pt x="2054924" y="199530"/>
                  </a:lnTo>
                  <a:lnTo>
                    <a:pt x="2054924" y="198831"/>
                  </a:lnTo>
                  <a:lnTo>
                    <a:pt x="2054924" y="199530"/>
                  </a:lnTo>
                  <a:lnTo>
                    <a:pt x="2054975" y="200228"/>
                  </a:lnTo>
                  <a:lnTo>
                    <a:pt x="2054975" y="199530"/>
                  </a:lnTo>
                  <a:lnTo>
                    <a:pt x="2054975" y="200228"/>
                  </a:lnTo>
                  <a:lnTo>
                    <a:pt x="2055076" y="200228"/>
                  </a:lnTo>
                  <a:lnTo>
                    <a:pt x="2055076" y="199530"/>
                  </a:lnTo>
                  <a:lnTo>
                    <a:pt x="2055127" y="199530"/>
                  </a:lnTo>
                  <a:lnTo>
                    <a:pt x="2055127" y="196113"/>
                  </a:lnTo>
                  <a:lnTo>
                    <a:pt x="2055178" y="196113"/>
                  </a:lnTo>
                  <a:lnTo>
                    <a:pt x="2055178" y="196799"/>
                  </a:lnTo>
                  <a:lnTo>
                    <a:pt x="2055178" y="196113"/>
                  </a:lnTo>
                  <a:lnTo>
                    <a:pt x="2055178" y="196799"/>
                  </a:lnTo>
                  <a:lnTo>
                    <a:pt x="2055178" y="196113"/>
                  </a:lnTo>
                  <a:lnTo>
                    <a:pt x="2055178" y="196799"/>
                  </a:lnTo>
                  <a:lnTo>
                    <a:pt x="2055229" y="196113"/>
                  </a:lnTo>
                  <a:lnTo>
                    <a:pt x="2055229" y="198831"/>
                  </a:lnTo>
                  <a:lnTo>
                    <a:pt x="2055229" y="197447"/>
                  </a:lnTo>
                  <a:lnTo>
                    <a:pt x="2055318" y="197447"/>
                  </a:lnTo>
                  <a:lnTo>
                    <a:pt x="2055318" y="198831"/>
                  </a:lnTo>
                  <a:lnTo>
                    <a:pt x="2055318" y="197447"/>
                  </a:lnTo>
                  <a:lnTo>
                    <a:pt x="2055369" y="197447"/>
                  </a:lnTo>
                  <a:lnTo>
                    <a:pt x="2055369" y="198831"/>
                  </a:lnTo>
                  <a:lnTo>
                    <a:pt x="2055369" y="197447"/>
                  </a:lnTo>
                  <a:lnTo>
                    <a:pt x="2055369" y="198831"/>
                  </a:lnTo>
                  <a:lnTo>
                    <a:pt x="2055419" y="198831"/>
                  </a:lnTo>
                  <a:lnTo>
                    <a:pt x="2055419" y="199530"/>
                  </a:lnTo>
                  <a:lnTo>
                    <a:pt x="2055470" y="199530"/>
                  </a:lnTo>
                  <a:lnTo>
                    <a:pt x="2055470" y="200228"/>
                  </a:lnTo>
                  <a:lnTo>
                    <a:pt x="2055470" y="199530"/>
                  </a:lnTo>
                  <a:lnTo>
                    <a:pt x="2055572" y="199530"/>
                  </a:lnTo>
                  <a:lnTo>
                    <a:pt x="2055572" y="198831"/>
                  </a:lnTo>
                  <a:lnTo>
                    <a:pt x="2055572" y="199530"/>
                  </a:lnTo>
                  <a:lnTo>
                    <a:pt x="2055572" y="198831"/>
                  </a:lnTo>
                  <a:lnTo>
                    <a:pt x="2055572" y="199530"/>
                  </a:lnTo>
                  <a:lnTo>
                    <a:pt x="2055622" y="198831"/>
                  </a:lnTo>
                  <a:lnTo>
                    <a:pt x="2055622" y="197447"/>
                  </a:lnTo>
                  <a:lnTo>
                    <a:pt x="2055622" y="198831"/>
                  </a:lnTo>
                  <a:lnTo>
                    <a:pt x="2055622" y="197447"/>
                  </a:lnTo>
                  <a:lnTo>
                    <a:pt x="2055673" y="196799"/>
                  </a:lnTo>
                  <a:lnTo>
                    <a:pt x="2055673" y="196113"/>
                  </a:lnTo>
                  <a:lnTo>
                    <a:pt x="2055673" y="197447"/>
                  </a:lnTo>
                  <a:lnTo>
                    <a:pt x="2055673" y="196799"/>
                  </a:lnTo>
                  <a:lnTo>
                    <a:pt x="2055673" y="197447"/>
                  </a:lnTo>
                  <a:lnTo>
                    <a:pt x="2055673" y="196799"/>
                  </a:lnTo>
                  <a:lnTo>
                    <a:pt x="2055775" y="196799"/>
                  </a:lnTo>
                  <a:lnTo>
                    <a:pt x="2055775" y="199530"/>
                  </a:lnTo>
                  <a:lnTo>
                    <a:pt x="2055775" y="197447"/>
                  </a:lnTo>
                  <a:lnTo>
                    <a:pt x="2055775" y="198831"/>
                  </a:lnTo>
                  <a:lnTo>
                    <a:pt x="2055813" y="198831"/>
                  </a:lnTo>
                  <a:lnTo>
                    <a:pt x="2055813" y="197447"/>
                  </a:lnTo>
                  <a:lnTo>
                    <a:pt x="2055813" y="198831"/>
                  </a:lnTo>
                  <a:lnTo>
                    <a:pt x="2055813" y="197447"/>
                  </a:lnTo>
                  <a:lnTo>
                    <a:pt x="2055813" y="198831"/>
                  </a:lnTo>
                  <a:lnTo>
                    <a:pt x="2055813" y="197447"/>
                  </a:lnTo>
                  <a:lnTo>
                    <a:pt x="2055864" y="197447"/>
                  </a:lnTo>
                  <a:lnTo>
                    <a:pt x="2055864" y="198831"/>
                  </a:lnTo>
                  <a:lnTo>
                    <a:pt x="2055864" y="197447"/>
                  </a:lnTo>
                  <a:lnTo>
                    <a:pt x="2055864" y="198831"/>
                  </a:lnTo>
                  <a:lnTo>
                    <a:pt x="2055864" y="197447"/>
                  </a:lnTo>
                  <a:lnTo>
                    <a:pt x="2055864" y="198831"/>
                  </a:lnTo>
                  <a:lnTo>
                    <a:pt x="2055864" y="197447"/>
                  </a:lnTo>
                  <a:lnTo>
                    <a:pt x="2055915" y="197447"/>
                  </a:lnTo>
                  <a:lnTo>
                    <a:pt x="2055915" y="199530"/>
                  </a:lnTo>
                  <a:lnTo>
                    <a:pt x="2055915" y="198831"/>
                  </a:lnTo>
                  <a:lnTo>
                    <a:pt x="2055915" y="199530"/>
                  </a:lnTo>
                  <a:lnTo>
                    <a:pt x="2056016" y="198831"/>
                  </a:lnTo>
                  <a:lnTo>
                    <a:pt x="2056016" y="199530"/>
                  </a:lnTo>
                  <a:lnTo>
                    <a:pt x="2056016" y="198831"/>
                  </a:lnTo>
                  <a:lnTo>
                    <a:pt x="2056016" y="199530"/>
                  </a:lnTo>
                  <a:lnTo>
                    <a:pt x="2056016" y="198831"/>
                  </a:lnTo>
                  <a:lnTo>
                    <a:pt x="2056016" y="199530"/>
                  </a:lnTo>
                  <a:lnTo>
                    <a:pt x="2056016" y="198831"/>
                  </a:lnTo>
                  <a:lnTo>
                    <a:pt x="2056067" y="198831"/>
                  </a:lnTo>
                  <a:lnTo>
                    <a:pt x="2056067" y="199530"/>
                  </a:lnTo>
                  <a:lnTo>
                    <a:pt x="2056067" y="198831"/>
                  </a:lnTo>
                  <a:lnTo>
                    <a:pt x="2056067" y="199530"/>
                  </a:lnTo>
                  <a:lnTo>
                    <a:pt x="2056067" y="197447"/>
                  </a:lnTo>
                  <a:lnTo>
                    <a:pt x="2056118" y="198831"/>
                  </a:lnTo>
                  <a:lnTo>
                    <a:pt x="2056118" y="196799"/>
                  </a:lnTo>
                  <a:lnTo>
                    <a:pt x="2056118" y="197447"/>
                  </a:lnTo>
                  <a:lnTo>
                    <a:pt x="2056219" y="197447"/>
                  </a:lnTo>
                  <a:lnTo>
                    <a:pt x="2056219" y="196799"/>
                  </a:lnTo>
                  <a:lnTo>
                    <a:pt x="2056219" y="200228"/>
                  </a:lnTo>
                  <a:lnTo>
                    <a:pt x="2056270" y="199530"/>
                  </a:lnTo>
                  <a:lnTo>
                    <a:pt x="2056270" y="198831"/>
                  </a:lnTo>
                  <a:lnTo>
                    <a:pt x="2056270" y="200228"/>
                  </a:lnTo>
                  <a:lnTo>
                    <a:pt x="2056321" y="200228"/>
                  </a:lnTo>
                  <a:lnTo>
                    <a:pt x="2056321" y="199530"/>
                  </a:lnTo>
                  <a:lnTo>
                    <a:pt x="2056321" y="200228"/>
                  </a:lnTo>
                  <a:lnTo>
                    <a:pt x="2056321" y="199530"/>
                  </a:lnTo>
                  <a:lnTo>
                    <a:pt x="2056321" y="200228"/>
                  </a:lnTo>
                  <a:lnTo>
                    <a:pt x="2056321" y="199530"/>
                  </a:lnTo>
                  <a:lnTo>
                    <a:pt x="2056321" y="200228"/>
                  </a:lnTo>
                  <a:lnTo>
                    <a:pt x="2056321" y="199530"/>
                  </a:lnTo>
                  <a:lnTo>
                    <a:pt x="2056359" y="199530"/>
                  </a:lnTo>
                  <a:lnTo>
                    <a:pt x="2056359" y="200228"/>
                  </a:lnTo>
                  <a:lnTo>
                    <a:pt x="2056359" y="199530"/>
                  </a:lnTo>
                  <a:lnTo>
                    <a:pt x="2056359" y="200228"/>
                  </a:lnTo>
                  <a:lnTo>
                    <a:pt x="2056359" y="199530"/>
                  </a:lnTo>
                  <a:lnTo>
                    <a:pt x="2056461" y="199530"/>
                  </a:lnTo>
                  <a:lnTo>
                    <a:pt x="2056461" y="200228"/>
                  </a:lnTo>
                  <a:lnTo>
                    <a:pt x="2056461" y="199530"/>
                  </a:lnTo>
                  <a:lnTo>
                    <a:pt x="2056461" y="200228"/>
                  </a:lnTo>
                  <a:lnTo>
                    <a:pt x="2056461" y="199530"/>
                  </a:lnTo>
                  <a:lnTo>
                    <a:pt x="2056461" y="200228"/>
                  </a:lnTo>
                  <a:lnTo>
                    <a:pt x="2056512" y="200228"/>
                  </a:lnTo>
                  <a:lnTo>
                    <a:pt x="2056512" y="199530"/>
                  </a:lnTo>
                  <a:lnTo>
                    <a:pt x="2056512" y="200228"/>
                  </a:lnTo>
                  <a:lnTo>
                    <a:pt x="2056512" y="199530"/>
                  </a:lnTo>
                  <a:lnTo>
                    <a:pt x="2056512" y="200228"/>
                  </a:lnTo>
                  <a:lnTo>
                    <a:pt x="2056512" y="199530"/>
                  </a:lnTo>
                  <a:lnTo>
                    <a:pt x="2056512" y="200228"/>
                  </a:lnTo>
                  <a:lnTo>
                    <a:pt x="2056512" y="198831"/>
                  </a:lnTo>
                  <a:lnTo>
                    <a:pt x="2056562" y="199530"/>
                  </a:lnTo>
                  <a:lnTo>
                    <a:pt x="2056562" y="197447"/>
                  </a:lnTo>
                  <a:lnTo>
                    <a:pt x="2056562" y="198831"/>
                  </a:lnTo>
                  <a:lnTo>
                    <a:pt x="2056562" y="196799"/>
                  </a:lnTo>
                  <a:lnTo>
                    <a:pt x="2056664" y="196799"/>
                  </a:lnTo>
                  <a:lnTo>
                    <a:pt x="2056664" y="198831"/>
                  </a:lnTo>
                  <a:lnTo>
                    <a:pt x="2056664" y="197447"/>
                  </a:lnTo>
                  <a:lnTo>
                    <a:pt x="2056715" y="197447"/>
                  </a:lnTo>
                  <a:lnTo>
                    <a:pt x="2056715" y="200228"/>
                  </a:lnTo>
                  <a:lnTo>
                    <a:pt x="2056715" y="199530"/>
                  </a:lnTo>
                  <a:lnTo>
                    <a:pt x="2056765" y="199530"/>
                  </a:lnTo>
                  <a:lnTo>
                    <a:pt x="2056765" y="200876"/>
                  </a:lnTo>
                  <a:lnTo>
                    <a:pt x="2056765" y="199530"/>
                  </a:lnTo>
                  <a:lnTo>
                    <a:pt x="2056816" y="199530"/>
                  </a:lnTo>
                  <a:lnTo>
                    <a:pt x="2056816" y="200228"/>
                  </a:lnTo>
                  <a:lnTo>
                    <a:pt x="2056956" y="200228"/>
                  </a:lnTo>
                  <a:lnTo>
                    <a:pt x="2056956" y="200876"/>
                  </a:lnTo>
                  <a:lnTo>
                    <a:pt x="2056956" y="200228"/>
                  </a:lnTo>
                  <a:lnTo>
                    <a:pt x="2056956" y="200876"/>
                  </a:lnTo>
                  <a:lnTo>
                    <a:pt x="2056956" y="200228"/>
                  </a:lnTo>
                  <a:lnTo>
                    <a:pt x="2057007" y="200228"/>
                  </a:lnTo>
                  <a:lnTo>
                    <a:pt x="2057007" y="199530"/>
                  </a:lnTo>
                  <a:lnTo>
                    <a:pt x="2057007" y="200228"/>
                  </a:lnTo>
                  <a:lnTo>
                    <a:pt x="2057007" y="198831"/>
                  </a:lnTo>
                  <a:lnTo>
                    <a:pt x="2057058" y="198831"/>
                  </a:lnTo>
                  <a:lnTo>
                    <a:pt x="2057058" y="196799"/>
                  </a:lnTo>
                  <a:lnTo>
                    <a:pt x="2057058" y="197447"/>
                  </a:lnTo>
                  <a:lnTo>
                    <a:pt x="2057058" y="196799"/>
                  </a:lnTo>
                  <a:lnTo>
                    <a:pt x="2057058" y="197447"/>
                  </a:lnTo>
                  <a:lnTo>
                    <a:pt x="2057058" y="196799"/>
                  </a:lnTo>
                  <a:lnTo>
                    <a:pt x="2057058" y="197447"/>
                  </a:lnTo>
                  <a:lnTo>
                    <a:pt x="2057058" y="196799"/>
                  </a:lnTo>
                  <a:lnTo>
                    <a:pt x="2057159" y="196799"/>
                  </a:lnTo>
                  <a:lnTo>
                    <a:pt x="2057159" y="198831"/>
                  </a:lnTo>
                  <a:lnTo>
                    <a:pt x="2057159" y="196799"/>
                  </a:lnTo>
                  <a:lnTo>
                    <a:pt x="2057159" y="197447"/>
                  </a:lnTo>
                  <a:lnTo>
                    <a:pt x="2057210" y="197447"/>
                  </a:lnTo>
                  <a:lnTo>
                    <a:pt x="2057210" y="200228"/>
                  </a:lnTo>
                  <a:lnTo>
                    <a:pt x="2057210" y="198831"/>
                  </a:lnTo>
                  <a:lnTo>
                    <a:pt x="2057210" y="199530"/>
                  </a:lnTo>
                  <a:lnTo>
                    <a:pt x="2057261" y="199530"/>
                  </a:lnTo>
                  <a:lnTo>
                    <a:pt x="2057261" y="200228"/>
                  </a:lnTo>
                  <a:lnTo>
                    <a:pt x="2057261" y="199530"/>
                  </a:lnTo>
                  <a:lnTo>
                    <a:pt x="2057261" y="200228"/>
                  </a:lnTo>
                  <a:lnTo>
                    <a:pt x="2057261" y="198831"/>
                  </a:lnTo>
                  <a:lnTo>
                    <a:pt x="2057261" y="199530"/>
                  </a:lnTo>
                  <a:lnTo>
                    <a:pt x="2057261" y="198831"/>
                  </a:lnTo>
                  <a:lnTo>
                    <a:pt x="2057261" y="199530"/>
                  </a:lnTo>
                  <a:lnTo>
                    <a:pt x="2057362" y="199530"/>
                  </a:lnTo>
                  <a:lnTo>
                    <a:pt x="2057362" y="200228"/>
                  </a:lnTo>
                  <a:lnTo>
                    <a:pt x="2057362" y="199530"/>
                  </a:lnTo>
                  <a:lnTo>
                    <a:pt x="2057362" y="200228"/>
                  </a:lnTo>
                  <a:lnTo>
                    <a:pt x="2057400" y="200228"/>
                  </a:lnTo>
                  <a:lnTo>
                    <a:pt x="2057400" y="199530"/>
                  </a:lnTo>
                  <a:lnTo>
                    <a:pt x="2057400" y="200228"/>
                  </a:lnTo>
                  <a:lnTo>
                    <a:pt x="2057451" y="200876"/>
                  </a:lnTo>
                  <a:lnTo>
                    <a:pt x="2057451" y="200228"/>
                  </a:lnTo>
                  <a:lnTo>
                    <a:pt x="2057451" y="200876"/>
                  </a:lnTo>
                  <a:lnTo>
                    <a:pt x="2057451" y="199530"/>
                  </a:lnTo>
                  <a:lnTo>
                    <a:pt x="2057451" y="200228"/>
                  </a:lnTo>
                  <a:lnTo>
                    <a:pt x="2057502" y="199530"/>
                  </a:lnTo>
                  <a:lnTo>
                    <a:pt x="2057502" y="197447"/>
                  </a:lnTo>
                  <a:lnTo>
                    <a:pt x="2057502" y="198831"/>
                  </a:lnTo>
                  <a:lnTo>
                    <a:pt x="2057604" y="197447"/>
                  </a:lnTo>
                  <a:lnTo>
                    <a:pt x="2057604" y="198831"/>
                  </a:lnTo>
                  <a:lnTo>
                    <a:pt x="2057604" y="196799"/>
                  </a:lnTo>
                  <a:lnTo>
                    <a:pt x="2057604" y="197447"/>
                  </a:lnTo>
                  <a:lnTo>
                    <a:pt x="2057604" y="196799"/>
                  </a:lnTo>
                  <a:lnTo>
                    <a:pt x="2057604" y="197447"/>
                  </a:lnTo>
                  <a:lnTo>
                    <a:pt x="2057604" y="196113"/>
                  </a:lnTo>
                  <a:lnTo>
                    <a:pt x="2057604" y="196799"/>
                  </a:lnTo>
                  <a:lnTo>
                    <a:pt x="2057655" y="197447"/>
                  </a:lnTo>
                  <a:lnTo>
                    <a:pt x="2057655" y="196113"/>
                  </a:lnTo>
                  <a:lnTo>
                    <a:pt x="2057655" y="199530"/>
                  </a:lnTo>
                  <a:lnTo>
                    <a:pt x="2057705" y="199530"/>
                  </a:lnTo>
                  <a:lnTo>
                    <a:pt x="2057705" y="198831"/>
                  </a:lnTo>
                  <a:lnTo>
                    <a:pt x="2057705" y="199530"/>
                  </a:lnTo>
                  <a:lnTo>
                    <a:pt x="2057807" y="199530"/>
                  </a:lnTo>
                  <a:lnTo>
                    <a:pt x="2057807" y="198831"/>
                  </a:lnTo>
                  <a:lnTo>
                    <a:pt x="2057807" y="199530"/>
                  </a:lnTo>
                  <a:lnTo>
                    <a:pt x="2057858" y="199530"/>
                  </a:lnTo>
                  <a:lnTo>
                    <a:pt x="2057858" y="200228"/>
                  </a:lnTo>
                  <a:lnTo>
                    <a:pt x="2057858" y="199530"/>
                  </a:lnTo>
                  <a:lnTo>
                    <a:pt x="2057858" y="200228"/>
                  </a:lnTo>
                  <a:lnTo>
                    <a:pt x="2057909" y="200228"/>
                  </a:lnTo>
                  <a:lnTo>
                    <a:pt x="2057909" y="199530"/>
                  </a:lnTo>
                  <a:lnTo>
                    <a:pt x="2057909" y="200228"/>
                  </a:lnTo>
                  <a:lnTo>
                    <a:pt x="2057909" y="199530"/>
                  </a:lnTo>
                  <a:lnTo>
                    <a:pt x="2057909" y="200876"/>
                  </a:lnTo>
                  <a:lnTo>
                    <a:pt x="2057909" y="200228"/>
                  </a:lnTo>
                  <a:lnTo>
                    <a:pt x="2057947" y="200228"/>
                  </a:lnTo>
                  <a:lnTo>
                    <a:pt x="2057947" y="199530"/>
                  </a:lnTo>
                  <a:lnTo>
                    <a:pt x="2058048" y="199530"/>
                  </a:lnTo>
                  <a:lnTo>
                    <a:pt x="2058048" y="196799"/>
                  </a:lnTo>
                  <a:lnTo>
                    <a:pt x="2058048" y="197447"/>
                  </a:lnTo>
                  <a:lnTo>
                    <a:pt x="2058099" y="197447"/>
                  </a:lnTo>
                  <a:lnTo>
                    <a:pt x="2058099" y="194716"/>
                  </a:lnTo>
                  <a:lnTo>
                    <a:pt x="2058099" y="195415"/>
                  </a:lnTo>
                  <a:lnTo>
                    <a:pt x="2058150" y="195415"/>
                  </a:lnTo>
                  <a:lnTo>
                    <a:pt x="2058150" y="196799"/>
                  </a:lnTo>
                  <a:lnTo>
                    <a:pt x="2058150" y="194716"/>
                  </a:lnTo>
                  <a:lnTo>
                    <a:pt x="2058150" y="195415"/>
                  </a:lnTo>
                  <a:lnTo>
                    <a:pt x="2058251" y="196113"/>
                  </a:lnTo>
                  <a:lnTo>
                    <a:pt x="2058251" y="198831"/>
                  </a:lnTo>
                  <a:lnTo>
                    <a:pt x="2058251" y="196113"/>
                  </a:lnTo>
                  <a:lnTo>
                    <a:pt x="2058251" y="196799"/>
                  </a:lnTo>
                  <a:lnTo>
                    <a:pt x="2058302" y="197447"/>
                  </a:lnTo>
                  <a:lnTo>
                    <a:pt x="2058302" y="198831"/>
                  </a:lnTo>
                  <a:lnTo>
                    <a:pt x="2058302" y="197447"/>
                  </a:lnTo>
                  <a:lnTo>
                    <a:pt x="2058302" y="198831"/>
                  </a:lnTo>
                  <a:lnTo>
                    <a:pt x="2058302" y="196799"/>
                  </a:lnTo>
                  <a:lnTo>
                    <a:pt x="2058302" y="197447"/>
                  </a:lnTo>
                  <a:lnTo>
                    <a:pt x="2058353" y="197447"/>
                  </a:lnTo>
                  <a:lnTo>
                    <a:pt x="2058353" y="199530"/>
                  </a:lnTo>
                  <a:lnTo>
                    <a:pt x="2058353" y="198831"/>
                  </a:lnTo>
                  <a:lnTo>
                    <a:pt x="2058353" y="199530"/>
                  </a:lnTo>
                  <a:lnTo>
                    <a:pt x="2058404" y="199530"/>
                  </a:lnTo>
                  <a:lnTo>
                    <a:pt x="2058404" y="200228"/>
                  </a:lnTo>
                  <a:lnTo>
                    <a:pt x="2058404" y="199530"/>
                  </a:lnTo>
                  <a:lnTo>
                    <a:pt x="2058404" y="200228"/>
                  </a:lnTo>
                  <a:lnTo>
                    <a:pt x="2058404" y="199530"/>
                  </a:lnTo>
                  <a:lnTo>
                    <a:pt x="2058404" y="200228"/>
                  </a:lnTo>
                  <a:lnTo>
                    <a:pt x="2058493" y="200228"/>
                  </a:lnTo>
                  <a:lnTo>
                    <a:pt x="2058493" y="199530"/>
                  </a:lnTo>
                  <a:lnTo>
                    <a:pt x="2058493" y="200228"/>
                  </a:lnTo>
                  <a:lnTo>
                    <a:pt x="2058493" y="199530"/>
                  </a:lnTo>
                  <a:lnTo>
                    <a:pt x="2058544" y="199530"/>
                  </a:lnTo>
                  <a:lnTo>
                    <a:pt x="2058544" y="198831"/>
                  </a:lnTo>
                  <a:lnTo>
                    <a:pt x="2058544" y="199530"/>
                  </a:lnTo>
                  <a:lnTo>
                    <a:pt x="2058544" y="197447"/>
                  </a:lnTo>
                  <a:lnTo>
                    <a:pt x="2058544" y="198831"/>
                  </a:lnTo>
                  <a:lnTo>
                    <a:pt x="2058544" y="197447"/>
                  </a:lnTo>
                  <a:lnTo>
                    <a:pt x="2058594" y="197447"/>
                  </a:lnTo>
                  <a:lnTo>
                    <a:pt x="2058594" y="196113"/>
                  </a:lnTo>
                  <a:lnTo>
                    <a:pt x="2058594" y="196799"/>
                  </a:lnTo>
                  <a:lnTo>
                    <a:pt x="2058594" y="196113"/>
                  </a:lnTo>
                  <a:lnTo>
                    <a:pt x="2058594" y="196799"/>
                  </a:lnTo>
                  <a:lnTo>
                    <a:pt x="2058594" y="196113"/>
                  </a:lnTo>
                  <a:lnTo>
                    <a:pt x="2058594" y="196799"/>
                  </a:lnTo>
                  <a:lnTo>
                    <a:pt x="2058645" y="197447"/>
                  </a:lnTo>
                  <a:lnTo>
                    <a:pt x="2058645" y="195415"/>
                  </a:lnTo>
                  <a:lnTo>
                    <a:pt x="2058645" y="197447"/>
                  </a:lnTo>
                  <a:lnTo>
                    <a:pt x="2058747" y="198831"/>
                  </a:lnTo>
                  <a:lnTo>
                    <a:pt x="2058747" y="196113"/>
                  </a:lnTo>
                  <a:lnTo>
                    <a:pt x="2058747" y="197447"/>
                  </a:lnTo>
                  <a:lnTo>
                    <a:pt x="2058797" y="196799"/>
                  </a:lnTo>
                  <a:lnTo>
                    <a:pt x="2058797" y="197447"/>
                  </a:lnTo>
                  <a:lnTo>
                    <a:pt x="2058797" y="196799"/>
                  </a:lnTo>
                  <a:lnTo>
                    <a:pt x="2058848" y="197447"/>
                  </a:lnTo>
                  <a:lnTo>
                    <a:pt x="2058848" y="196799"/>
                  </a:lnTo>
                  <a:lnTo>
                    <a:pt x="2058848" y="198831"/>
                  </a:lnTo>
                  <a:lnTo>
                    <a:pt x="2058848" y="197447"/>
                  </a:lnTo>
                  <a:lnTo>
                    <a:pt x="2058950" y="198831"/>
                  </a:lnTo>
                  <a:lnTo>
                    <a:pt x="2058950" y="197447"/>
                  </a:lnTo>
                  <a:lnTo>
                    <a:pt x="2058950" y="198831"/>
                  </a:lnTo>
                  <a:lnTo>
                    <a:pt x="2058950" y="197447"/>
                  </a:lnTo>
                  <a:lnTo>
                    <a:pt x="2058950" y="199530"/>
                  </a:lnTo>
                  <a:lnTo>
                    <a:pt x="2058950" y="198831"/>
                  </a:lnTo>
                  <a:lnTo>
                    <a:pt x="2058950" y="199530"/>
                  </a:lnTo>
                  <a:lnTo>
                    <a:pt x="2058988" y="199530"/>
                  </a:lnTo>
                  <a:lnTo>
                    <a:pt x="2058988" y="198831"/>
                  </a:lnTo>
                  <a:lnTo>
                    <a:pt x="2059039" y="198831"/>
                  </a:lnTo>
                  <a:lnTo>
                    <a:pt x="2059039" y="197447"/>
                  </a:lnTo>
                  <a:lnTo>
                    <a:pt x="2059039" y="198831"/>
                  </a:lnTo>
                  <a:lnTo>
                    <a:pt x="2059039" y="197447"/>
                  </a:lnTo>
                  <a:lnTo>
                    <a:pt x="2059039" y="198831"/>
                  </a:lnTo>
                  <a:lnTo>
                    <a:pt x="2059090" y="198831"/>
                  </a:lnTo>
                  <a:lnTo>
                    <a:pt x="2059090" y="197447"/>
                  </a:lnTo>
                  <a:lnTo>
                    <a:pt x="2059090" y="200228"/>
                  </a:lnTo>
                  <a:lnTo>
                    <a:pt x="2059090" y="197447"/>
                  </a:lnTo>
                  <a:lnTo>
                    <a:pt x="2059191" y="197447"/>
                  </a:lnTo>
                  <a:lnTo>
                    <a:pt x="2059191" y="196799"/>
                  </a:lnTo>
                  <a:lnTo>
                    <a:pt x="2059191" y="197447"/>
                  </a:lnTo>
                  <a:lnTo>
                    <a:pt x="2059191" y="196799"/>
                  </a:lnTo>
                  <a:lnTo>
                    <a:pt x="2059191" y="200228"/>
                  </a:lnTo>
                  <a:lnTo>
                    <a:pt x="2059191" y="199530"/>
                  </a:lnTo>
                  <a:lnTo>
                    <a:pt x="2059242" y="198831"/>
                  </a:lnTo>
                  <a:lnTo>
                    <a:pt x="2059242" y="197447"/>
                  </a:lnTo>
                  <a:lnTo>
                    <a:pt x="2059242" y="199530"/>
                  </a:lnTo>
                  <a:lnTo>
                    <a:pt x="2059242" y="198831"/>
                  </a:lnTo>
                  <a:lnTo>
                    <a:pt x="2059242" y="199530"/>
                  </a:lnTo>
                  <a:lnTo>
                    <a:pt x="2059242" y="198831"/>
                  </a:lnTo>
                  <a:lnTo>
                    <a:pt x="2059293" y="198831"/>
                  </a:lnTo>
                  <a:lnTo>
                    <a:pt x="2059293" y="199530"/>
                  </a:lnTo>
                  <a:lnTo>
                    <a:pt x="2059293" y="198831"/>
                  </a:lnTo>
                  <a:lnTo>
                    <a:pt x="2059293" y="199530"/>
                  </a:lnTo>
                  <a:lnTo>
                    <a:pt x="2059394" y="198831"/>
                  </a:lnTo>
                  <a:lnTo>
                    <a:pt x="2059394" y="200228"/>
                  </a:lnTo>
                  <a:lnTo>
                    <a:pt x="2059394" y="198831"/>
                  </a:lnTo>
                  <a:lnTo>
                    <a:pt x="2059394" y="200228"/>
                  </a:lnTo>
                  <a:lnTo>
                    <a:pt x="2059394" y="199530"/>
                  </a:lnTo>
                  <a:lnTo>
                    <a:pt x="2059445" y="199530"/>
                  </a:lnTo>
                  <a:lnTo>
                    <a:pt x="2059496" y="198831"/>
                  </a:lnTo>
                  <a:lnTo>
                    <a:pt x="2059496" y="199530"/>
                  </a:lnTo>
                  <a:lnTo>
                    <a:pt x="2059496" y="198831"/>
                  </a:lnTo>
                  <a:lnTo>
                    <a:pt x="2059496" y="199530"/>
                  </a:lnTo>
                  <a:lnTo>
                    <a:pt x="2059496" y="198831"/>
                  </a:lnTo>
                  <a:lnTo>
                    <a:pt x="2059496" y="199530"/>
                  </a:lnTo>
                  <a:lnTo>
                    <a:pt x="2059496" y="197447"/>
                  </a:lnTo>
                  <a:lnTo>
                    <a:pt x="2059496" y="198831"/>
                  </a:lnTo>
                  <a:lnTo>
                    <a:pt x="2059534" y="197447"/>
                  </a:lnTo>
                  <a:lnTo>
                    <a:pt x="2059534" y="198831"/>
                  </a:lnTo>
                  <a:lnTo>
                    <a:pt x="2059534" y="197447"/>
                  </a:lnTo>
                  <a:lnTo>
                    <a:pt x="2059534" y="198831"/>
                  </a:lnTo>
                  <a:lnTo>
                    <a:pt x="2059534" y="197447"/>
                  </a:lnTo>
                  <a:lnTo>
                    <a:pt x="2059636" y="197447"/>
                  </a:lnTo>
                  <a:lnTo>
                    <a:pt x="2059636" y="196799"/>
                  </a:lnTo>
                  <a:lnTo>
                    <a:pt x="2059636" y="199530"/>
                  </a:lnTo>
                  <a:lnTo>
                    <a:pt x="2059636" y="196799"/>
                  </a:lnTo>
                  <a:lnTo>
                    <a:pt x="2059687" y="197447"/>
                  </a:lnTo>
                  <a:lnTo>
                    <a:pt x="2059687" y="200228"/>
                  </a:lnTo>
                  <a:lnTo>
                    <a:pt x="2059687" y="198831"/>
                  </a:lnTo>
                  <a:lnTo>
                    <a:pt x="2059737" y="198831"/>
                  </a:lnTo>
                  <a:lnTo>
                    <a:pt x="2059737" y="200228"/>
                  </a:lnTo>
                  <a:lnTo>
                    <a:pt x="2059737" y="199530"/>
                  </a:lnTo>
                  <a:lnTo>
                    <a:pt x="2059737" y="200228"/>
                  </a:lnTo>
                  <a:lnTo>
                    <a:pt x="2059839" y="199530"/>
                  </a:lnTo>
                  <a:lnTo>
                    <a:pt x="2059839" y="200228"/>
                  </a:lnTo>
                  <a:lnTo>
                    <a:pt x="2059839" y="199530"/>
                  </a:lnTo>
                  <a:lnTo>
                    <a:pt x="2059839" y="200228"/>
                  </a:lnTo>
                  <a:lnTo>
                    <a:pt x="2059839" y="199530"/>
                  </a:lnTo>
                  <a:lnTo>
                    <a:pt x="2059839" y="200228"/>
                  </a:lnTo>
                  <a:lnTo>
                    <a:pt x="2059839" y="199530"/>
                  </a:lnTo>
                  <a:lnTo>
                    <a:pt x="2059890" y="200228"/>
                  </a:lnTo>
                  <a:lnTo>
                    <a:pt x="2059890" y="200876"/>
                  </a:lnTo>
                  <a:lnTo>
                    <a:pt x="2059890" y="199530"/>
                  </a:lnTo>
                  <a:lnTo>
                    <a:pt x="2059890" y="200228"/>
                  </a:lnTo>
                  <a:lnTo>
                    <a:pt x="2059890" y="199530"/>
                  </a:lnTo>
                  <a:lnTo>
                    <a:pt x="2059890" y="200228"/>
                  </a:lnTo>
                  <a:lnTo>
                    <a:pt x="2059890" y="199530"/>
                  </a:lnTo>
                  <a:lnTo>
                    <a:pt x="2059940" y="199530"/>
                  </a:lnTo>
                  <a:lnTo>
                    <a:pt x="2059940" y="200228"/>
                  </a:lnTo>
                  <a:lnTo>
                    <a:pt x="2059940" y="198831"/>
                  </a:lnTo>
                  <a:lnTo>
                    <a:pt x="2059940" y="199530"/>
                  </a:lnTo>
                  <a:lnTo>
                    <a:pt x="2059940" y="198831"/>
                  </a:lnTo>
                  <a:lnTo>
                    <a:pt x="2059940" y="199530"/>
                  </a:lnTo>
                  <a:lnTo>
                    <a:pt x="2059940" y="198831"/>
                  </a:lnTo>
                  <a:lnTo>
                    <a:pt x="2059940" y="199530"/>
                  </a:lnTo>
                  <a:lnTo>
                    <a:pt x="2059940" y="198831"/>
                  </a:lnTo>
                  <a:lnTo>
                    <a:pt x="2059991" y="199530"/>
                  </a:lnTo>
                  <a:lnTo>
                    <a:pt x="2059991" y="196799"/>
                  </a:lnTo>
                  <a:lnTo>
                    <a:pt x="2059991" y="197447"/>
                  </a:lnTo>
                  <a:lnTo>
                    <a:pt x="2059991" y="196799"/>
                  </a:lnTo>
                  <a:lnTo>
                    <a:pt x="2059991" y="197447"/>
                  </a:lnTo>
                  <a:lnTo>
                    <a:pt x="2060080" y="197447"/>
                  </a:lnTo>
                  <a:lnTo>
                    <a:pt x="2060080" y="196799"/>
                  </a:lnTo>
                  <a:lnTo>
                    <a:pt x="2060080" y="197447"/>
                  </a:lnTo>
                  <a:lnTo>
                    <a:pt x="2060080" y="196799"/>
                  </a:lnTo>
                  <a:lnTo>
                    <a:pt x="2060080" y="197447"/>
                  </a:lnTo>
                  <a:lnTo>
                    <a:pt x="2060080" y="196799"/>
                  </a:lnTo>
                  <a:lnTo>
                    <a:pt x="2060080" y="198831"/>
                  </a:lnTo>
                  <a:lnTo>
                    <a:pt x="2060080" y="195415"/>
                  </a:lnTo>
                  <a:lnTo>
                    <a:pt x="2060131" y="195415"/>
                  </a:lnTo>
                  <a:lnTo>
                    <a:pt x="2060131" y="197447"/>
                  </a:lnTo>
                  <a:lnTo>
                    <a:pt x="2060131" y="196799"/>
                  </a:lnTo>
                  <a:lnTo>
                    <a:pt x="2060131" y="197447"/>
                  </a:lnTo>
                  <a:lnTo>
                    <a:pt x="2060131" y="195415"/>
                  </a:lnTo>
                  <a:lnTo>
                    <a:pt x="2060131" y="196113"/>
                  </a:lnTo>
                  <a:lnTo>
                    <a:pt x="2060182" y="196113"/>
                  </a:lnTo>
                  <a:lnTo>
                    <a:pt x="2060182" y="198831"/>
                  </a:lnTo>
                  <a:lnTo>
                    <a:pt x="2060182" y="197447"/>
                  </a:lnTo>
                  <a:lnTo>
                    <a:pt x="2060182" y="198831"/>
                  </a:lnTo>
                  <a:lnTo>
                    <a:pt x="2060233" y="198831"/>
                  </a:lnTo>
                  <a:lnTo>
                    <a:pt x="2060233" y="199530"/>
                  </a:lnTo>
                  <a:lnTo>
                    <a:pt x="2060233" y="198831"/>
                  </a:lnTo>
                  <a:lnTo>
                    <a:pt x="2060233" y="199530"/>
                  </a:lnTo>
                  <a:lnTo>
                    <a:pt x="2060334" y="199530"/>
                  </a:lnTo>
                  <a:lnTo>
                    <a:pt x="2060334" y="200228"/>
                  </a:lnTo>
                  <a:lnTo>
                    <a:pt x="2060385" y="200228"/>
                  </a:lnTo>
                  <a:lnTo>
                    <a:pt x="2060385" y="199530"/>
                  </a:lnTo>
                  <a:lnTo>
                    <a:pt x="2060385" y="200228"/>
                  </a:lnTo>
                  <a:lnTo>
                    <a:pt x="2060385" y="199530"/>
                  </a:lnTo>
                  <a:lnTo>
                    <a:pt x="2060385" y="200228"/>
                  </a:lnTo>
                  <a:lnTo>
                    <a:pt x="2060436" y="200228"/>
                  </a:lnTo>
                  <a:lnTo>
                    <a:pt x="2060436" y="199530"/>
                  </a:lnTo>
                  <a:lnTo>
                    <a:pt x="2060436" y="200228"/>
                  </a:lnTo>
                  <a:lnTo>
                    <a:pt x="2060436" y="199530"/>
                  </a:lnTo>
                  <a:lnTo>
                    <a:pt x="2060537" y="199530"/>
                  </a:lnTo>
                  <a:lnTo>
                    <a:pt x="2060537" y="200228"/>
                  </a:lnTo>
                  <a:lnTo>
                    <a:pt x="2060537" y="197447"/>
                  </a:lnTo>
                  <a:lnTo>
                    <a:pt x="2060575" y="197447"/>
                  </a:lnTo>
                  <a:lnTo>
                    <a:pt x="2060575" y="198831"/>
                  </a:lnTo>
                  <a:lnTo>
                    <a:pt x="2060575" y="196799"/>
                  </a:lnTo>
                  <a:lnTo>
                    <a:pt x="2060575" y="198831"/>
                  </a:lnTo>
                  <a:lnTo>
                    <a:pt x="2060626" y="198831"/>
                  </a:lnTo>
                  <a:lnTo>
                    <a:pt x="2060626" y="196799"/>
                  </a:lnTo>
                  <a:lnTo>
                    <a:pt x="2060626" y="199530"/>
                  </a:lnTo>
                  <a:lnTo>
                    <a:pt x="2060677" y="199530"/>
                  </a:lnTo>
                  <a:lnTo>
                    <a:pt x="2060677" y="197447"/>
                  </a:lnTo>
                  <a:lnTo>
                    <a:pt x="2060677" y="199530"/>
                  </a:lnTo>
                  <a:lnTo>
                    <a:pt x="2060779" y="199530"/>
                  </a:lnTo>
                  <a:lnTo>
                    <a:pt x="2060779" y="197447"/>
                  </a:lnTo>
                  <a:lnTo>
                    <a:pt x="2060779" y="199530"/>
                  </a:lnTo>
                  <a:lnTo>
                    <a:pt x="2060779" y="198831"/>
                  </a:lnTo>
                  <a:lnTo>
                    <a:pt x="2060779" y="199530"/>
                  </a:lnTo>
                  <a:lnTo>
                    <a:pt x="2060830" y="199530"/>
                  </a:lnTo>
                  <a:lnTo>
                    <a:pt x="2060830" y="200228"/>
                  </a:lnTo>
                  <a:lnTo>
                    <a:pt x="2060830" y="199530"/>
                  </a:lnTo>
                  <a:lnTo>
                    <a:pt x="2060830" y="200228"/>
                  </a:lnTo>
                  <a:lnTo>
                    <a:pt x="2060830" y="199530"/>
                  </a:lnTo>
                  <a:lnTo>
                    <a:pt x="2060880" y="199530"/>
                  </a:lnTo>
                  <a:lnTo>
                    <a:pt x="2060880" y="200228"/>
                  </a:lnTo>
                  <a:lnTo>
                    <a:pt x="2060880" y="199530"/>
                  </a:lnTo>
                  <a:lnTo>
                    <a:pt x="2060880" y="200228"/>
                  </a:lnTo>
                  <a:lnTo>
                    <a:pt x="2060880" y="199530"/>
                  </a:lnTo>
                  <a:lnTo>
                    <a:pt x="2060880" y="200228"/>
                  </a:lnTo>
                  <a:lnTo>
                    <a:pt x="2060982" y="200228"/>
                  </a:lnTo>
                  <a:lnTo>
                    <a:pt x="2060982" y="199530"/>
                  </a:lnTo>
                  <a:lnTo>
                    <a:pt x="2060982" y="200228"/>
                  </a:lnTo>
                  <a:lnTo>
                    <a:pt x="2060982" y="199530"/>
                  </a:lnTo>
                  <a:lnTo>
                    <a:pt x="2061033" y="199530"/>
                  </a:lnTo>
                  <a:lnTo>
                    <a:pt x="2061033" y="197447"/>
                  </a:lnTo>
                  <a:lnTo>
                    <a:pt x="2061084" y="197447"/>
                  </a:lnTo>
                  <a:lnTo>
                    <a:pt x="2061084" y="196799"/>
                  </a:lnTo>
                  <a:lnTo>
                    <a:pt x="2061084" y="197447"/>
                  </a:lnTo>
                  <a:lnTo>
                    <a:pt x="2061084" y="196113"/>
                  </a:lnTo>
                  <a:lnTo>
                    <a:pt x="2061084" y="197447"/>
                  </a:lnTo>
                  <a:lnTo>
                    <a:pt x="2061084" y="196799"/>
                  </a:lnTo>
                  <a:lnTo>
                    <a:pt x="2061122" y="196799"/>
                  </a:lnTo>
                  <a:lnTo>
                    <a:pt x="2061122" y="196113"/>
                  </a:lnTo>
                  <a:lnTo>
                    <a:pt x="2061122" y="198831"/>
                  </a:lnTo>
                  <a:lnTo>
                    <a:pt x="2061122" y="197447"/>
                  </a:lnTo>
                  <a:lnTo>
                    <a:pt x="2061223" y="197447"/>
                  </a:lnTo>
                  <a:lnTo>
                    <a:pt x="2061223" y="196799"/>
                  </a:lnTo>
                  <a:lnTo>
                    <a:pt x="2061223" y="198831"/>
                  </a:lnTo>
                  <a:lnTo>
                    <a:pt x="2061274" y="198831"/>
                  </a:lnTo>
                  <a:lnTo>
                    <a:pt x="2061274" y="197447"/>
                  </a:lnTo>
                  <a:lnTo>
                    <a:pt x="2061274" y="199530"/>
                  </a:lnTo>
                  <a:lnTo>
                    <a:pt x="2061325" y="199530"/>
                  </a:lnTo>
                  <a:lnTo>
                    <a:pt x="2061325" y="198831"/>
                  </a:lnTo>
                  <a:lnTo>
                    <a:pt x="2061325" y="200228"/>
                  </a:lnTo>
                  <a:lnTo>
                    <a:pt x="2061426" y="200228"/>
                  </a:lnTo>
                  <a:lnTo>
                    <a:pt x="2061426" y="198831"/>
                  </a:lnTo>
                  <a:lnTo>
                    <a:pt x="2061426" y="200228"/>
                  </a:lnTo>
                  <a:lnTo>
                    <a:pt x="2061477" y="200228"/>
                  </a:lnTo>
                  <a:lnTo>
                    <a:pt x="2061477" y="199530"/>
                  </a:lnTo>
                  <a:lnTo>
                    <a:pt x="2061477" y="200228"/>
                  </a:lnTo>
                  <a:lnTo>
                    <a:pt x="2061477" y="199530"/>
                  </a:lnTo>
                  <a:lnTo>
                    <a:pt x="2061528" y="199530"/>
                  </a:lnTo>
                  <a:lnTo>
                    <a:pt x="2061528" y="198831"/>
                  </a:lnTo>
                  <a:lnTo>
                    <a:pt x="2061528" y="199530"/>
                  </a:lnTo>
                  <a:lnTo>
                    <a:pt x="2061528" y="196799"/>
                  </a:lnTo>
                  <a:lnTo>
                    <a:pt x="2061579" y="196799"/>
                  </a:lnTo>
                  <a:lnTo>
                    <a:pt x="2061579" y="197447"/>
                  </a:lnTo>
                  <a:lnTo>
                    <a:pt x="2061579" y="196799"/>
                  </a:lnTo>
                  <a:lnTo>
                    <a:pt x="2061579" y="197447"/>
                  </a:lnTo>
                  <a:lnTo>
                    <a:pt x="2061579" y="196799"/>
                  </a:lnTo>
                  <a:lnTo>
                    <a:pt x="2061579" y="197447"/>
                  </a:lnTo>
                  <a:lnTo>
                    <a:pt x="2061579" y="196113"/>
                  </a:lnTo>
                  <a:lnTo>
                    <a:pt x="2061579" y="196799"/>
                  </a:lnTo>
                  <a:lnTo>
                    <a:pt x="2061579" y="196113"/>
                  </a:lnTo>
                  <a:lnTo>
                    <a:pt x="2061668" y="196113"/>
                  </a:lnTo>
                  <a:lnTo>
                    <a:pt x="2061668" y="196799"/>
                  </a:lnTo>
                  <a:lnTo>
                    <a:pt x="2061668" y="195415"/>
                  </a:lnTo>
                  <a:lnTo>
                    <a:pt x="2061668" y="197447"/>
                  </a:lnTo>
                  <a:lnTo>
                    <a:pt x="2061719" y="196799"/>
                  </a:lnTo>
                  <a:lnTo>
                    <a:pt x="2061719" y="198831"/>
                  </a:lnTo>
                  <a:lnTo>
                    <a:pt x="2061719" y="196799"/>
                  </a:lnTo>
                  <a:lnTo>
                    <a:pt x="2061769" y="196799"/>
                  </a:lnTo>
                  <a:lnTo>
                    <a:pt x="2061769" y="198831"/>
                  </a:lnTo>
                  <a:lnTo>
                    <a:pt x="2061769" y="197447"/>
                  </a:lnTo>
                  <a:lnTo>
                    <a:pt x="2061820" y="197447"/>
                  </a:lnTo>
                  <a:lnTo>
                    <a:pt x="2061820" y="198831"/>
                  </a:lnTo>
                  <a:lnTo>
                    <a:pt x="2061820" y="197447"/>
                  </a:lnTo>
                  <a:lnTo>
                    <a:pt x="2061820" y="198831"/>
                  </a:lnTo>
                  <a:lnTo>
                    <a:pt x="2061820" y="197447"/>
                  </a:lnTo>
                  <a:lnTo>
                    <a:pt x="2061820" y="198831"/>
                  </a:lnTo>
                  <a:lnTo>
                    <a:pt x="2061820" y="197447"/>
                  </a:lnTo>
                  <a:lnTo>
                    <a:pt x="2061820" y="198831"/>
                  </a:lnTo>
                  <a:lnTo>
                    <a:pt x="2061922" y="198831"/>
                  </a:lnTo>
                  <a:lnTo>
                    <a:pt x="2061922" y="197447"/>
                  </a:lnTo>
                  <a:lnTo>
                    <a:pt x="2061922" y="198831"/>
                  </a:lnTo>
                  <a:lnTo>
                    <a:pt x="2061972" y="198831"/>
                  </a:lnTo>
                  <a:lnTo>
                    <a:pt x="2061972" y="199530"/>
                  </a:lnTo>
                  <a:lnTo>
                    <a:pt x="2061972" y="198831"/>
                  </a:lnTo>
                  <a:lnTo>
                    <a:pt x="2062023" y="198831"/>
                  </a:lnTo>
                  <a:lnTo>
                    <a:pt x="2062023" y="196799"/>
                  </a:lnTo>
                  <a:lnTo>
                    <a:pt x="2062023" y="197447"/>
                  </a:lnTo>
                  <a:lnTo>
                    <a:pt x="2062023" y="196799"/>
                  </a:lnTo>
                  <a:lnTo>
                    <a:pt x="2062023" y="197447"/>
                  </a:lnTo>
                  <a:lnTo>
                    <a:pt x="2062023" y="196799"/>
                  </a:lnTo>
                  <a:lnTo>
                    <a:pt x="2062125" y="196799"/>
                  </a:lnTo>
                  <a:lnTo>
                    <a:pt x="2062125" y="197447"/>
                  </a:lnTo>
                  <a:lnTo>
                    <a:pt x="2062125" y="196799"/>
                  </a:lnTo>
                  <a:lnTo>
                    <a:pt x="2062125" y="197447"/>
                  </a:lnTo>
                  <a:lnTo>
                    <a:pt x="2062125" y="196799"/>
                  </a:lnTo>
                  <a:lnTo>
                    <a:pt x="2062125" y="197447"/>
                  </a:lnTo>
                  <a:lnTo>
                    <a:pt x="2062125" y="196799"/>
                  </a:lnTo>
                  <a:lnTo>
                    <a:pt x="2062163" y="196113"/>
                  </a:lnTo>
                  <a:lnTo>
                    <a:pt x="2062163" y="198831"/>
                  </a:lnTo>
                  <a:lnTo>
                    <a:pt x="2062163" y="196799"/>
                  </a:lnTo>
                  <a:lnTo>
                    <a:pt x="2062163" y="197447"/>
                  </a:lnTo>
                  <a:lnTo>
                    <a:pt x="2062163" y="196799"/>
                  </a:lnTo>
                  <a:lnTo>
                    <a:pt x="2062214" y="197447"/>
                  </a:lnTo>
                  <a:lnTo>
                    <a:pt x="2062214" y="198831"/>
                  </a:lnTo>
                  <a:lnTo>
                    <a:pt x="2062214" y="197447"/>
                  </a:lnTo>
                  <a:lnTo>
                    <a:pt x="2062214" y="199530"/>
                  </a:lnTo>
                  <a:lnTo>
                    <a:pt x="2062214" y="198831"/>
                  </a:lnTo>
                  <a:lnTo>
                    <a:pt x="2062265" y="198831"/>
                  </a:lnTo>
                  <a:lnTo>
                    <a:pt x="2062265" y="199530"/>
                  </a:lnTo>
                  <a:lnTo>
                    <a:pt x="2062265" y="198831"/>
                  </a:lnTo>
                  <a:lnTo>
                    <a:pt x="2062366" y="199530"/>
                  </a:lnTo>
                  <a:lnTo>
                    <a:pt x="2062366" y="198831"/>
                  </a:lnTo>
                  <a:lnTo>
                    <a:pt x="2062366" y="199530"/>
                  </a:lnTo>
                  <a:lnTo>
                    <a:pt x="2062366" y="198831"/>
                  </a:lnTo>
                  <a:lnTo>
                    <a:pt x="2062366" y="199530"/>
                  </a:lnTo>
                  <a:lnTo>
                    <a:pt x="2062417" y="199530"/>
                  </a:lnTo>
                  <a:lnTo>
                    <a:pt x="2062417" y="198831"/>
                  </a:lnTo>
                  <a:lnTo>
                    <a:pt x="2062417" y="199530"/>
                  </a:lnTo>
                  <a:lnTo>
                    <a:pt x="2062468" y="199530"/>
                  </a:lnTo>
                  <a:lnTo>
                    <a:pt x="2062468" y="198831"/>
                  </a:lnTo>
                  <a:lnTo>
                    <a:pt x="2062468" y="199530"/>
                  </a:lnTo>
                  <a:lnTo>
                    <a:pt x="2062468" y="198831"/>
                  </a:lnTo>
                  <a:lnTo>
                    <a:pt x="2062468" y="199530"/>
                  </a:lnTo>
                  <a:lnTo>
                    <a:pt x="2062569" y="198831"/>
                  </a:lnTo>
                  <a:lnTo>
                    <a:pt x="2062569" y="199530"/>
                  </a:lnTo>
                  <a:lnTo>
                    <a:pt x="2062569" y="196799"/>
                  </a:lnTo>
                  <a:lnTo>
                    <a:pt x="2062569" y="197447"/>
                  </a:lnTo>
                  <a:lnTo>
                    <a:pt x="2062569" y="196799"/>
                  </a:lnTo>
                  <a:lnTo>
                    <a:pt x="2062569" y="197447"/>
                  </a:lnTo>
                  <a:lnTo>
                    <a:pt x="2062620" y="197447"/>
                  </a:lnTo>
                  <a:lnTo>
                    <a:pt x="2062620" y="196799"/>
                  </a:lnTo>
                  <a:lnTo>
                    <a:pt x="2062620" y="198831"/>
                  </a:lnTo>
                  <a:lnTo>
                    <a:pt x="2062620" y="196799"/>
                  </a:lnTo>
                  <a:lnTo>
                    <a:pt x="2062620" y="197447"/>
                  </a:lnTo>
                  <a:lnTo>
                    <a:pt x="2062671" y="197447"/>
                  </a:lnTo>
                  <a:lnTo>
                    <a:pt x="2062671" y="199530"/>
                  </a:lnTo>
                  <a:lnTo>
                    <a:pt x="2062671" y="197447"/>
                  </a:lnTo>
                  <a:lnTo>
                    <a:pt x="2062671" y="198831"/>
                  </a:lnTo>
                  <a:lnTo>
                    <a:pt x="2062709" y="199530"/>
                  </a:lnTo>
                  <a:lnTo>
                    <a:pt x="2062709" y="200228"/>
                  </a:lnTo>
                  <a:lnTo>
                    <a:pt x="2062709" y="199530"/>
                  </a:lnTo>
                  <a:lnTo>
                    <a:pt x="2062709" y="200228"/>
                  </a:lnTo>
                  <a:lnTo>
                    <a:pt x="2062709" y="199530"/>
                  </a:lnTo>
                  <a:lnTo>
                    <a:pt x="2062811" y="199530"/>
                  </a:lnTo>
                  <a:lnTo>
                    <a:pt x="2062811" y="200228"/>
                  </a:lnTo>
                  <a:lnTo>
                    <a:pt x="2062811" y="199530"/>
                  </a:lnTo>
                  <a:lnTo>
                    <a:pt x="2062811" y="200228"/>
                  </a:lnTo>
                  <a:lnTo>
                    <a:pt x="2062811" y="198831"/>
                  </a:lnTo>
                  <a:lnTo>
                    <a:pt x="2062811" y="199530"/>
                  </a:lnTo>
                  <a:lnTo>
                    <a:pt x="2062862" y="199530"/>
                  </a:lnTo>
                  <a:lnTo>
                    <a:pt x="2062862" y="198831"/>
                  </a:lnTo>
                  <a:lnTo>
                    <a:pt x="2062862" y="200228"/>
                  </a:lnTo>
                  <a:lnTo>
                    <a:pt x="2062862" y="198831"/>
                  </a:lnTo>
                  <a:lnTo>
                    <a:pt x="2062912" y="198831"/>
                  </a:lnTo>
                  <a:lnTo>
                    <a:pt x="2062912" y="199530"/>
                  </a:lnTo>
                  <a:lnTo>
                    <a:pt x="2062912" y="198831"/>
                  </a:lnTo>
                  <a:lnTo>
                    <a:pt x="2062912" y="199530"/>
                  </a:lnTo>
                  <a:lnTo>
                    <a:pt x="2063014" y="199530"/>
                  </a:lnTo>
                  <a:lnTo>
                    <a:pt x="2063014" y="197447"/>
                  </a:lnTo>
                  <a:lnTo>
                    <a:pt x="2063014" y="198831"/>
                  </a:lnTo>
                  <a:lnTo>
                    <a:pt x="2063014" y="197447"/>
                  </a:lnTo>
                  <a:lnTo>
                    <a:pt x="2063065" y="197447"/>
                  </a:lnTo>
                  <a:lnTo>
                    <a:pt x="2063065" y="196799"/>
                  </a:lnTo>
                  <a:lnTo>
                    <a:pt x="2063115" y="196799"/>
                  </a:lnTo>
                  <a:lnTo>
                    <a:pt x="2063115" y="197447"/>
                  </a:lnTo>
                  <a:lnTo>
                    <a:pt x="2063115" y="196113"/>
                  </a:lnTo>
                  <a:lnTo>
                    <a:pt x="2063115" y="198831"/>
                  </a:lnTo>
                  <a:lnTo>
                    <a:pt x="2063166" y="198831"/>
                  </a:lnTo>
                  <a:lnTo>
                    <a:pt x="2063166" y="197447"/>
                  </a:lnTo>
                  <a:lnTo>
                    <a:pt x="2063166" y="199530"/>
                  </a:lnTo>
                  <a:lnTo>
                    <a:pt x="2063255" y="199530"/>
                  </a:lnTo>
                  <a:lnTo>
                    <a:pt x="2063255" y="200228"/>
                  </a:lnTo>
                  <a:lnTo>
                    <a:pt x="2063255" y="198831"/>
                  </a:lnTo>
                  <a:lnTo>
                    <a:pt x="2063255" y="199530"/>
                  </a:lnTo>
                  <a:lnTo>
                    <a:pt x="2063306" y="199530"/>
                  </a:lnTo>
                  <a:lnTo>
                    <a:pt x="2063306" y="198831"/>
                  </a:lnTo>
                  <a:lnTo>
                    <a:pt x="2063306" y="199530"/>
                  </a:lnTo>
                  <a:lnTo>
                    <a:pt x="2063306" y="198831"/>
                  </a:lnTo>
                  <a:lnTo>
                    <a:pt x="2063306" y="199530"/>
                  </a:lnTo>
                  <a:lnTo>
                    <a:pt x="2063306" y="198831"/>
                  </a:lnTo>
                  <a:lnTo>
                    <a:pt x="2063306" y="199530"/>
                  </a:lnTo>
                  <a:lnTo>
                    <a:pt x="2063357" y="199530"/>
                  </a:lnTo>
                  <a:lnTo>
                    <a:pt x="2063357" y="200228"/>
                  </a:lnTo>
                  <a:lnTo>
                    <a:pt x="2063357" y="199530"/>
                  </a:lnTo>
                  <a:lnTo>
                    <a:pt x="2063357" y="200228"/>
                  </a:lnTo>
                  <a:lnTo>
                    <a:pt x="2063408" y="200228"/>
                  </a:lnTo>
                  <a:lnTo>
                    <a:pt x="2063408" y="199530"/>
                  </a:lnTo>
                  <a:lnTo>
                    <a:pt x="2063408" y="200228"/>
                  </a:lnTo>
                  <a:lnTo>
                    <a:pt x="2063408" y="199530"/>
                  </a:lnTo>
                  <a:lnTo>
                    <a:pt x="2063509" y="199530"/>
                  </a:lnTo>
                  <a:lnTo>
                    <a:pt x="2063509" y="198831"/>
                  </a:lnTo>
                  <a:lnTo>
                    <a:pt x="2063509" y="199530"/>
                  </a:lnTo>
                  <a:lnTo>
                    <a:pt x="2063509" y="196799"/>
                  </a:lnTo>
                  <a:lnTo>
                    <a:pt x="2063560" y="196799"/>
                  </a:lnTo>
                  <a:lnTo>
                    <a:pt x="2063560" y="196113"/>
                  </a:lnTo>
                  <a:lnTo>
                    <a:pt x="2063560" y="197447"/>
                  </a:lnTo>
                  <a:lnTo>
                    <a:pt x="2063560" y="196799"/>
                  </a:lnTo>
                  <a:lnTo>
                    <a:pt x="2063611" y="197447"/>
                  </a:lnTo>
                  <a:lnTo>
                    <a:pt x="2063611" y="196113"/>
                  </a:lnTo>
                  <a:lnTo>
                    <a:pt x="2063611" y="198831"/>
                  </a:lnTo>
                  <a:lnTo>
                    <a:pt x="2063712" y="198831"/>
                  </a:lnTo>
                  <a:lnTo>
                    <a:pt x="2063712" y="197447"/>
                  </a:lnTo>
                  <a:lnTo>
                    <a:pt x="2063712" y="200228"/>
                  </a:lnTo>
                  <a:lnTo>
                    <a:pt x="2063712" y="199530"/>
                  </a:lnTo>
                  <a:lnTo>
                    <a:pt x="2063750" y="199530"/>
                  </a:lnTo>
                  <a:lnTo>
                    <a:pt x="2063750" y="200228"/>
                  </a:lnTo>
                  <a:lnTo>
                    <a:pt x="2063750" y="199530"/>
                  </a:lnTo>
                  <a:lnTo>
                    <a:pt x="2063750" y="200228"/>
                  </a:lnTo>
                  <a:lnTo>
                    <a:pt x="2063750" y="199530"/>
                  </a:lnTo>
                  <a:lnTo>
                    <a:pt x="2063750" y="200228"/>
                  </a:lnTo>
                  <a:lnTo>
                    <a:pt x="2063801" y="199530"/>
                  </a:lnTo>
                  <a:lnTo>
                    <a:pt x="2063801" y="200228"/>
                  </a:lnTo>
                  <a:lnTo>
                    <a:pt x="2063801" y="199530"/>
                  </a:lnTo>
                  <a:lnTo>
                    <a:pt x="2063801" y="200228"/>
                  </a:lnTo>
                  <a:lnTo>
                    <a:pt x="2063801" y="199530"/>
                  </a:lnTo>
                  <a:lnTo>
                    <a:pt x="2063801" y="200228"/>
                  </a:lnTo>
                  <a:lnTo>
                    <a:pt x="2063852" y="200228"/>
                  </a:lnTo>
                  <a:lnTo>
                    <a:pt x="2063852" y="199530"/>
                  </a:lnTo>
                  <a:lnTo>
                    <a:pt x="2063852" y="200228"/>
                  </a:lnTo>
                  <a:lnTo>
                    <a:pt x="2063852" y="199530"/>
                  </a:lnTo>
                  <a:lnTo>
                    <a:pt x="2063954" y="199530"/>
                  </a:lnTo>
                  <a:lnTo>
                    <a:pt x="2063954" y="200228"/>
                  </a:lnTo>
                  <a:lnTo>
                    <a:pt x="2063954" y="199530"/>
                  </a:lnTo>
                  <a:lnTo>
                    <a:pt x="2063954" y="200228"/>
                  </a:lnTo>
                  <a:lnTo>
                    <a:pt x="2063954" y="199530"/>
                  </a:lnTo>
                  <a:lnTo>
                    <a:pt x="2064005" y="199530"/>
                  </a:lnTo>
                  <a:lnTo>
                    <a:pt x="2064005" y="196799"/>
                  </a:lnTo>
                  <a:lnTo>
                    <a:pt x="2064005" y="197447"/>
                  </a:lnTo>
                  <a:lnTo>
                    <a:pt x="2064055" y="196799"/>
                  </a:lnTo>
                  <a:lnTo>
                    <a:pt x="2064055" y="197447"/>
                  </a:lnTo>
                  <a:lnTo>
                    <a:pt x="2064055" y="195415"/>
                  </a:lnTo>
                  <a:lnTo>
                    <a:pt x="2064055" y="197447"/>
                  </a:lnTo>
                  <a:lnTo>
                    <a:pt x="2064055" y="196799"/>
                  </a:lnTo>
                  <a:lnTo>
                    <a:pt x="2064157" y="196799"/>
                  </a:lnTo>
                  <a:lnTo>
                    <a:pt x="2064157" y="195415"/>
                  </a:lnTo>
                  <a:lnTo>
                    <a:pt x="2064157" y="199530"/>
                  </a:lnTo>
                  <a:lnTo>
                    <a:pt x="2064157" y="197447"/>
                  </a:lnTo>
                  <a:lnTo>
                    <a:pt x="2064208" y="197447"/>
                  </a:lnTo>
                  <a:lnTo>
                    <a:pt x="2064208" y="196799"/>
                  </a:lnTo>
                  <a:lnTo>
                    <a:pt x="2064208" y="200228"/>
                  </a:lnTo>
                  <a:lnTo>
                    <a:pt x="2064208" y="199530"/>
                  </a:lnTo>
                  <a:lnTo>
                    <a:pt x="2064259" y="199530"/>
                  </a:lnTo>
                  <a:lnTo>
                    <a:pt x="2064259" y="197447"/>
                  </a:lnTo>
                  <a:lnTo>
                    <a:pt x="2064259" y="198831"/>
                  </a:lnTo>
                  <a:lnTo>
                    <a:pt x="2064259" y="197447"/>
                  </a:lnTo>
                  <a:lnTo>
                    <a:pt x="2064259" y="199530"/>
                  </a:lnTo>
                  <a:lnTo>
                    <a:pt x="2064259" y="198831"/>
                  </a:lnTo>
                  <a:lnTo>
                    <a:pt x="2064297" y="198831"/>
                  </a:lnTo>
                  <a:lnTo>
                    <a:pt x="2064297" y="199530"/>
                  </a:lnTo>
                  <a:lnTo>
                    <a:pt x="2064297" y="198831"/>
                  </a:lnTo>
                  <a:lnTo>
                    <a:pt x="2064297" y="199530"/>
                  </a:lnTo>
                  <a:lnTo>
                    <a:pt x="2064297" y="198831"/>
                  </a:lnTo>
                  <a:lnTo>
                    <a:pt x="2064297" y="199530"/>
                  </a:lnTo>
                  <a:lnTo>
                    <a:pt x="2064398" y="199530"/>
                  </a:lnTo>
                  <a:lnTo>
                    <a:pt x="2064398" y="200876"/>
                  </a:lnTo>
                  <a:lnTo>
                    <a:pt x="2064398" y="200228"/>
                  </a:lnTo>
                  <a:lnTo>
                    <a:pt x="2064398" y="200876"/>
                  </a:lnTo>
                  <a:lnTo>
                    <a:pt x="2064398" y="199530"/>
                  </a:lnTo>
                  <a:lnTo>
                    <a:pt x="2064449" y="200228"/>
                  </a:lnTo>
                  <a:lnTo>
                    <a:pt x="2064449" y="199530"/>
                  </a:lnTo>
                  <a:lnTo>
                    <a:pt x="2064500" y="199530"/>
                  </a:lnTo>
                  <a:lnTo>
                    <a:pt x="2064500" y="196799"/>
                  </a:lnTo>
                  <a:lnTo>
                    <a:pt x="2064601" y="196799"/>
                  </a:lnTo>
                  <a:lnTo>
                    <a:pt x="2064601" y="196113"/>
                  </a:lnTo>
                  <a:lnTo>
                    <a:pt x="2064601" y="196799"/>
                  </a:lnTo>
                  <a:lnTo>
                    <a:pt x="2064601" y="196113"/>
                  </a:lnTo>
                  <a:lnTo>
                    <a:pt x="2064652" y="195415"/>
                  </a:lnTo>
                  <a:lnTo>
                    <a:pt x="2064652" y="196113"/>
                  </a:lnTo>
                  <a:lnTo>
                    <a:pt x="2064652" y="195415"/>
                  </a:lnTo>
                  <a:lnTo>
                    <a:pt x="2064652" y="198831"/>
                  </a:lnTo>
                  <a:lnTo>
                    <a:pt x="2064652" y="196799"/>
                  </a:lnTo>
                  <a:lnTo>
                    <a:pt x="2064703" y="196113"/>
                  </a:lnTo>
                  <a:lnTo>
                    <a:pt x="2064703" y="198831"/>
                  </a:lnTo>
                  <a:lnTo>
                    <a:pt x="2064703" y="197447"/>
                  </a:lnTo>
                  <a:lnTo>
                    <a:pt x="2064754" y="197447"/>
                  </a:lnTo>
                  <a:lnTo>
                    <a:pt x="2064754" y="198831"/>
                  </a:lnTo>
                  <a:lnTo>
                    <a:pt x="2064754" y="196799"/>
                  </a:lnTo>
                  <a:lnTo>
                    <a:pt x="2064754" y="197447"/>
                  </a:lnTo>
                  <a:lnTo>
                    <a:pt x="2064843" y="197447"/>
                  </a:lnTo>
                  <a:lnTo>
                    <a:pt x="2064843" y="199530"/>
                  </a:lnTo>
                  <a:lnTo>
                    <a:pt x="2064843" y="198831"/>
                  </a:lnTo>
                  <a:lnTo>
                    <a:pt x="2064843" y="199530"/>
                  </a:lnTo>
                  <a:lnTo>
                    <a:pt x="2064894" y="199530"/>
                  </a:lnTo>
                  <a:lnTo>
                    <a:pt x="2064894" y="198831"/>
                  </a:lnTo>
                  <a:lnTo>
                    <a:pt x="2064894" y="199530"/>
                  </a:lnTo>
                  <a:lnTo>
                    <a:pt x="2064894" y="198831"/>
                  </a:lnTo>
                  <a:lnTo>
                    <a:pt x="2064894" y="199530"/>
                  </a:lnTo>
                  <a:lnTo>
                    <a:pt x="2064944" y="199530"/>
                  </a:lnTo>
                  <a:lnTo>
                    <a:pt x="2064944" y="198831"/>
                  </a:lnTo>
                  <a:lnTo>
                    <a:pt x="2064944" y="199530"/>
                  </a:lnTo>
                  <a:lnTo>
                    <a:pt x="2064944" y="197447"/>
                  </a:lnTo>
                  <a:lnTo>
                    <a:pt x="2064995" y="197447"/>
                  </a:lnTo>
                  <a:lnTo>
                    <a:pt x="2064995" y="196799"/>
                  </a:lnTo>
                  <a:lnTo>
                    <a:pt x="2064995" y="197447"/>
                  </a:lnTo>
                  <a:lnTo>
                    <a:pt x="2064995" y="196799"/>
                  </a:lnTo>
                  <a:lnTo>
                    <a:pt x="2064995" y="197447"/>
                  </a:lnTo>
                  <a:lnTo>
                    <a:pt x="2064995" y="196799"/>
                  </a:lnTo>
                  <a:lnTo>
                    <a:pt x="2064995" y="197447"/>
                  </a:lnTo>
                  <a:lnTo>
                    <a:pt x="2064995" y="196113"/>
                  </a:lnTo>
                  <a:lnTo>
                    <a:pt x="2064995" y="196799"/>
                  </a:lnTo>
                  <a:lnTo>
                    <a:pt x="2065097" y="197447"/>
                  </a:lnTo>
                  <a:lnTo>
                    <a:pt x="2065097" y="198831"/>
                  </a:lnTo>
                  <a:lnTo>
                    <a:pt x="2065097" y="196799"/>
                  </a:lnTo>
                  <a:lnTo>
                    <a:pt x="2065097" y="200228"/>
                  </a:lnTo>
                  <a:lnTo>
                    <a:pt x="2065147" y="200228"/>
                  </a:lnTo>
                  <a:lnTo>
                    <a:pt x="2065147" y="200876"/>
                  </a:lnTo>
                  <a:lnTo>
                    <a:pt x="2065147" y="198831"/>
                  </a:lnTo>
                  <a:lnTo>
                    <a:pt x="2065147" y="200228"/>
                  </a:lnTo>
                  <a:lnTo>
                    <a:pt x="2065198" y="200228"/>
                  </a:lnTo>
                  <a:lnTo>
                    <a:pt x="2065198" y="198831"/>
                  </a:lnTo>
                  <a:lnTo>
                    <a:pt x="2065300" y="199530"/>
                  </a:lnTo>
                  <a:lnTo>
                    <a:pt x="2065300" y="198831"/>
                  </a:lnTo>
                  <a:lnTo>
                    <a:pt x="2065300" y="199530"/>
                  </a:lnTo>
                  <a:lnTo>
                    <a:pt x="2065338" y="199530"/>
                  </a:lnTo>
                  <a:lnTo>
                    <a:pt x="2065338" y="200228"/>
                  </a:lnTo>
                  <a:lnTo>
                    <a:pt x="2065338" y="199530"/>
                  </a:lnTo>
                  <a:lnTo>
                    <a:pt x="2065338" y="200228"/>
                  </a:lnTo>
                  <a:lnTo>
                    <a:pt x="2065338" y="199530"/>
                  </a:lnTo>
                  <a:lnTo>
                    <a:pt x="2065338" y="200228"/>
                  </a:lnTo>
                  <a:lnTo>
                    <a:pt x="2065338" y="199530"/>
                  </a:lnTo>
                  <a:lnTo>
                    <a:pt x="2065338" y="200228"/>
                  </a:lnTo>
                  <a:lnTo>
                    <a:pt x="2065389" y="200228"/>
                  </a:lnTo>
                  <a:lnTo>
                    <a:pt x="2065389" y="199530"/>
                  </a:lnTo>
                  <a:lnTo>
                    <a:pt x="2065389" y="200228"/>
                  </a:lnTo>
                  <a:lnTo>
                    <a:pt x="2065389" y="199530"/>
                  </a:lnTo>
                  <a:lnTo>
                    <a:pt x="2065389" y="200228"/>
                  </a:lnTo>
                  <a:lnTo>
                    <a:pt x="2065389" y="199530"/>
                  </a:lnTo>
                  <a:lnTo>
                    <a:pt x="2065440" y="199530"/>
                  </a:lnTo>
                  <a:lnTo>
                    <a:pt x="2065440" y="197447"/>
                  </a:lnTo>
                  <a:lnTo>
                    <a:pt x="2065440" y="198831"/>
                  </a:lnTo>
                  <a:lnTo>
                    <a:pt x="2065541" y="198831"/>
                  </a:lnTo>
                  <a:lnTo>
                    <a:pt x="2065541" y="196113"/>
                  </a:lnTo>
                  <a:lnTo>
                    <a:pt x="2065541" y="199530"/>
                  </a:lnTo>
                  <a:lnTo>
                    <a:pt x="2065592" y="199530"/>
                  </a:lnTo>
                  <a:lnTo>
                    <a:pt x="2065592" y="196799"/>
                  </a:lnTo>
                  <a:lnTo>
                    <a:pt x="2065592" y="200228"/>
                  </a:lnTo>
                  <a:lnTo>
                    <a:pt x="2065643" y="200228"/>
                  </a:lnTo>
                  <a:lnTo>
                    <a:pt x="2065643" y="198831"/>
                  </a:lnTo>
                  <a:lnTo>
                    <a:pt x="2065643" y="200876"/>
                  </a:lnTo>
                  <a:lnTo>
                    <a:pt x="2065643" y="200228"/>
                  </a:lnTo>
                  <a:lnTo>
                    <a:pt x="2065744" y="200228"/>
                  </a:lnTo>
                  <a:lnTo>
                    <a:pt x="2065744" y="199530"/>
                  </a:lnTo>
                  <a:lnTo>
                    <a:pt x="2065744" y="200228"/>
                  </a:lnTo>
                  <a:lnTo>
                    <a:pt x="2065795" y="200228"/>
                  </a:lnTo>
                  <a:lnTo>
                    <a:pt x="2065795" y="199530"/>
                  </a:lnTo>
                  <a:lnTo>
                    <a:pt x="2065795" y="200228"/>
                  </a:lnTo>
                  <a:lnTo>
                    <a:pt x="2065846" y="200228"/>
                  </a:lnTo>
                  <a:lnTo>
                    <a:pt x="2065846" y="200876"/>
                  </a:lnTo>
                  <a:lnTo>
                    <a:pt x="2065846" y="200228"/>
                  </a:lnTo>
                  <a:lnTo>
                    <a:pt x="2065846" y="200876"/>
                  </a:lnTo>
                  <a:lnTo>
                    <a:pt x="2065846" y="200228"/>
                  </a:lnTo>
                  <a:lnTo>
                    <a:pt x="2065846" y="200876"/>
                  </a:lnTo>
                  <a:lnTo>
                    <a:pt x="2065846" y="200228"/>
                  </a:lnTo>
                  <a:lnTo>
                    <a:pt x="2065884" y="200228"/>
                  </a:lnTo>
                  <a:lnTo>
                    <a:pt x="2065884" y="199530"/>
                  </a:lnTo>
                  <a:lnTo>
                    <a:pt x="2065884" y="200228"/>
                  </a:lnTo>
                  <a:lnTo>
                    <a:pt x="2065884" y="198831"/>
                  </a:lnTo>
                  <a:lnTo>
                    <a:pt x="2065986" y="198831"/>
                  </a:lnTo>
                  <a:lnTo>
                    <a:pt x="2065986" y="197447"/>
                  </a:lnTo>
                  <a:lnTo>
                    <a:pt x="2065986" y="198831"/>
                  </a:lnTo>
                  <a:lnTo>
                    <a:pt x="2065986" y="196799"/>
                  </a:lnTo>
                  <a:lnTo>
                    <a:pt x="2066037" y="196799"/>
                  </a:lnTo>
                  <a:lnTo>
                    <a:pt x="2066037" y="195415"/>
                  </a:lnTo>
                  <a:lnTo>
                    <a:pt x="2066037" y="198831"/>
                  </a:lnTo>
                  <a:lnTo>
                    <a:pt x="2066037" y="197447"/>
                  </a:lnTo>
                  <a:lnTo>
                    <a:pt x="2066087" y="197447"/>
                  </a:lnTo>
                  <a:lnTo>
                    <a:pt x="2066087" y="196799"/>
                  </a:lnTo>
                  <a:lnTo>
                    <a:pt x="2066087" y="197447"/>
                  </a:lnTo>
                  <a:lnTo>
                    <a:pt x="2066087" y="196799"/>
                  </a:lnTo>
                  <a:lnTo>
                    <a:pt x="2066087" y="200228"/>
                  </a:lnTo>
                  <a:lnTo>
                    <a:pt x="2066087" y="198831"/>
                  </a:lnTo>
                  <a:lnTo>
                    <a:pt x="2066189" y="197447"/>
                  </a:lnTo>
                  <a:lnTo>
                    <a:pt x="2066189" y="200228"/>
                  </a:lnTo>
                  <a:lnTo>
                    <a:pt x="2066189" y="198831"/>
                  </a:lnTo>
                  <a:lnTo>
                    <a:pt x="2066240" y="198831"/>
                  </a:lnTo>
                  <a:lnTo>
                    <a:pt x="2066240" y="199530"/>
                  </a:lnTo>
                  <a:lnTo>
                    <a:pt x="2066240" y="198831"/>
                  </a:lnTo>
                  <a:lnTo>
                    <a:pt x="2066240" y="199530"/>
                  </a:lnTo>
                  <a:lnTo>
                    <a:pt x="2066290" y="199530"/>
                  </a:lnTo>
                  <a:lnTo>
                    <a:pt x="2066290" y="200228"/>
                  </a:lnTo>
                  <a:lnTo>
                    <a:pt x="2066290" y="199530"/>
                  </a:lnTo>
                  <a:lnTo>
                    <a:pt x="2066290" y="200228"/>
                  </a:lnTo>
                  <a:lnTo>
                    <a:pt x="2066290" y="199530"/>
                  </a:lnTo>
                  <a:lnTo>
                    <a:pt x="2066290" y="200228"/>
                  </a:lnTo>
                  <a:lnTo>
                    <a:pt x="2066290" y="199530"/>
                  </a:lnTo>
                  <a:lnTo>
                    <a:pt x="2066341" y="200228"/>
                  </a:lnTo>
                  <a:lnTo>
                    <a:pt x="2066341" y="200876"/>
                  </a:lnTo>
                  <a:lnTo>
                    <a:pt x="2066341" y="200228"/>
                  </a:lnTo>
                  <a:lnTo>
                    <a:pt x="2066430" y="200228"/>
                  </a:lnTo>
                  <a:lnTo>
                    <a:pt x="2066430" y="199530"/>
                  </a:lnTo>
                  <a:lnTo>
                    <a:pt x="2066481" y="199530"/>
                  </a:lnTo>
                  <a:lnTo>
                    <a:pt x="2066481" y="198831"/>
                  </a:lnTo>
                  <a:lnTo>
                    <a:pt x="2066481" y="199530"/>
                  </a:lnTo>
                  <a:lnTo>
                    <a:pt x="2066481" y="196113"/>
                  </a:lnTo>
                  <a:lnTo>
                    <a:pt x="2066532" y="196113"/>
                  </a:lnTo>
                  <a:lnTo>
                    <a:pt x="2066532" y="197447"/>
                  </a:lnTo>
                  <a:lnTo>
                    <a:pt x="2066532" y="196113"/>
                  </a:lnTo>
                  <a:lnTo>
                    <a:pt x="2066583" y="196113"/>
                  </a:lnTo>
                  <a:lnTo>
                    <a:pt x="2066583" y="199530"/>
                  </a:lnTo>
                  <a:lnTo>
                    <a:pt x="2066583" y="197447"/>
                  </a:lnTo>
                  <a:lnTo>
                    <a:pt x="2066684" y="197447"/>
                  </a:lnTo>
                  <a:lnTo>
                    <a:pt x="2066684" y="199530"/>
                  </a:lnTo>
                  <a:lnTo>
                    <a:pt x="2066684" y="198831"/>
                  </a:lnTo>
                  <a:lnTo>
                    <a:pt x="2066684" y="199530"/>
                  </a:lnTo>
                  <a:lnTo>
                    <a:pt x="2066684" y="197447"/>
                  </a:lnTo>
                  <a:lnTo>
                    <a:pt x="2066684" y="198831"/>
                  </a:lnTo>
                  <a:lnTo>
                    <a:pt x="2066735" y="197447"/>
                  </a:lnTo>
                  <a:lnTo>
                    <a:pt x="2066735" y="199530"/>
                  </a:lnTo>
                  <a:lnTo>
                    <a:pt x="2066735" y="198831"/>
                  </a:lnTo>
                  <a:lnTo>
                    <a:pt x="2066735" y="199530"/>
                  </a:lnTo>
                  <a:lnTo>
                    <a:pt x="2066735" y="198831"/>
                  </a:lnTo>
                  <a:lnTo>
                    <a:pt x="2066735" y="199530"/>
                  </a:lnTo>
                  <a:lnTo>
                    <a:pt x="2066786" y="199530"/>
                  </a:lnTo>
                  <a:lnTo>
                    <a:pt x="2066786" y="200228"/>
                  </a:lnTo>
                  <a:lnTo>
                    <a:pt x="2066786" y="199530"/>
                  </a:lnTo>
                  <a:lnTo>
                    <a:pt x="2066786" y="200228"/>
                  </a:lnTo>
                  <a:lnTo>
                    <a:pt x="2066887" y="200228"/>
                  </a:lnTo>
                  <a:lnTo>
                    <a:pt x="2066887" y="200876"/>
                  </a:lnTo>
                  <a:lnTo>
                    <a:pt x="2066887" y="200228"/>
                  </a:lnTo>
                  <a:lnTo>
                    <a:pt x="2066887" y="200876"/>
                  </a:lnTo>
                  <a:lnTo>
                    <a:pt x="2066887" y="199530"/>
                  </a:lnTo>
                  <a:lnTo>
                    <a:pt x="2066925" y="199530"/>
                  </a:lnTo>
                  <a:lnTo>
                    <a:pt x="2066925" y="200228"/>
                  </a:lnTo>
                  <a:lnTo>
                    <a:pt x="2066925" y="198831"/>
                  </a:lnTo>
                  <a:lnTo>
                    <a:pt x="2066976" y="198831"/>
                  </a:lnTo>
                  <a:lnTo>
                    <a:pt x="2066976" y="196799"/>
                  </a:lnTo>
                  <a:lnTo>
                    <a:pt x="2066976" y="197447"/>
                  </a:lnTo>
                  <a:lnTo>
                    <a:pt x="2066976" y="196799"/>
                  </a:lnTo>
                  <a:lnTo>
                    <a:pt x="2067027" y="196113"/>
                  </a:lnTo>
                  <a:lnTo>
                    <a:pt x="2067027" y="195415"/>
                  </a:lnTo>
                  <a:lnTo>
                    <a:pt x="2067027" y="198831"/>
                  </a:lnTo>
                  <a:lnTo>
                    <a:pt x="2067027" y="196113"/>
                  </a:lnTo>
                  <a:lnTo>
                    <a:pt x="2067129" y="195415"/>
                  </a:lnTo>
                  <a:lnTo>
                    <a:pt x="2067129" y="198831"/>
                  </a:lnTo>
                  <a:lnTo>
                    <a:pt x="2067129" y="196799"/>
                  </a:lnTo>
                  <a:lnTo>
                    <a:pt x="2067180" y="196799"/>
                  </a:lnTo>
                  <a:lnTo>
                    <a:pt x="2067180" y="197447"/>
                  </a:lnTo>
                  <a:lnTo>
                    <a:pt x="2067180" y="196799"/>
                  </a:lnTo>
                  <a:lnTo>
                    <a:pt x="2067180" y="198831"/>
                  </a:lnTo>
                  <a:lnTo>
                    <a:pt x="2067180" y="196799"/>
                  </a:lnTo>
                  <a:lnTo>
                    <a:pt x="2067230" y="196799"/>
                  </a:lnTo>
                  <a:lnTo>
                    <a:pt x="2067230" y="198831"/>
                  </a:lnTo>
                  <a:lnTo>
                    <a:pt x="2067230" y="197447"/>
                  </a:lnTo>
                  <a:lnTo>
                    <a:pt x="2067230" y="198831"/>
                  </a:lnTo>
                  <a:lnTo>
                    <a:pt x="2067332" y="198831"/>
                  </a:lnTo>
                  <a:lnTo>
                    <a:pt x="2067332" y="199530"/>
                  </a:lnTo>
                  <a:lnTo>
                    <a:pt x="2067332" y="198831"/>
                  </a:lnTo>
                  <a:lnTo>
                    <a:pt x="2067332" y="199530"/>
                  </a:lnTo>
                  <a:lnTo>
                    <a:pt x="2067383" y="200228"/>
                  </a:lnTo>
                  <a:lnTo>
                    <a:pt x="2067383" y="199530"/>
                  </a:lnTo>
                  <a:lnTo>
                    <a:pt x="2067383" y="200228"/>
                  </a:lnTo>
                  <a:lnTo>
                    <a:pt x="2067434" y="200228"/>
                  </a:lnTo>
                  <a:lnTo>
                    <a:pt x="2067434" y="198831"/>
                  </a:lnTo>
                  <a:lnTo>
                    <a:pt x="2067434" y="199530"/>
                  </a:lnTo>
                  <a:lnTo>
                    <a:pt x="2067434" y="198831"/>
                  </a:lnTo>
                  <a:lnTo>
                    <a:pt x="2067434" y="199530"/>
                  </a:lnTo>
                  <a:lnTo>
                    <a:pt x="2067434" y="198831"/>
                  </a:lnTo>
                  <a:lnTo>
                    <a:pt x="2067472" y="198831"/>
                  </a:lnTo>
                  <a:lnTo>
                    <a:pt x="2067472" y="197447"/>
                  </a:lnTo>
                  <a:lnTo>
                    <a:pt x="2067472" y="198831"/>
                  </a:lnTo>
                  <a:lnTo>
                    <a:pt x="2067472" y="196113"/>
                  </a:lnTo>
                  <a:lnTo>
                    <a:pt x="2067573" y="196113"/>
                  </a:lnTo>
                  <a:lnTo>
                    <a:pt x="2067573" y="197447"/>
                  </a:lnTo>
                  <a:lnTo>
                    <a:pt x="2067573" y="195415"/>
                  </a:lnTo>
                  <a:lnTo>
                    <a:pt x="2067624" y="195415"/>
                  </a:lnTo>
                  <a:lnTo>
                    <a:pt x="2067624" y="198831"/>
                  </a:lnTo>
                  <a:lnTo>
                    <a:pt x="2067624" y="196113"/>
                  </a:lnTo>
                  <a:lnTo>
                    <a:pt x="2067675" y="196113"/>
                  </a:lnTo>
                  <a:lnTo>
                    <a:pt x="2067675" y="197447"/>
                  </a:lnTo>
                  <a:lnTo>
                    <a:pt x="2067675" y="196113"/>
                  </a:lnTo>
                  <a:lnTo>
                    <a:pt x="2067675" y="196799"/>
                  </a:lnTo>
                  <a:lnTo>
                    <a:pt x="2067776" y="197447"/>
                  </a:lnTo>
                  <a:lnTo>
                    <a:pt x="2067776" y="196799"/>
                  </a:lnTo>
                  <a:lnTo>
                    <a:pt x="2067776" y="197447"/>
                  </a:lnTo>
                  <a:lnTo>
                    <a:pt x="2067776" y="196799"/>
                  </a:lnTo>
                  <a:lnTo>
                    <a:pt x="2067776" y="197447"/>
                  </a:lnTo>
                  <a:lnTo>
                    <a:pt x="2067776" y="196799"/>
                  </a:lnTo>
                  <a:lnTo>
                    <a:pt x="2067776" y="198831"/>
                  </a:lnTo>
                  <a:lnTo>
                    <a:pt x="2067827" y="198831"/>
                  </a:lnTo>
                  <a:lnTo>
                    <a:pt x="2067827" y="197447"/>
                  </a:lnTo>
                  <a:lnTo>
                    <a:pt x="2067827" y="199530"/>
                  </a:lnTo>
                  <a:lnTo>
                    <a:pt x="2067827" y="198831"/>
                  </a:lnTo>
                  <a:lnTo>
                    <a:pt x="2067878" y="198831"/>
                  </a:lnTo>
                  <a:lnTo>
                    <a:pt x="2067878" y="199530"/>
                  </a:lnTo>
                  <a:lnTo>
                    <a:pt x="2067878" y="198831"/>
                  </a:lnTo>
                  <a:lnTo>
                    <a:pt x="2067929" y="198831"/>
                  </a:lnTo>
                  <a:lnTo>
                    <a:pt x="2067929" y="197447"/>
                  </a:lnTo>
                  <a:lnTo>
                    <a:pt x="2067929" y="198831"/>
                  </a:lnTo>
                  <a:lnTo>
                    <a:pt x="2067929" y="197447"/>
                  </a:lnTo>
                  <a:lnTo>
                    <a:pt x="2068018" y="197447"/>
                  </a:lnTo>
                  <a:lnTo>
                    <a:pt x="2068018" y="196799"/>
                  </a:lnTo>
                  <a:lnTo>
                    <a:pt x="2068018" y="198831"/>
                  </a:lnTo>
                  <a:lnTo>
                    <a:pt x="2068069" y="198831"/>
                  </a:lnTo>
                  <a:lnTo>
                    <a:pt x="2068069" y="197447"/>
                  </a:lnTo>
                  <a:lnTo>
                    <a:pt x="2068069" y="198831"/>
                  </a:lnTo>
                  <a:lnTo>
                    <a:pt x="2068069" y="197447"/>
                  </a:lnTo>
                  <a:lnTo>
                    <a:pt x="2068069" y="200228"/>
                  </a:lnTo>
                  <a:lnTo>
                    <a:pt x="2068119" y="199530"/>
                  </a:lnTo>
                  <a:lnTo>
                    <a:pt x="2068119" y="198831"/>
                  </a:lnTo>
                  <a:lnTo>
                    <a:pt x="2068119" y="200228"/>
                  </a:lnTo>
                  <a:lnTo>
                    <a:pt x="2068119" y="199530"/>
                  </a:lnTo>
                  <a:lnTo>
                    <a:pt x="2068170" y="199530"/>
                  </a:lnTo>
                  <a:lnTo>
                    <a:pt x="2068170" y="198831"/>
                  </a:lnTo>
                  <a:lnTo>
                    <a:pt x="2068170" y="200228"/>
                  </a:lnTo>
                  <a:lnTo>
                    <a:pt x="2068170" y="199530"/>
                  </a:lnTo>
                  <a:lnTo>
                    <a:pt x="2068170" y="200228"/>
                  </a:lnTo>
                  <a:lnTo>
                    <a:pt x="2068170" y="199530"/>
                  </a:lnTo>
                  <a:lnTo>
                    <a:pt x="2068272" y="199530"/>
                  </a:lnTo>
                  <a:lnTo>
                    <a:pt x="2068272" y="198831"/>
                  </a:lnTo>
                  <a:lnTo>
                    <a:pt x="2068272" y="199530"/>
                  </a:lnTo>
                  <a:lnTo>
                    <a:pt x="2068322" y="199530"/>
                  </a:lnTo>
                  <a:lnTo>
                    <a:pt x="2068322" y="200228"/>
                  </a:lnTo>
                  <a:lnTo>
                    <a:pt x="2068322" y="199530"/>
                  </a:lnTo>
                  <a:lnTo>
                    <a:pt x="2068322" y="200228"/>
                  </a:lnTo>
                  <a:lnTo>
                    <a:pt x="2068322" y="199530"/>
                  </a:lnTo>
                  <a:lnTo>
                    <a:pt x="2068373" y="199530"/>
                  </a:lnTo>
                  <a:lnTo>
                    <a:pt x="2068373" y="200228"/>
                  </a:lnTo>
                  <a:lnTo>
                    <a:pt x="2068373" y="199530"/>
                  </a:lnTo>
                  <a:lnTo>
                    <a:pt x="2068373" y="200228"/>
                  </a:lnTo>
                  <a:lnTo>
                    <a:pt x="2068373" y="198831"/>
                  </a:lnTo>
                  <a:lnTo>
                    <a:pt x="2068373" y="199530"/>
                  </a:lnTo>
                  <a:lnTo>
                    <a:pt x="2068373" y="198831"/>
                  </a:lnTo>
                  <a:lnTo>
                    <a:pt x="2068475" y="198831"/>
                  </a:lnTo>
                  <a:lnTo>
                    <a:pt x="2068475" y="199530"/>
                  </a:lnTo>
                  <a:lnTo>
                    <a:pt x="2068475" y="198831"/>
                  </a:lnTo>
                  <a:lnTo>
                    <a:pt x="2068475" y="199530"/>
                  </a:lnTo>
                  <a:lnTo>
                    <a:pt x="2068475" y="197447"/>
                  </a:lnTo>
                  <a:lnTo>
                    <a:pt x="2068475" y="198831"/>
                  </a:lnTo>
                  <a:lnTo>
                    <a:pt x="2068513" y="198831"/>
                  </a:lnTo>
                  <a:lnTo>
                    <a:pt x="2068513" y="200228"/>
                  </a:lnTo>
                  <a:lnTo>
                    <a:pt x="2068513" y="198831"/>
                  </a:lnTo>
                  <a:lnTo>
                    <a:pt x="2068564" y="199530"/>
                  </a:lnTo>
                  <a:lnTo>
                    <a:pt x="2068564" y="202260"/>
                  </a:lnTo>
                  <a:lnTo>
                    <a:pt x="2068564" y="200228"/>
                  </a:lnTo>
                  <a:lnTo>
                    <a:pt x="2068564" y="200876"/>
                  </a:lnTo>
                  <a:lnTo>
                    <a:pt x="2068615" y="200876"/>
                  </a:lnTo>
                  <a:lnTo>
                    <a:pt x="2068615" y="200228"/>
                  </a:lnTo>
                  <a:lnTo>
                    <a:pt x="2068615" y="200876"/>
                  </a:lnTo>
                  <a:lnTo>
                    <a:pt x="2068615" y="200228"/>
                  </a:lnTo>
                  <a:lnTo>
                    <a:pt x="2068615" y="200876"/>
                  </a:lnTo>
                  <a:lnTo>
                    <a:pt x="2068716" y="200876"/>
                  </a:lnTo>
                  <a:lnTo>
                    <a:pt x="2068716" y="200228"/>
                  </a:lnTo>
                  <a:lnTo>
                    <a:pt x="2068716" y="200876"/>
                  </a:lnTo>
                  <a:lnTo>
                    <a:pt x="2068767" y="202260"/>
                  </a:lnTo>
                  <a:lnTo>
                    <a:pt x="2068767" y="200876"/>
                  </a:lnTo>
                  <a:lnTo>
                    <a:pt x="2068818" y="200876"/>
                  </a:lnTo>
                  <a:lnTo>
                    <a:pt x="2068818" y="199530"/>
                  </a:lnTo>
                  <a:lnTo>
                    <a:pt x="2068818" y="200228"/>
                  </a:lnTo>
                  <a:lnTo>
                    <a:pt x="2068919" y="199530"/>
                  </a:lnTo>
                  <a:lnTo>
                    <a:pt x="2068919" y="198831"/>
                  </a:lnTo>
                  <a:lnTo>
                    <a:pt x="2068919" y="199530"/>
                  </a:lnTo>
                  <a:lnTo>
                    <a:pt x="2068919" y="197447"/>
                  </a:lnTo>
                  <a:lnTo>
                    <a:pt x="2068919" y="198831"/>
                  </a:lnTo>
                  <a:lnTo>
                    <a:pt x="2068919" y="197447"/>
                  </a:lnTo>
                  <a:lnTo>
                    <a:pt x="2068970" y="197447"/>
                  </a:lnTo>
                  <a:lnTo>
                    <a:pt x="2068970" y="196799"/>
                  </a:lnTo>
                  <a:lnTo>
                    <a:pt x="2068970" y="197447"/>
                  </a:lnTo>
                  <a:lnTo>
                    <a:pt x="2068970" y="196113"/>
                  </a:lnTo>
                  <a:lnTo>
                    <a:pt x="2068970" y="196799"/>
                  </a:lnTo>
                  <a:lnTo>
                    <a:pt x="2068970" y="196113"/>
                  </a:lnTo>
                  <a:lnTo>
                    <a:pt x="2069021" y="196799"/>
                  </a:lnTo>
                  <a:lnTo>
                    <a:pt x="2069021" y="198831"/>
                  </a:lnTo>
                  <a:lnTo>
                    <a:pt x="2069021" y="196113"/>
                  </a:lnTo>
                  <a:lnTo>
                    <a:pt x="2069021" y="197447"/>
                  </a:lnTo>
                  <a:lnTo>
                    <a:pt x="2069059" y="198831"/>
                  </a:lnTo>
                  <a:lnTo>
                    <a:pt x="2069059" y="200228"/>
                  </a:lnTo>
                  <a:lnTo>
                    <a:pt x="2069059" y="197447"/>
                  </a:lnTo>
                  <a:lnTo>
                    <a:pt x="2069059" y="199530"/>
                  </a:lnTo>
                  <a:lnTo>
                    <a:pt x="2069161" y="200228"/>
                  </a:lnTo>
                  <a:lnTo>
                    <a:pt x="2069161" y="199530"/>
                  </a:lnTo>
                  <a:lnTo>
                    <a:pt x="2069161" y="200228"/>
                  </a:lnTo>
                  <a:lnTo>
                    <a:pt x="2069212" y="200228"/>
                  </a:lnTo>
                  <a:lnTo>
                    <a:pt x="2069212" y="199530"/>
                  </a:lnTo>
                  <a:lnTo>
                    <a:pt x="2069212" y="200228"/>
                  </a:lnTo>
                  <a:lnTo>
                    <a:pt x="2069212" y="199530"/>
                  </a:lnTo>
                  <a:lnTo>
                    <a:pt x="2069212" y="200876"/>
                  </a:lnTo>
                  <a:lnTo>
                    <a:pt x="2069212" y="200228"/>
                  </a:lnTo>
                  <a:lnTo>
                    <a:pt x="2069262" y="200228"/>
                  </a:lnTo>
                  <a:lnTo>
                    <a:pt x="2069262" y="200876"/>
                  </a:lnTo>
                  <a:lnTo>
                    <a:pt x="2069262" y="200228"/>
                  </a:lnTo>
                  <a:lnTo>
                    <a:pt x="2069262" y="200876"/>
                  </a:lnTo>
                  <a:lnTo>
                    <a:pt x="2069262" y="200228"/>
                  </a:lnTo>
                  <a:lnTo>
                    <a:pt x="2069415" y="200228"/>
                  </a:lnTo>
                  <a:lnTo>
                    <a:pt x="2069415" y="198831"/>
                  </a:lnTo>
                  <a:lnTo>
                    <a:pt x="2069415" y="199530"/>
                  </a:lnTo>
                  <a:lnTo>
                    <a:pt x="2069415" y="197447"/>
                  </a:lnTo>
                  <a:lnTo>
                    <a:pt x="2069415" y="198831"/>
                  </a:lnTo>
                  <a:lnTo>
                    <a:pt x="2069465" y="198831"/>
                  </a:lnTo>
                  <a:lnTo>
                    <a:pt x="2069465" y="196799"/>
                  </a:lnTo>
                  <a:lnTo>
                    <a:pt x="2069465" y="199530"/>
                  </a:lnTo>
                  <a:lnTo>
                    <a:pt x="2069516" y="199530"/>
                  </a:lnTo>
                  <a:lnTo>
                    <a:pt x="2069516" y="197447"/>
                  </a:lnTo>
                  <a:lnTo>
                    <a:pt x="2069516" y="199530"/>
                  </a:lnTo>
                  <a:lnTo>
                    <a:pt x="2069605" y="199530"/>
                  </a:lnTo>
                  <a:lnTo>
                    <a:pt x="2069605" y="197447"/>
                  </a:lnTo>
                  <a:lnTo>
                    <a:pt x="2069605" y="199530"/>
                  </a:lnTo>
                  <a:lnTo>
                    <a:pt x="2069656" y="199530"/>
                  </a:lnTo>
                  <a:lnTo>
                    <a:pt x="2069656" y="198831"/>
                  </a:lnTo>
                  <a:lnTo>
                    <a:pt x="2069656" y="199530"/>
                  </a:lnTo>
                  <a:lnTo>
                    <a:pt x="2069656" y="198831"/>
                  </a:lnTo>
                  <a:lnTo>
                    <a:pt x="2069656" y="200228"/>
                  </a:lnTo>
                  <a:lnTo>
                    <a:pt x="2069656" y="199530"/>
                  </a:lnTo>
                  <a:lnTo>
                    <a:pt x="2069707" y="198831"/>
                  </a:lnTo>
                  <a:lnTo>
                    <a:pt x="2069707" y="200228"/>
                  </a:lnTo>
                  <a:lnTo>
                    <a:pt x="2069707" y="199530"/>
                  </a:lnTo>
                  <a:lnTo>
                    <a:pt x="2069707" y="200876"/>
                  </a:lnTo>
                  <a:lnTo>
                    <a:pt x="2069707" y="200228"/>
                  </a:lnTo>
                  <a:lnTo>
                    <a:pt x="2069758" y="200228"/>
                  </a:lnTo>
                  <a:lnTo>
                    <a:pt x="2069758" y="200876"/>
                  </a:lnTo>
                  <a:lnTo>
                    <a:pt x="2069758" y="200228"/>
                  </a:lnTo>
                  <a:lnTo>
                    <a:pt x="2069859" y="200228"/>
                  </a:lnTo>
                  <a:lnTo>
                    <a:pt x="2069859" y="199530"/>
                  </a:lnTo>
                  <a:lnTo>
                    <a:pt x="2069859" y="200228"/>
                  </a:lnTo>
                  <a:lnTo>
                    <a:pt x="2069859" y="199530"/>
                  </a:lnTo>
                  <a:lnTo>
                    <a:pt x="2069859" y="200228"/>
                  </a:lnTo>
                  <a:lnTo>
                    <a:pt x="2069859" y="199530"/>
                  </a:lnTo>
                  <a:lnTo>
                    <a:pt x="2069910" y="199530"/>
                  </a:lnTo>
                  <a:lnTo>
                    <a:pt x="2069910" y="198831"/>
                  </a:lnTo>
                  <a:lnTo>
                    <a:pt x="2069910" y="199530"/>
                  </a:lnTo>
                  <a:lnTo>
                    <a:pt x="2069910" y="196799"/>
                  </a:lnTo>
                  <a:lnTo>
                    <a:pt x="2069910" y="197447"/>
                  </a:lnTo>
                  <a:lnTo>
                    <a:pt x="2069961" y="197447"/>
                  </a:lnTo>
                  <a:lnTo>
                    <a:pt x="2069961" y="196113"/>
                  </a:lnTo>
                  <a:lnTo>
                    <a:pt x="2069961" y="197447"/>
                  </a:lnTo>
                  <a:lnTo>
                    <a:pt x="2070062" y="197447"/>
                  </a:lnTo>
                  <a:lnTo>
                    <a:pt x="2070062" y="196113"/>
                  </a:lnTo>
                  <a:lnTo>
                    <a:pt x="2070062" y="199530"/>
                  </a:lnTo>
                  <a:lnTo>
                    <a:pt x="2070062" y="198831"/>
                  </a:lnTo>
                  <a:lnTo>
                    <a:pt x="2070100" y="198831"/>
                  </a:lnTo>
                  <a:lnTo>
                    <a:pt x="2070100" y="197447"/>
                  </a:lnTo>
                  <a:lnTo>
                    <a:pt x="2070100" y="199530"/>
                  </a:lnTo>
                  <a:lnTo>
                    <a:pt x="2070151" y="198831"/>
                  </a:lnTo>
                  <a:lnTo>
                    <a:pt x="2070151" y="199530"/>
                  </a:lnTo>
                  <a:lnTo>
                    <a:pt x="2070202" y="199530"/>
                  </a:lnTo>
                  <a:lnTo>
                    <a:pt x="2070202" y="200228"/>
                  </a:lnTo>
                  <a:lnTo>
                    <a:pt x="2070202" y="199530"/>
                  </a:lnTo>
                  <a:lnTo>
                    <a:pt x="2070202" y="200228"/>
                  </a:lnTo>
                  <a:lnTo>
                    <a:pt x="2070304" y="200228"/>
                  </a:lnTo>
                  <a:lnTo>
                    <a:pt x="2070304" y="199530"/>
                  </a:lnTo>
                  <a:lnTo>
                    <a:pt x="2070304" y="200228"/>
                  </a:lnTo>
                  <a:lnTo>
                    <a:pt x="2070355" y="200228"/>
                  </a:lnTo>
                  <a:lnTo>
                    <a:pt x="2070355" y="199530"/>
                  </a:lnTo>
                  <a:lnTo>
                    <a:pt x="2070355" y="200228"/>
                  </a:lnTo>
                  <a:lnTo>
                    <a:pt x="2070355" y="199530"/>
                  </a:lnTo>
                  <a:lnTo>
                    <a:pt x="2070405" y="199530"/>
                  </a:lnTo>
                  <a:lnTo>
                    <a:pt x="2070405" y="197447"/>
                  </a:lnTo>
                  <a:lnTo>
                    <a:pt x="2070507" y="197447"/>
                  </a:lnTo>
                  <a:lnTo>
                    <a:pt x="2070507" y="198831"/>
                  </a:lnTo>
                  <a:lnTo>
                    <a:pt x="2070507" y="196799"/>
                  </a:lnTo>
                  <a:lnTo>
                    <a:pt x="2070558" y="197447"/>
                  </a:lnTo>
                  <a:lnTo>
                    <a:pt x="2070558" y="200228"/>
                  </a:lnTo>
                  <a:lnTo>
                    <a:pt x="2070558" y="197447"/>
                  </a:lnTo>
                  <a:lnTo>
                    <a:pt x="2070558" y="198831"/>
                  </a:lnTo>
                  <a:lnTo>
                    <a:pt x="2070558" y="197447"/>
                  </a:lnTo>
                  <a:lnTo>
                    <a:pt x="2070609" y="198831"/>
                  </a:lnTo>
                  <a:lnTo>
                    <a:pt x="2070609" y="199530"/>
                  </a:lnTo>
                  <a:lnTo>
                    <a:pt x="2070609" y="197447"/>
                  </a:lnTo>
                  <a:lnTo>
                    <a:pt x="2070609" y="198831"/>
                  </a:lnTo>
                  <a:lnTo>
                    <a:pt x="2070609" y="197447"/>
                  </a:lnTo>
                  <a:lnTo>
                    <a:pt x="2070609" y="199530"/>
                  </a:lnTo>
                  <a:lnTo>
                    <a:pt x="2070647" y="199530"/>
                  </a:lnTo>
                  <a:lnTo>
                    <a:pt x="2070647" y="198831"/>
                  </a:lnTo>
                  <a:lnTo>
                    <a:pt x="2070647" y="199530"/>
                  </a:lnTo>
                  <a:lnTo>
                    <a:pt x="2070748" y="199530"/>
                  </a:lnTo>
                  <a:lnTo>
                    <a:pt x="2070748" y="200228"/>
                  </a:lnTo>
                  <a:lnTo>
                    <a:pt x="2070748" y="198831"/>
                  </a:lnTo>
                  <a:lnTo>
                    <a:pt x="2070748" y="199530"/>
                  </a:lnTo>
                  <a:lnTo>
                    <a:pt x="2070748" y="198831"/>
                  </a:lnTo>
                  <a:lnTo>
                    <a:pt x="2070748" y="199530"/>
                  </a:lnTo>
                  <a:lnTo>
                    <a:pt x="2070748" y="198831"/>
                  </a:lnTo>
                  <a:lnTo>
                    <a:pt x="2070748" y="200228"/>
                  </a:lnTo>
                  <a:lnTo>
                    <a:pt x="2070799" y="199530"/>
                  </a:lnTo>
                  <a:lnTo>
                    <a:pt x="2070850" y="199530"/>
                  </a:lnTo>
                  <a:lnTo>
                    <a:pt x="2070850" y="198831"/>
                  </a:lnTo>
                  <a:lnTo>
                    <a:pt x="2070850" y="199530"/>
                  </a:lnTo>
                  <a:lnTo>
                    <a:pt x="2070850" y="198831"/>
                  </a:lnTo>
                  <a:lnTo>
                    <a:pt x="2070951" y="198831"/>
                  </a:lnTo>
                  <a:lnTo>
                    <a:pt x="2070951" y="196799"/>
                  </a:lnTo>
                  <a:lnTo>
                    <a:pt x="2070951" y="197447"/>
                  </a:lnTo>
                  <a:lnTo>
                    <a:pt x="2070951" y="196113"/>
                  </a:lnTo>
                  <a:lnTo>
                    <a:pt x="2070951" y="197447"/>
                  </a:lnTo>
                  <a:lnTo>
                    <a:pt x="2071002" y="197447"/>
                  </a:lnTo>
                  <a:lnTo>
                    <a:pt x="2071002" y="196113"/>
                  </a:lnTo>
                  <a:lnTo>
                    <a:pt x="2071002" y="198831"/>
                  </a:lnTo>
                  <a:lnTo>
                    <a:pt x="2071053" y="199530"/>
                  </a:lnTo>
                  <a:lnTo>
                    <a:pt x="2071053" y="198831"/>
                  </a:lnTo>
                  <a:lnTo>
                    <a:pt x="2071053" y="199530"/>
                  </a:lnTo>
                  <a:lnTo>
                    <a:pt x="2071104" y="199530"/>
                  </a:lnTo>
                  <a:lnTo>
                    <a:pt x="2071193" y="200228"/>
                  </a:lnTo>
                  <a:lnTo>
                    <a:pt x="2071193" y="199530"/>
                  </a:lnTo>
                  <a:lnTo>
                    <a:pt x="2071193" y="200228"/>
                  </a:lnTo>
                  <a:lnTo>
                    <a:pt x="2071193" y="199530"/>
                  </a:lnTo>
                  <a:lnTo>
                    <a:pt x="2071193" y="200228"/>
                  </a:lnTo>
                  <a:lnTo>
                    <a:pt x="2071193" y="199530"/>
                  </a:lnTo>
                  <a:lnTo>
                    <a:pt x="2071193" y="200228"/>
                  </a:lnTo>
                  <a:lnTo>
                    <a:pt x="2071193" y="199530"/>
                  </a:lnTo>
                  <a:lnTo>
                    <a:pt x="2071193" y="200228"/>
                  </a:lnTo>
                  <a:lnTo>
                    <a:pt x="2071193" y="199530"/>
                  </a:lnTo>
                  <a:lnTo>
                    <a:pt x="2071244" y="200228"/>
                  </a:lnTo>
                  <a:lnTo>
                    <a:pt x="2071244" y="199530"/>
                  </a:lnTo>
                  <a:lnTo>
                    <a:pt x="2071244" y="200228"/>
                  </a:lnTo>
                  <a:lnTo>
                    <a:pt x="2071244" y="199530"/>
                  </a:lnTo>
                  <a:lnTo>
                    <a:pt x="2071244" y="200228"/>
                  </a:lnTo>
                  <a:lnTo>
                    <a:pt x="2071294" y="200228"/>
                  </a:lnTo>
                  <a:lnTo>
                    <a:pt x="2071294" y="199530"/>
                  </a:lnTo>
                  <a:lnTo>
                    <a:pt x="2071345" y="199530"/>
                  </a:lnTo>
                  <a:lnTo>
                    <a:pt x="2071345" y="198831"/>
                  </a:lnTo>
                  <a:lnTo>
                    <a:pt x="2071345" y="199530"/>
                  </a:lnTo>
                  <a:lnTo>
                    <a:pt x="2071345" y="197447"/>
                  </a:lnTo>
                  <a:lnTo>
                    <a:pt x="2071447" y="198831"/>
                  </a:lnTo>
                  <a:lnTo>
                    <a:pt x="2071447" y="196799"/>
                  </a:lnTo>
                  <a:lnTo>
                    <a:pt x="2071447" y="197447"/>
                  </a:lnTo>
                  <a:lnTo>
                    <a:pt x="2071497" y="197447"/>
                  </a:lnTo>
                  <a:lnTo>
                    <a:pt x="2071497" y="196799"/>
                  </a:lnTo>
                  <a:lnTo>
                    <a:pt x="2071497" y="197447"/>
                  </a:lnTo>
                  <a:lnTo>
                    <a:pt x="2071497" y="196799"/>
                  </a:lnTo>
                  <a:lnTo>
                    <a:pt x="2071497" y="199530"/>
                  </a:lnTo>
                  <a:lnTo>
                    <a:pt x="2071548" y="198831"/>
                  </a:lnTo>
                  <a:lnTo>
                    <a:pt x="2071548" y="197447"/>
                  </a:lnTo>
                  <a:lnTo>
                    <a:pt x="2071548" y="199530"/>
                  </a:lnTo>
                  <a:lnTo>
                    <a:pt x="2071650" y="199530"/>
                  </a:lnTo>
                  <a:lnTo>
                    <a:pt x="2071650" y="198831"/>
                  </a:lnTo>
                  <a:lnTo>
                    <a:pt x="2071650" y="199530"/>
                  </a:lnTo>
                  <a:lnTo>
                    <a:pt x="2071688" y="199530"/>
                  </a:lnTo>
                  <a:lnTo>
                    <a:pt x="2071688" y="198831"/>
                  </a:lnTo>
                  <a:lnTo>
                    <a:pt x="2071688" y="200228"/>
                  </a:lnTo>
                  <a:lnTo>
                    <a:pt x="2071688" y="199530"/>
                  </a:lnTo>
                  <a:lnTo>
                    <a:pt x="2071739" y="199530"/>
                  </a:lnTo>
                  <a:lnTo>
                    <a:pt x="2071739" y="200228"/>
                  </a:lnTo>
                  <a:lnTo>
                    <a:pt x="2071739" y="199530"/>
                  </a:lnTo>
                  <a:lnTo>
                    <a:pt x="2071790" y="199530"/>
                  </a:lnTo>
                  <a:lnTo>
                    <a:pt x="2071790" y="198831"/>
                  </a:lnTo>
                  <a:lnTo>
                    <a:pt x="2071790" y="199530"/>
                  </a:lnTo>
                  <a:lnTo>
                    <a:pt x="2071790" y="198831"/>
                  </a:lnTo>
                  <a:lnTo>
                    <a:pt x="2071891" y="198831"/>
                  </a:lnTo>
                  <a:lnTo>
                    <a:pt x="2071891" y="199530"/>
                  </a:lnTo>
                  <a:lnTo>
                    <a:pt x="2071891" y="196799"/>
                  </a:lnTo>
                  <a:lnTo>
                    <a:pt x="2071891" y="197447"/>
                  </a:lnTo>
                  <a:lnTo>
                    <a:pt x="2071942" y="197447"/>
                  </a:lnTo>
                  <a:lnTo>
                    <a:pt x="2071942" y="195415"/>
                  </a:lnTo>
                  <a:lnTo>
                    <a:pt x="2071942" y="196799"/>
                  </a:lnTo>
                  <a:lnTo>
                    <a:pt x="2071993" y="196799"/>
                  </a:lnTo>
                  <a:lnTo>
                    <a:pt x="2071993" y="196113"/>
                  </a:lnTo>
                  <a:lnTo>
                    <a:pt x="2071993" y="198831"/>
                  </a:lnTo>
                  <a:lnTo>
                    <a:pt x="2071993" y="197447"/>
                  </a:lnTo>
                  <a:lnTo>
                    <a:pt x="2072094" y="197447"/>
                  </a:lnTo>
                  <a:lnTo>
                    <a:pt x="2072094" y="196799"/>
                  </a:lnTo>
                  <a:lnTo>
                    <a:pt x="2072094" y="198831"/>
                  </a:lnTo>
                  <a:lnTo>
                    <a:pt x="2072094" y="197447"/>
                  </a:lnTo>
                  <a:lnTo>
                    <a:pt x="2072094" y="198831"/>
                  </a:lnTo>
                  <a:lnTo>
                    <a:pt x="2072145" y="197447"/>
                  </a:lnTo>
                  <a:lnTo>
                    <a:pt x="2072145" y="198831"/>
                  </a:lnTo>
                  <a:lnTo>
                    <a:pt x="2072145" y="197447"/>
                  </a:lnTo>
                  <a:lnTo>
                    <a:pt x="2072145" y="200228"/>
                  </a:lnTo>
                  <a:lnTo>
                    <a:pt x="2072145" y="199530"/>
                  </a:lnTo>
                  <a:lnTo>
                    <a:pt x="2072196" y="199530"/>
                  </a:lnTo>
                  <a:lnTo>
                    <a:pt x="2072196" y="198831"/>
                  </a:lnTo>
                  <a:lnTo>
                    <a:pt x="2072196" y="200228"/>
                  </a:lnTo>
                  <a:lnTo>
                    <a:pt x="2072196" y="199530"/>
                  </a:lnTo>
                  <a:lnTo>
                    <a:pt x="2072336" y="199530"/>
                  </a:lnTo>
                  <a:lnTo>
                    <a:pt x="2072336" y="198831"/>
                  </a:lnTo>
                  <a:lnTo>
                    <a:pt x="2072336" y="199530"/>
                  </a:lnTo>
                  <a:lnTo>
                    <a:pt x="2072336" y="198831"/>
                  </a:lnTo>
                  <a:lnTo>
                    <a:pt x="2072336" y="199530"/>
                  </a:lnTo>
                  <a:lnTo>
                    <a:pt x="2072387" y="199530"/>
                  </a:lnTo>
                  <a:lnTo>
                    <a:pt x="2072387" y="196799"/>
                  </a:lnTo>
                  <a:lnTo>
                    <a:pt x="2072437" y="196799"/>
                  </a:lnTo>
                  <a:lnTo>
                    <a:pt x="2072437" y="196113"/>
                  </a:lnTo>
                  <a:lnTo>
                    <a:pt x="2072437" y="197447"/>
                  </a:lnTo>
                  <a:lnTo>
                    <a:pt x="2072539" y="196799"/>
                  </a:lnTo>
                  <a:lnTo>
                    <a:pt x="2072539" y="196113"/>
                  </a:lnTo>
                  <a:lnTo>
                    <a:pt x="2072539" y="196799"/>
                  </a:lnTo>
                  <a:lnTo>
                    <a:pt x="2072539" y="196113"/>
                  </a:lnTo>
                  <a:lnTo>
                    <a:pt x="2072539" y="198831"/>
                  </a:lnTo>
                  <a:lnTo>
                    <a:pt x="2072590" y="197447"/>
                  </a:lnTo>
                  <a:lnTo>
                    <a:pt x="2072590" y="196799"/>
                  </a:lnTo>
                  <a:lnTo>
                    <a:pt x="2072590" y="198831"/>
                  </a:lnTo>
                  <a:lnTo>
                    <a:pt x="2072590" y="197447"/>
                  </a:lnTo>
                  <a:lnTo>
                    <a:pt x="2072590" y="198831"/>
                  </a:lnTo>
                  <a:lnTo>
                    <a:pt x="2072640" y="197447"/>
                  </a:lnTo>
                  <a:lnTo>
                    <a:pt x="2072640" y="199530"/>
                  </a:lnTo>
                  <a:lnTo>
                    <a:pt x="2072640" y="197447"/>
                  </a:lnTo>
                  <a:lnTo>
                    <a:pt x="2072691" y="198831"/>
                  </a:lnTo>
                  <a:lnTo>
                    <a:pt x="2072691" y="199530"/>
                  </a:lnTo>
                  <a:lnTo>
                    <a:pt x="2072691" y="198831"/>
                  </a:lnTo>
                  <a:lnTo>
                    <a:pt x="2072691" y="199530"/>
                  </a:lnTo>
                  <a:lnTo>
                    <a:pt x="2072691" y="198831"/>
                  </a:lnTo>
                  <a:lnTo>
                    <a:pt x="2072691" y="199530"/>
                  </a:lnTo>
                  <a:lnTo>
                    <a:pt x="2072691" y="198831"/>
                  </a:lnTo>
                  <a:lnTo>
                    <a:pt x="2072691" y="199530"/>
                  </a:lnTo>
                  <a:lnTo>
                    <a:pt x="2072780" y="199530"/>
                  </a:lnTo>
                  <a:lnTo>
                    <a:pt x="2072780" y="198831"/>
                  </a:lnTo>
                  <a:lnTo>
                    <a:pt x="2072780" y="199530"/>
                  </a:lnTo>
                  <a:lnTo>
                    <a:pt x="2072831" y="199530"/>
                  </a:lnTo>
                  <a:lnTo>
                    <a:pt x="2072831" y="198831"/>
                  </a:lnTo>
                  <a:lnTo>
                    <a:pt x="2072831" y="199530"/>
                  </a:lnTo>
                  <a:lnTo>
                    <a:pt x="2072831" y="198831"/>
                  </a:lnTo>
                  <a:lnTo>
                    <a:pt x="2072831" y="199530"/>
                  </a:lnTo>
                  <a:lnTo>
                    <a:pt x="2072831" y="198831"/>
                  </a:lnTo>
                  <a:lnTo>
                    <a:pt x="2072831" y="199530"/>
                  </a:lnTo>
                  <a:lnTo>
                    <a:pt x="2072882" y="199530"/>
                  </a:lnTo>
                  <a:lnTo>
                    <a:pt x="2072882" y="197447"/>
                  </a:lnTo>
                  <a:lnTo>
                    <a:pt x="2072882" y="198831"/>
                  </a:lnTo>
                  <a:lnTo>
                    <a:pt x="2072882" y="196799"/>
                  </a:lnTo>
                  <a:lnTo>
                    <a:pt x="2072933" y="196113"/>
                  </a:lnTo>
                  <a:lnTo>
                    <a:pt x="2072933" y="194716"/>
                  </a:lnTo>
                  <a:lnTo>
                    <a:pt x="2072933" y="196799"/>
                  </a:lnTo>
                  <a:lnTo>
                    <a:pt x="2073034" y="196799"/>
                  </a:lnTo>
                  <a:lnTo>
                    <a:pt x="2073034" y="194716"/>
                  </a:lnTo>
                  <a:lnTo>
                    <a:pt x="2073034" y="196799"/>
                  </a:lnTo>
                  <a:lnTo>
                    <a:pt x="2073085" y="196799"/>
                  </a:lnTo>
                  <a:lnTo>
                    <a:pt x="2073085" y="196113"/>
                  </a:lnTo>
                  <a:lnTo>
                    <a:pt x="2073085" y="197447"/>
                  </a:lnTo>
                  <a:lnTo>
                    <a:pt x="2073136" y="197447"/>
                  </a:lnTo>
                  <a:lnTo>
                    <a:pt x="2073136" y="198831"/>
                  </a:lnTo>
                  <a:lnTo>
                    <a:pt x="2073136" y="197447"/>
                  </a:lnTo>
                  <a:lnTo>
                    <a:pt x="2073237" y="197447"/>
                  </a:lnTo>
                  <a:lnTo>
                    <a:pt x="2073237" y="198831"/>
                  </a:lnTo>
                  <a:lnTo>
                    <a:pt x="2073237" y="197447"/>
                  </a:lnTo>
                  <a:lnTo>
                    <a:pt x="2073237" y="198831"/>
                  </a:lnTo>
                  <a:lnTo>
                    <a:pt x="2073275" y="198831"/>
                  </a:lnTo>
                  <a:lnTo>
                    <a:pt x="2073275" y="199530"/>
                  </a:lnTo>
                  <a:lnTo>
                    <a:pt x="2073275" y="198831"/>
                  </a:lnTo>
                  <a:lnTo>
                    <a:pt x="2073275" y="199530"/>
                  </a:lnTo>
                  <a:lnTo>
                    <a:pt x="2073275" y="198831"/>
                  </a:lnTo>
                  <a:lnTo>
                    <a:pt x="2073275" y="199530"/>
                  </a:lnTo>
                  <a:lnTo>
                    <a:pt x="2073275" y="198831"/>
                  </a:lnTo>
                  <a:lnTo>
                    <a:pt x="2073275" y="199530"/>
                  </a:lnTo>
                  <a:lnTo>
                    <a:pt x="2073275" y="198831"/>
                  </a:lnTo>
                  <a:lnTo>
                    <a:pt x="2073326" y="199530"/>
                  </a:lnTo>
                  <a:lnTo>
                    <a:pt x="2073326" y="198831"/>
                  </a:lnTo>
                  <a:lnTo>
                    <a:pt x="2073326" y="199530"/>
                  </a:lnTo>
                  <a:lnTo>
                    <a:pt x="2073326" y="198831"/>
                  </a:lnTo>
                  <a:lnTo>
                    <a:pt x="2073326" y="199530"/>
                  </a:lnTo>
                  <a:lnTo>
                    <a:pt x="2073326" y="198831"/>
                  </a:lnTo>
                  <a:lnTo>
                    <a:pt x="2073377" y="198831"/>
                  </a:lnTo>
                  <a:lnTo>
                    <a:pt x="2073377" y="196799"/>
                  </a:lnTo>
                  <a:lnTo>
                    <a:pt x="2073377" y="197447"/>
                  </a:lnTo>
                  <a:lnTo>
                    <a:pt x="2073377" y="196113"/>
                  </a:lnTo>
                  <a:lnTo>
                    <a:pt x="2073479" y="196113"/>
                  </a:lnTo>
                  <a:lnTo>
                    <a:pt x="2073479" y="195415"/>
                  </a:lnTo>
                  <a:lnTo>
                    <a:pt x="2073479" y="196799"/>
                  </a:lnTo>
                  <a:lnTo>
                    <a:pt x="2073479" y="195415"/>
                  </a:lnTo>
                  <a:lnTo>
                    <a:pt x="2073530" y="194716"/>
                  </a:lnTo>
                  <a:lnTo>
                    <a:pt x="2073530" y="197447"/>
                  </a:lnTo>
                  <a:lnTo>
                    <a:pt x="2073530" y="196799"/>
                  </a:lnTo>
                  <a:lnTo>
                    <a:pt x="2073580" y="196113"/>
                  </a:lnTo>
                  <a:lnTo>
                    <a:pt x="2073580" y="195415"/>
                  </a:lnTo>
                  <a:lnTo>
                    <a:pt x="2073580" y="197447"/>
                  </a:lnTo>
                  <a:lnTo>
                    <a:pt x="2073580" y="196113"/>
                  </a:lnTo>
                  <a:lnTo>
                    <a:pt x="2073682" y="196113"/>
                  </a:lnTo>
                  <a:lnTo>
                    <a:pt x="2073682" y="197447"/>
                  </a:lnTo>
                  <a:lnTo>
                    <a:pt x="2073682" y="196799"/>
                  </a:lnTo>
                  <a:lnTo>
                    <a:pt x="2073682" y="197447"/>
                  </a:lnTo>
                  <a:lnTo>
                    <a:pt x="2073682" y="196799"/>
                  </a:lnTo>
                  <a:lnTo>
                    <a:pt x="2073733" y="196799"/>
                  </a:lnTo>
                  <a:lnTo>
                    <a:pt x="2073733" y="196113"/>
                  </a:lnTo>
                  <a:lnTo>
                    <a:pt x="2073733" y="197447"/>
                  </a:lnTo>
                  <a:lnTo>
                    <a:pt x="2073733" y="196799"/>
                  </a:lnTo>
                  <a:lnTo>
                    <a:pt x="2073733" y="197447"/>
                  </a:lnTo>
                  <a:lnTo>
                    <a:pt x="2073733" y="196799"/>
                  </a:lnTo>
                  <a:lnTo>
                    <a:pt x="2073784" y="196799"/>
                  </a:lnTo>
                  <a:lnTo>
                    <a:pt x="2073784" y="198831"/>
                  </a:lnTo>
                  <a:lnTo>
                    <a:pt x="2073822" y="198831"/>
                  </a:lnTo>
                  <a:lnTo>
                    <a:pt x="2073822" y="199530"/>
                  </a:lnTo>
                  <a:lnTo>
                    <a:pt x="2073822" y="198831"/>
                  </a:lnTo>
                  <a:lnTo>
                    <a:pt x="2073923" y="198831"/>
                  </a:lnTo>
                  <a:lnTo>
                    <a:pt x="2073923" y="196113"/>
                  </a:lnTo>
                  <a:lnTo>
                    <a:pt x="2073923" y="196799"/>
                  </a:lnTo>
                  <a:lnTo>
                    <a:pt x="2073923" y="196113"/>
                  </a:lnTo>
                  <a:lnTo>
                    <a:pt x="2073974" y="196113"/>
                  </a:lnTo>
                  <a:lnTo>
                    <a:pt x="2073974" y="195415"/>
                  </a:lnTo>
                  <a:lnTo>
                    <a:pt x="2073974" y="197447"/>
                  </a:lnTo>
                  <a:lnTo>
                    <a:pt x="2073974" y="195415"/>
                  </a:lnTo>
                  <a:lnTo>
                    <a:pt x="2074025" y="195415"/>
                  </a:lnTo>
                  <a:lnTo>
                    <a:pt x="2074025" y="199530"/>
                  </a:lnTo>
                  <a:lnTo>
                    <a:pt x="2074025" y="197447"/>
                  </a:lnTo>
                  <a:lnTo>
                    <a:pt x="2074025" y="198831"/>
                  </a:lnTo>
                  <a:lnTo>
                    <a:pt x="2074025" y="197447"/>
                  </a:lnTo>
                  <a:lnTo>
                    <a:pt x="2074126" y="197447"/>
                  </a:lnTo>
                  <a:lnTo>
                    <a:pt x="2074126" y="199530"/>
                  </a:lnTo>
                  <a:lnTo>
                    <a:pt x="2074126" y="197447"/>
                  </a:lnTo>
                  <a:lnTo>
                    <a:pt x="2074126" y="198831"/>
                  </a:lnTo>
                  <a:lnTo>
                    <a:pt x="2074177" y="198831"/>
                  </a:lnTo>
                  <a:lnTo>
                    <a:pt x="2074177" y="197447"/>
                  </a:lnTo>
                  <a:lnTo>
                    <a:pt x="2074177" y="198831"/>
                  </a:lnTo>
                  <a:lnTo>
                    <a:pt x="2074177" y="197447"/>
                  </a:lnTo>
                  <a:lnTo>
                    <a:pt x="2074177" y="198831"/>
                  </a:lnTo>
                  <a:lnTo>
                    <a:pt x="2074228" y="198831"/>
                  </a:lnTo>
                  <a:lnTo>
                    <a:pt x="2074228" y="199530"/>
                  </a:lnTo>
                  <a:lnTo>
                    <a:pt x="2074279" y="199530"/>
                  </a:lnTo>
                  <a:lnTo>
                    <a:pt x="2074279" y="198831"/>
                  </a:lnTo>
                  <a:lnTo>
                    <a:pt x="2074279" y="199530"/>
                  </a:lnTo>
                  <a:lnTo>
                    <a:pt x="2074279" y="198831"/>
                  </a:lnTo>
                  <a:lnTo>
                    <a:pt x="2074368" y="198831"/>
                  </a:lnTo>
                  <a:lnTo>
                    <a:pt x="2074368" y="199530"/>
                  </a:lnTo>
                  <a:lnTo>
                    <a:pt x="2074368" y="198831"/>
                  </a:lnTo>
                  <a:lnTo>
                    <a:pt x="2074368" y="199530"/>
                  </a:lnTo>
                  <a:lnTo>
                    <a:pt x="2074368" y="198831"/>
                  </a:lnTo>
                  <a:lnTo>
                    <a:pt x="2074419" y="198831"/>
                  </a:lnTo>
                  <a:lnTo>
                    <a:pt x="2074419" y="195415"/>
                  </a:lnTo>
                  <a:lnTo>
                    <a:pt x="2074419" y="197447"/>
                  </a:lnTo>
                  <a:lnTo>
                    <a:pt x="2074469" y="197447"/>
                  </a:lnTo>
                  <a:lnTo>
                    <a:pt x="2074469" y="198831"/>
                  </a:lnTo>
                  <a:lnTo>
                    <a:pt x="2074469" y="196799"/>
                  </a:lnTo>
                  <a:lnTo>
                    <a:pt x="2074469" y="200228"/>
                  </a:lnTo>
                  <a:lnTo>
                    <a:pt x="2074520" y="200228"/>
                  </a:lnTo>
                  <a:lnTo>
                    <a:pt x="2074520" y="200876"/>
                  </a:lnTo>
                  <a:lnTo>
                    <a:pt x="2074520" y="198831"/>
                  </a:lnTo>
                  <a:lnTo>
                    <a:pt x="2074520" y="200228"/>
                  </a:lnTo>
                  <a:lnTo>
                    <a:pt x="2074622" y="200228"/>
                  </a:lnTo>
                  <a:lnTo>
                    <a:pt x="2074622" y="199530"/>
                  </a:lnTo>
                  <a:lnTo>
                    <a:pt x="2074622" y="200228"/>
                  </a:lnTo>
                  <a:lnTo>
                    <a:pt x="2074672" y="200228"/>
                  </a:lnTo>
                  <a:lnTo>
                    <a:pt x="2074672" y="198831"/>
                  </a:lnTo>
                  <a:lnTo>
                    <a:pt x="2074672" y="199530"/>
                  </a:lnTo>
                  <a:lnTo>
                    <a:pt x="2074723" y="199530"/>
                  </a:lnTo>
                  <a:lnTo>
                    <a:pt x="2074723" y="200228"/>
                  </a:lnTo>
                  <a:lnTo>
                    <a:pt x="2074723" y="199530"/>
                  </a:lnTo>
                  <a:lnTo>
                    <a:pt x="2074723" y="200228"/>
                  </a:lnTo>
                  <a:lnTo>
                    <a:pt x="2074723" y="199530"/>
                  </a:lnTo>
                  <a:lnTo>
                    <a:pt x="2074825" y="200228"/>
                  </a:lnTo>
                  <a:lnTo>
                    <a:pt x="2074825" y="199530"/>
                  </a:lnTo>
                  <a:lnTo>
                    <a:pt x="2074825" y="200228"/>
                  </a:lnTo>
                  <a:lnTo>
                    <a:pt x="2074825" y="199530"/>
                  </a:lnTo>
                  <a:lnTo>
                    <a:pt x="2074825" y="200228"/>
                  </a:lnTo>
                  <a:lnTo>
                    <a:pt x="2074825" y="198831"/>
                  </a:lnTo>
                  <a:lnTo>
                    <a:pt x="2074863" y="198831"/>
                  </a:lnTo>
                  <a:lnTo>
                    <a:pt x="2074863" y="197447"/>
                  </a:lnTo>
                  <a:lnTo>
                    <a:pt x="2074863" y="198831"/>
                  </a:lnTo>
                  <a:lnTo>
                    <a:pt x="2074863" y="196799"/>
                  </a:lnTo>
                  <a:lnTo>
                    <a:pt x="2074914" y="196799"/>
                  </a:lnTo>
                  <a:lnTo>
                    <a:pt x="2074914" y="197447"/>
                  </a:lnTo>
                  <a:lnTo>
                    <a:pt x="2074914" y="195415"/>
                  </a:lnTo>
                  <a:lnTo>
                    <a:pt x="2074914" y="198831"/>
                  </a:lnTo>
                  <a:lnTo>
                    <a:pt x="2074965" y="198831"/>
                  </a:lnTo>
                  <a:lnTo>
                    <a:pt x="2074965" y="196113"/>
                  </a:lnTo>
                  <a:lnTo>
                    <a:pt x="2074965" y="196799"/>
                  </a:lnTo>
                  <a:lnTo>
                    <a:pt x="2074965" y="196113"/>
                  </a:lnTo>
                  <a:lnTo>
                    <a:pt x="2074965" y="199530"/>
                  </a:lnTo>
                  <a:lnTo>
                    <a:pt x="2075066" y="199530"/>
                  </a:lnTo>
                  <a:lnTo>
                    <a:pt x="2075066" y="197447"/>
                  </a:lnTo>
                  <a:lnTo>
                    <a:pt x="2075066" y="200228"/>
                  </a:lnTo>
                  <a:lnTo>
                    <a:pt x="2075066" y="199530"/>
                  </a:lnTo>
                  <a:lnTo>
                    <a:pt x="2075117" y="198831"/>
                  </a:lnTo>
                  <a:lnTo>
                    <a:pt x="2075117" y="199530"/>
                  </a:lnTo>
                  <a:lnTo>
                    <a:pt x="2075117" y="198831"/>
                  </a:lnTo>
                  <a:lnTo>
                    <a:pt x="2075117" y="200228"/>
                  </a:lnTo>
                  <a:lnTo>
                    <a:pt x="2075168" y="199530"/>
                  </a:lnTo>
                  <a:lnTo>
                    <a:pt x="2075168" y="200228"/>
                  </a:lnTo>
                  <a:lnTo>
                    <a:pt x="2075168" y="199530"/>
                  </a:lnTo>
                  <a:lnTo>
                    <a:pt x="2075168" y="200228"/>
                  </a:lnTo>
                  <a:lnTo>
                    <a:pt x="2075168" y="199530"/>
                  </a:lnTo>
                  <a:lnTo>
                    <a:pt x="2075269" y="199530"/>
                  </a:lnTo>
                  <a:lnTo>
                    <a:pt x="2075269" y="200876"/>
                  </a:lnTo>
                  <a:lnTo>
                    <a:pt x="2075269" y="200228"/>
                  </a:lnTo>
                  <a:lnTo>
                    <a:pt x="2075320" y="200228"/>
                  </a:lnTo>
                  <a:lnTo>
                    <a:pt x="2075320" y="200876"/>
                  </a:lnTo>
                  <a:lnTo>
                    <a:pt x="2075320" y="198831"/>
                  </a:lnTo>
                  <a:lnTo>
                    <a:pt x="2075371" y="198831"/>
                  </a:lnTo>
                  <a:lnTo>
                    <a:pt x="2075371" y="197447"/>
                  </a:lnTo>
                  <a:lnTo>
                    <a:pt x="2075409" y="196799"/>
                  </a:lnTo>
                  <a:lnTo>
                    <a:pt x="2075409" y="196113"/>
                  </a:lnTo>
                  <a:lnTo>
                    <a:pt x="2075409" y="198831"/>
                  </a:lnTo>
                  <a:lnTo>
                    <a:pt x="2075409" y="196799"/>
                  </a:lnTo>
                  <a:lnTo>
                    <a:pt x="2075511" y="196799"/>
                  </a:lnTo>
                  <a:lnTo>
                    <a:pt x="2075511" y="200228"/>
                  </a:lnTo>
                  <a:lnTo>
                    <a:pt x="2075511" y="198831"/>
                  </a:lnTo>
                  <a:lnTo>
                    <a:pt x="2075562" y="198831"/>
                  </a:lnTo>
                  <a:lnTo>
                    <a:pt x="2075562" y="200228"/>
                  </a:lnTo>
                  <a:lnTo>
                    <a:pt x="2075562" y="198831"/>
                  </a:lnTo>
                  <a:lnTo>
                    <a:pt x="2075612" y="199530"/>
                  </a:lnTo>
                  <a:lnTo>
                    <a:pt x="2075612" y="200228"/>
                  </a:lnTo>
                  <a:lnTo>
                    <a:pt x="2075612" y="198831"/>
                  </a:lnTo>
                  <a:lnTo>
                    <a:pt x="2075714" y="199530"/>
                  </a:lnTo>
                  <a:lnTo>
                    <a:pt x="2075714" y="200228"/>
                  </a:lnTo>
                  <a:lnTo>
                    <a:pt x="2075714" y="199530"/>
                  </a:lnTo>
                  <a:lnTo>
                    <a:pt x="2075714" y="200228"/>
                  </a:lnTo>
                  <a:lnTo>
                    <a:pt x="2075765" y="200228"/>
                  </a:lnTo>
                  <a:lnTo>
                    <a:pt x="2075765" y="199530"/>
                  </a:lnTo>
                  <a:lnTo>
                    <a:pt x="2075815" y="199530"/>
                  </a:lnTo>
                  <a:lnTo>
                    <a:pt x="2075815" y="200228"/>
                  </a:lnTo>
                  <a:lnTo>
                    <a:pt x="2075815" y="199530"/>
                  </a:lnTo>
                  <a:lnTo>
                    <a:pt x="2075815" y="200228"/>
                  </a:lnTo>
                  <a:lnTo>
                    <a:pt x="2075815" y="198831"/>
                  </a:lnTo>
                  <a:lnTo>
                    <a:pt x="2075815" y="199530"/>
                  </a:lnTo>
                  <a:lnTo>
                    <a:pt x="2075815" y="198831"/>
                  </a:lnTo>
                  <a:lnTo>
                    <a:pt x="2075866" y="198831"/>
                  </a:lnTo>
                  <a:lnTo>
                    <a:pt x="2075866" y="197447"/>
                  </a:lnTo>
                  <a:lnTo>
                    <a:pt x="2075866" y="198831"/>
                  </a:lnTo>
                  <a:lnTo>
                    <a:pt x="2075866" y="196799"/>
                  </a:lnTo>
                  <a:lnTo>
                    <a:pt x="2075955" y="196799"/>
                  </a:lnTo>
                  <a:lnTo>
                    <a:pt x="2075955" y="195415"/>
                  </a:lnTo>
                  <a:lnTo>
                    <a:pt x="2075955" y="197447"/>
                  </a:lnTo>
                  <a:lnTo>
                    <a:pt x="2075955" y="196113"/>
                  </a:lnTo>
                  <a:lnTo>
                    <a:pt x="2076006" y="196113"/>
                  </a:lnTo>
                  <a:lnTo>
                    <a:pt x="2076006" y="199530"/>
                  </a:lnTo>
                  <a:lnTo>
                    <a:pt x="2076006" y="197447"/>
                  </a:lnTo>
                  <a:lnTo>
                    <a:pt x="2076006" y="198831"/>
                  </a:lnTo>
                  <a:lnTo>
                    <a:pt x="2076006" y="197447"/>
                  </a:lnTo>
                  <a:lnTo>
                    <a:pt x="2076057" y="197447"/>
                  </a:lnTo>
                  <a:lnTo>
                    <a:pt x="2076057" y="196799"/>
                  </a:lnTo>
                  <a:lnTo>
                    <a:pt x="2076057" y="199530"/>
                  </a:lnTo>
                  <a:lnTo>
                    <a:pt x="2076057" y="198831"/>
                  </a:lnTo>
                  <a:lnTo>
                    <a:pt x="2076108" y="197447"/>
                  </a:lnTo>
                  <a:lnTo>
                    <a:pt x="2076108" y="200228"/>
                  </a:lnTo>
                  <a:lnTo>
                    <a:pt x="2076108" y="199530"/>
                  </a:lnTo>
                  <a:lnTo>
                    <a:pt x="2076108" y="200228"/>
                  </a:lnTo>
                  <a:lnTo>
                    <a:pt x="2076108" y="199530"/>
                  </a:lnTo>
                  <a:lnTo>
                    <a:pt x="2076108" y="200228"/>
                  </a:lnTo>
                  <a:lnTo>
                    <a:pt x="2076108" y="199530"/>
                  </a:lnTo>
                  <a:lnTo>
                    <a:pt x="2076209" y="199530"/>
                  </a:lnTo>
                  <a:lnTo>
                    <a:pt x="2076209" y="200228"/>
                  </a:lnTo>
                  <a:lnTo>
                    <a:pt x="2076209" y="199530"/>
                  </a:lnTo>
                  <a:lnTo>
                    <a:pt x="2076209" y="200228"/>
                  </a:lnTo>
                  <a:lnTo>
                    <a:pt x="2076260" y="200228"/>
                  </a:lnTo>
                  <a:lnTo>
                    <a:pt x="2076260" y="200876"/>
                  </a:lnTo>
                  <a:lnTo>
                    <a:pt x="2076260" y="200228"/>
                  </a:lnTo>
                  <a:lnTo>
                    <a:pt x="2076311" y="200228"/>
                  </a:lnTo>
                  <a:lnTo>
                    <a:pt x="2076311" y="199530"/>
                  </a:lnTo>
                  <a:lnTo>
                    <a:pt x="2076311" y="200228"/>
                  </a:lnTo>
                  <a:lnTo>
                    <a:pt x="2076311" y="199530"/>
                  </a:lnTo>
                  <a:lnTo>
                    <a:pt x="2076311" y="200228"/>
                  </a:lnTo>
                  <a:lnTo>
                    <a:pt x="2076311" y="199530"/>
                  </a:lnTo>
                  <a:lnTo>
                    <a:pt x="2076412" y="198831"/>
                  </a:lnTo>
                  <a:lnTo>
                    <a:pt x="2076412" y="197447"/>
                  </a:lnTo>
                  <a:lnTo>
                    <a:pt x="2076412" y="198831"/>
                  </a:lnTo>
                  <a:lnTo>
                    <a:pt x="2076412" y="196799"/>
                  </a:lnTo>
                  <a:lnTo>
                    <a:pt x="2076450" y="196799"/>
                  </a:lnTo>
                  <a:lnTo>
                    <a:pt x="2076450" y="198831"/>
                  </a:lnTo>
                  <a:lnTo>
                    <a:pt x="2076450" y="196113"/>
                  </a:lnTo>
                  <a:lnTo>
                    <a:pt x="2076501" y="196799"/>
                  </a:lnTo>
                  <a:lnTo>
                    <a:pt x="2076501" y="199530"/>
                  </a:lnTo>
                  <a:lnTo>
                    <a:pt x="2076501" y="196799"/>
                  </a:lnTo>
                  <a:lnTo>
                    <a:pt x="2076501" y="197447"/>
                  </a:lnTo>
                  <a:lnTo>
                    <a:pt x="2076552" y="198831"/>
                  </a:lnTo>
                  <a:lnTo>
                    <a:pt x="2076552" y="199530"/>
                  </a:lnTo>
                  <a:lnTo>
                    <a:pt x="2076552" y="197447"/>
                  </a:lnTo>
                  <a:lnTo>
                    <a:pt x="2076552" y="198831"/>
                  </a:lnTo>
                  <a:lnTo>
                    <a:pt x="2076654" y="198831"/>
                  </a:lnTo>
                  <a:lnTo>
                    <a:pt x="2076654" y="197447"/>
                  </a:lnTo>
                  <a:lnTo>
                    <a:pt x="2076654" y="199530"/>
                  </a:lnTo>
                  <a:lnTo>
                    <a:pt x="2076705" y="199530"/>
                  </a:lnTo>
                  <a:lnTo>
                    <a:pt x="2076705" y="197447"/>
                  </a:lnTo>
                  <a:lnTo>
                    <a:pt x="2076705" y="199530"/>
                  </a:lnTo>
                  <a:lnTo>
                    <a:pt x="2076755" y="199530"/>
                  </a:lnTo>
                  <a:lnTo>
                    <a:pt x="2076755" y="198831"/>
                  </a:lnTo>
                  <a:lnTo>
                    <a:pt x="2076755" y="199530"/>
                  </a:lnTo>
                  <a:lnTo>
                    <a:pt x="2076857" y="199530"/>
                  </a:lnTo>
                  <a:lnTo>
                    <a:pt x="2076857" y="198831"/>
                  </a:lnTo>
                  <a:lnTo>
                    <a:pt x="2076857" y="199530"/>
                  </a:lnTo>
                  <a:lnTo>
                    <a:pt x="2076857" y="198831"/>
                  </a:lnTo>
                  <a:lnTo>
                    <a:pt x="2076857" y="199530"/>
                  </a:lnTo>
                  <a:lnTo>
                    <a:pt x="2076857" y="198831"/>
                  </a:lnTo>
                  <a:lnTo>
                    <a:pt x="2076908" y="198831"/>
                  </a:lnTo>
                  <a:lnTo>
                    <a:pt x="2076908" y="197447"/>
                  </a:lnTo>
                  <a:lnTo>
                    <a:pt x="2076908" y="198831"/>
                  </a:lnTo>
                  <a:lnTo>
                    <a:pt x="2076959" y="198831"/>
                  </a:lnTo>
                  <a:lnTo>
                    <a:pt x="2076959" y="197447"/>
                  </a:lnTo>
                  <a:lnTo>
                    <a:pt x="2076959" y="198831"/>
                  </a:lnTo>
                  <a:lnTo>
                    <a:pt x="2076959" y="196799"/>
                  </a:lnTo>
                  <a:lnTo>
                    <a:pt x="2076959" y="200228"/>
                  </a:lnTo>
                  <a:lnTo>
                    <a:pt x="2076959" y="199530"/>
                  </a:lnTo>
                  <a:lnTo>
                    <a:pt x="2076997" y="199530"/>
                  </a:lnTo>
                  <a:lnTo>
                    <a:pt x="2076997" y="198831"/>
                  </a:lnTo>
                  <a:lnTo>
                    <a:pt x="2076997" y="199530"/>
                  </a:lnTo>
                  <a:lnTo>
                    <a:pt x="2076997" y="198831"/>
                  </a:lnTo>
                  <a:lnTo>
                    <a:pt x="2076997" y="200228"/>
                  </a:lnTo>
                  <a:lnTo>
                    <a:pt x="2077098" y="200228"/>
                  </a:lnTo>
                  <a:lnTo>
                    <a:pt x="2077098" y="198831"/>
                  </a:lnTo>
                  <a:lnTo>
                    <a:pt x="2077098" y="199530"/>
                  </a:lnTo>
                  <a:lnTo>
                    <a:pt x="2077098" y="198831"/>
                  </a:lnTo>
                  <a:lnTo>
                    <a:pt x="2077098" y="200228"/>
                  </a:lnTo>
                  <a:lnTo>
                    <a:pt x="2077149" y="199530"/>
                  </a:lnTo>
                  <a:lnTo>
                    <a:pt x="2077149" y="200228"/>
                  </a:lnTo>
                  <a:lnTo>
                    <a:pt x="2077149" y="199530"/>
                  </a:lnTo>
                  <a:lnTo>
                    <a:pt x="2077149" y="200228"/>
                  </a:lnTo>
                  <a:lnTo>
                    <a:pt x="2077149" y="199530"/>
                  </a:lnTo>
                  <a:lnTo>
                    <a:pt x="2077149" y="200228"/>
                  </a:lnTo>
                  <a:lnTo>
                    <a:pt x="2077149" y="199530"/>
                  </a:lnTo>
                  <a:lnTo>
                    <a:pt x="2077200" y="200228"/>
                  </a:lnTo>
                  <a:lnTo>
                    <a:pt x="2077200" y="199530"/>
                  </a:lnTo>
                  <a:lnTo>
                    <a:pt x="2077200" y="200228"/>
                  </a:lnTo>
                  <a:lnTo>
                    <a:pt x="2077200" y="199530"/>
                  </a:lnTo>
                  <a:lnTo>
                    <a:pt x="2077200" y="200228"/>
                  </a:lnTo>
                  <a:lnTo>
                    <a:pt x="2077200" y="199530"/>
                  </a:lnTo>
                  <a:lnTo>
                    <a:pt x="2077301" y="200228"/>
                  </a:lnTo>
                  <a:lnTo>
                    <a:pt x="2077301" y="199530"/>
                  </a:lnTo>
                  <a:lnTo>
                    <a:pt x="2077301" y="200228"/>
                  </a:lnTo>
                  <a:lnTo>
                    <a:pt x="2077301" y="199530"/>
                  </a:lnTo>
                  <a:lnTo>
                    <a:pt x="2077352" y="199530"/>
                  </a:lnTo>
                  <a:lnTo>
                    <a:pt x="2077352" y="196799"/>
                  </a:lnTo>
                  <a:lnTo>
                    <a:pt x="2077403" y="196799"/>
                  </a:lnTo>
                  <a:lnTo>
                    <a:pt x="2077403" y="199530"/>
                  </a:lnTo>
                  <a:lnTo>
                    <a:pt x="2077403" y="198831"/>
                  </a:lnTo>
                  <a:lnTo>
                    <a:pt x="2077454" y="197447"/>
                  </a:lnTo>
                  <a:lnTo>
                    <a:pt x="2077454" y="198831"/>
                  </a:lnTo>
                  <a:lnTo>
                    <a:pt x="2077454" y="197447"/>
                  </a:lnTo>
                  <a:lnTo>
                    <a:pt x="2077454" y="200228"/>
                  </a:lnTo>
                  <a:lnTo>
                    <a:pt x="2077543" y="199530"/>
                  </a:lnTo>
                  <a:lnTo>
                    <a:pt x="2077543" y="200228"/>
                  </a:lnTo>
                  <a:lnTo>
                    <a:pt x="2077594" y="200228"/>
                  </a:lnTo>
                  <a:lnTo>
                    <a:pt x="2077594" y="199530"/>
                  </a:lnTo>
                  <a:lnTo>
                    <a:pt x="2077594" y="200228"/>
                  </a:lnTo>
                  <a:lnTo>
                    <a:pt x="2077594" y="199530"/>
                  </a:lnTo>
                  <a:lnTo>
                    <a:pt x="2077594" y="200228"/>
                  </a:lnTo>
                  <a:lnTo>
                    <a:pt x="2077594" y="199530"/>
                  </a:lnTo>
                  <a:lnTo>
                    <a:pt x="2077594" y="200228"/>
                  </a:lnTo>
                  <a:lnTo>
                    <a:pt x="2077594" y="199530"/>
                  </a:lnTo>
                  <a:lnTo>
                    <a:pt x="2077594" y="200228"/>
                  </a:lnTo>
                  <a:lnTo>
                    <a:pt x="2077644" y="200228"/>
                  </a:lnTo>
                  <a:lnTo>
                    <a:pt x="2077644" y="200876"/>
                  </a:lnTo>
                  <a:lnTo>
                    <a:pt x="2077644" y="200228"/>
                  </a:lnTo>
                  <a:lnTo>
                    <a:pt x="2077695" y="200228"/>
                  </a:lnTo>
                  <a:lnTo>
                    <a:pt x="2077695" y="199530"/>
                  </a:lnTo>
                  <a:lnTo>
                    <a:pt x="2077695" y="200228"/>
                  </a:lnTo>
                  <a:lnTo>
                    <a:pt x="2077695" y="199530"/>
                  </a:lnTo>
                  <a:lnTo>
                    <a:pt x="2077695" y="200228"/>
                  </a:lnTo>
                  <a:lnTo>
                    <a:pt x="2077695" y="199530"/>
                  </a:lnTo>
                  <a:lnTo>
                    <a:pt x="2077695" y="200228"/>
                  </a:lnTo>
                  <a:lnTo>
                    <a:pt x="2077797" y="199530"/>
                  </a:lnTo>
                  <a:lnTo>
                    <a:pt x="2077797" y="200228"/>
                  </a:lnTo>
                  <a:lnTo>
                    <a:pt x="2077797" y="198831"/>
                  </a:lnTo>
                  <a:lnTo>
                    <a:pt x="2077797" y="199530"/>
                  </a:lnTo>
                  <a:lnTo>
                    <a:pt x="2077797" y="198831"/>
                  </a:lnTo>
                  <a:lnTo>
                    <a:pt x="2077847" y="198831"/>
                  </a:lnTo>
                  <a:lnTo>
                    <a:pt x="2077847" y="197447"/>
                  </a:lnTo>
                  <a:lnTo>
                    <a:pt x="2077847" y="198831"/>
                  </a:lnTo>
                  <a:lnTo>
                    <a:pt x="2077847" y="196799"/>
                  </a:lnTo>
                  <a:lnTo>
                    <a:pt x="2077847" y="197447"/>
                  </a:lnTo>
                  <a:lnTo>
                    <a:pt x="2077847" y="196113"/>
                  </a:lnTo>
                  <a:lnTo>
                    <a:pt x="2077898" y="196113"/>
                  </a:lnTo>
                  <a:lnTo>
                    <a:pt x="2077898" y="197447"/>
                  </a:lnTo>
                  <a:lnTo>
                    <a:pt x="2077898" y="196799"/>
                  </a:lnTo>
                  <a:lnTo>
                    <a:pt x="2078000" y="196799"/>
                  </a:lnTo>
                  <a:lnTo>
                    <a:pt x="2078000" y="199530"/>
                  </a:lnTo>
                  <a:lnTo>
                    <a:pt x="2078000" y="197447"/>
                  </a:lnTo>
                  <a:lnTo>
                    <a:pt x="2078000" y="198831"/>
                  </a:lnTo>
                  <a:lnTo>
                    <a:pt x="2078038" y="198831"/>
                  </a:lnTo>
                  <a:lnTo>
                    <a:pt x="2078038" y="199530"/>
                  </a:lnTo>
                  <a:lnTo>
                    <a:pt x="2078038" y="198831"/>
                  </a:lnTo>
                  <a:lnTo>
                    <a:pt x="2078038" y="199530"/>
                  </a:lnTo>
                  <a:lnTo>
                    <a:pt x="2078089" y="199530"/>
                  </a:lnTo>
                  <a:lnTo>
                    <a:pt x="2078089" y="200228"/>
                  </a:lnTo>
                  <a:lnTo>
                    <a:pt x="2078140" y="200228"/>
                  </a:lnTo>
                  <a:lnTo>
                    <a:pt x="2078140" y="200876"/>
                  </a:lnTo>
                  <a:lnTo>
                    <a:pt x="2078140" y="200228"/>
                  </a:lnTo>
                  <a:lnTo>
                    <a:pt x="2078140" y="200876"/>
                  </a:lnTo>
                  <a:lnTo>
                    <a:pt x="2078241" y="200876"/>
                  </a:lnTo>
                  <a:lnTo>
                    <a:pt x="2078241" y="200228"/>
                  </a:lnTo>
                  <a:lnTo>
                    <a:pt x="2078241" y="200876"/>
                  </a:lnTo>
                  <a:lnTo>
                    <a:pt x="2078241" y="200228"/>
                  </a:lnTo>
                  <a:lnTo>
                    <a:pt x="2078241" y="200876"/>
                  </a:lnTo>
                  <a:lnTo>
                    <a:pt x="2078241" y="200228"/>
                  </a:lnTo>
                  <a:lnTo>
                    <a:pt x="2078241" y="200876"/>
                  </a:lnTo>
                  <a:lnTo>
                    <a:pt x="2078292" y="200228"/>
                  </a:lnTo>
                  <a:lnTo>
                    <a:pt x="2078292" y="199530"/>
                  </a:lnTo>
                  <a:lnTo>
                    <a:pt x="2078292" y="200228"/>
                  </a:lnTo>
                  <a:lnTo>
                    <a:pt x="2078292" y="198831"/>
                  </a:lnTo>
                  <a:lnTo>
                    <a:pt x="2078292" y="199530"/>
                  </a:lnTo>
                  <a:lnTo>
                    <a:pt x="2078292" y="198831"/>
                  </a:lnTo>
                  <a:lnTo>
                    <a:pt x="2078343" y="198831"/>
                  </a:lnTo>
                  <a:lnTo>
                    <a:pt x="2078343" y="196799"/>
                  </a:lnTo>
                  <a:lnTo>
                    <a:pt x="2078343" y="197447"/>
                  </a:lnTo>
                  <a:lnTo>
                    <a:pt x="2078343" y="196799"/>
                  </a:lnTo>
                  <a:lnTo>
                    <a:pt x="2078444" y="196799"/>
                  </a:lnTo>
                  <a:lnTo>
                    <a:pt x="2078444" y="197447"/>
                  </a:lnTo>
                  <a:lnTo>
                    <a:pt x="2078444" y="196799"/>
                  </a:lnTo>
                  <a:lnTo>
                    <a:pt x="2078444" y="197447"/>
                  </a:lnTo>
                  <a:lnTo>
                    <a:pt x="2078495" y="197447"/>
                  </a:lnTo>
                  <a:lnTo>
                    <a:pt x="2078495" y="199530"/>
                  </a:lnTo>
                  <a:lnTo>
                    <a:pt x="2078495" y="197447"/>
                  </a:lnTo>
                  <a:lnTo>
                    <a:pt x="2078495" y="198831"/>
                  </a:lnTo>
                  <a:lnTo>
                    <a:pt x="2078546" y="199530"/>
                  </a:lnTo>
                  <a:lnTo>
                    <a:pt x="2078546" y="198831"/>
                  </a:lnTo>
                  <a:lnTo>
                    <a:pt x="2078546" y="199530"/>
                  </a:lnTo>
                  <a:lnTo>
                    <a:pt x="2078546" y="198831"/>
                  </a:lnTo>
                  <a:lnTo>
                    <a:pt x="2078546" y="199530"/>
                  </a:lnTo>
                  <a:lnTo>
                    <a:pt x="2078546" y="198831"/>
                  </a:lnTo>
                  <a:lnTo>
                    <a:pt x="2078546" y="199530"/>
                  </a:lnTo>
                  <a:lnTo>
                    <a:pt x="2078584" y="199530"/>
                  </a:lnTo>
                  <a:lnTo>
                    <a:pt x="2078584" y="198831"/>
                  </a:lnTo>
                  <a:lnTo>
                    <a:pt x="2078584" y="200228"/>
                  </a:lnTo>
                  <a:lnTo>
                    <a:pt x="2078584" y="199530"/>
                  </a:lnTo>
                  <a:lnTo>
                    <a:pt x="2078584" y="200228"/>
                  </a:lnTo>
                  <a:lnTo>
                    <a:pt x="2078584" y="199530"/>
                  </a:lnTo>
                  <a:lnTo>
                    <a:pt x="2078584" y="200228"/>
                  </a:lnTo>
                  <a:lnTo>
                    <a:pt x="2078686" y="200228"/>
                  </a:lnTo>
                  <a:lnTo>
                    <a:pt x="2078686" y="200876"/>
                  </a:lnTo>
                  <a:lnTo>
                    <a:pt x="2078686" y="199530"/>
                  </a:lnTo>
                  <a:lnTo>
                    <a:pt x="2078686" y="200228"/>
                  </a:lnTo>
                  <a:lnTo>
                    <a:pt x="2078737" y="200228"/>
                  </a:lnTo>
                  <a:lnTo>
                    <a:pt x="2078737" y="199530"/>
                  </a:lnTo>
                  <a:lnTo>
                    <a:pt x="2078737" y="200228"/>
                  </a:lnTo>
                  <a:lnTo>
                    <a:pt x="2078737" y="199530"/>
                  </a:lnTo>
                  <a:lnTo>
                    <a:pt x="2078737" y="200228"/>
                  </a:lnTo>
                  <a:lnTo>
                    <a:pt x="2078737" y="199530"/>
                  </a:lnTo>
                  <a:lnTo>
                    <a:pt x="2078737" y="200228"/>
                  </a:lnTo>
                  <a:lnTo>
                    <a:pt x="2078737" y="199530"/>
                  </a:lnTo>
                  <a:lnTo>
                    <a:pt x="2078737" y="200228"/>
                  </a:lnTo>
                  <a:lnTo>
                    <a:pt x="2078737" y="199530"/>
                  </a:lnTo>
                  <a:lnTo>
                    <a:pt x="2078737" y="200228"/>
                  </a:lnTo>
                  <a:lnTo>
                    <a:pt x="2078787" y="199530"/>
                  </a:lnTo>
                  <a:lnTo>
                    <a:pt x="2078787" y="198831"/>
                  </a:lnTo>
                  <a:lnTo>
                    <a:pt x="2078787" y="199530"/>
                  </a:lnTo>
                  <a:lnTo>
                    <a:pt x="2078787" y="197447"/>
                  </a:lnTo>
                  <a:lnTo>
                    <a:pt x="2078889" y="197447"/>
                  </a:lnTo>
                  <a:lnTo>
                    <a:pt x="2078889" y="196113"/>
                  </a:lnTo>
                  <a:lnTo>
                    <a:pt x="2078889" y="196799"/>
                  </a:lnTo>
                  <a:lnTo>
                    <a:pt x="2078889" y="196113"/>
                  </a:lnTo>
                  <a:lnTo>
                    <a:pt x="2078940" y="196113"/>
                  </a:lnTo>
                  <a:lnTo>
                    <a:pt x="2078940" y="197447"/>
                  </a:lnTo>
                  <a:lnTo>
                    <a:pt x="2078940" y="195415"/>
                  </a:lnTo>
                  <a:lnTo>
                    <a:pt x="2078990" y="196113"/>
                  </a:lnTo>
                  <a:lnTo>
                    <a:pt x="2078990" y="197447"/>
                  </a:lnTo>
                  <a:lnTo>
                    <a:pt x="2078990" y="196799"/>
                  </a:lnTo>
                  <a:lnTo>
                    <a:pt x="2078990" y="197447"/>
                  </a:lnTo>
                  <a:lnTo>
                    <a:pt x="2079041" y="197447"/>
                  </a:lnTo>
                  <a:lnTo>
                    <a:pt x="2079041" y="198831"/>
                  </a:lnTo>
                  <a:lnTo>
                    <a:pt x="2079041" y="197447"/>
                  </a:lnTo>
                  <a:lnTo>
                    <a:pt x="2079041" y="198831"/>
                  </a:lnTo>
                  <a:lnTo>
                    <a:pt x="2079130" y="198831"/>
                  </a:lnTo>
                  <a:lnTo>
                    <a:pt x="2079130" y="200228"/>
                  </a:lnTo>
                  <a:lnTo>
                    <a:pt x="2079181" y="199530"/>
                  </a:lnTo>
                  <a:lnTo>
                    <a:pt x="2079181" y="200228"/>
                  </a:lnTo>
                  <a:lnTo>
                    <a:pt x="2079181" y="199530"/>
                  </a:lnTo>
                  <a:lnTo>
                    <a:pt x="2079232" y="199530"/>
                  </a:lnTo>
                  <a:lnTo>
                    <a:pt x="2079232" y="200228"/>
                  </a:lnTo>
                  <a:lnTo>
                    <a:pt x="2079232" y="199530"/>
                  </a:lnTo>
                  <a:lnTo>
                    <a:pt x="2079232" y="200228"/>
                  </a:lnTo>
                  <a:lnTo>
                    <a:pt x="2079232" y="199530"/>
                  </a:lnTo>
                  <a:lnTo>
                    <a:pt x="2079283" y="199530"/>
                  </a:lnTo>
                  <a:lnTo>
                    <a:pt x="2079283" y="197447"/>
                  </a:lnTo>
                  <a:lnTo>
                    <a:pt x="2079283" y="198831"/>
                  </a:lnTo>
                  <a:lnTo>
                    <a:pt x="2079384" y="197447"/>
                  </a:lnTo>
                  <a:lnTo>
                    <a:pt x="2079384" y="196113"/>
                  </a:lnTo>
                  <a:lnTo>
                    <a:pt x="2079435" y="196113"/>
                  </a:lnTo>
                  <a:lnTo>
                    <a:pt x="2079435" y="197447"/>
                  </a:lnTo>
                  <a:lnTo>
                    <a:pt x="2079435" y="195415"/>
                  </a:lnTo>
                  <a:lnTo>
                    <a:pt x="2079435" y="196799"/>
                  </a:lnTo>
                  <a:lnTo>
                    <a:pt x="2079486" y="197447"/>
                  </a:lnTo>
                  <a:lnTo>
                    <a:pt x="2079486" y="196113"/>
                  </a:lnTo>
                  <a:lnTo>
                    <a:pt x="2079486" y="197447"/>
                  </a:lnTo>
                  <a:lnTo>
                    <a:pt x="2079587" y="197447"/>
                  </a:lnTo>
                  <a:lnTo>
                    <a:pt x="2079587" y="198831"/>
                  </a:lnTo>
                  <a:lnTo>
                    <a:pt x="2079587" y="196799"/>
                  </a:lnTo>
                  <a:lnTo>
                    <a:pt x="2079587" y="197447"/>
                  </a:lnTo>
                  <a:lnTo>
                    <a:pt x="2079625" y="197447"/>
                  </a:lnTo>
                  <a:lnTo>
                    <a:pt x="2079625" y="198831"/>
                  </a:lnTo>
                  <a:lnTo>
                    <a:pt x="2079625" y="197447"/>
                  </a:lnTo>
                  <a:lnTo>
                    <a:pt x="2079625" y="198831"/>
                  </a:lnTo>
                  <a:lnTo>
                    <a:pt x="2079625" y="197447"/>
                  </a:lnTo>
                  <a:lnTo>
                    <a:pt x="2079676" y="198831"/>
                  </a:lnTo>
                  <a:lnTo>
                    <a:pt x="2079676" y="197447"/>
                  </a:lnTo>
                  <a:lnTo>
                    <a:pt x="2079676" y="198831"/>
                  </a:lnTo>
                  <a:lnTo>
                    <a:pt x="2079676" y="197447"/>
                  </a:lnTo>
                  <a:lnTo>
                    <a:pt x="2079676" y="198831"/>
                  </a:lnTo>
                  <a:lnTo>
                    <a:pt x="2079829" y="198831"/>
                  </a:lnTo>
                  <a:lnTo>
                    <a:pt x="2079829" y="197447"/>
                  </a:lnTo>
                  <a:lnTo>
                    <a:pt x="2079829" y="198831"/>
                  </a:lnTo>
                  <a:lnTo>
                    <a:pt x="2079829" y="197447"/>
                  </a:lnTo>
                  <a:lnTo>
                    <a:pt x="2079829" y="198831"/>
                  </a:lnTo>
                  <a:lnTo>
                    <a:pt x="2079829" y="197447"/>
                  </a:lnTo>
                  <a:lnTo>
                    <a:pt x="2079880" y="197447"/>
                  </a:lnTo>
                  <a:lnTo>
                    <a:pt x="2079880" y="198831"/>
                  </a:lnTo>
                  <a:lnTo>
                    <a:pt x="2079880" y="196113"/>
                  </a:lnTo>
                  <a:lnTo>
                    <a:pt x="2079880" y="197447"/>
                  </a:lnTo>
                  <a:lnTo>
                    <a:pt x="2079930" y="197447"/>
                  </a:lnTo>
                  <a:lnTo>
                    <a:pt x="2079930" y="196113"/>
                  </a:lnTo>
                  <a:lnTo>
                    <a:pt x="2079930" y="199530"/>
                  </a:lnTo>
                  <a:lnTo>
                    <a:pt x="2080032" y="199530"/>
                  </a:lnTo>
                  <a:lnTo>
                    <a:pt x="2080032" y="196799"/>
                  </a:lnTo>
                  <a:lnTo>
                    <a:pt x="2080032" y="199530"/>
                  </a:lnTo>
                  <a:lnTo>
                    <a:pt x="2080083" y="199530"/>
                  </a:lnTo>
                  <a:lnTo>
                    <a:pt x="2080083" y="197447"/>
                  </a:lnTo>
                  <a:lnTo>
                    <a:pt x="2080083" y="199530"/>
                  </a:lnTo>
                  <a:lnTo>
                    <a:pt x="2080134" y="199530"/>
                  </a:lnTo>
                  <a:lnTo>
                    <a:pt x="2080134" y="198831"/>
                  </a:lnTo>
                  <a:lnTo>
                    <a:pt x="2080134" y="199530"/>
                  </a:lnTo>
                  <a:lnTo>
                    <a:pt x="2080172" y="199530"/>
                  </a:lnTo>
                  <a:lnTo>
                    <a:pt x="2080172" y="200228"/>
                  </a:lnTo>
                  <a:lnTo>
                    <a:pt x="2080172" y="198831"/>
                  </a:lnTo>
                  <a:lnTo>
                    <a:pt x="2080172" y="199530"/>
                  </a:lnTo>
                  <a:lnTo>
                    <a:pt x="2080273" y="199530"/>
                  </a:lnTo>
                  <a:lnTo>
                    <a:pt x="2080273" y="200228"/>
                  </a:lnTo>
                  <a:lnTo>
                    <a:pt x="2080273" y="199530"/>
                  </a:lnTo>
                  <a:lnTo>
                    <a:pt x="2080324" y="199530"/>
                  </a:lnTo>
                  <a:lnTo>
                    <a:pt x="2080324" y="198831"/>
                  </a:lnTo>
                  <a:lnTo>
                    <a:pt x="2080324" y="199530"/>
                  </a:lnTo>
                  <a:lnTo>
                    <a:pt x="2080324" y="198831"/>
                  </a:lnTo>
                  <a:lnTo>
                    <a:pt x="2080375" y="198831"/>
                  </a:lnTo>
                  <a:lnTo>
                    <a:pt x="2080375" y="197447"/>
                  </a:lnTo>
                  <a:lnTo>
                    <a:pt x="2080375" y="199530"/>
                  </a:lnTo>
                  <a:lnTo>
                    <a:pt x="2080375" y="197447"/>
                  </a:lnTo>
                  <a:lnTo>
                    <a:pt x="2080476" y="197447"/>
                  </a:lnTo>
                  <a:lnTo>
                    <a:pt x="2080476" y="200876"/>
                  </a:lnTo>
                  <a:lnTo>
                    <a:pt x="2080476" y="199530"/>
                  </a:lnTo>
                  <a:lnTo>
                    <a:pt x="2080476" y="200228"/>
                  </a:lnTo>
                  <a:lnTo>
                    <a:pt x="2080527" y="200228"/>
                  </a:lnTo>
                  <a:lnTo>
                    <a:pt x="2080527" y="200876"/>
                  </a:lnTo>
                  <a:lnTo>
                    <a:pt x="2080527" y="200228"/>
                  </a:lnTo>
                  <a:lnTo>
                    <a:pt x="2080527" y="200876"/>
                  </a:lnTo>
                  <a:lnTo>
                    <a:pt x="2080527" y="200228"/>
                  </a:lnTo>
                  <a:lnTo>
                    <a:pt x="2080578" y="200228"/>
                  </a:lnTo>
                  <a:lnTo>
                    <a:pt x="2080578" y="202260"/>
                  </a:lnTo>
                  <a:lnTo>
                    <a:pt x="2080578" y="200228"/>
                  </a:lnTo>
                  <a:lnTo>
                    <a:pt x="2080578" y="200876"/>
                  </a:lnTo>
                  <a:lnTo>
                    <a:pt x="2080578" y="200228"/>
                  </a:lnTo>
                  <a:lnTo>
                    <a:pt x="2080629" y="200876"/>
                  </a:lnTo>
                  <a:lnTo>
                    <a:pt x="2080629" y="200228"/>
                  </a:lnTo>
                  <a:lnTo>
                    <a:pt x="2080718" y="200228"/>
                  </a:lnTo>
                  <a:lnTo>
                    <a:pt x="2080718" y="199530"/>
                  </a:lnTo>
                  <a:lnTo>
                    <a:pt x="2080718" y="200228"/>
                  </a:lnTo>
                  <a:lnTo>
                    <a:pt x="2080718" y="199530"/>
                  </a:lnTo>
                  <a:lnTo>
                    <a:pt x="2080718" y="200228"/>
                  </a:lnTo>
                  <a:lnTo>
                    <a:pt x="2080718" y="199530"/>
                  </a:lnTo>
                  <a:lnTo>
                    <a:pt x="2080718" y="200228"/>
                  </a:lnTo>
                  <a:lnTo>
                    <a:pt x="2080769" y="199530"/>
                  </a:lnTo>
                  <a:lnTo>
                    <a:pt x="2080769" y="198831"/>
                  </a:lnTo>
                  <a:lnTo>
                    <a:pt x="2080769" y="199530"/>
                  </a:lnTo>
                  <a:lnTo>
                    <a:pt x="2080769" y="198831"/>
                  </a:lnTo>
                  <a:lnTo>
                    <a:pt x="2080769" y="199530"/>
                  </a:lnTo>
                  <a:lnTo>
                    <a:pt x="2080769" y="198831"/>
                  </a:lnTo>
                  <a:lnTo>
                    <a:pt x="2080819" y="198831"/>
                  </a:lnTo>
                  <a:lnTo>
                    <a:pt x="2080819" y="196799"/>
                  </a:lnTo>
                  <a:lnTo>
                    <a:pt x="2080819" y="197447"/>
                  </a:lnTo>
                  <a:lnTo>
                    <a:pt x="2080819" y="196799"/>
                  </a:lnTo>
                  <a:lnTo>
                    <a:pt x="2080819" y="197447"/>
                  </a:lnTo>
                  <a:lnTo>
                    <a:pt x="2080819" y="196113"/>
                  </a:lnTo>
                  <a:lnTo>
                    <a:pt x="2080870" y="196113"/>
                  </a:lnTo>
                  <a:lnTo>
                    <a:pt x="2080870" y="197447"/>
                  </a:lnTo>
                  <a:lnTo>
                    <a:pt x="2080870" y="196799"/>
                  </a:lnTo>
                  <a:lnTo>
                    <a:pt x="2080870" y="197447"/>
                  </a:lnTo>
                  <a:lnTo>
                    <a:pt x="2080870" y="196113"/>
                  </a:lnTo>
                  <a:lnTo>
                    <a:pt x="2080870" y="196799"/>
                  </a:lnTo>
                  <a:lnTo>
                    <a:pt x="2080972" y="196799"/>
                  </a:lnTo>
                  <a:lnTo>
                    <a:pt x="2080972" y="199530"/>
                  </a:lnTo>
                  <a:lnTo>
                    <a:pt x="2080972" y="197447"/>
                  </a:lnTo>
                  <a:lnTo>
                    <a:pt x="2080972" y="198831"/>
                  </a:lnTo>
                  <a:lnTo>
                    <a:pt x="2081022" y="199530"/>
                  </a:lnTo>
                  <a:lnTo>
                    <a:pt x="2081022" y="200228"/>
                  </a:lnTo>
                  <a:lnTo>
                    <a:pt x="2081022" y="199530"/>
                  </a:lnTo>
                  <a:lnTo>
                    <a:pt x="2081073" y="199530"/>
                  </a:lnTo>
                  <a:lnTo>
                    <a:pt x="2081073" y="200228"/>
                  </a:lnTo>
                  <a:lnTo>
                    <a:pt x="2081175" y="200228"/>
                  </a:lnTo>
                  <a:lnTo>
                    <a:pt x="2081175" y="200876"/>
                  </a:lnTo>
                  <a:lnTo>
                    <a:pt x="2081175" y="200228"/>
                  </a:lnTo>
                  <a:lnTo>
                    <a:pt x="2081175" y="200876"/>
                  </a:lnTo>
                  <a:lnTo>
                    <a:pt x="2081175" y="200228"/>
                  </a:lnTo>
                  <a:lnTo>
                    <a:pt x="2081175" y="200876"/>
                  </a:lnTo>
                  <a:lnTo>
                    <a:pt x="2081175" y="200228"/>
                  </a:lnTo>
                  <a:lnTo>
                    <a:pt x="2081264" y="200228"/>
                  </a:lnTo>
                  <a:lnTo>
                    <a:pt x="2081264" y="199530"/>
                  </a:lnTo>
                  <a:lnTo>
                    <a:pt x="2081264" y="200228"/>
                  </a:lnTo>
                  <a:lnTo>
                    <a:pt x="2081264" y="199530"/>
                  </a:lnTo>
                  <a:lnTo>
                    <a:pt x="2081264" y="200228"/>
                  </a:lnTo>
                  <a:lnTo>
                    <a:pt x="2081264" y="198831"/>
                  </a:lnTo>
                  <a:lnTo>
                    <a:pt x="2081315" y="198831"/>
                  </a:lnTo>
                  <a:lnTo>
                    <a:pt x="2081315" y="196799"/>
                  </a:lnTo>
                  <a:lnTo>
                    <a:pt x="2081315" y="197447"/>
                  </a:lnTo>
                  <a:lnTo>
                    <a:pt x="2081315" y="196799"/>
                  </a:lnTo>
                  <a:lnTo>
                    <a:pt x="2081315" y="197447"/>
                  </a:lnTo>
                  <a:lnTo>
                    <a:pt x="2081416" y="198831"/>
                  </a:lnTo>
                  <a:lnTo>
                    <a:pt x="2081416" y="197447"/>
                  </a:lnTo>
                  <a:lnTo>
                    <a:pt x="2081416" y="198831"/>
                  </a:lnTo>
                  <a:lnTo>
                    <a:pt x="2081416" y="197447"/>
                  </a:lnTo>
                  <a:lnTo>
                    <a:pt x="2081416" y="200228"/>
                  </a:lnTo>
                  <a:lnTo>
                    <a:pt x="2081416" y="199530"/>
                  </a:lnTo>
                  <a:lnTo>
                    <a:pt x="2081467" y="199530"/>
                  </a:lnTo>
                  <a:lnTo>
                    <a:pt x="2081467" y="198831"/>
                  </a:lnTo>
                  <a:lnTo>
                    <a:pt x="2081467" y="200228"/>
                  </a:lnTo>
                  <a:lnTo>
                    <a:pt x="2081518" y="199530"/>
                  </a:lnTo>
                  <a:lnTo>
                    <a:pt x="2081518" y="200228"/>
                  </a:lnTo>
                  <a:lnTo>
                    <a:pt x="2081518" y="199530"/>
                  </a:lnTo>
                  <a:lnTo>
                    <a:pt x="2081518" y="200228"/>
                  </a:lnTo>
                  <a:lnTo>
                    <a:pt x="2081518" y="199530"/>
                  </a:lnTo>
                  <a:lnTo>
                    <a:pt x="2081619" y="200228"/>
                  </a:lnTo>
                  <a:lnTo>
                    <a:pt x="2081619" y="199530"/>
                  </a:lnTo>
                  <a:lnTo>
                    <a:pt x="2081619" y="200228"/>
                  </a:lnTo>
                  <a:lnTo>
                    <a:pt x="2081619" y="199530"/>
                  </a:lnTo>
                  <a:lnTo>
                    <a:pt x="2081619" y="200228"/>
                  </a:lnTo>
                  <a:lnTo>
                    <a:pt x="2081619" y="199530"/>
                  </a:lnTo>
                  <a:lnTo>
                    <a:pt x="2081619" y="200876"/>
                  </a:lnTo>
                  <a:lnTo>
                    <a:pt x="2081619" y="200228"/>
                  </a:lnTo>
                  <a:lnTo>
                    <a:pt x="2081670" y="200228"/>
                  </a:lnTo>
                  <a:lnTo>
                    <a:pt x="2081670" y="200876"/>
                  </a:lnTo>
                  <a:lnTo>
                    <a:pt x="2081670" y="200228"/>
                  </a:lnTo>
                  <a:lnTo>
                    <a:pt x="2081721" y="200228"/>
                  </a:lnTo>
                  <a:lnTo>
                    <a:pt x="2081721" y="199530"/>
                  </a:lnTo>
                  <a:lnTo>
                    <a:pt x="2081721" y="200228"/>
                  </a:lnTo>
                  <a:lnTo>
                    <a:pt x="2081721" y="199530"/>
                  </a:lnTo>
                  <a:lnTo>
                    <a:pt x="2081721" y="200228"/>
                  </a:lnTo>
                  <a:lnTo>
                    <a:pt x="2081721" y="199530"/>
                  </a:lnTo>
                  <a:lnTo>
                    <a:pt x="2081721" y="200228"/>
                  </a:lnTo>
                  <a:lnTo>
                    <a:pt x="2081759" y="200228"/>
                  </a:lnTo>
                  <a:lnTo>
                    <a:pt x="2081759" y="198831"/>
                  </a:lnTo>
                  <a:lnTo>
                    <a:pt x="2081759" y="199530"/>
                  </a:lnTo>
                  <a:lnTo>
                    <a:pt x="2081759" y="197447"/>
                  </a:lnTo>
                  <a:lnTo>
                    <a:pt x="2081759" y="198831"/>
                  </a:lnTo>
                  <a:lnTo>
                    <a:pt x="2081861" y="197447"/>
                  </a:lnTo>
                  <a:lnTo>
                    <a:pt x="2081861" y="196113"/>
                  </a:lnTo>
                  <a:lnTo>
                    <a:pt x="2081861" y="196799"/>
                  </a:lnTo>
                  <a:lnTo>
                    <a:pt x="2081861" y="195415"/>
                  </a:lnTo>
                  <a:lnTo>
                    <a:pt x="2081912" y="195415"/>
                  </a:lnTo>
                  <a:lnTo>
                    <a:pt x="2081912" y="197447"/>
                  </a:lnTo>
                  <a:lnTo>
                    <a:pt x="2081912" y="196113"/>
                  </a:lnTo>
                  <a:lnTo>
                    <a:pt x="2081912" y="197447"/>
                  </a:lnTo>
                  <a:lnTo>
                    <a:pt x="2081962" y="197447"/>
                  </a:lnTo>
                  <a:lnTo>
                    <a:pt x="2081962" y="198831"/>
                  </a:lnTo>
                  <a:lnTo>
                    <a:pt x="2081962" y="196799"/>
                  </a:lnTo>
                  <a:lnTo>
                    <a:pt x="2081962" y="198831"/>
                  </a:lnTo>
                  <a:lnTo>
                    <a:pt x="2082064" y="198831"/>
                  </a:lnTo>
                  <a:lnTo>
                    <a:pt x="2082064" y="197447"/>
                  </a:lnTo>
                  <a:lnTo>
                    <a:pt x="2082064" y="199530"/>
                  </a:lnTo>
                  <a:lnTo>
                    <a:pt x="2082115" y="199530"/>
                  </a:lnTo>
                  <a:lnTo>
                    <a:pt x="2082115" y="198831"/>
                  </a:lnTo>
                  <a:lnTo>
                    <a:pt x="2082115" y="199530"/>
                  </a:lnTo>
                  <a:lnTo>
                    <a:pt x="2082115" y="198831"/>
                  </a:lnTo>
                  <a:lnTo>
                    <a:pt x="2082115" y="200228"/>
                  </a:lnTo>
                  <a:lnTo>
                    <a:pt x="2082216" y="200228"/>
                  </a:lnTo>
                  <a:lnTo>
                    <a:pt x="2082216" y="200876"/>
                  </a:lnTo>
                  <a:lnTo>
                    <a:pt x="2082216" y="200228"/>
                  </a:lnTo>
                  <a:lnTo>
                    <a:pt x="2082216" y="200876"/>
                  </a:lnTo>
                  <a:lnTo>
                    <a:pt x="2082216" y="200228"/>
                  </a:lnTo>
                  <a:lnTo>
                    <a:pt x="2082216" y="200876"/>
                  </a:lnTo>
                  <a:lnTo>
                    <a:pt x="2082216" y="200228"/>
                  </a:lnTo>
                  <a:lnTo>
                    <a:pt x="2082305" y="200228"/>
                  </a:lnTo>
                  <a:lnTo>
                    <a:pt x="2082305" y="198831"/>
                  </a:lnTo>
                  <a:lnTo>
                    <a:pt x="2082356" y="198831"/>
                  </a:lnTo>
                  <a:lnTo>
                    <a:pt x="2082356" y="199530"/>
                  </a:lnTo>
                  <a:lnTo>
                    <a:pt x="2082356" y="196113"/>
                  </a:lnTo>
                  <a:lnTo>
                    <a:pt x="2082356" y="197447"/>
                  </a:lnTo>
                  <a:lnTo>
                    <a:pt x="2082356" y="196799"/>
                  </a:lnTo>
                  <a:lnTo>
                    <a:pt x="2082356" y="197447"/>
                  </a:lnTo>
                  <a:lnTo>
                    <a:pt x="2082407" y="197447"/>
                  </a:lnTo>
                  <a:lnTo>
                    <a:pt x="2082407" y="196113"/>
                  </a:lnTo>
                  <a:lnTo>
                    <a:pt x="2082407" y="198831"/>
                  </a:lnTo>
                  <a:lnTo>
                    <a:pt x="2082458" y="197447"/>
                  </a:lnTo>
                  <a:lnTo>
                    <a:pt x="2082458" y="196799"/>
                  </a:lnTo>
                  <a:lnTo>
                    <a:pt x="2082458" y="198831"/>
                  </a:lnTo>
                  <a:lnTo>
                    <a:pt x="2082559" y="198831"/>
                  </a:lnTo>
                  <a:lnTo>
                    <a:pt x="2082559" y="197447"/>
                  </a:lnTo>
                  <a:lnTo>
                    <a:pt x="2082559" y="198831"/>
                  </a:lnTo>
                  <a:lnTo>
                    <a:pt x="2082559" y="197447"/>
                  </a:lnTo>
                  <a:lnTo>
                    <a:pt x="2082610" y="197447"/>
                  </a:lnTo>
                  <a:lnTo>
                    <a:pt x="2082610" y="198831"/>
                  </a:lnTo>
                  <a:lnTo>
                    <a:pt x="2082610" y="197447"/>
                  </a:lnTo>
                  <a:lnTo>
                    <a:pt x="2082610" y="198831"/>
                  </a:lnTo>
                  <a:lnTo>
                    <a:pt x="2082661" y="198831"/>
                  </a:lnTo>
                  <a:lnTo>
                    <a:pt x="2082661" y="199530"/>
                  </a:lnTo>
                  <a:lnTo>
                    <a:pt x="2082661" y="198831"/>
                  </a:lnTo>
                  <a:lnTo>
                    <a:pt x="2082661" y="199530"/>
                  </a:lnTo>
                  <a:lnTo>
                    <a:pt x="2082661" y="198831"/>
                  </a:lnTo>
                  <a:lnTo>
                    <a:pt x="2082762" y="198831"/>
                  </a:lnTo>
                  <a:lnTo>
                    <a:pt x="2082762" y="199530"/>
                  </a:lnTo>
                  <a:lnTo>
                    <a:pt x="2082762" y="198831"/>
                  </a:lnTo>
                  <a:lnTo>
                    <a:pt x="2082762" y="199530"/>
                  </a:lnTo>
                  <a:lnTo>
                    <a:pt x="2082762" y="198831"/>
                  </a:lnTo>
                  <a:lnTo>
                    <a:pt x="2082800" y="198831"/>
                  </a:lnTo>
                  <a:lnTo>
                    <a:pt x="2082800" y="197447"/>
                  </a:lnTo>
                  <a:lnTo>
                    <a:pt x="2082851" y="197447"/>
                  </a:lnTo>
                  <a:lnTo>
                    <a:pt x="2082851" y="196799"/>
                  </a:lnTo>
                  <a:lnTo>
                    <a:pt x="2082851" y="198831"/>
                  </a:lnTo>
                  <a:lnTo>
                    <a:pt x="2082902" y="198831"/>
                  </a:lnTo>
                  <a:lnTo>
                    <a:pt x="2082902" y="196799"/>
                  </a:lnTo>
                  <a:lnTo>
                    <a:pt x="2082902" y="200228"/>
                  </a:lnTo>
                  <a:lnTo>
                    <a:pt x="2082902" y="198831"/>
                  </a:lnTo>
                  <a:lnTo>
                    <a:pt x="2083004" y="198831"/>
                  </a:lnTo>
                  <a:lnTo>
                    <a:pt x="2083004" y="197447"/>
                  </a:lnTo>
                  <a:lnTo>
                    <a:pt x="2083004" y="199530"/>
                  </a:lnTo>
                  <a:lnTo>
                    <a:pt x="2083004" y="198831"/>
                  </a:lnTo>
                  <a:lnTo>
                    <a:pt x="2083055" y="198831"/>
                  </a:lnTo>
                  <a:lnTo>
                    <a:pt x="2083055" y="199530"/>
                  </a:lnTo>
                  <a:lnTo>
                    <a:pt x="2083055" y="198831"/>
                  </a:lnTo>
                  <a:lnTo>
                    <a:pt x="2083055" y="199530"/>
                  </a:lnTo>
                  <a:lnTo>
                    <a:pt x="2083055" y="198831"/>
                  </a:lnTo>
                  <a:lnTo>
                    <a:pt x="2083055" y="199530"/>
                  </a:lnTo>
                  <a:lnTo>
                    <a:pt x="2083055" y="198831"/>
                  </a:lnTo>
                  <a:lnTo>
                    <a:pt x="2083105" y="198831"/>
                  </a:lnTo>
                  <a:lnTo>
                    <a:pt x="2083105" y="200228"/>
                  </a:lnTo>
                  <a:lnTo>
                    <a:pt x="2083105" y="199530"/>
                  </a:lnTo>
                  <a:lnTo>
                    <a:pt x="2083207" y="199530"/>
                  </a:lnTo>
                  <a:lnTo>
                    <a:pt x="2083207" y="200228"/>
                  </a:lnTo>
                  <a:lnTo>
                    <a:pt x="2083258" y="200228"/>
                  </a:lnTo>
                  <a:lnTo>
                    <a:pt x="2083258" y="199530"/>
                  </a:lnTo>
                  <a:lnTo>
                    <a:pt x="2083258" y="200228"/>
                  </a:lnTo>
                  <a:lnTo>
                    <a:pt x="2083258" y="199530"/>
                  </a:lnTo>
                  <a:lnTo>
                    <a:pt x="2083309" y="199530"/>
                  </a:lnTo>
                  <a:lnTo>
                    <a:pt x="2083309" y="198831"/>
                  </a:lnTo>
                  <a:lnTo>
                    <a:pt x="2083309" y="199530"/>
                  </a:lnTo>
                  <a:lnTo>
                    <a:pt x="2083309" y="196799"/>
                  </a:lnTo>
                  <a:lnTo>
                    <a:pt x="2083347" y="196799"/>
                  </a:lnTo>
                  <a:lnTo>
                    <a:pt x="2083347" y="199530"/>
                  </a:lnTo>
                  <a:lnTo>
                    <a:pt x="2083347" y="198831"/>
                  </a:lnTo>
                  <a:lnTo>
                    <a:pt x="2083347" y="199530"/>
                  </a:lnTo>
                  <a:lnTo>
                    <a:pt x="2083448" y="200228"/>
                  </a:lnTo>
                  <a:lnTo>
                    <a:pt x="2083448" y="200876"/>
                  </a:lnTo>
                  <a:lnTo>
                    <a:pt x="2083448" y="200228"/>
                  </a:lnTo>
                  <a:lnTo>
                    <a:pt x="2083448" y="200876"/>
                  </a:lnTo>
                  <a:lnTo>
                    <a:pt x="2083499" y="200876"/>
                  </a:lnTo>
                  <a:lnTo>
                    <a:pt x="2083499" y="200228"/>
                  </a:lnTo>
                  <a:lnTo>
                    <a:pt x="2083499" y="200876"/>
                  </a:lnTo>
                  <a:lnTo>
                    <a:pt x="2083499" y="200228"/>
                  </a:lnTo>
                  <a:lnTo>
                    <a:pt x="2083499" y="200876"/>
                  </a:lnTo>
                  <a:lnTo>
                    <a:pt x="2083550" y="200876"/>
                  </a:lnTo>
                  <a:lnTo>
                    <a:pt x="2083550" y="200228"/>
                  </a:lnTo>
                  <a:lnTo>
                    <a:pt x="2083550" y="200876"/>
                  </a:lnTo>
                  <a:lnTo>
                    <a:pt x="2083651" y="200876"/>
                  </a:lnTo>
                  <a:lnTo>
                    <a:pt x="2083651" y="200228"/>
                  </a:lnTo>
                  <a:lnTo>
                    <a:pt x="2083651" y="200876"/>
                  </a:lnTo>
                  <a:lnTo>
                    <a:pt x="2083651" y="200228"/>
                  </a:lnTo>
                  <a:lnTo>
                    <a:pt x="2083702" y="200228"/>
                  </a:lnTo>
                  <a:lnTo>
                    <a:pt x="2083702" y="200876"/>
                  </a:lnTo>
                  <a:lnTo>
                    <a:pt x="2083702" y="199530"/>
                  </a:lnTo>
                  <a:lnTo>
                    <a:pt x="2083753" y="199530"/>
                  </a:lnTo>
                  <a:lnTo>
                    <a:pt x="2083753" y="197447"/>
                  </a:lnTo>
                  <a:lnTo>
                    <a:pt x="2083753" y="198831"/>
                  </a:lnTo>
                  <a:lnTo>
                    <a:pt x="2083753" y="197447"/>
                  </a:lnTo>
                  <a:lnTo>
                    <a:pt x="2083753" y="198831"/>
                  </a:lnTo>
                  <a:lnTo>
                    <a:pt x="2083804" y="197447"/>
                  </a:lnTo>
                  <a:lnTo>
                    <a:pt x="2083804" y="195415"/>
                  </a:lnTo>
                  <a:lnTo>
                    <a:pt x="2083893" y="195415"/>
                  </a:lnTo>
                  <a:lnTo>
                    <a:pt x="2083893" y="197447"/>
                  </a:lnTo>
                  <a:lnTo>
                    <a:pt x="2083893" y="196113"/>
                  </a:lnTo>
                  <a:lnTo>
                    <a:pt x="2083893" y="197447"/>
                  </a:lnTo>
                  <a:lnTo>
                    <a:pt x="2083944" y="197447"/>
                  </a:lnTo>
                  <a:lnTo>
                    <a:pt x="2083944" y="199530"/>
                  </a:lnTo>
                  <a:lnTo>
                    <a:pt x="2083944" y="198831"/>
                  </a:lnTo>
                  <a:lnTo>
                    <a:pt x="2083944" y="199530"/>
                  </a:lnTo>
                  <a:lnTo>
                    <a:pt x="2083994" y="200228"/>
                  </a:lnTo>
                  <a:lnTo>
                    <a:pt x="2083994" y="199530"/>
                  </a:lnTo>
                  <a:lnTo>
                    <a:pt x="2083994" y="200228"/>
                  </a:lnTo>
                  <a:lnTo>
                    <a:pt x="2083994" y="199530"/>
                  </a:lnTo>
                  <a:lnTo>
                    <a:pt x="2083994" y="200228"/>
                  </a:lnTo>
                  <a:lnTo>
                    <a:pt x="2083994" y="199530"/>
                  </a:lnTo>
                  <a:lnTo>
                    <a:pt x="2084045" y="199530"/>
                  </a:lnTo>
                  <a:lnTo>
                    <a:pt x="2084045" y="200228"/>
                  </a:lnTo>
                  <a:lnTo>
                    <a:pt x="2084045" y="199530"/>
                  </a:lnTo>
                  <a:lnTo>
                    <a:pt x="2084045" y="200228"/>
                  </a:lnTo>
                  <a:lnTo>
                    <a:pt x="2084045" y="199530"/>
                  </a:lnTo>
                  <a:lnTo>
                    <a:pt x="2084045" y="200228"/>
                  </a:lnTo>
                  <a:lnTo>
                    <a:pt x="2084147" y="200228"/>
                  </a:lnTo>
                  <a:lnTo>
                    <a:pt x="2084147" y="200876"/>
                  </a:lnTo>
                  <a:lnTo>
                    <a:pt x="2084147" y="200228"/>
                  </a:lnTo>
                  <a:lnTo>
                    <a:pt x="2084197" y="200228"/>
                  </a:lnTo>
                  <a:lnTo>
                    <a:pt x="2084197" y="200876"/>
                  </a:lnTo>
                  <a:lnTo>
                    <a:pt x="2084197" y="199530"/>
                  </a:lnTo>
                  <a:lnTo>
                    <a:pt x="2084248" y="199530"/>
                  </a:lnTo>
                  <a:lnTo>
                    <a:pt x="2084248" y="200228"/>
                  </a:lnTo>
                  <a:lnTo>
                    <a:pt x="2084248" y="198831"/>
                  </a:lnTo>
                  <a:lnTo>
                    <a:pt x="2084248" y="199530"/>
                  </a:lnTo>
                  <a:lnTo>
                    <a:pt x="2084248" y="198831"/>
                  </a:lnTo>
                  <a:lnTo>
                    <a:pt x="2084350" y="198831"/>
                  </a:lnTo>
                  <a:lnTo>
                    <a:pt x="2084350" y="196799"/>
                  </a:lnTo>
                  <a:lnTo>
                    <a:pt x="2084350" y="199530"/>
                  </a:lnTo>
                  <a:lnTo>
                    <a:pt x="2084350" y="198831"/>
                  </a:lnTo>
                  <a:lnTo>
                    <a:pt x="2084388" y="197447"/>
                  </a:lnTo>
                  <a:lnTo>
                    <a:pt x="2084388" y="196799"/>
                  </a:lnTo>
                  <a:lnTo>
                    <a:pt x="2084388" y="200228"/>
                  </a:lnTo>
                  <a:lnTo>
                    <a:pt x="2084388" y="199530"/>
                  </a:lnTo>
                  <a:lnTo>
                    <a:pt x="2084439" y="199530"/>
                  </a:lnTo>
                  <a:lnTo>
                    <a:pt x="2084439" y="198831"/>
                  </a:lnTo>
                  <a:lnTo>
                    <a:pt x="2084439" y="200228"/>
                  </a:lnTo>
                  <a:lnTo>
                    <a:pt x="2084439" y="199530"/>
                  </a:lnTo>
                  <a:lnTo>
                    <a:pt x="2084490" y="198831"/>
                  </a:lnTo>
                  <a:lnTo>
                    <a:pt x="2084490" y="200228"/>
                  </a:lnTo>
                  <a:lnTo>
                    <a:pt x="2084490" y="199530"/>
                  </a:lnTo>
                  <a:lnTo>
                    <a:pt x="2084591" y="199530"/>
                  </a:lnTo>
                  <a:lnTo>
                    <a:pt x="2084591" y="200228"/>
                  </a:lnTo>
                  <a:lnTo>
                    <a:pt x="2084642" y="200228"/>
                  </a:lnTo>
                  <a:lnTo>
                    <a:pt x="2084642" y="200876"/>
                  </a:lnTo>
                  <a:lnTo>
                    <a:pt x="2084642" y="200228"/>
                  </a:lnTo>
                  <a:lnTo>
                    <a:pt x="2084642" y="200876"/>
                  </a:lnTo>
                  <a:lnTo>
                    <a:pt x="2084642" y="200228"/>
                  </a:lnTo>
                  <a:lnTo>
                    <a:pt x="2084642" y="200876"/>
                  </a:lnTo>
                  <a:lnTo>
                    <a:pt x="2084642" y="200228"/>
                  </a:lnTo>
                  <a:lnTo>
                    <a:pt x="2084642" y="200876"/>
                  </a:lnTo>
                  <a:lnTo>
                    <a:pt x="2084642" y="200228"/>
                  </a:lnTo>
                  <a:lnTo>
                    <a:pt x="2084642" y="200876"/>
                  </a:lnTo>
                  <a:lnTo>
                    <a:pt x="2084642" y="200228"/>
                  </a:lnTo>
                  <a:lnTo>
                    <a:pt x="2084642" y="200876"/>
                  </a:lnTo>
                  <a:lnTo>
                    <a:pt x="2084693" y="200876"/>
                  </a:lnTo>
                  <a:lnTo>
                    <a:pt x="2084693" y="199530"/>
                  </a:lnTo>
                  <a:lnTo>
                    <a:pt x="2084693" y="200228"/>
                  </a:lnTo>
                  <a:lnTo>
                    <a:pt x="2084693" y="199530"/>
                  </a:lnTo>
                  <a:lnTo>
                    <a:pt x="2084794" y="199530"/>
                  </a:lnTo>
                  <a:lnTo>
                    <a:pt x="2084794" y="197447"/>
                  </a:lnTo>
                  <a:lnTo>
                    <a:pt x="2084845" y="197447"/>
                  </a:lnTo>
                  <a:lnTo>
                    <a:pt x="2084845" y="196799"/>
                  </a:lnTo>
                  <a:lnTo>
                    <a:pt x="2084845" y="197447"/>
                  </a:lnTo>
                  <a:lnTo>
                    <a:pt x="2084845" y="196113"/>
                  </a:lnTo>
                  <a:lnTo>
                    <a:pt x="2084845" y="196799"/>
                  </a:lnTo>
                  <a:lnTo>
                    <a:pt x="2084896" y="196799"/>
                  </a:lnTo>
                  <a:lnTo>
                    <a:pt x="2084896" y="196113"/>
                  </a:lnTo>
                  <a:lnTo>
                    <a:pt x="2084896" y="198831"/>
                  </a:lnTo>
                  <a:lnTo>
                    <a:pt x="2084934" y="198831"/>
                  </a:lnTo>
                  <a:lnTo>
                    <a:pt x="2084934" y="197447"/>
                  </a:lnTo>
                  <a:lnTo>
                    <a:pt x="2084934" y="199530"/>
                  </a:lnTo>
                  <a:lnTo>
                    <a:pt x="2084934" y="198831"/>
                  </a:lnTo>
                  <a:lnTo>
                    <a:pt x="2085036" y="198831"/>
                  </a:lnTo>
                  <a:lnTo>
                    <a:pt x="2085036" y="197447"/>
                  </a:lnTo>
                  <a:lnTo>
                    <a:pt x="2085036" y="198831"/>
                  </a:lnTo>
                  <a:lnTo>
                    <a:pt x="2085087" y="198831"/>
                  </a:lnTo>
                  <a:lnTo>
                    <a:pt x="2085087" y="199530"/>
                  </a:lnTo>
                  <a:lnTo>
                    <a:pt x="2085137" y="199530"/>
                  </a:lnTo>
                  <a:lnTo>
                    <a:pt x="2085137" y="200228"/>
                  </a:lnTo>
                  <a:lnTo>
                    <a:pt x="2085137" y="199530"/>
                  </a:lnTo>
                  <a:lnTo>
                    <a:pt x="2085137" y="200228"/>
                  </a:lnTo>
                  <a:lnTo>
                    <a:pt x="2085239" y="199530"/>
                  </a:lnTo>
                  <a:lnTo>
                    <a:pt x="2085239" y="200876"/>
                  </a:lnTo>
                  <a:lnTo>
                    <a:pt x="2085239" y="199530"/>
                  </a:lnTo>
                  <a:lnTo>
                    <a:pt x="2085290" y="199530"/>
                  </a:lnTo>
                  <a:lnTo>
                    <a:pt x="2085290" y="198831"/>
                  </a:lnTo>
                  <a:lnTo>
                    <a:pt x="2085290" y="199530"/>
                  </a:lnTo>
                  <a:lnTo>
                    <a:pt x="2085290" y="197447"/>
                  </a:lnTo>
                  <a:lnTo>
                    <a:pt x="2085340" y="197447"/>
                  </a:lnTo>
                  <a:lnTo>
                    <a:pt x="2085340" y="196799"/>
                  </a:lnTo>
                  <a:lnTo>
                    <a:pt x="2085340" y="197447"/>
                  </a:lnTo>
                  <a:lnTo>
                    <a:pt x="2085340" y="196799"/>
                  </a:lnTo>
                  <a:lnTo>
                    <a:pt x="2085340" y="198831"/>
                  </a:lnTo>
                  <a:lnTo>
                    <a:pt x="2085340" y="196799"/>
                  </a:lnTo>
                  <a:lnTo>
                    <a:pt x="2085391" y="196799"/>
                  </a:lnTo>
                  <a:lnTo>
                    <a:pt x="2085391" y="199530"/>
                  </a:lnTo>
                  <a:lnTo>
                    <a:pt x="2085391" y="198831"/>
                  </a:lnTo>
                  <a:lnTo>
                    <a:pt x="2085391" y="199530"/>
                  </a:lnTo>
                  <a:lnTo>
                    <a:pt x="2085391" y="197447"/>
                  </a:lnTo>
                  <a:lnTo>
                    <a:pt x="2085391" y="198831"/>
                  </a:lnTo>
                  <a:lnTo>
                    <a:pt x="2085480" y="198831"/>
                  </a:lnTo>
                  <a:lnTo>
                    <a:pt x="2085480" y="200228"/>
                  </a:lnTo>
                  <a:lnTo>
                    <a:pt x="2085480" y="198831"/>
                  </a:lnTo>
                  <a:lnTo>
                    <a:pt x="2085480" y="199530"/>
                  </a:lnTo>
                  <a:lnTo>
                    <a:pt x="2085480" y="197447"/>
                  </a:lnTo>
                  <a:lnTo>
                    <a:pt x="2085480" y="199530"/>
                  </a:lnTo>
                  <a:lnTo>
                    <a:pt x="2085531" y="198831"/>
                  </a:lnTo>
                  <a:lnTo>
                    <a:pt x="2085531" y="199530"/>
                  </a:lnTo>
                  <a:lnTo>
                    <a:pt x="2085531" y="198831"/>
                  </a:lnTo>
                  <a:lnTo>
                    <a:pt x="2085531" y="199530"/>
                  </a:lnTo>
                  <a:lnTo>
                    <a:pt x="2085531" y="198831"/>
                  </a:lnTo>
                  <a:lnTo>
                    <a:pt x="2085531" y="199530"/>
                  </a:lnTo>
                  <a:lnTo>
                    <a:pt x="2085582" y="199530"/>
                  </a:lnTo>
                  <a:lnTo>
                    <a:pt x="2085582" y="198831"/>
                  </a:lnTo>
                  <a:lnTo>
                    <a:pt x="2085582" y="199530"/>
                  </a:lnTo>
                  <a:lnTo>
                    <a:pt x="2085582" y="198831"/>
                  </a:lnTo>
                  <a:lnTo>
                    <a:pt x="2085582" y="199530"/>
                  </a:lnTo>
                  <a:lnTo>
                    <a:pt x="2085582" y="198831"/>
                  </a:lnTo>
                  <a:lnTo>
                    <a:pt x="2085582" y="200228"/>
                  </a:lnTo>
                  <a:lnTo>
                    <a:pt x="2085633" y="199530"/>
                  </a:lnTo>
                  <a:lnTo>
                    <a:pt x="2085633" y="198831"/>
                  </a:lnTo>
                  <a:lnTo>
                    <a:pt x="2085633" y="199530"/>
                  </a:lnTo>
                  <a:lnTo>
                    <a:pt x="2085734" y="199530"/>
                  </a:lnTo>
                  <a:lnTo>
                    <a:pt x="2085734" y="200228"/>
                  </a:lnTo>
                  <a:lnTo>
                    <a:pt x="2085734" y="197447"/>
                  </a:lnTo>
                  <a:lnTo>
                    <a:pt x="2085785" y="198831"/>
                  </a:lnTo>
                  <a:lnTo>
                    <a:pt x="2085785" y="196799"/>
                  </a:lnTo>
                  <a:lnTo>
                    <a:pt x="2085785" y="197447"/>
                  </a:lnTo>
                  <a:lnTo>
                    <a:pt x="2085785" y="196799"/>
                  </a:lnTo>
                  <a:lnTo>
                    <a:pt x="2085836" y="196799"/>
                  </a:lnTo>
                  <a:lnTo>
                    <a:pt x="2085836" y="197447"/>
                  </a:lnTo>
                  <a:lnTo>
                    <a:pt x="2085836" y="196113"/>
                  </a:lnTo>
                  <a:lnTo>
                    <a:pt x="2085836" y="196799"/>
                  </a:lnTo>
                  <a:lnTo>
                    <a:pt x="2085937" y="197447"/>
                  </a:lnTo>
                  <a:lnTo>
                    <a:pt x="2085937" y="200228"/>
                  </a:lnTo>
                  <a:lnTo>
                    <a:pt x="2085937" y="198831"/>
                  </a:lnTo>
                  <a:lnTo>
                    <a:pt x="2085937" y="199530"/>
                  </a:lnTo>
                  <a:lnTo>
                    <a:pt x="2085937" y="198831"/>
                  </a:lnTo>
                  <a:lnTo>
                    <a:pt x="2085975" y="199530"/>
                  </a:lnTo>
                  <a:lnTo>
                    <a:pt x="2085975" y="198831"/>
                  </a:lnTo>
                  <a:lnTo>
                    <a:pt x="2085975" y="200228"/>
                  </a:lnTo>
                  <a:lnTo>
                    <a:pt x="2085975" y="199530"/>
                  </a:lnTo>
                  <a:lnTo>
                    <a:pt x="2086026" y="199530"/>
                  </a:lnTo>
                  <a:lnTo>
                    <a:pt x="2086026" y="200228"/>
                  </a:lnTo>
                  <a:lnTo>
                    <a:pt x="2086026" y="199530"/>
                  </a:lnTo>
                  <a:lnTo>
                    <a:pt x="2086026" y="200228"/>
                  </a:lnTo>
                  <a:lnTo>
                    <a:pt x="2086026" y="199530"/>
                  </a:lnTo>
                  <a:lnTo>
                    <a:pt x="2086077" y="199530"/>
                  </a:lnTo>
                  <a:lnTo>
                    <a:pt x="2086077" y="200228"/>
                  </a:lnTo>
                  <a:lnTo>
                    <a:pt x="2086077" y="199530"/>
                  </a:lnTo>
                  <a:lnTo>
                    <a:pt x="2086179" y="200228"/>
                  </a:lnTo>
                  <a:lnTo>
                    <a:pt x="2086179" y="200876"/>
                  </a:lnTo>
                  <a:lnTo>
                    <a:pt x="2086179" y="200228"/>
                  </a:lnTo>
                  <a:lnTo>
                    <a:pt x="2086230" y="200228"/>
                  </a:lnTo>
                  <a:lnTo>
                    <a:pt x="2086230" y="199530"/>
                  </a:lnTo>
                  <a:lnTo>
                    <a:pt x="2086230" y="200228"/>
                  </a:lnTo>
                  <a:lnTo>
                    <a:pt x="2086230" y="199530"/>
                  </a:lnTo>
                  <a:lnTo>
                    <a:pt x="2086230" y="200228"/>
                  </a:lnTo>
                  <a:lnTo>
                    <a:pt x="2086230" y="198831"/>
                  </a:lnTo>
                  <a:lnTo>
                    <a:pt x="2086280" y="198831"/>
                  </a:lnTo>
                  <a:lnTo>
                    <a:pt x="2086280" y="199530"/>
                  </a:lnTo>
                  <a:lnTo>
                    <a:pt x="2086280" y="197447"/>
                  </a:lnTo>
                  <a:lnTo>
                    <a:pt x="2086280" y="200228"/>
                  </a:lnTo>
                  <a:lnTo>
                    <a:pt x="2086382" y="199530"/>
                  </a:lnTo>
                  <a:lnTo>
                    <a:pt x="2086382" y="196799"/>
                  </a:lnTo>
                  <a:lnTo>
                    <a:pt x="2086382" y="200876"/>
                  </a:lnTo>
                  <a:lnTo>
                    <a:pt x="2086382" y="200228"/>
                  </a:lnTo>
                  <a:lnTo>
                    <a:pt x="2086433" y="200876"/>
                  </a:lnTo>
                  <a:lnTo>
                    <a:pt x="2086433" y="199530"/>
                  </a:lnTo>
                  <a:lnTo>
                    <a:pt x="2086433" y="200876"/>
                  </a:lnTo>
                  <a:lnTo>
                    <a:pt x="2086433" y="200228"/>
                  </a:lnTo>
                  <a:lnTo>
                    <a:pt x="2086433" y="200876"/>
                  </a:lnTo>
                  <a:lnTo>
                    <a:pt x="2086484" y="200876"/>
                  </a:lnTo>
                  <a:lnTo>
                    <a:pt x="2086484" y="199530"/>
                  </a:lnTo>
                  <a:lnTo>
                    <a:pt x="2086484" y="200228"/>
                  </a:lnTo>
                  <a:lnTo>
                    <a:pt x="2086484" y="199530"/>
                  </a:lnTo>
                  <a:lnTo>
                    <a:pt x="2086484" y="200228"/>
                  </a:lnTo>
                  <a:lnTo>
                    <a:pt x="2086522" y="200228"/>
                  </a:lnTo>
                  <a:lnTo>
                    <a:pt x="2086522" y="200876"/>
                  </a:lnTo>
                  <a:lnTo>
                    <a:pt x="2086623" y="200876"/>
                  </a:lnTo>
                  <a:lnTo>
                    <a:pt x="2086623" y="200228"/>
                  </a:lnTo>
                  <a:lnTo>
                    <a:pt x="2086623" y="200876"/>
                  </a:lnTo>
                  <a:lnTo>
                    <a:pt x="2086623" y="199530"/>
                  </a:lnTo>
                  <a:lnTo>
                    <a:pt x="2086623" y="200228"/>
                  </a:lnTo>
                  <a:lnTo>
                    <a:pt x="2086623" y="199530"/>
                  </a:lnTo>
                  <a:lnTo>
                    <a:pt x="2086623" y="200228"/>
                  </a:lnTo>
                  <a:lnTo>
                    <a:pt x="2086674" y="200228"/>
                  </a:lnTo>
                  <a:lnTo>
                    <a:pt x="2086674" y="200876"/>
                  </a:lnTo>
                  <a:lnTo>
                    <a:pt x="2086674" y="199530"/>
                  </a:lnTo>
                  <a:lnTo>
                    <a:pt x="2086674" y="200228"/>
                  </a:lnTo>
                  <a:lnTo>
                    <a:pt x="2086674" y="199530"/>
                  </a:lnTo>
                  <a:lnTo>
                    <a:pt x="2086674" y="200228"/>
                  </a:lnTo>
                  <a:lnTo>
                    <a:pt x="2086674" y="199530"/>
                  </a:lnTo>
                  <a:lnTo>
                    <a:pt x="2086725" y="199530"/>
                  </a:lnTo>
                  <a:lnTo>
                    <a:pt x="2086725" y="197447"/>
                  </a:lnTo>
                  <a:lnTo>
                    <a:pt x="2086826" y="197447"/>
                  </a:lnTo>
                  <a:lnTo>
                    <a:pt x="2086826" y="196113"/>
                  </a:lnTo>
                  <a:lnTo>
                    <a:pt x="2086826" y="196799"/>
                  </a:lnTo>
                  <a:lnTo>
                    <a:pt x="2086826" y="196113"/>
                  </a:lnTo>
                  <a:lnTo>
                    <a:pt x="2086826" y="198831"/>
                  </a:lnTo>
                  <a:lnTo>
                    <a:pt x="2086877" y="198831"/>
                  </a:lnTo>
                  <a:lnTo>
                    <a:pt x="2086877" y="196113"/>
                  </a:lnTo>
                  <a:lnTo>
                    <a:pt x="2086877" y="199530"/>
                  </a:lnTo>
                  <a:lnTo>
                    <a:pt x="2086928" y="199530"/>
                  </a:lnTo>
                  <a:lnTo>
                    <a:pt x="2086928" y="197447"/>
                  </a:lnTo>
                  <a:lnTo>
                    <a:pt x="2086928" y="200228"/>
                  </a:lnTo>
                  <a:lnTo>
                    <a:pt x="2086928" y="199530"/>
                  </a:lnTo>
                  <a:lnTo>
                    <a:pt x="2086979" y="198831"/>
                  </a:lnTo>
                  <a:lnTo>
                    <a:pt x="2086979" y="200228"/>
                  </a:lnTo>
                  <a:lnTo>
                    <a:pt x="2086979" y="199530"/>
                  </a:lnTo>
                  <a:lnTo>
                    <a:pt x="2086979" y="200228"/>
                  </a:lnTo>
                  <a:lnTo>
                    <a:pt x="2086979" y="199530"/>
                  </a:lnTo>
                  <a:lnTo>
                    <a:pt x="2087068" y="199530"/>
                  </a:lnTo>
                  <a:lnTo>
                    <a:pt x="2087068" y="200228"/>
                  </a:lnTo>
                  <a:lnTo>
                    <a:pt x="2087068" y="199530"/>
                  </a:lnTo>
                  <a:lnTo>
                    <a:pt x="2087068" y="200228"/>
                  </a:lnTo>
                  <a:lnTo>
                    <a:pt x="2087169" y="200228"/>
                  </a:lnTo>
                  <a:lnTo>
                    <a:pt x="2087169" y="199530"/>
                  </a:lnTo>
                  <a:lnTo>
                    <a:pt x="2087169" y="200228"/>
                  </a:lnTo>
                  <a:lnTo>
                    <a:pt x="2087169" y="199530"/>
                  </a:lnTo>
                  <a:lnTo>
                    <a:pt x="2087169" y="200228"/>
                  </a:lnTo>
                  <a:lnTo>
                    <a:pt x="2087169" y="199530"/>
                  </a:lnTo>
                  <a:lnTo>
                    <a:pt x="2087220" y="199530"/>
                  </a:lnTo>
                  <a:lnTo>
                    <a:pt x="2087220" y="197447"/>
                  </a:lnTo>
                  <a:lnTo>
                    <a:pt x="2087322" y="197447"/>
                  </a:lnTo>
                  <a:lnTo>
                    <a:pt x="2087322" y="200228"/>
                  </a:lnTo>
                  <a:lnTo>
                    <a:pt x="2087322" y="197447"/>
                  </a:lnTo>
                  <a:lnTo>
                    <a:pt x="2087322" y="198831"/>
                  </a:lnTo>
                  <a:lnTo>
                    <a:pt x="2087372" y="199530"/>
                  </a:lnTo>
                  <a:lnTo>
                    <a:pt x="2087372" y="200228"/>
                  </a:lnTo>
                  <a:lnTo>
                    <a:pt x="2087372" y="199530"/>
                  </a:lnTo>
                  <a:lnTo>
                    <a:pt x="2087372" y="200228"/>
                  </a:lnTo>
                  <a:lnTo>
                    <a:pt x="2087372" y="199530"/>
                  </a:lnTo>
                  <a:lnTo>
                    <a:pt x="2087423" y="199530"/>
                  </a:lnTo>
                  <a:lnTo>
                    <a:pt x="2087423" y="200228"/>
                  </a:lnTo>
                  <a:lnTo>
                    <a:pt x="2087423" y="199530"/>
                  </a:lnTo>
                  <a:lnTo>
                    <a:pt x="2087423" y="200228"/>
                  </a:lnTo>
                  <a:lnTo>
                    <a:pt x="2087423" y="199530"/>
                  </a:lnTo>
                  <a:lnTo>
                    <a:pt x="2087423" y="200228"/>
                  </a:lnTo>
                  <a:lnTo>
                    <a:pt x="2087423" y="199530"/>
                  </a:lnTo>
                  <a:lnTo>
                    <a:pt x="2087423" y="200228"/>
                  </a:lnTo>
                  <a:lnTo>
                    <a:pt x="2087563" y="200228"/>
                  </a:lnTo>
                  <a:lnTo>
                    <a:pt x="2087563" y="200876"/>
                  </a:lnTo>
                  <a:lnTo>
                    <a:pt x="2087563" y="200228"/>
                  </a:lnTo>
                  <a:lnTo>
                    <a:pt x="2087563" y="200876"/>
                  </a:lnTo>
                  <a:lnTo>
                    <a:pt x="2087563" y="200228"/>
                  </a:lnTo>
                  <a:lnTo>
                    <a:pt x="2087614" y="200228"/>
                  </a:lnTo>
                  <a:lnTo>
                    <a:pt x="2087614" y="200876"/>
                  </a:lnTo>
                  <a:lnTo>
                    <a:pt x="2087614" y="200228"/>
                  </a:lnTo>
                  <a:lnTo>
                    <a:pt x="2087665" y="200228"/>
                  </a:lnTo>
                  <a:lnTo>
                    <a:pt x="2087665" y="199530"/>
                  </a:lnTo>
                  <a:lnTo>
                    <a:pt x="2087665" y="200228"/>
                  </a:lnTo>
                  <a:lnTo>
                    <a:pt x="2087665" y="198831"/>
                  </a:lnTo>
                  <a:lnTo>
                    <a:pt x="2087766" y="198831"/>
                  </a:lnTo>
                  <a:lnTo>
                    <a:pt x="2087766" y="196799"/>
                  </a:lnTo>
                  <a:lnTo>
                    <a:pt x="2087766" y="197447"/>
                  </a:lnTo>
                  <a:lnTo>
                    <a:pt x="2087766" y="196113"/>
                  </a:lnTo>
                  <a:lnTo>
                    <a:pt x="2087817" y="196113"/>
                  </a:lnTo>
                  <a:lnTo>
                    <a:pt x="2087817" y="195415"/>
                  </a:lnTo>
                  <a:lnTo>
                    <a:pt x="2087817" y="197447"/>
                  </a:lnTo>
                  <a:lnTo>
                    <a:pt x="2087817" y="196113"/>
                  </a:lnTo>
                  <a:lnTo>
                    <a:pt x="2087868" y="196113"/>
                  </a:lnTo>
                  <a:lnTo>
                    <a:pt x="2087868" y="198831"/>
                  </a:lnTo>
                  <a:lnTo>
                    <a:pt x="2087868" y="197447"/>
                  </a:lnTo>
                  <a:lnTo>
                    <a:pt x="2087868" y="198831"/>
                  </a:lnTo>
                  <a:lnTo>
                    <a:pt x="2087868" y="197447"/>
                  </a:lnTo>
                  <a:lnTo>
                    <a:pt x="2087868" y="198831"/>
                  </a:lnTo>
                  <a:lnTo>
                    <a:pt x="2087868" y="197447"/>
                  </a:lnTo>
                  <a:lnTo>
                    <a:pt x="2087868" y="198831"/>
                  </a:lnTo>
                  <a:lnTo>
                    <a:pt x="2087969" y="198831"/>
                  </a:lnTo>
                  <a:lnTo>
                    <a:pt x="2087969" y="200228"/>
                  </a:lnTo>
                  <a:lnTo>
                    <a:pt x="2087969" y="198831"/>
                  </a:lnTo>
                  <a:lnTo>
                    <a:pt x="2088020" y="199530"/>
                  </a:lnTo>
                  <a:lnTo>
                    <a:pt x="2088020" y="198831"/>
                  </a:lnTo>
                  <a:lnTo>
                    <a:pt x="2088020" y="199530"/>
                  </a:lnTo>
                  <a:lnTo>
                    <a:pt x="2088020" y="198831"/>
                  </a:lnTo>
                  <a:lnTo>
                    <a:pt x="2088020" y="199530"/>
                  </a:lnTo>
                  <a:lnTo>
                    <a:pt x="2088071" y="199530"/>
                  </a:lnTo>
                  <a:lnTo>
                    <a:pt x="2088071" y="200876"/>
                  </a:lnTo>
                  <a:lnTo>
                    <a:pt x="2088071" y="200228"/>
                  </a:lnTo>
                  <a:lnTo>
                    <a:pt x="2088071" y="200876"/>
                  </a:lnTo>
                  <a:lnTo>
                    <a:pt x="2088109" y="200876"/>
                  </a:lnTo>
                  <a:lnTo>
                    <a:pt x="2088109" y="200228"/>
                  </a:lnTo>
                  <a:lnTo>
                    <a:pt x="2088211" y="200228"/>
                  </a:lnTo>
                  <a:lnTo>
                    <a:pt x="2088211" y="198831"/>
                  </a:lnTo>
                  <a:lnTo>
                    <a:pt x="2088211" y="199530"/>
                  </a:lnTo>
                  <a:lnTo>
                    <a:pt x="2088262" y="199530"/>
                  </a:lnTo>
                  <a:lnTo>
                    <a:pt x="2088262" y="198831"/>
                  </a:lnTo>
                  <a:lnTo>
                    <a:pt x="2088262" y="199530"/>
                  </a:lnTo>
                  <a:lnTo>
                    <a:pt x="2088262" y="196799"/>
                  </a:lnTo>
                  <a:lnTo>
                    <a:pt x="2088262" y="198831"/>
                  </a:lnTo>
                  <a:lnTo>
                    <a:pt x="2088312" y="198831"/>
                  </a:lnTo>
                  <a:lnTo>
                    <a:pt x="2088312" y="199530"/>
                  </a:lnTo>
                  <a:lnTo>
                    <a:pt x="2088312" y="196113"/>
                  </a:lnTo>
                  <a:lnTo>
                    <a:pt x="2088312" y="200228"/>
                  </a:lnTo>
                  <a:lnTo>
                    <a:pt x="2088414" y="199530"/>
                  </a:lnTo>
                  <a:lnTo>
                    <a:pt x="2088414" y="196799"/>
                  </a:lnTo>
                  <a:lnTo>
                    <a:pt x="2088414" y="199530"/>
                  </a:lnTo>
                  <a:lnTo>
                    <a:pt x="2088465" y="199530"/>
                  </a:lnTo>
                  <a:lnTo>
                    <a:pt x="2088465" y="198831"/>
                  </a:lnTo>
                  <a:lnTo>
                    <a:pt x="2088465" y="199530"/>
                  </a:lnTo>
                  <a:lnTo>
                    <a:pt x="2088515" y="199530"/>
                  </a:lnTo>
                  <a:lnTo>
                    <a:pt x="2088515" y="198831"/>
                  </a:lnTo>
                  <a:lnTo>
                    <a:pt x="2088515" y="199530"/>
                  </a:lnTo>
                  <a:lnTo>
                    <a:pt x="2088515" y="198831"/>
                  </a:lnTo>
                  <a:lnTo>
                    <a:pt x="2088515" y="199530"/>
                  </a:lnTo>
                  <a:lnTo>
                    <a:pt x="2088566" y="199530"/>
                  </a:lnTo>
                  <a:lnTo>
                    <a:pt x="2088566" y="198831"/>
                  </a:lnTo>
                  <a:lnTo>
                    <a:pt x="2088566" y="200228"/>
                  </a:lnTo>
                  <a:lnTo>
                    <a:pt x="2088566" y="199530"/>
                  </a:lnTo>
                  <a:lnTo>
                    <a:pt x="2088566" y="200228"/>
                  </a:lnTo>
                  <a:lnTo>
                    <a:pt x="2088566" y="199530"/>
                  </a:lnTo>
                  <a:lnTo>
                    <a:pt x="2088655" y="199530"/>
                  </a:lnTo>
                  <a:lnTo>
                    <a:pt x="2088655" y="198831"/>
                  </a:lnTo>
                  <a:lnTo>
                    <a:pt x="2088655" y="199530"/>
                  </a:lnTo>
                  <a:lnTo>
                    <a:pt x="2088706" y="199530"/>
                  </a:lnTo>
                  <a:lnTo>
                    <a:pt x="2088706" y="198831"/>
                  </a:lnTo>
                  <a:lnTo>
                    <a:pt x="2088757" y="198831"/>
                  </a:lnTo>
                  <a:lnTo>
                    <a:pt x="2088757" y="197447"/>
                  </a:lnTo>
                  <a:lnTo>
                    <a:pt x="2088757" y="199530"/>
                  </a:lnTo>
                  <a:lnTo>
                    <a:pt x="2088757" y="197447"/>
                  </a:lnTo>
                  <a:lnTo>
                    <a:pt x="2088757" y="198831"/>
                  </a:lnTo>
                  <a:lnTo>
                    <a:pt x="2088808" y="198831"/>
                  </a:lnTo>
                  <a:lnTo>
                    <a:pt x="2088808" y="197447"/>
                  </a:lnTo>
                  <a:lnTo>
                    <a:pt x="2088808" y="200228"/>
                  </a:lnTo>
                  <a:lnTo>
                    <a:pt x="2088808" y="199530"/>
                  </a:lnTo>
                  <a:lnTo>
                    <a:pt x="2088808" y="200228"/>
                  </a:lnTo>
                  <a:lnTo>
                    <a:pt x="2088909" y="199530"/>
                  </a:lnTo>
                  <a:lnTo>
                    <a:pt x="2088909" y="200228"/>
                  </a:lnTo>
                  <a:lnTo>
                    <a:pt x="2088960" y="200228"/>
                  </a:lnTo>
                  <a:lnTo>
                    <a:pt x="2088960" y="199530"/>
                  </a:lnTo>
                  <a:lnTo>
                    <a:pt x="2088960" y="200228"/>
                  </a:lnTo>
                  <a:lnTo>
                    <a:pt x="2089112" y="200228"/>
                  </a:lnTo>
                  <a:lnTo>
                    <a:pt x="2089112" y="200876"/>
                  </a:lnTo>
                  <a:lnTo>
                    <a:pt x="2089112" y="200228"/>
                  </a:lnTo>
                  <a:lnTo>
                    <a:pt x="2089112" y="200876"/>
                  </a:lnTo>
                  <a:lnTo>
                    <a:pt x="2089112" y="199530"/>
                  </a:lnTo>
                  <a:lnTo>
                    <a:pt x="2089112" y="200228"/>
                  </a:lnTo>
                  <a:lnTo>
                    <a:pt x="2089112" y="199530"/>
                  </a:lnTo>
                  <a:lnTo>
                    <a:pt x="2089112" y="200228"/>
                  </a:lnTo>
                  <a:lnTo>
                    <a:pt x="2089150" y="200228"/>
                  </a:lnTo>
                  <a:lnTo>
                    <a:pt x="2089150" y="199530"/>
                  </a:lnTo>
                  <a:lnTo>
                    <a:pt x="2089150" y="200228"/>
                  </a:lnTo>
                  <a:lnTo>
                    <a:pt x="2089150" y="199530"/>
                  </a:lnTo>
                  <a:lnTo>
                    <a:pt x="2089201" y="199530"/>
                  </a:lnTo>
                  <a:lnTo>
                    <a:pt x="2089201" y="197447"/>
                  </a:lnTo>
                  <a:lnTo>
                    <a:pt x="2089201" y="199530"/>
                  </a:lnTo>
                  <a:lnTo>
                    <a:pt x="2089252" y="199530"/>
                  </a:lnTo>
                  <a:lnTo>
                    <a:pt x="2089252" y="200228"/>
                  </a:lnTo>
                  <a:lnTo>
                    <a:pt x="2089252" y="198831"/>
                  </a:lnTo>
                  <a:lnTo>
                    <a:pt x="2089252" y="199530"/>
                  </a:lnTo>
                  <a:lnTo>
                    <a:pt x="2089252" y="198831"/>
                  </a:lnTo>
                  <a:lnTo>
                    <a:pt x="2089252" y="202260"/>
                  </a:lnTo>
                  <a:lnTo>
                    <a:pt x="2089354" y="200876"/>
                  </a:lnTo>
                  <a:lnTo>
                    <a:pt x="2089354" y="200228"/>
                  </a:lnTo>
                  <a:lnTo>
                    <a:pt x="2089354" y="202260"/>
                  </a:lnTo>
                  <a:lnTo>
                    <a:pt x="2089405" y="200876"/>
                  </a:lnTo>
                  <a:lnTo>
                    <a:pt x="2089405" y="200228"/>
                  </a:lnTo>
                  <a:lnTo>
                    <a:pt x="2089405" y="202260"/>
                  </a:lnTo>
                  <a:lnTo>
                    <a:pt x="2089455" y="202260"/>
                  </a:lnTo>
                  <a:lnTo>
                    <a:pt x="2089455" y="200876"/>
                  </a:lnTo>
                  <a:lnTo>
                    <a:pt x="2089455" y="202260"/>
                  </a:lnTo>
                  <a:lnTo>
                    <a:pt x="2089455" y="200876"/>
                  </a:lnTo>
                  <a:lnTo>
                    <a:pt x="2089557" y="200876"/>
                  </a:lnTo>
                  <a:lnTo>
                    <a:pt x="2089557" y="200228"/>
                  </a:lnTo>
                  <a:lnTo>
                    <a:pt x="2089557" y="200876"/>
                  </a:lnTo>
                  <a:lnTo>
                    <a:pt x="2089557" y="200228"/>
                  </a:lnTo>
                  <a:lnTo>
                    <a:pt x="2089557" y="200876"/>
                  </a:lnTo>
                  <a:lnTo>
                    <a:pt x="2089608" y="200876"/>
                  </a:lnTo>
                  <a:lnTo>
                    <a:pt x="2089608" y="200228"/>
                  </a:lnTo>
                  <a:lnTo>
                    <a:pt x="2089608" y="200876"/>
                  </a:lnTo>
                  <a:lnTo>
                    <a:pt x="2089608" y="200228"/>
                  </a:lnTo>
                  <a:lnTo>
                    <a:pt x="2089608" y="200876"/>
                  </a:lnTo>
                  <a:lnTo>
                    <a:pt x="2089608" y="200228"/>
                  </a:lnTo>
                  <a:lnTo>
                    <a:pt x="2089659" y="200228"/>
                  </a:lnTo>
                  <a:lnTo>
                    <a:pt x="2089659" y="197447"/>
                  </a:lnTo>
                  <a:lnTo>
                    <a:pt x="2089697" y="197447"/>
                  </a:lnTo>
                  <a:lnTo>
                    <a:pt x="2089697" y="196799"/>
                  </a:lnTo>
                  <a:lnTo>
                    <a:pt x="2089697" y="199530"/>
                  </a:lnTo>
                  <a:lnTo>
                    <a:pt x="2089697" y="198831"/>
                  </a:lnTo>
                  <a:lnTo>
                    <a:pt x="2089697" y="199530"/>
                  </a:lnTo>
                  <a:lnTo>
                    <a:pt x="2089697" y="198831"/>
                  </a:lnTo>
                  <a:lnTo>
                    <a:pt x="2089798" y="198831"/>
                  </a:lnTo>
                  <a:lnTo>
                    <a:pt x="2089798" y="197447"/>
                  </a:lnTo>
                  <a:lnTo>
                    <a:pt x="2089798" y="198831"/>
                  </a:lnTo>
                  <a:lnTo>
                    <a:pt x="2089798" y="197447"/>
                  </a:lnTo>
                  <a:lnTo>
                    <a:pt x="2089798" y="200876"/>
                  </a:lnTo>
                  <a:lnTo>
                    <a:pt x="2089798" y="200228"/>
                  </a:lnTo>
                  <a:lnTo>
                    <a:pt x="2089849" y="200228"/>
                  </a:lnTo>
                  <a:lnTo>
                    <a:pt x="2089849" y="199530"/>
                  </a:lnTo>
                  <a:lnTo>
                    <a:pt x="2089849" y="200876"/>
                  </a:lnTo>
                  <a:lnTo>
                    <a:pt x="2089849" y="200228"/>
                  </a:lnTo>
                  <a:lnTo>
                    <a:pt x="2089900" y="200228"/>
                  </a:lnTo>
                  <a:lnTo>
                    <a:pt x="2089900" y="200876"/>
                  </a:lnTo>
                  <a:lnTo>
                    <a:pt x="2090001" y="200876"/>
                  </a:lnTo>
                  <a:lnTo>
                    <a:pt x="2090001" y="202260"/>
                  </a:lnTo>
                  <a:lnTo>
                    <a:pt x="2090001" y="200876"/>
                  </a:lnTo>
                  <a:lnTo>
                    <a:pt x="2090001" y="202260"/>
                  </a:lnTo>
                  <a:lnTo>
                    <a:pt x="2090001" y="200876"/>
                  </a:lnTo>
                  <a:lnTo>
                    <a:pt x="2090001" y="202260"/>
                  </a:lnTo>
                  <a:lnTo>
                    <a:pt x="2090052" y="202260"/>
                  </a:lnTo>
                  <a:lnTo>
                    <a:pt x="2090052" y="200876"/>
                  </a:lnTo>
                  <a:lnTo>
                    <a:pt x="2090052" y="202260"/>
                  </a:lnTo>
                  <a:lnTo>
                    <a:pt x="2090052" y="200876"/>
                  </a:lnTo>
                  <a:lnTo>
                    <a:pt x="2090103" y="200228"/>
                  </a:lnTo>
                  <a:lnTo>
                    <a:pt x="2090103" y="200876"/>
                  </a:lnTo>
                  <a:lnTo>
                    <a:pt x="2090103" y="199530"/>
                  </a:lnTo>
                  <a:lnTo>
                    <a:pt x="2090154" y="199530"/>
                  </a:lnTo>
                  <a:lnTo>
                    <a:pt x="2090154" y="196799"/>
                  </a:lnTo>
                  <a:lnTo>
                    <a:pt x="2090154" y="197447"/>
                  </a:lnTo>
                  <a:lnTo>
                    <a:pt x="2090243" y="196799"/>
                  </a:lnTo>
                  <a:lnTo>
                    <a:pt x="2090243" y="199530"/>
                  </a:lnTo>
                  <a:lnTo>
                    <a:pt x="2090243" y="196799"/>
                  </a:lnTo>
                  <a:lnTo>
                    <a:pt x="2090243" y="197447"/>
                  </a:lnTo>
                  <a:lnTo>
                    <a:pt x="2090294" y="196799"/>
                  </a:lnTo>
                  <a:lnTo>
                    <a:pt x="2090294" y="200876"/>
                  </a:lnTo>
                  <a:lnTo>
                    <a:pt x="2090294" y="198831"/>
                  </a:lnTo>
                  <a:lnTo>
                    <a:pt x="2090344" y="198831"/>
                  </a:lnTo>
                  <a:lnTo>
                    <a:pt x="2090344" y="200228"/>
                  </a:lnTo>
                  <a:lnTo>
                    <a:pt x="2090344" y="199530"/>
                  </a:lnTo>
                  <a:lnTo>
                    <a:pt x="2090344" y="200228"/>
                  </a:lnTo>
                  <a:lnTo>
                    <a:pt x="2090344" y="199530"/>
                  </a:lnTo>
                  <a:lnTo>
                    <a:pt x="2090344" y="200228"/>
                  </a:lnTo>
                  <a:lnTo>
                    <a:pt x="2090395" y="199530"/>
                  </a:lnTo>
                  <a:lnTo>
                    <a:pt x="2090395" y="200228"/>
                  </a:lnTo>
                  <a:lnTo>
                    <a:pt x="2090395" y="199530"/>
                  </a:lnTo>
                  <a:lnTo>
                    <a:pt x="2090395" y="200228"/>
                  </a:lnTo>
                  <a:lnTo>
                    <a:pt x="2090395" y="199530"/>
                  </a:lnTo>
                  <a:lnTo>
                    <a:pt x="2090395" y="200228"/>
                  </a:lnTo>
                  <a:lnTo>
                    <a:pt x="2090497" y="200876"/>
                  </a:lnTo>
                  <a:lnTo>
                    <a:pt x="2090547" y="200876"/>
                  </a:lnTo>
                  <a:lnTo>
                    <a:pt x="2090547" y="200228"/>
                  </a:lnTo>
                  <a:lnTo>
                    <a:pt x="2090547" y="200876"/>
                  </a:lnTo>
                  <a:lnTo>
                    <a:pt x="2090547" y="200228"/>
                  </a:lnTo>
                  <a:lnTo>
                    <a:pt x="2090547" y="200876"/>
                  </a:lnTo>
                  <a:lnTo>
                    <a:pt x="2090598" y="200876"/>
                  </a:lnTo>
                  <a:lnTo>
                    <a:pt x="2090598" y="198831"/>
                  </a:lnTo>
                  <a:lnTo>
                    <a:pt x="2090598" y="199530"/>
                  </a:lnTo>
                  <a:lnTo>
                    <a:pt x="2090598" y="198831"/>
                  </a:lnTo>
                  <a:lnTo>
                    <a:pt x="2090700" y="199530"/>
                  </a:lnTo>
                  <a:lnTo>
                    <a:pt x="2090700" y="196113"/>
                  </a:lnTo>
                  <a:lnTo>
                    <a:pt x="2090738" y="196113"/>
                  </a:lnTo>
                  <a:lnTo>
                    <a:pt x="2090738" y="197447"/>
                  </a:lnTo>
                  <a:lnTo>
                    <a:pt x="2090738" y="196799"/>
                  </a:lnTo>
                  <a:lnTo>
                    <a:pt x="2090789" y="196799"/>
                  </a:lnTo>
                  <a:lnTo>
                    <a:pt x="2090789" y="198831"/>
                  </a:lnTo>
                  <a:lnTo>
                    <a:pt x="2090789" y="197447"/>
                  </a:lnTo>
                  <a:lnTo>
                    <a:pt x="2090789" y="198831"/>
                  </a:lnTo>
                  <a:lnTo>
                    <a:pt x="2090789" y="196799"/>
                  </a:lnTo>
                  <a:lnTo>
                    <a:pt x="2090789" y="197447"/>
                  </a:lnTo>
                  <a:lnTo>
                    <a:pt x="2090840" y="197447"/>
                  </a:lnTo>
                  <a:lnTo>
                    <a:pt x="2090840" y="199530"/>
                  </a:lnTo>
                  <a:lnTo>
                    <a:pt x="2090840" y="198831"/>
                  </a:lnTo>
                  <a:lnTo>
                    <a:pt x="2090941" y="198831"/>
                  </a:lnTo>
                  <a:lnTo>
                    <a:pt x="2090941" y="200228"/>
                  </a:lnTo>
                  <a:lnTo>
                    <a:pt x="2090992" y="200228"/>
                  </a:lnTo>
                  <a:lnTo>
                    <a:pt x="2090992" y="199530"/>
                  </a:lnTo>
                  <a:lnTo>
                    <a:pt x="2090992" y="200228"/>
                  </a:lnTo>
                  <a:lnTo>
                    <a:pt x="2090992" y="199530"/>
                  </a:lnTo>
                  <a:lnTo>
                    <a:pt x="2090992" y="200876"/>
                  </a:lnTo>
                  <a:lnTo>
                    <a:pt x="2090992" y="200228"/>
                  </a:lnTo>
                  <a:lnTo>
                    <a:pt x="2091043" y="200228"/>
                  </a:lnTo>
                  <a:lnTo>
                    <a:pt x="2091043" y="200876"/>
                  </a:lnTo>
                  <a:lnTo>
                    <a:pt x="2091043" y="199530"/>
                  </a:lnTo>
                  <a:lnTo>
                    <a:pt x="2091043" y="200228"/>
                  </a:lnTo>
                  <a:lnTo>
                    <a:pt x="2091043" y="199530"/>
                  </a:lnTo>
                  <a:lnTo>
                    <a:pt x="2091144" y="199530"/>
                  </a:lnTo>
                  <a:lnTo>
                    <a:pt x="2091144" y="200228"/>
                  </a:lnTo>
                  <a:lnTo>
                    <a:pt x="2091144" y="199530"/>
                  </a:lnTo>
                  <a:lnTo>
                    <a:pt x="2091144" y="200228"/>
                  </a:lnTo>
                  <a:lnTo>
                    <a:pt x="2091144" y="198831"/>
                  </a:lnTo>
                  <a:lnTo>
                    <a:pt x="2091195" y="197447"/>
                  </a:lnTo>
                  <a:lnTo>
                    <a:pt x="2091195" y="198831"/>
                  </a:lnTo>
                  <a:lnTo>
                    <a:pt x="2091195" y="196799"/>
                  </a:lnTo>
                  <a:lnTo>
                    <a:pt x="2091195" y="197447"/>
                  </a:lnTo>
                  <a:lnTo>
                    <a:pt x="2091195" y="196799"/>
                  </a:lnTo>
                  <a:lnTo>
                    <a:pt x="2091246" y="196799"/>
                  </a:lnTo>
                  <a:lnTo>
                    <a:pt x="2091246" y="197447"/>
                  </a:lnTo>
                  <a:lnTo>
                    <a:pt x="2091246" y="196113"/>
                  </a:lnTo>
                  <a:lnTo>
                    <a:pt x="2091246" y="197447"/>
                  </a:lnTo>
                  <a:lnTo>
                    <a:pt x="2091284" y="197447"/>
                  </a:lnTo>
                  <a:lnTo>
                    <a:pt x="2091284" y="199530"/>
                  </a:lnTo>
                  <a:lnTo>
                    <a:pt x="2091284" y="196113"/>
                  </a:lnTo>
                  <a:lnTo>
                    <a:pt x="2091284" y="198831"/>
                  </a:lnTo>
                  <a:lnTo>
                    <a:pt x="2091386" y="198831"/>
                  </a:lnTo>
                  <a:lnTo>
                    <a:pt x="2091386" y="196799"/>
                  </a:lnTo>
                  <a:lnTo>
                    <a:pt x="2091386" y="198831"/>
                  </a:lnTo>
                  <a:lnTo>
                    <a:pt x="2091437" y="198831"/>
                  </a:lnTo>
                  <a:lnTo>
                    <a:pt x="2091437" y="197447"/>
                  </a:lnTo>
                  <a:lnTo>
                    <a:pt x="2091437" y="198831"/>
                  </a:lnTo>
                  <a:lnTo>
                    <a:pt x="2091437" y="197447"/>
                  </a:lnTo>
                  <a:lnTo>
                    <a:pt x="2091437" y="198831"/>
                  </a:lnTo>
                  <a:lnTo>
                    <a:pt x="2091437" y="197447"/>
                  </a:lnTo>
                  <a:lnTo>
                    <a:pt x="2091487" y="198831"/>
                  </a:lnTo>
                  <a:lnTo>
                    <a:pt x="2091487" y="199530"/>
                  </a:lnTo>
                  <a:lnTo>
                    <a:pt x="2091487" y="198831"/>
                  </a:lnTo>
                  <a:lnTo>
                    <a:pt x="2091487" y="199530"/>
                  </a:lnTo>
                  <a:lnTo>
                    <a:pt x="2091487" y="198831"/>
                  </a:lnTo>
                  <a:lnTo>
                    <a:pt x="2091589" y="198831"/>
                  </a:lnTo>
                  <a:lnTo>
                    <a:pt x="2091589" y="199530"/>
                  </a:lnTo>
                  <a:lnTo>
                    <a:pt x="2091589" y="198831"/>
                  </a:lnTo>
                  <a:lnTo>
                    <a:pt x="2091589" y="199530"/>
                  </a:lnTo>
                  <a:lnTo>
                    <a:pt x="2091640" y="198831"/>
                  </a:lnTo>
                  <a:lnTo>
                    <a:pt x="2091640" y="199530"/>
                  </a:lnTo>
                  <a:lnTo>
                    <a:pt x="2091640" y="197447"/>
                  </a:lnTo>
                  <a:lnTo>
                    <a:pt x="2091640" y="198831"/>
                  </a:lnTo>
                  <a:lnTo>
                    <a:pt x="2091640" y="197447"/>
                  </a:lnTo>
                  <a:lnTo>
                    <a:pt x="2091690" y="196799"/>
                  </a:lnTo>
                  <a:lnTo>
                    <a:pt x="2091690" y="196113"/>
                  </a:lnTo>
                  <a:lnTo>
                    <a:pt x="2091690" y="197447"/>
                  </a:lnTo>
                  <a:lnTo>
                    <a:pt x="2091741" y="198831"/>
                  </a:lnTo>
                  <a:lnTo>
                    <a:pt x="2091741" y="196113"/>
                  </a:lnTo>
                  <a:lnTo>
                    <a:pt x="2091741" y="200228"/>
                  </a:lnTo>
                  <a:lnTo>
                    <a:pt x="2091741" y="199530"/>
                  </a:lnTo>
                  <a:lnTo>
                    <a:pt x="2091830" y="198831"/>
                  </a:lnTo>
                  <a:lnTo>
                    <a:pt x="2091830" y="196799"/>
                  </a:lnTo>
                  <a:lnTo>
                    <a:pt x="2091830" y="199530"/>
                  </a:lnTo>
                  <a:lnTo>
                    <a:pt x="2091830" y="198831"/>
                  </a:lnTo>
                  <a:lnTo>
                    <a:pt x="2091881" y="198831"/>
                  </a:lnTo>
                  <a:lnTo>
                    <a:pt x="2091881" y="197447"/>
                  </a:lnTo>
                  <a:lnTo>
                    <a:pt x="2091881" y="198831"/>
                  </a:lnTo>
                  <a:lnTo>
                    <a:pt x="2091932" y="198831"/>
                  </a:lnTo>
                  <a:lnTo>
                    <a:pt x="2091932" y="199530"/>
                  </a:lnTo>
                  <a:lnTo>
                    <a:pt x="2091983" y="199530"/>
                  </a:lnTo>
                  <a:lnTo>
                    <a:pt x="2091983" y="200228"/>
                  </a:lnTo>
                  <a:lnTo>
                    <a:pt x="2091983" y="198831"/>
                  </a:lnTo>
                  <a:lnTo>
                    <a:pt x="2091983" y="199530"/>
                  </a:lnTo>
                  <a:lnTo>
                    <a:pt x="2092084" y="199530"/>
                  </a:lnTo>
                  <a:lnTo>
                    <a:pt x="2092084" y="198831"/>
                  </a:lnTo>
                  <a:lnTo>
                    <a:pt x="2092084" y="199530"/>
                  </a:lnTo>
                  <a:lnTo>
                    <a:pt x="2092084" y="198831"/>
                  </a:lnTo>
                  <a:lnTo>
                    <a:pt x="2092084" y="199530"/>
                  </a:lnTo>
                  <a:lnTo>
                    <a:pt x="2092084" y="198831"/>
                  </a:lnTo>
                  <a:lnTo>
                    <a:pt x="2092084" y="199530"/>
                  </a:lnTo>
                  <a:lnTo>
                    <a:pt x="2092084" y="198831"/>
                  </a:lnTo>
                  <a:lnTo>
                    <a:pt x="2092135" y="198831"/>
                  </a:lnTo>
                  <a:lnTo>
                    <a:pt x="2092135" y="197447"/>
                  </a:lnTo>
                  <a:lnTo>
                    <a:pt x="2092186" y="197447"/>
                  </a:lnTo>
                  <a:lnTo>
                    <a:pt x="2092186" y="196113"/>
                  </a:lnTo>
                  <a:lnTo>
                    <a:pt x="2092186" y="198831"/>
                  </a:lnTo>
                  <a:lnTo>
                    <a:pt x="2092287" y="198831"/>
                  </a:lnTo>
                  <a:lnTo>
                    <a:pt x="2092287" y="196113"/>
                  </a:lnTo>
                  <a:lnTo>
                    <a:pt x="2092287" y="199530"/>
                  </a:lnTo>
                  <a:lnTo>
                    <a:pt x="2092325" y="198831"/>
                  </a:lnTo>
                  <a:lnTo>
                    <a:pt x="2092325" y="197447"/>
                  </a:lnTo>
                  <a:lnTo>
                    <a:pt x="2092325" y="199530"/>
                  </a:lnTo>
                  <a:lnTo>
                    <a:pt x="2092325" y="198831"/>
                  </a:lnTo>
                  <a:lnTo>
                    <a:pt x="2092376" y="198831"/>
                  </a:lnTo>
                  <a:lnTo>
                    <a:pt x="2092376" y="197447"/>
                  </a:lnTo>
                  <a:lnTo>
                    <a:pt x="2092376" y="199530"/>
                  </a:lnTo>
                  <a:lnTo>
                    <a:pt x="2092376" y="198831"/>
                  </a:lnTo>
                  <a:lnTo>
                    <a:pt x="2092427" y="198831"/>
                  </a:lnTo>
                  <a:lnTo>
                    <a:pt x="2092427" y="200228"/>
                  </a:lnTo>
                  <a:lnTo>
                    <a:pt x="2092427" y="199530"/>
                  </a:lnTo>
                  <a:lnTo>
                    <a:pt x="2092529" y="199530"/>
                  </a:lnTo>
                  <a:lnTo>
                    <a:pt x="2092529" y="198831"/>
                  </a:lnTo>
                  <a:lnTo>
                    <a:pt x="2092529" y="200228"/>
                  </a:lnTo>
                  <a:lnTo>
                    <a:pt x="2092529" y="198831"/>
                  </a:lnTo>
                  <a:lnTo>
                    <a:pt x="2092529" y="199530"/>
                  </a:lnTo>
                  <a:lnTo>
                    <a:pt x="2092529" y="198831"/>
                  </a:lnTo>
                  <a:lnTo>
                    <a:pt x="2092580" y="198831"/>
                  </a:lnTo>
                  <a:lnTo>
                    <a:pt x="2092580" y="199530"/>
                  </a:lnTo>
                  <a:lnTo>
                    <a:pt x="2092580" y="198831"/>
                  </a:lnTo>
                  <a:lnTo>
                    <a:pt x="2092580" y="199530"/>
                  </a:lnTo>
                  <a:lnTo>
                    <a:pt x="2092580" y="198831"/>
                  </a:lnTo>
                  <a:lnTo>
                    <a:pt x="2092580" y="199530"/>
                  </a:lnTo>
                  <a:lnTo>
                    <a:pt x="2092580" y="198831"/>
                  </a:lnTo>
                  <a:lnTo>
                    <a:pt x="2092580" y="199530"/>
                  </a:lnTo>
                  <a:lnTo>
                    <a:pt x="2092630" y="198831"/>
                  </a:lnTo>
                  <a:lnTo>
                    <a:pt x="2092630" y="197447"/>
                  </a:lnTo>
                  <a:lnTo>
                    <a:pt x="2092630" y="198831"/>
                  </a:lnTo>
                  <a:lnTo>
                    <a:pt x="2092630" y="196799"/>
                  </a:lnTo>
                  <a:lnTo>
                    <a:pt x="2092732" y="196799"/>
                  </a:lnTo>
                  <a:lnTo>
                    <a:pt x="2092732" y="194716"/>
                  </a:lnTo>
                  <a:lnTo>
                    <a:pt x="2092732" y="196113"/>
                  </a:lnTo>
                  <a:lnTo>
                    <a:pt x="2092783" y="196113"/>
                  </a:lnTo>
                  <a:lnTo>
                    <a:pt x="2092783" y="196799"/>
                  </a:lnTo>
                  <a:lnTo>
                    <a:pt x="2092783" y="195415"/>
                  </a:lnTo>
                  <a:lnTo>
                    <a:pt x="2092783" y="196799"/>
                  </a:lnTo>
                  <a:lnTo>
                    <a:pt x="2092834" y="196799"/>
                  </a:lnTo>
                  <a:lnTo>
                    <a:pt x="2092834" y="196113"/>
                  </a:lnTo>
                  <a:lnTo>
                    <a:pt x="2092834" y="198831"/>
                  </a:lnTo>
                  <a:lnTo>
                    <a:pt x="2092872" y="197447"/>
                  </a:lnTo>
                  <a:lnTo>
                    <a:pt x="2092872" y="198831"/>
                  </a:lnTo>
                  <a:lnTo>
                    <a:pt x="2092872" y="197447"/>
                  </a:lnTo>
                  <a:lnTo>
                    <a:pt x="2092973" y="198831"/>
                  </a:lnTo>
                  <a:lnTo>
                    <a:pt x="2092973" y="199530"/>
                  </a:lnTo>
                  <a:lnTo>
                    <a:pt x="2092973" y="198831"/>
                  </a:lnTo>
                  <a:lnTo>
                    <a:pt x="2092973" y="199530"/>
                  </a:lnTo>
                  <a:lnTo>
                    <a:pt x="2092973" y="198831"/>
                  </a:lnTo>
                  <a:lnTo>
                    <a:pt x="2093024" y="199530"/>
                  </a:lnTo>
                  <a:lnTo>
                    <a:pt x="2093024" y="198831"/>
                  </a:lnTo>
                  <a:lnTo>
                    <a:pt x="2093024" y="199530"/>
                  </a:lnTo>
                  <a:lnTo>
                    <a:pt x="2093024" y="198831"/>
                  </a:lnTo>
                  <a:lnTo>
                    <a:pt x="2093024" y="199530"/>
                  </a:lnTo>
                  <a:lnTo>
                    <a:pt x="2093024" y="198831"/>
                  </a:lnTo>
                  <a:lnTo>
                    <a:pt x="2093024" y="199530"/>
                  </a:lnTo>
                  <a:lnTo>
                    <a:pt x="2093024" y="198831"/>
                  </a:lnTo>
                  <a:lnTo>
                    <a:pt x="2093075" y="198831"/>
                  </a:lnTo>
                  <a:lnTo>
                    <a:pt x="2093075" y="199530"/>
                  </a:lnTo>
                  <a:lnTo>
                    <a:pt x="2093075" y="198831"/>
                  </a:lnTo>
                  <a:lnTo>
                    <a:pt x="2093075" y="199530"/>
                  </a:lnTo>
                  <a:lnTo>
                    <a:pt x="2093075" y="198831"/>
                  </a:lnTo>
                  <a:lnTo>
                    <a:pt x="2093176" y="198831"/>
                  </a:lnTo>
                  <a:lnTo>
                    <a:pt x="2093176" y="196113"/>
                  </a:lnTo>
                  <a:lnTo>
                    <a:pt x="2093176" y="196799"/>
                  </a:lnTo>
                  <a:lnTo>
                    <a:pt x="2093176" y="196113"/>
                  </a:lnTo>
                  <a:lnTo>
                    <a:pt x="2093176" y="196799"/>
                  </a:lnTo>
                  <a:lnTo>
                    <a:pt x="2093227" y="196799"/>
                  </a:lnTo>
                  <a:lnTo>
                    <a:pt x="2093227" y="195415"/>
                  </a:lnTo>
                  <a:lnTo>
                    <a:pt x="2093227" y="197447"/>
                  </a:lnTo>
                  <a:lnTo>
                    <a:pt x="2093278" y="196799"/>
                  </a:lnTo>
                  <a:lnTo>
                    <a:pt x="2093278" y="195415"/>
                  </a:lnTo>
                  <a:lnTo>
                    <a:pt x="2093278" y="197447"/>
                  </a:lnTo>
                  <a:lnTo>
                    <a:pt x="2093278" y="196799"/>
                  </a:lnTo>
                  <a:lnTo>
                    <a:pt x="2093278" y="197447"/>
                  </a:lnTo>
                  <a:lnTo>
                    <a:pt x="2093329" y="197447"/>
                  </a:lnTo>
                  <a:lnTo>
                    <a:pt x="2093329" y="196113"/>
                  </a:lnTo>
                  <a:lnTo>
                    <a:pt x="2093329" y="198831"/>
                  </a:lnTo>
                  <a:lnTo>
                    <a:pt x="2093329" y="197447"/>
                  </a:lnTo>
                  <a:lnTo>
                    <a:pt x="2093418" y="197447"/>
                  </a:lnTo>
                  <a:lnTo>
                    <a:pt x="2093418" y="198831"/>
                  </a:lnTo>
                  <a:lnTo>
                    <a:pt x="2093418" y="197447"/>
                  </a:lnTo>
                  <a:lnTo>
                    <a:pt x="2093418" y="198831"/>
                  </a:lnTo>
                  <a:lnTo>
                    <a:pt x="2093418" y="197447"/>
                  </a:lnTo>
                  <a:lnTo>
                    <a:pt x="2093469" y="197447"/>
                  </a:lnTo>
                  <a:lnTo>
                    <a:pt x="2093469" y="199530"/>
                  </a:lnTo>
                  <a:lnTo>
                    <a:pt x="2093519" y="199530"/>
                  </a:lnTo>
                  <a:lnTo>
                    <a:pt x="2093519" y="198831"/>
                  </a:lnTo>
                  <a:lnTo>
                    <a:pt x="2093519" y="199530"/>
                  </a:lnTo>
                  <a:lnTo>
                    <a:pt x="2093519" y="198831"/>
                  </a:lnTo>
                  <a:lnTo>
                    <a:pt x="2093519" y="199530"/>
                  </a:lnTo>
                  <a:lnTo>
                    <a:pt x="2093519" y="198831"/>
                  </a:lnTo>
                  <a:lnTo>
                    <a:pt x="2093570" y="198831"/>
                  </a:lnTo>
                  <a:lnTo>
                    <a:pt x="2093570" y="199530"/>
                  </a:lnTo>
                  <a:lnTo>
                    <a:pt x="2093570" y="197447"/>
                  </a:lnTo>
                  <a:lnTo>
                    <a:pt x="2093672" y="198831"/>
                  </a:lnTo>
                  <a:lnTo>
                    <a:pt x="2093672" y="196113"/>
                  </a:lnTo>
                  <a:lnTo>
                    <a:pt x="2093672" y="196799"/>
                  </a:lnTo>
                  <a:lnTo>
                    <a:pt x="2093722" y="196799"/>
                  </a:lnTo>
                  <a:lnTo>
                    <a:pt x="2093722" y="194716"/>
                  </a:lnTo>
                  <a:lnTo>
                    <a:pt x="2093722" y="196799"/>
                  </a:lnTo>
                  <a:lnTo>
                    <a:pt x="2093773" y="196113"/>
                  </a:lnTo>
                  <a:lnTo>
                    <a:pt x="2093773" y="195415"/>
                  </a:lnTo>
                  <a:lnTo>
                    <a:pt x="2093773" y="197447"/>
                  </a:lnTo>
                  <a:lnTo>
                    <a:pt x="2093773" y="196799"/>
                  </a:lnTo>
                  <a:lnTo>
                    <a:pt x="2093875" y="196113"/>
                  </a:lnTo>
                  <a:lnTo>
                    <a:pt x="2093875" y="197447"/>
                  </a:lnTo>
                  <a:lnTo>
                    <a:pt x="2093913" y="197447"/>
                  </a:lnTo>
                  <a:lnTo>
                    <a:pt x="2093913" y="196799"/>
                  </a:lnTo>
                  <a:lnTo>
                    <a:pt x="2093913" y="198831"/>
                  </a:lnTo>
                  <a:lnTo>
                    <a:pt x="2093913" y="197447"/>
                  </a:lnTo>
                  <a:lnTo>
                    <a:pt x="2093964" y="197447"/>
                  </a:lnTo>
                  <a:lnTo>
                    <a:pt x="2093964" y="198831"/>
                  </a:lnTo>
                  <a:lnTo>
                    <a:pt x="2093964" y="197447"/>
                  </a:lnTo>
                  <a:lnTo>
                    <a:pt x="2093964" y="199530"/>
                  </a:lnTo>
                  <a:lnTo>
                    <a:pt x="2093964" y="198831"/>
                  </a:lnTo>
                  <a:lnTo>
                    <a:pt x="2093964" y="199530"/>
                  </a:lnTo>
                  <a:lnTo>
                    <a:pt x="2094015" y="199530"/>
                  </a:lnTo>
                  <a:lnTo>
                    <a:pt x="2094015" y="198831"/>
                  </a:lnTo>
                  <a:lnTo>
                    <a:pt x="2094015" y="199530"/>
                  </a:lnTo>
                  <a:lnTo>
                    <a:pt x="2094015" y="198831"/>
                  </a:lnTo>
                  <a:lnTo>
                    <a:pt x="2094015" y="199530"/>
                  </a:lnTo>
                  <a:lnTo>
                    <a:pt x="2094015" y="198831"/>
                  </a:lnTo>
                  <a:lnTo>
                    <a:pt x="2094116" y="199530"/>
                  </a:lnTo>
                  <a:lnTo>
                    <a:pt x="2094116" y="198831"/>
                  </a:lnTo>
                  <a:lnTo>
                    <a:pt x="2094116" y="199530"/>
                  </a:lnTo>
                  <a:lnTo>
                    <a:pt x="2094116" y="198831"/>
                  </a:lnTo>
                  <a:lnTo>
                    <a:pt x="2094116" y="199530"/>
                  </a:lnTo>
                  <a:lnTo>
                    <a:pt x="2094116" y="198831"/>
                  </a:lnTo>
                  <a:lnTo>
                    <a:pt x="2094116" y="199530"/>
                  </a:lnTo>
                  <a:lnTo>
                    <a:pt x="2094116" y="198831"/>
                  </a:lnTo>
                  <a:lnTo>
                    <a:pt x="2094167" y="198831"/>
                  </a:lnTo>
                  <a:lnTo>
                    <a:pt x="2094167" y="196799"/>
                  </a:lnTo>
                  <a:lnTo>
                    <a:pt x="2094218" y="196799"/>
                  </a:lnTo>
                  <a:lnTo>
                    <a:pt x="2094218" y="196113"/>
                  </a:lnTo>
                  <a:lnTo>
                    <a:pt x="2094218" y="197447"/>
                  </a:lnTo>
                  <a:lnTo>
                    <a:pt x="2094218" y="196113"/>
                  </a:lnTo>
                  <a:lnTo>
                    <a:pt x="2094319" y="196113"/>
                  </a:lnTo>
                  <a:lnTo>
                    <a:pt x="2094319" y="198831"/>
                  </a:lnTo>
                  <a:lnTo>
                    <a:pt x="2094319" y="196799"/>
                  </a:lnTo>
                  <a:lnTo>
                    <a:pt x="2094370" y="197447"/>
                  </a:lnTo>
                  <a:lnTo>
                    <a:pt x="2094370" y="196799"/>
                  </a:lnTo>
                  <a:lnTo>
                    <a:pt x="2094370" y="198831"/>
                  </a:lnTo>
                  <a:lnTo>
                    <a:pt x="2094370" y="197447"/>
                  </a:lnTo>
                  <a:lnTo>
                    <a:pt x="2094370" y="198831"/>
                  </a:lnTo>
                  <a:lnTo>
                    <a:pt x="2094370" y="197447"/>
                  </a:lnTo>
                  <a:lnTo>
                    <a:pt x="2094421" y="197447"/>
                  </a:lnTo>
                  <a:lnTo>
                    <a:pt x="2094421" y="198831"/>
                  </a:lnTo>
                  <a:lnTo>
                    <a:pt x="2094421" y="196799"/>
                  </a:lnTo>
                  <a:lnTo>
                    <a:pt x="2094421" y="197447"/>
                  </a:lnTo>
                  <a:lnTo>
                    <a:pt x="2094421" y="196799"/>
                  </a:lnTo>
                  <a:lnTo>
                    <a:pt x="2094421" y="197447"/>
                  </a:lnTo>
                  <a:lnTo>
                    <a:pt x="2094459" y="197447"/>
                  </a:lnTo>
                  <a:lnTo>
                    <a:pt x="2094459" y="198831"/>
                  </a:lnTo>
                  <a:lnTo>
                    <a:pt x="2094459" y="197447"/>
                  </a:lnTo>
                  <a:lnTo>
                    <a:pt x="2094459" y="198831"/>
                  </a:lnTo>
                  <a:lnTo>
                    <a:pt x="2094459" y="197447"/>
                  </a:lnTo>
                  <a:lnTo>
                    <a:pt x="2094459" y="198831"/>
                  </a:lnTo>
                  <a:lnTo>
                    <a:pt x="2094459" y="197447"/>
                  </a:lnTo>
                  <a:lnTo>
                    <a:pt x="2094561" y="197447"/>
                  </a:lnTo>
                  <a:lnTo>
                    <a:pt x="2094561" y="198831"/>
                  </a:lnTo>
                  <a:lnTo>
                    <a:pt x="2094612" y="198831"/>
                  </a:lnTo>
                  <a:lnTo>
                    <a:pt x="2094612" y="197447"/>
                  </a:lnTo>
                  <a:lnTo>
                    <a:pt x="2094662" y="197447"/>
                  </a:lnTo>
                  <a:lnTo>
                    <a:pt x="2094662" y="196799"/>
                  </a:lnTo>
                  <a:lnTo>
                    <a:pt x="2094662" y="197447"/>
                  </a:lnTo>
                  <a:lnTo>
                    <a:pt x="2094764" y="198831"/>
                  </a:lnTo>
                  <a:lnTo>
                    <a:pt x="2094764" y="196799"/>
                  </a:lnTo>
                  <a:lnTo>
                    <a:pt x="2094764" y="200228"/>
                  </a:lnTo>
                  <a:lnTo>
                    <a:pt x="2094815" y="199530"/>
                  </a:lnTo>
                  <a:lnTo>
                    <a:pt x="2094815" y="198831"/>
                  </a:lnTo>
                  <a:lnTo>
                    <a:pt x="2094815" y="200228"/>
                  </a:lnTo>
                  <a:lnTo>
                    <a:pt x="2094815" y="199530"/>
                  </a:lnTo>
                  <a:lnTo>
                    <a:pt x="2094815" y="200228"/>
                  </a:lnTo>
                  <a:lnTo>
                    <a:pt x="2094865" y="199530"/>
                  </a:lnTo>
                  <a:lnTo>
                    <a:pt x="2094865" y="200228"/>
                  </a:lnTo>
                  <a:lnTo>
                    <a:pt x="2094865" y="199530"/>
                  </a:lnTo>
                  <a:lnTo>
                    <a:pt x="2094865" y="200228"/>
                  </a:lnTo>
                  <a:lnTo>
                    <a:pt x="2094865" y="199530"/>
                  </a:lnTo>
                  <a:lnTo>
                    <a:pt x="2094916" y="199530"/>
                  </a:lnTo>
                  <a:lnTo>
                    <a:pt x="2094916" y="200228"/>
                  </a:lnTo>
                  <a:lnTo>
                    <a:pt x="2094916" y="199530"/>
                  </a:lnTo>
                  <a:lnTo>
                    <a:pt x="2095005" y="199530"/>
                  </a:lnTo>
                  <a:lnTo>
                    <a:pt x="2095005" y="200228"/>
                  </a:lnTo>
                  <a:lnTo>
                    <a:pt x="2095005" y="199530"/>
                  </a:lnTo>
                  <a:lnTo>
                    <a:pt x="2095005" y="200228"/>
                  </a:lnTo>
                  <a:lnTo>
                    <a:pt x="2095056" y="200228"/>
                  </a:lnTo>
                  <a:lnTo>
                    <a:pt x="2095056" y="199530"/>
                  </a:lnTo>
                  <a:lnTo>
                    <a:pt x="2095107" y="198831"/>
                  </a:lnTo>
                  <a:lnTo>
                    <a:pt x="2095107" y="197447"/>
                  </a:lnTo>
                  <a:lnTo>
                    <a:pt x="2095107" y="198831"/>
                  </a:lnTo>
                  <a:lnTo>
                    <a:pt x="2095107" y="196799"/>
                  </a:lnTo>
                  <a:lnTo>
                    <a:pt x="2095158" y="197447"/>
                  </a:lnTo>
                  <a:lnTo>
                    <a:pt x="2095158" y="196799"/>
                  </a:lnTo>
                  <a:lnTo>
                    <a:pt x="2095158" y="199530"/>
                  </a:lnTo>
                  <a:lnTo>
                    <a:pt x="2095158" y="197447"/>
                  </a:lnTo>
                  <a:lnTo>
                    <a:pt x="2095259" y="197447"/>
                  </a:lnTo>
                  <a:lnTo>
                    <a:pt x="2095259" y="202260"/>
                  </a:lnTo>
                  <a:lnTo>
                    <a:pt x="2095259" y="199530"/>
                  </a:lnTo>
                  <a:lnTo>
                    <a:pt x="2095310" y="200228"/>
                  </a:lnTo>
                  <a:lnTo>
                    <a:pt x="2095310" y="202260"/>
                  </a:lnTo>
                  <a:lnTo>
                    <a:pt x="2095310" y="200228"/>
                  </a:lnTo>
                  <a:lnTo>
                    <a:pt x="2095310" y="200876"/>
                  </a:lnTo>
                  <a:lnTo>
                    <a:pt x="2095361" y="200876"/>
                  </a:lnTo>
                  <a:lnTo>
                    <a:pt x="2095361" y="202260"/>
                  </a:lnTo>
                  <a:lnTo>
                    <a:pt x="2095361" y="200228"/>
                  </a:lnTo>
                  <a:lnTo>
                    <a:pt x="2095361" y="200876"/>
                  </a:lnTo>
                  <a:lnTo>
                    <a:pt x="2095361" y="200228"/>
                  </a:lnTo>
                  <a:lnTo>
                    <a:pt x="2095361" y="200876"/>
                  </a:lnTo>
                  <a:lnTo>
                    <a:pt x="2095462" y="200876"/>
                  </a:lnTo>
                  <a:lnTo>
                    <a:pt x="2095462" y="200228"/>
                  </a:lnTo>
                  <a:lnTo>
                    <a:pt x="2095462" y="200876"/>
                  </a:lnTo>
                  <a:lnTo>
                    <a:pt x="2095462" y="200228"/>
                  </a:lnTo>
                  <a:lnTo>
                    <a:pt x="2095462" y="200876"/>
                  </a:lnTo>
                  <a:lnTo>
                    <a:pt x="2095462" y="200228"/>
                  </a:lnTo>
                  <a:lnTo>
                    <a:pt x="2095462" y="200876"/>
                  </a:lnTo>
                  <a:lnTo>
                    <a:pt x="2095462" y="200228"/>
                  </a:lnTo>
                  <a:lnTo>
                    <a:pt x="2095500" y="200228"/>
                  </a:lnTo>
                  <a:lnTo>
                    <a:pt x="2095500" y="199530"/>
                  </a:lnTo>
                  <a:lnTo>
                    <a:pt x="2095500" y="200228"/>
                  </a:lnTo>
                  <a:lnTo>
                    <a:pt x="2095500" y="199530"/>
                  </a:lnTo>
                  <a:lnTo>
                    <a:pt x="2095500" y="200876"/>
                  </a:lnTo>
                  <a:lnTo>
                    <a:pt x="2095551" y="200228"/>
                  </a:lnTo>
                  <a:lnTo>
                    <a:pt x="2095551" y="198831"/>
                  </a:lnTo>
                  <a:lnTo>
                    <a:pt x="2095551" y="199530"/>
                  </a:lnTo>
                  <a:lnTo>
                    <a:pt x="2095551" y="198831"/>
                  </a:lnTo>
                  <a:lnTo>
                    <a:pt x="2095551" y="199530"/>
                  </a:lnTo>
                  <a:lnTo>
                    <a:pt x="2095551" y="197447"/>
                  </a:lnTo>
                  <a:lnTo>
                    <a:pt x="2095602" y="197447"/>
                  </a:lnTo>
                  <a:lnTo>
                    <a:pt x="2095602" y="196113"/>
                  </a:lnTo>
                  <a:lnTo>
                    <a:pt x="2095602" y="196799"/>
                  </a:lnTo>
                  <a:lnTo>
                    <a:pt x="2095704" y="196799"/>
                  </a:lnTo>
                  <a:lnTo>
                    <a:pt x="2095704" y="197447"/>
                  </a:lnTo>
                  <a:lnTo>
                    <a:pt x="2095704" y="196113"/>
                  </a:lnTo>
                  <a:lnTo>
                    <a:pt x="2095704" y="198831"/>
                  </a:lnTo>
                  <a:lnTo>
                    <a:pt x="2095755" y="198831"/>
                  </a:lnTo>
                  <a:lnTo>
                    <a:pt x="2095755" y="199530"/>
                  </a:lnTo>
                  <a:lnTo>
                    <a:pt x="2095755" y="198831"/>
                  </a:lnTo>
                  <a:lnTo>
                    <a:pt x="2095755" y="199530"/>
                  </a:lnTo>
                  <a:lnTo>
                    <a:pt x="2095755" y="197447"/>
                  </a:lnTo>
                  <a:lnTo>
                    <a:pt x="2095755" y="199530"/>
                  </a:lnTo>
                  <a:lnTo>
                    <a:pt x="2095805" y="200228"/>
                  </a:lnTo>
                  <a:lnTo>
                    <a:pt x="2095805" y="199530"/>
                  </a:lnTo>
                  <a:lnTo>
                    <a:pt x="2095805" y="200228"/>
                  </a:lnTo>
                  <a:lnTo>
                    <a:pt x="2095805" y="199530"/>
                  </a:lnTo>
                  <a:lnTo>
                    <a:pt x="2095805" y="200228"/>
                  </a:lnTo>
                  <a:lnTo>
                    <a:pt x="2095907" y="200228"/>
                  </a:lnTo>
                  <a:lnTo>
                    <a:pt x="2095907" y="200876"/>
                  </a:lnTo>
                  <a:lnTo>
                    <a:pt x="2095907" y="200228"/>
                  </a:lnTo>
                  <a:lnTo>
                    <a:pt x="2095907" y="200876"/>
                  </a:lnTo>
                  <a:lnTo>
                    <a:pt x="2095958" y="200876"/>
                  </a:lnTo>
                  <a:lnTo>
                    <a:pt x="2095958" y="200228"/>
                  </a:lnTo>
                  <a:lnTo>
                    <a:pt x="2095958" y="200876"/>
                  </a:lnTo>
                  <a:lnTo>
                    <a:pt x="2095958" y="200228"/>
                  </a:lnTo>
                  <a:lnTo>
                    <a:pt x="2095958" y="200876"/>
                  </a:lnTo>
                  <a:lnTo>
                    <a:pt x="2095958" y="200228"/>
                  </a:lnTo>
                  <a:lnTo>
                    <a:pt x="2095958" y="200876"/>
                  </a:lnTo>
                  <a:lnTo>
                    <a:pt x="2095958" y="200228"/>
                  </a:lnTo>
                  <a:lnTo>
                    <a:pt x="2096009" y="200876"/>
                  </a:lnTo>
                  <a:lnTo>
                    <a:pt x="2096009" y="200228"/>
                  </a:lnTo>
                  <a:lnTo>
                    <a:pt x="2096009" y="200876"/>
                  </a:lnTo>
                  <a:lnTo>
                    <a:pt x="2096009" y="200228"/>
                  </a:lnTo>
                  <a:lnTo>
                    <a:pt x="2096009" y="200876"/>
                  </a:lnTo>
                  <a:lnTo>
                    <a:pt x="2096009" y="199530"/>
                  </a:lnTo>
                  <a:lnTo>
                    <a:pt x="2096047" y="199530"/>
                  </a:lnTo>
                  <a:lnTo>
                    <a:pt x="2096047" y="200228"/>
                  </a:lnTo>
                  <a:lnTo>
                    <a:pt x="2096047" y="199530"/>
                  </a:lnTo>
                  <a:lnTo>
                    <a:pt x="2096047" y="200228"/>
                  </a:lnTo>
                  <a:lnTo>
                    <a:pt x="2096047" y="199530"/>
                  </a:lnTo>
                  <a:lnTo>
                    <a:pt x="2096047" y="200228"/>
                  </a:lnTo>
                  <a:lnTo>
                    <a:pt x="2096047" y="197447"/>
                  </a:lnTo>
                  <a:lnTo>
                    <a:pt x="2096148" y="197447"/>
                  </a:lnTo>
                  <a:lnTo>
                    <a:pt x="2096148" y="196799"/>
                  </a:lnTo>
                  <a:lnTo>
                    <a:pt x="2096148" y="198831"/>
                  </a:lnTo>
                  <a:lnTo>
                    <a:pt x="2096199" y="198831"/>
                  </a:lnTo>
                  <a:lnTo>
                    <a:pt x="2096199" y="196113"/>
                  </a:lnTo>
                  <a:lnTo>
                    <a:pt x="2096199" y="200228"/>
                  </a:lnTo>
                  <a:lnTo>
                    <a:pt x="2096199" y="198831"/>
                  </a:lnTo>
                  <a:lnTo>
                    <a:pt x="2096250" y="198831"/>
                  </a:lnTo>
                  <a:lnTo>
                    <a:pt x="2096250" y="197447"/>
                  </a:lnTo>
                  <a:lnTo>
                    <a:pt x="2096250" y="200876"/>
                  </a:lnTo>
                  <a:lnTo>
                    <a:pt x="2096250" y="199530"/>
                  </a:lnTo>
                  <a:lnTo>
                    <a:pt x="2096351" y="199530"/>
                  </a:lnTo>
                  <a:lnTo>
                    <a:pt x="2096351" y="200228"/>
                  </a:lnTo>
                  <a:lnTo>
                    <a:pt x="2096402" y="199530"/>
                  </a:lnTo>
                  <a:lnTo>
                    <a:pt x="2096402" y="200228"/>
                  </a:lnTo>
                  <a:lnTo>
                    <a:pt x="2096453" y="200228"/>
                  </a:lnTo>
                  <a:lnTo>
                    <a:pt x="2096453" y="200876"/>
                  </a:lnTo>
                  <a:lnTo>
                    <a:pt x="2096453" y="199530"/>
                  </a:lnTo>
                  <a:lnTo>
                    <a:pt x="2096453" y="200228"/>
                  </a:lnTo>
                  <a:lnTo>
                    <a:pt x="2096504" y="200228"/>
                  </a:lnTo>
                  <a:lnTo>
                    <a:pt x="2096504" y="200876"/>
                  </a:lnTo>
                  <a:lnTo>
                    <a:pt x="2096504" y="200228"/>
                  </a:lnTo>
                  <a:lnTo>
                    <a:pt x="2096593" y="199530"/>
                  </a:lnTo>
                  <a:lnTo>
                    <a:pt x="2096593" y="197447"/>
                  </a:lnTo>
                  <a:lnTo>
                    <a:pt x="2096593" y="198831"/>
                  </a:lnTo>
                  <a:lnTo>
                    <a:pt x="2096593" y="197447"/>
                  </a:lnTo>
                  <a:lnTo>
                    <a:pt x="2096644" y="197447"/>
                  </a:lnTo>
                  <a:lnTo>
                    <a:pt x="2096644" y="195415"/>
                  </a:lnTo>
                  <a:lnTo>
                    <a:pt x="2096644" y="197447"/>
                  </a:lnTo>
                  <a:lnTo>
                    <a:pt x="2096694" y="197447"/>
                  </a:lnTo>
                  <a:lnTo>
                    <a:pt x="2096694" y="195415"/>
                  </a:lnTo>
                  <a:lnTo>
                    <a:pt x="2096694" y="198831"/>
                  </a:lnTo>
                  <a:lnTo>
                    <a:pt x="2096694" y="197447"/>
                  </a:lnTo>
                  <a:lnTo>
                    <a:pt x="2096745" y="197447"/>
                  </a:lnTo>
                  <a:lnTo>
                    <a:pt x="2096745" y="196799"/>
                  </a:lnTo>
                  <a:lnTo>
                    <a:pt x="2096745" y="198831"/>
                  </a:lnTo>
                  <a:lnTo>
                    <a:pt x="2096847" y="197447"/>
                  </a:lnTo>
                  <a:lnTo>
                    <a:pt x="2096847" y="196799"/>
                  </a:lnTo>
                  <a:lnTo>
                    <a:pt x="2096847" y="198831"/>
                  </a:lnTo>
                  <a:lnTo>
                    <a:pt x="2096847" y="197447"/>
                  </a:lnTo>
                  <a:lnTo>
                    <a:pt x="2096847" y="198831"/>
                  </a:lnTo>
                  <a:lnTo>
                    <a:pt x="2096847" y="197447"/>
                  </a:lnTo>
                  <a:lnTo>
                    <a:pt x="2096897" y="198831"/>
                  </a:lnTo>
                  <a:lnTo>
                    <a:pt x="2096897" y="199530"/>
                  </a:lnTo>
                  <a:lnTo>
                    <a:pt x="2096948" y="199530"/>
                  </a:lnTo>
                  <a:lnTo>
                    <a:pt x="2096948" y="200228"/>
                  </a:lnTo>
                  <a:lnTo>
                    <a:pt x="2097050" y="200228"/>
                  </a:lnTo>
                  <a:lnTo>
                    <a:pt x="2097050" y="198831"/>
                  </a:lnTo>
                  <a:lnTo>
                    <a:pt x="2097050" y="199530"/>
                  </a:lnTo>
                  <a:lnTo>
                    <a:pt x="2097088" y="198831"/>
                  </a:lnTo>
                  <a:lnTo>
                    <a:pt x="2097088" y="196799"/>
                  </a:lnTo>
                  <a:lnTo>
                    <a:pt x="2097088" y="197447"/>
                  </a:lnTo>
                  <a:lnTo>
                    <a:pt x="2097088" y="196799"/>
                  </a:lnTo>
                  <a:lnTo>
                    <a:pt x="2097139" y="196799"/>
                  </a:lnTo>
                  <a:lnTo>
                    <a:pt x="2097139" y="196113"/>
                  </a:lnTo>
                  <a:lnTo>
                    <a:pt x="2097139" y="197447"/>
                  </a:lnTo>
                  <a:lnTo>
                    <a:pt x="2097139" y="196113"/>
                  </a:lnTo>
                  <a:lnTo>
                    <a:pt x="2097190" y="195415"/>
                  </a:lnTo>
                  <a:lnTo>
                    <a:pt x="2097190" y="199530"/>
                  </a:lnTo>
                  <a:lnTo>
                    <a:pt x="2097190" y="196799"/>
                  </a:lnTo>
                  <a:lnTo>
                    <a:pt x="2097291" y="196799"/>
                  </a:lnTo>
                  <a:lnTo>
                    <a:pt x="2097291" y="198831"/>
                  </a:lnTo>
                  <a:lnTo>
                    <a:pt x="2097291" y="196799"/>
                  </a:lnTo>
                  <a:lnTo>
                    <a:pt x="2097342" y="196799"/>
                  </a:lnTo>
                  <a:lnTo>
                    <a:pt x="2097342" y="197447"/>
                  </a:lnTo>
                  <a:lnTo>
                    <a:pt x="2097393" y="197447"/>
                  </a:lnTo>
                  <a:lnTo>
                    <a:pt x="2097393" y="198831"/>
                  </a:lnTo>
                  <a:lnTo>
                    <a:pt x="2097393" y="197447"/>
                  </a:lnTo>
                  <a:lnTo>
                    <a:pt x="2097393" y="198831"/>
                  </a:lnTo>
                  <a:lnTo>
                    <a:pt x="2097393" y="197447"/>
                  </a:lnTo>
                  <a:lnTo>
                    <a:pt x="2097393" y="198831"/>
                  </a:lnTo>
                  <a:lnTo>
                    <a:pt x="2097494" y="198831"/>
                  </a:lnTo>
                  <a:lnTo>
                    <a:pt x="2097494" y="197447"/>
                  </a:lnTo>
                  <a:lnTo>
                    <a:pt x="2097494" y="198831"/>
                  </a:lnTo>
                  <a:lnTo>
                    <a:pt x="2097494" y="197447"/>
                  </a:lnTo>
                  <a:lnTo>
                    <a:pt x="2097494" y="198831"/>
                  </a:lnTo>
                  <a:lnTo>
                    <a:pt x="2097545" y="198831"/>
                  </a:lnTo>
                  <a:lnTo>
                    <a:pt x="2097545" y="197447"/>
                  </a:lnTo>
                  <a:lnTo>
                    <a:pt x="2097545" y="198831"/>
                  </a:lnTo>
                  <a:lnTo>
                    <a:pt x="2097545" y="197447"/>
                  </a:lnTo>
                  <a:lnTo>
                    <a:pt x="2097596" y="197447"/>
                  </a:lnTo>
                  <a:lnTo>
                    <a:pt x="2097596" y="196113"/>
                  </a:lnTo>
                  <a:lnTo>
                    <a:pt x="2097596" y="196799"/>
                  </a:lnTo>
                  <a:lnTo>
                    <a:pt x="2097596" y="196113"/>
                  </a:lnTo>
                  <a:lnTo>
                    <a:pt x="2097634" y="196113"/>
                  </a:lnTo>
                  <a:lnTo>
                    <a:pt x="2097634" y="195415"/>
                  </a:lnTo>
                  <a:lnTo>
                    <a:pt x="2097634" y="197447"/>
                  </a:lnTo>
                  <a:lnTo>
                    <a:pt x="2097634" y="195415"/>
                  </a:lnTo>
                  <a:lnTo>
                    <a:pt x="2097634" y="196113"/>
                  </a:lnTo>
                  <a:lnTo>
                    <a:pt x="2097736" y="196113"/>
                  </a:lnTo>
                  <a:lnTo>
                    <a:pt x="2097736" y="199530"/>
                  </a:lnTo>
                  <a:lnTo>
                    <a:pt x="2097736" y="197447"/>
                  </a:lnTo>
                  <a:lnTo>
                    <a:pt x="2097736" y="198831"/>
                  </a:lnTo>
                  <a:lnTo>
                    <a:pt x="2097736" y="196799"/>
                  </a:lnTo>
                  <a:lnTo>
                    <a:pt x="2097736" y="197447"/>
                  </a:lnTo>
                  <a:lnTo>
                    <a:pt x="2097787" y="197447"/>
                  </a:lnTo>
                  <a:lnTo>
                    <a:pt x="2097787" y="199530"/>
                  </a:lnTo>
                  <a:lnTo>
                    <a:pt x="2097787" y="198831"/>
                  </a:lnTo>
                  <a:lnTo>
                    <a:pt x="2097787" y="199530"/>
                  </a:lnTo>
                  <a:lnTo>
                    <a:pt x="2097787" y="197447"/>
                  </a:lnTo>
                  <a:lnTo>
                    <a:pt x="2097787" y="198831"/>
                  </a:lnTo>
                  <a:lnTo>
                    <a:pt x="2097787" y="197447"/>
                  </a:lnTo>
                  <a:lnTo>
                    <a:pt x="2097787" y="198831"/>
                  </a:lnTo>
                  <a:lnTo>
                    <a:pt x="2097837" y="198831"/>
                  </a:lnTo>
                  <a:lnTo>
                    <a:pt x="2097837" y="199530"/>
                  </a:lnTo>
                  <a:lnTo>
                    <a:pt x="2097837" y="197447"/>
                  </a:lnTo>
                  <a:lnTo>
                    <a:pt x="2097837" y="199530"/>
                  </a:lnTo>
                  <a:lnTo>
                    <a:pt x="2097939" y="199530"/>
                  </a:lnTo>
                  <a:lnTo>
                    <a:pt x="2097939" y="198831"/>
                  </a:lnTo>
                  <a:lnTo>
                    <a:pt x="2097939" y="199530"/>
                  </a:lnTo>
                  <a:lnTo>
                    <a:pt x="2097939" y="198831"/>
                  </a:lnTo>
                  <a:lnTo>
                    <a:pt x="2097939" y="199530"/>
                  </a:lnTo>
                  <a:lnTo>
                    <a:pt x="2097939" y="198831"/>
                  </a:lnTo>
                  <a:lnTo>
                    <a:pt x="2097939" y="199530"/>
                  </a:lnTo>
                  <a:lnTo>
                    <a:pt x="2097990" y="199530"/>
                  </a:lnTo>
                  <a:lnTo>
                    <a:pt x="2097990" y="198831"/>
                  </a:lnTo>
                  <a:lnTo>
                    <a:pt x="2097990" y="199530"/>
                  </a:lnTo>
                  <a:lnTo>
                    <a:pt x="2097990" y="198831"/>
                  </a:lnTo>
                  <a:lnTo>
                    <a:pt x="2097990" y="200228"/>
                  </a:lnTo>
                  <a:lnTo>
                    <a:pt x="2097990" y="199530"/>
                  </a:lnTo>
                  <a:lnTo>
                    <a:pt x="2098040" y="200228"/>
                  </a:lnTo>
                  <a:lnTo>
                    <a:pt x="2098040" y="198831"/>
                  </a:lnTo>
                  <a:lnTo>
                    <a:pt x="2098091" y="198831"/>
                  </a:lnTo>
                  <a:lnTo>
                    <a:pt x="2098091" y="196113"/>
                  </a:lnTo>
                  <a:lnTo>
                    <a:pt x="2098091" y="196799"/>
                  </a:lnTo>
                  <a:lnTo>
                    <a:pt x="2098180" y="197447"/>
                  </a:lnTo>
                  <a:lnTo>
                    <a:pt x="2098180" y="198831"/>
                  </a:lnTo>
                  <a:lnTo>
                    <a:pt x="2098180" y="196799"/>
                  </a:lnTo>
                  <a:lnTo>
                    <a:pt x="2098180" y="199530"/>
                  </a:lnTo>
                  <a:lnTo>
                    <a:pt x="2098231" y="200228"/>
                  </a:lnTo>
                  <a:lnTo>
                    <a:pt x="2098231" y="197447"/>
                  </a:lnTo>
                  <a:lnTo>
                    <a:pt x="2098231" y="200228"/>
                  </a:lnTo>
                  <a:lnTo>
                    <a:pt x="2098282" y="200228"/>
                  </a:lnTo>
                  <a:lnTo>
                    <a:pt x="2098282" y="198831"/>
                  </a:lnTo>
                  <a:lnTo>
                    <a:pt x="2098282" y="199530"/>
                  </a:lnTo>
                  <a:lnTo>
                    <a:pt x="2098333" y="199530"/>
                  </a:lnTo>
                  <a:lnTo>
                    <a:pt x="2098333" y="200228"/>
                  </a:lnTo>
                  <a:lnTo>
                    <a:pt x="2098333" y="199530"/>
                  </a:lnTo>
                  <a:lnTo>
                    <a:pt x="2098434" y="199530"/>
                  </a:lnTo>
                  <a:lnTo>
                    <a:pt x="2098434" y="200228"/>
                  </a:lnTo>
                  <a:lnTo>
                    <a:pt x="2098434" y="199530"/>
                  </a:lnTo>
                  <a:lnTo>
                    <a:pt x="2098434" y="200228"/>
                  </a:lnTo>
                  <a:lnTo>
                    <a:pt x="2098434" y="199530"/>
                  </a:lnTo>
                  <a:lnTo>
                    <a:pt x="2098434" y="200228"/>
                  </a:lnTo>
                  <a:lnTo>
                    <a:pt x="2098434" y="199530"/>
                  </a:lnTo>
                  <a:lnTo>
                    <a:pt x="2098434" y="200228"/>
                  </a:lnTo>
                  <a:lnTo>
                    <a:pt x="2098434" y="199530"/>
                  </a:lnTo>
                  <a:lnTo>
                    <a:pt x="2098485" y="199530"/>
                  </a:lnTo>
                  <a:lnTo>
                    <a:pt x="2098485" y="200228"/>
                  </a:lnTo>
                  <a:lnTo>
                    <a:pt x="2098485" y="198831"/>
                  </a:lnTo>
                  <a:lnTo>
                    <a:pt x="2098536" y="198831"/>
                  </a:lnTo>
                  <a:lnTo>
                    <a:pt x="2098536" y="199530"/>
                  </a:lnTo>
                  <a:lnTo>
                    <a:pt x="2098536" y="196799"/>
                  </a:lnTo>
                  <a:lnTo>
                    <a:pt x="2098637" y="196799"/>
                  </a:lnTo>
                  <a:lnTo>
                    <a:pt x="2098637" y="196113"/>
                  </a:lnTo>
                  <a:lnTo>
                    <a:pt x="2098637" y="196799"/>
                  </a:lnTo>
                  <a:lnTo>
                    <a:pt x="2098637" y="196113"/>
                  </a:lnTo>
                  <a:lnTo>
                    <a:pt x="2098637" y="198831"/>
                  </a:lnTo>
                  <a:lnTo>
                    <a:pt x="2098675" y="198831"/>
                  </a:lnTo>
                  <a:lnTo>
                    <a:pt x="2098675" y="196799"/>
                  </a:lnTo>
                  <a:lnTo>
                    <a:pt x="2098675" y="199530"/>
                  </a:lnTo>
                  <a:lnTo>
                    <a:pt x="2098726" y="199530"/>
                  </a:lnTo>
                  <a:lnTo>
                    <a:pt x="2098726" y="196799"/>
                  </a:lnTo>
                  <a:lnTo>
                    <a:pt x="2098726" y="200228"/>
                  </a:lnTo>
                  <a:lnTo>
                    <a:pt x="2098726" y="199530"/>
                  </a:lnTo>
                  <a:lnTo>
                    <a:pt x="2098777" y="199530"/>
                  </a:lnTo>
                  <a:lnTo>
                    <a:pt x="2098777" y="197447"/>
                  </a:lnTo>
                  <a:lnTo>
                    <a:pt x="2098777" y="199530"/>
                  </a:lnTo>
                  <a:lnTo>
                    <a:pt x="2098879" y="199530"/>
                  </a:lnTo>
                  <a:lnTo>
                    <a:pt x="2098879" y="200228"/>
                  </a:lnTo>
                  <a:lnTo>
                    <a:pt x="2098879" y="199530"/>
                  </a:lnTo>
                  <a:lnTo>
                    <a:pt x="2098879" y="200228"/>
                  </a:lnTo>
                  <a:lnTo>
                    <a:pt x="2098930" y="199530"/>
                  </a:lnTo>
                  <a:lnTo>
                    <a:pt x="2098930" y="200228"/>
                  </a:lnTo>
                  <a:lnTo>
                    <a:pt x="2098930" y="199530"/>
                  </a:lnTo>
                  <a:lnTo>
                    <a:pt x="2098930" y="200228"/>
                  </a:lnTo>
                  <a:lnTo>
                    <a:pt x="2098930" y="199530"/>
                  </a:lnTo>
                  <a:lnTo>
                    <a:pt x="2098930" y="200228"/>
                  </a:lnTo>
                  <a:lnTo>
                    <a:pt x="2098930" y="199530"/>
                  </a:lnTo>
                  <a:lnTo>
                    <a:pt x="2098930" y="200228"/>
                  </a:lnTo>
                  <a:lnTo>
                    <a:pt x="2098930" y="199530"/>
                  </a:lnTo>
                  <a:lnTo>
                    <a:pt x="2098980" y="199530"/>
                  </a:lnTo>
                  <a:lnTo>
                    <a:pt x="2098980" y="198831"/>
                  </a:lnTo>
                  <a:lnTo>
                    <a:pt x="2099082" y="198831"/>
                  </a:lnTo>
                  <a:lnTo>
                    <a:pt x="2099082" y="197447"/>
                  </a:lnTo>
                  <a:lnTo>
                    <a:pt x="2099082" y="198831"/>
                  </a:lnTo>
                  <a:lnTo>
                    <a:pt x="2099082" y="196799"/>
                  </a:lnTo>
                  <a:lnTo>
                    <a:pt x="2099082" y="197447"/>
                  </a:lnTo>
                  <a:lnTo>
                    <a:pt x="2099082" y="196799"/>
                  </a:lnTo>
                  <a:lnTo>
                    <a:pt x="2099133" y="196799"/>
                  </a:lnTo>
                  <a:lnTo>
                    <a:pt x="2099133" y="198831"/>
                  </a:lnTo>
                  <a:lnTo>
                    <a:pt x="2099133" y="196799"/>
                  </a:lnTo>
                  <a:lnTo>
                    <a:pt x="2099184" y="196799"/>
                  </a:lnTo>
                  <a:lnTo>
                    <a:pt x="2099184" y="200228"/>
                  </a:lnTo>
                  <a:lnTo>
                    <a:pt x="2099184" y="197447"/>
                  </a:lnTo>
                  <a:lnTo>
                    <a:pt x="2099184" y="198831"/>
                  </a:lnTo>
                  <a:lnTo>
                    <a:pt x="2099184" y="197447"/>
                  </a:lnTo>
                  <a:lnTo>
                    <a:pt x="2099222" y="198831"/>
                  </a:lnTo>
                  <a:lnTo>
                    <a:pt x="2099222" y="200228"/>
                  </a:lnTo>
                  <a:lnTo>
                    <a:pt x="2099222" y="198831"/>
                  </a:lnTo>
                  <a:lnTo>
                    <a:pt x="2099222" y="199530"/>
                  </a:lnTo>
                  <a:lnTo>
                    <a:pt x="2099323" y="199530"/>
                  </a:lnTo>
                  <a:lnTo>
                    <a:pt x="2099323" y="200228"/>
                  </a:lnTo>
                  <a:lnTo>
                    <a:pt x="2099323" y="199530"/>
                  </a:lnTo>
                  <a:lnTo>
                    <a:pt x="2099323" y="200228"/>
                  </a:lnTo>
                  <a:lnTo>
                    <a:pt x="2099323" y="199530"/>
                  </a:lnTo>
                  <a:lnTo>
                    <a:pt x="2099374" y="200228"/>
                  </a:lnTo>
                  <a:lnTo>
                    <a:pt x="2099374" y="199530"/>
                  </a:lnTo>
                  <a:lnTo>
                    <a:pt x="2099374" y="200228"/>
                  </a:lnTo>
                  <a:lnTo>
                    <a:pt x="2099374" y="199530"/>
                  </a:lnTo>
                  <a:lnTo>
                    <a:pt x="2099374" y="200228"/>
                  </a:lnTo>
                  <a:lnTo>
                    <a:pt x="2099425" y="200228"/>
                  </a:lnTo>
                  <a:lnTo>
                    <a:pt x="2099425" y="199530"/>
                  </a:lnTo>
                  <a:lnTo>
                    <a:pt x="2099425" y="200228"/>
                  </a:lnTo>
                  <a:lnTo>
                    <a:pt x="2099425" y="199530"/>
                  </a:lnTo>
                  <a:lnTo>
                    <a:pt x="2099526" y="199530"/>
                  </a:lnTo>
                  <a:lnTo>
                    <a:pt x="2099526" y="198831"/>
                  </a:lnTo>
                  <a:lnTo>
                    <a:pt x="2099577" y="198831"/>
                  </a:lnTo>
                  <a:lnTo>
                    <a:pt x="2099577" y="196113"/>
                  </a:lnTo>
                  <a:lnTo>
                    <a:pt x="2099577" y="196799"/>
                  </a:lnTo>
                  <a:lnTo>
                    <a:pt x="2099577" y="196113"/>
                  </a:lnTo>
                  <a:lnTo>
                    <a:pt x="2099628" y="195415"/>
                  </a:lnTo>
                  <a:lnTo>
                    <a:pt x="2099628" y="194716"/>
                  </a:lnTo>
                  <a:lnTo>
                    <a:pt x="2099628" y="196799"/>
                  </a:lnTo>
                  <a:lnTo>
                    <a:pt x="2099628" y="196113"/>
                  </a:lnTo>
                  <a:lnTo>
                    <a:pt x="2099679" y="195415"/>
                  </a:lnTo>
                  <a:lnTo>
                    <a:pt x="2099679" y="198831"/>
                  </a:lnTo>
                  <a:lnTo>
                    <a:pt x="2099679" y="197447"/>
                  </a:lnTo>
                  <a:lnTo>
                    <a:pt x="2099679" y="198831"/>
                  </a:lnTo>
                  <a:lnTo>
                    <a:pt x="2099679" y="196799"/>
                  </a:lnTo>
                  <a:lnTo>
                    <a:pt x="2099768" y="196799"/>
                  </a:lnTo>
                  <a:lnTo>
                    <a:pt x="2099768" y="198831"/>
                  </a:lnTo>
                  <a:lnTo>
                    <a:pt x="2099768" y="197447"/>
                  </a:lnTo>
                  <a:lnTo>
                    <a:pt x="2099819" y="197447"/>
                  </a:lnTo>
                  <a:lnTo>
                    <a:pt x="2099819" y="198831"/>
                  </a:lnTo>
                  <a:lnTo>
                    <a:pt x="2099869" y="199530"/>
                  </a:lnTo>
                  <a:lnTo>
                    <a:pt x="2099869" y="200228"/>
                  </a:lnTo>
                  <a:lnTo>
                    <a:pt x="2099869" y="198831"/>
                  </a:lnTo>
                  <a:lnTo>
                    <a:pt x="2099869" y="200228"/>
                  </a:lnTo>
                  <a:lnTo>
                    <a:pt x="2100022" y="200228"/>
                  </a:lnTo>
                  <a:lnTo>
                    <a:pt x="2100022" y="198831"/>
                  </a:lnTo>
                  <a:lnTo>
                    <a:pt x="2100072" y="198831"/>
                  </a:lnTo>
                  <a:lnTo>
                    <a:pt x="2100072" y="197447"/>
                  </a:lnTo>
                  <a:lnTo>
                    <a:pt x="2100072" y="198831"/>
                  </a:lnTo>
                  <a:lnTo>
                    <a:pt x="2100072" y="197447"/>
                  </a:lnTo>
                  <a:lnTo>
                    <a:pt x="2100072" y="198831"/>
                  </a:lnTo>
                  <a:lnTo>
                    <a:pt x="2100072" y="196799"/>
                  </a:lnTo>
                  <a:lnTo>
                    <a:pt x="2100123" y="196799"/>
                  </a:lnTo>
                  <a:lnTo>
                    <a:pt x="2100123" y="197447"/>
                  </a:lnTo>
                  <a:lnTo>
                    <a:pt x="2100123" y="196113"/>
                  </a:lnTo>
                  <a:lnTo>
                    <a:pt x="2100123" y="196799"/>
                  </a:lnTo>
                  <a:lnTo>
                    <a:pt x="2100225" y="197447"/>
                  </a:lnTo>
                  <a:lnTo>
                    <a:pt x="2100225" y="199530"/>
                  </a:lnTo>
                  <a:lnTo>
                    <a:pt x="2100225" y="198831"/>
                  </a:lnTo>
                  <a:lnTo>
                    <a:pt x="2100225" y="199530"/>
                  </a:lnTo>
                  <a:lnTo>
                    <a:pt x="2100225" y="196799"/>
                  </a:lnTo>
                  <a:lnTo>
                    <a:pt x="2100225" y="197447"/>
                  </a:lnTo>
                  <a:lnTo>
                    <a:pt x="2100225" y="196799"/>
                  </a:lnTo>
                  <a:lnTo>
                    <a:pt x="2100225" y="198831"/>
                  </a:lnTo>
                  <a:lnTo>
                    <a:pt x="2100263" y="198831"/>
                  </a:lnTo>
                  <a:lnTo>
                    <a:pt x="2100263" y="196799"/>
                  </a:lnTo>
                  <a:lnTo>
                    <a:pt x="2100263" y="198831"/>
                  </a:lnTo>
                  <a:lnTo>
                    <a:pt x="2100314" y="198831"/>
                  </a:lnTo>
                  <a:lnTo>
                    <a:pt x="2100314" y="197447"/>
                  </a:lnTo>
                  <a:lnTo>
                    <a:pt x="2100314" y="198831"/>
                  </a:lnTo>
                  <a:lnTo>
                    <a:pt x="2100314" y="197447"/>
                  </a:lnTo>
                  <a:lnTo>
                    <a:pt x="2100314" y="198831"/>
                  </a:lnTo>
                  <a:lnTo>
                    <a:pt x="2100365" y="198831"/>
                  </a:lnTo>
                  <a:lnTo>
                    <a:pt x="2100365" y="197447"/>
                  </a:lnTo>
                  <a:lnTo>
                    <a:pt x="2100365" y="198831"/>
                  </a:lnTo>
                  <a:lnTo>
                    <a:pt x="2100365" y="197447"/>
                  </a:lnTo>
                  <a:lnTo>
                    <a:pt x="2100365" y="198831"/>
                  </a:lnTo>
                  <a:lnTo>
                    <a:pt x="2100466" y="198831"/>
                  </a:lnTo>
                  <a:lnTo>
                    <a:pt x="2100466" y="199530"/>
                  </a:lnTo>
                  <a:lnTo>
                    <a:pt x="2100466" y="198831"/>
                  </a:lnTo>
                  <a:lnTo>
                    <a:pt x="2100466" y="199530"/>
                  </a:lnTo>
                  <a:lnTo>
                    <a:pt x="2100466" y="198831"/>
                  </a:lnTo>
                  <a:lnTo>
                    <a:pt x="2100466" y="199530"/>
                  </a:lnTo>
                  <a:lnTo>
                    <a:pt x="2100466" y="198831"/>
                  </a:lnTo>
                  <a:lnTo>
                    <a:pt x="2100517" y="198831"/>
                  </a:lnTo>
                  <a:lnTo>
                    <a:pt x="2100517" y="197447"/>
                  </a:lnTo>
                  <a:lnTo>
                    <a:pt x="2100517" y="198831"/>
                  </a:lnTo>
                  <a:lnTo>
                    <a:pt x="2100568" y="197447"/>
                  </a:lnTo>
                  <a:lnTo>
                    <a:pt x="2100568" y="196799"/>
                  </a:lnTo>
                  <a:lnTo>
                    <a:pt x="2100568" y="198831"/>
                  </a:lnTo>
                  <a:lnTo>
                    <a:pt x="2100568" y="197447"/>
                  </a:lnTo>
                  <a:lnTo>
                    <a:pt x="2100669" y="197447"/>
                  </a:lnTo>
                  <a:lnTo>
                    <a:pt x="2100669" y="195415"/>
                  </a:lnTo>
                  <a:lnTo>
                    <a:pt x="2100669" y="199530"/>
                  </a:lnTo>
                  <a:lnTo>
                    <a:pt x="2100720" y="199530"/>
                  </a:lnTo>
                  <a:lnTo>
                    <a:pt x="2100720" y="197447"/>
                  </a:lnTo>
                  <a:lnTo>
                    <a:pt x="2100720" y="199530"/>
                  </a:lnTo>
                  <a:lnTo>
                    <a:pt x="2100771" y="199530"/>
                  </a:lnTo>
                  <a:lnTo>
                    <a:pt x="2100771" y="197447"/>
                  </a:lnTo>
                  <a:lnTo>
                    <a:pt x="2100771" y="199530"/>
                  </a:lnTo>
                  <a:lnTo>
                    <a:pt x="2100809" y="199530"/>
                  </a:lnTo>
                  <a:lnTo>
                    <a:pt x="2100809" y="198831"/>
                  </a:lnTo>
                  <a:lnTo>
                    <a:pt x="2100809" y="200228"/>
                  </a:lnTo>
                  <a:lnTo>
                    <a:pt x="2100809" y="199530"/>
                  </a:lnTo>
                  <a:lnTo>
                    <a:pt x="2100911" y="199530"/>
                  </a:lnTo>
                  <a:lnTo>
                    <a:pt x="2100911" y="198831"/>
                  </a:lnTo>
                  <a:lnTo>
                    <a:pt x="2100911" y="199530"/>
                  </a:lnTo>
                  <a:lnTo>
                    <a:pt x="2100962" y="199530"/>
                  </a:lnTo>
                  <a:lnTo>
                    <a:pt x="2100962" y="198831"/>
                  </a:lnTo>
                  <a:lnTo>
                    <a:pt x="2100962" y="199530"/>
                  </a:lnTo>
                  <a:lnTo>
                    <a:pt x="2100962" y="198831"/>
                  </a:lnTo>
                  <a:lnTo>
                    <a:pt x="2101012" y="198831"/>
                  </a:lnTo>
                  <a:lnTo>
                    <a:pt x="2101012" y="199530"/>
                  </a:lnTo>
                  <a:lnTo>
                    <a:pt x="2101012" y="196799"/>
                  </a:lnTo>
                  <a:lnTo>
                    <a:pt x="2101012" y="197447"/>
                  </a:lnTo>
                  <a:lnTo>
                    <a:pt x="2101114" y="197447"/>
                  </a:lnTo>
                  <a:lnTo>
                    <a:pt x="2101114" y="196113"/>
                  </a:lnTo>
                  <a:lnTo>
                    <a:pt x="2101114" y="198831"/>
                  </a:lnTo>
                  <a:lnTo>
                    <a:pt x="2101114" y="197447"/>
                  </a:lnTo>
                  <a:lnTo>
                    <a:pt x="2101165" y="196799"/>
                  </a:lnTo>
                  <a:lnTo>
                    <a:pt x="2101165" y="196113"/>
                  </a:lnTo>
                  <a:lnTo>
                    <a:pt x="2101165" y="196799"/>
                  </a:lnTo>
                  <a:lnTo>
                    <a:pt x="2101165" y="196113"/>
                  </a:lnTo>
                  <a:lnTo>
                    <a:pt x="2101165" y="200228"/>
                  </a:lnTo>
                  <a:lnTo>
                    <a:pt x="2101165" y="199530"/>
                  </a:lnTo>
                  <a:lnTo>
                    <a:pt x="2101215" y="198831"/>
                  </a:lnTo>
                  <a:lnTo>
                    <a:pt x="2101215" y="197447"/>
                  </a:lnTo>
                  <a:lnTo>
                    <a:pt x="2101215" y="200228"/>
                  </a:lnTo>
                  <a:lnTo>
                    <a:pt x="2101215" y="198831"/>
                  </a:lnTo>
                  <a:lnTo>
                    <a:pt x="2101266" y="198831"/>
                  </a:lnTo>
                  <a:lnTo>
                    <a:pt x="2101266" y="200228"/>
                  </a:lnTo>
                  <a:lnTo>
                    <a:pt x="2101266" y="199530"/>
                  </a:lnTo>
                  <a:lnTo>
                    <a:pt x="2101355" y="199530"/>
                  </a:lnTo>
                  <a:lnTo>
                    <a:pt x="2101355" y="200228"/>
                  </a:lnTo>
                  <a:lnTo>
                    <a:pt x="2101355" y="199530"/>
                  </a:lnTo>
                  <a:lnTo>
                    <a:pt x="2101355" y="200228"/>
                  </a:lnTo>
                  <a:lnTo>
                    <a:pt x="2101355" y="198831"/>
                  </a:lnTo>
                  <a:lnTo>
                    <a:pt x="2101355" y="199530"/>
                  </a:lnTo>
                  <a:lnTo>
                    <a:pt x="2101406" y="199530"/>
                  </a:lnTo>
                  <a:lnTo>
                    <a:pt x="2101406" y="200228"/>
                  </a:lnTo>
                  <a:lnTo>
                    <a:pt x="2101406" y="198831"/>
                  </a:lnTo>
                  <a:lnTo>
                    <a:pt x="2101457" y="199530"/>
                  </a:lnTo>
                  <a:lnTo>
                    <a:pt x="2101457" y="198831"/>
                  </a:lnTo>
                  <a:lnTo>
                    <a:pt x="2101457" y="199530"/>
                  </a:lnTo>
                  <a:lnTo>
                    <a:pt x="2101457" y="198831"/>
                  </a:lnTo>
                  <a:lnTo>
                    <a:pt x="2101508" y="197447"/>
                  </a:lnTo>
                  <a:lnTo>
                    <a:pt x="2101508" y="196113"/>
                  </a:lnTo>
                  <a:lnTo>
                    <a:pt x="2101508" y="196799"/>
                  </a:lnTo>
                  <a:lnTo>
                    <a:pt x="2101508" y="196113"/>
                  </a:lnTo>
                  <a:lnTo>
                    <a:pt x="2101609" y="196113"/>
                  </a:lnTo>
                  <a:lnTo>
                    <a:pt x="2101609" y="195415"/>
                  </a:lnTo>
                  <a:lnTo>
                    <a:pt x="2101609" y="196113"/>
                  </a:lnTo>
                  <a:lnTo>
                    <a:pt x="2101609" y="195415"/>
                  </a:lnTo>
                  <a:lnTo>
                    <a:pt x="2101660" y="195415"/>
                  </a:lnTo>
                  <a:lnTo>
                    <a:pt x="2101660" y="196113"/>
                  </a:lnTo>
                  <a:lnTo>
                    <a:pt x="2101660" y="195415"/>
                  </a:lnTo>
                  <a:lnTo>
                    <a:pt x="2101660" y="197447"/>
                  </a:lnTo>
                  <a:lnTo>
                    <a:pt x="2101711" y="196799"/>
                  </a:lnTo>
                  <a:lnTo>
                    <a:pt x="2101711" y="197447"/>
                  </a:lnTo>
                  <a:lnTo>
                    <a:pt x="2101812" y="197447"/>
                  </a:lnTo>
                  <a:lnTo>
                    <a:pt x="2101812" y="196799"/>
                  </a:lnTo>
                  <a:lnTo>
                    <a:pt x="2101812" y="197447"/>
                  </a:lnTo>
                  <a:lnTo>
                    <a:pt x="2101812" y="196799"/>
                  </a:lnTo>
                  <a:lnTo>
                    <a:pt x="2101812" y="198831"/>
                  </a:lnTo>
                  <a:lnTo>
                    <a:pt x="2101812" y="197447"/>
                  </a:lnTo>
                  <a:lnTo>
                    <a:pt x="2101812" y="198831"/>
                  </a:lnTo>
                  <a:lnTo>
                    <a:pt x="2101850" y="198831"/>
                  </a:lnTo>
                  <a:lnTo>
                    <a:pt x="2101850" y="199530"/>
                  </a:lnTo>
                  <a:lnTo>
                    <a:pt x="2101850" y="198831"/>
                  </a:lnTo>
                  <a:lnTo>
                    <a:pt x="2101850" y="199530"/>
                  </a:lnTo>
                  <a:lnTo>
                    <a:pt x="2101901" y="199530"/>
                  </a:lnTo>
                  <a:lnTo>
                    <a:pt x="2101901" y="198831"/>
                  </a:lnTo>
                  <a:lnTo>
                    <a:pt x="2101901" y="200228"/>
                  </a:lnTo>
                  <a:lnTo>
                    <a:pt x="2101901" y="199530"/>
                  </a:lnTo>
                  <a:lnTo>
                    <a:pt x="2101952" y="199530"/>
                  </a:lnTo>
                  <a:lnTo>
                    <a:pt x="2101952" y="200228"/>
                  </a:lnTo>
                  <a:lnTo>
                    <a:pt x="2101952" y="198831"/>
                  </a:lnTo>
                  <a:lnTo>
                    <a:pt x="2102054" y="198831"/>
                  </a:lnTo>
                  <a:lnTo>
                    <a:pt x="2102054" y="197447"/>
                  </a:lnTo>
                  <a:lnTo>
                    <a:pt x="2102054" y="198831"/>
                  </a:lnTo>
                  <a:lnTo>
                    <a:pt x="2102054" y="196799"/>
                  </a:lnTo>
                  <a:lnTo>
                    <a:pt x="2102105" y="196799"/>
                  </a:lnTo>
                  <a:lnTo>
                    <a:pt x="2102105" y="195415"/>
                  </a:lnTo>
                  <a:lnTo>
                    <a:pt x="2102105" y="196113"/>
                  </a:lnTo>
                  <a:lnTo>
                    <a:pt x="2102105" y="195415"/>
                  </a:lnTo>
                  <a:lnTo>
                    <a:pt x="2102105" y="196799"/>
                  </a:lnTo>
                  <a:lnTo>
                    <a:pt x="2102105" y="196113"/>
                  </a:lnTo>
                  <a:lnTo>
                    <a:pt x="2102155" y="196113"/>
                  </a:lnTo>
                  <a:lnTo>
                    <a:pt x="2102155" y="195415"/>
                  </a:lnTo>
                  <a:lnTo>
                    <a:pt x="2102155" y="197447"/>
                  </a:lnTo>
                  <a:lnTo>
                    <a:pt x="2102155" y="196799"/>
                  </a:lnTo>
                  <a:lnTo>
                    <a:pt x="2102257" y="196799"/>
                  </a:lnTo>
                  <a:lnTo>
                    <a:pt x="2102257" y="196113"/>
                  </a:lnTo>
                  <a:lnTo>
                    <a:pt x="2102257" y="197447"/>
                  </a:lnTo>
                  <a:lnTo>
                    <a:pt x="2102257" y="196799"/>
                  </a:lnTo>
                  <a:lnTo>
                    <a:pt x="2102257" y="197447"/>
                  </a:lnTo>
                  <a:lnTo>
                    <a:pt x="2102308" y="197447"/>
                  </a:lnTo>
                  <a:lnTo>
                    <a:pt x="2102308" y="198831"/>
                  </a:lnTo>
                  <a:lnTo>
                    <a:pt x="2102308" y="197447"/>
                  </a:lnTo>
                  <a:lnTo>
                    <a:pt x="2102359" y="198831"/>
                  </a:lnTo>
                  <a:lnTo>
                    <a:pt x="2102359" y="197447"/>
                  </a:lnTo>
                  <a:lnTo>
                    <a:pt x="2102359" y="198831"/>
                  </a:lnTo>
                  <a:lnTo>
                    <a:pt x="2102359" y="197447"/>
                  </a:lnTo>
                  <a:lnTo>
                    <a:pt x="2102359" y="198831"/>
                  </a:lnTo>
                  <a:lnTo>
                    <a:pt x="2102359" y="197447"/>
                  </a:lnTo>
                  <a:lnTo>
                    <a:pt x="2102359" y="198831"/>
                  </a:lnTo>
                  <a:lnTo>
                    <a:pt x="2102397" y="198831"/>
                  </a:lnTo>
                  <a:lnTo>
                    <a:pt x="2102397" y="199530"/>
                  </a:lnTo>
                  <a:lnTo>
                    <a:pt x="2102397" y="198831"/>
                  </a:lnTo>
                  <a:lnTo>
                    <a:pt x="2102397" y="199530"/>
                  </a:lnTo>
                  <a:lnTo>
                    <a:pt x="2102397" y="198831"/>
                  </a:lnTo>
                  <a:lnTo>
                    <a:pt x="2102397" y="199530"/>
                  </a:lnTo>
                  <a:lnTo>
                    <a:pt x="2102498" y="199530"/>
                  </a:lnTo>
                  <a:lnTo>
                    <a:pt x="2102498" y="198831"/>
                  </a:lnTo>
                  <a:lnTo>
                    <a:pt x="2102498" y="199530"/>
                  </a:lnTo>
                  <a:lnTo>
                    <a:pt x="2102498" y="198831"/>
                  </a:lnTo>
                  <a:lnTo>
                    <a:pt x="2102549" y="198831"/>
                  </a:lnTo>
                  <a:lnTo>
                    <a:pt x="2102549" y="196799"/>
                  </a:lnTo>
                  <a:lnTo>
                    <a:pt x="2102600" y="196113"/>
                  </a:lnTo>
                  <a:lnTo>
                    <a:pt x="2102600" y="193383"/>
                  </a:lnTo>
                  <a:lnTo>
                    <a:pt x="2102600" y="194716"/>
                  </a:lnTo>
                  <a:lnTo>
                    <a:pt x="2102701" y="194716"/>
                  </a:lnTo>
                  <a:lnTo>
                    <a:pt x="2102701" y="196113"/>
                  </a:lnTo>
                  <a:lnTo>
                    <a:pt x="2102701" y="193383"/>
                  </a:lnTo>
                  <a:lnTo>
                    <a:pt x="2102701" y="196799"/>
                  </a:lnTo>
                  <a:lnTo>
                    <a:pt x="2102752" y="196799"/>
                  </a:lnTo>
                  <a:lnTo>
                    <a:pt x="2102752" y="195415"/>
                  </a:lnTo>
                  <a:lnTo>
                    <a:pt x="2102752" y="196113"/>
                  </a:lnTo>
                  <a:lnTo>
                    <a:pt x="2102752" y="195415"/>
                  </a:lnTo>
                  <a:lnTo>
                    <a:pt x="2102752" y="196113"/>
                  </a:lnTo>
                  <a:lnTo>
                    <a:pt x="2102803" y="196799"/>
                  </a:lnTo>
                  <a:lnTo>
                    <a:pt x="2102803" y="196113"/>
                  </a:lnTo>
                  <a:lnTo>
                    <a:pt x="2102803" y="196799"/>
                  </a:lnTo>
                  <a:lnTo>
                    <a:pt x="2102803" y="196113"/>
                  </a:lnTo>
                  <a:lnTo>
                    <a:pt x="2102803" y="196799"/>
                  </a:lnTo>
                  <a:lnTo>
                    <a:pt x="2102803" y="196113"/>
                  </a:lnTo>
                  <a:lnTo>
                    <a:pt x="2102803" y="196799"/>
                  </a:lnTo>
                  <a:lnTo>
                    <a:pt x="2102854" y="196799"/>
                  </a:lnTo>
                  <a:lnTo>
                    <a:pt x="2102854" y="197447"/>
                  </a:lnTo>
                  <a:lnTo>
                    <a:pt x="2102854" y="196799"/>
                  </a:lnTo>
                  <a:lnTo>
                    <a:pt x="2102854" y="197447"/>
                  </a:lnTo>
                  <a:lnTo>
                    <a:pt x="2102943" y="197447"/>
                  </a:lnTo>
                  <a:lnTo>
                    <a:pt x="2102943" y="199530"/>
                  </a:lnTo>
                  <a:lnTo>
                    <a:pt x="2102994" y="199530"/>
                  </a:lnTo>
                  <a:lnTo>
                    <a:pt x="2102994" y="198831"/>
                  </a:lnTo>
                  <a:lnTo>
                    <a:pt x="2102994" y="199530"/>
                  </a:lnTo>
                  <a:lnTo>
                    <a:pt x="2102994" y="198831"/>
                  </a:lnTo>
                  <a:lnTo>
                    <a:pt x="2102994" y="199530"/>
                  </a:lnTo>
                  <a:lnTo>
                    <a:pt x="2102994" y="198831"/>
                  </a:lnTo>
                  <a:lnTo>
                    <a:pt x="2102994" y="199530"/>
                  </a:lnTo>
                  <a:lnTo>
                    <a:pt x="2102994" y="198831"/>
                  </a:lnTo>
                  <a:lnTo>
                    <a:pt x="2102994" y="199530"/>
                  </a:lnTo>
                  <a:lnTo>
                    <a:pt x="2102994" y="198831"/>
                  </a:lnTo>
                  <a:lnTo>
                    <a:pt x="2102994" y="199530"/>
                  </a:lnTo>
                  <a:lnTo>
                    <a:pt x="2102994" y="198831"/>
                  </a:lnTo>
                  <a:lnTo>
                    <a:pt x="2102994" y="199530"/>
                  </a:lnTo>
                  <a:lnTo>
                    <a:pt x="2102994" y="198831"/>
                  </a:lnTo>
                  <a:lnTo>
                    <a:pt x="2103044" y="198831"/>
                  </a:lnTo>
                  <a:lnTo>
                    <a:pt x="2103044" y="197447"/>
                  </a:lnTo>
                  <a:lnTo>
                    <a:pt x="2103044" y="198831"/>
                  </a:lnTo>
                  <a:lnTo>
                    <a:pt x="2103044" y="196799"/>
                  </a:lnTo>
                  <a:lnTo>
                    <a:pt x="2103095" y="197447"/>
                  </a:lnTo>
                  <a:lnTo>
                    <a:pt x="2103095" y="194716"/>
                  </a:lnTo>
                  <a:lnTo>
                    <a:pt x="2103095" y="195415"/>
                  </a:lnTo>
                  <a:lnTo>
                    <a:pt x="2103197" y="196113"/>
                  </a:lnTo>
                  <a:lnTo>
                    <a:pt x="2103197" y="193383"/>
                  </a:lnTo>
                  <a:lnTo>
                    <a:pt x="2103197" y="196113"/>
                  </a:lnTo>
                  <a:lnTo>
                    <a:pt x="2103247" y="196113"/>
                  </a:lnTo>
                  <a:lnTo>
                    <a:pt x="2103247" y="196799"/>
                  </a:lnTo>
                  <a:lnTo>
                    <a:pt x="2103247" y="194716"/>
                  </a:lnTo>
                  <a:lnTo>
                    <a:pt x="2103247" y="196113"/>
                  </a:lnTo>
                  <a:lnTo>
                    <a:pt x="2103298" y="196799"/>
                  </a:lnTo>
                  <a:lnTo>
                    <a:pt x="2103298" y="194716"/>
                  </a:lnTo>
                  <a:lnTo>
                    <a:pt x="2103298" y="196113"/>
                  </a:lnTo>
                  <a:lnTo>
                    <a:pt x="2103298" y="195415"/>
                  </a:lnTo>
                  <a:lnTo>
                    <a:pt x="2103400" y="195415"/>
                  </a:lnTo>
                  <a:lnTo>
                    <a:pt x="2103400" y="196113"/>
                  </a:lnTo>
                  <a:lnTo>
                    <a:pt x="2103400" y="195415"/>
                  </a:lnTo>
                  <a:lnTo>
                    <a:pt x="2103400" y="196799"/>
                  </a:lnTo>
                  <a:lnTo>
                    <a:pt x="2103438" y="196799"/>
                  </a:lnTo>
                  <a:lnTo>
                    <a:pt x="2103438" y="196113"/>
                  </a:lnTo>
                  <a:lnTo>
                    <a:pt x="2103438" y="197447"/>
                  </a:lnTo>
                  <a:lnTo>
                    <a:pt x="2103489" y="197447"/>
                  </a:lnTo>
                  <a:lnTo>
                    <a:pt x="2103489" y="198831"/>
                  </a:lnTo>
                  <a:lnTo>
                    <a:pt x="2103489" y="197447"/>
                  </a:lnTo>
                  <a:lnTo>
                    <a:pt x="2103489" y="198831"/>
                  </a:lnTo>
                  <a:lnTo>
                    <a:pt x="2103489" y="197447"/>
                  </a:lnTo>
                  <a:lnTo>
                    <a:pt x="2103540" y="197447"/>
                  </a:lnTo>
                  <a:lnTo>
                    <a:pt x="2103540" y="198831"/>
                  </a:lnTo>
                  <a:lnTo>
                    <a:pt x="2103540" y="197447"/>
                  </a:lnTo>
                  <a:lnTo>
                    <a:pt x="2103540" y="198831"/>
                  </a:lnTo>
                  <a:lnTo>
                    <a:pt x="2103540" y="196799"/>
                  </a:lnTo>
                  <a:lnTo>
                    <a:pt x="2103641" y="196799"/>
                  </a:lnTo>
                  <a:lnTo>
                    <a:pt x="2103641" y="194716"/>
                  </a:lnTo>
                  <a:lnTo>
                    <a:pt x="2103641" y="196113"/>
                  </a:lnTo>
                  <a:lnTo>
                    <a:pt x="2103692" y="196113"/>
                  </a:lnTo>
                  <a:lnTo>
                    <a:pt x="2103692" y="194716"/>
                  </a:lnTo>
                  <a:lnTo>
                    <a:pt x="2103692" y="197447"/>
                  </a:lnTo>
                  <a:lnTo>
                    <a:pt x="2103743" y="197447"/>
                  </a:lnTo>
                  <a:lnTo>
                    <a:pt x="2103743" y="196113"/>
                  </a:lnTo>
                  <a:lnTo>
                    <a:pt x="2103743" y="197447"/>
                  </a:lnTo>
                  <a:lnTo>
                    <a:pt x="2103844" y="197447"/>
                  </a:lnTo>
                  <a:lnTo>
                    <a:pt x="2103844" y="196799"/>
                  </a:lnTo>
                  <a:lnTo>
                    <a:pt x="2103844" y="197447"/>
                  </a:lnTo>
                  <a:lnTo>
                    <a:pt x="2103844" y="196799"/>
                  </a:lnTo>
                  <a:lnTo>
                    <a:pt x="2103895" y="196799"/>
                  </a:lnTo>
                  <a:lnTo>
                    <a:pt x="2103895" y="197447"/>
                  </a:lnTo>
                  <a:lnTo>
                    <a:pt x="2103895" y="196799"/>
                  </a:lnTo>
                  <a:lnTo>
                    <a:pt x="2103895" y="198831"/>
                  </a:lnTo>
                  <a:lnTo>
                    <a:pt x="2103946" y="197447"/>
                  </a:lnTo>
                  <a:lnTo>
                    <a:pt x="2103946" y="198831"/>
                  </a:lnTo>
                  <a:lnTo>
                    <a:pt x="2103946" y="197447"/>
                  </a:lnTo>
                  <a:lnTo>
                    <a:pt x="2103946" y="198831"/>
                  </a:lnTo>
                  <a:lnTo>
                    <a:pt x="2103984" y="198831"/>
                  </a:lnTo>
                  <a:lnTo>
                    <a:pt x="2103984" y="199530"/>
                  </a:lnTo>
                  <a:lnTo>
                    <a:pt x="2103984" y="197447"/>
                  </a:lnTo>
                  <a:lnTo>
                    <a:pt x="2104086" y="197447"/>
                  </a:lnTo>
                  <a:lnTo>
                    <a:pt x="2104086" y="199530"/>
                  </a:lnTo>
                  <a:lnTo>
                    <a:pt x="2104086" y="197447"/>
                  </a:lnTo>
                  <a:lnTo>
                    <a:pt x="2104086" y="198831"/>
                  </a:lnTo>
                  <a:lnTo>
                    <a:pt x="2104086" y="197447"/>
                  </a:lnTo>
                  <a:lnTo>
                    <a:pt x="2104137" y="197447"/>
                  </a:lnTo>
                  <a:lnTo>
                    <a:pt x="2104137" y="196113"/>
                  </a:lnTo>
                  <a:lnTo>
                    <a:pt x="2104137" y="198831"/>
                  </a:lnTo>
                  <a:lnTo>
                    <a:pt x="2104137" y="197447"/>
                  </a:lnTo>
                  <a:lnTo>
                    <a:pt x="2104187" y="197447"/>
                  </a:lnTo>
                  <a:lnTo>
                    <a:pt x="2104187" y="196799"/>
                  </a:lnTo>
                  <a:lnTo>
                    <a:pt x="2104187" y="200228"/>
                  </a:lnTo>
                  <a:lnTo>
                    <a:pt x="2104187" y="199530"/>
                  </a:lnTo>
                  <a:lnTo>
                    <a:pt x="2104187" y="200228"/>
                  </a:lnTo>
                  <a:lnTo>
                    <a:pt x="2104187" y="199530"/>
                  </a:lnTo>
                  <a:lnTo>
                    <a:pt x="2104289" y="199530"/>
                  </a:lnTo>
                  <a:lnTo>
                    <a:pt x="2104289" y="198831"/>
                  </a:lnTo>
                  <a:lnTo>
                    <a:pt x="2104289" y="200228"/>
                  </a:lnTo>
                  <a:lnTo>
                    <a:pt x="2104289" y="198831"/>
                  </a:lnTo>
                  <a:lnTo>
                    <a:pt x="2104340" y="198831"/>
                  </a:lnTo>
                  <a:lnTo>
                    <a:pt x="2104340" y="199530"/>
                  </a:lnTo>
                  <a:lnTo>
                    <a:pt x="2104340" y="198831"/>
                  </a:lnTo>
                  <a:lnTo>
                    <a:pt x="2104390" y="198831"/>
                  </a:lnTo>
                  <a:lnTo>
                    <a:pt x="2104390" y="199530"/>
                  </a:lnTo>
                  <a:lnTo>
                    <a:pt x="2104390" y="198831"/>
                  </a:lnTo>
                  <a:lnTo>
                    <a:pt x="2104390" y="199530"/>
                  </a:lnTo>
                  <a:lnTo>
                    <a:pt x="2104390" y="198831"/>
                  </a:lnTo>
                  <a:lnTo>
                    <a:pt x="2104441" y="199530"/>
                  </a:lnTo>
                  <a:lnTo>
                    <a:pt x="2104441" y="198831"/>
                  </a:lnTo>
                  <a:lnTo>
                    <a:pt x="2104441" y="199530"/>
                  </a:lnTo>
                  <a:lnTo>
                    <a:pt x="2104441" y="198831"/>
                  </a:lnTo>
                  <a:lnTo>
                    <a:pt x="2104441" y="199530"/>
                  </a:lnTo>
                  <a:lnTo>
                    <a:pt x="2104441" y="198831"/>
                  </a:lnTo>
                  <a:lnTo>
                    <a:pt x="2104441" y="199530"/>
                  </a:lnTo>
                  <a:lnTo>
                    <a:pt x="2104530" y="199530"/>
                  </a:lnTo>
                  <a:lnTo>
                    <a:pt x="2104530" y="197447"/>
                  </a:lnTo>
                  <a:lnTo>
                    <a:pt x="2104530" y="198831"/>
                  </a:lnTo>
                  <a:lnTo>
                    <a:pt x="2104581" y="198831"/>
                  </a:lnTo>
                  <a:lnTo>
                    <a:pt x="2104581" y="196799"/>
                  </a:lnTo>
                  <a:lnTo>
                    <a:pt x="2104581" y="197447"/>
                  </a:lnTo>
                  <a:lnTo>
                    <a:pt x="2104581" y="196113"/>
                  </a:lnTo>
                  <a:lnTo>
                    <a:pt x="2104581" y="196799"/>
                  </a:lnTo>
                  <a:lnTo>
                    <a:pt x="2104632" y="196799"/>
                  </a:lnTo>
                  <a:lnTo>
                    <a:pt x="2104632" y="199530"/>
                  </a:lnTo>
                  <a:lnTo>
                    <a:pt x="2104632" y="197447"/>
                  </a:lnTo>
                  <a:lnTo>
                    <a:pt x="2104632" y="198831"/>
                  </a:lnTo>
                  <a:lnTo>
                    <a:pt x="2104632" y="197447"/>
                  </a:lnTo>
                  <a:lnTo>
                    <a:pt x="2104632" y="199530"/>
                  </a:lnTo>
                  <a:lnTo>
                    <a:pt x="2104683" y="200228"/>
                  </a:lnTo>
                  <a:lnTo>
                    <a:pt x="2104683" y="200876"/>
                  </a:lnTo>
                  <a:lnTo>
                    <a:pt x="2104683" y="198831"/>
                  </a:lnTo>
                  <a:lnTo>
                    <a:pt x="2104683" y="200228"/>
                  </a:lnTo>
                  <a:lnTo>
                    <a:pt x="2104784" y="200228"/>
                  </a:lnTo>
                  <a:lnTo>
                    <a:pt x="2104784" y="199530"/>
                  </a:lnTo>
                  <a:lnTo>
                    <a:pt x="2104784" y="200228"/>
                  </a:lnTo>
                  <a:lnTo>
                    <a:pt x="2104784" y="199530"/>
                  </a:lnTo>
                  <a:lnTo>
                    <a:pt x="2104784" y="200876"/>
                  </a:lnTo>
                  <a:lnTo>
                    <a:pt x="2104784" y="200228"/>
                  </a:lnTo>
                  <a:lnTo>
                    <a:pt x="2104835" y="200228"/>
                  </a:lnTo>
                  <a:lnTo>
                    <a:pt x="2104835" y="200876"/>
                  </a:lnTo>
                  <a:lnTo>
                    <a:pt x="2104835" y="199530"/>
                  </a:lnTo>
                  <a:lnTo>
                    <a:pt x="2104835" y="200876"/>
                  </a:lnTo>
                  <a:lnTo>
                    <a:pt x="2104835" y="200228"/>
                  </a:lnTo>
                  <a:lnTo>
                    <a:pt x="2104835" y="200876"/>
                  </a:lnTo>
                  <a:lnTo>
                    <a:pt x="2104886" y="200228"/>
                  </a:lnTo>
                  <a:lnTo>
                    <a:pt x="2104886" y="200876"/>
                  </a:lnTo>
                  <a:lnTo>
                    <a:pt x="2104886" y="200228"/>
                  </a:lnTo>
                  <a:lnTo>
                    <a:pt x="2104886" y="200876"/>
                  </a:lnTo>
                  <a:lnTo>
                    <a:pt x="2104886" y="200228"/>
                  </a:lnTo>
                  <a:lnTo>
                    <a:pt x="2104886" y="200876"/>
                  </a:lnTo>
                  <a:lnTo>
                    <a:pt x="2104886" y="200228"/>
                  </a:lnTo>
                  <a:lnTo>
                    <a:pt x="2104886" y="200876"/>
                  </a:lnTo>
                  <a:lnTo>
                    <a:pt x="2104886" y="200228"/>
                  </a:lnTo>
                  <a:lnTo>
                    <a:pt x="2104886" y="200876"/>
                  </a:lnTo>
                  <a:lnTo>
                    <a:pt x="2104886" y="200228"/>
                  </a:lnTo>
                  <a:lnTo>
                    <a:pt x="2104987" y="200876"/>
                  </a:lnTo>
                  <a:lnTo>
                    <a:pt x="2104987" y="199530"/>
                  </a:lnTo>
                  <a:lnTo>
                    <a:pt x="2104987" y="200228"/>
                  </a:lnTo>
                  <a:lnTo>
                    <a:pt x="2104987" y="199530"/>
                  </a:lnTo>
                  <a:lnTo>
                    <a:pt x="2105025" y="199530"/>
                  </a:lnTo>
                  <a:lnTo>
                    <a:pt x="2105025" y="197447"/>
                  </a:lnTo>
                  <a:lnTo>
                    <a:pt x="2105076" y="197447"/>
                  </a:lnTo>
                  <a:lnTo>
                    <a:pt x="2105076" y="200228"/>
                  </a:lnTo>
                  <a:lnTo>
                    <a:pt x="2105076" y="198831"/>
                  </a:lnTo>
                  <a:lnTo>
                    <a:pt x="2105076" y="199530"/>
                  </a:lnTo>
                  <a:lnTo>
                    <a:pt x="2105076" y="197447"/>
                  </a:lnTo>
                  <a:lnTo>
                    <a:pt x="2105076" y="198831"/>
                  </a:lnTo>
                  <a:lnTo>
                    <a:pt x="2105127" y="199530"/>
                  </a:lnTo>
                  <a:lnTo>
                    <a:pt x="2105127" y="200876"/>
                  </a:lnTo>
                  <a:lnTo>
                    <a:pt x="2105127" y="199530"/>
                  </a:lnTo>
                  <a:lnTo>
                    <a:pt x="2105127" y="200876"/>
                  </a:lnTo>
                  <a:lnTo>
                    <a:pt x="2105229" y="200876"/>
                  </a:lnTo>
                  <a:lnTo>
                    <a:pt x="2105229" y="202260"/>
                  </a:lnTo>
                  <a:lnTo>
                    <a:pt x="2105229" y="200876"/>
                  </a:lnTo>
                  <a:lnTo>
                    <a:pt x="2105229" y="202260"/>
                  </a:lnTo>
                  <a:lnTo>
                    <a:pt x="2105229" y="200228"/>
                  </a:lnTo>
                  <a:lnTo>
                    <a:pt x="2105229" y="200876"/>
                  </a:lnTo>
                  <a:lnTo>
                    <a:pt x="2105280" y="202260"/>
                  </a:lnTo>
                  <a:lnTo>
                    <a:pt x="2105280" y="200876"/>
                  </a:lnTo>
                  <a:lnTo>
                    <a:pt x="2105280" y="202260"/>
                  </a:lnTo>
                  <a:lnTo>
                    <a:pt x="2105330" y="202260"/>
                  </a:lnTo>
                  <a:lnTo>
                    <a:pt x="2105330" y="202959"/>
                  </a:lnTo>
                  <a:lnTo>
                    <a:pt x="2105330" y="200876"/>
                  </a:lnTo>
                  <a:lnTo>
                    <a:pt x="2105330" y="202260"/>
                  </a:lnTo>
                  <a:lnTo>
                    <a:pt x="2105432" y="202260"/>
                  </a:lnTo>
                  <a:lnTo>
                    <a:pt x="2105432" y="200876"/>
                  </a:lnTo>
                  <a:lnTo>
                    <a:pt x="2105432" y="202260"/>
                  </a:lnTo>
                  <a:lnTo>
                    <a:pt x="2105432" y="200876"/>
                  </a:lnTo>
                  <a:lnTo>
                    <a:pt x="2105432" y="202260"/>
                  </a:lnTo>
                  <a:lnTo>
                    <a:pt x="2105432" y="200876"/>
                  </a:lnTo>
                  <a:lnTo>
                    <a:pt x="2105483" y="200876"/>
                  </a:lnTo>
                  <a:lnTo>
                    <a:pt x="2105483" y="199530"/>
                  </a:lnTo>
                  <a:lnTo>
                    <a:pt x="2105483" y="200228"/>
                  </a:lnTo>
                  <a:lnTo>
                    <a:pt x="2105483" y="198831"/>
                  </a:lnTo>
                  <a:lnTo>
                    <a:pt x="2105534" y="198831"/>
                  </a:lnTo>
                  <a:lnTo>
                    <a:pt x="2105534" y="196799"/>
                  </a:lnTo>
                  <a:lnTo>
                    <a:pt x="2105534" y="197447"/>
                  </a:lnTo>
                  <a:lnTo>
                    <a:pt x="2105534" y="196799"/>
                  </a:lnTo>
                  <a:lnTo>
                    <a:pt x="2105534" y="198831"/>
                  </a:lnTo>
                  <a:lnTo>
                    <a:pt x="2105572" y="198831"/>
                  </a:lnTo>
                  <a:lnTo>
                    <a:pt x="2105572" y="197447"/>
                  </a:lnTo>
                  <a:lnTo>
                    <a:pt x="2105572" y="200228"/>
                  </a:lnTo>
                  <a:lnTo>
                    <a:pt x="2105673" y="200228"/>
                  </a:lnTo>
                  <a:lnTo>
                    <a:pt x="2105673" y="199530"/>
                  </a:lnTo>
                  <a:lnTo>
                    <a:pt x="2105673" y="200876"/>
                  </a:lnTo>
                  <a:lnTo>
                    <a:pt x="2105724" y="200876"/>
                  </a:lnTo>
                  <a:lnTo>
                    <a:pt x="2105724" y="200228"/>
                  </a:lnTo>
                  <a:lnTo>
                    <a:pt x="2105724" y="200876"/>
                  </a:lnTo>
                  <a:lnTo>
                    <a:pt x="2105724" y="200228"/>
                  </a:lnTo>
                  <a:lnTo>
                    <a:pt x="2105775" y="200228"/>
                  </a:lnTo>
                  <a:lnTo>
                    <a:pt x="2105775" y="200876"/>
                  </a:lnTo>
                  <a:lnTo>
                    <a:pt x="2105775" y="200228"/>
                  </a:lnTo>
                  <a:lnTo>
                    <a:pt x="2105775" y="202260"/>
                  </a:lnTo>
                  <a:lnTo>
                    <a:pt x="2105876" y="202260"/>
                  </a:lnTo>
                  <a:lnTo>
                    <a:pt x="2105876" y="200876"/>
                  </a:lnTo>
                  <a:lnTo>
                    <a:pt x="2105876" y="202260"/>
                  </a:lnTo>
                  <a:lnTo>
                    <a:pt x="2105876" y="200876"/>
                  </a:lnTo>
                  <a:lnTo>
                    <a:pt x="2105876" y="202959"/>
                  </a:lnTo>
                  <a:lnTo>
                    <a:pt x="2105876" y="202260"/>
                  </a:lnTo>
                  <a:lnTo>
                    <a:pt x="2105927" y="202260"/>
                  </a:lnTo>
                  <a:lnTo>
                    <a:pt x="2105927" y="200876"/>
                  </a:lnTo>
                  <a:lnTo>
                    <a:pt x="2105927" y="202260"/>
                  </a:lnTo>
                  <a:lnTo>
                    <a:pt x="2105927" y="200876"/>
                  </a:lnTo>
                  <a:lnTo>
                    <a:pt x="2105978" y="200876"/>
                  </a:lnTo>
                  <a:lnTo>
                    <a:pt x="2105978" y="200228"/>
                  </a:lnTo>
                  <a:lnTo>
                    <a:pt x="2105978" y="200876"/>
                  </a:lnTo>
                  <a:lnTo>
                    <a:pt x="2105978" y="200228"/>
                  </a:lnTo>
                  <a:lnTo>
                    <a:pt x="2105978" y="200876"/>
                  </a:lnTo>
                  <a:lnTo>
                    <a:pt x="2105978" y="199530"/>
                  </a:lnTo>
                  <a:lnTo>
                    <a:pt x="2106029" y="199530"/>
                  </a:lnTo>
                  <a:lnTo>
                    <a:pt x="2106029" y="197447"/>
                  </a:lnTo>
                  <a:lnTo>
                    <a:pt x="2106029" y="198831"/>
                  </a:lnTo>
                  <a:lnTo>
                    <a:pt x="2106118" y="197447"/>
                  </a:lnTo>
                  <a:lnTo>
                    <a:pt x="2106118" y="196799"/>
                  </a:lnTo>
                  <a:lnTo>
                    <a:pt x="2106118" y="200228"/>
                  </a:lnTo>
                  <a:lnTo>
                    <a:pt x="2106118" y="199530"/>
                  </a:lnTo>
                  <a:lnTo>
                    <a:pt x="2106169" y="199530"/>
                  </a:lnTo>
                  <a:lnTo>
                    <a:pt x="2106169" y="197447"/>
                  </a:lnTo>
                  <a:lnTo>
                    <a:pt x="2106169" y="199530"/>
                  </a:lnTo>
                  <a:lnTo>
                    <a:pt x="2106219" y="198831"/>
                  </a:lnTo>
                  <a:lnTo>
                    <a:pt x="2106219" y="199530"/>
                  </a:lnTo>
                  <a:lnTo>
                    <a:pt x="2106219" y="198831"/>
                  </a:lnTo>
                  <a:lnTo>
                    <a:pt x="2106219" y="199530"/>
                  </a:lnTo>
                  <a:lnTo>
                    <a:pt x="2106270" y="198831"/>
                  </a:lnTo>
                  <a:lnTo>
                    <a:pt x="2106270" y="199530"/>
                  </a:lnTo>
                  <a:lnTo>
                    <a:pt x="2106270" y="198831"/>
                  </a:lnTo>
                  <a:lnTo>
                    <a:pt x="2106270" y="200228"/>
                  </a:lnTo>
                  <a:lnTo>
                    <a:pt x="2106270" y="199530"/>
                  </a:lnTo>
                  <a:lnTo>
                    <a:pt x="2106270" y="200228"/>
                  </a:lnTo>
                  <a:lnTo>
                    <a:pt x="2106372" y="200228"/>
                  </a:lnTo>
                  <a:lnTo>
                    <a:pt x="2106372" y="200876"/>
                  </a:lnTo>
                  <a:lnTo>
                    <a:pt x="2106372" y="200228"/>
                  </a:lnTo>
                  <a:lnTo>
                    <a:pt x="2106372" y="200876"/>
                  </a:lnTo>
                  <a:lnTo>
                    <a:pt x="2106372" y="200228"/>
                  </a:lnTo>
                  <a:lnTo>
                    <a:pt x="2106372" y="200876"/>
                  </a:lnTo>
                  <a:lnTo>
                    <a:pt x="2106372" y="200228"/>
                  </a:lnTo>
                  <a:lnTo>
                    <a:pt x="2106422" y="200228"/>
                  </a:lnTo>
                  <a:lnTo>
                    <a:pt x="2106422" y="200876"/>
                  </a:lnTo>
                  <a:lnTo>
                    <a:pt x="2106422" y="200228"/>
                  </a:lnTo>
                  <a:lnTo>
                    <a:pt x="2106422" y="200876"/>
                  </a:lnTo>
                  <a:lnTo>
                    <a:pt x="2106422" y="199530"/>
                  </a:lnTo>
                  <a:lnTo>
                    <a:pt x="2106422" y="200228"/>
                  </a:lnTo>
                  <a:lnTo>
                    <a:pt x="2106422" y="199530"/>
                  </a:lnTo>
                  <a:lnTo>
                    <a:pt x="2106473" y="199530"/>
                  </a:lnTo>
                  <a:lnTo>
                    <a:pt x="2106473" y="200228"/>
                  </a:lnTo>
                  <a:lnTo>
                    <a:pt x="2106473" y="198831"/>
                  </a:lnTo>
                  <a:lnTo>
                    <a:pt x="2106473" y="200876"/>
                  </a:lnTo>
                  <a:lnTo>
                    <a:pt x="2106473" y="200228"/>
                  </a:lnTo>
                  <a:lnTo>
                    <a:pt x="2106575" y="200228"/>
                  </a:lnTo>
                  <a:lnTo>
                    <a:pt x="2106575" y="199530"/>
                  </a:lnTo>
                  <a:lnTo>
                    <a:pt x="2106575" y="202959"/>
                  </a:lnTo>
                  <a:lnTo>
                    <a:pt x="2106613" y="202260"/>
                  </a:lnTo>
                  <a:lnTo>
                    <a:pt x="2106613" y="200876"/>
                  </a:lnTo>
                  <a:lnTo>
                    <a:pt x="2106613" y="202959"/>
                  </a:lnTo>
                  <a:lnTo>
                    <a:pt x="2106613" y="202260"/>
                  </a:lnTo>
                  <a:lnTo>
                    <a:pt x="2106613" y="202959"/>
                  </a:lnTo>
                  <a:lnTo>
                    <a:pt x="2106613" y="202260"/>
                  </a:lnTo>
                  <a:lnTo>
                    <a:pt x="2106664" y="202260"/>
                  </a:lnTo>
                  <a:lnTo>
                    <a:pt x="2106664" y="200876"/>
                  </a:lnTo>
                  <a:lnTo>
                    <a:pt x="2106715" y="200876"/>
                  </a:lnTo>
                  <a:lnTo>
                    <a:pt x="2106715" y="202260"/>
                  </a:lnTo>
                  <a:lnTo>
                    <a:pt x="2106715" y="200876"/>
                  </a:lnTo>
                  <a:lnTo>
                    <a:pt x="2106715" y="202260"/>
                  </a:lnTo>
                  <a:lnTo>
                    <a:pt x="2106715" y="200876"/>
                  </a:lnTo>
                  <a:lnTo>
                    <a:pt x="2106715" y="202260"/>
                  </a:lnTo>
                  <a:lnTo>
                    <a:pt x="2106715" y="200876"/>
                  </a:lnTo>
                  <a:lnTo>
                    <a:pt x="2106816" y="200228"/>
                  </a:lnTo>
                  <a:lnTo>
                    <a:pt x="2106816" y="202260"/>
                  </a:lnTo>
                  <a:lnTo>
                    <a:pt x="2106816" y="200876"/>
                  </a:lnTo>
                  <a:lnTo>
                    <a:pt x="2106816" y="202260"/>
                  </a:lnTo>
                  <a:lnTo>
                    <a:pt x="2106816" y="200876"/>
                  </a:lnTo>
                  <a:lnTo>
                    <a:pt x="2106867" y="200876"/>
                  </a:lnTo>
                  <a:lnTo>
                    <a:pt x="2106867" y="199530"/>
                  </a:lnTo>
                  <a:lnTo>
                    <a:pt x="2106918" y="199530"/>
                  </a:lnTo>
                  <a:lnTo>
                    <a:pt x="2106918" y="200228"/>
                  </a:lnTo>
                  <a:lnTo>
                    <a:pt x="2106918" y="199530"/>
                  </a:lnTo>
                  <a:lnTo>
                    <a:pt x="2106918" y="200228"/>
                  </a:lnTo>
                  <a:lnTo>
                    <a:pt x="2106918" y="198831"/>
                  </a:lnTo>
                  <a:lnTo>
                    <a:pt x="2106918" y="199530"/>
                  </a:lnTo>
                  <a:lnTo>
                    <a:pt x="2106918" y="198831"/>
                  </a:lnTo>
                  <a:lnTo>
                    <a:pt x="2107019" y="197447"/>
                  </a:lnTo>
                  <a:lnTo>
                    <a:pt x="2107019" y="200228"/>
                  </a:lnTo>
                  <a:lnTo>
                    <a:pt x="2107019" y="199530"/>
                  </a:lnTo>
                  <a:lnTo>
                    <a:pt x="2107070" y="199530"/>
                  </a:lnTo>
                  <a:lnTo>
                    <a:pt x="2107070" y="202260"/>
                  </a:lnTo>
                  <a:lnTo>
                    <a:pt x="2107070" y="200876"/>
                  </a:lnTo>
                  <a:lnTo>
                    <a:pt x="2107070" y="202260"/>
                  </a:lnTo>
                  <a:lnTo>
                    <a:pt x="2107070" y="200876"/>
                  </a:lnTo>
                  <a:lnTo>
                    <a:pt x="2107070" y="202260"/>
                  </a:lnTo>
                  <a:lnTo>
                    <a:pt x="2107070" y="200876"/>
                  </a:lnTo>
                  <a:lnTo>
                    <a:pt x="2107121" y="202260"/>
                  </a:lnTo>
                  <a:lnTo>
                    <a:pt x="2107121" y="202959"/>
                  </a:lnTo>
                  <a:lnTo>
                    <a:pt x="2107121" y="202260"/>
                  </a:lnTo>
                  <a:lnTo>
                    <a:pt x="2107159" y="202260"/>
                  </a:lnTo>
                  <a:lnTo>
                    <a:pt x="2107159" y="200876"/>
                  </a:lnTo>
                  <a:lnTo>
                    <a:pt x="2107159" y="202260"/>
                  </a:lnTo>
                  <a:lnTo>
                    <a:pt x="2107312" y="202260"/>
                  </a:lnTo>
                  <a:lnTo>
                    <a:pt x="2107312" y="200876"/>
                  </a:lnTo>
                  <a:lnTo>
                    <a:pt x="2107312" y="202260"/>
                  </a:lnTo>
                  <a:lnTo>
                    <a:pt x="2107362" y="202260"/>
                  </a:lnTo>
                  <a:lnTo>
                    <a:pt x="2107362" y="199530"/>
                  </a:lnTo>
                  <a:lnTo>
                    <a:pt x="2107464" y="199530"/>
                  </a:lnTo>
                  <a:lnTo>
                    <a:pt x="2107464" y="196113"/>
                  </a:lnTo>
                  <a:lnTo>
                    <a:pt x="2107515" y="196113"/>
                  </a:lnTo>
                  <a:lnTo>
                    <a:pt x="2107515" y="198831"/>
                  </a:lnTo>
                  <a:lnTo>
                    <a:pt x="2107515" y="196799"/>
                  </a:lnTo>
                  <a:lnTo>
                    <a:pt x="2107515" y="198831"/>
                  </a:lnTo>
                  <a:lnTo>
                    <a:pt x="2107565" y="198831"/>
                  </a:lnTo>
                  <a:lnTo>
                    <a:pt x="2107565" y="199530"/>
                  </a:lnTo>
                  <a:lnTo>
                    <a:pt x="2107565" y="198831"/>
                  </a:lnTo>
                  <a:lnTo>
                    <a:pt x="2107565" y="200228"/>
                  </a:lnTo>
                  <a:lnTo>
                    <a:pt x="2107616" y="200228"/>
                  </a:lnTo>
                  <a:lnTo>
                    <a:pt x="2107616" y="199530"/>
                  </a:lnTo>
                  <a:lnTo>
                    <a:pt x="2107616" y="200228"/>
                  </a:lnTo>
                  <a:lnTo>
                    <a:pt x="2107705" y="200228"/>
                  </a:lnTo>
                  <a:lnTo>
                    <a:pt x="2107705" y="200876"/>
                  </a:lnTo>
                  <a:lnTo>
                    <a:pt x="2107756" y="200876"/>
                  </a:lnTo>
                  <a:lnTo>
                    <a:pt x="2107756" y="202260"/>
                  </a:lnTo>
                  <a:lnTo>
                    <a:pt x="2107756" y="200876"/>
                  </a:lnTo>
                  <a:lnTo>
                    <a:pt x="2107756" y="202260"/>
                  </a:lnTo>
                  <a:lnTo>
                    <a:pt x="2107756" y="200876"/>
                  </a:lnTo>
                  <a:lnTo>
                    <a:pt x="2107807" y="200876"/>
                  </a:lnTo>
                  <a:lnTo>
                    <a:pt x="2107807" y="200228"/>
                  </a:lnTo>
                  <a:lnTo>
                    <a:pt x="2107807" y="200876"/>
                  </a:lnTo>
                  <a:lnTo>
                    <a:pt x="2107858" y="200876"/>
                  </a:lnTo>
                  <a:lnTo>
                    <a:pt x="2107858" y="198831"/>
                  </a:lnTo>
                  <a:lnTo>
                    <a:pt x="2107858" y="199530"/>
                  </a:lnTo>
                  <a:lnTo>
                    <a:pt x="2107858" y="198831"/>
                  </a:lnTo>
                  <a:lnTo>
                    <a:pt x="2107959" y="198831"/>
                  </a:lnTo>
                  <a:lnTo>
                    <a:pt x="2107959" y="196799"/>
                  </a:lnTo>
                  <a:lnTo>
                    <a:pt x="2107959" y="197447"/>
                  </a:lnTo>
                  <a:lnTo>
                    <a:pt x="2107959" y="196113"/>
                  </a:lnTo>
                  <a:lnTo>
                    <a:pt x="2108010" y="196113"/>
                  </a:lnTo>
                  <a:lnTo>
                    <a:pt x="2108010" y="195415"/>
                  </a:lnTo>
                  <a:lnTo>
                    <a:pt x="2108010" y="197447"/>
                  </a:lnTo>
                  <a:lnTo>
                    <a:pt x="2108010" y="196799"/>
                  </a:lnTo>
                  <a:lnTo>
                    <a:pt x="2108010" y="197447"/>
                  </a:lnTo>
                  <a:lnTo>
                    <a:pt x="2108010" y="195415"/>
                  </a:lnTo>
                  <a:lnTo>
                    <a:pt x="2108061" y="194716"/>
                  </a:lnTo>
                  <a:lnTo>
                    <a:pt x="2108061" y="198831"/>
                  </a:lnTo>
                  <a:lnTo>
                    <a:pt x="2108061" y="197447"/>
                  </a:lnTo>
                  <a:lnTo>
                    <a:pt x="2108061" y="198831"/>
                  </a:lnTo>
                  <a:lnTo>
                    <a:pt x="2108061" y="196113"/>
                  </a:lnTo>
                  <a:lnTo>
                    <a:pt x="2108061" y="196799"/>
                  </a:lnTo>
                  <a:lnTo>
                    <a:pt x="2108162" y="196799"/>
                  </a:lnTo>
                  <a:lnTo>
                    <a:pt x="2108162" y="198831"/>
                  </a:lnTo>
                  <a:lnTo>
                    <a:pt x="2108162" y="196799"/>
                  </a:lnTo>
                  <a:lnTo>
                    <a:pt x="2108162" y="197447"/>
                  </a:lnTo>
                  <a:lnTo>
                    <a:pt x="2108162" y="196799"/>
                  </a:lnTo>
                  <a:lnTo>
                    <a:pt x="2108162" y="197447"/>
                  </a:lnTo>
                  <a:lnTo>
                    <a:pt x="2108200" y="197447"/>
                  </a:lnTo>
                  <a:lnTo>
                    <a:pt x="2108200" y="199530"/>
                  </a:lnTo>
                  <a:lnTo>
                    <a:pt x="2108251" y="199530"/>
                  </a:lnTo>
                  <a:lnTo>
                    <a:pt x="2108251" y="200228"/>
                  </a:lnTo>
                  <a:lnTo>
                    <a:pt x="2108251" y="199530"/>
                  </a:lnTo>
                  <a:lnTo>
                    <a:pt x="2108251" y="200228"/>
                  </a:lnTo>
                  <a:lnTo>
                    <a:pt x="2108302" y="200228"/>
                  </a:lnTo>
                  <a:lnTo>
                    <a:pt x="2108302" y="200876"/>
                  </a:lnTo>
                  <a:lnTo>
                    <a:pt x="2108302" y="200228"/>
                  </a:lnTo>
                  <a:lnTo>
                    <a:pt x="2108302" y="200876"/>
                  </a:lnTo>
                  <a:lnTo>
                    <a:pt x="2108302" y="200228"/>
                  </a:lnTo>
                  <a:lnTo>
                    <a:pt x="2108302" y="200876"/>
                  </a:lnTo>
                  <a:lnTo>
                    <a:pt x="2108302" y="200228"/>
                  </a:lnTo>
                  <a:lnTo>
                    <a:pt x="2108404" y="200228"/>
                  </a:lnTo>
                  <a:lnTo>
                    <a:pt x="2108404" y="198831"/>
                  </a:lnTo>
                  <a:lnTo>
                    <a:pt x="2108455" y="198831"/>
                  </a:lnTo>
                  <a:lnTo>
                    <a:pt x="2108455" y="197447"/>
                  </a:lnTo>
                  <a:lnTo>
                    <a:pt x="2108455" y="198831"/>
                  </a:lnTo>
                  <a:lnTo>
                    <a:pt x="2108455" y="196799"/>
                  </a:lnTo>
                  <a:lnTo>
                    <a:pt x="2108505" y="196113"/>
                  </a:lnTo>
                  <a:lnTo>
                    <a:pt x="2108505" y="194716"/>
                  </a:lnTo>
                  <a:lnTo>
                    <a:pt x="2108505" y="195415"/>
                  </a:lnTo>
                  <a:lnTo>
                    <a:pt x="2108505" y="193383"/>
                  </a:lnTo>
                  <a:lnTo>
                    <a:pt x="2108505" y="194716"/>
                  </a:lnTo>
                  <a:lnTo>
                    <a:pt x="2108505" y="193383"/>
                  </a:lnTo>
                  <a:lnTo>
                    <a:pt x="2108505" y="194716"/>
                  </a:lnTo>
                  <a:lnTo>
                    <a:pt x="2108607" y="194716"/>
                  </a:lnTo>
                  <a:lnTo>
                    <a:pt x="2108607" y="195415"/>
                  </a:lnTo>
                  <a:lnTo>
                    <a:pt x="2108607" y="192684"/>
                  </a:lnTo>
                  <a:lnTo>
                    <a:pt x="2108607" y="195415"/>
                  </a:lnTo>
                  <a:lnTo>
                    <a:pt x="2108658" y="195415"/>
                  </a:lnTo>
                  <a:lnTo>
                    <a:pt x="2108658" y="193383"/>
                  </a:lnTo>
                  <a:lnTo>
                    <a:pt x="2108658" y="196113"/>
                  </a:lnTo>
                  <a:lnTo>
                    <a:pt x="2108658" y="195415"/>
                  </a:lnTo>
                  <a:lnTo>
                    <a:pt x="2108709" y="195415"/>
                  </a:lnTo>
                  <a:lnTo>
                    <a:pt x="2108709" y="196799"/>
                  </a:lnTo>
                  <a:lnTo>
                    <a:pt x="2108747" y="196799"/>
                  </a:lnTo>
                  <a:lnTo>
                    <a:pt x="2108747" y="198831"/>
                  </a:lnTo>
                  <a:lnTo>
                    <a:pt x="2108747" y="197447"/>
                  </a:lnTo>
                  <a:lnTo>
                    <a:pt x="2108747" y="198831"/>
                  </a:lnTo>
                  <a:lnTo>
                    <a:pt x="2108848" y="198831"/>
                  </a:lnTo>
                  <a:lnTo>
                    <a:pt x="2108848" y="199530"/>
                  </a:lnTo>
                  <a:lnTo>
                    <a:pt x="2108899" y="199530"/>
                  </a:lnTo>
                  <a:lnTo>
                    <a:pt x="2108899" y="198831"/>
                  </a:lnTo>
                  <a:lnTo>
                    <a:pt x="2108899" y="199530"/>
                  </a:lnTo>
                  <a:lnTo>
                    <a:pt x="2108899" y="198831"/>
                  </a:lnTo>
                  <a:lnTo>
                    <a:pt x="2108899" y="199530"/>
                  </a:lnTo>
                  <a:lnTo>
                    <a:pt x="2108950" y="199530"/>
                  </a:lnTo>
                  <a:lnTo>
                    <a:pt x="2108950" y="197447"/>
                  </a:lnTo>
                  <a:lnTo>
                    <a:pt x="2109051" y="197447"/>
                  </a:lnTo>
                  <a:lnTo>
                    <a:pt x="2109051" y="196113"/>
                  </a:lnTo>
                  <a:lnTo>
                    <a:pt x="2109051" y="196799"/>
                  </a:lnTo>
                  <a:lnTo>
                    <a:pt x="2109102" y="196799"/>
                  </a:lnTo>
                  <a:lnTo>
                    <a:pt x="2109102" y="195415"/>
                  </a:lnTo>
                  <a:lnTo>
                    <a:pt x="2109102" y="196799"/>
                  </a:lnTo>
                  <a:lnTo>
                    <a:pt x="2109102" y="196113"/>
                  </a:lnTo>
                  <a:lnTo>
                    <a:pt x="2109153" y="196113"/>
                  </a:lnTo>
                  <a:lnTo>
                    <a:pt x="2109153" y="195415"/>
                  </a:lnTo>
                  <a:lnTo>
                    <a:pt x="2109153" y="196799"/>
                  </a:lnTo>
                  <a:lnTo>
                    <a:pt x="2109153" y="196113"/>
                  </a:lnTo>
                  <a:lnTo>
                    <a:pt x="2109153" y="196799"/>
                  </a:lnTo>
                  <a:lnTo>
                    <a:pt x="2109153" y="196113"/>
                  </a:lnTo>
                  <a:lnTo>
                    <a:pt x="2109204" y="196113"/>
                  </a:lnTo>
                  <a:lnTo>
                    <a:pt x="2109204" y="196799"/>
                  </a:lnTo>
                  <a:lnTo>
                    <a:pt x="2109204" y="196113"/>
                  </a:lnTo>
                  <a:lnTo>
                    <a:pt x="2109293" y="196799"/>
                  </a:lnTo>
                  <a:lnTo>
                    <a:pt x="2109344" y="196799"/>
                  </a:lnTo>
                  <a:lnTo>
                    <a:pt x="2109344" y="197447"/>
                  </a:lnTo>
                  <a:lnTo>
                    <a:pt x="2109344" y="196799"/>
                  </a:lnTo>
                  <a:lnTo>
                    <a:pt x="2109344" y="198831"/>
                  </a:lnTo>
                  <a:lnTo>
                    <a:pt x="2109394" y="198831"/>
                  </a:lnTo>
                  <a:lnTo>
                    <a:pt x="2109394" y="197447"/>
                  </a:lnTo>
                  <a:lnTo>
                    <a:pt x="2109445" y="197447"/>
                  </a:lnTo>
                  <a:lnTo>
                    <a:pt x="2109445" y="198831"/>
                  </a:lnTo>
                  <a:lnTo>
                    <a:pt x="2109445" y="196113"/>
                  </a:lnTo>
                  <a:lnTo>
                    <a:pt x="2109547" y="196113"/>
                  </a:lnTo>
                  <a:lnTo>
                    <a:pt x="2109547" y="197447"/>
                  </a:lnTo>
                  <a:lnTo>
                    <a:pt x="2109547" y="195415"/>
                  </a:lnTo>
                  <a:lnTo>
                    <a:pt x="2109597" y="195415"/>
                  </a:lnTo>
                  <a:lnTo>
                    <a:pt x="2109597" y="194716"/>
                  </a:lnTo>
                  <a:lnTo>
                    <a:pt x="2109597" y="198831"/>
                  </a:lnTo>
                  <a:lnTo>
                    <a:pt x="2109597" y="196799"/>
                  </a:lnTo>
                  <a:lnTo>
                    <a:pt x="2109648" y="196799"/>
                  </a:lnTo>
                  <a:lnTo>
                    <a:pt x="2109648" y="197447"/>
                  </a:lnTo>
                  <a:lnTo>
                    <a:pt x="2109648" y="196799"/>
                  </a:lnTo>
                  <a:lnTo>
                    <a:pt x="2109648" y="197447"/>
                  </a:lnTo>
                  <a:lnTo>
                    <a:pt x="2109648" y="196799"/>
                  </a:lnTo>
                  <a:lnTo>
                    <a:pt x="2109750" y="196799"/>
                  </a:lnTo>
                  <a:lnTo>
                    <a:pt x="2109750" y="198831"/>
                  </a:lnTo>
                  <a:lnTo>
                    <a:pt x="2109750" y="197447"/>
                  </a:lnTo>
                  <a:lnTo>
                    <a:pt x="2109788" y="198831"/>
                  </a:lnTo>
                  <a:lnTo>
                    <a:pt x="2109788" y="197447"/>
                  </a:lnTo>
                  <a:lnTo>
                    <a:pt x="2109788" y="198831"/>
                  </a:lnTo>
                  <a:lnTo>
                    <a:pt x="2109788" y="197447"/>
                  </a:lnTo>
                  <a:lnTo>
                    <a:pt x="2109788" y="198831"/>
                  </a:lnTo>
                  <a:lnTo>
                    <a:pt x="2109839" y="198831"/>
                  </a:lnTo>
                  <a:lnTo>
                    <a:pt x="2109839" y="197447"/>
                  </a:lnTo>
                  <a:lnTo>
                    <a:pt x="2109839" y="198831"/>
                  </a:lnTo>
                  <a:lnTo>
                    <a:pt x="2109839" y="197447"/>
                  </a:lnTo>
                  <a:lnTo>
                    <a:pt x="2109839" y="198831"/>
                  </a:lnTo>
                  <a:lnTo>
                    <a:pt x="2109839" y="197447"/>
                  </a:lnTo>
                  <a:lnTo>
                    <a:pt x="2109839" y="198831"/>
                  </a:lnTo>
                  <a:lnTo>
                    <a:pt x="2109839" y="197447"/>
                  </a:lnTo>
                  <a:lnTo>
                    <a:pt x="2109839" y="198831"/>
                  </a:lnTo>
                  <a:lnTo>
                    <a:pt x="2109890" y="198831"/>
                  </a:lnTo>
                  <a:lnTo>
                    <a:pt x="2109890" y="197447"/>
                  </a:lnTo>
                  <a:lnTo>
                    <a:pt x="2109890" y="198831"/>
                  </a:lnTo>
                  <a:lnTo>
                    <a:pt x="2109890" y="197447"/>
                  </a:lnTo>
                  <a:lnTo>
                    <a:pt x="2109991" y="197447"/>
                  </a:lnTo>
                  <a:lnTo>
                    <a:pt x="2109991" y="196113"/>
                  </a:lnTo>
                  <a:lnTo>
                    <a:pt x="2110042" y="196113"/>
                  </a:lnTo>
                  <a:lnTo>
                    <a:pt x="2110042" y="198831"/>
                  </a:lnTo>
                  <a:lnTo>
                    <a:pt x="2110042" y="196799"/>
                  </a:lnTo>
                  <a:lnTo>
                    <a:pt x="2110042" y="197447"/>
                  </a:lnTo>
                  <a:lnTo>
                    <a:pt x="2110093" y="197447"/>
                  </a:lnTo>
                  <a:lnTo>
                    <a:pt x="2110093" y="200228"/>
                  </a:lnTo>
                  <a:lnTo>
                    <a:pt x="2110093" y="198831"/>
                  </a:lnTo>
                  <a:lnTo>
                    <a:pt x="2110194" y="199530"/>
                  </a:lnTo>
                  <a:lnTo>
                    <a:pt x="2110194" y="200228"/>
                  </a:lnTo>
                  <a:lnTo>
                    <a:pt x="2110194" y="198831"/>
                  </a:lnTo>
                  <a:lnTo>
                    <a:pt x="2110194" y="199530"/>
                  </a:lnTo>
                  <a:lnTo>
                    <a:pt x="2110245" y="199530"/>
                  </a:lnTo>
                  <a:lnTo>
                    <a:pt x="2110245" y="200228"/>
                  </a:lnTo>
                  <a:lnTo>
                    <a:pt x="2110245" y="198831"/>
                  </a:lnTo>
                  <a:lnTo>
                    <a:pt x="2110245" y="199530"/>
                  </a:lnTo>
                  <a:lnTo>
                    <a:pt x="2110296" y="199530"/>
                  </a:lnTo>
                  <a:lnTo>
                    <a:pt x="2110296" y="198831"/>
                  </a:lnTo>
                  <a:lnTo>
                    <a:pt x="2110296" y="199530"/>
                  </a:lnTo>
                  <a:lnTo>
                    <a:pt x="2110296" y="198831"/>
                  </a:lnTo>
                  <a:lnTo>
                    <a:pt x="2110296" y="199530"/>
                  </a:lnTo>
                  <a:lnTo>
                    <a:pt x="2110334" y="199530"/>
                  </a:lnTo>
                  <a:lnTo>
                    <a:pt x="2110334" y="198831"/>
                  </a:lnTo>
                  <a:lnTo>
                    <a:pt x="2110334" y="199530"/>
                  </a:lnTo>
                  <a:lnTo>
                    <a:pt x="2110334" y="198831"/>
                  </a:lnTo>
                  <a:lnTo>
                    <a:pt x="2110334" y="199530"/>
                  </a:lnTo>
                  <a:lnTo>
                    <a:pt x="2110334" y="198831"/>
                  </a:lnTo>
                  <a:lnTo>
                    <a:pt x="2110334" y="199530"/>
                  </a:lnTo>
                  <a:lnTo>
                    <a:pt x="2110334" y="198831"/>
                  </a:lnTo>
                  <a:lnTo>
                    <a:pt x="2110436" y="198831"/>
                  </a:lnTo>
                  <a:lnTo>
                    <a:pt x="2110436" y="196799"/>
                  </a:lnTo>
                  <a:lnTo>
                    <a:pt x="2110436" y="197447"/>
                  </a:lnTo>
                  <a:lnTo>
                    <a:pt x="2110436" y="196799"/>
                  </a:lnTo>
                  <a:lnTo>
                    <a:pt x="2110487" y="197447"/>
                  </a:lnTo>
                  <a:lnTo>
                    <a:pt x="2110487" y="196113"/>
                  </a:lnTo>
                  <a:lnTo>
                    <a:pt x="2110487" y="198831"/>
                  </a:lnTo>
                  <a:lnTo>
                    <a:pt x="2110487" y="197447"/>
                  </a:lnTo>
                  <a:lnTo>
                    <a:pt x="2110537" y="197447"/>
                  </a:lnTo>
                  <a:lnTo>
                    <a:pt x="2110537" y="196799"/>
                  </a:lnTo>
                  <a:lnTo>
                    <a:pt x="2110537" y="199530"/>
                  </a:lnTo>
                  <a:lnTo>
                    <a:pt x="2110537" y="198831"/>
                  </a:lnTo>
                  <a:lnTo>
                    <a:pt x="2110639" y="198831"/>
                  </a:lnTo>
                  <a:lnTo>
                    <a:pt x="2110639" y="200228"/>
                  </a:lnTo>
                  <a:lnTo>
                    <a:pt x="2110639" y="199530"/>
                  </a:lnTo>
                  <a:lnTo>
                    <a:pt x="2110639" y="200228"/>
                  </a:lnTo>
                  <a:lnTo>
                    <a:pt x="2110639" y="199530"/>
                  </a:lnTo>
                  <a:lnTo>
                    <a:pt x="2110639" y="200228"/>
                  </a:lnTo>
                  <a:lnTo>
                    <a:pt x="2110690" y="200228"/>
                  </a:lnTo>
                  <a:lnTo>
                    <a:pt x="2110690" y="199530"/>
                  </a:lnTo>
                  <a:lnTo>
                    <a:pt x="2110690" y="200228"/>
                  </a:lnTo>
                  <a:lnTo>
                    <a:pt x="2110690" y="199530"/>
                  </a:lnTo>
                  <a:lnTo>
                    <a:pt x="2110690" y="200876"/>
                  </a:lnTo>
                  <a:lnTo>
                    <a:pt x="2110690" y="200228"/>
                  </a:lnTo>
                  <a:lnTo>
                    <a:pt x="2110740" y="200228"/>
                  </a:lnTo>
                  <a:lnTo>
                    <a:pt x="2110740" y="200876"/>
                  </a:lnTo>
                  <a:lnTo>
                    <a:pt x="2110740" y="200228"/>
                  </a:lnTo>
                  <a:lnTo>
                    <a:pt x="2110791" y="200228"/>
                  </a:lnTo>
                  <a:lnTo>
                    <a:pt x="2110791" y="199530"/>
                  </a:lnTo>
                  <a:lnTo>
                    <a:pt x="2110791" y="200228"/>
                  </a:lnTo>
                  <a:lnTo>
                    <a:pt x="2110791" y="199530"/>
                  </a:lnTo>
                  <a:lnTo>
                    <a:pt x="2110791" y="200228"/>
                  </a:lnTo>
                  <a:lnTo>
                    <a:pt x="2110880" y="200228"/>
                  </a:lnTo>
                  <a:lnTo>
                    <a:pt x="2110880" y="199530"/>
                  </a:lnTo>
                  <a:lnTo>
                    <a:pt x="2110880" y="200228"/>
                  </a:lnTo>
                  <a:lnTo>
                    <a:pt x="2110880" y="197447"/>
                  </a:lnTo>
                  <a:lnTo>
                    <a:pt x="2110931" y="197447"/>
                  </a:lnTo>
                  <a:lnTo>
                    <a:pt x="2110931" y="198831"/>
                  </a:lnTo>
                  <a:lnTo>
                    <a:pt x="2110931" y="196113"/>
                  </a:lnTo>
                  <a:lnTo>
                    <a:pt x="2110982" y="196113"/>
                  </a:lnTo>
                  <a:lnTo>
                    <a:pt x="2110982" y="199530"/>
                  </a:lnTo>
                  <a:lnTo>
                    <a:pt x="2110982" y="196113"/>
                  </a:lnTo>
                  <a:lnTo>
                    <a:pt x="2111033" y="196799"/>
                  </a:lnTo>
                  <a:lnTo>
                    <a:pt x="2111033" y="200228"/>
                  </a:lnTo>
                  <a:lnTo>
                    <a:pt x="2111033" y="197447"/>
                  </a:lnTo>
                  <a:lnTo>
                    <a:pt x="2111033" y="199530"/>
                  </a:lnTo>
                  <a:lnTo>
                    <a:pt x="2111134" y="199530"/>
                  </a:lnTo>
                  <a:lnTo>
                    <a:pt x="2111134" y="200228"/>
                  </a:lnTo>
                  <a:lnTo>
                    <a:pt x="2111134" y="199530"/>
                  </a:lnTo>
                  <a:lnTo>
                    <a:pt x="2111134" y="200228"/>
                  </a:lnTo>
                  <a:lnTo>
                    <a:pt x="2111236" y="200228"/>
                  </a:lnTo>
                  <a:lnTo>
                    <a:pt x="2111236" y="200876"/>
                  </a:lnTo>
                  <a:lnTo>
                    <a:pt x="2111236" y="200228"/>
                  </a:lnTo>
                  <a:lnTo>
                    <a:pt x="2111236" y="200876"/>
                  </a:lnTo>
                  <a:lnTo>
                    <a:pt x="2111236" y="200228"/>
                  </a:lnTo>
                  <a:lnTo>
                    <a:pt x="2111337" y="200228"/>
                  </a:lnTo>
                  <a:lnTo>
                    <a:pt x="2111337" y="200876"/>
                  </a:lnTo>
                  <a:lnTo>
                    <a:pt x="2111337" y="199530"/>
                  </a:lnTo>
                  <a:lnTo>
                    <a:pt x="2111337" y="200228"/>
                  </a:lnTo>
                  <a:lnTo>
                    <a:pt x="2111375" y="200228"/>
                  </a:lnTo>
                  <a:lnTo>
                    <a:pt x="2111375" y="198831"/>
                  </a:lnTo>
                  <a:lnTo>
                    <a:pt x="2111426" y="198831"/>
                  </a:lnTo>
                  <a:lnTo>
                    <a:pt x="2111426" y="196113"/>
                  </a:lnTo>
                  <a:lnTo>
                    <a:pt x="2111426" y="196799"/>
                  </a:lnTo>
                  <a:lnTo>
                    <a:pt x="2111426" y="195415"/>
                  </a:lnTo>
                  <a:lnTo>
                    <a:pt x="2111426" y="196113"/>
                  </a:lnTo>
                  <a:lnTo>
                    <a:pt x="2111477" y="196113"/>
                  </a:lnTo>
                  <a:lnTo>
                    <a:pt x="2111477" y="197447"/>
                  </a:lnTo>
                  <a:lnTo>
                    <a:pt x="2111477" y="195415"/>
                  </a:lnTo>
                  <a:lnTo>
                    <a:pt x="2111477" y="196799"/>
                  </a:lnTo>
                  <a:lnTo>
                    <a:pt x="2111579" y="197447"/>
                  </a:lnTo>
                  <a:lnTo>
                    <a:pt x="2111579" y="199530"/>
                  </a:lnTo>
                  <a:lnTo>
                    <a:pt x="2111579" y="196799"/>
                  </a:lnTo>
                  <a:lnTo>
                    <a:pt x="2111579" y="199530"/>
                  </a:lnTo>
                  <a:lnTo>
                    <a:pt x="2111630" y="199530"/>
                  </a:lnTo>
                  <a:lnTo>
                    <a:pt x="2111630" y="200228"/>
                  </a:lnTo>
                  <a:lnTo>
                    <a:pt x="2111630" y="198831"/>
                  </a:lnTo>
                  <a:lnTo>
                    <a:pt x="2111630" y="199530"/>
                  </a:lnTo>
                  <a:lnTo>
                    <a:pt x="2111630" y="198831"/>
                  </a:lnTo>
                  <a:lnTo>
                    <a:pt x="2111630" y="199530"/>
                  </a:lnTo>
                  <a:lnTo>
                    <a:pt x="2111630" y="198831"/>
                  </a:lnTo>
                  <a:lnTo>
                    <a:pt x="2111630" y="199530"/>
                  </a:lnTo>
                  <a:lnTo>
                    <a:pt x="2111680" y="199530"/>
                  </a:lnTo>
                  <a:lnTo>
                    <a:pt x="2111680" y="198831"/>
                  </a:lnTo>
                  <a:lnTo>
                    <a:pt x="2111680" y="199530"/>
                  </a:lnTo>
                  <a:lnTo>
                    <a:pt x="2111680" y="198831"/>
                  </a:lnTo>
                  <a:lnTo>
                    <a:pt x="2111680" y="200228"/>
                  </a:lnTo>
                  <a:lnTo>
                    <a:pt x="2111782" y="200228"/>
                  </a:lnTo>
                  <a:lnTo>
                    <a:pt x="2111782" y="200876"/>
                  </a:lnTo>
                  <a:lnTo>
                    <a:pt x="2111833" y="200876"/>
                  </a:lnTo>
                  <a:lnTo>
                    <a:pt x="2111833" y="200228"/>
                  </a:lnTo>
                  <a:lnTo>
                    <a:pt x="2111884" y="200228"/>
                  </a:lnTo>
                  <a:lnTo>
                    <a:pt x="2111884" y="198831"/>
                  </a:lnTo>
                  <a:lnTo>
                    <a:pt x="2111884" y="199530"/>
                  </a:lnTo>
                  <a:lnTo>
                    <a:pt x="2111884" y="198831"/>
                  </a:lnTo>
                  <a:lnTo>
                    <a:pt x="2111922" y="197447"/>
                  </a:lnTo>
                  <a:lnTo>
                    <a:pt x="2111922" y="198831"/>
                  </a:lnTo>
                  <a:lnTo>
                    <a:pt x="2111922" y="196113"/>
                  </a:lnTo>
                  <a:lnTo>
                    <a:pt x="2111922" y="197447"/>
                  </a:lnTo>
                  <a:lnTo>
                    <a:pt x="2112023" y="197447"/>
                  </a:lnTo>
                  <a:lnTo>
                    <a:pt x="2112023" y="198831"/>
                  </a:lnTo>
                  <a:lnTo>
                    <a:pt x="2112023" y="196113"/>
                  </a:lnTo>
                  <a:lnTo>
                    <a:pt x="2112023" y="199530"/>
                  </a:lnTo>
                  <a:lnTo>
                    <a:pt x="2112074" y="199530"/>
                  </a:lnTo>
                  <a:lnTo>
                    <a:pt x="2112074" y="196799"/>
                  </a:lnTo>
                  <a:lnTo>
                    <a:pt x="2112074" y="199530"/>
                  </a:lnTo>
                  <a:lnTo>
                    <a:pt x="2112074" y="198831"/>
                  </a:lnTo>
                  <a:lnTo>
                    <a:pt x="2112125" y="198831"/>
                  </a:lnTo>
                  <a:lnTo>
                    <a:pt x="2112125" y="197447"/>
                  </a:lnTo>
                  <a:lnTo>
                    <a:pt x="2112125" y="198831"/>
                  </a:lnTo>
                  <a:lnTo>
                    <a:pt x="2112125" y="197447"/>
                  </a:lnTo>
                  <a:lnTo>
                    <a:pt x="2112125" y="199530"/>
                  </a:lnTo>
                  <a:lnTo>
                    <a:pt x="2112125" y="198831"/>
                  </a:lnTo>
                  <a:lnTo>
                    <a:pt x="2112226" y="197447"/>
                  </a:lnTo>
                  <a:lnTo>
                    <a:pt x="2112226" y="199530"/>
                  </a:lnTo>
                  <a:lnTo>
                    <a:pt x="2112226" y="198831"/>
                  </a:lnTo>
                  <a:lnTo>
                    <a:pt x="2112226" y="199530"/>
                  </a:lnTo>
                  <a:lnTo>
                    <a:pt x="2112226" y="198831"/>
                  </a:lnTo>
                  <a:lnTo>
                    <a:pt x="2112277" y="198831"/>
                  </a:lnTo>
                  <a:lnTo>
                    <a:pt x="2112277" y="199530"/>
                  </a:lnTo>
                  <a:lnTo>
                    <a:pt x="2112277" y="198831"/>
                  </a:lnTo>
                  <a:lnTo>
                    <a:pt x="2112277" y="199530"/>
                  </a:lnTo>
                  <a:lnTo>
                    <a:pt x="2112277" y="198831"/>
                  </a:lnTo>
                  <a:lnTo>
                    <a:pt x="2112328" y="198831"/>
                  </a:lnTo>
                  <a:lnTo>
                    <a:pt x="2112328" y="199530"/>
                  </a:lnTo>
                  <a:lnTo>
                    <a:pt x="2112328" y="198831"/>
                  </a:lnTo>
                  <a:lnTo>
                    <a:pt x="2112328" y="199530"/>
                  </a:lnTo>
                  <a:lnTo>
                    <a:pt x="2112328" y="198831"/>
                  </a:lnTo>
                  <a:lnTo>
                    <a:pt x="2112328" y="199530"/>
                  </a:lnTo>
                  <a:lnTo>
                    <a:pt x="2112328" y="198831"/>
                  </a:lnTo>
                  <a:lnTo>
                    <a:pt x="2112328" y="199530"/>
                  </a:lnTo>
                  <a:lnTo>
                    <a:pt x="2112379" y="199530"/>
                  </a:lnTo>
                  <a:lnTo>
                    <a:pt x="2112379" y="198831"/>
                  </a:lnTo>
                  <a:lnTo>
                    <a:pt x="2112379" y="199530"/>
                  </a:lnTo>
                  <a:lnTo>
                    <a:pt x="2112379" y="198831"/>
                  </a:lnTo>
                  <a:lnTo>
                    <a:pt x="2112379" y="199530"/>
                  </a:lnTo>
                  <a:lnTo>
                    <a:pt x="2112379" y="197447"/>
                  </a:lnTo>
                  <a:lnTo>
                    <a:pt x="2112379" y="198831"/>
                  </a:lnTo>
                  <a:lnTo>
                    <a:pt x="2112379" y="197447"/>
                  </a:lnTo>
                  <a:lnTo>
                    <a:pt x="2112468" y="197447"/>
                  </a:lnTo>
                  <a:lnTo>
                    <a:pt x="2112468" y="196799"/>
                  </a:lnTo>
                  <a:lnTo>
                    <a:pt x="2112468" y="198831"/>
                  </a:lnTo>
                  <a:lnTo>
                    <a:pt x="2112468" y="197447"/>
                  </a:lnTo>
                  <a:lnTo>
                    <a:pt x="2112468" y="198831"/>
                  </a:lnTo>
                  <a:lnTo>
                    <a:pt x="2112468" y="197447"/>
                  </a:lnTo>
                  <a:lnTo>
                    <a:pt x="2112519" y="197447"/>
                  </a:lnTo>
                  <a:lnTo>
                    <a:pt x="2112519" y="200228"/>
                  </a:lnTo>
                  <a:lnTo>
                    <a:pt x="2112519" y="199530"/>
                  </a:lnTo>
                  <a:lnTo>
                    <a:pt x="2112519" y="200228"/>
                  </a:lnTo>
                  <a:lnTo>
                    <a:pt x="2112519" y="199530"/>
                  </a:lnTo>
                  <a:lnTo>
                    <a:pt x="2112569" y="198831"/>
                  </a:lnTo>
                  <a:lnTo>
                    <a:pt x="2112569" y="199530"/>
                  </a:lnTo>
                  <a:lnTo>
                    <a:pt x="2112569" y="198831"/>
                  </a:lnTo>
                  <a:lnTo>
                    <a:pt x="2112569" y="200228"/>
                  </a:lnTo>
                  <a:lnTo>
                    <a:pt x="2112569" y="199530"/>
                  </a:lnTo>
                  <a:lnTo>
                    <a:pt x="2112569" y="200228"/>
                  </a:lnTo>
                  <a:lnTo>
                    <a:pt x="2112620" y="199530"/>
                  </a:lnTo>
                  <a:lnTo>
                    <a:pt x="2112620" y="200228"/>
                  </a:lnTo>
                  <a:lnTo>
                    <a:pt x="2112620" y="199530"/>
                  </a:lnTo>
                  <a:lnTo>
                    <a:pt x="2112620" y="200228"/>
                  </a:lnTo>
                  <a:lnTo>
                    <a:pt x="2112620" y="199530"/>
                  </a:lnTo>
                  <a:lnTo>
                    <a:pt x="2112620" y="200228"/>
                  </a:lnTo>
                  <a:lnTo>
                    <a:pt x="2112722" y="200228"/>
                  </a:lnTo>
                  <a:lnTo>
                    <a:pt x="2112722" y="199530"/>
                  </a:lnTo>
                  <a:lnTo>
                    <a:pt x="2112722" y="200228"/>
                  </a:lnTo>
                  <a:lnTo>
                    <a:pt x="2112722" y="199530"/>
                  </a:lnTo>
                  <a:lnTo>
                    <a:pt x="2112722" y="200228"/>
                  </a:lnTo>
                  <a:lnTo>
                    <a:pt x="2112772" y="200228"/>
                  </a:lnTo>
                  <a:lnTo>
                    <a:pt x="2112772" y="199530"/>
                  </a:lnTo>
                  <a:lnTo>
                    <a:pt x="2112772" y="200228"/>
                  </a:lnTo>
                  <a:lnTo>
                    <a:pt x="2112772" y="199530"/>
                  </a:lnTo>
                  <a:lnTo>
                    <a:pt x="2112772" y="200228"/>
                  </a:lnTo>
                  <a:lnTo>
                    <a:pt x="2112823" y="200228"/>
                  </a:lnTo>
                  <a:lnTo>
                    <a:pt x="2112823" y="199530"/>
                  </a:lnTo>
                  <a:lnTo>
                    <a:pt x="2112823" y="200228"/>
                  </a:lnTo>
                  <a:lnTo>
                    <a:pt x="2112823" y="198831"/>
                  </a:lnTo>
                  <a:lnTo>
                    <a:pt x="2112823" y="199530"/>
                  </a:lnTo>
                  <a:lnTo>
                    <a:pt x="2112823" y="198831"/>
                  </a:lnTo>
                  <a:lnTo>
                    <a:pt x="2112925" y="198831"/>
                  </a:lnTo>
                  <a:lnTo>
                    <a:pt x="2112925" y="196113"/>
                  </a:lnTo>
                  <a:lnTo>
                    <a:pt x="2112925" y="196799"/>
                  </a:lnTo>
                  <a:lnTo>
                    <a:pt x="2112963" y="196799"/>
                  </a:lnTo>
                  <a:lnTo>
                    <a:pt x="2112963" y="198831"/>
                  </a:lnTo>
                  <a:lnTo>
                    <a:pt x="2112963" y="196799"/>
                  </a:lnTo>
                  <a:lnTo>
                    <a:pt x="2113014" y="197447"/>
                  </a:lnTo>
                  <a:lnTo>
                    <a:pt x="2113014" y="199530"/>
                  </a:lnTo>
                  <a:lnTo>
                    <a:pt x="2113014" y="198831"/>
                  </a:lnTo>
                  <a:lnTo>
                    <a:pt x="2113014" y="199530"/>
                  </a:lnTo>
                  <a:lnTo>
                    <a:pt x="2113065" y="199530"/>
                  </a:lnTo>
                  <a:lnTo>
                    <a:pt x="2113065" y="200228"/>
                  </a:lnTo>
                  <a:lnTo>
                    <a:pt x="2113065" y="199530"/>
                  </a:lnTo>
                  <a:lnTo>
                    <a:pt x="2113065" y="200228"/>
                  </a:lnTo>
                  <a:lnTo>
                    <a:pt x="2113065" y="199530"/>
                  </a:lnTo>
                  <a:lnTo>
                    <a:pt x="2113065" y="200228"/>
                  </a:lnTo>
                  <a:lnTo>
                    <a:pt x="2113065" y="199530"/>
                  </a:lnTo>
                  <a:lnTo>
                    <a:pt x="2113166" y="200228"/>
                  </a:lnTo>
                  <a:lnTo>
                    <a:pt x="2113166" y="200876"/>
                  </a:lnTo>
                  <a:lnTo>
                    <a:pt x="2113166" y="199530"/>
                  </a:lnTo>
                  <a:lnTo>
                    <a:pt x="2113166" y="200228"/>
                  </a:lnTo>
                  <a:lnTo>
                    <a:pt x="2113217" y="199530"/>
                  </a:lnTo>
                  <a:lnTo>
                    <a:pt x="2113217" y="200228"/>
                  </a:lnTo>
                  <a:lnTo>
                    <a:pt x="2113217" y="199530"/>
                  </a:lnTo>
                  <a:lnTo>
                    <a:pt x="2113217" y="200228"/>
                  </a:lnTo>
                  <a:lnTo>
                    <a:pt x="2113217" y="199530"/>
                  </a:lnTo>
                  <a:lnTo>
                    <a:pt x="2113217" y="200228"/>
                  </a:lnTo>
                  <a:lnTo>
                    <a:pt x="2113268" y="200228"/>
                  </a:lnTo>
                  <a:lnTo>
                    <a:pt x="2113268" y="198831"/>
                  </a:lnTo>
                  <a:lnTo>
                    <a:pt x="2113268" y="200228"/>
                  </a:lnTo>
                  <a:lnTo>
                    <a:pt x="2113268" y="198831"/>
                  </a:lnTo>
                  <a:lnTo>
                    <a:pt x="2113369" y="199530"/>
                  </a:lnTo>
                  <a:lnTo>
                    <a:pt x="2113369" y="198831"/>
                  </a:lnTo>
                  <a:lnTo>
                    <a:pt x="2113369" y="199530"/>
                  </a:lnTo>
                  <a:lnTo>
                    <a:pt x="2113369" y="198831"/>
                  </a:lnTo>
                  <a:lnTo>
                    <a:pt x="2113369" y="199530"/>
                  </a:lnTo>
                  <a:lnTo>
                    <a:pt x="2113369" y="196799"/>
                  </a:lnTo>
                  <a:lnTo>
                    <a:pt x="2113369" y="197447"/>
                  </a:lnTo>
                  <a:lnTo>
                    <a:pt x="2113420" y="197447"/>
                  </a:lnTo>
                  <a:lnTo>
                    <a:pt x="2113420" y="194716"/>
                  </a:lnTo>
                  <a:lnTo>
                    <a:pt x="2113420" y="195415"/>
                  </a:lnTo>
                  <a:lnTo>
                    <a:pt x="2113420" y="194716"/>
                  </a:lnTo>
                  <a:lnTo>
                    <a:pt x="2113420" y="195415"/>
                  </a:lnTo>
                  <a:lnTo>
                    <a:pt x="2113471" y="194716"/>
                  </a:lnTo>
                  <a:lnTo>
                    <a:pt x="2113471" y="196799"/>
                  </a:lnTo>
                  <a:lnTo>
                    <a:pt x="2113471" y="194716"/>
                  </a:lnTo>
                  <a:lnTo>
                    <a:pt x="2113471" y="195415"/>
                  </a:lnTo>
                  <a:lnTo>
                    <a:pt x="2113509" y="196113"/>
                  </a:lnTo>
                  <a:lnTo>
                    <a:pt x="2113509" y="198831"/>
                  </a:lnTo>
                  <a:lnTo>
                    <a:pt x="2113509" y="196799"/>
                  </a:lnTo>
                  <a:lnTo>
                    <a:pt x="2113509" y="197447"/>
                  </a:lnTo>
                  <a:lnTo>
                    <a:pt x="2113611" y="197447"/>
                  </a:lnTo>
                  <a:lnTo>
                    <a:pt x="2113611" y="198831"/>
                  </a:lnTo>
                  <a:lnTo>
                    <a:pt x="2113611" y="197447"/>
                  </a:lnTo>
                  <a:lnTo>
                    <a:pt x="2113611" y="198831"/>
                  </a:lnTo>
                  <a:lnTo>
                    <a:pt x="2113611" y="197447"/>
                  </a:lnTo>
                  <a:lnTo>
                    <a:pt x="2113611" y="198831"/>
                  </a:lnTo>
                  <a:lnTo>
                    <a:pt x="2113662" y="198831"/>
                  </a:lnTo>
                  <a:lnTo>
                    <a:pt x="2113662" y="199530"/>
                  </a:lnTo>
                  <a:lnTo>
                    <a:pt x="2113662" y="198831"/>
                  </a:lnTo>
                  <a:lnTo>
                    <a:pt x="2113662" y="199530"/>
                  </a:lnTo>
                  <a:lnTo>
                    <a:pt x="2113712" y="199530"/>
                  </a:lnTo>
                  <a:lnTo>
                    <a:pt x="2113712" y="200228"/>
                  </a:lnTo>
                  <a:lnTo>
                    <a:pt x="2113814" y="200228"/>
                  </a:lnTo>
                  <a:lnTo>
                    <a:pt x="2113814" y="199530"/>
                  </a:lnTo>
                  <a:lnTo>
                    <a:pt x="2113814" y="200228"/>
                  </a:lnTo>
                  <a:lnTo>
                    <a:pt x="2113814" y="199530"/>
                  </a:lnTo>
                  <a:lnTo>
                    <a:pt x="2113814" y="200228"/>
                  </a:lnTo>
                  <a:lnTo>
                    <a:pt x="2113814" y="199530"/>
                  </a:lnTo>
                  <a:lnTo>
                    <a:pt x="2113865" y="199530"/>
                  </a:lnTo>
                  <a:lnTo>
                    <a:pt x="2113865" y="198831"/>
                  </a:lnTo>
                  <a:lnTo>
                    <a:pt x="2113915" y="197447"/>
                  </a:lnTo>
                  <a:lnTo>
                    <a:pt x="2113915" y="196799"/>
                  </a:lnTo>
                  <a:lnTo>
                    <a:pt x="2113915" y="197447"/>
                  </a:lnTo>
                  <a:lnTo>
                    <a:pt x="2113915" y="196799"/>
                  </a:lnTo>
                  <a:lnTo>
                    <a:pt x="2113915" y="197447"/>
                  </a:lnTo>
                  <a:lnTo>
                    <a:pt x="2113915" y="195415"/>
                  </a:lnTo>
                  <a:lnTo>
                    <a:pt x="2113915" y="196113"/>
                  </a:lnTo>
                  <a:lnTo>
                    <a:pt x="2113915" y="195415"/>
                  </a:lnTo>
                  <a:lnTo>
                    <a:pt x="2113915" y="196113"/>
                  </a:lnTo>
                  <a:lnTo>
                    <a:pt x="2113966" y="196799"/>
                  </a:lnTo>
                  <a:lnTo>
                    <a:pt x="2113966" y="197447"/>
                  </a:lnTo>
                  <a:lnTo>
                    <a:pt x="2113966" y="196799"/>
                  </a:lnTo>
                  <a:lnTo>
                    <a:pt x="2113966" y="197447"/>
                  </a:lnTo>
                  <a:lnTo>
                    <a:pt x="2113966" y="195415"/>
                  </a:lnTo>
                  <a:lnTo>
                    <a:pt x="2113966" y="197447"/>
                  </a:lnTo>
                  <a:lnTo>
                    <a:pt x="2114055" y="198831"/>
                  </a:lnTo>
                  <a:lnTo>
                    <a:pt x="2114055" y="199530"/>
                  </a:lnTo>
                  <a:lnTo>
                    <a:pt x="2114055" y="196799"/>
                  </a:lnTo>
                  <a:lnTo>
                    <a:pt x="2114055" y="199530"/>
                  </a:lnTo>
                  <a:lnTo>
                    <a:pt x="2114106" y="199530"/>
                  </a:lnTo>
                  <a:lnTo>
                    <a:pt x="2114106" y="197447"/>
                  </a:lnTo>
                  <a:lnTo>
                    <a:pt x="2114106" y="199530"/>
                  </a:lnTo>
                  <a:lnTo>
                    <a:pt x="2114157" y="198831"/>
                  </a:lnTo>
                  <a:lnTo>
                    <a:pt x="2114157" y="197447"/>
                  </a:lnTo>
                  <a:lnTo>
                    <a:pt x="2114157" y="198831"/>
                  </a:lnTo>
                  <a:lnTo>
                    <a:pt x="2114157" y="197447"/>
                  </a:lnTo>
                  <a:lnTo>
                    <a:pt x="2114157" y="199530"/>
                  </a:lnTo>
                  <a:lnTo>
                    <a:pt x="2114157" y="198831"/>
                  </a:lnTo>
                  <a:lnTo>
                    <a:pt x="2114157" y="199530"/>
                  </a:lnTo>
                  <a:lnTo>
                    <a:pt x="2114208" y="198831"/>
                  </a:lnTo>
                  <a:lnTo>
                    <a:pt x="2114208" y="200228"/>
                  </a:lnTo>
                  <a:lnTo>
                    <a:pt x="2114208" y="199530"/>
                  </a:lnTo>
                  <a:lnTo>
                    <a:pt x="2114309" y="199530"/>
                  </a:lnTo>
                  <a:lnTo>
                    <a:pt x="2114309" y="200228"/>
                  </a:lnTo>
                  <a:lnTo>
                    <a:pt x="2114309" y="199530"/>
                  </a:lnTo>
                  <a:lnTo>
                    <a:pt x="2114309" y="200228"/>
                  </a:lnTo>
                  <a:lnTo>
                    <a:pt x="2114309" y="199530"/>
                  </a:lnTo>
                  <a:lnTo>
                    <a:pt x="2114309" y="200228"/>
                  </a:lnTo>
                  <a:lnTo>
                    <a:pt x="2114360" y="199530"/>
                  </a:lnTo>
                  <a:lnTo>
                    <a:pt x="2114360" y="196799"/>
                  </a:lnTo>
                  <a:lnTo>
                    <a:pt x="2114411" y="197447"/>
                  </a:lnTo>
                  <a:lnTo>
                    <a:pt x="2114411" y="195415"/>
                  </a:lnTo>
                  <a:lnTo>
                    <a:pt x="2114411" y="196113"/>
                  </a:lnTo>
                  <a:lnTo>
                    <a:pt x="2114411" y="195415"/>
                  </a:lnTo>
                  <a:lnTo>
                    <a:pt x="2114512" y="195415"/>
                  </a:lnTo>
                  <a:lnTo>
                    <a:pt x="2114512" y="196113"/>
                  </a:lnTo>
                  <a:lnTo>
                    <a:pt x="2114512" y="195415"/>
                  </a:lnTo>
                  <a:lnTo>
                    <a:pt x="2114550" y="196113"/>
                  </a:lnTo>
                  <a:lnTo>
                    <a:pt x="2114550" y="197447"/>
                  </a:lnTo>
                  <a:lnTo>
                    <a:pt x="2114550" y="196113"/>
                  </a:lnTo>
                  <a:lnTo>
                    <a:pt x="2114550" y="196799"/>
                  </a:lnTo>
                  <a:lnTo>
                    <a:pt x="2114550" y="196113"/>
                  </a:lnTo>
                  <a:lnTo>
                    <a:pt x="2114550" y="196799"/>
                  </a:lnTo>
                  <a:lnTo>
                    <a:pt x="2114601" y="196799"/>
                  </a:lnTo>
                  <a:lnTo>
                    <a:pt x="2114601" y="197447"/>
                  </a:lnTo>
                  <a:lnTo>
                    <a:pt x="2114601" y="196113"/>
                  </a:lnTo>
                  <a:lnTo>
                    <a:pt x="2114601" y="196799"/>
                  </a:lnTo>
                  <a:lnTo>
                    <a:pt x="2114601" y="196113"/>
                  </a:lnTo>
                  <a:lnTo>
                    <a:pt x="2114601" y="197447"/>
                  </a:lnTo>
                  <a:lnTo>
                    <a:pt x="2114652" y="197447"/>
                  </a:lnTo>
                  <a:lnTo>
                    <a:pt x="2114652" y="196799"/>
                  </a:lnTo>
                  <a:lnTo>
                    <a:pt x="2114652" y="198831"/>
                  </a:lnTo>
                  <a:lnTo>
                    <a:pt x="2114754" y="198831"/>
                  </a:lnTo>
                  <a:lnTo>
                    <a:pt x="2114754" y="199530"/>
                  </a:lnTo>
                  <a:lnTo>
                    <a:pt x="2114805" y="199530"/>
                  </a:lnTo>
                  <a:lnTo>
                    <a:pt x="2114805" y="200228"/>
                  </a:lnTo>
                  <a:lnTo>
                    <a:pt x="2114805" y="199530"/>
                  </a:lnTo>
                  <a:lnTo>
                    <a:pt x="2114855" y="198831"/>
                  </a:lnTo>
                  <a:lnTo>
                    <a:pt x="2114855" y="197447"/>
                  </a:lnTo>
                  <a:lnTo>
                    <a:pt x="2114855" y="198831"/>
                  </a:lnTo>
                  <a:lnTo>
                    <a:pt x="2114855" y="197447"/>
                  </a:lnTo>
                  <a:lnTo>
                    <a:pt x="2114957" y="197447"/>
                  </a:lnTo>
                  <a:lnTo>
                    <a:pt x="2114957" y="195415"/>
                  </a:lnTo>
                  <a:lnTo>
                    <a:pt x="2115008" y="195415"/>
                  </a:lnTo>
                  <a:lnTo>
                    <a:pt x="2115008" y="194716"/>
                  </a:lnTo>
                  <a:lnTo>
                    <a:pt x="2115008" y="196113"/>
                  </a:lnTo>
                  <a:lnTo>
                    <a:pt x="2115008" y="193383"/>
                  </a:lnTo>
                  <a:lnTo>
                    <a:pt x="2115008" y="194716"/>
                  </a:lnTo>
                  <a:lnTo>
                    <a:pt x="2115059" y="194716"/>
                  </a:lnTo>
                  <a:lnTo>
                    <a:pt x="2115059" y="196799"/>
                  </a:lnTo>
                  <a:lnTo>
                    <a:pt x="2115059" y="196113"/>
                  </a:lnTo>
                  <a:lnTo>
                    <a:pt x="2115059" y="196799"/>
                  </a:lnTo>
                  <a:lnTo>
                    <a:pt x="2115059" y="194716"/>
                  </a:lnTo>
                  <a:lnTo>
                    <a:pt x="2115059" y="195415"/>
                  </a:lnTo>
                  <a:lnTo>
                    <a:pt x="2115097" y="195415"/>
                  </a:lnTo>
                  <a:lnTo>
                    <a:pt x="2115097" y="196799"/>
                  </a:lnTo>
                  <a:lnTo>
                    <a:pt x="2115097" y="195415"/>
                  </a:lnTo>
                  <a:lnTo>
                    <a:pt x="2115198" y="195415"/>
                  </a:lnTo>
                  <a:lnTo>
                    <a:pt x="2115198" y="196799"/>
                  </a:lnTo>
                  <a:lnTo>
                    <a:pt x="2115198" y="196113"/>
                  </a:lnTo>
                  <a:lnTo>
                    <a:pt x="2115198" y="196799"/>
                  </a:lnTo>
                  <a:lnTo>
                    <a:pt x="2115249" y="196799"/>
                  </a:lnTo>
                  <a:lnTo>
                    <a:pt x="2115249" y="197447"/>
                  </a:lnTo>
                  <a:lnTo>
                    <a:pt x="2115249" y="196799"/>
                  </a:lnTo>
                  <a:lnTo>
                    <a:pt x="2115249" y="197447"/>
                  </a:lnTo>
                  <a:lnTo>
                    <a:pt x="2115300" y="197447"/>
                  </a:lnTo>
                  <a:lnTo>
                    <a:pt x="2115300" y="198831"/>
                  </a:lnTo>
                  <a:lnTo>
                    <a:pt x="2115300" y="197447"/>
                  </a:lnTo>
                  <a:lnTo>
                    <a:pt x="2115300" y="198831"/>
                  </a:lnTo>
                  <a:lnTo>
                    <a:pt x="2115300" y="197447"/>
                  </a:lnTo>
                  <a:lnTo>
                    <a:pt x="2115300" y="198831"/>
                  </a:lnTo>
                  <a:lnTo>
                    <a:pt x="2115401" y="198831"/>
                  </a:lnTo>
                  <a:lnTo>
                    <a:pt x="2115401" y="197447"/>
                  </a:lnTo>
                  <a:lnTo>
                    <a:pt x="2115452" y="196799"/>
                  </a:lnTo>
                  <a:lnTo>
                    <a:pt x="2115452" y="196113"/>
                  </a:lnTo>
                  <a:lnTo>
                    <a:pt x="2115452" y="197447"/>
                  </a:lnTo>
                  <a:lnTo>
                    <a:pt x="2115452" y="196113"/>
                  </a:lnTo>
                  <a:lnTo>
                    <a:pt x="2115452" y="196799"/>
                  </a:lnTo>
                  <a:lnTo>
                    <a:pt x="2115503" y="196799"/>
                  </a:lnTo>
                  <a:lnTo>
                    <a:pt x="2115503" y="197447"/>
                  </a:lnTo>
                  <a:lnTo>
                    <a:pt x="2115503" y="196113"/>
                  </a:lnTo>
                  <a:lnTo>
                    <a:pt x="2115503" y="198831"/>
                  </a:lnTo>
                  <a:lnTo>
                    <a:pt x="2115503" y="197447"/>
                  </a:lnTo>
                  <a:lnTo>
                    <a:pt x="2115503" y="198831"/>
                  </a:lnTo>
                  <a:lnTo>
                    <a:pt x="2115554" y="198831"/>
                  </a:lnTo>
                  <a:lnTo>
                    <a:pt x="2115554" y="196799"/>
                  </a:lnTo>
                  <a:lnTo>
                    <a:pt x="2115554" y="198831"/>
                  </a:lnTo>
                  <a:lnTo>
                    <a:pt x="2115643" y="197447"/>
                  </a:lnTo>
                  <a:lnTo>
                    <a:pt x="2115643" y="198831"/>
                  </a:lnTo>
                  <a:lnTo>
                    <a:pt x="2115643" y="197447"/>
                  </a:lnTo>
                  <a:lnTo>
                    <a:pt x="2115643" y="198831"/>
                  </a:lnTo>
                  <a:lnTo>
                    <a:pt x="2115643" y="197447"/>
                  </a:lnTo>
                  <a:lnTo>
                    <a:pt x="2115643" y="198831"/>
                  </a:lnTo>
                  <a:lnTo>
                    <a:pt x="2115643" y="197447"/>
                  </a:lnTo>
                  <a:lnTo>
                    <a:pt x="2115694" y="197447"/>
                  </a:lnTo>
                  <a:lnTo>
                    <a:pt x="2115694" y="198831"/>
                  </a:lnTo>
                  <a:lnTo>
                    <a:pt x="2115694" y="197447"/>
                  </a:lnTo>
                  <a:lnTo>
                    <a:pt x="2115694" y="198831"/>
                  </a:lnTo>
                  <a:lnTo>
                    <a:pt x="2115694" y="197447"/>
                  </a:lnTo>
                  <a:lnTo>
                    <a:pt x="2115694" y="198831"/>
                  </a:lnTo>
                  <a:lnTo>
                    <a:pt x="2115694" y="197447"/>
                  </a:lnTo>
                  <a:lnTo>
                    <a:pt x="2115694" y="198831"/>
                  </a:lnTo>
                  <a:lnTo>
                    <a:pt x="2115744" y="198831"/>
                  </a:lnTo>
                  <a:lnTo>
                    <a:pt x="2115744" y="199530"/>
                  </a:lnTo>
                  <a:lnTo>
                    <a:pt x="2115744" y="198831"/>
                  </a:lnTo>
                  <a:lnTo>
                    <a:pt x="2115744" y="199530"/>
                  </a:lnTo>
                  <a:lnTo>
                    <a:pt x="2115744" y="198831"/>
                  </a:lnTo>
                  <a:lnTo>
                    <a:pt x="2115795" y="198831"/>
                  </a:lnTo>
                  <a:lnTo>
                    <a:pt x="2115795" y="199530"/>
                  </a:lnTo>
                  <a:lnTo>
                    <a:pt x="2115795" y="198831"/>
                  </a:lnTo>
                  <a:lnTo>
                    <a:pt x="2115795" y="199530"/>
                  </a:lnTo>
                  <a:lnTo>
                    <a:pt x="2115795" y="198831"/>
                  </a:lnTo>
                  <a:lnTo>
                    <a:pt x="2115897" y="198831"/>
                  </a:lnTo>
                  <a:lnTo>
                    <a:pt x="2115897" y="197447"/>
                  </a:lnTo>
                  <a:lnTo>
                    <a:pt x="2115897" y="198831"/>
                  </a:lnTo>
                  <a:lnTo>
                    <a:pt x="2115897" y="197447"/>
                  </a:lnTo>
                  <a:lnTo>
                    <a:pt x="2115897" y="199530"/>
                  </a:lnTo>
                  <a:lnTo>
                    <a:pt x="2115947" y="199530"/>
                  </a:lnTo>
                  <a:lnTo>
                    <a:pt x="2115947" y="200228"/>
                  </a:lnTo>
                  <a:lnTo>
                    <a:pt x="2115947" y="198831"/>
                  </a:lnTo>
                  <a:lnTo>
                    <a:pt x="2115947" y="202959"/>
                  </a:lnTo>
                  <a:lnTo>
                    <a:pt x="2115998" y="202959"/>
                  </a:lnTo>
                  <a:lnTo>
                    <a:pt x="2115998" y="200228"/>
                  </a:lnTo>
                  <a:lnTo>
                    <a:pt x="2115998" y="202959"/>
                  </a:lnTo>
                  <a:lnTo>
                    <a:pt x="2116100" y="202959"/>
                  </a:lnTo>
                  <a:lnTo>
                    <a:pt x="2116100" y="200876"/>
                  </a:lnTo>
                  <a:lnTo>
                    <a:pt x="2116100" y="202260"/>
                  </a:lnTo>
                  <a:lnTo>
                    <a:pt x="2116138" y="202260"/>
                  </a:lnTo>
                  <a:lnTo>
                    <a:pt x="2116138" y="200876"/>
                  </a:lnTo>
                  <a:lnTo>
                    <a:pt x="2116138" y="202260"/>
                  </a:lnTo>
                  <a:lnTo>
                    <a:pt x="2116138" y="200876"/>
                  </a:lnTo>
                  <a:lnTo>
                    <a:pt x="2116138" y="202260"/>
                  </a:lnTo>
                  <a:lnTo>
                    <a:pt x="2116138" y="200876"/>
                  </a:lnTo>
                  <a:lnTo>
                    <a:pt x="2116189" y="200876"/>
                  </a:lnTo>
                  <a:lnTo>
                    <a:pt x="2116189" y="200228"/>
                  </a:lnTo>
                  <a:lnTo>
                    <a:pt x="2116189" y="200876"/>
                  </a:lnTo>
                  <a:lnTo>
                    <a:pt x="2116189" y="200228"/>
                  </a:lnTo>
                  <a:lnTo>
                    <a:pt x="2116189" y="200876"/>
                  </a:lnTo>
                  <a:lnTo>
                    <a:pt x="2116189" y="200228"/>
                  </a:lnTo>
                  <a:lnTo>
                    <a:pt x="2116189" y="200876"/>
                  </a:lnTo>
                  <a:lnTo>
                    <a:pt x="2116189" y="200228"/>
                  </a:lnTo>
                  <a:lnTo>
                    <a:pt x="2116240" y="200228"/>
                  </a:lnTo>
                  <a:lnTo>
                    <a:pt x="2116240" y="199530"/>
                  </a:lnTo>
                  <a:lnTo>
                    <a:pt x="2116240" y="200228"/>
                  </a:lnTo>
                  <a:lnTo>
                    <a:pt x="2116240" y="199530"/>
                  </a:lnTo>
                  <a:lnTo>
                    <a:pt x="2116240" y="200228"/>
                  </a:lnTo>
                  <a:lnTo>
                    <a:pt x="2116240" y="198831"/>
                  </a:lnTo>
                  <a:lnTo>
                    <a:pt x="2116341" y="198831"/>
                  </a:lnTo>
                  <a:lnTo>
                    <a:pt x="2116341" y="196799"/>
                  </a:lnTo>
                  <a:lnTo>
                    <a:pt x="2116341" y="197447"/>
                  </a:lnTo>
                  <a:lnTo>
                    <a:pt x="2116341" y="196799"/>
                  </a:lnTo>
                  <a:lnTo>
                    <a:pt x="2116341" y="197447"/>
                  </a:lnTo>
                  <a:lnTo>
                    <a:pt x="2116341" y="196799"/>
                  </a:lnTo>
                  <a:lnTo>
                    <a:pt x="2116392" y="196799"/>
                  </a:lnTo>
                  <a:lnTo>
                    <a:pt x="2116392" y="196113"/>
                  </a:lnTo>
                  <a:lnTo>
                    <a:pt x="2116392" y="198831"/>
                  </a:lnTo>
                  <a:lnTo>
                    <a:pt x="2116443" y="198831"/>
                  </a:lnTo>
                  <a:lnTo>
                    <a:pt x="2116443" y="196799"/>
                  </a:lnTo>
                  <a:lnTo>
                    <a:pt x="2116443" y="200876"/>
                  </a:lnTo>
                  <a:lnTo>
                    <a:pt x="2116443" y="200228"/>
                  </a:lnTo>
                  <a:lnTo>
                    <a:pt x="2116544" y="200228"/>
                  </a:lnTo>
                  <a:lnTo>
                    <a:pt x="2116544" y="198831"/>
                  </a:lnTo>
                  <a:lnTo>
                    <a:pt x="2116544" y="200876"/>
                  </a:lnTo>
                  <a:lnTo>
                    <a:pt x="2116544" y="200228"/>
                  </a:lnTo>
                  <a:lnTo>
                    <a:pt x="2116595" y="200228"/>
                  </a:lnTo>
                  <a:lnTo>
                    <a:pt x="2116595" y="200876"/>
                  </a:lnTo>
                  <a:lnTo>
                    <a:pt x="2116595" y="200228"/>
                  </a:lnTo>
                  <a:lnTo>
                    <a:pt x="2116646" y="200876"/>
                  </a:lnTo>
                  <a:lnTo>
                    <a:pt x="2116646" y="202260"/>
                  </a:lnTo>
                  <a:lnTo>
                    <a:pt x="2116646" y="200876"/>
                  </a:lnTo>
                  <a:lnTo>
                    <a:pt x="2116646" y="202260"/>
                  </a:lnTo>
                  <a:lnTo>
                    <a:pt x="2116646" y="200876"/>
                  </a:lnTo>
                  <a:lnTo>
                    <a:pt x="2116684" y="200876"/>
                  </a:lnTo>
                  <a:lnTo>
                    <a:pt x="2116684" y="202260"/>
                  </a:lnTo>
                  <a:lnTo>
                    <a:pt x="2116684" y="200876"/>
                  </a:lnTo>
                  <a:lnTo>
                    <a:pt x="2116684" y="202260"/>
                  </a:lnTo>
                  <a:lnTo>
                    <a:pt x="2116684" y="200876"/>
                  </a:lnTo>
                  <a:lnTo>
                    <a:pt x="2116684" y="202260"/>
                  </a:lnTo>
                  <a:lnTo>
                    <a:pt x="2116684" y="200876"/>
                  </a:lnTo>
                  <a:lnTo>
                    <a:pt x="2116786" y="200876"/>
                  </a:lnTo>
                  <a:lnTo>
                    <a:pt x="2116786" y="199530"/>
                  </a:lnTo>
                  <a:lnTo>
                    <a:pt x="2116837" y="198831"/>
                  </a:lnTo>
                  <a:lnTo>
                    <a:pt x="2116837" y="196799"/>
                  </a:lnTo>
                  <a:lnTo>
                    <a:pt x="2116887" y="196799"/>
                  </a:lnTo>
                  <a:lnTo>
                    <a:pt x="2116887" y="198831"/>
                  </a:lnTo>
                  <a:lnTo>
                    <a:pt x="2116887" y="197447"/>
                  </a:lnTo>
                  <a:lnTo>
                    <a:pt x="2116887" y="198831"/>
                  </a:lnTo>
                  <a:lnTo>
                    <a:pt x="2116887" y="197447"/>
                  </a:lnTo>
                  <a:lnTo>
                    <a:pt x="2116989" y="198831"/>
                  </a:lnTo>
                  <a:lnTo>
                    <a:pt x="2116989" y="200228"/>
                  </a:lnTo>
                  <a:lnTo>
                    <a:pt x="2116989" y="199530"/>
                  </a:lnTo>
                  <a:lnTo>
                    <a:pt x="2116989" y="200228"/>
                  </a:lnTo>
                  <a:lnTo>
                    <a:pt x="2116989" y="199530"/>
                  </a:lnTo>
                  <a:lnTo>
                    <a:pt x="2117040" y="199530"/>
                  </a:lnTo>
                  <a:lnTo>
                    <a:pt x="2117040" y="200228"/>
                  </a:lnTo>
                  <a:lnTo>
                    <a:pt x="2117040" y="199530"/>
                  </a:lnTo>
                  <a:lnTo>
                    <a:pt x="2117040" y="200228"/>
                  </a:lnTo>
                  <a:lnTo>
                    <a:pt x="2117040" y="199530"/>
                  </a:lnTo>
                  <a:lnTo>
                    <a:pt x="2117040" y="200228"/>
                  </a:lnTo>
                  <a:lnTo>
                    <a:pt x="2117090" y="200228"/>
                  </a:lnTo>
                  <a:lnTo>
                    <a:pt x="2117090" y="200876"/>
                  </a:lnTo>
                  <a:lnTo>
                    <a:pt x="2117230" y="200876"/>
                  </a:lnTo>
                  <a:lnTo>
                    <a:pt x="2117230" y="200228"/>
                  </a:lnTo>
                  <a:lnTo>
                    <a:pt x="2117230" y="200876"/>
                  </a:lnTo>
                  <a:lnTo>
                    <a:pt x="2117281" y="200876"/>
                  </a:lnTo>
                  <a:lnTo>
                    <a:pt x="2117281" y="198831"/>
                  </a:lnTo>
                  <a:lnTo>
                    <a:pt x="2117281" y="199530"/>
                  </a:lnTo>
                  <a:lnTo>
                    <a:pt x="2117281" y="198831"/>
                  </a:lnTo>
                  <a:lnTo>
                    <a:pt x="2117281" y="199530"/>
                  </a:lnTo>
                  <a:lnTo>
                    <a:pt x="2117281" y="198831"/>
                  </a:lnTo>
                  <a:lnTo>
                    <a:pt x="2117332" y="198831"/>
                  </a:lnTo>
                  <a:lnTo>
                    <a:pt x="2117332" y="197447"/>
                  </a:lnTo>
                  <a:lnTo>
                    <a:pt x="2117332" y="198831"/>
                  </a:lnTo>
                  <a:lnTo>
                    <a:pt x="2117332" y="196113"/>
                  </a:lnTo>
                  <a:lnTo>
                    <a:pt x="2117332" y="196799"/>
                  </a:lnTo>
                  <a:lnTo>
                    <a:pt x="2117332" y="196113"/>
                  </a:lnTo>
                  <a:lnTo>
                    <a:pt x="2117383" y="196113"/>
                  </a:lnTo>
                  <a:lnTo>
                    <a:pt x="2117383" y="196799"/>
                  </a:lnTo>
                  <a:lnTo>
                    <a:pt x="2117383" y="196113"/>
                  </a:lnTo>
                  <a:lnTo>
                    <a:pt x="2117383" y="197447"/>
                  </a:lnTo>
                  <a:lnTo>
                    <a:pt x="2117383" y="195415"/>
                  </a:lnTo>
                  <a:lnTo>
                    <a:pt x="2117383" y="196113"/>
                  </a:lnTo>
                  <a:lnTo>
                    <a:pt x="2117484" y="196113"/>
                  </a:lnTo>
                  <a:lnTo>
                    <a:pt x="2117484" y="199530"/>
                  </a:lnTo>
                  <a:lnTo>
                    <a:pt x="2117484" y="196799"/>
                  </a:lnTo>
                  <a:lnTo>
                    <a:pt x="2117484" y="197447"/>
                  </a:lnTo>
                  <a:lnTo>
                    <a:pt x="2117535" y="197447"/>
                  </a:lnTo>
                  <a:lnTo>
                    <a:pt x="2117535" y="198831"/>
                  </a:lnTo>
                  <a:lnTo>
                    <a:pt x="2117535" y="197447"/>
                  </a:lnTo>
                  <a:lnTo>
                    <a:pt x="2117535" y="198831"/>
                  </a:lnTo>
                  <a:lnTo>
                    <a:pt x="2117535" y="197447"/>
                  </a:lnTo>
                  <a:lnTo>
                    <a:pt x="2117535" y="198831"/>
                  </a:lnTo>
                  <a:lnTo>
                    <a:pt x="2117586" y="198831"/>
                  </a:lnTo>
                  <a:lnTo>
                    <a:pt x="2117586" y="199530"/>
                  </a:lnTo>
                  <a:lnTo>
                    <a:pt x="2117586" y="198831"/>
                  </a:lnTo>
                  <a:lnTo>
                    <a:pt x="2117586" y="199530"/>
                  </a:lnTo>
                  <a:lnTo>
                    <a:pt x="2117687" y="199530"/>
                  </a:lnTo>
                  <a:lnTo>
                    <a:pt x="2117687" y="200228"/>
                  </a:lnTo>
                  <a:lnTo>
                    <a:pt x="2117725" y="200228"/>
                  </a:lnTo>
                  <a:lnTo>
                    <a:pt x="2117725" y="200876"/>
                  </a:lnTo>
                  <a:lnTo>
                    <a:pt x="2117725" y="199530"/>
                  </a:lnTo>
                  <a:lnTo>
                    <a:pt x="2117725" y="200228"/>
                  </a:lnTo>
                  <a:lnTo>
                    <a:pt x="2117725" y="199530"/>
                  </a:lnTo>
                  <a:lnTo>
                    <a:pt x="2117725" y="200228"/>
                  </a:lnTo>
                  <a:lnTo>
                    <a:pt x="2117776" y="200228"/>
                  </a:lnTo>
                  <a:lnTo>
                    <a:pt x="2117776" y="199530"/>
                  </a:lnTo>
                  <a:lnTo>
                    <a:pt x="2117776" y="200228"/>
                  </a:lnTo>
                  <a:lnTo>
                    <a:pt x="2117776" y="199530"/>
                  </a:lnTo>
                  <a:lnTo>
                    <a:pt x="2117776" y="200228"/>
                  </a:lnTo>
                  <a:lnTo>
                    <a:pt x="2117776" y="199530"/>
                  </a:lnTo>
                  <a:lnTo>
                    <a:pt x="2117776" y="200228"/>
                  </a:lnTo>
                  <a:lnTo>
                    <a:pt x="2117776" y="199530"/>
                  </a:lnTo>
                  <a:lnTo>
                    <a:pt x="2117776" y="200228"/>
                  </a:lnTo>
                  <a:lnTo>
                    <a:pt x="2117776" y="198831"/>
                  </a:lnTo>
                  <a:lnTo>
                    <a:pt x="2117827" y="198831"/>
                  </a:lnTo>
                  <a:lnTo>
                    <a:pt x="2117827" y="197447"/>
                  </a:lnTo>
                  <a:lnTo>
                    <a:pt x="2117827" y="198831"/>
                  </a:lnTo>
                  <a:lnTo>
                    <a:pt x="2117929" y="198831"/>
                  </a:lnTo>
                  <a:lnTo>
                    <a:pt x="2117929" y="197447"/>
                  </a:lnTo>
                  <a:lnTo>
                    <a:pt x="2117929" y="198831"/>
                  </a:lnTo>
                  <a:lnTo>
                    <a:pt x="2117929" y="196799"/>
                  </a:lnTo>
                  <a:lnTo>
                    <a:pt x="2117929" y="199530"/>
                  </a:lnTo>
                  <a:lnTo>
                    <a:pt x="2117980" y="198831"/>
                  </a:lnTo>
                  <a:lnTo>
                    <a:pt x="2117980" y="197447"/>
                  </a:lnTo>
                  <a:lnTo>
                    <a:pt x="2117980" y="199530"/>
                  </a:lnTo>
                  <a:lnTo>
                    <a:pt x="2118030" y="198831"/>
                  </a:lnTo>
                  <a:lnTo>
                    <a:pt x="2118030" y="199530"/>
                  </a:lnTo>
                  <a:lnTo>
                    <a:pt x="2118030" y="197447"/>
                  </a:lnTo>
                  <a:lnTo>
                    <a:pt x="2118030" y="198831"/>
                  </a:lnTo>
                  <a:lnTo>
                    <a:pt x="2118030" y="197447"/>
                  </a:lnTo>
                  <a:lnTo>
                    <a:pt x="2118030" y="198831"/>
                  </a:lnTo>
                  <a:lnTo>
                    <a:pt x="2118132" y="198831"/>
                  </a:lnTo>
                  <a:lnTo>
                    <a:pt x="2118132" y="199530"/>
                  </a:lnTo>
                  <a:lnTo>
                    <a:pt x="2118183" y="199530"/>
                  </a:lnTo>
                  <a:lnTo>
                    <a:pt x="2118183" y="198831"/>
                  </a:lnTo>
                  <a:lnTo>
                    <a:pt x="2118183" y="199530"/>
                  </a:lnTo>
                  <a:lnTo>
                    <a:pt x="2118183" y="198831"/>
                  </a:lnTo>
                  <a:lnTo>
                    <a:pt x="2118183" y="199530"/>
                  </a:lnTo>
                  <a:lnTo>
                    <a:pt x="2118183" y="198831"/>
                  </a:lnTo>
                  <a:lnTo>
                    <a:pt x="2118183" y="199530"/>
                  </a:lnTo>
                  <a:lnTo>
                    <a:pt x="2118183" y="198831"/>
                  </a:lnTo>
                  <a:lnTo>
                    <a:pt x="2118234" y="198831"/>
                  </a:lnTo>
                  <a:lnTo>
                    <a:pt x="2118234" y="197447"/>
                  </a:lnTo>
                  <a:lnTo>
                    <a:pt x="2118234" y="199530"/>
                  </a:lnTo>
                  <a:lnTo>
                    <a:pt x="2118234" y="198831"/>
                  </a:lnTo>
                  <a:lnTo>
                    <a:pt x="2118272" y="198831"/>
                  </a:lnTo>
                  <a:lnTo>
                    <a:pt x="2118272" y="197447"/>
                  </a:lnTo>
                  <a:lnTo>
                    <a:pt x="2118272" y="198831"/>
                  </a:lnTo>
                  <a:lnTo>
                    <a:pt x="2118272" y="196799"/>
                  </a:lnTo>
                  <a:lnTo>
                    <a:pt x="2118373" y="196799"/>
                  </a:lnTo>
                  <a:lnTo>
                    <a:pt x="2118373" y="197447"/>
                  </a:lnTo>
                  <a:lnTo>
                    <a:pt x="2118424" y="197447"/>
                  </a:lnTo>
                  <a:lnTo>
                    <a:pt x="2118424" y="196799"/>
                  </a:lnTo>
                  <a:lnTo>
                    <a:pt x="2118424" y="199530"/>
                  </a:lnTo>
                  <a:lnTo>
                    <a:pt x="2118475" y="199530"/>
                  </a:lnTo>
                  <a:lnTo>
                    <a:pt x="2118475" y="197447"/>
                  </a:lnTo>
                  <a:lnTo>
                    <a:pt x="2118475" y="199530"/>
                  </a:lnTo>
                  <a:lnTo>
                    <a:pt x="2118576" y="199530"/>
                  </a:lnTo>
                  <a:lnTo>
                    <a:pt x="2118576" y="198831"/>
                  </a:lnTo>
                  <a:lnTo>
                    <a:pt x="2118576" y="199530"/>
                  </a:lnTo>
                  <a:lnTo>
                    <a:pt x="2118576" y="198831"/>
                  </a:lnTo>
                  <a:lnTo>
                    <a:pt x="2118576" y="199530"/>
                  </a:lnTo>
                  <a:lnTo>
                    <a:pt x="2118576" y="198831"/>
                  </a:lnTo>
                  <a:lnTo>
                    <a:pt x="2118576" y="199530"/>
                  </a:lnTo>
                  <a:lnTo>
                    <a:pt x="2118678" y="199530"/>
                  </a:lnTo>
                  <a:lnTo>
                    <a:pt x="2118678" y="200228"/>
                  </a:lnTo>
                  <a:lnTo>
                    <a:pt x="2118678" y="198831"/>
                  </a:lnTo>
                  <a:lnTo>
                    <a:pt x="2118729" y="198831"/>
                  </a:lnTo>
                  <a:lnTo>
                    <a:pt x="2118729" y="199530"/>
                  </a:lnTo>
                  <a:lnTo>
                    <a:pt x="2118729" y="198831"/>
                  </a:lnTo>
                  <a:lnTo>
                    <a:pt x="2118729" y="199530"/>
                  </a:lnTo>
                  <a:lnTo>
                    <a:pt x="2118729" y="198831"/>
                  </a:lnTo>
                  <a:lnTo>
                    <a:pt x="2118729" y="199530"/>
                  </a:lnTo>
                  <a:lnTo>
                    <a:pt x="2118729" y="198831"/>
                  </a:lnTo>
                  <a:lnTo>
                    <a:pt x="2118818" y="198831"/>
                  </a:lnTo>
                  <a:lnTo>
                    <a:pt x="2118818" y="196799"/>
                  </a:lnTo>
                  <a:lnTo>
                    <a:pt x="2118869" y="196113"/>
                  </a:lnTo>
                  <a:lnTo>
                    <a:pt x="2118869" y="195415"/>
                  </a:lnTo>
                  <a:lnTo>
                    <a:pt x="2118869" y="196113"/>
                  </a:lnTo>
                  <a:lnTo>
                    <a:pt x="2118869" y="195415"/>
                  </a:lnTo>
                  <a:lnTo>
                    <a:pt x="2118869" y="198831"/>
                  </a:lnTo>
                  <a:lnTo>
                    <a:pt x="2118869" y="197447"/>
                  </a:lnTo>
                  <a:lnTo>
                    <a:pt x="2118919" y="197447"/>
                  </a:lnTo>
                  <a:lnTo>
                    <a:pt x="2118919" y="196113"/>
                  </a:lnTo>
                  <a:lnTo>
                    <a:pt x="2118919" y="199530"/>
                  </a:lnTo>
                  <a:lnTo>
                    <a:pt x="2118919" y="196799"/>
                  </a:lnTo>
                  <a:lnTo>
                    <a:pt x="2118919" y="197447"/>
                  </a:lnTo>
                  <a:lnTo>
                    <a:pt x="2118970" y="197447"/>
                  </a:lnTo>
                  <a:lnTo>
                    <a:pt x="2118970" y="196799"/>
                  </a:lnTo>
                  <a:lnTo>
                    <a:pt x="2118970" y="198831"/>
                  </a:lnTo>
                  <a:lnTo>
                    <a:pt x="2118970" y="197447"/>
                  </a:lnTo>
                  <a:lnTo>
                    <a:pt x="2118970" y="199530"/>
                  </a:lnTo>
                  <a:lnTo>
                    <a:pt x="2118970" y="198831"/>
                  </a:lnTo>
                  <a:lnTo>
                    <a:pt x="2119072" y="198831"/>
                  </a:lnTo>
                  <a:lnTo>
                    <a:pt x="2119072" y="197447"/>
                  </a:lnTo>
                  <a:lnTo>
                    <a:pt x="2119072" y="199530"/>
                  </a:lnTo>
                  <a:lnTo>
                    <a:pt x="2119072" y="198831"/>
                  </a:lnTo>
                  <a:lnTo>
                    <a:pt x="2119072" y="199530"/>
                  </a:lnTo>
                  <a:lnTo>
                    <a:pt x="2119072" y="198831"/>
                  </a:lnTo>
                  <a:lnTo>
                    <a:pt x="2119122" y="199530"/>
                  </a:lnTo>
                  <a:lnTo>
                    <a:pt x="2119122" y="198831"/>
                  </a:lnTo>
                  <a:lnTo>
                    <a:pt x="2119122" y="199530"/>
                  </a:lnTo>
                  <a:lnTo>
                    <a:pt x="2119173" y="199530"/>
                  </a:lnTo>
                  <a:lnTo>
                    <a:pt x="2119173" y="198831"/>
                  </a:lnTo>
                  <a:lnTo>
                    <a:pt x="2119173" y="200228"/>
                  </a:lnTo>
                  <a:lnTo>
                    <a:pt x="2119173" y="198831"/>
                  </a:lnTo>
                  <a:lnTo>
                    <a:pt x="2119173" y="199530"/>
                  </a:lnTo>
                  <a:lnTo>
                    <a:pt x="2119173" y="198831"/>
                  </a:lnTo>
                  <a:lnTo>
                    <a:pt x="2119275" y="198831"/>
                  </a:lnTo>
                  <a:lnTo>
                    <a:pt x="2119275" y="197447"/>
                  </a:lnTo>
                  <a:lnTo>
                    <a:pt x="2119275" y="198831"/>
                  </a:lnTo>
                  <a:lnTo>
                    <a:pt x="2119275" y="197447"/>
                  </a:lnTo>
                  <a:lnTo>
                    <a:pt x="2119313" y="197447"/>
                  </a:lnTo>
                  <a:lnTo>
                    <a:pt x="2119313" y="195415"/>
                  </a:lnTo>
                  <a:lnTo>
                    <a:pt x="2119364" y="195415"/>
                  </a:lnTo>
                  <a:lnTo>
                    <a:pt x="2119364" y="194716"/>
                  </a:lnTo>
                  <a:lnTo>
                    <a:pt x="2119364" y="196113"/>
                  </a:lnTo>
                  <a:lnTo>
                    <a:pt x="2119364" y="195415"/>
                  </a:lnTo>
                  <a:lnTo>
                    <a:pt x="2119415" y="195415"/>
                  </a:lnTo>
                  <a:lnTo>
                    <a:pt x="2119415" y="194716"/>
                  </a:lnTo>
                  <a:lnTo>
                    <a:pt x="2119415" y="196799"/>
                  </a:lnTo>
                  <a:lnTo>
                    <a:pt x="2119415" y="196113"/>
                  </a:lnTo>
                  <a:lnTo>
                    <a:pt x="2119516" y="196113"/>
                  </a:lnTo>
                  <a:lnTo>
                    <a:pt x="2119516" y="197447"/>
                  </a:lnTo>
                  <a:lnTo>
                    <a:pt x="2119567" y="197447"/>
                  </a:lnTo>
                  <a:lnTo>
                    <a:pt x="2119567" y="196799"/>
                  </a:lnTo>
                  <a:lnTo>
                    <a:pt x="2119567" y="198831"/>
                  </a:lnTo>
                  <a:lnTo>
                    <a:pt x="2119567" y="197447"/>
                  </a:lnTo>
                  <a:lnTo>
                    <a:pt x="2119567" y="198831"/>
                  </a:lnTo>
                  <a:lnTo>
                    <a:pt x="2119618" y="198831"/>
                  </a:lnTo>
                  <a:lnTo>
                    <a:pt x="2119618" y="199530"/>
                  </a:lnTo>
                  <a:lnTo>
                    <a:pt x="2119618" y="197447"/>
                  </a:lnTo>
                  <a:lnTo>
                    <a:pt x="2119618" y="199530"/>
                  </a:lnTo>
                  <a:lnTo>
                    <a:pt x="2119618" y="198831"/>
                  </a:lnTo>
                  <a:lnTo>
                    <a:pt x="2119618" y="199530"/>
                  </a:lnTo>
                  <a:lnTo>
                    <a:pt x="2119719" y="199530"/>
                  </a:lnTo>
                  <a:lnTo>
                    <a:pt x="2119719" y="198831"/>
                  </a:lnTo>
                  <a:lnTo>
                    <a:pt x="2119719" y="199530"/>
                  </a:lnTo>
                  <a:lnTo>
                    <a:pt x="2119719" y="198831"/>
                  </a:lnTo>
                  <a:lnTo>
                    <a:pt x="2119719" y="199530"/>
                  </a:lnTo>
                  <a:lnTo>
                    <a:pt x="2119770" y="199530"/>
                  </a:lnTo>
                  <a:lnTo>
                    <a:pt x="2119770" y="197447"/>
                  </a:lnTo>
                  <a:lnTo>
                    <a:pt x="2119770" y="198831"/>
                  </a:lnTo>
                  <a:lnTo>
                    <a:pt x="2119821" y="198831"/>
                  </a:lnTo>
                  <a:lnTo>
                    <a:pt x="2119821" y="196113"/>
                  </a:lnTo>
                  <a:lnTo>
                    <a:pt x="2119859" y="196113"/>
                  </a:lnTo>
                  <a:lnTo>
                    <a:pt x="2119859" y="194716"/>
                  </a:lnTo>
                  <a:lnTo>
                    <a:pt x="2119859" y="196113"/>
                  </a:lnTo>
                  <a:lnTo>
                    <a:pt x="2119961" y="196113"/>
                  </a:lnTo>
                  <a:lnTo>
                    <a:pt x="2119961" y="194716"/>
                  </a:lnTo>
                  <a:lnTo>
                    <a:pt x="2119961" y="196799"/>
                  </a:lnTo>
                  <a:lnTo>
                    <a:pt x="2119961" y="196113"/>
                  </a:lnTo>
                  <a:lnTo>
                    <a:pt x="2120012" y="196113"/>
                  </a:lnTo>
                  <a:lnTo>
                    <a:pt x="2120012" y="195415"/>
                  </a:lnTo>
                  <a:lnTo>
                    <a:pt x="2120012" y="196799"/>
                  </a:lnTo>
                  <a:lnTo>
                    <a:pt x="2120062" y="196799"/>
                  </a:lnTo>
                  <a:lnTo>
                    <a:pt x="2120062" y="196113"/>
                  </a:lnTo>
                  <a:lnTo>
                    <a:pt x="2120062" y="197447"/>
                  </a:lnTo>
                  <a:lnTo>
                    <a:pt x="2120062" y="196799"/>
                  </a:lnTo>
                  <a:lnTo>
                    <a:pt x="2120164" y="197447"/>
                  </a:lnTo>
                  <a:lnTo>
                    <a:pt x="2120164" y="196799"/>
                  </a:lnTo>
                  <a:lnTo>
                    <a:pt x="2120164" y="197447"/>
                  </a:lnTo>
                  <a:lnTo>
                    <a:pt x="2120164" y="196799"/>
                  </a:lnTo>
                  <a:lnTo>
                    <a:pt x="2120164" y="197447"/>
                  </a:lnTo>
                  <a:lnTo>
                    <a:pt x="2120164" y="196799"/>
                  </a:lnTo>
                  <a:lnTo>
                    <a:pt x="2120164" y="198831"/>
                  </a:lnTo>
                  <a:lnTo>
                    <a:pt x="2120164" y="197447"/>
                  </a:lnTo>
                  <a:lnTo>
                    <a:pt x="2120164" y="198831"/>
                  </a:lnTo>
                  <a:lnTo>
                    <a:pt x="2120164" y="197447"/>
                  </a:lnTo>
                  <a:lnTo>
                    <a:pt x="2120215" y="197447"/>
                  </a:lnTo>
                  <a:lnTo>
                    <a:pt x="2120215" y="198831"/>
                  </a:lnTo>
                  <a:lnTo>
                    <a:pt x="2120215" y="197447"/>
                  </a:lnTo>
                  <a:lnTo>
                    <a:pt x="2120215" y="199530"/>
                  </a:lnTo>
                  <a:lnTo>
                    <a:pt x="2120265" y="198831"/>
                  </a:lnTo>
                  <a:lnTo>
                    <a:pt x="2120265" y="199530"/>
                  </a:lnTo>
                  <a:lnTo>
                    <a:pt x="2120265" y="197447"/>
                  </a:lnTo>
                  <a:lnTo>
                    <a:pt x="2120316" y="197447"/>
                  </a:lnTo>
                  <a:lnTo>
                    <a:pt x="2120316" y="196113"/>
                  </a:lnTo>
                  <a:lnTo>
                    <a:pt x="2120316" y="196799"/>
                  </a:lnTo>
                  <a:lnTo>
                    <a:pt x="2120316" y="196113"/>
                  </a:lnTo>
                  <a:lnTo>
                    <a:pt x="2120316" y="196799"/>
                  </a:lnTo>
                  <a:lnTo>
                    <a:pt x="2120316" y="196113"/>
                  </a:lnTo>
                  <a:lnTo>
                    <a:pt x="2120405" y="196113"/>
                  </a:lnTo>
                  <a:lnTo>
                    <a:pt x="2120405" y="193383"/>
                  </a:lnTo>
                  <a:lnTo>
                    <a:pt x="2120405" y="196113"/>
                  </a:lnTo>
                  <a:lnTo>
                    <a:pt x="2120456" y="196113"/>
                  </a:lnTo>
                  <a:lnTo>
                    <a:pt x="2120456" y="193383"/>
                  </a:lnTo>
                  <a:lnTo>
                    <a:pt x="2120456" y="196799"/>
                  </a:lnTo>
                  <a:lnTo>
                    <a:pt x="2120507" y="196799"/>
                  </a:lnTo>
                  <a:lnTo>
                    <a:pt x="2120507" y="195415"/>
                  </a:lnTo>
                  <a:lnTo>
                    <a:pt x="2120507" y="196113"/>
                  </a:lnTo>
                  <a:lnTo>
                    <a:pt x="2120507" y="195415"/>
                  </a:lnTo>
                  <a:lnTo>
                    <a:pt x="2120507" y="196799"/>
                  </a:lnTo>
                  <a:lnTo>
                    <a:pt x="2120507" y="196113"/>
                  </a:lnTo>
                  <a:lnTo>
                    <a:pt x="2120558" y="196113"/>
                  </a:lnTo>
                  <a:lnTo>
                    <a:pt x="2120558" y="196799"/>
                  </a:lnTo>
                  <a:lnTo>
                    <a:pt x="2120558" y="196113"/>
                  </a:lnTo>
                  <a:lnTo>
                    <a:pt x="2120558" y="196799"/>
                  </a:lnTo>
                  <a:lnTo>
                    <a:pt x="2120659" y="196799"/>
                  </a:lnTo>
                  <a:lnTo>
                    <a:pt x="2120659" y="196113"/>
                  </a:lnTo>
                  <a:lnTo>
                    <a:pt x="2120659" y="197447"/>
                  </a:lnTo>
                  <a:lnTo>
                    <a:pt x="2120710" y="197447"/>
                  </a:lnTo>
                  <a:lnTo>
                    <a:pt x="2120710" y="198831"/>
                  </a:lnTo>
                  <a:lnTo>
                    <a:pt x="2120761" y="199530"/>
                  </a:lnTo>
                  <a:lnTo>
                    <a:pt x="2120761" y="198831"/>
                  </a:lnTo>
                  <a:lnTo>
                    <a:pt x="2120761" y="199530"/>
                  </a:lnTo>
                  <a:lnTo>
                    <a:pt x="2120761" y="197447"/>
                  </a:lnTo>
                  <a:lnTo>
                    <a:pt x="2120862" y="198831"/>
                  </a:lnTo>
                  <a:lnTo>
                    <a:pt x="2120862" y="197447"/>
                  </a:lnTo>
                  <a:lnTo>
                    <a:pt x="2120862" y="198831"/>
                  </a:lnTo>
                  <a:lnTo>
                    <a:pt x="2120862" y="196799"/>
                  </a:lnTo>
                  <a:lnTo>
                    <a:pt x="2120862" y="197447"/>
                  </a:lnTo>
                  <a:lnTo>
                    <a:pt x="2120862" y="196799"/>
                  </a:lnTo>
                  <a:lnTo>
                    <a:pt x="2120900" y="196799"/>
                  </a:lnTo>
                  <a:lnTo>
                    <a:pt x="2120900" y="195415"/>
                  </a:lnTo>
                  <a:lnTo>
                    <a:pt x="2120900" y="196113"/>
                  </a:lnTo>
                  <a:lnTo>
                    <a:pt x="2120900" y="195415"/>
                  </a:lnTo>
                  <a:lnTo>
                    <a:pt x="2120900" y="196113"/>
                  </a:lnTo>
                  <a:lnTo>
                    <a:pt x="2120900" y="195415"/>
                  </a:lnTo>
                  <a:lnTo>
                    <a:pt x="2120951" y="195415"/>
                  </a:lnTo>
                  <a:lnTo>
                    <a:pt x="2120951" y="194716"/>
                  </a:lnTo>
                  <a:lnTo>
                    <a:pt x="2120951" y="196113"/>
                  </a:lnTo>
                  <a:lnTo>
                    <a:pt x="2121002" y="196113"/>
                  </a:lnTo>
                  <a:lnTo>
                    <a:pt x="2121002" y="194716"/>
                  </a:lnTo>
                  <a:lnTo>
                    <a:pt x="2121002" y="196799"/>
                  </a:lnTo>
                  <a:lnTo>
                    <a:pt x="2121002" y="195415"/>
                  </a:lnTo>
                  <a:lnTo>
                    <a:pt x="2121104" y="195415"/>
                  </a:lnTo>
                  <a:lnTo>
                    <a:pt x="2121104" y="196799"/>
                  </a:lnTo>
                  <a:lnTo>
                    <a:pt x="2121104" y="196113"/>
                  </a:lnTo>
                  <a:lnTo>
                    <a:pt x="2121155" y="196113"/>
                  </a:lnTo>
                  <a:lnTo>
                    <a:pt x="2121155" y="196799"/>
                  </a:lnTo>
                  <a:lnTo>
                    <a:pt x="2121205" y="196799"/>
                  </a:lnTo>
                  <a:lnTo>
                    <a:pt x="2121205" y="197447"/>
                  </a:lnTo>
                  <a:lnTo>
                    <a:pt x="2121205" y="196799"/>
                  </a:lnTo>
                  <a:lnTo>
                    <a:pt x="2121205" y="197447"/>
                  </a:lnTo>
                  <a:lnTo>
                    <a:pt x="2121205" y="196799"/>
                  </a:lnTo>
                  <a:lnTo>
                    <a:pt x="2121205" y="197447"/>
                  </a:lnTo>
                  <a:lnTo>
                    <a:pt x="2121307" y="197447"/>
                  </a:lnTo>
                  <a:lnTo>
                    <a:pt x="2121307" y="196799"/>
                  </a:lnTo>
                  <a:lnTo>
                    <a:pt x="2121358" y="196799"/>
                  </a:lnTo>
                  <a:lnTo>
                    <a:pt x="2121358" y="197447"/>
                  </a:lnTo>
                  <a:lnTo>
                    <a:pt x="2121358" y="196799"/>
                  </a:lnTo>
                  <a:lnTo>
                    <a:pt x="2121358" y="197447"/>
                  </a:lnTo>
                  <a:lnTo>
                    <a:pt x="2121358" y="196113"/>
                  </a:lnTo>
                  <a:lnTo>
                    <a:pt x="2121358" y="197447"/>
                  </a:lnTo>
                  <a:lnTo>
                    <a:pt x="2121358" y="196113"/>
                  </a:lnTo>
                  <a:lnTo>
                    <a:pt x="2121409" y="196113"/>
                  </a:lnTo>
                  <a:lnTo>
                    <a:pt x="2121409" y="197447"/>
                  </a:lnTo>
                  <a:lnTo>
                    <a:pt x="2121409" y="196113"/>
                  </a:lnTo>
                  <a:lnTo>
                    <a:pt x="2121447" y="196113"/>
                  </a:lnTo>
                  <a:lnTo>
                    <a:pt x="2121447" y="195415"/>
                  </a:lnTo>
                  <a:lnTo>
                    <a:pt x="2121447" y="199530"/>
                  </a:lnTo>
                  <a:lnTo>
                    <a:pt x="2121447" y="197447"/>
                  </a:lnTo>
                  <a:lnTo>
                    <a:pt x="2121548" y="197447"/>
                  </a:lnTo>
                  <a:lnTo>
                    <a:pt x="2121548" y="199530"/>
                  </a:lnTo>
                  <a:lnTo>
                    <a:pt x="2121548" y="198831"/>
                  </a:lnTo>
                  <a:lnTo>
                    <a:pt x="2121548" y="199530"/>
                  </a:lnTo>
                  <a:lnTo>
                    <a:pt x="2121548" y="197447"/>
                  </a:lnTo>
                  <a:lnTo>
                    <a:pt x="2121548" y="198831"/>
                  </a:lnTo>
                  <a:lnTo>
                    <a:pt x="2121548" y="197447"/>
                  </a:lnTo>
                  <a:lnTo>
                    <a:pt x="2121599" y="197447"/>
                  </a:lnTo>
                  <a:lnTo>
                    <a:pt x="2121599" y="198831"/>
                  </a:lnTo>
                  <a:lnTo>
                    <a:pt x="2121599" y="197447"/>
                  </a:lnTo>
                  <a:lnTo>
                    <a:pt x="2121650" y="197447"/>
                  </a:lnTo>
                  <a:lnTo>
                    <a:pt x="2121650" y="199530"/>
                  </a:lnTo>
                  <a:lnTo>
                    <a:pt x="2121650" y="197447"/>
                  </a:lnTo>
                  <a:lnTo>
                    <a:pt x="2121650" y="198831"/>
                  </a:lnTo>
                  <a:lnTo>
                    <a:pt x="2121751" y="198831"/>
                  </a:lnTo>
                  <a:lnTo>
                    <a:pt x="2121751" y="197447"/>
                  </a:lnTo>
                  <a:lnTo>
                    <a:pt x="2121751" y="199530"/>
                  </a:lnTo>
                  <a:lnTo>
                    <a:pt x="2121751" y="198831"/>
                  </a:lnTo>
                  <a:lnTo>
                    <a:pt x="2121751" y="199530"/>
                  </a:lnTo>
                  <a:lnTo>
                    <a:pt x="2121751" y="198831"/>
                  </a:lnTo>
                  <a:lnTo>
                    <a:pt x="2121751" y="199530"/>
                  </a:lnTo>
                  <a:lnTo>
                    <a:pt x="2121751" y="198831"/>
                  </a:lnTo>
                  <a:lnTo>
                    <a:pt x="2121751" y="199530"/>
                  </a:lnTo>
                  <a:lnTo>
                    <a:pt x="2121751" y="198831"/>
                  </a:lnTo>
                  <a:lnTo>
                    <a:pt x="2121751" y="199530"/>
                  </a:lnTo>
                  <a:lnTo>
                    <a:pt x="2121751" y="198831"/>
                  </a:lnTo>
                  <a:lnTo>
                    <a:pt x="2121802" y="198831"/>
                  </a:lnTo>
                  <a:lnTo>
                    <a:pt x="2121802" y="199530"/>
                  </a:lnTo>
                  <a:lnTo>
                    <a:pt x="2121802" y="197447"/>
                  </a:lnTo>
                  <a:lnTo>
                    <a:pt x="2121853" y="197447"/>
                  </a:lnTo>
                  <a:lnTo>
                    <a:pt x="2121853" y="196113"/>
                  </a:lnTo>
                  <a:lnTo>
                    <a:pt x="2121904" y="196113"/>
                  </a:lnTo>
                  <a:lnTo>
                    <a:pt x="2121904" y="198831"/>
                  </a:lnTo>
                  <a:lnTo>
                    <a:pt x="2121904" y="196799"/>
                  </a:lnTo>
                  <a:lnTo>
                    <a:pt x="2121993" y="196799"/>
                  </a:lnTo>
                  <a:lnTo>
                    <a:pt x="2121993" y="200228"/>
                  </a:lnTo>
                  <a:lnTo>
                    <a:pt x="2121993" y="198831"/>
                  </a:lnTo>
                  <a:lnTo>
                    <a:pt x="2122044" y="199530"/>
                  </a:lnTo>
                  <a:lnTo>
                    <a:pt x="2122044" y="200228"/>
                  </a:lnTo>
                  <a:lnTo>
                    <a:pt x="2122044" y="198831"/>
                  </a:lnTo>
                  <a:lnTo>
                    <a:pt x="2122094" y="198831"/>
                  </a:lnTo>
                  <a:lnTo>
                    <a:pt x="2122094" y="200228"/>
                  </a:lnTo>
                  <a:lnTo>
                    <a:pt x="2122094" y="199530"/>
                  </a:lnTo>
                  <a:lnTo>
                    <a:pt x="2122145" y="199530"/>
                  </a:lnTo>
                  <a:lnTo>
                    <a:pt x="2122145" y="200228"/>
                  </a:lnTo>
                  <a:lnTo>
                    <a:pt x="2122145" y="199530"/>
                  </a:lnTo>
                  <a:lnTo>
                    <a:pt x="2122145" y="200228"/>
                  </a:lnTo>
                  <a:lnTo>
                    <a:pt x="2122247" y="200228"/>
                  </a:lnTo>
                  <a:lnTo>
                    <a:pt x="2122247" y="198831"/>
                  </a:lnTo>
                  <a:lnTo>
                    <a:pt x="2122297" y="198831"/>
                  </a:lnTo>
                  <a:lnTo>
                    <a:pt x="2122297" y="197447"/>
                  </a:lnTo>
                  <a:lnTo>
                    <a:pt x="2122297" y="198831"/>
                  </a:lnTo>
                  <a:lnTo>
                    <a:pt x="2122297" y="196799"/>
                  </a:lnTo>
                  <a:lnTo>
                    <a:pt x="2122348" y="196799"/>
                  </a:lnTo>
                  <a:lnTo>
                    <a:pt x="2122348" y="195415"/>
                  </a:lnTo>
                  <a:lnTo>
                    <a:pt x="2122348" y="196113"/>
                  </a:lnTo>
                  <a:lnTo>
                    <a:pt x="2122450" y="196799"/>
                  </a:lnTo>
                  <a:lnTo>
                    <a:pt x="2122450" y="197447"/>
                  </a:lnTo>
                  <a:lnTo>
                    <a:pt x="2122450" y="196799"/>
                  </a:lnTo>
                  <a:lnTo>
                    <a:pt x="2122450" y="197447"/>
                  </a:lnTo>
                  <a:lnTo>
                    <a:pt x="2122450" y="195415"/>
                  </a:lnTo>
                  <a:lnTo>
                    <a:pt x="2122450" y="196113"/>
                  </a:lnTo>
                  <a:lnTo>
                    <a:pt x="2122450" y="195415"/>
                  </a:lnTo>
                  <a:lnTo>
                    <a:pt x="2122450" y="198831"/>
                  </a:lnTo>
                  <a:lnTo>
                    <a:pt x="2122488" y="199530"/>
                  </a:lnTo>
                  <a:lnTo>
                    <a:pt x="2122488" y="197447"/>
                  </a:lnTo>
                  <a:lnTo>
                    <a:pt x="2122488" y="199530"/>
                  </a:lnTo>
                  <a:lnTo>
                    <a:pt x="2122488" y="198831"/>
                  </a:lnTo>
                  <a:lnTo>
                    <a:pt x="2122539" y="199530"/>
                  </a:lnTo>
                  <a:lnTo>
                    <a:pt x="2122539" y="198831"/>
                  </a:lnTo>
                  <a:lnTo>
                    <a:pt x="2122539" y="199530"/>
                  </a:lnTo>
                  <a:lnTo>
                    <a:pt x="2122539" y="198831"/>
                  </a:lnTo>
                  <a:lnTo>
                    <a:pt x="2122539" y="199530"/>
                  </a:lnTo>
                  <a:lnTo>
                    <a:pt x="2122539" y="198831"/>
                  </a:lnTo>
                  <a:lnTo>
                    <a:pt x="2122590" y="198831"/>
                  </a:lnTo>
                  <a:lnTo>
                    <a:pt x="2122590" y="200228"/>
                  </a:lnTo>
                  <a:lnTo>
                    <a:pt x="2122691" y="200228"/>
                  </a:lnTo>
                  <a:lnTo>
                    <a:pt x="2122691" y="199530"/>
                  </a:lnTo>
                  <a:lnTo>
                    <a:pt x="2122691" y="200228"/>
                  </a:lnTo>
                  <a:lnTo>
                    <a:pt x="2122691" y="199530"/>
                  </a:lnTo>
                  <a:lnTo>
                    <a:pt x="2122742" y="199530"/>
                  </a:lnTo>
                  <a:lnTo>
                    <a:pt x="2122742" y="200228"/>
                  </a:lnTo>
                  <a:lnTo>
                    <a:pt x="2122742" y="198831"/>
                  </a:lnTo>
                  <a:lnTo>
                    <a:pt x="2122742" y="199530"/>
                  </a:lnTo>
                  <a:lnTo>
                    <a:pt x="2122793" y="199530"/>
                  </a:lnTo>
                  <a:lnTo>
                    <a:pt x="2122793" y="198831"/>
                  </a:lnTo>
                  <a:lnTo>
                    <a:pt x="2122793" y="199530"/>
                  </a:lnTo>
                  <a:lnTo>
                    <a:pt x="2122793" y="197447"/>
                  </a:lnTo>
                  <a:lnTo>
                    <a:pt x="2122793" y="198831"/>
                  </a:lnTo>
                  <a:lnTo>
                    <a:pt x="2122793" y="197447"/>
                  </a:lnTo>
                  <a:lnTo>
                    <a:pt x="2122894" y="197447"/>
                  </a:lnTo>
                  <a:lnTo>
                    <a:pt x="2122894" y="196799"/>
                  </a:lnTo>
                  <a:lnTo>
                    <a:pt x="2122894" y="200228"/>
                  </a:lnTo>
                  <a:lnTo>
                    <a:pt x="2122894" y="197447"/>
                  </a:lnTo>
                  <a:lnTo>
                    <a:pt x="2122945" y="197447"/>
                  </a:lnTo>
                  <a:lnTo>
                    <a:pt x="2122945" y="200228"/>
                  </a:lnTo>
                  <a:lnTo>
                    <a:pt x="2122945" y="198831"/>
                  </a:lnTo>
                  <a:lnTo>
                    <a:pt x="2122996" y="198831"/>
                  </a:lnTo>
                  <a:lnTo>
                    <a:pt x="2122996" y="200228"/>
                  </a:lnTo>
                  <a:lnTo>
                    <a:pt x="2122996" y="199530"/>
                  </a:lnTo>
                  <a:lnTo>
                    <a:pt x="2122996" y="200228"/>
                  </a:lnTo>
                  <a:lnTo>
                    <a:pt x="2122996" y="199530"/>
                  </a:lnTo>
                  <a:lnTo>
                    <a:pt x="2122996" y="200228"/>
                  </a:lnTo>
                  <a:lnTo>
                    <a:pt x="2122996" y="199530"/>
                  </a:lnTo>
                  <a:lnTo>
                    <a:pt x="2122996" y="200228"/>
                  </a:lnTo>
                  <a:lnTo>
                    <a:pt x="2123034" y="199530"/>
                  </a:lnTo>
                  <a:lnTo>
                    <a:pt x="2123034" y="200228"/>
                  </a:lnTo>
                  <a:lnTo>
                    <a:pt x="2123034" y="199530"/>
                  </a:lnTo>
                  <a:lnTo>
                    <a:pt x="2123034" y="200228"/>
                  </a:lnTo>
                  <a:lnTo>
                    <a:pt x="2123034" y="199530"/>
                  </a:lnTo>
                  <a:lnTo>
                    <a:pt x="2123034" y="200228"/>
                  </a:lnTo>
                  <a:lnTo>
                    <a:pt x="2123136" y="200228"/>
                  </a:lnTo>
                  <a:lnTo>
                    <a:pt x="2123136" y="200876"/>
                  </a:lnTo>
                  <a:lnTo>
                    <a:pt x="2123136" y="200228"/>
                  </a:lnTo>
                  <a:lnTo>
                    <a:pt x="2123187" y="200876"/>
                  </a:lnTo>
                  <a:lnTo>
                    <a:pt x="2123187" y="199530"/>
                  </a:lnTo>
                  <a:lnTo>
                    <a:pt x="2123187" y="200228"/>
                  </a:lnTo>
                  <a:lnTo>
                    <a:pt x="2123187" y="199530"/>
                  </a:lnTo>
                  <a:lnTo>
                    <a:pt x="2123237" y="200228"/>
                  </a:lnTo>
                  <a:lnTo>
                    <a:pt x="2123237" y="198831"/>
                  </a:lnTo>
                  <a:lnTo>
                    <a:pt x="2123237" y="199530"/>
                  </a:lnTo>
                  <a:lnTo>
                    <a:pt x="2123237" y="198831"/>
                  </a:lnTo>
                  <a:lnTo>
                    <a:pt x="2123339" y="198831"/>
                  </a:lnTo>
                  <a:lnTo>
                    <a:pt x="2123339" y="196799"/>
                  </a:lnTo>
                  <a:lnTo>
                    <a:pt x="2123339" y="197447"/>
                  </a:lnTo>
                  <a:lnTo>
                    <a:pt x="2123339" y="196799"/>
                  </a:lnTo>
                  <a:lnTo>
                    <a:pt x="2123339" y="197447"/>
                  </a:lnTo>
                  <a:lnTo>
                    <a:pt x="2123339" y="196799"/>
                  </a:lnTo>
                  <a:lnTo>
                    <a:pt x="2123390" y="196113"/>
                  </a:lnTo>
                  <a:lnTo>
                    <a:pt x="2123390" y="198831"/>
                  </a:lnTo>
                  <a:lnTo>
                    <a:pt x="2123390" y="196799"/>
                  </a:lnTo>
                  <a:lnTo>
                    <a:pt x="2123440" y="196799"/>
                  </a:lnTo>
                  <a:lnTo>
                    <a:pt x="2123440" y="199530"/>
                  </a:lnTo>
                  <a:lnTo>
                    <a:pt x="2123440" y="197447"/>
                  </a:lnTo>
                  <a:lnTo>
                    <a:pt x="2123440" y="198831"/>
                  </a:lnTo>
                  <a:lnTo>
                    <a:pt x="2123440" y="197447"/>
                  </a:lnTo>
                  <a:lnTo>
                    <a:pt x="2123491" y="198831"/>
                  </a:lnTo>
                  <a:lnTo>
                    <a:pt x="2123491" y="200228"/>
                  </a:lnTo>
                  <a:lnTo>
                    <a:pt x="2123491" y="199530"/>
                  </a:lnTo>
                  <a:lnTo>
                    <a:pt x="2123491" y="200228"/>
                  </a:lnTo>
                  <a:lnTo>
                    <a:pt x="2123491" y="198831"/>
                  </a:lnTo>
                  <a:lnTo>
                    <a:pt x="2123491" y="199530"/>
                  </a:lnTo>
                  <a:lnTo>
                    <a:pt x="2123580" y="198831"/>
                  </a:lnTo>
                  <a:lnTo>
                    <a:pt x="2123580" y="200228"/>
                  </a:lnTo>
                  <a:lnTo>
                    <a:pt x="2123580" y="199530"/>
                  </a:lnTo>
                  <a:lnTo>
                    <a:pt x="2123580" y="200228"/>
                  </a:lnTo>
                  <a:lnTo>
                    <a:pt x="2123580" y="199530"/>
                  </a:lnTo>
                  <a:lnTo>
                    <a:pt x="2123580" y="200228"/>
                  </a:lnTo>
                  <a:lnTo>
                    <a:pt x="2123631" y="200228"/>
                  </a:lnTo>
                  <a:lnTo>
                    <a:pt x="2123631" y="200876"/>
                  </a:lnTo>
                  <a:lnTo>
                    <a:pt x="2123631" y="200228"/>
                  </a:lnTo>
                  <a:lnTo>
                    <a:pt x="2123631" y="200876"/>
                  </a:lnTo>
                  <a:lnTo>
                    <a:pt x="2123682" y="200876"/>
                  </a:lnTo>
                  <a:lnTo>
                    <a:pt x="2123682" y="199530"/>
                  </a:lnTo>
                  <a:lnTo>
                    <a:pt x="2123682" y="200876"/>
                  </a:lnTo>
                  <a:lnTo>
                    <a:pt x="2123682" y="199530"/>
                  </a:lnTo>
                  <a:lnTo>
                    <a:pt x="2123682" y="200228"/>
                  </a:lnTo>
                  <a:lnTo>
                    <a:pt x="2123733" y="200228"/>
                  </a:lnTo>
                  <a:lnTo>
                    <a:pt x="2123733" y="199530"/>
                  </a:lnTo>
                  <a:lnTo>
                    <a:pt x="2123733" y="200228"/>
                  </a:lnTo>
                  <a:lnTo>
                    <a:pt x="2123733" y="199530"/>
                  </a:lnTo>
                  <a:lnTo>
                    <a:pt x="2123834" y="198831"/>
                  </a:lnTo>
                  <a:lnTo>
                    <a:pt x="2123834" y="196799"/>
                  </a:lnTo>
                  <a:lnTo>
                    <a:pt x="2123885" y="197447"/>
                  </a:lnTo>
                  <a:lnTo>
                    <a:pt x="2123885" y="198831"/>
                  </a:lnTo>
                  <a:lnTo>
                    <a:pt x="2123885" y="196799"/>
                  </a:lnTo>
                  <a:lnTo>
                    <a:pt x="2123885" y="198831"/>
                  </a:lnTo>
                  <a:lnTo>
                    <a:pt x="2123885" y="196799"/>
                  </a:lnTo>
                  <a:lnTo>
                    <a:pt x="2123885" y="198831"/>
                  </a:lnTo>
                  <a:lnTo>
                    <a:pt x="2123936" y="198831"/>
                  </a:lnTo>
                  <a:lnTo>
                    <a:pt x="2123936" y="199530"/>
                  </a:lnTo>
                  <a:lnTo>
                    <a:pt x="2123936" y="197447"/>
                  </a:lnTo>
                  <a:lnTo>
                    <a:pt x="2123936" y="198831"/>
                  </a:lnTo>
                  <a:lnTo>
                    <a:pt x="2124037" y="198831"/>
                  </a:lnTo>
                  <a:lnTo>
                    <a:pt x="2124037" y="197447"/>
                  </a:lnTo>
                  <a:lnTo>
                    <a:pt x="2124037" y="198831"/>
                  </a:lnTo>
                  <a:lnTo>
                    <a:pt x="2124037" y="197447"/>
                  </a:lnTo>
                  <a:lnTo>
                    <a:pt x="2124037" y="199530"/>
                  </a:lnTo>
                  <a:lnTo>
                    <a:pt x="2124075" y="199530"/>
                  </a:lnTo>
                  <a:lnTo>
                    <a:pt x="2124075" y="198831"/>
                  </a:lnTo>
                  <a:lnTo>
                    <a:pt x="2124075" y="199530"/>
                  </a:lnTo>
                  <a:lnTo>
                    <a:pt x="2124075" y="198831"/>
                  </a:lnTo>
                  <a:lnTo>
                    <a:pt x="2124075" y="199530"/>
                  </a:lnTo>
                  <a:lnTo>
                    <a:pt x="2124126" y="199530"/>
                  </a:lnTo>
                  <a:lnTo>
                    <a:pt x="2124126" y="200228"/>
                  </a:lnTo>
                  <a:lnTo>
                    <a:pt x="2124126" y="199530"/>
                  </a:lnTo>
                  <a:lnTo>
                    <a:pt x="2124126" y="200228"/>
                  </a:lnTo>
                  <a:lnTo>
                    <a:pt x="2124177" y="200228"/>
                  </a:lnTo>
                  <a:lnTo>
                    <a:pt x="2124177" y="199530"/>
                  </a:lnTo>
                  <a:lnTo>
                    <a:pt x="2124177" y="200228"/>
                  </a:lnTo>
                  <a:lnTo>
                    <a:pt x="2124177" y="199530"/>
                  </a:lnTo>
                  <a:lnTo>
                    <a:pt x="2124279" y="199530"/>
                  </a:lnTo>
                  <a:lnTo>
                    <a:pt x="2124279" y="197447"/>
                  </a:lnTo>
                  <a:lnTo>
                    <a:pt x="2124279" y="198831"/>
                  </a:lnTo>
                  <a:lnTo>
                    <a:pt x="2124330" y="198831"/>
                  </a:lnTo>
                  <a:lnTo>
                    <a:pt x="2124330" y="196799"/>
                  </a:lnTo>
                  <a:lnTo>
                    <a:pt x="2124330" y="199530"/>
                  </a:lnTo>
                  <a:lnTo>
                    <a:pt x="2124330" y="197447"/>
                  </a:lnTo>
                  <a:lnTo>
                    <a:pt x="2124380" y="197447"/>
                  </a:lnTo>
                  <a:lnTo>
                    <a:pt x="2124380" y="198831"/>
                  </a:lnTo>
                  <a:lnTo>
                    <a:pt x="2124380" y="197447"/>
                  </a:lnTo>
                  <a:lnTo>
                    <a:pt x="2124380" y="200228"/>
                  </a:lnTo>
                  <a:lnTo>
                    <a:pt x="2124380" y="199530"/>
                  </a:lnTo>
                  <a:lnTo>
                    <a:pt x="2124482" y="199530"/>
                  </a:lnTo>
                  <a:lnTo>
                    <a:pt x="2124482" y="198831"/>
                  </a:lnTo>
                  <a:lnTo>
                    <a:pt x="2124482" y="200228"/>
                  </a:lnTo>
                  <a:lnTo>
                    <a:pt x="2124482" y="199530"/>
                  </a:lnTo>
                  <a:lnTo>
                    <a:pt x="2124533" y="199530"/>
                  </a:lnTo>
                  <a:lnTo>
                    <a:pt x="2124533" y="200228"/>
                  </a:lnTo>
                  <a:lnTo>
                    <a:pt x="2124533" y="199530"/>
                  </a:lnTo>
                  <a:lnTo>
                    <a:pt x="2124533" y="200228"/>
                  </a:lnTo>
                  <a:lnTo>
                    <a:pt x="2124533" y="199530"/>
                  </a:lnTo>
                  <a:lnTo>
                    <a:pt x="2124584" y="199530"/>
                  </a:lnTo>
                  <a:lnTo>
                    <a:pt x="2124584" y="200228"/>
                  </a:lnTo>
                  <a:lnTo>
                    <a:pt x="2124622" y="200228"/>
                  </a:lnTo>
                  <a:lnTo>
                    <a:pt x="2124622" y="200876"/>
                  </a:lnTo>
                  <a:lnTo>
                    <a:pt x="2124622" y="200228"/>
                  </a:lnTo>
                  <a:lnTo>
                    <a:pt x="2124723" y="200228"/>
                  </a:lnTo>
                  <a:lnTo>
                    <a:pt x="2124723" y="198831"/>
                  </a:lnTo>
                  <a:lnTo>
                    <a:pt x="2124723" y="199530"/>
                  </a:lnTo>
                  <a:lnTo>
                    <a:pt x="2124774" y="199530"/>
                  </a:lnTo>
                  <a:lnTo>
                    <a:pt x="2124774" y="197447"/>
                  </a:lnTo>
                  <a:lnTo>
                    <a:pt x="2124825" y="197447"/>
                  </a:lnTo>
                  <a:lnTo>
                    <a:pt x="2124825" y="196799"/>
                  </a:lnTo>
                  <a:lnTo>
                    <a:pt x="2124825" y="199530"/>
                  </a:lnTo>
                  <a:lnTo>
                    <a:pt x="2124825" y="198831"/>
                  </a:lnTo>
                  <a:lnTo>
                    <a:pt x="2124926" y="198831"/>
                  </a:lnTo>
                  <a:lnTo>
                    <a:pt x="2124926" y="197447"/>
                  </a:lnTo>
                  <a:lnTo>
                    <a:pt x="2124926" y="200228"/>
                  </a:lnTo>
                  <a:lnTo>
                    <a:pt x="2124926" y="199530"/>
                  </a:lnTo>
                  <a:lnTo>
                    <a:pt x="2124926" y="200228"/>
                  </a:lnTo>
                  <a:lnTo>
                    <a:pt x="2124926" y="199530"/>
                  </a:lnTo>
                  <a:lnTo>
                    <a:pt x="2124977" y="198831"/>
                  </a:lnTo>
                  <a:lnTo>
                    <a:pt x="2124977" y="200228"/>
                  </a:lnTo>
                  <a:lnTo>
                    <a:pt x="2124977" y="199530"/>
                  </a:lnTo>
                  <a:lnTo>
                    <a:pt x="2124977" y="200228"/>
                  </a:lnTo>
                  <a:lnTo>
                    <a:pt x="2124977" y="199530"/>
                  </a:lnTo>
                  <a:lnTo>
                    <a:pt x="2124977" y="200228"/>
                  </a:lnTo>
                  <a:lnTo>
                    <a:pt x="2124977" y="199530"/>
                  </a:lnTo>
                  <a:lnTo>
                    <a:pt x="2125028" y="199530"/>
                  </a:lnTo>
                  <a:lnTo>
                    <a:pt x="2125028" y="200228"/>
                  </a:lnTo>
                  <a:lnTo>
                    <a:pt x="2125028" y="199530"/>
                  </a:lnTo>
                  <a:lnTo>
                    <a:pt x="2125028" y="200228"/>
                  </a:lnTo>
                  <a:lnTo>
                    <a:pt x="2125028" y="199530"/>
                  </a:lnTo>
                  <a:lnTo>
                    <a:pt x="2125028" y="200228"/>
                  </a:lnTo>
                  <a:lnTo>
                    <a:pt x="2125028" y="199530"/>
                  </a:lnTo>
                  <a:lnTo>
                    <a:pt x="2125028" y="200228"/>
                  </a:lnTo>
                  <a:lnTo>
                    <a:pt x="2125028" y="199530"/>
                  </a:lnTo>
                  <a:lnTo>
                    <a:pt x="2125028" y="200228"/>
                  </a:lnTo>
                  <a:lnTo>
                    <a:pt x="2125079" y="200228"/>
                  </a:lnTo>
                  <a:lnTo>
                    <a:pt x="2125079" y="199530"/>
                  </a:lnTo>
                  <a:lnTo>
                    <a:pt x="2125079" y="200228"/>
                  </a:lnTo>
                  <a:lnTo>
                    <a:pt x="2125168" y="200228"/>
                  </a:lnTo>
                  <a:lnTo>
                    <a:pt x="2125168" y="200876"/>
                  </a:lnTo>
                  <a:lnTo>
                    <a:pt x="2125168" y="199530"/>
                  </a:lnTo>
                  <a:lnTo>
                    <a:pt x="2125168" y="200228"/>
                  </a:lnTo>
                  <a:lnTo>
                    <a:pt x="2125168" y="199530"/>
                  </a:lnTo>
                  <a:lnTo>
                    <a:pt x="2125168" y="200228"/>
                  </a:lnTo>
                  <a:lnTo>
                    <a:pt x="2125219" y="200228"/>
                  </a:lnTo>
                  <a:lnTo>
                    <a:pt x="2125219" y="198831"/>
                  </a:lnTo>
                  <a:lnTo>
                    <a:pt x="2125269" y="198831"/>
                  </a:lnTo>
                  <a:lnTo>
                    <a:pt x="2125269" y="197447"/>
                  </a:lnTo>
                  <a:lnTo>
                    <a:pt x="2125269" y="198831"/>
                  </a:lnTo>
                  <a:lnTo>
                    <a:pt x="2125269" y="196113"/>
                  </a:lnTo>
                  <a:lnTo>
                    <a:pt x="2125269" y="197447"/>
                  </a:lnTo>
                  <a:lnTo>
                    <a:pt x="2125320" y="197447"/>
                  </a:lnTo>
                  <a:lnTo>
                    <a:pt x="2125320" y="198831"/>
                  </a:lnTo>
                  <a:lnTo>
                    <a:pt x="2125320" y="196799"/>
                  </a:lnTo>
                  <a:lnTo>
                    <a:pt x="2125320" y="198831"/>
                  </a:lnTo>
                  <a:lnTo>
                    <a:pt x="2125422" y="199530"/>
                  </a:lnTo>
                  <a:lnTo>
                    <a:pt x="2125422" y="200228"/>
                  </a:lnTo>
                  <a:lnTo>
                    <a:pt x="2125422" y="198831"/>
                  </a:lnTo>
                  <a:lnTo>
                    <a:pt x="2125422" y="200228"/>
                  </a:lnTo>
                  <a:lnTo>
                    <a:pt x="2125422" y="199530"/>
                  </a:lnTo>
                  <a:lnTo>
                    <a:pt x="2125472" y="200228"/>
                  </a:lnTo>
                  <a:lnTo>
                    <a:pt x="2125472" y="199530"/>
                  </a:lnTo>
                  <a:lnTo>
                    <a:pt x="2125472" y="200228"/>
                  </a:lnTo>
                  <a:lnTo>
                    <a:pt x="2125523" y="200228"/>
                  </a:lnTo>
                  <a:lnTo>
                    <a:pt x="2125523" y="200876"/>
                  </a:lnTo>
                  <a:lnTo>
                    <a:pt x="2125523" y="200228"/>
                  </a:lnTo>
                  <a:lnTo>
                    <a:pt x="2125523" y="200876"/>
                  </a:lnTo>
                  <a:lnTo>
                    <a:pt x="2125523" y="200228"/>
                  </a:lnTo>
                  <a:lnTo>
                    <a:pt x="2125625" y="200876"/>
                  </a:lnTo>
                  <a:lnTo>
                    <a:pt x="2125625" y="200228"/>
                  </a:lnTo>
                  <a:lnTo>
                    <a:pt x="2125625" y="200876"/>
                  </a:lnTo>
                  <a:lnTo>
                    <a:pt x="2125625" y="200228"/>
                  </a:lnTo>
                  <a:lnTo>
                    <a:pt x="2125625" y="200876"/>
                  </a:lnTo>
                  <a:lnTo>
                    <a:pt x="2125625" y="200228"/>
                  </a:lnTo>
                  <a:lnTo>
                    <a:pt x="2125625" y="200876"/>
                  </a:lnTo>
                  <a:lnTo>
                    <a:pt x="2125625" y="200228"/>
                  </a:lnTo>
                  <a:lnTo>
                    <a:pt x="2125663" y="200228"/>
                  </a:lnTo>
                  <a:lnTo>
                    <a:pt x="2125663" y="199530"/>
                  </a:lnTo>
                  <a:lnTo>
                    <a:pt x="2125663" y="200228"/>
                  </a:lnTo>
                  <a:lnTo>
                    <a:pt x="2125714" y="200228"/>
                  </a:lnTo>
                  <a:lnTo>
                    <a:pt x="2125714" y="197447"/>
                  </a:lnTo>
                  <a:lnTo>
                    <a:pt x="2125765" y="197447"/>
                  </a:lnTo>
                  <a:lnTo>
                    <a:pt x="2125765" y="198831"/>
                  </a:lnTo>
                  <a:lnTo>
                    <a:pt x="2125765" y="196799"/>
                  </a:lnTo>
                  <a:lnTo>
                    <a:pt x="2125765" y="197447"/>
                  </a:lnTo>
                  <a:lnTo>
                    <a:pt x="2125765" y="196113"/>
                  </a:lnTo>
                  <a:lnTo>
                    <a:pt x="2125866" y="196113"/>
                  </a:lnTo>
                  <a:lnTo>
                    <a:pt x="2125866" y="197447"/>
                  </a:lnTo>
                  <a:lnTo>
                    <a:pt x="2125866" y="196113"/>
                  </a:lnTo>
                  <a:lnTo>
                    <a:pt x="2125866" y="196799"/>
                  </a:lnTo>
                  <a:lnTo>
                    <a:pt x="2125917" y="197447"/>
                  </a:lnTo>
                  <a:lnTo>
                    <a:pt x="2125917" y="198831"/>
                  </a:lnTo>
                  <a:lnTo>
                    <a:pt x="2125917" y="197447"/>
                  </a:lnTo>
                  <a:lnTo>
                    <a:pt x="2125917" y="198831"/>
                  </a:lnTo>
                  <a:lnTo>
                    <a:pt x="2125917" y="197447"/>
                  </a:lnTo>
                  <a:lnTo>
                    <a:pt x="2125917" y="198831"/>
                  </a:lnTo>
                  <a:lnTo>
                    <a:pt x="2125968" y="198831"/>
                  </a:lnTo>
                  <a:lnTo>
                    <a:pt x="2125968" y="199530"/>
                  </a:lnTo>
                  <a:lnTo>
                    <a:pt x="2125968" y="197447"/>
                  </a:lnTo>
                  <a:lnTo>
                    <a:pt x="2125968" y="198831"/>
                  </a:lnTo>
                  <a:lnTo>
                    <a:pt x="2126069" y="199530"/>
                  </a:lnTo>
                  <a:lnTo>
                    <a:pt x="2126120" y="200228"/>
                  </a:lnTo>
                  <a:lnTo>
                    <a:pt x="2126120" y="199530"/>
                  </a:lnTo>
                  <a:lnTo>
                    <a:pt x="2126120" y="200228"/>
                  </a:lnTo>
                  <a:lnTo>
                    <a:pt x="2126120" y="199530"/>
                  </a:lnTo>
                  <a:lnTo>
                    <a:pt x="2126120" y="200228"/>
                  </a:lnTo>
                  <a:lnTo>
                    <a:pt x="2126120" y="199530"/>
                  </a:lnTo>
                  <a:lnTo>
                    <a:pt x="2126120" y="200228"/>
                  </a:lnTo>
                  <a:lnTo>
                    <a:pt x="2126171" y="199530"/>
                  </a:lnTo>
                  <a:lnTo>
                    <a:pt x="2126171" y="200228"/>
                  </a:lnTo>
                  <a:lnTo>
                    <a:pt x="2126171" y="199530"/>
                  </a:lnTo>
                  <a:lnTo>
                    <a:pt x="2126171" y="200228"/>
                  </a:lnTo>
                  <a:lnTo>
                    <a:pt x="2126171" y="199530"/>
                  </a:lnTo>
                  <a:lnTo>
                    <a:pt x="2126171" y="200228"/>
                  </a:lnTo>
                  <a:lnTo>
                    <a:pt x="2126171" y="199530"/>
                  </a:lnTo>
                  <a:lnTo>
                    <a:pt x="2126209" y="199530"/>
                  </a:lnTo>
                  <a:lnTo>
                    <a:pt x="2126209" y="197447"/>
                  </a:lnTo>
                  <a:lnTo>
                    <a:pt x="2126311" y="197447"/>
                  </a:lnTo>
                  <a:lnTo>
                    <a:pt x="2126311" y="195415"/>
                  </a:lnTo>
                  <a:lnTo>
                    <a:pt x="2126362" y="195415"/>
                  </a:lnTo>
                  <a:lnTo>
                    <a:pt x="2126362" y="197447"/>
                  </a:lnTo>
                  <a:lnTo>
                    <a:pt x="2126362" y="194716"/>
                  </a:lnTo>
                  <a:lnTo>
                    <a:pt x="2126362" y="195415"/>
                  </a:lnTo>
                  <a:lnTo>
                    <a:pt x="2126412" y="196113"/>
                  </a:lnTo>
                  <a:lnTo>
                    <a:pt x="2126412" y="197447"/>
                  </a:lnTo>
                  <a:lnTo>
                    <a:pt x="2126412" y="196799"/>
                  </a:lnTo>
                  <a:lnTo>
                    <a:pt x="2126412" y="197447"/>
                  </a:lnTo>
                  <a:lnTo>
                    <a:pt x="2126412" y="196799"/>
                  </a:lnTo>
                  <a:lnTo>
                    <a:pt x="2126514" y="196799"/>
                  </a:lnTo>
                  <a:lnTo>
                    <a:pt x="2126514" y="197447"/>
                  </a:lnTo>
                  <a:lnTo>
                    <a:pt x="2126514" y="196799"/>
                  </a:lnTo>
                  <a:lnTo>
                    <a:pt x="2126514" y="198831"/>
                  </a:lnTo>
                  <a:lnTo>
                    <a:pt x="2126565" y="198831"/>
                  </a:lnTo>
                  <a:lnTo>
                    <a:pt x="2126565" y="197447"/>
                  </a:lnTo>
                  <a:lnTo>
                    <a:pt x="2126565" y="199530"/>
                  </a:lnTo>
                  <a:lnTo>
                    <a:pt x="2126565" y="198831"/>
                  </a:lnTo>
                  <a:lnTo>
                    <a:pt x="2126565" y="199530"/>
                  </a:lnTo>
                  <a:lnTo>
                    <a:pt x="2126615" y="199530"/>
                  </a:lnTo>
                  <a:lnTo>
                    <a:pt x="2126615" y="198831"/>
                  </a:lnTo>
                  <a:lnTo>
                    <a:pt x="2126615" y="199530"/>
                  </a:lnTo>
                  <a:lnTo>
                    <a:pt x="2126615" y="198831"/>
                  </a:lnTo>
                  <a:lnTo>
                    <a:pt x="2126615" y="199530"/>
                  </a:lnTo>
                  <a:lnTo>
                    <a:pt x="2126666" y="199530"/>
                  </a:lnTo>
                  <a:lnTo>
                    <a:pt x="2126666" y="200228"/>
                  </a:lnTo>
                  <a:lnTo>
                    <a:pt x="2126666" y="199530"/>
                  </a:lnTo>
                  <a:lnTo>
                    <a:pt x="2126666" y="200228"/>
                  </a:lnTo>
                  <a:lnTo>
                    <a:pt x="2126666" y="199530"/>
                  </a:lnTo>
                  <a:lnTo>
                    <a:pt x="2126666" y="200228"/>
                  </a:lnTo>
                  <a:lnTo>
                    <a:pt x="2126666" y="199530"/>
                  </a:lnTo>
                  <a:lnTo>
                    <a:pt x="2126755" y="199530"/>
                  </a:lnTo>
                  <a:lnTo>
                    <a:pt x="2126755" y="198831"/>
                  </a:lnTo>
                  <a:lnTo>
                    <a:pt x="2126806" y="198831"/>
                  </a:lnTo>
                  <a:lnTo>
                    <a:pt x="2126806" y="195415"/>
                  </a:lnTo>
                  <a:lnTo>
                    <a:pt x="2126857" y="196113"/>
                  </a:lnTo>
                  <a:lnTo>
                    <a:pt x="2126857" y="195415"/>
                  </a:lnTo>
                  <a:lnTo>
                    <a:pt x="2126857" y="196113"/>
                  </a:lnTo>
                  <a:lnTo>
                    <a:pt x="2126857" y="195415"/>
                  </a:lnTo>
                  <a:lnTo>
                    <a:pt x="2126857" y="196113"/>
                  </a:lnTo>
                  <a:lnTo>
                    <a:pt x="2126857" y="194716"/>
                  </a:lnTo>
                  <a:lnTo>
                    <a:pt x="2126908" y="194716"/>
                  </a:lnTo>
                  <a:lnTo>
                    <a:pt x="2126908" y="197447"/>
                  </a:lnTo>
                  <a:lnTo>
                    <a:pt x="2126908" y="195415"/>
                  </a:lnTo>
                  <a:lnTo>
                    <a:pt x="2126908" y="196113"/>
                  </a:lnTo>
                  <a:lnTo>
                    <a:pt x="2127009" y="196113"/>
                  </a:lnTo>
                  <a:lnTo>
                    <a:pt x="2127009" y="196799"/>
                  </a:lnTo>
                  <a:lnTo>
                    <a:pt x="2127009" y="195415"/>
                  </a:lnTo>
                  <a:lnTo>
                    <a:pt x="2127009" y="196113"/>
                  </a:lnTo>
                  <a:lnTo>
                    <a:pt x="2127060" y="196113"/>
                  </a:lnTo>
                  <a:lnTo>
                    <a:pt x="2127060" y="196799"/>
                  </a:lnTo>
                  <a:lnTo>
                    <a:pt x="2127060" y="196113"/>
                  </a:lnTo>
                  <a:lnTo>
                    <a:pt x="2127060" y="197447"/>
                  </a:lnTo>
                  <a:lnTo>
                    <a:pt x="2127060" y="196799"/>
                  </a:lnTo>
                  <a:lnTo>
                    <a:pt x="2127060" y="197447"/>
                  </a:lnTo>
                  <a:lnTo>
                    <a:pt x="2127111" y="197447"/>
                  </a:lnTo>
                  <a:lnTo>
                    <a:pt x="2127111" y="196799"/>
                  </a:lnTo>
                  <a:lnTo>
                    <a:pt x="2127111" y="198831"/>
                  </a:lnTo>
                  <a:lnTo>
                    <a:pt x="2127212" y="198831"/>
                  </a:lnTo>
                  <a:lnTo>
                    <a:pt x="2127212" y="199530"/>
                  </a:lnTo>
                  <a:lnTo>
                    <a:pt x="2127212" y="198831"/>
                  </a:lnTo>
                  <a:lnTo>
                    <a:pt x="2127212" y="199530"/>
                  </a:lnTo>
                  <a:lnTo>
                    <a:pt x="2127250" y="199530"/>
                  </a:lnTo>
                  <a:lnTo>
                    <a:pt x="2127250" y="198831"/>
                  </a:lnTo>
                  <a:lnTo>
                    <a:pt x="2127250" y="199530"/>
                  </a:lnTo>
                  <a:lnTo>
                    <a:pt x="2127250" y="198831"/>
                  </a:lnTo>
                  <a:lnTo>
                    <a:pt x="2127250" y="199530"/>
                  </a:lnTo>
                  <a:lnTo>
                    <a:pt x="2127250" y="198831"/>
                  </a:lnTo>
                  <a:lnTo>
                    <a:pt x="2127250" y="199530"/>
                  </a:lnTo>
                  <a:lnTo>
                    <a:pt x="2127250" y="198831"/>
                  </a:lnTo>
                  <a:lnTo>
                    <a:pt x="2127250" y="199530"/>
                  </a:lnTo>
                  <a:lnTo>
                    <a:pt x="2127250" y="198831"/>
                  </a:lnTo>
                  <a:lnTo>
                    <a:pt x="2127250" y="199530"/>
                  </a:lnTo>
                  <a:lnTo>
                    <a:pt x="2127250" y="198831"/>
                  </a:lnTo>
                  <a:lnTo>
                    <a:pt x="2127301" y="198831"/>
                  </a:lnTo>
                  <a:lnTo>
                    <a:pt x="2127301" y="196799"/>
                  </a:lnTo>
                  <a:lnTo>
                    <a:pt x="2127301" y="197447"/>
                  </a:lnTo>
                  <a:lnTo>
                    <a:pt x="2127301" y="196113"/>
                  </a:lnTo>
                  <a:lnTo>
                    <a:pt x="2127301" y="196799"/>
                  </a:lnTo>
                  <a:lnTo>
                    <a:pt x="2127352" y="196799"/>
                  </a:lnTo>
                  <a:lnTo>
                    <a:pt x="2127352" y="195415"/>
                  </a:lnTo>
                  <a:lnTo>
                    <a:pt x="2127352" y="196799"/>
                  </a:lnTo>
                  <a:lnTo>
                    <a:pt x="2127454" y="196799"/>
                  </a:lnTo>
                  <a:lnTo>
                    <a:pt x="2127454" y="198831"/>
                  </a:lnTo>
                  <a:lnTo>
                    <a:pt x="2127454" y="196799"/>
                  </a:lnTo>
                  <a:lnTo>
                    <a:pt x="2127454" y="197447"/>
                  </a:lnTo>
                  <a:lnTo>
                    <a:pt x="2127505" y="197447"/>
                  </a:lnTo>
                  <a:lnTo>
                    <a:pt x="2127505" y="198831"/>
                  </a:lnTo>
                  <a:lnTo>
                    <a:pt x="2127505" y="197447"/>
                  </a:lnTo>
                  <a:lnTo>
                    <a:pt x="2127555" y="197447"/>
                  </a:lnTo>
                  <a:lnTo>
                    <a:pt x="2127555" y="198831"/>
                  </a:lnTo>
                  <a:lnTo>
                    <a:pt x="2127555" y="197447"/>
                  </a:lnTo>
                  <a:lnTo>
                    <a:pt x="2127555" y="198831"/>
                  </a:lnTo>
                  <a:lnTo>
                    <a:pt x="2127555" y="197447"/>
                  </a:lnTo>
                  <a:lnTo>
                    <a:pt x="2127657" y="198831"/>
                  </a:lnTo>
                  <a:lnTo>
                    <a:pt x="2127657" y="197447"/>
                  </a:lnTo>
                  <a:lnTo>
                    <a:pt x="2127657" y="198831"/>
                  </a:lnTo>
                  <a:lnTo>
                    <a:pt x="2127657" y="197447"/>
                  </a:lnTo>
                  <a:lnTo>
                    <a:pt x="2127657" y="198831"/>
                  </a:lnTo>
                  <a:lnTo>
                    <a:pt x="2127657" y="197447"/>
                  </a:lnTo>
                  <a:lnTo>
                    <a:pt x="2127657" y="199530"/>
                  </a:lnTo>
                  <a:lnTo>
                    <a:pt x="2127657" y="198831"/>
                  </a:lnTo>
                  <a:lnTo>
                    <a:pt x="2127657" y="199530"/>
                  </a:lnTo>
                  <a:lnTo>
                    <a:pt x="2127708" y="199530"/>
                  </a:lnTo>
                  <a:lnTo>
                    <a:pt x="2127708" y="198831"/>
                  </a:lnTo>
                  <a:lnTo>
                    <a:pt x="2127708" y="200228"/>
                  </a:lnTo>
                  <a:lnTo>
                    <a:pt x="2127708" y="198831"/>
                  </a:lnTo>
                  <a:lnTo>
                    <a:pt x="2127708" y="199530"/>
                  </a:lnTo>
                  <a:lnTo>
                    <a:pt x="2127759" y="198831"/>
                  </a:lnTo>
                  <a:lnTo>
                    <a:pt x="2127759" y="199530"/>
                  </a:lnTo>
                  <a:lnTo>
                    <a:pt x="2127759" y="198831"/>
                  </a:lnTo>
                  <a:lnTo>
                    <a:pt x="2127759" y="199530"/>
                  </a:lnTo>
                  <a:lnTo>
                    <a:pt x="2127759" y="198831"/>
                  </a:lnTo>
                  <a:lnTo>
                    <a:pt x="2127797" y="198831"/>
                  </a:lnTo>
                  <a:lnTo>
                    <a:pt x="2127797" y="197447"/>
                  </a:lnTo>
                  <a:lnTo>
                    <a:pt x="2127797" y="198831"/>
                  </a:lnTo>
                  <a:lnTo>
                    <a:pt x="2127797" y="196799"/>
                  </a:lnTo>
                  <a:lnTo>
                    <a:pt x="2127797" y="197447"/>
                  </a:lnTo>
                  <a:lnTo>
                    <a:pt x="2127797" y="196799"/>
                  </a:lnTo>
                  <a:lnTo>
                    <a:pt x="2127797" y="197447"/>
                  </a:lnTo>
                  <a:lnTo>
                    <a:pt x="2127898" y="197447"/>
                  </a:lnTo>
                  <a:lnTo>
                    <a:pt x="2127898" y="198831"/>
                  </a:lnTo>
                  <a:lnTo>
                    <a:pt x="2127898" y="196799"/>
                  </a:lnTo>
                  <a:lnTo>
                    <a:pt x="2127898" y="200228"/>
                  </a:lnTo>
                  <a:lnTo>
                    <a:pt x="2127949" y="200228"/>
                  </a:lnTo>
                  <a:lnTo>
                    <a:pt x="2127949" y="199530"/>
                  </a:lnTo>
                  <a:lnTo>
                    <a:pt x="2127949" y="200228"/>
                  </a:lnTo>
                  <a:lnTo>
                    <a:pt x="2127949" y="199530"/>
                  </a:lnTo>
                  <a:lnTo>
                    <a:pt x="2128000" y="199530"/>
                  </a:lnTo>
                  <a:lnTo>
                    <a:pt x="2128000" y="200228"/>
                  </a:lnTo>
                  <a:lnTo>
                    <a:pt x="2128000" y="198831"/>
                  </a:lnTo>
                  <a:lnTo>
                    <a:pt x="2128000" y="199530"/>
                  </a:lnTo>
                  <a:lnTo>
                    <a:pt x="2128101" y="199530"/>
                  </a:lnTo>
                  <a:lnTo>
                    <a:pt x="2128101" y="198831"/>
                  </a:lnTo>
                  <a:lnTo>
                    <a:pt x="2128101" y="199530"/>
                  </a:lnTo>
                  <a:lnTo>
                    <a:pt x="2128152" y="199530"/>
                  </a:lnTo>
                  <a:lnTo>
                    <a:pt x="2128152" y="200228"/>
                  </a:lnTo>
                  <a:lnTo>
                    <a:pt x="2128152" y="199530"/>
                  </a:lnTo>
                  <a:lnTo>
                    <a:pt x="2128203" y="199530"/>
                  </a:lnTo>
                  <a:lnTo>
                    <a:pt x="2128203" y="198831"/>
                  </a:lnTo>
                  <a:lnTo>
                    <a:pt x="2128203" y="199530"/>
                  </a:lnTo>
                  <a:lnTo>
                    <a:pt x="2128203" y="198831"/>
                  </a:lnTo>
                  <a:lnTo>
                    <a:pt x="2128254" y="198831"/>
                  </a:lnTo>
                  <a:lnTo>
                    <a:pt x="2128254" y="197447"/>
                  </a:lnTo>
                  <a:lnTo>
                    <a:pt x="2128254" y="198831"/>
                  </a:lnTo>
                  <a:lnTo>
                    <a:pt x="2128254" y="197447"/>
                  </a:lnTo>
                  <a:lnTo>
                    <a:pt x="2128254" y="198831"/>
                  </a:lnTo>
                  <a:lnTo>
                    <a:pt x="2128254" y="197447"/>
                  </a:lnTo>
                  <a:lnTo>
                    <a:pt x="2128254" y="198831"/>
                  </a:lnTo>
                  <a:lnTo>
                    <a:pt x="2128254" y="196799"/>
                  </a:lnTo>
                  <a:lnTo>
                    <a:pt x="2128343" y="196799"/>
                  </a:lnTo>
                  <a:lnTo>
                    <a:pt x="2128343" y="196113"/>
                  </a:lnTo>
                  <a:lnTo>
                    <a:pt x="2128343" y="197447"/>
                  </a:lnTo>
                  <a:lnTo>
                    <a:pt x="2128394" y="197447"/>
                  </a:lnTo>
                  <a:lnTo>
                    <a:pt x="2128394" y="196799"/>
                  </a:lnTo>
                  <a:lnTo>
                    <a:pt x="2128394" y="197447"/>
                  </a:lnTo>
                  <a:lnTo>
                    <a:pt x="2128394" y="196799"/>
                  </a:lnTo>
                  <a:lnTo>
                    <a:pt x="2128394" y="199530"/>
                  </a:lnTo>
                  <a:lnTo>
                    <a:pt x="2128444" y="199530"/>
                  </a:lnTo>
                  <a:lnTo>
                    <a:pt x="2128444" y="198831"/>
                  </a:lnTo>
                  <a:lnTo>
                    <a:pt x="2128444" y="200228"/>
                  </a:lnTo>
                  <a:lnTo>
                    <a:pt x="2128444" y="199530"/>
                  </a:lnTo>
                  <a:lnTo>
                    <a:pt x="2128444" y="200228"/>
                  </a:lnTo>
                  <a:lnTo>
                    <a:pt x="2128444" y="199530"/>
                  </a:lnTo>
                  <a:lnTo>
                    <a:pt x="2128495" y="199530"/>
                  </a:lnTo>
                  <a:lnTo>
                    <a:pt x="2128495" y="198831"/>
                  </a:lnTo>
                  <a:lnTo>
                    <a:pt x="2128495" y="199530"/>
                  </a:lnTo>
                  <a:lnTo>
                    <a:pt x="2128495" y="198831"/>
                  </a:lnTo>
                  <a:lnTo>
                    <a:pt x="2128495" y="199530"/>
                  </a:lnTo>
                  <a:lnTo>
                    <a:pt x="2128495" y="198831"/>
                  </a:lnTo>
                  <a:lnTo>
                    <a:pt x="2128495" y="200228"/>
                  </a:lnTo>
                  <a:lnTo>
                    <a:pt x="2128495" y="199530"/>
                  </a:lnTo>
                  <a:lnTo>
                    <a:pt x="2128597" y="199530"/>
                  </a:lnTo>
                  <a:lnTo>
                    <a:pt x="2128597" y="200228"/>
                  </a:lnTo>
                  <a:lnTo>
                    <a:pt x="2128597" y="199530"/>
                  </a:lnTo>
                  <a:lnTo>
                    <a:pt x="2128597" y="200228"/>
                  </a:lnTo>
                  <a:lnTo>
                    <a:pt x="2128597" y="199530"/>
                  </a:lnTo>
                  <a:lnTo>
                    <a:pt x="2128597" y="200228"/>
                  </a:lnTo>
                  <a:lnTo>
                    <a:pt x="2128647" y="200228"/>
                  </a:lnTo>
                  <a:lnTo>
                    <a:pt x="2128647" y="199530"/>
                  </a:lnTo>
                  <a:lnTo>
                    <a:pt x="2128647" y="200228"/>
                  </a:lnTo>
                  <a:lnTo>
                    <a:pt x="2128647" y="199530"/>
                  </a:lnTo>
                  <a:lnTo>
                    <a:pt x="2128698" y="199530"/>
                  </a:lnTo>
                  <a:lnTo>
                    <a:pt x="2128698" y="200228"/>
                  </a:lnTo>
                  <a:lnTo>
                    <a:pt x="2128698" y="199530"/>
                  </a:lnTo>
                  <a:lnTo>
                    <a:pt x="2128698" y="200228"/>
                  </a:lnTo>
                  <a:lnTo>
                    <a:pt x="2128698" y="199530"/>
                  </a:lnTo>
                  <a:lnTo>
                    <a:pt x="2128698" y="200228"/>
                  </a:lnTo>
                  <a:lnTo>
                    <a:pt x="2128698" y="199530"/>
                  </a:lnTo>
                  <a:lnTo>
                    <a:pt x="2128800" y="199530"/>
                  </a:lnTo>
                  <a:lnTo>
                    <a:pt x="2128800" y="196799"/>
                  </a:lnTo>
                  <a:lnTo>
                    <a:pt x="2128838" y="197447"/>
                  </a:lnTo>
                  <a:lnTo>
                    <a:pt x="2128838" y="196113"/>
                  </a:lnTo>
                  <a:lnTo>
                    <a:pt x="2128838" y="198831"/>
                  </a:lnTo>
                  <a:lnTo>
                    <a:pt x="2128838" y="197447"/>
                  </a:lnTo>
                  <a:lnTo>
                    <a:pt x="2128889" y="197447"/>
                  </a:lnTo>
                  <a:lnTo>
                    <a:pt x="2128889" y="196799"/>
                  </a:lnTo>
                  <a:lnTo>
                    <a:pt x="2128889" y="200228"/>
                  </a:lnTo>
                  <a:lnTo>
                    <a:pt x="2128889" y="199530"/>
                  </a:lnTo>
                  <a:lnTo>
                    <a:pt x="2128889" y="200228"/>
                  </a:lnTo>
                  <a:lnTo>
                    <a:pt x="2128889" y="198831"/>
                  </a:lnTo>
                  <a:lnTo>
                    <a:pt x="2128940" y="198831"/>
                  </a:lnTo>
                  <a:lnTo>
                    <a:pt x="2128940" y="200228"/>
                  </a:lnTo>
                  <a:lnTo>
                    <a:pt x="2128940" y="199530"/>
                  </a:lnTo>
                  <a:lnTo>
                    <a:pt x="2129041" y="199530"/>
                  </a:lnTo>
                  <a:lnTo>
                    <a:pt x="2129041" y="200228"/>
                  </a:lnTo>
                  <a:lnTo>
                    <a:pt x="2129041" y="199530"/>
                  </a:lnTo>
                  <a:lnTo>
                    <a:pt x="2129041" y="200228"/>
                  </a:lnTo>
                  <a:lnTo>
                    <a:pt x="2129041" y="199530"/>
                  </a:lnTo>
                  <a:lnTo>
                    <a:pt x="2129041" y="200228"/>
                  </a:lnTo>
                  <a:lnTo>
                    <a:pt x="2129092" y="200228"/>
                  </a:lnTo>
                  <a:lnTo>
                    <a:pt x="2129092" y="200876"/>
                  </a:lnTo>
                  <a:lnTo>
                    <a:pt x="2129092" y="200228"/>
                  </a:lnTo>
                  <a:lnTo>
                    <a:pt x="2129092" y="200876"/>
                  </a:lnTo>
                  <a:lnTo>
                    <a:pt x="2129092" y="200228"/>
                  </a:lnTo>
                  <a:lnTo>
                    <a:pt x="2129092" y="200876"/>
                  </a:lnTo>
                  <a:lnTo>
                    <a:pt x="2129092" y="200228"/>
                  </a:lnTo>
                  <a:lnTo>
                    <a:pt x="2129092" y="200876"/>
                  </a:lnTo>
                  <a:lnTo>
                    <a:pt x="2129143" y="200228"/>
                  </a:lnTo>
                  <a:lnTo>
                    <a:pt x="2129244" y="200228"/>
                  </a:lnTo>
                  <a:lnTo>
                    <a:pt x="2129244" y="198831"/>
                  </a:lnTo>
                  <a:lnTo>
                    <a:pt x="2129244" y="199530"/>
                  </a:lnTo>
                  <a:lnTo>
                    <a:pt x="2129295" y="199530"/>
                  </a:lnTo>
                  <a:lnTo>
                    <a:pt x="2129295" y="196799"/>
                  </a:lnTo>
                  <a:lnTo>
                    <a:pt x="2129295" y="197447"/>
                  </a:lnTo>
                  <a:lnTo>
                    <a:pt x="2129295" y="196799"/>
                  </a:lnTo>
                  <a:lnTo>
                    <a:pt x="2129346" y="196799"/>
                  </a:lnTo>
                  <a:lnTo>
                    <a:pt x="2129346" y="198831"/>
                  </a:lnTo>
                  <a:lnTo>
                    <a:pt x="2129346" y="196799"/>
                  </a:lnTo>
                  <a:lnTo>
                    <a:pt x="2129384" y="197447"/>
                  </a:lnTo>
                  <a:lnTo>
                    <a:pt x="2129384" y="200228"/>
                  </a:lnTo>
                  <a:lnTo>
                    <a:pt x="2129384" y="198831"/>
                  </a:lnTo>
                  <a:lnTo>
                    <a:pt x="2129384" y="199530"/>
                  </a:lnTo>
                  <a:lnTo>
                    <a:pt x="2129384" y="198831"/>
                  </a:lnTo>
                  <a:lnTo>
                    <a:pt x="2129384" y="200228"/>
                  </a:lnTo>
                  <a:lnTo>
                    <a:pt x="2129486" y="200228"/>
                  </a:lnTo>
                  <a:lnTo>
                    <a:pt x="2129486" y="199530"/>
                  </a:lnTo>
                  <a:lnTo>
                    <a:pt x="2129486" y="200228"/>
                  </a:lnTo>
                  <a:lnTo>
                    <a:pt x="2129537" y="200228"/>
                  </a:lnTo>
                  <a:lnTo>
                    <a:pt x="2129537" y="199530"/>
                  </a:lnTo>
                  <a:lnTo>
                    <a:pt x="2129537" y="200876"/>
                  </a:lnTo>
                  <a:lnTo>
                    <a:pt x="2129587" y="200876"/>
                  </a:lnTo>
                  <a:lnTo>
                    <a:pt x="2129587" y="200228"/>
                  </a:lnTo>
                  <a:lnTo>
                    <a:pt x="2129587" y="200876"/>
                  </a:lnTo>
                  <a:lnTo>
                    <a:pt x="2129689" y="200876"/>
                  </a:lnTo>
                  <a:lnTo>
                    <a:pt x="2129689" y="200228"/>
                  </a:lnTo>
                  <a:lnTo>
                    <a:pt x="2129689" y="200876"/>
                  </a:lnTo>
                  <a:lnTo>
                    <a:pt x="2129689" y="200228"/>
                  </a:lnTo>
                  <a:lnTo>
                    <a:pt x="2129689" y="200876"/>
                  </a:lnTo>
                  <a:lnTo>
                    <a:pt x="2129740" y="200876"/>
                  </a:lnTo>
                  <a:lnTo>
                    <a:pt x="2129740" y="200228"/>
                  </a:lnTo>
                  <a:lnTo>
                    <a:pt x="2129740" y="200876"/>
                  </a:lnTo>
                  <a:lnTo>
                    <a:pt x="2129740" y="199530"/>
                  </a:lnTo>
                  <a:lnTo>
                    <a:pt x="2129740" y="200228"/>
                  </a:lnTo>
                  <a:lnTo>
                    <a:pt x="2129740" y="199530"/>
                  </a:lnTo>
                  <a:lnTo>
                    <a:pt x="2129790" y="199530"/>
                  </a:lnTo>
                  <a:lnTo>
                    <a:pt x="2129790" y="197447"/>
                  </a:lnTo>
                  <a:lnTo>
                    <a:pt x="2129790" y="199530"/>
                  </a:lnTo>
                  <a:lnTo>
                    <a:pt x="2129790" y="198831"/>
                  </a:lnTo>
                  <a:lnTo>
                    <a:pt x="2129841" y="198831"/>
                  </a:lnTo>
                  <a:lnTo>
                    <a:pt x="2129841" y="197447"/>
                  </a:lnTo>
                  <a:lnTo>
                    <a:pt x="2129841" y="200876"/>
                  </a:lnTo>
                  <a:lnTo>
                    <a:pt x="2129841" y="200228"/>
                  </a:lnTo>
                  <a:lnTo>
                    <a:pt x="2129930" y="200228"/>
                  </a:lnTo>
                  <a:lnTo>
                    <a:pt x="2129930" y="199530"/>
                  </a:lnTo>
                  <a:lnTo>
                    <a:pt x="2129930" y="200876"/>
                  </a:lnTo>
                  <a:lnTo>
                    <a:pt x="2129930" y="200228"/>
                  </a:lnTo>
                  <a:lnTo>
                    <a:pt x="2129981" y="199530"/>
                  </a:lnTo>
                  <a:lnTo>
                    <a:pt x="2129981" y="200228"/>
                  </a:lnTo>
                  <a:lnTo>
                    <a:pt x="2129981" y="199530"/>
                  </a:lnTo>
                  <a:lnTo>
                    <a:pt x="2129981" y="200228"/>
                  </a:lnTo>
                  <a:lnTo>
                    <a:pt x="2129981" y="199530"/>
                  </a:lnTo>
                  <a:lnTo>
                    <a:pt x="2129981" y="200228"/>
                  </a:lnTo>
                  <a:lnTo>
                    <a:pt x="2129981" y="199530"/>
                  </a:lnTo>
                  <a:lnTo>
                    <a:pt x="2130032" y="199530"/>
                  </a:lnTo>
                  <a:lnTo>
                    <a:pt x="2130032" y="200228"/>
                  </a:lnTo>
                  <a:lnTo>
                    <a:pt x="2130032" y="199530"/>
                  </a:lnTo>
                  <a:lnTo>
                    <a:pt x="2130032" y="200228"/>
                  </a:lnTo>
                  <a:lnTo>
                    <a:pt x="2130184" y="200228"/>
                  </a:lnTo>
                  <a:lnTo>
                    <a:pt x="2130184" y="199530"/>
                  </a:lnTo>
                  <a:lnTo>
                    <a:pt x="2130184" y="200228"/>
                  </a:lnTo>
                  <a:lnTo>
                    <a:pt x="2130184" y="199530"/>
                  </a:lnTo>
                  <a:lnTo>
                    <a:pt x="2130184" y="200228"/>
                  </a:lnTo>
                  <a:lnTo>
                    <a:pt x="2130184" y="199530"/>
                  </a:lnTo>
                  <a:lnTo>
                    <a:pt x="2130235" y="199530"/>
                  </a:lnTo>
                  <a:lnTo>
                    <a:pt x="2130235" y="198831"/>
                  </a:lnTo>
                  <a:lnTo>
                    <a:pt x="2130286" y="198831"/>
                  </a:lnTo>
                  <a:lnTo>
                    <a:pt x="2130286" y="200876"/>
                  </a:lnTo>
                  <a:lnTo>
                    <a:pt x="2130286" y="199530"/>
                  </a:lnTo>
                  <a:lnTo>
                    <a:pt x="2130286" y="202260"/>
                  </a:lnTo>
                  <a:lnTo>
                    <a:pt x="2130387" y="202260"/>
                  </a:lnTo>
                  <a:lnTo>
                    <a:pt x="2130387" y="202959"/>
                  </a:lnTo>
                  <a:lnTo>
                    <a:pt x="2130387" y="200228"/>
                  </a:lnTo>
                  <a:lnTo>
                    <a:pt x="2130387" y="200876"/>
                  </a:lnTo>
                  <a:lnTo>
                    <a:pt x="2130387" y="200228"/>
                  </a:lnTo>
                  <a:lnTo>
                    <a:pt x="2130387" y="202959"/>
                  </a:lnTo>
                  <a:lnTo>
                    <a:pt x="2130425" y="202959"/>
                  </a:lnTo>
                  <a:lnTo>
                    <a:pt x="2130425" y="200876"/>
                  </a:lnTo>
                  <a:lnTo>
                    <a:pt x="2130425" y="202959"/>
                  </a:lnTo>
                  <a:lnTo>
                    <a:pt x="2130476" y="202959"/>
                  </a:lnTo>
                  <a:lnTo>
                    <a:pt x="2130476" y="202260"/>
                  </a:lnTo>
                  <a:lnTo>
                    <a:pt x="2130527" y="202260"/>
                  </a:lnTo>
                  <a:lnTo>
                    <a:pt x="2130527" y="200876"/>
                  </a:lnTo>
                  <a:lnTo>
                    <a:pt x="2130527" y="202260"/>
                  </a:lnTo>
                  <a:lnTo>
                    <a:pt x="2130629" y="202260"/>
                  </a:lnTo>
                  <a:lnTo>
                    <a:pt x="2130629" y="200876"/>
                  </a:lnTo>
                  <a:lnTo>
                    <a:pt x="2130629" y="202260"/>
                  </a:lnTo>
                  <a:lnTo>
                    <a:pt x="2130629" y="200876"/>
                  </a:lnTo>
                  <a:lnTo>
                    <a:pt x="2130680" y="200876"/>
                  </a:lnTo>
                  <a:lnTo>
                    <a:pt x="2130680" y="199530"/>
                  </a:lnTo>
                  <a:lnTo>
                    <a:pt x="2130680" y="200228"/>
                  </a:lnTo>
                  <a:lnTo>
                    <a:pt x="2130680" y="198831"/>
                  </a:lnTo>
                  <a:lnTo>
                    <a:pt x="2130680" y="199530"/>
                  </a:lnTo>
                  <a:lnTo>
                    <a:pt x="2130730" y="199530"/>
                  </a:lnTo>
                  <a:lnTo>
                    <a:pt x="2130730" y="198831"/>
                  </a:lnTo>
                  <a:lnTo>
                    <a:pt x="2130730" y="199530"/>
                  </a:lnTo>
                  <a:lnTo>
                    <a:pt x="2130730" y="196799"/>
                  </a:lnTo>
                  <a:lnTo>
                    <a:pt x="2130730" y="199530"/>
                  </a:lnTo>
                  <a:lnTo>
                    <a:pt x="2130832" y="200228"/>
                  </a:lnTo>
                  <a:lnTo>
                    <a:pt x="2130832" y="197447"/>
                  </a:lnTo>
                  <a:lnTo>
                    <a:pt x="2130832" y="200876"/>
                  </a:lnTo>
                  <a:lnTo>
                    <a:pt x="2130883" y="200876"/>
                  </a:lnTo>
                  <a:lnTo>
                    <a:pt x="2130883" y="200228"/>
                  </a:lnTo>
                  <a:lnTo>
                    <a:pt x="2130883" y="202260"/>
                  </a:lnTo>
                  <a:lnTo>
                    <a:pt x="2130934" y="202260"/>
                  </a:lnTo>
                  <a:lnTo>
                    <a:pt x="2130934" y="200876"/>
                  </a:lnTo>
                  <a:lnTo>
                    <a:pt x="2130934" y="202260"/>
                  </a:lnTo>
                  <a:lnTo>
                    <a:pt x="2130972" y="202260"/>
                  </a:lnTo>
                  <a:lnTo>
                    <a:pt x="2130972" y="200876"/>
                  </a:lnTo>
                  <a:lnTo>
                    <a:pt x="2130972" y="202260"/>
                  </a:lnTo>
                  <a:lnTo>
                    <a:pt x="2130972" y="200876"/>
                  </a:lnTo>
                  <a:lnTo>
                    <a:pt x="2130972" y="202260"/>
                  </a:lnTo>
                  <a:lnTo>
                    <a:pt x="2131073" y="202260"/>
                  </a:lnTo>
                  <a:lnTo>
                    <a:pt x="2131073" y="200876"/>
                  </a:lnTo>
                  <a:lnTo>
                    <a:pt x="2131073" y="202959"/>
                  </a:lnTo>
                  <a:lnTo>
                    <a:pt x="2131073" y="202260"/>
                  </a:lnTo>
                  <a:lnTo>
                    <a:pt x="2131124" y="202260"/>
                  </a:lnTo>
                  <a:lnTo>
                    <a:pt x="2131124" y="200876"/>
                  </a:lnTo>
                  <a:lnTo>
                    <a:pt x="2131124" y="202260"/>
                  </a:lnTo>
                  <a:lnTo>
                    <a:pt x="2131124" y="200876"/>
                  </a:lnTo>
                  <a:lnTo>
                    <a:pt x="2131124" y="202260"/>
                  </a:lnTo>
                  <a:lnTo>
                    <a:pt x="2131124" y="200228"/>
                  </a:lnTo>
                  <a:lnTo>
                    <a:pt x="2131175" y="200228"/>
                  </a:lnTo>
                  <a:lnTo>
                    <a:pt x="2131175" y="199530"/>
                  </a:lnTo>
                  <a:lnTo>
                    <a:pt x="2131175" y="200228"/>
                  </a:lnTo>
                  <a:lnTo>
                    <a:pt x="2131175" y="198831"/>
                  </a:lnTo>
                  <a:lnTo>
                    <a:pt x="2131276" y="198831"/>
                  </a:lnTo>
                  <a:lnTo>
                    <a:pt x="2131276" y="196799"/>
                  </a:lnTo>
                  <a:lnTo>
                    <a:pt x="2131276" y="199530"/>
                  </a:lnTo>
                  <a:lnTo>
                    <a:pt x="2131276" y="197447"/>
                  </a:lnTo>
                  <a:lnTo>
                    <a:pt x="2131276" y="198831"/>
                  </a:lnTo>
                  <a:lnTo>
                    <a:pt x="2131327" y="198831"/>
                  </a:lnTo>
                  <a:lnTo>
                    <a:pt x="2131327" y="200228"/>
                  </a:lnTo>
                  <a:lnTo>
                    <a:pt x="2131327" y="199530"/>
                  </a:lnTo>
                  <a:lnTo>
                    <a:pt x="2131378" y="199530"/>
                  </a:lnTo>
                  <a:lnTo>
                    <a:pt x="2131378" y="200876"/>
                  </a:lnTo>
                  <a:lnTo>
                    <a:pt x="2131378" y="200228"/>
                  </a:lnTo>
                  <a:lnTo>
                    <a:pt x="2131429" y="200228"/>
                  </a:lnTo>
                  <a:lnTo>
                    <a:pt x="2131429" y="200876"/>
                  </a:lnTo>
                  <a:lnTo>
                    <a:pt x="2131429" y="200228"/>
                  </a:lnTo>
                  <a:lnTo>
                    <a:pt x="2131429" y="200876"/>
                  </a:lnTo>
                  <a:lnTo>
                    <a:pt x="2131429" y="200228"/>
                  </a:lnTo>
                  <a:lnTo>
                    <a:pt x="2131518" y="200228"/>
                  </a:lnTo>
                  <a:lnTo>
                    <a:pt x="2131518" y="202260"/>
                  </a:lnTo>
                  <a:lnTo>
                    <a:pt x="2131518" y="200876"/>
                  </a:lnTo>
                  <a:lnTo>
                    <a:pt x="2131569" y="200876"/>
                  </a:lnTo>
                  <a:lnTo>
                    <a:pt x="2131569" y="202959"/>
                  </a:lnTo>
                  <a:lnTo>
                    <a:pt x="2131569" y="200876"/>
                  </a:lnTo>
                  <a:lnTo>
                    <a:pt x="2131569" y="202260"/>
                  </a:lnTo>
                  <a:lnTo>
                    <a:pt x="2131619" y="202260"/>
                  </a:lnTo>
                  <a:lnTo>
                    <a:pt x="2131619" y="200228"/>
                  </a:lnTo>
                  <a:lnTo>
                    <a:pt x="2131619" y="200876"/>
                  </a:lnTo>
                  <a:lnTo>
                    <a:pt x="2131619" y="200228"/>
                  </a:lnTo>
                  <a:lnTo>
                    <a:pt x="2131619" y="200876"/>
                  </a:lnTo>
                  <a:lnTo>
                    <a:pt x="2131619" y="199530"/>
                  </a:lnTo>
                  <a:lnTo>
                    <a:pt x="2131670" y="199530"/>
                  </a:lnTo>
                  <a:lnTo>
                    <a:pt x="2131670" y="200228"/>
                  </a:lnTo>
                  <a:lnTo>
                    <a:pt x="2131670" y="197447"/>
                  </a:lnTo>
                  <a:lnTo>
                    <a:pt x="2131670" y="198831"/>
                  </a:lnTo>
                  <a:lnTo>
                    <a:pt x="2131670" y="197447"/>
                  </a:lnTo>
                  <a:lnTo>
                    <a:pt x="2131772" y="198831"/>
                  </a:lnTo>
                  <a:lnTo>
                    <a:pt x="2131772" y="199530"/>
                  </a:lnTo>
                  <a:lnTo>
                    <a:pt x="2131772" y="197447"/>
                  </a:lnTo>
                  <a:lnTo>
                    <a:pt x="2131772" y="198831"/>
                  </a:lnTo>
                  <a:lnTo>
                    <a:pt x="2131822" y="198831"/>
                  </a:lnTo>
                  <a:lnTo>
                    <a:pt x="2131822" y="200228"/>
                  </a:lnTo>
                  <a:lnTo>
                    <a:pt x="2131822" y="199530"/>
                  </a:lnTo>
                  <a:lnTo>
                    <a:pt x="2131822" y="200228"/>
                  </a:lnTo>
                  <a:lnTo>
                    <a:pt x="2131873" y="200228"/>
                  </a:lnTo>
                  <a:lnTo>
                    <a:pt x="2131873" y="200876"/>
                  </a:lnTo>
                  <a:lnTo>
                    <a:pt x="2131873" y="199530"/>
                  </a:lnTo>
                  <a:lnTo>
                    <a:pt x="2131873" y="200228"/>
                  </a:lnTo>
                  <a:lnTo>
                    <a:pt x="2131873" y="199530"/>
                  </a:lnTo>
                  <a:lnTo>
                    <a:pt x="2131873" y="200228"/>
                  </a:lnTo>
                  <a:lnTo>
                    <a:pt x="2131975" y="200228"/>
                  </a:lnTo>
                  <a:lnTo>
                    <a:pt x="2131975" y="199530"/>
                  </a:lnTo>
                  <a:lnTo>
                    <a:pt x="2131975" y="200876"/>
                  </a:lnTo>
                  <a:lnTo>
                    <a:pt x="2131975" y="200228"/>
                  </a:lnTo>
                  <a:lnTo>
                    <a:pt x="2131975" y="200876"/>
                  </a:lnTo>
                  <a:lnTo>
                    <a:pt x="2132013" y="200876"/>
                  </a:lnTo>
                  <a:lnTo>
                    <a:pt x="2132013" y="200228"/>
                  </a:lnTo>
                  <a:lnTo>
                    <a:pt x="2132013" y="200876"/>
                  </a:lnTo>
                  <a:lnTo>
                    <a:pt x="2132064" y="200876"/>
                  </a:lnTo>
                  <a:lnTo>
                    <a:pt x="2132064" y="200228"/>
                  </a:lnTo>
                  <a:lnTo>
                    <a:pt x="2132064" y="200876"/>
                  </a:lnTo>
                  <a:lnTo>
                    <a:pt x="2132064" y="200228"/>
                  </a:lnTo>
                  <a:lnTo>
                    <a:pt x="2132115" y="200228"/>
                  </a:lnTo>
                  <a:lnTo>
                    <a:pt x="2132115" y="198831"/>
                  </a:lnTo>
                  <a:lnTo>
                    <a:pt x="2132115" y="199530"/>
                  </a:lnTo>
                  <a:lnTo>
                    <a:pt x="2132216" y="198831"/>
                  </a:lnTo>
                  <a:lnTo>
                    <a:pt x="2132216" y="196799"/>
                  </a:lnTo>
                  <a:lnTo>
                    <a:pt x="2132267" y="196799"/>
                  </a:lnTo>
                  <a:lnTo>
                    <a:pt x="2132267" y="198831"/>
                  </a:lnTo>
                  <a:lnTo>
                    <a:pt x="2132267" y="196799"/>
                  </a:lnTo>
                  <a:lnTo>
                    <a:pt x="2132267" y="198831"/>
                  </a:lnTo>
                  <a:lnTo>
                    <a:pt x="2132318" y="199530"/>
                  </a:lnTo>
                  <a:lnTo>
                    <a:pt x="2132318" y="200228"/>
                  </a:lnTo>
                  <a:lnTo>
                    <a:pt x="2132318" y="198831"/>
                  </a:lnTo>
                  <a:lnTo>
                    <a:pt x="2132318" y="199530"/>
                  </a:lnTo>
                  <a:lnTo>
                    <a:pt x="2132419" y="199530"/>
                  </a:lnTo>
                  <a:lnTo>
                    <a:pt x="2132419" y="200228"/>
                  </a:lnTo>
                  <a:lnTo>
                    <a:pt x="2132419" y="198831"/>
                  </a:lnTo>
                  <a:lnTo>
                    <a:pt x="2132419" y="200228"/>
                  </a:lnTo>
                  <a:lnTo>
                    <a:pt x="2132470" y="199530"/>
                  </a:lnTo>
                  <a:lnTo>
                    <a:pt x="2132470" y="200228"/>
                  </a:lnTo>
                  <a:lnTo>
                    <a:pt x="2132521" y="200228"/>
                  </a:lnTo>
                  <a:lnTo>
                    <a:pt x="2132521" y="200876"/>
                  </a:lnTo>
                  <a:lnTo>
                    <a:pt x="2132521" y="200228"/>
                  </a:lnTo>
                  <a:lnTo>
                    <a:pt x="2132521" y="200876"/>
                  </a:lnTo>
                  <a:lnTo>
                    <a:pt x="2132559" y="200876"/>
                  </a:lnTo>
                  <a:lnTo>
                    <a:pt x="2132559" y="199530"/>
                  </a:lnTo>
                  <a:lnTo>
                    <a:pt x="2132661" y="199530"/>
                  </a:lnTo>
                  <a:lnTo>
                    <a:pt x="2132661" y="200228"/>
                  </a:lnTo>
                  <a:lnTo>
                    <a:pt x="2132661" y="198831"/>
                  </a:lnTo>
                  <a:lnTo>
                    <a:pt x="2132712" y="198831"/>
                  </a:lnTo>
                  <a:lnTo>
                    <a:pt x="2132712" y="197447"/>
                  </a:lnTo>
                  <a:lnTo>
                    <a:pt x="2132712" y="199530"/>
                  </a:lnTo>
                  <a:lnTo>
                    <a:pt x="2132762" y="198831"/>
                  </a:lnTo>
                  <a:lnTo>
                    <a:pt x="2132762" y="196799"/>
                  </a:lnTo>
                  <a:lnTo>
                    <a:pt x="2132762" y="200876"/>
                  </a:lnTo>
                  <a:lnTo>
                    <a:pt x="2132762" y="199530"/>
                  </a:lnTo>
                  <a:lnTo>
                    <a:pt x="2132864" y="199530"/>
                  </a:lnTo>
                  <a:lnTo>
                    <a:pt x="2132864" y="197447"/>
                  </a:lnTo>
                  <a:lnTo>
                    <a:pt x="2132864" y="200228"/>
                  </a:lnTo>
                  <a:lnTo>
                    <a:pt x="2132915" y="199530"/>
                  </a:lnTo>
                  <a:lnTo>
                    <a:pt x="2132915" y="198831"/>
                  </a:lnTo>
                  <a:lnTo>
                    <a:pt x="2132915" y="200228"/>
                  </a:lnTo>
                  <a:lnTo>
                    <a:pt x="2132915" y="199530"/>
                  </a:lnTo>
                  <a:lnTo>
                    <a:pt x="2132965" y="199530"/>
                  </a:lnTo>
                  <a:lnTo>
                    <a:pt x="2132965" y="200228"/>
                  </a:lnTo>
                  <a:lnTo>
                    <a:pt x="2132965" y="199530"/>
                  </a:lnTo>
                  <a:lnTo>
                    <a:pt x="2133016" y="199530"/>
                  </a:lnTo>
                  <a:lnTo>
                    <a:pt x="2133016" y="200228"/>
                  </a:lnTo>
                  <a:lnTo>
                    <a:pt x="2133016" y="199530"/>
                  </a:lnTo>
                  <a:lnTo>
                    <a:pt x="2133016" y="200228"/>
                  </a:lnTo>
                  <a:lnTo>
                    <a:pt x="2133016" y="199530"/>
                  </a:lnTo>
                  <a:lnTo>
                    <a:pt x="2133016" y="200228"/>
                  </a:lnTo>
                  <a:lnTo>
                    <a:pt x="2133016" y="199530"/>
                  </a:lnTo>
                  <a:lnTo>
                    <a:pt x="2133105" y="199530"/>
                  </a:lnTo>
                  <a:lnTo>
                    <a:pt x="2133105" y="198831"/>
                  </a:lnTo>
                  <a:lnTo>
                    <a:pt x="2133105" y="199530"/>
                  </a:lnTo>
                  <a:lnTo>
                    <a:pt x="2133105" y="198831"/>
                  </a:lnTo>
                  <a:lnTo>
                    <a:pt x="2133105" y="199530"/>
                  </a:lnTo>
                  <a:lnTo>
                    <a:pt x="2133156" y="199530"/>
                  </a:lnTo>
                  <a:lnTo>
                    <a:pt x="2133156" y="198831"/>
                  </a:lnTo>
                  <a:lnTo>
                    <a:pt x="2133156" y="199530"/>
                  </a:lnTo>
                  <a:lnTo>
                    <a:pt x="2133156" y="197447"/>
                  </a:lnTo>
                  <a:lnTo>
                    <a:pt x="2133207" y="197447"/>
                  </a:lnTo>
                  <a:lnTo>
                    <a:pt x="2133207" y="199530"/>
                  </a:lnTo>
                  <a:lnTo>
                    <a:pt x="2133207" y="198831"/>
                  </a:lnTo>
                  <a:lnTo>
                    <a:pt x="2133207" y="199530"/>
                  </a:lnTo>
                  <a:lnTo>
                    <a:pt x="2133258" y="200228"/>
                  </a:lnTo>
                  <a:lnTo>
                    <a:pt x="2133258" y="200876"/>
                  </a:lnTo>
                  <a:lnTo>
                    <a:pt x="2133258" y="200228"/>
                  </a:lnTo>
                  <a:lnTo>
                    <a:pt x="2133258" y="200876"/>
                  </a:lnTo>
                  <a:lnTo>
                    <a:pt x="2133258" y="199530"/>
                  </a:lnTo>
                  <a:lnTo>
                    <a:pt x="2133258" y="200876"/>
                  </a:lnTo>
                  <a:lnTo>
                    <a:pt x="2133359" y="200876"/>
                  </a:lnTo>
                  <a:lnTo>
                    <a:pt x="2133359" y="200228"/>
                  </a:lnTo>
                  <a:lnTo>
                    <a:pt x="2133359" y="200876"/>
                  </a:lnTo>
                  <a:lnTo>
                    <a:pt x="2133410" y="200876"/>
                  </a:lnTo>
                  <a:lnTo>
                    <a:pt x="2133410" y="200228"/>
                  </a:lnTo>
                  <a:lnTo>
                    <a:pt x="2133410" y="200876"/>
                  </a:lnTo>
                  <a:lnTo>
                    <a:pt x="2133410" y="200228"/>
                  </a:lnTo>
                  <a:lnTo>
                    <a:pt x="2133410" y="200876"/>
                  </a:lnTo>
                  <a:lnTo>
                    <a:pt x="2133562" y="200876"/>
                  </a:lnTo>
                  <a:lnTo>
                    <a:pt x="2133562" y="200228"/>
                  </a:lnTo>
                  <a:lnTo>
                    <a:pt x="2133562" y="200876"/>
                  </a:lnTo>
                  <a:lnTo>
                    <a:pt x="2133562" y="200228"/>
                  </a:lnTo>
                  <a:lnTo>
                    <a:pt x="2133562" y="200876"/>
                  </a:lnTo>
                  <a:lnTo>
                    <a:pt x="2133562" y="200228"/>
                  </a:lnTo>
                  <a:lnTo>
                    <a:pt x="2133562" y="200876"/>
                  </a:lnTo>
                  <a:lnTo>
                    <a:pt x="2133562" y="200228"/>
                  </a:lnTo>
                  <a:lnTo>
                    <a:pt x="2133562" y="200876"/>
                  </a:lnTo>
                  <a:lnTo>
                    <a:pt x="2133562" y="200228"/>
                  </a:lnTo>
                  <a:lnTo>
                    <a:pt x="2133600" y="199530"/>
                  </a:lnTo>
                  <a:lnTo>
                    <a:pt x="2133600" y="200228"/>
                  </a:lnTo>
                  <a:lnTo>
                    <a:pt x="2133600" y="198831"/>
                  </a:lnTo>
                  <a:lnTo>
                    <a:pt x="2133600" y="199530"/>
                  </a:lnTo>
                  <a:lnTo>
                    <a:pt x="2133651" y="198831"/>
                  </a:lnTo>
                  <a:lnTo>
                    <a:pt x="2133651" y="197447"/>
                  </a:lnTo>
                  <a:lnTo>
                    <a:pt x="2133651" y="200228"/>
                  </a:lnTo>
                  <a:lnTo>
                    <a:pt x="2133651" y="199530"/>
                  </a:lnTo>
                  <a:lnTo>
                    <a:pt x="2133702" y="199530"/>
                  </a:lnTo>
                  <a:lnTo>
                    <a:pt x="2133702" y="202260"/>
                  </a:lnTo>
                  <a:lnTo>
                    <a:pt x="2133702" y="200876"/>
                  </a:lnTo>
                  <a:lnTo>
                    <a:pt x="2133804" y="200876"/>
                  </a:lnTo>
                  <a:lnTo>
                    <a:pt x="2133804" y="202260"/>
                  </a:lnTo>
                  <a:lnTo>
                    <a:pt x="2133804" y="200876"/>
                  </a:lnTo>
                  <a:lnTo>
                    <a:pt x="2133855" y="200876"/>
                  </a:lnTo>
                  <a:lnTo>
                    <a:pt x="2133855" y="202260"/>
                  </a:lnTo>
                  <a:lnTo>
                    <a:pt x="2133855" y="200876"/>
                  </a:lnTo>
                  <a:lnTo>
                    <a:pt x="2133855" y="202260"/>
                  </a:lnTo>
                  <a:lnTo>
                    <a:pt x="2133855" y="200876"/>
                  </a:lnTo>
                  <a:lnTo>
                    <a:pt x="2133855" y="202260"/>
                  </a:lnTo>
                  <a:lnTo>
                    <a:pt x="2133855" y="200876"/>
                  </a:lnTo>
                  <a:lnTo>
                    <a:pt x="2133905" y="200876"/>
                  </a:lnTo>
                  <a:lnTo>
                    <a:pt x="2133905" y="202260"/>
                  </a:lnTo>
                  <a:lnTo>
                    <a:pt x="2133905" y="200876"/>
                  </a:lnTo>
                  <a:lnTo>
                    <a:pt x="2133905" y="202260"/>
                  </a:lnTo>
                  <a:lnTo>
                    <a:pt x="2133905" y="200876"/>
                  </a:lnTo>
                  <a:lnTo>
                    <a:pt x="2133905" y="202260"/>
                  </a:lnTo>
                  <a:lnTo>
                    <a:pt x="2134007" y="202260"/>
                  </a:lnTo>
                  <a:lnTo>
                    <a:pt x="2134007" y="200876"/>
                  </a:lnTo>
                  <a:lnTo>
                    <a:pt x="2134007" y="202260"/>
                  </a:lnTo>
                  <a:lnTo>
                    <a:pt x="2134007" y="200876"/>
                  </a:lnTo>
                  <a:lnTo>
                    <a:pt x="2134007" y="202260"/>
                  </a:lnTo>
                  <a:lnTo>
                    <a:pt x="2134058" y="200876"/>
                  </a:lnTo>
                  <a:lnTo>
                    <a:pt x="2134058" y="199530"/>
                  </a:lnTo>
                  <a:lnTo>
                    <a:pt x="2134109" y="199530"/>
                  </a:lnTo>
                  <a:lnTo>
                    <a:pt x="2134109" y="197447"/>
                  </a:lnTo>
                  <a:lnTo>
                    <a:pt x="2134147" y="197447"/>
                  </a:lnTo>
                  <a:lnTo>
                    <a:pt x="2134147" y="196799"/>
                  </a:lnTo>
                  <a:lnTo>
                    <a:pt x="2134147" y="198831"/>
                  </a:lnTo>
                  <a:lnTo>
                    <a:pt x="2134147" y="197447"/>
                  </a:lnTo>
                  <a:lnTo>
                    <a:pt x="2134248" y="197447"/>
                  </a:lnTo>
                  <a:lnTo>
                    <a:pt x="2134248" y="200228"/>
                  </a:lnTo>
                  <a:lnTo>
                    <a:pt x="2134248" y="199530"/>
                  </a:lnTo>
                  <a:lnTo>
                    <a:pt x="2134299" y="199530"/>
                  </a:lnTo>
                  <a:lnTo>
                    <a:pt x="2134299" y="198831"/>
                  </a:lnTo>
                  <a:lnTo>
                    <a:pt x="2134299" y="200228"/>
                  </a:lnTo>
                  <a:lnTo>
                    <a:pt x="2134299" y="199530"/>
                  </a:lnTo>
                  <a:lnTo>
                    <a:pt x="2134350" y="200228"/>
                  </a:lnTo>
                  <a:lnTo>
                    <a:pt x="2134350" y="199530"/>
                  </a:lnTo>
                  <a:lnTo>
                    <a:pt x="2134350" y="200228"/>
                  </a:lnTo>
                  <a:lnTo>
                    <a:pt x="2134350" y="199530"/>
                  </a:lnTo>
                  <a:lnTo>
                    <a:pt x="2134350" y="200876"/>
                  </a:lnTo>
                  <a:lnTo>
                    <a:pt x="2134451" y="200876"/>
                  </a:lnTo>
                  <a:lnTo>
                    <a:pt x="2134451" y="200228"/>
                  </a:lnTo>
                  <a:lnTo>
                    <a:pt x="2134451" y="200876"/>
                  </a:lnTo>
                  <a:lnTo>
                    <a:pt x="2134451" y="200228"/>
                  </a:lnTo>
                  <a:lnTo>
                    <a:pt x="2134451" y="200876"/>
                  </a:lnTo>
                  <a:lnTo>
                    <a:pt x="2134451" y="200228"/>
                  </a:lnTo>
                  <a:lnTo>
                    <a:pt x="2134451" y="200876"/>
                  </a:lnTo>
                  <a:lnTo>
                    <a:pt x="2134502" y="200876"/>
                  </a:lnTo>
                  <a:lnTo>
                    <a:pt x="2134502" y="200228"/>
                  </a:lnTo>
                  <a:lnTo>
                    <a:pt x="2134502" y="200876"/>
                  </a:lnTo>
                  <a:lnTo>
                    <a:pt x="2134502" y="200228"/>
                  </a:lnTo>
                  <a:lnTo>
                    <a:pt x="2134553" y="200228"/>
                  </a:lnTo>
                  <a:lnTo>
                    <a:pt x="2134553" y="199530"/>
                  </a:lnTo>
                  <a:lnTo>
                    <a:pt x="2134553" y="200228"/>
                  </a:lnTo>
                  <a:lnTo>
                    <a:pt x="2134553" y="199530"/>
                  </a:lnTo>
                  <a:lnTo>
                    <a:pt x="2134604" y="199530"/>
                  </a:lnTo>
                  <a:lnTo>
                    <a:pt x="2134604" y="198831"/>
                  </a:lnTo>
                  <a:lnTo>
                    <a:pt x="2134604" y="199530"/>
                  </a:lnTo>
                  <a:lnTo>
                    <a:pt x="2134604" y="197447"/>
                  </a:lnTo>
                  <a:lnTo>
                    <a:pt x="2134693" y="198831"/>
                  </a:lnTo>
                  <a:lnTo>
                    <a:pt x="2134693" y="199530"/>
                  </a:lnTo>
                  <a:lnTo>
                    <a:pt x="2134693" y="197447"/>
                  </a:lnTo>
                  <a:lnTo>
                    <a:pt x="2134693" y="200228"/>
                  </a:lnTo>
                  <a:lnTo>
                    <a:pt x="2134744" y="200228"/>
                  </a:lnTo>
                  <a:lnTo>
                    <a:pt x="2134744" y="199530"/>
                  </a:lnTo>
                  <a:lnTo>
                    <a:pt x="2134744" y="200228"/>
                  </a:lnTo>
                  <a:lnTo>
                    <a:pt x="2134794" y="200228"/>
                  </a:lnTo>
                  <a:lnTo>
                    <a:pt x="2134794" y="199530"/>
                  </a:lnTo>
                  <a:lnTo>
                    <a:pt x="2134845" y="200228"/>
                  </a:lnTo>
                  <a:lnTo>
                    <a:pt x="2134845" y="199530"/>
                  </a:lnTo>
                  <a:lnTo>
                    <a:pt x="2134845" y="200228"/>
                  </a:lnTo>
                  <a:lnTo>
                    <a:pt x="2134947" y="200228"/>
                  </a:lnTo>
                  <a:lnTo>
                    <a:pt x="2134947" y="200876"/>
                  </a:lnTo>
                  <a:lnTo>
                    <a:pt x="2134947" y="200228"/>
                  </a:lnTo>
                  <a:lnTo>
                    <a:pt x="2134947" y="200876"/>
                  </a:lnTo>
                  <a:lnTo>
                    <a:pt x="2134947" y="200228"/>
                  </a:lnTo>
                  <a:lnTo>
                    <a:pt x="2134997" y="200228"/>
                  </a:lnTo>
                  <a:lnTo>
                    <a:pt x="2134997" y="199530"/>
                  </a:lnTo>
                  <a:lnTo>
                    <a:pt x="2134997" y="200876"/>
                  </a:lnTo>
                  <a:lnTo>
                    <a:pt x="2134997" y="199530"/>
                  </a:lnTo>
                  <a:lnTo>
                    <a:pt x="2135048" y="199530"/>
                  </a:lnTo>
                  <a:lnTo>
                    <a:pt x="2135048" y="198831"/>
                  </a:lnTo>
                  <a:lnTo>
                    <a:pt x="2135048" y="199530"/>
                  </a:lnTo>
                  <a:lnTo>
                    <a:pt x="2135048" y="198831"/>
                  </a:lnTo>
                  <a:lnTo>
                    <a:pt x="2135048" y="199530"/>
                  </a:lnTo>
                  <a:lnTo>
                    <a:pt x="2135048" y="197447"/>
                  </a:lnTo>
                  <a:lnTo>
                    <a:pt x="2135150" y="198831"/>
                  </a:lnTo>
                  <a:lnTo>
                    <a:pt x="2135150" y="195415"/>
                  </a:lnTo>
                  <a:lnTo>
                    <a:pt x="2135150" y="196113"/>
                  </a:lnTo>
                  <a:lnTo>
                    <a:pt x="2135188" y="196799"/>
                  </a:lnTo>
                  <a:lnTo>
                    <a:pt x="2135188" y="197447"/>
                  </a:lnTo>
                  <a:lnTo>
                    <a:pt x="2135188" y="195415"/>
                  </a:lnTo>
                  <a:lnTo>
                    <a:pt x="2135188" y="197447"/>
                  </a:lnTo>
                  <a:lnTo>
                    <a:pt x="2135239" y="198831"/>
                  </a:lnTo>
                  <a:lnTo>
                    <a:pt x="2135239" y="199530"/>
                  </a:lnTo>
                  <a:lnTo>
                    <a:pt x="2135239" y="196799"/>
                  </a:lnTo>
                  <a:lnTo>
                    <a:pt x="2135239" y="199530"/>
                  </a:lnTo>
                  <a:lnTo>
                    <a:pt x="2135290" y="199530"/>
                  </a:lnTo>
                  <a:lnTo>
                    <a:pt x="2135290" y="197447"/>
                  </a:lnTo>
                  <a:lnTo>
                    <a:pt x="2135290" y="198831"/>
                  </a:lnTo>
                  <a:lnTo>
                    <a:pt x="2135290" y="197447"/>
                  </a:lnTo>
                  <a:lnTo>
                    <a:pt x="2135290" y="198831"/>
                  </a:lnTo>
                  <a:lnTo>
                    <a:pt x="2135290" y="197447"/>
                  </a:lnTo>
                  <a:lnTo>
                    <a:pt x="2135290" y="198831"/>
                  </a:lnTo>
                  <a:lnTo>
                    <a:pt x="2135391" y="198831"/>
                  </a:lnTo>
                  <a:lnTo>
                    <a:pt x="2135391" y="199530"/>
                  </a:lnTo>
                  <a:lnTo>
                    <a:pt x="2135391" y="198831"/>
                  </a:lnTo>
                  <a:lnTo>
                    <a:pt x="2135391" y="200228"/>
                  </a:lnTo>
                  <a:lnTo>
                    <a:pt x="2135442" y="200228"/>
                  </a:lnTo>
                  <a:lnTo>
                    <a:pt x="2135442" y="199530"/>
                  </a:lnTo>
                  <a:lnTo>
                    <a:pt x="2135442" y="200876"/>
                  </a:lnTo>
                  <a:lnTo>
                    <a:pt x="2135442" y="200228"/>
                  </a:lnTo>
                  <a:lnTo>
                    <a:pt x="2135493" y="200228"/>
                  </a:lnTo>
                  <a:lnTo>
                    <a:pt x="2135493" y="199530"/>
                  </a:lnTo>
                  <a:lnTo>
                    <a:pt x="2135493" y="200228"/>
                  </a:lnTo>
                  <a:lnTo>
                    <a:pt x="2135493" y="199530"/>
                  </a:lnTo>
                  <a:lnTo>
                    <a:pt x="2135594" y="199530"/>
                  </a:lnTo>
                  <a:lnTo>
                    <a:pt x="2135594" y="198831"/>
                  </a:lnTo>
                  <a:lnTo>
                    <a:pt x="2135594" y="199530"/>
                  </a:lnTo>
                  <a:lnTo>
                    <a:pt x="2135594" y="197447"/>
                  </a:lnTo>
                  <a:lnTo>
                    <a:pt x="2135645" y="198831"/>
                  </a:lnTo>
                  <a:lnTo>
                    <a:pt x="2135645" y="196113"/>
                  </a:lnTo>
                  <a:lnTo>
                    <a:pt x="2135645" y="196799"/>
                  </a:lnTo>
                  <a:lnTo>
                    <a:pt x="2135696" y="196799"/>
                  </a:lnTo>
                  <a:lnTo>
                    <a:pt x="2135696" y="197447"/>
                  </a:lnTo>
                  <a:lnTo>
                    <a:pt x="2135696" y="196799"/>
                  </a:lnTo>
                  <a:lnTo>
                    <a:pt x="2135696" y="197447"/>
                  </a:lnTo>
                  <a:lnTo>
                    <a:pt x="2135696" y="195415"/>
                  </a:lnTo>
                  <a:lnTo>
                    <a:pt x="2135696" y="198831"/>
                  </a:lnTo>
                  <a:lnTo>
                    <a:pt x="2135734" y="198831"/>
                  </a:lnTo>
                  <a:lnTo>
                    <a:pt x="2135734" y="196113"/>
                  </a:lnTo>
                  <a:lnTo>
                    <a:pt x="2135734" y="198831"/>
                  </a:lnTo>
                  <a:lnTo>
                    <a:pt x="2135836" y="197447"/>
                  </a:lnTo>
                  <a:lnTo>
                    <a:pt x="2135836" y="196799"/>
                  </a:lnTo>
                  <a:lnTo>
                    <a:pt x="2135836" y="197447"/>
                  </a:lnTo>
                  <a:lnTo>
                    <a:pt x="2135836" y="196799"/>
                  </a:lnTo>
                  <a:lnTo>
                    <a:pt x="2135836" y="198831"/>
                  </a:lnTo>
                  <a:lnTo>
                    <a:pt x="2135887" y="198831"/>
                  </a:lnTo>
                  <a:lnTo>
                    <a:pt x="2135887" y="197447"/>
                  </a:lnTo>
                  <a:lnTo>
                    <a:pt x="2135887" y="198831"/>
                  </a:lnTo>
                  <a:lnTo>
                    <a:pt x="2135887" y="197447"/>
                  </a:lnTo>
                  <a:lnTo>
                    <a:pt x="2135887" y="198831"/>
                  </a:lnTo>
                  <a:lnTo>
                    <a:pt x="2135887" y="197447"/>
                  </a:lnTo>
                  <a:lnTo>
                    <a:pt x="2135887" y="199530"/>
                  </a:lnTo>
                  <a:lnTo>
                    <a:pt x="2135887" y="198831"/>
                  </a:lnTo>
                  <a:lnTo>
                    <a:pt x="2135937" y="198831"/>
                  </a:lnTo>
                  <a:lnTo>
                    <a:pt x="2135937" y="199530"/>
                  </a:lnTo>
                  <a:lnTo>
                    <a:pt x="2135937" y="198831"/>
                  </a:lnTo>
                  <a:lnTo>
                    <a:pt x="2136039" y="198831"/>
                  </a:lnTo>
                  <a:lnTo>
                    <a:pt x="2136039" y="199530"/>
                  </a:lnTo>
                  <a:lnTo>
                    <a:pt x="2136039" y="197447"/>
                  </a:lnTo>
                  <a:lnTo>
                    <a:pt x="2136039" y="198831"/>
                  </a:lnTo>
                  <a:lnTo>
                    <a:pt x="2136090" y="198831"/>
                  </a:lnTo>
                  <a:lnTo>
                    <a:pt x="2136090" y="197447"/>
                  </a:lnTo>
                  <a:lnTo>
                    <a:pt x="2136090" y="198831"/>
                  </a:lnTo>
                  <a:lnTo>
                    <a:pt x="2136090" y="197447"/>
                  </a:lnTo>
                  <a:lnTo>
                    <a:pt x="2136090" y="198831"/>
                  </a:lnTo>
                  <a:lnTo>
                    <a:pt x="2136090" y="196799"/>
                  </a:lnTo>
                  <a:lnTo>
                    <a:pt x="2136140" y="196799"/>
                  </a:lnTo>
                  <a:lnTo>
                    <a:pt x="2136140" y="195415"/>
                  </a:lnTo>
                  <a:lnTo>
                    <a:pt x="2136191" y="194716"/>
                  </a:lnTo>
                  <a:lnTo>
                    <a:pt x="2136191" y="193383"/>
                  </a:lnTo>
                  <a:lnTo>
                    <a:pt x="2136191" y="195415"/>
                  </a:lnTo>
                  <a:lnTo>
                    <a:pt x="2136191" y="194716"/>
                  </a:lnTo>
                  <a:lnTo>
                    <a:pt x="2136280" y="193383"/>
                  </a:lnTo>
                  <a:lnTo>
                    <a:pt x="2136280" y="196113"/>
                  </a:lnTo>
                  <a:lnTo>
                    <a:pt x="2136280" y="195415"/>
                  </a:lnTo>
                  <a:lnTo>
                    <a:pt x="2136331" y="195415"/>
                  </a:lnTo>
                  <a:lnTo>
                    <a:pt x="2136331" y="196799"/>
                  </a:lnTo>
                  <a:lnTo>
                    <a:pt x="2136331" y="196113"/>
                  </a:lnTo>
                  <a:lnTo>
                    <a:pt x="2136331" y="196799"/>
                  </a:lnTo>
                  <a:lnTo>
                    <a:pt x="2136331" y="196113"/>
                  </a:lnTo>
                  <a:lnTo>
                    <a:pt x="2136331" y="196799"/>
                  </a:lnTo>
                  <a:lnTo>
                    <a:pt x="2136331" y="196113"/>
                  </a:lnTo>
                  <a:lnTo>
                    <a:pt x="2136382" y="196113"/>
                  </a:lnTo>
                  <a:lnTo>
                    <a:pt x="2136382" y="197447"/>
                  </a:lnTo>
                  <a:lnTo>
                    <a:pt x="2136382" y="196799"/>
                  </a:lnTo>
                  <a:lnTo>
                    <a:pt x="2136382" y="197447"/>
                  </a:lnTo>
                  <a:lnTo>
                    <a:pt x="2136382" y="196799"/>
                  </a:lnTo>
                  <a:lnTo>
                    <a:pt x="2136433" y="196799"/>
                  </a:lnTo>
                  <a:lnTo>
                    <a:pt x="2136433" y="197447"/>
                  </a:lnTo>
                  <a:lnTo>
                    <a:pt x="2136433" y="196799"/>
                  </a:lnTo>
                  <a:lnTo>
                    <a:pt x="2136433" y="198831"/>
                  </a:lnTo>
                  <a:lnTo>
                    <a:pt x="2136534" y="198831"/>
                  </a:lnTo>
                  <a:lnTo>
                    <a:pt x="2136534" y="199530"/>
                  </a:lnTo>
                  <a:lnTo>
                    <a:pt x="2136534" y="198831"/>
                  </a:lnTo>
                  <a:lnTo>
                    <a:pt x="2136534" y="199530"/>
                  </a:lnTo>
                  <a:lnTo>
                    <a:pt x="2136585" y="199530"/>
                  </a:lnTo>
                  <a:lnTo>
                    <a:pt x="2136585" y="197447"/>
                  </a:lnTo>
                  <a:lnTo>
                    <a:pt x="2136636" y="197447"/>
                  </a:lnTo>
                  <a:lnTo>
                    <a:pt x="2136636" y="195415"/>
                  </a:lnTo>
                  <a:lnTo>
                    <a:pt x="2136737" y="194716"/>
                  </a:lnTo>
                  <a:lnTo>
                    <a:pt x="2136737" y="196799"/>
                  </a:lnTo>
                  <a:lnTo>
                    <a:pt x="2136737" y="194716"/>
                  </a:lnTo>
                  <a:lnTo>
                    <a:pt x="2136775" y="194716"/>
                  </a:lnTo>
                  <a:lnTo>
                    <a:pt x="2136775" y="197447"/>
                  </a:lnTo>
                  <a:lnTo>
                    <a:pt x="2136775" y="196799"/>
                  </a:lnTo>
                  <a:lnTo>
                    <a:pt x="2136775" y="197447"/>
                  </a:lnTo>
                  <a:lnTo>
                    <a:pt x="2136775" y="195415"/>
                  </a:lnTo>
                  <a:lnTo>
                    <a:pt x="2136826" y="196113"/>
                  </a:lnTo>
                  <a:lnTo>
                    <a:pt x="2136826" y="196799"/>
                  </a:lnTo>
                  <a:lnTo>
                    <a:pt x="2136826" y="196113"/>
                  </a:lnTo>
                  <a:lnTo>
                    <a:pt x="2136826" y="196799"/>
                  </a:lnTo>
                  <a:lnTo>
                    <a:pt x="2136877" y="196799"/>
                  </a:lnTo>
                  <a:lnTo>
                    <a:pt x="2136877" y="196113"/>
                  </a:lnTo>
                  <a:lnTo>
                    <a:pt x="2136877" y="196799"/>
                  </a:lnTo>
                  <a:lnTo>
                    <a:pt x="2136979" y="196799"/>
                  </a:lnTo>
                  <a:lnTo>
                    <a:pt x="2136979" y="197447"/>
                  </a:lnTo>
                  <a:lnTo>
                    <a:pt x="2136979" y="196799"/>
                  </a:lnTo>
                  <a:lnTo>
                    <a:pt x="2137030" y="197447"/>
                  </a:lnTo>
                  <a:lnTo>
                    <a:pt x="2137030" y="198831"/>
                  </a:lnTo>
                  <a:lnTo>
                    <a:pt x="2137030" y="197447"/>
                  </a:lnTo>
                  <a:lnTo>
                    <a:pt x="2137030" y="198831"/>
                  </a:lnTo>
                  <a:lnTo>
                    <a:pt x="2137030" y="197447"/>
                  </a:lnTo>
                  <a:lnTo>
                    <a:pt x="2137080" y="197447"/>
                  </a:lnTo>
                  <a:lnTo>
                    <a:pt x="2137080" y="198831"/>
                  </a:lnTo>
                  <a:lnTo>
                    <a:pt x="2137080" y="197447"/>
                  </a:lnTo>
                  <a:lnTo>
                    <a:pt x="2137080" y="198831"/>
                  </a:lnTo>
                  <a:lnTo>
                    <a:pt x="2137080" y="196799"/>
                  </a:lnTo>
                  <a:lnTo>
                    <a:pt x="2137182" y="196799"/>
                  </a:lnTo>
                  <a:lnTo>
                    <a:pt x="2137182" y="194716"/>
                  </a:lnTo>
                  <a:lnTo>
                    <a:pt x="2137233" y="194716"/>
                  </a:lnTo>
                  <a:lnTo>
                    <a:pt x="2137233" y="196799"/>
                  </a:lnTo>
                  <a:lnTo>
                    <a:pt x="2137233" y="196113"/>
                  </a:lnTo>
                  <a:lnTo>
                    <a:pt x="2137233" y="196799"/>
                  </a:lnTo>
                  <a:lnTo>
                    <a:pt x="2137233" y="195415"/>
                  </a:lnTo>
                  <a:lnTo>
                    <a:pt x="2137233" y="196113"/>
                  </a:lnTo>
                  <a:lnTo>
                    <a:pt x="2137284" y="196113"/>
                  </a:lnTo>
                  <a:lnTo>
                    <a:pt x="2137284" y="197447"/>
                  </a:lnTo>
                  <a:lnTo>
                    <a:pt x="2137284" y="196799"/>
                  </a:lnTo>
                  <a:lnTo>
                    <a:pt x="2137284" y="197447"/>
                  </a:lnTo>
                  <a:lnTo>
                    <a:pt x="2137284" y="196113"/>
                  </a:lnTo>
                  <a:lnTo>
                    <a:pt x="2137284" y="196799"/>
                  </a:lnTo>
                  <a:lnTo>
                    <a:pt x="2137322" y="196799"/>
                  </a:lnTo>
                  <a:lnTo>
                    <a:pt x="2137322" y="198831"/>
                  </a:lnTo>
                  <a:lnTo>
                    <a:pt x="2137322" y="196799"/>
                  </a:lnTo>
                  <a:lnTo>
                    <a:pt x="2137322" y="197447"/>
                  </a:lnTo>
                  <a:lnTo>
                    <a:pt x="2137423" y="197447"/>
                  </a:lnTo>
                  <a:lnTo>
                    <a:pt x="2137423" y="196799"/>
                  </a:lnTo>
                  <a:lnTo>
                    <a:pt x="2137423" y="197447"/>
                  </a:lnTo>
                  <a:lnTo>
                    <a:pt x="2137474" y="197447"/>
                  </a:lnTo>
                  <a:lnTo>
                    <a:pt x="2137474" y="198831"/>
                  </a:lnTo>
                  <a:lnTo>
                    <a:pt x="2137474" y="197447"/>
                  </a:lnTo>
                  <a:lnTo>
                    <a:pt x="2137474" y="198831"/>
                  </a:lnTo>
                  <a:lnTo>
                    <a:pt x="2137474" y="197447"/>
                  </a:lnTo>
                  <a:lnTo>
                    <a:pt x="2137474" y="198831"/>
                  </a:lnTo>
                  <a:lnTo>
                    <a:pt x="2137525" y="198831"/>
                  </a:lnTo>
                  <a:lnTo>
                    <a:pt x="2137525" y="197447"/>
                  </a:lnTo>
                  <a:lnTo>
                    <a:pt x="2137525" y="198831"/>
                  </a:lnTo>
                  <a:lnTo>
                    <a:pt x="2137525" y="197447"/>
                  </a:lnTo>
                  <a:lnTo>
                    <a:pt x="2137525" y="198831"/>
                  </a:lnTo>
                  <a:lnTo>
                    <a:pt x="2137626" y="198831"/>
                  </a:lnTo>
                  <a:lnTo>
                    <a:pt x="2137626" y="197447"/>
                  </a:lnTo>
                  <a:lnTo>
                    <a:pt x="2137626" y="198831"/>
                  </a:lnTo>
                  <a:lnTo>
                    <a:pt x="2137626" y="196799"/>
                  </a:lnTo>
                  <a:lnTo>
                    <a:pt x="2137677" y="196799"/>
                  </a:lnTo>
                  <a:lnTo>
                    <a:pt x="2137677" y="196113"/>
                  </a:lnTo>
                  <a:lnTo>
                    <a:pt x="2137677" y="196799"/>
                  </a:lnTo>
                  <a:lnTo>
                    <a:pt x="2137677" y="194716"/>
                  </a:lnTo>
                  <a:lnTo>
                    <a:pt x="2137728" y="194716"/>
                  </a:lnTo>
                  <a:lnTo>
                    <a:pt x="2137728" y="196113"/>
                  </a:lnTo>
                  <a:lnTo>
                    <a:pt x="2137728" y="194716"/>
                  </a:lnTo>
                  <a:lnTo>
                    <a:pt x="2137728" y="195415"/>
                  </a:lnTo>
                  <a:lnTo>
                    <a:pt x="2137779" y="195415"/>
                  </a:lnTo>
                  <a:lnTo>
                    <a:pt x="2137779" y="197447"/>
                  </a:lnTo>
                  <a:lnTo>
                    <a:pt x="2137779" y="196113"/>
                  </a:lnTo>
                  <a:lnTo>
                    <a:pt x="2137779" y="196799"/>
                  </a:lnTo>
                  <a:lnTo>
                    <a:pt x="2137779" y="196113"/>
                  </a:lnTo>
                  <a:lnTo>
                    <a:pt x="2137779" y="196799"/>
                  </a:lnTo>
                  <a:lnTo>
                    <a:pt x="2137868" y="196799"/>
                  </a:lnTo>
                  <a:lnTo>
                    <a:pt x="2137868" y="197447"/>
                  </a:lnTo>
                  <a:lnTo>
                    <a:pt x="2137868" y="196799"/>
                  </a:lnTo>
                  <a:lnTo>
                    <a:pt x="2137868" y="197447"/>
                  </a:lnTo>
                  <a:lnTo>
                    <a:pt x="2137868" y="196799"/>
                  </a:lnTo>
                  <a:lnTo>
                    <a:pt x="2137868" y="197447"/>
                  </a:lnTo>
                  <a:lnTo>
                    <a:pt x="2137919" y="197447"/>
                  </a:lnTo>
                  <a:lnTo>
                    <a:pt x="2137919" y="196799"/>
                  </a:lnTo>
                  <a:lnTo>
                    <a:pt x="2137919" y="197447"/>
                  </a:lnTo>
                  <a:lnTo>
                    <a:pt x="2137919" y="196799"/>
                  </a:lnTo>
                  <a:lnTo>
                    <a:pt x="2137919" y="197447"/>
                  </a:lnTo>
                  <a:lnTo>
                    <a:pt x="2137969" y="197447"/>
                  </a:lnTo>
                  <a:lnTo>
                    <a:pt x="2137969" y="198831"/>
                  </a:lnTo>
                  <a:lnTo>
                    <a:pt x="2137969" y="197447"/>
                  </a:lnTo>
                  <a:lnTo>
                    <a:pt x="2137969" y="198831"/>
                  </a:lnTo>
                  <a:lnTo>
                    <a:pt x="2137969" y="197447"/>
                  </a:lnTo>
                  <a:lnTo>
                    <a:pt x="2137969" y="198831"/>
                  </a:lnTo>
                  <a:lnTo>
                    <a:pt x="2138020" y="197447"/>
                  </a:lnTo>
                  <a:lnTo>
                    <a:pt x="2138020" y="198831"/>
                  </a:lnTo>
                  <a:lnTo>
                    <a:pt x="2138020" y="197447"/>
                  </a:lnTo>
                  <a:lnTo>
                    <a:pt x="2138020" y="198831"/>
                  </a:lnTo>
                  <a:lnTo>
                    <a:pt x="2138020" y="197447"/>
                  </a:lnTo>
                  <a:lnTo>
                    <a:pt x="2138020" y="198831"/>
                  </a:lnTo>
                  <a:lnTo>
                    <a:pt x="2138020" y="197447"/>
                  </a:lnTo>
                  <a:lnTo>
                    <a:pt x="2138122" y="197447"/>
                  </a:lnTo>
                  <a:lnTo>
                    <a:pt x="2138122" y="196113"/>
                  </a:lnTo>
                  <a:lnTo>
                    <a:pt x="2138122" y="196799"/>
                  </a:lnTo>
                  <a:lnTo>
                    <a:pt x="2138172" y="196113"/>
                  </a:lnTo>
                  <a:lnTo>
                    <a:pt x="2138172" y="195415"/>
                  </a:lnTo>
                  <a:lnTo>
                    <a:pt x="2138172" y="196113"/>
                  </a:lnTo>
                  <a:lnTo>
                    <a:pt x="2138223" y="196113"/>
                  </a:lnTo>
                  <a:lnTo>
                    <a:pt x="2138223" y="196799"/>
                  </a:lnTo>
                  <a:lnTo>
                    <a:pt x="2138223" y="196113"/>
                  </a:lnTo>
                  <a:lnTo>
                    <a:pt x="2138223" y="197447"/>
                  </a:lnTo>
                  <a:lnTo>
                    <a:pt x="2138325" y="198831"/>
                  </a:lnTo>
                  <a:lnTo>
                    <a:pt x="2138325" y="197447"/>
                  </a:lnTo>
                  <a:lnTo>
                    <a:pt x="2138325" y="198831"/>
                  </a:lnTo>
                  <a:lnTo>
                    <a:pt x="2138363" y="198831"/>
                  </a:lnTo>
                  <a:lnTo>
                    <a:pt x="2138363" y="197447"/>
                  </a:lnTo>
                  <a:lnTo>
                    <a:pt x="2138363" y="198831"/>
                  </a:lnTo>
                  <a:lnTo>
                    <a:pt x="2138363" y="197447"/>
                  </a:lnTo>
                  <a:lnTo>
                    <a:pt x="2138414" y="197447"/>
                  </a:lnTo>
                  <a:lnTo>
                    <a:pt x="2138414" y="198831"/>
                  </a:lnTo>
                  <a:lnTo>
                    <a:pt x="2138414" y="197447"/>
                  </a:lnTo>
                  <a:lnTo>
                    <a:pt x="2138414" y="198831"/>
                  </a:lnTo>
                  <a:lnTo>
                    <a:pt x="2138414" y="197447"/>
                  </a:lnTo>
                  <a:lnTo>
                    <a:pt x="2138465" y="197447"/>
                  </a:lnTo>
                  <a:lnTo>
                    <a:pt x="2138465" y="199530"/>
                  </a:lnTo>
                  <a:lnTo>
                    <a:pt x="2138465" y="198831"/>
                  </a:lnTo>
                  <a:lnTo>
                    <a:pt x="2138465" y="199530"/>
                  </a:lnTo>
                  <a:lnTo>
                    <a:pt x="2138465" y="198831"/>
                  </a:lnTo>
                  <a:lnTo>
                    <a:pt x="2138465" y="199530"/>
                  </a:lnTo>
                  <a:lnTo>
                    <a:pt x="2138465" y="198831"/>
                  </a:lnTo>
                  <a:lnTo>
                    <a:pt x="2138465" y="199530"/>
                  </a:lnTo>
                  <a:lnTo>
                    <a:pt x="2138566" y="199530"/>
                  </a:lnTo>
                  <a:lnTo>
                    <a:pt x="2138566" y="198831"/>
                  </a:lnTo>
                  <a:lnTo>
                    <a:pt x="2138566" y="199530"/>
                  </a:lnTo>
                  <a:lnTo>
                    <a:pt x="2138566" y="198831"/>
                  </a:lnTo>
                  <a:lnTo>
                    <a:pt x="2138617" y="198831"/>
                  </a:lnTo>
                  <a:lnTo>
                    <a:pt x="2138617" y="196799"/>
                  </a:lnTo>
                  <a:lnTo>
                    <a:pt x="2138668" y="196799"/>
                  </a:lnTo>
                  <a:lnTo>
                    <a:pt x="2138668" y="196113"/>
                  </a:lnTo>
                  <a:lnTo>
                    <a:pt x="2138668" y="196799"/>
                  </a:lnTo>
                  <a:lnTo>
                    <a:pt x="2138769" y="196799"/>
                  </a:lnTo>
                  <a:lnTo>
                    <a:pt x="2138769" y="196113"/>
                  </a:lnTo>
                  <a:lnTo>
                    <a:pt x="2138769" y="198831"/>
                  </a:lnTo>
                  <a:lnTo>
                    <a:pt x="2138820" y="197447"/>
                  </a:lnTo>
                  <a:lnTo>
                    <a:pt x="2138820" y="199530"/>
                  </a:lnTo>
                  <a:lnTo>
                    <a:pt x="2138820" y="198831"/>
                  </a:lnTo>
                  <a:lnTo>
                    <a:pt x="2138820" y="199530"/>
                  </a:lnTo>
                  <a:lnTo>
                    <a:pt x="2138820" y="198831"/>
                  </a:lnTo>
                  <a:lnTo>
                    <a:pt x="2138871" y="198831"/>
                  </a:lnTo>
                  <a:lnTo>
                    <a:pt x="2138871" y="197447"/>
                  </a:lnTo>
                  <a:lnTo>
                    <a:pt x="2138871" y="198831"/>
                  </a:lnTo>
                  <a:lnTo>
                    <a:pt x="2138871" y="197447"/>
                  </a:lnTo>
                  <a:lnTo>
                    <a:pt x="2138871" y="198831"/>
                  </a:lnTo>
                  <a:lnTo>
                    <a:pt x="2138909" y="198831"/>
                  </a:lnTo>
                  <a:lnTo>
                    <a:pt x="2138909" y="197447"/>
                  </a:lnTo>
                  <a:lnTo>
                    <a:pt x="2138909" y="199530"/>
                  </a:lnTo>
                  <a:lnTo>
                    <a:pt x="2139011" y="198831"/>
                  </a:lnTo>
                  <a:lnTo>
                    <a:pt x="2139011" y="199530"/>
                  </a:lnTo>
                  <a:lnTo>
                    <a:pt x="2139011" y="198831"/>
                  </a:lnTo>
                  <a:lnTo>
                    <a:pt x="2139011" y="199530"/>
                  </a:lnTo>
                  <a:lnTo>
                    <a:pt x="2139011" y="198831"/>
                  </a:lnTo>
                  <a:lnTo>
                    <a:pt x="2139011" y="199530"/>
                  </a:lnTo>
                  <a:lnTo>
                    <a:pt x="2139062" y="199530"/>
                  </a:lnTo>
                  <a:lnTo>
                    <a:pt x="2139062" y="197447"/>
                  </a:lnTo>
                  <a:lnTo>
                    <a:pt x="2139112" y="198831"/>
                  </a:lnTo>
                  <a:lnTo>
                    <a:pt x="2139112" y="196113"/>
                  </a:lnTo>
                  <a:lnTo>
                    <a:pt x="2139112" y="196799"/>
                  </a:lnTo>
                  <a:lnTo>
                    <a:pt x="2139112" y="196113"/>
                  </a:lnTo>
                  <a:lnTo>
                    <a:pt x="2139112" y="197447"/>
                  </a:lnTo>
                  <a:lnTo>
                    <a:pt x="2139214" y="198831"/>
                  </a:lnTo>
                  <a:lnTo>
                    <a:pt x="2139214" y="196799"/>
                  </a:lnTo>
                  <a:lnTo>
                    <a:pt x="2139214" y="200228"/>
                  </a:lnTo>
                  <a:lnTo>
                    <a:pt x="2139265" y="200228"/>
                  </a:lnTo>
                  <a:lnTo>
                    <a:pt x="2139265" y="199530"/>
                  </a:lnTo>
                  <a:lnTo>
                    <a:pt x="2139265" y="200228"/>
                  </a:lnTo>
                  <a:lnTo>
                    <a:pt x="2139265" y="198831"/>
                  </a:lnTo>
                  <a:lnTo>
                    <a:pt x="2139265" y="199530"/>
                  </a:lnTo>
                  <a:lnTo>
                    <a:pt x="2139265" y="198831"/>
                  </a:lnTo>
                  <a:lnTo>
                    <a:pt x="2139265" y="200876"/>
                  </a:lnTo>
                  <a:lnTo>
                    <a:pt x="2139315" y="200228"/>
                  </a:lnTo>
                  <a:lnTo>
                    <a:pt x="2139315" y="200876"/>
                  </a:lnTo>
                  <a:lnTo>
                    <a:pt x="2139366" y="200876"/>
                  </a:lnTo>
                  <a:lnTo>
                    <a:pt x="2139366" y="199530"/>
                  </a:lnTo>
                  <a:lnTo>
                    <a:pt x="2139366" y="200876"/>
                  </a:lnTo>
                  <a:lnTo>
                    <a:pt x="2139366" y="200228"/>
                  </a:lnTo>
                  <a:lnTo>
                    <a:pt x="2139455" y="199530"/>
                  </a:lnTo>
                  <a:lnTo>
                    <a:pt x="2139455" y="200876"/>
                  </a:lnTo>
                  <a:lnTo>
                    <a:pt x="2139455" y="200228"/>
                  </a:lnTo>
                  <a:lnTo>
                    <a:pt x="2139455" y="200876"/>
                  </a:lnTo>
                  <a:lnTo>
                    <a:pt x="2139455" y="200228"/>
                  </a:lnTo>
                  <a:lnTo>
                    <a:pt x="2139506" y="200228"/>
                  </a:lnTo>
                  <a:lnTo>
                    <a:pt x="2139506" y="199530"/>
                  </a:lnTo>
                  <a:lnTo>
                    <a:pt x="2139506" y="200876"/>
                  </a:lnTo>
                  <a:lnTo>
                    <a:pt x="2139506" y="200228"/>
                  </a:lnTo>
                  <a:lnTo>
                    <a:pt x="2139506" y="200876"/>
                  </a:lnTo>
                  <a:lnTo>
                    <a:pt x="2139506" y="199530"/>
                  </a:lnTo>
                  <a:lnTo>
                    <a:pt x="2139557" y="199530"/>
                  </a:lnTo>
                  <a:lnTo>
                    <a:pt x="2139557" y="197447"/>
                  </a:lnTo>
                  <a:lnTo>
                    <a:pt x="2139557" y="198831"/>
                  </a:lnTo>
                  <a:lnTo>
                    <a:pt x="2139557" y="197447"/>
                  </a:lnTo>
                  <a:lnTo>
                    <a:pt x="2139608" y="197447"/>
                  </a:lnTo>
                  <a:lnTo>
                    <a:pt x="2139608" y="196799"/>
                  </a:lnTo>
                  <a:lnTo>
                    <a:pt x="2139608" y="197447"/>
                  </a:lnTo>
                  <a:lnTo>
                    <a:pt x="2139608" y="196799"/>
                  </a:lnTo>
                  <a:lnTo>
                    <a:pt x="2139608" y="197447"/>
                  </a:lnTo>
                  <a:lnTo>
                    <a:pt x="2139608" y="196113"/>
                  </a:lnTo>
                  <a:lnTo>
                    <a:pt x="2139608" y="198831"/>
                  </a:lnTo>
                  <a:lnTo>
                    <a:pt x="2139709" y="198831"/>
                  </a:lnTo>
                  <a:lnTo>
                    <a:pt x="2139709" y="196799"/>
                  </a:lnTo>
                  <a:lnTo>
                    <a:pt x="2139709" y="200228"/>
                  </a:lnTo>
                  <a:lnTo>
                    <a:pt x="2139709" y="199530"/>
                  </a:lnTo>
                  <a:lnTo>
                    <a:pt x="2139760" y="199530"/>
                  </a:lnTo>
                  <a:lnTo>
                    <a:pt x="2139760" y="198831"/>
                  </a:lnTo>
                  <a:lnTo>
                    <a:pt x="2139760" y="200228"/>
                  </a:lnTo>
                  <a:lnTo>
                    <a:pt x="2139760" y="199530"/>
                  </a:lnTo>
                  <a:lnTo>
                    <a:pt x="2139811" y="200228"/>
                  </a:lnTo>
                  <a:lnTo>
                    <a:pt x="2139811" y="199530"/>
                  </a:lnTo>
                  <a:lnTo>
                    <a:pt x="2139811" y="200228"/>
                  </a:lnTo>
                  <a:lnTo>
                    <a:pt x="2139912" y="200228"/>
                  </a:lnTo>
                  <a:lnTo>
                    <a:pt x="2139912" y="200876"/>
                  </a:lnTo>
                  <a:lnTo>
                    <a:pt x="2139912" y="200228"/>
                  </a:lnTo>
                  <a:lnTo>
                    <a:pt x="2139950" y="200228"/>
                  </a:lnTo>
                  <a:lnTo>
                    <a:pt x="2139950" y="200876"/>
                  </a:lnTo>
                  <a:lnTo>
                    <a:pt x="2139950" y="200228"/>
                  </a:lnTo>
                  <a:lnTo>
                    <a:pt x="2139950" y="200876"/>
                  </a:lnTo>
                  <a:lnTo>
                    <a:pt x="2139950" y="200228"/>
                  </a:lnTo>
                  <a:lnTo>
                    <a:pt x="2139950" y="200876"/>
                  </a:lnTo>
                  <a:lnTo>
                    <a:pt x="2140001" y="200228"/>
                  </a:lnTo>
                  <a:lnTo>
                    <a:pt x="2140001" y="200876"/>
                  </a:lnTo>
                  <a:lnTo>
                    <a:pt x="2140001" y="199530"/>
                  </a:lnTo>
                  <a:lnTo>
                    <a:pt x="2140052" y="198831"/>
                  </a:lnTo>
                  <a:lnTo>
                    <a:pt x="2140052" y="196799"/>
                  </a:lnTo>
                  <a:lnTo>
                    <a:pt x="2140154" y="196799"/>
                  </a:lnTo>
                  <a:lnTo>
                    <a:pt x="2140154" y="196113"/>
                  </a:lnTo>
                  <a:lnTo>
                    <a:pt x="2140154" y="198831"/>
                  </a:lnTo>
                  <a:lnTo>
                    <a:pt x="2140154" y="196799"/>
                  </a:lnTo>
                  <a:lnTo>
                    <a:pt x="2140205" y="196799"/>
                  </a:lnTo>
                  <a:lnTo>
                    <a:pt x="2140205" y="199530"/>
                  </a:lnTo>
                  <a:lnTo>
                    <a:pt x="2140205" y="198831"/>
                  </a:lnTo>
                  <a:lnTo>
                    <a:pt x="2140255" y="198831"/>
                  </a:lnTo>
                  <a:lnTo>
                    <a:pt x="2140255" y="199530"/>
                  </a:lnTo>
                  <a:lnTo>
                    <a:pt x="2140255" y="198831"/>
                  </a:lnTo>
                  <a:lnTo>
                    <a:pt x="2140255" y="199530"/>
                  </a:lnTo>
                  <a:lnTo>
                    <a:pt x="2140255" y="198831"/>
                  </a:lnTo>
                  <a:lnTo>
                    <a:pt x="2140357" y="198831"/>
                  </a:lnTo>
                  <a:lnTo>
                    <a:pt x="2140357" y="199530"/>
                  </a:lnTo>
                  <a:lnTo>
                    <a:pt x="2140357" y="198831"/>
                  </a:lnTo>
                  <a:lnTo>
                    <a:pt x="2140357" y="199530"/>
                  </a:lnTo>
                  <a:lnTo>
                    <a:pt x="2140408" y="199530"/>
                  </a:lnTo>
                  <a:lnTo>
                    <a:pt x="2140408" y="200228"/>
                  </a:lnTo>
                  <a:lnTo>
                    <a:pt x="2140408" y="199530"/>
                  </a:lnTo>
                  <a:lnTo>
                    <a:pt x="2140459" y="200228"/>
                  </a:lnTo>
                  <a:lnTo>
                    <a:pt x="2140459" y="199530"/>
                  </a:lnTo>
                  <a:lnTo>
                    <a:pt x="2140459" y="200228"/>
                  </a:lnTo>
                  <a:lnTo>
                    <a:pt x="2140497" y="200228"/>
                  </a:lnTo>
                  <a:lnTo>
                    <a:pt x="2140497" y="199530"/>
                  </a:lnTo>
                  <a:lnTo>
                    <a:pt x="2140497" y="200228"/>
                  </a:lnTo>
                  <a:lnTo>
                    <a:pt x="2140497" y="198831"/>
                  </a:lnTo>
                  <a:lnTo>
                    <a:pt x="2140598" y="199530"/>
                  </a:lnTo>
                  <a:lnTo>
                    <a:pt x="2140598" y="196799"/>
                  </a:lnTo>
                  <a:lnTo>
                    <a:pt x="2140649" y="196799"/>
                  </a:lnTo>
                  <a:lnTo>
                    <a:pt x="2140649" y="196113"/>
                  </a:lnTo>
                  <a:lnTo>
                    <a:pt x="2140649" y="197447"/>
                  </a:lnTo>
                  <a:lnTo>
                    <a:pt x="2140649" y="196113"/>
                  </a:lnTo>
                  <a:lnTo>
                    <a:pt x="2140700" y="196113"/>
                  </a:lnTo>
                  <a:lnTo>
                    <a:pt x="2140700" y="199530"/>
                  </a:lnTo>
                  <a:lnTo>
                    <a:pt x="2140700" y="197447"/>
                  </a:lnTo>
                  <a:lnTo>
                    <a:pt x="2140700" y="198831"/>
                  </a:lnTo>
                  <a:lnTo>
                    <a:pt x="2140700" y="197447"/>
                  </a:lnTo>
                  <a:lnTo>
                    <a:pt x="2140801" y="197447"/>
                  </a:lnTo>
                  <a:lnTo>
                    <a:pt x="2140801" y="199530"/>
                  </a:lnTo>
                  <a:lnTo>
                    <a:pt x="2140801" y="198831"/>
                  </a:lnTo>
                  <a:lnTo>
                    <a:pt x="2140852" y="198831"/>
                  </a:lnTo>
                  <a:lnTo>
                    <a:pt x="2140852" y="199530"/>
                  </a:lnTo>
                  <a:lnTo>
                    <a:pt x="2140852" y="198831"/>
                  </a:lnTo>
                  <a:lnTo>
                    <a:pt x="2140852" y="199530"/>
                  </a:lnTo>
                  <a:lnTo>
                    <a:pt x="2140852" y="198831"/>
                  </a:lnTo>
                  <a:lnTo>
                    <a:pt x="2140852" y="199530"/>
                  </a:lnTo>
                  <a:lnTo>
                    <a:pt x="2140903" y="199530"/>
                  </a:lnTo>
                  <a:lnTo>
                    <a:pt x="2140903" y="198831"/>
                  </a:lnTo>
                  <a:lnTo>
                    <a:pt x="2140903" y="200228"/>
                  </a:lnTo>
                  <a:lnTo>
                    <a:pt x="2140903" y="199530"/>
                  </a:lnTo>
                  <a:lnTo>
                    <a:pt x="2140903" y="200228"/>
                  </a:lnTo>
                  <a:lnTo>
                    <a:pt x="2140903" y="199530"/>
                  </a:lnTo>
                  <a:lnTo>
                    <a:pt x="2140954" y="200228"/>
                  </a:lnTo>
                  <a:lnTo>
                    <a:pt x="2140954" y="199530"/>
                  </a:lnTo>
                  <a:lnTo>
                    <a:pt x="2140954" y="200228"/>
                  </a:lnTo>
                  <a:lnTo>
                    <a:pt x="2140954" y="199530"/>
                  </a:lnTo>
                  <a:lnTo>
                    <a:pt x="2140954" y="200228"/>
                  </a:lnTo>
                  <a:lnTo>
                    <a:pt x="2141043" y="199530"/>
                  </a:lnTo>
                  <a:lnTo>
                    <a:pt x="2141043" y="200228"/>
                  </a:lnTo>
                  <a:lnTo>
                    <a:pt x="2141043" y="199530"/>
                  </a:lnTo>
                  <a:lnTo>
                    <a:pt x="2141043" y="200228"/>
                  </a:lnTo>
                  <a:lnTo>
                    <a:pt x="2141043" y="198831"/>
                  </a:lnTo>
                  <a:lnTo>
                    <a:pt x="2141094" y="198831"/>
                  </a:lnTo>
                  <a:lnTo>
                    <a:pt x="2141094" y="196799"/>
                  </a:lnTo>
                  <a:lnTo>
                    <a:pt x="2141094" y="197447"/>
                  </a:lnTo>
                  <a:lnTo>
                    <a:pt x="2141094" y="196799"/>
                  </a:lnTo>
                  <a:lnTo>
                    <a:pt x="2141094" y="197447"/>
                  </a:lnTo>
                  <a:lnTo>
                    <a:pt x="2141094" y="196799"/>
                  </a:lnTo>
                  <a:lnTo>
                    <a:pt x="2141094" y="197447"/>
                  </a:lnTo>
                  <a:lnTo>
                    <a:pt x="2141094" y="196799"/>
                  </a:lnTo>
                  <a:lnTo>
                    <a:pt x="2141094" y="197447"/>
                  </a:lnTo>
                  <a:lnTo>
                    <a:pt x="2141094" y="196113"/>
                  </a:lnTo>
                  <a:lnTo>
                    <a:pt x="2141144" y="196113"/>
                  </a:lnTo>
                  <a:lnTo>
                    <a:pt x="2141144" y="195415"/>
                  </a:lnTo>
                  <a:lnTo>
                    <a:pt x="2141144" y="196113"/>
                  </a:lnTo>
                  <a:lnTo>
                    <a:pt x="2141144" y="194716"/>
                  </a:lnTo>
                  <a:lnTo>
                    <a:pt x="2141144" y="196799"/>
                  </a:lnTo>
                  <a:lnTo>
                    <a:pt x="2141195" y="196113"/>
                  </a:lnTo>
                  <a:lnTo>
                    <a:pt x="2141195" y="195415"/>
                  </a:lnTo>
                  <a:lnTo>
                    <a:pt x="2141195" y="197447"/>
                  </a:lnTo>
                  <a:lnTo>
                    <a:pt x="2141195" y="196799"/>
                  </a:lnTo>
                  <a:lnTo>
                    <a:pt x="2141297" y="196799"/>
                  </a:lnTo>
                  <a:lnTo>
                    <a:pt x="2141297" y="197447"/>
                  </a:lnTo>
                  <a:lnTo>
                    <a:pt x="2141347" y="196799"/>
                  </a:lnTo>
                  <a:lnTo>
                    <a:pt x="2141347" y="198831"/>
                  </a:lnTo>
                  <a:lnTo>
                    <a:pt x="2141347" y="197447"/>
                  </a:lnTo>
                  <a:lnTo>
                    <a:pt x="2141347" y="198831"/>
                  </a:lnTo>
                  <a:lnTo>
                    <a:pt x="2141398" y="198831"/>
                  </a:lnTo>
                  <a:lnTo>
                    <a:pt x="2141398" y="199530"/>
                  </a:lnTo>
                  <a:lnTo>
                    <a:pt x="2141398" y="198831"/>
                  </a:lnTo>
                  <a:lnTo>
                    <a:pt x="2141398" y="199530"/>
                  </a:lnTo>
                  <a:lnTo>
                    <a:pt x="2141500" y="200228"/>
                  </a:lnTo>
                  <a:lnTo>
                    <a:pt x="2141500" y="199530"/>
                  </a:lnTo>
                  <a:lnTo>
                    <a:pt x="2141500" y="200228"/>
                  </a:lnTo>
                  <a:lnTo>
                    <a:pt x="2141500" y="199530"/>
                  </a:lnTo>
                  <a:lnTo>
                    <a:pt x="2141500" y="200228"/>
                  </a:lnTo>
                  <a:lnTo>
                    <a:pt x="2141538" y="200228"/>
                  </a:lnTo>
                  <a:lnTo>
                    <a:pt x="2141538" y="198831"/>
                  </a:lnTo>
                  <a:lnTo>
                    <a:pt x="2141589" y="199530"/>
                  </a:lnTo>
                  <a:lnTo>
                    <a:pt x="2141589" y="196799"/>
                  </a:lnTo>
                  <a:lnTo>
                    <a:pt x="2141640" y="196799"/>
                  </a:lnTo>
                  <a:lnTo>
                    <a:pt x="2141640" y="196113"/>
                  </a:lnTo>
                  <a:lnTo>
                    <a:pt x="2141640" y="196799"/>
                  </a:lnTo>
                  <a:lnTo>
                    <a:pt x="2141741" y="196113"/>
                  </a:lnTo>
                  <a:lnTo>
                    <a:pt x="2141741" y="195415"/>
                  </a:lnTo>
                  <a:lnTo>
                    <a:pt x="2141741" y="197447"/>
                  </a:lnTo>
                  <a:lnTo>
                    <a:pt x="2141741" y="196799"/>
                  </a:lnTo>
                  <a:lnTo>
                    <a:pt x="2141792" y="196799"/>
                  </a:lnTo>
                  <a:lnTo>
                    <a:pt x="2141792" y="197447"/>
                  </a:lnTo>
                  <a:lnTo>
                    <a:pt x="2141792" y="196799"/>
                  </a:lnTo>
                  <a:lnTo>
                    <a:pt x="2141792" y="197447"/>
                  </a:lnTo>
                  <a:lnTo>
                    <a:pt x="2141792" y="196799"/>
                  </a:lnTo>
                  <a:lnTo>
                    <a:pt x="2141843" y="196799"/>
                  </a:lnTo>
                  <a:lnTo>
                    <a:pt x="2141843" y="197447"/>
                  </a:lnTo>
                  <a:lnTo>
                    <a:pt x="2141843" y="196799"/>
                  </a:lnTo>
                  <a:lnTo>
                    <a:pt x="2141843" y="197447"/>
                  </a:lnTo>
                  <a:lnTo>
                    <a:pt x="2141944" y="197447"/>
                  </a:lnTo>
                  <a:lnTo>
                    <a:pt x="2141944" y="198831"/>
                  </a:lnTo>
                  <a:lnTo>
                    <a:pt x="2141944" y="197447"/>
                  </a:lnTo>
                  <a:lnTo>
                    <a:pt x="2141944" y="198831"/>
                  </a:lnTo>
                  <a:lnTo>
                    <a:pt x="2141944" y="197447"/>
                  </a:lnTo>
                  <a:lnTo>
                    <a:pt x="2141944" y="198831"/>
                  </a:lnTo>
                  <a:lnTo>
                    <a:pt x="2141995" y="197447"/>
                  </a:lnTo>
                  <a:lnTo>
                    <a:pt x="2141995" y="198831"/>
                  </a:lnTo>
                  <a:lnTo>
                    <a:pt x="2141995" y="197447"/>
                  </a:lnTo>
                  <a:lnTo>
                    <a:pt x="2141995" y="198831"/>
                  </a:lnTo>
                  <a:lnTo>
                    <a:pt x="2142046" y="199530"/>
                  </a:lnTo>
                  <a:lnTo>
                    <a:pt x="2142046" y="198831"/>
                  </a:lnTo>
                  <a:lnTo>
                    <a:pt x="2142046" y="199530"/>
                  </a:lnTo>
                  <a:lnTo>
                    <a:pt x="2142046" y="197447"/>
                  </a:lnTo>
                  <a:lnTo>
                    <a:pt x="2142084" y="197447"/>
                  </a:lnTo>
                  <a:lnTo>
                    <a:pt x="2142084" y="196799"/>
                  </a:lnTo>
                  <a:lnTo>
                    <a:pt x="2142084" y="197447"/>
                  </a:lnTo>
                  <a:lnTo>
                    <a:pt x="2142084" y="196799"/>
                  </a:lnTo>
                  <a:lnTo>
                    <a:pt x="2142084" y="199530"/>
                  </a:lnTo>
                  <a:lnTo>
                    <a:pt x="2142186" y="199530"/>
                  </a:lnTo>
                  <a:lnTo>
                    <a:pt x="2142186" y="196799"/>
                  </a:lnTo>
                  <a:lnTo>
                    <a:pt x="2142186" y="197447"/>
                  </a:lnTo>
                  <a:lnTo>
                    <a:pt x="2142186" y="196799"/>
                  </a:lnTo>
                  <a:lnTo>
                    <a:pt x="2142186" y="200228"/>
                  </a:lnTo>
                  <a:lnTo>
                    <a:pt x="2142237" y="200228"/>
                  </a:lnTo>
                  <a:lnTo>
                    <a:pt x="2142237" y="199530"/>
                  </a:lnTo>
                  <a:lnTo>
                    <a:pt x="2142237" y="200228"/>
                  </a:lnTo>
                  <a:lnTo>
                    <a:pt x="2142287" y="200228"/>
                  </a:lnTo>
                  <a:lnTo>
                    <a:pt x="2142287" y="199530"/>
                  </a:lnTo>
                  <a:lnTo>
                    <a:pt x="2142287" y="200228"/>
                  </a:lnTo>
                  <a:lnTo>
                    <a:pt x="2142389" y="200228"/>
                  </a:lnTo>
                  <a:lnTo>
                    <a:pt x="2142389" y="199530"/>
                  </a:lnTo>
                  <a:lnTo>
                    <a:pt x="2142389" y="200228"/>
                  </a:lnTo>
                  <a:lnTo>
                    <a:pt x="2142389" y="199530"/>
                  </a:lnTo>
                  <a:lnTo>
                    <a:pt x="2142389" y="200228"/>
                  </a:lnTo>
                  <a:lnTo>
                    <a:pt x="2142389" y="199530"/>
                  </a:lnTo>
                  <a:lnTo>
                    <a:pt x="2142389" y="200228"/>
                  </a:lnTo>
                  <a:lnTo>
                    <a:pt x="2142389" y="199530"/>
                  </a:lnTo>
                  <a:lnTo>
                    <a:pt x="2142389" y="200228"/>
                  </a:lnTo>
                  <a:lnTo>
                    <a:pt x="2142440" y="199530"/>
                  </a:lnTo>
                  <a:lnTo>
                    <a:pt x="2142440" y="200228"/>
                  </a:lnTo>
                  <a:lnTo>
                    <a:pt x="2142440" y="199530"/>
                  </a:lnTo>
                  <a:lnTo>
                    <a:pt x="2142440" y="200228"/>
                  </a:lnTo>
                  <a:lnTo>
                    <a:pt x="2142440" y="199530"/>
                  </a:lnTo>
                  <a:lnTo>
                    <a:pt x="2142440" y="200228"/>
                  </a:lnTo>
                  <a:lnTo>
                    <a:pt x="2142440" y="199530"/>
                  </a:lnTo>
                  <a:lnTo>
                    <a:pt x="2142490" y="199530"/>
                  </a:lnTo>
                  <a:lnTo>
                    <a:pt x="2142490" y="200228"/>
                  </a:lnTo>
                  <a:lnTo>
                    <a:pt x="2142490" y="198831"/>
                  </a:lnTo>
                  <a:lnTo>
                    <a:pt x="2142541" y="198831"/>
                  </a:lnTo>
                  <a:lnTo>
                    <a:pt x="2142541" y="199530"/>
                  </a:lnTo>
                  <a:lnTo>
                    <a:pt x="2142541" y="197447"/>
                  </a:lnTo>
                  <a:lnTo>
                    <a:pt x="2142630" y="196799"/>
                  </a:lnTo>
                  <a:lnTo>
                    <a:pt x="2142630" y="198831"/>
                  </a:lnTo>
                  <a:lnTo>
                    <a:pt x="2142681" y="198831"/>
                  </a:lnTo>
                  <a:lnTo>
                    <a:pt x="2142681" y="197447"/>
                  </a:lnTo>
                  <a:lnTo>
                    <a:pt x="2142681" y="198831"/>
                  </a:lnTo>
                  <a:lnTo>
                    <a:pt x="2142681" y="197447"/>
                  </a:lnTo>
                  <a:lnTo>
                    <a:pt x="2142681" y="200228"/>
                  </a:lnTo>
                  <a:lnTo>
                    <a:pt x="2142681" y="199530"/>
                  </a:lnTo>
                  <a:lnTo>
                    <a:pt x="2142681" y="200228"/>
                  </a:lnTo>
                  <a:lnTo>
                    <a:pt x="2142732" y="199530"/>
                  </a:lnTo>
                  <a:lnTo>
                    <a:pt x="2142732" y="200228"/>
                  </a:lnTo>
                  <a:lnTo>
                    <a:pt x="2142732" y="199530"/>
                  </a:lnTo>
                  <a:lnTo>
                    <a:pt x="2142732" y="200228"/>
                  </a:lnTo>
                  <a:lnTo>
                    <a:pt x="2142783" y="200228"/>
                  </a:lnTo>
                  <a:lnTo>
                    <a:pt x="2142783" y="199530"/>
                  </a:lnTo>
                  <a:lnTo>
                    <a:pt x="2142783" y="200228"/>
                  </a:lnTo>
                  <a:lnTo>
                    <a:pt x="2142884" y="200228"/>
                  </a:lnTo>
                  <a:lnTo>
                    <a:pt x="2142884" y="200876"/>
                  </a:lnTo>
                  <a:lnTo>
                    <a:pt x="2142884" y="200228"/>
                  </a:lnTo>
                  <a:lnTo>
                    <a:pt x="2142935" y="200228"/>
                  </a:lnTo>
                  <a:lnTo>
                    <a:pt x="2142935" y="200876"/>
                  </a:lnTo>
                  <a:lnTo>
                    <a:pt x="2142935" y="199530"/>
                  </a:lnTo>
                  <a:lnTo>
                    <a:pt x="2142935" y="200228"/>
                  </a:lnTo>
                  <a:lnTo>
                    <a:pt x="2142986" y="200228"/>
                  </a:lnTo>
                  <a:lnTo>
                    <a:pt x="2142986" y="197447"/>
                  </a:lnTo>
                  <a:lnTo>
                    <a:pt x="2142986" y="198831"/>
                  </a:lnTo>
                  <a:lnTo>
                    <a:pt x="2143087" y="198831"/>
                  </a:lnTo>
                  <a:lnTo>
                    <a:pt x="2143087" y="196799"/>
                  </a:lnTo>
                  <a:lnTo>
                    <a:pt x="2143125" y="196799"/>
                  </a:lnTo>
                  <a:lnTo>
                    <a:pt x="2143125" y="197447"/>
                  </a:lnTo>
                  <a:lnTo>
                    <a:pt x="2143125" y="196799"/>
                  </a:lnTo>
                  <a:lnTo>
                    <a:pt x="2143125" y="197447"/>
                  </a:lnTo>
                  <a:lnTo>
                    <a:pt x="2143125" y="196799"/>
                  </a:lnTo>
                  <a:lnTo>
                    <a:pt x="2143176" y="197447"/>
                  </a:lnTo>
                  <a:lnTo>
                    <a:pt x="2143176" y="199530"/>
                  </a:lnTo>
                  <a:lnTo>
                    <a:pt x="2143176" y="197447"/>
                  </a:lnTo>
                  <a:lnTo>
                    <a:pt x="2143227" y="197447"/>
                  </a:lnTo>
                  <a:lnTo>
                    <a:pt x="2143227" y="199530"/>
                  </a:lnTo>
                  <a:lnTo>
                    <a:pt x="2143329" y="199530"/>
                  </a:lnTo>
                  <a:lnTo>
                    <a:pt x="2143329" y="200876"/>
                  </a:lnTo>
                  <a:lnTo>
                    <a:pt x="2143329" y="200228"/>
                  </a:lnTo>
                  <a:lnTo>
                    <a:pt x="2143380" y="200228"/>
                  </a:lnTo>
                  <a:lnTo>
                    <a:pt x="2143380" y="200876"/>
                  </a:lnTo>
                  <a:lnTo>
                    <a:pt x="2143380" y="200228"/>
                  </a:lnTo>
                  <a:lnTo>
                    <a:pt x="2143380" y="200876"/>
                  </a:lnTo>
                  <a:lnTo>
                    <a:pt x="2143380" y="200228"/>
                  </a:lnTo>
                  <a:lnTo>
                    <a:pt x="2143380" y="200876"/>
                  </a:lnTo>
                  <a:lnTo>
                    <a:pt x="2143380" y="200228"/>
                  </a:lnTo>
                  <a:lnTo>
                    <a:pt x="2143380" y="200876"/>
                  </a:lnTo>
                  <a:lnTo>
                    <a:pt x="2143380" y="200228"/>
                  </a:lnTo>
                  <a:lnTo>
                    <a:pt x="2143380" y="200876"/>
                  </a:lnTo>
                  <a:lnTo>
                    <a:pt x="2143380" y="200228"/>
                  </a:lnTo>
                  <a:lnTo>
                    <a:pt x="2143430" y="200876"/>
                  </a:lnTo>
                  <a:lnTo>
                    <a:pt x="2143430" y="200228"/>
                  </a:lnTo>
                  <a:lnTo>
                    <a:pt x="2143430" y="200876"/>
                  </a:lnTo>
                  <a:lnTo>
                    <a:pt x="2143430" y="200228"/>
                  </a:lnTo>
                  <a:lnTo>
                    <a:pt x="2143430" y="200876"/>
                  </a:lnTo>
                  <a:lnTo>
                    <a:pt x="2143430" y="200228"/>
                  </a:lnTo>
                  <a:lnTo>
                    <a:pt x="2143430" y="200876"/>
                  </a:lnTo>
                  <a:lnTo>
                    <a:pt x="2143430" y="200228"/>
                  </a:lnTo>
                  <a:lnTo>
                    <a:pt x="2143532" y="200228"/>
                  </a:lnTo>
                  <a:lnTo>
                    <a:pt x="2143532" y="199530"/>
                  </a:lnTo>
                  <a:lnTo>
                    <a:pt x="2143583" y="199530"/>
                  </a:lnTo>
                  <a:lnTo>
                    <a:pt x="2143583" y="198831"/>
                  </a:lnTo>
                  <a:lnTo>
                    <a:pt x="2143583" y="199530"/>
                  </a:lnTo>
                  <a:lnTo>
                    <a:pt x="2143583" y="197447"/>
                  </a:lnTo>
                  <a:lnTo>
                    <a:pt x="2143583" y="198831"/>
                  </a:lnTo>
                  <a:lnTo>
                    <a:pt x="2143583" y="197447"/>
                  </a:lnTo>
                  <a:lnTo>
                    <a:pt x="2143583" y="199530"/>
                  </a:lnTo>
                  <a:lnTo>
                    <a:pt x="2143634" y="199530"/>
                  </a:lnTo>
                  <a:lnTo>
                    <a:pt x="2143634" y="197447"/>
                  </a:lnTo>
                  <a:lnTo>
                    <a:pt x="2143634" y="200876"/>
                  </a:lnTo>
                  <a:lnTo>
                    <a:pt x="2143672" y="200228"/>
                  </a:lnTo>
                  <a:lnTo>
                    <a:pt x="2143672" y="198831"/>
                  </a:lnTo>
                  <a:lnTo>
                    <a:pt x="2143672" y="199530"/>
                  </a:lnTo>
                  <a:lnTo>
                    <a:pt x="2143672" y="198831"/>
                  </a:lnTo>
                  <a:lnTo>
                    <a:pt x="2143672" y="200228"/>
                  </a:lnTo>
                  <a:lnTo>
                    <a:pt x="2143672" y="199530"/>
                  </a:lnTo>
                  <a:lnTo>
                    <a:pt x="2143672" y="200228"/>
                  </a:lnTo>
                  <a:lnTo>
                    <a:pt x="2143773" y="200228"/>
                  </a:lnTo>
                  <a:lnTo>
                    <a:pt x="2143773" y="199530"/>
                  </a:lnTo>
                  <a:lnTo>
                    <a:pt x="2143773" y="200228"/>
                  </a:lnTo>
                  <a:lnTo>
                    <a:pt x="2143824" y="200228"/>
                  </a:lnTo>
                  <a:lnTo>
                    <a:pt x="2143824" y="200876"/>
                  </a:lnTo>
                  <a:lnTo>
                    <a:pt x="2143824" y="200228"/>
                  </a:lnTo>
                  <a:lnTo>
                    <a:pt x="2143824" y="200876"/>
                  </a:lnTo>
                  <a:lnTo>
                    <a:pt x="2143824" y="200228"/>
                  </a:lnTo>
                  <a:lnTo>
                    <a:pt x="2143875" y="200228"/>
                  </a:lnTo>
                  <a:lnTo>
                    <a:pt x="2143875" y="202260"/>
                  </a:lnTo>
                  <a:lnTo>
                    <a:pt x="2143875" y="200228"/>
                  </a:lnTo>
                  <a:lnTo>
                    <a:pt x="2143875" y="200876"/>
                  </a:lnTo>
                  <a:lnTo>
                    <a:pt x="2143976" y="200876"/>
                  </a:lnTo>
                  <a:lnTo>
                    <a:pt x="2143976" y="199530"/>
                  </a:lnTo>
                  <a:lnTo>
                    <a:pt x="2143976" y="200228"/>
                  </a:lnTo>
                  <a:lnTo>
                    <a:pt x="2143976" y="199530"/>
                  </a:lnTo>
                  <a:lnTo>
                    <a:pt x="2143976" y="200228"/>
                  </a:lnTo>
                  <a:lnTo>
                    <a:pt x="2143976" y="199530"/>
                  </a:lnTo>
                  <a:lnTo>
                    <a:pt x="2144027" y="199530"/>
                  </a:lnTo>
                  <a:lnTo>
                    <a:pt x="2144027" y="198831"/>
                  </a:lnTo>
                  <a:lnTo>
                    <a:pt x="2144027" y="199530"/>
                  </a:lnTo>
                  <a:lnTo>
                    <a:pt x="2144027" y="198831"/>
                  </a:lnTo>
                  <a:lnTo>
                    <a:pt x="2144027" y="199530"/>
                  </a:lnTo>
                  <a:lnTo>
                    <a:pt x="2144027" y="197447"/>
                  </a:lnTo>
                  <a:lnTo>
                    <a:pt x="2144027" y="198831"/>
                  </a:lnTo>
                  <a:lnTo>
                    <a:pt x="2144027" y="197447"/>
                  </a:lnTo>
                  <a:lnTo>
                    <a:pt x="2144078" y="197447"/>
                  </a:lnTo>
                  <a:lnTo>
                    <a:pt x="2144078" y="199530"/>
                  </a:lnTo>
                  <a:lnTo>
                    <a:pt x="2144078" y="197447"/>
                  </a:lnTo>
                  <a:lnTo>
                    <a:pt x="2144129" y="197447"/>
                  </a:lnTo>
                  <a:lnTo>
                    <a:pt x="2144129" y="200876"/>
                  </a:lnTo>
                  <a:lnTo>
                    <a:pt x="2144129" y="199530"/>
                  </a:lnTo>
                  <a:lnTo>
                    <a:pt x="2144129" y="200228"/>
                  </a:lnTo>
                  <a:lnTo>
                    <a:pt x="2144129" y="198831"/>
                  </a:lnTo>
                  <a:lnTo>
                    <a:pt x="2144218" y="198831"/>
                  </a:lnTo>
                  <a:lnTo>
                    <a:pt x="2144218" y="200876"/>
                  </a:lnTo>
                  <a:lnTo>
                    <a:pt x="2144218" y="200228"/>
                  </a:lnTo>
                  <a:lnTo>
                    <a:pt x="2144269" y="200228"/>
                  </a:lnTo>
                  <a:lnTo>
                    <a:pt x="2144269" y="200876"/>
                  </a:lnTo>
                  <a:lnTo>
                    <a:pt x="2144269" y="200228"/>
                  </a:lnTo>
                  <a:lnTo>
                    <a:pt x="2144269" y="202260"/>
                  </a:lnTo>
                  <a:lnTo>
                    <a:pt x="2144269" y="200876"/>
                  </a:lnTo>
                  <a:lnTo>
                    <a:pt x="2144370" y="200876"/>
                  </a:lnTo>
                  <a:lnTo>
                    <a:pt x="2144370" y="200228"/>
                  </a:lnTo>
                  <a:lnTo>
                    <a:pt x="2144370" y="200876"/>
                  </a:lnTo>
                  <a:lnTo>
                    <a:pt x="2144370" y="199530"/>
                  </a:lnTo>
                  <a:lnTo>
                    <a:pt x="2144370" y="200228"/>
                  </a:lnTo>
                  <a:lnTo>
                    <a:pt x="2144370" y="199530"/>
                  </a:lnTo>
                  <a:lnTo>
                    <a:pt x="2144370" y="200228"/>
                  </a:lnTo>
                  <a:lnTo>
                    <a:pt x="2144472" y="199530"/>
                  </a:lnTo>
                  <a:lnTo>
                    <a:pt x="2144472" y="200228"/>
                  </a:lnTo>
                  <a:lnTo>
                    <a:pt x="2144472" y="199530"/>
                  </a:lnTo>
                  <a:lnTo>
                    <a:pt x="2144472" y="200228"/>
                  </a:lnTo>
                  <a:lnTo>
                    <a:pt x="2144472" y="199530"/>
                  </a:lnTo>
                  <a:lnTo>
                    <a:pt x="2144472" y="200228"/>
                  </a:lnTo>
                  <a:lnTo>
                    <a:pt x="2144472" y="199530"/>
                  </a:lnTo>
                  <a:lnTo>
                    <a:pt x="2144522" y="199530"/>
                  </a:lnTo>
                  <a:lnTo>
                    <a:pt x="2144522" y="198831"/>
                  </a:lnTo>
                  <a:lnTo>
                    <a:pt x="2144522" y="199530"/>
                  </a:lnTo>
                  <a:lnTo>
                    <a:pt x="2144522" y="198831"/>
                  </a:lnTo>
                  <a:lnTo>
                    <a:pt x="2144522" y="199530"/>
                  </a:lnTo>
                  <a:lnTo>
                    <a:pt x="2144522" y="197447"/>
                  </a:lnTo>
                  <a:lnTo>
                    <a:pt x="2144522" y="198831"/>
                  </a:lnTo>
                  <a:lnTo>
                    <a:pt x="2144522" y="196799"/>
                  </a:lnTo>
                  <a:lnTo>
                    <a:pt x="2144573" y="197447"/>
                  </a:lnTo>
                  <a:lnTo>
                    <a:pt x="2144573" y="196799"/>
                  </a:lnTo>
                  <a:lnTo>
                    <a:pt x="2144573" y="198831"/>
                  </a:lnTo>
                  <a:lnTo>
                    <a:pt x="2144573" y="197447"/>
                  </a:lnTo>
                  <a:lnTo>
                    <a:pt x="2144573" y="198831"/>
                  </a:lnTo>
                  <a:lnTo>
                    <a:pt x="2144573" y="196113"/>
                  </a:lnTo>
                  <a:lnTo>
                    <a:pt x="2144573" y="196799"/>
                  </a:lnTo>
                  <a:lnTo>
                    <a:pt x="2144573" y="196113"/>
                  </a:lnTo>
                  <a:lnTo>
                    <a:pt x="2144573" y="196799"/>
                  </a:lnTo>
                  <a:lnTo>
                    <a:pt x="2144675" y="196799"/>
                  </a:lnTo>
                  <a:lnTo>
                    <a:pt x="2144675" y="200228"/>
                  </a:lnTo>
                  <a:lnTo>
                    <a:pt x="2144675" y="196799"/>
                  </a:lnTo>
                  <a:lnTo>
                    <a:pt x="2144675" y="197447"/>
                  </a:lnTo>
                  <a:lnTo>
                    <a:pt x="2144713" y="198831"/>
                  </a:lnTo>
                  <a:lnTo>
                    <a:pt x="2144713" y="199530"/>
                  </a:lnTo>
                  <a:lnTo>
                    <a:pt x="2144713" y="197447"/>
                  </a:lnTo>
                  <a:lnTo>
                    <a:pt x="2144713" y="198831"/>
                  </a:lnTo>
                  <a:lnTo>
                    <a:pt x="2144764" y="199530"/>
                  </a:lnTo>
                  <a:lnTo>
                    <a:pt x="2144764" y="198831"/>
                  </a:lnTo>
                  <a:lnTo>
                    <a:pt x="2144764" y="199530"/>
                  </a:lnTo>
                  <a:lnTo>
                    <a:pt x="2144815" y="200228"/>
                  </a:lnTo>
                  <a:lnTo>
                    <a:pt x="2144815" y="199530"/>
                  </a:lnTo>
                  <a:lnTo>
                    <a:pt x="2144815" y="200228"/>
                  </a:lnTo>
                  <a:lnTo>
                    <a:pt x="2144815" y="199530"/>
                  </a:lnTo>
                  <a:lnTo>
                    <a:pt x="2144815" y="200228"/>
                  </a:lnTo>
                  <a:lnTo>
                    <a:pt x="2144815" y="199530"/>
                  </a:lnTo>
                  <a:lnTo>
                    <a:pt x="2144815" y="200228"/>
                  </a:lnTo>
                  <a:lnTo>
                    <a:pt x="2144815" y="199530"/>
                  </a:lnTo>
                  <a:lnTo>
                    <a:pt x="2144916" y="199530"/>
                  </a:lnTo>
                  <a:lnTo>
                    <a:pt x="2144916" y="200228"/>
                  </a:lnTo>
                  <a:lnTo>
                    <a:pt x="2144916" y="199530"/>
                  </a:lnTo>
                  <a:lnTo>
                    <a:pt x="2144916" y="200228"/>
                  </a:lnTo>
                  <a:lnTo>
                    <a:pt x="2144916" y="199530"/>
                  </a:lnTo>
                  <a:lnTo>
                    <a:pt x="2144967" y="198831"/>
                  </a:lnTo>
                  <a:lnTo>
                    <a:pt x="2144967" y="199530"/>
                  </a:lnTo>
                  <a:lnTo>
                    <a:pt x="2144967" y="197447"/>
                  </a:lnTo>
                  <a:lnTo>
                    <a:pt x="2145018" y="197447"/>
                  </a:lnTo>
                  <a:lnTo>
                    <a:pt x="2145018" y="196799"/>
                  </a:lnTo>
                  <a:lnTo>
                    <a:pt x="2145018" y="197447"/>
                  </a:lnTo>
                  <a:lnTo>
                    <a:pt x="2145018" y="196799"/>
                  </a:lnTo>
                  <a:lnTo>
                    <a:pt x="2145018" y="197447"/>
                  </a:lnTo>
                  <a:lnTo>
                    <a:pt x="2145018" y="196113"/>
                  </a:lnTo>
                  <a:lnTo>
                    <a:pt x="2145018" y="197447"/>
                  </a:lnTo>
                  <a:lnTo>
                    <a:pt x="2145119" y="197447"/>
                  </a:lnTo>
                  <a:lnTo>
                    <a:pt x="2145119" y="198831"/>
                  </a:lnTo>
                  <a:lnTo>
                    <a:pt x="2145119" y="196113"/>
                  </a:lnTo>
                  <a:lnTo>
                    <a:pt x="2145119" y="199530"/>
                  </a:lnTo>
                  <a:lnTo>
                    <a:pt x="2145170" y="199530"/>
                  </a:lnTo>
                  <a:lnTo>
                    <a:pt x="2145170" y="196799"/>
                  </a:lnTo>
                  <a:lnTo>
                    <a:pt x="2145170" y="197447"/>
                  </a:lnTo>
                  <a:lnTo>
                    <a:pt x="2145170" y="196799"/>
                  </a:lnTo>
                  <a:lnTo>
                    <a:pt x="2145170" y="199530"/>
                  </a:lnTo>
                  <a:lnTo>
                    <a:pt x="2145221" y="199530"/>
                  </a:lnTo>
                  <a:lnTo>
                    <a:pt x="2145221" y="197447"/>
                  </a:lnTo>
                  <a:lnTo>
                    <a:pt x="2145221" y="199530"/>
                  </a:lnTo>
                  <a:lnTo>
                    <a:pt x="2145259" y="199530"/>
                  </a:lnTo>
                  <a:lnTo>
                    <a:pt x="2145259" y="200228"/>
                  </a:lnTo>
                  <a:lnTo>
                    <a:pt x="2145259" y="199530"/>
                  </a:lnTo>
                  <a:lnTo>
                    <a:pt x="2145259" y="200228"/>
                  </a:lnTo>
                  <a:lnTo>
                    <a:pt x="2145259" y="199530"/>
                  </a:lnTo>
                  <a:lnTo>
                    <a:pt x="2145361" y="200228"/>
                  </a:lnTo>
                  <a:lnTo>
                    <a:pt x="2145361" y="199530"/>
                  </a:lnTo>
                  <a:lnTo>
                    <a:pt x="2145361" y="200228"/>
                  </a:lnTo>
                  <a:lnTo>
                    <a:pt x="2145361" y="199530"/>
                  </a:lnTo>
                  <a:lnTo>
                    <a:pt x="2145361" y="200228"/>
                  </a:lnTo>
                  <a:lnTo>
                    <a:pt x="2145412" y="200228"/>
                  </a:lnTo>
                  <a:lnTo>
                    <a:pt x="2145412" y="199530"/>
                  </a:lnTo>
                  <a:lnTo>
                    <a:pt x="2145412" y="200228"/>
                  </a:lnTo>
                  <a:lnTo>
                    <a:pt x="2145412" y="199530"/>
                  </a:lnTo>
                  <a:lnTo>
                    <a:pt x="2145412" y="200228"/>
                  </a:lnTo>
                  <a:lnTo>
                    <a:pt x="2145412" y="199530"/>
                  </a:lnTo>
                  <a:lnTo>
                    <a:pt x="2145462" y="199530"/>
                  </a:lnTo>
                  <a:lnTo>
                    <a:pt x="2145462" y="198831"/>
                  </a:lnTo>
                  <a:lnTo>
                    <a:pt x="2145462" y="199530"/>
                  </a:lnTo>
                  <a:lnTo>
                    <a:pt x="2145462" y="198831"/>
                  </a:lnTo>
                  <a:lnTo>
                    <a:pt x="2145462" y="199530"/>
                  </a:lnTo>
                  <a:lnTo>
                    <a:pt x="2145462" y="198831"/>
                  </a:lnTo>
                  <a:lnTo>
                    <a:pt x="2145462" y="199530"/>
                  </a:lnTo>
                  <a:lnTo>
                    <a:pt x="2145462" y="198831"/>
                  </a:lnTo>
                  <a:lnTo>
                    <a:pt x="2145564" y="197447"/>
                  </a:lnTo>
                  <a:lnTo>
                    <a:pt x="2145564" y="198831"/>
                  </a:lnTo>
                  <a:lnTo>
                    <a:pt x="2145564" y="197447"/>
                  </a:lnTo>
                  <a:lnTo>
                    <a:pt x="2145564" y="198831"/>
                  </a:lnTo>
                  <a:lnTo>
                    <a:pt x="2145564" y="197447"/>
                  </a:lnTo>
                  <a:lnTo>
                    <a:pt x="2145564" y="199530"/>
                  </a:lnTo>
                  <a:lnTo>
                    <a:pt x="2145564" y="198831"/>
                  </a:lnTo>
                  <a:lnTo>
                    <a:pt x="2145615" y="198831"/>
                  </a:lnTo>
                  <a:lnTo>
                    <a:pt x="2145615" y="197447"/>
                  </a:lnTo>
                  <a:lnTo>
                    <a:pt x="2145615" y="200228"/>
                  </a:lnTo>
                  <a:lnTo>
                    <a:pt x="2145615" y="199530"/>
                  </a:lnTo>
                  <a:lnTo>
                    <a:pt x="2145665" y="199530"/>
                  </a:lnTo>
                  <a:lnTo>
                    <a:pt x="2145665" y="198831"/>
                  </a:lnTo>
                  <a:lnTo>
                    <a:pt x="2145665" y="200228"/>
                  </a:lnTo>
                  <a:lnTo>
                    <a:pt x="2145665" y="199530"/>
                  </a:lnTo>
                  <a:lnTo>
                    <a:pt x="2145716" y="199530"/>
                  </a:lnTo>
                  <a:lnTo>
                    <a:pt x="2145716" y="200228"/>
                  </a:lnTo>
                  <a:lnTo>
                    <a:pt x="2145716" y="199530"/>
                  </a:lnTo>
                  <a:lnTo>
                    <a:pt x="2145805" y="199530"/>
                  </a:lnTo>
                  <a:lnTo>
                    <a:pt x="2145805" y="200228"/>
                  </a:lnTo>
                  <a:lnTo>
                    <a:pt x="2145805" y="199530"/>
                  </a:lnTo>
                  <a:lnTo>
                    <a:pt x="2145805" y="200228"/>
                  </a:lnTo>
                  <a:lnTo>
                    <a:pt x="2145805" y="199530"/>
                  </a:lnTo>
                  <a:lnTo>
                    <a:pt x="2145856" y="199530"/>
                  </a:lnTo>
                  <a:lnTo>
                    <a:pt x="2145856" y="200228"/>
                  </a:lnTo>
                  <a:lnTo>
                    <a:pt x="2145856" y="199530"/>
                  </a:lnTo>
                  <a:lnTo>
                    <a:pt x="2145856" y="200228"/>
                  </a:lnTo>
                  <a:lnTo>
                    <a:pt x="2145856" y="199530"/>
                  </a:lnTo>
                  <a:lnTo>
                    <a:pt x="2145856" y="200228"/>
                  </a:lnTo>
                  <a:lnTo>
                    <a:pt x="2145907" y="200228"/>
                  </a:lnTo>
                  <a:lnTo>
                    <a:pt x="2145907" y="199530"/>
                  </a:lnTo>
                  <a:lnTo>
                    <a:pt x="2145907" y="200228"/>
                  </a:lnTo>
                  <a:lnTo>
                    <a:pt x="2145907" y="198831"/>
                  </a:lnTo>
                  <a:lnTo>
                    <a:pt x="2145958" y="198831"/>
                  </a:lnTo>
                  <a:lnTo>
                    <a:pt x="2145958" y="199530"/>
                  </a:lnTo>
                  <a:lnTo>
                    <a:pt x="2145958" y="197447"/>
                  </a:lnTo>
                  <a:lnTo>
                    <a:pt x="2145958" y="198831"/>
                  </a:lnTo>
                  <a:lnTo>
                    <a:pt x="2145958" y="197447"/>
                  </a:lnTo>
                  <a:lnTo>
                    <a:pt x="2145958" y="198831"/>
                  </a:lnTo>
                  <a:lnTo>
                    <a:pt x="2145958" y="197447"/>
                  </a:lnTo>
                  <a:lnTo>
                    <a:pt x="2146059" y="197447"/>
                  </a:lnTo>
                  <a:lnTo>
                    <a:pt x="2146059" y="196799"/>
                  </a:lnTo>
                  <a:lnTo>
                    <a:pt x="2146059" y="198831"/>
                  </a:lnTo>
                  <a:lnTo>
                    <a:pt x="2146059" y="197447"/>
                  </a:lnTo>
                  <a:lnTo>
                    <a:pt x="2146110" y="196799"/>
                  </a:lnTo>
                  <a:lnTo>
                    <a:pt x="2146110" y="196113"/>
                  </a:lnTo>
                  <a:lnTo>
                    <a:pt x="2146110" y="199530"/>
                  </a:lnTo>
                  <a:lnTo>
                    <a:pt x="2146110" y="197447"/>
                  </a:lnTo>
                  <a:lnTo>
                    <a:pt x="2146110" y="198831"/>
                  </a:lnTo>
                  <a:lnTo>
                    <a:pt x="2146161" y="198831"/>
                  </a:lnTo>
                  <a:lnTo>
                    <a:pt x="2146161" y="200228"/>
                  </a:lnTo>
                  <a:lnTo>
                    <a:pt x="2146161" y="199530"/>
                  </a:lnTo>
                  <a:lnTo>
                    <a:pt x="2146161" y="200228"/>
                  </a:lnTo>
                  <a:lnTo>
                    <a:pt x="2146161" y="198831"/>
                  </a:lnTo>
                  <a:lnTo>
                    <a:pt x="2146262" y="198831"/>
                  </a:lnTo>
                  <a:lnTo>
                    <a:pt x="2146262" y="200228"/>
                  </a:lnTo>
                  <a:lnTo>
                    <a:pt x="2146262" y="199530"/>
                  </a:lnTo>
                  <a:lnTo>
                    <a:pt x="2146300" y="199530"/>
                  </a:lnTo>
                  <a:lnTo>
                    <a:pt x="2146300" y="200228"/>
                  </a:lnTo>
                  <a:lnTo>
                    <a:pt x="2146300" y="199530"/>
                  </a:lnTo>
                  <a:lnTo>
                    <a:pt x="2146300" y="200228"/>
                  </a:lnTo>
                  <a:lnTo>
                    <a:pt x="2146300" y="199530"/>
                  </a:lnTo>
                  <a:lnTo>
                    <a:pt x="2146351" y="199530"/>
                  </a:lnTo>
                  <a:lnTo>
                    <a:pt x="2146351" y="200228"/>
                  </a:lnTo>
                  <a:lnTo>
                    <a:pt x="2146351" y="199530"/>
                  </a:lnTo>
                  <a:lnTo>
                    <a:pt x="2146351" y="200228"/>
                  </a:lnTo>
                  <a:lnTo>
                    <a:pt x="2146351" y="199530"/>
                  </a:lnTo>
                  <a:lnTo>
                    <a:pt x="2146402" y="199530"/>
                  </a:lnTo>
                  <a:lnTo>
                    <a:pt x="2146402" y="198831"/>
                  </a:lnTo>
                  <a:lnTo>
                    <a:pt x="2146402" y="199530"/>
                  </a:lnTo>
                  <a:lnTo>
                    <a:pt x="2146402" y="198831"/>
                  </a:lnTo>
                  <a:lnTo>
                    <a:pt x="2146402" y="199530"/>
                  </a:lnTo>
                  <a:lnTo>
                    <a:pt x="2146402" y="198831"/>
                  </a:lnTo>
                  <a:lnTo>
                    <a:pt x="2146504" y="198831"/>
                  </a:lnTo>
                  <a:lnTo>
                    <a:pt x="2146504" y="196113"/>
                  </a:lnTo>
                  <a:lnTo>
                    <a:pt x="2146555" y="196113"/>
                  </a:lnTo>
                  <a:lnTo>
                    <a:pt x="2146555" y="194716"/>
                  </a:lnTo>
                  <a:lnTo>
                    <a:pt x="2146555" y="196799"/>
                  </a:lnTo>
                  <a:lnTo>
                    <a:pt x="2146555" y="195415"/>
                  </a:lnTo>
                  <a:lnTo>
                    <a:pt x="2146605" y="195415"/>
                  </a:lnTo>
                  <a:lnTo>
                    <a:pt x="2146605" y="194716"/>
                  </a:lnTo>
                  <a:lnTo>
                    <a:pt x="2146605" y="197447"/>
                  </a:lnTo>
                  <a:lnTo>
                    <a:pt x="2146605" y="196799"/>
                  </a:lnTo>
                  <a:lnTo>
                    <a:pt x="2146605" y="197447"/>
                  </a:lnTo>
                  <a:lnTo>
                    <a:pt x="2146605" y="196113"/>
                  </a:lnTo>
                  <a:lnTo>
                    <a:pt x="2146707" y="196113"/>
                  </a:lnTo>
                  <a:lnTo>
                    <a:pt x="2146707" y="198831"/>
                  </a:lnTo>
                  <a:lnTo>
                    <a:pt x="2146707" y="197447"/>
                  </a:lnTo>
                  <a:lnTo>
                    <a:pt x="2146758" y="197447"/>
                  </a:lnTo>
                  <a:lnTo>
                    <a:pt x="2146758" y="196799"/>
                  </a:lnTo>
                  <a:lnTo>
                    <a:pt x="2146758" y="197447"/>
                  </a:lnTo>
                  <a:lnTo>
                    <a:pt x="2146758" y="196799"/>
                  </a:lnTo>
                  <a:lnTo>
                    <a:pt x="2146758" y="198831"/>
                  </a:lnTo>
                  <a:lnTo>
                    <a:pt x="2146809" y="198831"/>
                  </a:lnTo>
                  <a:lnTo>
                    <a:pt x="2146809" y="199530"/>
                  </a:lnTo>
                  <a:lnTo>
                    <a:pt x="2146847" y="199530"/>
                  </a:lnTo>
                  <a:lnTo>
                    <a:pt x="2146847" y="198831"/>
                  </a:lnTo>
                  <a:lnTo>
                    <a:pt x="2146847" y="199530"/>
                  </a:lnTo>
                  <a:lnTo>
                    <a:pt x="2146948" y="199530"/>
                  </a:lnTo>
                  <a:lnTo>
                    <a:pt x="2146948" y="198831"/>
                  </a:lnTo>
                  <a:lnTo>
                    <a:pt x="2146948" y="199530"/>
                  </a:lnTo>
                  <a:lnTo>
                    <a:pt x="2146948" y="198831"/>
                  </a:lnTo>
                  <a:lnTo>
                    <a:pt x="2146948" y="199530"/>
                  </a:lnTo>
                  <a:lnTo>
                    <a:pt x="2146999" y="199530"/>
                  </a:lnTo>
                  <a:lnTo>
                    <a:pt x="2146999" y="196113"/>
                  </a:lnTo>
                  <a:lnTo>
                    <a:pt x="2147050" y="196113"/>
                  </a:lnTo>
                  <a:lnTo>
                    <a:pt x="2147050" y="193383"/>
                  </a:lnTo>
                  <a:lnTo>
                    <a:pt x="2147050" y="194716"/>
                  </a:lnTo>
                  <a:lnTo>
                    <a:pt x="2147151" y="194716"/>
                  </a:lnTo>
                  <a:lnTo>
                    <a:pt x="2147151" y="195415"/>
                  </a:lnTo>
                  <a:lnTo>
                    <a:pt x="2147151" y="193383"/>
                  </a:lnTo>
                  <a:lnTo>
                    <a:pt x="2147151" y="196113"/>
                  </a:lnTo>
                  <a:lnTo>
                    <a:pt x="2147202" y="196113"/>
                  </a:lnTo>
                  <a:lnTo>
                    <a:pt x="2147202" y="195415"/>
                  </a:lnTo>
                  <a:lnTo>
                    <a:pt x="2147202" y="197447"/>
                  </a:lnTo>
                  <a:lnTo>
                    <a:pt x="2147253" y="196799"/>
                  </a:lnTo>
                  <a:lnTo>
                    <a:pt x="2147253" y="196113"/>
                  </a:lnTo>
                  <a:lnTo>
                    <a:pt x="2147253" y="197447"/>
                  </a:lnTo>
                  <a:lnTo>
                    <a:pt x="2147304" y="197447"/>
                  </a:lnTo>
                  <a:lnTo>
                    <a:pt x="2147304" y="198831"/>
                  </a:lnTo>
                  <a:lnTo>
                    <a:pt x="2147304" y="197447"/>
                  </a:lnTo>
                  <a:lnTo>
                    <a:pt x="2147304" y="198831"/>
                  </a:lnTo>
                  <a:lnTo>
                    <a:pt x="2147393" y="198831"/>
                  </a:lnTo>
                  <a:lnTo>
                    <a:pt x="2147393" y="199530"/>
                  </a:lnTo>
                  <a:lnTo>
                    <a:pt x="2147393" y="198831"/>
                  </a:lnTo>
                  <a:lnTo>
                    <a:pt x="2147393" y="199530"/>
                  </a:lnTo>
                  <a:lnTo>
                    <a:pt x="2147494" y="199530"/>
                  </a:lnTo>
                  <a:lnTo>
                    <a:pt x="2147494" y="196799"/>
                  </a:lnTo>
                  <a:lnTo>
                    <a:pt x="2147545" y="196799"/>
                  </a:lnTo>
                  <a:lnTo>
                    <a:pt x="2147545" y="195415"/>
                  </a:lnTo>
                  <a:lnTo>
                    <a:pt x="2147545" y="196113"/>
                  </a:lnTo>
                  <a:lnTo>
                    <a:pt x="2147647" y="196113"/>
                  </a:lnTo>
                  <a:lnTo>
                    <a:pt x="2147647" y="193383"/>
                  </a:lnTo>
                  <a:lnTo>
                    <a:pt x="2147647" y="197447"/>
                  </a:lnTo>
                  <a:lnTo>
                    <a:pt x="2147647" y="196799"/>
                  </a:lnTo>
                  <a:lnTo>
                    <a:pt x="2147697" y="196799"/>
                  </a:lnTo>
                  <a:lnTo>
                    <a:pt x="2147697" y="196113"/>
                  </a:lnTo>
                  <a:lnTo>
                    <a:pt x="2147697" y="196799"/>
                  </a:lnTo>
                  <a:lnTo>
                    <a:pt x="2147748" y="196113"/>
                  </a:lnTo>
                  <a:lnTo>
                    <a:pt x="2147748" y="196799"/>
                  </a:lnTo>
                  <a:lnTo>
                    <a:pt x="2147850" y="196799"/>
                  </a:lnTo>
                  <a:lnTo>
                    <a:pt x="2147850" y="196113"/>
                  </a:lnTo>
                  <a:lnTo>
                    <a:pt x="2147850" y="196799"/>
                  </a:lnTo>
                  <a:lnTo>
                    <a:pt x="2147850" y="196113"/>
                  </a:lnTo>
                  <a:lnTo>
                    <a:pt x="2147850" y="197447"/>
                  </a:lnTo>
                  <a:lnTo>
                    <a:pt x="2147850" y="196799"/>
                  </a:lnTo>
                  <a:lnTo>
                    <a:pt x="2147850" y="197447"/>
                  </a:lnTo>
                  <a:lnTo>
                    <a:pt x="2147888" y="196799"/>
                  </a:lnTo>
                  <a:lnTo>
                    <a:pt x="2147888" y="197447"/>
                  </a:lnTo>
                  <a:lnTo>
                    <a:pt x="2147888" y="196799"/>
                  </a:lnTo>
                  <a:lnTo>
                    <a:pt x="2147888" y="197447"/>
                  </a:lnTo>
                  <a:lnTo>
                    <a:pt x="2147888" y="196799"/>
                  </a:lnTo>
                  <a:lnTo>
                    <a:pt x="2147888" y="198831"/>
                  </a:lnTo>
                  <a:lnTo>
                    <a:pt x="2147888" y="197447"/>
                  </a:lnTo>
                  <a:lnTo>
                    <a:pt x="2147888" y="198831"/>
                  </a:lnTo>
                  <a:lnTo>
                    <a:pt x="2147939" y="198831"/>
                  </a:lnTo>
                  <a:lnTo>
                    <a:pt x="2147939" y="197447"/>
                  </a:lnTo>
                  <a:lnTo>
                    <a:pt x="2147939" y="198831"/>
                  </a:lnTo>
                  <a:lnTo>
                    <a:pt x="2147990" y="198831"/>
                  </a:lnTo>
                  <a:lnTo>
                    <a:pt x="2147990" y="196799"/>
                  </a:lnTo>
                  <a:lnTo>
                    <a:pt x="2148091" y="196799"/>
                  </a:lnTo>
                  <a:lnTo>
                    <a:pt x="2148091" y="196113"/>
                  </a:lnTo>
                  <a:lnTo>
                    <a:pt x="2148091" y="198831"/>
                  </a:lnTo>
                  <a:lnTo>
                    <a:pt x="2148091" y="196799"/>
                  </a:lnTo>
                  <a:lnTo>
                    <a:pt x="2148142" y="196799"/>
                  </a:lnTo>
                  <a:lnTo>
                    <a:pt x="2148142" y="196113"/>
                  </a:lnTo>
                  <a:lnTo>
                    <a:pt x="2148142" y="199530"/>
                  </a:lnTo>
                  <a:lnTo>
                    <a:pt x="2148142" y="197447"/>
                  </a:lnTo>
                  <a:lnTo>
                    <a:pt x="2148193" y="197447"/>
                  </a:lnTo>
                  <a:lnTo>
                    <a:pt x="2148193" y="199530"/>
                  </a:lnTo>
                  <a:lnTo>
                    <a:pt x="2148193" y="197447"/>
                  </a:lnTo>
                  <a:lnTo>
                    <a:pt x="2148294" y="198831"/>
                  </a:lnTo>
                  <a:lnTo>
                    <a:pt x="2148294" y="197447"/>
                  </a:lnTo>
                  <a:lnTo>
                    <a:pt x="2148345" y="197447"/>
                  </a:lnTo>
                  <a:lnTo>
                    <a:pt x="2148345" y="198831"/>
                  </a:lnTo>
                  <a:lnTo>
                    <a:pt x="2148345" y="197447"/>
                  </a:lnTo>
                  <a:lnTo>
                    <a:pt x="2148345" y="199530"/>
                  </a:lnTo>
                  <a:lnTo>
                    <a:pt x="2148345" y="198831"/>
                  </a:lnTo>
                  <a:lnTo>
                    <a:pt x="2148396" y="199530"/>
                  </a:lnTo>
                  <a:lnTo>
                    <a:pt x="2148396" y="198831"/>
                  </a:lnTo>
                  <a:lnTo>
                    <a:pt x="2148396" y="199530"/>
                  </a:lnTo>
                  <a:lnTo>
                    <a:pt x="2148396" y="198831"/>
                  </a:lnTo>
                  <a:lnTo>
                    <a:pt x="2148396" y="199530"/>
                  </a:lnTo>
                  <a:lnTo>
                    <a:pt x="2148396" y="198831"/>
                  </a:lnTo>
                  <a:lnTo>
                    <a:pt x="2148396" y="199530"/>
                  </a:lnTo>
                  <a:lnTo>
                    <a:pt x="2148396" y="198831"/>
                  </a:lnTo>
                  <a:lnTo>
                    <a:pt x="2148396" y="199530"/>
                  </a:lnTo>
                  <a:lnTo>
                    <a:pt x="2148396" y="198831"/>
                  </a:lnTo>
                  <a:lnTo>
                    <a:pt x="2148396" y="199530"/>
                  </a:lnTo>
                  <a:lnTo>
                    <a:pt x="2148396" y="198831"/>
                  </a:lnTo>
                  <a:lnTo>
                    <a:pt x="2148396" y="199530"/>
                  </a:lnTo>
                  <a:lnTo>
                    <a:pt x="2148396" y="198831"/>
                  </a:lnTo>
                  <a:lnTo>
                    <a:pt x="2148434" y="198831"/>
                  </a:lnTo>
                  <a:lnTo>
                    <a:pt x="2148434" y="199530"/>
                  </a:lnTo>
                  <a:lnTo>
                    <a:pt x="2148434" y="197447"/>
                  </a:lnTo>
                  <a:lnTo>
                    <a:pt x="2148536" y="197447"/>
                  </a:lnTo>
                  <a:lnTo>
                    <a:pt x="2148536" y="196799"/>
                  </a:lnTo>
                  <a:lnTo>
                    <a:pt x="2148536" y="197447"/>
                  </a:lnTo>
                  <a:lnTo>
                    <a:pt x="2148587" y="198831"/>
                  </a:lnTo>
                  <a:lnTo>
                    <a:pt x="2148587" y="197447"/>
                  </a:lnTo>
                  <a:lnTo>
                    <a:pt x="2148587" y="200228"/>
                  </a:lnTo>
                  <a:lnTo>
                    <a:pt x="2148637" y="200228"/>
                  </a:lnTo>
                  <a:lnTo>
                    <a:pt x="2148637" y="199530"/>
                  </a:lnTo>
                  <a:lnTo>
                    <a:pt x="2148637" y="200228"/>
                  </a:lnTo>
                  <a:lnTo>
                    <a:pt x="2148637" y="199530"/>
                  </a:lnTo>
                  <a:lnTo>
                    <a:pt x="2148637" y="200228"/>
                  </a:lnTo>
                  <a:lnTo>
                    <a:pt x="2148637" y="199530"/>
                  </a:lnTo>
                  <a:lnTo>
                    <a:pt x="2148637" y="200228"/>
                  </a:lnTo>
                  <a:lnTo>
                    <a:pt x="2148739" y="200228"/>
                  </a:lnTo>
                  <a:lnTo>
                    <a:pt x="2148739" y="199530"/>
                  </a:lnTo>
                  <a:lnTo>
                    <a:pt x="2148739" y="200228"/>
                  </a:lnTo>
                  <a:lnTo>
                    <a:pt x="2148790" y="200228"/>
                  </a:lnTo>
                  <a:lnTo>
                    <a:pt x="2148790" y="199530"/>
                  </a:lnTo>
                  <a:lnTo>
                    <a:pt x="2148790" y="200228"/>
                  </a:lnTo>
                  <a:lnTo>
                    <a:pt x="2148790" y="199530"/>
                  </a:lnTo>
                  <a:lnTo>
                    <a:pt x="2148790" y="200228"/>
                  </a:lnTo>
                  <a:lnTo>
                    <a:pt x="2148790" y="199530"/>
                  </a:lnTo>
                  <a:lnTo>
                    <a:pt x="2148790" y="200228"/>
                  </a:lnTo>
                  <a:lnTo>
                    <a:pt x="2148840" y="199530"/>
                  </a:lnTo>
                  <a:lnTo>
                    <a:pt x="2148840" y="200228"/>
                  </a:lnTo>
                  <a:lnTo>
                    <a:pt x="2148840" y="199530"/>
                  </a:lnTo>
                  <a:lnTo>
                    <a:pt x="2148840" y="200228"/>
                  </a:lnTo>
                  <a:lnTo>
                    <a:pt x="2148840" y="199530"/>
                  </a:lnTo>
                  <a:lnTo>
                    <a:pt x="2148840" y="200228"/>
                  </a:lnTo>
                  <a:lnTo>
                    <a:pt x="2148840" y="199530"/>
                  </a:lnTo>
                  <a:lnTo>
                    <a:pt x="2148891" y="199530"/>
                  </a:lnTo>
                  <a:lnTo>
                    <a:pt x="2148891" y="200228"/>
                  </a:lnTo>
                  <a:lnTo>
                    <a:pt x="2148891" y="198831"/>
                  </a:lnTo>
                  <a:lnTo>
                    <a:pt x="2148980" y="198831"/>
                  </a:lnTo>
                  <a:lnTo>
                    <a:pt x="2148980" y="196799"/>
                  </a:lnTo>
                  <a:lnTo>
                    <a:pt x="2149031" y="196113"/>
                  </a:lnTo>
                  <a:lnTo>
                    <a:pt x="2149031" y="195415"/>
                  </a:lnTo>
                  <a:lnTo>
                    <a:pt x="2149031" y="198831"/>
                  </a:lnTo>
                  <a:lnTo>
                    <a:pt x="2149031" y="197447"/>
                  </a:lnTo>
                  <a:lnTo>
                    <a:pt x="2149082" y="196799"/>
                  </a:lnTo>
                  <a:lnTo>
                    <a:pt x="2149082" y="200228"/>
                  </a:lnTo>
                  <a:lnTo>
                    <a:pt x="2149082" y="198831"/>
                  </a:lnTo>
                  <a:lnTo>
                    <a:pt x="2149133" y="198831"/>
                  </a:lnTo>
                  <a:lnTo>
                    <a:pt x="2149133" y="200228"/>
                  </a:lnTo>
                  <a:lnTo>
                    <a:pt x="2149133" y="199530"/>
                  </a:lnTo>
                  <a:lnTo>
                    <a:pt x="2149234" y="199530"/>
                  </a:lnTo>
                  <a:lnTo>
                    <a:pt x="2149234" y="200876"/>
                  </a:lnTo>
                  <a:lnTo>
                    <a:pt x="2149234" y="200228"/>
                  </a:lnTo>
                  <a:lnTo>
                    <a:pt x="2149285" y="199530"/>
                  </a:lnTo>
                  <a:lnTo>
                    <a:pt x="2149285" y="200876"/>
                  </a:lnTo>
                  <a:lnTo>
                    <a:pt x="2149285" y="200228"/>
                  </a:lnTo>
                  <a:lnTo>
                    <a:pt x="2149285" y="200876"/>
                  </a:lnTo>
                  <a:lnTo>
                    <a:pt x="2149285" y="200228"/>
                  </a:lnTo>
                  <a:lnTo>
                    <a:pt x="2149336" y="200228"/>
                  </a:lnTo>
                  <a:lnTo>
                    <a:pt x="2149336" y="200876"/>
                  </a:lnTo>
                  <a:lnTo>
                    <a:pt x="2149336" y="200228"/>
                  </a:lnTo>
                  <a:lnTo>
                    <a:pt x="2149336" y="200876"/>
                  </a:lnTo>
                  <a:lnTo>
                    <a:pt x="2149336" y="200228"/>
                  </a:lnTo>
                  <a:lnTo>
                    <a:pt x="2149437" y="200228"/>
                  </a:lnTo>
                  <a:lnTo>
                    <a:pt x="2149437" y="199530"/>
                  </a:lnTo>
                  <a:lnTo>
                    <a:pt x="2149437" y="200228"/>
                  </a:lnTo>
                  <a:lnTo>
                    <a:pt x="2149437" y="199530"/>
                  </a:lnTo>
                  <a:lnTo>
                    <a:pt x="2149475" y="199530"/>
                  </a:lnTo>
                  <a:lnTo>
                    <a:pt x="2149475" y="196799"/>
                  </a:lnTo>
                  <a:lnTo>
                    <a:pt x="2149475" y="197447"/>
                  </a:lnTo>
                  <a:lnTo>
                    <a:pt x="2149475" y="196113"/>
                  </a:lnTo>
                  <a:lnTo>
                    <a:pt x="2149526" y="196799"/>
                  </a:lnTo>
                  <a:lnTo>
                    <a:pt x="2149526" y="199530"/>
                  </a:lnTo>
                  <a:lnTo>
                    <a:pt x="2149526" y="196799"/>
                  </a:lnTo>
                  <a:lnTo>
                    <a:pt x="2149526" y="198831"/>
                  </a:lnTo>
                  <a:lnTo>
                    <a:pt x="2149577" y="199530"/>
                  </a:lnTo>
                  <a:lnTo>
                    <a:pt x="2149577" y="200228"/>
                  </a:lnTo>
                  <a:lnTo>
                    <a:pt x="2149577" y="198831"/>
                  </a:lnTo>
                  <a:lnTo>
                    <a:pt x="2149577" y="200228"/>
                  </a:lnTo>
                  <a:lnTo>
                    <a:pt x="2149679" y="200228"/>
                  </a:lnTo>
                  <a:lnTo>
                    <a:pt x="2149679" y="199530"/>
                  </a:lnTo>
                  <a:lnTo>
                    <a:pt x="2149679" y="200228"/>
                  </a:lnTo>
                  <a:lnTo>
                    <a:pt x="2149780" y="200228"/>
                  </a:lnTo>
                  <a:lnTo>
                    <a:pt x="2149780" y="200876"/>
                  </a:lnTo>
                  <a:lnTo>
                    <a:pt x="2149780" y="200228"/>
                  </a:lnTo>
                  <a:lnTo>
                    <a:pt x="2149780" y="200876"/>
                  </a:lnTo>
                  <a:lnTo>
                    <a:pt x="2149780" y="200228"/>
                  </a:lnTo>
                  <a:lnTo>
                    <a:pt x="2149780" y="200876"/>
                  </a:lnTo>
                  <a:lnTo>
                    <a:pt x="2149882" y="200876"/>
                  </a:lnTo>
                  <a:lnTo>
                    <a:pt x="2149882" y="200228"/>
                  </a:lnTo>
                  <a:lnTo>
                    <a:pt x="2149882" y="200876"/>
                  </a:lnTo>
                  <a:lnTo>
                    <a:pt x="2149882" y="200228"/>
                  </a:lnTo>
                  <a:lnTo>
                    <a:pt x="2149933" y="200228"/>
                  </a:lnTo>
                  <a:lnTo>
                    <a:pt x="2149933" y="199530"/>
                  </a:lnTo>
                  <a:lnTo>
                    <a:pt x="2149933" y="200228"/>
                  </a:lnTo>
                  <a:lnTo>
                    <a:pt x="2149933" y="198831"/>
                  </a:lnTo>
                  <a:lnTo>
                    <a:pt x="2149984" y="198831"/>
                  </a:lnTo>
                  <a:lnTo>
                    <a:pt x="2149984" y="197447"/>
                  </a:lnTo>
                  <a:lnTo>
                    <a:pt x="2149984" y="198831"/>
                  </a:lnTo>
                  <a:lnTo>
                    <a:pt x="2149984" y="196113"/>
                  </a:lnTo>
                  <a:lnTo>
                    <a:pt x="2149984" y="197447"/>
                  </a:lnTo>
                  <a:lnTo>
                    <a:pt x="2150022" y="197447"/>
                  </a:lnTo>
                  <a:lnTo>
                    <a:pt x="2150022" y="198831"/>
                  </a:lnTo>
                  <a:lnTo>
                    <a:pt x="2150022" y="196799"/>
                  </a:lnTo>
                  <a:lnTo>
                    <a:pt x="2150022" y="199530"/>
                  </a:lnTo>
                  <a:lnTo>
                    <a:pt x="2150123" y="200228"/>
                  </a:lnTo>
                  <a:lnTo>
                    <a:pt x="2150123" y="196799"/>
                  </a:lnTo>
                  <a:lnTo>
                    <a:pt x="2150123" y="199530"/>
                  </a:lnTo>
                  <a:lnTo>
                    <a:pt x="2150174" y="199530"/>
                  </a:lnTo>
                  <a:lnTo>
                    <a:pt x="2150174" y="198831"/>
                  </a:lnTo>
                  <a:lnTo>
                    <a:pt x="2150174" y="199530"/>
                  </a:lnTo>
                  <a:lnTo>
                    <a:pt x="2150225" y="199530"/>
                  </a:lnTo>
                  <a:lnTo>
                    <a:pt x="2150225" y="200228"/>
                  </a:lnTo>
                  <a:lnTo>
                    <a:pt x="2150225" y="199530"/>
                  </a:lnTo>
                  <a:lnTo>
                    <a:pt x="2150326" y="200228"/>
                  </a:lnTo>
                  <a:lnTo>
                    <a:pt x="2150326" y="200876"/>
                  </a:lnTo>
                  <a:lnTo>
                    <a:pt x="2150377" y="200228"/>
                  </a:lnTo>
                  <a:lnTo>
                    <a:pt x="2150377" y="200876"/>
                  </a:lnTo>
                  <a:lnTo>
                    <a:pt x="2150377" y="200228"/>
                  </a:lnTo>
                  <a:lnTo>
                    <a:pt x="2150377" y="200876"/>
                  </a:lnTo>
                  <a:lnTo>
                    <a:pt x="2150377" y="200228"/>
                  </a:lnTo>
                  <a:lnTo>
                    <a:pt x="2150377" y="200876"/>
                  </a:lnTo>
                  <a:lnTo>
                    <a:pt x="2150377" y="200228"/>
                  </a:lnTo>
                  <a:lnTo>
                    <a:pt x="2150428" y="200228"/>
                  </a:lnTo>
                  <a:lnTo>
                    <a:pt x="2150428" y="198831"/>
                  </a:lnTo>
                  <a:lnTo>
                    <a:pt x="2150428" y="199530"/>
                  </a:lnTo>
                  <a:lnTo>
                    <a:pt x="2150428" y="197447"/>
                  </a:lnTo>
                  <a:lnTo>
                    <a:pt x="2150479" y="197447"/>
                  </a:lnTo>
                  <a:lnTo>
                    <a:pt x="2150479" y="196799"/>
                  </a:lnTo>
                  <a:lnTo>
                    <a:pt x="2150479" y="197447"/>
                  </a:lnTo>
                  <a:lnTo>
                    <a:pt x="2150479" y="196799"/>
                  </a:lnTo>
                  <a:lnTo>
                    <a:pt x="2150568" y="196799"/>
                  </a:lnTo>
                  <a:lnTo>
                    <a:pt x="2150568" y="196113"/>
                  </a:lnTo>
                  <a:lnTo>
                    <a:pt x="2150568" y="196799"/>
                  </a:lnTo>
                  <a:lnTo>
                    <a:pt x="2150568" y="195415"/>
                  </a:lnTo>
                  <a:lnTo>
                    <a:pt x="2150568" y="198831"/>
                  </a:lnTo>
                  <a:lnTo>
                    <a:pt x="2150619" y="198831"/>
                  </a:lnTo>
                  <a:lnTo>
                    <a:pt x="2150619" y="196799"/>
                  </a:lnTo>
                  <a:lnTo>
                    <a:pt x="2150619" y="198831"/>
                  </a:lnTo>
                  <a:lnTo>
                    <a:pt x="2150619" y="197447"/>
                  </a:lnTo>
                  <a:lnTo>
                    <a:pt x="2150669" y="197447"/>
                  </a:lnTo>
                  <a:lnTo>
                    <a:pt x="2150669" y="196799"/>
                  </a:lnTo>
                  <a:lnTo>
                    <a:pt x="2150669" y="197447"/>
                  </a:lnTo>
                  <a:lnTo>
                    <a:pt x="2150720" y="197447"/>
                  </a:lnTo>
                  <a:lnTo>
                    <a:pt x="2150720" y="198831"/>
                  </a:lnTo>
                  <a:lnTo>
                    <a:pt x="2150720" y="197447"/>
                  </a:lnTo>
                  <a:lnTo>
                    <a:pt x="2150720" y="198831"/>
                  </a:lnTo>
                  <a:lnTo>
                    <a:pt x="2150822" y="198831"/>
                  </a:lnTo>
                  <a:lnTo>
                    <a:pt x="2150822" y="200228"/>
                  </a:lnTo>
                  <a:lnTo>
                    <a:pt x="2150822" y="199530"/>
                  </a:lnTo>
                  <a:lnTo>
                    <a:pt x="2150872" y="199530"/>
                  </a:lnTo>
                  <a:lnTo>
                    <a:pt x="2150872" y="200228"/>
                  </a:lnTo>
                  <a:lnTo>
                    <a:pt x="2150872" y="198831"/>
                  </a:lnTo>
                  <a:lnTo>
                    <a:pt x="2150923" y="198831"/>
                  </a:lnTo>
                  <a:lnTo>
                    <a:pt x="2150923" y="196799"/>
                  </a:lnTo>
                  <a:lnTo>
                    <a:pt x="2151025" y="196799"/>
                  </a:lnTo>
                  <a:lnTo>
                    <a:pt x="2151025" y="197447"/>
                  </a:lnTo>
                  <a:lnTo>
                    <a:pt x="2151025" y="196799"/>
                  </a:lnTo>
                  <a:lnTo>
                    <a:pt x="2151025" y="197447"/>
                  </a:lnTo>
                  <a:lnTo>
                    <a:pt x="2151025" y="196799"/>
                  </a:lnTo>
                  <a:lnTo>
                    <a:pt x="2151063" y="196799"/>
                  </a:lnTo>
                  <a:lnTo>
                    <a:pt x="2151063" y="196113"/>
                  </a:lnTo>
                  <a:lnTo>
                    <a:pt x="2151063" y="200876"/>
                  </a:lnTo>
                  <a:lnTo>
                    <a:pt x="2151063" y="198831"/>
                  </a:lnTo>
                  <a:lnTo>
                    <a:pt x="2151114" y="198831"/>
                  </a:lnTo>
                  <a:lnTo>
                    <a:pt x="2151114" y="200228"/>
                  </a:lnTo>
                  <a:lnTo>
                    <a:pt x="2151114" y="198831"/>
                  </a:lnTo>
                  <a:lnTo>
                    <a:pt x="2151165" y="198831"/>
                  </a:lnTo>
                  <a:lnTo>
                    <a:pt x="2151165" y="199530"/>
                  </a:lnTo>
                  <a:lnTo>
                    <a:pt x="2151165" y="198831"/>
                  </a:lnTo>
                  <a:lnTo>
                    <a:pt x="2151165" y="199530"/>
                  </a:lnTo>
                  <a:lnTo>
                    <a:pt x="2151165" y="198831"/>
                  </a:lnTo>
                  <a:lnTo>
                    <a:pt x="2151165" y="199530"/>
                  </a:lnTo>
                  <a:lnTo>
                    <a:pt x="2151165" y="198831"/>
                  </a:lnTo>
                  <a:lnTo>
                    <a:pt x="2151165" y="199530"/>
                  </a:lnTo>
                  <a:lnTo>
                    <a:pt x="2151165" y="198831"/>
                  </a:lnTo>
                  <a:lnTo>
                    <a:pt x="2151266" y="198831"/>
                  </a:lnTo>
                  <a:lnTo>
                    <a:pt x="2151266" y="199530"/>
                  </a:lnTo>
                  <a:lnTo>
                    <a:pt x="2151266" y="198831"/>
                  </a:lnTo>
                  <a:lnTo>
                    <a:pt x="2151266" y="199530"/>
                  </a:lnTo>
                  <a:lnTo>
                    <a:pt x="2151317" y="199530"/>
                  </a:lnTo>
                  <a:lnTo>
                    <a:pt x="2151317" y="200228"/>
                  </a:lnTo>
                  <a:lnTo>
                    <a:pt x="2151317" y="199530"/>
                  </a:lnTo>
                  <a:lnTo>
                    <a:pt x="2151317" y="200228"/>
                  </a:lnTo>
                  <a:lnTo>
                    <a:pt x="2151317" y="199530"/>
                  </a:lnTo>
                  <a:lnTo>
                    <a:pt x="2151317" y="200228"/>
                  </a:lnTo>
                  <a:lnTo>
                    <a:pt x="2151317" y="199530"/>
                  </a:lnTo>
                  <a:lnTo>
                    <a:pt x="2151368" y="200228"/>
                  </a:lnTo>
                  <a:lnTo>
                    <a:pt x="2151368" y="199530"/>
                  </a:lnTo>
                  <a:lnTo>
                    <a:pt x="2151368" y="200228"/>
                  </a:lnTo>
                  <a:lnTo>
                    <a:pt x="2151368" y="198831"/>
                  </a:lnTo>
                  <a:lnTo>
                    <a:pt x="2151368" y="199530"/>
                  </a:lnTo>
                  <a:lnTo>
                    <a:pt x="2151368" y="198831"/>
                  </a:lnTo>
                  <a:lnTo>
                    <a:pt x="2151469" y="198831"/>
                  </a:lnTo>
                  <a:lnTo>
                    <a:pt x="2151469" y="196799"/>
                  </a:lnTo>
                  <a:lnTo>
                    <a:pt x="2151520" y="196799"/>
                  </a:lnTo>
                  <a:lnTo>
                    <a:pt x="2151520" y="197447"/>
                  </a:lnTo>
                  <a:lnTo>
                    <a:pt x="2151571" y="197447"/>
                  </a:lnTo>
                  <a:lnTo>
                    <a:pt x="2151571" y="199530"/>
                  </a:lnTo>
                  <a:lnTo>
                    <a:pt x="2151571" y="198831"/>
                  </a:lnTo>
                  <a:lnTo>
                    <a:pt x="2151609" y="198831"/>
                  </a:lnTo>
                  <a:lnTo>
                    <a:pt x="2151609" y="200228"/>
                  </a:lnTo>
                  <a:lnTo>
                    <a:pt x="2151609" y="199530"/>
                  </a:lnTo>
                  <a:lnTo>
                    <a:pt x="2151711" y="199530"/>
                  </a:lnTo>
                  <a:lnTo>
                    <a:pt x="2151711" y="200228"/>
                  </a:lnTo>
                  <a:lnTo>
                    <a:pt x="2151711" y="199530"/>
                  </a:lnTo>
                  <a:lnTo>
                    <a:pt x="2151711" y="200228"/>
                  </a:lnTo>
                  <a:lnTo>
                    <a:pt x="2151711" y="199530"/>
                  </a:lnTo>
                  <a:lnTo>
                    <a:pt x="2151711" y="200228"/>
                  </a:lnTo>
                  <a:lnTo>
                    <a:pt x="2151762" y="200228"/>
                  </a:lnTo>
                  <a:lnTo>
                    <a:pt x="2151762" y="199530"/>
                  </a:lnTo>
                  <a:lnTo>
                    <a:pt x="2151762" y="200228"/>
                  </a:lnTo>
                  <a:lnTo>
                    <a:pt x="2151762" y="199530"/>
                  </a:lnTo>
                  <a:lnTo>
                    <a:pt x="2151812" y="199530"/>
                  </a:lnTo>
                  <a:lnTo>
                    <a:pt x="2151812" y="200228"/>
                  </a:lnTo>
                  <a:lnTo>
                    <a:pt x="2151812" y="199530"/>
                  </a:lnTo>
                  <a:lnTo>
                    <a:pt x="2151812" y="200228"/>
                  </a:lnTo>
                  <a:lnTo>
                    <a:pt x="2151812" y="199530"/>
                  </a:lnTo>
                  <a:lnTo>
                    <a:pt x="2151812" y="200228"/>
                  </a:lnTo>
                  <a:lnTo>
                    <a:pt x="2151914" y="199530"/>
                  </a:lnTo>
                  <a:lnTo>
                    <a:pt x="2151914" y="198831"/>
                  </a:lnTo>
                  <a:lnTo>
                    <a:pt x="2151914" y="199530"/>
                  </a:lnTo>
                  <a:lnTo>
                    <a:pt x="2151914" y="197447"/>
                  </a:lnTo>
                  <a:lnTo>
                    <a:pt x="2151914" y="198831"/>
                  </a:lnTo>
                  <a:lnTo>
                    <a:pt x="2151914" y="197447"/>
                  </a:lnTo>
                  <a:lnTo>
                    <a:pt x="2151965" y="197447"/>
                  </a:lnTo>
                  <a:lnTo>
                    <a:pt x="2151965" y="196113"/>
                  </a:lnTo>
                  <a:lnTo>
                    <a:pt x="2151965" y="197447"/>
                  </a:lnTo>
                  <a:lnTo>
                    <a:pt x="2152015" y="198831"/>
                  </a:lnTo>
                  <a:lnTo>
                    <a:pt x="2152015" y="196113"/>
                  </a:lnTo>
                  <a:lnTo>
                    <a:pt x="2152015" y="200228"/>
                  </a:lnTo>
                  <a:lnTo>
                    <a:pt x="2152066" y="200228"/>
                  </a:lnTo>
                  <a:lnTo>
                    <a:pt x="2152066" y="197447"/>
                  </a:lnTo>
                  <a:lnTo>
                    <a:pt x="2152066" y="200228"/>
                  </a:lnTo>
                  <a:lnTo>
                    <a:pt x="2152155" y="200228"/>
                  </a:lnTo>
                  <a:lnTo>
                    <a:pt x="2152155" y="198831"/>
                  </a:lnTo>
                  <a:lnTo>
                    <a:pt x="2152155" y="199530"/>
                  </a:lnTo>
                  <a:lnTo>
                    <a:pt x="2152206" y="199530"/>
                  </a:lnTo>
                  <a:lnTo>
                    <a:pt x="2152206" y="200228"/>
                  </a:lnTo>
                  <a:lnTo>
                    <a:pt x="2152206" y="199530"/>
                  </a:lnTo>
                  <a:lnTo>
                    <a:pt x="2152206" y="200228"/>
                  </a:lnTo>
                  <a:lnTo>
                    <a:pt x="2152257" y="199530"/>
                  </a:lnTo>
                  <a:lnTo>
                    <a:pt x="2152257" y="200228"/>
                  </a:lnTo>
                  <a:lnTo>
                    <a:pt x="2152257" y="199530"/>
                  </a:lnTo>
                  <a:lnTo>
                    <a:pt x="2152308" y="199530"/>
                  </a:lnTo>
                  <a:lnTo>
                    <a:pt x="2152308" y="200228"/>
                  </a:lnTo>
                  <a:lnTo>
                    <a:pt x="2152308" y="199530"/>
                  </a:lnTo>
                  <a:lnTo>
                    <a:pt x="2152308" y="200228"/>
                  </a:lnTo>
                  <a:lnTo>
                    <a:pt x="2152308" y="199530"/>
                  </a:lnTo>
                  <a:lnTo>
                    <a:pt x="2152409" y="199530"/>
                  </a:lnTo>
                  <a:lnTo>
                    <a:pt x="2152409" y="198831"/>
                  </a:lnTo>
                  <a:lnTo>
                    <a:pt x="2152409" y="199530"/>
                  </a:lnTo>
                  <a:lnTo>
                    <a:pt x="2152409" y="197447"/>
                  </a:lnTo>
                  <a:lnTo>
                    <a:pt x="2152409" y="198831"/>
                  </a:lnTo>
                  <a:lnTo>
                    <a:pt x="2152409" y="197447"/>
                  </a:lnTo>
                  <a:lnTo>
                    <a:pt x="2152460" y="197447"/>
                  </a:lnTo>
                  <a:lnTo>
                    <a:pt x="2152460" y="196113"/>
                  </a:lnTo>
                  <a:lnTo>
                    <a:pt x="2152460" y="196799"/>
                  </a:lnTo>
                  <a:lnTo>
                    <a:pt x="2152460" y="196113"/>
                  </a:lnTo>
                  <a:lnTo>
                    <a:pt x="2152460" y="197447"/>
                  </a:lnTo>
                  <a:lnTo>
                    <a:pt x="2152511" y="197447"/>
                  </a:lnTo>
                  <a:lnTo>
                    <a:pt x="2152511" y="196113"/>
                  </a:lnTo>
                  <a:lnTo>
                    <a:pt x="2152511" y="199530"/>
                  </a:lnTo>
                  <a:lnTo>
                    <a:pt x="2152511" y="198831"/>
                  </a:lnTo>
                  <a:lnTo>
                    <a:pt x="2152612" y="197447"/>
                  </a:lnTo>
                  <a:lnTo>
                    <a:pt x="2152612" y="198831"/>
                  </a:lnTo>
                  <a:lnTo>
                    <a:pt x="2152612" y="197447"/>
                  </a:lnTo>
                  <a:lnTo>
                    <a:pt x="2152612" y="199530"/>
                  </a:lnTo>
                  <a:lnTo>
                    <a:pt x="2152612" y="198831"/>
                  </a:lnTo>
                  <a:lnTo>
                    <a:pt x="2152650" y="198831"/>
                  </a:lnTo>
                  <a:lnTo>
                    <a:pt x="2152650" y="197447"/>
                  </a:lnTo>
                  <a:lnTo>
                    <a:pt x="2152650" y="199530"/>
                  </a:lnTo>
                  <a:lnTo>
                    <a:pt x="2152650" y="198831"/>
                  </a:lnTo>
                  <a:lnTo>
                    <a:pt x="2152701" y="198831"/>
                  </a:lnTo>
                  <a:lnTo>
                    <a:pt x="2152701" y="200228"/>
                  </a:lnTo>
                  <a:lnTo>
                    <a:pt x="2152701" y="199530"/>
                  </a:lnTo>
                  <a:lnTo>
                    <a:pt x="2152701" y="200228"/>
                  </a:lnTo>
                  <a:lnTo>
                    <a:pt x="2152701" y="199530"/>
                  </a:lnTo>
                  <a:lnTo>
                    <a:pt x="2152701" y="200228"/>
                  </a:lnTo>
                  <a:lnTo>
                    <a:pt x="2152701" y="199530"/>
                  </a:lnTo>
                  <a:lnTo>
                    <a:pt x="2152752" y="199530"/>
                  </a:lnTo>
                  <a:lnTo>
                    <a:pt x="2152752" y="200228"/>
                  </a:lnTo>
                  <a:lnTo>
                    <a:pt x="2152752" y="199530"/>
                  </a:lnTo>
                  <a:lnTo>
                    <a:pt x="2152854" y="199530"/>
                  </a:lnTo>
                  <a:lnTo>
                    <a:pt x="2152854" y="200228"/>
                  </a:lnTo>
                  <a:lnTo>
                    <a:pt x="2152854" y="199530"/>
                  </a:lnTo>
                  <a:lnTo>
                    <a:pt x="2152905" y="198831"/>
                  </a:lnTo>
                  <a:lnTo>
                    <a:pt x="2152905" y="197447"/>
                  </a:lnTo>
                  <a:lnTo>
                    <a:pt x="2152905" y="198831"/>
                  </a:lnTo>
                  <a:lnTo>
                    <a:pt x="2152905" y="196799"/>
                  </a:lnTo>
                  <a:lnTo>
                    <a:pt x="2152955" y="196799"/>
                  </a:lnTo>
                  <a:lnTo>
                    <a:pt x="2152955" y="195415"/>
                  </a:lnTo>
                  <a:lnTo>
                    <a:pt x="2153057" y="195415"/>
                  </a:lnTo>
                  <a:lnTo>
                    <a:pt x="2153057" y="196113"/>
                  </a:lnTo>
                  <a:lnTo>
                    <a:pt x="2153057" y="194716"/>
                  </a:lnTo>
                  <a:lnTo>
                    <a:pt x="2153057" y="197447"/>
                  </a:lnTo>
                  <a:lnTo>
                    <a:pt x="2153108" y="197447"/>
                  </a:lnTo>
                  <a:lnTo>
                    <a:pt x="2153108" y="196113"/>
                  </a:lnTo>
                  <a:lnTo>
                    <a:pt x="2153108" y="196799"/>
                  </a:lnTo>
                  <a:lnTo>
                    <a:pt x="2153108" y="196113"/>
                  </a:lnTo>
                  <a:lnTo>
                    <a:pt x="2153108" y="197447"/>
                  </a:lnTo>
                  <a:lnTo>
                    <a:pt x="2153159" y="197447"/>
                  </a:lnTo>
                  <a:lnTo>
                    <a:pt x="2153159" y="196113"/>
                  </a:lnTo>
                  <a:lnTo>
                    <a:pt x="2153159" y="197447"/>
                  </a:lnTo>
                  <a:lnTo>
                    <a:pt x="2153159" y="196799"/>
                  </a:lnTo>
                  <a:lnTo>
                    <a:pt x="2153159" y="197447"/>
                  </a:lnTo>
                  <a:lnTo>
                    <a:pt x="2153197" y="197447"/>
                  </a:lnTo>
                  <a:lnTo>
                    <a:pt x="2153197" y="198831"/>
                  </a:lnTo>
                  <a:lnTo>
                    <a:pt x="2153197" y="197447"/>
                  </a:lnTo>
                  <a:lnTo>
                    <a:pt x="2153197" y="199530"/>
                  </a:lnTo>
                  <a:lnTo>
                    <a:pt x="2153197" y="198831"/>
                  </a:lnTo>
                  <a:lnTo>
                    <a:pt x="2153197" y="199530"/>
                  </a:lnTo>
                  <a:lnTo>
                    <a:pt x="2153298" y="198831"/>
                  </a:lnTo>
                  <a:lnTo>
                    <a:pt x="2153298" y="200228"/>
                  </a:lnTo>
                  <a:lnTo>
                    <a:pt x="2153298" y="199530"/>
                  </a:lnTo>
                  <a:lnTo>
                    <a:pt x="2153298" y="200228"/>
                  </a:lnTo>
                  <a:lnTo>
                    <a:pt x="2153298" y="199530"/>
                  </a:lnTo>
                  <a:lnTo>
                    <a:pt x="2153298" y="200228"/>
                  </a:lnTo>
                  <a:lnTo>
                    <a:pt x="2153298" y="199530"/>
                  </a:lnTo>
                  <a:lnTo>
                    <a:pt x="2153298" y="200228"/>
                  </a:lnTo>
                  <a:lnTo>
                    <a:pt x="2153349" y="200228"/>
                  </a:lnTo>
                  <a:lnTo>
                    <a:pt x="2153349" y="199530"/>
                  </a:lnTo>
                  <a:lnTo>
                    <a:pt x="2153349" y="200228"/>
                  </a:lnTo>
                  <a:lnTo>
                    <a:pt x="2153349" y="199530"/>
                  </a:lnTo>
                  <a:lnTo>
                    <a:pt x="2153349" y="200228"/>
                  </a:lnTo>
                  <a:lnTo>
                    <a:pt x="2153349" y="199530"/>
                  </a:lnTo>
                  <a:lnTo>
                    <a:pt x="2153400" y="199530"/>
                  </a:lnTo>
                  <a:lnTo>
                    <a:pt x="2153400" y="198831"/>
                  </a:lnTo>
                  <a:lnTo>
                    <a:pt x="2153400" y="199530"/>
                  </a:lnTo>
                  <a:lnTo>
                    <a:pt x="2153400" y="197447"/>
                  </a:lnTo>
                  <a:lnTo>
                    <a:pt x="2153400" y="198831"/>
                  </a:lnTo>
                  <a:lnTo>
                    <a:pt x="2153400" y="197447"/>
                  </a:lnTo>
                  <a:lnTo>
                    <a:pt x="2153501" y="197447"/>
                  </a:lnTo>
                  <a:lnTo>
                    <a:pt x="2153501" y="196113"/>
                  </a:lnTo>
                  <a:lnTo>
                    <a:pt x="2153501" y="196799"/>
                  </a:lnTo>
                  <a:lnTo>
                    <a:pt x="2153552" y="196799"/>
                  </a:lnTo>
                  <a:lnTo>
                    <a:pt x="2153552" y="195415"/>
                  </a:lnTo>
                  <a:lnTo>
                    <a:pt x="2153552" y="196799"/>
                  </a:lnTo>
                  <a:lnTo>
                    <a:pt x="2153603" y="196799"/>
                  </a:lnTo>
                  <a:lnTo>
                    <a:pt x="2153603" y="196113"/>
                  </a:lnTo>
                  <a:lnTo>
                    <a:pt x="2153603" y="196799"/>
                  </a:lnTo>
                  <a:lnTo>
                    <a:pt x="2153603" y="196113"/>
                  </a:lnTo>
                  <a:lnTo>
                    <a:pt x="2153603" y="196799"/>
                  </a:lnTo>
                  <a:lnTo>
                    <a:pt x="2153654" y="196799"/>
                  </a:lnTo>
                  <a:lnTo>
                    <a:pt x="2153654" y="196113"/>
                  </a:lnTo>
                  <a:lnTo>
                    <a:pt x="2153654" y="197447"/>
                  </a:lnTo>
                  <a:lnTo>
                    <a:pt x="2153654" y="196799"/>
                  </a:lnTo>
                  <a:lnTo>
                    <a:pt x="2153743" y="196799"/>
                  </a:lnTo>
                  <a:lnTo>
                    <a:pt x="2153743" y="197447"/>
                  </a:lnTo>
                  <a:lnTo>
                    <a:pt x="2153743" y="196799"/>
                  </a:lnTo>
                  <a:lnTo>
                    <a:pt x="2153743" y="197447"/>
                  </a:lnTo>
                  <a:lnTo>
                    <a:pt x="2153743" y="196799"/>
                  </a:lnTo>
                  <a:lnTo>
                    <a:pt x="2153743" y="197447"/>
                  </a:lnTo>
                  <a:lnTo>
                    <a:pt x="2153794" y="197447"/>
                  </a:lnTo>
                  <a:lnTo>
                    <a:pt x="2153794" y="198831"/>
                  </a:lnTo>
                  <a:lnTo>
                    <a:pt x="2153844" y="199530"/>
                  </a:lnTo>
                  <a:lnTo>
                    <a:pt x="2153844" y="198831"/>
                  </a:lnTo>
                  <a:lnTo>
                    <a:pt x="2153844" y="199530"/>
                  </a:lnTo>
                  <a:lnTo>
                    <a:pt x="2153844" y="197447"/>
                  </a:lnTo>
                  <a:lnTo>
                    <a:pt x="2153844" y="198831"/>
                  </a:lnTo>
                  <a:lnTo>
                    <a:pt x="2153895" y="198831"/>
                  </a:lnTo>
                  <a:lnTo>
                    <a:pt x="2153895" y="197447"/>
                  </a:lnTo>
                  <a:lnTo>
                    <a:pt x="2153895" y="198831"/>
                  </a:lnTo>
                  <a:lnTo>
                    <a:pt x="2153895" y="197447"/>
                  </a:lnTo>
                  <a:lnTo>
                    <a:pt x="2153895" y="198831"/>
                  </a:lnTo>
                  <a:lnTo>
                    <a:pt x="2153895" y="197447"/>
                  </a:lnTo>
                  <a:lnTo>
                    <a:pt x="2153895" y="198831"/>
                  </a:lnTo>
                  <a:lnTo>
                    <a:pt x="2153895" y="196799"/>
                  </a:lnTo>
                  <a:lnTo>
                    <a:pt x="2153997" y="196799"/>
                  </a:lnTo>
                  <a:lnTo>
                    <a:pt x="2153997" y="196113"/>
                  </a:lnTo>
                  <a:lnTo>
                    <a:pt x="2153997" y="198831"/>
                  </a:lnTo>
                  <a:lnTo>
                    <a:pt x="2153997" y="197447"/>
                  </a:lnTo>
                  <a:lnTo>
                    <a:pt x="2154047" y="196799"/>
                  </a:lnTo>
                  <a:lnTo>
                    <a:pt x="2154047" y="196113"/>
                  </a:lnTo>
                  <a:lnTo>
                    <a:pt x="2154047" y="199530"/>
                  </a:lnTo>
                  <a:lnTo>
                    <a:pt x="2154047" y="197447"/>
                  </a:lnTo>
                  <a:lnTo>
                    <a:pt x="2154098" y="197447"/>
                  </a:lnTo>
                  <a:lnTo>
                    <a:pt x="2154098" y="196799"/>
                  </a:lnTo>
                  <a:lnTo>
                    <a:pt x="2154098" y="199530"/>
                  </a:lnTo>
                  <a:lnTo>
                    <a:pt x="2154098" y="197447"/>
                  </a:lnTo>
                  <a:lnTo>
                    <a:pt x="2154200" y="197447"/>
                  </a:lnTo>
                  <a:lnTo>
                    <a:pt x="2154200" y="198831"/>
                  </a:lnTo>
                  <a:lnTo>
                    <a:pt x="2154200" y="197447"/>
                  </a:lnTo>
                  <a:lnTo>
                    <a:pt x="2154200" y="199530"/>
                  </a:lnTo>
                  <a:lnTo>
                    <a:pt x="2154200" y="198831"/>
                  </a:lnTo>
                  <a:lnTo>
                    <a:pt x="2154238" y="198831"/>
                  </a:lnTo>
                  <a:lnTo>
                    <a:pt x="2154238" y="197447"/>
                  </a:lnTo>
                  <a:lnTo>
                    <a:pt x="2154238" y="199530"/>
                  </a:lnTo>
                  <a:lnTo>
                    <a:pt x="2154238" y="197447"/>
                  </a:lnTo>
                  <a:lnTo>
                    <a:pt x="2154238" y="198831"/>
                  </a:lnTo>
                  <a:lnTo>
                    <a:pt x="2154289" y="198831"/>
                  </a:lnTo>
                  <a:lnTo>
                    <a:pt x="2154289" y="199530"/>
                  </a:lnTo>
                  <a:lnTo>
                    <a:pt x="2154289" y="198831"/>
                  </a:lnTo>
                  <a:lnTo>
                    <a:pt x="2154289" y="199530"/>
                  </a:lnTo>
                  <a:lnTo>
                    <a:pt x="2154289" y="198831"/>
                  </a:lnTo>
                  <a:lnTo>
                    <a:pt x="2154340" y="198831"/>
                  </a:lnTo>
                  <a:lnTo>
                    <a:pt x="2154340" y="199530"/>
                  </a:lnTo>
                  <a:lnTo>
                    <a:pt x="2154340" y="198831"/>
                  </a:lnTo>
                  <a:lnTo>
                    <a:pt x="2154340" y="199530"/>
                  </a:lnTo>
                  <a:lnTo>
                    <a:pt x="2154340" y="198831"/>
                  </a:lnTo>
                  <a:lnTo>
                    <a:pt x="2154340" y="199530"/>
                  </a:lnTo>
                  <a:lnTo>
                    <a:pt x="2154340" y="198831"/>
                  </a:lnTo>
                  <a:lnTo>
                    <a:pt x="2154340" y="199530"/>
                  </a:lnTo>
                  <a:lnTo>
                    <a:pt x="2154340" y="198831"/>
                  </a:lnTo>
                  <a:lnTo>
                    <a:pt x="2154441" y="198831"/>
                  </a:lnTo>
                  <a:lnTo>
                    <a:pt x="2154441" y="196799"/>
                  </a:lnTo>
                  <a:lnTo>
                    <a:pt x="2154492" y="196799"/>
                  </a:lnTo>
                  <a:lnTo>
                    <a:pt x="2154492" y="198831"/>
                  </a:lnTo>
                  <a:lnTo>
                    <a:pt x="2154492" y="196799"/>
                  </a:lnTo>
                  <a:lnTo>
                    <a:pt x="2154543" y="196799"/>
                  </a:lnTo>
                  <a:lnTo>
                    <a:pt x="2154543" y="197447"/>
                  </a:lnTo>
                  <a:lnTo>
                    <a:pt x="2154543" y="196799"/>
                  </a:lnTo>
                  <a:lnTo>
                    <a:pt x="2154543" y="199530"/>
                  </a:lnTo>
                  <a:lnTo>
                    <a:pt x="2154543" y="198831"/>
                  </a:lnTo>
                  <a:lnTo>
                    <a:pt x="2154644" y="198831"/>
                  </a:lnTo>
                  <a:lnTo>
                    <a:pt x="2154644" y="200228"/>
                  </a:lnTo>
                  <a:lnTo>
                    <a:pt x="2154644" y="198831"/>
                  </a:lnTo>
                  <a:lnTo>
                    <a:pt x="2154644" y="199530"/>
                  </a:lnTo>
                  <a:lnTo>
                    <a:pt x="2154644" y="198831"/>
                  </a:lnTo>
                  <a:lnTo>
                    <a:pt x="2154644" y="199530"/>
                  </a:lnTo>
                  <a:lnTo>
                    <a:pt x="2154644" y="198831"/>
                  </a:lnTo>
                  <a:lnTo>
                    <a:pt x="2154695" y="199530"/>
                  </a:lnTo>
                  <a:lnTo>
                    <a:pt x="2154695" y="200228"/>
                  </a:lnTo>
                  <a:lnTo>
                    <a:pt x="2154695" y="198831"/>
                  </a:lnTo>
                  <a:lnTo>
                    <a:pt x="2154695" y="199530"/>
                  </a:lnTo>
                  <a:lnTo>
                    <a:pt x="2154784" y="199530"/>
                  </a:lnTo>
                  <a:lnTo>
                    <a:pt x="2154784" y="198831"/>
                  </a:lnTo>
                  <a:lnTo>
                    <a:pt x="2154886" y="198831"/>
                  </a:lnTo>
                  <a:lnTo>
                    <a:pt x="2154886" y="197447"/>
                  </a:lnTo>
                  <a:lnTo>
                    <a:pt x="2154886" y="198831"/>
                  </a:lnTo>
                  <a:lnTo>
                    <a:pt x="2154886" y="196799"/>
                  </a:lnTo>
                  <a:lnTo>
                    <a:pt x="2154937" y="196799"/>
                  </a:lnTo>
                  <a:lnTo>
                    <a:pt x="2154937" y="197447"/>
                  </a:lnTo>
                  <a:lnTo>
                    <a:pt x="2154937" y="195415"/>
                  </a:lnTo>
                  <a:lnTo>
                    <a:pt x="2154987" y="195415"/>
                  </a:lnTo>
                  <a:lnTo>
                    <a:pt x="2154987" y="196113"/>
                  </a:lnTo>
                  <a:lnTo>
                    <a:pt x="2154987" y="195415"/>
                  </a:lnTo>
                  <a:lnTo>
                    <a:pt x="2154987" y="196113"/>
                  </a:lnTo>
                  <a:lnTo>
                    <a:pt x="2154987" y="195415"/>
                  </a:lnTo>
                  <a:lnTo>
                    <a:pt x="2154987" y="196113"/>
                  </a:lnTo>
                  <a:lnTo>
                    <a:pt x="2155089" y="195415"/>
                  </a:lnTo>
                  <a:lnTo>
                    <a:pt x="2155089" y="198831"/>
                  </a:lnTo>
                  <a:lnTo>
                    <a:pt x="2155089" y="196799"/>
                  </a:lnTo>
                  <a:lnTo>
                    <a:pt x="2155140" y="196799"/>
                  </a:lnTo>
                  <a:lnTo>
                    <a:pt x="2155140" y="198831"/>
                  </a:lnTo>
                  <a:lnTo>
                    <a:pt x="2155190" y="198831"/>
                  </a:lnTo>
                  <a:lnTo>
                    <a:pt x="2155190" y="197447"/>
                  </a:lnTo>
                  <a:lnTo>
                    <a:pt x="2155190" y="198831"/>
                  </a:lnTo>
                  <a:lnTo>
                    <a:pt x="2155190" y="197447"/>
                  </a:lnTo>
                  <a:lnTo>
                    <a:pt x="2155190" y="199530"/>
                  </a:lnTo>
                  <a:lnTo>
                    <a:pt x="2155241" y="198831"/>
                  </a:lnTo>
                  <a:lnTo>
                    <a:pt x="2155241" y="199530"/>
                  </a:lnTo>
                  <a:lnTo>
                    <a:pt x="2155241" y="198831"/>
                  </a:lnTo>
                  <a:lnTo>
                    <a:pt x="2155241" y="200228"/>
                  </a:lnTo>
                  <a:lnTo>
                    <a:pt x="2155241" y="199530"/>
                  </a:lnTo>
                  <a:lnTo>
                    <a:pt x="2155381" y="199530"/>
                  </a:lnTo>
                  <a:lnTo>
                    <a:pt x="2155381" y="198831"/>
                  </a:lnTo>
                  <a:lnTo>
                    <a:pt x="2155432" y="198831"/>
                  </a:lnTo>
                  <a:lnTo>
                    <a:pt x="2155432" y="196799"/>
                  </a:lnTo>
                  <a:lnTo>
                    <a:pt x="2155432" y="197447"/>
                  </a:lnTo>
                  <a:lnTo>
                    <a:pt x="2155432" y="196113"/>
                  </a:lnTo>
                  <a:lnTo>
                    <a:pt x="2155483" y="196113"/>
                  </a:lnTo>
                  <a:lnTo>
                    <a:pt x="2155483" y="195415"/>
                  </a:lnTo>
                  <a:lnTo>
                    <a:pt x="2155483" y="196799"/>
                  </a:lnTo>
                  <a:lnTo>
                    <a:pt x="2155483" y="195415"/>
                  </a:lnTo>
                  <a:lnTo>
                    <a:pt x="2155584" y="195415"/>
                  </a:lnTo>
                  <a:lnTo>
                    <a:pt x="2155584" y="197447"/>
                  </a:lnTo>
                  <a:lnTo>
                    <a:pt x="2155584" y="196799"/>
                  </a:lnTo>
                  <a:lnTo>
                    <a:pt x="2155635" y="196799"/>
                  </a:lnTo>
                  <a:lnTo>
                    <a:pt x="2155635" y="198831"/>
                  </a:lnTo>
                  <a:lnTo>
                    <a:pt x="2155635" y="197447"/>
                  </a:lnTo>
                  <a:lnTo>
                    <a:pt x="2155635" y="199530"/>
                  </a:lnTo>
                  <a:lnTo>
                    <a:pt x="2155635" y="196799"/>
                  </a:lnTo>
                  <a:lnTo>
                    <a:pt x="2155635" y="197447"/>
                  </a:lnTo>
                  <a:lnTo>
                    <a:pt x="2155686" y="197447"/>
                  </a:lnTo>
                  <a:lnTo>
                    <a:pt x="2155686" y="198831"/>
                  </a:lnTo>
                  <a:lnTo>
                    <a:pt x="2155686" y="197447"/>
                  </a:lnTo>
                  <a:lnTo>
                    <a:pt x="2155686" y="199530"/>
                  </a:lnTo>
                  <a:lnTo>
                    <a:pt x="2155787" y="199530"/>
                  </a:lnTo>
                  <a:lnTo>
                    <a:pt x="2155787" y="198831"/>
                  </a:lnTo>
                  <a:lnTo>
                    <a:pt x="2155787" y="199530"/>
                  </a:lnTo>
                  <a:lnTo>
                    <a:pt x="2155787" y="198831"/>
                  </a:lnTo>
                  <a:lnTo>
                    <a:pt x="2155787" y="199530"/>
                  </a:lnTo>
                  <a:lnTo>
                    <a:pt x="2155787" y="198831"/>
                  </a:lnTo>
                  <a:lnTo>
                    <a:pt x="2155787" y="199530"/>
                  </a:lnTo>
                  <a:lnTo>
                    <a:pt x="2155787" y="198831"/>
                  </a:lnTo>
                  <a:lnTo>
                    <a:pt x="2155787" y="199530"/>
                  </a:lnTo>
                  <a:lnTo>
                    <a:pt x="2155825" y="199530"/>
                  </a:lnTo>
                  <a:lnTo>
                    <a:pt x="2155825" y="200228"/>
                  </a:lnTo>
                  <a:lnTo>
                    <a:pt x="2155825" y="199530"/>
                  </a:lnTo>
                  <a:lnTo>
                    <a:pt x="2155876" y="200228"/>
                  </a:lnTo>
                  <a:lnTo>
                    <a:pt x="2155876" y="198831"/>
                  </a:lnTo>
                  <a:lnTo>
                    <a:pt x="2155927" y="198831"/>
                  </a:lnTo>
                  <a:lnTo>
                    <a:pt x="2155927" y="196799"/>
                  </a:lnTo>
                  <a:lnTo>
                    <a:pt x="2155927" y="197447"/>
                  </a:lnTo>
                  <a:lnTo>
                    <a:pt x="2155927" y="196113"/>
                  </a:lnTo>
                  <a:lnTo>
                    <a:pt x="2156029" y="196113"/>
                  </a:lnTo>
                  <a:lnTo>
                    <a:pt x="2156029" y="195415"/>
                  </a:lnTo>
                  <a:lnTo>
                    <a:pt x="2156029" y="197447"/>
                  </a:lnTo>
                  <a:lnTo>
                    <a:pt x="2156029" y="195415"/>
                  </a:lnTo>
                  <a:lnTo>
                    <a:pt x="2156080" y="195415"/>
                  </a:lnTo>
                  <a:lnTo>
                    <a:pt x="2156080" y="198831"/>
                  </a:lnTo>
                  <a:lnTo>
                    <a:pt x="2156080" y="196799"/>
                  </a:lnTo>
                  <a:lnTo>
                    <a:pt x="2156130" y="196799"/>
                  </a:lnTo>
                  <a:lnTo>
                    <a:pt x="2156130" y="199530"/>
                  </a:lnTo>
                  <a:lnTo>
                    <a:pt x="2156130" y="197447"/>
                  </a:lnTo>
                  <a:lnTo>
                    <a:pt x="2156232" y="198831"/>
                  </a:lnTo>
                  <a:lnTo>
                    <a:pt x="2156232" y="197447"/>
                  </a:lnTo>
                  <a:lnTo>
                    <a:pt x="2156232" y="198831"/>
                  </a:lnTo>
                  <a:lnTo>
                    <a:pt x="2156232" y="197447"/>
                  </a:lnTo>
                  <a:lnTo>
                    <a:pt x="2156232" y="198831"/>
                  </a:lnTo>
                  <a:lnTo>
                    <a:pt x="2156283" y="198831"/>
                  </a:lnTo>
                  <a:lnTo>
                    <a:pt x="2156283" y="199530"/>
                  </a:lnTo>
                  <a:lnTo>
                    <a:pt x="2156283" y="198831"/>
                  </a:lnTo>
                  <a:lnTo>
                    <a:pt x="2156283" y="199530"/>
                  </a:lnTo>
                  <a:lnTo>
                    <a:pt x="2156283" y="198831"/>
                  </a:lnTo>
                  <a:lnTo>
                    <a:pt x="2156283" y="199530"/>
                  </a:lnTo>
                  <a:lnTo>
                    <a:pt x="2156334" y="200228"/>
                  </a:lnTo>
                  <a:lnTo>
                    <a:pt x="2156334" y="199530"/>
                  </a:lnTo>
                  <a:lnTo>
                    <a:pt x="2156334" y="200228"/>
                  </a:lnTo>
                  <a:lnTo>
                    <a:pt x="2156334" y="199530"/>
                  </a:lnTo>
                  <a:lnTo>
                    <a:pt x="2156334" y="200228"/>
                  </a:lnTo>
                  <a:lnTo>
                    <a:pt x="2156334" y="199530"/>
                  </a:lnTo>
                  <a:lnTo>
                    <a:pt x="2156334" y="200228"/>
                  </a:lnTo>
                  <a:lnTo>
                    <a:pt x="2156334" y="199530"/>
                  </a:lnTo>
                  <a:lnTo>
                    <a:pt x="2156334" y="200228"/>
                  </a:lnTo>
                  <a:lnTo>
                    <a:pt x="2156334" y="199530"/>
                  </a:lnTo>
                  <a:lnTo>
                    <a:pt x="2156372" y="200228"/>
                  </a:lnTo>
                  <a:lnTo>
                    <a:pt x="2156372" y="199530"/>
                  </a:lnTo>
                  <a:lnTo>
                    <a:pt x="2156372" y="200228"/>
                  </a:lnTo>
                  <a:lnTo>
                    <a:pt x="2156372" y="198831"/>
                  </a:lnTo>
                  <a:lnTo>
                    <a:pt x="2156473" y="198831"/>
                  </a:lnTo>
                  <a:lnTo>
                    <a:pt x="2156473" y="196799"/>
                  </a:lnTo>
                  <a:lnTo>
                    <a:pt x="2156473" y="197447"/>
                  </a:lnTo>
                  <a:lnTo>
                    <a:pt x="2156524" y="197447"/>
                  </a:lnTo>
                  <a:lnTo>
                    <a:pt x="2156524" y="196113"/>
                  </a:lnTo>
                  <a:lnTo>
                    <a:pt x="2156524" y="198831"/>
                  </a:lnTo>
                  <a:lnTo>
                    <a:pt x="2156575" y="198831"/>
                  </a:lnTo>
                  <a:lnTo>
                    <a:pt x="2156575" y="199530"/>
                  </a:lnTo>
                  <a:lnTo>
                    <a:pt x="2156575" y="196799"/>
                  </a:lnTo>
                  <a:lnTo>
                    <a:pt x="2156575" y="198831"/>
                  </a:lnTo>
                  <a:lnTo>
                    <a:pt x="2156676" y="198831"/>
                  </a:lnTo>
                  <a:lnTo>
                    <a:pt x="2156676" y="197447"/>
                  </a:lnTo>
                  <a:lnTo>
                    <a:pt x="2156676" y="198831"/>
                  </a:lnTo>
                  <a:lnTo>
                    <a:pt x="2156676" y="197447"/>
                  </a:lnTo>
                  <a:lnTo>
                    <a:pt x="2156676" y="198831"/>
                  </a:lnTo>
                  <a:lnTo>
                    <a:pt x="2156727" y="197447"/>
                  </a:lnTo>
                  <a:lnTo>
                    <a:pt x="2156727" y="198831"/>
                  </a:lnTo>
                  <a:lnTo>
                    <a:pt x="2156727" y="197447"/>
                  </a:lnTo>
                  <a:lnTo>
                    <a:pt x="2156727" y="198831"/>
                  </a:lnTo>
                  <a:lnTo>
                    <a:pt x="2156727" y="197447"/>
                  </a:lnTo>
                  <a:lnTo>
                    <a:pt x="2156778" y="198831"/>
                  </a:lnTo>
                  <a:lnTo>
                    <a:pt x="2156778" y="199530"/>
                  </a:lnTo>
                  <a:lnTo>
                    <a:pt x="2156829" y="199530"/>
                  </a:lnTo>
                  <a:lnTo>
                    <a:pt x="2156829" y="198831"/>
                  </a:lnTo>
                  <a:lnTo>
                    <a:pt x="2156829" y="199530"/>
                  </a:lnTo>
                  <a:lnTo>
                    <a:pt x="2156829" y="198831"/>
                  </a:lnTo>
                  <a:lnTo>
                    <a:pt x="2156829" y="199530"/>
                  </a:lnTo>
                  <a:lnTo>
                    <a:pt x="2156829" y="198831"/>
                  </a:lnTo>
                  <a:lnTo>
                    <a:pt x="2156829" y="199530"/>
                  </a:lnTo>
                  <a:lnTo>
                    <a:pt x="2156829" y="198831"/>
                  </a:lnTo>
                  <a:lnTo>
                    <a:pt x="2156918" y="198831"/>
                  </a:lnTo>
                  <a:lnTo>
                    <a:pt x="2156918" y="197447"/>
                  </a:lnTo>
                  <a:lnTo>
                    <a:pt x="2156918" y="198831"/>
                  </a:lnTo>
                  <a:lnTo>
                    <a:pt x="2156918" y="197447"/>
                  </a:lnTo>
                  <a:lnTo>
                    <a:pt x="2156969" y="197447"/>
                  </a:lnTo>
                  <a:lnTo>
                    <a:pt x="2156969" y="196113"/>
                  </a:lnTo>
                  <a:lnTo>
                    <a:pt x="2156969" y="199530"/>
                  </a:lnTo>
                  <a:lnTo>
                    <a:pt x="2156969" y="198831"/>
                  </a:lnTo>
                  <a:lnTo>
                    <a:pt x="2156969" y="199530"/>
                  </a:lnTo>
                  <a:lnTo>
                    <a:pt x="2156969" y="197447"/>
                  </a:lnTo>
                  <a:lnTo>
                    <a:pt x="2157019" y="197447"/>
                  </a:lnTo>
                  <a:lnTo>
                    <a:pt x="2157019" y="196799"/>
                  </a:lnTo>
                  <a:lnTo>
                    <a:pt x="2157019" y="200876"/>
                  </a:lnTo>
                  <a:lnTo>
                    <a:pt x="2157019" y="199530"/>
                  </a:lnTo>
                  <a:lnTo>
                    <a:pt x="2157070" y="198831"/>
                  </a:lnTo>
                  <a:lnTo>
                    <a:pt x="2157070" y="200228"/>
                  </a:lnTo>
                  <a:lnTo>
                    <a:pt x="2157070" y="199530"/>
                  </a:lnTo>
                  <a:lnTo>
                    <a:pt x="2157070" y="200228"/>
                  </a:lnTo>
                  <a:lnTo>
                    <a:pt x="2157172" y="200228"/>
                  </a:lnTo>
                  <a:lnTo>
                    <a:pt x="2157172" y="199530"/>
                  </a:lnTo>
                  <a:lnTo>
                    <a:pt x="2157172" y="200228"/>
                  </a:lnTo>
                  <a:lnTo>
                    <a:pt x="2157172" y="199530"/>
                  </a:lnTo>
                  <a:lnTo>
                    <a:pt x="2157222" y="199530"/>
                  </a:lnTo>
                  <a:lnTo>
                    <a:pt x="2157222" y="200228"/>
                  </a:lnTo>
                  <a:lnTo>
                    <a:pt x="2157222" y="199530"/>
                  </a:lnTo>
                  <a:lnTo>
                    <a:pt x="2157222" y="200876"/>
                  </a:lnTo>
                  <a:lnTo>
                    <a:pt x="2157222" y="199530"/>
                  </a:lnTo>
                  <a:lnTo>
                    <a:pt x="2157222" y="200228"/>
                  </a:lnTo>
                  <a:lnTo>
                    <a:pt x="2157273" y="200228"/>
                  </a:lnTo>
                  <a:lnTo>
                    <a:pt x="2157273" y="199530"/>
                  </a:lnTo>
                  <a:lnTo>
                    <a:pt x="2157375" y="199530"/>
                  </a:lnTo>
                  <a:lnTo>
                    <a:pt x="2157375" y="200228"/>
                  </a:lnTo>
                  <a:lnTo>
                    <a:pt x="2157375" y="199530"/>
                  </a:lnTo>
                  <a:lnTo>
                    <a:pt x="2157375" y="200228"/>
                  </a:lnTo>
                  <a:lnTo>
                    <a:pt x="2157375" y="199530"/>
                  </a:lnTo>
                  <a:lnTo>
                    <a:pt x="2157413" y="199530"/>
                  </a:lnTo>
                  <a:lnTo>
                    <a:pt x="2157413" y="198831"/>
                  </a:lnTo>
                  <a:lnTo>
                    <a:pt x="2157413" y="199530"/>
                  </a:lnTo>
                  <a:lnTo>
                    <a:pt x="2157413" y="196799"/>
                  </a:lnTo>
                  <a:lnTo>
                    <a:pt x="2157464" y="196799"/>
                  </a:lnTo>
                  <a:lnTo>
                    <a:pt x="2157464" y="200228"/>
                  </a:lnTo>
                  <a:lnTo>
                    <a:pt x="2157464" y="197447"/>
                  </a:lnTo>
                  <a:lnTo>
                    <a:pt x="2157464" y="199530"/>
                  </a:lnTo>
                  <a:lnTo>
                    <a:pt x="2157515" y="200228"/>
                  </a:lnTo>
                  <a:lnTo>
                    <a:pt x="2157515" y="200876"/>
                  </a:lnTo>
                  <a:lnTo>
                    <a:pt x="2157515" y="200228"/>
                  </a:lnTo>
                  <a:lnTo>
                    <a:pt x="2157515" y="200876"/>
                  </a:lnTo>
                  <a:lnTo>
                    <a:pt x="2157616" y="200876"/>
                  </a:lnTo>
                  <a:lnTo>
                    <a:pt x="2157616" y="202260"/>
                  </a:lnTo>
                  <a:lnTo>
                    <a:pt x="2157616" y="200876"/>
                  </a:lnTo>
                  <a:lnTo>
                    <a:pt x="2157616" y="202260"/>
                  </a:lnTo>
                  <a:lnTo>
                    <a:pt x="2157616" y="200228"/>
                  </a:lnTo>
                  <a:lnTo>
                    <a:pt x="2157616" y="200876"/>
                  </a:lnTo>
                  <a:lnTo>
                    <a:pt x="2157667" y="202260"/>
                  </a:lnTo>
                  <a:lnTo>
                    <a:pt x="2157667" y="200876"/>
                  </a:lnTo>
                  <a:lnTo>
                    <a:pt x="2157667" y="202260"/>
                  </a:lnTo>
                  <a:lnTo>
                    <a:pt x="2157667" y="200228"/>
                  </a:lnTo>
                  <a:lnTo>
                    <a:pt x="2157667" y="200876"/>
                  </a:lnTo>
                  <a:lnTo>
                    <a:pt x="2157819" y="200876"/>
                  </a:lnTo>
                  <a:lnTo>
                    <a:pt x="2157819" y="199530"/>
                  </a:lnTo>
                  <a:lnTo>
                    <a:pt x="2157870" y="199530"/>
                  </a:lnTo>
                  <a:lnTo>
                    <a:pt x="2157870" y="200228"/>
                  </a:lnTo>
                  <a:lnTo>
                    <a:pt x="2157870" y="197447"/>
                  </a:lnTo>
                  <a:lnTo>
                    <a:pt x="2157921" y="197447"/>
                  </a:lnTo>
                  <a:lnTo>
                    <a:pt x="2157921" y="196799"/>
                  </a:lnTo>
                  <a:lnTo>
                    <a:pt x="2157921" y="198831"/>
                  </a:lnTo>
                  <a:lnTo>
                    <a:pt x="2157959" y="197447"/>
                  </a:lnTo>
                  <a:lnTo>
                    <a:pt x="2157959" y="200228"/>
                  </a:lnTo>
                  <a:lnTo>
                    <a:pt x="2158061" y="200228"/>
                  </a:lnTo>
                  <a:lnTo>
                    <a:pt x="2158061" y="199530"/>
                  </a:lnTo>
                  <a:lnTo>
                    <a:pt x="2158061" y="200228"/>
                  </a:lnTo>
                  <a:lnTo>
                    <a:pt x="2158061" y="199530"/>
                  </a:lnTo>
                  <a:lnTo>
                    <a:pt x="2158061" y="200876"/>
                  </a:lnTo>
                  <a:lnTo>
                    <a:pt x="2158061" y="200228"/>
                  </a:lnTo>
                  <a:lnTo>
                    <a:pt x="2158112" y="200228"/>
                  </a:lnTo>
                  <a:lnTo>
                    <a:pt x="2158112" y="200876"/>
                  </a:lnTo>
                  <a:lnTo>
                    <a:pt x="2158112" y="200228"/>
                  </a:lnTo>
                  <a:lnTo>
                    <a:pt x="2158112" y="202260"/>
                  </a:lnTo>
                  <a:lnTo>
                    <a:pt x="2158112" y="200876"/>
                  </a:lnTo>
                  <a:lnTo>
                    <a:pt x="2158162" y="200876"/>
                  </a:lnTo>
                  <a:lnTo>
                    <a:pt x="2158162" y="200228"/>
                  </a:lnTo>
                  <a:lnTo>
                    <a:pt x="2158162" y="200876"/>
                  </a:lnTo>
                  <a:lnTo>
                    <a:pt x="2158162" y="200228"/>
                  </a:lnTo>
                  <a:lnTo>
                    <a:pt x="2158162" y="200876"/>
                  </a:lnTo>
                  <a:lnTo>
                    <a:pt x="2158315" y="200876"/>
                  </a:lnTo>
                  <a:lnTo>
                    <a:pt x="2158315" y="200228"/>
                  </a:lnTo>
                  <a:lnTo>
                    <a:pt x="2158365" y="200228"/>
                  </a:lnTo>
                  <a:lnTo>
                    <a:pt x="2158365" y="197447"/>
                  </a:lnTo>
                  <a:lnTo>
                    <a:pt x="2158365" y="198831"/>
                  </a:lnTo>
                  <a:lnTo>
                    <a:pt x="2158365" y="197447"/>
                  </a:lnTo>
                  <a:lnTo>
                    <a:pt x="2158416" y="197447"/>
                  </a:lnTo>
                  <a:lnTo>
                    <a:pt x="2158416" y="198831"/>
                  </a:lnTo>
                  <a:lnTo>
                    <a:pt x="2158416" y="197447"/>
                  </a:lnTo>
                  <a:lnTo>
                    <a:pt x="2158416" y="198831"/>
                  </a:lnTo>
                  <a:lnTo>
                    <a:pt x="2158416" y="197447"/>
                  </a:lnTo>
                  <a:lnTo>
                    <a:pt x="2158416" y="198831"/>
                  </a:lnTo>
                  <a:lnTo>
                    <a:pt x="2158505" y="198831"/>
                  </a:lnTo>
                  <a:lnTo>
                    <a:pt x="2158505" y="197447"/>
                  </a:lnTo>
                  <a:lnTo>
                    <a:pt x="2158505" y="200228"/>
                  </a:lnTo>
                  <a:lnTo>
                    <a:pt x="2158505" y="199530"/>
                  </a:lnTo>
                  <a:lnTo>
                    <a:pt x="2158556" y="199530"/>
                  </a:lnTo>
                  <a:lnTo>
                    <a:pt x="2158556" y="200228"/>
                  </a:lnTo>
                  <a:lnTo>
                    <a:pt x="2158556" y="199530"/>
                  </a:lnTo>
                  <a:lnTo>
                    <a:pt x="2158556" y="200228"/>
                  </a:lnTo>
                  <a:lnTo>
                    <a:pt x="2158607" y="200228"/>
                  </a:lnTo>
                  <a:lnTo>
                    <a:pt x="2158607" y="200876"/>
                  </a:lnTo>
                  <a:lnTo>
                    <a:pt x="2158607" y="200228"/>
                  </a:lnTo>
                  <a:lnTo>
                    <a:pt x="2158607" y="200876"/>
                  </a:lnTo>
                  <a:lnTo>
                    <a:pt x="2158658" y="200876"/>
                  </a:lnTo>
                  <a:lnTo>
                    <a:pt x="2158658" y="200228"/>
                  </a:lnTo>
                  <a:lnTo>
                    <a:pt x="2158658" y="200876"/>
                  </a:lnTo>
                  <a:lnTo>
                    <a:pt x="2158658" y="200228"/>
                  </a:lnTo>
                  <a:lnTo>
                    <a:pt x="2158658" y="200876"/>
                  </a:lnTo>
                  <a:lnTo>
                    <a:pt x="2158759" y="200876"/>
                  </a:lnTo>
                  <a:lnTo>
                    <a:pt x="2158759" y="200228"/>
                  </a:lnTo>
                  <a:lnTo>
                    <a:pt x="2158759" y="200876"/>
                  </a:lnTo>
                  <a:lnTo>
                    <a:pt x="2158810" y="200876"/>
                  </a:lnTo>
                  <a:lnTo>
                    <a:pt x="2158810" y="199530"/>
                  </a:lnTo>
                  <a:lnTo>
                    <a:pt x="2158810" y="200228"/>
                  </a:lnTo>
                  <a:lnTo>
                    <a:pt x="2158810" y="199530"/>
                  </a:lnTo>
                  <a:lnTo>
                    <a:pt x="2158861" y="199530"/>
                  </a:lnTo>
                  <a:lnTo>
                    <a:pt x="2158861" y="196799"/>
                  </a:lnTo>
                  <a:lnTo>
                    <a:pt x="2158962" y="197447"/>
                  </a:lnTo>
                  <a:lnTo>
                    <a:pt x="2158962" y="196799"/>
                  </a:lnTo>
                  <a:lnTo>
                    <a:pt x="2158962" y="197447"/>
                  </a:lnTo>
                  <a:lnTo>
                    <a:pt x="2158962" y="196799"/>
                  </a:lnTo>
                  <a:lnTo>
                    <a:pt x="2158962" y="197447"/>
                  </a:lnTo>
                  <a:lnTo>
                    <a:pt x="2158962" y="196799"/>
                  </a:lnTo>
                  <a:lnTo>
                    <a:pt x="2159000" y="196799"/>
                  </a:lnTo>
                  <a:lnTo>
                    <a:pt x="2159000" y="196113"/>
                  </a:lnTo>
                  <a:lnTo>
                    <a:pt x="2159000" y="199530"/>
                  </a:lnTo>
                  <a:lnTo>
                    <a:pt x="2159000" y="197447"/>
                  </a:lnTo>
                  <a:lnTo>
                    <a:pt x="2159000" y="198831"/>
                  </a:lnTo>
                  <a:lnTo>
                    <a:pt x="2159000" y="197447"/>
                  </a:lnTo>
                  <a:lnTo>
                    <a:pt x="2159051" y="197447"/>
                  </a:lnTo>
                  <a:lnTo>
                    <a:pt x="2159051" y="200228"/>
                  </a:lnTo>
                  <a:lnTo>
                    <a:pt x="2159051" y="199530"/>
                  </a:lnTo>
                  <a:lnTo>
                    <a:pt x="2159051" y="200228"/>
                  </a:lnTo>
                  <a:lnTo>
                    <a:pt x="2159051" y="199530"/>
                  </a:lnTo>
                  <a:lnTo>
                    <a:pt x="2159102" y="199530"/>
                  </a:lnTo>
                  <a:lnTo>
                    <a:pt x="2159102" y="200228"/>
                  </a:lnTo>
                  <a:lnTo>
                    <a:pt x="2159102" y="199530"/>
                  </a:lnTo>
                  <a:lnTo>
                    <a:pt x="2159102" y="200228"/>
                  </a:lnTo>
                  <a:lnTo>
                    <a:pt x="2159204" y="200228"/>
                  </a:lnTo>
                  <a:lnTo>
                    <a:pt x="2159204" y="200876"/>
                  </a:lnTo>
                  <a:lnTo>
                    <a:pt x="2159255" y="200876"/>
                  </a:lnTo>
                  <a:lnTo>
                    <a:pt x="2159255" y="200228"/>
                  </a:lnTo>
                  <a:lnTo>
                    <a:pt x="2159255" y="200876"/>
                  </a:lnTo>
                  <a:lnTo>
                    <a:pt x="2159305" y="200876"/>
                  </a:lnTo>
                  <a:lnTo>
                    <a:pt x="2159305" y="199530"/>
                  </a:lnTo>
                  <a:lnTo>
                    <a:pt x="2159305" y="200228"/>
                  </a:lnTo>
                  <a:lnTo>
                    <a:pt x="2159305" y="199530"/>
                  </a:lnTo>
                  <a:lnTo>
                    <a:pt x="2159305" y="200228"/>
                  </a:lnTo>
                  <a:lnTo>
                    <a:pt x="2159305" y="199530"/>
                  </a:lnTo>
                  <a:lnTo>
                    <a:pt x="2159407" y="199530"/>
                  </a:lnTo>
                  <a:lnTo>
                    <a:pt x="2159407" y="196799"/>
                  </a:lnTo>
                  <a:lnTo>
                    <a:pt x="2159458" y="196799"/>
                  </a:lnTo>
                  <a:lnTo>
                    <a:pt x="2159458" y="197447"/>
                  </a:lnTo>
                  <a:lnTo>
                    <a:pt x="2159458" y="196799"/>
                  </a:lnTo>
                  <a:lnTo>
                    <a:pt x="2159509" y="197447"/>
                  </a:lnTo>
                  <a:lnTo>
                    <a:pt x="2159509" y="198831"/>
                  </a:lnTo>
                  <a:lnTo>
                    <a:pt x="2159509" y="197447"/>
                  </a:lnTo>
                  <a:lnTo>
                    <a:pt x="2159509" y="198831"/>
                  </a:lnTo>
                  <a:lnTo>
                    <a:pt x="2159547" y="198831"/>
                  </a:lnTo>
                  <a:lnTo>
                    <a:pt x="2159547" y="199530"/>
                  </a:lnTo>
                  <a:lnTo>
                    <a:pt x="2159547" y="197447"/>
                  </a:lnTo>
                  <a:lnTo>
                    <a:pt x="2159547" y="198831"/>
                  </a:lnTo>
                  <a:lnTo>
                    <a:pt x="2159547" y="197447"/>
                  </a:lnTo>
                  <a:lnTo>
                    <a:pt x="2159547" y="198831"/>
                  </a:lnTo>
                  <a:lnTo>
                    <a:pt x="2159699" y="198831"/>
                  </a:lnTo>
                  <a:lnTo>
                    <a:pt x="2159699" y="199530"/>
                  </a:lnTo>
                  <a:lnTo>
                    <a:pt x="2159699" y="198831"/>
                  </a:lnTo>
                  <a:lnTo>
                    <a:pt x="2159699" y="200228"/>
                  </a:lnTo>
                  <a:lnTo>
                    <a:pt x="2159750" y="200228"/>
                  </a:lnTo>
                  <a:lnTo>
                    <a:pt x="2159750" y="199530"/>
                  </a:lnTo>
                  <a:lnTo>
                    <a:pt x="2159750" y="200228"/>
                  </a:lnTo>
                  <a:lnTo>
                    <a:pt x="2159750" y="199530"/>
                  </a:lnTo>
                  <a:lnTo>
                    <a:pt x="2159750" y="200228"/>
                  </a:lnTo>
                  <a:lnTo>
                    <a:pt x="2159750" y="199530"/>
                  </a:lnTo>
                  <a:lnTo>
                    <a:pt x="2159851" y="199530"/>
                  </a:lnTo>
                  <a:lnTo>
                    <a:pt x="2159851" y="198831"/>
                  </a:lnTo>
                  <a:lnTo>
                    <a:pt x="2159851" y="199530"/>
                  </a:lnTo>
                  <a:lnTo>
                    <a:pt x="2159851" y="197447"/>
                  </a:lnTo>
                  <a:lnTo>
                    <a:pt x="2159902" y="197447"/>
                  </a:lnTo>
                  <a:lnTo>
                    <a:pt x="2159902" y="196799"/>
                  </a:lnTo>
                  <a:lnTo>
                    <a:pt x="2159902" y="198831"/>
                  </a:lnTo>
                  <a:lnTo>
                    <a:pt x="2159953" y="198831"/>
                  </a:lnTo>
                  <a:lnTo>
                    <a:pt x="2159953" y="196799"/>
                  </a:lnTo>
                  <a:lnTo>
                    <a:pt x="2159953" y="200228"/>
                  </a:lnTo>
                  <a:lnTo>
                    <a:pt x="2160004" y="200228"/>
                  </a:lnTo>
                  <a:lnTo>
                    <a:pt x="2160004" y="198831"/>
                  </a:lnTo>
                  <a:lnTo>
                    <a:pt x="2160004" y="200228"/>
                  </a:lnTo>
                  <a:lnTo>
                    <a:pt x="2160004" y="199530"/>
                  </a:lnTo>
                  <a:lnTo>
                    <a:pt x="2160093" y="199530"/>
                  </a:lnTo>
                  <a:lnTo>
                    <a:pt x="2160093" y="198831"/>
                  </a:lnTo>
                  <a:lnTo>
                    <a:pt x="2160093" y="199530"/>
                  </a:lnTo>
                  <a:lnTo>
                    <a:pt x="2160093" y="198831"/>
                  </a:lnTo>
                  <a:lnTo>
                    <a:pt x="2160093" y="200228"/>
                  </a:lnTo>
                  <a:lnTo>
                    <a:pt x="2160093" y="199530"/>
                  </a:lnTo>
                  <a:lnTo>
                    <a:pt x="2160093" y="200228"/>
                  </a:lnTo>
                  <a:lnTo>
                    <a:pt x="2160093" y="199530"/>
                  </a:lnTo>
                  <a:lnTo>
                    <a:pt x="2160144" y="199530"/>
                  </a:lnTo>
                  <a:lnTo>
                    <a:pt x="2160144" y="200228"/>
                  </a:lnTo>
                  <a:lnTo>
                    <a:pt x="2160144" y="199530"/>
                  </a:lnTo>
                  <a:lnTo>
                    <a:pt x="2160144" y="200228"/>
                  </a:lnTo>
                  <a:lnTo>
                    <a:pt x="2160144" y="199530"/>
                  </a:lnTo>
                  <a:lnTo>
                    <a:pt x="2160144" y="200228"/>
                  </a:lnTo>
                  <a:lnTo>
                    <a:pt x="2160194" y="200228"/>
                  </a:lnTo>
                  <a:lnTo>
                    <a:pt x="2160194" y="199530"/>
                  </a:lnTo>
                  <a:lnTo>
                    <a:pt x="2160194" y="200228"/>
                  </a:lnTo>
                  <a:lnTo>
                    <a:pt x="2160245" y="200228"/>
                  </a:lnTo>
                  <a:lnTo>
                    <a:pt x="2160245" y="199530"/>
                  </a:lnTo>
                  <a:lnTo>
                    <a:pt x="2160245" y="200228"/>
                  </a:lnTo>
                  <a:lnTo>
                    <a:pt x="2160245" y="199530"/>
                  </a:lnTo>
                  <a:lnTo>
                    <a:pt x="2160245" y="200228"/>
                  </a:lnTo>
                  <a:lnTo>
                    <a:pt x="2160245" y="199530"/>
                  </a:lnTo>
                  <a:lnTo>
                    <a:pt x="2160245" y="200228"/>
                  </a:lnTo>
                  <a:lnTo>
                    <a:pt x="2160245" y="199530"/>
                  </a:lnTo>
                  <a:lnTo>
                    <a:pt x="2160245" y="200228"/>
                  </a:lnTo>
                  <a:lnTo>
                    <a:pt x="2160245" y="199530"/>
                  </a:lnTo>
                  <a:lnTo>
                    <a:pt x="2160245" y="200228"/>
                  </a:lnTo>
                  <a:lnTo>
                    <a:pt x="2160245" y="198831"/>
                  </a:lnTo>
                  <a:lnTo>
                    <a:pt x="2160347" y="199530"/>
                  </a:lnTo>
                  <a:lnTo>
                    <a:pt x="2160347" y="198831"/>
                  </a:lnTo>
                  <a:lnTo>
                    <a:pt x="2160347" y="199530"/>
                  </a:lnTo>
                  <a:lnTo>
                    <a:pt x="2160347" y="197447"/>
                  </a:lnTo>
                  <a:lnTo>
                    <a:pt x="2160347" y="198831"/>
                  </a:lnTo>
                  <a:lnTo>
                    <a:pt x="2160347" y="197447"/>
                  </a:lnTo>
                  <a:lnTo>
                    <a:pt x="2160347" y="198831"/>
                  </a:lnTo>
                  <a:lnTo>
                    <a:pt x="2160397" y="198831"/>
                  </a:lnTo>
                  <a:lnTo>
                    <a:pt x="2160397" y="196799"/>
                  </a:lnTo>
                  <a:lnTo>
                    <a:pt x="2160397" y="197447"/>
                  </a:lnTo>
                  <a:lnTo>
                    <a:pt x="2160397" y="196113"/>
                  </a:lnTo>
                  <a:lnTo>
                    <a:pt x="2160397" y="197447"/>
                  </a:lnTo>
                  <a:lnTo>
                    <a:pt x="2160448" y="197447"/>
                  </a:lnTo>
                  <a:lnTo>
                    <a:pt x="2160448" y="198831"/>
                  </a:lnTo>
                  <a:lnTo>
                    <a:pt x="2160448" y="197447"/>
                  </a:lnTo>
                  <a:lnTo>
                    <a:pt x="2160448" y="199530"/>
                  </a:lnTo>
                  <a:lnTo>
                    <a:pt x="2160550" y="199530"/>
                  </a:lnTo>
                  <a:lnTo>
                    <a:pt x="2160550" y="198831"/>
                  </a:lnTo>
                  <a:lnTo>
                    <a:pt x="2160550" y="200228"/>
                  </a:lnTo>
                  <a:lnTo>
                    <a:pt x="2160550" y="199530"/>
                  </a:lnTo>
                  <a:lnTo>
                    <a:pt x="2160588" y="199530"/>
                  </a:lnTo>
                  <a:lnTo>
                    <a:pt x="2160588" y="198831"/>
                  </a:lnTo>
                  <a:lnTo>
                    <a:pt x="2160588" y="199530"/>
                  </a:lnTo>
                  <a:lnTo>
                    <a:pt x="2160639" y="199530"/>
                  </a:lnTo>
                  <a:lnTo>
                    <a:pt x="2160639" y="198831"/>
                  </a:lnTo>
                  <a:lnTo>
                    <a:pt x="2160639" y="199530"/>
                  </a:lnTo>
                  <a:lnTo>
                    <a:pt x="2160639" y="198831"/>
                  </a:lnTo>
                  <a:lnTo>
                    <a:pt x="2160639" y="200228"/>
                  </a:lnTo>
                  <a:lnTo>
                    <a:pt x="2160639" y="199530"/>
                  </a:lnTo>
                  <a:lnTo>
                    <a:pt x="2160639" y="200228"/>
                  </a:lnTo>
                  <a:lnTo>
                    <a:pt x="2160639" y="199530"/>
                  </a:lnTo>
                  <a:lnTo>
                    <a:pt x="2160639" y="200228"/>
                  </a:lnTo>
                  <a:lnTo>
                    <a:pt x="2160690" y="200228"/>
                  </a:lnTo>
                  <a:lnTo>
                    <a:pt x="2160690" y="199530"/>
                  </a:lnTo>
                  <a:lnTo>
                    <a:pt x="2160690" y="200228"/>
                  </a:lnTo>
                  <a:lnTo>
                    <a:pt x="2160690" y="199530"/>
                  </a:lnTo>
                  <a:lnTo>
                    <a:pt x="2160690" y="200228"/>
                  </a:lnTo>
                  <a:lnTo>
                    <a:pt x="2160791" y="200228"/>
                  </a:lnTo>
                  <a:lnTo>
                    <a:pt x="2160791" y="198831"/>
                  </a:lnTo>
                  <a:lnTo>
                    <a:pt x="2160842" y="199530"/>
                  </a:lnTo>
                  <a:lnTo>
                    <a:pt x="2160842" y="196799"/>
                  </a:lnTo>
                  <a:lnTo>
                    <a:pt x="2160893" y="196799"/>
                  </a:lnTo>
                  <a:lnTo>
                    <a:pt x="2160893" y="196113"/>
                  </a:lnTo>
                  <a:lnTo>
                    <a:pt x="2160893" y="196799"/>
                  </a:lnTo>
                  <a:lnTo>
                    <a:pt x="2160893" y="196113"/>
                  </a:lnTo>
                  <a:lnTo>
                    <a:pt x="2160893" y="197447"/>
                  </a:lnTo>
                  <a:lnTo>
                    <a:pt x="2160893" y="196799"/>
                  </a:lnTo>
                  <a:lnTo>
                    <a:pt x="2160994" y="196799"/>
                  </a:lnTo>
                  <a:lnTo>
                    <a:pt x="2160994" y="196113"/>
                  </a:lnTo>
                  <a:lnTo>
                    <a:pt x="2160994" y="198831"/>
                  </a:lnTo>
                  <a:lnTo>
                    <a:pt x="2161045" y="198831"/>
                  </a:lnTo>
                  <a:lnTo>
                    <a:pt x="2161045" y="197447"/>
                  </a:lnTo>
                  <a:lnTo>
                    <a:pt x="2161045" y="199530"/>
                  </a:lnTo>
                  <a:lnTo>
                    <a:pt x="2161096" y="198831"/>
                  </a:lnTo>
                  <a:lnTo>
                    <a:pt x="2161096" y="199530"/>
                  </a:lnTo>
                  <a:lnTo>
                    <a:pt x="2161096" y="198831"/>
                  </a:lnTo>
                  <a:lnTo>
                    <a:pt x="2161096" y="199530"/>
                  </a:lnTo>
                  <a:lnTo>
                    <a:pt x="2161134" y="199530"/>
                  </a:lnTo>
                  <a:lnTo>
                    <a:pt x="2161134" y="200228"/>
                  </a:lnTo>
                  <a:lnTo>
                    <a:pt x="2161236" y="200228"/>
                  </a:lnTo>
                  <a:lnTo>
                    <a:pt x="2161236" y="199530"/>
                  </a:lnTo>
                  <a:lnTo>
                    <a:pt x="2161236" y="200228"/>
                  </a:lnTo>
                  <a:lnTo>
                    <a:pt x="2161236" y="199530"/>
                  </a:lnTo>
                  <a:lnTo>
                    <a:pt x="2161287" y="199530"/>
                  </a:lnTo>
                  <a:lnTo>
                    <a:pt x="2161287" y="200228"/>
                  </a:lnTo>
                  <a:lnTo>
                    <a:pt x="2161287" y="198831"/>
                  </a:lnTo>
                  <a:lnTo>
                    <a:pt x="2161337" y="198831"/>
                  </a:lnTo>
                  <a:lnTo>
                    <a:pt x="2161337" y="199530"/>
                  </a:lnTo>
                  <a:lnTo>
                    <a:pt x="2161337" y="197447"/>
                  </a:lnTo>
                  <a:lnTo>
                    <a:pt x="2161337" y="198831"/>
                  </a:lnTo>
                  <a:lnTo>
                    <a:pt x="2161337" y="196799"/>
                  </a:lnTo>
                  <a:lnTo>
                    <a:pt x="2161439" y="196799"/>
                  </a:lnTo>
                  <a:lnTo>
                    <a:pt x="2161439" y="197447"/>
                  </a:lnTo>
                  <a:lnTo>
                    <a:pt x="2161439" y="196799"/>
                  </a:lnTo>
                  <a:lnTo>
                    <a:pt x="2161439" y="197447"/>
                  </a:lnTo>
                  <a:lnTo>
                    <a:pt x="2161439" y="196113"/>
                  </a:lnTo>
                  <a:lnTo>
                    <a:pt x="2161439" y="197447"/>
                  </a:lnTo>
                  <a:lnTo>
                    <a:pt x="2161490" y="196799"/>
                  </a:lnTo>
                  <a:lnTo>
                    <a:pt x="2161490" y="196113"/>
                  </a:lnTo>
                  <a:lnTo>
                    <a:pt x="2161490" y="198831"/>
                  </a:lnTo>
                  <a:lnTo>
                    <a:pt x="2161490" y="197447"/>
                  </a:lnTo>
                  <a:lnTo>
                    <a:pt x="2161540" y="197447"/>
                  </a:lnTo>
                  <a:lnTo>
                    <a:pt x="2161540" y="198831"/>
                  </a:lnTo>
                  <a:lnTo>
                    <a:pt x="2161540" y="197447"/>
                  </a:lnTo>
                  <a:lnTo>
                    <a:pt x="2161591" y="198831"/>
                  </a:lnTo>
                  <a:lnTo>
                    <a:pt x="2161591" y="197447"/>
                  </a:lnTo>
                  <a:lnTo>
                    <a:pt x="2161591" y="199530"/>
                  </a:lnTo>
                  <a:lnTo>
                    <a:pt x="2161591" y="198831"/>
                  </a:lnTo>
                  <a:lnTo>
                    <a:pt x="2161680" y="199530"/>
                  </a:lnTo>
                  <a:lnTo>
                    <a:pt x="2161680" y="200228"/>
                  </a:lnTo>
                  <a:lnTo>
                    <a:pt x="2161680" y="199530"/>
                  </a:lnTo>
                  <a:lnTo>
                    <a:pt x="2161731" y="199530"/>
                  </a:lnTo>
                  <a:lnTo>
                    <a:pt x="2161731" y="200228"/>
                  </a:lnTo>
                  <a:lnTo>
                    <a:pt x="2161731" y="199530"/>
                  </a:lnTo>
                  <a:lnTo>
                    <a:pt x="2161731" y="200228"/>
                  </a:lnTo>
                  <a:lnTo>
                    <a:pt x="2161731" y="199530"/>
                  </a:lnTo>
                  <a:lnTo>
                    <a:pt x="2161731" y="200228"/>
                  </a:lnTo>
                  <a:lnTo>
                    <a:pt x="2161782" y="200228"/>
                  </a:lnTo>
                  <a:lnTo>
                    <a:pt x="2161782" y="198831"/>
                  </a:lnTo>
                  <a:lnTo>
                    <a:pt x="2161782" y="199530"/>
                  </a:lnTo>
                  <a:lnTo>
                    <a:pt x="2161782" y="198831"/>
                  </a:lnTo>
                  <a:lnTo>
                    <a:pt x="2161833" y="197447"/>
                  </a:lnTo>
                  <a:lnTo>
                    <a:pt x="2161833" y="198831"/>
                  </a:lnTo>
                  <a:lnTo>
                    <a:pt x="2161833" y="197447"/>
                  </a:lnTo>
                  <a:lnTo>
                    <a:pt x="2161833" y="198831"/>
                  </a:lnTo>
                  <a:lnTo>
                    <a:pt x="2161833" y="196799"/>
                  </a:lnTo>
                  <a:lnTo>
                    <a:pt x="2161934" y="196799"/>
                  </a:lnTo>
                  <a:lnTo>
                    <a:pt x="2161934" y="197447"/>
                  </a:lnTo>
                  <a:lnTo>
                    <a:pt x="2161934" y="196113"/>
                  </a:lnTo>
                  <a:lnTo>
                    <a:pt x="2161934" y="196799"/>
                  </a:lnTo>
                  <a:lnTo>
                    <a:pt x="2161985" y="196799"/>
                  </a:lnTo>
                  <a:lnTo>
                    <a:pt x="2161985" y="196113"/>
                  </a:lnTo>
                  <a:lnTo>
                    <a:pt x="2161985" y="198831"/>
                  </a:lnTo>
                  <a:lnTo>
                    <a:pt x="2161985" y="197447"/>
                  </a:lnTo>
                  <a:lnTo>
                    <a:pt x="2162036" y="197447"/>
                  </a:lnTo>
                  <a:lnTo>
                    <a:pt x="2162036" y="196799"/>
                  </a:lnTo>
                  <a:lnTo>
                    <a:pt x="2162036" y="198831"/>
                  </a:lnTo>
                  <a:lnTo>
                    <a:pt x="2162036" y="197447"/>
                  </a:lnTo>
                  <a:lnTo>
                    <a:pt x="2162137" y="197447"/>
                  </a:lnTo>
                  <a:lnTo>
                    <a:pt x="2162137" y="199530"/>
                  </a:lnTo>
                  <a:lnTo>
                    <a:pt x="2162175" y="198831"/>
                  </a:lnTo>
                  <a:lnTo>
                    <a:pt x="2162175" y="199530"/>
                  </a:lnTo>
                  <a:lnTo>
                    <a:pt x="2162226" y="199530"/>
                  </a:lnTo>
                  <a:lnTo>
                    <a:pt x="2162226" y="200228"/>
                  </a:lnTo>
                  <a:lnTo>
                    <a:pt x="2162226" y="199530"/>
                  </a:lnTo>
                  <a:lnTo>
                    <a:pt x="2162277" y="200228"/>
                  </a:lnTo>
                  <a:lnTo>
                    <a:pt x="2162277" y="199530"/>
                  </a:lnTo>
                  <a:lnTo>
                    <a:pt x="2162277" y="200228"/>
                  </a:lnTo>
                  <a:lnTo>
                    <a:pt x="2162277" y="198831"/>
                  </a:lnTo>
                  <a:lnTo>
                    <a:pt x="2162277" y="199530"/>
                  </a:lnTo>
                  <a:lnTo>
                    <a:pt x="2162277" y="198831"/>
                  </a:lnTo>
                  <a:lnTo>
                    <a:pt x="2162379" y="198831"/>
                  </a:lnTo>
                  <a:lnTo>
                    <a:pt x="2162379" y="197447"/>
                  </a:lnTo>
                  <a:lnTo>
                    <a:pt x="2162379" y="198831"/>
                  </a:lnTo>
                  <a:lnTo>
                    <a:pt x="2162379" y="197447"/>
                  </a:lnTo>
                  <a:lnTo>
                    <a:pt x="2162430" y="197447"/>
                  </a:lnTo>
                  <a:lnTo>
                    <a:pt x="2162430" y="196113"/>
                  </a:lnTo>
                  <a:lnTo>
                    <a:pt x="2162430" y="197447"/>
                  </a:lnTo>
                  <a:lnTo>
                    <a:pt x="2162430" y="196113"/>
                  </a:lnTo>
                  <a:lnTo>
                    <a:pt x="2162480" y="196113"/>
                  </a:lnTo>
                  <a:lnTo>
                    <a:pt x="2162480" y="195415"/>
                  </a:lnTo>
                  <a:lnTo>
                    <a:pt x="2162480" y="198831"/>
                  </a:lnTo>
                  <a:lnTo>
                    <a:pt x="2162480" y="196799"/>
                  </a:lnTo>
                  <a:lnTo>
                    <a:pt x="2162582" y="196799"/>
                  </a:lnTo>
                  <a:lnTo>
                    <a:pt x="2162582" y="196113"/>
                  </a:lnTo>
                  <a:lnTo>
                    <a:pt x="2162582" y="197447"/>
                  </a:lnTo>
                  <a:lnTo>
                    <a:pt x="2162582" y="196799"/>
                  </a:lnTo>
                  <a:lnTo>
                    <a:pt x="2162633" y="196799"/>
                  </a:lnTo>
                  <a:lnTo>
                    <a:pt x="2162633" y="197447"/>
                  </a:lnTo>
                  <a:lnTo>
                    <a:pt x="2162633" y="196799"/>
                  </a:lnTo>
                  <a:lnTo>
                    <a:pt x="2162633" y="198831"/>
                  </a:lnTo>
                  <a:lnTo>
                    <a:pt x="2162633" y="197447"/>
                  </a:lnTo>
                  <a:lnTo>
                    <a:pt x="2162684" y="197447"/>
                  </a:lnTo>
                  <a:lnTo>
                    <a:pt x="2162684" y="199530"/>
                  </a:lnTo>
                  <a:lnTo>
                    <a:pt x="2162684" y="198831"/>
                  </a:lnTo>
                  <a:lnTo>
                    <a:pt x="2162684" y="199530"/>
                  </a:lnTo>
                  <a:lnTo>
                    <a:pt x="2162722" y="199530"/>
                  </a:lnTo>
                  <a:lnTo>
                    <a:pt x="2162722" y="198831"/>
                  </a:lnTo>
                  <a:lnTo>
                    <a:pt x="2162722" y="199530"/>
                  </a:lnTo>
                  <a:lnTo>
                    <a:pt x="2162722" y="198831"/>
                  </a:lnTo>
                  <a:lnTo>
                    <a:pt x="2162722" y="199530"/>
                  </a:lnTo>
                  <a:lnTo>
                    <a:pt x="2162722" y="198831"/>
                  </a:lnTo>
                  <a:lnTo>
                    <a:pt x="2162722" y="199530"/>
                  </a:lnTo>
                  <a:lnTo>
                    <a:pt x="2162823" y="199530"/>
                  </a:lnTo>
                  <a:lnTo>
                    <a:pt x="2162823" y="197447"/>
                  </a:lnTo>
                  <a:lnTo>
                    <a:pt x="2162823" y="198831"/>
                  </a:lnTo>
                  <a:lnTo>
                    <a:pt x="2162874" y="198831"/>
                  </a:lnTo>
                  <a:lnTo>
                    <a:pt x="2162874" y="196799"/>
                  </a:lnTo>
                  <a:lnTo>
                    <a:pt x="2162874" y="197447"/>
                  </a:lnTo>
                  <a:lnTo>
                    <a:pt x="2162874" y="196799"/>
                  </a:lnTo>
                  <a:lnTo>
                    <a:pt x="2162874" y="197447"/>
                  </a:lnTo>
                  <a:lnTo>
                    <a:pt x="2162874" y="196799"/>
                  </a:lnTo>
                  <a:lnTo>
                    <a:pt x="2162874" y="197447"/>
                  </a:lnTo>
                  <a:lnTo>
                    <a:pt x="2162925" y="197447"/>
                  </a:lnTo>
                  <a:lnTo>
                    <a:pt x="2162925" y="198831"/>
                  </a:lnTo>
                  <a:lnTo>
                    <a:pt x="2162925" y="197447"/>
                  </a:lnTo>
                  <a:lnTo>
                    <a:pt x="2162925" y="198831"/>
                  </a:lnTo>
                  <a:lnTo>
                    <a:pt x="2163026" y="198831"/>
                  </a:lnTo>
                  <a:lnTo>
                    <a:pt x="2163026" y="199530"/>
                  </a:lnTo>
                  <a:lnTo>
                    <a:pt x="2163026" y="198831"/>
                  </a:lnTo>
                  <a:lnTo>
                    <a:pt x="2163026" y="199530"/>
                  </a:lnTo>
                  <a:lnTo>
                    <a:pt x="2163077" y="199530"/>
                  </a:lnTo>
                  <a:lnTo>
                    <a:pt x="2163077" y="198831"/>
                  </a:lnTo>
                  <a:lnTo>
                    <a:pt x="2163077" y="199530"/>
                  </a:lnTo>
                  <a:lnTo>
                    <a:pt x="2163128" y="199530"/>
                  </a:lnTo>
                  <a:lnTo>
                    <a:pt x="2163128" y="200228"/>
                  </a:lnTo>
                  <a:lnTo>
                    <a:pt x="2163128" y="199530"/>
                  </a:lnTo>
                  <a:lnTo>
                    <a:pt x="2163128" y="200228"/>
                  </a:lnTo>
                  <a:lnTo>
                    <a:pt x="2163128" y="199530"/>
                  </a:lnTo>
                  <a:lnTo>
                    <a:pt x="2163128" y="200228"/>
                  </a:lnTo>
                  <a:lnTo>
                    <a:pt x="2163179" y="200228"/>
                  </a:lnTo>
                  <a:lnTo>
                    <a:pt x="2163179" y="199530"/>
                  </a:lnTo>
                  <a:lnTo>
                    <a:pt x="2163179" y="200228"/>
                  </a:lnTo>
                  <a:lnTo>
                    <a:pt x="2163179" y="199530"/>
                  </a:lnTo>
                  <a:lnTo>
                    <a:pt x="2163268" y="199530"/>
                  </a:lnTo>
                  <a:lnTo>
                    <a:pt x="2163268" y="200228"/>
                  </a:lnTo>
                  <a:lnTo>
                    <a:pt x="2163268" y="199530"/>
                  </a:lnTo>
                  <a:lnTo>
                    <a:pt x="2163268" y="200228"/>
                  </a:lnTo>
                  <a:lnTo>
                    <a:pt x="2163268" y="199530"/>
                  </a:lnTo>
                  <a:lnTo>
                    <a:pt x="2163319" y="199530"/>
                  </a:lnTo>
                  <a:lnTo>
                    <a:pt x="2163319" y="198831"/>
                  </a:lnTo>
                  <a:lnTo>
                    <a:pt x="2163319" y="199530"/>
                  </a:lnTo>
                  <a:lnTo>
                    <a:pt x="2163319" y="198831"/>
                  </a:lnTo>
                  <a:lnTo>
                    <a:pt x="2163369" y="197447"/>
                  </a:lnTo>
                  <a:lnTo>
                    <a:pt x="2163369" y="199530"/>
                  </a:lnTo>
                  <a:lnTo>
                    <a:pt x="2163420" y="199530"/>
                  </a:lnTo>
                  <a:lnTo>
                    <a:pt x="2163420" y="198831"/>
                  </a:lnTo>
                  <a:lnTo>
                    <a:pt x="2163420" y="200876"/>
                  </a:lnTo>
                  <a:lnTo>
                    <a:pt x="2163420" y="200228"/>
                  </a:lnTo>
                  <a:lnTo>
                    <a:pt x="2163522" y="200228"/>
                  </a:lnTo>
                  <a:lnTo>
                    <a:pt x="2163522" y="200876"/>
                  </a:lnTo>
                  <a:lnTo>
                    <a:pt x="2163522" y="200228"/>
                  </a:lnTo>
                  <a:lnTo>
                    <a:pt x="2163522" y="200876"/>
                  </a:lnTo>
                  <a:lnTo>
                    <a:pt x="2163572" y="200228"/>
                  </a:lnTo>
                  <a:lnTo>
                    <a:pt x="2163572" y="200876"/>
                  </a:lnTo>
                  <a:lnTo>
                    <a:pt x="2163572" y="200228"/>
                  </a:lnTo>
                  <a:lnTo>
                    <a:pt x="2163572" y="200876"/>
                  </a:lnTo>
                  <a:lnTo>
                    <a:pt x="2163572" y="200228"/>
                  </a:lnTo>
                  <a:lnTo>
                    <a:pt x="2163623" y="200876"/>
                  </a:lnTo>
                  <a:lnTo>
                    <a:pt x="2163623" y="200228"/>
                  </a:lnTo>
                  <a:lnTo>
                    <a:pt x="2163623" y="200876"/>
                  </a:lnTo>
                  <a:lnTo>
                    <a:pt x="2163725" y="200228"/>
                  </a:lnTo>
                  <a:lnTo>
                    <a:pt x="2163725" y="200876"/>
                  </a:lnTo>
                  <a:lnTo>
                    <a:pt x="2163725" y="200228"/>
                  </a:lnTo>
                  <a:lnTo>
                    <a:pt x="2163763" y="200228"/>
                  </a:lnTo>
                  <a:lnTo>
                    <a:pt x="2163763" y="199530"/>
                  </a:lnTo>
                  <a:lnTo>
                    <a:pt x="2163763" y="200228"/>
                  </a:lnTo>
                  <a:lnTo>
                    <a:pt x="2163763" y="199530"/>
                  </a:lnTo>
                  <a:lnTo>
                    <a:pt x="2163814" y="199530"/>
                  </a:lnTo>
                  <a:lnTo>
                    <a:pt x="2163814" y="197447"/>
                  </a:lnTo>
                  <a:lnTo>
                    <a:pt x="2163865" y="197447"/>
                  </a:lnTo>
                  <a:lnTo>
                    <a:pt x="2163865" y="196799"/>
                  </a:lnTo>
                  <a:lnTo>
                    <a:pt x="2163865" y="198831"/>
                  </a:lnTo>
                  <a:lnTo>
                    <a:pt x="2163865" y="197447"/>
                  </a:lnTo>
                  <a:lnTo>
                    <a:pt x="2163865" y="198831"/>
                  </a:lnTo>
                  <a:lnTo>
                    <a:pt x="2163865" y="197447"/>
                  </a:lnTo>
                  <a:lnTo>
                    <a:pt x="2163966" y="197447"/>
                  </a:lnTo>
                  <a:lnTo>
                    <a:pt x="2163966" y="196799"/>
                  </a:lnTo>
                  <a:lnTo>
                    <a:pt x="2163966" y="199530"/>
                  </a:lnTo>
                  <a:lnTo>
                    <a:pt x="2163966" y="198831"/>
                  </a:lnTo>
                  <a:lnTo>
                    <a:pt x="2164017" y="198831"/>
                  </a:lnTo>
                  <a:lnTo>
                    <a:pt x="2164017" y="199530"/>
                  </a:lnTo>
                  <a:lnTo>
                    <a:pt x="2164017" y="198831"/>
                  </a:lnTo>
                  <a:lnTo>
                    <a:pt x="2164017" y="200228"/>
                  </a:lnTo>
                  <a:lnTo>
                    <a:pt x="2164017" y="199530"/>
                  </a:lnTo>
                  <a:lnTo>
                    <a:pt x="2164068" y="200228"/>
                  </a:lnTo>
                  <a:lnTo>
                    <a:pt x="2164068" y="199530"/>
                  </a:lnTo>
                  <a:lnTo>
                    <a:pt x="2164068" y="200876"/>
                  </a:lnTo>
                  <a:lnTo>
                    <a:pt x="2164068" y="200228"/>
                  </a:lnTo>
                  <a:lnTo>
                    <a:pt x="2164068" y="200876"/>
                  </a:lnTo>
                  <a:lnTo>
                    <a:pt x="2164068" y="200228"/>
                  </a:lnTo>
                  <a:lnTo>
                    <a:pt x="2164169" y="200876"/>
                  </a:lnTo>
                  <a:lnTo>
                    <a:pt x="2164169" y="200228"/>
                  </a:lnTo>
                  <a:lnTo>
                    <a:pt x="2164169" y="202260"/>
                  </a:lnTo>
                  <a:lnTo>
                    <a:pt x="2164169" y="200228"/>
                  </a:lnTo>
                  <a:lnTo>
                    <a:pt x="2164169" y="200876"/>
                  </a:lnTo>
                  <a:lnTo>
                    <a:pt x="2164169" y="200228"/>
                  </a:lnTo>
                  <a:lnTo>
                    <a:pt x="2164169" y="200876"/>
                  </a:lnTo>
                  <a:lnTo>
                    <a:pt x="2164220" y="200876"/>
                  </a:lnTo>
                  <a:lnTo>
                    <a:pt x="2164220" y="199530"/>
                  </a:lnTo>
                  <a:lnTo>
                    <a:pt x="2164220" y="200228"/>
                  </a:lnTo>
                  <a:lnTo>
                    <a:pt x="2164271" y="200228"/>
                  </a:lnTo>
                  <a:lnTo>
                    <a:pt x="2164271" y="199530"/>
                  </a:lnTo>
                  <a:lnTo>
                    <a:pt x="2164271" y="200228"/>
                  </a:lnTo>
                  <a:lnTo>
                    <a:pt x="2164271" y="199530"/>
                  </a:lnTo>
                  <a:lnTo>
                    <a:pt x="2164309" y="199530"/>
                  </a:lnTo>
                  <a:lnTo>
                    <a:pt x="2164309" y="198831"/>
                  </a:lnTo>
                  <a:lnTo>
                    <a:pt x="2164309" y="199530"/>
                  </a:lnTo>
                  <a:lnTo>
                    <a:pt x="2164309" y="197447"/>
                  </a:lnTo>
                  <a:lnTo>
                    <a:pt x="2164411" y="197447"/>
                  </a:lnTo>
                  <a:lnTo>
                    <a:pt x="2164411" y="199530"/>
                  </a:lnTo>
                  <a:lnTo>
                    <a:pt x="2164411" y="197447"/>
                  </a:lnTo>
                  <a:lnTo>
                    <a:pt x="2164411" y="198831"/>
                  </a:lnTo>
                  <a:lnTo>
                    <a:pt x="2164462" y="198831"/>
                  </a:lnTo>
                  <a:lnTo>
                    <a:pt x="2164462" y="199530"/>
                  </a:lnTo>
                  <a:lnTo>
                    <a:pt x="2164462" y="198831"/>
                  </a:lnTo>
                  <a:lnTo>
                    <a:pt x="2164462" y="199530"/>
                  </a:lnTo>
                  <a:lnTo>
                    <a:pt x="2164462" y="197447"/>
                  </a:lnTo>
                  <a:lnTo>
                    <a:pt x="2164462" y="199530"/>
                  </a:lnTo>
                  <a:lnTo>
                    <a:pt x="2164512" y="199530"/>
                  </a:lnTo>
                  <a:lnTo>
                    <a:pt x="2164512" y="200228"/>
                  </a:lnTo>
                  <a:lnTo>
                    <a:pt x="2164512" y="199530"/>
                  </a:lnTo>
                  <a:lnTo>
                    <a:pt x="2164512" y="200228"/>
                  </a:lnTo>
                  <a:lnTo>
                    <a:pt x="2164512" y="199530"/>
                  </a:lnTo>
                  <a:lnTo>
                    <a:pt x="2164512" y="200228"/>
                  </a:lnTo>
                  <a:lnTo>
                    <a:pt x="2164512" y="199530"/>
                  </a:lnTo>
                  <a:lnTo>
                    <a:pt x="2164512" y="200228"/>
                  </a:lnTo>
                  <a:lnTo>
                    <a:pt x="2164614" y="200228"/>
                  </a:lnTo>
                  <a:lnTo>
                    <a:pt x="2164614" y="199530"/>
                  </a:lnTo>
                  <a:lnTo>
                    <a:pt x="2164614" y="200876"/>
                  </a:lnTo>
                  <a:lnTo>
                    <a:pt x="2164614" y="200228"/>
                  </a:lnTo>
                  <a:lnTo>
                    <a:pt x="2164614" y="200876"/>
                  </a:lnTo>
                  <a:lnTo>
                    <a:pt x="2164614" y="200228"/>
                  </a:lnTo>
                  <a:lnTo>
                    <a:pt x="2164614" y="200876"/>
                  </a:lnTo>
                  <a:lnTo>
                    <a:pt x="2164665" y="200876"/>
                  </a:lnTo>
                  <a:lnTo>
                    <a:pt x="2164665" y="200228"/>
                  </a:lnTo>
                  <a:lnTo>
                    <a:pt x="2164665" y="202260"/>
                  </a:lnTo>
                  <a:lnTo>
                    <a:pt x="2164665" y="200228"/>
                  </a:lnTo>
                  <a:lnTo>
                    <a:pt x="2164665" y="200876"/>
                  </a:lnTo>
                  <a:lnTo>
                    <a:pt x="2164665" y="200228"/>
                  </a:lnTo>
                  <a:lnTo>
                    <a:pt x="2164715" y="200876"/>
                  </a:lnTo>
                  <a:lnTo>
                    <a:pt x="2164715" y="200228"/>
                  </a:lnTo>
                  <a:lnTo>
                    <a:pt x="2164715" y="200876"/>
                  </a:lnTo>
                  <a:lnTo>
                    <a:pt x="2164715" y="200228"/>
                  </a:lnTo>
                  <a:lnTo>
                    <a:pt x="2164766" y="200228"/>
                  </a:lnTo>
                  <a:lnTo>
                    <a:pt x="2164766" y="198831"/>
                  </a:lnTo>
                  <a:lnTo>
                    <a:pt x="2164766" y="199530"/>
                  </a:lnTo>
                  <a:lnTo>
                    <a:pt x="2164855" y="198831"/>
                  </a:lnTo>
                  <a:lnTo>
                    <a:pt x="2164855" y="197447"/>
                  </a:lnTo>
                  <a:lnTo>
                    <a:pt x="2164855" y="198831"/>
                  </a:lnTo>
                  <a:lnTo>
                    <a:pt x="2164855" y="196799"/>
                  </a:lnTo>
                  <a:lnTo>
                    <a:pt x="2164906" y="196799"/>
                  </a:lnTo>
                  <a:lnTo>
                    <a:pt x="2164906" y="198831"/>
                  </a:lnTo>
                  <a:lnTo>
                    <a:pt x="2164906" y="196799"/>
                  </a:lnTo>
                  <a:lnTo>
                    <a:pt x="2164906" y="198831"/>
                  </a:lnTo>
                  <a:lnTo>
                    <a:pt x="2164957" y="198831"/>
                  </a:lnTo>
                  <a:lnTo>
                    <a:pt x="2164957" y="199530"/>
                  </a:lnTo>
                  <a:lnTo>
                    <a:pt x="2164957" y="198831"/>
                  </a:lnTo>
                  <a:lnTo>
                    <a:pt x="2164957" y="200228"/>
                  </a:lnTo>
                  <a:lnTo>
                    <a:pt x="2165008" y="200228"/>
                  </a:lnTo>
                  <a:lnTo>
                    <a:pt x="2165008" y="199530"/>
                  </a:lnTo>
                  <a:lnTo>
                    <a:pt x="2165008" y="200228"/>
                  </a:lnTo>
                  <a:lnTo>
                    <a:pt x="2165109" y="200228"/>
                  </a:lnTo>
                  <a:lnTo>
                    <a:pt x="2165109" y="199530"/>
                  </a:lnTo>
                  <a:lnTo>
                    <a:pt x="2165109" y="200228"/>
                  </a:lnTo>
                  <a:lnTo>
                    <a:pt x="2165109" y="199530"/>
                  </a:lnTo>
                  <a:lnTo>
                    <a:pt x="2165109" y="202260"/>
                  </a:lnTo>
                  <a:lnTo>
                    <a:pt x="2165160" y="200876"/>
                  </a:lnTo>
                  <a:lnTo>
                    <a:pt x="2165160" y="200228"/>
                  </a:lnTo>
                  <a:lnTo>
                    <a:pt x="2165160" y="200876"/>
                  </a:lnTo>
                  <a:lnTo>
                    <a:pt x="2165211" y="200228"/>
                  </a:lnTo>
                  <a:lnTo>
                    <a:pt x="2165211" y="200876"/>
                  </a:lnTo>
                  <a:lnTo>
                    <a:pt x="2165211" y="200228"/>
                  </a:lnTo>
                  <a:lnTo>
                    <a:pt x="2165211" y="200876"/>
                  </a:lnTo>
                  <a:lnTo>
                    <a:pt x="2165211" y="200228"/>
                  </a:lnTo>
                  <a:lnTo>
                    <a:pt x="2165312" y="200876"/>
                  </a:lnTo>
                  <a:lnTo>
                    <a:pt x="2165312" y="199530"/>
                  </a:lnTo>
                  <a:lnTo>
                    <a:pt x="2165312" y="200228"/>
                  </a:lnTo>
                  <a:lnTo>
                    <a:pt x="2165312" y="199530"/>
                  </a:lnTo>
                  <a:lnTo>
                    <a:pt x="2165312" y="200228"/>
                  </a:lnTo>
                  <a:lnTo>
                    <a:pt x="2165312" y="198831"/>
                  </a:lnTo>
                  <a:lnTo>
                    <a:pt x="2165350" y="198831"/>
                  </a:lnTo>
                  <a:lnTo>
                    <a:pt x="2165350" y="199530"/>
                  </a:lnTo>
                  <a:lnTo>
                    <a:pt x="2165350" y="197447"/>
                  </a:lnTo>
                  <a:lnTo>
                    <a:pt x="2165350" y="198831"/>
                  </a:lnTo>
                  <a:lnTo>
                    <a:pt x="2165401" y="198831"/>
                  </a:lnTo>
                  <a:lnTo>
                    <a:pt x="2165401" y="199530"/>
                  </a:lnTo>
                  <a:lnTo>
                    <a:pt x="2165401" y="197447"/>
                  </a:lnTo>
                  <a:lnTo>
                    <a:pt x="2165401" y="199530"/>
                  </a:lnTo>
                  <a:lnTo>
                    <a:pt x="2165452" y="199530"/>
                  </a:lnTo>
                  <a:lnTo>
                    <a:pt x="2165452" y="198831"/>
                  </a:lnTo>
                  <a:lnTo>
                    <a:pt x="2165452" y="199530"/>
                  </a:lnTo>
                  <a:lnTo>
                    <a:pt x="2165554" y="199530"/>
                  </a:lnTo>
                  <a:lnTo>
                    <a:pt x="2165554" y="198831"/>
                  </a:lnTo>
                  <a:lnTo>
                    <a:pt x="2165554" y="199530"/>
                  </a:lnTo>
                  <a:lnTo>
                    <a:pt x="2165605" y="199530"/>
                  </a:lnTo>
                  <a:lnTo>
                    <a:pt x="2165605" y="198831"/>
                  </a:lnTo>
                  <a:lnTo>
                    <a:pt x="2165605" y="199530"/>
                  </a:lnTo>
                  <a:lnTo>
                    <a:pt x="2165655" y="199530"/>
                  </a:lnTo>
                  <a:lnTo>
                    <a:pt x="2165655" y="200228"/>
                  </a:lnTo>
                  <a:lnTo>
                    <a:pt x="2165655" y="199530"/>
                  </a:lnTo>
                  <a:lnTo>
                    <a:pt x="2165655" y="200228"/>
                  </a:lnTo>
                  <a:lnTo>
                    <a:pt x="2165655" y="199530"/>
                  </a:lnTo>
                  <a:lnTo>
                    <a:pt x="2165655" y="200228"/>
                  </a:lnTo>
                  <a:lnTo>
                    <a:pt x="2165655" y="199530"/>
                  </a:lnTo>
                  <a:lnTo>
                    <a:pt x="2165757" y="199530"/>
                  </a:lnTo>
                  <a:lnTo>
                    <a:pt x="2165757" y="200228"/>
                  </a:lnTo>
                  <a:lnTo>
                    <a:pt x="2165757" y="199530"/>
                  </a:lnTo>
                  <a:lnTo>
                    <a:pt x="2165757" y="200228"/>
                  </a:lnTo>
                  <a:lnTo>
                    <a:pt x="2165757" y="199530"/>
                  </a:lnTo>
                  <a:lnTo>
                    <a:pt x="2165757" y="200228"/>
                  </a:lnTo>
                  <a:lnTo>
                    <a:pt x="2165757" y="199530"/>
                  </a:lnTo>
                  <a:lnTo>
                    <a:pt x="2165808" y="199530"/>
                  </a:lnTo>
                  <a:lnTo>
                    <a:pt x="2165808" y="198831"/>
                  </a:lnTo>
                  <a:lnTo>
                    <a:pt x="2165859" y="198831"/>
                  </a:lnTo>
                  <a:lnTo>
                    <a:pt x="2165859" y="197447"/>
                  </a:lnTo>
                  <a:lnTo>
                    <a:pt x="2165859" y="199530"/>
                  </a:lnTo>
                  <a:lnTo>
                    <a:pt x="2165859" y="198831"/>
                  </a:lnTo>
                  <a:lnTo>
                    <a:pt x="2165859" y="199530"/>
                  </a:lnTo>
                  <a:lnTo>
                    <a:pt x="2165859" y="197447"/>
                  </a:lnTo>
                  <a:lnTo>
                    <a:pt x="2165897" y="197447"/>
                  </a:lnTo>
                  <a:lnTo>
                    <a:pt x="2165897" y="200876"/>
                  </a:lnTo>
                  <a:lnTo>
                    <a:pt x="2165897" y="199530"/>
                  </a:lnTo>
                  <a:lnTo>
                    <a:pt x="2165897" y="200228"/>
                  </a:lnTo>
                  <a:lnTo>
                    <a:pt x="2165998" y="199530"/>
                  </a:lnTo>
                  <a:lnTo>
                    <a:pt x="2165998" y="200228"/>
                  </a:lnTo>
                  <a:lnTo>
                    <a:pt x="2165998" y="199530"/>
                  </a:lnTo>
                  <a:lnTo>
                    <a:pt x="2165998" y="200876"/>
                  </a:lnTo>
                  <a:lnTo>
                    <a:pt x="2165998" y="200228"/>
                  </a:lnTo>
                  <a:lnTo>
                    <a:pt x="2166049" y="200228"/>
                  </a:lnTo>
                  <a:lnTo>
                    <a:pt x="2166049" y="200876"/>
                  </a:lnTo>
                  <a:lnTo>
                    <a:pt x="2166049" y="200228"/>
                  </a:lnTo>
                  <a:lnTo>
                    <a:pt x="2166049" y="200876"/>
                  </a:lnTo>
                  <a:lnTo>
                    <a:pt x="2166049" y="200228"/>
                  </a:lnTo>
                  <a:lnTo>
                    <a:pt x="2166100" y="200228"/>
                  </a:lnTo>
                  <a:lnTo>
                    <a:pt x="2166100" y="200876"/>
                  </a:lnTo>
                  <a:lnTo>
                    <a:pt x="2166100" y="200228"/>
                  </a:lnTo>
                  <a:lnTo>
                    <a:pt x="2166100" y="200876"/>
                  </a:lnTo>
                  <a:lnTo>
                    <a:pt x="2166100" y="200228"/>
                  </a:lnTo>
                  <a:lnTo>
                    <a:pt x="2166100" y="200876"/>
                  </a:lnTo>
                  <a:lnTo>
                    <a:pt x="2166201" y="200876"/>
                  </a:lnTo>
                  <a:lnTo>
                    <a:pt x="2166201" y="200228"/>
                  </a:lnTo>
                  <a:lnTo>
                    <a:pt x="2166201" y="200876"/>
                  </a:lnTo>
                  <a:lnTo>
                    <a:pt x="2166201" y="200228"/>
                  </a:lnTo>
                  <a:lnTo>
                    <a:pt x="2166252" y="200228"/>
                  </a:lnTo>
                  <a:lnTo>
                    <a:pt x="2166252" y="199530"/>
                  </a:lnTo>
                  <a:lnTo>
                    <a:pt x="2166252" y="200228"/>
                  </a:lnTo>
                  <a:lnTo>
                    <a:pt x="2166252" y="199530"/>
                  </a:lnTo>
                  <a:lnTo>
                    <a:pt x="2166303" y="199530"/>
                  </a:lnTo>
                  <a:lnTo>
                    <a:pt x="2166303" y="198831"/>
                  </a:lnTo>
                  <a:lnTo>
                    <a:pt x="2166303" y="199530"/>
                  </a:lnTo>
                  <a:lnTo>
                    <a:pt x="2166303" y="196799"/>
                  </a:lnTo>
                  <a:lnTo>
                    <a:pt x="2166303" y="197447"/>
                  </a:lnTo>
                  <a:lnTo>
                    <a:pt x="2166354" y="197447"/>
                  </a:lnTo>
                  <a:lnTo>
                    <a:pt x="2166354" y="199530"/>
                  </a:lnTo>
                  <a:lnTo>
                    <a:pt x="2166354" y="198831"/>
                  </a:lnTo>
                  <a:lnTo>
                    <a:pt x="2166354" y="199530"/>
                  </a:lnTo>
                  <a:lnTo>
                    <a:pt x="2166354" y="198831"/>
                  </a:lnTo>
                  <a:lnTo>
                    <a:pt x="2166354" y="199530"/>
                  </a:lnTo>
                  <a:lnTo>
                    <a:pt x="2166443" y="200228"/>
                  </a:lnTo>
                  <a:lnTo>
                    <a:pt x="2166443" y="200876"/>
                  </a:lnTo>
                  <a:lnTo>
                    <a:pt x="2166443" y="199530"/>
                  </a:lnTo>
                  <a:lnTo>
                    <a:pt x="2166443" y="200876"/>
                  </a:lnTo>
                  <a:lnTo>
                    <a:pt x="2166494" y="200876"/>
                  </a:lnTo>
                  <a:lnTo>
                    <a:pt x="2166494" y="202260"/>
                  </a:lnTo>
                  <a:lnTo>
                    <a:pt x="2166494" y="200228"/>
                  </a:lnTo>
                  <a:lnTo>
                    <a:pt x="2166494" y="200876"/>
                  </a:lnTo>
                  <a:lnTo>
                    <a:pt x="2166544" y="200876"/>
                  </a:lnTo>
                  <a:lnTo>
                    <a:pt x="2166544" y="200228"/>
                  </a:lnTo>
                  <a:lnTo>
                    <a:pt x="2166544" y="200876"/>
                  </a:lnTo>
                  <a:lnTo>
                    <a:pt x="2166544" y="200228"/>
                  </a:lnTo>
                  <a:lnTo>
                    <a:pt x="2166544" y="200876"/>
                  </a:lnTo>
                  <a:lnTo>
                    <a:pt x="2166544" y="200228"/>
                  </a:lnTo>
                  <a:lnTo>
                    <a:pt x="2166544" y="200876"/>
                  </a:lnTo>
                  <a:lnTo>
                    <a:pt x="2166595" y="200228"/>
                  </a:lnTo>
                  <a:lnTo>
                    <a:pt x="2166595" y="200876"/>
                  </a:lnTo>
                  <a:lnTo>
                    <a:pt x="2166595" y="200228"/>
                  </a:lnTo>
                  <a:lnTo>
                    <a:pt x="2166595" y="200876"/>
                  </a:lnTo>
                  <a:lnTo>
                    <a:pt x="2166595" y="200228"/>
                  </a:lnTo>
                  <a:lnTo>
                    <a:pt x="2166595" y="200876"/>
                  </a:lnTo>
                  <a:lnTo>
                    <a:pt x="2166595" y="200228"/>
                  </a:lnTo>
                  <a:lnTo>
                    <a:pt x="2166697" y="200228"/>
                  </a:lnTo>
                  <a:lnTo>
                    <a:pt x="2166697" y="200876"/>
                  </a:lnTo>
                  <a:lnTo>
                    <a:pt x="2166697" y="200228"/>
                  </a:lnTo>
                  <a:lnTo>
                    <a:pt x="2166747" y="200228"/>
                  </a:lnTo>
                  <a:lnTo>
                    <a:pt x="2166747" y="199530"/>
                  </a:lnTo>
                  <a:lnTo>
                    <a:pt x="2166747" y="200228"/>
                  </a:lnTo>
                  <a:lnTo>
                    <a:pt x="2166747" y="198831"/>
                  </a:lnTo>
                  <a:lnTo>
                    <a:pt x="2166798" y="198831"/>
                  </a:lnTo>
                  <a:lnTo>
                    <a:pt x="2166798" y="197447"/>
                  </a:lnTo>
                  <a:lnTo>
                    <a:pt x="2166798" y="199530"/>
                  </a:lnTo>
                  <a:lnTo>
                    <a:pt x="2166798" y="198831"/>
                  </a:lnTo>
                  <a:lnTo>
                    <a:pt x="2166900" y="198831"/>
                  </a:lnTo>
                  <a:lnTo>
                    <a:pt x="2166900" y="196799"/>
                  </a:lnTo>
                  <a:lnTo>
                    <a:pt x="2166900" y="197447"/>
                  </a:lnTo>
                  <a:lnTo>
                    <a:pt x="2166900" y="196799"/>
                  </a:lnTo>
                  <a:lnTo>
                    <a:pt x="2166900" y="200228"/>
                  </a:lnTo>
                  <a:lnTo>
                    <a:pt x="2166900" y="199530"/>
                  </a:lnTo>
                  <a:lnTo>
                    <a:pt x="2166938" y="199530"/>
                  </a:lnTo>
                  <a:lnTo>
                    <a:pt x="2166938" y="198831"/>
                  </a:lnTo>
                  <a:lnTo>
                    <a:pt x="2166938" y="200876"/>
                  </a:lnTo>
                  <a:lnTo>
                    <a:pt x="2166938" y="200228"/>
                  </a:lnTo>
                  <a:lnTo>
                    <a:pt x="2166989" y="200228"/>
                  </a:lnTo>
                  <a:lnTo>
                    <a:pt x="2166989" y="200876"/>
                  </a:lnTo>
                  <a:lnTo>
                    <a:pt x="2166989" y="200228"/>
                  </a:lnTo>
                  <a:lnTo>
                    <a:pt x="2166989" y="200876"/>
                  </a:lnTo>
                  <a:lnTo>
                    <a:pt x="2166989" y="200228"/>
                  </a:lnTo>
                  <a:lnTo>
                    <a:pt x="2167040" y="200876"/>
                  </a:lnTo>
                  <a:lnTo>
                    <a:pt x="2167040" y="200228"/>
                  </a:lnTo>
                  <a:lnTo>
                    <a:pt x="2167040" y="200876"/>
                  </a:lnTo>
                  <a:lnTo>
                    <a:pt x="2167040" y="200228"/>
                  </a:lnTo>
                  <a:lnTo>
                    <a:pt x="2167040" y="200876"/>
                  </a:lnTo>
                  <a:lnTo>
                    <a:pt x="2167040" y="200228"/>
                  </a:lnTo>
                  <a:lnTo>
                    <a:pt x="2167040" y="200876"/>
                  </a:lnTo>
                  <a:lnTo>
                    <a:pt x="2167192" y="200876"/>
                  </a:lnTo>
                  <a:lnTo>
                    <a:pt x="2167192" y="200228"/>
                  </a:lnTo>
                  <a:lnTo>
                    <a:pt x="2167192" y="200876"/>
                  </a:lnTo>
                  <a:lnTo>
                    <a:pt x="2167192" y="199530"/>
                  </a:lnTo>
                  <a:lnTo>
                    <a:pt x="2167243" y="199530"/>
                  </a:lnTo>
                  <a:lnTo>
                    <a:pt x="2167243" y="200228"/>
                  </a:lnTo>
                  <a:lnTo>
                    <a:pt x="2167243" y="199530"/>
                  </a:lnTo>
                  <a:lnTo>
                    <a:pt x="2167243" y="200228"/>
                  </a:lnTo>
                  <a:lnTo>
                    <a:pt x="2167243" y="199530"/>
                  </a:lnTo>
                  <a:lnTo>
                    <a:pt x="2167243" y="200228"/>
                  </a:lnTo>
                  <a:lnTo>
                    <a:pt x="2167243" y="197447"/>
                  </a:lnTo>
                  <a:lnTo>
                    <a:pt x="2167344" y="197447"/>
                  </a:lnTo>
                  <a:lnTo>
                    <a:pt x="2167344" y="196799"/>
                  </a:lnTo>
                  <a:lnTo>
                    <a:pt x="2167344" y="199530"/>
                  </a:lnTo>
                  <a:lnTo>
                    <a:pt x="2167344" y="197447"/>
                  </a:lnTo>
                  <a:lnTo>
                    <a:pt x="2167395" y="197447"/>
                  </a:lnTo>
                  <a:lnTo>
                    <a:pt x="2167395" y="200228"/>
                  </a:lnTo>
                  <a:lnTo>
                    <a:pt x="2167395" y="198831"/>
                  </a:lnTo>
                  <a:lnTo>
                    <a:pt x="2167395" y="199530"/>
                  </a:lnTo>
                  <a:lnTo>
                    <a:pt x="2167446" y="199530"/>
                  </a:lnTo>
                  <a:lnTo>
                    <a:pt x="2167446" y="200876"/>
                  </a:lnTo>
                  <a:lnTo>
                    <a:pt x="2167446" y="199530"/>
                  </a:lnTo>
                  <a:lnTo>
                    <a:pt x="2167446" y="200228"/>
                  </a:lnTo>
                  <a:lnTo>
                    <a:pt x="2167484" y="200876"/>
                  </a:lnTo>
                  <a:lnTo>
                    <a:pt x="2167484" y="199530"/>
                  </a:lnTo>
                  <a:lnTo>
                    <a:pt x="2167484" y="200876"/>
                  </a:lnTo>
                  <a:lnTo>
                    <a:pt x="2167586" y="200228"/>
                  </a:lnTo>
                  <a:lnTo>
                    <a:pt x="2167586" y="200876"/>
                  </a:lnTo>
                  <a:lnTo>
                    <a:pt x="2167586" y="200228"/>
                  </a:lnTo>
                  <a:lnTo>
                    <a:pt x="2167586" y="200876"/>
                  </a:lnTo>
                  <a:lnTo>
                    <a:pt x="2167586" y="200228"/>
                  </a:lnTo>
                  <a:lnTo>
                    <a:pt x="2167637" y="200228"/>
                  </a:lnTo>
                  <a:lnTo>
                    <a:pt x="2167637" y="200876"/>
                  </a:lnTo>
                  <a:lnTo>
                    <a:pt x="2167637" y="200228"/>
                  </a:lnTo>
                  <a:lnTo>
                    <a:pt x="2167637" y="200876"/>
                  </a:lnTo>
                  <a:lnTo>
                    <a:pt x="2167637" y="200228"/>
                  </a:lnTo>
                  <a:lnTo>
                    <a:pt x="2167637" y="200876"/>
                  </a:lnTo>
                  <a:lnTo>
                    <a:pt x="2167687" y="200876"/>
                  </a:lnTo>
                  <a:lnTo>
                    <a:pt x="2167687" y="199530"/>
                  </a:lnTo>
                  <a:lnTo>
                    <a:pt x="2167687" y="200228"/>
                  </a:lnTo>
                  <a:lnTo>
                    <a:pt x="2167687" y="199530"/>
                  </a:lnTo>
                  <a:lnTo>
                    <a:pt x="2167789" y="199530"/>
                  </a:lnTo>
                  <a:lnTo>
                    <a:pt x="2167789" y="198831"/>
                  </a:lnTo>
                  <a:lnTo>
                    <a:pt x="2167789" y="199530"/>
                  </a:lnTo>
                  <a:lnTo>
                    <a:pt x="2167789" y="196799"/>
                  </a:lnTo>
                  <a:lnTo>
                    <a:pt x="2167840" y="196799"/>
                  </a:lnTo>
                  <a:lnTo>
                    <a:pt x="2167840" y="196113"/>
                  </a:lnTo>
                  <a:lnTo>
                    <a:pt x="2167840" y="197447"/>
                  </a:lnTo>
                  <a:lnTo>
                    <a:pt x="2167840" y="196113"/>
                  </a:lnTo>
                  <a:lnTo>
                    <a:pt x="2167890" y="195415"/>
                  </a:lnTo>
                  <a:lnTo>
                    <a:pt x="2167890" y="199530"/>
                  </a:lnTo>
                  <a:lnTo>
                    <a:pt x="2167890" y="197447"/>
                  </a:lnTo>
                  <a:lnTo>
                    <a:pt x="2167941" y="197447"/>
                  </a:lnTo>
                  <a:lnTo>
                    <a:pt x="2167941" y="199530"/>
                  </a:lnTo>
                  <a:lnTo>
                    <a:pt x="2167941" y="198831"/>
                  </a:lnTo>
                  <a:lnTo>
                    <a:pt x="2167941" y="199530"/>
                  </a:lnTo>
                  <a:lnTo>
                    <a:pt x="2167941" y="198831"/>
                  </a:lnTo>
                  <a:lnTo>
                    <a:pt x="2167941" y="199530"/>
                  </a:lnTo>
                  <a:lnTo>
                    <a:pt x="2167941" y="198831"/>
                  </a:lnTo>
                  <a:lnTo>
                    <a:pt x="2168030" y="198831"/>
                  </a:lnTo>
                  <a:lnTo>
                    <a:pt x="2168030" y="200228"/>
                  </a:lnTo>
                  <a:lnTo>
                    <a:pt x="2168030" y="198831"/>
                  </a:lnTo>
                  <a:lnTo>
                    <a:pt x="2168030" y="199530"/>
                  </a:lnTo>
                  <a:lnTo>
                    <a:pt x="2168081" y="199530"/>
                  </a:lnTo>
                  <a:lnTo>
                    <a:pt x="2168081" y="200228"/>
                  </a:lnTo>
                  <a:lnTo>
                    <a:pt x="2168081" y="199530"/>
                  </a:lnTo>
                  <a:lnTo>
                    <a:pt x="2168081" y="200228"/>
                  </a:lnTo>
                  <a:lnTo>
                    <a:pt x="2168081" y="199530"/>
                  </a:lnTo>
                  <a:lnTo>
                    <a:pt x="2168081" y="200228"/>
                  </a:lnTo>
                  <a:lnTo>
                    <a:pt x="2168132" y="200228"/>
                  </a:lnTo>
                  <a:lnTo>
                    <a:pt x="2168132" y="200876"/>
                  </a:lnTo>
                  <a:lnTo>
                    <a:pt x="2168132" y="200228"/>
                  </a:lnTo>
                  <a:lnTo>
                    <a:pt x="2168183" y="200228"/>
                  </a:lnTo>
                  <a:lnTo>
                    <a:pt x="2168183" y="200876"/>
                  </a:lnTo>
                  <a:lnTo>
                    <a:pt x="2168183" y="199530"/>
                  </a:lnTo>
                  <a:lnTo>
                    <a:pt x="2168284" y="199530"/>
                  </a:lnTo>
                  <a:lnTo>
                    <a:pt x="2168284" y="196799"/>
                  </a:lnTo>
                  <a:lnTo>
                    <a:pt x="2168335" y="196799"/>
                  </a:lnTo>
                  <a:lnTo>
                    <a:pt x="2168335" y="196113"/>
                  </a:lnTo>
                  <a:lnTo>
                    <a:pt x="2168335" y="196799"/>
                  </a:lnTo>
                  <a:lnTo>
                    <a:pt x="2168335" y="196113"/>
                  </a:lnTo>
                  <a:lnTo>
                    <a:pt x="2168386" y="196113"/>
                  </a:lnTo>
                  <a:lnTo>
                    <a:pt x="2168386" y="195415"/>
                  </a:lnTo>
                  <a:lnTo>
                    <a:pt x="2168386" y="197447"/>
                  </a:lnTo>
                  <a:lnTo>
                    <a:pt x="2168386" y="196799"/>
                  </a:lnTo>
                  <a:lnTo>
                    <a:pt x="2168487" y="196799"/>
                  </a:lnTo>
                  <a:lnTo>
                    <a:pt x="2168487" y="197447"/>
                  </a:lnTo>
                  <a:lnTo>
                    <a:pt x="2168487" y="196799"/>
                  </a:lnTo>
                  <a:lnTo>
                    <a:pt x="2168525" y="197447"/>
                  </a:lnTo>
                  <a:lnTo>
                    <a:pt x="2168525" y="196799"/>
                  </a:lnTo>
                  <a:lnTo>
                    <a:pt x="2168525" y="197447"/>
                  </a:lnTo>
                  <a:lnTo>
                    <a:pt x="2168525" y="196799"/>
                  </a:lnTo>
                  <a:lnTo>
                    <a:pt x="2168525" y="197447"/>
                  </a:lnTo>
                  <a:lnTo>
                    <a:pt x="2168576" y="197447"/>
                  </a:lnTo>
                  <a:lnTo>
                    <a:pt x="2168576" y="198831"/>
                  </a:lnTo>
                  <a:lnTo>
                    <a:pt x="2168576" y="197447"/>
                  </a:lnTo>
                  <a:lnTo>
                    <a:pt x="2168576" y="198831"/>
                  </a:lnTo>
                  <a:lnTo>
                    <a:pt x="2168627" y="198831"/>
                  </a:lnTo>
                  <a:lnTo>
                    <a:pt x="2168627" y="199530"/>
                  </a:lnTo>
                  <a:lnTo>
                    <a:pt x="2168627" y="198831"/>
                  </a:lnTo>
                  <a:lnTo>
                    <a:pt x="2168627" y="199530"/>
                  </a:lnTo>
                  <a:lnTo>
                    <a:pt x="2168729" y="199530"/>
                  </a:lnTo>
                  <a:lnTo>
                    <a:pt x="2168729" y="200228"/>
                  </a:lnTo>
                  <a:lnTo>
                    <a:pt x="2168729" y="198831"/>
                  </a:lnTo>
                  <a:lnTo>
                    <a:pt x="2168780" y="198831"/>
                  </a:lnTo>
                  <a:lnTo>
                    <a:pt x="2168780" y="199530"/>
                  </a:lnTo>
                  <a:lnTo>
                    <a:pt x="2168780" y="196799"/>
                  </a:lnTo>
                  <a:lnTo>
                    <a:pt x="2168830" y="196799"/>
                  </a:lnTo>
                  <a:lnTo>
                    <a:pt x="2168830" y="196113"/>
                  </a:lnTo>
                  <a:lnTo>
                    <a:pt x="2168830" y="197447"/>
                  </a:lnTo>
                  <a:lnTo>
                    <a:pt x="2168830" y="196113"/>
                  </a:lnTo>
                  <a:lnTo>
                    <a:pt x="2168932" y="196113"/>
                  </a:lnTo>
                  <a:lnTo>
                    <a:pt x="2168932" y="198831"/>
                  </a:lnTo>
                  <a:lnTo>
                    <a:pt x="2168932" y="197447"/>
                  </a:lnTo>
                  <a:lnTo>
                    <a:pt x="2168983" y="197447"/>
                  </a:lnTo>
                  <a:lnTo>
                    <a:pt x="2168983" y="199530"/>
                  </a:lnTo>
                  <a:lnTo>
                    <a:pt x="2168983" y="197447"/>
                  </a:lnTo>
                  <a:lnTo>
                    <a:pt x="2169034" y="197447"/>
                  </a:lnTo>
                  <a:lnTo>
                    <a:pt x="2169034" y="198831"/>
                  </a:lnTo>
                  <a:lnTo>
                    <a:pt x="2169034" y="197447"/>
                  </a:lnTo>
                  <a:lnTo>
                    <a:pt x="2169034" y="198831"/>
                  </a:lnTo>
                  <a:lnTo>
                    <a:pt x="2169034" y="197447"/>
                  </a:lnTo>
                  <a:lnTo>
                    <a:pt x="2169034" y="198831"/>
                  </a:lnTo>
                  <a:lnTo>
                    <a:pt x="2169034" y="197447"/>
                  </a:lnTo>
                  <a:lnTo>
                    <a:pt x="2169072" y="197447"/>
                  </a:lnTo>
                  <a:lnTo>
                    <a:pt x="2169072" y="199530"/>
                  </a:lnTo>
                  <a:lnTo>
                    <a:pt x="2169072" y="198831"/>
                  </a:lnTo>
                  <a:lnTo>
                    <a:pt x="2169072" y="199530"/>
                  </a:lnTo>
                  <a:lnTo>
                    <a:pt x="2169173" y="199530"/>
                  </a:lnTo>
                  <a:lnTo>
                    <a:pt x="2169173" y="198831"/>
                  </a:lnTo>
                  <a:lnTo>
                    <a:pt x="2169173" y="200228"/>
                  </a:lnTo>
                  <a:lnTo>
                    <a:pt x="2169173" y="199530"/>
                  </a:lnTo>
                  <a:lnTo>
                    <a:pt x="2169173" y="200228"/>
                  </a:lnTo>
                  <a:lnTo>
                    <a:pt x="2169224" y="200228"/>
                  </a:lnTo>
                  <a:lnTo>
                    <a:pt x="2169224" y="198831"/>
                  </a:lnTo>
                  <a:lnTo>
                    <a:pt x="2169224" y="199530"/>
                  </a:lnTo>
                  <a:lnTo>
                    <a:pt x="2169224" y="198831"/>
                  </a:lnTo>
                  <a:lnTo>
                    <a:pt x="2169275" y="198831"/>
                  </a:lnTo>
                  <a:lnTo>
                    <a:pt x="2169275" y="196799"/>
                  </a:lnTo>
                  <a:lnTo>
                    <a:pt x="2169275" y="197447"/>
                  </a:lnTo>
                  <a:lnTo>
                    <a:pt x="2169376" y="197447"/>
                  </a:lnTo>
                  <a:lnTo>
                    <a:pt x="2169376" y="199530"/>
                  </a:lnTo>
                  <a:lnTo>
                    <a:pt x="2169376" y="197447"/>
                  </a:lnTo>
                  <a:lnTo>
                    <a:pt x="2169376" y="200228"/>
                  </a:lnTo>
                  <a:lnTo>
                    <a:pt x="2169427" y="200228"/>
                  </a:lnTo>
                  <a:lnTo>
                    <a:pt x="2169427" y="199530"/>
                  </a:lnTo>
                  <a:lnTo>
                    <a:pt x="2169427" y="200228"/>
                  </a:lnTo>
                  <a:lnTo>
                    <a:pt x="2169478" y="200876"/>
                  </a:lnTo>
                  <a:lnTo>
                    <a:pt x="2169478" y="198831"/>
                  </a:lnTo>
                  <a:lnTo>
                    <a:pt x="2169478" y="199530"/>
                  </a:lnTo>
                  <a:lnTo>
                    <a:pt x="2169529" y="199530"/>
                  </a:lnTo>
                  <a:lnTo>
                    <a:pt x="2169529" y="200228"/>
                  </a:lnTo>
                  <a:lnTo>
                    <a:pt x="2169529" y="199530"/>
                  </a:lnTo>
                  <a:lnTo>
                    <a:pt x="2169618" y="199530"/>
                  </a:lnTo>
                  <a:lnTo>
                    <a:pt x="2169618" y="198831"/>
                  </a:lnTo>
                  <a:lnTo>
                    <a:pt x="2169618" y="199530"/>
                  </a:lnTo>
                  <a:lnTo>
                    <a:pt x="2169618" y="198831"/>
                  </a:lnTo>
                  <a:lnTo>
                    <a:pt x="2169618" y="199530"/>
                  </a:lnTo>
                  <a:lnTo>
                    <a:pt x="2169669" y="199530"/>
                  </a:lnTo>
                  <a:lnTo>
                    <a:pt x="2169669" y="200228"/>
                  </a:lnTo>
                  <a:lnTo>
                    <a:pt x="2169669" y="199530"/>
                  </a:lnTo>
                  <a:lnTo>
                    <a:pt x="2169669" y="200228"/>
                  </a:lnTo>
                  <a:lnTo>
                    <a:pt x="2169669" y="199530"/>
                  </a:lnTo>
                  <a:lnTo>
                    <a:pt x="2169719" y="199530"/>
                  </a:lnTo>
                  <a:lnTo>
                    <a:pt x="2169719" y="196799"/>
                  </a:lnTo>
                  <a:lnTo>
                    <a:pt x="2169719" y="197447"/>
                  </a:lnTo>
                  <a:lnTo>
                    <a:pt x="2169770" y="196799"/>
                  </a:lnTo>
                  <a:lnTo>
                    <a:pt x="2169770" y="197447"/>
                  </a:lnTo>
                  <a:lnTo>
                    <a:pt x="2169770" y="196113"/>
                  </a:lnTo>
                  <a:lnTo>
                    <a:pt x="2169770" y="196799"/>
                  </a:lnTo>
                  <a:lnTo>
                    <a:pt x="2169770" y="196113"/>
                  </a:lnTo>
                  <a:lnTo>
                    <a:pt x="2169770" y="196799"/>
                  </a:lnTo>
                  <a:lnTo>
                    <a:pt x="2169872" y="197447"/>
                  </a:lnTo>
                  <a:lnTo>
                    <a:pt x="2169872" y="198831"/>
                  </a:lnTo>
                  <a:lnTo>
                    <a:pt x="2169872" y="197447"/>
                  </a:lnTo>
                  <a:lnTo>
                    <a:pt x="2169872" y="199530"/>
                  </a:lnTo>
                  <a:lnTo>
                    <a:pt x="2169922" y="199530"/>
                  </a:lnTo>
                  <a:lnTo>
                    <a:pt x="2169922" y="198831"/>
                  </a:lnTo>
                  <a:lnTo>
                    <a:pt x="2169922" y="200228"/>
                  </a:lnTo>
                  <a:lnTo>
                    <a:pt x="2169922" y="199530"/>
                  </a:lnTo>
                  <a:lnTo>
                    <a:pt x="2169922" y="200228"/>
                  </a:lnTo>
                  <a:lnTo>
                    <a:pt x="2169922" y="199530"/>
                  </a:lnTo>
                  <a:lnTo>
                    <a:pt x="2169973" y="199530"/>
                  </a:lnTo>
                  <a:lnTo>
                    <a:pt x="2169973" y="198831"/>
                  </a:lnTo>
                  <a:lnTo>
                    <a:pt x="2169973" y="199530"/>
                  </a:lnTo>
                  <a:lnTo>
                    <a:pt x="2170075" y="199530"/>
                  </a:lnTo>
                  <a:lnTo>
                    <a:pt x="2170075" y="200228"/>
                  </a:lnTo>
                  <a:lnTo>
                    <a:pt x="2170075" y="199530"/>
                  </a:lnTo>
                  <a:lnTo>
                    <a:pt x="2170075" y="200228"/>
                  </a:lnTo>
                  <a:lnTo>
                    <a:pt x="2170075" y="199530"/>
                  </a:lnTo>
                  <a:lnTo>
                    <a:pt x="2170075" y="200228"/>
                  </a:lnTo>
                  <a:lnTo>
                    <a:pt x="2170075" y="199530"/>
                  </a:lnTo>
                  <a:lnTo>
                    <a:pt x="2170075" y="200228"/>
                  </a:lnTo>
                  <a:lnTo>
                    <a:pt x="2170075" y="199530"/>
                  </a:lnTo>
                  <a:lnTo>
                    <a:pt x="2170075" y="200228"/>
                  </a:lnTo>
                  <a:lnTo>
                    <a:pt x="2170113" y="200228"/>
                  </a:lnTo>
                  <a:lnTo>
                    <a:pt x="2170164" y="200876"/>
                  </a:lnTo>
                  <a:lnTo>
                    <a:pt x="2170164" y="199530"/>
                  </a:lnTo>
                  <a:lnTo>
                    <a:pt x="2170164" y="200228"/>
                  </a:lnTo>
                  <a:lnTo>
                    <a:pt x="2170164" y="199530"/>
                  </a:lnTo>
                  <a:lnTo>
                    <a:pt x="2170164" y="200228"/>
                  </a:lnTo>
                  <a:lnTo>
                    <a:pt x="2170164" y="199530"/>
                  </a:lnTo>
                  <a:lnTo>
                    <a:pt x="2170164" y="200228"/>
                  </a:lnTo>
                  <a:lnTo>
                    <a:pt x="2170164" y="199530"/>
                  </a:lnTo>
                  <a:lnTo>
                    <a:pt x="2170215" y="199530"/>
                  </a:lnTo>
                  <a:lnTo>
                    <a:pt x="2170215" y="196799"/>
                  </a:lnTo>
                  <a:lnTo>
                    <a:pt x="2170316" y="196799"/>
                  </a:lnTo>
                  <a:lnTo>
                    <a:pt x="2170316" y="197447"/>
                  </a:lnTo>
                  <a:lnTo>
                    <a:pt x="2170316" y="196799"/>
                  </a:lnTo>
                  <a:lnTo>
                    <a:pt x="2170316" y="198831"/>
                  </a:lnTo>
                  <a:lnTo>
                    <a:pt x="2170367" y="198831"/>
                  </a:lnTo>
                  <a:lnTo>
                    <a:pt x="2170367" y="196799"/>
                  </a:lnTo>
                  <a:lnTo>
                    <a:pt x="2170367" y="200228"/>
                  </a:lnTo>
                  <a:lnTo>
                    <a:pt x="2170367" y="199530"/>
                  </a:lnTo>
                  <a:lnTo>
                    <a:pt x="2170418" y="199530"/>
                  </a:lnTo>
                  <a:lnTo>
                    <a:pt x="2170418" y="200228"/>
                  </a:lnTo>
                  <a:lnTo>
                    <a:pt x="2170418" y="199530"/>
                  </a:lnTo>
                  <a:lnTo>
                    <a:pt x="2170519" y="199530"/>
                  </a:lnTo>
                  <a:lnTo>
                    <a:pt x="2170519" y="200228"/>
                  </a:lnTo>
                  <a:lnTo>
                    <a:pt x="2170519" y="199530"/>
                  </a:lnTo>
                  <a:lnTo>
                    <a:pt x="2170519" y="200228"/>
                  </a:lnTo>
                  <a:lnTo>
                    <a:pt x="2170519" y="199530"/>
                  </a:lnTo>
                  <a:lnTo>
                    <a:pt x="2170570" y="199530"/>
                  </a:lnTo>
                  <a:lnTo>
                    <a:pt x="2170570" y="200228"/>
                  </a:lnTo>
                  <a:lnTo>
                    <a:pt x="2170570" y="199530"/>
                  </a:lnTo>
                  <a:lnTo>
                    <a:pt x="2170570" y="200228"/>
                  </a:lnTo>
                  <a:lnTo>
                    <a:pt x="2170621" y="200228"/>
                  </a:lnTo>
                  <a:lnTo>
                    <a:pt x="2170621" y="200876"/>
                  </a:lnTo>
                  <a:lnTo>
                    <a:pt x="2170621" y="199530"/>
                  </a:lnTo>
                  <a:lnTo>
                    <a:pt x="2170621" y="200228"/>
                  </a:lnTo>
                  <a:lnTo>
                    <a:pt x="2170659" y="200228"/>
                  </a:lnTo>
                  <a:lnTo>
                    <a:pt x="2170659" y="199530"/>
                  </a:lnTo>
                  <a:lnTo>
                    <a:pt x="2170761" y="199530"/>
                  </a:lnTo>
                  <a:lnTo>
                    <a:pt x="2170761" y="196799"/>
                  </a:lnTo>
                  <a:lnTo>
                    <a:pt x="2170761" y="197447"/>
                  </a:lnTo>
                  <a:lnTo>
                    <a:pt x="2170812" y="197447"/>
                  </a:lnTo>
                  <a:lnTo>
                    <a:pt x="2170812" y="194716"/>
                  </a:lnTo>
                  <a:lnTo>
                    <a:pt x="2170812" y="197447"/>
                  </a:lnTo>
                  <a:lnTo>
                    <a:pt x="2170862" y="197447"/>
                  </a:lnTo>
                  <a:lnTo>
                    <a:pt x="2170862" y="195415"/>
                  </a:lnTo>
                  <a:lnTo>
                    <a:pt x="2170862" y="198831"/>
                  </a:lnTo>
                  <a:lnTo>
                    <a:pt x="2170964" y="198831"/>
                  </a:lnTo>
                  <a:lnTo>
                    <a:pt x="2170964" y="196799"/>
                  </a:lnTo>
                  <a:lnTo>
                    <a:pt x="2170964" y="198831"/>
                  </a:lnTo>
                  <a:lnTo>
                    <a:pt x="2170964" y="197447"/>
                  </a:lnTo>
                  <a:lnTo>
                    <a:pt x="2171015" y="197447"/>
                  </a:lnTo>
                  <a:lnTo>
                    <a:pt x="2171015" y="199530"/>
                  </a:lnTo>
                  <a:lnTo>
                    <a:pt x="2171065" y="199530"/>
                  </a:lnTo>
                  <a:lnTo>
                    <a:pt x="2171065" y="200876"/>
                  </a:lnTo>
                  <a:lnTo>
                    <a:pt x="2171116" y="200876"/>
                  </a:lnTo>
                  <a:lnTo>
                    <a:pt x="2171116" y="200228"/>
                  </a:lnTo>
                  <a:lnTo>
                    <a:pt x="2171116" y="200876"/>
                  </a:lnTo>
                  <a:lnTo>
                    <a:pt x="2171116" y="200228"/>
                  </a:lnTo>
                  <a:lnTo>
                    <a:pt x="2171116" y="200876"/>
                  </a:lnTo>
                  <a:lnTo>
                    <a:pt x="2171116" y="200228"/>
                  </a:lnTo>
                  <a:lnTo>
                    <a:pt x="2171205" y="200228"/>
                  </a:lnTo>
                  <a:lnTo>
                    <a:pt x="2171205" y="200876"/>
                  </a:lnTo>
                  <a:lnTo>
                    <a:pt x="2171205" y="200228"/>
                  </a:lnTo>
                  <a:lnTo>
                    <a:pt x="2171205" y="200876"/>
                  </a:lnTo>
                  <a:lnTo>
                    <a:pt x="2171205" y="200228"/>
                  </a:lnTo>
                  <a:lnTo>
                    <a:pt x="2171205" y="200876"/>
                  </a:lnTo>
                  <a:lnTo>
                    <a:pt x="2171205" y="199530"/>
                  </a:lnTo>
                  <a:lnTo>
                    <a:pt x="2171256" y="199530"/>
                  </a:lnTo>
                  <a:lnTo>
                    <a:pt x="2171256" y="196799"/>
                  </a:lnTo>
                  <a:lnTo>
                    <a:pt x="2171307" y="196799"/>
                  </a:lnTo>
                  <a:lnTo>
                    <a:pt x="2171307" y="198831"/>
                  </a:lnTo>
                  <a:lnTo>
                    <a:pt x="2171307" y="196799"/>
                  </a:lnTo>
                  <a:lnTo>
                    <a:pt x="2171358" y="196113"/>
                  </a:lnTo>
                  <a:lnTo>
                    <a:pt x="2171358" y="199530"/>
                  </a:lnTo>
                  <a:lnTo>
                    <a:pt x="2171358" y="197447"/>
                  </a:lnTo>
                  <a:lnTo>
                    <a:pt x="2171459" y="197447"/>
                  </a:lnTo>
                  <a:lnTo>
                    <a:pt x="2171459" y="199530"/>
                  </a:lnTo>
                  <a:lnTo>
                    <a:pt x="2171459" y="197447"/>
                  </a:lnTo>
                  <a:lnTo>
                    <a:pt x="2171510" y="197447"/>
                  </a:lnTo>
                  <a:lnTo>
                    <a:pt x="2171510" y="198831"/>
                  </a:lnTo>
                  <a:lnTo>
                    <a:pt x="2171510" y="197447"/>
                  </a:lnTo>
                  <a:lnTo>
                    <a:pt x="2171510" y="198831"/>
                  </a:lnTo>
                  <a:lnTo>
                    <a:pt x="2171561" y="199530"/>
                  </a:lnTo>
                  <a:lnTo>
                    <a:pt x="2171700" y="199530"/>
                  </a:lnTo>
                  <a:lnTo>
                    <a:pt x="2171700" y="198831"/>
                  </a:lnTo>
                  <a:lnTo>
                    <a:pt x="2171700" y="199530"/>
                  </a:lnTo>
                  <a:lnTo>
                    <a:pt x="2171700" y="198831"/>
                  </a:lnTo>
                  <a:lnTo>
                    <a:pt x="2171700" y="199530"/>
                  </a:lnTo>
                  <a:lnTo>
                    <a:pt x="2171700" y="198831"/>
                  </a:lnTo>
                  <a:lnTo>
                    <a:pt x="2171751" y="198831"/>
                  </a:lnTo>
                  <a:lnTo>
                    <a:pt x="2171751" y="197447"/>
                  </a:lnTo>
                  <a:lnTo>
                    <a:pt x="2171751" y="199530"/>
                  </a:lnTo>
                  <a:lnTo>
                    <a:pt x="2171802" y="199530"/>
                  </a:lnTo>
                  <a:lnTo>
                    <a:pt x="2171802" y="198831"/>
                  </a:lnTo>
                  <a:lnTo>
                    <a:pt x="2171802" y="200876"/>
                  </a:lnTo>
                  <a:lnTo>
                    <a:pt x="2171904" y="200228"/>
                  </a:lnTo>
                  <a:lnTo>
                    <a:pt x="2171904" y="200876"/>
                  </a:lnTo>
                  <a:lnTo>
                    <a:pt x="2171904" y="199530"/>
                  </a:lnTo>
                  <a:lnTo>
                    <a:pt x="2171904" y="200228"/>
                  </a:lnTo>
                  <a:lnTo>
                    <a:pt x="2171955" y="200876"/>
                  </a:lnTo>
                  <a:lnTo>
                    <a:pt x="2171955" y="199530"/>
                  </a:lnTo>
                  <a:lnTo>
                    <a:pt x="2171955" y="200876"/>
                  </a:lnTo>
                  <a:lnTo>
                    <a:pt x="2171955" y="200228"/>
                  </a:lnTo>
                  <a:lnTo>
                    <a:pt x="2172005" y="200228"/>
                  </a:lnTo>
                  <a:lnTo>
                    <a:pt x="2172005" y="200876"/>
                  </a:lnTo>
                  <a:lnTo>
                    <a:pt x="2172005" y="200228"/>
                  </a:lnTo>
                  <a:lnTo>
                    <a:pt x="2172005" y="200876"/>
                  </a:lnTo>
                  <a:lnTo>
                    <a:pt x="2172005" y="200228"/>
                  </a:lnTo>
                  <a:lnTo>
                    <a:pt x="2172005" y="200876"/>
                  </a:lnTo>
                  <a:lnTo>
                    <a:pt x="2172005" y="200228"/>
                  </a:lnTo>
                  <a:lnTo>
                    <a:pt x="2172005" y="200876"/>
                  </a:lnTo>
                  <a:lnTo>
                    <a:pt x="2172005" y="200228"/>
                  </a:lnTo>
                  <a:lnTo>
                    <a:pt x="2172107" y="200228"/>
                  </a:lnTo>
                  <a:lnTo>
                    <a:pt x="2172107" y="200876"/>
                  </a:lnTo>
                  <a:lnTo>
                    <a:pt x="2172107" y="200228"/>
                  </a:lnTo>
                  <a:lnTo>
                    <a:pt x="2172158" y="200228"/>
                  </a:lnTo>
                  <a:lnTo>
                    <a:pt x="2172158" y="199530"/>
                  </a:lnTo>
                  <a:lnTo>
                    <a:pt x="2172158" y="200228"/>
                  </a:lnTo>
                  <a:lnTo>
                    <a:pt x="2172158" y="199530"/>
                  </a:lnTo>
                  <a:lnTo>
                    <a:pt x="2172158" y="200228"/>
                  </a:lnTo>
                  <a:lnTo>
                    <a:pt x="2172158" y="199530"/>
                  </a:lnTo>
                  <a:lnTo>
                    <a:pt x="2172209" y="199530"/>
                  </a:lnTo>
                  <a:lnTo>
                    <a:pt x="2172209" y="198831"/>
                  </a:lnTo>
                  <a:lnTo>
                    <a:pt x="2172247" y="198831"/>
                  </a:lnTo>
                  <a:lnTo>
                    <a:pt x="2172247" y="197447"/>
                  </a:lnTo>
                  <a:lnTo>
                    <a:pt x="2172247" y="198831"/>
                  </a:lnTo>
                  <a:lnTo>
                    <a:pt x="2172247" y="197447"/>
                  </a:lnTo>
                  <a:lnTo>
                    <a:pt x="2172247" y="198831"/>
                  </a:lnTo>
                  <a:lnTo>
                    <a:pt x="2172348" y="198831"/>
                  </a:lnTo>
                  <a:lnTo>
                    <a:pt x="2172348" y="200876"/>
                  </a:lnTo>
                  <a:lnTo>
                    <a:pt x="2172348" y="200228"/>
                  </a:lnTo>
                  <a:lnTo>
                    <a:pt x="2172399" y="200228"/>
                  </a:lnTo>
                  <a:lnTo>
                    <a:pt x="2172399" y="199530"/>
                  </a:lnTo>
                  <a:lnTo>
                    <a:pt x="2172399" y="200876"/>
                  </a:lnTo>
                  <a:lnTo>
                    <a:pt x="2172399" y="200228"/>
                  </a:lnTo>
                  <a:lnTo>
                    <a:pt x="2172450" y="200228"/>
                  </a:lnTo>
                  <a:lnTo>
                    <a:pt x="2172450" y="200876"/>
                  </a:lnTo>
                  <a:lnTo>
                    <a:pt x="2172450" y="200228"/>
                  </a:lnTo>
                  <a:lnTo>
                    <a:pt x="2172551" y="200228"/>
                  </a:lnTo>
                  <a:lnTo>
                    <a:pt x="2172551" y="200876"/>
                  </a:lnTo>
                  <a:lnTo>
                    <a:pt x="2172551" y="200228"/>
                  </a:lnTo>
                  <a:lnTo>
                    <a:pt x="2172551" y="202260"/>
                  </a:lnTo>
                  <a:lnTo>
                    <a:pt x="2172551" y="200876"/>
                  </a:lnTo>
                  <a:lnTo>
                    <a:pt x="2172602" y="200876"/>
                  </a:lnTo>
                  <a:lnTo>
                    <a:pt x="2172602" y="200228"/>
                  </a:lnTo>
                  <a:lnTo>
                    <a:pt x="2172602" y="200876"/>
                  </a:lnTo>
                  <a:lnTo>
                    <a:pt x="2172602" y="200228"/>
                  </a:lnTo>
                  <a:lnTo>
                    <a:pt x="2172602" y="200876"/>
                  </a:lnTo>
                  <a:lnTo>
                    <a:pt x="2172602" y="200228"/>
                  </a:lnTo>
                  <a:lnTo>
                    <a:pt x="2172602" y="200876"/>
                  </a:lnTo>
                  <a:lnTo>
                    <a:pt x="2172602" y="200228"/>
                  </a:lnTo>
                  <a:lnTo>
                    <a:pt x="2172602" y="200876"/>
                  </a:lnTo>
                  <a:lnTo>
                    <a:pt x="2172602" y="200228"/>
                  </a:lnTo>
                  <a:lnTo>
                    <a:pt x="2172653" y="200228"/>
                  </a:lnTo>
                  <a:lnTo>
                    <a:pt x="2172653" y="198831"/>
                  </a:lnTo>
                  <a:lnTo>
                    <a:pt x="2172704" y="198831"/>
                  </a:lnTo>
                  <a:lnTo>
                    <a:pt x="2172704" y="196799"/>
                  </a:lnTo>
                  <a:lnTo>
                    <a:pt x="2172704" y="197447"/>
                  </a:lnTo>
                  <a:lnTo>
                    <a:pt x="2172793" y="197447"/>
                  </a:lnTo>
                  <a:lnTo>
                    <a:pt x="2172793" y="196799"/>
                  </a:lnTo>
                  <a:lnTo>
                    <a:pt x="2172793" y="198831"/>
                  </a:lnTo>
                  <a:lnTo>
                    <a:pt x="2172793" y="197447"/>
                  </a:lnTo>
                  <a:lnTo>
                    <a:pt x="2172844" y="197447"/>
                  </a:lnTo>
                  <a:lnTo>
                    <a:pt x="2172844" y="200228"/>
                  </a:lnTo>
                  <a:lnTo>
                    <a:pt x="2172844" y="198831"/>
                  </a:lnTo>
                  <a:lnTo>
                    <a:pt x="2172844" y="199530"/>
                  </a:lnTo>
                  <a:lnTo>
                    <a:pt x="2172894" y="199530"/>
                  </a:lnTo>
                  <a:lnTo>
                    <a:pt x="2172894" y="200228"/>
                  </a:lnTo>
                  <a:lnTo>
                    <a:pt x="2172894" y="199530"/>
                  </a:lnTo>
                  <a:lnTo>
                    <a:pt x="2172894" y="200228"/>
                  </a:lnTo>
                  <a:lnTo>
                    <a:pt x="2172945" y="200228"/>
                  </a:lnTo>
                  <a:lnTo>
                    <a:pt x="2172945" y="200876"/>
                  </a:lnTo>
                  <a:lnTo>
                    <a:pt x="2172945" y="200228"/>
                  </a:lnTo>
                  <a:lnTo>
                    <a:pt x="2172945" y="200876"/>
                  </a:lnTo>
                  <a:lnTo>
                    <a:pt x="2172945" y="200228"/>
                  </a:lnTo>
                  <a:lnTo>
                    <a:pt x="2172945" y="200876"/>
                  </a:lnTo>
                  <a:lnTo>
                    <a:pt x="2172945" y="200228"/>
                  </a:lnTo>
                  <a:lnTo>
                    <a:pt x="2172945" y="200876"/>
                  </a:lnTo>
                  <a:lnTo>
                    <a:pt x="2173047" y="200876"/>
                  </a:lnTo>
                  <a:lnTo>
                    <a:pt x="2173047" y="202260"/>
                  </a:lnTo>
                  <a:lnTo>
                    <a:pt x="2173047" y="200876"/>
                  </a:lnTo>
                  <a:lnTo>
                    <a:pt x="2173047" y="202260"/>
                  </a:lnTo>
                  <a:lnTo>
                    <a:pt x="2173097" y="202260"/>
                  </a:lnTo>
                  <a:lnTo>
                    <a:pt x="2173097" y="200876"/>
                  </a:lnTo>
                  <a:lnTo>
                    <a:pt x="2173097" y="202260"/>
                  </a:lnTo>
                  <a:lnTo>
                    <a:pt x="2173097" y="200876"/>
                  </a:lnTo>
                  <a:lnTo>
                    <a:pt x="2173148" y="200228"/>
                  </a:lnTo>
                  <a:lnTo>
                    <a:pt x="2173148" y="200876"/>
                  </a:lnTo>
                  <a:lnTo>
                    <a:pt x="2173148" y="199530"/>
                  </a:lnTo>
                  <a:lnTo>
                    <a:pt x="2173148" y="200228"/>
                  </a:lnTo>
                  <a:lnTo>
                    <a:pt x="2173250" y="200228"/>
                  </a:lnTo>
                  <a:lnTo>
                    <a:pt x="2173250" y="196799"/>
                  </a:lnTo>
                  <a:lnTo>
                    <a:pt x="2173250" y="197447"/>
                  </a:lnTo>
                  <a:lnTo>
                    <a:pt x="2173288" y="197447"/>
                  </a:lnTo>
                  <a:lnTo>
                    <a:pt x="2173288" y="196799"/>
                  </a:lnTo>
                  <a:lnTo>
                    <a:pt x="2173288" y="197447"/>
                  </a:lnTo>
                  <a:lnTo>
                    <a:pt x="2173339" y="197447"/>
                  </a:lnTo>
                  <a:lnTo>
                    <a:pt x="2173339" y="199530"/>
                  </a:lnTo>
                  <a:lnTo>
                    <a:pt x="2173339" y="198831"/>
                  </a:lnTo>
                  <a:lnTo>
                    <a:pt x="2173390" y="198831"/>
                  </a:lnTo>
                  <a:lnTo>
                    <a:pt x="2173390" y="200228"/>
                  </a:lnTo>
                  <a:lnTo>
                    <a:pt x="2173491" y="200228"/>
                  </a:lnTo>
                  <a:lnTo>
                    <a:pt x="2173491" y="200876"/>
                  </a:lnTo>
                  <a:lnTo>
                    <a:pt x="2173491" y="200228"/>
                  </a:lnTo>
                  <a:lnTo>
                    <a:pt x="2173542" y="200228"/>
                  </a:lnTo>
                  <a:lnTo>
                    <a:pt x="2173542" y="200876"/>
                  </a:lnTo>
                  <a:lnTo>
                    <a:pt x="2173542" y="200228"/>
                  </a:lnTo>
                  <a:lnTo>
                    <a:pt x="2173542" y="200876"/>
                  </a:lnTo>
                  <a:lnTo>
                    <a:pt x="2173542" y="200228"/>
                  </a:lnTo>
                  <a:lnTo>
                    <a:pt x="2173542" y="200876"/>
                  </a:lnTo>
                  <a:lnTo>
                    <a:pt x="2173542" y="200228"/>
                  </a:lnTo>
                  <a:lnTo>
                    <a:pt x="2173542" y="200876"/>
                  </a:lnTo>
                  <a:lnTo>
                    <a:pt x="2173593" y="200876"/>
                  </a:lnTo>
                  <a:lnTo>
                    <a:pt x="2173593" y="200228"/>
                  </a:lnTo>
                  <a:lnTo>
                    <a:pt x="2173593" y="200876"/>
                  </a:lnTo>
                  <a:lnTo>
                    <a:pt x="2173593" y="200228"/>
                  </a:lnTo>
                  <a:lnTo>
                    <a:pt x="2173694" y="200228"/>
                  </a:lnTo>
                  <a:lnTo>
                    <a:pt x="2173694" y="198831"/>
                  </a:lnTo>
                  <a:lnTo>
                    <a:pt x="2173745" y="198831"/>
                  </a:lnTo>
                  <a:lnTo>
                    <a:pt x="2173745" y="199530"/>
                  </a:lnTo>
                  <a:lnTo>
                    <a:pt x="2173745" y="198831"/>
                  </a:lnTo>
                  <a:lnTo>
                    <a:pt x="2173745" y="199530"/>
                  </a:lnTo>
                  <a:lnTo>
                    <a:pt x="2173745" y="197447"/>
                  </a:lnTo>
                  <a:lnTo>
                    <a:pt x="2173745" y="199530"/>
                  </a:lnTo>
                  <a:lnTo>
                    <a:pt x="2173796" y="199530"/>
                  </a:lnTo>
                  <a:lnTo>
                    <a:pt x="2173796" y="196799"/>
                  </a:lnTo>
                  <a:lnTo>
                    <a:pt x="2173796" y="200876"/>
                  </a:lnTo>
                  <a:lnTo>
                    <a:pt x="2173796" y="200228"/>
                  </a:lnTo>
                  <a:lnTo>
                    <a:pt x="2173834" y="200228"/>
                  </a:lnTo>
                  <a:lnTo>
                    <a:pt x="2173834" y="198831"/>
                  </a:lnTo>
                  <a:lnTo>
                    <a:pt x="2173834" y="200876"/>
                  </a:lnTo>
                  <a:lnTo>
                    <a:pt x="2173834" y="199530"/>
                  </a:lnTo>
                  <a:lnTo>
                    <a:pt x="2173936" y="199530"/>
                  </a:lnTo>
                  <a:lnTo>
                    <a:pt x="2173936" y="200876"/>
                  </a:lnTo>
                  <a:lnTo>
                    <a:pt x="2173936" y="200228"/>
                  </a:lnTo>
                  <a:lnTo>
                    <a:pt x="2173987" y="200228"/>
                  </a:lnTo>
                  <a:lnTo>
                    <a:pt x="2173987" y="200876"/>
                  </a:lnTo>
                  <a:lnTo>
                    <a:pt x="2173987" y="200228"/>
                  </a:lnTo>
                  <a:lnTo>
                    <a:pt x="2173987" y="200876"/>
                  </a:lnTo>
                  <a:lnTo>
                    <a:pt x="2173987" y="200228"/>
                  </a:lnTo>
                  <a:lnTo>
                    <a:pt x="2173987" y="200876"/>
                  </a:lnTo>
                  <a:lnTo>
                    <a:pt x="2173987" y="200228"/>
                  </a:lnTo>
                  <a:lnTo>
                    <a:pt x="2174037" y="200228"/>
                  </a:lnTo>
                  <a:lnTo>
                    <a:pt x="2174037" y="200876"/>
                  </a:lnTo>
                  <a:lnTo>
                    <a:pt x="2174037" y="200228"/>
                  </a:lnTo>
                  <a:lnTo>
                    <a:pt x="2174037" y="200876"/>
                  </a:lnTo>
                  <a:lnTo>
                    <a:pt x="2174037" y="200228"/>
                  </a:lnTo>
                  <a:lnTo>
                    <a:pt x="2174139" y="200228"/>
                  </a:lnTo>
                  <a:lnTo>
                    <a:pt x="2174139" y="199530"/>
                  </a:lnTo>
                  <a:lnTo>
                    <a:pt x="2174190" y="199530"/>
                  </a:lnTo>
                  <a:lnTo>
                    <a:pt x="2174190" y="200228"/>
                  </a:lnTo>
                  <a:lnTo>
                    <a:pt x="2174190" y="198831"/>
                  </a:lnTo>
                  <a:lnTo>
                    <a:pt x="2174190" y="199530"/>
                  </a:lnTo>
                  <a:lnTo>
                    <a:pt x="2174190" y="198831"/>
                  </a:lnTo>
                  <a:lnTo>
                    <a:pt x="2174240" y="198831"/>
                  </a:lnTo>
                  <a:lnTo>
                    <a:pt x="2174240" y="197447"/>
                  </a:lnTo>
                  <a:lnTo>
                    <a:pt x="2174240" y="200228"/>
                  </a:lnTo>
                  <a:lnTo>
                    <a:pt x="2174240" y="196799"/>
                  </a:lnTo>
                  <a:lnTo>
                    <a:pt x="2174291" y="196799"/>
                  </a:lnTo>
                  <a:lnTo>
                    <a:pt x="2174291" y="196113"/>
                  </a:lnTo>
                  <a:lnTo>
                    <a:pt x="2174291" y="200228"/>
                  </a:lnTo>
                  <a:lnTo>
                    <a:pt x="2174291" y="197447"/>
                  </a:lnTo>
                  <a:lnTo>
                    <a:pt x="2174380" y="197447"/>
                  </a:lnTo>
                  <a:lnTo>
                    <a:pt x="2174380" y="200228"/>
                  </a:lnTo>
                  <a:lnTo>
                    <a:pt x="2174380" y="197447"/>
                  </a:lnTo>
                  <a:lnTo>
                    <a:pt x="2174380" y="199530"/>
                  </a:lnTo>
                  <a:lnTo>
                    <a:pt x="2174431" y="199530"/>
                  </a:lnTo>
                  <a:lnTo>
                    <a:pt x="2174431" y="200228"/>
                  </a:lnTo>
                  <a:lnTo>
                    <a:pt x="2174431" y="199530"/>
                  </a:lnTo>
                  <a:lnTo>
                    <a:pt x="2174431" y="200228"/>
                  </a:lnTo>
                  <a:lnTo>
                    <a:pt x="2174482" y="200228"/>
                  </a:lnTo>
                  <a:lnTo>
                    <a:pt x="2174482" y="200876"/>
                  </a:lnTo>
                  <a:lnTo>
                    <a:pt x="2174482" y="199530"/>
                  </a:lnTo>
                  <a:lnTo>
                    <a:pt x="2174482" y="200228"/>
                  </a:lnTo>
                  <a:lnTo>
                    <a:pt x="2174533" y="200228"/>
                  </a:lnTo>
                  <a:lnTo>
                    <a:pt x="2174533" y="199530"/>
                  </a:lnTo>
                  <a:lnTo>
                    <a:pt x="2174533" y="200228"/>
                  </a:lnTo>
                  <a:lnTo>
                    <a:pt x="2174533" y="199530"/>
                  </a:lnTo>
                  <a:lnTo>
                    <a:pt x="2174533" y="200228"/>
                  </a:lnTo>
                  <a:lnTo>
                    <a:pt x="2174634" y="200228"/>
                  </a:lnTo>
                  <a:lnTo>
                    <a:pt x="2174634" y="198831"/>
                  </a:lnTo>
                  <a:lnTo>
                    <a:pt x="2174634" y="199530"/>
                  </a:lnTo>
                  <a:lnTo>
                    <a:pt x="2174634" y="198831"/>
                  </a:lnTo>
                  <a:lnTo>
                    <a:pt x="2174634" y="199530"/>
                  </a:lnTo>
                  <a:lnTo>
                    <a:pt x="2174634" y="198831"/>
                  </a:lnTo>
                  <a:lnTo>
                    <a:pt x="2174685" y="198831"/>
                  </a:lnTo>
                  <a:lnTo>
                    <a:pt x="2174685" y="197447"/>
                  </a:lnTo>
                  <a:lnTo>
                    <a:pt x="2174685" y="198831"/>
                  </a:lnTo>
                  <a:lnTo>
                    <a:pt x="2174685" y="197447"/>
                  </a:lnTo>
                  <a:lnTo>
                    <a:pt x="2174685" y="198831"/>
                  </a:lnTo>
                  <a:lnTo>
                    <a:pt x="2174736" y="198831"/>
                  </a:lnTo>
                  <a:lnTo>
                    <a:pt x="2174736" y="199530"/>
                  </a:lnTo>
                  <a:lnTo>
                    <a:pt x="2174736" y="196799"/>
                  </a:lnTo>
                  <a:lnTo>
                    <a:pt x="2174736" y="197447"/>
                  </a:lnTo>
                  <a:lnTo>
                    <a:pt x="2174736" y="196799"/>
                  </a:lnTo>
                  <a:lnTo>
                    <a:pt x="2174736" y="199530"/>
                  </a:lnTo>
                  <a:lnTo>
                    <a:pt x="2174837" y="199530"/>
                  </a:lnTo>
                  <a:lnTo>
                    <a:pt x="2174837" y="200228"/>
                  </a:lnTo>
                  <a:lnTo>
                    <a:pt x="2174837" y="198831"/>
                  </a:lnTo>
                  <a:lnTo>
                    <a:pt x="2174837" y="199530"/>
                  </a:lnTo>
                  <a:lnTo>
                    <a:pt x="2174875" y="200228"/>
                  </a:lnTo>
                  <a:lnTo>
                    <a:pt x="2174875" y="199530"/>
                  </a:lnTo>
                  <a:lnTo>
                    <a:pt x="2174875" y="200876"/>
                  </a:lnTo>
                  <a:lnTo>
                    <a:pt x="2174926" y="200876"/>
                  </a:lnTo>
                  <a:lnTo>
                    <a:pt x="2174926" y="200228"/>
                  </a:lnTo>
                  <a:lnTo>
                    <a:pt x="2174926" y="200876"/>
                  </a:lnTo>
                  <a:lnTo>
                    <a:pt x="2174926" y="200228"/>
                  </a:lnTo>
                  <a:lnTo>
                    <a:pt x="2174926" y="200876"/>
                  </a:lnTo>
                  <a:lnTo>
                    <a:pt x="2174977" y="200876"/>
                  </a:lnTo>
                  <a:lnTo>
                    <a:pt x="2174977" y="200228"/>
                  </a:lnTo>
                  <a:lnTo>
                    <a:pt x="2174977" y="200876"/>
                  </a:lnTo>
                  <a:lnTo>
                    <a:pt x="2174977" y="200228"/>
                  </a:lnTo>
                  <a:lnTo>
                    <a:pt x="2174977" y="200876"/>
                  </a:lnTo>
                  <a:lnTo>
                    <a:pt x="2174977" y="200228"/>
                  </a:lnTo>
                  <a:lnTo>
                    <a:pt x="2175079" y="200228"/>
                  </a:lnTo>
                  <a:lnTo>
                    <a:pt x="2175079" y="200876"/>
                  </a:lnTo>
                  <a:lnTo>
                    <a:pt x="2175079" y="200228"/>
                  </a:lnTo>
                  <a:lnTo>
                    <a:pt x="2175130" y="200228"/>
                  </a:lnTo>
                  <a:lnTo>
                    <a:pt x="2175130" y="199530"/>
                  </a:lnTo>
                  <a:lnTo>
                    <a:pt x="2175180" y="199530"/>
                  </a:lnTo>
                  <a:lnTo>
                    <a:pt x="2175180" y="197447"/>
                  </a:lnTo>
                  <a:lnTo>
                    <a:pt x="2175180" y="200228"/>
                  </a:lnTo>
                  <a:lnTo>
                    <a:pt x="2175282" y="200228"/>
                  </a:lnTo>
                  <a:lnTo>
                    <a:pt x="2175282" y="197447"/>
                  </a:lnTo>
                  <a:lnTo>
                    <a:pt x="2175282" y="200876"/>
                  </a:lnTo>
                  <a:lnTo>
                    <a:pt x="2175282" y="200228"/>
                  </a:lnTo>
                  <a:lnTo>
                    <a:pt x="2175333" y="200228"/>
                  </a:lnTo>
                  <a:lnTo>
                    <a:pt x="2175333" y="198831"/>
                  </a:lnTo>
                  <a:lnTo>
                    <a:pt x="2175333" y="200876"/>
                  </a:lnTo>
                  <a:lnTo>
                    <a:pt x="2175333" y="200228"/>
                  </a:lnTo>
                  <a:lnTo>
                    <a:pt x="2175384" y="200228"/>
                  </a:lnTo>
                  <a:lnTo>
                    <a:pt x="2175384" y="199530"/>
                  </a:lnTo>
                  <a:lnTo>
                    <a:pt x="2175384" y="200876"/>
                  </a:lnTo>
                  <a:lnTo>
                    <a:pt x="2175422" y="200876"/>
                  </a:lnTo>
                  <a:lnTo>
                    <a:pt x="2175422" y="202260"/>
                  </a:lnTo>
                  <a:lnTo>
                    <a:pt x="2175422" y="200876"/>
                  </a:lnTo>
                  <a:lnTo>
                    <a:pt x="2175523" y="200228"/>
                  </a:lnTo>
                  <a:lnTo>
                    <a:pt x="2175523" y="200876"/>
                  </a:lnTo>
                  <a:lnTo>
                    <a:pt x="2175523" y="200228"/>
                  </a:lnTo>
                  <a:lnTo>
                    <a:pt x="2175523" y="200876"/>
                  </a:lnTo>
                  <a:lnTo>
                    <a:pt x="2175523" y="199530"/>
                  </a:lnTo>
                  <a:lnTo>
                    <a:pt x="2175523" y="200228"/>
                  </a:lnTo>
                  <a:lnTo>
                    <a:pt x="2175574" y="200228"/>
                  </a:lnTo>
                  <a:lnTo>
                    <a:pt x="2175574" y="199530"/>
                  </a:lnTo>
                  <a:lnTo>
                    <a:pt x="2175625" y="199530"/>
                  </a:lnTo>
                  <a:lnTo>
                    <a:pt x="2175625" y="197447"/>
                  </a:lnTo>
                  <a:lnTo>
                    <a:pt x="2175726" y="197447"/>
                  </a:lnTo>
                  <a:lnTo>
                    <a:pt x="2175726" y="196799"/>
                  </a:lnTo>
                  <a:lnTo>
                    <a:pt x="2175726" y="199530"/>
                  </a:lnTo>
                  <a:lnTo>
                    <a:pt x="2175726" y="196799"/>
                  </a:lnTo>
                  <a:lnTo>
                    <a:pt x="2175777" y="196799"/>
                  </a:lnTo>
                  <a:lnTo>
                    <a:pt x="2175777" y="196113"/>
                  </a:lnTo>
                  <a:lnTo>
                    <a:pt x="2175777" y="200228"/>
                  </a:lnTo>
                  <a:lnTo>
                    <a:pt x="2175777" y="197447"/>
                  </a:lnTo>
                  <a:lnTo>
                    <a:pt x="2175828" y="197447"/>
                  </a:lnTo>
                  <a:lnTo>
                    <a:pt x="2175828" y="200228"/>
                  </a:lnTo>
                  <a:lnTo>
                    <a:pt x="2175828" y="199530"/>
                  </a:lnTo>
                  <a:lnTo>
                    <a:pt x="2175879" y="199530"/>
                  </a:lnTo>
                  <a:lnTo>
                    <a:pt x="2175879" y="200228"/>
                  </a:lnTo>
                  <a:lnTo>
                    <a:pt x="2175879" y="199530"/>
                  </a:lnTo>
                  <a:lnTo>
                    <a:pt x="2175879" y="200228"/>
                  </a:lnTo>
                  <a:lnTo>
                    <a:pt x="2175879" y="199530"/>
                  </a:lnTo>
                  <a:lnTo>
                    <a:pt x="2175879" y="200228"/>
                  </a:lnTo>
                  <a:lnTo>
                    <a:pt x="2175968" y="200228"/>
                  </a:lnTo>
                  <a:lnTo>
                    <a:pt x="2175968" y="200876"/>
                  </a:lnTo>
                  <a:lnTo>
                    <a:pt x="2175968" y="200228"/>
                  </a:lnTo>
                  <a:lnTo>
                    <a:pt x="2175968" y="200876"/>
                  </a:lnTo>
                  <a:lnTo>
                    <a:pt x="2176019" y="200228"/>
                  </a:lnTo>
                  <a:lnTo>
                    <a:pt x="2176019" y="200876"/>
                  </a:lnTo>
                  <a:lnTo>
                    <a:pt x="2176019" y="199530"/>
                  </a:lnTo>
                  <a:lnTo>
                    <a:pt x="2176019" y="200228"/>
                  </a:lnTo>
                  <a:lnTo>
                    <a:pt x="2176019" y="199530"/>
                  </a:lnTo>
                  <a:lnTo>
                    <a:pt x="2176069" y="199530"/>
                  </a:lnTo>
                  <a:lnTo>
                    <a:pt x="2176069" y="200228"/>
                  </a:lnTo>
                  <a:lnTo>
                    <a:pt x="2176069" y="199530"/>
                  </a:lnTo>
                  <a:lnTo>
                    <a:pt x="2176069" y="200228"/>
                  </a:lnTo>
                  <a:lnTo>
                    <a:pt x="2176069" y="199530"/>
                  </a:lnTo>
                  <a:lnTo>
                    <a:pt x="2176069" y="200228"/>
                  </a:lnTo>
                  <a:lnTo>
                    <a:pt x="2176069" y="199530"/>
                  </a:lnTo>
                  <a:lnTo>
                    <a:pt x="2176120" y="199530"/>
                  </a:lnTo>
                  <a:lnTo>
                    <a:pt x="2176120" y="198831"/>
                  </a:lnTo>
                  <a:lnTo>
                    <a:pt x="2176120" y="199530"/>
                  </a:lnTo>
                  <a:lnTo>
                    <a:pt x="2176120" y="197447"/>
                  </a:lnTo>
                  <a:lnTo>
                    <a:pt x="2176222" y="197447"/>
                  </a:lnTo>
                  <a:lnTo>
                    <a:pt x="2176222" y="196799"/>
                  </a:lnTo>
                  <a:lnTo>
                    <a:pt x="2176222" y="199530"/>
                  </a:lnTo>
                  <a:lnTo>
                    <a:pt x="2176222" y="196799"/>
                  </a:lnTo>
                  <a:lnTo>
                    <a:pt x="2176222" y="197447"/>
                  </a:lnTo>
                  <a:lnTo>
                    <a:pt x="2176272" y="198831"/>
                  </a:lnTo>
                  <a:lnTo>
                    <a:pt x="2176272" y="199530"/>
                  </a:lnTo>
                  <a:lnTo>
                    <a:pt x="2176272" y="198831"/>
                  </a:lnTo>
                  <a:lnTo>
                    <a:pt x="2176323" y="199530"/>
                  </a:lnTo>
                  <a:lnTo>
                    <a:pt x="2176323" y="200228"/>
                  </a:lnTo>
                  <a:lnTo>
                    <a:pt x="2176323" y="199530"/>
                  </a:lnTo>
                  <a:lnTo>
                    <a:pt x="2176425" y="200228"/>
                  </a:lnTo>
                  <a:lnTo>
                    <a:pt x="2176425" y="199530"/>
                  </a:lnTo>
                  <a:lnTo>
                    <a:pt x="2176425" y="200876"/>
                  </a:lnTo>
                  <a:lnTo>
                    <a:pt x="2176463" y="200876"/>
                  </a:lnTo>
                  <a:lnTo>
                    <a:pt x="2176463" y="200228"/>
                  </a:lnTo>
                  <a:lnTo>
                    <a:pt x="2176514" y="200228"/>
                  </a:lnTo>
                  <a:lnTo>
                    <a:pt x="2176514" y="199530"/>
                  </a:lnTo>
                  <a:lnTo>
                    <a:pt x="2176514" y="200228"/>
                  </a:lnTo>
                  <a:lnTo>
                    <a:pt x="2176514" y="199530"/>
                  </a:lnTo>
                  <a:lnTo>
                    <a:pt x="2176565" y="199530"/>
                  </a:lnTo>
                  <a:lnTo>
                    <a:pt x="2176565" y="200876"/>
                  </a:lnTo>
                  <a:lnTo>
                    <a:pt x="2176565" y="198831"/>
                  </a:lnTo>
                  <a:lnTo>
                    <a:pt x="2176666" y="198831"/>
                  </a:lnTo>
                  <a:lnTo>
                    <a:pt x="2176666" y="196799"/>
                  </a:lnTo>
                  <a:lnTo>
                    <a:pt x="2176717" y="196799"/>
                  </a:lnTo>
                  <a:lnTo>
                    <a:pt x="2176717" y="196113"/>
                  </a:lnTo>
                  <a:lnTo>
                    <a:pt x="2176717" y="197447"/>
                  </a:lnTo>
                  <a:lnTo>
                    <a:pt x="2176717" y="196113"/>
                  </a:lnTo>
                  <a:lnTo>
                    <a:pt x="2176768" y="196113"/>
                  </a:lnTo>
                  <a:lnTo>
                    <a:pt x="2176768" y="195415"/>
                  </a:lnTo>
                  <a:lnTo>
                    <a:pt x="2176768" y="198831"/>
                  </a:lnTo>
                  <a:lnTo>
                    <a:pt x="2176768" y="197447"/>
                  </a:lnTo>
                  <a:lnTo>
                    <a:pt x="2176768" y="198831"/>
                  </a:lnTo>
                  <a:lnTo>
                    <a:pt x="2176768" y="196799"/>
                  </a:lnTo>
                  <a:lnTo>
                    <a:pt x="2176869" y="197447"/>
                  </a:lnTo>
                  <a:lnTo>
                    <a:pt x="2176869" y="196799"/>
                  </a:lnTo>
                  <a:lnTo>
                    <a:pt x="2176869" y="199530"/>
                  </a:lnTo>
                  <a:lnTo>
                    <a:pt x="2176869" y="198831"/>
                  </a:lnTo>
                  <a:lnTo>
                    <a:pt x="2176920" y="198831"/>
                  </a:lnTo>
                  <a:lnTo>
                    <a:pt x="2176920" y="199530"/>
                  </a:lnTo>
                  <a:lnTo>
                    <a:pt x="2176920" y="198831"/>
                  </a:lnTo>
                  <a:lnTo>
                    <a:pt x="2176920" y="199530"/>
                  </a:lnTo>
                  <a:lnTo>
                    <a:pt x="2176971" y="199530"/>
                  </a:lnTo>
                  <a:lnTo>
                    <a:pt x="2176971" y="200228"/>
                  </a:lnTo>
                  <a:lnTo>
                    <a:pt x="2176971" y="199530"/>
                  </a:lnTo>
                  <a:lnTo>
                    <a:pt x="2177009" y="199530"/>
                  </a:lnTo>
                  <a:lnTo>
                    <a:pt x="2177009" y="200228"/>
                  </a:lnTo>
                  <a:lnTo>
                    <a:pt x="2177009" y="199530"/>
                  </a:lnTo>
                  <a:lnTo>
                    <a:pt x="2177009" y="200228"/>
                  </a:lnTo>
                  <a:lnTo>
                    <a:pt x="2177111" y="200228"/>
                  </a:lnTo>
                  <a:lnTo>
                    <a:pt x="2177111" y="199530"/>
                  </a:lnTo>
                  <a:lnTo>
                    <a:pt x="2177111" y="200228"/>
                  </a:lnTo>
                  <a:lnTo>
                    <a:pt x="2177111" y="199530"/>
                  </a:lnTo>
                  <a:lnTo>
                    <a:pt x="2177111" y="200228"/>
                  </a:lnTo>
                  <a:lnTo>
                    <a:pt x="2177162" y="200228"/>
                  </a:lnTo>
                  <a:lnTo>
                    <a:pt x="2177162" y="196799"/>
                  </a:lnTo>
                  <a:lnTo>
                    <a:pt x="2177162" y="197447"/>
                  </a:lnTo>
                  <a:lnTo>
                    <a:pt x="2177162" y="196799"/>
                  </a:lnTo>
                  <a:lnTo>
                    <a:pt x="2177212" y="196799"/>
                  </a:lnTo>
                  <a:lnTo>
                    <a:pt x="2177212" y="195415"/>
                  </a:lnTo>
                  <a:lnTo>
                    <a:pt x="2177212" y="196799"/>
                  </a:lnTo>
                  <a:lnTo>
                    <a:pt x="2177212" y="195415"/>
                  </a:lnTo>
                  <a:lnTo>
                    <a:pt x="2177314" y="195415"/>
                  </a:lnTo>
                  <a:lnTo>
                    <a:pt x="2177314" y="198831"/>
                  </a:lnTo>
                  <a:lnTo>
                    <a:pt x="2177314" y="196113"/>
                  </a:lnTo>
                  <a:lnTo>
                    <a:pt x="2177365" y="196113"/>
                  </a:lnTo>
                  <a:lnTo>
                    <a:pt x="2177365" y="198831"/>
                  </a:lnTo>
                  <a:lnTo>
                    <a:pt x="2177365" y="196799"/>
                  </a:lnTo>
                  <a:lnTo>
                    <a:pt x="2177365" y="197447"/>
                  </a:lnTo>
                  <a:lnTo>
                    <a:pt x="2177466" y="197447"/>
                  </a:lnTo>
                  <a:lnTo>
                    <a:pt x="2177466" y="199530"/>
                  </a:lnTo>
                  <a:lnTo>
                    <a:pt x="2177555" y="199530"/>
                  </a:lnTo>
                  <a:lnTo>
                    <a:pt x="2177555" y="198831"/>
                  </a:lnTo>
                  <a:lnTo>
                    <a:pt x="2177555" y="200228"/>
                  </a:lnTo>
                  <a:lnTo>
                    <a:pt x="2177555" y="199530"/>
                  </a:lnTo>
                  <a:lnTo>
                    <a:pt x="2177606" y="199530"/>
                  </a:lnTo>
                  <a:lnTo>
                    <a:pt x="2177606" y="198831"/>
                  </a:lnTo>
                  <a:lnTo>
                    <a:pt x="2177657" y="198831"/>
                  </a:lnTo>
                  <a:lnTo>
                    <a:pt x="2177657" y="196799"/>
                  </a:lnTo>
                  <a:lnTo>
                    <a:pt x="2177708" y="197447"/>
                  </a:lnTo>
                  <a:lnTo>
                    <a:pt x="2177708" y="198831"/>
                  </a:lnTo>
                  <a:lnTo>
                    <a:pt x="2177708" y="196113"/>
                  </a:lnTo>
                  <a:lnTo>
                    <a:pt x="2177708" y="199530"/>
                  </a:lnTo>
                  <a:lnTo>
                    <a:pt x="2177809" y="199530"/>
                  </a:lnTo>
                  <a:lnTo>
                    <a:pt x="2177809" y="200228"/>
                  </a:lnTo>
                  <a:lnTo>
                    <a:pt x="2177809" y="198831"/>
                  </a:lnTo>
                  <a:lnTo>
                    <a:pt x="2177809" y="199530"/>
                  </a:lnTo>
                  <a:lnTo>
                    <a:pt x="2177809" y="197447"/>
                  </a:lnTo>
                  <a:lnTo>
                    <a:pt x="2177809" y="199530"/>
                  </a:lnTo>
                  <a:lnTo>
                    <a:pt x="2177860" y="199530"/>
                  </a:lnTo>
                  <a:lnTo>
                    <a:pt x="2177860" y="200228"/>
                  </a:lnTo>
                  <a:lnTo>
                    <a:pt x="2177860" y="198831"/>
                  </a:lnTo>
                  <a:lnTo>
                    <a:pt x="2177860" y="199530"/>
                  </a:lnTo>
                  <a:lnTo>
                    <a:pt x="2177860" y="198831"/>
                  </a:lnTo>
                  <a:lnTo>
                    <a:pt x="2177860" y="199530"/>
                  </a:lnTo>
                  <a:lnTo>
                    <a:pt x="2177911" y="199530"/>
                  </a:lnTo>
                  <a:lnTo>
                    <a:pt x="2177911" y="198831"/>
                  </a:lnTo>
                  <a:lnTo>
                    <a:pt x="2177911" y="199530"/>
                  </a:lnTo>
                  <a:lnTo>
                    <a:pt x="2177911" y="198831"/>
                  </a:lnTo>
                  <a:lnTo>
                    <a:pt x="2177911" y="199530"/>
                  </a:lnTo>
                  <a:lnTo>
                    <a:pt x="2177911" y="198831"/>
                  </a:lnTo>
                  <a:lnTo>
                    <a:pt x="2178012" y="198831"/>
                  </a:lnTo>
                  <a:lnTo>
                    <a:pt x="2178012" y="199530"/>
                  </a:lnTo>
                  <a:lnTo>
                    <a:pt x="2178012" y="198831"/>
                  </a:lnTo>
                  <a:lnTo>
                    <a:pt x="2178012" y="200228"/>
                  </a:lnTo>
                  <a:lnTo>
                    <a:pt x="2178012" y="199530"/>
                  </a:lnTo>
                  <a:lnTo>
                    <a:pt x="2178050" y="199530"/>
                  </a:lnTo>
                  <a:lnTo>
                    <a:pt x="2178050" y="200228"/>
                  </a:lnTo>
                  <a:lnTo>
                    <a:pt x="2178050" y="199530"/>
                  </a:lnTo>
                  <a:lnTo>
                    <a:pt x="2178101" y="199530"/>
                  </a:lnTo>
                  <a:lnTo>
                    <a:pt x="2178101" y="197447"/>
                  </a:lnTo>
                  <a:lnTo>
                    <a:pt x="2178101" y="198831"/>
                  </a:lnTo>
                  <a:lnTo>
                    <a:pt x="2178101" y="197447"/>
                  </a:lnTo>
                  <a:lnTo>
                    <a:pt x="2178152" y="197447"/>
                  </a:lnTo>
                  <a:lnTo>
                    <a:pt x="2178152" y="196799"/>
                  </a:lnTo>
                  <a:lnTo>
                    <a:pt x="2178152" y="197447"/>
                  </a:lnTo>
                  <a:lnTo>
                    <a:pt x="2178152" y="196799"/>
                  </a:lnTo>
                  <a:lnTo>
                    <a:pt x="2178152" y="199530"/>
                  </a:lnTo>
                  <a:lnTo>
                    <a:pt x="2178254" y="199530"/>
                  </a:lnTo>
                  <a:lnTo>
                    <a:pt x="2178254" y="197447"/>
                  </a:lnTo>
                  <a:lnTo>
                    <a:pt x="2178254" y="200228"/>
                  </a:lnTo>
                  <a:lnTo>
                    <a:pt x="2178305" y="200228"/>
                  </a:lnTo>
                  <a:lnTo>
                    <a:pt x="2178305" y="198831"/>
                  </a:lnTo>
                  <a:lnTo>
                    <a:pt x="2178305" y="200876"/>
                  </a:lnTo>
                  <a:lnTo>
                    <a:pt x="2178305" y="200228"/>
                  </a:lnTo>
                  <a:lnTo>
                    <a:pt x="2178355" y="200228"/>
                  </a:lnTo>
                  <a:lnTo>
                    <a:pt x="2178355" y="199530"/>
                  </a:lnTo>
                  <a:lnTo>
                    <a:pt x="2178355" y="200228"/>
                  </a:lnTo>
                  <a:lnTo>
                    <a:pt x="2178355" y="199530"/>
                  </a:lnTo>
                  <a:lnTo>
                    <a:pt x="2178355" y="200228"/>
                  </a:lnTo>
                  <a:lnTo>
                    <a:pt x="2178355" y="199530"/>
                  </a:lnTo>
                  <a:lnTo>
                    <a:pt x="2178355" y="200228"/>
                  </a:lnTo>
                  <a:lnTo>
                    <a:pt x="2178457" y="200228"/>
                  </a:lnTo>
                  <a:lnTo>
                    <a:pt x="2178457" y="199530"/>
                  </a:lnTo>
                  <a:lnTo>
                    <a:pt x="2178457" y="200228"/>
                  </a:lnTo>
                  <a:lnTo>
                    <a:pt x="2178457" y="199530"/>
                  </a:lnTo>
                  <a:lnTo>
                    <a:pt x="2178457" y="200228"/>
                  </a:lnTo>
                  <a:lnTo>
                    <a:pt x="2178508" y="200228"/>
                  </a:lnTo>
                  <a:lnTo>
                    <a:pt x="2178508" y="199530"/>
                  </a:lnTo>
                  <a:lnTo>
                    <a:pt x="2178508" y="200228"/>
                  </a:lnTo>
                  <a:lnTo>
                    <a:pt x="2178508" y="199530"/>
                  </a:lnTo>
                  <a:lnTo>
                    <a:pt x="2178508" y="200228"/>
                  </a:lnTo>
                  <a:lnTo>
                    <a:pt x="2178508" y="199530"/>
                  </a:lnTo>
                  <a:lnTo>
                    <a:pt x="2178559" y="200228"/>
                  </a:lnTo>
                  <a:lnTo>
                    <a:pt x="2178559" y="198831"/>
                  </a:lnTo>
                  <a:lnTo>
                    <a:pt x="2178597" y="199530"/>
                  </a:lnTo>
                  <a:lnTo>
                    <a:pt x="2178597" y="196113"/>
                  </a:lnTo>
                  <a:lnTo>
                    <a:pt x="2178698" y="196113"/>
                  </a:lnTo>
                  <a:lnTo>
                    <a:pt x="2178698" y="195415"/>
                  </a:lnTo>
                  <a:lnTo>
                    <a:pt x="2178698" y="196113"/>
                  </a:lnTo>
                  <a:lnTo>
                    <a:pt x="2178698" y="195415"/>
                  </a:lnTo>
                  <a:lnTo>
                    <a:pt x="2178698" y="196113"/>
                  </a:lnTo>
                  <a:lnTo>
                    <a:pt x="2178698" y="195415"/>
                  </a:lnTo>
                  <a:lnTo>
                    <a:pt x="2178698" y="196799"/>
                  </a:lnTo>
                  <a:lnTo>
                    <a:pt x="2178749" y="196799"/>
                  </a:lnTo>
                  <a:lnTo>
                    <a:pt x="2178749" y="197447"/>
                  </a:lnTo>
                  <a:lnTo>
                    <a:pt x="2178749" y="196113"/>
                  </a:lnTo>
                  <a:lnTo>
                    <a:pt x="2178749" y="198831"/>
                  </a:lnTo>
                  <a:lnTo>
                    <a:pt x="2178800" y="198831"/>
                  </a:lnTo>
                  <a:lnTo>
                    <a:pt x="2178800" y="199530"/>
                  </a:lnTo>
                  <a:lnTo>
                    <a:pt x="2178800" y="198831"/>
                  </a:lnTo>
                  <a:lnTo>
                    <a:pt x="2178800" y="199530"/>
                  </a:lnTo>
                  <a:lnTo>
                    <a:pt x="2178901" y="199530"/>
                  </a:lnTo>
                  <a:lnTo>
                    <a:pt x="2178901" y="198831"/>
                  </a:lnTo>
                  <a:lnTo>
                    <a:pt x="2178901" y="199530"/>
                  </a:lnTo>
                  <a:lnTo>
                    <a:pt x="2178901" y="198831"/>
                  </a:lnTo>
                  <a:lnTo>
                    <a:pt x="2178901" y="200228"/>
                  </a:lnTo>
                  <a:lnTo>
                    <a:pt x="2178901" y="199530"/>
                  </a:lnTo>
                  <a:lnTo>
                    <a:pt x="2178952" y="199530"/>
                  </a:lnTo>
                  <a:lnTo>
                    <a:pt x="2178952" y="200228"/>
                  </a:lnTo>
                  <a:lnTo>
                    <a:pt x="2179003" y="200228"/>
                  </a:lnTo>
                  <a:lnTo>
                    <a:pt x="2179003" y="200876"/>
                  </a:lnTo>
                  <a:lnTo>
                    <a:pt x="2179003" y="200228"/>
                  </a:lnTo>
                  <a:lnTo>
                    <a:pt x="2179003" y="200876"/>
                  </a:lnTo>
                  <a:lnTo>
                    <a:pt x="2179003" y="199530"/>
                  </a:lnTo>
                  <a:lnTo>
                    <a:pt x="2179003" y="200228"/>
                  </a:lnTo>
                  <a:lnTo>
                    <a:pt x="2179054" y="200228"/>
                  </a:lnTo>
                  <a:lnTo>
                    <a:pt x="2179054" y="198831"/>
                  </a:lnTo>
                  <a:lnTo>
                    <a:pt x="2179054" y="199530"/>
                  </a:lnTo>
                  <a:lnTo>
                    <a:pt x="2179143" y="199530"/>
                  </a:lnTo>
                  <a:lnTo>
                    <a:pt x="2179143" y="196799"/>
                  </a:lnTo>
                  <a:lnTo>
                    <a:pt x="2179143" y="197447"/>
                  </a:lnTo>
                  <a:lnTo>
                    <a:pt x="2179143" y="196799"/>
                  </a:lnTo>
                  <a:lnTo>
                    <a:pt x="2179194" y="196799"/>
                  </a:lnTo>
                  <a:lnTo>
                    <a:pt x="2179194" y="197447"/>
                  </a:lnTo>
                  <a:lnTo>
                    <a:pt x="2179194" y="196799"/>
                  </a:lnTo>
                  <a:lnTo>
                    <a:pt x="2179194" y="197447"/>
                  </a:lnTo>
                  <a:lnTo>
                    <a:pt x="2179194" y="196799"/>
                  </a:lnTo>
                  <a:lnTo>
                    <a:pt x="2179244" y="196113"/>
                  </a:lnTo>
                  <a:lnTo>
                    <a:pt x="2179244" y="199530"/>
                  </a:lnTo>
                  <a:lnTo>
                    <a:pt x="2179244" y="197447"/>
                  </a:lnTo>
                  <a:lnTo>
                    <a:pt x="2179295" y="198831"/>
                  </a:lnTo>
                  <a:lnTo>
                    <a:pt x="2179295" y="200228"/>
                  </a:lnTo>
                  <a:lnTo>
                    <a:pt x="2179295" y="198831"/>
                  </a:lnTo>
                  <a:lnTo>
                    <a:pt x="2179295" y="199530"/>
                  </a:lnTo>
                  <a:lnTo>
                    <a:pt x="2179295" y="198831"/>
                  </a:lnTo>
                  <a:lnTo>
                    <a:pt x="2179397" y="198831"/>
                  </a:lnTo>
                  <a:lnTo>
                    <a:pt x="2179397" y="199530"/>
                  </a:lnTo>
                  <a:lnTo>
                    <a:pt x="2179397" y="198831"/>
                  </a:lnTo>
                  <a:lnTo>
                    <a:pt x="2179397" y="199530"/>
                  </a:lnTo>
                  <a:lnTo>
                    <a:pt x="2179397" y="198831"/>
                  </a:lnTo>
                  <a:lnTo>
                    <a:pt x="2179397" y="199530"/>
                  </a:lnTo>
                  <a:lnTo>
                    <a:pt x="2179447" y="199530"/>
                  </a:lnTo>
                  <a:lnTo>
                    <a:pt x="2179447" y="200228"/>
                  </a:lnTo>
                  <a:lnTo>
                    <a:pt x="2179447" y="199530"/>
                  </a:lnTo>
                  <a:lnTo>
                    <a:pt x="2179447" y="200228"/>
                  </a:lnTo>
                  <a:lnTo>
                    <a:pt x="2179498" y="200228"/>
                  </a:lnTo>
                  <a:lnTo>
                    <a:pt x="2179498" y="200876"/>
                  </a:lnTo>
                  <a:lnTo>
                    <a:pt x="2179498" y="199530"/>
                  </a:lnTo>
                  <a:lnTo>
                    <a:pt x="2179498" y="200228"/>
                  </a:lnTo>
                  <a:lnTo>
                    <a:pt x="2179498" y="199530"/>
                  </a:lnTo>
                  <a:lnTo>
                    <a:pt x="2179600" y="199530"/>
                  </a:lnTo>
                  <a:lnTo>
                    <a:pt x="2179600" y="200228"/>
                  </a:lnTo>
                  <a:lnTo>
                    <a:pt x="2179600" y="198831"/>
                  </a:lnTo>
                  <a:lnTo>
                    <a:pt x="2179600" y="199530"/>
                  </a:lnTo>
                  <a:lnTo>
                    <a:pt x="2179600" y="198831"/>
                  </a:lnTo>
                  <a:lnTo>
                    <a:pt x="2179638" y="198831"/>
                  </a:lnTo>
                  <a:lnTo>
                    <a:pt x="2179638" y="195415"/>
                  </a:lnTo>
                  <a:lnTo>
                    <a:pt x="2179689" y="195415"/>
                  </a:lnTo>
                  <a:lnTo>
                    <a:pt x="2179689" y="197447"/>
                  </a:lnTo>
                  <a:lnTo>
                    <a:pt x="2179689" y="195415"/>
                  </a:lnTo>
                  <a:lnTo>
                    <a:pt x="2179740" y="195415"/>
                  </a:lnTo>
                  <a:lnTo>
                    <a:pt x="2179740" y="198831"/>
                  </a:lnTo>
                  <a:lnTo>
                    <a:pt x="2179740" y="196799"/>
                  </a:lnTo>
                  <a:lnTo>
                    <a:pt x="2179841" y="197447"/>
                  </a:lnTo>
                  <a:lnTo>
                    <a:pt x="2179841" y="198831"/>
                  </a:lnTo>
                  <a:lnTo>
                    <a:pt x="2179841" y="196799"/>
                  </a:lnTo>
                  <a:lnTo>
                    <a:pt x="2179841" y="197447"/>
                  </a:lnTo>
                  <a:lnTo>
                    <a:pt x="2179892" y="197447"/>
                  </a:lnTo>
                  <a:lnTo>
                    <a:pt x="2179892" y="198831"/>
                  </a:lnTo>
                  <a:lnTo>
                    <a:pt x="2179892" y="197447"/>
                  </a:lnTo>
                  <a:lnTo>
                    <a:pt x="2179892" y="198831"/>
                  </a:lnTo>
                  <a:lnTo>
                    <a:pt x="2179943" y="198831"/>
                  </a:lnTo>
                  <a:lnTo>
                    <a:pt x="2179943" y="199530"/>
                  </a:lnTo>
                  <a:lnTo>
                    <a:pt x="2179943" y="198831"/>
                  </a:lnTo>
                  <a:lnTo>
                    <a:pt x="2179943" y="199530"/>
                  </a:lnTo>
                  <a:lnTo>
                    <a:pt x="2179943" y="198831"/>
                  </a:lnTo>
                  <a:lnTo>
                    <a:pt x="2179943" y="200228"/>
                  </a:lnTo>
                  <a:lnTo>
                    <a:pt x="2180044" y="200228"/>
                  </a:lnTo>
                  <a:lnTo>
                    <a:pt x="2180044" y="199530"/>
                  </a:lnTo>
                  <a:lnTo>
                    <a:pt x="2180044" y="200228"/>
                  </a:lnTo>
                  <a:lnTo>
                    <a:pt x="2180044" y="199530"/>
                  </a:lnTo>
                  <a:lnTo>
                    <a:pt x="2180044" y="200228"/>
                  </a:lnTo>
                  <a:lnTo>
                    <a:pt x="2180095" y="199530"/>
                  </a:lnTo>
                  <a:lnTo>
                    <a:pt x="2180095" y="200228"/>
                  </a:lnTo>
                  <a:lnTo>
                    <a:pt x="2180095" y="198831"/>
                  </a:lnTo>
                  <a:lnTo>
                    <a:pt x="2180095" y="199530"/>
                  </a:lnTo>
                  <a:lnTo>
                    <a:pt x="2180095" y="198831"/>
                  </a:lnTo>
                  <a:lnTo>
                    <a:pt x="2180146" y="198831"/>
                  </a:lnTo>
                  <a:lnTo>
                    <a:pt x="2180146" y="196113"/>
                  </a:lnTo>
                  <a:lnTo>
                    <a:pt x="2180146" y="196799"/>
                  </a:lnTo>
                  <a:lnTo>
                    <a:pt x="2180184" y="196799"/>
                  </a:lnTo>
                  <a:lnTo>
                    <a:pt x="2180184" y="196113"/>
                  </a:lnTo>
                  <a:lnTo>
                    <a:pt x="2180184" y="196799"/>
                  </a:lnTo>
                  <a:lnTo>
                    <a:pt x="2180184" y="196113"/>
                  </a:lnTo>
                  <a:lnTo>
                    <a:pt x="2180286" y="196799"/>
                  </a:lnTo>
                  <a:lnTo>
                    <a:pt x="2180286" y="197447"/>
                  </a:lnTo>
                  <a:lnTo>
                    <a:pt x="2180286" y="196113"/>
                  </a:lnTo>
                  <a:lnTo>
                    <a:pt x="2180286" y="196799"/>
                  </a:lnTo>
                  <a:lnTo>
                    <a:pt x="2180286" y="196113"/>
                  </a:lnTo>
                  <a:lnTo>
                    <a:pt x="2180286" y="196799"/>
                  </a:lnTo>
                  <a:lnTo>
                    <a:pt x="2180337" y="196799"/>
                  </a:lnTo>
                  <a:lnTo>
                    <a:pt x="2180337" y="197447"/>
                  </a:lnTo>
                  <a:lnTo>
                    <a:pt x="2180337" y="196799"/>
                  </a:lnTo>
                  <a:lnTo>
                    <a:pt x="2180337" y="197447"/>
                  </a:lnTo>
                  <a:lnTo>
                    <a:pt x="2180337" y="196799"/>
                  </a:lnTo>
                  <a:lnTo>
                    <a:pt x="2180337" y="197447"/>
                  </a:lnTo>
                  <a:lnTo>
                    <a:pt x="2180387" y="197447"/>
                  </a:lnTo>
                  <a:lnTo>
                    <a:pt x="2180387" y="196799"/>
                  </a:lnTo>
                  <a:lnTo>
                    <a:pt x="2180387" y="197447"/>
                  </a:lnTo>
                  <a:lnTo>
                    <a:pt x="2180387" y="196799"/>
                  </a:lnTo>
                  <a:lnTo>
                    <a:pt x="2180387" y="197447"/>
                  </a:lnTo>
                  <a:lnTo>
                    <a:pt x="2180489" y="197447"/>
                  </a:lnTo>
                  <a:lnTo>
                    <a:pt x="2180489" y="198831"/>
                  </a:lnTo>
                  <a:lnTo>
                    <a:pt x="2180489" y="197447"/>
                  </a:lnTo>
                  <a:lnTo>
                    <a:pt x="2180489" y="199530"/>
                  </a:lnTo>
                  <a:lnTo>
                    <a:pt x="2180540" y="199530"/>
                  </a:lnTo>
                  <a:lnTo>
                    <a:pt x="2180540" y="200228"/>
                  </a:lnTo>
                  <a:lnTo>
                    <a:pt x="2180540" y="198831"/>
                  </a:lnTo>
                  <a:lnTo>
                    <a:pt x="2180540" y="199530"/>
                  </a:lnTo>
                  <a:lnTo>
                    <a:pt x="2180590" y="199530"/>
                  </a:lnTo>
                  <a:lnTo>
                    <a:pt x="2180590" y="198831"/>
                  </a:lnTo>
                  <a:lnTo>
                    <a:pt x="2180590" y="199530"/>
                  </a:lnTo>
                  <a:lnTo>
                    <a:pt x="2180590" y="197447"/>
                  </a:lnTo>
                  <a:lnTo>
                    <a:pt x="2180590" y="198831"/>
                  </a:lnTo>
                  <a:lnTo>
                    <a:pt x="2180641" y="197447"/>
                  </a:lnTo>
                  <a:lnTo>
                    <a:pt x="2180641" y="196799"/>
                  </a:lnTo>
                  <a:lnTo>
                    <a:pt x="2180641" y="198831"/>
                  </a:lnTo>
                  <a:lnTo>
                    <a:pt x="2180730" y="198831"/>
                  </a:lnTo>
                  <a:lnTo>
                    <a:pt x="2180730" y="196799"/>
                  </a:lnTo>
                  <a:lnTo>
                    <a:pt x="2180730" y="199530"/>
                  </a:lnTo>
                  <a:lnTo>
                    <a:pt x="2180730" y="198831"/>
                  </a:lnTo>
                  <a:lnTo>
                    <a:pt x="2180730" y="199530"/>
                  </a:lnTo>
                  <a:lnTo>
                    <a:pt x="2180781" y="199530"/>
                  </a:lnTo>
                  <a:lnTo>
                    <a:pt x="2180781" y="198831"/>
                  </a:lnTo>
                  <a:lnTo>
                    <a:pt x="2180781" y="199530"/>
                  </a:lnTo>
                  <a:lnTo>
                    <a:pt x="2180781" y="198831"/>
                  </a:lnTo>
                  <a:lnTo>
                    <a:pt x="2180781" y="199530"/>
                  </a:lnTo>
                  <a:lnTo>
                    <a:pt x="2180781" y="198831"/>
                  </a:lnTo>
                  <a:lnTo>
                    <a:pt x="2180781" y="199530"/>
                  </a:lnTo>
                  <a:lnTo>
                    <a:pt x="2180781" y="198831"/>
                  </a:lnTo>
                  <a:lnTo>
                    <a:pt x="2180781" y="199530"/>
                  </a:lnTo>
                  <a:lnTo>
                    <a:pt x="2180832" y="199530"/>
                  </a:lnTo>
                  <a:lnTo>
                    <a:pt x="2180832" y="198831"/>
                  </a:lnTo>
                  <a:lnTo>
                    <a:pt x="2180832" y="199530"/>
                  </a:lnTo>
                  <a:lnTo>
                    <a:pt x="2180832" y="198831"/>
                  </a:lnTo>
                  <a:lnTo>
                    <a:pt x="2180832" y="199530"/>
                  </a:lnTo>
                  <a:lnTo>
                    <a:pt x="2180832" y="198831"/>
                  </a:lnTo>
                  <a:lnTo>
                    <a:pt x="2180883" y="199530"/>
                  </a:lnTo>
                  <a:lnTo>
                    <a:pt x="2180883" y="198831"/>
                  </a:lnTo>
                  <a:lnTo>
                    <a:pt x="2180883" y="199530"/>
                  </a:lnTo>
                  <a:lnTo>
                    <a:pt x="2180984" y="199530"/>
                  </a:lnTo>
                  <a:lnTo>
                    <a:pt x="2180984" y="200228"/>
                  </a:lnTo>
                  <a:lnTo>
                    <a:pt x="2180984" y="199530"/>
                  </a:lnTo>
                  <a:lnTo>
                    <a:pt x="2181035" y="199530"/>
                  </a:lnTo>
                  <a:lnTo>
                    <a:pt x="2181035" y="198831"/>
                  </a:lnTo>
                  <a:lnTo>
                    <a:pt x="2181086" y="199530"/>
                  </a:lnTo>
                  <a:lnTo>
                    <a:pt x="2181086" y="198831"/>
                  </a:lnTo>
                  <a:lnTo>
                    <a:pt x="2181086" y="199530"/>
                  </a:lnTo>
                  <a:lnTo>
                    <a:pt x="2181086" y="198831"/>
                  </a:lnTo>
                  <a:lnTo>
                    <a:pt x="2181187" y="197447"/>
                  </a:lnTo>
                  <a:lnTo>
                    <a:pt x="2181187" y="199530"/>
                  </a:lnTo>
                  <a:lnTo>
                    <a:pt x="2181187" y="198831"/>
                  </a:lnTo>
                  <a:lnTo>
                    <a:pt x="2181225" y="198831"/>
                  </a:lnTo>
                  <a:lnTo>
                    <a:pt x="2181225" y="200876"/>
                  </a:lnTo>
                  <a:lnTo>
                    <a:pt x="2181225" y="199530"/>
                  </a:lnTo>
                  <a:lnTo>
                    <a:pt x="2181276" y="199530"/>
                  </a:lnTo>
                  <a:lnTo>
                    <a:pt x="2181276" y="200228"/>
                  </a:lnTo>
                  <a:lnTo>
                    <a:pt x="2181327" y="200228"/>
                  </a:lnTo>
                  <a:lnTo>
                    <a:pt x="2181327" y="199530"/>
                  </a:lnTo>
                  <a:lnTo>
                    <a:pt x="2181327" y="200228"/>
                  </a:lnTo>
                  <a:lnTo>
                    <a:pt x="2181327" y="199530"/>
                  </a:lnTo>
                  <a:lnTo>
                    <a:pt x="2181327" y="200228"/>
                  </a:lnTo>
                  <a:lnTo>
                    <a:pt x="2181327" y="199530"/>
                  </a:lnTo>
                  <a:lnTo>
                    <a:pt x="2181327" y="200228"/>
                  </a:lnTo>
                  <a:lnTo>
                    <a:pt x="2181327" y="199530"/>
                  </a:lnTo>
                  <a:lnTo>
                    <a:pt x="2181327" y="200228"/>
                  </a:lnTo>
                  <a:lnTo>
                    <a:pt x="2181429" y="200228"/>
                  </a:lnTo>
                  <a:lnTo>
                    <a:pt x="2181429" y="199530"/>
                  </a:lnTo>
                  <a:lnTo>
                    <a:pt x="2181429" y="200228"/>
                  </a:lnTo>
                  <a:lnTo>
                    <a:pt x="2181480" y="200228"/>
                  </a:lnTo>
                  <a:lnTo>
                    <a:pt x="2181480" y="200876"/>
                  </a:lnTo>
                  <a:lnTo>
                    <a:pt x="2181480" y="200228"/>
                  </a:lnTo>
                  <a:lnTo>
                    <a:pt x="2181530" y="200228"/>
                  </a:lnTo>
                  <a:lnTo>
                    <a:pt x="2181530" y="198831"/>
                  </a:lnTo>
                  <a:lnTo>
                    <a:pt x="2181530" y="199530"/>
                  </a:lnTo>
                  <a:lnTo>
                    <a:pt x="2181530" y="198831"/>
                  </a:lnTo>
                  <a:lnTo>
                    <a:pt x="2181632" y="198831"/>
                  </a:lnTo>
                  <a:lnTo>
                    <a:pt x="2181632" y="197447"/>
                  </a:lnTo>
                  <a:lnTo>
                    <a:pt x="2181632" y="198831"/>
                  </a:lnTo>
                  <a:lnTo>
                    <a:pt x="2181632" y="196799"/>
                  </a:lnTo>
                  <a:lnTo>
                    <a:pt x="2181632" y="197447"/>
                  </a:lnTo>
                  <a:lnTo>
                    <a:pt x="2181632" y="196799"/>
                  </a:lnTo>
                  <a:lnTo>
                    <a:pt x="2181683" y="196799"/>
                  </a:lnTo>
                  <a:lnTo>
                    <a:pt x="2181683" y="197447"/>
                  </a:lnTo>
                  <a:lnTo>
                    <a:pt x="2181683" y="196799"/>
                  </a:lnTo>
                  <a:lnTo>
                    <a:pt x="2181683" y="197447"/>
                  </a:lnTo>
                  <a:lnTo>
                    <a:pt x="2181734" y="197447"/>
                  </a:lnTo>
                  <a:lnTo>
                    <a:pt x="2181734" y="196799"/>
                  </a:lnTo>
                  <a:lnTo>
                    <a:pt x="2181734" y="199530"/>
                  </a:lnTo>
                  <a:lnTo>
                    <a:pt x="2181734" y="198831"/>
                  </a:lnTo>
                  <a:lnTo>
                    <a:pt x="2181734" y="199530"/>
                  </a:lnTo>
                  <a:lnTo>
                    <a:pt x="2181734" y="198831"/>
                  </a:lnTo>
                  <a:lnTo>
                    <a:pt x="2181734" y="199530"/>
                  </a:lnTo>
                  <a:lnTo>
                    <a:pt x="2181772" y="199530"/>
                  </a:lnTo>
                  <a:lnTo>
                    <a:pt x="2181772" y="198831"/>
                  </a:lnTo>
                  <a:lnTo>
                    <a:pt x="2181772" y="199530"/>
                  </a:lnTo>
                  <a:lnTo>
                    <a:pt x="2181772" y="198831"/>
                  </a:lnTo>
                  <a:lnTo>
                    <a:pt x="2181772" y="199530"/>
                  </a:lnTo>
                  <a:lnTo>
                    <a:pt x="2181873" y="199530"/>
                  </a:lnTo>
                  <a:lnTo>
                    <a:pt x="2181873" y="200228"/>
                  </a:lnTo>
                  <a:lnTo>
                    <a:pt x="2181873" y="199530"/>
                  </a:lnTo>
                  <a:lnTo>
                    <a:pt x="2181873" y="200228"/>
                  </a:lnTo>
                  <a:lnTo>
                    <a:pt x="2181873" y="199530"/>
                  </a:lnTo>
                  <a:lnTo>
                    <a:pt x="2181873" y="200228"/>
                  </a:lnTo>
                  <a:lnTo>
                    <a:pt x="2181975" y="200228"/>
                  </a:lnTo>
                  <a:lnTo>
                    <a:pt x="2181975" y="200876"/>
                  </a:lnTo>
                  <a:lnTo>
                    <a:pt x="2181975" y="200228"/>
                  </a:lnTo>
                  <a:lnTo>
                    <a:pt x="2181975" y="200876"/>
                  </a:lnTo>
                  <a:lnTo>
                    <a:pt x="2181975" y="200228"/>
                  </a:lnTo>
                  <a:lnTo>
                    <a:pt x="2181975" y="200876"/>
                  </a:lnTo>
                  <a:lnTo>
                    <a:pt x="2181975" y="199530"/>
                  </a:lnTo>
                  <a:lnTo>
                    <a:pt x="2182076" y="199530"/>
                  </a:lnTo>
                  <a:lnTo>
                    <a:pt x="2182076" y="200228"/>
                  </a:lnTo>
                  <a:lnTo>
                    <a:pt x="2182076" y="198831"/>
                  </a:lnTo>
                  <a:lnTo>
                    <a:pt x="2182076" y="199530"/>
                  </a:lnTo>
                  <a:lnTo>
                    <a:pt x="2182076" y="198831"/>
                  </a:lnTo>
                  <a:lnTo>
                    <a:pt x="2182127" y="198831"/>
                  </a:lnTo>
                  <a:lnTo>
                    <a:pt x="2182127" y="196799"/>
                  </a:lnTo>
                  <a:lnTo>
                    <a:pt x="2182127" y="198831"/>
                  </a:lnTo>
                  <a:lnTo>
                    <a:pt x="2182178" y="199530"/>
                  </a:lnTo>
                  <a:lnTo>
                    <a:pt x="2182178" y="197447"/>
                  </a:lnTo>
                  <a:lnTo>
                    <a:pt x="2182178" y="200228"/>
                  </a:lnTo>
                  <a:lnTo>
                    <a:pt x="2182229" y="200228"/>
                  </a:lnTo>
                  <a:lnTo>
                    <a:pt x="2182229" y="198831"/>
                  </a:lnTo>
                  <a:lnTo>
                    <a:pt x="2182229" y="200228"/>
                  </a:lnTo>
                  <a:lnTo>
                    <a:pt x="2182318" y="200228"/>
                  </a:lnTo>
                  <a:lnTo>
                    <a:pt x="2182318" y="199530"/>
                  </a:lnTo>
                  <a:lnTo>
                    <a:pt x="2182318" y="200228"/>
                  </a:lnTo>
                  <a:lnTo>
                    <a:pt x="2182318" y="199530"/>
                  </a:lnTo>
                  <a:lnTo>
                    <a:pt x="2182318" y="200228"/>
                  </a:lnTo>
                  <a:lnTo>
                    <a:pt x="2182369" y="200228"/>
                  </a:lnTo>
                  <a:lnTo>
                    <a:pt x="2182369" y="199530"/>
                  </a:lnTo>
                  <a:lnTo>
                    <a:pt x="2182369" y="200228"/>
                  </a:lnTo>
                  <a:lnTo>
                    <a:pt x="2182369" y="199530"/>
                  </a:lnTo>
                  <a:lnTo>
                    <a:pt x="2182369" y="200228"/>
                  </a:lnTo>
                  <a:lnTo>
                    <a:pt x="2182419" y="200228"/>
                  </a:lnTo>
                  <a:lnTo>
                    <a:pt x="2182419" y="200876"/>
                  </a:lnTo>
                  <a:lnTo>
                    <a:pt x="2182419" y="200228"/>
                  </a:lnTo>
                  <a:lnTo>
                    <a:pt x="2182419" y="200876"/>
                  </a:lnTo>
                  <a:lnTo>
                    <a:pt x="2182470" y="200876"/>
                  </a:lnTo>
                  <a:lnTo>
                    <a:pt x="2182470" y="200228"/>
                  </a:lnTo>
                  <a:lnTo>
                    <a:pt x="2182572" y="199530"/>
                  </a:lnTo>
                  <a:lnTo>
                    <a:pt x="2182572" y="200228"/>
                  </a:lnTo>
                  <a:lnTo>
                    <a:pt x="2182572" y="198831"/>
                  </a:lnTo>
                  <a:lnTo>
                    <a:pt x="2182572" y="199530"/>
                  </a:lnTo>
                  <a:lnTo>
                    <a:pt x="2182572" y="197447"/>
                  </a:lnTo>
                  <a:lnTo>
                    <a:pt x="2182622" y="197447"/>
                  </a:lnTo>
                  <a:lnTo>
                    <a:pt x="2182622" y="196799"/>
                  </a:lnTo>
                  <a:lnTo>
                    <a:pt x="2182673" y="197447"/>
                  </a:lnTo>
                  <a:lnTo>
                    <a:pt x="2182673" y="196799"/>
                  </a:lnTo>
                  <a:lnTo>
                    <a:pt x="2182673" y="197447"/>
                  </a:lnTo>
                  <a:lnTo>
                    <a:pt x="2182673" y="196113"/>
                  </a:lnTo>
                  <a:lnTo>
                    <a:pt x="2182673" y="199530"/>
                  </a:lnTo>
                  <a:lnTo>
                    <a:pt x="2182775" y="200228"/>
                  </a:lnTo>
                  <a:lnTo>
                    <a:pt x="2182775" y="197447"/>
                  </a:lnTo>
                  <a:lnTo>
                    <a:pt x="2182775" y="199530"/>
                  </a:lnTo>
                  <a:lnTo>
                    <a:pt x="2182813" y="199530"/>
                  </a:lnTo>
                  <a:lnTo>
                    <a:pt x="2182813" y="198831"/>
                  </a:lnTo>
                  <a:lnTo>
                    <a:pt x="2182813" y="199530"/>
                  </a:lnTo>
                  <a:lnTo>
                    <a:pt x="2182864" y="199530"/>
                  </a:lnTo>
                  <a:lnTo>
                    <a:pt x="2182864" y="200228"/>
                  </a:lnTo>
                  <a:lnTo>
                    <a:pt x="2182915" y="200228"/>
                  </a:lnTo>
                  <a:lnTo>
                    <a:pt x="2182915" y="200876"/>
                  </a:lnTo>
                  <a:lnTo>
                    <a:pt x="2182915" y="200228"/>
                  </a:lnTo>
                  <a:lnTo>
                    <a:pt x="2182915" y="200876"/>
                  </a:lnTo>
                  <a:lnTo>
                    <a:pt x="2182915" y="200228"/>
                  </a:lnTo>
                  <a:lnTo>
                    <a:pt x="2182915" y="200876"/>
                  </a:lnTo>
                  <a:lnTo>
                    <a:pt x="2183016" y="200228"/>
                  </a:lnTo>
                  <a:lnTo>
                    <a:pt x="2183016" y="200876"/>
                  </a:lnTo>
                  <a:lnTo>
                    <a:pt x="2183016" y="200228"/>
                  </a:lnTo>
                  <a:lnTo>
                    <a:pt x="2183016" y="200876"/>
                  </a:lnTo>
                  <a:lnTo>
                    <a:pt x="2183016" y="200228"/>
                  </a:lnTo>
                  <a:lnTo>
                    <a:pt x="2183067" y="200228"/>
                  </a:lnTo>
                  <a:lnTo>
                    <a:pt x="2183067" y="199530"/>
                  </a:lnTo>
                  <a:lnTo>
                    <a:pt x="2183067" y="200228"/>
                  </a:lnTo>
                  <a:lnTo>
                    <a:pt x="2183067" y="198831"/>
                  </a:lnTo>
                  <a:lnTo>
                    <a:pt x="2183118" y="198831"/>
                  </a:lnTo>
                  <a:lnTo>
                    <a:pt x="2183118" y="197447"/>
                  </a:lnTo>
                  <a:lnTo>
                    <a:pt x="2183219" y="197447"/>
                  </a:lnTo>
                  <a:lnTo>
                    <a:pt x="2183219" y="196799"/>
                  </a:lnTo>
                  <a:lnTo>
                    <a:pt x="2183219" y="198831"/>
                  </a:lnTo>
                  <a:lnTo>
                    <a:pt x="2183270" y="198831"/>
                  </a:lnTo>
                  <a:lnTo>
                    <a:pt x="2183270" y="197447"/>
                  </a:lnTo>
                  <a:lnTo>
                    <a:pt x="2183270" y="199530"/>
                  </a:lnTo>
                  <a:lnTo>
                    <a:pt x="2183270" y="198831"/>
                  </a:lnTo>
                  <a:lnTo>
                    <a:pt x="2183321" y="198831"/>
                  </a:lnTo>
                  <a:lnTo>
                    <a:pt x="2183321" y="197447"/>
                  </a:lnTo>
                  <a:lnTo>
                    <a:pt x="2183321" y="199530"/>
                  </a:lnTo>
                  <a:lnTo>
                    <a:pt x="2183321" y="198831"/>
                  </a:lnTo>
                  <a:lnTo>
                    <a:pt x="2183359" y="198831"/>
                  </a:lnTo>
                  <a:lnTo>
                    <a:pt x="2183359" y="199530"/>
                  </a:lnTo>
                  <a:lnTo>
                    <a:pt x="2183359" y="198831"/>
                  </a:lnTo>
                  <a:lnTo>
                    <a:pt x="2183359" y="199530"/>
                  </a:lnTo>
                  <a:lnTo>
                    <a:pt x="2183461" y="198831"/>
                  </a:lnTo>
                  <a:lnTo>
                    <a:pt x="2183461" y="200228"/>
                  </a:lnTo>
                  <a:lnTo>
                    <a:pt x="2183461" y="199530"/>
                  </a:lnTo>
                  <a:lnTo>
                    <a:pt x="2183512" y="199530"/>
                  </a:lnTo>
                  <a:lnTo>
                    <a:pt x="2183512" y="200228"/>
                  </a:lnTo>
                  <a:lnTo>
                    <a:pt x="2183512" y="199530"/>
                  </a:lnTo>
                  <a:lnTo>
                    <a:pt x="2183512" y="200228"/>
                  </a:lnTo>
                  <a:lnTo>
                    <a:pt x="2183512" y="199530"/>
                  </a:lnTo>
                  <a:lnTo>
                    <a:pt x="2183512" y="200228"/>
                  </a:lnTo>
                  <a:lnTo>
                    <a:pt x="2183512" y="199530"/>
                  </a:lnTo>
                  <a:lnTo>
                    <a:pt x="2183512" y="200228"/>
                  </a:lnTo>
                  <a:lnTo>
                    <a:pt x="2183562" y="199530"/>
                  </a:lnTo>
                  <a:lnTo>
                    <a:pt x="2183562" y="198831"/>
                  </a:lnTo>
                  <a:lnTo>
                    <a:pt x="2183562" y="199530"/>
                  </a:lnTo>
                  <a:lnTo>
                    <a:pt x="2183562" y="198831"/>
                  </a:lnTo>
                  <a:lnTo>
                    <a:pt x="2183664" y="197447"/>
                  </a:lnTo>
                  <a:lnTo>
                    <a:pt x="2183664" y="198831"/>
                  </a:lnTo>
                  <a:lnTo>
                    <a:pt x="2183664" y="197447"/>
                  </a:lnTo>
                  <a:lnTo>
                    <a:pt x="2183664" y="198831"/>
                  </a:lnTo>
                  <a:lnTo>
                    <a:pt x="2183664" y="197447"/>
                  </a:lnTo>
                  <a:lnTo>
                    <a:pt x="2183664" y="198831"/>
                  </a:lnTo>
                  <a:lnTo>
                    <a:pt x="2183664" y="197447"/>
                  </a:lnTo>
                  <a:lnTo>
                    <a:pt x="2183664" y="198831"/>
                  </a:lnTo>
                  <a:lnTo>
                    <a:pt x="2183715" y="198831"/>
                  </a:lnTo>
                  <a:lnTo>
                    <a:pt x="2183715" y="197447"/>
                  </a:lnTo>
                  <a:lnTo>
                    <a:pt x="2183715" y="199530"/>
                  </a:lnTo>
                  <a:lnTo>
                    <a:pt x="2183715" y="198831"/>
                  </a:lnTo>
                  <a:lnTo>
                    <a:pt x="2183765" y="198831"/>
                  </a:lnTo>
                  <a:lnTo>
                    <a:pt x="2183765" y="200228"/>
                  </a:lnTo>
                  <a:lnTo>
                    <a:pt x="2183765" y="199530"/>
                  </a:lnTo>
                  <a:lnTo>
                    <a:pt x="2183765" y="200228"/>
                  </a:lnTo>
                  <a:lnTo>
                    <a:pt x="2183765" y="199530"/>
                  </a:lnTo>
                  <a:lnTo>
                    <a:pt x="2183816" y="199530"/>
                  </a:lnTo>
                  <a:lnTo>
                    <a:pt x="2183816" y="200228"/>
                  </a:lnTo>
                  <a:lnTo>
                    <a:pt x="2183816" y="199530"/>
                  </a:lnTo>
                  <a:lnTo>
                    <a:pt x="2183816" y="200228"/>
                  </a:lnTo>
                  <a:lnTo>
                    <a:pt x="2183956" y="200228"/>
                  </a:lnTo>
                  <a:lnTo>
                    <a:pt x="2183956" y="200876"/>
                  </a:lnTo>
                  <a:lnTo>
                    <a:pt x="2183956" y="199530"/>
                  </a:lnTo>
                  <a:lnTo>
                    <a:pt x="2183956" y="200228"/>
                  </a:lnTo>
                  <a:lnTo>
                    <a:pt x="2184007" y="199530"/>
                  </a:lnTo>
                  <a:lnTo>
                    <a:pt x="2184007" y="200228"/>
                  </a:lnTo>
                  <a:lnTo>
                    <a:pt x="2184007" y="199530"/>
                  </a:lnTo>
                  <a:lnTo>
                    <a:pt x="2184007" y="200228"/>
                  </a:lnTo>
                  <a:lnTo>
                    <a:pt x="2184007" y="199530"/>
                  </a:lnTo>
                  <a:lnTo>
                    <a:pt x="2184058" y="199530"/>
                  </a:lnTo>
                  <a:lnTo>
                    <a:pt x="2184058" y="197447"/>
                  </a:lnTo>
                  <a:lnTo>
                    <a:pt x="2184159" y="198831"/>
                  </a:lnTo>
                  <a:lnTo>
                    <a:pt x="2184159" y="199530"/>
                  </a:lnTo>
                  <a:lnTo>
                    <a:pt x="2184159" y="197447"/>
                  </a:lnTo>
                  <a:lnTo>
                    <a:pt x="2184159" y="198831"/>
                  </a:lnTo>
                  <a:lnTo>
                    <a:pt x="2184210" y="198831"/>
                  </a:lnTo>
                  <a:lnTo>
                    <a:pt x="2184210" y="200228"/>
                  </a:lnTo>
                  <a:lnTo>
                    <a:pt x="2184210" y="199530"/>
                  </a:lnTo>
                  <a:lnTo>
                    <a:pt x="2184210" y="200228"/>
                  </a:lnTo>
                  <a:lnTo>
                    <a:pt x="2184261" y="200228"/>
                  </a:lnTo>
                  <a:lnTo>
                    <a:pt x="2184261" y="200876"/>
                  </a:lnTo>
                  <a:lnTo>
                    <a:pt x="2184261" y="199530"/>
                  </a:lnTo>
                  <a:lnTo>
                    <a:pt x="2184362" y="200228"/>
                  </a:lnTo>
                  <a:lnTo>
                    <a:pt x="2184362" y="200876"/>
                  </a:lnTo>
                  <a:lnTo>
                    <a:pt x="2184362" y="200228"/>
                  </a:lnTo>
                  <a:lnTo>
                    <a:pt x="2184362" y="200876"/>
                  </a:lnTo>
                  <a:lnTo>
                    <a:pt x="2184362" y="200228"/>
                  </a:lnTo>
                  <a:lnTo>
                    <a:pt x="2184362" y="202260"/>
                  </a:lnTo>
                  <a:lnTo>
                    <a:pt x="2184362" y="200876"/>
                  </a:lnTo>
                  <a:lnTo>
                    <a:pt x="2184400" y="200876"/>
                  </a:lnTo>
                  <a:lnTo>
                    <a:pt x="2184400" y="200228"/>
                  </a:lnTo>
                  <a:lnTo>
                    <a:pt x="2184400" y="200876"/>
                  </a:lnTo>
                  <a:lnTo>
                    <a:pt x="2184400" y="200228"/>
                  </a:lnTo>
                  <a:lnTo>
                    <a:pt x="2184451" y="200228"/>
                  </a:lnTo>
                  <a:lnTo>
                    <a:pt x="2184451" y="199530"/>
                  </a:lnTo>
                  <a:lnTo>
                    <a:pt x="2184502" y="199530"/>
                  </a:lnTo>
                  <a:lnTo>
                    <a:pt x="2184502" y="200228"/>
                  </a:lnTo>
                  <a:lnTo>
                    <a:pt x="2184502" y="198831"/>
                  </a:lnTo>
                  <a:lnTo>
                    <a:pt x="2184604" y="198831"/>
                  </a:lnTo>
                  <a:lnTo>
                    <a:pt x="2184604" y="197447"/>
                  </a:lnTo>
                  <a:lnTo>
                    <a:pt x="2184604" y="198831"/>
                  </a:lnTo>
                  <a:lnTo>
                    <a:pt x="2184604" y="196799"/>
                  </a:lnTo>
                  <a:lnTo>
                    <a:pt x="2184604" y="197447"/>
                  </a:lnTo>
                  <a:lnTo>
                    <a:pt x="2184604" y="196113"/>
                  </a:lnTo>
                  <a:lnTo>
                    <a:pt x="2184604" y="197447"/>
                  </a:lnTo>
                  <a:lnTo>
                    <a:pt x="2184655" y="198831"/>
                  </a:lnTo>
                  <a:lnTo>
                    <a:pt x="2184655" y="196113"/>
                  </a:lnTo>
                  <a:lnTo>
                    <a:pt x="2184655" y="199530"/>
                  </a:lnTo>
                  <a:lnTo>
                    <a:pt x="2184705" y="199530"/>
                  </a:lnTo>
                  <a:lnTo>
                    <a:pt x="2184705" y="197447"/>
                  </a:lnTo>
                  <a:lnTo>
                    <a:pt x="2184705" y="200228"/>
                  </a:lnTo>
                  <a:lnTo>
                    <a:pt x="2184705" y="199530"/>
                  </a:lnTo>
                  <a:lnTo>
                    <a:pt x="2184705" y="200228"/>
                  </a:lnTo>
                  <a:lnTo>
                    <a:pt x="2184807" y="200228"/>
                  </a:lnTo>
                  <a:lnTo>
                    <a:pt x="2184807" y="199530"/>
                  </a:lnTo>
                  <a:lnTo>
                    <a:pt x="2184807" y="200228"/>
                  </a:lnTo>
                  <a:lnTo>
                    <a:pt x="2184807" y="199530"/>
                  </a:lnTo>
                  <a:lnTo>
                    <a:pt x="2184807" y="200228"/>
                  </a:lnTo>
                  <a:lnTo>
                    <a:pt x="2184858" y="200228"/>
                  </a:lnTo>
                  <a:lnTo>
                    <a:pt x="2184858" y="199530"/>
                  </a:lnTo>
                  <a:lnTo>
                    <a:pt x="2184858" y="200876"/>
                  </a:lnTo>
                  <a:lnTo>
                    <a:pt x="2184858" y="200228"/>
                  </a:lnTo>
                  <a:lnTo>
                    <a:pt x="2184909" y="200228"/>
                  </a:lnTo>
                  <a:lnTo>
                    <a:pt x="2184909" y="200876"/>
                  </a:lnTo>
                  <a:lnTo>
                    <a:pt x="2184909" y="200228"/>
                  </a:lnTo>
                  <a:lnTo>
                    <a:pt x="2184909" y="200876"/>
                  </a:lnTo>
                  <a:lnTo>
                    <a:pt x="2184909" y="200228"/>
                  </a:lnTo>
                  <a:lnTo>
                    <a:pt x="2184909" y="200876"/>
                  </a:lnTo>
                  <a:lnTo>
                    <a:pt x="2184909" y="200228"/>
                  </a:lnTo>
                  <a:lnTo>
                    <a:pt x="2184909" y="200876"/>
                  </a:lnTo>
                  <a:lnTo>
                    <a:pt x="2184909" y="200228"/>
                  </a:lnTo>
                  <a:lnTo>
                    <a:pt x="2184947" y="200228"/>
                  </a:lnTo>
                  <a:lnTo>
                    <a:pt x="2184947" y="199530"/>
                  </a:lnTo>
                  <a:lnTo>
                    <a:pt x="2185048" y="199530"/>
                  </a:lnTo>
                  <a:lnTo>
                    <a:pt x="2185048" y="200228"/>
                  </a:lnTo>
                  <a:lnTo>
                    <a:pt x="2185048" y="197447"/>
                  </a:lnTo>
                  <a:lnTo>
                    <a:pt x="2185099" y="197447"/>
                  </a:lnTo>
                  <a:lnTo>
                    <a:pt x="2185099" y="196113"/>
                  </a:lnTo>
                  <a:lnTo>
                    <a:pt x="2185099" y="196799"/>
                  </a:lnTo>
                  <a:lnTo>
                    <a:pt x="2185099" y="196113"/>
                  </a:lnTo>
                  <a:lnTo>
                    <a:pt x="2185099" y="196799"/>
                  </a:lnTo>
                  <a:lnTo>
                    <a:pt x="2185150" y="196799"/>
                  </a:lnTo>
                  <a:lnTo>
                    <a:pt x="2185150" y="197447"/>
                  </a:lnTo>
                  <a:lnTo>
                    <a:pt x="2185150" y="196113"/>
                  </a:lnTo>
                  <a:lnTo>
                    <a:pt x="2185150" y="198831"/>
                  </a:lnTo>
                  <a:lnTo>
                    <a:pt x="2185251" y="198831"/>
                  </a:lnTo>
                  <a:lnTo>
                    <a:pt x="2185251" y="197447"/>
                  </a:lnTo>
                  <a:lnTo>
                    <a:pt x="2185251" y="198831"/>
                  </a:lnTo>
                  <a:lnTo>
                    <a:pt x="2185251" y="197447"/>
                  </a:lnTo>
                  <a:lnTo>
                    <a:pt x="2185251" y="199530"/>
                  </a:lnTo>
                  <a:lnTo>
                    <a:pt x="2185302" y="199530"/>
                  </a:lnTo>
                  <a:lnTo>
                    <a:pt x="2185302" y="198831"/>
                  </a:lnTo>
                  <a:lnTo>
                    <a:pt x="2185302" y="199530"/>
                  </a:lnTo>
                  <a:lnTo>
                    <a:pt x="2185302" y="198831"/>
                  </a:lnTo>
                  <a:lnTo>
                    <a:pt x="2185302" y="199530"/>
                  </a:lnTo>
                  <a:lnTo>
                    <a:pt x="2185353" y="199530"/>
                  </a:lnTo>
                  <a:lnTo>
                    <a:pt x="2185353" y="200228"/>
                  </a:lnTo>
                  <a:lnTo>
                    <a:pt x="2185353" y="199530"/>
                  </a:lnTo>
                  <a:lnTo>
                    <a:pt x="2185353" y="200228"/>
                  </a:lnTo>
                  <a:lnTo>
                    <a:pt x="2185404" y="199530"/>
                  </a:lnTo>
                  <a:lnTo>
                    <a:pt x="2185404" y="200228"/>
                  </a:lnTo>
                  <a:lnTo>
                    <a:pt x="2185404" y="199530"/>
                  </a:lnTo>
                  <a:lnTo>
                    <a:pt x="2185404" y="200228"/>
                  </a:lnTo>
                  <a:lnTo>
                    <a:pt x="2185404" y="199530"/>
                  </a:lnTo>
                  <a:lnTo>
                    <a:pt x="2185404" y="200228"/>
                  </a:lnTo>
                  <a:lnTo>
                    <a:pt x="2185404" y="199530"/>
                  </a:lnTo>
                  <a:lnTo>
                    <a:pt x="2185404" y="200228"/>
                  </a:lnTo>
                  <a:lnTo>
                    <a:pt x="2185493" y="200228"/>
                  </a:lnTo>
                  <a:lnTo>
                    <a:pt x="2185493" y="199530"/>
                  </a:lnTo>
                  <a:lnTo>
                    <a:pt x="2185493" y="200228"/>
                  </a:lnTo>
                  <a:lnTo>
                    <a:pt x="2185493" y="199530"/>
                  </a:lnTo>
                  <a:lnTo>
                    <a:pt x="2185493" y="200228"/>
                  </a:lnTo>
                  <a:lnTo>
                    <a:pt x="2185544" y="200228"/>
                  </a:lnTo>
                  <a:lnTo>
                    <a:pt x="2185544" y="198831"/>
                  </a:lnTo>
                  <a:lnTo>
                    <a:pt x="2185594" y="197447"/>
                  </a:lnTo>
                  <a:lnTo>
                    <a:pt x="2185594" y="196113"/>
                  </a:lnTo>
                  <a:lnTo>
                    <a:pt x="2185594" y="196799"/>
                  </a:lnTo>
                  <a:lnTo>
                    <a:pt x="2185594" y="196113"/>
                  </a:lnTo>
                  <a:lnTo>
                    <a:pt x="2185645" y="196113"/>
                  </a:lnTo>
                  <a:lnTo>
                    <a:pt x="2185645" y="196799"/>
                  </a:lnTo>
                  <a:lnTo>
                    <a:pt x="2185645" y="196113"/>
                  </a:lnTo>
                  <a:lnTo>
                    <a:pt x="2185645" y="197447"/>
                  </a:lnTo>
                  <a:lnTo>
                    <a:pt x="2185747" y="197447"/>
                  </a:lnTo>
                  <a:lnTo>
                    <a:pt x="2185747" y="196799"/>
                  </a:lnTo>
                  <a:lnTo>
                    <a:pt x="2185747" y="198831"/>
                  </a:lnTo>
                  <a:lnTo>
                    <a:pt x="2185797" y="198831"/>
                  </a:lnTo>
                  <a:lnTo>
                    <a:pt x="2185797" y="199530"/>
                  </a:lnTo>
                  <a:lnTo>
                    <a:pt x="2185797" y="197447"/>
                  </a:lnTo>
                  <a:lnTo>
                    <a:pt x="2185797" y="199530"/>
                  </a:lnTo>
                  <a:lnTo>
                    <a:pt x="2185848" y="198831"/>
                  </a:lnTo>
                  <a:lnTo>
                    <a:pt x="2185848" y="199530"/>
                  </a:lnTo>
                  <a:lnTo>
                    <a:pt x="2185848" y="198831"/>
                  </a:lnTo>
                  <a:lnTo>
                    <a:pt x="2185848" y="199530"/>
                  </a:lnTo>
                  <a:lnTo>
                    <a:pt x="2185950" y="199530"/>
                  </a:lnTo>
                  <a:lnTo>
                    <a:pt x="2185950" y="200228"/>
                  </a:lnTo>
                  <a:lnTo>
                    <a:pt x="2185950" y="199530"/>
                  </a:lnTo>
                  <a:lnTo>
                    <a:pt x="2185950" y="200228"/>
                  </a:lnTo>
                  <a:lnTo>
                    <a:pt x="2185988" y="200228"/>
                  </a:lnTo>
                  <a:lnTo>
                    <a:pt x="2185988" y="199530"/>
                  </a:lnTo>
                  <a:lnTo>
                    <a:pt x="2185988" y="200228"/>
                  </a:lnTo>
                  <a:lnTo>
                    <a:pt x="2186039" y="200228"/>
                  </a:lnTo>
                  <a:lnTo>
                    <a:pt x="2186039" y="197447"/>
                  </a:lnTo>
                  <a:lnTo>
                    <a:pt x="2186090" y="197447"/>
                  </a:lnTo>
                  <a:lnTo>
                    <a:pt x="2186090" y="196113"/>
                  </a:lnTo>
                  <a:lnTo>
                    <a:pt x="2186090" y="197447"/>
                  </a:lnTo>
                  <a:lnTo>
                    <a:pt x="2186191" y="196799"/>
                  </a:lnTo>
                  <a:lnTo>
                    <a:pt x="2186191" y="195415"/>
                  </a:lnTo>
                  <a:lnTo>
                    <a:pt x="2186191" y="197447"/>
                  </a:lnTo>
                  <a:lnTo>
                    <a:pt x="2186242" y="198831"/>
                  </a:lnTo>
                  <a:lnTo>
                    <a:pt x="2186242" y="196799"/>
                  </a:lnTo>
                  <a:lnTo>
                    <a:pt x="2186242" y="197447"/>
                  </a:lnTo>
                  <a:lnTo>
                    <a:pt x="2186242" y="196799"/>
                  </a:lnTo>
                  <a:lnTo>
                    <a:pt x="2186242" y="197447"/>
                  </a:lnTo>
                  <a:lnTo>
                    <a:pt x="2186293" y="198831"/>
                  </a:lnTo>
                  <a:lnTo>
                    <a:pt x="2186293" y="196799"/>
                  </a:lnTo>
                  <a:lnTo>
                    <a:pt x="2186293" y="198831"/>
                  </a:lnTo>
                  <a:lnTo>
                    <a:pt x="2186293" y="197447"/>
                  </a:lnTo>
                  <a:lnTo>
                    <a:pt x="2186394" y="197447"/>
                  </a:lnTo>
                  <a:lnTo>
                    <a:pt x="2186394" y="198831"/>
                  </a:lnTo>
                  <a:lnTo>
                    <a:pt x="2186394" y="197447"/>
                  </a:lnTo>
                  <a:lnTo>
                    <a:pt x="2186394" y="198831"/>
                  </a:lnTo>
                  <a:lnTo>
                    <a:pt x="2186394" y="197447"/>
                  </a:lnTo>
                  <a:lnTo>
                    <a:pt x="2186394" y="198831"/>
                  </a:lnTo>
                  <a:lnTo>
                    <a:pt x="2186445" y="198831"/>
                  </a:lnTo>
                  <a:lnTo>
                    <a:pt x="2186445" y="197447"/>
                  </a:lnTo>
                  <a:lnTo>
                    <a:pt x="2186445" y="199530"/>
                  </a:lnTo>
                  <a:lnTo>
                    <a:pt x="2186445" y="198831"/>
                  </a:lnTo>
                  <a:lnTo>
                    <a:pt x="2186496" y="199530"/>
                  </a:lnTo>
                  <a:lnTo>
                    <a:pt x="2186496" y="198831"/>
                  </a:lnTo>
                  <a:lnTo>
                    <a:pt x="2186496" y="200228"/>
                  </a:lnTo>
                  <a:lnTo>
                    <a:pt x="2186496" y="199530"/>
                  </a:lnTo>
                  <a:lnTo>
                    <a:pt x="2186534" y="199530"/>
                  </a:lnTo>
                  <a:lnTo>
                    <a:pt x="2186534" y="198831"/>
                  </a:lnTo>
                  <a:lnTo>
                    <a:pt x="2186534" y="199530"/>
                  </a:lnTo>
                  <a:lnTo>
                    <a:pt x="2186534" y="198831"/>
                  </a:lnTo>
                  <a:lnTo>
                    <a:pt x="2186534" y="199530"/>
                  </a:lnTo>
                  <a:lnTo>
                    <a:pt x="2186534" y="197447"/>
                  </a:lnTo>
                  <a:lnTo>
                    <a:pt x="2186636" y="197447"/>
                  </a:lnTo>
                  <a:lnTo>
                    <a:pt x="2186636" y="196799"/>
                  </a:lnTo>
                  <a:lnTo>
                    <a:pt x="2186636" y="198831"/>
                  </a:lnTo>
                  <a:lnTo>
                    <a:pt x="2186636" y="196799"/>
                  </a:lnTo>
                  <a:lnTo>
                    <a:pt x="2186636" y="198831"/>
                  </a:lnTo>
                  <a:lnTo>
                    <a:pt x="2186687" y="198831"/>
                  </a:lnTo>
                  <a:lnTo>
                    <a:pt x="2186687" y="200228"/>
                  </a:lnTo>
                  <a:lnTo>
                    <a:pt x="2186687" y="198831"/>
                  </a:lnTo>
                  <a:lnTo>
                    <a:pt x="2186737" y="198831"/>
                  </a:lnTo>
                  <a:lnTo>
                    <a:pt x="2186737" y="200228"/>
                  </a:lnTo>
                  <a:lnTo>
                    <a:pt x="2186737" y="199530"/>
                  </a:lnTo>
                  <a:lnTo>
                    <a:pt x="2186737" y="200228"/>
                  </a:lnTo>
                  <a:lnTo>
                    <a:pt x="2186737" y="199530"/>
                  </a:lnTo>
                  <a:lnTo>
                    <a:pt x="2186839" y="199530"/>
                  </a:lnTo>
                  <a:lnTo>
                    <a:pt x="2186839" y="198831"/>
                  </a:lnTo>
                  <a:lnTo>
                    <a:pt x="2186839" y="199530"/>
                  </a:lnTo>
                  <a:lnTo>
                    <a:pt x="2186890" y="199530"/>
                  </a:lnTo>
                  <a:lnTo>
                    <a:pt x="2186890" y="200228"/>
                  </a:lnTo>
                  <a:lnTo>
                    <a:pt x="2186890" y="199530"/>
                  </a:lnTo>
                  <a:lnTo>
                    <a:pt x="2186890" y="200228"/>
                  </a:lnTo>
                  <a:lnTo>
                    <a:pt x="2186890" y="199530"/>
                  </a:lnTo>
                  <a:lnTo>
                    <a:pt x="2186940" y="199530"/>
                  </a:lnTo>
                  <a:lnTo>
                    <a:pt x="2186940" y="200228"/>
                  </a:lnTo>
                  <a:lnTo>
                    <a:pt x="2186940" y="199530"/>
                  </a:lnTo>
                  <a:lnTo>
                    <a:pt x="2186940" y="200228"/>
                  </a:lnTo>
                  <a:lnTo>
                    <a:pt x="2186940" y="199530"/>
                  </a:lnTo>
                  <a:lnTo>
                    <a:pt x="2186940" y="200228"/>
                  </a:lnTo>
                  <a:lnTo>
                    <a:pt x="2186940" y="199530"/>
                  </a:lnTo>
                  <a:lnTo>
                    <a:pt x="2186940" y="200228"/>
                  </a:lnTo>
                  <a:lnTo>
                    <a:pt x="2186991" y="200228"/>
                  </a:lnTo>
                  <a:lnTo>
                    <a:pt x="2186991" y="199530"/>
                  </a:lnTo>
                  <a:lnTo>
                    <a:pt x="2186991" y="200228"/>
                  </a:lnTo>
                  <a:lnTo>
                    <a:pt x="2186991" y="199530"/>
                  </a:lnTo>
                  <a:lnTo>
                    <a:pt x="2187080" y="199530"/>
                  </a:lnTo>
                  <a:lnTo>
                    <a:pt x="2187080" y="197447"/>
                  </a:lnTo>
                  <a:lnTo>
                    <a:pt x="2187131" y="197447"/>
                  </a:lnTo>
                  <a:lnTo>
                    <a:pt x="2187131" y="199530"/>
                  </a:lnTo>
                  <a:lnTo>
                    <a:pt x="2187131" y="198831"/>
                  </a:lnTo>
                  <a:lnTo>
                    <a:pt x="2187131" y="199530"/>
                  </a:lnTo>
                  <a:lnTo>
                    <a:pt x="2187131" y="198831"/>
                  </a:lnTo>
                  <a:lnTo>
                    <a:pt x="2187131" y="199530"/>
                  </a:lnTo>
                  <a:lnTo>
                    <a:pt x="2187182" y="200228"/>
                  </a:lnTo>
                  <a:lnTo>
                    <a:pt x="2187182" y="200876"/>
                  </a:lnTo>
                  <a:lnTo>
                    <a:pt x="2187182" y="200228"/>
                  </a:lnTo>
                  <a:lnTo>
                    <a:pt x="2187182" y="200876"/>
                  </a:lnTo>
                  <a:lnTo>
                    <a:pt x="2187233" y="200876"/>
                  </a:lnTo>
                  <a:lnTo>
                    <a:pt x="2187233" y="200228"/>
                  </a:lnTo>
                  <a:lnTo>
                    <a:pt x="2187233" y="200876"/>
                  </a:lnTo>
                  <a:lnTo>
                    <a:pt x="2187334" y="200876"/>
                  </a:lnTo>
                  <a:lnTo>
                    <a:pt x="2187334" y="200228"/>
                  </a:lnTo>
                  <a:lnTo>
                    <a:pt x="2187334" y="200876"/>
                  </a:lnTo>
                  <a:lnTo>
                    <a:pt x="2187334" y="200228"/>
                  </a:lnTo>
                  <a:lnTo>
                    <a:pt x="2187385" y="200228"/>
                  </a:lnTo>
                  <a:lnTo>
                    <a:pt x="2187385" y="200876"/>
                  </a:lnTo>
                  <a:lnTo>
                    <a:pt x="2187385" y="200228"/>
                  </a:lnTo>
                  <a:lnTo>
                    <a:pt x="2187385" y="200876"/>
                  </a:lnTo>
                  <a:lnTo>
                    <a:pt x="2187385" y="200228"/>
                  </a:lnTo>
                  <a:lnTo>
                    <a:pt x="2187385" y="200876"/>
                  </a:lnTo>
                  <a:lnTo>
                    <a:pt x="2187436" y="200876"/>
                  </a:lnTo>
                  <a:lnTo>
                    <a:pt x="2187436" y="200228"/>
                  </a:lnTo>
                  <a:lnTo>
                    <a:pt x="2187537" y="200228"/>
                  </a:lnTo>
                  <a:lnTo>
                    <a:pt x="2187537" y="197447"/>
                  </a:lnTo>
                  <a:lnTo>
                    <a:pt x="2187575" y="197447"/>
                  </a:lnTo>
                  <a:lnTo>
                    <a:pt x="2187575" y="196799"/>
                  </a:lnTo>
                  <a:lnTo>
                    <a:pt x="2187575" y="197447"/>
                  </a:lnTo>
                  <a:lnTo>
                    <a:pt x="2187575" y="196113"/>
                  </a:lnTo>
                  <a:lnTo>
                    <a:pt x="2187575" y="196799"/>
                  </a:lnTo>
                  <a:lnTo>
                    <a:pt x="2187626" y="197447"/>
                  </a:lnTo>
                  <a:lnTo>
                    <a:pt x="2187626" y="198831"/>
                  </a:lnTo>
                  <a:lnTo>
                    <a:pt x="2187626" y="196799"/>
                  </a:lnTo>
                  <a:lnTo>
                    <a:pt x="2187626" y="199530"/>
                  </a:lnTo>
                  <a:lnTo>
                    <a:pt x="2187677" y="200228"/>
                  </a:lnTo>
                  <a:lnTo>
                    <a:pt x="2187677" y="198831"/>
                  </a:lnTo>
                  <a:lnTo>
                    <a:pt x="2187677" y="199530"/>
                  </a:lnTo>
                  <a:lnTo>
                    <a:pt x="2187677" y="198831"/>
                  </a:lnTo>
                  <a:lnTo>
                    <a:pt x="2187677" y="200228"/>
                  </a:lnTo>
                  <a:lnTo>
                    <a:pt x="2187779" y="200228"/>
                  </a:lnTo>
                  <a:lnTo>
                    <a:pt x="2187779" y="199530"/>
                  </a:lnTo>
                  <a:lnTo>
                    <a:pt x="2187779" y="200228"/>
                  </a:lnTo>
                  <a:lnTo>
                    <a:pt x="2187779" y="199530"/>
                  </a:lnTo>
                  <a:lnTo>
                    <a:pt x="2187779" y="200228"/>
                  </a:lnTo>
                  <a:lnTo>
                    <a:pt x="2187830" y="200228"/>
                  </a:lnTo>
                  <a:lnTo>
                    <a:pt x="2187830" y="199530"/>
                  </a:lnTo>
                  <a:lnTo>
                    <a:pt x="2187830" y="200228"/>
                  </a:lnTo>
                  <a:lnTo>
                    <a:pt x="2187830" y="199530"/>
                  </a:lnTo>
                  <a:lnTo>
                    <a:pt x="2187830" y="200228"/>
                  </a:lnTo>
                  <a:lnTo>
                    <a:pt x="2187880" y="200876"/>
                  </a:lnTo>
                  <a:lnTo>
                    <a:pt x="2187880" y="200228"/>
                  </a:lnTo>
                  <a:lnTo>
                    <a:pt x="2187880" y="200876"/>
                  </a:lnTo>
                  <a:lnTo>
                    <a:pt x="2187982" y="200876"/>
                  </a:lnTo>
                  <a:lnTo>
                    <a:pt x="2187982" y="200228"/>
                  </a:lnTo>
                  <a:lnTo>
                    <a:pt x="2188033" y="200228"/>
                  </a:lnTo>
                  <a:lnTo>
                    <a:pt x="2188033" y="199530"/>
                  </a:lnTo>
                  <a:lnTo>
                    <a:pt x="2188033" y="200228"/>
                  </a:lnTo>
                  <a:lnTo>
                    <a:pt x="2188033" y="197447"/>
                  </a:lnTo>
                  <a:lnTo>
                    <a:pt x="2188084" y="197447"/>
                  </a:lnTo>
                  <a:lnTo>
                    <a:pt x="2188084" y="198831"/>
                  </a:lnTo>
                  <a:lnTo>
                    <a:pt x="2188084" y="196799"/>
                  </a:lnTo>
                  <a:lnTo>
                    <a:pt x="2188084" y="197447"/>
                  </a:lnTo>
                  <a:lnTo>
                    <a:pt x="2188084" y="196799"/>
                  </a:lnTo>
                  <a:lnTo>
                    <a:pt x="2188084" y="199530"/>
                  </a:lnTo>
                  <a:lnTo>
                    <a:pt x="2188084" y="198831"/>
                  </a:lnTo>
                  <a:lnTo>
                    <a:pt x="2188122" y="198831"/>
                  </a:lnTo>
                  <a:lnTo>
                    <a:pt x="2188122" y="197447"/>
                  </a:lnTo>
                  <a:lnTo>
                    <a:pt x="2188122" y="200228"/>
                  </a:lnTo>
                  <a:lnTo>
                    <a:pt x="2188122" y="199530"/>
                  </a:lnTo>
                  <a:lnTo>
                    <a:pt x="2188223" y="199530"/>
                  </a:lnTo>
                  <a:lnTo>
                    <a:pt x="2188223" y="198831"/>
                  </a:lnTo>
                  <a:lnTo>
                    <a:pt x="2188223" y="200228"/>
                  </a:lnTo>
                  <a:lnTo>
                    <a:pt x="2188223" y="199530"/>
                  </a:lnTo>
                  <a:lnTo>
                    <a:pt x="2188274" y="199530"/>
                  </a:lnTo>
                  <a:lnTo>
                    <a:pt x="2188274" y="200228"/>
                  </a:lnTo>
                  <a:lnTo>
                    <a:pt x="2188325" y="200228"/>
                  </a:lnTo>
                  <a:lnTo>
                    <a:pt x="2188325" y="199530"/>
                  </a:lnTo>
                  <a:lnTo>
                    <a:pt x="2188325" y="200876"/>
                  </a:lnTo>
                  <a:lnTo>
                    <a:pt x="2188325" y="200228"/>
                  </a:lnTo>
                  <a:lnTo>
                    <a:pt x="2188325" y="200876"/>
                  </a:lnTo>
                  <a:lnTo>
                    <a:pt x="2188325" y="200228"/>
                  </a:lnTo>
                  <a:lnTo>
                    <a:pt x="2188426" y="200228"/>
                  </a:lnTo>
                  <a:lnTo>
                    <a:pt x="2188426" y="199530"/>
                  </a:lnTo>
                  <a:lnTo>
                    <a:pt x="2188426" y="200876"/>
                  </a:lnTo>
                  <a:lnTo>
                    <a:pt x="2188426" y="200228"/>
                  </a:lnTo>
                  <a:lnTo>
                    <a:pt x="2188477" y="200228"/>
                  </a:lnTo>
                  <a:lnTo>
                    <a:pt x="2188477" y="200876"/>
                  </a:lnTo>
                  <a:lnTo>
                    <a:pt x="2188477" y="199530"/>
                  </a:lnTo>
                  <a:lnTo>
                    <a:pt x="2188477" y="200228"/>
                  </a:lnTo>
                  <a:lnTo>
                    <a:pt x="2188477" y="199530"/>
                  </a:lnTo>
                  <a:lnTo>
                    <a:pt x="2188477" y="200228"/>
                  </a:lnTo>
                  <a:lnTo>
                    <a:pt x="2188477" y="199530"/>
                  </a:lnTo>
                  <a:lnTo>
                    <a:pt x="2188477" y="200228"/>
                  </a:lnTo>
                  <a:lnTo>
                    <a:pt x="2188528" y="200228"/>
                  </a:lnTo>
                  <a:lnTo>
                    <a:pt x="2188528" y="197447"/>
                  </a:lnTo>
                  <a:lnTo>
                    <a:pt x="2188579" y="197447"/>
                  </a:lnTo>
                  <a:lnTo>
                    <a:pt x="2188579" y="198831"/>
                  </a:lnTo>
                  <a:lnTo>
                    <a:pt x="2188579" y="196113"/>
                  </a:lnTo>
                  <a:lnTo>
                    <a:pt x="2188579" y="198831"/>
                  </a:lnTo>
                  <a:lnTo>
                    <a:pt x="2188579" y="197447"/>
                  </a:lnTo>
                  <a:lnTo>
                    <a:pt x="2188668" y="196799"/>
                  </a:lnTo>
                  <a:lnTo>
                    <a:pt x="2188668" y="197447"/>
                  </a:lnTo>
                  <a:lnTo>
                    <a:pt x="2188668" y="196799"/>
                  </a:lnTo>
                  <a:lnTo>
                    <a:pt x="2188668" y="200228"/>
                  </a:lnTo>
                  <a:lnTo>
                    <a:pt x="2188668" y="198831"/>
                  </a:lnTo>
                  <a:lnTo>
                    <a:pt x="2188719" y="198831"/>
                  </a:lnTo>
                  <a:lnTo>
                    <a:pt x="2188719" y="197447"/>
                  </a:lnTo>
                  <a:lnTo>
                    <a:pt x="2188719" y="200228"/>
                  </a:lnTo>
                  <a:lnTo>
                    <a:pt x="2188719" y="198831"/>
                  </a:lnTo>
                  <a:lnTo>
                    <a:pt x="2188719" y="199530"/>
                  </a:lnTo>
                  <a:lnTo>
                    <a:pt x="2188769" y="199530"/>
                  </a:lnTo>
                  <a:lnTo>
                    <a:pt x="2188769" y="200228"/>
                  </a:lnTo>
                  <a:lnTo>
                    <a:pt x="2188769" y="199530"/>
                  </a:lnTo>
                  <a:lnTo>
                    <a:pt x="2188769" y="200228"/>
                  </a:lnTo>
                  <a:lnTo>
                    <a:pt x="2188820" y="199530"/>
                  </a:lnTo>
                  <a:lnTo>
                    <a:pt x="2188820" y="200876"/>
                  </a:lnTo>
                  <a:lnTo>
                    <a:pt x="2188820" y="200228"/>
                  </a:lnTo>
                  <a:lnTo>
                    <a:pt x="2188820" y="200876"/>
                  </a:lnTo>
                  <a:lnTo>
                    <a:pt x="2188820" y="200228"/>
                  </a:lnTo>
                  <a:lnTo>
                    <a:pt x="2188922" y="200876"/>
                  </a:lnTo>
                  <a:lnTo>
                    <a:pt x="2188922" y="200228"/>
                  </a:lnTo>
                  <a:lnTo>
                    <a:pt x="2188922" y="200876"/>
                  </a:lnTo>
                  <a:lnTo>
                    <a:pt x="2188972" y="200876"/>
                  </a:lnTo>
                  <a:lnTo>
                    <a:pt x="2188972" y="200228"/>
                  </a:lnTo>
                  <a:lnTo>
                    <a:pt x="2188972" y="200876"/>
                  </a:lnTo>
                  <a:lnTo>
                    <a:pt x="2188972" y="199530"/>
                  </a:lnTo>
                  <a:lnTo>
                    <a:pt x="2189023" y="199530"/>
                  </a:lnTo>
                  <a:lnTo>
                    <a:pt x="2189023" y="198831"/>
                  </a:lnTo>
                  <a:lnTo>
                    <a:pt x="2189023" y="199530"/>
                  </a:lnTo>
                  <a:lnTo>
                    <a:pt x="2189023" y="197447"/>
                  </a:lnTo>
                  <a:lnTo>
                    <a:pt x="2189125" y="196799"/>
                  </a:lnTo>
                  <a:lnTo>
                    <a:pt x="2189125" y="197447"/>
                  </a:lnTo>
                  <a:lnTo>
                    <a:pt x="2189125" y="196799"/>
                  </a:lnTo>
                  <a:lnTo>
                    <a:pt x="2189125" y="198831"/>
                  </a:lnTo>
                  <a:lnTo>
                    <a:pt x="2189125" y="196799"/>
                  </a:lnTo>
                  <a:lnTo>
                    <a:pt x="2189163" y="197447"/>
                  </a:lnTo>
                  <a:lnTo>
                    <a:pt x="2189163" y="199530"/>
                  </a:lnTo>
                  <a:lnTo>
                    <a:pt x="2189163" y="198831"/>
                  </a:lnTo>
                  <a:lnTo>
                    <a:pt x="2189163" y="199530"/>
                  </a:lnTo>
                  <a:lnTo>
                    <a:pt x="2189214" y="199530"/>
                  </a:lnTo>
                  <a:lnTo>
                    <a:pt x="2189214" y="200228"/>
                  </a:lnTo>
                  <a:lnTo>
                    <a:pt x="2189214" y="198831"/>
                  </a:lnTo>
                  <a:lnTo>
                    <a:pt x="2189214" y="199530"/>
                  </a:lnTo>
                  <a:lnTo>
                    <a:pt x="2189265" y="199530"/>
                  </a:lnTo>
                  <a:lnTo>
                    <a:pt x="2189366" y="200228"/>
                  </a:lnTo>
                  <a:lnTo>
                    <a:pt x="2189366" y="198831"/>
                  </a:lnTo>
                  <a:lnTo>
                    <a:pt x="2189366" y="199530"/>
                  </a:lnTo>
                  <a:lnTo>
                    <a:pt x="2189417" y="199530"/>
                  </a:lnTo>
                  <a:lnTo>
                    <a:pt x="2189417" y="200228"/>
                  </a:lnTo>
                  <a:lnTo>
                    <a:pt x="2189417" y="199530"/>
                  </a:lnTo>
                  <a:lnTo>
                    <a:pt x="2189417" y="200228"/>
                  </a:lnTo>
                  <a:lnTo>
                    <a:pt x="2189417" y="199530"/>
                  </a:lnTo>
                  <a:lnTo>
                    <a:pt x="2189468" y="199530"/>
                  </a:lnTo>
                  <a:lnTo>
                    <a:pt x="2189468" y="198831"/>
                  </a:lnTo>
                  <a:lnTo>
                    <a:pt x="2189468" y="199530"/>
                  </a:lnTo>
                  <a:lnTo>
                    <a:pt x="2189468" y="198831"/>
                  </a:lnTo>
                  <a:lnTo>
                    <a:pt x="2189569" y="198831"/>
                  </a:lnTo>
                  <a:lnTo>
                    <a:pt x="2189569" y="197447"/>
                  </a:lnTo>
                  <a:lnTo>
                    <a:pt x="2189569" y="199530"/>
                  </a:lnTo>
                  <a:lnTo>
                    <a:pt x="2189620" y="199530"/>
                  </a:lnTo>
                  <a:lnTo>
                    <a:pt x="2189620" y="198831"/>
                  </a:lnTo>
                  <a:lnTo>
                    <a:pt x="2189620" y="200876"/>
                  </a:lnTo>
                  <a:lnTo>
                    <a:pt x="2189620" y="200228"/>
                  </a:lnTo>
                  <a:lnTo>
                    <a:pt x="2189671" y="200228"/>
                  </a:lnTo>
                  <a:lnTo>
                    <a:pt x="2189671" y="199530"/>
                  </a:lnTo>
                  <a:lnTo>
                    <a:pt x="2189671" y="200876"/>
                  </a:lnTo>
                  <a:lnTo>
                    <a:pt x="2189709" y="200228"/>
                  </a:lnTo>
                  <a:lnTo>
                    <a:pt x="2189709" y="199530"/>
                  </a:lnTo>
                  <a:lnTo>
                    <a:pt x="2189709" y="200228"/>
                  </a:lnTo>
                  <a:lnTo>
                    <a:pt x="2189709" y="199530"/>
                  </a:lnTo>
                  <a:lnTo>
                    <a:pt x="2189709" y="200228"/>
                  </a:lnTo>
                  <a:lnTo>
                    <a:pt x="2189811" y="200228"/>
                  </a:lnTo>
                  <a:lnTo>
                    <a:pt x="2189811" y="200876"/>
                  </a:lnTo>
                  <a:lnTo>
                    <a:pt x="2189811" y="200228"/>
                  </a:lnTo>
                  <a:lnTo>
                    <a:pt x="2189811" y="200876"/>
                  </a:lnTo>
                  <a:lnTo>
                    <a:pt x="2189811" y="200228"/>
                  </a:lnTo>
                  <a:lnTo>
                    <a:pt x="2189862" y="200228"/>
                  </a:lnTo>
                  <a:lnTo>
                    <a:pt x="2189862" y="200876"/>
                  </a:lnTo>
                  <a:lnTo>
                    <a:pt x="2189862" y="200228"/>
                  </a:lnTo>
                  <a:lnTo>
                    <a:pt x="2189912" y="200228"/>
                  </a:lnTo>
                  <a:lnTo>
                    <a:pt x="2189912" y="200876"/>
                  </a:lnTo>
                  <a:lnTo>
                    <a:pt x="2189912" y="199530"/>
                  </a:lnTo>
                  <a:lnTo>
                    <a:pt x="2190014" y="199530"/>
                  </a:lnTo>
                  <a:lnTo>
                    <a:pt x="2190014" y="198831"/>
                  </a:lnTo>
                  <a:lnTo>
                    <a:pt x="2190014" y="199530"/>
                  </a:lnTo>
                  <a:lnTo>
                    <a:pt x="2190014" y="197447"/>
                  </a:lnTo>
                  <a:lnTo>
                    <a:pt x="2190065" y="197447"/>
                  </a:lnTo>
                  <a:lnTo>
                    <a:pt x="2190065" y="200228"/>
                  </a:lnTo>
                  <a:lnTo>
                    <a:pt x="2190065" y="197447"/>
                  </a:lnTo>
                  <a:lnTo>
                    <a:pt x="2190115" y="197447"/>
                  </a:lnTo>
                  <a:lnTo>
                    <a:pt x="2190115" y="202260"/>
                  </a:lnTo>
                  <a:lnTo>
                    <a:pt x="2190115" y="199530"/>
                  </a:lnTo>
                  <a:lnTo>
                    <a:pt x="2190115" y="200228"/>
                  </a:lnTo>
                  <a:lnTo>
                    <a:pt x="2190166" y="200228"/>
                  </a:lnTo>
                  <a:lnTo>
                    <a:pt x="2190166" y="202260"/>
                  </a:lnTo>
                  <a:lnTo>
                    <a:pt x="2190166" y="200228"/>
                  </a:lnTo>
                  <a:lnTo>
                    <a:pt x="2190255" y="200228"/>
                  </a:lnTo>
                  <a:lnTo>
                    <a:pt x="2190255" y="202260"/>
                  </a:lnTo>
                  <a:lnTo>
                    <a:pt x="2190255" y="200228"/>
                  </a:lnTo>
                  <a:lnTo>
                    <a:pt x="2190255" y="200876"/>
                  </a:lnTo>
                  <a:lnTo>
                    <a:pt x="2190255" y="200228"/>
                  </a:lnTo>
                  <a:lnTo>
                    <a:pt x="2190306" y="200228"/>
                  </a:lnTo>
                  <a:lnTo>
                    <a:pt x="2190306" y="202260"/>
                  </a:lnTo>
                  <a:lnTo>
                    <a:pt x="2190306" y="200228"/>
                  </a:lnTo>
                  <a:lnTo>
                    <a:pt x="2190306" y="200876"/>
                  </a:lnTo>
                  <a:lnTo>
                    <a:pt x="2190357" y="200876"/>
                  </a:lnTo>
                  <a:lnTo>
                    <a:pt x="2190357" y="200228"/>
                  </a:lnTo>
                  <a:lnTo>
                    <a:pt x="2190357" y="200876"/>
                  </a:lnTo>
                  <a:lnTo>
                    <a:pt x="2190357" y="200228"/>
                  </a:lnTo>
                  <a:lnTo>
                    <a:pt x="2190408" y="200228"/>
                  </a:lnTo>
                  <a:lnTo>
                    <a:pt x="2190408" y="198831"/>
                  </a:lnTo>
                  <a:lnTo>
                    <a:pt x="2190408" y="199530"/>
                  </a:lnTo>
                  <a:lnTo>
                    <a:pt x="2190408" y="198831"/>
                  </a:lnTo>
                  <a:lnTo>
                    <a:pt x="2190509" y="198831"/>
                  </a:lnTo>
                  <a:lnTo>
                    <a:pt x="2190509" y="196799"/>
                  </a:lnTo>
                  <a:lnTo>
                    <a:pt x="2190509" y="198831"/>
                  </a:lnTo>
                  <a:lnTo>
                    <a:pt x="2190560" y="198831"/>
                  </a:lnTo>
                  <a:lnTo>
                    <a:pt x="2190560" y="197447"/>
                  </a:lnTo>
                  <a:lnTo>
                    <a:pt x="2190560" y="200228"/>
                  </a:lnTo>
                  <a:lnTo>
                    <a:pt x="2190560" y="199530"/>
                  </a:lnTo>
                  <a:lnTo>
                    <a:pt x="2190611" y="200228"/>
                  </a:lnTo>
                  <a:lnTo>
                    <a:pt x="2190611" y="199530"/>
                  </a:lnTo>
                  <a:lnTo>
                    <a:pt x="2190611" y="200228"/>
                  </a:lnTo>
                  <a:lnTo>
                    <a:pt x="2190611" y="199530"/>
                  </a:lnTo>
                  <a:lnTo>
                    <a:pt x="2190611" y="200228"/>
                  </a:lnTo>
                  <a:lnTo>
                    <a:pt x="2190611" y="199530"/>
                  </a:lnTo>
                  <a:lnTo>
                    <a:pt x="2190611" y="200876"/>
                  </a:lnTo>
                  <a:lnTo>
                    <a:pt x="2190712" y="200228"/>
                  </a:lnTo>
                  <a:lnTo>
                    <a:pt x="2190712" y="200876"/>
                  </a:lnTo>
                  <a:lnTo>
                    <a:pt x="2190712" y="200228"/>
                  </a:lnTo>
                  <a:lnTo>
                    <a:pt x="2190712" y="200876"/>
                  </a:lnTo>
                  <a:lnTo>
                    <a:pt x="2190750" y="200876"/>
                  </a:lnTo>
                  <a:lnTo>
                    <a:pt x="2190750" y="200228"/>
                  </a:lnTo>
                  <a:lnTo>
                    <a:pt x="2190750" y="200876"/>
                  </a:lnTo>
                  <a:lnTo>
                    <a:pt x="2190801" y="200876"/>
                  </a:lnTo>
                  <a:lnTo>
                    <a:pt x="2190801" y="202260"/>
                  </a:lnTo>
                  <a:lnTo>
                    <a:pt x="2190801" y="200876"/>
                  </a:lnTo>
                  <a:lnTo>
                    <a:pt x="2190852" y="200876"/>
                  </a:lnTo>
                  <a:lnTo>
                    <a:pt x="2190852" y="200228"/>
                  </a:lnTo>
                  <a:lnTo>
                    <a:pt x="2190852" y="200876"/>
                  </a:lnTo>
                  <a:lnTo>
                    <a:pt x="2190852" y="200228"/>
                  </a:lnTo>
                  <a:lnTo>
                    <a:pt x="2190852" y="200876"/>
                  </a:lnTo>
                  <a:lnTo>
                    <a:pt x="2190852" y="200228"/>
                  </a:lnTo>
                  <a:lnTo>
                    <a:pt x="2190954" y="200228"/>
                  </a:lnTo>
                  <a:lnTo>
                    <a:pt x="2190954" y="198831"/>
                  </a:lnTo>
                  <a:lnTo>
                    <a:pt x="2191005" y="198831"/>
                  </a:lnTo>
                  <a:lnTo>
                    <a:pt x="2191005" y="196799"/>
                  </a:lnTo>
                  <a:lnTo>
                    <a:pt x="2191005" y="198831"/>
                  </a:lnTo>
                  <a:lnTo>
                    <a:pt x="2191055" y="198831"/>
                  </a:lnTo>
                  <a:lnTo>
                    <a:pt x="2191055" y="199530"/>
                  </a:lnTo>
                  <a:lnTo>
                    <a:pt x="2191055" y="196799"/>
                  </a:lnTo>
                  <a:lnTo>
                    <a:pt x="2191055" y="200228"/>
                  </a:lnTo>
                  <a:lnTo>
                    <a:pt x="2191157" y="200228"/>
                  </a:lnTo>
                  <a:lnTo>
                    <a:pt x="2191157" y="198831"/>
                  </a:lnTo>
                  <a:lnTo>
                    <a:pt x="2191157" y="200228"/>
                  </a:lnTo>
                  <a:lnTo>
                    <a:pt x="2191208" y="200228"/>
                  </a:lnTo>
                  <a:lnTo>
                    <a:pt x="2191208" y="199530"/>
                  </a:lnTo>
                  <a:lnTo>
                    <a:pt x="2191208" y="200228"/>
                  </a:lnTo>
                  <a:lnTo>
                    <a:pt x="2191208" y="199530"/>
                  </a:lnTo>
                  <a:lnTo>
                    <a:pt x="2191208" y="200228"/>
                  </a:lnTo>
                  <a:lnTo>
                    <a:pt x="2191208" y="199530"/>
                  </a:lnTo>
                  <a:lnTo>
                    <a:pt x="2191259" y="200228"/>
                  </a:lnTo>
                  <a:lnTo>
                    <a:pt x="2191259" y="200876"/>
                  </a:lnTo>
                  <a:lnTo>
                    <a:pt x="2191259" y="200228"/>
                  </a:lnTo>
                  <a:lnTo>
                    <a:pt x="2191259" y="200876"/>
                  </a:lnTo>
                  <a:lnTo>
                    <a:pt x="2191297" y="200876"/>
                  </a:lnTo>
                  <a:lnTo>
                    <a:pt x="2191297" y="200228"/>
                  </a:lnTo>
                  <a:lnTo>
                    <a:pt x="2191398" y="200228"/>
                  </a:lnTo>
                  <a:lnTo>
                    <a:pt x="2191398" y="199530"/>
                  </a:lnTo>
                  <a:lnTo>
                    <a:pt x="2191449" y="199530"/>
                  </a:lnTo>
                  <a:lnTo>
                    <a:pt x="2191449" y="197447"/>
                  </a:lnTo>
                  <a:lnTo>
                    <a:pt x="2191449" y="198831"/>
                  </a:lnTo>
                  <a:lnTo>
                    <a:pt x="2191449" y="196799"/>
                  </a:lnTo>
                  <a:lnTo>
                    <a:pt x="2191500" y="196799"/>
                  </a:lnTo>
                  <a:lnTo>
                    <a:pt x="2191500" y="196113"/>
                  </a:lnTo>
                  <a:lnTo>
                    <a:pt x="2191500" y="197447"/>
                  </a:lnTo>
                  <a:lnTo>
                    <a:pt x="2191500" y="196799"/>
                  </a:lnTo>
                  <a:lnTo>
                    <a:pt x="2191500" y="197447"/>
                  </a:lnTo>
                  <a:lnTo>
                    <a:pt x="2191500" y="196799"/>
                  </a:lnTo>
                  <a:lnTo>
                    <a:pt x="2191601" y="197447"/>
                  </a:lnTo>
                  <a:lnTo>
                    <a:pt x="2191601" y="196799"/>
                  </a:lnTo>
                  <a:lnTo>
                    <a:pt x="2191601" y="199530"/>
                  </a:lnTo>
                  <a:lnTo>
                    <a:pt x="2191601" y="198831"/>
                  </a:lnTo>
                  <a:lnTo>
                    <a:pt x="2191652" y="198831"/>
                  </a:lnTo>
                  <a:lnTo>
                    <a:pt x="2191652" y="197447"/>
                  </a:lnTo>
                  <a:lnTo>
                    <a:pt x="2191652" y="199530"/>
                  </a:lnTo>
                  <a:lnTo>
                    <a:pt x="2191652" y="198831"/>
                  </a:lnTo>
                  <a:lnTo>
                    <a:pt x="2191652" y="199530"/>
                  </a:lnTo>
                  <a:lnTo>
                    <a:pt x="2191703" y="199530"/>
                  </a:lnTo>
                  <a:lnTo>
                    <a:pt x="2191703" y="197447"/>
                  </a:lnTo>
                  <a:lnTo>
                    <a:pt x="2191703" y="199530"/>
                  </a:lnTo>
                  <a:lnTo>
                    <a:pt x="2191703" y="198831"/>
                  </a:lnTo>
                  <a:lnTo>
                    <a:pt x="2191703" y="199530"/>
                  </a:lnTo>
                  <a:lnTo>
                    <a:pt x="2191754" y="199530"/>
                  </a:lnTo>
                  <a:lnTo>
                    <a:pt x="2191754" y="200228"/>
                  </a:lnTo>
                  <a:lnTo>
                    <a:pt x="2191843" y="200228"/>
                  </a:lnTo>
                  <a:lnTo>
                    <a:pt x="2191843" y="199530"/>
                  </a:lnTo>
                  <a:lnTo>
                    <a:pt x="2191843" y="200876"/>
                  </a:lnTo>
                  <a:lnTo>
                    <a:pt x="2191843" y="200228"/>
                  </a:lnTo>
                  <a:lnTo>
                    <a:pt x="2191894" y="200228"/>
                  </a:lnTo>
                  <a:lnTo>
                    <a:pt x="2191894" y="199530"/>
                  </a:lnTo>
                  <a:lnTo>
                    <a:pt x="2191894" y="200228"/>
                  </a:lnTo>
                  <a:lnTo>
                    <a:pt x="2191894" y="199530"/>
                  </a:lnTo>
                  <a:lnTo>
                    <a:pt x="2191894" y="200228"/>
                  </a:lnTo>
                  <a:lnTo>
                    <a:pt x="2191894" y="199530"/>
                  </a:lnTo>
                  <a:lnTo>
                    <a:pt x="2191894" y="200228"/>
                  </a:lnTo>
                  <a:lnTo>
                    <a:pt x="2191894" y="199530"/>
                  </a:lnTo>
                  <a:lnTo>
                    <a:pt x="2191944" y="199530"/>
                  </a:lnTo>
                  <a:lnTo>
                    <a:pt x="2191944" y="197447"/>
                  </a:lnTo>
                  <a:lnTo>
                    <a:pt x="2191995" y="196799"/>
                  </a:lnTo>
                  <a:lnTo>
                    <a:pt x="2191995" y="197447"/>
                  </a:lnTo>
                  <a:lnTo>
                    <a:pt x="2191995" y="196799"/>
                  </a:lnTo>
                  <a:lnTo>
                    <a:pt x="2192097" y="196799"/>
                  </a:lnTo>
                  <a:lnTo>
                    <a:pt x="2192097" y="195415"/>
                  </a:lnTo>
                  <a:lnTo>
                    <a:pt x="2192097" y="199530"/>
                  </a:lnTo>
                  <a:lnTo>
                    <a:pt x="2192097" y="196799"/>
                  </a:lnTo>
                  <a:lnTo>
                    <a:pt x="2192147" y="196113"/>
                  </a:lnTo>
                  <a:lnTo>
                    <a:pt x="2192147" y="198831"/>
                  </a:lnTo>
                  <a:lnTo>
                    <a:pt x="2192147" y="196799"/>
                  </a:lnTo>
                  <a:lnTo>
                    <a:pt x="2192198" y="196799"/>
                  </a:lnTo>
                  <a:lnTo>
                    <a:pt x="2192198" y="198831"/>
                  </a:lnTo>
                  <a:lnTo>
                    <a:pt x="2192198" y="197447"/>
                  </a:lnTo>
                  <a:lnTo>
                    <a:pt x="2192198" y="198831"/>
                  </a:lnTo>
                  <a:lnTo>
                    <a:pt x="2192300" y="198831"/>
                  </a:lnTo>
                  <a:lnTo>
                    <a:pt x="2192300" y="199530"/>
                  </a:lnTo>
                  <a:lnTo>
                    <a:pt x="2192338" y="199530"/>
                  </a:lnTo>
                  <a:lnTo>
                    <a:pt x="2192338" y="198831"/>
                  </a:lnTo>
                  <a:lnTo>
                    <a:pt x="2192338" y="199530"/>
                  </a:lnTo>
                  <a:lnTo>
                    <a:pt x="2192338" y="198831"/>
                  </a:lnTo>
                  <a:lnTo>
                    <a:pt x="2192338" y="199530"/>
                  </a:lnTo>
                  <a:lnTo>
                    <a:pt x="2192389" y="199530"/>
                  </a:lnTo>
                  <a:lnTo>
                    <a:pt x="2192389" y="198831"/>
                  </a:lnTo>
                  <a:lnTo>
                    <a:pt x="2192389" y="199530"/>
                  </a:lnTo>
                  <a:lnTo>
                    <a:pt x="2192389" y="198831"/>
                  </a:lnTo>
                  <a:lnTo>
                    <a:pt x="2192440" y="198831"/>
                  </a:lnTo>
                  <a:lnTo>
                    <a:pt x="2192440" y="196799"/>
                  </a:lnTo>
                  <a:lnTo>
                    <a:pt x="2192541" y="196799"/>
                  </a:lnTo>
                  <a:lnTo>
                    <a:pt x="2192541" y="197447"/>
                  </a:lnTo>
                  <a:lnTo>
                    <a:pt x="2192541" y="196799"/>
                  </a:lnTo>
                  <a:lnTo>
                    <a:pt x="2192592" y="196799"/>
                  </a:lnTo>
                  <a:lnTo>
                    <a:pt x="2192592" y="196113"/>
                  </a:lnTo>
                  <a:lnTo>
                    <a:pt x="2192592" y="199530"/>
                  </a:lnTo>
                  <a:lnTo>
                    <a:pt x="2192592" y="197447"/>
                  </a:lnTo>
                  <a:lnTo>
                    <a:pt x="2192643" y="197447"/>
                  </a:lnTo>
                  <a:lnTo>
                    <a:pt x="2192643" y="199530"/>
                  </a:lnTo>
                  <a:lnTo>
                    <a:pt x="2192643" y="198831"/>
                  </a:lnTo>
                  <a:lnTo>
                    <a:pt x="2192744" y="198831"/>
                  </a:lnTo>
                  <a:lnTo>
                    <a:pt x="2192744" y="199530"/>
                  </a:lnTo>
                  <a:lnTo>
                    <a:pt x="2192744" y="198831"/>
                  </a:lnTo>
                  <a:lnTo>
                    <a:pt x="2192795" y="198831"/>
                  </a:lnTo>
                  <a:lnTo>
                    <a:pt x="2192795" y="199530"/>
                  </a:lnTo>
                  <a:lnTo>
                    <a:pt x="2192846" y="199530"/>
                  </a:lnTo>
                  <a:lnTo>
                    <a:pt x="2192846" y="200228"/>
                  </a:lnTo>
                  <a:lnTo>
                    <a:pt x="2192846" y="199530"/>
                  </a:lnTo>
                  <a:lnTo>
                    <a:pt x="2192846" y="200228"/>
                  </a:lnTo>
                  <a:lnTo>
                    <a:pt x="2192846" y="198831"/>
                  </a:lnTo>
                  <a:lnTo>
                    <a:pt x="2192846" y="199530"/>
                  </a:lnTo>
                  <a:lnTo>
                    <a:pt x="2192884" y="199530"/>
                  </a:lnTo>
                  <a:lnTo>
                    <a:pt x="2192884" y="198831"/>
                  </a:lnTo>
                  <a:lnTo>
                    <a:pt x="2192884" y="199530"/>
                  </a:lnTo>
                  <a:lnTo>
                    <a:pt x="2192884" y="198831"/>
                  </a:lnTo>
                  <a:lnTo>
                    <a:pt x="2192986" y="198831"/>
                  </a:lnTo>
                  <a:lnTo>
                    <a:pt x="2192986" y="196799"/>
                  </a:lnTo>
                  <a:lnTo>
                    <a:pt x="2193037" y="196799"/>
                  </a:lnTo>
                  <a:lnTo>
                    <a:pt x="2193037" y="199530"/>
                  </a:lnTo>
                  <a:lnTo>
                    <a:pt x="2193037" y="196799"/>
                  </a:lnTo>
                  <a:lnTo>
                    <a:pt x="2193037" y="198831"/>
                  </a:lnTo>
                  <a:lnTo>
                    <a:pt x="2193087" y="199530"/>
                  </a:lnTo>
                  <a:lnTo>
                    <a:pt x="2193087" y="200228"/>
                  </a:lnTo>
                  <a:lnTo>
                    <a:pt x="2193087" y="197447"/>
                  </a:lnTo>
                  <a:lnTo>
                    <a:pt x="2193087" y="199530"/>
                  </a:lnTo>
                  <a:lnTo>
                    <a:pt x="2193189" y="199530"/>
                  </a:lnTo>
                  <a:lnTo>
                    <a:pt x="2193240" y="200228"/>
                  </a:lnTo>
                  <a:lnTo>
                    <a:pt x="2193240" y="199530"/>
                  </a:lnTo>
                  <a:lnTo>
                    <a:pt x="2193240" y="200228"/>
                  </a:lnTo>
                  <a:lnTo>
                    <a:pt x="2193240" y="199530"/>
                  </a:lnTo>
                  <a:lnTo>
                    <a:pt x="2193290" y="200228"/>
                  </a:lnTo>
                  <a:lnTo>
                    <a:pt x="2193290" y="199530"/>
                  </a:lnTo>
                  <a:lnTo>
                    <a:pt x="2193290" y="200228"/>
                  </a:lnTo>
                  <a:lnTo>
                    <a:pt x="2193341" y="199530"/>
                  </a:lnTo>
                  <a:lnTo>
                    <a:pt x="2193341" y="200228"/>
                  </a:lnTo>
                  <a:lnTo>
                    <a:pt x="2193341" y="199530"/>
                  </a:lnTo>
                  <a:lnTo>
                    <a:pt x="2193341" y="200228"/>
                  </a:lnTo>
                  <a:lnTo>
                    <a:pt x="2193341" y="198831"/>
                  </a:lnTo>
                  <a:lnTo>
                    <a:pt x="2193341" y="199530"/>
                  </a:lnTo>
                  <a:lnTo>
                    <a:pt x="2193430" y="199530"/>
                  </a:lnTo>
                  <a:lnTo>
                    <a:pt x="2193430" y="197447"/>
                  </a:lnTo>
                  <a:lnTo>
                    <a:pt x="2193481" y="197447"/>
                  </a:lnTo>
                  <a:lnTo>
                    <a:pt x="2193481" y="196113"/>
                  </a:lnTo>
                  <a:lnTo>
                    <a:pt x="2193532" y="196799"/>
                  </a:lnTo>
                  <a:lnTo>
                    <a:pt x="2193532" y="198831"/>
                  </a:lnTo>
                  <a:lnTo>
                    <a:pt x="2193532" y="197447"/>
                  </a:lnTo>
                  <a:lnTo>
                    <a:pt x="2193532" y="198831"/>
                  </a:lnTo>
                  <a:lnTo>
                    <a:pt x="2193532" y="196113"/>
                  </a:lnTo>
                  <a:lnTo>
                    <a:pt x="2193532" y="198831"/>
                  </a:lnTo>
                  <a:lnTo>
                    <a:pt x="2193583" y="198831"/>
                  </a:lnTo>
                  <a:lnTo>
                    <a:pt x="2193583" y="199530"/>
                  </a:lnTo>
                  <a:lnTo>
                    <a:pt x="2193583" y="197447"/>
                  </a:lnTo>
                  <a:lnTo>
                    <a:pt x="2193583" y="198831"/>
                  </a:lnTo>
                  <a:lnTo>
                    <a:pt x="2193684" y="199530"/>
                  </a:lnTo>
                  <a:lnTo>
                    <a:pt x="2193684" y="198831"/>
                  </a:lnTo>
                  <a:lnTo>
                    <a:pt x="2193684" y="199530"/>
                  </a:lnTo>
                  <a:lnTo>
                    <a:pt x="2193684" y="198831"/>
                  </a:lnTo>
                  <a:lnTo>
                    <a:pt x="2193684" y="199530"/>
                  </a:lnTo>
                  <a:lnTo>
                    <a:pt x="2193735" y="199530"/>
                  </a:lnTo>
                  <a:lnTo>
                    <a:pt x="2193735" y="200228"/>
                  </a:lnTo>
                  <a:lnTo>
                    <a:pt x="2193735" y="199530"/>
                  </a:lnTo>
                  <a:lnTo>
                    <a:pt x="2193786" y="199530"/>
                  </a:lnTo>
                  <a:lnTo>
                    <a:pt x="2193786" y="200228"/>
                  </a:lnTo>
                  <a:lnTo>
                    <a:pt x="2193786" y="199530"/>
                  </a:lnTo>
                  <a:lnTo>
                    <a:pt x="2193786" y="200228"/>
                  </a:lnTo>
                  <a:lnTo>
                    <a:pt x="2193786" y="199530"/>
                  </a:lnTo>
                  <a:lnTo>
                    <a:pt x="2193786" y="200228"/>
                  </a:lnTo>
                  <a:lnTo>
                    <a:pt x="2193887" y="199530"/>
                  </a:lnTo>
                  <a:lnTo>
                    <a:pt x="2193925" y="199530"/>
                  </a:lnTo>
                  <a:lnTo>
                    <a:pt x="2193925" y="197447"/>
                  </a:lnTo>
                  <a:lnTo>
                    <a:pt x="2193976" y="197447"/>
                  </a:lnTo>
                  <a:lnTo>
                    <a:pt x="2193976" y="196799"/>
                  </a:lnTo>
                  <a:lnTo>
                    <a:pt x="2193976" y="199530"/>
                  </a:lnTo>
                  <a:lnTo>
                    <a:pt x="2193976" y="197447"/>
                  </a:lnTo>
                  <a:lnTo>
                    <a:pt x="2194027" y="197447"/>
                  </a:lnTo>
                  <a:lnTo>
                    <a:pt x="2194027" y="196799"/>
                  </a:lnTo>
                  <a:lnTo>
                    <a:pt x="2194027" y="200228"/>
                  </a:lnTo>
                  <a:lnTo>
                    <a:pt x="2194027" y="198831"/>
                  </a:lnTo>
                  <a:lnTo>
                    <a:pt x="2194129" y="198831"/>
                  </a:lnTo>
                  <a:lnTo>
                    <a:pt x="2194129" y="197447"/>
                  </a:lnTo>
                  <a:lnTo>
                    <a:pt x="2194129" y="200228"/>
                  </a:lnTo>
                  <a:lnTo>
                    <a:pt x="2194129" y="198831"/>
                  </a:lnTo>
                  <a:lnTo>
                    <a:pt x="2194129" y="199530"/>
                  </a:lnTo>
                  <a:lnTo>
                    <a:pt x="2194180" y="199530"/>
                  </a:lnTo>
                  <a:lnTo>
                    <a:pt x="2194180" y="198831"/>
                  </a:lnTo>
                  <a:lnTo>
                    <a:pt x="2194180" y="200228"/>
                  </a:lnTo>
                  <a:lnTo>
                    <a:pt x="2194180" y="199530"/>
                  </a:lnTo>
                  <a:lnTo>
                    <a:pt x="2194180" y="200228"/>
                  </a:lnTo>
                  <a:lnTo>
                    <a:pt x="2194230" y="199530"/>
                  </a:lnTo>
                  <a:lnTo>
                    <a:pt x="2194230" y="200228"/>
                  </a:lnTo>
                  <a:lnTo>
                    <a:pt x="2194230" y="199530"/>
                  </a:lnTo>
                  <a:lnTo>
                    <a:pt x="2194230" y="200228"/>
                  </a:lnTo>
                  <a:lnTo>
                    <a:pt x="2194332" y="200876"/>
                  </a:lnTo>
                  <a:lnTo>
                    <a:pt x="2194332" y="199530"/>
                  </a:lnTo>
                  <a:lnTo>
                    <a:pt x="2194332" y="200228"/>
                  </a:lnTo>
                  <a:lnTo>
                    <a:pt x="2194383" y="200228"/>
                  </a:lnTo>
                  <a:lnTo>
                    <a:pt x="2194383" y="198831"/>
                  </a:lnTo>
                  <a:lnTo>
                    <a:pt x="2194383" y="199530"/>
                  </a:lnTo>
                  <a:lnTo>
                    <a:pt x="2194383" y="198831"/>
                  </a:lnTo>
                  <a:lnTo>
                    <a:pt x="2194434" y="198831"/>
                  </a:lnTo>
                  <a:lnTo>
                    <a:pt x="2194434" y="199530"/>
                  </a:lnTo>
                  <a:lnTo>
                    <a:pt x="2194434" y="196799"/>
                  </a:lnTo>
                  <a:lnTo>
                    <a:pt x="2194472" y="196799"/>
                  </a:lnTo>
                  <a:lnTo>
                    <a:pt x="2194472" y="196113"/>
                  </a:lnTo>
                  <a:lnTo>
                    <a:pt x="2194472" y="197447"/>
                  </a:lnTo>
                  <a:lnTo>
                    <a:pt x="2194472" y="196113"/>
                  </a:lnTo>
                  <a:lnTo>
                    <a:pt x="2194573" y="196113"/>
                  </a:lnTo>
                  <a:lnTo>
                    <a:pt x="2194573" y="199530"/>
                  </a:lnTo>
                  <a:lnTo>
                    <a:pt x="2194573" y="197447"/>
                  </a:lnTo>
                  <a:lnTo>
                    <a:pt x="2194624" y="197447"/>
                  </a:lnTo>
                  <a:lnTo>
                    <a:pt x="2194624" y="196799"/>
                  </a:lnTo>
                  <a:lnTo>
                    <a:pt x="2194624" y="198831"/>
                  </a:lnTo>
                  <a:lnTo>
                    <a:pt x="2194624" y="197447"/>
                  </a:lnTo>
                  <a:lnTo>
                    <a:pt x="2194624" y="199530"/>
                  </a:lnTo>
                  <a:lnTo>
                    <a:pt x="2194624" y="198831"/>
                  </a:lnTo>
                  <a:lnTo>
                    <a:pt x="2194675" y="198831"/>
                  </a:lnTo>
                  <a:lnTo>
                    <a:pt x="2194675" y="199530"/>
                  </a:lnTo>
                  <a:lnTo>
                    <a:pt x="2194776" y="199530"/>
                  </a:lnTo>
                  <a:lnTo>
                    <a:pt x="2194776" y="200228"/>
                  </a:lnTo>
                  <a:lnTo>
                    <a:pt x="2194776" y="199530"/>
                  </a:lnTo>
                  <a:lnTo>
                    <a:pt x="2194776" y="200228"/>
                  </a:lnTo>
                  <a:lnTo>
                    <a:pt x="2194776" y="199530"/>
                  </a:lnTo>
                  <a:lnTo>
                    <a:pt x="2194776" y="200228"/>
                  </a:lnTo>
                  <a:lnTo>
                    <a:pt x="2194827" y="200228"/>
                  </a:lnTo>
                  <a:lnTo>
                    <a:pt x="2194827" y="199530"/>
                  </a:lnTo>
                  <a:lnTo>
                    <a:pt x="2194827" y="200876"/>
                  </a:lnTo>
                  <a:lnTo>
                    <a:pt x="2194827" y="199530"/>
                  </a:lnTo>
                  <a:lnTo>
                    <a:pt x="2194827" y="200228"/>
                  </a:lnTo>
                  <a:lnTo>
                    <a:pt x="2194878" y="200228"/>
                  </a:lnTo>
                  <a:lnTo>
                    <a:pt x="2194878" y="199530"/>
                  </a:lnTo>
                  <a:lnTo>
                    <a:pt x="2194878" y="200228"/>
                  </a:lnTo>
                  <a:lnTo>
                    <a:pt x="2194878" y="199530"/>
                  </a:lnTo>
                  <a:lnTo>
                    <a:pt x="2194878" y="200228"/>
                  </a:lnTo>
                  <a:lnTo>
                    <a:pt x="2194878" y="199530"/>
                  </a:lnTo>
                  <a:lnTo>
                    <a:pt x="2194929" y="198831"/>
                  </a:lnTo>
                  <a:lnTo>
                    <a:pt x="2194929" y="197447"/>
                  </a:lnTo>
                  <a:lnTo>
                    <a:pt x="2195018" y="197447"/>
                  </a:lnTo>
                  <a:lnTo>
                    <a:pt x="2195018" y="196799"/>
                  </a:lnTo>
                  <a:lnTo>
                    <a:pt x="2195018" y="197447"/>
                  </a:lnTo>
                  <a:lnTo>
                    <a:pt x="2195018" y="196799"/>
                  </a:lnTo>
                  <a:lnTo>
                    <a:pt x="2195069" y="196799"/>
                  </a:lnTo>
                  <a:lnTo>
                    <a:pt x="2195069" y="196113"/>
                  </a:lnTo>
                  <a:lnTo>
                    <a:pt x="2195069" y="198831"/>
                  </a:lnTo>
                  <a:lnTo>
                    <a:pt x="2195069" y="197447"/>
                  </a:lnTo>
                  <a:lnTo>
                    <a:pt x="2195069" y="198831"/>
                  </a:lnTo>
                  <a:lnTo>
                    <a:pt x="2195069" y="196799"/>
                  </a:lnTo>
                  <a:lnTo>
                    <a:pt x="2195119" y="196799"/>
                  </a:lnTo>
                  <a:lnTo>
                    <a:pt x="2195119" y="196113"/>
                  </a:lnTo>
                  <a:lnTo>
                    <a:pt x="2195119" y="197447"/>
                  </a:lnTo>
                  <a:lnTo>
                    <a:pt x="2195170" y="197447"/>
                  </a:lnTo>
                  <a:lnTo>
                    <a:pt x="2195170" y="198831"/>
                  </a:lnTo>
                  <a:lnTo>
                    <a:pt x="2195170" y="197447"/>
                  </a:lnTo>
                  <a:lnTo>
                    <a:pt x="2195170" y="198831"/>
                  </a:lnTo>
                  <a:lnTo>
                    <a:pt x="2195272" y="198831"/>
                  </a:lnTo>
                  <a:lnTo>
                    <a:pt x="2195272" y="199530"/>
                  </a:lnTo>
                  <a:lnTo>
                    <a:pt x="2195272" y="198831"/>
                  </a:lnTo>
                  <a:lnTo>
                    <a:pt x="2195272" y="199530"/>
                  </a:lnTo>
                  <a:lnTo>
                    <a:pt x="2195272" y="198831"/>
                  </a:lnTo>
                  <a:lnTo>
                    <a:pt x="2195272" y="199530"/>
                  </a:lnTo>
                  <a:lnTo>
                    <a:pt x="2195272" y="198831"/>
                  </a:lnTo>
                  <a:lnTo>
                    <a:pt x="2195272" y="199530"/>
                  </a:lnTo>
                  <a:lnTo>
                    <a:pt x="2195272" y="198831"/>
                  </a:lnTo>
                  <a:lnTo>
                    <a:pt x="2195322" y="198831"/>
                  </a:lnTo>
                  <a:lnTo>
                    <a:pt x="2195322" y="199530"/>
                  </a:lnTo>
                  <a:lnTo>
                    <a:pt x="2195322" y="198831"/>
                  </a:lnTo>
                  <a:lnTo>
                    <a:pt x="2195322" y="199530"/>
                  </a:lnTo>
                  <a:lnTo>
                    <a:pt x="2195322" y="198831"/>
                  </a:lnTo>
                  <a:lnTo>
                    <a:pt x="2195322" y="200228"/>
                  </a:lnTo>
                  <a:lnTo>
                    <a:pt x="2195373" y="199530"/>
                  </a:lnTo>
                  <a:lnTo>
                    <a:pt x="2195373" y="198831"/>
                  </a:lnTo>
                  <a:lnTo>
                    <a:pt x="2195373" y="199530"/>
                  </a:lnTo>
                  <a:lnTo>
                    <a:pt x="2195475" y="198831"/>
                  </a:lnTo>
                  <a:lnTo>
                    <a:pt x="2195475" y="196799"/>
                  </a:lnTo>
                  <a:lnTo>
                    <a:pt x="2195513" y="197447"/>
                  </a:lnTo>
                  <a:lnTo>
                    <a:pt x="2195513" y="198831"/>
                  </a:lnTo>
                  <a:lnTo>
                    <a:pt x="2195513" y="196799"/>
                  </a:lnTo>
                  <a:lnTo>
                    <a:pt x="2195513" y="197447"/>
                  </a:lnTo>
                  <a:lnTo>
                    <a:pt x="2195564" y="198831"/>
                  </a:lnTo>
                  <a:lnTo>
                    <a:pt x="2195564" y="200228"/>
                  </a:lnTo>
                  <a:lnTo>
                    <a:pt x="2195564" y="197447"/>
                  </a:lnTo>
                  <a:lnTo>
                    <a:pt x="2195564" y="199530"/>
                  </a:lnTo>
                  <a:lnTo>
                    <a:pt x="2195615" y="199530"/>
                  </a:lnTo>
                  <a:lnTo>
                    <a:pt x="2195615" y="200228"/>
                  </a:lnTo>
                  <a:lnTo>
                    <a:pt x="2195615" y="198831"/>
                  </a:lnTo>
                  <a:lnTo>
                    <a:pt x="2195615" y="199530"/>
                  </a:lnTo>
                  <a:lnTo>
                    <a:pt x="2195615" y="198831"/>
                  </a:lnTo>
                  <a:lnTo>
                    <a:pt x="2195615" y="199530"/>
                  </a:lnTo>
                  <a:lnTo>
                    <a:pt x="2195716" y="199530"/>
                  </a:lnTo>
                  <a:lnTo>
                    <a:pt x="2195716" y="200228"/>
                  </a:lnTo>
                  <a:lnTo>
                    <a:pt x="2195716" y="199530"/>
                  </a:lnTo>
                  <a:lnTo>
                    <a:pt x="2195716" y="200228"/>
                  </a:lnTo>
                  <a:lnTo>
                    <a:pt x="2195716" y="199530"/>
                  </a:lnTo>
                  <a:lnTo>
                    <a:pt x="2195716" y="200228"/>
                  </a:lnTo>
                  <a:lnTo>
                    <a:pt x="2195716" y="199530"/>
                  </a:lnTo>
                  <a:lnTo>
                    <a:pt x="2195767" y="199530"/>
                  </a:lnTo>
                  <a:lnTo>
                    <a:pt x="2195767" y="200228"/>
                  </a:lnTo>
                  <a:lnTo>
                    <a:pt x="2195767" y="199530"/>
                  </a:lnTo>
                  <a:lnTo>
                    <a:pt x="2195767" y="200228"/>
                  </a:lnTo>
                  <a:lnTo>
                    <a:pt x="2195767" y="199530"/>
                  </a:lnTo>
                  <a:lnTo>
                    <a:pt x="2195818" y="199530"/>
                  </a:lnTo>
                  <a:lnTo>
                    <a:pt x="2195818" y="200228"/>
                  </a:lnTo>
                  <a:lnTo>
                    <a:pt x="2195818" y="199530"/>
                  </a:lnTo>
                  <a:lnTo>
                    <a:pt x="2195818" y="200228"/>
                  </a:lnTo>
                  <a:lnTo>
                    <a:pt x="2195919" y="200228"/>
                  </a:lnTo>
                  <a:lnTo>
                    <a:pt x="2195919" y="198831"/>
                  </a:lnTo>
                  <a:lnTo>
                    <a:pt x="2195919" y="199530"/>
                  </a:lnTo>
                  <a:lnTo>
                    <a:pt x="2195970" y="198831"/>
                  </a:lnTo>
                  <a:lnTo>
                    <a:pt x="2195970" y="197447"/>
                  </a:lnTo>
                  <a:lnTo>
                    <a:pt x="2195970" y="198831"/>
                  </a:lnTo>
                  <a:lnTo>
                    <a:pt x="2195970" y="196799"/>
                  </a:lnTo>
                  <a:lnTo>
                    <a:pt x="2195970" y="197447"/>
                  </a:lnTo>
                  <a:lnTo>
                    <a:pt x="2195970" y="196799"/>
                  </a:lnTo>
                  <a:lnTo>
                    <a:pt x="2195970" y="197447"/>
                  </a:lnTo>
                  <a:lnTo>
                    <a:pt x="2196021" y="197447"/>
                  </a:lnTo>
                  <a:lnTo>
                    <a:pt x="2196021" y="198831"/>
                  </a:lnTo>
                  <a:lnTo>
                    <a:pt x="2196021" y="196799"/>
                  </a:lnTo>
                  <a:lnTo>
                    <a:pt x="2196021" y="199530"/>
                  </a:lnTo>
                  <a:lnTo>
                    <a:pt x="2196059" y="199530"/>
                  </a:lnTo>
                  <a:lnTo>
                    <a:pt x="2196059" y="198831"/>
                  </a:lnTo>
                  <a:lnTo>
                    <a:pt x="2196059" y="199530"/>
                  </a:lnTo>
                  <a:lnTo>
                    <a:pt x="2196161" y="200228"/>
                  </a:lnTo>
                  <a:lnTo>
                    <a:pt x="2196161" y="199530"/>
                  </a:lnTo>
                  <a:lnTo>
                    <a:pt x="2196161" y="200228"/>
                  </a:lnTo>
                  <a:lnTo>
                    <a:pt x="2196212" y="199530"/>
                  </a:lnTo>
                  <a:lnTo>
                    <a:pt x="2196212" y="200228"/>
                  </a:lnTo>
                  <a:lnTo>
                    <a:pt x="2196212" y="199530"/>
                  </a:lnTo>
                  <a:lnTo>
                    <a:pt x="2196212" y="200228"/>
                  </a:lnTo>
                  <a:lnTo>
                    <a:pt x="2196212" y="199530"/>
                  </a:lnTo>
                  <a:lnTo>
                    <a:pt x="2196212" y="200228"/>
                  </a:lnTo>
                  <a:lnTo>
                    <a:pt x="2196212" y="199530"/>
                  </a:lnTo>
                  <a:lnTo>
                    <a:pt x="2196262" y="199530"/>
                  </a:lnTo>
                  <a:lnTo>
                    <a:pt x="2196262" y="200228"/>
                  </a:lnTo>
                  <a:lnTo>
                    <a:pt x="2196262" y="199530"/>
                  </a:lnTo>
                  <a:lnTo>
                    <a:pt x="2196262" y="200228"/>
                  </a:lnTo>
                  <a:lnTo>
                    <a:pt x="2196262" y="199530"/>
                  </a:lnTo>
                  <a:lnTo>
                    <a:pt x="2196364" y="199530"/>
                  </a:lnTo>
                  <a:lnTo>
                    <a:pt x="2196364" y="200228"/>
                  </a:lnTo>
                  <a:lnTo>
                    <a:pt x="2196364" y="199530"/>
                  </a:lnTo>
                  <a:lnTo>
                    <a:pt x="2196364" y="200228"/>
                  </a:lnTo>
                  <a:lnTo>
                    <a:pt x="2196364" y="198831"/>
                  </a:lnTo>
                  <a:lnTo>
                    <a:pt x="2196364" y="199530"/>
                  </a:lnTo>
                  <a:lnTo>
                    <a:pt x="2196415" y="199530"/>
                  </a:lnTo>
                  <a:lnTo>
                    <a:pt x="2196415" y="196799"/>
                  </a:lnTo>
                  <a:lnTo>
                    <a:pt x="2196465" y="197447"/>
                  </a:lnTo>
                  <a:lnTo>
                    <a:pt x="2196465" y="196799"/>
                  </a:lnTo>
                  <a:lnTo>
                    <a:pt x="2196465" y="197447"/>
                  </a:lnTo>
                  <a:lnTo>
                    <a:pt x="2196465" y="196113"/>
                  </a:lnTo>
                  <a:lnTo>
                    <a:pt x="2196465" y="196799"/>
                  </a:lnTo>
                  <a:lnTo>
                    <a:pt x="2196516" y="197447"/>
                  </a:lnTo>
                  <a:lnTo>
                    <a:pt x="2196516" y="196113"/>
                  </a:lnTo>
                  <a:lnTo>
                    <a:pt x="2196516" y="199530"/>
                  </a:lnTo>
                  <a:lnTo>
                    <a:pt x="2196516" y="198831"/>
                  </a:lnTo>
                  <a:lnTo>
                    <a:pt x="2196605" y="198831"/>
                  </a:lnTo>
                  <a:lnTo>
                    <a:pt x="2196605" y="197447"/>
                  </a:lnTo>
                  <a:lnTo>
                    <a:pt x="2196605" y="200228"/>
                  </a:lnTo>
                  <a:lnTo>
                    <a:pt x="2196605" y="199530"/>
                  </a:lnTo>
                  <a:lnTo>
                    <a:pt x="2196656" y="199530"/>
                  </a:lnTo>
                  <a:lnTo>
                    <a:pt x="2196656" y="200228"/>
                  </a:lnTo>
                  <a:lnTo>
                    <a:pt x="2196656" y="199530"/>
                  </a:lnTo>
                  <a:lnTo>
                    <a:pt x="2196656" y="200228"/>
                  </a:lnTo>
                  <a:lnTo>
                    <a:pt x="2196656" y="199530"/>
                  </a:lnTo>
                  <a:lnTo>
                    <a:pt x="2196656" y="200228"/>
                  </a:lnTo>
                  <a:lnTo>
                    <a:pt x="2196656" y="199530"/>
                  </a:lnTo>
                  <a:lnTo>
                    <a:pt x="2196707" y="199530"/>
                  </a:lnTo>
                  <a:lnTo>
                    <a:pt x="2196707" y="200228"/>
                  </a:lnTo>
                  <a:lnTo>
                    <a:pt x="2196758" y="200228"/>
                  </a:lnTo>
                  <a:lnTo>
                    <a:pt x="2196758" y="199530"/>
                  </a:lnTo>
                  <a:lnTo>
                    <a:pt x="2196758" y="200228"/>
                  </a:lnTo>
                  <a:lnTo>
                    <a:pt x="2196758" y="199530"/>
                  </a:lnTo>
                  <a:lnTo>
                    <a:pt x="2196758" y="200228"/>
                  </a:lnTo>
                  <a:lnTo>
                    <a:pt x="2196758" y="199530"/>
                  </a:lnTo>
                  <a:lnTo>
                    <a:pt x="2196859" y="199530"/>
                  </a:lnTo>
                  <a:lnTo>
                    <a:pt x="2196859" y="200228"/>
                  </a:lnTo>
                  <a:lnTo>
                    <a:pt x="2196859" y="199530"/>
                  </a:lnTo>
                  <a:lnTo>
                    <a:pt x="2196859" y="200228"/>
                  </a:lnTo>
                  <a:lnTo>
                    <a:pt x="2196859" y="199530"/>
                  </a:lnTo>
                  <a:lnTo>
                    <a:pt x="2196859" y="200228"/>
                  </a:lnTo>
                  <a:lnTo>
                    <a:pt x="2196859" y="199530"/>
                  </a:lnTo>
                  <a:lnTo>
                    <a:pt x="2196859" y="200228"/>
                  </a:lnTo>
                  <a:lnTo>
                    <a:pt x="2196859" y="199530"/>
                  </a:lnTo>
                  <a:lnTo>
                    <a:pt x="2196910" y="199530"/>
                  </a:lnTo>
                  <a:lnTo>
                    <a:pt x="2196910" y="198831"/>
                  </a:lnTo>
                  <a:lnTo>
                    <a:pt x="2196961" y="197447"/>
                  </a:lnTo>
                  <a:lnTo>
                    <a:pt x="2196961" y="196113"/>
                  </a:lnTo>
                  <a:lnTo>
                    <a:pt x="2196961" y="197447"/>
                  </a:lnTo>
                  <a:lnTo>
                    <a:pt x="2197062" y="196799"/>
                  </a:lnTo>
                  <a:lnTo>
                    <a:pt x="2197062" y="196113"/>
                  </a:lnTo>
                  <a:lnTo>
                    <a:pt x="2197062" y="199530"/>
                  </a:lnTo>
                  <a:lnTo>
                    <a:pt x="2197062" y="197447"/>
                  </a:lnTo>
                  <a:lnTo>
                    <a:pt x="2197100" y="197447"/>
                  </a:lnTo>
                  <a:lnTo>
                    <a:pt x="2197100" y="199530"/>
                  </a:lnTo>
                  <a:lnTo>
                    <a:pt x="2197100" y="198831"/>
                  </a:lnTo>
                  <a:lnTo>
                    <a:pt x="2197151" y="199530"/>
                  </a:lnTo>
                  <a:lnTo>
                    <a:pt x="2197151" y="198831"/>
                  </a:lnTo>
                  <a:lnTo>
                    <a:pt x="2197151" y="199530"/>
                  </a:lnTo>
                  <a:lnTo>
                    <a:pt x="2197151" y="198831"/>
                  </a:lnTo>
                  <a:lnTo>
                    <a:pt x="2197151" y="199530"/>
                  </a:lnTo>
                  <a:lnTo>
                    <a:pt x="2197202" y="199530"/>
                  </a:lnTo>
                  <a:lnTo>
                    <a:pt x="2197202" y="200228"/>
                  </a:lnTo>
                  <a:lnTo>
                    <a:pt x="2197202" y="199530"/>
                  </a:lnTo>
                  <a:lnTo>
                    <a:pt x="2197202" y="200228"/>
                  </a:lnTo>
                  <a:lnTo>
                    <a:pt x="2197202" y="199530"/>
                  </a:lnTo>
                  <a:lnTo>
                    <a:pt x="2197304" y="199530"/>
                  </a:lnTo>
                  <a:lnTo>
                    <a:pt x="2197304" y="200228"/>
                  </a:lnTo>
                  <a:lnTo>
                    <a:pt x="2197304" y="199530"/>
                  </a:lnTo>
                  <a:lnTo>
                    <a:pt x="2197355" y="199530"/>
                  </a:lnTo>
                  <a:lnTo>
                    <a:pt x="2197355" y="200228"/>
                  </a:lnTo>
                  <a:lnTo>
                    <a:pt x="2197355" y="199530"/>
                  </a:lnTo>
                  <a:lnTo>
                    <a:pt x="2197355" y="200228"/>
                  </a:lnTo>
                  <a:lnTo>
                    <a:pt x="2197355" y="199530"/>
                  </a:lnTo>
                  <a:lnTo>
                    <a:pt x="2197355" y="200228"/>
                  </a:lnTo>
                  <a:lnTo>
                    <a:pt x="2197355" y="199530"/>
                  </a:lnTo>
                  <a:lnTo>
                    <a:pt x="2197355" y="200228"/>
                  </a:lnTo>
                  <a:lnTo>
                    <a:pt x="2197355" y="199530"/>
                  </a:lnTo>
                  <a:lnTo>
                    <a:pt x="2197355" y="200228"/>
                  </a:lnTo>
                  <a:lnTo>
                    <a:pt x="2197355" y="199530"/>
                  </a:lnTo>
                  <a:lnTo>
                    <a:pt x="2197355" y="200228"/>
                  </a:lnTo>
                  <a:lnTo>
                    <a:pt x="2197355" y="199530"/>
                  </a:lnTo>
                  <a:lnTo>
                    <a:pt x="2197355" y="200228"/>
                  </a:lnTo>
                  <a:lnTo>
                    <a:pt x="2197355" y="199530"/>
                  </a:lnTo>
                  <a:lnTo>
                    <a:pt x="2197405" y="199530"/>
                  </a:lnTo>
                  <a:lnTo>
                    <a:pt x="2197405" y="196799"/>
                  </a:lnTo>
                  <a:lnTo>
                    <a:pt x="2197405" y="197447"/>
                  </a:lnTo>
                  <a:lnTo>
                    <a:pt x="2197405" y="196799"/>
                  </a:lnTo>
                  <a:lnTo>
                    <a:pt x="2197507" y="196799"/>
                  </a:lnTo>
                  <a:lnTo>
                    <a:pt x="2197507" y="195415"/>
                  </a:lnTo>
                  <a:lnTo>
                    <a:pt x="2197507" y="197447"/>
                  </a:lnTo>
                  <a:lnTo>
                    <a:pt x="2197507" y="196799"/>
                  </a:lnTo>
                  <a:lnTo>
                    <a:pt x="2197558" y="196113"/>
                  </a:lnTo>
                  <a:lnTo>
                    <a:pt x="2197558" y="195415"/>
                  </a:lnTo>
                  <a:lnTo>
                    <a:pt x="2197558" y="198831"/>
                  </a:lnTo>
                  <a:lnTo>
                    <a:pt x="2197558" y="197447"/>
                  </a:lnTo>
                  <a:lnTo>
                    <a:pt x="2197609" y="197447"/>
                  </a:lnTo>
                  <a:lnTo>
                    <a:pt x="2197609" y="196799"/>
                  </a:lnTo>
                  <a:lnTo>
                    <a:pt x="2197609" y="199530"/>
                  </a:lnTo>
                  <a:lnTo>
                    <a:pt x="2197609" y="198831"/>
                  </a:lnTo>
                  <a:lnTo>
                    <a:pt x="2197647" y="197447"/>
                  </a:lnTo>
                  <a:lnTo>
                    <a:pt x="2197647" y="198831"/>
                  </a:lnTo>
                  <a:lnTo>
                    <a:pt x="2197748" y="198831"/>
                  </a:lnTo>
                  <a:lnTo>
                    <a:pt x="2197748" y="200228"/>
                  </a:lnTo>
                  <a:lnTo>
                    <a:pt x="2197748" y="199530"/>
                  </a:lnTo>
                  <a:lnTo>
                    <a:pt x="2197799" y="199530"/>
                  </a:lnTo>
                  <a:lnTo>
                    <a:pt x="2197799" y="198831"/>
                  </a:lnTo>
                  <a:lnTo>
                    <a:pt x="2197799" y="200228"/>
                  </a:lnTo>
                  <a:lnTo>
                    <a:pt x="2197850" y="200228"/>
                  </a:lnTo>
                  <a:lnTo>
                    <a:pt x="2197850" y="199530"/>
                  </a:lnTo>
                  <a:lnTo>
                    <a:pt x="2197850" y="200228"/>
                  </a:lnTo>
                  <a:lnTo>
                    <a:pt x="2197850" y="198831"/>
                  </a:lnTo>
                  <a:lnTo>
                    <a:pt x="2197850" y="199530"/>
                  </a:lnTo>
                  <a:lnTo>
                    <a:pt x="2197850" y="198831"/>
                  </a:lnTo>
                  <a:lnTo>
                    <a:pt x="2197850" y="199530"/>
                  </a:lnTo>
                  <a:lnTo>
                    <a:pt x="2197951" y="199530"/>
                  </a:lnTo>
                  <a:lnTo>
                    <a:pt x="2197951" y="197447"/>
                  </a:lnTo>
                  <a:lnTo>
                    <a:pt x="2197951" y="198831"/>
                  </a:lnTo>
                  <a:lnTo>
                    <a:pt x="2197951" y="197447"/>
                  </a:lnTo>
                  <a:lnTo>
                    <a:pt x="2197951" y="198831"/>
                  </a:lnTo>
                  <a:lnTo>
                    <a:pt x="2197951" y="196113"/>
                  </a:lnTo>
                  <a:lnTo>
                    <a:pt x="2198002" y="196113"/>
                  </a:lnTo>
                  <a:lnTo>
                    <a:pt x="2198002" y="196799"/>
                  </a:lnTo>
                  <a:lnTo>
                    <a:pt x="2198002" y="195415"/>
                  </a:lnTo>
                  <a:lnTo>
                    <a:pt x="2198053" y="195415"/>
                  </a:lnTo>
                  <a:lnTo>
                    <a:pt x="2198053" y="197447"/>
                  </a:lnTo>
                  <a:lnTo>
                    <a:pt x="2198053" y="196799"/>
                  </a:lnTo>
                  <a:lnTo>
                    <a:pt x="2198053" y="197447"/>
                  </a:lnTo>
                  <a:lnTo>
                    <a:pt x="2198053" y="196799"/>
                  </a:lnTo>
                  <a:lnTo>
                    <a:pt x="2198104" y="196799"/>
                  </a:lnTo>
                  <a:lnTo>
                    <a:pt x="2198104" y="198831"/>
                  </a:lnTo>
                  <a:lnTo>
                    <a:pt x="2198104" y="196799"/>
                  </a:lnTo>
                  <a:lnTo>
                    <a:pt x="2198104" y="197447"/>
                  </a:lnTo>
                  <a:lnTo>
                    <a:pt x="2198193" y="197447"/>
                  </a:lnTo>
                  <a:lnTo>
                    <a:pt x="2198193" y="198831"/>
                  </a:lnTo>
                  <a:lnTo>
                    <a:pt x="2198193" y="197447"/>
                  </a:lnTo>
                  <a:lnTo>
                    <a:pt x="2198244" y="197447"/>
                  </a:lnTo>
                  <a:lnTo>
                    <a:pt x="2198244" y="198831"/>
                  </a:lnTo>
                  <a:lnTo>
                    <a:pt x="2198244" y="197447"/>
                  </a:lnTo>
                  <a:lnTo>
                    <a:pt x="2198244" y="198831"/>
                  </a:lnTo>
                  <a:lnTo>
                    <a:pt x="2198294" y="199530"/>
                  </a:lnTo>
                  <a:lnTo>
                    <a:pt x="2198294" y="198831"/>
                  </a:lnTo>
                  <a:lnTo>
                    <a:pt x="2198294" y="199530"/>
                  </a:lnTo>
                  <a:lnTo>
                    <a:pt x="2198345" y="199530"/>
                  </a:lnTo>
                  <a:lnTo>
                    <a:pt x="2198345" y="198831"/>
                  </a:lnTo>
                  <a:lnTo>
                    <a:pt x="2198447" y="197447"/>
                  </a:lnTo>
                  <a:lnTo>
                    <a:pt x="2198447" y="198831"/>
                  </a:lnTo>
                  <a:lnTo>
                    <a:pt x="2198447" y="197447"/>
                  </a:lnTo>
                  <a:lnTo>
                    <a:pt x="2198447" y="198831"/>
                  </a:lnTo>
                  <a:lnTo>
                    <a:pt x="2198447" y="196799"/>
                  </a:lnTo>
                  <a:lnTo>
                    <a:pt x="2198447" y="198831"/>
                  </a:lnTo>
                  <a:lnTo>
                    <a:pt x="2198447" y="196113"/>
                  </a:lnTo>
                  <a:lnTo>
                    <a:pt x="2198497" y="196113"/>
                  </a:lnTo>
                  <a:lnTo>
                    <a:pt x="2198497" y="198831"/>
                  </a:lnTo>
                  <a:lnTo>
                    <a:pt x="2198497" y="196113"/>
                  </a:lnTo>
                  <a:lnTo>
                    <a:pt x="2198497" y="196799"/>
                  </a:lnTo>
                  <a:lnTo>
                    <a:pt x="2198548" y="197447"/>
                  </a:lnTo>
                  <a:lnTo>
                    <a:pt x="2198548" y="200228"/>
                  </a:lnTo>
                  <a:lnTo>
                    <a:pt x="2198548" y="197447"/>
                  </a:lnTo>
                  <a:lnTo>
                    <a:pt x="2198548" y="198831"/>
                  </a:lnTo>
                  <a:lnTo>
                    <a:pt x="2198650" y="199530"/>
                  </a:lnTo>
                  <a:lnTo>
                    <a:pt x="2198650" y="200228"/>
                  </a:lnTo>
                  <a:lnTo>
                    <a:pt x="2198650" y="198831"/>
                  </a:lnTo>
                  <a:lnTo>
                    <a:pt x="2198650" y="199530"/>
                  </a:lnTo>
                  <a:lnTo>
                    <a:pt x="2198688" y="199530"/>
                  </a:lnTo>
                  <a:lnTo>
                    <a:pt x="2198688" y="197447"/>
                  </a:lnTo>
                  <a:lnTo>
                    <a:pt x="2198688" y="199530"/>
                  </a:lnTo>
                  <a:lnTo>
                    <a:pt x="2198739" y="199530"/>
                  </a:lnTo>
                  <a:lnTo>
                    <a:pt x="2198739" y="200228"/>
                  </a:lnTo>
                  <a:lnTo>
                    <a:pt x="2198739" y="199530"/>
                  </a:lnTo>
                  <a:lnTo>
                    <a:pt x="2198739" y="200228"/>
                  </a:lnTo>
                  <a:lnTo>
                    <a:pt x="2198739" y="199530"/>
                  </a:lnTo>
                  <a:lnTo>
                    <a:pt x="2198790" y="199530"/>
                  </a:lnTo>
                  <a:lnTo>
                    <a:pt x="2198790" y="200228"/>
                  </a:lnTo>
                  <a:lnTo>
                    <a:pt x="2198790" y="199530"/>
                  </a:lnTo>
                  <a:lnTo>
                    <a:pt x="2198790" y="200228"/>
                  </a:lnTo>
                  <a:lnTo>
                    <a:pt x="2198891" y="200228"/>
                  </a:lnTo>
                  <a:lnTo>
                    <a:pt x="2198891" y="199530"/>
                  </a:lnTo>
                  <a:lnTo>
                    <a:pt x="2198891" y="200228"/>
                  </a:lnTo>
                  <a:lnTo>
                    <a:pt x="2198891" y="198831"/>
                  </a:lnTo>
                  <a:lnTo>
                    <a:pt x="2198942" y="198831"/>
                  </a:lnTo>
                  <a:lnTo>
                    <a:pt x="2198942" y="197447"/>
                  </a:lnTo>
                  <a:lnTo>
                    <a:pt x="2198942" y="199530"/>
                  </a:lnTo>
                  <a:lnTo>
                    <a:pt x="2198993" y="199530"/>
                  </a:lnTo>
                  <a:lnTo>
                    <a:pt x="2198993" y="198831"/>
                  </a:lnTo>
                  <a:lnTo>
                    <a:pt x="2198993" y="200876"/>
                  </a:lnTo>
                  <a:lnTo>
                    <a:pt x="2199094" y="200228"/>
                  </a:lnTo>
                  <a:lnTo>
                    <a:pt x="2199094" y="199530"/>
                  </a:lnTo>
                  <a:lnTo>
                    <a:pt x="2199094" y="200228"/>
                  </a:lnTo>
                  <a:lnTo>
                    <a:pt x="2199094" y="199530"/>
                  </a:lnTo>
                  <a:lnTo>
                    <a:pt x="2199094" y="200876"/>
                  </a:lnTo>
                  <a:lnTo>
                    <a:pt x="2199145" y="200228"/>
                  </a:lnTo>
                  <a:lnTo>
                    <a:pt x="2199145" y="200876"/>
                  </a:lnTo>
                  <a:lnTo>
                    <a:pt x="2199145" y="200228"/>
                  </a:lnTo>
                  <a:lnTo>
                    <a:pt x="2199196" y="200228"/>
                  </a:lnTo>
                  <a:lnTo>
                    <a:pt x="2199196" y="199530"/>
                  </a:lnTo>
                  <a:lnTo>
                    <a:pt x="2199196" y="200876"/>
                  </a:lnTo>
                  <a:lnTo>
                    <a:pt x="2199196" y="200228"/>
                  </a:lnTo>
                  <a:lnTo>
                    <a:pt x="2199234" y="200228"/>
                  </a:lnTo>
                  <a:lnTo>
                    <a:pt x="2199234" y="200876"/>
                  </a:lnTo>
                  <a:lnTo>
                    <a:pt x="2199234" y="200228"/>
                  </a:lnTo>
                  <a:lnTo>
                    <a:pt x="2199234" y="200876"/>
                  </a:lnTo>
                  <a:lnTo>
                    <a:pt x="2199234" y="200228"/>
                  </a:lnTo>
                  <a:lnTo>
                    <a:pt x="2199234" y="200876"/>
                  </a:lnTo>
                  <a:lnTo>
                    <a:pt x="2199234" y="200228"/>
                  </a:lnTo>
                  <a:lnTo>
                    <a:pt x="2199336" y="200228"/>
                  </a:lnTo>
                  <a:lnTo>
                    <a:pt x="2199336" y="199530"/>
                  </a:lnTo>
                  <a:lnTo>
                    <a:pt x="2199336" y="200228"/>
                  </a:lnTo>
                  <a:lnTo>
                    <a:pt x="2199336" y="199530"/>
                  </a:lnTo>
                  <a:lnTo>
                    <a:pt x="2199387" y="199530"/>
                  </a:lnTo>
                  <a:lnTo>
                    <a:pt x="2199387" y="196799"/>
                  </a:lnTo>
                  <a:lnTo>
                    <a:pt x="2199437" y="196799"/>
                  </a:lnTo>
                  <a:lnTo>
                    <a:pt x="2199437" y="197447"/>
                  </a:lnTo>
                  <a:lnTo>
                    <a:pt x="2199437" y="196113"/>
                  </a:lnTo>
                  <a:lnTo>
                    <a:pt x="2199437" y="196799"/>
                  </a:lnTo>
                  <a:lnTo>
                    <a:pt x="2199437" y="196113"/>
                  </a:lnTo>
                  <a:lnTo>
                    <a:pt x="2199437" y="197447"/>
                  </a:lnTo>
                  <a:lnTo>
                    <a:pt x="2199539" y="197447"/>
                  </a:lnTo>
                  <a:lnTo>
                    <a:pt x="2199539" y="196799"/>
                  </a:lnTo>
                  <a:lnTo>
                    <a:pt x="2199539" y="199530"/>
                  </a:lnTo>
                  <a:lnTo>
                    <a:pt x="2199590" y="198831"/>
                  </a:lnTo>
                  <a:lnTo>
                    <a:pt x="2199590" y="200228"/>
                  </a:lnTo>
                  <a:lnTo>
                    <a:pt x="2199590" y="199530"/>
                  </a:lnTo>
                  <a:lnTo>
                    <a:pt x="2199590" y="200228"/>
                  </a:lnTo>
                  <a:lnTo>
                    <a:pt x="2199590" y="199530"/>
                  </a:lnTo>
                  <a:lnTo>
                    <a:pt x="2199640" y="200228"/>
                  </a:lnTo>
                  <a:lnTo>
                    <a:pt x="2199640" y="199530"/>
                  </a:lnTo>
                  <a:lnTo>
                    <a:pt x="2199691" y="199530"/>
                  </a:lnTo>
                  <a:lnTo>
                    <a:pt x="2199691" y="200876"/>
                  </a:lnTo>
                  <a:lnTo>
                    <a:pt x="2199691" y="200228"/>
                  </a:lnTo>
                  <a:lnTo>
                    <a:pt x="2199780" y="200228"/>
                  </a:lnTo>
                  <a:lnTo>
                    <a:pt x="2199780" y="200876"/>
                  </a:lnTo>
                  <a:lnTo>
                    <a:pt x="2199780" y="200228"/>
                  </a:lnTo>
                  <a:lnTo>
                    <a:pt x="2199831" y="200228"/>
                  </a:lnTo>
                  <a:lnTo>
                    <a:pt x="2199831" y="199530"/>
                  </a:lnTo>
                  <a:lnTo>
                    <a:pt x="2199882" y="199530"/>
                  </a:lnTo>
                  <a:lnTo>
                    <a:pt x="2199882" y="196799"/>
                  </a:lnTo>
                  <a:lnTo>
                    <a:pt x="2199882" y="197447"/>
                  </a:lnTo>
                  <a:lnTo>
                    <a:pt x="2199933" y="197447"/>
                  </a:lnTo>
                  <a:lnTo>
                    <a:pt x="2199933" y="196799"/>
                  </a:lnTo>
                  <a:lnTo>
                    <a:pt x="2199933" y="197447"/>
                  </a:lnTo>
                  <a:lnTo>
                    <a:pt x="2199933" y="196799"/>
                  </a:lnTo>
                  <a:lnTo>
                    <a:pt x="2199933" y="198831"/>
                  </a:lnTo>
                  <a:lnTo>
                    <a:pt x="2199933" y="197447"/>
                  </a:lnTo>
                  <a:lnTo>
                    <a:pt x="2200034" y="197447"/>
                  </a:lnTo>
                  <a:lnTo>
                    <a:pt x="2200034" y="200228"/>
                  </a:lnTo>
                  <a:lnTo>
                    <a:pt x="2200034" y="199530"/>
                  </a:lnTo>
                  <a:lnTo>
                    <a:pt x="2200034" y="200228"/>
                  </a:lnTo>
                  <a:lnTo>
                    <a:pt x="2200034" y="199530"/>
                  </a:lnTo>
                  <a:lnTo>
                    <a:pt x="2200085" y="199530"/>
                  </a:lnTo>
                  <a:lnTo>
                    <a:pt x="2200085" y="200228"/>
                  </a:lnTo>
                  <a:lnTo>
                    <a:pt x="2200085" y="199530"/>
                  </a:lnTo>
                  <a:lnTo>
                    <a:pt x="2200085" y="200228"/>
                  </a:lnTo>
                  <a:lnTo>
                    <a:pt x="2200085" y="199530"/>
                  </a:lnTo>
                  <a:lnTo>
                    <a:pt x="2200085" y="200228"/>
                  </a:lnTo>
                  <a:lnTo>
                    <a:pt x="2200136" y="200228"/>
                  </a:lnTo>
                  <a:lnTo>
                    <a:pt x="2200136" y="199530"/>
                  </a:lnTo>
                  <a:lnTo>
                    <a:pt x="2200136" y="200228"/>
                  </a:lnTo>
                  <a:lnTo>
                    <a:pt x="2200136" y="199530"/>
                  </a:lnTo>
                  <a:lnTo>
                    <a:pt x="2200136" y="200228"/>
                  </a:lnTo>
                  <a:lnTo>
                    <a:pt x="2200237" y="200228"/>
                  </a:lnTo>
                  <a:lnTo>
                    <a:pt x="2200237" y="200876"/>
                  </a:lnTo>
                  <a:lnTo>
                    <a:pt x="2200237" y="200228"/>
                  </a:lnTo>
                  <a:lnTo>
                    <a:pt x="2200237" y="200876"/>
                  </a:lnTo>
                  <a:lnTo>
                    <a:pt x="2200275" y="200876"/>
                  </a:lnTo>
                  <a:lnTo>
                    <a:pt x="2200275" y="200228"/>
                  </a:lnTo>
                  <a:lnTo>
                    <a:pt x="2200275" y="200876"/>
                  </a:lnTo>
                  <a:lnTo>
                    <a:pt x="2200275" y="200228"/>
                  </a:lnTo>
                  <a:lnTo>
                    <a:pt x="2200326" y="200228"/>
                  </a:lnTo>
                  <a:lnTo>
                    <a:pt x="2200326" y="200876"/>
                  </a:lnTo>
                  <a:lnTo>
                    <a:pt x="2200326" y="199530"/>
                  </a:lnTo>
                  <a:lnTo>
                    <a:pt x="2200326" y="200228"/>
                  </a:lnTo>
                  <a:lnTo>
                    <a:pt x="2200326" y="199530"/>
                  </a:lnTo>
                  <a:lnTo>
                    <a:pt x="2200326" y="200228"/>
                  </a:lnTo>
                  <a:lnTo>
                    <a:pt x="2200326" y="198831"/>
                  </a:lnTo>
                  <a:lnTo>
                    <a:pt x="2200326" y="199530"/>
                  </a:lnTo>
                  <a:lnTo>
                    <a:pt x="2200326" y="198831"/>
                  </a:lnTo>
                  <a:lnTo>
                    <a:pt x="2200377" y="198831"/>
                  </a:lnTo>
                  <a:lnTo>
                    <a:pt x="2200377" y="196113"/>
                  </a:lnTo>
                  <a:lnTo>
                    <a:pt x="2200377" y="196799"/>
                  </a:lnTo>
                  <a:lnTo>
                    <a:pt x="2200479" y="196799"/>
                  </a:lnTo>
                  <a:lnTo>
                    <a:pt x="2200479" y="195415"/>
                  </a:lnTo>
                  <a:lnTo>
                    <a:pt x="2200479" y="197447"/>
                  </a:lnTo>
                  <a:lnTo>
                    <a:pt x="2200479" y="196113"/>
                  </a:lnTo>
                  <a:lnTo>
                    <a:pt x="2200479" y="196799"/>
                  </a:lnTo>
                  <a:lnTo>
                    <a:pt x="2200530" y="196113"/>
                  </a:lnTo>
                  <a:lnTo>
                    <a:pt x="2200530" y="198831"/>
                  </a:lnTo>
                  <a:lnTo>
                    <a:pt x="2200530" y="197447"/>
                  </a:lnTo>
                  <a:lnTo>
                    <a:pt x="2200530" y="198831"/>
                  </a:lnTo>
                  <a:lnTo>
                    <a:pt x="2200580" y="198831"/>
                  </a:lnTo>
                  <a:lnTo>
                    <a:pt x="2200580" y="199530"/>
                  </a:lnTo>
                  <a:lnTo>
                    <a:pt x="2200580" y="197447"/>
                  </a:lnTo>
                  <a:lnTo>
                    <a:pt x="2200580" y="199530"/>
                  </a:lnTo>
                  <a:lnTo>
                    <a:pt x="2200682" y="199530"/>
                  </a:lnTo>
                  <a:lnTo>
                    <a:pt x="2200682" y="200228"/>
                  </a:lnTo>
                  <a:lnTo>
                    <a:pt x="2200682" y="198831"/>
                  </a:lnTo>
                  <a:lnTo>
                    <a:pt x="2200682" y="200228"/>
                  </a:lnTo>
                  <a:lnTo>
                    <a:pt x="2200733" y="200228"/>
                  </a:lnTo>
                  <a:lnTo>
                    <a:pt x="2200733" y="199530"/>
                  </a:lnTo>
                  <a:lnTo>
                    <a:pt x="2200733" y="200876"/>
                  </a:lnTo>
                  <a:lnTo>
                    <a:pt x="2200733" y="200228"/>
                  </a:lnTo>
                  <a:lnTo>
                    <a:pt x="2200733" y="200876"/>
                  </a:lnTo>
                  <a:lnTo>
                    <a:pt x="2200733" y="200228"/>
                  </a:lnTo>
                  <a:lnTo>
                    <a:pt x="2200733" y="200876"/>
                  </a:lnTo>
                  <a:lnTo>
                    <a:pt x="2200784" y="200876"/>
                  </a:lnTo>
                  <a:lnTo>
                    <a:pt x="2200784" y="202260"/>
                  </a:lnTo>
                  <a:lnTo>
                    <a:pt x="2200784" y="200228"/>
                  </a:lnTo>
                  <a:lnTo>
                    <a:pt x="2200784" y="200876"/>
                  </a:lnTo>
                  <a:lnTo>
                    <a:pt x="2200784" y="200228"/>
                  </a:lnTo>
                  <a:lnTo>
                    <a:pt x="2200784" y="200876"/>
                  </a:lnTo>
                  <a:lnTo>
                    <a:pt x="2200822" y="200876"/>
                  </a:lnTo>
                  <a:lnTo>
                    <a:pt x="2200822" y="199530"/>
                  </a:lnTo>
                  <a:lnTo>
                    <a:pt x="2200923" y="199530"/>
                  </a:lnTo>
                  <a:lnTo>
                    <a:pt x="2200923" y="197447"/>
                  </a:lnTo>
                  <a:lnTo>
                    <a:pt x="2200923" y="198831"/>
                  </a:lnTo>
                  <a:lnTo>
                    <a:pt x="2200923" y="197447"/>
                  </a:lnTo>
                  <a:lnTo>
                    <a:pt x="2200974" y="197447"/>
                  </a:lnTo>
                  <a:lnTo>
                    <a:pt x="2200974" y="198831"/>
                  </a:lnTo>
                  <a:lnTo>
                    <a:pt x="2200974" y="197447"/>
                  </a:lnTo>
                  <a:lnTo>
                    <a:pt x="2200974" y="200228"/>
                  </a:lnTo>
                  <a:lnTo>
                    <a:pt x="2201025" y="200228"/>
                  </a:lnTo>
                  <a:lnTo>
                    <a:pt x="2201025" y="197447"/>
                  </a:lnTo>
                  <a:lnTo>
                    <a:pt x="2201025" y="199530"/>
                  </a:lnTo>
                  <a:lnTo>
                    <a:pt x="2201126" y="199530"/>
                  </a:lnTo>
                  <a:lnTo>
                    <a:pt x="2201126" y="198831"/>
                  </a:lnTo>
                  <a:lnTo>
                    <a:pt x="2201126" y="199530"/>
                  </a:lnTo>
                  <a:lnTo>
                    <a:pt x="2201177" y="199530"/>
                  </a:lnTo>
                  <a:lnTo>
                    <a:pt x="2201177" y="198831"/>
                  </a:lnTo>
                  <a:lnTo>
                    <a:pt x="2201177" y="199530"/>
                  </a:lnTo>
                  <a:lnTo>
                    <a:pt x="2201177" y="198831"/>
                  </a:lnTo>
                  <a:lnTo>
                    <a:pt x="2201177" y="199530"/>
                  </a:lnTo>
                  <a:lnTo>
                    <a:pt x="2201228" y="199530"/>
                  </a:lnTo>
                  <a:lnTo>
                    <a:pt x="2201228" y="200228"/>
                  </a:lnTo>
                  <a:lnTo>
                    <a:pt x="2201228" y="199530"/>
                  </a:lnTo>
                  <a:lnTo>
                    <a:pt x="2201228" y="200228"/>
                  </a:lnTo>
                  <a:lnTo>
                    <a:pt x="2201279" y="200228"/>
                  </a:lnTo>
                  <a:lnTo>
                    <a:pt x="2201279" y="199530"/>
                  </a:lnTo>
                  <a:lnTo>
                    <a:pt x="2201279" y="200228"/>
                  </a:lnTo>
                  <a:lnTo>
                    <a:pt x="2201279" y="198831"/>
                  </a:lnTo>
                  <a:lnTo>
                    <a:pt x="2201279" y="199530"/>
                  </a:lnTo>
                  <a:lnTo>
                    <a:pt x="2201368" y="199530"/>
                  </a:lnTo>
                  <a:lnTo>
                    <a:pt x="2201368" y="198831"/>
                  </a:lnTo>
                  <a:lnTo>
                    <a:pt x="2201368" y="199530"/>
                  </a:lnTo>
                  <a:lnTo>
                    <a:pt x="2201368" y="198831"/>
                  </a:lnTo>
                  <a:lnTo>
                    <a:pt x="2201368" y="199530"/>
                  </a:lnTo>
                  <a:lnTo>
                    <a:pt x="2201368" y="197447"/>
                  </a:lnTo>
                  <a:lnTo>
                    <a:pt x="2201419" y="197447"/>
                  </a:lnTo>
                  <a:lnTo>
                    <a:pt x="2201419" y="198831"/>
                  </a:lnTo>
                  <a:lnTo>
                    <a:pt x="2201419" y="197447"/>
                  </a:lnTo>
                  <a:lnTo>
                    <a:pt x="2201419" y="200228"/>
                  </a:lnTo>
                  <a:lnTo>
                    <a:pt x="2201419" y="198831"/>
                  </a:lnTo>
                  <a:lnTo>
                    <a:pt x="2201469" y="198831"/>
                  </a:lnTo>
                  <a:lnTo>
                    <a:pt x="2201469" y="197447"/>
                  </a:lnTo>
                  <a:lnTo>
                    <a:pt x="2201469" y="200876"/>
                  </a:lnTo>
                  <a:lnTo>
                    <a:pt x="2201469" y="199530"/>
                  </a:lnTo>
                  <a:lnTo>
                    <a:pt x="2201520" y="199530"/>
                  </a:lnTo>
                  <a:lnTo>
                    <a:pt x="2201520" y="200876"/>
                  </a:lnTo>
                  <a:lnTo>
                    <a:pt x="2201520" y="200228"/>
                  </a:lnTo>
                  <a:lnTo>
                    <a:pt x="2201520" y="200876"/>
                  </a:lnTo>
                  <a:lnTo>
                    <a:pt x="2201520" y="200228"/>
                  </a:lnTo>
                  <a:lnTo>
                    <a:pt x="2201622" y="199530"/>
                  </a:lnTo>
                  <a:lnTo>
                    <a:pt x="2201622" y="200876"/>
                  </a:lnTo>
                  <a:lnTo>
                    <a:pt x="2201622" y="199530"/>
                  </a:lnTo>
                  <a:lnTo>
                    <a:pt x="2201622" y="200228"/>
                  </a:lnTo>
                  <a:lnTo>
                    <a:pt x="2201672" y="200228"/>
                  </a:lnTo>
                  <a:lnTo>
                    <a:pt x="2201672" y="200876"/>
                  </a:lnTo>
                  <a:lnTo>
                    <a:pt x="2201672" y="200228"/>
                  </a:lnTo>
                  <a:lnTo>
                    <a:pt x="2201672" y="200876"/>
                  </a:lnTo>
                  <a:lnTo>
                    <a:pt x="2201672" y="200228"/>
                  </a:lnTo>
                  <a:lnTo>
                    <a:pt x="2201672" y="200876"/>
                  </a:lnTo>
                  <a:lnTo>
                    <a:pt x="2201825" y="200876"/>
                  </a:lnTo>
                  <a:lnTo>
                    <a:pt x="2201825" y="200228"/>
                  </a:lnTo>
                  <a:lnTo>
                    <a:pt x="2201825" y="200876"/>
                  </a:lnTo>
                  <a:lnTo>
                    <a:pt x="2201825" y="200228"/>
                  </a:lnTo>
                  <a:lnTo>
                    <a:pt x="2201825" y="200876"/>
                  </a:lnTo>
                  <a:lnTo>
                    <a:pt x="2201825" y="199530"/>
                  </a:lnTo>
                  <a:lnTo>
                    <a:pt x="2201863" y="199530"/>
                  </a:lnTo>
                  <a:lnTo>
                    <a:pt x="2201863" y="198831"/>
                  </a:lnTo>
                  <a:lnTo>
                    <a:pt x="2201863" y="199530"/>
                  </a:lnTo>
                  <a:lnTo>
                    <a:pt x="2201863" y="197447"/>
                  </a:lnTo>
                  <a:lnTo>
                    <a:pt x="2201914" y="198831"/>
                  </a:lnTo>
                  <a:lnTo>
                    <a:pt x="2201914" y="199530"/>
                  </a:lnTo>
                  <a:lnTo>
                    <a:pt x="2201914" y="198831"/>
                  </a:lnTo>
                  <a:lnTo>
                    <a:pt x="2201914" y="199530"/>
                  </a:lnTo>
                  <a:lnTo>
                    <a:pt x="2201914" y="198831"/>
                  </a:lnTo>
                  <a:lnTo>
                    <a:pt x="2201965" y="199530"/>
                  </a:lnTo>
                  <a:lnTo>
                    <a:pt x="2201965" y="200876"/>
                  </a:lnTo>
                  <a:lnTo>
                    <a:pt x="2201965" y="200228"/>
                  </a:lnTo>
                  <a:lnTo>
                    <a:pt x="2201965" y="200876"/>
                  </a:lnTo>
                  <a:lnTo>
                    <a:pt x="2201965" y="200228"/>
                  </a:lnTo>
                  <a:lnTo>
                    <a:pt x="2202066" y="200228"/>
                  </a:lnTo>
                  <a:lnTo>
                    <a:pt x="2202066" y="200876"/>
                  </a:lnTo>
                  <a:lnTo>
                    <a:pt x="2202066" y="200228"/>
                  </a:lnTo>
                  <a:lnTo>
                    <a:pt x="2202066" y="200876"/>
                  </a:lnTo>
                  <a:lnTo>
                    <a:pt x="2202117" y="200876"/>
                  </a:lnTo>
                  <a:lnTo>
                    <a:pt x="2202117" y="200228"/>
                  </a:lnTo>
                  <a:lnTo>
                    <a:pt x="2202117" y="200876"/>
                  </a:lnTo>
                  <a:lnTo>
                    <a:pt x="2202117" y="200228"/>
                  </a:lnTo>
                  <a:lnTo>
                    <a:pt x="2202168" y="200228"/>
                  </a:lnTo>
                  <a:lnTo>
                    <a:pt x="2202168" y="202260"/>
                  </a:lnTo>
                  <a:lnTo>
                    <a:pt x="2202168" y="200228"/>
                  </a:lnTo>
                  <a:lnTo>
                    <a:pt x="2202168" y="200876"/>
                  </a:lnTo>
                  <a:lnTo>
                    <a:pt x="2202269" y="200876"/>
                  </a:lnTo>
                  <a:lnTo>
                    <a:pt x="2202269" y="202260"/>
                  </a:lnTo>
                  <a:lnTo>
                    <a:pt x="2202269" y="200876"/>
                  </a:lnTo>
                  <a:lnTo>
                    <a:pt x="2202320" y="200876"/>
                  </a:lnTo>
                  <a:lnTo>
                    <a:pt x="2202320" y="199530"/>
                  </a:lnTo>
                  <a:lnTo>
                    <a:pt x="2202320" y="200228"/>
                  </a:lnTo>
                  <a:lnTo>
                    <a:pt x="2202320" y="198831"/>
                  </a:lnTo>
                  <a:lnTo>
                    <a:pt x="2202371" y="198831"/>
                  </a:lnTo>
                  <a:lnTo>
                    <a:pt x="2202371" y="196799"/>
                  </a:lnTo>
                  <a:lnTo>
                    <a:pt x="2202371" y="197447"/>
                  </a:lnTo>
                  <a:lnTo>
                    <a:pt x="2202409" y="196799"/>
                  </a:lnTo>
                  <a:lnTo>
                    <a:pt x="2202409" y="197447"/>
                  </a:lnTo>
                  <a:lnTo>
                    <a:pt x="2202409" y="196799"/>
                  </a:lnTo>
                  <a:lnTo>
                    <a:pt x="2202409" y="197447"/>
                  </a:lnTo>
                  <a:lnTo>
                    <a:pt x="2202409" y="196799"/>
                  </a:lnTo>
                  <a:lnTo>
                    <a:pt x="2202409" y="197447"/>
                  </a:lnTo>
                  <a:lnTo>
                    <a:pt x="2202511" y="197447"/>
                  </a:lnTo>
                  <a:lnTo>
                    <a:pt x="2202511" y="199530"/>
                  </a:lnTo>
                  <a:lnTo>
                    <a:pt x="2202511" y="198831"/>
                  </a:lnTo>
                  <a:lnTo>
                    <a:pt x="2202511" y="199530"/>
                  </a:lnTo>
                  <a:lnTo>
                    <a:pt x="2202511" y="198831"/>
                  </a:lnTo>
                  <a:lnTo>
                    <a:pt x="2202562" y="198831"/>
                  </a:lnTo>
                  <a:lnTo>
                    <a:pt x="2202562" y="199530"/>
                  </a:lnTo>
                  <a:lnTo>
                    <a:pt x="2202612" y="200228"/>
                  </a:lnTo>
                  <a:lnTo>
                    <a:pt x="2202612" y="200876"/>
                  </a:lnTo>
                  <a:lnTo>
                    <a:pt x="2202714" y="200876"/>
                  </a:lnTo>
                  <a:lnTo>
                    <a:pt x="2202714" y="202260"/>
                  </a:lnTo>
                  <a:lnTo>
                    <a:pt x="2202714" y="200876"/>
                  </a:lnTo>
                  <a:lnTo>
                    <a:pt x="2202765" y="200876"/>
                  </a:lnTo>
                  <a:lnTo>
                    <a:pt x="2202765" y="200228"/>
                  </a:lnTo>
                  <a:lnTo>
                    <a:pt x="2202765" y="200876"/>
                  </a:lnTo>
                  <a:lnTo>
                    <a:pt x="2202765" y="200228"/>
                  </a:lnTo>
                  <a:lnTo>
                    <a:pt x="2202765" y="200876"/>
                  </a:lnTo>
                  <a:lnTo>
                    <a:pt x="2202765" y="200228"/>
                  </a:lnTo>
                  <a:lnTo>
                    <a:pt x="2202815" y="200228"/>
                  </a:lnTo>
                  <a:lnTo>
                    <a:pt x="2202815" y="199530"/>
                  </a:lnTo>
                  <a:lnTo>
                    <a:pt x="2202815" y="200228"/>
                  </a:lnTo>
                  <a:lnTo>
                    <a:pt x="2202815" y="199530"/>
                  </a:lnTo>
                  <a:lnTo>
                    <a:pt x="2202866" y="198831"/>
                  </a:lnTo>
                  <a:lnTo>
                    <a:pt x="2202866" y="197447"/>
                  </a:lnTo>
                  <a:lnTo>
                    <a:pt x="2202866" y="198831"/>
                  </a:lnTo>
                  <a:lnTo>
                    <a:pt x="2202866" y="197447"/>
                  </a:lnTo>
                  <a:lnTo>
                    <a:pt x="2202866" y="198831"/>
                  </a:lnTo>
                  <a:lnTo>
                    <a:pt x="2202866" y="196799"/>
                  </a:lnTo>
                  <a:lnTo>
                    <a:pt x="2202955" y="197447"/>
                  </a:lnTo>
                  <a:lnTo>
                    <a:pt x="2202955" y="198831"/>
                  </a:lnTo>
                  <a:lnTo>
                    <a:pt x="2202955" y="196799"/>
                  </a:lnTo>
                  <a:lnTo>
                    <a:pt x="2202955" y="199530"/>
                  </a:lnTo>
                  <a:lnTo>
                    <a:pt x="2203006" y="199530"/>
                  </a:lnTo>
                  <a:lnTo>
                    <a:pt x="2203006" y="200228"/>
                  </a:lnTo>
                  <a:lnTo>
                    <a:pt x="2203006" y="198831"/>
                  </a:lnTo>
                  <a:lnTo>
                    <a:pt x="2203006" y="200228"/>
                  </a:lnTo>
                  <a:lnTo>
                    <a:pt x="2203006" y="199530"/>
                  </a:lnTo>
                  <a:lnTo>
                    <a:pt x="2203057" y="199530"/>
                  </a:lnTo>
                  <a:lnTo>
                    <a:pt x="2203057" y="200228"/>
                  </a:lnTo>
                  <a:lnTo>
                    <a:pt x="2203108" y="199530"/>
                  </a:lnTo>
                  <a:lnTo>
                    <a:pt x="2203108" y="200228"/>
                  </a:lnTo>
                  <a:lnTo>
                    <a:pt x="2203108" y="199530"/>
                  </a:lnTo>
                  <a:lnTo>
                    <a:pt x="2203108" y="200228"/>
                  </a:lnTo>
                  <a:lnTo>
                    <a:pt x="2203209" y="200228"/>
                  </a:lnTo>
                  <a:lnTo>
                    <a:pt x="2203209" y="200876"/>
                  </a:lnTo>
                  <a:lnTo>
                    <a:pt x="2203209" y="200228"/>
                  </a:lnTo>
                  <a:lnTo>
                    <a:pt x="2203209" y="200876"/>
                  </a:lnTo>
                  <a:lnTo>
                    <a:pt x="2203209" y="200228"/>
                  </a:lnTo>
                  <a:lnTo>
                    <a:pt x="2203209" y="200876"/>
                  </a:lnTo>
                  <a:lnTo>
                    <a:pt x="2203209" y="200228"/>
                  </a:lnTo>
                  <a:lnTo>
                    <a:pt x="2203209" y="200876"/>
                  </a:lnTo>
                  <a:lnTo>
                    <a:pt x="2203260" y="200876"/>
                  </a:lnTo>
                  <a:lnTo>
                    <a:pt x="2203260" y="200228"/>
                  </a:lnTo>
                  <a:lnTo>
                    <a:pt x="2203311" y="200228"/>
                  </a:lnTo>
                  <a:lnTo>
                    <a:pt x="2203311" y="199530"/>
                  </a:lnTo>
                  <a:lnTo>
                    <a:pt x="2203412" y="199530"/>
                  </a:lnTo>
                  <a:lnTo>
                    <a:pt x="2203412" y="196799"/>
                  </a:lnTo>
                  <a:lnTo>
                    <a:pt x="2203412" y="197447"/>
                  </a:lnTo>
                  <a:lnTo>
                    <a:pt x="2203412" y="196799"/>
                  </a:lnTo>
                  <a:lnTo>
                    <a:pt x="2203412" y="197447"/>
                  </a:lnTo>
                  <a:lnTo>
                    <a:pt x="2203412" y="196799"/>
                  </a:lnTo>
                  <a:lnTo>
                    <a:pt x="2203412" y="197447"/>
                  </a:lnTo>
                  <a:lnTo>
                    <a:pt x="2203450" y="197447"/>
                  </a:lnTo>
                  <a:lnTo>
                    <a:pt x="2203450" y="198831"/>
                  </a:lnTo>
                  <a:lnTo>
                    <a:pt x="2203450" y="196799"/>
                  </a:lnTo>
                  <a:lnTo>
                    <a:pt x="2203450" y="198831"/>
                  </a:lnTo>
                  <a:lnTo>
                    <a:pt x="2203501" y="198831"/>
                  </a:lnTo>
                  <a:lnTo>
                    <a:pt x="2203501" y="199530"/>
                  </a:lnTo>
                  <a:lnTo>
                    <a:pt x="2203501" y="197447"/>
                  </a:lnTo>
                  <a:lnTo>
                    <a:pt x="2203501" y="198831"/>
                  </a:lnTo>
                  <a:lnTo>
                    <a:pt x="2203501" y="197447"/>
                  </a:lnTo>
                  <a:lnTo>
                    <a:pt x="2203501" y="198831"/>
                  </a:lnTo>
                  <a:lnTo>
                    <a:pt x="2203552" y="199530"/>
                  </a:lnTo>
                  <a:lnTo>
                    <a:pt x="2203552" y="198831"/>
                  </a:lnTo>
                  <a:lnTo>
                    <a:pt x="2203552" y="199530"/>
                  </a:lnTo>
                  <a:lnTo>
                    <a:pt x="2203654" y="199530"/>
                  </a:lnTo>
                  <a:lnTo>
                    <a:pt x="2203654" y="200228"/>
                  </a:lnTo>
                  <a:lnTo>
                    <a:pt x="2203654" y="199530"/>
                  </a:lnTo>
                  <a:lnTo>
                    <a:pt x="2203654" y="200876"/>
                  </a:lnTo>
                  <a:lnTo>
                    <a:pt x="2203654" y="200228"/>
                  </a:lnTo>
                  <a:lnTo>
                    <a:pt x="2203705" y="200228"/>
                  </a:lnTo>
                  <a:lnTo>
                    <a:pt x="2203705" y="199530"/>
                  </a:lnTo>
                  <a:lnTo>
                    <a:pt x="2203705" y="200876"/>
                  </a:lnTo>
                  <a:lnTo>
                    <a:pt x="2203705" y="200228"/>
                  </a:lnTo>
                  <a:lnTo>
                    <a:pt x="2203755" y="200228"/>
                  </a:lnTo>
                  <a:lnTo>
                    <a:pt x="2203755" y="200876"/>
                  </a:lnTo>
                  <a:lnTo>
                    <a:pt x="2203755" y="200228"/>
                  </a:lnTo>
                  <a:lnTo>
                    <a:pt x="2203857" y="199530"/>
                  </a:lnTo>
                  <a:lnTo>
                    <a:pt x="2203857" y="200228"/>
                  </a:lnTo>
                  <a:lnTo>
                    <a:pt x="2203857" y="198831"/>
                  </a:lnTo>
                  <a:lnTo>
                    <a:pt x="2203908" y="198831"/>
                  </a:lnTo>
                  <a:lnTo>
                    <a:pt x="2203908" y="197447"/>
                  </a:lnTo>
                  <a:lnTo>
                    <a:pt x="2203908" y="198831"/>
                  </a:lnTo>
                  <a:lnTo>
                    <a:pt x="2203908" y="196799"/>
                  </a:lnTo>
                  <a:lnTo>
                    <a:pt x="2203908" y="198831"/>
                  </a:lnTo>
                  <a:lnTo>
                    <a:pt x="2203908" y="197447"/>
                  </a:lnTo>
                  <a:lnTo>
                    <a:pt x="2203959" y="197447"/>
                  </a:lnTo>
                  <a:lnTo>
                    <a:pt x="2203959" y="198831"/>
                  </a:lnTo>
                  <a:lnTo>
                    <a:pt x="2203959" y="196113"/>
                  </a:lnTo>
                  <a:lnTo>
                    <a:pt x="2203959" y="199530"/>
                  </a:lnTo>
                  <a:lnTo>
                    <a:pt x="2203959" y="198831"/>
                  </a:lnTo>
                  <a:lnTo>
                    <a:pt x="2203997" y="198831"/>
                  </a:lnTo>
                  <a:lnTo>
                    <a:pt x="2203997" y="196799"/>
                  </a:lnTo>
                  <a:lnTo>
                    <a:pt x="2203997" y="199530"/>
                  </a:lnTo>
                  <a:lnTo>
                    <a:pt x="2204098" y="198831"/>
                  </a:lnTo>
                  <a:lnTo>
                    <a:pt x="2204098" y="197447"/>
                  </a:lnTo>
                  <a:lnTo>
                    <a:pt x="2204098" y="199530"/>
                  </a:lnTo>
                  <a:lnTo>
                    <a:pt x="2204098" y="198831"/>
                  </a:lnTo>
                  <a:lnTo>
                    <a:pt x="2204098" y="199530"/>
                  </a:lnTo>
                  <a:lnTo>
                    <a:pt x="2204149" y="198831"/>
                  </a:lnTo>
                  <a:lnTo>
                    <a:pt x="2204149" y="199530"/>
                  </a:lnTo>
                  <a:lnTo>
                    <a:pt x="2204149" y="198831"/>
                  </a:lnTo>
                  <a:lnTo>
                    <a:pt x="2204149" y="199530"/>
                  </a:lnTo>
                  <a:lnTo>
                    <a:pt x="2204149" y="198831"/>
                  </a:lnTo>
                  <a:lnTo>
                    <a:pt x="2204149" y="200228"/>
                  </a:lnTo>
                  <a:lnTo>
                    <a:pt x="2204149" y="198831"/>
                  </a:lnTo>
                  <a:lnTo>
                    <a:pt x="2204200" y="198831"/>
                  </a:lnTo>
                  <a:lnTo>
                    <a:pt x="2204200" y="199530"/>
                  </a:lnTo>
                  <a:lnTo>
                    <a:pt x="2204200" y="198831"/>
                  </a:lnTo>
                  <a:lnTo>
                    <a:pt x="2204200" y="199530"/>
                  </a:lnTo>
                  <a:lnTo>
                    <a:pt x="2204200" y="198831"/>
                  </a:lnTo>
                  <a:lnTo>
                    <a:pt x="2204301" y="198831"/>
                  </a:lnTo>
                  <a:lnTo>
                    <a:pt x="2204301" y="200228"/>
                  </a:lnTo>
                  <a:lnTo>
                    <a:pt x="2204301" y="199530"/>
                  </a:lnTo>
                  <a:lnTo>
                    <a:pt x="2204352" y="199530"/>
                  </a:lnTo>
                  <a:lnTo>
                    <a:pt x="2204352" y="198831"/>
                  </a:lnTo>
                  <a:lnTo>
                    <a:pt x="2204403" y="198831"/>
                  </a:lnTo>
                  <a:lnTo>
                    <a:pt x="2204403" y="197447"/>
                  </a:lnTo>
                  <a:lnTo>
                    <a:pt x="2204403" y="199530"/>
                  </a:lnTo>
                  <a:lnTo>
                    <a:pt x="2204403" y="197447"/>
                  </a:lnTo>
                  <a:lnTo>
                    <a:pt x="2204454" y="197447"/>
                  </a:lnTo>
                  <a:lnTo>
                    <a:pt x="2204454" y="196799"/>
                  </a:lnTo>
                  <a:lnTo>
                    <a:pt x="2204454" y="200228"/>
                  </a:lnTo>
                  <a:lnTo>
                    <a:pt x="2204454" y="198831"/>
                  </a:lnTo>
                  <a:lnTo>
                    <a:pt x="2204543" y="198831"/>
                  </a:lnTo>
                  <a:lnTo>
                    <a:pt x="2204543" y="200228"/>
                  </a:lnTo>
                  <a:lnTo>
                    <a:pt x="2204543" y="199530"/>
                  </a:lnTo>
                  <a:lnTo>
                    <a:pt x="2204543" y="200228"/>
                  </a:lnTo>
                  <a:lnTo>
                    <a:pt x="2204543" y="199530"/>
                  </a:lnTo>
                  <a:lnTo>
                    <a:pt x="2204543" y="200228"/>
                  </a:lnTo>
                  <a:lnTo>
                    <a:pt x="2204543" y="199530"/>
                  </a:lnTo>
                  <a:lnTo>
                    <a:pt x="2204543" y="200228"/>
                  </a:lnTo>
                  <a:lnTo>
                    <a:pt x="2204594" y="199530"/>
                  </a:lnTo>
                  <a:lnTo>
                    <a:pt x="2204594" y="200228"/>
                  </a:lnTo>
                  <a:lnTo>
                    <a:pt x="2204644" y="200228"/>
                  </a:lnTo>
                  <a:lnTo>
                    <a:pt x="2204644" y="200876"/>
                  </a:lnTo>
                  <a:lnTo>
                    <a:pt x="2204644" y="200228"/>
                  </a:lnTo>
                  <a:lnTo>
                    <a:pt x="2204695" y="200228"/>
                  </a:lnTo>
                  <a:lnTo>
                    <a:pt x="2204695" y="199530"/>
                  </a:lnTo>
                  <a:lnTo>
                    <a:pt x="2204695" y="200228"/>
                  </a:lnTo>
                  <a:lnTo>
                    <a:pt x="2204797" y="200228"/>
                  </a:lnTo>
                  <a:lnTo>
                    <a:pt x="2204797" y="199530"/>
                  </a:lnTo>
                  <a:lnTo>
                    <a:pt x="2204797" y="200228"/>
                  </a:lnTo>
                  <a:lnTo>
                    <a:pt x="2204797" y="199530"/>
                  </a:lnTo>
                  <a:lnTo>
                    <a:pt x="2204847" y="199530"/>
                  </a:lnTo>
                  <a:lnTo>
                    <a:pt x="2204847" y="197447"/>
                  </a:lnTo>
                  <a:lnTo>
                    <a:pt x="2204847" y="198831"/>
                  </a:lnTo>
                  <a:lnTo>
                    <a:pt x="2204898" y="198831"/>
                  </a:lnTo>
                  <a:lnTo>
                    <a:pt x="2204898" y="200228"/>
                  </a:lnTo>
                  <a:lnTo>
                    <a:pt x="2204898" y="197447"/>
                  </a:lnTo>
                  <a:lnTo>
                    <a:pt x="2204898" y="200228"/>
                  </a:lnTo>
                  <a:lnTo>
                    <a:pt x="2205000" y="200228"/>
                  </a:lnTo>
                  <a:lnTo>
                    <a:pt x="2205000" y="200876"/>
                  </a:lnTo>
                  <a:lnTo>
                    <a:pt x="2205000" y="200228"/>
                  </a:lnTo>
                  <a:lnTo>
                    <a:pt x="2205000" y="200876"/>
                  </a:lnTo>
                  <a:lnTo>
                    <a:pt x="2205038" y="200876"/>
                  </a:lnTo>
                  <a:lnTo>
                    <a:pt x="2205038" y="202260"/>
                  </a:lnTo>
                  <a:lnTo>
                    <a:pt x="2205089" y="202260"/>
                  </a:lnTo>
                  <a:lnTo>
                    <a:pt x="2205089" y="200876"/>
                  </a:lnTo>
                  <a:lnTo>
                    <a:pt x="2205089" y="202260"/>
                  </a:lnTo>
                  <a:lnTo>
                    <a:pt x="2205089" y="200876"/>
                  </a:lnTo>
                  <a:lnTo>
                    <a:pt x="2205140" y="200876"/>
                  </a:lnTo>
                  <a:lnTo>
                    <a:pt x="2205140" y="200228"/>
                  </a:lnTo>
                  <a:lnTo>
                    <a:pt x="2205140" y="200876"/>
                  </a:lnTo>
                  <a:lnTo>
                    <a:pt x="2205140" y="200228"/>
                  </a:lnTo>
                  <a:lnTo>
                    <a:pt x="2205140" y="200876"/>
                  </a:lnTo>
                  <a:lnTo>
                    <a:pt x="2205241" y="200228"/>
                  </a:lnTo>
                  <a:lnTo>
                    <a:pt x="2205241" y="199530"/>
                  </a:lnTo>
                  <a:lnTo>
                    <a:pt x="2205241" y="200228"/>
                  </a:lnTo>
                  <a:lnTo>
                    <a:pt x="2205292" y="200228"/>
                  </a:lnTo>
                  <a:lnTo>
                    <a:pt x="2205292" y="199530"/>
                  </a:lnTo>
                  <a:lnTo>
                    <a:pt x="2205292" y="200228"/>
                  </a:lnTo>
                  <a:lnTo>
                    <a:pt x="2205292" y="198831"/>
                  </a:lnTo>
                  <a:lnTo>
                    <a:pt x="2205343" y="198831"/>
                  </a:lnTo>
                  <a:lnTo>
                    <a:pt x="2205343" y="197447"/>
                  </a:lnTo>
                  <a:lnTo>
                    <a:pt x="2205343" y="198831"/>
                  </a:lnTo>
                  <a:lnTo>
                    <a:pt x="2205343" y="197447"/>
                  </a:lnTo>
                  <a:lnTo>
                    <a:pt x="2205343" y="198831"/>
                  </a:lnTo>
                  <a:lnTo>
                    <a:pt x="2205343" y="196799"/>
                  </a:lnTo>
                  <a:lnTo>
                    <a:pt x="2205444" y="196799"/>
                  </a:lnTo>
                  <a:lnTo>
                    <a:pt x="2205444" y="197447"/>
                  </a:lnTo>
                  <a:lnTo>
                    <a:pt x="2205444" y="196113"/>
                  </a:lnTo>
                  <a:lnTo>
                    <a:pt x="2205444" y="198831"/>
                  </a:lnTo>
                  <a:lnTo>
                    <a:pt x="2205495" y="199530"/>
                  </a:lnTo>
                  <a:lnTo>
                    <a:pt x="2205495" y="198831"/>
                  </a:lnTo>
                  <a:lnTo>
                    <a:pt x="2205495" y="200228"/>
                  </a:lnTo>
                  <a:lnTo>
                    <a:pt x="2205546" y="200228"/>
                  </a:lnTo>
                  <a:lnTo>
                    <a:pt x="2205546" y="199530"/>
                  </a:lnTo>
                  <a:lnTo>
                    <a:pt x="2205546" y="200228"/>
                  </a:lnTo>
                  <a:lnTo>
                    <a:pt x="2205584" y="200228"/>
                  </a:lnTo>
                  <a:lnTo>
                    <a:pt x="2205584" y="200876"/>
                  </a:lnTo>
                  <a:lnTo>
                    <a:pt x="2205584" y="200228"/>
                  </a:lnTo>
                  <a:lnTo>
                    <a:pt x="2205584" y="200876"/>
                  </a:lnTo>
                  <a:lnTo>
                    <a:pt x="2205584" y="200228"/>
                  </a:lnTo>
                  <a:lnTo>
                    <a:pt x="2205584" y="200876"/>
                  </a:lnTo>
                  <a:lnTo>
                    <a:pt x="2205584" y="200228"/>
                  </a:lnTo>
                  <a:lnTo>
                    <a:pt x="2205686" y="200228"/>
                  </a:lnTo>
                  <a:lnTo>
                    <a:pt x="2205686" y="200876"/>
                  </a:lnTo>
                  <a:lnTo>
                    <a:pt x="2205686" y="200228"/>
                  </a:lnTo>
                  <a:lnTo>
                    <a:pt x="2205686" y="200876"/>
                  </a:lnTo>
                  <a:lnTo>
                    <a:pt x="2205686" y="200228"/>
                  </a:lnTo>
                  <a:lnTo>
                    <a:pt x="2205737" y="200228"/>
                  </a:lnTo>
                  <a:lnTo>
                    <a:pt x="2205737" y="200876"/>
                  </a:lnTo>
                  <a:lnTo>
                    <a:pt x="2205737" y="200228"/>
                  </a:lnTo>
                  <a:lnTo>
                    <a:pt x="2205737" y="200876"/>
                  </a:lnTo>
                  <a:lnTo>
                    <a:pt x="2205737" y="200228"/>
                  </a:lnTo>
                  <a:lnTo>
                    <a:pt x="2205737" y="200876"/>
                  </a:lnTo>
                  <a:lnTo>
                    <a:pt x="2205737" y="200228"/>
                  </a:lnTo>
                  <a:lnTo>
                    <a:pt x="2205737" y="200876"/>
                  </a:lnTo>
                  <a:lnTo>
                    <a:pt x="2205737" y="200228"/>
                  </a:lnTo>
                  <a:lnTo>
                    <a:pt x="2205737" y="200876"/>
                  </a:lnTo>
                  <a:lnTo>
                    <a:pt x="2205737" y="200228"/>
                  </a:lnTo>
                  <a:lnTo>
                    <a:pt x="2205787" y="200228"/>
                  </a:lnTo>
                  <a:lnTo>
                    <a:pt x="2205787" y="199530"/>
                  </a:lnTo>
                  <a:lnTo>
                    <a:pt x="2205787" y="200228"/>
                  </a:lnTo>
                  <a:lnTo>
                    <a:pt x="2205787" y="198831"/>
                  </a:lnTo>
                  <a:lnTo>
                    <a:pt x="2205787" y="199530"/>
                  </a:lnTo>
                  <a:lnTo>
                    <a:pt x="2205889" y="199530"/>
                  </a:lnTo>
                  <a:lnTo>
                    <a:pt x="2205889" y="197447"/>
                  </a:lnTo>
                  <a:lnTo>
                    <a:pt x="2205889" y="199530"/>
                  </a:lnTo>
                  <a:lnTo>
                    <a:pt x="2205889" y="198831"/>
                  </a:lnTo>
                  <a:lnTo>
                    <a:pt x="2205940" y="198831"/>
                  </a:lnTo>
                  <a:lnTo>
                    <a:pt x="2205940" y="196799"/>
                  </a:lnTo>
                  <a:lnTo>
                    <a:pt x="2205940" y="200228"/>
                  </a:lnTo>
                  <a:lnTo>
                    <a:pt x="2205940" y="199530"/>
                  </a:lnTo>
                  <a:lnTo>
                    <a:pt x="2205990" y="199530"/>
                  </a:lnTo>
                  <a:lnTo>
                    <a:pt x="2205990" y="198831"/>
                  </a:lnTo>
                  <a:lnTo>
                    <a:pt x="2205990" y="199530"/>
                  </a:lnTo>
                  <a:lnTo>
                    <a:pt x="2205990" y="198831"/>
                  </a:lnTo>
                  <a:lnTo>
                    <a:pt x="2205990" y="200876"/>
                  </a:lnTo>
                  <a:lnTo>
                    <a:pt x="2205990" y="200228"/>
                  </a:lnTo>
                  <a:lnTo>
                    <a:pt x="2206041" y="199530"/>
                  </a:lnTo>
                  <a:lnTo>
                    <a:pt x="2206041" y="200228"/>
                  </a:lnTo>
                  <a:lnTo>
                    <a:pt x="2206041" y="199530"/>
                  </a:lnTo>
                  <a:lnTo>
                    <a:pt x="2206041" y="200876"/>
                  </a:lnTo>
                  <a:lnTo>
                    <a:pt x="2206041" y="200228"/>
                  </a:lnTo>
                  <a:lnTo>
                    <a:pt x="2206130" y="200228"/>
                  </a:lnTo>
                  <a:lnTo>
                    <a:pt x="2206130" y="200876"/>
                  </a:lnTo>
                  <a:lnTo>
                    <a:pt x="2206130" y="200228"/>
                  </a:lnTo>
                  <a:lnTo>
                    <a:pt x="2206130" y="200876"/>
                  </a:lnTo>
                  <a:lnTo>
                    <a:pt x="2206130" y="200228"/>
                  </a:lnTo>
                  <a:lnTo>
                    <a:pt x="2206130" y="200876"/>
                  </a:lnTo>
                  <a:lnTo>
                    <a:pt x="2206130" y="200228"/>
                  </a:lnTo>
                  <a:lnTo>
                    <a:pt x="2206130" y="200876"/>
                  </a:lnTo>
                  <a:lnTo>
                    <a:pt x="2206181" y="200876"/>
                  </a:lnTo>
                  <a:lnTo>
                    <a:pt x="2206181" y="200228"/>
                  </a:lnTo>
                  <a:lnTo>
                    <a:pt x="2206181" y="200876"/>
                  </a:lnTo>
                  <a:lnTo>
                    <a:pt x="2206181" y="200228"/>
                  </a:lnTo>
                  <a:lnTo>
                    <a:pt x="2206181" y="200876"/>
                  </a:lnTo>
                  <a:lnTo>
                    <a:pt x="2206232" y="200876"/>
                  </a:lnTo>
                  <a:lnTo>
                    <a:pt x="2206232" y="199530"/>
                  </a:lnTo>
                  <a:lnTo>
                    <a:pt x="2206283" y="200228"/>
                  </a:lnTo>
                  <a:lnTo>
                    <a:pt x="2206283" y="197447"/>
                  </a:lnTo>
                  <a:lnTo>
                    <a:pt x="2206283" y="198831"/>
                  </a:lnTo>
                  <a:lnTo>
                    <a:pt x="2206283" y="197447"/>
                  </a:lnTo>
                  <a:lnTo>
                    <a:pt x="2206384" y="198831"/>
                  </a:lnTo>
                  <a:lnTo>
                    <a:pt x="2206384" y="196113"/>
                  </a:lnTo>
                  <a:lnTo>
                    <a:pt x="2206384" y="198831"/>
                  </a:lnTo>
                  <a:lnTo>
                    <a:pt x="2206384" y="197447"/>
                  </a:lnTo>
                  <a:lnTo>
                    <a:pt x="2206435" y="197447"/>
                  </a:lnTo>
                  <a:lnTo>
                    <a:pt x="2206435" y="196113"/>
                  </a:lnTo>
                  <a:lnTo>
                    <a:pt x="2206435" y="198831"/>
                  </a:lnTo>
                  <a:lnTo>
                    <a:pt x="2206435" y="197447"/>
                  </a:lnTo>
                  <a:lnTo>
                    <a:pt x="2206435" y="199530"/>
                  </a:lnTo>
                  <a:lnTo>
                    <a:pt x="2206435" y="197447"/>
                  </a:lnTo>
                  <a:lnTo>
                    <a:pt x="2206486" y="197447"/>
                  </a:lnTo>
                  <a:lnTo>
                    <a:pt x="2206486" y="196799"/>
                  </a:lnTo>
                  <a:lnTo>
                    <a:pt x="2206486" y="200228"/>
                  </a:lnTo>
                  <a:lnTo>
                    <a:pt x="2206486" y="198831"/>
                  </a:lnTo>
                  <a:lnTo>
                    <a:pt x="2206587" y="198831"/>
                  </a:lnTo>
                  <a:lnTo>
                    <a:pt x="2206587" y="200876"/>
                  </a:lnTo>
                  <a:lnTo>
                    <a:pt x="2206587" y="200228"/>
                  </a:lnTo>
                  <a:lnTo>
                    <a:pt x="2206625" y="200228"/>
                  </a:lnTo>
                  <a:lnTo>
                    <a:pt x="2206625" y="200876"/>
                  </a:lnTo>
                  <a:lnTo>
                    <a:pt x="2206625" y="200228"/>
                  </a:lnTo>
                  <a:lnTo>
                    <a:pt x="2206625" y="200876"/>
                  </a:lnTo>
                  <a:lnTo>
                    <a:pt x="2206625" y="200228"/>
                  </a:lnTo>
                  <a:lnTo>
                    <a:pt x="2206676" y="200228"/>
                  </a:lnTo>
                  <a:lnTo>
                    <a:pt x="2206676" y="200876"/>
                  </a:lnTo>
                  <a:lnTo>
                    <a:pt x="2206676" y="200228"/>
                  </a:lnTo>
                  <a:lnTo>
                    <a:pt x="2206676" y="200876"/>
                  </a:lnTo>
                  <a:lnTo>
                    <a:pt x="2206676" y="200228"/>
                  </a:lnTo>
                  <a:lnTo>
                    <a:pt x="2206676" y="200876"/>
                  </a:lnTo>
                  <a:lnTo>
                    <a:pt x="2206727" y="200876"/>
                  </a:lnTo>
                  <a:lnTo>
                    <a:pt x="2206727" y="200228"/>
                  </a:lnTo>
                  <a:lnTo>
                    <a:pt x="2206727" y="200876"/>
                  </a:lnTo>
                  <a:lnTo>
                    <a:pt x="2206727" y="199530"/>
                  </a:lnTo>
                  <a:lnTo>
                    <a:pt x="2206829" y="200228"/>
                  </a:lnTo>
                  <a:lnTo>
                    <a:pt x="2206829" y="198831"/>
                  </a:lnTo>
                  <a:lnTo>
                    <a:pt x="2206829" y="199530"/>
                  </a:lnTo>
                  <a:lnTo>
                    <a:pt x="2206829" y="196799"/>
                  </a:lnTo>
                  <a:lnTo>
                    <a:pt x="2206880" y="196799"/>
                  </a:lnTo>
                  <a:lnTo>
                    <a:pt x="2206880" y="199530"/>
                  </a:lnTo>
                  <a:lnTo>
                    <a:pt x="2206880" y="196799"/>
                  </a:lnTo>
                  <a:lnTo>
                    <a:pt x="2206880" y="197447"/>
                  </a:lnTo>
                  <a:lnTo>
                    <a:pt x="2206930" y="198831"/>
                  </a:lnTo>
                  <a:lnTo>
                    <a:pt x="2206930" y="200228"/>
                  </a:lnTo>
                  <a:lnTo>
                    <a:pt x="2206930" y="198831"/>
                  </a:lnTo>
                  <a:lnTo>
                    <a:pt x="2206930" y="199530"/>
                  </a:lnTo>
                  <a:lnTo>
                    <a:pt x="2207032" y="199530"/>
                  </a:lnTo>
                  <a:lnTo>
                    <a:pt x="2207032" y="200228"/>
                  </a:lnTo>
                  <a:lnTo>
                    <a:pt x="2207032" y="199530"/>
                  </a:lnTo>
                  <a:lnTo>
                    <a:pt x="2207083" y="199530"/>
                  </a:lnTo>
                  <a:lnTo>
                    <a:pt x="2207083" y="200228"/>
                  </a:lnTo>
                  <a:lnTo>
                    <a:pt x="2207083" y="198831"/>
                  </a:lnTo>
                  <a:lnTo>
                    <a:pt x="2207083" y="199530"/>
                  </a:lnTo>
                  <a:lnTo>
                    <a:pt x="2207083" y="198831"/>
                  </a:lnTo>
                  <a:lnTo>
                    <a:pt x="2207083" y="199530"/>
                  </a:lnTo>
                  <a:lnTo>
                    <a:pt x="2207134" y="199530"/>
                  </a:lnTo>
                  <a:lnTo>
                    <a:pt x="2207134" y="198831"/>
                  </a:lnTo>
                  <a:lnTo>
                    <a:pt x="2207134" y="200228"/>
                  </a:lnTo>
                  <a:lnTo>
                    <a:pt x="2207134" y="199530"/>
                  </a:lnTo>
                  <a:lnTo>
                    <a:pt x="2207172" y="199530"/>
                  </a:lnTo>
                  <a:lnTo>
                    <a:pt x="2207172" y="200228"/>
                  </a:lnTo>
                  <a:lnTo>
                    <a:pt x="2207172" y="199530"/>
                  </a:lnTo>
                  <a:lnTo>
                    <a:pt x="2207273" y="200228"/>
                  </a:lnTo>
                  <a:lnTo>
                    <a:pt x="2207273" y="199530"/>
                  </a:lnTo>
                  <a:lnTo>
                    <a:pt x="2207273" y="200228"/>
                  </a:lnTo>
                  <a:lnTo>
                    <a:pt x="2207273" y="198831"/>
                  </a:lnTo>
                  <a:lnTo>
                    <a:pt x="2207273" y="199530"/>
                  </a:lnTo>
                  <a:lnTo>
                    <a:pt x="2207324" y="198831"/>
                  </a:lnTo>
                  <a:lnTo>
                    <a:pt x="2207324" y="199530"/>
                  </a:lnTo>
                  <a:lnTo>
                    <a:pt x="2207324" y="197447"/>
                  </a:lnTo>
                  <a:lnTo>
                    <a:pt x="2207324" y="198831"/>
                  </a:lnTo>
                  <a:lnTo>
                    <a:pt x="2207375" y="198831"/>
                  </a:lnTo>
                  <a:lnTo>
                    <a:pt x="2207375" y="197447"/>
                  </a:lnTo>
                  <a:lnTo>
                    <a:pt x="2207375" y="200228"/>
                  </a:lnTo>
                  <a:lnTo>
                    <a:pt x="2207476" y="200228"/>
                  </a:lnTo>
                  <a:lnTo>
                    <a:pt x="2207476" y="199530"/>
                  </a:lnTo>
                  <a:lnTo>
                    <a:pt x="2207476" y="200228"/>
                  </a:lnTo>
                  <a:lnTo>
                    <a:pt x="2207476" y="199530"/>
                  </a:lnTo>
                  <a:lnTo>
                    <a:pt x="2207476" y="200228"/>
                  </a:lnTo>
                  <a:lnTo>
                    <a:pt x="2207476" y="199530"/>
                  </a:lnTo>
                  <a:lnTo>
                    <a:pt x="2207476" y="200876"/>
                  </a:lnTo>
                  <a:lnTo>
                    <a:pt x="2207527" y="200228"/>
                  </a:lnTo>
                  <a:lnTo>
                    <a:pt x="2207527" y="199530"/>
                  </a:lnTo>
                  <a:lnTo>
                    <a:pt x="2207527" y="200228"/>
                  </a:lnTo>
                  <a:lnTo>
                    <a:pt x="2207527" y="199530"/>
                  </a:lnTo>
                  <a:lnTo>
                    <a:pt x="2207527" y="200876"/>
                  </a:lnTo>
                  <a:lnTo>
                    <a:pt x="2207527" y="200228"/>
                  </a:lnTo>
                  <a:lnTo>
                    <a:pt x="2207578" y="200228"/>
                  </a:lnTo>
                  <a:lnTo>
                    <a:pt x="2207578" y="199530"/>
                  </a:lnTo>
                  <a:lnTo>
                    <a:pt x="2207578" y="200228"/>
                  </a:lnTo>
                  <a:lnTo>
                    <a:pt x="2207578" y="199530"/>
                  </a:lnTo>
                  <a:lnTo>
                    <a:pt x="2207578" y="200228"/>
                  </a:lnTo>
                  <a:lnTo>
                    <a:pt x="2207629" y="200228"/>
                  </a:lnTo>
                  <a:lnTo>
                    <a:pt x="2207629" y="200876"/>
                  </a:lnTo>
                  <a:lnTo>
                    <a:pt x="2207718" y="200876"/>
                  </a:lnTo>
                  <a:lnTo>
                    <a:pt x="2207718" y="200228"/>
                  </a:lnTo>
                  <a:lnTo>
                    <a:pt x="2207718" y="200876"/>
                  </a:lnTo>
                  <a:lnTo>
                    <a:pt x="2207718" y="200228"/>
                  </a:lnTo>
                  <a:lnTo>
                    <a:pt x="2207769" y="200228"/>
                  </a:lnTo>
                  <a:lnTo>
                    <a:pt x="2207769" y="197447"/>
                  </a:lnTo>
                  <a:lnTo>
                    <a:pt x="2207819" y="197447"/>
                  </a:lnTo>
                  <a:lnTo>
                    <a:pt x="2207819" y="198831"/>
                  </a:lnTo>
                  <a:lnTo>
                    <a:pt x="2207870" y="198831"/>
                  </a:lnTo>
                  <a:lnTo>
                    <a:pt x="2207870" y="200876"/>
                  </a:lnTo>
                  <a:lnTo>
                    <a:pt x="2207870" y="200228"/>
                  </a:lnTo>
                  <a:lnTo>
                    <a:pt x="2207870" y="200876"/>
                  </a:lnTo>
                  <a:lnTo>
                    <a:pt x="2207870" y="200228"/>
                  </a:lnTo>
                  <a:lnTo>
                    <a:pt x="2207972" y="200228"/>
                  </a:lnTo>
                  <a:lnTo>
                    <a:pt x="2207972" y="202260"/>
                  </a:lnTo>
                  <a:lnTo>
                    <a:pt x="2207972" y="200876"/>
                  </a:lnTo>
                  <a:lnTo>
                    <a:pt x="2208022" y="200876"/>
                  </a:lnTo>
                  <a:lnTo>
                    <a:pt x="2208022" y="202260"/>
                  </a:lnTo>
                  <a:lnTo>
                    <a:pt x="2208022" y="200876"/>
                  </a:lnTo>
                  <a:lnTo>
                    <a:pt x="2208022" y="202260"/>
                  </a:lnTo>
                  <a:lnTo>
                    <a:pt x="2208022" y="200876"/>
                  </a:lnTo>
                  <a:lnTo>
                    <a:pt x="2208073" y="200876"/>
                  </a:lnTo>
                  <a:lnTo>
                    <a:pt x="2208073" y="200228"/>
                  </a:lnTo>
                  <a:lnTo>
                    <a:pt x="2208073" y="200876"/>
                  </a:lnTo>
                  <a:lnTo>
                    <a:pt x="2208073" y="200228"/>
                  </a:lnTo>
                  <a:lnTo>
                    <a:pt x="2208175" y="200228"/>
                  </a:lnTo>
                  <a:lnTo>
                    <a:pt x="2208175" y="200876"/>
                  </a:lnTo>
                  <a:lnTo>
                    <a:pt x="2208175" y="200228"/>
                  </a:lnTo>
                  <a:lnTo>
                    <a:pt x="2208175" y="200876"/>
                  </a:lnTo>
                  <a:lnTo>
                    <a:pt x="2208175" y="200228"/>
                  </a:lnTo>
                  <a:lnTo>
                    <a:pt x="2208213" y="200228"/>
                  </a:lnTo>
                  <a:lnTo>
                    <a:pt x="2208213" y="200876"/>
                  </a:lnTo>
                  <a:lnTo>
                    <a:pt x="2208213" y="199530"/>
                  </a:lnTo>
                  <a:lnTo>
                    <a:pt x="2208213" y="200228"/>
                  </a:lnTo>
                  <a:lnTo>
                    <a:pt x="2208213" y="199530"/>
                  </a:lnTo>
                  <a:lnTo>
                    <a:pt x="2208264" y="199530"/>
                  </a:lnTo>
                  <a:lnTo>
                    <a:pt x="2208264" y="198831"/>
                  </a:lnTo>
                  <a:lnTo>
                    <a:pt x="2208264" y="199530"/>
                  </a:lnTo>
                  <a:lnTo>
                    <a:pt x="2208264" y="197447"/>
                  </a:lnTo>
                  <a:lnTo>
                    <a:pt x="2208264" y="198831"/>
                  </a:lnTo>
                  <a:lnTo>
                    <a:pt x="2208264" y="196799"/>
                  </a:lnTo>
                  <a:lnTo>
                    <a:pt x="2208315" y="196799"/>
                  </a:lnTo>
                  <a:lnTo>
                    <a:pt x="2208315" y="196113"/>
                  </a:lnTo>
                  <a:lnTo>
                    <a:pt x="2208315" y="198831"/>
                  </a:lnTo>
                  <a:lnTo>
                    <a:pt x="2208315" y="197447"/>
                  </a:lnTo>
                  <a:lnTo>
                    <a:pt x="2208315" y="198831"/>
                  </a:lnTo>
                  <a:lnTo>
                    <a:pt x="2208315" y="196799"/>
                  </a:lnTo>
                  <a:lnTo>
                    <a:pt x="2208315" y="198831"/>
                  </a:lnTo>
                  <a:lnTo>
                    <a:pt x="2208416" y="199530"/>
                  </a:lnTo>
                  <a:lnTo>
                    <a:pt x="2208416" y="200228"/>
                  </a:lnTo>
                  <a:lnTo>
                    <a:pt x="2208416" y="198831"/>
                  </a:lnTo>
                  <a:lnTo>
                    <a:pt x="2208416" y="200228"/>
                  </a:lnTo>
                  <a:lnTo>
                    <a:pt x="2208467" y="200228"/>
                  </a:lnTo>
                  <a:lnTo>
                    <a:pt x="2208467" y="200876"/>
                  </a:lnTo>
                  <a:lnTo>
                    <a:pt x="2208467" y="199530"/>
                  </a:lnTo>
                  <a:lnTo>
                    <a:pt x="2208467" y="200228"/>
                  </a:lnTo>
                  <a:lnTo>
                    <a:pt x="2208518" y="200876"/>
                  </a:lnTo>
                  <a:lnTo>
                    <a:pt x="2208518" y="200228"/>
                  </a:lnTo>
                  <a:lnTo>
                    <a:pt x="2208518" y="200876"/>
                  </a:lnTo>
                  <a:lnTo>
                    <a:pt x="2208518" y="200228"/>
                  </a:lnTo>
                  <a:lnTo>
                    <a:pt x="2208518" y="200876"/>
                  </a:lnTo>
                  <a:lnTo>
                    <a:pt x="2208619" y="200228"/>
                  </a:lnTo>
                  <a:lnTo>
                    <a:pt x="2208619" y="200876"/>
                  </a:lnTo>
                  <a:lnTo>
                    <a:pt x="2208619" y="200228"/>
                  </a:lnTo>
                  <a:lnTo>
                    <a:pt x="2208619" y="202260"/>
                  </a:lnTo>
                  <a:lnTo>
                    <a:pt x="2208670" y="200876"/>
                  </a:lnTo>
                  <a:lnTo>
                    <a:pt x="2208670" y="202260"/>
                  </a:lnTo>
                  <a:lnTo>
                    <a:pt x="2208670" y="200876"/>
                  </a:lnTo>
                  <a:lnTo>
                    <a:pt x="2208670" y="202260"/>
                  </a:lnTo>
                  <a:lnTo>
                    <a:pt x="2208670" y="200876"/>
                  </a:lnTo>
                  <a:lnTo>
                    <a:pt x="2208721" y="200876"/>
                  </a:lnTo>
                  <a:lnTo>
                    <a:pt x="2208721" y="200228"/>
                  </a:lnTo>
                  <a:lnTo>
                    <a:pt x="2208721" y="200876"/>
                  </a:lnTo>
                  <a:lnTo>
                    <a:pt x="2208721" y="199530"/>
                  </a:lnTo>
                  <a:lnTo>
                    <a:pt x="2208721" y="200228"/>
                  </a:lnTo>
                  <a:lnTo>
                    <a:pt x="2208721" y="198831"/>
                  </a:lnTo>
                  <a:lnTo>
                    <a:pt x="2208721" y="199530"/>
                  </a:lnTo>
                  <a:lnTo>
                    <a:pt x="2208759" y="199530"/>
                  </a:lnTo>
                  <a:lnTo>
                    <a:pt x="2208759" y="196799"/>
                  </a:lnTo>
                  <a:lnTo>
                    <a:pt x="2208759" y="197447"/>
                  </a:lnTo>
                  <a:lnTo>
                    <a:pt x="2208759" y="196799"/>
                  </a:lnTo>
                  <a:lnTo>
                    <a:pt x="2208759" y="198831"/>
                  </a:lnTo>
                  <a:lnTo>
                    <a:pt x="2208861" y="199530"/>
                  </a:lnTo>
                  <a:lnTo>
                    <a:pt x="2208861" y="196799"/>
                  </a:lnTo>
                  <a:lnTo>
                    <a:pt x="2208861" y="200876"/>
                  </a:lnTo>
                  <a:lnTo>
                    <a:pt x="2208861" y="200228"/>
                  </a:lnTo>
                  <a:lnTo>
                    <a:pt x="2208912" y="200228"/>
                  </a:lnTo>
                  <a:lnTo>
                    <a:pt x="2208912" y="198831"/>
                  </a:lnTo>
                  <a:lnTo>
                    <a:pt x="2208912" y="200876"/>
                  </a:lnTo>
                  <a:lnTo>
                    <a:pt x="2208912" y="200228"/>
                  </a:lnTo>
                  <a:lnTo>
                    <a:pt x="2208962" y="199530"/>
                  </a:lnTo>
                  <a:lnTo>
                    <a:pt x="2208962" y="200228"/>
                  </a:lnTo>
                  <a:lnTo>
                    <a:pt x="2208962" y="199530"/>
                  </a:lnTo>
                  <a:lnTo>
                    <a:pt x="2208962" y="200228"/>
                  </a:lnTo>
                  <a:lnTo>
                    <a:pt x="2208962" y="199530"/>
                  </a:lnTo>
                  <a:lnTo>
                    <a:pt x="2208962" y="200228"/>
                  </a:lnTo>
                  <a:lnTo>
                    <a:pt x="2209064" y="200228"/>
                  </a:lnTo>
                  <a:lnTo>
                    <a:pt x="2209064" y="199530"/>
                  </a:lnTo>
                  <a:lnTo>
                    <a:pt x="2209064" y="200876"/>
                  </a:lnTo>
                  <a:lnTo>
                    <a:pt x="2209064" y="200228"/>
                  </a:lnTo>
                  <a:lnTo>
                    <a:pt x="2209115" y="200228"/>
                  </a:lnTo>
                  <a:lnTo>
                    <a:pt x="2209115" y="200876"/>
                  </a:lnTo>
                  <a:lnTo>
                    <a:pt x="2209115" y="200228"/>
                  </a:lnTo>
                  <a:lnTo>
                    <a:pt x="2209115" y="200876"/>
                  </a:lnTo>
                  <a:lnTo>
                    <a:pt x="2209165" y="200876"/>
                  </a:lnTo>
                  <a:lnTo>
                    <a:pt x="2209165" y="200228"/>
                  </a:lnTo>
                  <a:lnTo>
                    <a:pt x="2209165" y="200876"/>
                  </a:lnTo>
                  <a:lnTo>
                    <a:pt x="2209165" y="200228"/>
                  </a:lnTo>
                  <a:lnTo>
                    <a:pt x="2209216" y="200228"/>
                  </a:lnTo>
                  <a:lnTo>
                    <a:pt x="2209216" y="198831"/>
                  </a:lnTo>
                  <a:lnTo>
                    <a:pt x="2209216" y="199530"/>
                  </a:lnTo>
                  <a:lnTo>
                    <a:pt x="2209216" y="197447"/>
                  </a:lnTo>
                  <a:lnTo>
                    <a:pt x="2209216" y="198831"/>
                  </a:lnTo>
                  <a:lnTo>
                    <a:pt x="2209305" y="197447"/>
                  </a:lnTo>
                  <a:lnTo>
                    <a:pt x="2209305" y="196113"/>
                  </a:lnTo>
                  <a:lnTo>
                    <a:pt x="2209305" y="196799"/>
                  </a:lnTo>
                  <a:lnTo>
                    <a:pt x="2209356" y="196799"/>
                  </a:lnTo>
                  <a:lnTo>
                    <a:pt x="2209356" y="198831"/>
                  </a:lnTo>
                  <a:lnTo>
                    <a:pt x="2209356" y="196113"/>
                  </a:lnTo>
                  <a:lnTo>
                    <a:pt x="2209356" y="199530"/>
                  </a:lnTo>
                  <a:lnTo>
                    <a:pt x="2209407" y="200228"/>
                  </a:lnTo>
                  <a:lnTo>
                    <a:pt x="2209407" y="198831"/>
                  </a:lnTo>
                  <a:lnTo>
                    <a:pt x="2209407" y="199530"/>
                  </a:lnTo>
                  <a:lnTo>
                    <a:pt x="2209407" y="196799"/>
                  </a:lnTo>
                  <a:lnTo>
                    <a:pt x="2209407" y="199530"/>
                  </a:lnTo>
                  <a:lnTo>
                    <a:pt x="2209458" y="199530"/>
                  </a:lnTo>
                  <a:lnTo>
                    <a:pt x="2209458" y="197447"/>
                  </a:lnTo>
                  <a:lnTo>
                    <a:pt x="2209458" y="199530"/>
                  </a:lnTo>
                  <a:lnTo>
                    <a:pt x="2209458" y="198831"/>
                  </a:lnTo>
                  <a:lnTo>
                    <a:pt x="2209458" y="199530"/>
                  </a:lnTo>
                  <a:lnTo>
                    <a:pt x="2209559" y="198831"/>
                  </a:lnTo>
                  <a:lnTo>
                    <a:pt x="2209559" y="199530"/>
                  </a:lnTo>
                  <a:lnTo>
                    <a:pt x="2209559" y="198831"/>
                  </a:lnTo>
                  <a:lnTo>
                    <a:pt x="2209559" y="199530"/>
                  </a:lnTo>
                  <a:lnTo>
                    <a:pt x="2209610" y="199530"/>
                  </a:lnTo>
                  <a:lnTo>
                    <a:pt x="2209610" y="200876"/>
                  </a:lnTo>
                  <a:lnTo>
                    <a:pt x="2209610" y="200228"/>
                  </a:lnTo>
                  <a:lnTo>
                    <a:pt x="2209610" y="200876"/>
                  </a:lnTo>
                  <a:lnTo>
                    <a:pt x="2209661" y="200228"/>
                  </a:lnTo>
                  <a:lnTo>
                    <a:pt x="2209661" y="200876"/>
                  </a:lnTo>
                  <a:lnTo>
                    <a:pt x="2209661" y="200228"/>
                  </a:lnTo>
                  <a:lnTo>
                    <a:pt x="2209661" y="200876"/>
                  </a:lnTo>
                  <a:lnTo>
                    <a:pt x="2209661" y="200228"/>
                  </a:lnTo>
                  <a:lnTo>
                    <a:pt x="2209661" y="202260"/>
                  </a:lnTo>
                  <a:lnTo>
                    <a:pt x="2209661" y="200228"/>
                  </a:lnTo>
                  <a:lnTo>
                    <a:pt x="2209762" y="199530"/>
                  </a:lnTo>
                  <a:lnTo>
                    <a:pt x="2209762" y="197447"/>
                  </a:lnTo>
                  <a:lnTo>
                    <a:pt x="2209762" y="198831"/>
                  </a:lnTo>
                  <a:lnTo>
                    <a:pt x="2209800" y="197447"/>
                  </a:lnTo>
                  <a:lnTo>
                    <a:pt x="2209800" y="195415"/>
                  </a:lnTo>
                  <a:lnTo>
                    <a:pt x="2209800" y="196799"/>
                  </a:lnTo>
                  <a:lnTo>
                    <a:pt x="2209851" y="196113"/>
                  </a:lnTo>
                  <a:lnTo>
                    <a:pt x="2209851" y="195415"/>
                  </a:lnTo>
                  <a:lnTo>
                    <a:pt x="2209851" y="197447"/>
                  </a:lnTo>
                  <a:lnTo>
                    <a:pt x="2209902" y="197447"/>
                  </a:lnTo>
                  <a:lnTo>
                    <a:pt x="2209902" y="196799"/>
                  </a:lnTo>
                  <a:lnTo>
                    <a:pt x="2209902" y="198831"/>
                  </a:lnTo>
                  <a:lnTo>
                    <a:pt x="2209902" y="197447"/>
                  </a:lnTo>
                  <a:lnTo>
                    <a:pt x="2210004" y="197447"/>
                  </a:lnTo>
                  <a:lnTo>
                    <a:pt x="2210004" y="196799"/>
                  </a:lnTo>
                  <a:lnTo>
                    <a:pt x="2210004" y="197447"/>
                  </a:lnTo>
                  <a:lnTo>
                    <a:pt x="2210004" y="196799"/>
                  </a:lnTo>
                  <a:lnTo>
                    <a:pt x="2210004" y="197447"/>
                  </a:lnTo>
                  <a:lnTo>
                    <a:pt x="2210055" y="197447"/>
                  </a:lnTo>
                  <a:lnTo>
                    <a:pt x="2210055" y="196799"/>
                  </a:lnTo>
                  <a:lnTo>
                    <a:pt x="2210055" y="198831"/>
                  </a:lnTo>
                  <a:lnTo>
                    <a:pt x="2210055" y="197447"/>
                  </a:lnTo>
                  <a:lnTo>
                    <a:pt x="2210055" y="198831"/>
                  </a:lnTo>
                  <a:lnTo>
                    <a:pt x="2210055" y="197447"/>
                  </a:lnTo>
                  <a:lnTo>
                    <a:pt x="2210055" y="198831"/>
                  </a:lnTo>
                  <a:lnTo>
                    <a:pt x="2210055" y="197447"/>
                  </a:lnTo>
                  <a:lnTo>
                    <a:pt x="2210105" y="198831"/>
                  </a:lnTo>
                  <a:lnTo>
                    <a:pt x="2210105" y="199530"/>
                  </a:lnTo>
                  <a:lnTo>
                    <a:pt x="2210105" y="198831"/>
                  </a:lnTo>
                  <a:lnTo>
                    <a:pt x="2210105" y="200228"/>
                  </a:lnTo>
                  <a:lnTo>
                    <a:pt x="2210207" y="200228"/>
                  </a:lnTo>
                  <a:lnTo>
                    <a:pt x="2210207" y="199530"/>
                  </a:lnTo>
                  <a:lnTo>
                    <a:pt x="2210258" y="198831"/>
                  </a:lnTo>
                  <a:lnTo>
                    <a:pt x="2210258" y="199530"/>
                  </a:lnTo>
                  <a:lnTo>
                    <a:pt x="2210258" y="196799"/>
                  </a:lnTo>
                  <a:lnTo>
                    <a:pt x="2210309" y="196799"/>
                  </a:lnTo>
                  <a:lnTo>
                    <a:pt x="2210309" y="196113"/>
                  </a:lnTo>
                  <a:lnTo>
                    <a:pt x="2210309" y="196799"/>
                  </a:lnTo>
                  <a:lnTo>
                    <a:pt x="2210309" y="196113"/>
                  </a:lnTo>
                  <a:lnTo>
                    <a:pt x="2210309" y="197447"/>
                  </a:lnTo>
                  <a:lnTo>
                    <a:pt x="2210309" y="196799"/>
                  </a:lnTo>
                  <a:lnTo>
                    <a:pt x="2210347" y="196799"/>
                  </a:lnTo>
                  <a:lnTo>
                    <a:pt x="2210347" y="196113"/>
                  </a:lnTo>
                  <a:lnTo>
                    <a:pt x="2210347" y="199530"/>
                  </a:lnTo>
                  <a:lnTo>
                    <a:pt x="2210347" y="198831"/>
                  </a:lnTo>
                  <a:lnTo>
                    <a:pt x="2210448" y="197447"/>
                  </a:lnTo>
                  <a:lnTo>
                    <a:pt x="2210448" y="198831"/>
                  </a:lnTo>
                  <a:lnTo>
                    <a:pt x="2210448" y="197447"/>
                  </a:lnTo>
                  <a:lnTo>
                    <a:pt x="2210448" y="198831"/>
                  </a:lnTo>
                  <a:lnTo>
                    <a:pt x="2210448" y="197447"/>
                  </a:lnTo>
                  <a:lnTo>
                    <a:pt x="2210499" y="197447"/>
                  </a:lnTo>
                  <a:lnTo>
                    <a:pt x="2210499" y="196799"/>
                  </a:lnTo>
                  <a:lnTo>
                    <a:pt x="2210499" y="198831"/>
                  </a:lnTo>
                  <a:lnTo>
                    <a:pt x="2210499" y="197447"/>
                  </a:lnTo>
                  <a:lnTo>
                    <a:pt x="2210499" y="198831"/>
                  </a:lnTo>
                  <a:lnTo>
                    <a:pt x="2210550" y="198831"/>
                  </a:lnTo>
                  <a:lnTo>
                    <a:pt x="2210550" y="197447"/>
                  </a:lnTo>
                  <a:lnTo>
                    <a:pt x="2210550" y="199530"/>
                  </a:lnTo>
                  <a:lnTo>
                    <a:pt x="2210651" y="198831"/>
                  </a:lnTo>
                  <a:lnTo>
                    <a:pt x="2210651" y="200228"/>
                  </a:lnTo>
                  <a:lnTo>
                    <a:pt x="2210702" y="200228"/>
                  </a:lnTo>
                  <a:lnTo>
                    <a:pt x="2210702" y="199530"/>
                  </a:lnTo>
                  <a:lnTo>
                    <a:pt x="2210702" y="200228"/>
                  </a:lnTo>
                  <a:lnTo>
                    <a:pt x="2210702" y="198831"/>
                  </a:lnTo>
                  <a:lnTo>
                    <a:pt x="2210702" y="199530"/>
                  </a:lnTo>
                  <a:lnTo>
                    <a:pt x="2210702" y="198831"/>
                  </a:lnTo>
                  <a:lnTo>
                    <a:pt x="2210753" y="199530"/>
                  </a:lnTo>
                  <a:lnTo>
                    <a:pt x="2210753" y="197447"/>
                  </a:lnTo>
                  <a:lnTo>
                    <a:pt x="2210753" y="198831"/>
                  </a:lnTo>
                  <a:lnTo>
                    <a:pt x="2210753" y="197447"/>
                  </a:lnTo>
                  <a:lnTo>
                    <a:pt x="2210753" y="198831"/>
                  </a:lnTo>
                  <a:lnTo>
                    <a:pt x="2210753" y="197447"/>
                  </a:lnTo>
                  <a:lnTo>
                    <a:pt x="2210804" y="197447"/>
                  </a:lnTo>
                  <a:lnTo>
                    <a:pt x="2210804" y="198831"/>
                  </a:lnTo>
                  <a:lnTo>
                    <a:pt x="2210804" y="197447"/>
                  </a:lnTo>
                  <a:lnTo>
                    <a:pt x="2210804" y="198831"/>
                  </a:lnTo>
                  <a:lnTo>
                    <a:pt x="2210893" y="198831"/>
                  </a:lnTo>
                  <a:lnTo>
                    <a:pt x="2210893" y="197447"/>
                  </a:lnTo>
                  <a:lnTo>
                    <a:pt x="2210893" y="199530"/>
                  </a:lnTo>
                  <a:lnTo>
                    <a:pt x="2210893" y="198831"/>
                  </a:lnTo>
                  <a:lnTo>
                    <a:pt x="2210893" y="199530"/>
                  </a:lnTo>
                  <a:lnTo>
                    <a:pt x="2210893" y="198831"/>
                  </a:lnTo>
                  <a:lnTo>
                    <a:pt x="2210944" y="198831"/>
                  </a:lnTo>
                  <a:lnTo>
                    <a:pt x="2210944" y="200228"/>
                  </a:lnTo>
                  <a:lnTo>
                    <a:pt x="2210944" y="198831"/>
                  </a:lnTo>
                  <a:lnTo>
                    <a:pt x="2210994" y="198831"/>
                  </a:lnTo>
                  <a:lnTo>
                    <a:pt x="2210994" y="200228"/>
                  </a:lnTo>
                  <a:lnTo>
                    <a:pt x="2210994" y="199530"/>
                  </a:lnTo>
                  <a:lnTo>
                    <a:pt x="2211045" y="199530"/>
                  </a:lnTo>
                  <a:lnTo>
                    <a:pt x="2211045" y="200228"/>
                  </a:lnTo>
                  <a:lnTo>
                    <a:pt x="2211045" y="199530"/>
                  </a:lnTo>
                  <a:lnTo>
                    <a:pt x="2211147" y="199530"/>
                  </a:lnTo>
                  <a:lnTo>
                    <a:pt x="2211147" y="200228"/>
                  </a:lnTo>
                  <a:lnTo>
                    <a:pt x="2211147" y="199530"/>
                  </a:lnTo>
                  <a:lnTo>
                    <a:pt x="2211197" y="199530"/>
                  </a:lnTo>
                  <a:lnTo>
                    <a:pt x="2211197" y="197447"/>
                  </a:lnTo>
                  <a:lnTo>
                    <a:pt x="2211248" y="197447"/>
                  </a:lnTo>
                  <a:lnTo>
                    <a:pt x="2211248" y="198831"/>
                  </a:lnTo>
                  <a:lnTo>
                    <a:pt x="2211248" y="196799"/>
                  </a:lnTo>
                  <a:lnTo>
                    <a:pt x="2211248" y="197447"/>
                  </a:lnTo>
                  <a:lnTo>
                    <a:pt x="2211248" y="196799"/>
                  </a:lnTo>
                  <a:lnTo>
                    <a:pt x="2211248" y="197447"/>
                  </a:lnTo>
                  <a:lnTo>
                    <a:pt x="2211248" y="196113"/>
                  </a:lnTo>
                  <a:lnTo>
                    <a:pt x="2211350" y="196799"/>
                  </a:lnTo>
                  <a:lnTo>
                    <a:pt x="2211350" y="195415"/>
                  </a:lnTo>
                  <a:lnTo>
                    <a:pt x="2211350" y="196113"/>
                  </a:lnTo>
                  <a:lnTo>
                    <a:pt x="2211350" y="195415"/>
                  </a:lnTo>
                  <a:lnTo>
                    <a:pt x="2211350" y="197447"/>
                  </a:lnTo>
                  <a:lnTo>
                    <a:pt x="2211350" y="196799"/>
                  </a:lnTo>
                  <a:lnTo>
                    <a:pt x="2211388" y="196799"/>
                  </a:lnTo>
                  <a:lnTo>
                    <a:pt x="2211388" y="196113"/>
                  </a:lnTo>
                  <a:lnTo>
                    <a:pt x="2211388" y="199530"/>
                  </a:lnTo>
                  <a:lnTo>
                    <a:pt x="2211388" y="198831"/>
                  </a:lnTo>
                  <a:lnTo>
                    <a:pt x="2211388" y="199530"/>
                  </a:lnTo>
                  <a:lnTo>
                    <a:pt x="2211388" y="198831"/>
                  </a:lnTo>
                  <a:lnTo>
                    <a:pt x="2211439" y="197447"/>
                  </a:lnTo>
                  <a:lnTo>
                    <a:pt x="2211439" y="196799"/>
                  </a:lnTo>
                  <a:lnTo>
                    <a:pt x="2211439" y="198831"/>
                  </a:lnTo>
                  <a:lnTo>
                    <a:pt x="2211490" y="197447"/>
                  </a:lnTo>
                  <a:lnTo>
                    <a:pt x="2211490" y="199530"/>
                  </a:lnTo>
                  <a:lnTo>
                    <a:pt x="2211591" y="199530"/>
                  </a:lnTo>
                  <a:lnTo>
                    <a:pt x="2211591" y="198831"/>
                  </a:lnTo>
                  <a:lnTo>
                    <a:pt x="2211591" y="200228"/>
                  </a:lnTo>
                  <a:lnTo>
                    <a:pt x="2211591" y="199530"/>
                  </a:lnTo>
                  <a:lnTo>
                    <a:pt x="2211591" y="200228"/>
                  </a:lnTo>
                  <a:lnTo>
                    <a:pt x="2211591" y="199530"/>
                  </a:lnTo>
                  <a:lnTo>
                    <a:pt x="2211591" y="200228"/>
                  </a:lnTo>
                  <a:lnTo>
                    <a:pt x="2211591" y="199530"/>
                  </a:lnTo>
                  <a:lnTo>
                    <a:pt x="2211591" y="200228"/>
                  </a:lnTo>
                  <a:lnTo>
                    <a:pt x="2211591" y="199530"/>
                  </a:lnTo>
                  <a:lnTo>
                    <a:pt x="2211591" y="200228"/>
                  </a:lnTo>
                  <a:lnTo>
                    <a:pt x="2211591" y="199530"/>
                  </a:lnTo>
                  <a:lnTo>
                    <a:pt x="2211642" y="200228"/>
                  </a:lnTo>
                  <a:lnTo>
                    <a:pt x="2211642" y="199530"/>
                  </a:lnTo>
                  <a:lnTo>
                    <a:pt x="2211642" y="200228"/>
                  </a:lnTo>
                  <a:lnTo>
                    <a:pt x="2211642" y="199530"/>
                  </a:lnTo>
                  <a:lnTo>
                    <a:pt x="2211642" y="200228"/>
                  </a:lnTo>
                  <a:lnTo>
                    <a:pt x="2211642" y="199530"/>
                  </a:lnTo>
                  <a:lnTo>
                    <a:pt x="2211642" y="200228"/>
                  </a:lnTo>
                  <a:lnTo>
                    <a:pt x="2211642" y="199530"/>
                  </a:lnTo>
                  <a:lnTo>
                    <a:pt x="2211693" y="199530"/>
                  </a:lnTo>
                  <a:lnTo>
                    <a:pt x="2211693" y="198831"/>
                  </a:lnTo>
                  <a:lnTo>
                    <a:pt x="2211693" y="199530"/>
                  </a:lnTo>
                  <a:lnTo>
                    <a:pt x="2211693" y="198831"/>
                  </a:lnTo>
                  <a:lnTo>
                    <a:pt x="2211693" y="199530"/>
                  </a:lnTo>
                  <a:lnTo>
                    <a:pt x="2211794" y="199530"/>
                  </a:lnTo>
                  <a:lnTo>
                    <a:pt x="2211794" y="196799"/>
                  </a:lnTo>
                  <a:lnTo>
                    <a:pt x="2211794" y="197447"/>
                  </a:lnTo>
                  <a:lnTo>
                    <a:pt x="2211845" y="196799"/>
                  </a:lnTo>
                  <a:lnTo>
                    <a:pt x="2211845" y="198831"/>
                  </a:lnTo>
                  <a:lnTo>
                    <a:pt x="2211845" y="197447"/>
                  </a:lnTo>
                  <a:lnTo>
                    <a:pt x="2211845" y="198831"/>
                  </a:lnTo>
                  <a:lnTo>
                    <a:pt x="2211845" y="196799"/>
                  </a:lnTo>
                  <a:lnTo>
                    <a:pt x="2211845" y="197447"/>
                  </a:lnTo>
                  <a:lnTo>
                    <a:pt x="2211896" y="197447"/>
                  </a:lnTo>
                  <a:lnTo>
                    <a:pt x="2211896" y="199530"/>
                  </a:lnTo>
                  <a:lnTo>
                    <a:pt x="2211896" y="197447"/>
                  </a:lnTo>
                  <a:lnTo>
                    <a:pt x="2211896" y="198831"/>
                  </a:lnTo>
                  <a:lnTo>
                    <a:pt x="2211934" y="198831"/>
                  </a:lnTo>
                  <a:lnTo>
                    <a:pt x="2211934" y="199530"/>
                  </a:lnTo>
                  <a:lnTo>
                    <a:pt x="2211934" y="198831"/>
                  </a:lnTo>
                  <a:lnTo>
                    <a:pt x="2211934" y="199530"/>
                  </a:lnTo>
                  <a:lnTo>
                    <a:pt x="2211934" y="198831"/>
                  </a:lnTo>
                  <a:lnTo>
                    <a:pt x="2211934" y="199530"/>
                  </a:lnTo>
                  <a:lnTo>
                    <a:pt x="2211934" y="198831"/>
                  </a:lnTo>
                  <a:lnTo>
                    <a:pt x="2212036" y="199530"/>
                  </a:lnTo>
                  <a:lnTo>
                    <a:pt x="2212036" y="200228"/>
                  </a:lnTo>
                  <a:lnTo>
                    <a:pt x="2212036" y="199530"/>
                  </a:lnTo>
                  <a:lnTo>
                    <a:pt x="2212036" y="200228"/>
                  </a:lnTo>
                  <a:lnTo>
                    <a:pt x="2212087" y="200228"/>
                  </a:lnTo>
                  <a:lnTo>
                    <a:pt x="2212087" y="199530"/>
                  </a:lnTo>
                  <a:lnTo>
                    <a:pt x="2212087" y="200228"/>
                  </a:lnTo>
                  <a:lnTo>
                    <a:pt x="2212137" y="199530"/>
                  </a:lnTo>
                  <a:lnTo>
                    <a:pt x="2212137" y="200228"/>
                  </a:lnTo>
                  <a:lnTo>
                    <a:pt x="2212137" y="199530"/>
                  </a:lnTo>
                  <a:lnTo>
                    <a:pt x="2212137" y="200228"/>
                  </a:lnTo>
                  <a:lnTo>
                    <a:pt x="2212137" y="199530"/>
                  </a:lnTo>
                  <a:lnTo>
                    <a:pt x="2212239" y="199530"/>
                  </a:lnTo>
                  <a:lnTo>
                    <a:pt x="2212239" y="198831"/>
                  </a:lnTo>
                  <a:lnTo>
                    <a:pt x="2212239" y="199530"/>
                  </a:lnTo>
                  <a:lnTo>
                    <a:pt x="2212239" y="198831"/>
                  </a:lnTo>
                  <a:lnTo>
                    <a:pt x="2212239" y="199530"/>
                  </a:lnTo>
                  <a:lnTo>
                    <a:pt x="2212239" y="197447"/>
                  </a:lnTo>
                  <a:lnTo>
                    <a:pt x="2212290" y="197447"/>
                  </a:lnTo>
                  <a:lnTo>
                    <a:pt x="2212290" y="196113"/>
                  </a:lnTo>
                  <a:lnTo>
                    <a:pt x="2212290" y="196799"/>
                  </a:lnTo>
                  <a:lnTo>
                    <a:pt x="2212290" y="196113"/>
                  </a:lnTo>
                  <a:lnTo>
                    <a:pt x="2212340" y="196113"/>
                  </a:lnTo>
                  <a:lnTo>
                    <a:pt x="2212340" y="195415"/>
                  </a:lnTo>
                  <a:lnTo>
                    <a:pt x="2212340" y="197447"/>
                  </a:lnTo>
                  <a:lnTo>
                    <a:pt x="2212340" y="196113"/>
                  </a:lnTo>
                  <a:lnTo>
                    <a:pt x="2212391" y="195415"/>
                  </a:lnTo>
                  <a:lnTo>
                    <a:pt x="2212391" y="198831"/>
                  </a:lnTo>
                  <a:lnTo>
                    <a:pt x="2212391" y="196799"/>
                  </a:lnTo>
                  <a:lnTo>
                    <a:pt x="2212480" y="196799"/>
                  </a:lnTo>
                  <a:lnTo>
                    <a:pt x="2212480" y="198831"/>
                  </a:lnTo>
                  <a:lnTo>
                    <a:pt x="2212480" y="196799"/>
                  </a:lnTo>
                  <a:lnTo>
                    <a:pt x="2212480" y="197447"/>
                  </a:lnTo>
                  <a:lnTo>
                    <a:pt x="2212531" y="198831"/>
                  </a:lnTo>
                  <a:lnTo>
                    <a:pt x="2212531" y="199530"/>
                  </a:lnTo>
                  <a:lnTo>
                    <a:pt x="2212582" y="199530"/>
                  </a:lnTo>
                  <a:lnTo>
                    <a:pt x="2212582" y="200228"/>
                  </a:lnTo>
                  <a:lnTo>
                    <a:pt x="2212582" y="199530"/>
                  </a:lnTo>
                  <a:lnTo>
                    <a:pt x="2212633" y="200228"/>
                  </a:lnTo>
                  <a:lnTo>
                    <a:pt x="2212633" y="199530"/>
                  </a:lnTo>
                  <a:lnTo>
                    <a:pt x="2212633" y="200228"/>
                  </a:lnTo>
                  <a:lnTo>
                    <a:pt x="2212633" y="199530"/>
                  </a:lnTo>
                  <a:lnTo>
                    <a:pt x="2212633" y="200228"/>
                  </a:lnTo>
                  <a:lnTo>
                    <a:pt x="2212734" y="199530"/>
                  </a:lnTo>
                  <a:lnTo>
                    <a:pt x="2212734" y="200228"/>
                  </a:lnTo>
                  <a:lnTo>
                    <a:pt x="2212734" y="199530"/>
                  </a:lnTo>
                  <a:lnTo>
                    <a:pt x="2212734" y="200228"/>
                  </a:lnTo>
                  <a:lnTo>
                    <a:pt x="2212734" y="198831"/>
                  </a:lnTo>
                  <a:lnTo>
                    <a:pt x="2212785" y="198831"/>
                  </a:lnTo>
                  <a:lnTo>
                    <a:pt x="2212785" y="199530"/>
                  </a:lnTo>
                  <a:lnTo>
                    <a:pt x="2212785" y="196799"/>
                  </a:lnTo>
                  <a:lnTo>
                    <a:pt x="2212785" y="198831"/>
                  </a:lnTo>
                  <a:lnTo>
                    <a:pt x="2212836" y="198831"/>
                  </a:lnTo>
                  <a:lnTo>
                    <a:pt x="2212836" y="196113"/>
                  </a:lnTo>
                  <a:lnTo>
                    <a:pt x="2212836" y="198831"/>
                  </a:lnTo>
                  <a:lnTo>
                    <a:pt x="2212937" y="198831"/>
                  </a:lnTo>
                  <a:lnTo>
                    <a:pt x="2212937" y="197447"/>
                  </a:lnTo>
                  <a:lnTo>
                    <a:pt x="2212937" y="198831"/>
                  </a:lnTo>
                  <a:lnTo>
                    <a:pt x="2212975" y="198831"/>
                  </a:lnTo>
                  <a:lnTo>
                    <a:pt x="2212975" y="197447"/>
                  </a:lnTo>
                  <a:lnTo>
                    <a:pt x="2212975" y="199530"/>
                  </a:lnTo>
                  <a:lnTo>
                    <a:pt x="2212975" y="198831"/>
                  </a:lnTo>
                  <a:lnTo>
                    <a:pt x="2213026" y="199530"/>
                  </a:lnTo>
                  <a:lnTo>
                    <a:pt x="2213026" y="198831"/>
                  </a:lnTo>
                  <a:lnTo>
                    <a:pt x="2213026" y="199530"/>
                  </a:lnTo>
                  <a:lnTo>
                    <a:pt x="2213026" y="198831"/>
                  </a:lnTo>
                  <a:lnTo>
                    <a:pt x="2213026" y="199530"/>
                  </a:lnTo>
                  <a:lnTo>
                    <a:pt x="2213026" y="198831"/>
                  </a:lnTo>
                  <a:lnTo>
                    <a:pt x="2213026" y="199530"/>
                  </a:lnTo>
                  <a:lnTo>
                    <a:pt x="2213026" y="198831"/>
                  </a:lnTo>
                  <a:lnTo>
                    <a:pt x="2213077" y="198831"/>
                  </a:lnTo>
                  <a:lnTo>
                    <a:pt x="2213077" y="199530"/>
                  </a:lnTo>
                  <a:lnTo>
                    <a:pt x="2213179" y="199530"/>
                  </a:lnTo>
                  <a:lnTo>
                    <a:pt x="2213179" y="198831"/>
                  </a:lnTo>
                  <a:lnTo>
                    <a:pt x="2213179" y="199530"/>
                  </a:lnTo>
                  <a:lnTo>
                    <a:pt x="2213179" y="198831"/>
                  </a:lnTo>
                  <a:lnTo>
                    <a:pt x="2213179" y="199530"/>
                  </a:lnTo>
                  <a:lnTo>
                    <a:pt x="2213230" y="199530"/>
                  </a:lnTo>
                  <a:lnTo>
                    <a:pt x="2213230" y="197447"/>
                  </a:lnTo>
                  <a:lnTo>
                    <a:pt x="2213230" y="198831"/>
                  </a:lnTo>
                  <a:lnTo>
                    <a:pt x="2213280" y="198831"/>
                  </a:lnTo>
                  <a:lnTo>
                    <a:pt x="2213280" y="196799"/>
                  </a:lnTo>
                  <a:lnTo>
                    <a:pt x="2213280" y="199530"/>
                  </a:lnTo>
                  <a:lnTo>
                    <a:pt x="2213280" y="198831"/>
                  </a:lnTo>
                  <a:lnTo>
                    <a:pt x="2213382" y="197447"/>
                  </a:lnTo>
                  <a:lnTo>
                    <a:pt x="2213382" y="200228"/>
                  </a:lnTo>
                  <a:lnTo>
                    <a:pt x="2213382" y="199530"/>
                  </a:lnTo>
                  <a:lnTo>
                    <a:pt x="2213433" y="199530"/>
                  </a:lnTo>
                  <a:lnTo>
                    <a:pt x="2213433" y="200876"/>
                  </a:lnTo>
                  <a:lnTo>
                    <a:pt x="2213433" y="200228"/>
                  </a:lnTo>
                  <a:lnTo>
                    <a:pt x="2213484" y="200228"/>
                  </a:lnTo>
                  <a:lnTo>
                    <a:pt x="2213484" y="200876"/>
                  </a:lnTo>
                  <a:lnTo>
                    <a:pt x="2213484" y="200228"/>
                  </a:lnTo>
                  <a:lnTo>
                    <a:pt x="2213484" y="200876"/>
                  </a:lnTo>
                  <a:lnTo>
                    <a:pt x="2213484" y="200228"/>
                  </a:lnTo>
                  <a:lnTo>
                    <a:pt x="2213623" y="200228"/>
                  </a:lnTo>
                  <a:lnTo>
                    <a:pt x="2213623" y="199530"/>
                  </a:lnTo>
                  <a:lnTo>
                    <a:pt x="2213623" y="200228"/>
                  </a:lnTo>
                  <a:lnTo>
                    <a:pt x="2213623" y="199530"/>
                  </a:lnTo>
                  <a:lnTo>
                    <a:pt x="2213623" y="200228"/>
                  </a:lnTo>
                  <a:lnTo>
                    <a:pt x="2213674" y="200228"/>
                  </a:lnTo>
                  <a:lnTo>
                    <a:pt x="2213674" y="199530"/>
                  </a:lnTo>
                  <a:lnTo>
                    <a:pt x="2213725" y="199530"/>
                  </a:lnTo>
                  <a:lnTo>
                    <a:pt x="2213725" y="197447"/>
                  </a:lnTo>
                  <a:lnTo>
                    <a:pt x="2213725" y="198831"/>
                  </a:lnTo>
                  <a:lnTo>
                    <a:pt x="2213826" y="198831"/>
                  </a:lnTo>
                  <a:lnTo>
                    <a:pt x="2213826" y="200876"/>
                  </a:lnTo>
                  <a:lnTo>
                    <a:pt x="2213826" y="198831"/>
                  </a:lnTo>
                  <a:lnTo>
                    <a:pt x="2213826" y="200876"/>
                  </a:lnTo>
                  <a:lnTo>
                    <a:pt x="2213877" y="202260"/>
                  </a:lnTo>
                  <a:lnTo>
                    <a:pt x="2213877" y="199530"/>
                  </a:lnTo>
                  <a:lnTo>
                    <a:pt x="2213877" y="202260"/>
                  </a:lnTo>
                  <a:lnTo>
                    <a:pt x="2213928" y="200876"/>
                  </a:lnTo>
                  <a:lnTo>
                    <a:pt x="2213928" y="202260"/>
                  </a:lnTo>
                  <a:lnTo>
                    <a:pt x="2213928" y="200876"/>
                  </a:lnTo>
                  <a:lnTo>
                    <a:pt x="2213928" y="202260"/>
                  </a:lnTo>
                  <a:lnTo>
                    <a:pt x="2213928" y="200876"/>
                  </a:lnTo>
                  <a:lnTo>
                    <a:pt x="2213928" y="202260"/>
                  </a:lnTo>
                  <a:lnTo>
                    <a:pt x="2213979" y="202260"/>
                  </a:lnTo>
                  <a:lnTo>
                    <a:pt x="2213979" y="200876"/>
                  </a:lnTo>
                  <a:lnTo>
                    <a:pt x="2213979" y="202260"/>
                  </a:lnTo>
                  <a:lnTo>
                    <a:pt x="2214068" y="202260"/>
                  </a:lnTo>
                  <a:lnTo>
                    <a:pt x="2214068" y="200876"/>
                  </a:lnTo>
                  <a:lnTo>
                    <a:pt x="2214068" y="202260"/>
                  </a:lnTo>
                  <a:lnTo>
                    <a:pt x="2214068" y="200876"/>
                  </a:lnTo>
                  <a:lnTo>
                    <a:pt x="2214119" y="200876"/>
                  </a:lnTo>
                  <a:lnTo>
                    <a:pt x="2214119" y="199530"/>
                  </a:lnTo>
                  <a:lnTo>
                    <a:pt x="2214119" y="200228"/>
                  </a:lnTo>
                  <a:lnTo>
                    <a:pt x="2214119" y="199530"/>
                  </a:lnTo>
                  <a:lnTo>
                    <a:pt x="2214119" y="200228"/>
                  </a:lnTo>
                  <a:lnTo>
                    <a:pt x="2214119" y="199530"/>
                  </a:lnTo>
                  <a:lnTo>
                    <a:pt x="2214169" y="199530"/>
                  </a:lnTo>
                  <a:lnTo>
                    <a:pt x="2214169" y="200228"/>
                  </a:lnTo>
                  <a:lnTo>
                    <a:pt x="2214169" y="198831"/>
                  </a:lnTo>
                  <a:lnTo>
                    <a:pt x="2214169" y="199530"/>
                  </a:lnTo>
                  <a:lnTo>
                    <a:pt x="2214169" y="197447"/>
                  </a:lnTo>
                  <a:lnTo>
                    <a:pt x="2214220" y="197447"/>
                  </a:lnTo>
                  <a:lnTo>
                    <a:pt x="2214220" y="196799"/>
                  </a:lnTo>
                  <a:lnTo>
                    <a:pt x="2214220" y="200228"/>
                  </a:lnTo>
                  <a:lnTo>
                    <a:pt x="2214220" y="199530"/>
                  </a:lnTo>
                  <a:lnTo>
                    <a:pt x="2214220" y="200228"/>
                  </a:lnTo>
                  <a:lnTo>
                    <a:pt x="2214220" y="199530"/>
                  </a:lnTo>
                  <a:lnTo>
                    <a:pt x="2214322" y="198831"/>
                  </a:lnTo>
                  <a:lnTo>
                    <a:pt x="2214322" y="200876"/>
                  </a:lnTo>
                  <a:lnTo>
                    <a:pt x="2214322" y="200228"/>
                  </a:lnTo>
                  <a:lnTo>
                    <a:pt x="2214372" y="200228"/>
                  </a:lnTo>
                  <a:lnTo>
                    <a:pt x="2214372" y="202260"/>
                  </a:lnTo>
                  <a:lnTo>
                    <a:pt x="2214423" y="202260"/>
                  </a:lnTo>
                  <a:lnTo>
                    <a:pt x="2214423" y="202959"/>
                  </a:lnTo>
                  <a:lnTo>
                    <a:pt x="2214423" y="202260"/>
                  </a:lnTo>
                  <a:lnTo>
                    <a:pt x="2214525" y="202260"/>
                  </a:lnTo>
                  <a:lnTo>
                    <a:pt x="2214525" y="202959"/>
                  </a:lnTo>
                  <a:lnTo>
                    <a:pt x="2214525" y="200876"/>
                  </a:lnTo>
                  <a:lnTo>
                    <a:pt x="2214563" y="200876"/>
                  </a:lnTo>
                  <a:lnTo>
                    <a:pt x="2214563" y="202260"/>
                  </a:lnTo>
                  <a:lnTo>
                    <a:pt x="2214563" y="200876"/>
                  </a:lnTo>
                  <a:lnTo>
                    <a:pt x="2214563" y="202260"/>
                  </a:lnTo>
                  <a:lnTo>
                    <a:pt x="2214563" y="200228"/>
                  </a:lnTo>
                  <a:lnTo>
                    <a:pt x="2214563" y="200876"/>
                  </a:lnTo>
                  <a:lnTo>
                    <a:pt x="2214563" y="200228"/>
                  </a:lnTo>
                  <a:lnTo>
                    <a:pt x="2214563" y="200876"/>
                  </a:lnTo>
                  <a:lnTo>
                    <a:pt x="2214614" y="200876"/>
                  </a:lnTo>
                  <a:lnTo>
                    <a:pt x="2214614" y="200228"/>
                  </a:lnTo>
                  <a:lnTo>
                    <a:pt x="2214665" y="200228"/>
                  </a:lnTo>
                  <a:lnTo>
                    <a:pt x="2214665" y="198831"/>
                  </a:lnTo>
                  <a:lnTo>
                    <a:pt x="2214665" y="199530"/>
                  </a:lnTo>
                  <a:lnTo>
                    <a:pt x="2214665" y="198831"/>
                  </a:lnTo>
                  <a:lnTo>
                    <a:pt x="2214665" y="199530"/>
                  </a:lnTo>
                  <a:lnTo>
                    <a:pt x="2214665" y="198831"/>
                  </a:lnTo>
                  <a:lnTo>
                    <a:pt x="2214665" y="199530"/>
                  </a:lnTo>
                  <a:lnTo>
                    <a:pt x="2214766" y="199530"/>
                  </a:lnTo>
                  <a:lnTo>
                    <a:pt x="2214766" y="200228"/>
                  </a:lnTo>
                  <a:lnTo>
                    <a:pt x="2214766" y="198831"/>
                  </a:lnTo>
                  <a:lnTo>
                    <a:pt x="2214766" y="200876"/>
                  </a:lnTo>
                  <a:lnTo>
                    <a:pt x="2214766" y="200228"/>
                  </a:lnTo>
                  <a:lnTo>
                    <a:pt x="2214766" y="200876"/>
                  </a:lnTo>
                  <a:lnTo>
                    <a:pt x="2214817" y="200876"/>
                  </a:lnTo>
                  <a:lnTo>
                    <a:pt x="2214817" y="200228"/>
                  </a:lnTo>
                  <a:lnTo>
                    <a:pt x="2214817" y="200876"/>
                  </a:lnTo>
                  <a:lnTo>
                    <a:pt x="2214817" y="200228"/>
                  </a:lnTo>
                  <a:lnTo>
                    <a:pt x="2214817" y="200876"/>
                  </a:lnTo>
                  <a:lnTo>
                    <a:pt x="2214868" y="200228"/>
                  </a:lnTo>
                  <a:lnTo>
                    <a:pt x="2214868" y="200876"/>
                  </a:lnTo>
                  <a:lnTo>
                    <a:pt x="2214868" y="200228"/>
                  </a:lnTo>
                  <a:lnTo>
                    <a:pt x="2214868" y="200876"/>
                  </a:lnTo>
                  <a:lnTo>
                    <a:pt x="2214969" y="200876"/>
                  </a:lnTo>
                  <a:lnTo>
                    <a:pt x="2214969" y="202260"/>
                  </a:lnTo>
                  <a:lnTo>
                    <a:pt x="2214969" y="200876"/>
                  </a:lnTo>
                  <a:lnTo>
                    <a:pt x="2214969" y="202260"/>
                  </a:lnTo>
                  <a:lnTo>
                    <a:pt x="2214969" y="200876"/>
                  </a:lnTo>
                  <a:lnTo>
                    <a:pt x="2215020" y="200876"/>
                  </a:lnTo>
                  <a:lnTo>
                    <a:pt x="2215020" y="202260"/>
                  </a:lnTo>
                  <a:lnTo>
                    <a:pt x="2215020" y="200876"/>
                  </a:lnTo>
                  <a:lnTo>
                    <a:pt x="2215071" y="200876"/>
                  </a:lnTo>
                  <a:lnTo>
                    <a:pt x="2215071" y="202260"/>
                  </a:lnTo>
                  <a:lnTo>
                    <a:pt x="2215071" y="200876"/>
                  </a:lnTo>
                  <a:lnTo>
                    <a:pt x="2215071" y="202260"/>
                  </a:lnTo>
                  <a:lnTo>
                    <a:pt x="2215071" y="200876"/>
                  </a:lnTo>
                  <a:lnTo>
                    <a:pt x="2215071" y="202260"/>
                  </a:lnTo>
                  <a:lnTo>
                    <a:pt x="2215071" y="200228"/>
                  </a:lnTo>
                  <a:lnTo>
                    <a:pt x="2215109" y="200228"/>
                  </a:lnTo>
                  <a:lnTo>
                    <a:pt x="2215109" y="199530"/>
                  </a:lnTo>
                  <a:lnTo>
                    <a:pt x="2215109" y="200228"/>
                  </a:lnTo>
                  <a:lnTo>
                    <a:pt x="2215109" y="199530"/>
                  </a:lnTo>
                  <a:lnTo>
                    <a:pt x="2215211" y="198831"/>
                  </a:lnTo>
                  <a:lnTo>
                    <a:pt x="2215211" y="195415"/>
                  </a:lnTo>
                  <a:lnTo>
                    <a:pt x="2215211" y="196113"/>
                  </a:lnTo>
                  <a:lnTo>
                    <a:pt x="2215262" y="196113"/>
                  </a:lnTo>
                  <a:lnTo>
                    <a:pt x="2215262" y="196799"/>
                  </a:lnTo>
                  <a:lnTo>
                    <a:pt x="2215262" y="195415"/>
                  </a:lnTo>
                  <a:lnTo>
                    <a:pt x="2215262" y="196113"/>
                  </a:lnTo>
                  <a:lnTo>
                    <a:pt x="2215312" y="196799"/>
                  </a:lnTo>
                  <a:lnTo>
                    <a:pt x="2215312" y="199530"/>
                  </a:lnTo>
                  <a:lnTo>
                    <a:pt x="2215312" y="197447"/>
                  </a:lnTo>
                  <a:lnTo>
                    <a:pt x="2215312" y="198831"/>
                  </a:lnTo>
                  <a:lnTo>
                    <a:pt x="2215414" y="198831"/>
                  </a:lnTo>
                  <a:lnTo>
                    <a:pt x="2215414" y="199530"/>
                  </a:lnTo>
                  <a:lnTo>
                    <a:pt x="2215414" y="198831"/>
                  </a:lnTo>
                  <a:lnTo>
                    <a:pt x="2215414" y="199530"/>
                  </a:lnTo>
                  <a:lnTo>
                    <a:pt x="2215465" y="200228"/>
                  </a:lnTo>
                  <a:lnTo>
                    <a:pt x="2215465" y="199530"/>
                  </a:lnTo>
                  <a:lnTo>
                    <a:pt x="2215465" y="200228"/>
                  </a:lnTo>
                  <a:lnTo>
                    <a:pt x="2215465" y="199530"/>
                  </a:lnTo>
                  <a:lnTo>
                    <a:pt x="2215465" y="200228"/>
                  </a:lnTo>
                  <a:lnTo>
                    <a:pt x="2215515" y="200228"/>
                  </a:lnTo>
                  <a:lnTo>
                    <a:pt x="2215515" y="199530"/>
                  </a:lnTo>
                  <a:lnTo>
                    <a:pt x="2215515" y="200876"/>
                  </a:lnTo>
                  <a:lnTo>
                    <a:pt x="2215515" y="200228"/>
                  </a:lnTo>
                  <a:lnTo>
                    <a:pt x="2215566" y="200228"/>
                  </a:lnTo>
                  <a:lnTo>
                    <a:pt x="2215566" y="200876"/>
                  </a:lnTo>
                  <a:lnTo>
                    <a:pt x="2215566" y="200228"/>
                  </a:lnTo>
                  <a:lnTo>
                    <a:pt x="2215566" y="200876"/>
                  </a:lnTo>
                  <a:lnTo>
                    <a:pt x="2215566" y="200228"/>
                  </a:lnTo>
                  <a:lnTo>
                    <a:pt x="2215655" y="200228"/>
                  </a:lnTo>
                  <a:lnTo>
                    <a:pt x="2215655" y="199530"/>
                  </a:lnTo>
                  <a:lnTo>
                    <a:pt x="2215655" y="200228"/>
                  </a:lnTo>
                  <a:lnTo>
                    <a:pt x="2215655" y="199530"/>
                  </a:lnTo>
                  <a:lnTo>
                    <a:pt x="2215706" y="199530"/>
                  </a:lnTo>
                  <a:lnTo>
                    <a:pt x="2215706" y="196799"/>
                  </a:lnTo>
                  <a:lnTo>
                    <a:pt x="2215706" y="197447"/>
                  </a:lnTo>
                  <a:lnTo>
                    <a:pt x="2215706" y="196799"/>
                  </a:lnTo>
                  <a:lnTo>
                    <a:pt x="2215757" y="197447"/>
                  </a:lnTo>
                  <a:lnTo>
                    <a:pt x="2215757" y="196113"/>
                  </a:lnTo>
                  <a:lnTo>
                    <a:pt x="2215757" y="199530"/>
                  </a:lnTo>
                  <a:lnTo>
                    <a:pt x="2215808" y="199530"/>
                  </a:lnTo>
                  <a:lnTo>
                    <a:pt x="2215808" y="196799"/>
                  </a:lnTo>
                  <a:lnTo>
                    <a:pt x="2215808" y="198831"/>
                  </a:lnTo>
                  <a:lnTo>
                    <a:pt x="2215808" y="197447"/>
                  </a:lnTo>
                  <a:lnTo>
                    <a:pt x="2215909" y="198831"/>
                  </a:lnTo>
                  <a:lnTo>
                    <a:pt x="2215909" y="197447"/>
                  </a:lnTo>
                  <a:lnTo>
                    <a:pt x="2215909" y="198831"/>
                  </a:lnTo>
                  <a:lnTo>
                    <a:pt x="2215960" y="197447"/>
                  </a:lnTo>
                  <a:lnTo>
                    <a:pt x="2215960" y="198831"/>
                  </a:lnTo>
                  <a:lnTo>
                    <a:pt x="2216011" y="198831"/>
                  </a:lnTo>
                  <a:lnTo>
                    <a:pt x="2216011" y="199530"/>
                  </a:lnTo>
                  <a:lnTo>
                    <a:pt x="2216011" y="198831"/>
                  </a:lnTo>
                  <a:lnTo>
                    <a:pt x="2216011" y="199530"/>
                  </a:lnTo>
                  <a:lnTo>
                    <a:pt x="2216112" y="199530"/>
                  </a:lnTo>
                  <a:lnTo>
                    <a:pt x="2216112" y="198831"/>
                  </a:lnTo>
                  <a:lnTo>
                    <a:pt x="2216112" y="199530"/>
                  </a:lnTo>
                  <a:lnTo>
                    <a:pt x="2216150" y="199530"/>
                  </a:lnTo>
                  <a:lnTo>
                    <a:pt x="2216150" y="197447"/>
                  </a:lnTo>
                  <a:lnTo>
                    <a:pt x="2216201" y="198831"/>
                  </a:lnTo>
                  <a:lnTo>
                    <a:pt x="2216201" y="196799"/>
                  </a:lnTo>
                  <a:lnTo>
                    <a:pt x="2216201" y="198831"/>
                  </a:lnTo>
                  <a:lnTo>
                    <a:pt x="2216201" y="196799"/>
                  </a:lnTo>
                  <a:lnTo>
                    <a:pt x="2216201" y="197447"/>
                  </a:lnTo>
                  <a:lnTo>
                    <a:pt x="2216252" y="197447"/>
                  </a:lnTo>
                  <a:lnTo>
                    <a:pt x="2216252" y="196799"/>
                  </a:lnTo>
                  <a:lnTo>
                    <a:pt x="2216252" y="199530"/>
                  </a:lnTo>
                  <a:lnTo>
                    <a:pt x="2216252" y="198831"/>
                  </a:lnTo>
                  <a:lnTo>
                    <a:pt x="2216354" y="198831"/>
                  </a:lnTo>
                  <a:lnTo>
                    <a:pt x="2216354" y="197447"/>
                  </a:lnTo>
                  <a:lnTo>
                    <a:pt x="2216354" y="199530"/>
                  </a:lnTo>
                  <a:lnTo>
                    <a:pt x="2216405" y="199530"/>
                  </a:lnTo>
                  <a:lnTo>
                    <a:pt x="2216405" y="198831"/>
                  </a:lnTo>
                  <a:lnTo>
                    <a:pt x="2216405" y="200228"/>
                  </a:lnTo>
                  <a:lnTo>
                    <a:pt x="2216405" y="199530"/>
                  </a:lnTo>
                  <a:lnTo>
                    <a:pt x="2216405" y="200228"/>
                  </a:lnTo>
                  <a:lnTo>
                    <a:pt x="2216405" y="198831"/>
                  </a:lnTo>
                  <a:lnTo>
                    <a:pt x="2216405" y="199530"/>
                  </a:lnTo>
                  <a:lnTo>
                    <a:pt x="2216455" y="199530"/>
                  </a:lnTo>
                  <a:lnTo>
                    <a:pt x="2216455" y="200228"/>
                  </a:lnTo>
                  <a:lnTo>
                    <a:pt x="2216455" y="199530"/>
                  </a:lnTo>
                  <a:lnTo>
                    <a:pt x="2216455" y="200228"/>
                  </a:lnTo>
                  <a:lnTo>
                    <a:pt x="2216455" y="198831"/>
                  </a:lnTo>
                  <a:lnTo>
                    <a:pt x="2216455" y="199530"/>
                  </a:lnTo>
                  <a:lnTo>
                    <a:pt x="2216557" y="199530"/>
                  </a:lnTo>
                  <a:lnTo>
                    <a:pt x="2216557" y="198831"/>
                  </a:lnTo>
                  <a:lnTo>
                    <a:pt x="2216557" y="199530"/>
                  </a:lnTo>
                  <a:lnTo>
                    <a:pt x="2216659" y="199530"/>
                  </a:lnTo>
                  <a:lnTo>
                    <a:pt x="2216659" y="198831"/>
                  </a:lnTo>
                  <a:lnTo>
                    <a:pt x="2216659" y="199530"/>
                  </a:lnTo>
                  <a:lnTo>
                    <a:pt x="2216659" y="198831"/>
                  </a:lnTo>
                  <a:lnTo>
                    <a:pt x="2216659" y="199530"/>
                  </a:lnTo>
                  <a:lnTo>
                    <a:pt x="2216659" y="197447"/>
                  </a:lnTo>
                  <a:lnTo>
                    <a:pt x="2216697" y="196799"/>
                  </a:lnTo>
                  <a:lnTo>
                    <a:pt x="2216697" y="197447"/>
                  </a:lnTo>
                  <a:lnTo>
                    <a:pt x="2216697" y="196799"/>
                  </a:lnTo>
                  <a:lnTo>
                    <a:pt x="2216697" y="198831"/>
                  </a:lnTo>
                  <a:lnTo>
                    <a:pt x="2216697" y="196799"/>
                  </a:lnTo>
                  <a:lnTo>
                    <a:pt x="2216798" y="196113"/>
                  </a:lnTo>
                  <a:lnTo>
                    <a:pt x="2216798" y="200228"/>
                  </a:lnTo>
                  <a:lnTo>
                    <a:pt x="2216798" y="198831"/>
                  </a:lnTo>
                  <a:lnTo>
                    <a:pt x="2216849" y="198831"/>
                  </a:lnTo>
                  <a:lnTo>
                    <a:pt x="2216849" y="200228"/>
                  </a:lnTo>
                  <a:lnTo>
                    <a:pt x="2216849" y="199530"/>
                  </a:lnTo>
                  <a:lnTo>
                    <a:pt x="2216849" y="200228"/>
                  </a:lnTo>
                  <a:lnTo>
                    <a:pt x="2216849" y="198831"/>
                  </a:lnTo>
                  <a:lnTo>
                    <a:pt x="2216849" y="199530"/>
                  </a:lnTo>
                  <a:lnTo>
                    <a:pt x="2216849" y="198831"/>
                  </a:lnTo>
                  <a:lnTo>
                    <a:pt x="2216900" y="198831"/>
                  </a:lnTo>
                  <a:lnTo>
                    <a:pt x="2216900" y="200228"/>
                  </a:lnTo>
                  <a:lnTo>
                    <a:pt x="2216900" y="199530"/>
                  </a:lnTo>
                  <a:lnTo>
                    <a:pt x="2216900" y="200228"/>
                  </a:lnTo>
                  <a:lnTo>
                    <a:pt x="2216900" y="199530"/>
                  </a:lnTo>
                  <a:lnTo>
                    <a:pt x="2217001" y="200228"/>
                  </a:lnTo>
                  <a:lnTo>
                    <a:pt x="2217001" y="199530"/>
                  </a:lnTo>
                  <a:lnTo>
                    <a:pt x="2217001" y="200228"/>
                  </a:lnTo>
                  <a:lnTo>
                    <a:pt x="2217001" y="199530"/>
                  </a:lnTo>
                  <a:lnTo>
                    <a:pt x="2217001" y="200228"/>
                  </a:lnTo>
                  <a:lnTo>
                    <a:pt x="2217052" y="200228"/>
                  </a:lnTo>
                  <a:lnTo>
                    <a:pt x="2217052" y="199530"/>
                  </a:lnTo>
                  <a:lnTo>
                    <a:pt x="2217052" y="200228"/>
                  </a:lnTo>
                  <a:lnTo>
                    <a:pt x="2217052" y="199530"/>
                  </a:lnTo>
                  <a:lnTo>
                    <a:pt x="2217052" y="200228"/>
                  </a:lnTo>
                  <a:lnTo>
                    <a:pt x="2217052" y="199530"/>
                  </a:lnTo>
                  <a:lnTo>
                    <a:pt x="2217103" y="200228"/>
                  </a:lnTo>
                  <a:lnTo>
                    <a:pt x="2217103" y="199530"/>
                  </a:lnTo>
                  <a:lnTo>
                    <a:pt x="2217103" y="200228"/>
                  </a:lnTo>
                  <a:lnTo>
                    <a:pt x="2217103" y="198831"/>
                  </a:lnTo>
                  <a:lnTo>
                    <a:pt x="2217154" y="198831"/>
                  </a:lnTo>
                  <a:lnTo>
                    <a:pt x="2217154" y="196113"/>
                  </a:lnTo>
                  <a:lnTo>
                    <a:pt x="2217243" y="196113"/>
                  </a:lnTo>
                  <a:lnTo>
                    <a:pt x="2217243" y="195415"/>
                  </a:lnTo>
                  <a:lnTo>
                    <a:pt x="2217243" y="196113"/>
                  </a:lnTo>
                  <a:lnTo>
                    <a:pt x="2217243" y="195415"/>
                  </a:lnTo>
                  <a:lnTo>
                    <a:pt x="2217243" y="196799"/>
                  </a:lnTo>
                  <a:lnTo>
                    <a:pt x="2217243" y="195415"/>
                  </a:lnTo>
                  <a:lnTo>
                    <a:pt x="2217294" y="195415"/>
                  </a:lnTo>
                  <a:lnTo>
                    <a:pt x="2217294" y="198831"/>
                  </a:lnTo>
                  <a:lnTo>
                    <a:pt x="2217294" y="197447"/>
                  </a:lnTo>
                  <a:lnTo>
                    <a:pt x="2217344" y="197447"/>
                  </a:lnTo>
                  <a:lnTo>
                    <a:pt x="2217344" y="196799"/>
                  </a:lnTo>
                  <a:lnTo>
                    <a:pt x="2217344" y="198831"/>
                  </a:lnTo>
                  <a:lnTo>
                    <a:pt x="2217344" y="197447"/>
                  </a:lnTo>
                  <a:lnTo>
                    <a:pt x="2217344" y="198831"/>
                  </a:lnTo>
                  <a:lnTo>
                    <a:pt x="2217344" y="197447"/>
                  </a:lnTo>
                  <a:lnTo>
                    <a:pt x="2217395" y="197447"/>
                  </a:lnTo>
                  <a:lnTo>
                    <a:pt x="2217395" y="199530"/>
                  </a:lnTo>
                  <a:lnTo>
                    <a:pt x="2217395" y="198831"/>
                  </a:lnTo>
                  <a:lnTo>
                    <a:pt x="2217497" y="198831"/>
                  </a:lnTo>
                  <a:lnTo>
                    <a:pt x="2217497" y="199530"/>
                  </a:lnTo>
                  <a:lnTo>
                    <a:pt x="2217497" y="198831"/>
                  </a:lnTo>
                  <a:lnTo>
                    <a:pt x="2217497" y="199530"/>
                  </a:lnTo>
                  <a:lnTo>
                    <a:pt x="2217497" y="198831"/>
                  </a:lnTo>
                  <a:lnTo>
                    <a:pt x="2217497" y="199530"/>
                  </a:lnTo>
                  <a:lnTo>
                    <a:pt x="2217497" y="198831"/>
                  </a:lnTo>
                  <a:lnTo>
                    <a:pt x="2217497" y="199530"/>
                  </a:lnTo>
                  <a:lnTo>
                    <a:pt x="2217547" y="199530"/>
                  </a:lnTo>
                  <a:lnTo>
                    <a:pt x="2217547" y="200228"/>
                  </a:lnTo>
                  <a:lnTo>
                    <a:pt x="2217547" y="199530"/>
                  </a:lnTo>
                  <a:lnTo>
                    <a:pt x="2217598" y="199530"/>
                  </a:lnTo>
                  <a:lnTo>
                    <a:pt x="2217598" y="200228"/>
                  </a:lnTo>
                  <a:lnTo>
                    <a:pt x="2217598" y="198831"/>
                  </a:lnTo>
                  <a:lnTo>
                    <a:pt x="2217598" y="199530"/>
                  </a:lnTo>
                  <a:lnTo>
                    <a:pt x="2217598" y="198831"/>
                  </a:lnTo>
                  <a:lnTo>
                    <a:pt x="2217700" y="198831"/>
                  </a:lnTo>
                  <a:lnTo>
                    <a:pt x="2217700" y="197447"/>
                  </a:lnTo>
                  <a:lnTo>
                    <a:pt x="2217700" y="198831"/>
                  </a:lnTo>
                  <a:lnTo>
                    <a:pt x="2217700" y="196113"/>
                  </a:lnTo>
                  <a:lnTo>
                    <a:pt x="2217738" y="196113"/>
                  </a:lnTo>
                  <a:lnTo>
                    <a:pt x="2217738" y="197447"/>
                  </a:lnTo>
                  <a:lnTo>
                    <a:pt x="2217738" y="196113"/>
                  </a:lnTo>
                  <a:lnTo>
                    <a:pt x="2217738" y="196799"/>
                  </a:lnTo>
                  <a:lnTo>
                    <a:pt x="2217789" y="196799"/>
                  </a:lnTo>
                  <a:lnTo>
                    <a:pt x="2217789" y="198831"/>
                  </a:lnTo>
                  <a:lnTo>
                    <a:pt x="2217789" y="196799"/>
                  </a:lnTo>
                  <a:lnTo>
                    <a:pt x="2217789" y="197447"/>
                  </a:lnTo>
                  <a:lnTo>
                    <a:pt x="2217840" y="197447"/>
                  </a:lnTo>
                  <a:lnTo>
                    <a:pt x="2217840" y="199530"/>
                  </a:lnTo>
                  <a:lnTo>
                    <a:pt x="2217840" y="197447"/>
                  </a:lnTo>
                  <a:lnTo>
                    <a:pt x="2217840" y="198831"/>
                  </a:lnTo>
                  <a:lnTo>
                    <a:pt x="2217840" y="197447"/>
                  </a:lnTo>
                  <a:lnTo>
                    <a:pt x="2217941" y="197447"/>
                  </a:lnTo>
                  <a:lnTo>
                    <a:pt x="2217941" y="198831"/>
                  </a:lnTo>
                  <a:lnTo>
                    <a:pt x="2217992" y="198831"/>
                  </a:lnTo>
                  <a:lnTo>
                    <a:pt x="2217992" y="199530"/>
                  </a:lnTo>
                  <a:lnTo>
                    <a:pt x="2217992" y="198831"/>
                  </a:lnTo>
                  <a:lnTo>
                    <a:pt x="2217992" y="199530"/>
                  </a:lnTo>
                  <a:lnTo>
                    <a:pt x="2217992" y="198831"/>
                  </a:lnTo>
                  <a:lnTo>
                    <a:pt x="2217992" y="199530"/>
                  </a:lnTo>
                  <a:lnTo>
                    <a:pt x="2218043" y="199530"/>
                  </a:lnTo>
                  <a:lnTo>
                    <a:pt x="2218043" y="200228"/>
                  </a:lnTo>
                  <a:lnTo>
                    <a:pt x="2218043" y="199530"/>
                  </a:lnTo>
                  <a:lnTo>
                    <a:pt x="2218043" y="200228"/>
                  </a:lnTo>
                  <a:lnTo>
                    <a:pt x="2218144" y="200228"/>
                  </a:lnTo>
                  <a:lnTo>
                    <a:pt x="2218144" y="198831"/>
                  </a:lnTo>
                  <a:lnTo>
                    <a:pt x="2218195" y="198831"/>
                  </a:lnTo>
                  <a:lnTo>
                    <a:pt x="2218195" y="196799"/>
                  </a:lnTo>
                  <a:lnTo>
                    <a:pt x="2218195" y="197447"/>
                  </a:lnTo>
                  <a:lnTo>
                    <a:pt x="2218195" y="196799"/>
                  </a:lnTo>
                  <a:lnTo>
                    <a:pt x="2218195" y="197447"/>
                  </a:lnTo>
                  <a:lnTo>
                    <a:pt x="2218195" y="196113"/>
                  </a:lnTo>
                  <a:lnTo>
                    <a:pt x="2218246" y="196113"/>
                  </a:lnTo>
                  <a:lnTo>
                    <a:pt x="2218246" y="196799"/>
                  </a:lnTo>
                  <a:lnTo>
                    <a:pt x="2218246" y="196113"/>
                  </a:lnTo>
                  <a:lnTo>
                    <a:pt x="2218284" y="196113"/>
                  </a:lnTo>
                  <a:lnTo>
                    <a:pt x="2218284" y="198831"/>
                  </a:lnTo>
                  <a:lnTo>
                    <a:pt x="2218284" y="197447"/>
                  </a:lnTo>
                  <a:lnTo>
                    <a:pt x="2218284" y="198831"/>
                  </a:lnTo>
                  <a:lnTo>
                    <a:pt x="2218284" y="196799"/>
                  </a:lnTo>
                  <a:lnTo>
                    <a:pt x="2218284" y="197447"/>
                  </a:lnTo>
                  <a:lnTo>
                    <a:pt x="2218386" y="197447"/>
                  </a:lnTo>
                  <a:lnTo>
                    <a:pt x="2218386" y="199530"/>
                  </a:lnTo>
                  <a:lnTo>
                    <a:pt x="2218386" y="197447"/>
                  </a:lnTo>
                  <a:lnTo>
                    <a:pt x="2218386" y="198831"/>
                  </a:lnTo>
                  <a:lnTo>
                    <a:pt x="2218437" y="198831"/>
                  </a:lnTo>
                  <a:lnTo>
                    <a:pt x="2218437" y="199530"/>
                  </a:lnTo>
                  <a:lnTo>
                    <a:pt x="2218437" y="198831"/>
                  </a:lnTo>
                  <a:lnTo>
                    <a:pt x="2218437" y="199530"/>
                  </a:lnTo>
                  <a:lnTo>
                    <a:pt x="2218437" y="198831"/>
                  </a:lnTo>
                  <a:lnTo>
                    <a:pt x="2218437" y="199530"/>
                  </a:lnTo>
                  <a:lnTo>
                    <a:pt x="2218487" y="199530"/>
                  </a:lnTo>
                  <a:lnTo>
                    <a:pt x="2218487" y="198831"/>
                  </a:lnTo>
                  <a:lnTo>
                    <a:pt x="2218487" y="200228"/>
                  </a:lnTo>
                  <a:lnTo>
                    <a:pt x="2218487" y="199530"/>
                  </a:lnTo>
                  <a:lnTo>
                    <a:pt x="2218487" y="200228"/>
                  </a:lnTo>
                  <a:lnTo>
                    <a:pt x="2218589" y="200228"/>
                  </a:lnTo>
                  <a:lnTo>
                    <a:pt x="2218589" y="199530"/>
                  </a:lnTo>
                  <a:lnTo>
                    <a:pt x="2218589" y="200228"/>
                  </a:lnTo>
                  <a:lnTo>
                    <a:pt x="2218589" y="199530"/>
                  </a:lnTo>
                  <a:lnTo>
                    <a:pt x="2218589" y="200228"/>
                  </a:lnTo>
                  <a:lnTo>
                    <a:pt x="2218640" y="199530"/>
                  </a:lnTo>
                  <a:lnTo>
                    <a:pt x="2218640" y="198831"/>
                  </a:lnTo>
                  <a:lnTo>
                    <a:pt x="2218690" y="198831"/>
                  </a:lnTo>
                  <a:lnTo>
                    <a:pt x="2218690" y="196799"/>
                  </a:lnTo>
                  <a:lnTo>
                    <a:pt x="2218690" y="197447"/>
                  </a:lnTo>
                  <a:lnTo>
                    <a:pt x="2218690" y="196799"/>
                  </a:lnTo>
                  <a:lnTo>
                    <a:pt x="2218690" y="198831"/>
                  </a:lnTo>
                  <a:lnTo>
                    <a:pt x="2218741" y="198831"/>
                  </a:lnTo>
                  <a:lnTo>
                    <a:pt x="2218741" y="196799"/>
                  </a:lnTo>
                  <a:lnTo>
                    <a:pt x="2218741" y="197447"/>
                  </a:lnTo>
                  <a:lnTo>
                    <a:pt x="2218741" y="196799"/>
                  </a:lnTo>
                  <a:lnTo>
                    <a:pt x="2218741" y="200228"/>
                  </a:lnTo>
                  <a:lnTo>
                    <a:pt x="2218830" y="199530"/>
                  </a:lnTo>
                  <a:lnTo>
                    <a:pt x="2218830" y="197447"/>
                  </a:lnTo>
                  <a:lnTo>
                    <a:pt x="2218830" y="199530"/>
                  </a:lnTo>
                  <a:lnTo>
                    <a:pt x="2218830" y="198831"/>
                  </a:lnTo>
                  <a:lnTo>
                    <a:pt x="2218881" y="198831"/>
                  </a:lnTo>
                  <a:lnTo>
                    <a:pt x="2218881" y="197447"/>
                  </a:lnTo>
                  <a:lnTo>
                    <a:pt x="2218881" y="198831"/>
                  </a:lnTo>
                  <a:lnTo>
                    <a:pt x="2218881" y="197447"/>
                  </a:lnTo>
                  <a:lnTo>
                    <a:pt x="2218932" y="198831"/>
                  </a:lnTo>
                  <a:lnTo>
                    <a:pt x="2218932" y="197447"/>
                  </a:lnTo>
                  <a:lnTo>
                    <a:pt x="2218932" y="198831"/>
                  </a:lnTo>
                  <a:lnTo>
                    <a:pt x="2218932" y="197447"/>
                  </a:lnTo>
                  <a:lnTo>
                    <a:pt x="2218932" y="199530"/>
                  </a:lnTo>
                  <a:lnTo>
                    <a:pt x="2218932" y="198831"/>
                  </a:lnTo>
                  <a:lnTo>
                    <a:pt x="2218932" y="199530"/>
                  </a:lnTo>
                  <a:lnTo>
                    <a:pt x="2218932" y="198831"/>
                  </a:lnTo>
                  <a:lnTo>
                    <a:pt x="2218932" y="199530"/>
                  </a:lnTo>
                  <a:lnTo>
                    <a:pt x="2218983" y="199530"/>
                  </a:lnTo>
                  <a:lnTo>
                    <a:pt x="2218983" y="198831"/>
                  </a:lnTo>
                  <a:lnTo>
                    <a:pt x="2218983" y="199530"/>
                  </a:lnTo>
                  <a:lnTo>
                    <a:pt x="2218983" y="198831"/>
                  </a:lnTo>
                  <a:lnTo>
                    <a:pt x="2218983" y="199530"/>
                  </a:lnTo>
                  <a:lnTo>
                    <a:pt x="2219084" y="199530"/>
                  </a:lnTo>
                  <a:lnTo>
                    <a:pt x="2219084" y="200228"/>
                  </a:lnTo>
                  <a:lnTo>
                    <a:pt x="2219084" y="198831"/>
                  </a:lnTo>
                  <a:lnTo>
                    <a:pt x="2219084" y="199530"/>
                  </a:lnTo>
                  <a:lnTo>
                    <a:pt x="2219084" y="198831"/>
                  </a:lnTo>
                  <a:lnTo>
                    <a:pt x="2219084" y="199530"/>
                  </a:lnTo>
                  <a:lnTo>
                    <a:pt x="2219135" y="198831"/>
                  </a:lnTo>
                  <a:lnTo>
                    <a:pt x="2219135" y="197447"/>
                  </a:lnTo>
                  <a:lnTo>
                    <a:pt x="2219135" y="198831"/>
                  </a:lnTo>
                  <a:lnTo>
                    <a:pt x="2219135" y="196799"/>
                  </a:lnTo>
                  <a:lnTo>
                    <a:pt x="2219186" y="196799"/>
                  </a:lnTo>
                  <a:lnTo>
                    <a:pt x="2219186" y="199530"/>
                  </a:lnTo>
                  <a:lnTo>
                    <a:pt x="2219186" y="197447"/>
                  </a:lnTo>
                  <a:lnTo>
                    <a:pt x="2219287" y="197447"/>
                  </a:lnTo>
                  <a:lnTo>
                    <a:pt x="2219287" y="202260"/>
                  </a:lnTo>
                  <a:lnTo>
                    <a:pt x="2219287" y="198831"/>
                  </a:lnTo>
                  <a:lnTo>
                    <a:pt x="2219287" y="199530"/>
                  </a:lnTo>
                  <a:lnTo>
                    <a:pt x="2219325" y="200228"/>
                  </a:lnTo>
                  <a:lnTo>
                    <a:pt x="2219325" y="202260"/>
                  </a:lnTo>
                  <a:lnTo>
                    <a:pt x="2219325" y="200228"/>
                  </a:lnTo>
                  <a:lnTo>
                    <a:pt x="2219376" y="200228"/>
                  </a:lnTo>
                  <a:lnTo>
                    <a:pt x="2219376" y="200876"/>
                  </a:lnTo>
                  <a:lnTo>
                    <a:pt x="2219376" y="200228"/>
                  </a:lnTo>
                  <a:lnTo>
                    <a:pt x="2219376" y="200876"/>
                  </a:lnTo>
                  <a:lnTo>
                    <a:pt x="2219376" y="200228"/>
                  </a:lnTo>
                  <a:lnTo>
                    <a:pt x="2219427" y="200228"/>
                  </a:lnTo>
                  <a:lnTo>
                    <a:pt x="2219427" y="200876"/>
                  </a:lnTo>
                  <a:lnTo>
                    <a:pt x="2219427" y="200228"/>
                  </a:lnTo>
                  <a:lnTo>
                    <a:pt x="2219427" y="200876"/>
                  </a:lnTo>
                  <a:lnTo>
                    <a:pt x="2219427" y="200228"/>
                  </a:lnTo>
                  <a:lnTo>
                    <a:pt x="2219427" y="200876"/>
                  </a:lnTo>
                  <a:lnTo>
                    <a:pt x="2219427" y="200228"/>
                  </a:lnTo>
                  <a:lnTo>
                    <a:pt x="2219427" y="200876"/>
                  </a:lnTo>
                  <a:lnTo>
                    <a:pt x="2219529" y="200876"/>
                  </a:lnTo>
                  <a:lnTo>
                    <a:pt x="2219529" y="199530"/>
                  </a:lnTo>
                  <a:lnTo>
                    <a:pt x="2219580" y="200228"/>
                  </a:lnTo>
                  <a:lnTo>
                    <a:pt x="2219580" y="199530"/>
                  </a:lnTo>
                  <a:lnTo>
                    <a:pt x="2219580" y="200228"/>
                  </a:lnTo>
                  <a:lnTo>
                    <a:pt x="2219580" y="198831"/>
                  </a:lnTo>
                  <a:lnTo>
                    <a:pt x="2219630" y="198831"/>
                  </a:lnTo>
                  <a:lnTo>
                    <a:pt x="2219630" y="196799"/>
                  </a:lnTo>
                  <a:lnTo>
                    <a:pt x="2219630" y="199530"/>
                  </a:lnTo>
                  <a:lnTo>
                    <a:pt x="2219732" y="198831"/>
                  </a:lnTo>
                  <a:lnTo>
                    <a:pt x="2219732" y="199530"/>
                  </a:lnTo>
                  <a:lnTo>
                    <a:pt x="2219732" y="198831"/>
                  </a:lnTo>
                  <a:lnTo>
                    <a:pt x="2219732" y="202260"/>
                  </a:lnTo>
                  <a:lnTo>
                    <a:pt x="2219732" y="200876"/>
                  </a:lnTo>
                  <a:lnTo>
                    <a:pt x="2219732" y="202260"/>
                  </a:lnTo>
                  <a:lnTo>
                    <a:pt x="2219783" y="202260"/>
                  </a:lnTo>
                  <a:lnTo>
                    <a:pt x="2219783" y="200228"/>
                  </a:lnTo>
                  <a:lnTo>
                    <a:pt x="2219783" y="202959"/>
                  </a:lnTo>
                  <a:lnTo>
                    <a:pt x="2219783" y="200876"/>
                  </a:lnTo>
                  <a:lnTo>
                    <a:pt x="2219834" y="202260"/>
                  </a:lnTo>
                  <a:lnTo>
                    <a:pt x="2219834" y="200876"/>
                  </a:lnTo>
                  <a:lnTo>
                    <a:pt x="2219834" y="202260"/>
                  </a:lnTo>
                  <a:lnTo>
                    <a:pt x="2219834" y="200876"/>
                  </a:lnTo>
                  <a:lnTo>
                    <a:pt x="2219834" y="202260"/>
                  </a:lnTo>
                  <a:lnTo>
                    <a:pt x="2219834" y="200876"/>
                  </a:lnTo>
                  <a:lnTo>
                    <a:pt x="2219834" y="202260"/>
                  </a:lnTo>
                  <a:lnTo>
                    <a:pt x="2219834" y="200876"/>
                  </a:lnTo>
                  <a:lnTo>
                    <a:pt x="2219872" y="202260"/>
                  </a:lnTo>
                  <a:lnTo>
                    <a:pt x="2219872" y="200876"/>
                  </a:lnTo>
                  <a:lnTo>
                    <a:pt x="2219973" y="200876"/>
                  </a:lnTo>
                  <a:lnTo>
                    <a:pt x="2219973" y="200228"/>
                  </a:lnTo>
                  <a:lnTo>
                    <a:pt x="2220024" y="200876"/>
                  </a:lnTo>
                  <a:lnTo>
                    <a:pt x="2220024" y="199530"/>
                  </a:lnTo>
                  <a:lnTo>
                    <a:pt x="2220075" y="199530"/>
                  </a:lnTo>
                  <a:lnTo>
                    <a:pt x="2220075" y="196799"/>
                  </a:lnTo>
                  <a:lnTo>
                    <a:pt x="2220176" y="196799"/>
                  </a:lnTo>
                  <a:lnTo>
                    <a:pt x="2220176" y="196113"/>
                  </a:lnTo>
                  <a:lnTo>
                    <a:pt x="2220176" y="197447"/>
                  </a:lnTo>
                  <a:lnTo>
                    <a:pt x="2220227" y="197447"/>
                  </a:lnTo>
                  <a:lnTo>
                    <a:pt x="2220227" y="196799"/>
                  </a:lnTo>
                  <a:lnTo>
                    <a:pt x="2220227" y="199530"/>
                  </a:lnTo>
                  <a:lnTo>
                    <a:pt x="2220278" y="199530"/>
                  </a:lnTo>
                  <a:lnTo>
                    <a:pt x="2220278" y="198831"/>
                  </a:lnTo>
                  <a:lnTo>
                    <a:pt x="2220278" y="200228"/>
                  </a:lnTo>
                  <a:lnTo>
                    <a:pt x="2220278" y="199530"/>
                  </a:lnTo>
                  <a:lnTo>
                    <a:pt x="2220329" y="200228"/>
                  </a:lnTo>
                  <a:lnTo>
                    <a:pt x="2220329" y="199530"/>
                  </a:lnTo>
                  <a:lnTo>
                    <a:pt x="2220329" y="200228"/>
                  </a:lnTo>
                  <a:lnTo>
                    <a:pt x="2220329" y="199530"/>
                  </a:lnTo>
                  <a:lnTo>
                    <a:pt x="2220329" y="200228"/>
                  </a:lnTo>
                  <a:lnTo>
                    <a:pt x="2220418" y="200228"/>
                  </a:lnTo>
                  <a:lnTo>
                    <a:pt x="2220418" y="200876"/>
                  </a:lnTo>
                  <a:lnTo>
                    <a:pt x="2220469" y="200876"/>
                  </a:lnTo>
                  <a:lnTo>
                    <a:pt x="2220469" y="202260"/>
                  </a:lnTo>
                  <a:lnTo>
                    <a:pt x="2220469" y="200876"/>
                  </a:lnTo>
                  <a:lnTo>
                    <a:pt x="2220469" y="202260"/>
                  </a:lnTo>
                  <a:lnTo>
                    <a:pt x="2220469" y="200876"/>
                  </a:lnTo>
                  <a:lnTo>
                    <a:pt x="2220519" y="200876"/>
                  </a:lnTo>
                  <a:lnTo>
                    <a:pt x="2220519" y="200228"/>
                  </a:lnTo>
                  <a:lnTo>
                    <a:pt x="2220519" y="200876"/>
                  </a:lnTo>
                  <a:lnTo>
                    <a:pt x="2220519" y="200228"/>
                  </a:lnTo>
                  <a:lnTo>
                    <a:pt x="2220519" y="200876"/>
                  </a:lnTo>
                  <a:lnTo>
                    <a:pt x="2220519" y="199530"/>
                  </a:lnTo>
                  <a:lnTo>
                    <a:pt x="2220519" y="200228"/>
                  </a:lnTo>
                  <a:lnTo>
                    <a:pt x="2220519" y="199530"/>
                  </a:lnTo>
                  <a:lnTo>
                    <a:pt x="2220519" y="200228"/>
                  </a:lnTo>
                  <a:lnTo>
                    <a:pt x="2220570" y="200228"/>
                  </a:lnTo>
                  <a:lnTo>
                    <a:pt x="2220570" y="196799"/>
                  </a:lnTo>
                  <a:lnTo>
                    <a:pt x="2220672" y="196113"/>
                  </a:lnTo>
                  <a:lnTo>
                    <a:pt x="2220672" y="198831"/>
                  </a:lnTo>
                  <a:lnTo>
                    <a:pt x="2220672" y="196799"/>
                  </a:lnTo>
                  <a:lnTo>
                    <a:pt x="2220722" y="196113"/>
                  </a:lnTo>
                  <a:lnTo>
                    <a:pt x="2220722" y="200228"/>
                  </a:lnTo>
                  <a:lnTo>
                    <a:pt x="2220722" y="198831"/>
                  </a:lnTo>
                  <a:lnTo>
                    <a:pt x="2220722" y="199530"/>
                  </a:lnTo>
                  <a:lnTo>
                    <a:pt x="2220722" y="197447"/>
                  </a:lnTo>
                  <a:lnTo>
                    <a:pt x="2220773" y="197447"/>
                  </a:lnTo>
                  <a:lnTo>
                    <a:pt x="2220773" y="199530"/>
                  </a:lnTo>
                  <a:lnTo>
                    <a:pt x="2220773" y="198831"/>
                  </a:lnTo>
                  <a:lnTo>
                    <a:pt x="2220875" y="198831"/>
                  </a:lnTo>
                  <a:lnTo>
                    <a:pt x="2220875" y="199530"/>
                  </a:lnTo>
                  <a:lnTo>
                    <a:pt x="2220875" y="198831"/>
                  </a:lnTo>
                  <a:lnTo>
                    <a:pt x="2220875" y="199530"/>
                  </a:lnTo>
                  <a:lnTo>
                    <a:pt x="2220913" y="199530"/>
                  </a:lnTo>
                  <a:lnTo>
                    <a:pt x="2220913" y="200228"/>
                  </a:lnTo>
                  <a:lnTo>
                    <a:pt x="2220964" y="200228"/>
                  </a:lnTo>
                  <a:lnTo>
                    <a:pt x="2220964" y="200876"/>
                  </a:lnTo>
                  <a:lnTo>
                    <a:pt x="2220964" y="200228"/>
                  </a:lnTo>
                  <a:lnTo>
                    <a:pt x="2220964" y="200876"/>
                  </a:lnTo>
                  <a:lnTo>
                    <a:pt x="2220964" y="200228"/>
                  </a:lnTo>
                  <a:lnTo>
                    <a:pt x="2221015" y="200228"/>
                  </a:lnTo>
                  <a:lnTo>
                    <a:pt x="2221015" y="198831"/>
                  </a:lnTo>
                  <a:lnTo>
                    <a:pt x="2221116" y="198831"/>
                  </a:lnTo>
                  <a:lnTo>
                    <a:pt x="2221116" y="199530"/>
                  </a:lnTo>
                  <a:lnTo>
                    <a:pt x="2221116" y="196113"/>
                  </a:lnTo>
                  <a:lnTo>
                    <a:pt x="2221167" y="196799"/>
                  </a:lnTo>
                  <a:lnTo>
                    <a:pt x="2221167" y="195415"/>
                  </a:lnTo>
                  <a:lnTo>
                    <a:pt x="2221167" y="197447"/>
                  </a:lnTo>
                  <a:lnTo>
                    <a:pt x="2221167" y="196799"/>
                  </a:lnTo>
                  <a:lnTo>
                    <a:pt x="2221218" y="196799"/>
                  </a:lnTo>
                  <a:lnTo>
                    <a:pt x="2221218" y="199530"/>
                  </a:lnTo>
                  <a:lnTo>
                    <a:pt x="2221218" y="196799"/>
                  </a:lnTo>
                  <a:lnTo>
                    <a:pt x="2221218" y="197447"/>
                  </a:lnTo>
                  <a:lnTo>
                    <a:pt x="2221319" y="196799"/>
                  </a:lnTo>
                  <a:lnTo>
                    <a:pt x="2221319" y="197447"/>
                  </a:lnTo>
                  <a:lnTo>
                    <a:pt x="2221319" y="196799"/>
                  </a:lnTo>
                  <a:lnTo>
                    <a:pt x="2221319" y="198831"/>
                  </a:lnTo>
                  <a:lnTo>
                    <a:pt x="2221319" y="197447"/>
                  </a:lnTo>
                  <a:lnTo>
                    <a:pt x="2221319" y="198831"/>
                  </a:lnTo>
                  <a:lnTo>
                    <a:pt x="2221319" y="196799"/>
                  </a:lnTo>
                  <a:lnTo>
                    <a:pt x="2221319" y="197447"/>
                  </a:lnTo>
                  <a:lnTo>
                    <a:pt x="2221370" y="197447"/>
                  </a:lnTo>
                  <a:lnTo>
                    <a:pt x="2221370" y="198831"/>
                  </a:lnTo>
                  <a:lnTo>
                    <a:pt x="2221370" y="197447"/>
                  </a:lnTo>
                  <a:lnTo>
                    <a:pt x="2221370" y="198831"/>
                  </a:lnTo>
                  <a:lnTo>
                    <a:pt x="2221370" y="197447"/>
                  </a:lnTo>
                  <a:lnTo>
                    <a:pt x="2221370" y="198831"/>
                  </a:lnTo>
                  <a:lnTo>
                    <a:pt x="2221421" y="198831"/>
                  </a:lnTo>
                  <a:lnTo>
                    <a:pt x="2221421" y="199530"/>
                  </a:lnTo>
                  <a:lnTo>
                    <a:pt x="2221421" y="198831"/>
                  </a:lnTo>
                  <a:lnTo>
                    <a:pt x="2221421" y="200228"/>
                  </a:lnTo>
                  <a:lnTo>
                    <a:pt x="2221421" y="199530"/>
                  </a:lnTo>
                  <a:lnTo>
                    <a:pt x="2221421" y="200228"/>
                  </a:lnTo>
                  <a:lnTo>
                    <a:pt x="2221459" y="200228"/>
                  </a:lnTo>
                  <a:lnTo>
                    <a:pt x="2221459" y="199530"/>
                  </a:lnTo>
                  <a:lnTo>
                    <a:pt x="2221459" y="200228"/>
                  </a:lnTo>
                  <a:lnTo>
                    <a:pt x="2221459" y="199530"/>
                  </a:lnTo>
                  <a:lnTo>
                    <a:pt x="2221459" y="200228"/>
                  </a:lnTo>
                  <a:lnTo>
                    <a:pt x="2221459" y="199530"/>
                  </a:lnTo>
                  <a:lnTo>
                    <a:pt x="2221561" y="199530"/>
                  </a:lnTo>
                  <a:lnTo>
                    <a:pt x="2221561" y="200228"/>
                  </a:lnTo>
                  <a:lnTo>
                    <a:pt x="2221561" y="198831"/>
                  </a:lnTo>
                  <a:lnTo>
                    <a:pt x="2221561" y="199530"/>
                  </a:lnTo>
                  <a:lnTo>
                    <a:pt x="2221561" y="198831"/>
                  </a:lnTo>
                  <a:lnTo>
                    <a:pt x="2221612" y="198831"/>
                  </a:lnTo>
                  <a:lnTo>
                    <a:pt x="2221612" y="196799"/>
                  </a:lnTo>
                  <a:lnTo>
                    <a:pt x="2221662" y="196799"/>
                  </a:lnTo>
                  <a:lnTo>
                    <a:pt x="2221662" y="196113"/>
                  </a:lnTo>
                  <a:lnTo>
                    <a:pt x="2221662" y="197447"/>
                  </a:lnTo>
                  <a:lnTo>
                    <a:pt x="2221662" y="196113"/>
                  </a:lnTo>
                  <a:lnTo>
                    <a:pt x="2221764" y="196799"/>
                  </a:lnTo>
                  <a:lnTo>
                    <a:pt x="2221764" y="199530"/>
                  </a:lnTo>
                  <a:lnTo>
                    <a:pt x="2221764" y="196113"/>
                  </a:lnTo>
                  <a:lnTo>
                    <a:pt x="2221764" y="196799"/>
                  </a:lnTo>
                  <a:lnTo>
                    <a:pt x="2221815" y="196799"/>
                  </a:lnTo>
                  <a:lnTo>
                    <a:pt x="2221815" y="198831"/>
                  </a:lnTo>
                  <a:lnTo>
                    <a:pt x="2221815" y="196799"/>
                  </a:lnTo>
                  <a:lnTo>
                    <a:pt x="2221815" y="197447"/>
                  </a:lnTo>
                  <a:lnTo>
                    <a:pt x="2221815" y="196799"/>
                  </a:lnTo>
                  <a:lnTo>
                    <a:pt x="2221815" y="197447"/>
                  </a:lnTo>
                  <a:lnTo>
                    <a:pt x="2221865" y="197447"/>
                  </a:lnTo>
                  <a:lnTo>
                    <a:pt x="2221865" y="198831"/>
                  </a:lnTo>
                  <a:lnTo>
                    <a:pt x="2221865" y="197447"/>
                  </a:lnTo>
                  <a:lnTo>
                    <a:pt x="2221916" y="197447"/>
                  </a:lnTo>
                  <a:lnTo>
                    <a:pt x="2221916" y="198831"/>
                  </a:lnTo>
                  <a:lnTo>
                    <a:pt x="2222005" y="198831"/>
                  </a:lnTo>
                  <a:lnTo>
                    <a:pt x="2222005" y="197447"/>
                  </a:lnTo>
                  <a:lnTo>
                    <a:pt x="2222005" y="198831"/>
                  </a:lnTo>
                  <a:lnTo>
                    <a:pt x="2222056" y="198831"/>
                  </a:lnTo>
                  <a:lnTo>
                    <a:pt x="2222056" y="197447"/>
                  </a:lnTo>
                  <a:lnTo>
                    <a:pt x="2222056" y="198831"/>
                  </a:lnTo>
                  <a:lnTo>
                    <a:pt x="2222056" y="197447"/>
                  </a:lnTo>
                  <a:lnTo>
                    <a:pt x="2222056" y="198831"/>
                  </a:lnTo>
                  <a:lnTo>
                    <a:pt x="2222056" y="197447"/>
                  </a:lnTo>
                  <a:lnTo>
                    <a:pt x="2222056" y="198831"/>
                  </a:lnTo>
                  <a:lnTo>
                    <a:pt x="2222056" y="197447"/>
                  </a:lnTo>
                  <a:lnTo>
                    <a:pt x="2222107" y="197447"/>
                  </a:lnTo>
                  <a:lnTo>
                    <a:pt x="2222107" y="196113"/>
                  </a:lnTo>
                  <a:lnTo>
                    <a:pt x="2222107" y="198831"/>
                  </a:lnTo>
                  <a:lnTo>
                    <a:pt x="2222158" y="197447"/>
                  </a:lnTo>
                  <a:lnTo>
                    <a:pt x="2222158" y="196113"/>
                  </a:lnTo>
                  <a:lnTo>
                    <a:pt x="2222158" y="199530"/>
                  </a:lnTo>
                  <a:lnTo>
                    <a:pt x="2222259" y="199530"/>
                  </a:lnTo>
                  <a:lnTo>
                    <a:pt x="2222259" y="197447"/>
                  </a:lnTo>
                  <a:lnTo>
                    <a:pt x="2222259" y="198831"/>
                  </a:lnTo>
                  <a:lnTo>
                    <a:pt x="2222259" y="197447"/>
                  </a:lnTo>
                  <a:lnTo>
                    <a:pt x="2222259" y="198831"/>
                  </a:lnTo>
                  <a:lnTo>
                    <a:pt x="2222259" y="197447"/>
                  </a:lnTo>
                  <a:lnTo>
                    <a:pt x="2222259" y="199530"/>
                  </a:lnTo>
                  <a:lnTo>
                    <a:pt x="2222259" y="198831"/>
                  </a:lnTo>
                  <a:lnTo>
                    <a:pt x="2222310" y="198831"/>
                  </a:lnTo>
                  <a:lnTo>
                    <a:pt x="2222310" y="197447"/>
                  </a:lnTo>
                  <a:lnTo>
                    <a:pt x="2222310" y="198831"/>
                  </a:lnTo>
                  <a:lnTo>
                    <a:pt x="2222310" y="197447"/>
                  </a:lnTo>
                  <a:lnTo>
                    <a:pt x="2222310" y="198831"/>
                  </a:lnTo>
                  <a:lnTo>
                    <a:pt x="2222310" y="197447"/>
                  </a:lnTo>
                  <a:lnTo>
                    <a:pt x="2222310" y="199530"/>
                  </a:lnTo>
                  <a:lnTo>
                    <a:pt x="2222310" y="198831"/>
                  </a:lnTo>
                  <a:lnTo>
                    <a:pt x="2222310" y="199530"/>
                  </a:lnTo>
                  <a:lnTo>
                    <a:pt x="2222310" y="198831"/>
                  </a:lnTo>
                  <a:lnTo>
                    <a:pt x="2222361" y="198831"/>
                  </a:lnTo>
                  <a:lnTo>
                    <a:pt x="2222361" y="199530"/>
                  </a:lnTo>
                  <a:lnTo>
                    <a:pt x="2222361" y="198831"/>
                  </a:lnTo>
                  <a:lnTo>
                    <a:pt x="2222361" y="199530"/>
                  </a:lnTo>
                  <a:lnTo>
                    <a:pt x="2222462" y="199530"/>
                  </a:lnTo>
                  <a:lnTo>
                    <a:pt x="2222462" y="200228"/>
                  </a:lnTo>
                  <a:lnTo>
                    <a:pt x="2222462" y="199530"/>
                  </a:lnTo>
                  <a:lnTo>
                    <a:pt x="2222462" y="200228"/>
                  </a:lnTo>
                  <a:lnTo>
                    <a:pt x="2222462" y="199530"/>
                  </a:lnTo>
                  <a:lnTo>
                    <a:pt x="2222500" y="199530"/>
                  </a:lnTo>
                  <a:lnTo>
                    <a:pt x="2222500" y="200228"/>
                  </a:lnTo>
                  <a:lnTo>
                    <a:pt x="2222500" y="199530"/>
                  </a:lnTo>
                  <a:lnTo>
                    <a:pt x="2222500" y="200228"/>
                  </a:lnTo>
                  <a:lnTo>
                    <a:pt x="2222500" y="198831"/>
                  </a:lnTo>
                  <a:lnTo>
                    <a:pt x="2222551" y="198831"/>
                  </a:lnTo>
                  <a:lnTo>
                    <a:pt x="2222551" y="197447"/>
                  </a:lnTo>
                  <a:lnTo>
                    <a:pt x="2222551" y="198831"/>
                  </a:lnTo>
                  <a:lnTo>
                    <a:pt x="2222551" y="197447"/>
                  </a:lnTo>
                  <a:lnTo>
                    <a:pt x="2222602" y="197447"/>
                  </a:lnTo>
                  <a:lnTo>
                    <a:pt x="2222602" y="196113"/>
                  </a:lnTo>
                  <a:lnTo>
                    <a:pt x="2222602" y="198831"/>
                  </a:lnTo>
                  <a:lnTo>
                    <a:pt x="2222704" y="197447"/>
                  </a:lnTo>
                  <a:lnTo>
                    <a:pt x="2222704" y="198831"/>
                  </a:lnTo>
                  <a:lnTo>
                    <a:pt x="2222704" y="197447"/>
                  </a:lnTo>
                  <a:lnTo>
                    <a:pt x="2222704" y="200228"/>
                  </a:lnTo>
                  <a:lnTo>
                    <a:pt x="2222704" y="199530"/>
                  </a:lnTo>
                  <a:lnTo>
                    <a:pt x="2222755" y="200228"/>
                  </a:lnTo>
                  <a:lnTo>
                    <a:pt x="2222755" y="199530"/>
                  </a:lnTo>
                  <a:lnTo>
                    <a:pt x="2222755" y="200228"/>
                  </a:lnTo>
                  <a:lnTo>
                    <a:pt x="2222755" y="199530"/>
                  </a:lnTo>
                  <a:lnTo>
                    <a:pt x="2222805" y="199530"/>
                  </a:lnTo>
                  <a:lnTo>
                    <a:pt x="2222805" y="200228"/>
                  </a:lnTo>
                  <a:lnTo>
                    <a:pt x="2222805" y="199530"/>
                  </a:lnTo>
                  <a:lnTo>
                    <a:pt x="2222907" y="199530"/>
                  </a:lnTo>
                  <a:lnTo>
                    <a:pt x="2222907" y="200228"/>
                  </a:lnTo>
                  <a:lnTo>
                    <a:pt x="2222907" y="199530"/>
                  </a:lnTo>
                  <a:lnTo>
                    <a:pt x="2222907" y="200228"/>
                  </a:lnTo>
                  <a:lnTo>
                    <a:pt x="2222907" y="199530"/>
                  </a:lnTo>
                  <a:lnTo>
                    <a:pt x="2222907" y="200228"/>
                  </a:lnTo>
                  <a:lnTo>
                    <a:pt x="2222958" y="199530"/>
                  </a:lnTo>
                  <a:lnTo>
                    <a:pt x="2222958" y="200228"/>
                  </a:lnTo>
                  <a:lnTo>
                    <a:pt x="2222958" y="198831"/>
                  </a:lnTo>
                  <a:lnTo>
                    <a:pt x="2222958" y="200228"/>
                  </a:lnTo>
                  <a:lnTo>
                    <a:pt x="2222958" y="199530"/>
                  </a:lnTo>
                  <a:lnTo>
                    <a:pt x="2223009" y="199530"/>
                  </a:lnTo>
                  <a:lnTo>
                    <a:pt x="2223009" y="197447"/>
                  </a:lnTo>
                  <a:lnTo>
                    <a:pt x="2223047" y="197447"/>
                  </a:lnTo>
                  <a:lnTo>
                    <a:pt x="2223047" y="196799"/>
                  </a:lnTo>
                  <a:lnTo>
                    <a:pt x="2223148" y="196799"/>
                  </a:lnTo>
                  <a:lnTo>
                    <a:pt x="2223148" y="195415"/>
                  </a:lnTo>
                  <a:lnTo>
                    <a:pt x="2223148" y="197447"/>
                  </a:lnTo>
                  <a:lnTo>
                    <a:pt x="2223148" y="196799"/>
                  </a:lnTo>
                  <a:lnTo>
                    <a:pt x="2223199" y="196799"/>
                  </a:lnTo>
                  <a:lnTo>
                    <a:pt x="2223199" y="198831"/>
                  </a:lnTo>
                  <a:lnTo>
                    <a:pt x="2223199" y="197447"/>
                  </a:lnTo>
                  <a:lnTo>
                    <a:pt x="2223199" y="198831"/>
                  </a:lnTo>
                  <a:lnTo>
                    <a:pt x="2223199" y="197447"/>
                  </a:lnTo>
                  <a:lnTo>
                    <a:pt x="2223250" y="198831"/>
                  </a:lnTo>
                  <a:lnTo>
                    <a:pt x="2223250" y="197447"/>
                  </a:lnTo>
                  <a:lnTo>
                    <a:pt x="2223250" y="198831"/>
                  </a:lnTo>
                  <a:lnTo>
                    <a:pt x="2223250" y="197447"/>
                  </a:lnTo>
                  <a:lnTo>
                    <a:pt x="2223250" y="198831"/>
                  </a:lnTo>
                  <a:lnTo>
                    <a:pt x="2223351" y="198831"/>
                  </a:lnTo>
                  <a:lnTo>
                    <a:pt x="2223351" y="199530"/>
                  </a:lnTo>
                  <a:lnTo>
                    <a:pt x="2223351" y="198831"/>
                  </a:lnTo>
                  <a:lnTo>
                    <a:pt x="2223351" y="199530"/>
                  </a:lnTo>
                  <a:lnTo>
                    <a:pt x="2223402" y="199530"/>
                  </a:lnTo>
                  <a:lnTo>
                    <a:pt x="2223402" y="200228"/>
                  </a:lnTo>
                  <a:lnTo>
                    <a:pt x="2223402" y="199530"/>
                  </a:lnTo>
                  <a:lnTo>
                    <a:pt x="2223402" y="200228"/>
                  </a:lnTo>
                  <a:lnTo>
                    <a:pt x="2223402" y="199530"/>
                  </a:lnTo>
                  <a:lnTo>
                    <a:pt x="2223402" y="200228"/>
                  </a:lnTo>
                  <a:lnTo>
                    <a:pt x="2223402" y="199530"/>
                  </a:lnTo>
                  <a:lnTo>
                    <a:pt x="2223402" y="200228"/>
                  </a:lnTo>
                  <a:lnTo>
                    <a:pt x="2223402" y="199530"/>
                  </a:lnTo>
                  <a:lnTo>
                    <a:pt x="2223402" y="200228"/>
                  </a:lnTo>
                  <a:lnTo>
                    <a:pt x="2223453" y="200228"/>
                  </a:lnTo>
                  <a:lnTo>
                    <a:pt x="2223453" y="199530"/>
                  </a:lnTo>
                  <a:lnTo>
                    <a:pt x="2223453" y="200228"/>
                  </a:lnTo>
                  <a:lnTo>
                    <a:pt x="2223453" y="199530"/>
                  </a:lnTo>
                  <a:lnTo>
                    <a:pt x="2223504" y="199530"/>
                  </a:lnTo>
                  <a:lnTo>
                    <a:pt x="2223504" y="200228"/>
                  </a:lnTo>
                  <a:lnTo>
                    <a:pt x="2223504" y="198831"/>
                  </a:lnTo>
                  <a:lnTo>
                    <a:pt x="2223593" y="197447"/>
                  </a:lnTo>
                  <a:lnTo>
                    <a:pt x="2223593" y="198831"/>
                  </a:lnTo>
                  <a:lnTo>
                    <a:pt x="2223593" y="196799"/>
                  </a:lnTo>
                  <a:lnTo>
                    <a:pt x="2223593" y="197447"/>
                  </a:lnTo>
                  <a:lnTo>
                    <a:pt x="2223644" y="198831"/>
                  </a:lnTo>
                  <a:lnTo>
                    <a:pt x="2223644" y="196799"/>
                  </a:lnTo>
                  <a:lnTo>
                    <a:pt x="2223644" y="200228"/>
                  </a:lnTo>
                  <a:lnTo>
                    <a:pt x="2223694" y="200228"/>
                  </a:lnTo>
                  <a:lnTo>
                    <a:pt x="2223694" y="198831"/>
                  </a:lnTo>
                  <a:lnTo>
                    <a:pt x="2223694" y="200228"/>
                  </a:lnTo>
                  <a:lnTo>
                    <a:pt x="2223745" y="200228"/>
                  </a:lnTo>
                  <a:lnTo>
                    <a:pt x="2223745" y="198831"/>
                  </a:lnTo>
                  <a:lnTo>
                    <a:pt x="2223745" y="200228"/>
                  </a:lnTo>
                  <a:lnTo>
                    <a:pt x="2223847" y="199530"/>
                  </a:lnTo>
                  <a:lnTo>
                    <a:pt x="2223847" y="200228"/>
                  </a:lnTo>
                  <a:lnTo>
                    <a:pt x="2223847" y="199530"/>
                  </a:lnTo>
                  <a:lnTo>
                    <a:pt x="2223847" y="200228"/>
                  </a:lnTo>
                  <a:lnTo>
                    <a:pt x="2223897" y="200228"/>
                  </a:lnTo>
                  <a:lnTo>
                    <a:pt x="2223897" y="199530"/>
                  </a:lnTo>
                  <a:lnTo>
                    <a:pt x="2223897" y="200228"/>
                  </a:lnTo>
                  <a:lnTo>
                    <a:pt x="2223897" y="199530"/>
                  </a:lnTo>
                  <a:lnTo>
                    <a:pt x="2223897" y="200228"/>
                  </a:lnTo>
                  <a:lnTo>
                    <a:pt x="2223897" y="199530"/>
                  </a:lnTo>
                  <a:lnTo>
                    <a:pt x="2223948" y="199530"/>
                  </a:lnTo>
                  <a:lnTo>
                    <a:pt x="2223948" y="198831"/>
                  </a:lnTo>
                  <a:lnTo>
                    <a:pt x="2223948" y="199530"/>
                  </a:lnTo>
                  <a:lnTo>
                    <a:pt x="2223948" y="198831"/>
                  </a:lnTo>
                  <a:lnTo>
                    <a:pt x="2223948" y="199530"/>
                  </a:lnTo>
                  <a:lnTo>
                    <a:pt x="2224050" y="199530"/>
                  </a:lnTo>
                  <a:lnTo>
                    <a:pt x="2224050" y="198831"/>
                  </a:lnTo>
                  <a:lnTo>
                    <a:pt x="2224050" y="199530"/>
                  </a:lnTo>
                  <a:lnTo>
                    <a:pt x="2224050" y="196799"/>
                  </a:lnTo>
                  <a:lnTo>
                    <a:pt x="2224050" y="197447"/>
                  </a:lnTo>
                  <a:lnTo>
                    <a:pt x="2224050" y="196799"/>
                  </a:lnTo>
                  <a:lnTo>
                    <a:pt x="2224088" y="197447"/>
                  </a:lnTo>
                  <a:lnTo>
                    <a:pt x="2224088" y="196113"/>
                  </a:lnTo>
                  <a:lnTo>
                    <a:pt x="2224139" y="196113"/>
                  </a:lnTo>
                  <a:lnTo>
                    <a:pt x="2224139" y="196799"/>
                  </a:lnTo>
                  <a:lnTo>
                    <a:pt x="2224139" y="195415"/>
                  </a:lnTo>
                  <a:lnTo>
                    <a:pt x="2224139" y="198831"/>
                  </a:lnTo>
                  <a:lnTo>
                    <a:pt x="2224190" y="198831"/>
                  </a:lnTo>
                  <a:lnTo>
                    <a:pt x="2224190" y="196799"/>
                  </a:lnTo>
                  <a:lnTo>
                    <a:pt x="2224190" y="199530"/>
                  </a:lnTo>
                  <a:lnTo>
                    <a:pt x="2224291" y="198831"/>
                  </a:lnTo>
                  <a:lnTo>
                    <a:pt x="2224291" y="197447"/>
                  </a:lnTo>
                  <a:lnTo>
                    <a:pt x="2224291" y="198831"/>
                  </a:lnTo>
                  <a:lnTo>
                    <a:pt x="2224291" y="197447"/>
                  </a:lnTo>
                  <a:lnTo>
                    <a:pt x="2224291" y="199530"/>
                  </a:lnTo>
                  <a:lnTo>
                    <a:pt x="2224291" y="198831"/>
                  </a:lnTo>
                  <a:lnTo>
                    <a:pt x="2224342" y="198831"/>
                  </a:lnTo>
                  <a:lnTo>
                    <a:pt x="2224342" y="199530"/>
                  </a:lnTo>
                  <a:lnTo>
                    <a:pt x="2224393" y="199530"/>
                  </a:lnTo>
                  <a:lnTo>
                    <a:pt x="2224393" y="200228"/>
                  </a:lnTo>
                  <a:lnTo>
                    <a:pt x="2224393" y="199530"/>
                  </a:lnTo>
                  <a:lnTo>
                    <a:pt x="2224393" y="200228"/>
                  </a:lnTo>
                  <a:lnTo>
                    <a:pt x="2224494" y="200228"/>
                  </a:lnTo>
                  <a:lnTo>
                    <a:pt x="2224494" y="199530"/>
                  </a:lnTo>
                  <a:lnTo>
                    <a:pt x="2224494" y="200228"/>
                  </a:lnTo>
                  <a:lnTo>
                    <a:pt x="2224494" y="199530"/>
                  </a:lnTo>
                  <a:lnTo>
                    <a:pt x="2224494" y="200228"/>
                  </a:lnTo>
                  <a:lnTo>
                    <a:pt x="2224494" y="199530"/>
                  </a:lnTo>
                  <a:lnTo>
                    <a:pt x="2224545" y="199530"/>
                  </a:lnTo>
                  <a:lnTo>
                    <a:pt x="2224545" y="200228"/>
                  </a:lnTo>
                  <a:lnTo>
                    <a:pt x="2224545" y="198831"/>
                  </a:lnTo>
                  <a:lnTo>
                    <a:pt x="2224596" y="197447"/>
                  </a:lnTo>
                  <a:lnTo>
                    <a:pt x="2224596" y="195415"/>
                  </a:lnTo>
                  <a:lnTo>
                    <a:pt x="2224596" y="196113"/>
                  </a:lnTo>
                  <a:lnTo>
                    <a:pt x="2224634" y="196113"/>
                  </a:lnTo>
                  <a:lnTo>
                    <a:pt x="2224634" y="194716"/>
                  </a:lnTo>
                  <a:lnTo>
                    <a:pt x="2224634" y="196799"/>
                  </a:lnTo>
                  <a:lnTo>
                    <a:pt x="2224736" y="196799"/>
                  </a:lnTo>
                  <a:lnTo>
                    <a:pt x="2224736" y="196113"/>
                  </a:lnTo>
                  <a:lnTo>
                    <a:pt x="2224736" y="196799"/>
                  </a:lnTo>
                  <a:lnTo>
                    <a:pt x="2224736" y="196113"/>
                  </a:lnTo>
                  <a:lnTo>
                    <a:pt x="2224736" y="196799"/>
                  </a:lnTo>
                  <a:lnTo>
                    <a:pt x="2224787" y="197447"/>
                  </a:lnTo>
                  <a:lnTo>
                    <a:pt x="2224787" y="196799"/>
                  </a:lnTo>
                  <a:lnTo>
                    <a:pt x="2224787" y="197447"/>
                  </a:lnTo>
                  <a:lnTo>
                    <a:pt x="2224787" y="196799"/>
                  </a:lnTo>
                  <a:lnTo>
                    <a:pt x="2224837" y="197447"/>
                  </a:lnTo>
                  <a:lnTo>
                    <a:pt x="2224837" y="196799"/>
                  </a:lnTo>
                  <a:lnTo>
                    <a:pt x="2224837" y="197447"/>
                  </a:lnTo>
                  <a:lnTo>
                    <a:pt x="2224939" y="197447"/>
                  </a:lnTo>
                  <a:lnTo>
                    <a:pt x="2224939" y="198831"/>
                  </a:lnTo>
                  <a:lnTo>
                    <a:pt x="2224939" y="197447"/>
                  </a:lnTo>
                  <a:lnTo>
                    <a:pt x="2224939" y="198831"/>
                  </a:lnTo>
                  <a:lnTo>
                    <a:pt x="2224939" y="197447"/>
                  </a:lnTo>
                  <a:lnTo>
                    <a:pt x="2224939" y="198831"/>
                  </a:lnTo>
                  <a:lnTo>
                    <a:pt x="2224990" y="198831"/>
                  </a:lnTo>
                  <a:lnTo>
                    <a:pt x="2224990" y="199530"/>
                  </a:lnTo>
                  <a:lnTo>
                    <a:pt x="2224990" y="198831"/>
                  </a:lnTo>
                  <a:lnTo>
                    <a:pt x="2224990" y="199530"/>
                  </a:lnTo>
                  <a:lnTo>
                    <a:pt x="2224990" y="198831"/>
                  </a:lnTo>
                  <a:lnTo>
                    <a:pt x="2225040" y="198831"/>
                  </a:lnTo>
                  <a:lnTo>
                    <a:pt x="2225040" y="197447"/>
                  </a:lnTo>
                  <a:lnTo>
                    <a:pt x="2225040" y="198831"/>
                  </a:lnTo>
                  <a:lnTo>
                    <a:pt x="2225040" y="196799"/>
                  </a:lnTo>
                  <a:lnTo>
                    <a:pt x="2225091" y="196799"/>
                  </a:lnTo>
                  <a:lnTo>
                    <a:pt x="2225091" y="197447"/>
                  </a:lnTo>
                  <a:lnTo>
                    <a:pt x="2225091" y="195415"/>
                  </a:lnTo>
                  <a:lnTo>
                    <a:pt x="2225091" y="196113"/>
                  </a:lnTo>
                  <a:lnTo>
                    <a:pt x="2225180" y="196113"/>
                  </a:lnTo>
                  <a:lnTo>
                    <a:pt x="2225180" y="196799"/>
                  </a:lnTo>
                  <a:lnTo>
                    <a:pt x="2225180" y="195415"/>
                  </a:lnTo>
                  <a:lnTo>
                    <a:pt x="2225180" y="198831"/>
                  </a:lnTo>
                  <a:lnTo>
                    <a:pt x="2225231" y="198831"/>
                  </a:lnTo>
                  <a:lnTo>
                    <a:pt x="2225231" y="196113"/>
                  </a:lnTo>
                  <a:lnTo>
                    <a:pt x="2225231" y="198831"/>
                  </a:lnTo>
                  <a:lnTo>
                    <a:pt x="2225231" y="197447"/>
                  </a:lnTo>
                  <a:lnTo>
                    <a:pt x="2225282" y="197447"/>
                  </a:lnTo>
                  <a:lnTo>
                    <a:pt x="2225282" y="198831"/>
                  </a:lnTo>
                  <a:lnTo>
                    <a:pt x="2225282" y="196113"/>
                  </a:lnTo>
                  <a:lnTo>
                    <a:pt x="2225282" y="198831"/>
                  </a:lnTo>
                  <a:lnTo>
                    <a:pt x="2225282" y="197447"/>
                  </a:lnTo>
                  <a:lnTo>
                    <a:pt x="2225333" y="198831"/>
                  </a:lnTo>
                  <a:lnTo>
                    <a:pt x="2225333" y="197447"/>
                  </a:lnTo>
                  <a:lnTo>
                    <a:pt x="2225333" y="198831"/>
                  </a:lnTo>
                  <a:lnTo>
                    <a:pt x="2225333" y="197447"/>
                  </a:lnTo>
                  <a:lnTo>
                    <a:pt x="2225333" y="198831"/>
                  </a:lnTo>
                  <a:lnTo>
                    <a:pt x="2225434" y="197447"/>
                  </a:lnTo>
                  <a:lnTo>
                    <a:pt x="2225434" y="198831"/>
                  </a:lnTo>
                  <a:lnTo>
                    <a:pt x="2225434" y="197447"/>
                  </a:lnTo>
                  <a:lnTo>
                    <a:pt x="2225434" y="199530"/>
                  </a:lnTo>
                  <a:lnTo>
                    <a:pt x="2225434" y="198831"/>
                  </a:lnTo>
                  <a:lnTo>
                    <a:pt x="2225434" y="199530"/>
                  </a:lnTo>
                  <a:lnTo>
                    <a:pt x="2225434" y="198831"/>
                  </a:lnTo>
                  <a:lnTo>
                    <a:pt x="2225434" y="199530"/>
                  </a:lnTo>
                  <a:lnTo>
                    <a:pt x="2225485" y="199530"/>
                  </a:lnTo>
                  <a:lnTo>
                    <a:pt x="2225485" y="198831"/>
                  </a:lnTo>
                  <a:lnTo>
                    <a:pt x="2225485" y="200228"/>
                  </a:lnTo>
                  <a:lnTo>
                    <a:pt x="2225485" y="199530"/>
                  </a:lnTo>
                  <a:lnTo>
                    <a:pt x="2225485" y="200228"/>
                  </a:lnTo>
                  <a:lnTo>
                    <a:pt x="2225485" y="199530"/>
                  </a:lnTo>
                  <a:lnTo>
                    <a:pt x="2225536" y="199530"/>
                  </a:lnTo>
                  <a:lnTo>
                    <a:pt x="2225536" y="198831"/>
                  </a:lnTo>
                  <a:lnTo>
                    <a:pt x="2225536" y="199530"/>
                  </a:lnTo>
                  <a:lnTo>
                    <a:pt x="2225536" y="197447"/>
                  </a:lnTo>
                  <a:lnTo>
                    <a:pt x="2225536" y="198831"/>
                  </a:lnTo>
                  <a:lnTo>
                    <a:pt x="2225536" y="197447"/>
                  </a:lnTo>
                  <a:lnTo>
                    <a:pt x="2225637" y="196799"/>
                  </a:lnTo>
                  <a:lnTo>
                    <a:pt x="2225637" y="196113"/>
                  </a:lnTo>
                  <a:lnTo>
                    <a:pt x="2225637" y="196799"/>
                  </a:lnTo>
                  <a:lnTo>
                    <a:pt x="2225637" y="196113"/>
                  </a:lnTo>
                  <a:lnTo>
                    <a:pt x="2225637" y="196799"/>
                  </a:lnTo>
                  <a:lnTo>
                    <a:pt x="2225637" y="196113"/>
                  </a:lnTo>
                  <a:lnTo>
                    <a:pt x="2225637" y="198831"/>
                  </a:lnTo>
                  <a:lnTo>
                    <a:pt x="2225675" y="198831"/>
                  </a:lnTo>
                  <a:lnTo>
                    <a:pt x="2225675" y="196113"/>
                  </a:lnTo>
                  <a:lnTo>
                    <a:pt x="2225675" y="199530"/>
                  </a:lnTo>
                  <a:lnTo>
                    <a:pt x="2225675" y="198831"/>
                  </a:lnTo>
                  <a:lnTo>
                    <a:pt x="2225726" y="198831"/>
                  </a:lnTo>
                  <a:lnTo>
                    <a:pt x="2225726" y="197447"/>
                  </a:lnTo>
                  <a:lnTo>
                    <a:pt x="2225726" y="199530"/>
                  </a:lnTo>
                  <a:lnTo>
                    <a:pt x="2225777" y="198831"/>
                  </a:lnTo>
                  <a:lnTo>
                    <a:pt x="2225777" y="197447"/>
                  </a:lnTo>
                  <a:lnTo>
                    <a:pt x="2225777" y="198831"/>
                  </a:lnTo>
                  <a:lnTo>
                    <a:pt x="2225777" y="197447"/>
                  </a:lnTo>
                  <a:lnTo>
                    <a:pt x="2225777" y="198831"/>
                  </a:lnTo>
                  <a:lnTo>
                    <a:pt x="2225879" y="198831"/>
                  </a:lnTo>
                  <a:lnTo>
                    <a:pt x="2225879" y="199530"/>
                  </a:lnTo>
                  <a:lnTo>
                    <a:pt x="2225879" y="198831"/>
                  </a:lnTo>
                  <a:lnTo>
                    <a:pt x="2225930" y="198831"/>
                  </a:lnTo>
                  <a:lnTo>
                    <a:pt x="2225930" y="197447"/>
                  </a:lnTo>
                  <a:lnTo>
                    <a:pt x="2225930" y="198831"/>
                  </a:lnTo>
                  <a:lnTo>
                    <a:pt x="2225930" y="197447"/>
                  </a:lnTo>
                  <a:lnTo>
                    <a:pt x="2225930" y="198831"/>
                  </a:lnTo>
                  <a:lnTo>
                    <a:pt x="2225980" y="198831"/>
                  </a:lnTo>
                  <a:lnTo>
                    <a:pt x="2225980" y="199530"/>
                  </a:lnTo>
                  <a:lnTo>
                    <a:pt x="2225980" y="197447"/>
                  </a:lnTo>
                  <a:lnTo>
                    <a:pt x="2225980" y="198831"/>
                  </a:lnTo>
                  <a:lnTo>
                    <a:pt x="2225980" y="197447"/>
                  </a:lnTo>
                  <a:lnTo>
                    <a:pt x="2226082" y="197447"/>
                  </a:lnTo>
                  <a:lnTo>
                    <a:pt x="2226082" y="198831"/>
                  </a:lnTo>
                  <a:lnTo>
                    <a:pt x="2226082" y="197447"/>
                  </a:lnTo>
                  <a:lnTo>
                    <a:pt x="2226082" y="198831"/>
                  </a:lnTo>
                  <a:lnTo>
                    <a:pt x="2226082" y="196799"/>
                  </a:lnTo>
                  <a:lnTo>
                    <a:pt x="2226082" y="197447"/>
                  </a:lnTo>
                  <a:lnTo>
                    <a:pt x="2226082" y="196113"/>
                  </a:lnTo>
                  <a:lnTo>
                    <a:pt x="2226133" y="196113"/>
                  </a:lnTo>
                  <a:lnTo>
                    <a:pt x="2226133" y="195415"/>
                  </a:lnTo>
                  <a:lnTo>
                    <a:pt x="2226133" y="196113"/>
                  </a:lnTo>
                  <a:lnTo>
                    <a:pt x="2226133" y="195415"/>
                  </a:lnTo>
                  <a:lnTo>
                    <a:pt x="2226133" y="196113"/>
                  </a:lnTo>
                  <a:lnTo>
                    <a:pt x="2226184" y="196799"/>
                  </a:lnTo>
                  <a:lnTo>
                    <a:pt x="2226184" y="195415"/>
                  </a:lnTo>
                  <a:lnTo>
                    <a:pt x="2226184" y="196113"/>
                  </a:lnTo>
                  <a:lnTo>
                    <a:pt x="2226184" y="195415"/>
                  </a:lnTo>
                  <a:lnTo>
                    <a:pt x="2226184" y="197447"/>
                  </a:lnTo>
                  <a:lnTo>
                    <a:pt x="2226222" y="197447"/>
                  </a:lnTo>
                  <a:lnTo>
                    <a:pt x="2226222" y="196799"/>
                  </a:lnTo>
                  <a:lnTo>
                    <a:pt x="2226222" y="197447"/>
                  </a:lnTo>
                  <a:lnTo>
                    <a:pt x="2226323" y="197447"/>
                  </a:lnTo>
                  <a:lnTo>
                    <a:pt x="2226323" y="196799"/>
                  </a:lnTo>
                  <a:lnTo>
                    <a:pt x="2226323" y="198831"/>
                  </a:lnTo>
                  <a:lnTo>
                    <a:pt x="2226323" y="197447"/>
                  </a:lnTo>
                  <a:lnTo>
                    <a:pt x="2226323" y="198831"/>
                  </a:lnTo>
                  <a:lnTo>
                    <a:pt x="2226374" y="198831"/>
                  </a:lnTo>
                  <a:lnTo>
                    <a:pt x="2226374" y="197447"/>
                  </a:lnTo>
                  <a:lnTo>
                    <a:pt x="2226374" y="198831"/>
                  </a:lnTo>
                  <a:lnTo>
                    <a:pt x="2226374" y="197447"/>
                  </a:lnTo>
                  <a:lnTo>
                    <a:pt x="2226374" y="199530"/>
                  </a:lnTo>
                  <a:lnTo>
                    <a:pt x="2226374" y="198831"/>
                  </a:lnTo>
                  <a:lnTo>
                    <a:pt x="2226374" y="199530"/>
                  </a:lnTo>
                  <a:lnTo>
                    <a:pt x="2226374" y="198831"/>
                  </a:lnTo>
                  <a:lnTo>
                    <a:pt x="2226374" y="199530"/>
                  </a:lnTo>
                  <a:lnTo>
                    <a:pt x="2226374" y="198831"/>
                  </a:lnTo>
                  <a:lnTo>
                    <a:pt x="2226374" y="199530"/>
                  </a:lnTo>
                  <a:lnTo>
                    <a:pt x="2226425" y="198831"/>
                  </a:lnTo>
                  <a:lnTo>
                    <a:pt x="2226425" y="199530"/>
                  </a:lnTo>
                  <a:lnTo>
                    <a:pt x="2226425" y="198831"/>
                  </a:lnTo>
                  <a:lnTo>
                    <a:pt x="2226526" y="199530"/>
                  </a:lnTo>
                  <a:lnTo>
                    <a:pt x="2226526" y="198831"/>
                  </a:lnTo>
                  <a:lnTo>
                    <a:pt x="2226577" y="198831"/>
                  </a:lnTo>
                  <a:lnTo>
                    <a:pt x="2226577" y="196799"/>
                  </a:lnTo>
                  <a:lnTo>
                    <a:pt x="2226577" y="197447"/>
                  </a:lnTo>
                  <a:lnTo>
                    <a:pt x="2226577" y="196799"/>
                  </a:lnTo>
                  <a:lnTo>
                    <a:pt x="2226628" y="196799"/>
                  </a:lnTo>
                  <a:lnTo>
                    <a:pt x="2226628" y="196113"/>
                  </a:lnTo>
                  <a:lnTo>
                    <a:pt x="2226628" y="196799"/>
                  </a:lnTo>
                  <a:lnTo>
                    <a:pt x="2226679" y="196113"/>
                  </a:lnTo>
                  <a:lnTo>
                    <a:pt x="2226679" y="196799"/>
                  </a:lnTo>
                  <a:lnTo>
                    <a:pt x="2226679" y="196113"/>
                  </a:lnTo>
                  <a:lnTo>
                    <a:pt x="2226679" y="198831"/>
                  </a:lnTo>
                  <a:lnTo>
                    <a:pt x="2226679" y="197447"/>
                  </a:lnTo>
                  <a:lnTo>
                    <a:pt x="2226679" y="198831"/>
                  </a:lnTo>
                  <a:lnTo>
                    <a:pt x="2226679" y="197447"/>
                  </a:lnTo>
                  <a:lnTo>
                    <a:pt x="2226768" y="197447"/>
                  </a:lnTo>
                  <a:lnTo>
                    <a:pt x="2226768" y="198831"/>
                  </a:lnTo>
                  <a:lnTo>
                    <a:pt x="2226768" y="197447"/>
                  </a:lnTo>
                  <a:lnTo>
                    <a:pt x="2226768" y="198831"/>
                  </a:lnTo>
                  <a:lnTo>
                    <a:pt x="2226819" y="198831"/>
                  </a:lnTo>
                  <a:lnTo>
                    <a:pt x="2226819" y="197447"/>
                  </a:lnTo>
                  <a:lnTo>
                    <a:pt x="2226819" y="198831"/>
                  </a:lnTo>
                  <a:lnTo>
                    <a:pt x="2226819" y="197447"/>
                  </a:lnTo>
                  <a:lnTo>
                    <a:pt x="2226819" y="198831"/>
                  </a:lnTo>
                  <a:lnTo>
                    <a:pt x="2226819" y="197447"/>
                  </a:lnTo>
                  <a:lnTo>
                    <a:pt x="2226819" y="199530"/>
                  </a:lnTo>
                  <a:lnTo>
                    <a:pt x="2226869" y="198831"/>
                  </a:lnTo>
                  <a:lnTo>
                    <a:pt x="2226869" y="199530"/>
                  </a:lnTo>
                  <a:lnTo>
                    <a:pt x="2226869" y="198831"/>
                  </a:lnTo>
                  <a:lnTo>
                    <a:pt x="2226869" y="199530"/>
                  </a:lnTo>
                  <a:lnTo>
                    <a:pt x="2226869" y="198831"/>
                  </a:lnTo>
                  <a:lnTo>
                    <a:pt x="2226869" y="199530"/>
                  </a:lnTo>
                  <a:lnTo>
                    <a:pt x="2226920" y="199530"/>
                  </a:lnTo>
                  <a:lnTo>
                    <a:pt x="2226920" y="198831"/>
                  </a:lnTo>
                  <a:lnTo>
                    <a:pt x="2226920" y="199530"/>
                  </a:lnTo>
                  <a:lnTo>
                    <a:pt x="2227022" y="199530"/>
                  </a:lnTo>
                  <a:lnTo>
                    <a:pt x="2227022" y="200228"/>
                  </a:lnTo>
                  <a:lnTo>
                    <a:pt x="2227022" y="197447"/>
                  </a:lnTo>
                  <a:lnTo>
                    <a:pt x="2227072" y="197447"/>
                  </a:lnTo>
                  <a:lnTo>
                    <a:pt x="2227072" y="198831"/>
                  </a:lnTo>
                  <a:lnTo>
                    <a:pt x="2227072" y="196113"/>
                  </a:lnTo>
                  <a:lnTo>
                    <a:pt x="2227123" y="196113"/>
                  </a:lnTo>
                  <a:lnTo>
                    <a:pt x="2227123" y="198831"/>
                  </a:lnTo>
                  <a:lnTo>
                    <a:pt x="2227123" y="196799"/>
                  </a:lnTo>
                  <a:lnTo>
                    <a:pt x="2227225" y="197447"/>
                  </a:lnTo>
                  <a:lnTo>
                    <a:pt x="2227225" y="200228"/>
                  </a:lnTo>
                  <a:lnTo>
                    <a:pt x="2227225" y="198831"/>
                  </a:lnTo>
                  <a:lnTo>
                    <a:pt x="2227263" y="198831"/>
                  </a:lnTo>
                  <a:lnTo>
                    <a:pt x="2227263" y="199530"/>
                  </a:lnTo>
                  <a:lnTo>
                    <a:pt x="2227263" y="198831"/>
                  </a:lnTo>
                  <a:lnTo>
                    <a:pt x="2227314" y="199530"/>
                  </a:lnTo>
                  <a:lnTo>
                    <a:pt x="2227314" y="198831"/>
                  </a:lnTo>
                  <a:lnTo>
                    <a:pt x="2227314" y="199530"/>
                  </a:lnTo>
                  <a:lnTo>
                    <a:pt x="2227314" y="198831"/>
                  </a:lnTo>
                  <a:lnTo>
                    <a:pt x="2227314" y="199530"/>
                  </a:lnTo>
                  <a:lnTo>
                    <a:pt x="2227365" y="199530"/>
                  </a:lnTo>
                  <a:lnTo>
                    <a:pt x="2227365" y="200228"/>
                  </a:lnTo>
                  <a:lnTo>
                    <a:pt x="2227365" y="199530"/>
                  </a:lnTo>
                  <a:lnTo>
                    <a:pt x="2227466" y="199530"/>
                  </a:lnTo>
                  <a:lnTo>
                    <a:pt x="2227466" y="200228"/>
                  </a:lnTo>
                  <a:lnTo>
                    <a:pt x="2227466" y="199530"/>
                  </a:lnTo>
                  <a:lnTo>
                    <a:pt x="2227466" y="200228"/>
                  </a:lnTo>
                  <a:lnTo>
                    <a:pt x="2227466" y="199530"/>
                  </a:lnTo>
                  <a:lnTo>
                    <a:pt x="2227466" y="200228"/>
                  </a:lnTo>
                  <a:lnTo>
                    <a:pt x="2227466" y="199530"/>
                  </a:lnTo>
                  <a:lnTo>
                    <a:pt x="2227517" y="199530"/>
                  </a:lnTo>
                  <a:lnTo>
                    <a:pt x="2227517" y="198831"/>
                  </a:lnTo>
                  <a:lnTo>
                    <a:pt x="2227517" y="199530"/>
                  </a:lnTo>
                  <a:lnTo>
                    <a:pt x="2227517" y="198831"/>
                  </a:lnTo>
                  <a:lnTo>
                    <a:pt x="2227568" y="198831"/>
                  </a:lnTo>
                  <a:lnTo>
                    <a:pt x="2227568" y="197447"/>
                  </a:lnTo>
                  <a:lnTo>
                    <a:pt x="2227568" y="198831"/>
                  </a:lnTo>
                  <a:lnTo>
                    <a:pt x="2227568" y="196113"/>
                  </a:lnTo>
                  <a:lnTo>
                    <a:pt x="2227568" y="197447"/>
                  </a:lnTo>
                  <a:lnTo>
                    <a:pt x="2227669" y="197447"/>
                  </a:lnTo>
                  <a:lnTo>
                    <a:pt x="2227669" y="196113"/>
                  </a:lnTo>
                  <a:lnTo>
                    <a:pt x="2227669" y="196799"/>
                  </a:lnTo>
                  <a:lnTo>
                    <a:pt x="2227669" y="196113"/>
                  </a:lnTo>
                  <a:lnTo>
                    <a:pt x="2227669" y="200228"/>
                  </a:lnTo>
                  <a:lnTo>
                    <a:pt x="2227720" y="200228"/>
                  </a:lnTo>
                  <a:lnTo>
                    <a:pt x="2227720" y="197447"/>
                  </a:lnTo>
                  <a:lnTo>
                    <a:pt x="2227720" y="199530"/>
                  </a:lnTo>
                  <a:lnTo>
                    <a:pt x="2227771" y="199530"/>
                  </a:lnTo>
                  <a:lnTo>
                    <a:pt x="2227771" y="198831"/>
                  </a:lnTo>
                  <a:lnTo>
                    <a:pt x="2227771" y="199530"/>
                  </a:lnTo>
                  <a:lnTo>
                    <a:pt x="2227771" y="198831"/>
                  </a:lnTo>
                  <a:lnTo>
                    <a:pt x="2227771" y="199530"/>
                  </a:lnTo>
                  <a:lnTo>
                    <a:pt x="2227771" y="198831"/>
                  </a:lnTo>
                  <a:lnTo>
                    <a:pt x="2227771" y="199530"/>
                  </a:lnTo>
                  <a:lnTo>
                    <a:pt x="2227809" y="199530"/>
                  </a:lnTo>
                  <a:lnTo>
                    <a:pt x="2227809" y="198831"/>
                  </a:lnTo>
                  <a:lnTo>
                    <a:pt x="2227809" y="199530"/>
                  </a:lnTo>
                  <a:lnTo>
                    <a:pt x="2227809" y="198831"/>
                  </a:lnTo>
                  <a:lnTo>
                    <a:pt x="2227809" y="199530"/>
                  </a:lnTo>
                  <a:lnTo>
                    <a:pt x="2227911" y="199530"/>
                  </a:lnTo>
                  <a:lnTo>
                    <a:pt x="2227911" y="198831"/>
                  </a:lnTo>
                  <a:lnTo>
                    <a:pt x="2227911" y="199530"/>
                  </a:lnTo>
                  <a:lnTo>
                    <a:pt x="2227962" y="199530"/>
                  </a:lnTo>
                  <a:lnTo>
                    <a:pt x="2227962" y="198831"/>
                  </a:lnTo>
                  <a:lnTo>
                    <a:pt x="2227962" y="199530"/>
                  </a:lnTo>
                  <a:lnTo>
                    <a:pt x="2227962" y="198831"/>
                  </a:lnTo>
                  <a:lnTo>
                    <a:pt x="2227962" y="199530"/>
                  </a:lnTo>
                  <a:lnTo>
                    <a:pt x="2227962" y="198831"/>
                  </a:lnTo>
                  <a:lnTo>
                    <a:pt x="2228012" y="198831"/>
                  </a:lnTo>
                  <a:lnTo>
                    <a:pt x="2228012" y="197447"/>
                  </a:lnTo>
                  <a:lnTo>
                    <a:pt x="2228012" y="198831"/>
                  </a:lnTo>
                  <a:lnTo>
                    <a:pt x="2228012" y="197447"/>
                  </a:lnTo>
                  <a:lnTo>
                    <a:pt x="2228012" y="198831"/>
                  </a:lnTo>
                  <a:lnTo>
                    <a:pt x="2228012" y="196799"/>
                  </a:lnTo>
                  <a:lnTo>
                    <a:pt x="2228114" y="196799"/>
                  </a:lnTo>
                  <a:lnTo>
                    <a:pt x="2228114" y="196113"/>
                  </a:lnTo>
                  <a:lnTo>
                    <a:pt x="2228114" y="199530"/>
                  </a:lnTo>
                  <a:lnTo>
                    <a:pt x="2228114" y="197447"/>
                  </a:lnTo>
                  <a:lnTo>
                    <a:pt x="2228165" y="197447"/>
                  </a:lnTo>
                  <a:lnTo>
                    <a:pt x="2228165" y="196113"/>
                  </a:lnTo>
                  <a:lnTo>
                    <a:pt x="2228165" y="200228"/>
                  </a:lnTo>
                  <a:lnTo>
                    <a:pt x="2228165" y="199530"/>
                  </a:lnTo>
                  <a:lnTo>
                    <a:pt x="2228165" y="200228"/>
                  </a:lnTo>
                  <a:lnTo>
                    <a:pt x="2228165" y="198831"/>
                  </a:lnTo>
                  <a:lnTo>
                    <a:pt x="2228215" y="198831"/>
                  </a:lnTo>
                  <a:lnTo>
                    <a:pt x="2228215" y="197447"/>
                  </a:lnTo>
                  <a:lnTo>
                    <a:pt x="2228215" y="200228"/>
                  </a:lnTo>
                  <a:lnTo>
                    <a:pt x="2228215" y="199530"/>
                  </a:lnTo>
                  <a:lnTo>
                    <a:pt x="2228266" y="198831"/>
                  </a:lnTo>
                  <a:lnTo>
                    <a:pt x="2228266" y="200228"/>
                  </a:lnTo>
                  <a:lnTo>
                    <a:pt x="2228266" y="199530"/>
                  </a:lnTo>
                  <a:lnTo>
                    <a:pt x="2228355" y="199530"/>
                  </a:lnTo>
                  <a:lnTo>
                    <a:pt x="2228355" y="200228"/>
                  </a:lnTo>
                  <a:lnTo>
                    <a:pt x="2228355" y="199530"/>
                  </a:lnTo>
                  <a:lnTo>
                    <a:pt x="2228355" y="200876"/>
                  </a:lnTo>
                  <a:lnTo>
                    <a:pt x="2228406" y="200876"/>
                  </a:lnTo>
                  <a:lnTo>
                    <a:pt x="2228406" y="200228"/>
                  </a:lnTo>
                  <a:lnTo>
                    <a:pt x="2228457" y="200228"/>
                  </a:lnTo>
                  <a:lnTo>
                    <a:pt x="2228457" y="199530"/>
                  </a:lnTo>
                  <a:lnTo>
                    <a:pt x="2228457" y="200228"/>
                  </a:lnTo>
                  <a:lnTo>
                    <a:pt x="2228457" y="199530"/>
                  </a:lnTo>
                  <a:lnTo>
                    <a:pt x="2228457" y="200228"/>
                  </a:lnTo>
                  <a:lnTo>
                    <a:pt x="2228508" y="200228"/>
                  </a:lnTo>
                  <a:lnTo>
                    <a:pt x="2228508" y="197447"/>
                  </a:lnTo>
                  <a:lnTo>
                    <a:pt x="2228609" y="197447"/>
                  </a:lnTo>
                  <a:lnTo>
                    <a:pt x="2228609" y="196799"/>
                  </a:lnTo>
                  <a:lnTo>
                    <a:pt x="2228609" y="199530"/>
                  </a:lnTo>
                  <a:lnTo>
                    <a:pt x="2228609" y="196799"/>
                  </a:lnTo>
                  <a:lnTo>
                    <a:pt x="2228660" y="196799"/>
                  </a:lnTo>
                  <a:lnTo>
                    <a:pt x="2228660" y="200228"/>
                  </a:lnTo>
                  <a:lnTo>
                    <a:pt x="2228660" y="198831"/>
                  </a:lnTo>
                  <a:lnTo>
                    <a:pt x="2228711" y="198831"/>
                  </a:lnTo>
                  <a:lnTo>
                    <a:pt x="2228711" y="200228"/>
                  </a:lnTo>
                  <a:lnTo>
                    <a:pt x="2228711" y="199530"/>
                  </a:lnTo>
                  <a:lnTo>
                    <a:pt x="2228812" y="199530"/>
                  </a:lnTo>
                  <a:lnTo>
                    <a:pt x="2228812" y="200228"/>
                  </a:lnTo>
                  <a:lnTo>
                    <a:pt x="2228812" y="199530"/>
                  </a:lnTo>
                  <a:lnTo>
                    <a:pt x="2228812" y="200228"/>
                  </a:lnTo>
                  <a:lnTo>
                    <a:pt x="2228812" y="199530"/>
                  </a:lnTo>
                  <a:lnTo>
                    <a:pt x="2228812" y="200228"/>
                  </a:lnTo>
                  <a:lnTo>
                    <a:pt x="2228850" y="200228"/>
                  </a:lnTo>
                  <a:lnTo>
                    <a:pt x="2228850" y="200876"/>
                  </a:lnTo>
                  <a:lnTo>
                    <a:pt x="2228850" y="200228"/>
                  </a:lnTo>
                  <a:lnTo>
                    <a:pt x="2228850" y="200876"/>
                  </a:lnTo>
                  <a:lnTo>
                    <a:pt x="2228850" y="200228"/>
                  </a:lnTo>
                  <a:lnTo>
                    <a:pt x="2228901" y="200228"/>
                  </a:lnTo>
                  <a:lnTo>
                    <a:pt x="2228901" y="200876"/>
                  </a:lnTo>
                  <a:lnTo>
                    <a:pt x="2228901" y="200228"/>
                  </a:lnTo>
                  <a:lnTo>
                    <a:pt x="2228952" y="200228"/>
                  </a:lnTo>
                  <a:lnTo>
                    <a:pt x="2228952" y="198831"/>
                  </a:lnTo>
                  <a:lnTo>
                    <a:pt x="2229054" y="198831"/>
                  </a:lnTo>
                  <a:lnTo>
                    <a:pt x="2229054" y="199530"/>
                  </a:lnTo>
                  <a:lnTo>
                    <a:pt x="2229054" y="197447"/>
                  </a:lnTo>
                  <a:lnTo>
                    <a:pt x="2229054" y="198831"/>
                  </a:lnTo>
                  <a:lnTo>
                    <a:pt x="2229054" y="196113"/>
                  </a:lnTo>
                  <a:lnTo>
                    <a:pt x="2229054" y="196799"/>
                  </a:lnTo>
                  <a:lnTo>
                    <a:pt x="2229105" y="196799"/>
                  </a:lnTo>
                  <a:lnTo>
                    <a:pt x="2229105" y="199530"/>
                  </a:lnTo>
                  <a:lnTo>
                    <a:pt x="2229105" y="196799"/>
                  </a:lnTo>
                  <a:lnTo>
                    <a:pt x="2229105" y="200228"/>
                  </a:lnTo>
                  <a:lnTo>
                    <a:pt x="2229155" y="200876"/>
                  </a:lnTo>
                  <a:lnTo>
                    <a:pt x="2229155" y="198831"/>
                  </a:lnTo>
                  <a:lnTo>
                    <a:pt x="2229155" y="200228"/>
                  </a:lnTo>
                  <a:lnTo>
                    <a:pt x="2229257" y="200228"/>
                  </a:lnTo>
                  <a:lnTo>
                    <a:pt x="2229257" y="199530"/>
                  </a:lnTo>
                  <a:lnTo>
                    <a:pt x="2229257" y="200228"/>
                  </a:lnTo>
                  <a:lnTo>
                    <a:pt x="2229308" y="200228"/>
                  </a:lnTo>
                  <a:lnTo>
                    <a:pt x="2229308" y="199530"/>
                  </a:lnTo>
                  <a:lnTo>
                    <a:pt x="2229308" y="200228"/>
                  </a:lnTo>
                  <a:lnTo>
                    <a:pt x="2229308" y="199530"/>
                  </a:lnTo>
                  <a:lnTo>
                    <a:pt x="2229308" y="200228"/>
                  </a:lnTo>
                  <a:lnTo>
                    <a:pt x="2229359" y="200228"/>
                  </a:lnTo>
                  <a:lnTo>
                    <a:pt x="2229359" y="199530"/>
                  </a:lnTo>
                  <a:lnTo>
                    <a:pt x="2229359" y="200876"/>
                  </a:lnTo>
                  <a:lnTo>
                    <a:pt x="2229359" y="200228"/>
                  </a:lnTo>
                  <a:lnTo>
                    <a:pt x="2229397" y="200228"/>
                  </a:lnTo>
                  <a:lnTo>
                    <a:pt x="2229397" y="199530"/>
                  </a:lnTo>
                  <a:lnTo>
                    <a:pt x="2229498" y="199530"/>
                  </a:lnTo>
                  <a:lnTo>
                    <a:pt x="2229498" y="198831"/>
                  </a:lnTo>
                  <a:lnTo>
                    <a:pt x="2229549" y="198831"/>
                  </a:lnTo>
                  <a:lnTo>
                    <a:pt x="2229549" y="196799"/>
                  </a:lnTo>
                  <a:lnTo>
                    <a:pt x="2229549" y="197447"/>
                  </a:lnTo>
                  <a:lnTo>
                    <a:pt x="2229600" y="197447"/>
                  </a:lnTo>
                  <a:lnTo>
                    <a:pt x="2229600" y="196799"/>
                  </a:lnTo>
                  <a:lnTo>
                    <a:pt x="2229600" y="200228"/>
                  </a:lnTo>
                  <a:lnTo>
                    <a:pt x="2229701" y="199530"/>
                  </a:lnTo>
                  <a:lnTo>
                    <a:pt x="2229701" y="198831"/>
                  </a:lnTo>
                  <a:lnTo>
                    <a:pt x="2229701" y="199530"/>
                  </a:lnTo>
                  <a:lnTo>
                    <a:pt x="2229701" y="198831"/>
                  </a:lnTo>
                  <a:lnTo>
                    <a:pt x="2229701" y="199530"/>
                  </a:lnTo>
                  <a:lnTo>
                    <a:pt x="2229752" y="199530"/>
                  </a:lnTo>
                  <a:lnTo>
                    <a:pt x="2229752" y="200228"/>
                  </a:lnTo>
                  <a:lnTo>
                    <a:pt x="2229803" y="200228"/>
                  </a:lnTo>
                  <a:lnTo>
                    <a:pt x="2229803" y="199530"/>
                  </a:lnTo>
                  <a:lnTo>
                    <a:pt x="2229803" y="200876"/>
                  </a:lnTo>
                  <a:lnTo>
                    <a:pt x="2229803" y="200228"/>
                  </a:lnTo>
                  <a:lnTo>
                    <a:pt x="2229803" y="200876"/>
                  </a:lnTo>
                  <a:lnTo>
                    <a:pt x="2229803" y="200228"/>
                  </a:lnTo>
                  <a:lnTo>
                    <a:pt x="2229854" y="200228"/>
                  </a:lnTo>
                  <a:lnTo>
                    <a:pt x="2229854" y="200876"/>
                  </a:lnTo>
                  <a:lnTo>
                    <a:pt x="2229854" y="200228"/>
                  </a:lnTo>
                  <a:lnTo>
                    <a:pt x="2229854" y="200876"/>
                  </a:lnTo>
                  <a:lnTo>
                    <a:pt x="2229943" y="200876"/>
                  </a:lnTo>
                  <a:lnTo>
                    <a:pt x="2229943" y="200228"/>
                  </a:lnTo>
                  <a:lnTo>
                    <a:pt x="2229943" y="200876"/>
                  </a:lnTo>
                  <a:lnTo>
                    <a:pt x="2229943" y="199530"/>
                  </a:lnTo>
                  <a:lnTo>
                    <a:pt x="2229943" y="200228"/>
                  </a:lnTo>
                  <a:lnTo>
                    <a:pt x="2229943" y="199530"/>
                  </a:lnTo>
                  <a:lnTo>
                    <a:pt x="2229943" y="200228"/>
                  </a:lnTo>
                  <a:lnTo>
                    <a:pt x="2229943" y="199530"/>
                  </a:lnTo>
                  <a:lnTo>
                    <a:pt x="2229994" y="199530"/>
                  </a:lnTo>
                  <a:lnTo>
                    <a:pt x="2229994" y="200228"/>
                  </a:lnTo>
                  <a:lnTo>
                    <a:pt x="2229994" y="197447"/>
                  </a:lnTo>
                  <a:lnTo>
                    <a:pt x="2230044" y="198831"/>
                  </a:lnTo>
                  <a:lnTo>
                    <a:pt x="2230044" y="194716"/>
                  </a:lnTo>
                  <a:lnTo>
                    <a:pt x="2230044" y="195415"/>
                  </a:lnTo>
                  <a:lnTo>
                    <a:pt x="2230095" y="195415"/>
                  </a:lnTo>
                  <a:lnTo>
                    <a:pt x="2230095" y="194716"/>
                  </a:lnTo>
                  <a:lnTo>
                    <a:pt x="2230095" y="195415"/>
                  </a:lnTo>
                  <a:lnTo>
                    <a:pt x="2230095" y="194716"/>
                  </a:lnTo>
                  <a:lnTo>
                    <a:pt x="2230197" y="194716"/>
                  </a:lnTo>
                  <a:lnTo>
                    <a:pt x="2230197" y="196799"/>
                  </a:lnTo>
                  <a:lnTo>
                    <a:pt x="2230197" y="196113"/>
                  </a:lnTo>
                  <a:lnTo>
                    <a:pt x="2230197" y="196799"/>
                  </a:lnTo>
                  <a:lnTo>
                    <a:pt x="2230197" y="196113"/>
                  </a:lnTo>
                  <a:lnTo>
                    <a:pt x="2230197" y="196799"/>
                  </a:lnTo>
                  <a:lnTo>
                    <a:pt x="2230247" y="196799"/>
                  </a:lnTo>
                  <a:lnTo>
                    <a:pt x="2230247" y="196113"/>
                  </a:lnTo>
                  <a:lnTo>
                    <a:pt x="2230247" y="197447"/>
                  </a:lnTo>
                  <a:lnTo>
                    <a:pt x="2230247" y="196799"/>
                  </a:lnTo>
                  <a:lnTo>
                    <a:pt x="2230247" y="197447"/>
                  </a:lnTo>
                  <a:lnTo>
                    <a:pt x="2230247" y="196799"/>
                  </a:lnTo>
                  <a:lnTo>
                    <a:pt x="2230247" y="197447"/>
                  </a:lnTo>
                  <a:lnTo>
                    <a:pt x="2230247" y="196799"/>
                  </a:lnTo>
                  <a:lnTo>
                    <a:pt x="2230247" y="197447"/>
                  </a:lnTo>
                  <a:lnTo>
                    <a:pt x="2230298" y="197447"/>
                  </a:lnTo>
                  <a:lnTo>
                    <a:pt x="2230298" y="199530"/>
                  </a:lnTo>
                  <a:lnTo>
                    <a:pt x="2230298" y="197447"/>
                  </a:lnTo>
                  <a:lnTo>
                    <a:pt x="2230298" y="198831"/>
                  </a:lnTo>
                  <a:lnTo>
                    <a:pt x="2230400" y="198831"/>
                  </a:lnTo>
                  <a:lnTo>
                    <a:pt x="2230400" y="200228"/>
                  </a:lnTo>
                  <a:lnTo>
                    <a:pt x="2230400" y="199530"/>
                  </a:lnTo>
                  <a:lnTo>
                    <a:pt x="2230400" y="200228"/>
                  </a:lnTo>
                  <a:lnTo>
                    <a:pt x="2230438" y="200228"/>
                  </a:lnTo>
                  <a:lnTo>
                    <a:pt x="2230438" y="199530"/>
                  </a:lnTo>
                  <a:lnTo>
                    <a:pt x="2230438" y="200228"/>
                  </a:lnTo>
                  <a:lnTo>
                    <a:pt x="2230489" y="199530"/>
                  </a:lnTo>
                  <a:lnTo>
                    <a:pt x="2230489" y="200228"/>
                  </a:lnTo>
                  <a:lnTo>
                    <a:pt x="2230489" y="198831"/>
                  </a:lnTo>
                  <a:lnTo>
                    <a:pt x="2230540" y="198831"/>
                  </a:lnTo>
                  <a:lnTo>
                    <a:pt x="2230540" y="199530"/>
                  </a:lnTo>
                  <a:lnTo>
                    <a:pt x="2230540" y="196113"/>
                  </a:lnTo>
                  <a:lnTo>
                    <a:pt x="2230641" y="196113"/>
                  </a:lnTo>
                  <a:lnTo>
                    <a:pt x="2230641" y="195415"/>
                  </a:lnTo>
                  <a:lnTo>
                    <a:pt x="2230641" y="196113"/>
                  </a:lnTo>
                  <a:lnTo>
                    <a:pt x="2230641" y="195415"/>
                  </a:lnTo>
                  <a:lnTo>
                    <a:pt x="2230641" y="196113"/>
                  </a:lnTo>
                  <a:lnTo>
                    <a:pt x="2230641" y="195415"/>
                  </a:lnTo>
                  <a:lnTo>
                    <a:pt x="2230692" y="195415"/>
                  </a:lnTo>
                  <a:lnTo>
                    <a:pt x="2230692" y="196799"/>
                  </a:lnTo>
                  <a:lnTo>
                    <a:pt x="2230692" y="196113"/>
                  </a:lnTo>
                  <a:lnTo>
                    <a:pt x="2230692" y="196799"/>
                  </a:lnTo>
                  <a:lnTo>
                    <a:pt x="2230692" y="195415"/>
                  </a:lnTo>
                  <a:lnTo>
                    <a:pt x="2230692" y="196113"/>
                  </a:lnTo>
                  <a:lnTo>
                    <a:pt x="2230692" y="194716"/>
                  </a:lnTo>
                  <a:lnTo>
                    <a:pt x="2230743" y="195415"/>
                  </a:lnTo>
                  <a:lnTo>
                    <a:pt x="2230743" y="197447"/>
                  </a:lnTo>
                  <a:lnTo>
                    <a:pt x="2230743" y="196113"/>
                  </a:lnTo>
                  <a:lnTo>
                    <a:pt x="2230743" y="196799"/>
                  </a:lnTo>
                  <a:lnTo>
                    <a:pt x="2230844" y="196799"/>
                  </a:lnTo>
                  <a:lnTo>
                    <a:pt x="2230844" y="197447"/>
                  </a:lnTo>
                  <a:lnTo>
                    <a:pt x="2230844" y="196799"/>
                  </a:lnTo>
                  <a:lnTo>
                    <a:pt x="2230844" y="197447"/>
                  </a:lnTo>
                  <a:lnTo>
                    <a:pt x="2230895" y="197447"/>
                  </a:lnTo>
                  <a:lnTo>
                    <a:pt x="2230895" y="198831"/>
                  </a:lnTo>
                  <a:lnTo>
                    <a:pt x="2230946" y="198831"/>
                  </a:lnTo>
                  <a:lnTo>
                    <a:pt x="2230946" y="199530"/>
                  </a:lnTo>
                  <a:lnTo>
                    <a:pt x="2230946" y="198831"/>
                  </a:lnTo>
                  <a:lnTo>
                    <a:pt x="2230946" y="199530"/>
                  </a:lnTo>
                  <a:lnTo>
                    <a:pt x="2230946" y="198831"/>
                  </a:lnTo>
                  <a:lnTo>
                    <a:pt x="2230946" y="199530"/>
                  </a:lnTo>
                  <a:lnTo>
                    <a:pt x="2230946" y="198831"/>
                  </a:lnTo>
                  <a:lnTo>
                    <a:pt x="2230946" y="199530"/>
                  </a:lnTo>
                  <a:lnTo>
                    <a:pt x="2230946" y="198831"/>
                  </a:lnTo>
                  <a:lnTo>
                    <a:pt x="2230984" y="198831"/>
                  </a:lnTo>
                  <a:lnTo>
                    <a:pt x="2230984" y="199530"/>
                  </a:lnTo>
                  <a:lnTo>
                    <a:pt x="2230984" y="198831"/>
                  </a:lnTo>
                  <a:lnTo>
                    <a:pt x="2230984" y="199530"/>
                  </a:lnTo>
                  <a:lnTo>
                    <a:pt x="2230984" y="198831"/>
                  </a:lnTo>
                  <a:lnTo>
                    <a:pt x="2231086" y="198831"/>
                  </a:lnTo>
                  <a:lnTo>
                    <a:pt x="2231086" y="196799"/>
                  </a:lnTo>
                  <a:lnTo>
                    <a:pt x="2231086" y="199530"/>
                  </a:lnTo>
                  <a:lnTo>
                    <a:pt x="2231137" y="199530"/>
                  </a:lnTo>
                  <a:lnTo>
                    <a:pt x="2231137" y="197447"/>
                  </a:lnTo>
                  <a:lnTo>
                    <a:pt x="2231137" y="198831"/>
                  </a:lnTo>
                  <a:lnTo>
                    <a:pt x="2231137" y="196799"/>
                  </a:lnTo>
                  <a:lnTo>
                    <a:pt x="2231137" y="197447"/>
                  </a:lnTo>
                  <a:lnTo>
                    <a:pt x="2231137" y="196799"/>
                  </a:lnTo>
                  <a:lnTo>
                    <a:pt x="2231137" y="200228"/>
                  </a:lnTo>
                  <a:lnTo>
                    <a:pt x="2231187" y="200228"/>
                  </a:lnTo>
                  <a:lnTo>
                    <a:pt x="2231187" y="198831"/>
                  </a:lnTo>
                  <a:lnTo>
                    <a:pt x="2231187" y="200228"/>
                  </a:lnTo>
                  <a:lnTo>
                    <a:pt x="2231187" y="199530"/>
                  </a:lnTo>
                  <a:lnTo>
                    <a:pt x="2231289" y="199530"/>
                  </a:lnTo>
                  <a:lnTo>
                    <a:pt x="2231289" y="198831"/>
                  </a:lnTo>
                  <a:lnTo>
                    <a:pt x="2231289" y="200228"/>
                  </a:lnTo>
                  <a:lnTo>
                    <a:pt x="2231289" y="199530"/>
                  </a:lnTo>
                  <a:lnTo>
                    <a:pt x="2231340" y="198831"/>
                  </a:lnTo>
                  <a:lnTo>
                    <a:pt x="2231340" y="199530"/>
                  </a:lnTo>
                  <a:lnTo>
                    <a:pt x="2231340" y="198831"/>
                  </a:lnTo>
                  <a:lnTo>
                    <a:pt x="2231340" y="199530"/>
                  </a:lnTo>
                  <a:lnTo>
                    <a:pt x="2231340" y="198831"/>
                  </a:lnTo>
                  <a:lnTo>
                    <a:pt x="2231390" y="198831"/>
                  </a:lnTo>
                  <a:lnTo>
                    <a:pt x="2231390" y="199530"/>
                  </a:lnTo>
                  <a:lnTo>
                    <a:pt x="2231441" y="199530"/>
                  </a:lnTo>
                  <a:lnTo>
                    <a:pt x="2231441" y="200228"/>
                  </a:lnTo>
                  <a:lnTo>
                    <a:pt x="2231441" y="199530"/>
                  </a:lnTo>
                  <a:lnTo>
                    <a:pt x="2231530" y="199530"/>
                  </a:lnTo>
                  <a:lnTo>
                    <a:pt x="2231530" y="198831"/>
                  </a:lnTo>
                  <a:lnTo>
                    <a:pt x="2231530" y="199530"/>
                  </a:lnTo>
                  <a:lnTo>
                    <a:pt x="2231530" y="198831"/>
                  </a:lnTo>
                  <a:lnTo>
                    <a:pt x="2231581" y="198831"/>
                  </a:lnTo>
                  <a:lnTo>
                    <a:pt x="2231581" y="196799"/>
                  </a:lnTo>
                  <a:lnTo>
                    <a:pt x="2231581" y="200228"/>
                  </a:lnTo>
                  <a:lnTo>
                    <a:pt x="2231581" y="197447"/>
                  </a:lnTo>
                  <a:lnTo>
                    <a:pt x="2231632" y="197447"/>
                  </a:lnTo>
                  <a:lnTo>
                    <a:pt x="2231632" y="202260"/>
                  </a:lnTo>
                  <a:lnTo>
                    <a:pt x="2231632" y="200228"/>
                  </a:lnTo>
                  <a:lnTo>
                    <a:pt x="2231683" y="200228"/>
                  </a:lnTo>
                  <a:lnTo>
                    <a:pt x="2231683" y="202260"/>
                  </a:lnTo>
                  <a:lnTo>
                    <a:pt x="2231683" y="200228"/>
                  </a:lnTo>
                  <a:lnTo>
                    <a:pt x="2231683" y="200876"/>
                  </a:lnTo>
                  <a:lnTo>
                    <a:pt x="2231683" y="200228"/>
                  </a:lnTo>
                  <a:lnTo>
                    <a:pt x="2231784" y="200228"/>
                  </a:lnTo>
                  <a:lnTo>
                    <a:pt x="2231784" y="202260"/>
                  </a:lnTo>
                  <a:lnTo>
                    <a:pt x="2231784" y="200228"/>
                  </a:lnTo>
                  <a:lnTo>
                    <a:pt x="2231784" y="200876"/>
                  </a:lnTo>
                  <a:lnTo>
                    <a:pt x="2231784" y="200228"/>
                  </a:lnTo>
                  <a:lnTo>
                    <a:pt x="2231835" y="200876"/>
                  </a:lnTo>
                  <a:lnTo>
                    <a:pt x="2231835" y="200228"/>
                  </a:lnTo>
                  <a:lnTo>
                    <a:pt x="2231835" y="200876"/>
                  </a:lnTo>
                  <a:lnTo>
                    <a:pt x="2231835" y="200228"/>
                  </a:lnTo>
                  <a:lnTo>
                    <a:pt x="2231835" y="200876"/>
                  </a:lnTo>
                  <a:lnTo>
                    <a:pt x="2231835" y="200228"/>
                  </a:lnTo>
                  <a:lnTo>
                    <a:pt x="2231886" y="200228"/>
                  </a:lnTo>
                  <a:lnTo>
                    <a:pt x="2231886" y="200876"/>
                  </a:lnTo>
                  <a:lnTo>
                    <a:pt x="2231886" y="199530"/>
                  </a:lnTo>
                  <a:lnTo>
                    <a:pt x="2231886" y="200228"/>
                  </a:lnTo>
                  <a:lnTo>
                    <a:pt x="2231886" y="199530"/>
                  </a:lnTo>
                  <a:lnTo>
                    <a:pt x="2231886" y="200228"/>
                  </a:lnTo>
                  <a:lnTo>
                    <a:pt x="2231987" y="200228"/>
                  </a:lnTo>
                  <a:lnTo>
                    <a:pt x="2231987" y="199530"/>
                  </a:lnTo>
                  <a:lnTo>
                    <a:pt x="2231987" y="200228"/>
                  </a:lnTo>
                  <a:lnTo>
                    <a:pt x="2231987" y="198831"/>
                  </a:lnTo>
                  <a:lnTo>
                    <a:pt x="2231987" y="199530"/>
                  </a:lnTo>
                  <a:lnTo>
                    <a:pt x="2231987" y="197447"/>
                  </a:lnTo>
                  <a:lnTo>
                    <a:pt x="2232025" y="197447"/>
                  </a:lnTo>
                  <a:lnTo>
                    <a:pt x="2232025" y="196799"/>
                  </a:lnTo>
                  <a:lnTo>
                    <a:pt x="2232025" y="197447"/>
                  </a:lnTo>
                  <a:lnTo>
                    <a:pt x="2232025" y="196113"/>
                  </a:lnTo>
                  <a:lnTo>
                    <a:pt x="2232076" y="196113"/>
                  </a:lnTo>
                  <a:lnTo>
                    <a:pt x="2232076" y="195415"/>
                  </a:lnTo>
                  <a:lnTo>
                    <a:pt x="2232076" y="197447"/>
                  </a:lnTo>
                  <a:lnTo>
                    <a:pt x="2232076" y="196113"/>
                  </a:lnTo>
                  <a:lnTo>
                    <a:pt x="2232127" y="196113"/>
                  </a:lnTo>
                  <a:lnTo>
                    <a:pt x="2232127" y="200228"/>
                  </a:lnTo>
                  <a:lnTo>
                    <a:pt x="2232127" y="198831"/>
                  </a:lnTo>
                  <a:lnTo>
                    <a:pt x="2232229" y="198831"/>
                  </a:lnTo>
                  <a:lnTo>
                    <a:pt x="2232229" y="200228"/>
                  </a:lnTo>
                  <a:lnTo>
                    <a:pt x="2232229" y="199530"/>
                  </a:lnTo>
                  <a:lnTo>
                    <a:pt x="2232229" y="200228"/>
                  </a:lnTo>
                  <a:lnTo>
                    <a:pt x="2232229" y="199530"/>
                  </a:lnTo>
                  <a:lnTo>
                    <a:pt x="2232280" y="200228"/>
                  </a:lnTo>
                  <a:lnTo>
                    <a:pt x="2232280" y="200876"/>
                  </a:lnTo>
                  <a:lnTo>
                    <a:pt x="2232280" y="200228"/>
                  </a:lnTo>
                  <a:lnTo>
                    <a:pt x="2232280" y="200876"/>
                  </a:lnTo>
                  <a:lnTo>
                    <a:pt x="2232280" y="200228"/>
                  </a:lnTo>
                  <a:lnTo>
                    <a:pt x="2232330" y="200876"/>
                  </a:lnTo>
                  <a:lnTo>
                    <a:pt x="2232330" y="200228"/>
                  </a:lnTo>
                  <a:lnTo>
                    <a:pt x="2232330" y="200876"/>
                  </a:lnTo>
                  <a:lnTo>
                    <a:pt x="2232330" y="200228"/>
                  </a:lnTo>
                  <a:lnTo>
                    <a:pt x="2232330" y="200876"/>
                  </a:lnTo>
                  <a:lnTo>
                    <a:pt x="2232432" y="200876"/>
                  </a:lnTo>
                  <a:lnTo>
                    <a:pt x="2232432" y="200228"/>
                  </a:lnTo>
                  <a:lnTo>
                    <a:pt x="2232483" y="200228"/>
                  </a:lnTo>
                  <a:lnTo>
                    <a:pt x="2232483" y="200876"/>
                  </a:lnTo>
                  <a:lnTo>
                    <a:pt x="2232483" y="199530"/>
                  </a:lnTo>
                  <a:lnTo>
                    <a:pt x="2232483" y="200228"/>
                  </a:lnTo>
                  <a:lnTo>
                    <a:pt x="2232483" y="199530"/>
                  </a:lnTo>
                  <a:lnTo>
                    <a:pt x="2232534" y="199530"/>
                  </a:lnTo>
                  <a:lnTo>
                    <a:pt x="2232534" y="196113"/>
                  </a:lnTo>
                  <a:lnTo>
                    <a:pt x="2232572" y="196113"/>
                  </a:lnTo>
                  <a:lnTo>
                    <a:pt x="2232572" y="198831"/>
                  </a:lnTo>
                  <a:lnTo>
                    <a:pt x="2232572" y="196113"/>
                  </a:lnTo>
                  <a:lnTo>
                    <a:pt x="2232572" y="196799"/>
                  </a:lnTo>
                  <a:lnTo>
                    <a:pt x="2232673" y="196799"/>
                  </a:lnTo>
                  <a:lnTo>
                    <a:pt x="2232673" y="199530"/>
                  </a:lnTo>
                  <a:lnTo>
                    <a:pt x="2232673" y="197447"/>
                  </a:lnTo>
                  <a:lnTo>
                    <a:pt x="2232673" y="198831"/>
                  </a:lnTo>
                  <a:lnTo>
                    <a:pt x="2232673" y="197447"/>
                  </a:lnTo>
                  <a:lnTo>
                    <a:pt x="2232724" y="198831"/>
                  </a:lnTo>
                  <a:lnTo>
                    <a:pt x="2232724" y="199530"/>
                  </a:lnTo>
                  <a:lnTo>
                    <a:pt x="2232724" y="198831"/>
                  </a:lnTo>
                  <a:lnTo>
                    <a:pt x="2232775" y="199530"/>
                  </a:lnTo>
                  <a:lnTo>
                    <a:pt x="2232775" y="200228"/>
                  </a:lnTo>
                  <a:lnTo>
                    <a:pt x="2232775" y="199530"/>
                  </a:lnTo>
                  <a:lnTo>
                    <a:pt x="2232775" y="200228"/>
                  </a:lnTo>
                  <a:lnTo>
                    <a:pt x="2232775" y="199530"/>
                  </a:lnTo>
                  <a:lnTo>
                    <a:pt x="2232775" y="200228"/>
                  </a:lnTo>
                  <a:lnTo>
                    <a:pt x="2232876" y="200228"/>
                  </a:lnTo>
                  <a:lnTo>
                    <a:pt x="2232876" y="200876"/>
                  </a:lnTo>
                  <a:lnTo>
                    <a:pt x="2232876" y="200228"/>
                  </a:lnTo>
                  <a:lnTo>
                    <a:pt x="2232876" y="200876"/>
                  </a:lnTo>
                  <a:lnTo>
                    <a:pt x="2232876" y="200228"/>
                  </a:lnTo>
                  <a:lnTo>
                    <a:pt x="2232927" y="200228"/>
                  </a:lnTo>
                  <a:lnTo>
                    <a:pt x="2232927" y="200876"/>
                  </a:lnTo>
                  <a:lnTo>
                    <a:pt x="2232927" y="200228"/>
                  </a:lnTo>
                  <a:lnTo>
                    <a:pt x="2232927" y="200876"/>
                  </a:lnTo>
                  <a:lnTo>
                    <a:pt x="2232927" y="200228"/>
                  </a:lnTo>
                  <a:lnTo>
                    <a:pt x="2232927" y="200876"/>
                  </a:lnTo>
                  <a:lnTo>
                    <a:pt x="2232927" y="200228"/>
                  </a:lnTo>
                  <a:lnTo>
                    <a:pt x="2232978" y="200228"/>
                  </a:lnTo>
                  <a:lnTo>
                    <a:pt x="2232978" y="199530"/>
                  </a:lnTo>
                  <a:lnTo>
                    <a:pt x="2232978" y="200228"/>
                  </a:lnTo>
                  <a:lnTo>
                    <a:pt x="2232978" y="198831"/>
                  </a:lnTo>
                  <a:lnTo>
                    <a:pt x="2233029" y="198831"/>
                  </a:lnTo>
                  <a:lnTo>
                    <a:pt x="2233029" y="197447"/>
                  </a:lnTo>
                  <a:lnTo>
                    <a:pt x="2233029" y="198831"/>
                  </a:lnTo>
                  <a:lnTo>
                    <a:pt x="2233029" y="197447"/>
                  </a:lnTo>
                  <a:lnTo>
                    <a:pt x="2233029" y="198831"/>
                  </a:lnTo>
                  <a:lnTo>
                    <a:pt x="2233029" y="196799"/>
                  </a:lnTo>
                  <a:lnTo>
                    <a:pt x="2233118" y="196799"/>
                  </a:lnTo>
                  <a:lnTo>
                    <a:pt x="2233118" y="196113"/>
                  </a:lnTo>
                  <a:lnTo>
                    <a:pt x="2233118" y="198831"/>
                  </a:lnTo>
                  <a:lnTo>
                    <a:pt x="2233118" y="197447"/>
                  </a:lnTo>
                  <a:lnTo>
                    <a:pt x="2233118" y="198831"/>
                  </a:lnTo>
                  <a:lnTo>
                    <a:pt x="2233118" y="196113"/>
                  </a:lnTo>
                  <a:lnTo>
                    <a:pt x="2233118" y="198831"/>
                  </a:lnTo>
                  <a:lnTo>
                    <a:pt x="2233169" y="199530"/>
                  </a:lnTo>
                  <a:lnTo>
                    <a:pt x="2233169" y="198831"/>
                  </a:lnTo>
                  <a:lnTo>
                    <a:pt x="2233169" y="199530"/>
                  </a:lnTo>
                  <a:lnTo>
                    <a:pt x="2233169" y="198831"/>
                  </a:lnTo>
                  <a:lnTo>
                    <a:pt x="2233169" y="199530"/>
                  </a:lnTo>
                  <a:lnTo>
                    <a:pt x="2233169" y="198831"/>
                  </a:lnTo>
                  <a:lnTo>
                    <a:pt x="2233169" y="199530"/>
                  </a:lnTo>
                  <a:lnTo>
                    <a:pt x="2233219" y="199530"/>
                  </a:lnTo>
                  <a:lnTo>
                    <a:pt x="2233219" y="198831"/>
                  </a:lnTo>
                  <a:lnTo>
                    <a:pt x="2233219" y="200228"/>
                  </a:lnTo>
                  <a:lnTo>
                    <a:pt x="2233270" y="199530"/>
                  </a:lnTo>
                  <a:lnTo>
                    <a:pt x="2233270" y="200228"/>
                  </a:lnTo>
                  <a:lnTo>
                    <a:pt x="2233270" y="199530"/>
                  </a:lnTo>
                  <a:lnTo>
                    <a:pt x="2233270" y="200228"/>
                  </a:lnTo>
                  <a:lnTo>
                    <a:pt x="2233270" y="199530"/>
                  </a:lnTo>
                  <a:lnTo>
                    <a:pt x="2233270" y="200228"/>
                  </a:lnTo>
                  <a:lnTo>
                    <a:pt x="2233372" y="200228"/>
                  </a:lnTo>
                  <a:lnTo>
                    <a:pt x="2233372" y="199530"/>
                  </a:lnTo>
                  <a:lnTo>
                    <a:pt x="2233372" y="200228"/>
                  </a:lnTo>
                  <a:lnTo>
                    <a:pt x="2233422" y="200228"/>
                  </a:lnTo>
                  <a:lnTo>
                    <a:pt x="2233422" y="200876"/>
                  </a:lnTo>
                  <a:lnTo>
                    <a:pt x="2233422" y="200228"/>
                  </a:lnTo>
                  <a:lnTo>
                    <a:pt x="2233422" y="200876"/>
                  </a:lnTo>
                  <a:lnTo>
                    <a:pt x="2233473" y="200228"/>
                  </a:lnTo>
                  <a:lnTo>
                    <a:pt x="2233473" y="199530"/>
                  </a:lnTo>
                  <a:lnTo>
                    <a:pt x="2233575" y="198831"/>
                  </a:lnTo>
                  <a:lnTo>
                    <a:pt x="2233575" y="196113"/>
                  </a:lnTo>
                  <a:lnTo>
                    <a:pt x="2233575" y="197447"/>
                  </a:lnTo>
                  <a:lnTo>
                    <a:pt x="2233613" y="198831"/>
                  </a:lnTo>
                  <a:lnTo>
                    <a:pt x="2233613" y="199530"/>
                  </a:lnTo>
                  <a:lnTo>
                    <a:pt x="2233613" y="196113"/>
                  </a:lnTo>
                  <a:lnTo>
                    <a:pt x="2233613" y="199530"/>
                  </a:lnTo>
                  <a:lnTo>
                    <a:pt x="2233613" y="198831"/>
                  </a:lnTo>
                  <a:lnTo>
                    <a:pt x="2233664" y="199530"/>
                  </a:lnTo>
                  <a:lnTo>
                    <a:pt x="2233664" y="196799"/>
                  </a:lnTo>
                  <a:lnTo>
                    <a:pt x="2233664" y="198831"/>
                  </a:lnTo>
                  <a:lnTo>
                    <a:pt x="2233715" y="198831"/>
                  </a:lnTo>
                  <a:lnTo>
                    <a:pt x="2233715" y="196799"/>
                  </a:lnTo>
                  <a:lnTo>
                    <a:pt x="2233715" y="198831"/>
                  </a:lnTo>
                  <a:lnTo>
                    <a:pt x="2233715" y="197447"/>
                  </a:lnTo>
                  <a:lnTo>
                    <a:pt x="2233715" y="198831"/>
                  </a:lnTo>
                  <a:lnTo>
                    <a:pt x="2233715" y="197447"/>
                  </a:lnTo>
                  <a:lnTo>
                    <a:pt x="2233715" y="198831"/>
                  </a:lnTo>
                  <a:lnTo>
                    <a:pt x="2233816" y="199530"/>
                  </a:lnTo>
                  <a:lnTo>
                    <a:pt x="2233816" y="197447"/>
                  </a:lnTo>
                  <a:lnTo>
                    <a:pt x="2233816" y="199530"/>
                  </a:lnTo>
                  <a:lnTo>
                    <a:pt x="2233816" y="198831"/>
                  </a:lnTo>
                  <a:lnTo>
                    <a:pt x="2233816" y="199530"/>
                  </a:lnTo>
                  <a:lnTo>
                    <a:pt x="2233867" y="198831"/>
                  </a:lnTo>
                  <a:lnTo>
                    <a:pt x="2233867" y="200228"/>
                  </a:lnTo>
                  <a:lnTo>
                    <a:pt x="2233867" y="199530"/>
                  </a:lnTo>
                  <a:lnTo>
                    <a:pt x="2233867" y="200228"/>
                  </a:lnTo>
                  <a:lnTo>
                    <a:pt x="2233918" y="200228"/>
                  </a:lnTo>
                  <a:lnTo>
                    <a:pt x="2233918" y="199530"/>
                  </a:lnTo>
                  <a:lnTo>
                    <a:pt x="2233918" y="200228"/>
                  </a:lnTo>
                  <a:lnTo>
                    <a:pt x="2233918" y="199530"/>
                  </a:lnTo>
                  <a:lnTo>
                    <a:pt x="2234019" y="199530"/>
                  </a:lnTo>
                  <a:lnTo>
                    <a:pt x="2234019" y="198831"/>
                  </a:lnTo>
                  <a:lnTo>
                    <a:pt x="2234019" y="199530"/>
                  </a:lnTo>
                  <a:lnTo>
                    <a:pt x="2234019" y="198831"/>
                  </a:lnTo>
                  <a:lnTo>
                    <a:pt x="2234070" y="198831"/>
                  </a:lnTo>
                  <a:lnTo>
                    <a:pt x="2234070" y="196799"/>
                  </a:lnTo>
                  <a:lnTo>
                    <a:pt x="2234070" y="199530"/>
                  </a:lnTo>
                  <a:lnTo>
                    <a:pt x="2234070" y="198831"/>
                  </a:lnTo>
                  <a:lnTo>
                    <a:pt x="2234121" y="198831"/>
                  </a:lnTo>
                  <a:lnTo>
                    <a:pt x="2234121" y="196799"/>
                  </a:lnTo>
                  <a:lnTo>
                    <a:pt x="2234121" y="200876"/>
                  </a:lnTo>
                  <a:lnTo>
                    <a:pt x="2234121" y="200228"/>
                  </a:lnTo>
                  <a:lnTo>
                    <a:pt x="2234159" y="199530"/>
                  </a:lnTo>
                  <a:lnTo>
                    <a:pt x="2234159" y="200876"/>
                  </a:lnTo>
                  <a:lnTo>
                    <a:pt x="2234159" y="199530"/>
                  </a:lnTo>
                  <a:lnTo>
                    <a:pt x="2234261" y="199530"/>
                  </a:lnTo>
                  <a:lnTo>
                    <a:pt x="2234261" y="200876"/>
                  </a:lnTo>
                  <a:lnTo>
                    <a:pt x="2234261" y="199530"/>
                  </a:lnTo>
                  <a:lnTo>
                    <a:pt x="2234312" y="200228"/>
                  </a:lnTo>
                  <a:lnTo>
                    <a:pt x="2234312" y="199530"/>
                  </a:lnTo>
                  <a:lnTo>
                    <a:pt x="2234312" y="200228"/>
                  </a:lnTo>
                  <a:lnTo>
                    <a:pt x="2234362" y="200228"/>
                  </a:lnTo>
                  <a:lnTo>
                    <a:pt x="2234362" y="199530"/>
                  </a:lnTo>
                  <a:lnTo>
                    <a:pt x="2234362" y="200876"/>
                  </a:lnTo>
                  <a:lnTo>
                    <a:pt x="2234362" y="200228"/>
                  </a:lnTo>
                  <a:lnTo>
                    <a:pt x="2234464" y="200228"/>
                  </a:lnTo>
                  <a:lnTo>
                    <a:pt x="2234464" y="200876"/>
                  </a:lnTo>
                  <a:lnTo>
                    <a:pt x="2234464" y="199530"/>
                  </a:lnTo>
                  <a:lnTo>
                    <a:pt x="2234515" y="199530"/>
                  </a:lnTo>
                  <a:lnTo>
                    <a:pt x="2234515" y="197447"/>
                  </a:lnTo>
                  <a:lnTo>
                    <a:pt x="2234515" y="198831"/>
                  </a:lnTo>
                  <a:lnTo>
                    <a:pt x="2234565" y="197447"/>
                  </a:lnTo>
                  <a:lnTo>
                    <a:pt x="2234565" y="200228"/>
                  </a:lnTo>
                  <a:lnTo>
                    <a:pt x="2234565" y="199530"/>
                  </a:lnTo>
                  <a:lnTo>
                    <a:pt x="2234565" y="200228"/>
                  </a:lnTo>
                  <a:lnTo>
                    <a:pt x="2234565" y="199530"/>
                  </a:lnTo>
                  <a:lnTo>
                    <a:pt x="2234565" y="200228"/>
                  </a:lnTo>
                  <a:lnTo>
                    <a:pt x="2234565" y="197447"/>
                  </a:lnTo>
                  <a:lnTo>
                    <a:pt x="2234565" y="200228"/>
                  </a:lnTo>
                  <a:lnTo>
                    <a:pt x="2234616" y="200228"/>
                  </a:lnTo>
                  <a:lnTo>
                    <a:pt x="2234616" y="202260"/>
                  </a:lnTo>
                  <a:lnTo>
                    <a:pt x="2234616" y="200228"/>
                  </a:lnTo>
                  <a:lnTo>
                    <a:pt x="2234616" y="200876"/>
                  </a:lnTo>
                  <a:lnTo>
                    <a:pt x="2234705" y="200876"/>
                  </a:lnTo>
                  <a:lnTo>
                    <a:pt x="2234705" y="200228"/>
                  </a:lnTo>
                  <a:lnTo>
                    <a:pt x="2234705" y="202260"/>
                  </a:lnTo>
                  <a:lnTo>
                    <a:pt x="2234705" y="200228"/>
                  </a:lnTo>
                  <a:lnTo>
                    <a:pt x="2234705" y="200876"/>
                  </a:lnTo>
                  <a:lnTo>
                    <a:pt x="2234705" y="200228"/>
                  </a:lnTo>
                  <a:lnTo>
                    <a:pt x="2234705" y="200876"/>
                  </a:lnTo>
                  <a:lnTo>
                    <a:pt x="2234705" y="200228"/>
                  </a:lnTo>
                  <a:lnTo>
                    <a:pt x="2234705" y="200876"/>
                  </a:lnTo>
                  <a:lnTo>
                    <a:pt x="2234705" y="200228"/>
                  </a:lnTo>
                  <a:lnTo>
                    <a:pt x="2234705" y="200876"/>
                  </a:lnTo>
                  <a:lnTo>
                    <a:pt x="2234756" y="202260"/>
                  </a:lnTo>
                  <a:lnTo>
                    <a:pt x="2234756" y="200228"/>
                  </a:lnTo>
                  <a:lnTo>
                    <a:pt x="2234756" y="200876"/>
                  </a:lnTo>
                  <a:lnTo>
                    <a:pt x="2234756" y="200228"/>
                  </a:lnTo>
                  <a:lnTo>
                    <a:pt x="2234756" y="200876"/>
                  </a:lnTo>
                  <a:lnTo>
                    <a:pt x="2234756" y="200228"/>
                  </a:lnTo>
                  <a:lnTo>
                    <a:pt x="2234756" y="200876"/>
                  </a:lnTo>
                  <a:lnTo>
                    <a:pt x="2234807" y="200876"/>
                  </a:lnTo>
                  <a:lnTo>
                    <a:pt x="2234807" y="202260"/>
                  </a:lnTo>
                  <a:lnTo>
                    <a:pt x="2234807" y="200228"/>
                  </a:lnTo>
                  <a:lnTo>
                    <a:pt x="2234807" y="202260"/>
                  </a:lnTo>
                  <a:lnTo>
                    <a:pt x="2234858" y="200876"/>
                  </a:lnTo>
                  <a:lnTo>
                    <a:pt x="2234858" y="200228"/>
                  </a:lnTo>
                  <a:lnTo>
                    <a:pt x="2234858" y="200876"/>
                  </a:lnTo>
                  <a:lnTo>
                    <a:pt x="2234858" y="200228"/>
                  </a:lnTo>
                  <a:lnTo>
                    <a:pt x="2234858" y="200876"/>
                  </a:lnTo>
                  <a:lnTo>
                    <a:pt x="2234858" y="200228"/>
                  </a:lnTo>
                  <a:lnTo>
                    <a:pt x="2234858" y="200876"/>
                  </a:lnTo>
                  <a:lnTo>
                    <a:pt x="2234858" y="200228"/>
                  </a:lnTo>
                  <a:lnTo>
                    <a:pt x="2234858" y="200876"/>
                  </a:lnTo>
                  <a:lnTo>
                    <a:pt x="2234858" y="200228"/>
                  </a:lnTo>
                  <a:lnTo>
                    <a:pt x="2234858" y="200876"/>
                  </a:lnTo>
                  <a:lnTo>
                    <a:pt x="2234959" y="200876"/>
                  </a:lnTo>
                  <a:lnTo>
                    <a:pt x="2234959" y="198831"/>
                  </a:lnTo>
                  <a:lnTo>
                    <a:pt x="2234959" y="199530"/>
                  </a:lnTo>
                  <a:lnTo>
                    <a:pt x="2234959" y="198831"/>
                  </a:lnTo>
                  <a:lnTo>
                    <a:pt x="2235010" y="198831"/>
                  </a:lnTo>
                  <a:lnTo>
                    <a:pt x="2235010" y="197447"/>
                  </a:lnTo>
                  <a:lnTo>
                    <a:pt x="2235010" y="199530"/>
                  </a:lnTo>
                  <a:lnTo>
                    <a:pt x="2235061" y="200228"/>
                  </a:lnTo>
                  <a:lnTo>
                    <a:pt x="2235061" y="198831"/>
                  </a:lnTo>
                  <a:lnTo>
                    <a:pt x="2235061" y="200876"/>
                  </a:lnTo>
                  <a:lnTo>
                    <a:pt x="2235162" y="200876"/>
                  </a:lnTo>
                  <a:lnTo>
                    <a:pt x="2235162" y="200228"/>
                  </a:lnTo>
                  <a:lnTo>
                    <a:pt x="2235162" y="202260"/>
                  </a:lnTo>
                  <a:lnTo>
                    <a:pt x="2235162" y="200876"/>
                  </a:lnTo>
                  <a:lnTo>
                    <a:pt x="2235200" y="200876"/>
                  </a:lnTo>
                  <a:lnTo>
                    <a:pt x="2235200" y="202260"/>
                  </a:lnTo>
                  <a:lnTo>
                    <a:pt x="2235200" y="200876"/>
                  </a:lnTo>
                  <a:lnTo>
                    <a:pt x="2235200" y="202260"/>
                  </a:lnTo>
                  <a:lnTo>
                    <a:pt x="2235200" y="200876"/>
                  </a:lnTo>
                  <a:lnTo>
                    <a:pt x="2235200" y="202260"/>
                  </a:lnTo>
                  <a:lnTo>
                    <a:pt x="2235200" y="200876"/>
                  </a:lnTo>
                  <a:lnTo>
                    <a:pt x="2235251" y="200876"/>
                  </a:lnTo>
                  <a:lnTo>
                    <a:pt x="2235251" y="202260"/>
                  </a:lnTo>
                  <a:lnTo>
                    <a:pt x="2235302" y="202260"/>
                  </a:lnTo>
                  <a:lnTo>
                    <a:pt x="2235302" y="200876"/>
                  </a:lnTo>
                  <a:lnTo>
                    <a:pt x="2235404" y="200876"/>
                  </a:lnTo>
                  <a:lnTo>
                    <a:pt x="2235404" y="202260"/>
                  </a:lnTo>
                  <a:lnTo>
                    <a:pt x="2235404" y="200228"/>
                  </a:lnTo>
                  <a:lnTo>
                    <a:pt x="2235404" y="200876"/>
                  </a:lnTo>
                  <a:lnTo>
                    <a:pt x="2235404" y="200228"/>
                  </a:lnTo>
                  <a:lnTo>
                    <a:pt x="2235455" y="200228"/>
                  </a:lnTo>
                  <a:lnTo>
                    <a:pt x="2235455" y="199530"/>
                  </a:lnTo>
                  <a:lnTo>
                    <a:pt x="2235455" y="200228"/>
                  </a:lnTo>
                  <a:lnTo>
                    <a:pt x="2235455" y="197447"/>
                  </a:lnTo>
                  <a:lnTo>
                    <a:pt x="2235505" y="198831"/>
                  </a:lnTo>
                  <a:lnTo>
                    <a:pt x="2235505" y="200228"/>
                  </a:lnTo>
                  <a:lnTo>
                    <a:pt x="2235505" y="198831"/>
                  </a:lnTo>
                  <a:lnTo>
                    <a:pt x="2235607" y="199530"/>
                  </a:lnTo>
                  <a:lnTo>
                    <a:pt x="2235607" y="200876"/>
                  </a:lnTo>
                  <a:lnTo>
                    <a:pt x="2235607" y="200228"/>
                  </a:lnTo>
                  <a:lnTo>
                    <a:pt x="2235607" y="200876"/>
                  </a:lnTo>
                  <a:lnTo>
                    <a:pt x="2235607" y="200228"/>
                  </a:lnTo>
                  <a:lnTo>
                    <a:pt x="2235607" y="200876"/>
                  </a:lnTo>
                  <a:lnTo>
                    <a:pt x="2235607" y="199530"/>
                  </a:lnTo>
                  <a:lnTo>
                    <a:pt x="2235607" y="200228"/>
                  </a:lnTo>
                  <a:lnTo>
                    <a:pt x="2235658" y="200228"/>
                  </a:lnTo>
                  <a:lnTo>
                    <a:pt x="2235658" y="200876"/>
                  </a:lnTo>
                  <a:lnTo>
                    <a:pt x="2235658" y="200228"/>
                  </a:lnTo>
                  <a:lnTo>
                    <a:pt x="2235658" y="200876"/>
                  </a:lnTo>
                  <a:lnTo>
                    <a:pt x="2235658" y="200228"/>
                  </a:lnTo>
                  <a:lnTo>
                    <a:pt x="2235658" y="200876"/>
                  </a:lnTo>
                  <a:lnTo>
                    <a:pt x="2235747" y="200876"/>
                  </a:lnTo>
                  <a:lnTo>
                    <a:pt x="2235747" y="202260"/>
                  </a:lnTo>
                  <a:lnTo>
                    <a:pt x="2235747" y="200876"/>
                  </a:lnTo>
                  <a:lnTo>
                    <a:pt x="2235747" y="202959"/>
                  </a:lnTo>
                  <a:lnTo>
                    <a:pt x="2235747" y="202260"/>
                  </a:lnTo>
                  <a:lnTo>
                    <a:pt x="2235747" y="202959"/>
                  </a:lnTo>
                  <a:lnTo>
                    <a:pt x="2235747" y="202260"/>
                  </a:lnTo>
                  <a:lnTo>
                    <a:pt x="2235848" y="202260"/>
                  </a:lnTo>
                  <a:lnTo>
                    <a:pt x="2235848" y="200876"/>
                  </a:lnTo>
                  <a:lnTo>
                    <a:pt x="2235848" y="202260"/>
                  </a:lnTo>
                  <a:lnTo>
                    <a:pt x="2235848" y="200876"/>
                  </a:lnTo>
                  <a:lnTo>
                    <a:pt x="2235848" y="202260"/>
                  </a:lnTo>
                  <a:lnTo>
                    <a:pt x="2235848" y="200876"/>
                  </a:lnTo>
                  <a:lnTo>
                    <a:pt x="2235899" y="200876"/>
                  </a:lnTo>
                  <a:lnTo>
                    <a:pt x="2235899" y="199530"/>
                  </a:lnTo>
                  <a:lnTo>
                    <a:pt x="2235950" y="199530"/>
                  </a:lnTo>
                  <a:lnTo>
                    <a:pt x="2235950" y="196799"/>
                  </a:lnTo>
                  <a:lnTo>
                    <a:pt x="2235950" y="197447"/>
                  </a:lnTo>
                  <a:lnTo>
                    <a:pt x="2236051" y="198831"/>
                  </a:lnTo>
                  <a:lnTo>
                    <a:pt x="2236051" y="197447"/>
                  </a:lnTo>
                  <a:lnTo>
                    <a:pt x="2236051" y="198831"/>
                  </a:lnTo>
                  <a:lnTo>
                    <a:pt x="2236051" y="197447"/>
                  </a:lnTo>
                  <a:lnTo>
                    <a:pt x="2236051" y="198831"/>
                  </a:lnTo>
                  <a:lnTo>
                    <a:pt x="2236051" y="197447"/>
                  </a:lnTo>
                  <a:lnTo>
                    <a:pt x="2236051" y="198831"/>
                  </a:lnTo>
                  <a:lnTo>
                    <a:pt x="2236102" y="198831"/>
                  </a:lnTo>
                  <a:lnTo>
                    <a:pt x="2236102" y="200876"/>
                  </a:lnTo>
                  <a:lnTo>
                    <a:pt x="2236102" y="198831"/>
                  </a:lnTo>
                  <a:lnTo>
                    <a:pt x="2236102" y="199530"/>
                  </a:lnTo>
                  <a:lnTo>
                    <a:pt x="2236102" y="198831"/>
                  </a:lnTo>
                  <a:lnTo>
                    <a:pt x="2236102" y="199530"/>
                  </a:lnTo>
                  <a:lnTo>
                    <a:pt x="2236153" y="199530"/>
                  </a:lnTo>
                  <a:lnTo>
                    <a:pt x="2236153" y="200876"/>
                  </a:lnTo>
                  <a:lnTo>
                    <a:pt x="2236153" y="199530"/>
                  </a:lnTo>
                  <a:lnTo>
                    <a:pt x="2236153" y="200228"/>
                  </a:lnTo>
                  <a:lnTo>
                    <a:pt x="2236204" y="200228"/>
                  </a:lnTo>
                  <a:lnTo>
                    <a:pt x="2236204" y="202260"/>
                  </a:lnTo>
                  <a:lnTo>
                    <a:pt x="2236293" y="202260"/>
                  </a:lnTo>
                  <a:lnTo>
                    <a:pt x="2236293" y="200876"/>
                  </a:lnTo>
                  <a:lnTo>
                    <a:pt x="2236293" y="202260"/>
                  </a:lnTo>
                  <a:lnTo>
                    <a:pt x="2236293" y="200876"/>
                  </a:lnTo>
                  <a:lnTo>
                    <a:pt x="2236344" y="202260"/>
                  </a:lnTo>
                  <a:lnTo>
                    <a:pt x="2236344" y="200876"/>
                  </a:lnTo>
                  <a:lnTo>
                    <a:pt x="2236344" y="202260"/>
                  </a:lnTo>
                  <a:lnTo>
                    <a:pt x="2236344" y="200876"/>
                  </a:lnTo>
                  <a:lnTo>
                    <a:pt x="2236344" y="202260"/>
                  </a:lnTo>
                  <a:lnTo>
                    <a:pt x="2236344" y="200876"/>
                  </a:lnTo>
                  <a:lnTo>
                    <a:pt x="2236394" y="200876"/>
                  </a:lnTo>
                  <a:lnTo>
                    <a:pt x="2236394" y="199530"/>
                  </a:lnTo>
                  <a:lnTo>
                    <a:pt x="2236445" y="199530"/>
                  </a:lnTo>
                  <a:lnTo>
                    <a:pt x="2236445" y="197447"/>
                  </a:lnTo>
                  <a:lnTo>
                    <a:pt x="2236445" y="200228"/>
                  </a:lnTo>
                  <a:lnTo>
                    <a:pt x="2236445" y="199530"/>
                  </a:lnTo>
                  <a:lnTo>
                    <a:pt x="2236547" y="199530"/>
                  </a:lnTo>
                  <a:lnTo>
                    <a:pt x="2236547" y="197447"/>
                  </a:lnTo>
                  <a:lnTo>
                    <a:pt x="2236547" y="200876"/>
                  </a:lnTo>
                  <a:lnTo>
                    <a:pt x="2236547" y="200228"/>
                  </a:lnTo>
                  <a:lnTo>
                    <a:pt x="2236597" y="199530"/>
                  </a:lnTo>
                  <a:lnTo>
                    <a:pt x="2236597" y="198831"/>
                  </a:lnTo>
                  <a:lnTo>
                    <a:pt x="2236597" y="200228"/>
                  </a:lnTo>
                  <a:lnTo>
                    <a:pt x="2236597" y="199530"/>
                  </a:lnTo>
                  <a:lnTo>
                    <a:pt x="2236648" y="199530"/>
                  </a:lnTo>
                  <a:lnTo>
                    <a:pt x="2236648" y="200228"/>
                  </a:lnTo>
                  <a:lnTo>
                    <a:pt x="2236648" y="199530"/>
                  </a:lnTo>
                  <a:lnTo>
                    <a:pt x="2236750" y="199530"/>
                  </a:lnTo>
                  <a:lnTo>
                    <a:pt x="2236750" y="200228"/>
                  </a:lnTo>
                  <a:lnTo>
                    <a:pt x="2236750" y="199530"/>
                  </a:lnTo>
                  <a:lnTo>
                    <a:pt x="2236750" y="200228"/>
                  </a:lnTo>
                  <a:lnTo>
                    <a:pt x="2236788" y="200228"/>
                  </a:lnTo>
                  <a:lnTo>
                    <a:pt x="2236788" y="200876"/>
                  </a:lnTo>
                  <a:lnTo>
                    <a:pt x="2236788" y="200228"/>
                  </a:lnTo>
                  <a:lnTo>
                    <a:pt x="2236788" y="200876"/>
                  </a:lnTo>
                  <a:lnTo>
                    <a:pt x="2236788" y="200228"/>
                  </a:lnTo>
                  <a:lnTo>
                    <a:pt x="2236788" y="200876"/>
                  </a:lnTo>
                  <a:lnTo>
                    <a:pt x="2236839" y="200876"/>
                  </a:lnTo>
                  <a:lnTo>
                    <a:pt x="2236839" y="199530"/>
                  </a:lnTo>
                  <a:lnTo>
                    <a:pt x="2236839" y="200228"/>
                  </a:lnTo>
                  <a:lnTo>
                    <a:pt x="2236890" y="199530"/>
                  </a:lnTo>
                  <a:lnTo>
                    <a:pt x="2236890" y="200228"/>
                  </a:lnTo>
                  <a:lnTo>
                    <a:pt x="2236890" y="198831"/>
                  </a:lnTo>
                  <a:lnTo>
                    <a:pt x="2236991" y="198831"/>
                  </a:lnTo>
                  <a:lnTo>
                    <a:pt x="2236991" y="200228"/>
                  </a:lnTo>
                  <a:lnTo>
                    <a:pt x="2236991" y="197447"/>
                  </a:lnTo>
                  <a:lnTo>
                    <a:pt x="2237042" y="197447"/>
                  </a:lnTo>
                  <a:lnTo>
                    <a:pt x="2237042" y="202260"/>
                  </a:lnTo>
                  <a:lnTo>
                    <a:pt x="2237042" y="199530"/>
                  </a:lnTo>
                  <a:lnTo>
                    <a:pt x="2237093" y="200228"/>
                  </a:lnTo>
                  <a:lnTo>
                    <a:pt x="2237093" y="200876"/>
                  </a:lnTo>
                  <a:lnTo>
                    <a:pt x="2237093" y="199530"/>
                  </a:lnTo>
                  <a:lnTo>
                    <a:pt x="2237093" y="200228"/>
                  </a:lnTo>
                  <a:lnTo>
                    <a:pt x="2237194" y="200228"/>
                  </a:lnTo>
                  <a:lnTo>
                    <a:pt x="2237194" y="200876"/>
                  </a:lnTo>
                  <a:lnTo>
                    <a:pt x="2237194" y="200228"/>
                  </a:lnTo>
                  <a:lnTo>
                    <a:pt x="2237194" y="200876"/>
                  </a:lnTo>
                  <a:lnTo>
                    <a:pt x="2237194" y="200228"/>
                  </a:lnTo>
                  <a:lnTo>
                    <a:pt x="2237194" y="200876"/>
                  </a:lnTo>
                  <a:lnTo>
                    <a:pt x="2237245" y="200228"/>
                  </a:lnTo>
                  <a:lnTo>
                    <a:pt x="2237245" y="202260"/>
                  </a:lnTo>
                  <a:lnTo>
                    <a:pt x="2237245" y="200876"/>
                  </a:lnTo>
                  <a:lnTo>
                    <a:pt x="2237296" y="200876"/>
                  </a:lnTo>
                  <a:lnTo>
                    <a:pt x="2237296" y="200228"/>
                  </a:lnTo>
                  <a:lnTo>
                    <a:pt x="2237296" y="200876"/>
                  </a:lnTo>
                  <a:lnTo>
                    <a:pt x="2237296" y="200228"/>
                  </a:lnTo>
                  <a:lnTo>
                    <a:pt x="2237334" y="200228"/>
                  </a:lnTo>
                  <a:lnTo>
                    <a:pt x="2237334" y="199530"/>
                  </a:lnTo>
                  <a:lnTo>
                    <a:pt x="2237334" y="200228"/>
                  </a:lnTo>
                  <a:lnTo>
                    <a:pt x="2237334" y="199530"/>
                  </a:lnTo>
                  <a:lnTo>
                    <a:pt x="2237436" y="199530"/>
                  </a:lnTo>
                  <a:lnTo>
                    <a:pt x="2237436" y="197447"/>
                  </a:lnTo>
                  <a:lnTo>
                    <a:pt x="2237487" y="197447"/>
                  </a:lnTo>
                  <a:lnTo>
                    <a:pt x="2237487" y="196799"/>
                  </a:lnTo>
                  <a:lnTo>
                    <a:pt x="2237487" y="199530"/>
                  </a:lnTo>
                  <a:lnTo>
                    <a:pt x="2237487" y="197447"/>
                  </a:lnTo>
                  <a:lnTo>
                    <a:pt x="2237537" y="197447"/>
                  </a:lnTo>
                  <a:lnTo>
                    <a:pt x="2237537" y="200228"/>
                  </a:lnTo>
                  <a:lnTo>
                    <a:pt x="2237537" y="199530"/>
                  </a:lnTo>
                  <a:lnTo>
                    <a:pt x="2237537" y="200228"/>
                  </a:lnTo>
                  <a:lnTo>
                    <a:pt x="2237537" y="199530"/>
                  </a:lnTo>
                  <a:lnTo>
                    <a:pt x="2237639" y="199530"/>
                  </a:lnTo>
                  <a:lnTo>
                    <a:pt x="2237639" y="200228"/>
                  </a:lnTo>
                  <a:lnTo>
                    <a:pt x="2237639" y="199530"/>
                  </a:lnTo>
                  <a:lnTo>
                    <a:pt x="2237639" y="200228"/>
                  </a:lnTo>
                  <a:lnTo>
                    <a:pt x="2237690" y="200228"/>
                  </a:lnTo>
                  <a:lnTo>
                    <a:pt x="2237690" y="200876"/>
                  </a:lnTo>
                  <a:lnTo>
                    <a:pt x="2237690" y="200228"/>
                  </a:lnTo>
                  <a:lnTo>
                    <a:pt x="2237690" y="200876"/>
                  </a:lnTo>
                  <a:lnTo>
                    <a:pt x="2237690" y="200228"/>
                  </a:lnTo>
                  <a:lnTo>
                    <a:pt x="2237690" y="200876"/>
                  </a:lnTo>
                  <a:lnTo>
                    <a:pt x="2237740" y="200876"/>
                  </a:lnTo>
                  <a:lnTo>
                    <a:pt x="2237740" y="200228"/>
                  </a:lnTo>
                  <a:lnTo>
                    <a:pt x="2237740" y="200876"/>
                  </a:lnTo>
                  <a:lnTo>
                    <a:pt x="2237740" y="200228"/>
                  </a:lnTo>
                  <a:lnTo>
                    <a:pt x="2237740" y="200876"/>
                  </a:lnTo>
                  <a:lnTo>
                    <a:pt x="2237740" y="200228"/>
                  </a:lnTo>
                  <a:lnTo>
                    <a:pt x="2237740" y="200876"/>
                  </a:lnTo>
                  <a:lnTo>
                    <a:pt x="2237740" y="200228"/>
                  </a:lnTo>
                  <a:lnTo>
                    <a:pt x="2237791" y="200228"/>
                  </a:lnTo>
                  <a:lnTo>
                    <a:pt x="2237791" y="200876"/>
                  </a:lnTo>
                  <a:lnTo>
                    <a:pt x="2237791" y="200228"/>
                  </a:lnTo>
                  <a:lnTo>
                    <a:pt x="2237791" y="200876"/>
                  </a:lnTo>
                  <a:lnTo>
                    <a:pt x="2237791" y="200228"/>
                  </a:lnTo>
                  <a:lnTo>
                    <a:pt x="2237880" y="200228"/>
                  </a:lnTo>
                  <a:lnTo>
                    <a:pt x="2237880" y="198831"/>
                  </a:lnTo>
                  <a:lnTo>
                    <a:pt x="2237880" y="199530"/>
                  </a:lnTo>
                  <a:lnTo>
                    <a:pt x="2237880" y="198831"/>
                  </a:lnTo>
                  <a:lnTo>
                    <a:pt x="2237880" y="199530"/>
                  </a:lnTo>
                  <a:lnTo>
                    <a:pt x="2237880" y="198831"/>
                  </a:lnTo>
                  <a:lnTo>
                    <a:pt x="2237931" y="198831"/>
                  </a:lnTo>
                  <a:lnTo>
                    <a:pt x="2237931" y="197447"/>
                  </a:lnTo>
                  <a:lnTo>
                    <a:pt x="2237931" y="198831"/>
                  </a:lnTo>
                  <a:lnTo>
                    <a:pt x="2237931" y="196799"/>
                  </a:lnTo>
                  <a:lnTo>
                    <a:pt x="2237931" y="197447"/>
                  </a:lnTo>
                  <a:lnTo>
                    <a:pt x="2237931" y="196113"/>
                  </a:lnTo>
                  <a:lnTo>
                    <a:pt x="2237931" y="196799"/>
                  </a:lnTo>
                  <a:lnTo>
                    <a:pt x="2237931" y="196113"/>
                  </a:lnTo>
                  <a:lnTo>
                    <a:pt x="2237982" y="196113"/>
                  </a:lnTo>
                  <a:lnTo>
                    <a:pt x="2237982" y="197447"/>
                  </a:lnTo>
                  <a:lnTo>
                    <a:pt x="2237982" y="196113"/>
                  </a:lnTo>
                  <a:lnTo>
                    <a:pt x="2237982" y="196799"/>
                  </a:lnTo>
                  <a:lnTo>
                    <a:pt x="2238033" y="196799"/>
                  </a:lnTo>
                  <a:lnTo>
                    <a:pt x="2238033" y="198831"/>
                  </a:lnTo>
                  <a:lnTo>
                    <a:pt x="2238033" y="197447"/>
                  </a:lnTo>
                  <a:lnTo>
                    <a:pt x="2238033" y="198831"/>
                  </a:lnTo>
                  <a:lnTo>
                    <a:pt x="2238134" y="198831"/>
                  </a:lnTo>
                  <a:lnTo>
                    <a:pt x="2238134" y="199530"/>
                  </a:lnTo>
                  <a:lnTo>
                    <a:pt x="2238134" y="197447"/>
                  </a:lnTo>
                  <a:lnTo>
                    <a:pt x="2238134" y="198831"/>
                  </a:lnTo>
                  <a:lnTo>
                    <a:pt x="2238185" y="199530"/>
                  </a:lnTo>
                  <a:lnTo>
                    <a:pt x="2238185" y="200228"/>
                  </a:lnTo>
                  <a:lnTo>
                    <a:pt x="2238185" y="199530"/>
                  </a:lnTo>
                  <a:lnTo>
                    <a:pt x="2238185" y="200228"/>
                  </a:lnTo>
                  <a:lnTo>
                    <a:pt x="2238236" y="200228"/>
                  </a:lnTo>
                  <a:lnTo>
                    <a:pt x="2238236" y="199530"/>
                  </a:lnTo>
                  <a:lnTo>
                    <a:pt x="2238236" y="200228"/>
                  </a:lnTo>
                  <a:lnTo>
                    <a:pt x="2238236" y="199530"/>
                  </a:lnTo>
                  <a:lnTo>
                    <a:pt x="2238236" y="200876"/>
                  </a:lnTo>
                  <a:lnTo>
                    <a:pt x="2238236" y="200228"/>
                  </a:lnTo>
                  <a:lnTo>
                    <a:pt x="2238337" y="200228"/>
                  </a:lnTo>
                  <a:lnTo>
                    <a:pt x="2238337" y="200876"/>
                  </a:lnTo>
                  <a:lnTo>
                    <a:pt x="2238337" y="199530"/>
                  </a:lnTo>
                  <a:lnTo>
                    <a:pt x="2238337" y="200228"/>
                  </a:lnTo>
                  <a:lnTo>
                    <a:pt x="2238375" y="200228"/>
                  </a:lnTo>
                  <a:lnTo>
                    <a:pt x="2238375" y="198831"/>
                  </a:lnTo>
                  <a:lnTo>
                    <a:pt x="2238375" y="199530"/>
                  </a:lnTo>
                  <a:lnTo>
                    <a:pt x="2238375" y="198831"/>
                  </a:lnTo>
                  <a:lnTo>
                    <a:pt x="2238426" y="198831"/>
                  </a:lnTo>
                  <a:lnTo>
                    <a:pt x="2238426" y="196799"/>
                  </a:lnTo>
                  <a:lnTo>
                    <a:pt x="2238426" y="197447"/>
                  </a:lnTo>
                  <a:lnTo>
                    <a:pt x="2238426" y="196799"/>
                  </a:lnTo>
                  <a:lnTo>
                    <a:pt x="2238477" y="196113"/>
                  </a:lnTo>
                  <a:lnTo>
                    <a:pt x="2238477" y="197447"/>
                  </a:lnTo>
                  <a:lnTo>
                    <a:pt x="2238477" y="196799"/>
                  </a:lnTo>
                  <a:lnTo>
                    <a:pt x="2238477" y="197447"/>
                  </a:lnTo>
                  <a:lnTo>
                    <a:pt x="2238477" y="196113"/>
                  </a:lnTo>
                  <a:lnTo>
                    <a:pt x="2238579" y="196799"/>
                  </a:lnTo>
                  <a:lnTo>
                    <a:pt x="2238579" y="198831"/>
                  </a:lnTo>
                  <a:lnTo>
                    <a:pt x="2238579" y="197447"/>
                  </a:lnTo>
                  <a:lnTo>
                    <a:pt x="2238579" y="198831"/>
                  </a:lnTo>
                  <a:lnTo>
                    <a:pt x="2238579" y="196799"/>
                  </a:lnTo>
                  <a:lnTo>
                    <a:pt x="2238579" y="197447"/>
                  </a:lnTo>
                  <a:lnTo>
                    <a:pt x="2238630" y="197447"/>
                  </a:lnTo>
                  <a:lnTo>
                    <a:pt x="2238630" y="198831"/>
                  </a:lnTo>
                  <a:lnTo>
                    <a:pt x="2238630" y="197447"/>
                  </a:lnTo>
                  <a:lnTo>
                    <a:pt x="2238630" y="198831"/>
                  </a:lnTo>
                  <a:lnTo>
                    <a:pt x="2238680" y="198831"/>
                  </a:lnTo>
                  <a:lnTo>
                    <a:pt x="2238680" y="199530"/>
                  </a:lnTo>
                  <a:lnTo>
                    <a:pt x="2238680" y="198831"/>
                  </a:lnTo>
                  <a:lnTo>
                    <a:pt x="2238680" y="199530"/>
                  </a:lnTo>
                  <a:lnTo>
                    <a:pt x="2238680" y="198831"/>
                  </a:lnTo>
                  <a:lnTo>
                    <a:pt x="2238680" y="199530"/>
                  </a:lnTo>
                  <a:lnTo>
                    <a:pt x="2238680" y="198831"/>
                  </a:lnTo>
                  <a:lnTo>
                    <a:pt x="2238680" y="199530"/>
                  </a:lnTo>
                  <a:lnTo>
                    <a:pt x="2238782" y="199530"/>
                  </a:lnTo>
                  <a:lnTo>
                    <a:pt x="2238782" y="200228"/>
                  </a:lnTo>
                  <a:lnTo>
                    <a:pt x="2238782" y="199530"/>
                  </a:lnTo>
                  <a:lnTo>
                    <a:pt x="2238782" y="200228"/>
                  </a:lnTo>
                  <a:lnTo>
                    <a:pt x="2238782" y="199530"/>
                  </a:lnTo>
                  <a:lnTo>
                    <a:pt x="2238833" y="200228"/>
                  </a:lnTo>
                  <a:lnTo>
                    <a:pt x="2238833" y="199530"/>
                  </a:lnTo>
                  <a:lnTo>
                    <a:pt x="2238833" y="200228"/>
                  </a:lnTo>
                  <a:lnTo>
                    <a:pt x="2238833" y="199530"/>
                  </a:lnTo>
                  <a:lnTo>
                    <a:pt x="2238833" y="200228"/>
                  </a:lnTo>
                  <a:lnTo>
                    <a:pt x="2238884" y="199530"/>
                  </a:lnTo>
                  <a:lnTo>
                    <a:pt x="2238884" y="200228"/>
                  </a:lnTo>
                  <a:lnTo>
                    <a:pt x="2238884" y="198831"/>
                  </a:lnTo>
                  <a:lnTo>
                    <a:pt x="2238884" y="199530"/>
                  </a:lnTo>
                  <a:lnTo>
                    <a:pt x="2238884" y="198831"/>
                  </a:lnTo>
                  <a:lnTo>
                    <a:pt x="2238922" y="198831"/>
                  </a:lnTo>
                  <a:lnTo>
                    <a:pt x="2238922" y="196113"/>
                  </a:lnTo>
                  <a:lnTo>
                    <a:pt x="2239023" y="196113"/>
                  </a:lnTo>
                  <a:lnTo>
                    <a:pt x="2239023" y="194716"/>
                  </a:lnTo>
                  <a:lnTo>
                    <a:pt x="2239023" y="196799"/>
                  </a:lnTo>
                  <a:lnTo>
                    <a:pt x="2239023" y="195415"/>
                  </a:lnTo>
                  <a:lnTo>
                    <a:pt x="2239074" y="194716"/>
                  </a:lnTo>
                  <a:lnTo>
                    <a:pt x="2239074" y="197447"/>
                  </a:lnTo>
                  <a:lnTo>
                    <a:pt x="2239074" y="196113"/>
                  </a:lnTo>
                  <a:lnTo>
                    <a:pt x="2239125" y="196113"/>
                  </a:lnTo>
                  <a:lnTo>
                    <a:pt x="2239125" y="197447"/>
                  </a:lnTo>
                  <a:lnTo>
                    <a:pt x="2239226" y="197447"/>
                  </a:lnTo>
                  <a:lnTo>
                    <a:pt x="2239226" y="198831"/>
                  </a:lnTo>
                  <a:lnTo>
                    <a:pt x="2239226" y="197447"/>
                  </a:lnTo>
                  <a:lnTo>
                    <a:pt x="2239226" y="198831"/>
                  </a:lnTo>
                  <a:lnTo>
                    <a:pt x="2239226" y="197447"/>
                  </a:lnTo>
                  <a:lnTo>
                    <a:pt x="2239226" y="198831"/>
                  </a:lnTo>
                  <a:lnTo>
                    <a:pt x="2239226" y="197447"/>
                  </a:lnTo>
                  <a:lnTo>
                    <a:pt x="2239226" y="198831"/>
                  </a:lnTo>
                  <a:lnTo>
                    <a:pt x="2239277" y="198831"/>
                  </a:lnTo>
                  <a:lnTo>
                    <a:pt x="2239277" y="199530"/>
                  </a:lnTo>
                  <a:lnTo>
                    <a:pt x="2239277" y="198831"/>
                  </a:lnTo>
                  <a:lnTo>
                    <a:pt x="2239277" y="200228"/>
                  </a:lnTo>
                  <a:lnTo>
                    <a:pt x="2239328" y="200228"/>
                  </a:lnTo>
                  <a:lnTo>
                    <a:pt x="2239328" y="199530"/>
                  </a:lnTo>
                  <a:lnTo>
                    <a:pt x="2239328" y="200228"/>
                  </a:lnTo>
                  <a:lnTo>
                    <a:pt x="2239328" y="198831"/>
                  </a:lnTo>
                  <a:lnTo>
                    <a:pt x="2239328" y="200228"/>
                  </a:lnTo>
                  <a:lnTo>
                    <a:pt x="2239379" y="200228"/>
                  </a:lnTo>
                  <a:lnTo>
                    <a:pt x="2239379" y="198831"/>
                  </a:lnTo>
                  <a:lnTo>
                    <a:pt x="2239379" y="199530"/>
                  </a:lnTo>
                  <a:lnTo>
                    <a:pt x="2239379" y="198831"/>
                  </a:lnTo>
                  <a:lnTo>
                    <a:pt x="2239379" y="199530"/>
                  </a:lnTo>
                  <a:lnTo>
                    <a:pt x="2239379" y="198831"/>
                  </a:lnTo>
                  <a:lnTo>
                    <a:pt x="2239468" y="198831"/>
                  </a:lnTo>
                  <a:lnTo>
                    <a:pt x="2239468" y="197447"/>
                  </a:lnTo>
                  <a:lnTo>
                    <a:pt x="2239468" y="198831"/>
                  </a:lnTo>
                  <a:lnTo>
                    <a:pt x="2239468" y="195415"/>
                  </a:lnTo>
                  <a:lnTo>
                    <a:pt x="2239519" y="196113"/>
                  </a:lnTo>
                  <a:lnTo>
                    <a:pt x="2239519" y="197447"/>
                  </a:lnTo>
                  <a:lnTo>
                    <a:pt x="2239519" y="194716"/>
                  </a:lnTo>
                  <a:lnTo>
                    <a:pt x="2239519" y="195415"/>
                  </a:lnTo>
                  <a:lnTo>
                    <a:pt x="2239569" y="196113"/>
                  </a:lnTo>
                  <a:lnTo>
                    <a:pt x="2239569" y="199530"/>
                  </a:lnTo>
                  <a:lnTo>
                    <a:pt x="2239569" y="196113"/>
                  </a:lnTo>
                  <a:lnTo>
                    <a:pt x="2239569" y="196799"/>
                  </a:lnTo>
                  <a:lnTo>
                    <a:pt x="2239569" y="196113"/>
                  </a:lnTo>
                  <a:lnTo>
                    <a:pt x="2239569" y="196799"/>
                  </a:lnTo>
                  <a:lnTo>
                    <a:pt x="2239569" y="196113"/>
                  </a:lnTo>
                  <a:lnTo>
                    <a:pt x="2239620" y="196799"/>
                  </a:lnTo>
                  <a:lnTo>
                    <a:pt x="2239620" y="197447"/>
                  </a:lnTo>
                  <a:lnTo>
                    <a:pt x="2239620" y="196799"/>
                  </a:lnTo>
                  <a:lnTo>
                    <a:pt x="2239620" y="197447"/>
                  </a:lnTo>
                  <a:lnTo>
                    <a:pt x="2239620" y="196799"/>
                  </a:lnTo>
                  <a:lnTo>
                    <a:pt x="2239620" y="197447"/>
                  </a:lnTo>
                  <a:lnTo>
                    <a:pt x="2239722" y="197447"/>
                  </a:lnTo>
                  <a:lnTo>
                    <a:pt x="2239722" y="196799"/>
                  </a:lnTo>
                  <a:lnTo>
                    <a:pt x="2239722" y="197447"/>
                  </a:lnTo>
                  <a:lnTo>
                    <a:pt x="2239722" y="196799"/>
                  </a:lnTo>
                  <a:lnTo>
                    <a:pt x="2239722" y="197447"/>
                  </a:lnTo>
                  <a:lnTo>
                    <a:pt x="2239772" y="197447"/>
                  </a:lnTo>
                  <a:lnTo>
                    <a:pt x="2239772" y="196799"/>
                  </a:lnTo>
                  <a:lnTo>
                    <a:pt x="2239772" y="198831"/>
                  </a:lnTo>
                  <a:lnTo>
                    <a:pt x="2239772" y="197447"/>
                  </a:lnTo>
                  <a:lnTo>
                    <a:pt x="2239772" y="198831"/>
                  </a:lnTo>
                  <a:lnTo>
                    <a:pt x="2239823" y="198831"/>
                  </a:lnTo>
                  <a:lnTo>
                    <a:pt x="2239823" y="199530"/>
                  </a:lnTo>
                  <a:lnTo>
                    <a:pt x="2239823" y="198831"/>
                  </a:lnTo>
                  <a:lnTo>
                    <a:pt x="2239925" y="198831"/>
                  </a:lnTo>
                  <a:lnTo>
                    <a:pt x="2239925" y="199530"/>
                  </a:lnTo>
                  <a:lnTo>
                    <a:pt x="2239925" y="198831"/>
                  </a:lnTo>
                  <a:lnTo>
                    <a:pt x="2239925" y="199530"/>
                  </a:lnTo>
                  <a:lnTo>
                    <a:pt x="2239925" y="198831"/>
                  </a:lnTo>
                  <a:lnTo>
                    <a:pt x="2239963" y="197447"/>
                  </a:lnTo>
                  <a:lnTo>
                    <a:pt x="2239963" y="196799"/>
                  </a:lnTo>
                  <a:lnTo>
                    <a:pt x="2239963" y="198831"/>
                  </a:lnTo>
                  <a:lnTo>
                    <a:pt x="2240014" y="198831"/>
                  </a:lnTo>
                  <a:lnTo>
                    <a:pt x="2240014" y="196799"/>
                  </a:lnTo>
                  <a:lnTo>
                    <a:pt x="2240014" y="200228"/>
                  </a:lnTo>
                  <a:lnTo>
                    <a:pt x="2240065" y="199530"/>
                  </a:lnTo>
                  <a:lnTo>
                    <a:pt x="2240065" y="200228"/>
                  </a:lnTo>
                  <a:lnTo>
                    <a:pt x="2240166" y="200228"/>
                  </a:lnTo>
                  <a:lnTo>
                    <a:pt x="2240166" y="199530"/>
                  </a:lnTo>
                  <a:lnTo>
                    <a:pt x="2240166" y="200228"/>
                  </a:lnTo>
                  <a:lnTo>
                    <a:pt x="2240166" y="199530"/>
                  </a:lnTo>
                  <a:lnTo>
                    <a:pt x="2240166" y="200228"/>
                  </a:lnTo>
                  <a:lnTo>
                    <a:pt x="2240166" y="199530"/>
                  </a:lnTo>
                  <a:lnTo>
                    <a:pt x="2240166" y="200228"/>
                  </a:lnTo>
                  <a:lnTo>
                    <a:pt x="2240217" y="200228"/>
                  </a:lnTo>
                  <a:lnTo>
                    <a:pt x="2240268" y="199530"/>
                  </a:lnTo>
                  <a:lnTo>
                    <a:pt x="2240268" y="200228"/>
                  </a:lnTo>
                  <a:lnTo>
                    <a:pt x="2240268" y="199530"/>
                  </a:lnTo>
                  <a:lnTo>
                    <a:pt x="2240268" y="200228"/>
                  </a:lnTo>
                  <a:lnTo>
                    <a:pt x="2240268" y="199530"/>
                  </a:lnTo>
                  <a:lnTo>
                    <a:pt x="2240268" y="200228"/>
                  </a:lnTo>
                  <a:lnTo>
                    <a:pt x="2240369" y="199530"/>
                  </a:lnTo>
                  <a:lnTo>
                    <a:pt x="2240369" y="200228"/>
                  </a:lnTo>
                  <a:lnTo>
                    <a:pt x="2240369" y="199530"/>
                  </a:lnTo>
                  <a:lnTo>
                    <a:pt x="2240369" y="200228"/>
                  </a:lnTo>
                  <a:lnTo>
                    <a:pt x="2240369" y="199530"/>
                  </a:lnTo>
                  <a:lnTo>
                    <a:pt x="2240369" y="200228"/>
                  </a:lnTo>
                  <a:lnTo>
                    <a:pt x="2240369" y="198831"/>
                  </a:lnTo>
                  <a:lnTo>
                    <a:pt x="2240369" y="199530"/>
                  </a:lnTo>
                  <a:lnTo>
                    <a:pt x="2240420" y="199530"/>
                  </a:lnTo>
                  <a:lnTo>
                    <a:pt x="2240420" y="198831"/>
                  </a:lnTo>
                  <a:lnTo>
                    <a:pt x="2240420" y="199530"/>
                  </a:lnTo>
                  <a:lnTo>
                    <a:pt x="2240420" y="197447"/>
                  </a:lnTo>
                  <a:lnTo>
                    <a:pt x="2240420" y="198831"/>
                  </a:lnTo>
                  <a:lnTo>
                    <a:pt x="2240420" y="197447"/>
                  </a:lnTo>
                  <a:lnTo>
                    <a:pt x="2240420" y="198831"/>
                  </a:lnTo>
                  <a:lnTo>
                    <a:pt x="2240420" y="197447"/>
                  </a:lnTo>
                  <a:lnTo>
                    <a:pt x="2240420" y="198831"/>
                  </a:lnTo>
                  <a:lnTo>
                    <a:pt x="2240420" y="197447"/>
                  </a:lnTo>
                  <a:lnTo>
                    <a:pt x="2240420" y="198831"/>
                  </a:lnTo>
                  <a:lnTo>
                    <a:pt x="2240471" y="198831"/>
                  </a:lnTo>
                  <a:lnTo>
                    <a:pt x="2240471" y="199530"/>
                  </a:lnTo>
                  <a:lnTo>
                    <a:pt x="2240471" y="198831"/>
                  </a:lnTo>
                  <a:lnTo>
                    <a:pt x="2240471" y="199530"/>
                  </a:lnTo>
                  <a:lnTo>
                    <a:pt x="2240471" y="198831"/>
                  </a:lnTo>
                  <a:lnTo>
                    <a:pt x="2240471" y="199530"/>
                  </a:lnTo>
                  <a:lnTo>
                    <a:pt x="2240471" y="198831"/>
                  </a:lnTo>
                  <a:lnTo>
                    <a:pt x="2240471" y="199530"/>
                  </a:lnTo>
                  <a:lnTo>
                    <a:pt x="2240509" y="200228"/>
                  </a:lnTo>
                  <a:lnTo>
                    <a:pt x="2240509" y="202260"/>
                  </a:lnTo>
                  <a:lnTo>
                    <a:pt x="2240509" y="200228"/>
                  </a:lnTo>
                  <a:lnTo>
                    <a:pt x="2240509" y="200876"/>
                  </a:lnTo>
                  <a:lnTo>
                    <a:pt x="2240509" y="200228"/>
                  </a:lnTo>
                  <a:lnTo>
                    <a:pt x="2240509" y="200876"/>
                  </a:lnTo>
                  <a:lnTo>
                    <a:pt x="2240509" y="200228"/>
                  </a:lnTo>
                  <a:lnTo>
                    <a:pt x="2240509" y="200876"/>
                  </a:lnTo>
                  <a:lnTo>
                    <a:pt x="2240509" y="200228"/>
                  </a:lnTo>
                  <a:lnTo>
                    <a:pt x="2240509" y="202260"/>
                  </a:lnTo>
                  <a:lnTo>
                    <a:pt x="2240611" y="202260"/>
                  </a:lnTo>
                  <a:lnTo>
                    <a:pt x="2240611" y="200876"/>
                  </a:lnTo>
                  <a:lnTo>
                    <a:pt x="2240611" y="202260"/>
                  </a:lnTo>
                  <a:lnTo>
                    <a:pt x="2240611" y="200876"/>
                  </a:lnTo>
                  <a:lnTo>
                    <a:pt x="2240611" y="202260"/>
                  </a:lnTo>
                  <a:lnTo>
                    <a:pt x="2240662" y="202260"/>
                  </a:lnTo>
                  <a:lnTo>
                    <a:pt x="2240662" y="200876"/>
                  </a:lnTo>
                  <a:lnTo>
                    <a:pt x="2240662" y="202260"/>
                  </a:lnTo>
                  <a:lnTo>
                    <a:pt x="2240662" y="200876"/>
                  </a:lnTo>
                  <a:lnTo>
                    <a:pt x="2240662" y="202260"/>
                  </a:lnTo>
                  <a:lnTo>
                    <a:pt x="2240662" y="200876"/>
                  </a:lnTo>
                  <a:lnTo>
                    <a:pt x="2240712" y="200876"/>
                  </a:lnTo>
                  <a:lnTo>
                    <a:pt x="2240712" y="202260"/>
                  </a:lnTo>
                  <a:lnTo>
                    <a:pt x="2240712" y="200876"/>
                  </a:lnTo>
                  <a:lnTo>
                    <a:pt x="2240814" y="200876"/>
                  </a:lnTo>
                  <a:lnTo>
                    <a:pt x="2240814" y="200228"/>
                  </a:lnTo>
                  <a:lnTo>
                    <a:pt x="2240814" y="200876"/>
                  </a:lnTo>
                  <a:lnTo>
                    <a:pt x="2240814" y="200228"/>
                  </a:lnTo>
                  <a:lnTo>
                    <a:pt x="2240814" y="200876"/>
                  </a:lnTo>
                  <a:lnTo>
                    <a:pt x="2240814" y="200228"/>
                  </a:lnTo>
                  <a:lnTo>
                    <a:pt x="2240865" y="200228"/>
                  </a:lnTo>
                  <a:lnTo>
                    <a:pt x="2240865" y="198831"/>
                  </a:lnTo>
                  <a:lnTo>
                    <a:pt x="2240915" y="198831"/>
                  </a:lnTo>
                  <a:lnTo>
                    <a:pt x="2240915" y="197447"/>
                  </a:lnTo>
                  <a:lnTo>
                    <a:pt x="2240915" y="199530"/>
                  </a:lnTo>
                  <a:lnTo>
                    <a:pt x="2240915" y="198831"/>
                  </a:lnTo>
                  <a:lnTo>
                    <a:pt x="2240915" y="199530"/>
                  </a:lnTo>
                  <a:lnTo>
                    <a:pt x="2240966" y="199530"/>
                  </a:lnTo>
                  <a:lnTo>
                    <a:pt x="2240966" y="197447"/>
                  </a:lnTo>
                  <a:lnTo>
                    <a:pt x="2240966" y="202260"/>
                  </a:lnTo>
                  <a:lnTo>
                    <a:pt x="2240966" y="200228"/>
                  </a:lnTo>
                  <a:lnTo>
                    <a:pt x="2241055" y="200228"/>
                  </a:lnTo>
                  <a:lnTo>
                    <a:pt x="2241055" y="202260"/>
                  </a:lnTo>
                  <a:lnTo>
                    <a:pt x="2241055" y="200876"/>
                  </a:lnTo>
                  <a:lnTo>
                    <a:pt x="2241055" y="202260"/>
                  </a:lnTo>
                  <a:lnTo>
                    <a:pt x="2241106" y="202260"/>
                  </a:lnTo>
                  <a:lnTo>
                    <a:pt x="2241106" y="200876"/>
                  </a:lnTo>
                  <a:lnTo>
                    <a:pt x="2241106" y="202260"/>
                  </a:lnTo>
                  <a:lnTo>
                    <a:pt x="2241106" y="200876"/>
                  </a:lnTo>
                  <a:lnTo>
                    <a:pt x="2241106" y="202260"/>
                  </a:lnTo>
                  <a:lnTo>
                    <a:pt x="2241106" y="200876"/>
                  </a:lnTo>
                  <a:lnTo>
                    <a:pt x="2241106" y="202260"/>
                  </a:lnTo>
                  <a:lnTo>
                    <a:pt x="2241157" y="202260"/>
                  </a:lnTo>
                  <a:lnTo>
                    <a:pt x="2241157" y="202959"/>
                  </a:lnTo>
                  <a:lnTo>
                    <a:pt x="2241157" y="202260"/>
                  </a:lnTo>
                  <a:lnTo>
                    <a:pt x="2241208" y="202260"/>
                  </a:lnTo>
                  <a:lnTo>
                    <a:pt x="2241208" y="200876"/>
                  </a:lnTo>
                  <a:lnTo>
                    <a:pt x="2241208" y="202260"/>
                  </a:lnTo>
                  <a:lnTo>
                    <a:pt x="2241208" y="200228"/>
                  </a:lnTo>
                  <a:lnTo>
                    <a:pt x="2241208" y="200876"/>
                  </a:lnTo>
                  <a:lnTo>
                    <a:pt x="2241309" y="200876"/>
                  </a:lnTo>
                  <a:lnTo>
                    <a:pt x="2241309" y="202260"/>
                  </a:lnTo>
                  <a:lnTo>
                    <a:pt x="2241309" y="199530"/>
                  </a:lnTo>
                  <a:lnTo>
                    <a:pt x="2241360" y="200228"/>
                  </a:lnTo>
                  <a:lnTo>
                    <a:pt x="2241360" y="199530"/>
                  </a:lnTo>
                  <a:lnTo>
                    <a:pt x="2241360" y="200228"/>
                  </a:lnTo>
                  <a:lnTo>
                    <a:pt x="2241360" y="197447"/>
                  </a:lnTo>
                  <a:lnTo>
                    <a:pt x="2241360" y="198831"/>
                  </a:lnTo>
                  <a:lnTo>
                    <a:pt x="2241411" y="198831"/>
                  </a:lnTo>
                  <a:lnTo>
                    <a:pt x="2241411" y="199530"/>
                  </a:lnTo>
                  <a:lnTo>
                    <a:pt x="2241411" y="197447"/>
                  </a:lnTo>
                  <a:lnTo>
                    <a:pt x="2241411" y="200228"/>
                  </a:lnTo>
                  <a:lnTo>
                    <a:pt x="2241512" y="200876"/>
                  </a:lnTo>
                  <a:lnTo>
                    <a:pt x="2241512" y="200228"/>
                  </a:lnTo>
                  <a:lnTo>
                    <a:pt x="2241512" y="202260"/>
                  </a:lnTo>
                  <a:lnTo>
                    <a:pt x="2241550" y="200876"/>
                  </a:lnTo>
                  <a:lnTo>
                    <a:pt x="2241550" y="200228"/>
                  </a:lnTo>
                  <a:lnTo>
                    <a:pt x="2241550" y="202260"/>
                  </a:lnTo>
                  <a:lnTo>
                    <a:pt x="2241601" y="200876"/>
                  </a:lnTo>
                  <a:lnTo>
                    <a:pt x="2241601" y="202260"/>
                  </a:lnTo>
                  <a:lnTo>
                    <a:pt x="2241601" y="200876"/>
                  </a:lnTo>
                  <a:lnTo>
                    <a:pt x="2241601" y="202260"/>
                  </a:lnTo>
                  <a:lnTo>
                    <a:pt x="2241601" y="200876"/>
                  </a:lnTo>
                  <a:lnTo>
                    <a:pt x="2241652" y="202260"/>
                  </a:lnTo>
                  <a:lnTo>
                    <a:pt x="2241652" y="200876"/>
                  </a:lnTo>
                  <a:lnTo>
                    <a:pt x="2241652" y="202260"/>
                  </a:lnTo>
                  <a:lnTo>
                    <a:pt x="2241754" y="200876"/>
                  </a:lnTo>
                  <a:lnTo>
                    <a:pt x="2241754" y="202260"/>
                  </a:lnTo>
                  <a:lnTo>
                    <a:pt x="2241754" y="200876"/>
                  </a:lnTo>
                  <a:lnTo>
                    <a:pt x="2241805" y="200228"/>
                  </a:lnTo>
                  <a:lnTo>
                    <a:pt x="2241805" y="200876"/>
                  </a:lnTo>
                  <a:lnTo>
                    <a:pt x="2241805" y="199530"/>
                  </a:lnTo>
                  <a:lnTo>
                    <a:pt x="2241805" y="200228"/>
                  </a:lnTo>
                  <a:lnTo>
                    <a:pt x="2241805" y="199530"/>
                  </a:lnTo>
                  <a:lnTo>
                    <a:pt x="2241855" y="199530"/>
                  </a:lnTo>
                  <a:lnTo>
                    <a:pt x="2241855" y="196799"/>
                  </a:lnTo>
                  <a:lnTo>
                    <a:pt x="2241957" y="196799"/>
                  </a:lnTo>
                  <a:lnTo>
                    <a:pt x="2241957" y="198831"/>
                  </a:lnTo>
                  <a:lnTo>
                    <a:pt x="2241957" y="196799"/>
                  </a:lnTo>
                  <a:lnTo>
                    <a:pt x="2241957" y="199530"/>
                  </a:lnTo>
                  <a:lnTo>
                    <a:pt x="2242008" y="200228"/>
                  </a:lnTo>
                  <a:lnTo>
                    <a:pt x="2242008" y="198831"/>
                  </a:lnTo>
                  <a:lnTo>
                    <a:pt x="2242008" y="199530"/>
                  </a:lnTo>
                  <a:lnTo>
                    <a:pt x="2242008" y="198831"/>
                  </a:lnTo>
                  <a:lnTo>
                    <a:pt x="2242008" y="199530"/>
                  </a:lnTo>
                  <a:lnTo>
                    <a:pt x="2242059" y="199530"/>
                  </a:lnTo>
                  <a:lnTo>
                    <a:pt x="2242059" y="200228"/>
                  </a:lnTo>
                  <a:lnTo>
                    <a:pt x="2242059" y="199530"/>
                  </a:lnTo>
                  <a:lnTo>
                    <a:pt x="2242059" y="200228"/>
                  </a:lnTo>
                  <a:lnTo>
                    <a:pt x="2242097" y="200228"/>
                  </a:lnTo>
                  <a:lnTo>
                    <a:pt x="2242097" y="200876"/>
                  </a:lnTo>
                  <a:lnTo>
                    <a:pt x="2242097" y="200228"/>
                  </a:lnTo>
                  <a:lnTo>
                    <a:pt x="2242097" y="200876"/>
                  </a:lnTo>
                  <a:lnTo>
                    <a:pt x="2242198" y="200876"/>
                  </a:lnTo>
                  <a:lnTo>
                    <a:pt x="2242198" y="200228"/>
                  </a:lnTo>
                  <a:lnTo>
                    <a:pt x="2242198" y="202260"/>
                  </a:lnTo>
                  <a:lnTo>
                    <a:pt x="2242198" y="200876"/>
                  </a:lnTo>
                  <a:lnTo>
                    <a:pt x="2242198" y="202260"/>
                  </a:lnTo>
                  <a:lnTo>
                    <a:pt x="2242249" y="202260"/>
                  </a:lnTo>
                  <a:lnTo>
                    <a:pt x="2242249" y="200876"/>
                  </a:lnTo>
                  <a:lnTo>
                    <a:pt x="2242300" y="200876"/>
                  </a:lnTo>
                  <a:lnTo>
                    <a:pt x="2242300" y="199530"/>
                  </a:lnTo>
                  <a:lnTo>
                    <a:pt x="2242300" y="200228"/>
                  </a:lnTo>
                  <a:lnTo>
                    <a:pt x="2242300" y="199530"/>
                  </a:lnTo>
                  <a:lnTo>
                    <a:pt x="2242401" y="199530"/>
                  </a:lnTo>
                  <a:lnTo>
                    <a:pt x="2242401" y="198831"/>
                  </a:lnTo>
                  <a:lnTo>
                    <a:pt x="2242401" y="199530"/>
                  </a:lnTo>
                  <a:lnTo>
                    <a:pt x="2242401" y="196113"/>
                  </a:lnTo>
                  <a:lnTo>
                    <a:pt x="2242401" y="196799"/>
                  </a:lnTo>
                  <a:lnTo>
                    <a:pt x="2242452" y="196799"/>
                  </a:lnTo>
                  <a:lnTo>
                    <a:pt x="2242452" y="196113"/>
                  </a:lnTo>
                  <a:lnTo>
                    <a:pt x="2242452" y="196799"/>
                  </a:lnTo>
                  <a:lnTo>
                    <a:pt x="2242452" y="196113"/>
                  </a:lnTo>
                  <a:lnTo>
                    <a:pt x="2242452" y="197447"/>
                  </a:lnTo>
                  <a:lnTo>
                    <a:pt x="2242503" y="197447"/>
                  </a:lnTo>
                  <a:lnTo>
                    <a:pt x="2242503" y="198831"/>
                  </a:lnTo>
                  <a:lnTo>
                    <a:pt x="2242503" y="196799"/>
                  </a:lnTo>
                  <a:lnTo>
                    <a:pt x="2242503" y="198831"/>
                  </a:lnTo>
                  <a:lnTo>
                    <a:pt x="2242554" y="198831"/>
                  </a:lnTo>
                  <a:lnTo>
                    <a:pt x="2242554" y="197447"/>
                  </a:lnTo>
                  <a:lnTo>
                    <a:pt x="2242554" y="198831"/>
                  </a:lnTo>
                  <a:lnTo>
                    <a:pt x="2242643" y="198831"/>
                  </a:lnTo>
                  <a:lnTo>
                    <a:pt x="2242643" y="199530"/>
                  </a:lnTo>
                  <a:lnTo>
                    <a:pt x="2242643" y="197447"/>
                  </a:lnTo>
                  <a:lnTo>
                    <a:pt x="2242643" y="198831"/>
                  </a:lnTo>
                  <a:lnTo>
                    <a:pt x="2242643" y="197447"/>
                  </a:lnTo>
                  <a:lnTo>
                    <a:pt x="2242643" y="198831"/>
                  </a:lnTo>
                  <a:lnTo>
                    <a:pt x="2242694" y="198831"/>
                  </a:lnTo>
                  <a:lnTo>
                    <a:pt x="2242694" y="200228"/>
                  </a:lnTo>
                  <a:lnTo>
                    <a:pt x="2242694" y="199530"/>
                  </a:lnTo>
                  <a:lnTo>
                    <a:pt x="2242744" y="200228"/>
                  </a:lnTo>
                  <a:lnTo>
                    <a:pt x="2242744" y="199530"/>
                  </a:lnTo>
                  <a:lnTo>
                    <a:pt x="2242744" y="200228"/>
                  </a:lnTo>
                  <a:lnTo>
                    <a:pt x="2242744" y="199530"/>
                  </a:lnTo>
                  <a:lnTo>
                    <a:pt x="2242795" y="199530"/>
                  </a:lnTo>
                  <a:lnTo>
                    <a:pt x="2242795" y="200228"/>
                  </a:lnTo>
                  <a:lnTo>
                    <a:pt x="2242795" y="199530"/>
                  </a:lnTo>
                  <a:lnTo>
                    <a:pt x="2242795" y="200228"/>
                  </a:lnTo>
                  <a:lnTo>
                    <a:pt x="2242795" y="199530"/>
                  </a:lnTo>
                  <a:lnTo>
                    <a:pt x="2242795" y="200228"/>
                  </a:lnTo>
                  <a:lnTo>
                    <a:pt x="2242795" y="197447"/>
                  </a:lnTo>
                  <a:lnTo>
                    <a:pt x="2242897" y="197447"/>
                  </a:lnTo>
                  <a:lnTo>
                    <a:pt x="2242897" y="195415"/>
                  </a:lnTo>
                  <a:lnTo>
                    <a:pt x="2242947" y="195415"/>
                  </a:lnTo>
                  <a:lnTo>
                    <a:pt x="2242947" y="196799"/>
                  </a:lnTo>
                  <a:lnTo>
                    <a:pt x="2242947" y="195415"/>
                  </a:lnTo>
                  <a:lnTo>
                    <a:pt x="2242947" y="196113"/>
                  </a:lnTo>
                  <a:lnTo>
                    <a:pt x="2242998" y="196113"/>
                  </a:lnTo>
                  <a:lnTo>
                    <a:pt x="2242998" y="198831"/>
                  </a:lnTo>
                  <a:lnTo>
                    <a:pt x="2242998" y="196113"/>
                  </a:lnTo>
                  <a:lnTo>
                    <a:pt x="2242998" y="196799"/>
                  </a:lnTo>
                  <a:lnTo>
                    <a:pt x="2243100" y="196799"/>
                  </a:lnTo>
                  <a:lnTo>
                    <a:pt x="2243100" y="197447"/>
                  </a:lnTo>
                  <a:lnTo>
                    <a:pt x="2243100" y="196799"/>
                  </a:lnTo>
                  <a:lnTo>
                    <a:pt x="2243100" y="197447"/>
                  </a:lnTo>
                  <a:lnTo>
                    <a:pt x="2243100" y="196799"/>
                  </a:lnTo>
                  <a:lnTo>
                    <a:pt x="2243100" y="197447"/>
                  </a:lnTo>
                  <a:lnTo>
                    <a:pt x="2243100" y="196799"/>
                  </a:lnTo>
                  <a:lnTo>
                    <a:pt x="2243100" y="197447"/>
                  </a:lnTo>
                  <a:lnTo>
                    <a:pt x="2243138" y="197447"/>
                  </a:lnTo>
                  <a:lnTo>
                    <a:pt x="2243138" y="199530"/>
                  </a:lnTo>
                  <a:lnTo>
                    <a:pt x="2243189" y="198831"/>
                  </a:lnTo>
                  <a:lnTo>
                    <a:pt x="2243189" y="197447"/>
                  </a:lnTo>
                  <a:lnTo>
                    <a:pt x="2243189" y="200228"/>
                  </a:lnTo>
                  <a:lnTo>
                    <a:pt x="2243240" y="200228"/>
                  </a:lnTo>
                  <a:lnTo>
                    <a:pt x="2243240" y="199530"/>
                  </a:lnTo>
                  <a:lnTo>
                    <a:pt x="2243240" y="200228"/>
                  </a:lnTo>
                  <a:lnTo>
                    <a:pt x="2243240" y="199530"/>
                  </a:lnTo>
                  <a:lnTo>
                    <a:pt x="2243240" y="200228"/>
                  </a:lnTo>
                  <a:lnTo>
                    <a:pt x="2243240" y="199530"/>
                  </a:lnTo>
                  <a:lnTo>
                    <a:pt x="2243240" y="200228"/>
                  </a:lnTo>
                  <a:lnTo>
                    <a:pt x="2243341" y="200228"/>
                  </a:lnTo>
                  <a:lnTo>
                    <a:pt x="2243341" y="199530"/>
                  </a:lnTo>
                  <a:lnTo>
                    <a:pt x="2243392" y="198831"/>
                  </a:lnTo>
                  <a:lnTo>
                    <a:pt x="2243392" y="196113"/>
                  </a:lnTo>
                  <a:lnTo>
                    <a:pt x="2243392" y="196799"/>
                  </a:lnTo>
                  <a:lnTo>
                    <a:pt x="2243443" y="196113"/>
                  </a:lnTo>
                  <a:lnTo>
                    <a:pt x="2243443" y="195415"/>
                  </a:lnTo>
                  <a:lnTo>
                    <a:pt x="2243443" y="197447"/>
                  </a:lnTo>
                  <a:lnTo>
                    <a:pt x="2243443" y="196113"/>
                  </a:lnTo>
                  <a:lnTo>
                    <a:pt x="2243544" y="196113"/>
                  </a:lnTo>
                  <a:lnTo>
                    <a:pt x="2243544" y="195415"/>
                  </a:lnTo>
                  <a:lnTo>
                    <a:pt x="2243544" y="197447"/>
                  </a:lnTo>
                  <a:lnTo>
                    <a:pt x="2243544" y="196113"/>
                  </a:lnTo>
                  <a:lnTo>
                    <a:pt x="2243595" y="196113"/>
                  </a:lnTo>
                  <a:lnTo>
                    <a:pt x="2243595" y="198831"/>
                  </a:lnTo>
                  <a:lnTo>
                    <a:pt x="2243595" y="196799"/>
                  </a:lnTo>
                  <a:lnTo>
                    <a:pt x="2243646" y="196799"/>
                  </a:lnTo>
                  <a:lnTo>
                    <a:pt x="2243646" y="198831"/>
                  </a:lnTo>
                  <a:lnTo>
                    <a:pt x="2243646" y="196799"/>
                  </a:lnTo>
                  <a:lnTo>
                    <a:pt x="2243646" y="197447"/>
                  </a:lnTo>
                  <a:lnTo>
                    <a:pt x="2243684" y="197447"/>
                  </a:lnTo>
                  <a:lnTo>
                    <a:pt x="2243684" y="198831"/>
                  </a:lnTo>
                  <a:lnTo>
                    <a:pt x="2243684" y="197447"/>
                  </a:lnTo>
                  <a:lnTo>
                    <a:pt x="2243684" y="198831"/>
                  </a:lnTo>
                  <a:lnTo>
                    <a:pt x="2243786" y="199530"/>
                  </a:lnTo>
                  <a:lnTo>
                    <a:pt x="2243786" y="198831"/>
                  </a:lnTo>
                  <a:lnTo>
                    <a:pt x="2243786" y="199530"/>
                  </a:lnTo>
                  <a:lnTo>
                    <a:pt x="2243786" y="198831"/>
                  </a:lnTo>
                  <a:lnTo>
                    <a:pt x="2243837" y="198831"/>
                  </a:lnTo>
                  <a:lnTo>
                    <a:pt x="2243837" y="197447"/>
                  </a:lnTo>
                  <a:lnTo>
                    <a:pt x="2243837" y="198831"/>
                  </a:lnTo>
                  <a:lnTo>
                    <a:pt x="2243837" y="197447"/>
                  </a:lnTo>
                  <a:lnTo>
                    <a:pt x="2243887" y="197447"/>
                  </a:lnTo>
                  <a:lnTo>
                    <a:pt x="2243887" y="196799"/>
                  </a:lnTo>
                  <a:lnTo>
                    <a:pt x="2243887" y="197447"/>
                  </a:lnTo>
                  <a:lnTo>
                    <a:pt x="2243887" y="196799"/>
                  </a:lnTo>
                  <a:lnTo>
                    <a:pt x="2243887" y="197447"/>
                  </a:lnTo>
                  <a:lnTo>
                    <a:pt x="2243887" y="196799"/>
                  </a:lnTo>
                  <a:lnTo>
                    <a:pt x="2243887" y="197447"/>
                  </a:lnTo>
                  <a:lnTo>
                    <a:pt x="2243887" y="196113"/>
                  </a:lnTo>
                  <a:lnTo>
                    <a:pt x="2243989" y="196113"/>
                  </a:lnTo>
                  <a:lnTo>
                    <a:pt x="2243989" y="195415"/>
                  </a:lnTo>
                  <a:lnTo>
                    <a:pt x="2243989" y="197447"/>
                  </a:lnTo>
                  <a:lnTo>
                    <a:pt x="2243989" y="195415"/>
                  </a:lnTo>
                  <a:lnTo>
                    <a:pt x="2244040" y="195415"/>
                  </a:lnTo>
                  <a:lnTo>
                    <a:pt x="2244040" y="197447"/>
                  </a:lnTo>
                  <a:lnTo>
                    <a:pt x="2244040" y="196799"/>
                  </a:lnTo>
                  <a:lnTo>
                    <a:pt x="2244090" y="196113"/>
                  </a:lnTo>
                  <a:lnTo>
                    <a:pt x="2244090" y="197447"/>
                  </a:lnTo>
                  <a:lnTo>
                    <a:pt x="2244090" y="196799"/>
                  </a:lnTo>
                  <a:lnTo>
                    <a:pt x="2244141" y="196799"/>
                  </a:lnTo>
                  <a:lnTo>
                    <a:pt x="2244141" y="197447"/>
                  </a:lnTo>
                  <a:lnTo>
                    <a:pt x="2244230" y="198831"/>
                  </a:lnTo>
                  <a:lnTo>
                    <a:pt x="2244230" y="197447"/>
                  </a:lnTo>
                  <a:lnTo>
                    <a:pt x="2244230" y="199530"/>
                  </a:lnTo>
                  <a:lnTo>
                    <a:pt x="2244281" y="199530"/>
                  </a:lnTo>
                  <a:lnTo>
                    <a:pt x="2244281" y="198831"/>
                  </a:lnTo>
                  <a:lnTo>
                    <a:pt x="2244281" y="199530"/>
                  </a:lnTo>
                  <a:lnTo>
                    <a:pt x="2244281" y="198831"/>
                  </a:lnTo>
                  <a:lnTo>
                    <a:pt x="2244281" y="199530"/>
                  </a:lnTo>
                  <a:lnTo>
                    <a:pt x="2244332" y="199530"/>
                  </a:lnTo>
                  <a:lnTo>
                    <a:pt x="2244332" y="198831"/>
                  </a:lnTo>
                  <a:lnTo>
                    <a:pt x="2244332" y="199530"/>
                  </a:lnTo>
                  <a:lnTo>
                    <a:pt x="2244332" y="197447"/>
                  </a:lnTo>
                  <a:lnTo>
                    <a:pt x="2244383" y="197447"/>
                  </a:lnTo>
                  <a:lnTo>
                    <a:pt x="2244383" y="198831"/>
                  </a:lnTo>
                  <a:lnTo>
                    <a:pt x="2244383" y="196799"/>
                  </a:lnTo>
                  <a:lnTo>
                    <a:pt x="2244484" y="196799"/>
                  </a:lnTo>
                  <a:lnTo>
                    <a:pt x="2244484" y="197447"/>
                  </a:lnTo>
                  <a:lnTo>
                    <a:pt x="2244484" y="196799"/>
                  </a:lnTo>
                  <a:lnTo>
                    <a:pt x="2244484" y="197447"/>
                  </a:lnTo>
                  <a:lnTo>
                    <a:pt x="2244484" y="196799"/>
                  </a:lnTo>
                  <a:lnTo>
                    <a:pt x="2244484" y="197447"/>
                  </a:lnTo>
                  <a:lnTo>
                    <a:pt x="2244484" y="196113"/>
                  </a:lnTo>
                  <a:lnTo>
                    <a:pt x="2244484" y="196799"/>
                  </a:lnTo>
                  <a:lnTo>
                    <a:pt x="2244535" y="197447"/>
                  </a:lnTo>
                  <a:lnTo>
                    <a:pt x="2244535" y="199530"/>
                  </a:lnTo>
                  <a:lnTo>
                    <a:pt x="2244535" y="198831"/>
                  </a:lnTo>
                  <a:lnTo>
                    <a:pt x="2244535" y="199530"/>
                  </a:lnTo>
                  <a:lnTo>
                    <a:pt x="2244535" y="197447"/>
                  </a:lnTo>
                  <a:lnTo>
                    <a:pt x="2244535" y="198831"/>
                  </a:lnTo>
                  <a:lnTo>
                    <a:pt x="2244586" y="198831"/>
                  </a:lnTo>
                  <a:lnTo>
                    <a:pt x="2244586" y="199530"/>
                  </a:lnTo>
                  <a:lnTo>
                    <a:pt x="2244586" y="197447"/>
                  </a:lnTo>
                  <a:lnTo>
                    <a:pt x="2244586" y="198831"/>
                  </a:lnTo>
                  <a:lnTo>
                    <a:pt x="2244687" y="199530"/>
                  </a:lnTo>
                  <a:lnTo>
                    <a:pt x="2244687" y="198831"/>
                  </a:lnTo>
                  <a:lnTo>
                    <a:pt x="2244687" y="199530"/>
                  </a:lnTo>
                  <a:lnTo>
                    <a:pt x="2244687" y="198831"/>
                  </a:lnTo>
                  <a:lnTo>
                    <a:pt x="2244687" y="199530"/>
                  </a:lnTo>
                  <a:lnTo>
                    <a:pt x="2244687" y="198831"/>
                  </a:lnTo>
                  <a:lnTo>
                    <a:pt x="2244687" y="199530"/>
                  </a:lnTo>
                  <a:lnTo>
                    <a:pt x="2244776" y="199530"/>
                  </a:lnTo>
                  <a:lnTo>
                    <a:pt x="2244776" y="198831"/>
                  </a:lnTo>
                  <a:lnTo>
                    <a:pt x="2244776" y="199530"/>
                  </a:lnTo>
                  <a:lnTo>
                    <a:pt x="2244776" y="198831"/>
                  </a:lnTo>
                  <a:lnTo>
                    <a:pt x="2244776" y="199530"/>
                  </a:lnTo>
                  <a:lnTo>
                    <a:pt x="2244776" y="198831"/>
                  </a:lnTo>
                  <a:lnTo>
                    <a:pt x="2244776" y="199530"/>
                  </a:lnTo>
                  <a:lnTo>
                    <a:pt x="2244827" y="199530"/>
                  </a:lnTo>
                  <a:lnTo>
                    <a:pt x="2244827" y="198831"/>
                  </a:lnTo>
                  <a:lnTo>
                    <a:pt x="2244827" y="199530"/>
                  </a:lnTo>
                  <a:lnTo>
                    <a:pt x="2244827" y="197447"/>
                  </a:lnTo>
                  <a:lnTo>
                    <a:pt x="2244929" y="197447"/>
                  </a:lnTo>
                  <a:lnTo>
                    <a:pt x="2244929" y="196799"/>
                  </a:lnTo>
                  <a:lnTo>
                    <a:pt x="2244929" y="197447"/>
                  </a:lnTo>
                  <a:lnTo>
                    <a:pt x="2244929" y="196113"/>
                  </a:lnTo>
                  <a:lnTo>
                    <a:pt x="2244929" y="197447"/>
                  </a:lnTo>
                  <a:lnTo>
                    <a:pt x="2244980" y="197447"/>
                  </a:lnTo>
                  <a:lnTo>
                    <a:pt x="2244980" y="196799"/>
                  </a:lnTo>
                  <a:lnTo>
                    <a:pt x="2244980" y="197447"/>
                  </a:lnTo>
                  <a:lnTo>
                    <a:pt x="2244980" y="196113"/>
                  </a:lnTo>
                  <a:lnTo>
                    <a:pt x="2244980" y="196799"/>
                  </a:lnTo>
                  <a:lnTo>
                    <a:pt x="2244980" y="196113"/>
                  </a:lnTo>
                  <a:lnTo>
                    <a:pt x="2244980" y="196799"/>
                  </a:lnTo>
                  <a:lnTo>
                    <a:pt x="2245030" y="197447"/>
                  </a:lnTo>
                  <a:lnTo>
                    <a:pt x="2245030" y="198831"/>
                  </a:lnTo>
                  <a:lnTo>
                    <a:pt x="2245030" y="196799"/>
                  </a:lnTo>
                  <a:lnTo>
                    <a:pt x="2245030" y="198831"/>
                  </a:lnTo>
                  <a:lnTo>
                    <a:pt x="2245132" y="199530"/>
                  </a:lnTo>
                  <a:lnTo>
                    <a:pt x="2245132" y="198831"/>
                  </a:lnTo>
                  <a:lnTo>
                    <a:pt x="2245132" y="199530"/>
                  </a:lnTo>
                  <a:lnTo>
                    <a:pt x="2245132" y="197447"/>
                  </a:lnTo>
                  <a:lnTo>
                    <a:pt x="2245132" y="199530"/>
                  </a:lnTo>
                  <a:lnTo>
                    <a:pt x="2245183" y="199530"/>
                  </a:lnTo>
                  <a:lnTo>
                    <a:pt x="2245183" y="198831"/>
                  </a:lnTo>
                  <a:lnTo>
                    <a:pt x="2245183" y="199530"/>
                  </a:lnTo>
                  <a:lnTo>
                    <a:pt x="2245234" y="200228"/>
                  </a:lnTo>
                  <a:lnTo>
                    <a:pt x="2245234" y="199530"/>
                  </a:lnTo>
                  <a:lnTo>
                    <a:pt x="2245234" y="200228"/>
                  </a:lnTo>
                  <a:lnTo>
                    <a:pt x="2245234" y="199530"/>
                  </a:lnTo>
                  <a:lnTo>
                    <a:pt x="2245234" y="200228"/>
                  </a:lnTo>
                  <a:lnTo>
                    <a:pt x="2245234" y="199530"/>
                  </a:lnTo>
                  <a:lnTo>
                    <a:pt x="2245234" y="200228"/>
                  </a:lnTo>
                  <a:lnTo>
                    <a:pt x="2245272" y="199530"/>
                  </a:lnTo>
                  <a:lnTo>
                    <a:pt x="2245272" y="200228"/>
                  </a:lnTo>
                  <a:lnTo>
                    <a:pt x="2245272" y="199530"/>
                  </a:lnTo>
                  <a:lnTo>
                    <a:pt x="2245272" y="200228"/>
                  </a:lnTo>
                  <a:lnTo>
                    <a:pt x="2245272" y="199530"/>
                  </a:lnTo>
                  <a:lnTo>
                    <a:pt x="2245272" y="200228"/>
                  </a:lnTo>
                  <a:lnTo>
                    <a:pt x="2245272" y="199530"/>
                  </a:lnTo>
                  <a:lnTo>
                    <a:pt x="2245272" y="200228"/>
                  </a:lnTo>
                  <a:lnTo>
                    <a:pt x="2245272" y="199530"/>
                  </a:lnTo>
                  <a:lnTo>
                    <a:pt x="2245373" y="199530"/>
                  </a:lnTo>
                  <a:lnTo>
                    <a:pt x="2245373" y="198831"/>
                  </a:lnTo>
                  <a:lnTo>
                    <a:pt x="2245373" y="199530"/>
                  </a:lnTo>
                  <a:lnTo>
                    <a:pt x="2245373" y="198831"/>
                  </a:lnTo>
                  <a:lnTo>
                    <a:pt x="2245424" y="198831"/>
                  </a:lnTo>
                  <a:lnTo>
                    <a:pt x="2245424" y="196799"/>
                  </a:lnTo>
                  <a:lnTo>
                    <a:pt x="2245424" y="197447"/>
                  </a:lnTo>
                  <a:lnTo>
                    <a:pt x="2245424" y="196113"/>
                  </a:lnTo>
                  <a:lnTo>
                    <a:pt x="2245424" y="196799"/>
                  </a:lnTo>
                  <a:lnTo>
                    <a:pt x="2245475" y="196799"/>
                  </a:lnTo>
                  <a:lnTo>
                    <a:pt x="2245475" y="196113"/>
                  </a:lnTo>
                  <a:lnTo>
                    <a:pt x="2245475" y="197447"/>
                  </a:lnTo>
                  <a:lnTo>
                    <a:pt x="2245576" y="197447"/>
                  </a:lnTo>
                  <a:lnTo>
                    <a:pt x="2245576" y="198831"/>
                  </a:lnTo>
                  <a:lnTo>
                    <a:pt x="2245576" y="196799"/>
                  </a:lnTo>
                  <a:lnTo>
                    <a:pt x="2245576" y="199530"/>
                  </a:lnTo>
                  <a:lnTo>
                    <a:pt x="2245627" y="198831"/>
                  </a:lnTo>
                  <a:lnTo>
                    <a:pt x="2245627" y="197447"/>
                  </a:lnTo>
                  <a:lnTo>
                    <a:pt x="2245627" y="199530"/>
                  </a:lnTo>
                  <a:lnTo>
                    <a:pt x="2245678" y="199530"/>
                  </a:lnTo>
                  <a:lnTo>
                    <a:pt x="2245678" y="197447"/>
                  </a:lnTo>
                  <a:lnTo>
                    <a:pt x="2245678" y="199530"/>
                  </a:lnTo>
                  <a:lnTo>
                    <a:pt x="2245678" y="198831"/>
                  </a:lnTo>
                  <a:lnTo>
                    <a:pt x="2245729" y="199530"/>
                  </a:lnTo>
                  <a:lnTo>
                    <a:pt x="2245729" y="198831"/>
                  </a:lnTo>
                  <a:lnTo>
                    <a:pt x="2245729" y="199530"/>
                  </a:lnTo>
                  <a:lnTo>
                    <a:pt x="2245729" y="198831"/>
                  </a:lnTo>
                  <a:lnTo>
                    <a:pt x="2245729" y="199530"/>
                  </a:lnTo>
                  <a:lnTo>
                    <a:pt x="2245818" y="199530"/>
                  </a:lnTo>
                  <a:lnTo>
                    <a:pt x="2245818" y="198831"/>
                  </a:lnTo>
                  <a:lnTo>
                    <a:pt x="2245818" y="199530"/>
                  </a:lnTo>
                  <a:lnTo>
                    <a:pt x="2245818" y="198831"/>
                  </a:lnTo>
                  <a:lnTo>
                    <a:pt x="2245818" y="199530"/>
                  </a:lnTo>
                  <a:lnTo>
                    <a:pt x="2245818" y="198831"/>
                  </a:lnTo>
                  <a:lnTo>
                    <a:pt x="2245818" y="199530"/>
                  </a:lnTo>
                  <a:lnTo>
                    <a:pt x="2245869" y="199530"/>
                  </a:lnTo>
                  <a:lnTo>
                    <a:pt x="2245869" y="198831"/>
                  </a:lnTo>
                  <a:lnTo>
                    <a:pt x="2245869" y="199530"/>
                  </a:lnTo>
                  <a:lnTo>
                    <a:pt x="2245869" y="197447"/>
                  </a:lnTo>
                  <a:lnTo>
                    <a:pt x="2245919" y="197447"/>
                  </a:lnTo>
                  <a:lnTo>
                    <a:pt x="2245919" y="198831"/>
                  </a:lnTo>
                  <a:lnTo>
                    <a:pt x="2245919" y="196799"/>
                  </a:lnTo>
                  <a:lnTo>
                    <a:pt x="2245970" y="196799"/>
                  </a:lnTo>
                  <a:lnTo>
                    <a:pt x="2245970" y="200876"/>
                  </a:lnTo>
                  <a:lnTo>
                    <a:pt x="2245970" y="199530"/>
                  </a:lnTo>
                  <a:lnTo>
                    <a:pt x="2246072" y="199530"/>
                  </a:lnTo>
                  <a:lnTo>
                    <a:pt x="2246072" y="200876"/>
                  </a:lnTo>
                  <a:lnTo>
                    <a:pt x="2246072" y="200228"/>
                  </a:lnTo>
                  <a:lnTo>
                    <a:pt x="2246122" y="200228"/>
                  </a:lnTo>
                  <a:lnTo>
                    <a:pt x="2246122" y="200876"/>
                  </a:lnTo>
                  <a:lnTo>
                    <a:pt x="2246122" y="200228"/>
                  </a:lnTo>
                  <a:lnTo>
                    <a:pt x="2246122" y="200876"/>
                  </a:lnTo>
                  <a:lnTo>
                    <a:pt x="2246122" y="200228"/>
                  </a:lnTo>
                  <a:lnTo>
                    <a:pt x="2246122" y="200876"/>
                  </a:lnTo>
                  <a:lnTo>
                    <a:pt x="2246122" y="200228"/>
                  </a:lnTo>
                  <a:lnTo>
                    <a:pt x="2246122" y="200876"/>
                  </a:lnTo>
                  <a:lnTo>
                    <a:pt x="2246173" y="200876"/>
                  </a:lnTo>
                  <a:lnTo>
                    <a:pt x="2246173" y="200228"/>
                  </a:lnTo>
                  <a:lnTo>
                    <a:pt x="2246173" y="200876"/>
                  </a:lnTo>
                  <a:lnTo>
                    <a:pt x="2246275" y="200876"/>
                  </a:lnTo>
                  <a:lnTo>
                    <a:pt x="2246275" y="200228"/>
                  </a:lnTo>
                  <a:lnTo>
                    <a:pt x="2246275" y="200876"/>
                  </a:lnTo>
                  <a:lnTo>
                    <a:pt x="2246275" y="200228"/>
                  </a:lnTo>
                  <a:lnTo>
                    <a:pt x="2246313" y="200228"/>
                  </a:lnTo>
                  <a:lnTo>
                    <a:pt x="2246313" y="200876"/>
                  </a:lnTo>
                  <a:lnTo>
                    <a:pt x="2246313" y="199530"/>
                  </a:lnTo>
                  <a:lnTo>
                    <a:pt x="2246313" y="200228"/>
                  </a:lnTo>
                  <a:lnTo>
                    <a:pt x="2246313" y="199530"/>
                  </a:lnTo>
                  <a:lnTo>
                    <a:pt x="2246364" y="199530"/>
                  </a:lnTo>
                  <a:lnTo>
                    <a:pt x="2246364" y="200228"/>
                  </a:lnTo>
                  <a:lnTo>
                    <a:pt x="2246364" y="197447"/>
                  </a:lnTo>
                  <a:lnTo>
                    <a:pt x="2246364" y="198831"/>
                  </a:lnTo>
                  <a:lnTo>
                    <a:pt x="2246364" y="197447"/>
                  </a:lnTo>
                  <a:lnTo>
                    <a:pt x="2246364" y="200228"/>
                  </a:lnTo>
                  <a:lnTo>
                    <a:pt x="2246415" y="200228"/>
                  </a:lnTo>
                  <a:lnTo>
                    <a:pt x="2246415" y="199530"/>
                  </a:lnTo>
                  <a:lnTo>
                    <a:pt x="2246415" y="202959"/>
                  </a:lnTo>
                  <a:lnTo>
                    <a:pt x="2246415" y="202260"/>
                  </a:lnTo>
                  <a:lnTo>
                    <a:pt x="2246516" y="202260"/>
                  </a:lnTo>
                  <a:lnTo>
                    <a:pt x="2246516" y="200228"/>
                  </a:lnTo>
                  <a:lnTo>
                    <a:pt x="2246516" y="200876"/>
                  </a:lnTo>
                  <a:lnTo>
                    <a:pt x="2246516" y="200228"/>
                  </a:lnTo>
                  <a:lnTo>
                    <a:pt x="2246516" y="202959"/>
                  </a:lnTo>
                  <a:lnTo>
                    <a:pt x="2246516" y="202260"/>
                  </a:lnTo>
                  <a:lnTo>
                    <a:pt x="2246567" y="202260"/>
                  </a:lnTo>
                  <a:lnTo>
                    <a:pt x="2246567" y="200876"/>
                  </a:lnTo>
                  <a:lnTo>
                    <a:pt x="2246567" y="202959"/>
                  </a:lnTo>
                  <a:lnTo>
                    <a:pt x="2246567" y="202260"/>
                  </a:lnTo>
                  <a:lnTo>
                    <a:pt x="2246567" y="202959"/>
                  </a:lnTo>
                  <a:lnTo>
                    <a:pt x="2246618" y="202959"/>
                  </a:lnTo>
                  <a:lnTo>
                    <a:pt x="2246618" y="202260"/>
                  </a:lnTo>
                  <a:lnTo>
                    <a:pt x="2246618" y="202959"/>
                  </a:lnTo>
                  <a:lnTo>
                    <a:pt x="2246618" y="200876"/>
                  </a:lnTo>
                  <a:lnTo>
                    <a:pt x="2246719" y="200876"/>
                  </a:lnTo>
                  <a:lnTo>
                    <a:pt x="2246719" y="202260"/>
                  </a:lnTo>
                  <a:lnTo>
                    <a:pt x="2246719" y="200876"/>
                  </a:lnTo>
                  <a:lnTo>
                    <a:pt x="2246719" y="202260"/>
                  </a:lnTo>
                  <a:lnTo>
                    <a:pt x="2246770" y="202260"/>
                  </a:lnTo>
                  <a:lnTo>
                    <a:pt x="2246770" y="199530"/>
                  </a:lnTo>
                  <a:lnTo>
                    <a:pt x="2246821" y="199530"/>
                  </a:lnTo>
                  <a:lnTo>
                    <a:pt x="2246821" y="198831"/>
                  </a:lnTo>
                  <a:lnTo>
                    <a:pt x="2246821" y="199530"/>
                  </a:lnTo>
                  <a:lnTo>
                    <a:pt x="2246821" y="198831"/>
                  </a:lnTo>
                  <a:lnTo>
                    <a:pt x="2246859" y="198831"/>
                  </a:lnTo>
                  <a:lnTo>
                    <a:pt x="2246859" y="196799"/>
                  </a:lnTo>
                  <a:lnTo>
                    <a:pt x="2246859" y="197447"/>
                  </a:lnTo>
                  <a:lnTo>
                    <a:pt x="2246859" y="196799"/>
                  </a:lnTo>
                  <a:lnTo>
                    <a:pt x="2246859" y="199530"/>
                  </a:lnTo>
                  <a:lnTo>
                    <a:pt x="2246961" y="198831"/>
                  </a:lnTo>
                  <a:lnTo>
                    <a:pt x="2246961" y="196799"/>
                  </a:lnTo>
                  <a:lnTo>
                    <a:pt x="2246961" y="200876"/>
                  </a:lnTo>
                  <a:lnTo>
                    <a:pt x="2246961" y="200228"/>
                  </a:lnTo>
                  <a:lnTo>
                    <a:pt x="2247012" y="200228"/>
                  </a:lnTo>
                  <a:lnTo>
                    <a:pt x="2247012" y="199530"/>
                  </a:lnTo>
                  <a:lnTo>
                    <a:pt x="2247012" y="200876"/>
                  </a:lnTo>
                  <a:lnTo>
                    <a:pt x="2247012" y="200228"/>
                  </a:lnTo>
                  <a:lnTo>
                    <a:pt x="2247062" y="200228"/>
                  </a:lnTo>
                  <a:lnTo>
                    <a:pt x="2247062" y="202260"/>
                  </a:lnTo>
                  <a:lnTo>
                    <a:pt x="2247062" y="200876"/>
                  </a:lnTo>
                  <a:lnTo>
                    <a:pt x="2247164" y="200876"/>
                  </a:lnTo>
                  <a:lnTo>
                    <a:pt x="2247164" y="202260"/>
                  </a:lnTo>
                  <a:lnTo>
                    <a:pt x="2247164" y="200876"/>
                  </a:lnTo>
                  <a:lnTo>
                    <a:pt x="2247164" y="202260"/>
                  </a:lnTo>
                  <a:lnTo>
                    <a:pt x="2247164" y="200876"/>
                  </a:lnTo>
                  <a:lnTo>
                    <a:pt x="2247164" y="202260"/>
                  </a:lnTo>
                  <a:lnTo>
                    <a:pt x="2247215" y="202260"/>
                  </a:lnTo>
                  <a:lnTo>
                    <a:pt x="2247215" y="200876"/>
                  </a:lnTo>
                  <a:lnTo>
                    <a:pt x="2247215" y="202260"/>
                  </a:lnTo>
                  <a:lnTo>
                    <a:pt x="2247215" y="200876"/>
                  </a:lnTo>
                  <a:lnTo>
                    <a:pt x="2247215" y="202959"/>
                  </a:lnTo>
                  <a:lnTo>
                    <a:pt x="2247215" y="200876"/>
                  </a:lnTo>
                  <a:lnTo>
                    <a:pt x="2247215" y="202260"/>
                  </a:lnTo>
                  <a:lnTo>
                    <a:pt x="2247265" y="202260"/>
                  </a:lnTo>
                  <a:lnTo>
                    <a:pt x="2247265" y="200228"/>
                  </a:lnTo>
                  <a:lnTo>
                    <a:pt x="2247265" y="200876"/>
                  </a:lnTo>
                  <a:lnTo>
                    <a:pt x="2247316" y="200228"/>
                  </a:lnTo>
                  <a:lnTo>
                    <a:pt x="2247316" y="199530"/>
                  </a:lnTo>
                  <a:lnTo>
                    <a:pt x="2247316" y="200228"/>
                  </a:lnTo>
                  <a:lnTo>
                    <a:pt x="2247316" y="197447"/>
                  </a:lnTo>
                  <a:lnTo>
                    <a:pt x="2247405" y="198831"/>
                  </a:lnTo>
                  <a:lnTo>
                    <a:pt x="2247405" y="197447"/>
                  </a:lnTo>
                  <a:lnTo>
                    <a:pt x="2247405" y="199530"/>
                  </a:lnTo>
                  <a:lnTo>
                    <a:pt x="2247405" y="197447"/>
                  </a:lnTo>
                  <a:lnTo>
                    <a:pt x="2247456" y="197447"/>
                  </a:lnTo>
                  <a:lnTo>
                    <a:pt x="2247456" y="200228"/>
                  </a:lnTo>
                  <a:lnTo>
                    <a:pt x="2247456" y="199530"/>
                  </a:lnTo>
                  <a:lnTo>
                    <a:pt x="2247507" y="200228"/>
                  </a:lnTo>
                  <a:lnTo>
                    <a:pt x="2247507" y="200876"/>
                  </a:lnTo>
                  <a:lnTo>
                    <a:pt x="2247507" y="199530"/>
                  </a:lnTo>
                  <a:lnTo>
                    <a:pt x="2247507" y="200228"/>
                  </a:lnTo>
                  <a:lnTo>
                    <a:pt x="2247507" y="199530"/>
                  </a:lnTo>
                  <a:lnTo>
                    <a:pt x="2247507" y="200228"/>
                  </a:lnTo>
                  <a:lnTo>
                    <a:pt x="2247558" y="200876"/>
                  </a:lnTo>
                  <a:lnTo>
                    <a:pt x="2247558" y="200228"/>
                  </a:lnTo>
                  <a:lnTo>
                    <a:pt x="2247558" y="200876"/>
                  </a:lnTo>
                  <a:lnTo>
                    <a:pt x="2247558" y="200228"/>
                  </a:lnTo>
                  <a:lnTo>
                    <a:pt x="2247558" y="200876"/>
                  </a:lnTo>
                  <a:lnTo>
                    <a:pt x="2247558" y="200228"/>
                  </a:lnTo>
                  <a:lnTo>
                    <a:pt x="2247558" y="200876"/>
                  </a:lnTo>
                  <a:lnTo>
                    <a:pt x="2247558" y="200228"/>
                  </a:lnTo>
                  <a:lnTo>
                    <a:pt x="2247558" y="200876"/>
                  </a:lnTo>
                  <a:lnTo>
                    <a:pt x="2247558" y="200228"/>
                  </a:lnTo>
                  <a:lnTo>
                    <a:pt x="2247558" y="200876"/>
                  </a:lnTo>
                  <a:lnTo>
                    <a:pt x="2247558" y="200228"/>
                  </a:lnTo>
                  <a:lnTo>
                    <a:pt x="2247558" y="202260"/>
                  </a:lnTo>
                  <a:lnTo>
                    <a:pt x="2247659" y="202260"/>
                  </a:lnTo>
                  <a:lnTo>
                    <a:pt x="2247659" y="200876"/>
                  </a:lnTo>
                  <a:lnTo>
                    <a:pt x="2247659" y="202260"/>
                  </a:lnTo>
                  <a:lnTo>
                    <a:pt x="2247659" y="200876"/>
                  </a:lnTo>
                  <a:lnTo>
                    <a:pt x="2247659" y="202260"/>
                  </a:lnTo>
                  <a:lnTo>
                    <a:pt x="2247659" y="200876"/>
                  </a:lnTo>
                  <a:lnTo>
                    <a:pt x="2247659" y="202260"/>
                  </a:lnTo>
                  <a:lnTo>
                    <a:pt x="2247659" y="200876"/>
                  </a:lnTo>
                  <a:lnTo>
                    <a:pt x="2247659" y="202260"/>
                  </a:lnTo>
                  <a:lnTo>
                    <a:pt x="2247659" y="200876"/>
                  </a:lnTo>
                  <a:lnTo>
                    <a:pt x="2247710" y="200876"/>
                  </a:lnTo>
                  <a:lnTo>
                    <a:pt x="2247710" y="202260"/>
                  </a:lnTo>
                  <a:lnTo>
                    <a:pt x="2247710" y="200876"/>
                  </a:lnTo>
                  <a:lnTo>
                    <a:pt x="2247710" y="202260"/>
                  </a:lnTo>
                  <a:lnTo>
                    <a:pt x="2247710" y="200876"/>
                  </a:lnTo>
                  <a:lnTo>
                    <a:pt x="2247710" y="202260"/>
                  </a:lnTo>
                  <a:lnTo>
                    <a:pt x="2247710" y="200876"/>
                  </a:lnTo>
                  <a:lnTo>
                    <a:pt x="2247710" y="202260"/>
                  </a:lnTo>
                  <a:lnTo>
                    <a:pt x="2247761" y="202260"/>
                  </a:lnTo>
                  <a:lnTo>
                    <a:pt x="2247761" y="200228"/>
                  </a:lnTo>
                  <a:lnTo>
                    <a:pt x="2247761" y="200876"/>
                  </a:lnTo>
                  <a:lnTo>
                    <a:pt x="2247761" y="199530"/>
                  </a:lnTo>
                  <a:lnTo>
                    <a:pt x="2247761" y="200228"/>
                  </a:lnTo>
                  <a:lnTo>
                    <a:pt x="2247862" y="200228"/>
                  </a:lnTo>
                  <a:lnTo>
                    <a:pt x="2247862" y="197447"/>
                  </a:lnTo>
                  <a:lnTo>
                    <a:pt x="2247900" y="197447"/>
                  </a:lnTo>
                  <a:lnTo>
                    <a:pt x="2247900" y="200228"/>
                  </a:lnTo>
                  <a:lnTo>
                    <a:pt x="2247900" y="198831"/>
                  </a:lnTo>
                  <a:lnTo>
                    <a:pt x="2247900" y="200876"/>
                  </a:lnTo>
                  <a:lnTo>
                    <a:pt x="2247951" y="200876"/>
                  </a:lnTo>
                  <a:lnTo>
                    <a:pt x="2247951" y="199530"/>
                  </a:lnTo>
                  <a:lnTo>
                    <a:pt x="2247951" y="200876"/>
                  </a:lnTo>
                  <a:lnTo>
                    <a:pt x="2248002" y="200876"/>
                  </a:lnTo>
                  <a:lnTo>
                    <a:pt x="2248002" y="200228"/>
                  </a:lnTo>
                  <a:lnTo>
                    <a:pt x="2248002" y="200876"/>
                  </a:lnTo>
                  <a:lnTo>
                    <a:pt x="2248104" y="200876"/>
                  </a:lnTo>
                  <a:lnTo>
                    <a:pt x="2248104" y="200228"/>
                  </a:lnTo>
                  <a:lnTo>
                    <a:pt x="2248104" y="200876"/>
                  </a:lnTo>
                  <a:lnTo>
                    <a:pt x="2248104" y="200228"/>
                  </a:lnTo>
                  <a:lnTo>
                    <a:pt x="2248104" y="200876"/>
                  </a:lnTo>
                  <a:lnTo>
                    <a:pt x="2248104" y="200228"/>
                  </a:lnTo>
                  <a:lnTo>
                    <a:pt x="2248104" y="200876"/>
                  </a:lnTo>
                  <a:lnTo>
                    <a:pt x="2248155" y="200876"/>
                  </a:lnTo>
                  <a:lnTo>
                    <a:pt x="2248155" y="202260"/>
                  </a:lnTo>
                  <a:lnTo>
                    <a:pt x="2248155" y="200876"/>
                  </a:lnTo>
                  <a:lnTo>
                    <a:pt x="2248205" y="200876"/>
                  </a:lnTo>
                  <a:lnTo>
                    <a:pt x="2248205" y="202260"/>
                  </a:lnTo>
                  <a:lnTo>
                    <a:pt x="2248205" y="200876"/>
                  </a:lnTo>
                  <a:lnTo>
                    <a:pt x="2248205" y="202260"/>
                  </a:lnTo>
                  <a:lnTo>
                    <a:pt x="2248205" y="200876"/>
                  </a:lnTo>
                  <a:lnTo>
                    <a:pt x="2248205" y="202260"/>
                  </a:lnTo>
                  <a:lnTo>
                    <a:pt x="2248205" y="200876"/>
                  </a:lnTo>
                  <a:lnTo>
                    <a:pt x="2248205" y="202260"/>
                  </a:lnTo>
                  <a:lnTo>
                    <a:pt x="2248205" y="200876"/>
                  </a:lnTo>
                  <a:lnTo>
                    <a:pt x="2248205" y="202260"/>
                  </a:lnTo>
                  <a:lnTo>
                    <a:pt x="2248307" y="200876"/>
                  </a:lnTo>
                  <a:lnTo>
                    <a:pt x="2248307" y="198831"/>
                  </a:lnTo>
                  <a:lnTo>
                    <a:pt x="2248307" y="199530"/>
                  </a:lnTo>
                  <a:lnTo>
                    <a:pt x="2248358" y="199530"/>
                  </a:lnTo>
                  <a:lnTo>
                    <a:pt x="2248358" y="198831"/>
                  </a:lnTo>
                  <a:lnTo>
                    <a:pt x="2248358" y="200228"/>
                  </a:lnTo>
                  <a:lnTo>
                    <a:pt x="2248358" y="199530"/>
                  </a:lnTo>
                  <a:lnTo>
                    <a:pt x="2248409" y="198831"/>
                  </a:lnTo>
                  <a:lnTo>
                    <a:pt x="2248409" y="197447"/>
                  </a:lnTo>
                  <a:lnTo>
                    <a:pt x="2248409" y="200876"/>
                  </a:lnTo>
                  <a:lnTo>
                    <a:pt x="2248409" y="199530"/>
                  </a:lnTo>
                  <a:lnTo>
                    <a:pt x="2248447" y="199530"/>
                  </a:lnTo>
                  <a:lnTo>
                    <a:pt x="2248447" y="200876"/>
                  </a:lnTo>
                  <a:lnTo>
                    <a:pt x="2248447" y="199530"/>
                  </a:lnTo>
                  <a:lnTo>
                    <a:pt x="2248447" y="200228"/>
                  </a:lnTo>
                  <a:lnTo>
                    <a:pt x="2248548" y="200228"/>
                  </a:lnTo>
                  <a:lnTo>
                    <a:pt x="2248548" y="199530"/>
                  </a:lnTo>
                  <a:lnTo>
                    <a:pt x="2248548" y="200228"/>
                  </a:lnTo>
                  <a:lnTo>
                    <a:pt x="2248599" y="200228"/>
                  </a:lnTo>
                  <a:lnTo>
                    <a:pt x="2248599" y="200876"/>
                  </a:lnTo>
                  <a:lnTo>
                    <a:pt x="2248599" y="200228"/>
                  </a:lnTo>
                  <a:lnTo>
                    <a:pt x="2248599" y="200876"/>
                  </a:lnTo>
                  <a:lnTo>
                    <a:pt x="2248650" y="200876"/>
                  </a:lnTo>
                  <a:lnTo>
                    <a:pt x="2248650" y="200228"/>
                  </a:lnTo>
                  <a:lnTo>
                    <a:pt x="2248650" y="200876"/>
                  </a:lnTo>
                  <a:lnTo>
                    <a:pt x="2248650" y="200228"/>
                  </a:lnTo>
                  <a:lnTo>
                    <a:pt x="2248751" y="200228"/>
                  </a:lnTo>
                  <a:lnTo>
                    <a:pt x="2248751" y="200876"/>
                  </a:lnTo>
                  <a:lnTo>
                    <a:pt x="2248751" y="199530"/>
                  </a:lnTo>
                  <a:lnTo>
                    <a:pt x="2248802" y="199530"/>
                  </a:lnTo>
                  <a:lnTo>
                    <a:pt x="2248802" y="198831"/>
                  </a:lnTo>
                  <a:lnTo>
                    <a:pt x="2248802" y="200228"/>
                  </a:lnTo>
                  <a:lnTo>
                    <a:pt x="2248853" y="200228"/>
                  </a:lnTo>
                  <a:lnTo>
                    <a:pt x="2248853" y="199530"/>
                  </a:lnTo>
                  <a:lnTo>
                    <a:pt x="2248853" y="202260"/>
                  </a:lnTo>
                  <a:lnTo>
                    <a:pt x="2248904" y="202260"/>
                  </a:lnTo>
                  <a:lnTo>
                    <a:pt x="2248904" y="200228"/>
                  </a:lnTo>
                  <a:lnTo>
                    <a:pt x="2248904" y="202959"/>
                  </a:lnTo>
                  <a:lnTo>
                    <a:pt x="2248993" y="202959"/>
                  </a:lnTo>
                  <a:lnTo>
                    <a:pt x="2248993" y="202260"/>
                  </a:lnTo>
                  <a:lnTo>
                    <a:pt x="2248993" y="202959"/>
                  </a:lnTo>
                  <a:lnTo>
                    <a:pt x="2248993" y="200876"/>
                  </a:lnTo>
                  <a:lnTo>
                    <a:pt x="2248993" y="202260"/>
                  </a:lnTo>
                  <a:lnTo>
                    <a:pt x="2249044" y="202260"/>
                  </a:lnTo>
                  <a:lnTo>
                    <a:pt x="2249044" y="200876"/>
                  </a:lnTo>
                  <a:lnTo>
                    <a:pt x="2249044" y="202260"/>
                  </a:lnTo>
                  <a:lnTo>
                    <a:pt x="2249044" y="200876"/>
                  </a:lnTo>
                  <a:lnTo>
                    <a:pt x="2249044" y="202260"/>
                  </a:lnTo>
                  <a:lnTo>
                    <a:pt x="2249044" y="200876"/>
                  </a:lnTo>
                  <a:lnTo>
                    <a:pt x="2249094" y="200876"/>
                  </a:lnTo>
                  <a:lnTo>
                    <a:pt x="2249094" y="202260"/>
                  </a:lnTo>
                  <a:lnTo>
                    <a:pt x="2249094" y="200876"/>
                  </a:lnTo>
                  <a:lnTo>
                    <a:pt x="2249094" y="202260"/>
                  </a:lnTo>
                  <a:lnTo>
                    <a:pt x="2249094" y="200876"/>
                  </a:lnTo>
                  <a:lnTo>
                    <a:pt x="2249145" y="200876"/>
                  </a:lnTo>
                  <a:lnTo>
                    <a:pt x="2249145" y="200228"/>
                  </a:lnTo>
                  <a:lnTo>
                    <a:pt x="2249145" y="200876"/>
                  </a:lnTo>
                  <a:lnTo>
                    <a:pt x="2249247" y="200876"/>
                  </a:lnTo>
                  <a:lnTo>
                    <a:pt x="2249247" y="199530"/>
                  </a:lnTo>
                  <a:lnTo>
                    <a:pt x="2249297" y="198831"/>
                  </a:lnTo>
                  <a:lnTo>
                    <a:pt x="2249297" y="199530"/>
                  </a:lnTo>
                  <a:lnTo>
                    <a:pt x="2249297" y="197447"/>
                  </a:lnTo>
                  <a:lnTo>
                    <a:pt x="2249297" y="200228"/>
                  </a:lnTo>
                  <a:lnTo>
                    <a:pt x="2249348" y="200228"/>
                  </a:lnTo>
                  <a:lnTo>
                    <a:pt x="2249348" y="199530"/>
                  </a:lnTo>
                  <a:lnTo>
                    <a:pt x="2249348" y="200876"/>
                  </a:lnTo>
                  <a:lnTo>
                    <a:pt x="2249450" y="200876"/>
                  </a:lnTo>
                  <a:lnTo>
                    <a:pt x="2249450" y="200228"/>
                  </a:lnTo>
                  <a:lnTo>
                    <a:pt x="2249450" y="200876"/>
                  </a:lnTo>
                  <a:lnTo>
                    <a:pt x="2249488" y="200876"/>
                  </a:lnTo>
                  <a:lnTo>
                    <a:pt x="2249488" y="202260"/>
                  </a:lnTo>
                  <a:lnTo>
                    <a:pt x="2249488" y="200876"/>
                  </a:lnTo>
                  <a:lnTo>
                    <a:pt x="2249488" y="202260"/>
                  </a:lnTo>
                  <a:lnTo>
                    <a:pt x="2249488" y="200876"/>
                  </a:lnTo>
                  <a:lnTo>
                    <a:pt x="2249488" y="202260"/>
                  </a:lnTo>
                  <a:lnTo>
                    <a:pt x="2249488" y="200876"/>
                  </a:lnTo>
                  <a:lnTo>
                    <a:pt x="2249488" y="202260"/>
                  </a:lnTo>
                  <a:lnTo>
                    <a:pt x="2249539" y="202260"/>
                  </a:lnTo>
                  <a:lnTo>
                    <a:pt x="2249539" y="200876"/>
                  </a:lnTo>
                  <a:lnTo>
                    <a:pt x="2249539" y="202260"/>
                  </a:lnTo>
                  <a:lnTo>
                    <a:pt x="2249590" y="202260"/>
                  </a:lnTo>
                  <a:lnTo>
                    <a:pt x="2249590" y="200876"/>
                  </a:lnTo>
                  <a:lnTo>
                    <a:pt x="2249590" y="202260"/>
                  </a:lnTo>
                  <a:lnTo>
                    <a:pt x="2249691" y="200876"/>
                  </a:lnTo>
                  <a:lnTo>
                    <a:pt x="2249691" y="200228"/>
                  </a:lnTo>
                  <a:lnTo>
                    <a:pt x="2249691" y="200876"/>
                  </a:lnTo>
                  <a:lnTo>
                    <a:pt x="2249691" y="200228"/>
                  </a:lnTo>
                  <a:lnTo>
                    <a:pt x="2249742" y="200228"/>
                  </a:lnTo>
                  <a:lnTo>
                    <a:pt x="2249742" y="197447"/>
                  </a:lnTo>
                  <a:lnTo>
                    <a:pt x="2249793" y="197447"/>
                  </a:lnTo>
                  <a:lnTo>
                    <a:pt x="2249793" y="196799"/>
                  </a:lnTo>
                  <a:lnTo>
                    <a:pt x="2249793" y="197447"/>
                  </a:lnTo>
                  <a:lnTo>
                    <a:pt x="2249793" y="195415"/>
                  </a:lnTo>
                  <a:lnTo>
                    <a:pt x="2249894" y="195415"/>
                  </a:lnTo>
                  <a:lnTo>
                    <a:pt x="2249894" y="191986"/>
                  </a:lnTo>
                  <a:lnTo>
                    <a:pt x="2249894" y="195415"/>
                  </a:lnTo>
                  <a:lnTo>
                    <a:pt x="2249945" y="194716"/>
                  </a:lnTo>
                  <a:lnTo>
                    <a:pt x="2249945" y="192684"/>
                  </a:lnTo>
                  <a:lnTo>
                    <a:pt x="2249945" y="196799"/>
                  </a:lnTo>
                  <a:lnTo>
                    <a:pt x="2249945" y="196113"/>
                  </a:lnTo>
                  <a:lnTo>
                    <a:pt x="2249996" y="196113"/>
                  </a:lnTo>
                  <a:lnTo>
                    <a:pt x="2249996" y="196799"/>
                  </a:lnTo>
                  <a:lnTo>
                    <a:pt x="2249996" y="195415"/>
                  </a:lnTo>
                  <a:lnTo>
                    <a:pt x="2249996" y="197447"/>
                  </a:lnTo>
                  <a:lnTo>
                    <a:pt x="2249996" y="196799"/>
                  </a:lnTo>
                  <a:lnTo>
                    <a:pt x="2250034" y="196799"/>
                  </a:lnTo>
                  <a:lnTo>
                    <a:pt x="2250034" y="199530"/>
                  </a:lnTo>
                  <a:lnTo>
                    <a:pt x="2250034" y="198831"/>
                  </a:lnTo>
                  <a:lnTo>
                    <a:pt x="2250136" y="199530"/>
                  </a:lnTo>
                  <a:lnTo>
                    <a:pt x="2250136" y="200228"/>
                  </a:lnTo>
                  <a:lnTo>
                    <a:pt x="2250136" y="199530"/>
                  </a:lnTo>
                  <a:lnTo>
                    <a:pt x="2250136" y="200228"/>
                  </a:lnTo>
                  <a:lnTo>
                    <a:pt x="2250187" y="200228"/>
                  </a:lnTo>
                  <a:lnTo>
                    <a:pt x="2250187" y="200876"/>
                  </a:lnTo>
                  <a:lnTo>
                    <a:pt x="2250187" y="200228"/>
                  </a:lnTo>
                  <a:lnTo>
                    <a:pt x="2250187" y="200876"/>
                  </a:lnTo>
                  <a:lnTo>
                    <a:pt x="2250187" y="200228"/>
                  </a:lnTo>
                  <a:lnTo>
                    <a:pt x="2250187" y="200876"/>
                  </a:lnTo>
                  <a:lnTo>
                    <a:pt x="2250187" y="200228"/>
                  </a:lnTo>
                  <a:lnTo>
                    <a:pt x="2250187" y="200876"/>
                  </a:lnTo>
                  <a:lnTo>
                    <a:pt x="2250237" y="200876"/>
                  </a:lnTo>
                  <a:lnTo>
                    <a:pt x="2250237" y="200228"/>
                  </a:lnTo>
                  <a:lnTo>
                    <a:pt x="2250237" y="200876"/>
                  </a:lnTo>
                  <a:lnTo>
                    <a:pt x="2250237" y="200228"/>
                  </a:lnTo>
                  <a:lnTo>
                    <a:pt x="2250237" y="200876"/>
                  </a:lnTo>
                  <a:lnTo>
                    <a:pt x="2250237" y="200228"/>
                  </a:lnTo>
                  <a:lnTo>
                    <a:pt x="2250237" y="200876"/>
                  </a:lnTo>
                  <a:lnTo>
                    <a:pt x="2250237" y="199530"/>
                  </a:lnTo>
                  <a:lnTo>
                    <a:pt x="2250339" y="199530"/>
                  </a:lnTo>
                  <a:lnTo>
                    <a:pt x="2250339" y="198831"/>
                  </a:lnTo>
                  <a:lnTo>
                    <a:pt x="2250339" y="199530"/>
                  </a:lnTo>
                  <a:lnTo>
                    <a:pt x="2250339" y="198831"/>
                  </a:lnTo>
                  <a:lnTo>
                    <a:pt x="2250339" y="199530"/>
                  </a:lnTo>
                  <a:lnTo>
                    <a:pt x="2250339" y="197447"/>
                  </a:lnTo>
                  <a:lnTo>
                    <a:pt x="2250339" y="198831"/>
                  </a:lnTo>
                  <a:lnTo>
                    <a:pt x="2250339" y="197447"/>
                  </a:lnTo>
                  <a:lnTo>
                    <a:pt x="2250390" y="197447"/>
                  </a:lnTo>
                  <a:lnTo>
                    <a:pt x="2250390" y="193383"/>
                  </a:lnTo>
                  <a:lnTo>
                    <a:pt x="2250440" y="192684"/>
                  </a:lnTo>
                  <a:lnTo>
                    <a:pt x="2250440" y="188620"/>
                  </a:lnTo>
                  <a:lnTo>
                    <a:pt x="2250491" y="189268"/>
                  </a:lnTo>
                  <a:lnTo>
                    <a:pt x="2250491" y="189954"/>
                  </a:lnTo>
                  <a:lnTo>
                    <a:pt x="2250491" y="189268"/>
                  </a:lnTo>
                  <a:lnTo>
                    <a:pt x="2250491" y="191351"/>
                  </a:lnTo>
                  <a:lnTo>
                    <a:pt x="2250580" y="191351"/>
                  </a:lnTo>
                  <a:lnTo>
                    <a:pt x="2250580" y="193383"/>
                  </a:lnTo>
                  <a:lnTo>
                    <a:pt x="2250631" y="193383"/>
                  </a:lnTo>
                  <a:lnTo>
                    <a:pt x="2250631" y="195415"/>
                  </a:lnTo>
                  <a:lnTo>
                    <a:pt x="2250631" y="194716"/>
                  </a:lnTo>
                  <a:lnTo>
                    <a:pt x="2250631" y="196113"/>
                  </a:lnTo>
                  <a:lnTo>
                    <a:pt x="2250682" y="196113"/>
                  </a:lnTo>
                  <a:lnTo>
                    <a:pt x="2250682" y="198831"/>
                  </a:lnTo>
                  <a:lnTo>
                    <a:pt x="2250682" y="197447"/>
                  </a:lnTo>
                  <a:lnTo>
                    <a:pt x="2250682" y="199530"/>
                  </a:lnTo>
                  <a:lnTo>
                    <a:pt x="2250733" y="199530"/>
                  </a:lnTo>
                  <a:lnTo>
                    <a:pt x="2250733" y="200228"/>
                  </a:lnTo>
                  <a:lnTo>
                    <a:pt x="2250733" y="199530"/>
                  </a:lnTo>
                  <a:lnTo>
                    <a:pt x="2250733" y="200228"/>
                  </a:lnTo>
                  <a:lnTo>
                    <a:pt x="2250834" y="200228"/>
                  </a:lnTo>
                  <a:lnTo>
                    <a:pt x="2250834" y="199530"/>
                  </a:lnTo>
                  <a:lnTo>
                    <a:pt x="2250834" y="200228"/>
                  </a:lnTo>
                  <a:lnTo>
                    <a:pt x="2250834" y="199530"/>
                  </a:lnTo>
                  <a:lnTo>
                    <a:pt x="2250885" y="199530"/>
                  </a:lnTo>
                  <a:lnTo>
                    <a:pt x="2250885" y="196799"/>
                  </a:lnTo>
                  <a:lnTo>
                    <a:pt x="2250936" y="196799"/>
                  </a:lnTo>
                  <a:lnTo>
                    <a:pt x="2250936" y="193383"/>
                  </a:lnTo>
                  <a:lnTo>
                    <a:pt x="2251037" y="193383"/>
                  </a:lnTo>
                  <a:lnTo>
                    <a:pt x="2251037" y="194716"/>
                  </a:lnTo>
                  <a:lnTo>
                    <a:pt x="2251037" y="192684"/>
                  </a:lnTo>
                  <a:lnTo>
                    <a:pt x="2251037" y="193383"/>
                  </a:lnTo>
                  <a:lnTo>
                    <a:pt x="2251075" y="193383"/>
                  </a:lnTo>
                  <a:lnTo>
                    <a:pt x="2251075" y="194716"/>
                  </a:lnTo>
                  <a:lnTo>
                    <a:pt x="2251075" y="192684"/>
                  </a:lnTo>
                  <a:lnTo>
                    <a:pt x="2251075" y="194716"/>
                  </a:lnTo>
                  <a:lnTo>
                    <a:pt x="2251126" y="195415"/>
                  </a:lnTo>
                  <a:lnTo>
                    <a:pt x="2251126" y="194716"/>
                  </a:lnTo>
                  <a:lnTo>
                    <a:pt x="2251126" y="195415"/>
                  </a:lnTo>
                  <a:lnTo>
                    <a:pt x="2251177" y="195415"/>
                  </a:lnTo>
                  <a:lnTo>
                    <a:pt x="2251177" y="197447"/>
                  </a:lnTo>
                  <a:lnTo>
                    <a:pt x="2251279" y="197447"/>
                  </a:lnTo>
                  <a:lnTo>
                    <a:pt x="2251279" y="199530"/>
                  </a:lnTo>
                  <a:lnTo>
                    <a:pt x="2251330" y="199530"/>
                  </a:lnTo>
                  <a:lnTo>
                    <a:pt x="2251330" y="200876"/>
                  </a:lnTo>
                  <a:lnTo>
                    <a:pt x="2251330" y="200228"/>
                  </a:lnTo>
                  <a:lnTo>
                    <a:pt x="2251380" y="200228"/>
                  </a:lnTo>
                  <a:lnTo>
                    <a:pt x="2251380" y="200876"/>
                  </a:lnTo>
                  <a:lnTo>
                    <a:pt x="2251380" y="198831"/>
                  </a:lnTo>
                  <a:lnTo>
                    <a:pt x="2251380" y="199530"/>
                  </a:lnTo>
                  <a:lnTo>
                    <a:pt x="2251482" y="199530"/>
                  </a:lnTo>
                  <a:lnTo>
                    <a:pt x="2251482" y="196799"/>
                  </a:lnTo>
                  <a:lnTo>
                    <a:pt x="2251482" y="197447"/>
                  </a:lnTo>
                  <a:lnTo>
                    <a:pt x="2251533" y="197447"/>
                  </a:lnTo>
                  <a:lnTo>
                    <a:pt x="2251533" y="195415"/>
                  </a:lnTo>
                  <a:lnTo>
                    <a:pt x="2251533" y="197447"/>
                  </a:lnTo>
                  <a:lnTo>
                    <a:pt x="2251584" y="197447"/>
                  </a:lnTo>
                  <a:lnTo>
                    <a:pt x="2251584" y="196113"/>
                  </a:lnTo>
                  <a:lnTo>
                    <a:pt x="2251584" y="196799"/>
                  </a:lnTo>
                  <a:lnTo>
                    <a:pt x="2251622" y="196799"/>
                  </a:lnTo>
                  <a:lnTo>
                    <a:pt x="2251622" y="195415"/>
                  </a:lnTo>
                  <a:lnTo>
                    <a:pt x="2251622" y="196799"/>
                  </a:lnTo>
                  <a:lnTo>
                    <a:pt x="2251622" y="196113"/>
                  </a:lnTo>
                  <a:lnTo>
                    <a:pt x="2251622" y="196799"/>
                  </a:lnTo>
                  <a:lnTo>
                    <a:pt x="2251723" y="196113"/>
                  </a:lnTo>
                  <a:lnTo>
                    <a:pt x="2251723" y="197447"/>
                  </a:lnTo>
                  <a:lnTo>
                    <a:pt x="2251723" y="196799"/>
                  </a:lnTo>
                  <a:lnTo>
                    <a:pt x="2251774" y="196799"/>
                  </a:lnTo>
                  <a:lnTo>
                    <a:pt x="2251774" y="197447"/>
                  </a:lnTo>
                  <a:lnTo>
                    <a:pt x="2251774" y="196799"/>
                  </a:lnTo>
                  <a:lnTo>
                    <a:pt x="2251774" y="198831"/>
                  </a:lnTo>
                  <a:lnTo>
                    <a:pt x="2251825" y="198831"/>
                  </a:lnTo>
                  <a:lnTo>
                    <a:pt x="2251825" y="199530"/>
                  </a:lnTo>
                  <a:lnTo>
                    <a:pt x="2251825" y="198831"/>
                  </a:lnTo>
                  <a:lnTo>
                    <a:pt x="2251825" y="199530"/>
                  </a:lnTo>
                  <a:lnTo>
                    <a:pt x="2251825" y="198831"/>
                  </a:lnTo>
                  <a:lnTo>
                    <a:pt x="2251825" y="200228"/>
                  </a:lnTo>
                  <a:lnTo>
                    <a:pt x="2251926" y="200228"/>
                  </a:lnTo>
                  <a:lnTo>
                    <a:pt x="2251926" y="198831"/>
                  </a:lnTo>
                  <a:lnTo>
                    <a:pt x="2251926" y="199530"/>
                  </a:lnTo>
                  <a:lnTo>
                    <a:pt x="2251926" y="198831"/>
                  </a:lnTo>
                  <a:lnTo>
                    <a:pt x="2251977" y="198831"/>
                  </a:lnTo>
                  <a:lnTo>
                    <a:pt x="2251977" y="199530"/>
                  </a:lnTo>
                  <a:lnTo>
                    <a:pt x="2252028" y="199530"/>
                  </a:lnTo>
                  <a:lnTo>
                    <a:pt x="2252028" y="198831"/>
                  </a:lnTo>
                  <a:lnTo>
                    <a:pt x="2252028" y="200876"/>
                  </a:lnTo>
                  <a:lnTo>
                    <a:pt x="2252028" y="200228"/>
                  </a:lnTo>
                  <a:lnTo>
                    <a:pt x="2252079" y="199530"/>
                  </a:lnTo>
                  <a:lnTo>
                    <a:pt x="2252079" y="198831"/>
                  </a:lnTo>
                  <a:lnTo>
                    <a:pt x="2252079" y="200228"/>
                  </a:lnTo>
                  <a:lnTo>
                    <a:pt x="2252168" y="200228"/>
                  </a:lnTo>
                  <a:lnTo>
                    <a:pt x="2252168" y="199530"/>
                  </a:lnTo>
                  <a:lnTo>
                    <a:pt x="2252168" y="200228"/>
                  </a:lnTo>
                  <a:lnTo>
                    <a:pt x="2252168" y="199530"/>
                  </a:lnTo>
                  <a:lnTo>
                    <a:pt x="2252219" y="198831"/>
                  </a:lnTo>
                  <a:lnTo>
                    <a:pt x="2252219" y="199530"/>
                  </a:lnTo>
                  <a:lnTo>
                    <a:pt x="2252219" y="198831"/>
                  </a:lnTo>
                  <a:lnTo>
                    <a:pt x="2252269" y="198831"/>
                  </a:lnTo>
                  <a:lnTo>
                    <a:pt x="2252269" y="200228"/>
                  </a:lnTo>
                  <a:lnTo>
                    <a:pt x="2252269" y="199530"/>
                  </a:lnTo>
                  <a:lnTo>
                    <a:pt x="2252269" y="200228"/>
                  </a:lnTo>
                  <a:lnTo>
                    <a:pt x="2252269" y="199530"/>
                  </a:lnTo>
                  <a:lnTo>
                    <a:pt x="2252320" y="199530"/>
                  </a:lnTo>
                  <a:lnTo>
                    <a:pt x="2252320" y="200876"/>
                  </a:lnTo>
                  <a:lnTo>
                    <a:pt x="2252422" y="202260"/>
                  </a:lnTo>
                  <a:lnTo>
                    <a:pt x="2252422" y="202959"/>
                  </a:lnTo>
                  <a:lnTo>
                    <a:pt x="2252422" y="202260"/>
                  </a:lnTo>
                  <a:lnTo>
                    <a:pt x="2252422" y="202959"/>
                  </a:lnTo>
                  <a:lnTo>
                    <a:pt x="2252422" y="202260"/>
                  </a:lnTo>
                  <a:lnTo>
                    <a:pt x="2252422" y="204292"/>
                  </a:lnTo>
                  <a:lnTo>
                    <a:pt x="2252472" y="204292"/>
                  </a:lnTo>
                  <a:lnTo>
                    <a:pt x="2252472" y="204990"/>
                  </a:lnTo>
                  <a:lnTo>
                    <a:pt x="2252472" y="204292"/>
                  </a:lnTo>
                  <a:lnTo>
                    <a:pt x="2252472" y="206324"/>
                  </a:lnTo>
                  <a:lnTo>
                    <a:pt x="2252523" y="206324"/>
                  </a:lnTo>
                  <a:lnTo>
                    <a:pt x="2252523" y="204990"/>
                  </a:lnTo>
                  <a:lnTo>
                    <a:pt x="2252523" y="206324"/>
                  </a:lnTo>
                  <a:lnTo>
                    <a:pt x="2252523" y="204990"/>
                  </a:lnTo>
                  <a:lnTo>
                    <a:pt x="2252523" y="206324"/>
                  </a:lnTo>
                  <a:lnTo>
                    <a:pt x="2252523" y="204990"/>
                  </a:lnTo>
                  <a:lnTo>
                    <a:pt x="2252523" y="206324"/>
                  </a:lnTo>
                  <a:lnTo>
                    <a:pt x="2252625" y="206324"/>
                  </a:lnTo>
                  <a:lnTo>
                    <a:pt x="2252625" y="204292"/>
                  </a:lnTo>
                  <a:lnTo>
                    <a:pt x="2252625" y="204990"/>
                  </a:lnTo>
                  <a:lnTo>
                    <a:pt x="2252663" y="204990"/>
                  </a:lnTo>
                  <a:lnTo>
                    <a:pt x="2252663" y="203594"/>
                  </a:lnTo>
                  <a:lnTo>
                    <a:pt x="2252714" y="203594"/>
                  </a:lnTo>
                  <a:lnTo>
                    <a:pt x="2252714" y="202959"/>
                  </a:lnTo>
                  <a:lnTo>
                    <a:pt x="2252714" y="203594"/>
                  </a:lnTo>
                  <a:lnTo>
                    <a:pt x="2252714" y="202260"/>
                  </a:lnTo>
                  <a:lnTo>
                    <a:pt x="2252765" y="200876"/>
                  </a:lnTo>
                  <a:lnTo>
                    <a:pt x="2252765" y="200228"/>
                  </a:lnTo>
                  <a:lnTo>
                    <a:pt x="2252765" y="200876"/>
                  </a:lnTo>
                  <a:lnTo>
                    <a:pt x="2252765" y="198831"/>
                  </a:lnTo>
                  <a:lnTo>
                    <a:pt x="2252866" y="198831"/>
                  </a:lnTo>
                  <a:lnTo>
                    <a:pt x="2252866" y="199530"/>
                  </a:lnTo>
                  <a:lnTo>
                    <a:pt x="2252866" y="197447"/>
                  </a:lnTo>
                  <a:lnTo>
                    <a:pt x="2252866" y="199530"/>
                  </a:lnTo>
                  <a:lnTo>
                    <a:pt x="2252917" y="199530"/>
                  </a:lnTo>
                  <a:lnTo>
                    <a:pt x="2252917" y="200228"/>
                  </a:lnTo>
                  <a:lnTo>
                    <a:pt x="2252917" y="199530"/>
                  </a:lnTo>
                  <a:lnTo>
                    <a:pt x="2252917" y="200228"/>
                  </a:lnTo>
                  <a:lnTo>
                    <a:pt x="2252917" y="198831"/>
                  </a:lnTo>
                  <a:lnTo>
                    <a:pt x="2252917" y="202260"/>
                  </a:lnTo>
                  <a:lnTo>
                    <a:pt x="2252968" y="200876"/>
                  </a:lnTo>
                  <a:lnTo>
                    <a:pt x="2252968" y="200228"/>
                  </a:lnTo>
                  <a:lnTo>
                    <a:pt x="2252968" y="202959"/>
                  </a:lnTo>
                  <a:lnTo>
                    <a:pt x="2253069" y="202959"/>
                  </a:lnTo>
                  <a:lnTo>
                    <a:pt x="2253069" y="203594"/>
                  </a:lnTo>
                  <a:lnTo>
                    <a:pt x="2253120" y="203594"/>
                  </a:lnTo>
                  <a:lnTo>
                    <a:pt x="2253120" y="206324"/>
                  </a:lnTo>
                  <a:lnTo>
                    <a:pt x="2253120" y="204292"/>
                  </a:lnTo>
                  <a:lnTo>
                    <a:pt x="2253171" y="204292"/>
                  </a:lnTo>
                  <a:lnTo>
                    <a:pt x="2253171" y="204990"/>
                  </a:lnTo>
                  <a:lnTo>
                    <a:pt x="2253171" y="204292"/>
                  </a:lnTo>
                  <a:lnTo>
                    <a:pt x="2253209" y="204292"/>
                  </a:lnTo>
                  <a:lnTo>
                    <a:pt x="2253209" y="203594"/>
                  </a:lnTo>
                  <a:lnTo>
                    <a:pt x="2253209" y="204292"/>
                  </a:lnTo>
                  <a:lnTo>
                    <a:pt x="2253209" y="202959"/>
                  </a:lnTo>
                  <a:lnTo>
                    <a:pt x="2253209" y="203594"/>
                  </a:lnTo>
                  <a:lnTo>
                    <a:pt x="2253311" y="203594"/>
                  </a:lnTo>
                  <a:lnTo>
                    <a:pt x="2253311" y="204292"/>
                  </a:lnTo>
                  <a:lnTo>
                    <a:pt x="2253311" y="202959"/>
                  </a:lnTo>
                  <a:lnTo>
                    <a:pt x="2253311" y="204292"/>
                  </a:lnTo>
                  <a:lnTo>
                    <a:pt x="2253362" y="204292"/>
                  </a:lnTo>
                  <a:lnTo>
                    <a:pt x="2253362" y="206324"/>
                  </a:lnTo>
                  <a:lnTo>
                    <a:pt x="2253362" y="204292"/>
                  </a:lnTo>
                  <a:lnTo>
                    <a:pt x="2253362" y="204990"/>
                  </a:lnTo>
                  <a:lnTo>
                    <a:pt x="2253362" y="204292"/>
                  </a:lnTo>
                  <a:lnTo>
                    <a:pt x="2253362" y="204990"/>
                  </a:lnTo>
                  <a:lnTo>
                    <a:pt x="2253362" y="204292"/>
                  </a:lnTo>
                  <a:lnTo>
                    <a:pt x="2253362" y="204990"/>
                  </a:lnTo>
                  <a:lnTo>
                    <a:pt x="2253412" y="204990"/>
                  </a:lnTo>
                  <a:lnTo>
                    <a:pt x="2253412" y="206324"/>
                  </a:lnTo>
                  <a:lnTo>
                    <a:pt x="2253412" y="204292"/>
                  </a:lnTo>
                  <a:lnTo>
                    <a:pt x="2253412" y="204990"/>
                  </a:lnTo>
                  <a:lnTo>
                    <a:pt x="2253412" y="204292"/>
                  </a:lnTo>
                  <a:lnTo>
                    <a:pt x="2253412" y="204990"/>
                  </a:lnTo>
                  <a:lnTo>
                    <a:pt x="2253412" y="204292"/>
                  </a:lnTo>
                  <a:lnTo>
                    <a:pt x="2253412" y="204990"/>
                  </a:lnTo>
                  <a:lnTo>
                    <a:pt x="2253412" y="204292"/>
                  </a:lnTo>
                  <a:lnTo>
                    <a:pt x="2253514" y="204292"/>
                  </a:lnTo>
                  <a:lnTo>
                    <a:pt x="2253514" y="204990"/>
                  </a:lnTo>
                  <a:lnTo>
                    <a:pt x="2253514" y="203594"/>
                  </a:lnTo>
                  <a:lnTo>
                    <a:pt x="2253514" y="204292"/>
                  </a:lnTo>
                  <a:lnTo>
                    <a:pt x="2253565" y="204292"/>
                  </a:lnTo>
                  <a:lnTo>
                    <a:pt x="2253565" y="204990"/>
                  </a:lnTo>
                  <a:lnTo>
                    <a:pt x="2253565" y="203594"/>
                  </a:lnTo>
                  <a:lnTo>
                    <a:pt x="2253565" y="204292"/>
                  </a:lnTo>
                  <a:lnTo>
                    <a:pt x="2253615" y="204292"/>
                  </a:lnTo>
                  <a:lnTo>
                    <a:pt x="2253615" y="203594"/>
                  </a:lnTo>
                  <a:lnTo>
                    <a:pt x="2253615" y="204292"/>
                  </a:lnTo>
                  <a:lnTo>
                    <a:pt x="2253615" y="203594"/>
                  </a:lnTo>
                  <a:lnTo>
                    <a:pt x="2253615" y="204292"/>
                  </a:lnTo>
                  <a:lnTo>
                    <a:pt x="2253666" y="204292"/>
                  </a:lnTo>
                  <a:lnTo>
                    <a:pt x="2253666" y="202959"/>
                  </a:lnTo>
                  <a:lnTo>
                    <a:pt x="2253666" y="203594"/>
                  </a:lnTo>
                  <a:lnTo>
                    <a:pt x="2253666" y="202959"/>
                  </a:lnTo>
                  <a:lnTo>
                    <a:pt x="2253666" y="203594"/>
                  </a:lnTo>
                  <a:lnTo>
                    <a:pt x="2253666" y="202959"/>
                  </a:lnTo>
                  <a:lnTo>
                    <a:pt x="2253755" y="202260"/>
                  </a:lnTo>
                  <a:lnTo>
                    <a:pt x="2253755" y="200876"/>
                  </a:lnTo>
                  <a:lnTo>
                    <a:pt x="2253755" y="202260"/>
                  </a:lnTo>
                  <a:lnTo>
                    <a:pt x="2253755" y="200228"/>
                  </a:lnTo>
                  <a:lnTo>
                    <a:pt x="2253755" y="200876"/>
                  </a:lnTo>
                  <a:lnTo>
                    <a:pt x="2253755" y="200228"/>
                  </a:lnTo>
                  <a:lnTo>
                    <a:pt x="2253755" y="200876"/>
                  </a:lnTo>
                  <a:lnTo>
                    <a:pt x="2253755" y="200228"/>
                  </a:lnTo>
                  <a:lnTo>
                    <a:pt x="2253755" y="200876"/>
                  </a:lnTo>
                  <a:lnTo>
                    <a:pt x="2253806" y="200228"/>
                  </a:lnTo>
                  <a:lnTo>
                    <a:pt x="2253806" y="202260"/>
                  </a:lnTo>
                  <a:lnTo>
                    <a:pt x="2253806" y="200876"/>
                  </a:lnTo>
                  <a:lnTo>
                    <a:pt x="2253806" y="202260"/>
                  </a:lnTo>
                  <a:lnTo>
                    <a:pt x="2253857" y="202260"/>
                  </a:lnTo>
                  <a:lnTo>
                    <a:pt x="2253857" y="204292"/>
                  </a:lnTo>
                  <a:lnTo>
                    <a:pt x="2253857" y="202260"/>
                  </a:lnTo>
                  <a:lnTo>
                    <a:pt x="2253857" y="202959"/>
                  </a:lnTo>
                  <a:lnTo>
                    <a:pt x="2253908" y="202959"/>
                  </a:lnTo>
                  <a:lnTo>
                    <a:pt x="2253908" y="203594"/>
                  </a:lnTo>
                  <a:lnTo>
                    <a:pt x="2253908" y="202959"/>
                  </a:lnTo>
                  <a:lnTo>
                    <a:pt x="2253908" y="203594"/>
                  </a:lnTo>
                  <a:lnTo>
                    <a:pt x="2253908" y="202959"/>
                  </a:lnTo>
                  <a:lnTo>
                    <a:pt x="2253908" y="203594"/>
                  </a:lnTo>
                  <a:lnTo>
                    <a:pt x="2254060" y="203594"/>
                  </a:lnTo>
                  <a:lnTo>
                    <a:pt x="2254060" y="204292"/>
                  </a:lnTo>
                  <a:lnTo>
                    <a:pt x="2254111" y="204292"/>
                  </a:lnTo>
                  <a:lnTo>
                    <a:pt x="2254111" y="203594"/>
                  </a:lnTo>
                  <a:lnTo>
                    <a:pt x="2254111" y="204292"/>
                  </a:lnTo>
                  <a:lnTo>
                    <a:pt x="2254111" y="203594"/>
                  </a:lnTo>
                  <a:lnTo>
                    <a:pt x="2254212" y="202959"/>
                  </a:lnTo>
                  <a:lnTo>
                    <a:pt x="2254212" y="203594"/>
                  </a:lnTo>
                  <a:lnTo>
                    <a:pt x="2254212" y="202959"/>
                  </a:lnTo>
                  <a:lnTo>
                    <a:pt x="2254212" y="203594"/>
                  </a:lnTo>
                  <a:lnTo>
                    <a:pt x="2254212" y="200876"/>
                  </a:lnTo>
                  <a:lnTo>
                    <a:pt x="2254212" y="202260"/>
                  </a:lnTo>
                  <a:lnTo>
                    <a:pt x="2254212" y="200876"/>
                  </a:lnTo>
                  <a:lnTo>
                    <a:pt x="2254250" y="200876"/>
                  </a:lnTo>
                  <a:lnTo>
                    <a:pt x="2254250" y="198831"/>
                  </a:lnTo>
                  <a:lnTo>
                    <a:pt x="2254301" y="198831"/>
                  </a:lnTo>
                  <a:lnTo>
                    <a:pt x="2254301" y="199530"/>
                  </a:lnTo>
                  <a:lnTo>
                    <a:pt x="2254301" y="198831"/>
                  </a:lnTo>
                  <a:lnTo>
                    <a:pt x="2254301" y="199530"/>
                  </a:lnTo>
                  <a:lnTo>
                    <a:pt x="2254301" y="198831"/>
                  </a:lnTo>
                  <a:lnTo>
                    <a:pt x="2254301" y="199530"/>
                  </a:lnTo>
                  <a:lnTo>
                    <a:pt x="2254352" y="199530"/>
                  </a:lnTo>
                  <a:lnTo>
                    <a:pt x="2254352" y="200876"/>
                  </a:lnTo>
                  <a:lnTo>
                    <a:pt x="2254352" y="200228"/>
                  </a:lnTo>
                  <a:lnTo>
                    <a:pt x="2254454" y="200228"/>
                  </a:lnTo>
                  <a:lnTo>
                    <a:pt x="2254454" y="200876"/>
                  </a:lnTo>
                  <a:lnTo>
                    <a:pt x="2254454" y="200228"/>
                  </a:lnTo>
                  <a:lnTo>
                    <a:pt x="2254454" y="200876"/>
                  </a:lnTo>
                  <a:lnTo>
                    <a:pt x="2254505" y="200876"/>
                  </a:lnTo>
                  <a:lnTo>
                    <a:pt x="2254505" y="202260"/>
                  </a:lnTo>
                  <a:lnTo>
                    <a:pt x="2254505" y="200876"/>
                  </a:lnTo>
                  <a:lnTo>
                    <a:pt x="2254505" y="202260"/>
                  </a:lnTo>
                  <a:lnTo>
                    <a:pt x="2254505" y="200876"/>
                  </a:lnTo>
                  <a:lnTo>
                    <a:pt x="2254505" y="202260"/>
                  </a:lnTo>
                  <a:lnTo>
                    <a:pt x="2254555" y="202260"/>
                  </a:lnTo>
                  <a:lnTo>
                    <a:pt x="2254555" y="202959"/>
                  </a:lnTo>
                  <a:lnTo>
                    <a:pt x="2254555" y="202260"/>
                  </a:lnTo>
                  <a:lnTo>
                    <a:pt x="2254555" y="202959"/>
                  </a:lnTo>
                  <a:lnTo>
                    <a:pt x="2254657" y="202959"/>
                  </a:lnTo>
                  <a:lnTo>
                    <a:pt x="2254657" y="202260"/>
                  </a:lnTo>
                  <a:lnTo>
                    <a:pt x="2254657" y="202959"/>
                  </a:lnTo>
                  <a:lnTo>
                    <a:pt x="2254657" y="202260"/>
                  </a:lnTo>
                  <a:lnTo>
                    <a:pt x="2254657" y="202959"/>
                  </a:lnTo>
                  <a:lnTo>
                    <a:pt x="2254657" y="202260"/>
                  </a:lnTo>
                  <a:lnTo>
                    <a:pt x="2254657" y="202959"/>
                  </a:lnTo>
                  <a:lnTo>
                    <a:pt x="2254657" y="202260"/>
                  </a:lnTo>
                  <a:lnTo>
                    <a:pt x="2254708" y="202260"/>
                  </a:lnTo>
                  <a:lnTo>
                    <a:pt x="2254708" y="200876"/>
                  </a:lnTo>
                  <a:lnTo>
                    <a:pt x="2254708" y="202260"/>
                  </a:lnTo>
                  <a:lnTo>
                    <a:pt x="2254708" y="200228"/>
                  </a:lnTo>
                  <a:lnTo>
                    <a:pt x="2254708" y="200876"/>
                  </a:lnTo>
                  <a:lnTo>
                    <a:pt x="2254759" y="200228"/>
                  </a:lnTo>
                  <a:lnTo>
                    <a:pt x="2254759" y="198831"/>
                  </a:lnTo>
                  <a:lnTo>
                    <a:pt x="2254759" y="199530"/>
                  </a:lnTo>
                  <a:lnTo>
                    <a:pt x="2254797" y="199530"/>
                  </a:lnTo>
                  <a:lnTo>
                    <a:pt x="2254797" y="200228"/>
                  </a:lnTo>
                  <a:lnTo>
                    <a:pt x="2254898" y="200876"/>
                  </a:lnTo>
                  <a:lnTo>
                    <a:pt x="2254898" y="200228"/>
                  </a:lnTo>
                  <a:lnTo>
                    <a:pt x="2254898" y="202260"/>
                  </a:lnTo>
                  <a:lnTo>
                    <a:pt x="2254898" y="200876"/>
                  </a:lnTo>
                  <a:lnTo>
                    <a:pt x="2254949" y="200876"/>
                  </a:lnTo>
                  <a:lnTo>
                    <a:pt x="2254949" y="200228"/>
                  </a:lnTo>
                  <a:lnTo>
                    <a:pt x="2254949" y="200876"/>
                  </a:lnTo>
                  <a:lnTo>
                    <a:pt x="2255000" y="200876"/>
                  </a:lnTo>
                  <a:lnTo>
                    <a:pt x="2255000" y="202260"/>
                  </a:lnTo>
                  <a:lnTo>
                    <a:pt x="2255000" y="200876"/>
                  </a:lnTo>
                  <a:lnTo>
                    <a:pt x="2255000" y="202260"/>
                  </a:lnTo>
                  <a:lnTo>
                    <a:pt x="2255000" y="200876"/>
                  </a:lnTo>
                  <a:lnTo>
                    <a:pt x="2255000" y="202260"/>
                  </a:lnTo>
                  <a:lnTo>
                    <a:pt x="2255101" y="202260"/>
                  </a:lnTo>
                  <a:lnTo>
                    <a:pt x="2255101" y="200876"/>
                  </a:lnTo>
                  <a:lnTo>
                    <a:pt x="2255101" y="202959"/>
                  </a:lnTo>
                  <a:lnTo>
                    <a:pt x="2255101" y="202260"/>
                  </a:lnTo>
                  <a:lnTo>
                    <a:pt x="2255152" y="202260"/>
                  </a:lnTo>
                  <a:lnTo>
                    <a:pt x="2255152" y="202959"/>
                  </a:lnTo>
                  <a:lnTo>
                    <a:pt x="2255152" y="202260"/>
                  </a:lnTo>
                  <a:lnTo>
                    <a:pt x="2255203" y="202260"/>
                  </a:lnTo>
                  <a:lnTo>
                    <a:pt x="2255203" y="200228"/>
                  </a:lnTo>
                  <a:lnTo>
                    <a:pt x="2255203" y="200876"/>
                  </a:lnTo>
                  <a:lnTo>
                    <a:pt x="2255203" y="200228"/>
                  </a:lnTo>
                  <a:lnTo>
                    <a:pt x="2255203" y="200876"/>
                  </a:lnTo>
                  <a:lnTo>
                    <a:pt x="2255203" y="200228"/>
                  </a:lnTo>
                  <a:lnTo>
                    <a:pt x="2255203" y="200876"/>
                  </a:lnTo>
                  <a:lnTo>
                    <a:pt x="2255203" y="200228"/>
                  </a:lnTo>
                  <a:lnTo>
                    <a:pt x="2255254" y="200228"/>
                  </a:lnTo>
                  <a:lnTo>
                    <a:pt x="2255254" y="197447"/>
                  </a:lnTo>
                  <a:lnTo>
                    <a:pt x="2255254" y="198831"/>
                  </a:lnTo>
                  <a:lnTo>
                    <a:pt x="2255343" y="198831"/>
                  </a:lnTo>
                  <a:lnTo>
                    <a:pt x="2255343" y="200228"/>
                  </a:lnTo>
                  <a:lnTo>
                    <a:pt x="2255343" y="197447"/>
                  </a:lnTo>
                  <a:lnTo>
                    <a:pt x="2255343" y="200228"/>
                  </a:lnTo>
                  <a:lnTo>
                    <a:pt x="2255394" y="200228"/>
                  </a:lnTo>
                  <a:lnTo>
                    <a:pt x="2255394" y="202260"/>
                  </a:lnTo>
                  <a:lnTo>
                    <a:pt x="2255394" y="199530"/>
                  </a:lnTo>
                  <a:lnTo>
                    <a:pt x="2255394" y="200876"/>
                  </a:lnTo>
                  <a:lnTo>
                    <a:pt x="2255444" y="200876"/>
                  </a:lnTo>
                  <a:lnTo>
                    <a:pt x="2255444" y="200228"/>
                  </a:lnTo>
                  <a:lnTo>
                    <a:pt x="2255444" y="200876"/>
                  </a:lnTo>
                  <a:lnTo>
                    <a:pt x="2255444" y="199530"/>
                  </a:lnTo>
                  <a:lnTo>
                    <a:pt x="2255444" y="200228"/>
                  </a:lnTo>
                  <a:lnTo>
                    <a:pt x="2255495" y="200228"/>
                  </a:lnTo>
                  <a:lnTo>
                    <a:pt x="2255495" y="200876"/>
                  </a:lnTo>
                  <a:lnTo>
                    <a:pt x="2255495" y="200228"/>
                  </a:lnTo>
                  <a:lnTo>
                    <a:pt x="2255495" y="200876"/>
                  </a:lnTo>
                  <a:lnTo>
                    <a:pt x="2255495" y="200228"/>
                  </a:lnTo>
                  <a:lnTo>
                    <a:pt x="2255495" y="200876"/>
                  </a:lnTo>
                  <a:lnTo>
                    <a:pt x="2255597" y="200876"/>
                  </a:lnTo>
                  <a:lnTo>
                    <a:pt x="2255597" y="200228"/>
                  </a:lnTo>
                  <a:lnTo>
                    <a:pt x="2255597" y="200876"/>
                  </a:lnTo>
                  <a:lnTo>
                    <a:pt x="2255597" y="200228"/>
                  </a:lnTo>
                  <a:lnTo>
                    <a:pt x="2255597" y="202260"/>
                  </a:lnTo>
                  <a:lnTo>
                    <a:pt x="2255597" y="200876"/>
                  </a:lnTo>
                  <a:lnTo>
                    <a:pt x="2255647" y="200876"/>
                  </a:lnTo>
                  <a:lnTo>
                    <a:pt x="2255647" y="202260"/>
                  </a:lnTo>
                  <a:lnTo>
                    <a:pt x="2255647" y="200876"/>
                  </a:lnTo>
                  <a:lnTo>
                    <a:pt x="2255647" y="202260"/>
                  </a:lnTo>
                  <a:lnTo>
                    <a:pt x="2255647" y="200876"/>
                  </a:lnTo>
                  <a:lnTo>
                    <a:pt x="2255647" y="202260"/>
                  </a:lnTo>
                  <a:lnTo>
                    <a:pt x="2255647" y="200228"/>
                  </a:lnTo>
                  <a:lnTo>
                    <a:pt x="2255698" y="200876"/>
                  </a:lnTo>
                  <a:lnTo>
                    <a:pt x="2255698" y="200228"/>
                  </a:lnTo>
                  <a:lnTo>
                    <a:pt x="2255698" y="200876"/>
                  </a:lnTo>
                  <a:lnTo>
                    <a:pt x="2255698" y="199530"/>
                  </a:lnTo>
                  <a:lnTo>
                    <a:pt x="2255698" y="200228"/>
                  </a:lnTo>
                  <a:lnTo>
                    <a:pt x="2255698" y="199530"/>
                  </a:lnTo>
                  <a:lnTo>
                    <a:pt x="2255698" y="200228"/>
                  </a:lnTo>
                  <a:lnTo>
                    <a:pt x="2255698" y="199530"/>
                  </a:lnTo>
                  <a:lnTo>
                    <a:pt x="2255698" y="200228"/>
                  </a:lnTo>
                  <a:lnTo>
                    <a:pt x="2255698" y="199530"/>
                  </a:lnTo>
                  <a:lnTo>
                    <a:pt x="2255800" y="199530"/>
                  </a:lnTo>
                  <a:lnTo>
                    <a:pt x="2255800" y="198831"/>
                  </a:lnTo>
                  <a:lnTo>
                    <a:pt x="2255800" y="199530"/>
                  </a:lnTo>
                  <a:lnTo>
                    <a:pt x="2255800" y="198831"/>
                  </a:lnTo>
                  <a:lnTo>
                    <a:pt x="2255800" y="200228"/>
                  </a:lnTo>
                  <a:lnTo>
                    <a:pt x="2255838" y="200228"/>
                  </a:lnTo>
                  <a:lnTo>
                    <a:pt x="2255838" y="197447"/>
                  </a:lnTo>
                  <a:lnTo>
                    <a:pt x="2255838" y="198831"/>
                  </a:lnTo>
                  <a:lnTo>
                    <a:pt x="2255838" y="197447"/>
                  </a:lnTo>
                  <a:lnTo>
                    <a:pt x="2255838" y="200876"/>
                  </a:lnTo>
                  <a:lnTo>
                    <a:pt x="2255889" y="200228"/>
                  </a:lnTo>
                  <a:lnTo>
                    <a:pt x="2255889" y="199530"/>
                  </a:lnTo>
                  <a:lnTo>
                    <a:pt x="2255889" y="200876"/>
                  </a:lnTo>
                  <a:lnTo>
                    <a:pt x="2255889" y="200228"/>
                  </a:lnTo>
                  <a:lnTo>
                    <a:pt x="2255940" y="200228"/>
                  </a:lnTo>
                  <a:lnTo>
                    <a:pt x="2255940" y="199530"/>
                  </a:lnTo>
                  <a:lnTo>
                    <a:pt x="2255940" y="200876"/>
                  </a:lnTo>
                  <a:lnTo>
                    <a:pt x="2255940" y="200228"/>
                  </a:lnTo>
                  <a:lnTo>
                    <a:pt x="2255940" y="200876"/>
                  </a:lnTo>
                  <a:lnTo>
                    <a:pt x="2256041" y="200876"/>
                  </a:lnTo>
                  <a:lnTo>
                    <a:pt x="2256041" y="200228"/>
                  </a:lnTo>
                  <a:lnTo>
                    <a:pt x="2256041" y="200876"/>
                  </a:lnTo>
                  <a:lnTo>
                    <a:pt x="2256041" y="200228"/>
                  </a:lnTo>
                  <a:lnTo>
                    <a:pt x="2256041" y="200876"/>
                  </a:lnTo>
                  <a:lnTo>
                    <a:pt x="2256092" y="200876"/>
                  </a:lnTo>
                  <a:lnTo>
                    <a:pt x="2256092" y="200228"/>
                  </a:lnTo>
                  <a:lnTo>
                    <a:pt x="2256092" y="202260"/>
                  </a:lnTo>
                  <a:lnTo>
                    <a:pt x="2256143" y="202260"/>
                  </a:lnTo>
                  <a:lnTo>
                    <a:pt x="2256143" y="200228"/>
                  </a:lnTo>
                  <a:lnTo>
                    <a:pt x="2256143" y="200876"/>
                  </a:lnTo>
                  <a:lnTo>
                    <a:pt x="2256143" y="200228"/>
                  </a:lnTo>
                  <a:lnTo>
                    <a:pt x="2256143" y="200876"/>
                  </a:lnTo>
                  <a:lnTo>
                    <a:pt x="2256143" y="200228"/>
                  </a:lnTo>
                  <a:lnTo>
                    <a:pt x="2256244" y="200228"/>
                  </a:lnTo>
                  <a:lnTo>
                    <a:pt x="2256244" y="198831"/>
                  </a:lnTo>
                  <a:lnTo>
                    <a:pt x="2256244" y="199530"/>
                  </a:lnTo>
                  <a:lnTo>
                    <a:pt x="2256244" y="198831"/>
                  </a:lnTo>
                  <a:lnTo>
                    <a:pt x="2256295" y="198831"/>
                  </a:lnTo>
                  <a:lnTo>
                    <a:pt x="2256295" y="199530"/>
                  </a:lnTo>
                  <a:lnTo>
                    <a:pt x="2256295" y="198831"/>
                  </a:lnTo>
                  <a:lnTo>
                    <a:pt x="2256346" y="199530"/>
                  </a:lnTo>
                  <a:lnTo>
                    <a:pt x="2256346" y="200876"/>
                  </a:lnTo>
                  <a:lnTo>
                    <a:pt x="2256346" y="200228"/>
                  </a:lnTo>
                  <a:lnTo>
                    <a:pt x="2256384" y="200876"/>
                  </a:lnTo>
                  <a:lnTo>
                    <a:pt x="2256384" y="200228"/>
                  </a:lnTo>
                  <a:lnTo>
                    <a:pt x="2256384" y="200876"/>
                  </a:lnTo>
                  <a:lnTo>
                    <a:pt x="2256384" y="200228"/>
                  </a:lnTo>
                  <a:lnTo>
                    <a:pt x="2256384" y="202260"/>
                  </a:lnTo>
                  <a:lnTo>
                    <a:pt x="2256384" y="200876"/>
                  </a:lnTo>
                  <a:lnTo>
                    <a:pt x="2256486" y="200876"/>
                  </a:lnTo>
                  <a:lnTo>
                    <a:pt x="2256486" y="200228"/>
                  </a:lnTo>
                  <a:lnTo>
                    <a:pt x="2256486" y="202260"/>
                  </a:lnTo>
                  <a:lnTo>
                    <a:pt x="2256486" y="200876"/>
                  </a:lnTo>
                  <a:lnTo>
                    <a:pt x="2256537" y="200876"/>
                  </a:lnTo>
                  <a:lnTo>
                    <a:pt x="2256537" y="202260"/>
                  </a:lnTo>
                  <a:lnTo>
                    <a:pt x="2256537" y="200876"/>
                  </a:lnTo>
                  <a:lnTo>
                    <a:pt x="2256537" y="202260"/>
                  </a:lnTo>
                  <a:lnTo>
                    <a:pt x="2256537" y="200876"/>
                  </a:lnTo>
                  <a:lnTo>
                    <a:pt x="2256587" y="200876"/>
                  </a:lnTo>
                  <a:lnTo>
                    <a:pt x="2256587" y="202260"/>
                  </a:lnTo>
                  <a:lnTo>
                    <a:pt x="2256587" y="200876"/>
                  </a:lnTo>
                  <a:lnTo>
                    <a:pt x="2256689" y="200876"/>
                  </a:lnTo>
                  <a:lnTo>
                    <a:pt x="2256689" y="200228"/>
                  </a:lnTo>
                  <a:lnTo>
                    <a:pt x="2256689" y="200876"/>
                  </a:lnTo>
                  <a:lnTo>
                    <a:pt x="2256689" y="199530"/>
                  </a:lnTo>
                  <a:lnTo>
                    <a:pt x="2256740" y="199530"/>
                  </a:lnTo>
                  <a:lnTo>
                    <a:pt x="2256740" y="200228"/>
                  </a:lnTo>
                  <a:lnTo>
                    <a:pt x="2256740" y="198831"/>
                  </a:lnTo>
                  <a:lnTo>
                    <a:pt x="2256790" y="198831"/>
                  </a:lnTo>
                  <a:lnTo>
                    <a:pt x="2256790" y="199530"/>
                  </a:lnTo>
                  <a:lnTo>
                    <a:pt x="2256790" y="198831"/>
                  </a:lnTo>
                  <a:lnTo>
                    <a:pt x="2256790" y="199530"/>
                  </a:lnTo>
                  <a:lnTo>
                    <a:pt x="2256790" y="198831"/>
                  </a:lnTo>
                  <a:lnTo>
                    <a:pt x="2256790" y="199530"/>
                  </a:lnTo>
                  <a:lnTo>
                    <a:pt x="2256841" y="199530"/>
                  </a:lnTo>
                  <a:lnTo>
                    <a:pt x="2256841" y="200876"/>
                  </a:lnTo>
                  <a:lnTo>
                    <a:pt x="2256841" y="200228"/>
                  </a:lnTo>
                  <a:lnTo>
                    <a:pt x="2256841" y="200876"/>
                  </a:lnTo>
                  <a:lnTo>
                    <a:pt x="2256930" y="200876"/>
                  </a:lnTo>
                  <a:lnTo>
                    <a:pt x="2256930" y="200228"/>
                  </a:lnTo>
                  <a:lnTo>
                    <a:pt x="2256930" y="200876"/>
                  </a:lnTo>
                  <a:lnTo>
                    <a:pt x="2256981" y="200876"/>
                  </a:lnTo>
                  <a:lnTo>
                    <a:pt x="2256981" y="202260"/>
                  </a:lnTo>
                  <a:lnTo>
                    <a:pt x="2256981" y="200876"/>
                  </a:lnTo>
                  <a:lnTo>
                    <a:pt x="2256981" y="202959"/>
                  </a:lnTo>
                  <a:lnTo>
                    <a:pt x="2257032" y="202260"/>
                  </a:lnTo>
                  <a:lnTo>
                    <a:pt x="2257032" y="200876"/>
                  </a:lnTo>
                  <a:lnTo>
                    <a:pt x="2257032" y="202260"/>
                  </a:lnTo>
                  <a:lnTo>
                    <a:pt x="2257032" y="200876"/>
                  </a:lnTo>
                  <a:lnTo>
                    <a:pt x="2257032" y="202260"/>
                  </a:lnTo>
                  <a:lnTo>
                    <a:pt x="2257032" y="200876"/>
                  </a:lnTo>
                  <a:lnTo>
                    <a:pt x="2257083" y="200876"/>
                  </a:lnTo>
                  <a:lnTo>
                    <a:pt x="2257083" y="202260"/>
                  </a:lnTo>
                  <a:lnTo>
                    <a:pt x="2257083" y="200876"/>
                  </a:lnTo>
                  <a:lnTo>
                    <a:pt x="2257184" y="200876"/>
                  </a:lnTo>
                  <a:lnTo>
                    <a:pt x="2257184" y="199530"/>
                  </a:lnTo>
                  <a:lnTo>
                    <a:pt x="2257184" y="200228"/>
                  </a:lnTo>
                  <a:lnTo>
                    <a:pt x="2257184" y="199530"/>
                  </a:lnTo>
                  <a:lnTo>
                    <a:pt x="2257184" y="200228"/>
                  </a:lnTo>
                  <a:lnTo>
                    <a:pt x="2257184" y="198831"/>
                  </a:lnTo>
                  <a:lnTo>
                    <a:pt x="2257235" y="198831"/>
                  </a:lnTo>
                  <a:lnTo>
                    <a:pt x="2257235" y="196113"/>
                  </a:lnTo>
                  <a:lnTo>
                    <a:pt x="2257235" y="196799"/>
                  </a:lnTo>
                  <a:lnTo>
                    <a:pt x="2257286" y="196799"/>
                  </a:lnTo>
                  <a:lnTo>
                    <a:pt x="2257286" y="198831"/>
                  </a:lnTo>
                  <a:lnTo>
                    <a:pt x="2257286" y="196113"/>
                  </a:lnTo>
                  <a:lnTo>
                    <a:pt x="2257286" y="197447"/>
                  </a:lnTo>
                  <a:lnTo>
                    <a:pt x="2257387" y="198831"/>
                  </a:lnTo>
                  <a:lnTo>
                    <a:pt x="2257387" y="199530"/>
                  </a:lnTo>
                  <a:lnTo>
                    <a:pt x="2257387" y="196799"/>
                  </a:lnTo>
                  <a:lnTo>
                    <a:pt x="2257387" y="199530"/>
                  </a:lnTo>
                  <a:lnTo>
                    <a:pt x="2257425" y="199530"/>
                  </a:lnTo>
                  <a:lnTo>
                    <a:pt x="2257425" y="198831"/>
                  </a:lnTo>
                  <a:lnTo>
                    <a:pt x="2257425" y="199530"/>
                  </a:lnTo>
                  <a:lnTo>
                    <a:pt x="2257425" y="198831"/>
                  </a:lnTo>
                  <a:lnTo>
                    <a:pt x="2257476" y="198831"/>
                  </a:lnTo>
                  <a:lnTo>
                    <a:pt x="2257476" y="199530"/>
                  </a:lnTo>
                  <a:lnTo>
                    <a:pt x="2257527" y="200228"/>
                  </a:lnTo>
                  <a:lnTo>
                    <a:pt x="2257527" y="199530"/>
                  </a:lnTo>
                  <a:lnTo>
                    <a:pt x="2257527" y="200228"/>
                  </a:lnTo>
                  <a:lnTo>
                    <a:pt x="2257629" y="200228"/>
                  </a:lnTo>
                  <a:lnTo>
                    <a:pt x="2257629" y="199530"/>
                  </a:lnTo>
                  <a:lnTo>
                    <a:pt x="2257629" y="200876"/>
                  </a:lnTo>
                  <a:lnTo>
                    <a:pt x="2257680" y="200228"/>
                  </a:lnTo>
                  <a:lnTo>
                    <a:pt x="2257680" y="199530"/>
                  </a:lnTo>
                  <a:lnTo>
                    <a:pt x="2257680" y="200228"/>
                  </a:lnTo>
                  <a:lnTo>
                    <a:pt x="2257680" y="199530"/>
                  </a:lnTo>
                  <a:lnTo>
                    <a:pt x="2257730" y="199530"/>
                  </a:lnTo>
                  <a:lnTo>
                    <a:pt x="2257730" y="197447"/>
                  </a:lnTo>
                  <a:lnTo>
                    <a:pt x="2257730" y="200228"/>
                  </a:lnTo>
                  <a:lnTo>
                    <a:pt x="2257730" y="199530"/>
                  </a:lnTo>
                  <a:lnTo>
                    <a:pt x="2257832" y="199530"/>
                  </a:lnTo>
                  <a:lnTo>
                    <a:pt x="2257832" y="197447"/>
                  </a:lnTo>
                  <a:lnTo>
                    <a:pt x="2257832" y="200228"/>
                  </a:lnTo>
                  <a:lnTo>
                    <a:pt x="2257883" y="199530"/>
                  </a:lnTo>
                  <a:lnTo>
                    <a:pt x="2257883" y="200228"/>
                  </a:lnTo>
                  <a:lnTo>
                    <a:pt x="2257883" y="199530"/>
                  </a:lnTo>
                  <a:lnTo>
                    <a:pt x="2257883" y="200876"/>
                  </a:lnTo>
                  <a:lnTo>
                    <a:pt x="2257883" y="200228"/>
                  </a:lnTo>
                  <a:lnTo>
                    <a:pt x="2257934" y="200228"/>
                  </a:lnTo>
                  <a:lnTo>
                    <a:pt x="2257934" y="200876"/>
                  </a:lnTo>
                  <a:lnTo>
                    <a:pt x="2257934" y="200228"/>
                  </a:lnTo>
                  <a:lnTo>
                    <a:pt x="2257972" y="200228"/>
                  </a:lnTo>
                  <a:lnTo>
                    <a:pt x="2257972" y="200876"/>
                  </a:lnTo>
                  <a:lnTo>
                    <a:pt x="2257972" y="200228"/>
                  </a:lnTo>
                  <a:lnTo>
                    <a:pt x="2257972" y="202260"/>
                  </a:lnTo>
                  <a:lnTo>
                    <a:pt x="2257972" y="200876"/>
                  </a:lnTo>
                  <a:lnTo>
                    <a:pt x="2258124" y="200876"/>
                  </a:lnTo>
                  <a:lnTo>
                    <a:pt x="2258124" y="200228"/>
                  </a:lnTo>
                  <a:lnTo>
                    <a:pt x="2258124" y="200876"/>
                  </a:lnTo>
                  <a:lnTo>
                    <a:pt x="2258124" y="200228"/>
                  </a:lnTo>
                  <a:lnTo>
                    <a:pt x="2258124" y="200876"/>
                  </a:lnTo>
                  <a:lnTo>
                    <a:pt x="2258124" y="200228"/>
                  </a:lnTo>
                  <a:lnTo>
                    <a:pt x="2258124" y="200876"/>
                  </a:lnTo>
                  <a:lnTo>
                    <a:pt x="2258124" y="200228"/>
                  </a:lnTo>
                  <a:lnTo>
                    <a:pt x="2258175" y="200876"/>
                  </a:lnTo>
                  <a:lnTo>
                    <a:pt x="2258175" y="200228"/>
                  </a:lnTo>
                  <a:lnTo>
                    <a:pt x="2258175" y="200876"/>
                  </a:lnTo>
                  <a:lnTo>
                    <a:pt x="2258175" y="199530"/>
                  </a:lnTo>
                  <a:lnTo>
                    <a:pt x="2258276" y="198831"/>
                  </a:lnTo>
                  <a:lnTo>
                    <a:pt x="2258276" y="200228"/>
                  </a:lnTo>
                  <a:lnTo>
                    <a:pt x="2258276" y="199530"/>
                  </a:lnTo>
                  <a:lnTo>
                    <a:pt x="2258327" y="199530"/>
                  </a:lnTo>
                  <a:lnTo>
                    <a:pt x="2258327" y="202260"/>
                  </a:lnTo>
                  <a:lnTo>
                    <a:pt x="2258327" y="200876"/>
                  </a:lnTo>
                  <a:lnTo>
                    <a:pt x="2258327" y="202260"/>
                  </a:lnTo>
                  <a:lnTo>
                    <a:pt x="2258327" y="200228"/>
                  </a:lnTo>
                  <a:lnTo>
                    <a:pt x="2258327" y="200876"/>
                  </a:lnTo>
                  <a:lnTo>
                    <a:pt x="2258378" y="200876"/>
                  </a:lnTo>
                  <a:lnTo>
                    <a:pt x="2258378" y="202260"/>
                  </a:lnTo>
                  <a:lnTo>
                    <a:pt x="2258378" y="200876"/>
                  </a:lnTo>
                  <a:lnTo>
                    <a:pt x="2258378" y="202959"/>
                  </a:lnTo>
                  <a:lnTo>
                    <a:pt x="2258378" y="200876"/>
                  </a:lnTo>
                  <a:lnTo>
                    <a:pt x="2258429" y="202260"/>
                  </a:lnTo>
                  <a:lnTo>
                    <a:pt x="2258429" y="200876"/>
                  </a:lnTo>
                  <a:lnTo>
                    <a:pt x="2258429" y="202260"/>
                  </a:lnTo>
                  <a:lnTo>
                    <a:pt x="2258518" y="202260"/>
                  </a:lnTo>
                  <a:lnTo>
                    <a:pt x="2258518" y="200876"/>
                  </a:lnTo>
                  <a:lnTo>
                    <a:pt x="2258569" y="200876"/>
                  </a:lnTo>
                  <a:lnTo>
                    <a:pt x="2258569" y="200228"/>
                  </a:lnTo>
                  <a:lnTo>
                    <a:pt x="2258569" y="200876"/>
                  </a:lnTo>
                  <a:lnTo>
                    <a:pt x="2258619" y="200228"/>
                  </a:lnTo>
                  <a:lnTo>
                    <a:pt x="2258619" y="199530"/>
                  </a:lnTo>
                  <a:lnTo>
                    <a:pt x="2258670" y="199530"/>
                  </a:lnTo>
                  <a:lnTo>
                    <a:pt x="2258670" y="197447"/>
                  </a:lnTo>
                  <a:lnTo>
                    <a:pt x="2258670" y="198831"/>
                  </a:lnTo>
                  <a:lnTo>
                    <a:pt x="2258670" y="197447"/>
                  </a:lnTo>
                  <a:lnTo>
                    <a:pt x="2258670" y="198831"/>
                  </a:lnTo>
                  <a:lnTo>
                    <a:pt x="2258772" y="199530"/>
                  </a:lnTo>
                  <a:lnTo>
                    <a:pt x="2258772" y="197447"/>
                  </a:lnTo>
                  <a:lnTo>
                    <a:pt x="2258772" y="200228"/>
                  </a:lnTo>
                  <a:lnTo>
                    <a:pt x="2258822" y="200228"/>
                  </a:lnTo>
                  <a:lnTo>
                    <a:pt x="2258822" y="199530"/>
                  </a:lnTo>
                  <a:lnTo>
                    <a:pt x="2258822" y="200876"/>
                  </a:lnTo>
                  <a:lnTo>
                    <a:pt x="2258873" y="200876"/>
                  </a:lnTo>
                  <a:lnTo>
                    <a:pt x="2258873" y="200228"/>
                  </a:lnTo>
                  <a:lnTo>
                    <a:pt x="2258873" y="200876"/>
                  </a:lnTo>
                  <a:lnTo>
                    <a:pt x="2258873" y="200228"/>
                  </a:lnTo>
                  <a:lnTo>
                    <a:pt x="2258873" y="200876"/>
                  </a:lnTo>
                  <a:lnTo>
                    <a:pt x="2258873" y="200228"/>
                  </a:lnTo>
                  <a:lnTo>
                    <a:pt x="2258873" y="200876"/>
                  </a:lnTo>
                  <a:lnTo>
                    <a:pt x="2258975" y="200876"/>
                  </a:lnTo>
                  <a:lnTo>
                    <a:pt x="2258975" y="202260"/>
                  </a:lnTo>
                  <a:lnTo>
                    <a:pt x="2258975" y="200876"/>
                  </a:lnTo>
                  <a:lnTo>
                    <a:pt x="2259013" y="200876"/>
                  </a:lnTo>
                  <a:lnTo>
                    <a:pt x="2259013" y="202260"/>
                  </a:lnTo>
                  <a:lnTo>
                    <a:pt x="2259013" y="200876"/>
                  </a:lnTo>
                  <a:lnTo>
                    <a:pt x="2259013" y="202260"/>
                  </a:lnTo>
                  <a:lnTo>
                    <a:pt x="2259013" y="200876"/>
                  </a:lnTo>
                  <a:lnTo>
                    <a:pt x="2259013" y="202260"/>
                  </a:lnTo>
                  <a:lnTo>
                    <a:pt x="2259013" y="200876"/>
                  </a:lnTo>
                  <a:lnTo>
                    <a:pt x="2259013" y="202260"/>
                  </a:lnTo>
                  <a:lnTo>
                    <a:pt x="2259013" y="200876"/>
                  </a:lnTo>
                  <a:lnTo>
                    <a:pt x="2259064" y="200876"/>
                  </a:lnTo>
                  <a:lnTo>
                    <a:pt x="2259064" y="202260"/>
                  </a:lnTo>
                  <a:lnTo>
                    <a:pt x="2259064" y="200228"/>
                  </a:lnTo>
                  <a:lnTo>
                    <a:pt x="2259115" y="200228"/>
                  </a:lnTo>
                  <a:lnTo>
                    <a:pt x="2259115" y="200876"/>
                  </a:lnTo>
                  <a:lnTo>
                    <a:pt x="2259115" y="198831"/>
                  </a:lnTo>
                  <a:lnTo>
                    <a:pt x="2259115" y="199530"/>
                  </a:lnTo>
                  <a:lnTo>
                    <a:pt x="2259115" y="198831"/>
                  </a:lnTo>
                  <a:lnTo>
                    <a:pt x="2259115" y="199530"/>
                  </a:lnTo>
                  <a:lnTo>
                    <a:pt x="2259216" y="198831"/>
                  </a:lnTo>
                  <a:lnTo>
                    <a:pt x="2259216" y="196113"/>
                  </a:lnTo>
                  <a:lnTo>
                    <a:pt x="2259267" y="196799"/>
                  </a:lnTo>
                  <a:lnTo>
                    <a:pt x="2259267" y="198831"/>
                  </a:lnTo>
                  <a:lnTo>
                    <a:pt x="2259267" y="196113"/>
                  </a:lnTo>
                  <a:lnTo>
                    <a:pt x="2259267" y="197447"/>
                  </a:lnTo>
                  <a:lnTo>
                    <a:pt x="2259318" y="198831"/>
                  </a:lnTo>
                  <a:lnTo>
                    <a:pt x="2259318" y="199530"/>
                  </a:lnTo>
                  <a:lnTo>
                    <a:pt x="2259318" y="197447"/>
                  </a:lnTo>
                  <a:lnTo>
                    <a:pt x="2259318" y="198831"/>
                  </a:lnTo>
                  <a:lnTo>
                    <a:pt x="2259419" y="199530"/>
                  </a:lnTo>
                  <a:lnTo>
                    <a:pt x="2259419" y="198831"/>
                  </a:lnTo>
                  <a:lnTo>
                    <a:pt x="2259419" y="200228"/>
                  </a:lnTo>
                  <a:lnTo>
                    <a:pt x="2259470" y="200228"/>
                  </a:lnTo>
                  <a:lnTo>
                    <a:pt x="2259470" y="199530"/>
                  </a:lnTo>
                  <a:lnTo>
                    <a:pt x="2259470" y="200228"/>
                  </a:lnTo>
                  <a:lnTo>
                    <a:pt x="2259470" y="199530"/>
                  </a:lnTo>
                  <a:lnTo>
                    <a:pt x="2259470" y="200228"/>
                  </a:lnTo>
                  <a:lnTo>
                    <a:pt x="2259470" y="199530"/>
                  </a:lnTo>
                  <a:lnTo>
                    <a:pt x="2259470" y="200876"/>
                  </a:lnTo>
                  <a:lnTo>
                    <a:pt x="2259521" y="200876"/>
                  </a:lnTo>
                  <a:lnTo>
                    <a:pt x="2259521" y="200228"/>
                  </a:lnTo>
                  <a:lnTo>
                    <a:pt x="2259521" y="200876"/>
                  </a:lnTo>
                  <a:lnTo>
                    <a:pt x="2259521" y="200228"/>
                  </a:lnTo>
                  <a:lnTo>
                    <a:pt x="2259521" y="200876"/>
                  </a:lnTo>
                  <a:lnTo>
                    <a:pt x="2259559" y="200228"/>
                  </a:lnTo>
                  <a:lnTo>
                    <a:pt x="2259559" y="200876"/>
                  </a:lnTo>
                  <a:lnTo>
                    <a:pt x="2259559" y="200228"/>
                  </a:lnTo>
                  <a:lnTo>
                    <a:pt x="2259559" y="200876"/>
                  </a:lnTo>
                  <a:lnTo>
                    <a:pt x="2259559" y="200228"/>
                  </a:lnTo>
                  <a:lnTo>
                    <a:pt x="2259559" y="200876"/>
                  </a:lnTo>
                  <a:lnTo>
                    <a:pt x="2259559" y="200228"/>
                  </a:lnTo>
                  <a:lnTo>
                    <a:pt x="2259559" y="200876"/>
                  </a:lnTo>
                  <a:lnTo>
                    <a:pt x="2259559" y="200228"/>
                  </a:lnTo>
                  <a:lnTo>
                    <a:pt x="2259559" y="200876"/>
                  </a:lnTo>
                  <a:lnTo>
                    <a:pt x="2259559" y="200228"/>
                  </a:lnTo>
                  <a:lnTo>
                    <a:pt x="2259661" y="200228"/>
                  </a:lnTo>
                  <a:lnTo>
                    <a:pt x="2259661" y="199530"/>
                  </a:lnTo>
                  <a:lnTo>
                    <a:pt x="2259661" y="200228"/>
                  </a:lnTo>
                  <a:lnTo>
                    <a:pt x="2259661" y="198831"/>
                  </a:lnTo>
                  <a:lnTo>
                    <a:pt x="2259712" y="198831"/>
                  </a:lnTo>
                  <a:lnTo>
                    <a:pt x="2259712" y="196113"/>
                  </a:lnTo>
                  <a:lnTo>
                    <a:pt x="2259762" y="196113"/>
                  </a:lnTo>
                  <a:lnTo>
                    <a:pt x="2259762" y="196799"/>
                  </a:lnTo>
                  <a:lnTo>
                    <a:pt x="2259762" y="195415"/>
                  </a:lnTo>
                  <a:lnTo>
                    <a:pt x="2259762" y="196799"/>
                  </a:lnTo>
                  <a:lnTo>
                    <a:pt x="2259762" y="195415"/>
                  </a:lnTo>
                  <a:lnTo>
                    <a:pt x="2259864" y="195415"/>
                  </a:lnTo>
                  <a:lnTo>
                    <a:pt x="2259864" y="197447"/>
                  </a:lnTo>
                  <a:lnTo>
                    <a:pt x="2259864" y="196799"/>
                  </a:lnTo>
                  <a:lnTo>
                    <a:pt x="2259864" y="197447"/>
                  </a:lnTo>
                  <a:lnTo>
                    <a:pt x="2259915" y="197447"/>
                  </a:lnTo>
                  <a:lnTo>
                    <a:pt x="2259915" y="198831"/>
                  </a:lnTo>
                  <a:lnTo>
                    <a:pt x="2259915" y="197447"/>
                  </a:lnTo>
                  <a:lnTo>
                    <a:pt x="2259915" y="198831"/>
                  </a:lnTo>
                  <a:lnTo>
                    <a:pt x="2259965" y="198831"/>
                  </a:lnTo>
                  <a:lnTo>
                    <a:pt x="2259965" y="199530"/>
                  </a:lnTo>
                  <a:lnTo>
                    <a:pt x="2259965" y="198831"/>
                  </a:lnTo>
                  <a:lnTo>
                    <a:pt x="2259965" y="199530"/>
                  </a:lnTo>
                  <a:lnTo>
                    <a:pt x="2260016" y="199530"/>
                  </a:lnTo>
                  <a:lnTo>
                    <a:pt x="2260016" y="200228"/>
                  </a:lnTo>
                  <a:lnTo>
                    <a:pt x="2260016" y="199530"/>
                  </a:lnTo>
                  <a:lnTo>
                    <a:pt x="2260016" y="200228"/>
                  </a:lnTo>
                  <a:lnTo>
                    <a:pt x="2260016" y="199530"/>
                  </a:lnTo>
                  <a:lnTo>
                    <a:pt x="2260016" y="200228"/>
                  </a:lnTo>
                  <a:lnTo>
                    <a:pt x="2260105" y="200228"/>
                  </a:lnTo>
                  <a:lnTo>
                    <a:pt x="2260105" y="200876"/>
                  </a:lnTo>
                  <a:lnTo>
                    <a:pt x="2260156" y="200876"/>
                  </a:lnTo>
                  <a:lnTo>
                    <a:pt x="2260156" y="200228"/>
                  </a:lnTo>
                  <a:lnTo>
                    <a:pt x="2260156" y="200876"/>
                  </a:lnTo>
                  <a:lnTo>
                    <a:pt x="2260156" y="200228"/>
                  </a:lnTo>
                  <a:lnTo>
                    <a:pt x="2260156" y="200876"/>
                  </a:lnTo>
                  <a:lnTo>
                    <a:pt x="2260156" y="199530"/>
                  </a:lnTo>
                  <a:lnTo>
                    <a:pt x="2260207" y="199530"/>
                  </a:lnTo>
                  <a:lnTo>
                    <a:pt x="2260207" y="197447"/>
                  </a:lnTo>
                  <a:lnTo>
                    <a:pt x="2260207" y="198831"/>
                  </a:lnTo>
                  <a:lnTo>
                    <a:pt x="2260207" y="196799"/>
                  </a:lnTo>
                  <a:lnTo>
                    <a:pt x="2260207" y="198831"/>
                  </a:lnTo>
                  <a:lnTo>
                    <a:pt x="2260258" y="198831"/>
                  </a:lnTo>
                  <a:lnTo>
                    <a:pt x="2260258" y="196113"/>
                  </a:lnTo>
                  <a:lnTo>
                    <a:pt x="2260258" y="199530"/>
                  </a:lnTo>
                  <a:lnTo>
                    <a:pt x="2260359" y="199530"/>
                  </a:lnTo>
                  <a:lnTo>
                    <a:pt x="2260359" y="197447"/>
                  </a:lnTo>
                  <a:lnTo>
                    <a:pt x="2260359" y="199530"/>
                  </a:lnTo>
                  <a:lnTo>
                    <a:pt x="2260359" y="198831"/>
                  </a:lnTo>
                  <a:lnTo>
                    <a:pt x="2260410" y="198831"/>
                  </a:lnTo>
                  <a:lnTo>
                    <a:pt x="2260410" y="199530"/>
                  </a:lnTo>
                  <a:lnTo>
                    <a:pt x="2260410" y="197447"/>
                  </a:lnTo>
                  <a:lnTo>
                    <a:pt x="2260410" y="198831"/>
                  </a:lnTo>
                  <a:lnTo>
                    <a:pt x="2260410" y="197447"/>
                  </a:lnTo>
                  <a:lnTo>
                    <a:pt x="2260410" y="198831"/>
                  </a:lnTo>
                  <a:lnTo>
                    <a:pt x="2260461" y="198831"/>
                  </a:lnTo>
                  <a:lnTo>
                    <a:pt x="2260461" y="197447"/>
                  </a:lnTo>
                  <a:lnTo>
                    <a:pt x="2260461" y="198831"/>
                  </a:lnTo>
                  <a:lnTo>
                    <a:pt x="2260562" y="198831"/>
                  </a:lnTo>
                  <a:lnTo>
                    <a:pt x="2260562" y="197447"/>
                  </a:lnTo>
                  <a:lnTo>
                    <a:pt x="2260562" y="199530"/>
                  </a:lnTo>
                  <a:lnTo>
                    <a:pt x="2260600" y="199530"/>
                  </a:lnTo>
                  <a:lnTo>
                    <a:pt x="2260651" y="198831"/>
                  </a:lnTo>
                  <a:lnTo>
                    <a:pt x="2260651" y="199530"/>
                  </a:lnTo>
                  <a:lnTo>
                    <a:pt x="2260651" y="198831"/>
                  </a:lnTo>
                  <a:lnTo>
                    <a:pt x="2260651" y="199530"/>
                  </a:lnTo>
                  <a:lnTo>
                    <a:pt x="2260651" y="198831"/>
                  </a:lnTo>
                  <a:lnTo>
                    <a:pt x="2260702" y="198831"/>
                  </a:lnTo>
                  <a:lnTo>
                    <a:pt x="2260702" y="197447"/>
                  </a:lnTo>
                  <a:lnTo>
                    <a:pt x="2260702" y="200228"/>
                  </a:lnTo>
                  <a:lnTo>
                    <a:pt x="2260702" y="198831"/>
                  </a:lnTo>
                  <a:lnTo>
                    <a:pt x="2260804" y="198831"/>
                  </a:lnTo>
                  <a:lnTo>
                    <a:pt x="2260804" y="202260"/>
                  </a:lnTo>
                  <a:lnTo>
                    <a:pt x="2260804" y="200228"/>
                  </a:lnTo>
                  <a:lnTo>
                    <a:pt x="2260855" y="200876"/>
                  </a:lnTo>
                  <a:lnTo>
                    <a:pt x="2260855" y="202260"/>
                  </a:lnTo>
                  <a:lnTo>
                    <a:pt x="2260855" y="200876"/>
                  </a:lnTo>
                  <a:lnTo>
                    <a:pt x="2260855" y="202260"/>
                  </a:lnTo>
                  <a:lnTo>
                    <a:pt x="2260855" y="200228"/>
                  </a:lnTo>
                  <a:lnTo>
                    <a:pt x="2260855" y="200876"/>
                  </a:lnTo>
                  <a:lnTo>
                    <a:pt x="2260905" y="200876"/>
                  </a:lnTo>
                  <a:lnTo>
                    <a:pt x="2260905" y="200228"/>
                  </a:lnTo>
                  <a:lnTo>
                    <a:pt x="2260905" y="200876"/>
                  </a:lnTo>
                  <a:lnTo>
                    <a:pt x="2260905" y="200228"/>
                  </a:lnTo>
                  <a:lnTo>
                    <a:pt x="2261007" y="200876"/>
                  </a:lnTo>
                  <a:lnTo>
                    <a:pt x="2261007" y="200228"/>
                  </a:lnTo>
                  <a:lnTo>
                    <a:pt x="2261007" y="200876"/>
                  </a:lnTo>
                  <a:lnTo>
                    <a:pt x="2261007" y="200228"/>
                  </a:lnTo>
                  <a:lnTo>
                    <a:pt x="2261007" y="200876"/>
                  </a:lnTo>
                  <a:lnTo>
                    <a:pt x="2261007" y="200228"/>
                  </a:lnTo>
                  <a:lnTo>
                    <a:pt x="2261058" y="200876"/>
                  </a:lnTo>
                  <a:lnTo>
                    <a:pt x="2261058" y="200228"/>
                  </a:lnTo>
                  <a:lnTo>
                    <a:pt x="2261058" y="200876"/>
                  </a:lnTo>
                  <a:lnTo>
                    <a:pt x="2261058" y="199530"/>
                  </a:lnTo>
                  <a:lnTo>
                    <a:pt x="2261058" y="200228"/>
                  </a:lnTo>
                  <a:lnTo>
                    <a:pt x="2261109" y="200228"/>
                  </a:lnTo>
                  <a:lnTo>
                    <a:pt x="2261109" y="198831"/>
                  </a:lnTo>
                  <a:lnTo>
                    <a:pt x="2261109" y="199530"/>
                  </a:lnTo>
                  <a:lnTo>
                    <a:pt x="2261147" y="198831"/>
                  </a:lnTo>
                  <a:lnTo>
                    <a:pt x="2261147" y="199530"/>
                  </a:lnTo>
                  <a:lnTo>
                    <a:pt x="2261147" y="196799"/>
                  </a:lnTo>
                  <a:lnTo>
                    <a:pt x="2261147" y="197447"/>
                  </a:lnTo>
                  <a:lnTo>
                    <a:pt x="2261147" y="196113"/>
                  </a:lnTo>
                  <a:lnTo>
                    <a:pt x="2261248" y="196113"/>
                  </a:lnTo>
                  <a:lnTo>
                    <a:pt x="2261248" y="199530"/>
                  </a:lnTo>
                  <a:lnTo>
                    <a:pt x="2261248" y="197447"/>
                  </a:lnTo>
                  <a:lnTo>
                    <a:pt x="2261299" y="197447"/>
                  </a:lnTo>
                  <a:lnTo>
                    <a:pt x="2261299" y="196799"/>
                  </a:lnTo>
                  <a:lnTo>
                    <a:pt x="2261299" y="200876"/>
                  </a:lnTo>
                  <a:lnTo>
                    <a:pt x="2261299" y="200228"/>
                  </a:lnTo>
                  <a:lnTo>
                    <a:pt x="2261299" y="200876"/>
                  </a:lnTo>
                  <a:lnTo>
                    <a:pt x="2261299" y="199530"/>
                  </a:lnTo>
                  <a:lnTo>
                    <a:pt x="2261299" y="200228"/>
                  </a:lnTo>
                  <a:lnTo>
                    <a:pt x="2261299" y="199530"/>
                  </a:lnTo>
                  <a:lnTo>
                    <a:pt x="2261350" y="199530"/>
                  </a:lnTo>
                  <a:lnTo>
                    <a:pt x="2261350" y="200876"/>
                  </a:lnTo>
                  <a:lnTo>
                    <a:pt x="2261350" y="200228"/>
                  </a:lnTo>
                  <a:lnTo>
                    <a:pt x="2261350" y="200876"/>
                  </a:lnTo>
                  <a:lnTo>
                    <a:pt x="2261350" y="199530"/>
                  </a:lnTo>
                  <a:lnTo>
                    <a:pt x="2261451" y="200228"/>
                  </a:lnTo>
                  <a:lnTo>
                    <a:pt x="2261451" y="200876"/>
                  </a:lnTo>
                  <a:lnTo>
                    <a:pt x="2261451" y="200228"/>
                  </a:lnTo>
                  <a:lnTo>
                    <a:pt x="2261451" y="200876"/>
                  </a:lnTo>
                  <a:lnTo>
                    <a:pt x="2261451" y="200228"/>
                  </a:lnTo>
                  <a:lnTo>
                    <a:pt x="2261451" y="200876"/>
                  </a:lnTo>
                  <a:lnTo>
                    <a:pt x="2261451" y="200228"/>
                  </a:lnTo>
                  <a:lnTo>
                    <a:pt x="2261451" y="200876"/>
                  </a:lnTo>
                  <a:lnTo>
                    <a:pt x="2261502" y="200876"/>
                  </a:lnTo>
                  <a:lnTo>
                    <a:pt x="2261502" y="200228"/>
                  </a:lnTo>
                  <a:lnTo>
                    <a:pt x="2261502" y="200876"/>
                  </a:lnTo>
                  <a:lnTo>
                    <a:pt x="2261502" y="200228"/>
                  </a:lnTo>
                  <a:lnTo>
                    <a:pt x="2261502" y="200876"/>
                  </a:lnTo>
                  <a:lnTo>
                    <a:pt x="2261502" y="200228"/>
                  </a:lnTo>
                  <a:lnTo>
                    <a:pt x="2261502" y="200876"/>
                  </a:lnTo>
                  <a:lnTo>
                    <a:pt x="2261553" y="200876"/>
                  </a:lnTo>
                  <a:lnTo>
                    <a:pt x="2261553" y="200228"/>
                  </a:lnTo>
                  <a:lnTo>
                    <a:pt x="2261553" y="200876"/>
                  </a:lnTo>
                  <a:lnTo>
                    <a:pt x="2261553" y="200228"/>
                  </a:lnTo>
                  <a:lnTo>
                    <a:pt x="2261604" y="200228"/>
                  </a:lnTo>
                  <a:lnTo>
                    <a:pt x="2261604" y="199530"/>
                  </a:lnTo>
                  <a:lnTo>
                    <a:pt x="2261604" y="200228"/>
                  </a:lnTo>
                  <a:lnTo>
                    <a:pt x="2261604" y="198831"/>
                  </a:lnTo>
                  <a:lnTo>
                    <a:pt x="2261604" y="199530"/>
                  </a:lnTo>
                  <a:lnTo>
                    <a:pt x="2261693" y="198831"/>
                  </a:lnTo>
                  <a:lnTo>
                    <a:pt x="2261693" y="196799"/>
                  </a:lnTo>
                  <a:lnTo>
                    <a:pt x="2261693" y="197447"/>
                  </a:lnTo>
                  <a:lnTo>
                    <a:pt x="2261693" y="196799"/>
                  </a:lnTo>
                  <a:lnTo>
                    <a:pt x="2261693" y="197447"/>
                  </a:lnTo>
                  <a:lnTo>
                    <a:pt x="2261693" y="196799"/>
                  </a:lnTo>
                  <a:lnTo>
                    <a:pt x="2261693" y="198831"/>
                  </a:lnTo>
                  <a:lnTo>
                    <a:pt x="2261744" y="198831"/>
                  </a:lnTo>
                  <a:lnTo>
                    <a:pt x="2261744" y="197447"/>
                  </a:lnTo>
                  <a:lnTo>
                    <a:pt x="2261744" y="200228"/>
                  </a:lnTo>
                  <a:lnTo>
                    <a:pt x="2261794" y="200228"/>
                  </a:lnTo>
                  <a:lnTo>
                    <a:pt x="2261794" y="199530"/>
                  </a:lnTo>
                  <a:lnTo>
                    <a:pt x="2261794" y="200228"/>
                  </a:lnTo>
                  <a:lnTo>
                    <a:pt x="2261794" y="199530"/>
                  </a:lnTo>
                  <a:lnTo>
                    <a:pt x="2261794" y="200228"/>
                  </a:lnTo>
                  <a:lnTo>
                    <a:pt x="2261794" y="199530"/>
                  </a:lnTo>
                  <a:lnTo>
                    <a:pt x="2261845" y="200228"/>
                  </a:lnTo>
                  <a:lnTo>
                    <a:pt x="2261845" y="199530"/>
                  </a:lnTo>
                  <a:lnTo>
                    <a:pt x="2261845" y="200876"/>
                  </a:lnTo>
                  <a:lnTo>
                    <a:pt x="2261947" y="200876"/>
                  </a:lnTo>
                  <a:lnTo>
                    <a:pt x="2261947" y="200228"/>
                  </a:lnTo>
                  <a:lnTo>
                    <a:pt x="2261947" y="200876"/>
                  </a:lnTo>
                  <a:lnTo>
                    <a:pt x="2261947" y="200228"/>
                  </a:lnTo>
                  <a:lnTo>
                    <a:pt x="2261947" y="200876"/>
                  </a:lnTo>
                  <a:lnTo>
                    <a:pt x="2261997" y="200876"/>
                  </a:lnTo>
                  <a:lnTo>
                    <a:pt x="2261997" y="202260"/>
                  </a:lnTo>
                  <a:lnTo>
                    <a:pt x="2261997" y="200876"/>
                  </a:lnTo>
                  <a:lnTo>
                    <a:pt x="2262048" y="200876"/>
                  </a:lnTo>
                  <a:lnTo>
                    <a:pt x="2262048" y="202260"/>
                  </a:lnTo>
                  <a:lnTo>
                    <a:pt x="2262048" y="200228"/>
                  </a:lnTo>
                  <a:lnTo>
                    <a:pt x="2262048" y="200876"/>
                  </a:lnTo>
                  <a:lnTo>
                    <a:pt x="2262048" y="200228"/>
                  </a:lnTo>
                  <a:lnTo>
                    <a:pt x="2262048" y="200876"/>
                  </a:lnTo>
                  <a:lnTo>
                    <a:pt x="2262048" y="200228"/>
                  </a:lnTo>
                  <a:lnTo>
                    <a:pt x="2262150" y="200876"/>
                  </a:lnTo>
                  <a:lnTo>
                    <a:pt x="2262150" y="198831"/>
                  </a:lnTo>
                  <a:lnTo>
                    <a:pt x="2262188" y="198831"/>
                  </a:lnTo>
                  <a:lnTo>
                    <a:pt x="2262188" y="196799"/>
                  </a:lnTo>
                  <a:lnTo>
                    <a:pt x="2262188" y="199530"/>
                  </a:lnTo>
                  <a:lnTo>
                    <a:pt x="2262188" y="198831"/>
                  </a:lnTo>
                  <a:lnTo>
                    <a:pt x="2262239" y="198831"/>
                  </a:lnTo>
                  <a:lnTo>
                    <a:pt x="2262239" y="200228"/>
                  </a:lnTo>
                  <a:lnTo>
                    <a:pt x="2262239" y="199530"/>
                  </a:lnTo>
                  <a:lnTo>
                    <a:pt x="2262290" y="200228"/>
                  </a:lnTo>
                  <a:lnTo>
                    <a:pt x="2262290" y="200876"/>
                  </a:lnTo>
                  <a:lnTo>
                    <a:pt x="2262290" y="200228"/>
                  </a:lnTo>
                  <a:lnTo>
                    <a:pt x="2262391" y="200228"/>
                  </a:lnTo>
                  <a:lnTo>
                    <a:pt x="2262391" y="199530"/>
                  </a:lnTo>
                  <a:lnTo>
                    <a:pt x="2262391" y="200876"/>
                  </a:lnTo>
                  <a:lnTo>
                    <a:pt x="2262391" y="199530"/>
                  </a:lnTo>
                  <a:lnTo>
                    <a:pt x="2262391" y="200228"/>
                  </a:lnTo>
                  <a:lnTo>
                    <a:pt x="2262442" y="200228"/>
                  </a:lnTo>
                  <a:lnTo>
                    <a:pt x="2262442" y="200876"/>
                  </a:lnTo>
                  <a:lnTo>
                    <a:pt x="2262442" y="200228"/>
                  </a:lnTo>
                  <a:lnTo>
                    <a:pt x="2262442" y="200876"/>
                  </a:lnTo>
                  <a:lnTo>
                    <a:pt x="2262442" y="200228"/>
                  </a:lnTo>
                  <a:lnTo>
                    <a:pt x="2262442" y="200876"/>
                  </a:lnTo>
                  <a:lnTo>
                    <a:pt x="2262493" y="200876"/>
                  </a:lnTo>
                  <a:lnTo>
                    <a:pt x="2262493" y="200228"/>
                  </a:lnTo>
                  <a:lnTo>
                    <a:pt x="2262493" y="200876"/>
                  </a:lnTo>
                  <a:lnTo>
                    <a:pt x="2262493" y="200228"/>
                  </a:lnTo>
                  <a:lnTo>
                    <a:pt x="2262493" y="202260"/>
                  </a:lnTo>
                  <a:lnTo>
                    <a:pt x="2262493" y="200876"/>
                  </a:lnTo>
                  <a:lnTo>
                    <a:pt x="2262594" y="200876"/>
                  </a:lnTo>
                  <a:lnTo>
                    <a:pt x="2262594" y="200228"/>
                  </a:lnTo>
                  <a:lnTo>
                    <a:pt x="2262594" y="200876"/>
                  </a:lnTo>
                  <a:lnTo>
                    <a:pt x="2262594" y="199530"/>
                  </a:lnTo>
                  <a:lnTo>
                    <a:pt x="2262594" y="200228"/>
                  </a:lnTo>
                  <a:lnTo>
                    <a:pt x="2262645" y="200228"/>
                  </a:lnTo>
                  <a:lnTo>
                    <a:pt x="2262645" y="198831"/>
                  </a:lnTo>
                  <a:lnTo>
                    <a:pt x="2262645" y="199530"/>
                  </a:lnTo>
                  <a:lnTo>
                    <a:pt x="2262645" y="197447"/>
                  </a:lnTo>
                  <a:lnTo>
                    <a:pt x="2262696" y="197447"/>
                  </a:lnTo>
                  <a:lnTo>
                    <a:pt x="2262696" y="196799"/>
                  </a:lnTo>
                  <a:lnTo>
                    <a:pt x="2262696" y="199530"/>
                  </a:lnTo>
                  <a:lnTo>
                    <a:pt x="2262696" y="196799"/>
                  </a:lnTo>
                  <a:lnTo>
                    <a:pt x="2262734" y="197447"/>
                  </a:lnTo>
                  <a:lnTo>
                    <a:pt x="2262734" y="200876"/>
                  </a:lnTo>
                  <a:lnTo>
                    <a:pt x="2262734" y="199530"/>
                  </a:lnTo>
                  <a:lnTo>
                    <a:pt x="2262734" y="200228"/>
                  </a:lnTo>
                  <a:lnTo>
                    <a:pt x="2262836" y="200228"/>
                  </a:lnTo>
                  <a:lnTo>
                    <a:pt x="2262836" y="200876"/>
                  </a:lnTo>
                  <a:lnTo>
                    <a:pt x="2262836" y="200228"/>
                  </a:lnTo>
                  <a:lnTo>
                    <a:pt x="2262887" y="200228"/>
                  </a:lnTo>
                  <a:lnTo>
                    <a:pt x="2262887" y="200876"/>
                  </a:lnTo>
                  <a:lnTo>
                    <a:pt x="2262887" y="200228"/>
                  </a:lnTo>
                  <a:lnTo>
                    <a:pt x="2262887" y="200876"/>
                  </a:lnTo>
                  <a:lnTo>
                    <a:pt x="2262887" y="200228"/>
                  </a:lnTo>
                  <a:lnTo>
                    <a:pt x="2262887" y="200876"/>
                  </a:lnTo>
                  <a:lnTo>
                    <a:pt x="2262887" y="200228"/>
                  </a:lnTo>
                  <a:lnTo>
                    <a:pt x="2262937" y="200228"/>
                  </a:lnTo>
                  <a:lnTo>
                    <a:pt x="2262937" y="200876"/>
                  </a:lnTo>
                  <a:lnTo>
                    <a:pt x="2262937" y="200228"/>
                  </a:lnTo>
                  <a:lnTo>
                    <a:pt x="2262937" y="200876"/>
                  </a:lnTo>
                  <a:lnTo>
                    <a:pt x="2263039" y="200876"/>
                  </a:lnTo>
                  <a:lnTo>
                    <a:pt x="2263039" y="200228"/>
                  </a:lnTo>
                  <a:lnTo>
                    <a:pt x="2263039" y="200876"/>
                  </a:lnTo>
                  <a:lnTo>
                    <a:pt x="2263039" y="200228"/>
                  </a:lnTo>
                  <a:lnTo>
                    <a:pt x="2263090" y="200228"/>
                  </a:lnTo>
                  <a:lnTo>
                    <a:pt x="2263090" y="199530"/>
                  </a:lnTo>
                  <a:lnTo>
                    <a:pt x="2263090" y="200228"/>
                  </a:lnTo>
                  <a:lnTo>
                    <a:pt x="2263090" y="199530"/>
                  </a:lnTo>
                  <a:lnTo>
                    <a:pt x="2263140" y="199530"/>
                  </a:lnTo>
                  <a:lnTo>
                    <a:pt x="2263140" y="197447"/>
                  </a:lnTo>
                  <a:lnTo>
                    <a:pt x="2263140" y="198831"/>
                  </a:lnTo>
                  <a:lnTo>
                    <a:pt x="2263191" y="198831"/>
                  </a:lnTo>
                  <a:lnTo>
                    <a:pt x="2263191" y="196799"/>
                  </a:lnTo>
                  <a:lnTo>
                    <a:pt x="2263191" y="198831"/>
                  </a:lnTo>
                  <a:lnTo>
                    <a:pt x="2263280" y="198831"/>
                  </a:lnTo>
                  <a:lnTo>
                    <a:pt x="2263280" y="199530"/>
                  </a:lnTo>
                  <a:lnTo>
                    <a:pt x="2263280" y="198831"/>
                  </a:lnTo>
                  <a:lnTo>
                    <a:pt x="2263280" y="200228"/>
                  </a:lnTo>
                  <a:lnTo>
                    <a:pt x="2263331" y="200228"/>
                  </a:lnTo>
                  <a:lnTo>
                    <a:pt x="2263331" y="198831"/>
                  </a:lnTo>
                  <a:lnTo>
                    <a:pt x="2263331" y="199530"/>
                  </a:lnTo>
                  <a:lnTo>
                    <a:pt x="2263382" y="199530"/>
                  </a:lnTo>
                  <a:lnTo>
                    <a:pt x="2263382" y="198831"/>
                  </a:lnTo>
                  <a:lnTo>
                    <a:pt x="2263382" y="200228"/>
                  </a:lnTo>
                  <a:lnTo>
                    <a:pt x="2263382" y="199530"/>
                  </a:lnTo>
                  <a:lnTo>
                    <a:pt x="2263382" y="200228"/>
                  </a:lnTo>
                  <a:lnTo>
                    <a:pt x="2263382" y="199530"/>
                  </a:lnTo>
                  <a:lnTo>
                    <a:pt x="2263433" y="200228"/>
                  </a:lnTo>
                  <a:lnTo>
                    <a:pt x="2263433" y="199530"/>
                  </a:lnTo>
                  <a:lnTo>
                    <a:pt x="2263433" y="200228"/>
                  </a:lnTo>
                  <a:lnTo>
                    <a:pt x="2263433" y="199530"/>
                  </a:lnTo>
                  <a:lnTo>
                    <a:pt x="2263433" y="200228"/>
                  </a:lnTo>
                  <a:lnTo>
                    <a:pt x="2263534" y="200228"/>
                  </a:lnTo>
                  <a:lnTo>
                    <a:pt x="2263534" y="199530"/>
                  </a:lnTo>
                  <a:lnTo>
                    <a:pt x="2263534" y="200228"/>
                  </a:lnTo>
                  <a:lnTo>
                    <a:pt x="2263534" y="199530"/>
                  </a:lnTo>
                  <a:lnTo>
                    <a:pt x="2263534" y="200228"/>
                  </a:lnTo>
                  <a:lnTo>
                    <a:pt x="2263585" y="200228"/>
                  </a:lnTo>
                  <a:lnTo>
                    <a:pt x="2263585" y="199530"/>
                  </a:lnTo>
                  <a:lnTo>
                    <a:pt x="2263585" y="200228"/>
                  </a:lnTo>
                  <a:lnTo>
                    <a:pt x="2263585" y="198831"/>
                  </a:lnTo>
                  <a:lnTo>
                    <a:pt x="2263585" y="199530"/>
                  </a:lnTo>
                  <a:lnTo>
                    <a:pt x="2263585" y="198831"/>
                  </a:lnTo>
                  <a:lnTo>
                    <a:pt x="2263636" y="197447"/>
                  </a:lnTo>
                  <a:lnTo>
                    <a:pt x="2263636" y="200228"/>
                  </a:lnTo>
                  <a:lnTo>
                    <a:pt x="2263636" y="198831"/>
                  </a:lnTo>
                  <a:lnTo>
                    <a:pt x="2263737" y="198831"/>
                  </a:lnTo>
                  <a:lnTo>
                    <a:pt x="2263737" y="202260"/>
                  </a:lnTo>
                  <a:lnTo>
                    <a:pt x="2263737" y="200876"/>
                  </a:lnTo>
                  <a:lnTo>
                    <a:pt x="2263737" y="202260"/>
                  </a:lnTo>
                  <a:lnTo>
                    <a:pt x="2263737" y="199530"/>
                  </a:lnTo>
                  <a:lnTo>
                    <a:pt x="2263775" y="199530"/>
                  </a:lnTo>
                  <a:lnTo>
                    <a:pt x="2263775" y="202959"/>
                  </a:lnTo>
                  <a:lnTo>
                    <a:pt x="2263775" y="199530"/>
                  </a:lnTo>
                  <a:lnTo>
                    <a:pt x="2263826" y="200228"/>
                  </a:lnTo>
                  <a:lnTo>
                    <a:pt x="2263826" y="200876"/>
                  </a:lnTo>
                  <a:lnTo>
                    <a:pt x="2263826" y="200228"/>
                  </a:lnTo>
                  <a:lnTo>
                    <a:pt x="2263826" y="200876"/>
                  </a:lnTo>
                  <a:lnTo>
                    <a:pt x="2263826" y="200228"/>
                  </a:lnTo>
                  <a:lnTo>
                    <a:pt x="2263826" y="200876"/>
                  </a:lnTo>
                  <a:lnTo>
                    <a:pt x="2263826" y="200228"/>
                  </a:lnTo>
                  <a:lnTo>
                    <a:pt x="2263877" y="200876"/>
                  </a:lnTo>
                  <a:lnTo>
                    <a:pt x="2263877" y="200228"/>
                  </a:lnTo>
                  <a:lnTo>
                    <a:pt x="2263877" y="200876"/>
                  </a:lnTo>
                  <a:lnTo>
                    <a:pt x="2263877" y="200228"/>
                  </a:lnTo>
                  <a:lnTo>
                    <a:pt x="2263877" y="200876"/>
                  </a:lnTo>
                  <a:lnTo>
                    <a:pt x="2263877" y="200228"/>
                  </a:lnTo>
                  <a:lnTo>
                    <a:pt x="2263877" y="200876"/>
                  </a:lnTo>
                  <a:lnTo>
                    <a:pt x="2263979" y="200876"/>
                  </a:lnTo>
                  <a:lnTo>
                    <a:pt x="2263979" y="200228"/>
                  </a:lnTo>
                  <a:lnTo>
                    <a:pt x="2263979" y="200876"/>
                  </a:lnTo>
                  <a:lnTo>
                    <a:pt x="2264030" y="200876"/>
                  </a:lnTo>
                  <a:lnTo>
                    <a:pt x="2264030" y="200228"/>
                  </a:lnTo>
                  <a:lnTo>
                    <a:pt x="2264030" y="200876"/>
                  </a:lnTo>
                  <a:lnTo>
                    <a:pt x="2264030" y="200228"/>
                  </a:lnTo>
                  <a:lnTo>
                    <a:pt x="2264080" y="200228"/>
                  </a:lnTo>
                  <a:lnTo>
                    <a:pt x="2264080" y="197447"/>
                  </a:lnTo>
                  <a:lnTo>
                    <a:pt x="2264080" y="198831"/>
                  </a:lnTo>
                  <a:lnTo>
                    <a:pt x="2264182" y="198831"/>
                  </a:lnTo>
                  <a:lnTo>
                    <a:pt x="2264182" y="200228"/>
                  </a:lnTo>
                  <a:lnTo>
                    <a:pt x="2264182" y="198831"/>
                  </a:lnTo>
                  <a:lnTo>
                    <a:pt x="2264182" y="199530"/>
                  </a:lnTo>
                  <a:lnTo>
                    <a:pt x="2264182" y="198831"/>
                  </a:lnTo>
                  <a:lnTo>
                    <a:pt x="2264182" y="200876"/>
                  </a:lnTo>
                  <a:lnTo>
                    <a:pt x="2264233" y="202260"/>
                  </a:lnTo>
                  <a:lnTo>
                    <a:pt x="2264233" y="200228"/>
                  </a:lnTo>
                  <a:lnTo>
                    <a:pt x="2264233" y="202260"/>
                  </a:lnTo>
                  <a:lnTo>
                    <a:pt x="2264284" y="202260"/>
                  </a:lnTo>
                  <a:lnTo>
                    <a:pt x="2264284" y="200876"/>
                  </a:lnTo>
                  <a:lnTo>
                    <a:pt x="2264284" y="202260"/>
                  </a:lnTo>
                  <a:lnTo>
                    <a:pt x="2264284" y="200876"/>
                  </a:lnTo>
                  <a:lnTo>
                    <a:pt x="2264284" y="202260"/>
                  </a:lnTo>
                  <a:lnTo>
                    <a:pt x="2264322" y="202260"/>
                  </a:lnTo>
                  <a:lnTo>
                    <a:pt x="2264322" y="200876"/>
                  </a:lnTo>
                  <a:lnTo>
                    <a:pt x="2264322" y="202260"/>
                  </a:lnTo>
                  <a:lnTo>
                    <a:pt x="2264322" y="200876"/>
                  </a:lnTo>
                  <a:lnTo>
                    <a:pt x="2264322" y="202260"/>
                  </a:lnTo>
                  <a:lnTo>
                    <a:pt x="2264423" y="202260"/>
                  </a:lnTo>
                  <a:lnTo>
                    <a:pt x="2264423" y="200876"/>
                  </a:lnTo>
                  <a:lnTo>
                    <a:pt x="2264423" y="202260"/>
                  </a:lnTo>
                  <a:lnTo>
                    <a:pt x="2264423" y="200876"/>
                  </a:lnTo>
                  <a:lnTo>
                    <a:pt x="2264423" y="202260"/>
                  </a:lnTo>
                  <a:lnTo>
                    <a:pt x="2264474" y="202260"/>
                  </a:lnTo>
                  <a:lnTo>
                    <a:pt x="2264474" y="200876"/>
                  </a:lnTo>
                  <a:lnTo>
                    <a:pt x="2264474" y="202260"/>
                  </a:lnTo>
                  <a:lnTo>
                    <a:pt x="2264474" y="200228"/>
                  </a:lnTo>
                  <a:lnTo>
                    <a:pt x="2264474" y="200876"/>
                  </a:lnTo>
                  <a:lnTo>
                    <a:pt x="2264474" y="200228"/>
                  </a:lnTo>
                  <a:lnTo>
                    <a:pt x="2264474" y="200876"/>
                  </a:lnTo>
                  <a:lnTo>
                    <a:pt x="2264525" y="200228"/>
                  </a:lnTo>
                  <a:lnTo>
                    <a:pt x="2264525" y="198831"/>
                  </a:lnTo>
                  <a:lnTo>
                    <a:pt x="2264525" y="199530"/>
                  </a:lnTo>
                  <a:lnTo>
                    <a:pt x="2264525" y="198831"/>
                  </a:lnTo>
                  <a:lnTo>
                    <a:pt x="2264626" y="197447"/>
                  </a:lnTo>
                  <a:lnTo>
                    <a:pt x="2264626" y="198831"/>
                  </a:lnTo>
                  <a:lnTo>
                    <a:pt x="2264626" y="196113"/>
                  </a:lnTo>
                  <a:lnTo>
                    <a:pt x="2264626" y="197447"/>
                  </a:lnTo>
                  <a:lnTo>
                    <a:pt x="2264677" y="198831"/>
                  </a:lnTo>
                  <a:lnTo>
                    <a:pt x="2264677" y="196113"/>
                  </a:lnTo>
                  <a:lnTo>
                    <a:pt x="2264677" y="200228"/>
                  </a:lnTo>
                  <a:lnTo>
                    <a:pt x="2264728" y="200228"/>
                  </a:lnTo>
                  <a:lnTo>
                    <a:pt x="2264728" y="197447"/>
                  </a:lnTo>
                  <a:lnTo>
                    <a:pt x="2264728" y="200228"/>
                  </a:lnTo>
                  <a:lnTo>
                    <a:pt x="2264779" y="200228"/>
                  </a:lnTo>
                  <a:lnTo>
                    <a:pt x="2264779" y="199530"/>
                  </a:lnTo>
                  <a:lnTo>
                    <a:pt x="2264779" y="200876"/>
                  </a:lnTo>
                  <a:lnTo>
                    <a:pt x="2264779" y="200228"/>
                  </a:lnTo>
                  <a:lnTo>
                    <a:pt x="2264868" y="200228"/>
                  </a:lnTo>
                  <a:lnTo>
                    <a:pt x="2264868" y="199530"/>
                  </a:lnTo>
                  <a:lnTo>
                    <a:pt x="2264868" y="200876"/>
                  </a:lnTo>
                  <a:lnTo>
                    <a:pt x="2264868" y="200228"/>
                  </a:lnTo>
                  <a:lnTo>
                    <a:pt x="2264868" y="200876"/>
                  </a:lnTo>
                  <a:lnTo>
                    <a:pt x="2264868" y="200228"/>
                  </a:lnTo>
                  <a:lnTo>
                    <a:pt x="2264919" y="200228"/>
                  </a:lnTo>
                  <a:lnTo>
                    <a:pt x="2264919" y="202260"/>
                  </a:lnTo>
                  <a:lnTo>
                    <a:pt x="2264919" y="200876"/>
                  </a:lnTo>
                  <a:lnTo>
                    <a:pt x="2264969" y="200876"/>
                  </a:lnTo>
                  <a:lnTo>
                    <a:pt x="2264969" y="200228"/>
                  </a:lnTo>
                  <a:lnTo>
                    <a:pt x="2264969" y="200876"/>
                  </a:lnTo>
                  <a:lnTo>
                    <a:pt x="2264969" y="200228"/>
                  </a:lnTo>
                  <a:lnTo>
                    <a:pt x="2265020" y="200228"/>
                  </a:lnTo>
                  <a:lnTo>
                    <a:pt x="2265020" y="199530"/>
                  </a:lnTo>
                  <a:lnTo>
                    <a:pt x="2265020" y="200228"/>
                  </a:lnTo>
                  <a:lnTo>
                    <a:pt x="2265020" y="198831"/>
                  </a:lnTo>
                  <a:lnTo>
                    <a:pt x="2265020" y="199530"/>
                  </a:lnTo>
                  <a:lnTo>
                    <a:pt x="2265020" y="198831"/>
                  </a:lnTo>
                  <a:lnTo>
                    <a:pt x="2265122" y="197447"/>
                  </a:lnTo>
                  <a:lnTo>
                    <a:pt x="2265122" y="196113"/>
                  </a:lnTo>
                  <a:lnTo>
                    <a:pt x="2265172" y="196799"/>
                  </a:lnTo>
                  <a:lnTo>
                    <a:pt x="2265172" y="197447"/>
                  </a:lnTo>
                  <a:lnTo>
                    <a:pt x="2265172" y="196799"/>
                  </a:lnTo>
                  <a:lnTo>
                    <a:pt x="2265172" y="197447"/>
                  </a:lnTo>
                  <a:lnTo>
                    <a:pt x="2265172" y="196113"/>
                  </a:lnTo>
                  <a:lnTo>
                    <a:pt x="2265172" y="197447"/>
                  </a:lnTo>
                  <a:lnTo>
                    <a:pt x="2265223" y="197447"/>
                  </a:lnTo>
                  <a:lnTo>
                    <a:pt x="2265223" y="198831"/>
                  </a:lnTo>
                  <a:lnTo>
                    <a:pt x="2265223" y="197447"/>
                  </a:lnTo>
                  <a:lnTo>
                    <a:pt x="2265223" y="198831"/>
                  </a:lnTo>
                  <a:lnTo>
                    <a:pt x="2265325" y="198831"/>
                  </a:lnTo>
                  <a:lnTo>
                    <a:pt x="2265325" y="199530"/>
                  </a:lnTo>
                  <a:lnTo>
                    <a:pt x="2265325" y="197447"/>
                  </a:lnTo>
                  <a:lnTo>
                    <a:pt x="2265325" y="199530"/>
                  </a:lnTo>
                  <a:lnTo>
                    <a:pt x="2265363" y="199530"/>
                  </a:lnTo>
                  <a:lnTo>
                    <a:pt x="2265363" y="200228"/>
                  </a:lnTo>
                  <a:lnTo>
                    <a:pt x="2265414" y="200228"/>
                  </a:lnTo>
                  <a:lnTo>
                    <a:pt x="2265414" y="200876"/>
                  </a:lnTo>
                  <a:lnTo>
                    <a:pt x="2265414" y="200228"/>
                  </a:lnTo>
                  <a:lnTo>
                    <a:pt x="2265414" y="200876"/>
                  </a:lnTo>
                  <a:lnTo>
                    <a:pt x="2265414" y="200228"/>
                  </a:lnTo>
                  <a:lnTo>
                    <a:pt x="2265414" y="200876"/>
                  </a:lnTo>
                  <a:lnTo>
                    <a:pt x="2265414" y="200228"/>
                  </a:lnTo>
                  <a:lnTo>
                    <a:pt x="2265414" y="200876"/>
                  </a:lnTo>
                  <a:lnTo>
                    <a:pt x="2265465" y="200876"/>
                  </a:lnTo>
                  <a:lnTo>
                    <a:pt x="2265465" y="200228"/>
                  </a:lnTo>
                  <a:lnTo>
                    <a:pt x="2265465" y="200876"/>
                  </a:lnTo>
                  <a:lnTo>
                    <a:pt x="2265465" y="199530"/>
                  </a:lnTo>
                  <a:lnTo>
                    <a:pt x="2265465" y="200228"/>
                  </a:lnTo>
                  <a:lnTo>
                    <a:pt x="2265566" y="200228"/>
                  </a:lnTo>
                  <a:lnTo>
                    <a:pt x="2265566" y="199530"/>
                  </a:lnTo>
                  <a:lnTo>
                    <a:pt x="2265566" y="200228"/>
                  </a:lnTo>
                  <a:lnTo>
                    <a:pt x="2265566" y="199530"/>
                  </a:lnTo>
                  <a:lnTo>
                    <a:pt x="2265566" y="200228"/>
                  </a:lnTo>
                  <a:lnTo>
                    <a:pt x="2265566" y="197447"/>
                  </a:lnTo>
                  <a:lnTo>
                    <a:pt x="2265617" y="197447"/>
                  </a:lnTo>
                  <a:lnTo>
                    <a:pt x="2265617" y="195415"/>
                  </a:lnTo>
                  <a:lnTo>
                    <a:pt x="2265668" y="195415"/>
                  </a:lnTo>
                  <a:lnTo>
                    <a:pt x="2265668" y="197447"/>
                  </a:lnTo>
                  <a:lnTo>
                    <a:pt x="2265668" y="195415"/>
                  </a:lnTo>
                  <a:lnTo>
                    <a:pt x="2265668" y="196799"/>
                  </a:lnTo>
                  <a:lnTo>
                    <a:pt x="2265769" y="196799"/>
                  </a:lnTo>
                  <a:lnTo>
                    <a:pt x="2265769" y="198831"/>
                  </a:lnTo>
                  <a:lnTo>
                    <a:pt x="2265769" y="196799"/>
                  </a:lnTo>
                  <a:lnTo>
                    <a:pt x="2265769" y="197447"/>
                  </a:lnTo>
                  <a:lnTo>
                    <a:pt x="2265769" y="196113"/>
                  </a:lnTo>
                  <a:lnTo>
                    <a:pt x="2265769" y="198831"/>
                  </a:lnTo>
                  <a:lnTo>
                    <a:pt x="2265820" y="197447"/>
                  </a:lnTo>
                  <a:lnTo>
                    <a:pt x="2265820" y="198831"/>
                  </a:lnTo>
                  <a:lnTo>
                    <a:pt x="2265820" y="196799"/>
                  </a:lnTo>
                  <a:lnTo>
                    <a:pt x="2265820" y="197447"/>
                  </a:lnTo>
                  <a:lnTo>
                    <a:pt x="2265871" y="198831"/>
                  </a:lnTo>
                  <a:lnTo>
                    <a:pt x="2265871" y="197447"/>
                  </a:lnTo>
                  <a:lnTo>
                    <a:pt x="2265871" y="199530"/>
                  </a:lnTo>
                  <a:lnTo>
                    <a:pt x="2265871" y="198831"/>
                  </a:lnTo>
                  <a:lnTo>
                    <a:pt x="2265871" y="199530"/>
                  </a:lnTo>
                  <a:lnTo>
                    <a:pt x="2265909" y="199530"/>
                  </a:lnTo>
                  <a:lnTo>
                    <a:pt x="2265909" y="200228"/>
                  </a:lnTo>
                  <a:lnTo>
                    <a:pt x="2266011" y="200228"/>
                  </a:lnTo>
                  <a:lnTo>
                    <a:pt x="2266011" y="199530"/>
                  </a:lnTo>
                  <a:lnTo>
                    <a:pt x="2266011" y="200228"/>
                  </a:lnTo>
                  <a:lnTo>
                    <a:pt x="2266011" y="199530"/>
                  </a:lnTo>
                  <a:lnTo>
                    <a:pt x="2266011" y="200228"/>
                  </a:lnTo>
                  <a:lnTo>
                    <a:pt x="2266062" y="200228"/>
                  </a:lnTo>
                  <a:lnTo>
                    <a:pt x="2266062" y="199530"/>
                  </a:lnTo>
                  <a:lnTo>
                    <a:pt x="2266062" y="200228"/>
                  </a:lnTo>
                  <a:lnTo>
                    <a:pt x="2266062" y="198831"/>
                  </a:lnTo>
                  <a:lnTo>
                    <a:pt x="2266112" y="198831"/>
                  </a:lnTo>
                  <a:lnTo>
                    <a:pt x="2266112" y="195415"/>
                  </a:lnTo>
                  <a:lnTo>
                    <a:pt x="2266112" y="196113"/>
                  </a:lnTo>
                  <a:lnTo>
                    <a:pt x="2266214" y="196113"/>
                  </a:lnTo>
                  <a:lnTo>
                    <a:pt x="2266214" y="197447"/>
                  </a:lnTo>
                  <a:lnTo>
                    <a:pt x="2266214" y="194716"/>
                  </a:lnTo>
                  <a:lnTo>
                    <a:pt x="2266214" y="195415"/>
                  </a:lnTo>
                  <a:lnTo>
                    <a:pt x="2266265" y="196113"/>
                  </a:lnTo>
                  <a:lnTo>
                    <a:pt x="2266265" y="197447"/>
                  </a:lnTo>
                  <a:lnTo>
                    <a:pt x="2266265" y="196113"/>
                  </a:lnTo>
                  <a:lnTo>
                    <a:pt x="2266265" y="196799"/>
                  </a:lnTo>
                  <a:lnTo>
                    <a:pt x="2266315" y="196799"/>
                  </a:lnTo>
                  <a:lnTo>
                    <a:pt x="2266366" y="197447"/>
                  </a:lnTo>
                  <a:lnTo>
                    <a:pt x="2266366" y="196799"/>
                  </a:lnTo>
                  <a:lnTo>
                    <a:pt x="2266366" y="197447"/>
                  </a:lnTo>
                  <a:lnTo>
                    <a:pt x="2266366" y="196799"/>
                  </a:lnTo>
                  <a:lnTo>
                    <a:pt x="2266366" y="197447"/>
                  </a:lnTo>
                  <a:lnTo>
                    <a:pt x="2266366" y="196799"/>
                  </a:lnTo>
                  <a:lnTo>
                    <a:pt x="2266366" y="197447"/>
                  </a:lnTo>
                  <a:lnTo>
                    <a:pt x="2266455" y="197447"/>
                  </a:lnTo>
                  <a:lnTo>
                    <a:pt x="2266455" y="198831"/>
                  </a:lnTo>
                  <a:lnTo>
                    <a:pt x="2266506" y="198831"/>
                  </a:lnTo>
                  <a:lnTo>
                    <a:pt x="2266506" y="199530"/>
                  </a:lnTo>
                  <a:lnTo>
                    <a:pt x="2266506" y="198831"/>
                  </a:lnTo>
                  <a:lnTo>
                    <a:pt x="2266506" y="199530"/>
                  </a:lnTo>
                  <a:lnTo>
                    <a:pt x="2266506" y="198831"/>
                  </a:lnTo>
                  <a:lnTo>
                    <a:pt x="2266506" y="199530"/>
                  </a:lnTo>
                  <a:lnTo>
                    <a:pt x="2266506" y="198831"/>
                  </a:lnTo>
                  <a:lnTo>
                    <a:pt x="2266506" y="199530"/>
                  </a:lnTo>
                  <a:lnTo>
                    <a:pt x="2266557" y="198831"/>
                  </a:lnTo>
                  <a:lnTo>
                    <a:pt x="2266557" y="199530"/>
                  </a:lnTo>
                  <a:lnTo>
                    <a:pt x="2266557" y="198831"/>
                  </a:lnTo>
                  <a:lnTo>
                    <a:pt x="2266608" y="197447"/>
                  </a:lnTo>
                  <a:lnTo>
                    <a:pt x="2266608" y="198831"/>
                  </a:lnTo>
                  <a:lnTo>
                    <a:pt x="2266709" y="198831"/>
                  </a:lnTo>
                  <a:lnTo>
                    <a:pt x="2266709" y="197447"/>
                  </a:lnTo>
                  <a:lnTo>
                    <a:pt x="2266709" y="198831"/>
                  </a:lnTo>
                  <a:lnTo>
                    <a:pt x="2266709" y="196799"/>
                  </a:lnTo>
                  <a:lnTo>
                    <a:pt x="2266709" y="199530"/>
                  </a:lnTo>
                  <a:lnTo>
                    <a:pt x="2266760" y="198831"/>
                  </a:lnTo>
                  <a:lnTo>
                    <a:pt x="2266760" y="199530"/>
                  </a:lnTo>
                  <a:lnTo>
                    <a:pt x="2266760" y="198831"/>
                  </a:lnTo>
                  <a:lnTo>
                    <a:pt x="2266760" y="199530"/>
                  </a:lnTo>
                  <a:lnTo>
                    <a:pt x="2266760" y="198831"/>
                  </a:lnTo>
                  <a:lnTo>
                    <a:pt x="2266811" y="198831"/>
                  </a:lnTo>
                  <a:lnTo>
                    <a:pt x="2266811" y="199530"/>
                  </a:lnTo>
                  <a:lnTo>
                    <a:pt x="2266811" y="198831"/>
                  </a:lnTo>
                  <a:lnTo>
                    <a:pt x="2266811" y="199530"/>
                  </a:lnTo>
                  <a:lnTo>
                    <a:pt x="2266912" y="198831"/>
                  </a:lnTo>
                  <a:lnTo>
                    <a:pt x="2266912" y="199530"/>
                  </a:lnTo>
                  <a:lnTo>
                    <a:pt x="2266912" y="198831"/>
                  </a:lnTo>
                  <a:lnTo>
                    <a:pt x="2266912" y="200228"/>
                  </a:lnTo>
                  <a:lnTo>
                    <a:pt x="2266912" y="199530"/>
                  </a:lnTo>
                  <a:lnTo>
                    <a:pt x="2267001" y="199530"/>
                  </a:lnTo>
                  <a:lnTo>
                    <a:pt x="2267001" y="198831"/>
                  </a:lnTo>
                  <a:lnTo>
                    <a:pt x="2267001" y="199530"/>
                  </a:lnTo>
                  <a:lnTo>
                    <a:pt x="2267052" y="199530"/>
                  </a:lnTo>
                  <a:lnTo>
                    <a:pt x="2267052" y="196799"/>
                  </a:lnTo>
                  <a:lnTo>
                    <a:pt x="2267154" y="197447"/>
                  </a:lnTo>
                  <a:lnTo>
                    <a:pt x="2267154" y="198831"/>
                  </a:lnTo>
                  <a:lnTo>
                    <a:pt x="2267154" y="196799"/>
                  </a:lnTo>
                  <a:lnTo>
                    <a:pt x="2267154" y="199530"/>
                  </a:lnTo>
                  <a:lnTo>
                    <a:pt x="2267205" y="199530"/>
                  </a:lnTo>
                  <a:lnTo>
                    <a:pt x="2267205" y="196799"/>
                  </a:lnTo>
                  <a:lnTo>
                    <a:pt x="2267205" y="200228"/>
                  </a:lnTo>
                  <a:lnTo>
                    <a:pt x="2267205" y="199530"/>
                  </a:lnTo>
                  <a:lnTo>
                    <a:pt x="2267255" y="199530"/>
                  </a:lnTo>
                  <a:lnTo>
                    <a:pt x="2267255" y="197447"/>
                  </a:lnTo>
                  <a:lnTo>
                    <a:pt x="2267255" y="200228"/>
                  </a:lnTo>
                  <a:lnTo>
                    <a:pt x="2267357" y="199530"/>
                  </a:lnTo>
                  <a:lnTo>
                    <a:pt x="2267357" y="200228"/>
                  </a:lnTo>
                  <a:lnTo>
                    <a:pt x="2267357" y="199530"/>
                  </a:lnTo>
                  <a:lnTo>
                    <a:pt x="2267357" y="200228"/>
                  </a:lnTo>
                  <a:lnTo>
                    <a:pt x="2267408" y="200228"/>
                  </a:lnTo>
                  <a:lnTo>
                    <a:pt x="2267408" y="199530"/>
                  </a:lnTo>
                  <a:lnTo>
                    <a:pt x="2267408" y="200228"/>
                  </a:lnTo>
                  <a:lnTo>
                    <a:pt x="2267459" y="200228"/>
                  </a:lnTo>
                  <a:lnTo>
                    <a:pt x="2267459" y="199530"/>
                  </a:lnTo>
                  <a:lnTo>
                    <a:pt x="2267459" y="200228"/>
                  </a:lnTo>
                  <a:lnTo>
                    <a:pt x="2267459" y="198831"/>
                  </a:lnTo>
                  <a:lnTo>
                    <a:pt x="2267459" y="199530"/>
                  </a:lnTo>
                  <a:lnTo>
                    <a:pt x="2267459" y="198831"/>
                  </a:lnTo>
                  <a:lnTo>
                    <a:pt x="2267497" y="199530"/>
                  </a:lnTo>
                  <a:lnTo>
                    <a:pt x="2267497" y="198831"/>
                  </a:lnTo>
                  <a:lnTo>
                    <a:pt x="2267497" y="199530"/>
                  </a:lnTo>
                  <a:lnTo>
                    <a:pt x="2267497" y="198831"/>
                  </a:lnTo>
                  <a:lnTo>
                    <a:pt x="2267497" y="199530"/>
                  </a:lnTo>
                  <a:lnTo>
                    <a:pt x="2267497" y="198831"/>
                  </a:lnTo>
                  <a:lnTo>
                    <a:pt x="2267497" y="199530"/>
                  </a:lnTo>
                  <a:lnTo>
                    <a:pt x="2267497" y="198831"/>
                  </a:lnTo>
                  <a:lnTo>
                    <a:pt x="2267497" y="199530"/>
                  </a:lnTo>
                  <a:lnTo>
                    <a:pt x="2267497" y="198831"/>
                  </a:lnTo>
                  <a:lnTo>
                    <a:pt x="2267598" y="199530"/>
                  </a:lnTo>
                  <a:lnTo>
                    <a:pt x="2267598" y="196799"/>
                  </a:lnTo>
                  <a:lnTo>
                    <a:pt x="2267649" y="196799"/>
                  </a:lnTo>
                  <a:lnTo>
                    <a:pt x="2267649" y="198831"/>
                  </a:lnTo>
                  <a:lnTo>
                    <a:pt x="2267649" y="196799"/>
                  </a:lnTo>
                  <a:lnTo>
                    <a:pt x="2267649" y="197447"/>
                  </a:lnTo>
                  <a:lnTo>
                    <a:pt x="2267700" y="197447"/>
                  </a:lnTo>
                  <a:lnTo>
                    <a:pt x="2267700" y="200228"/>
                  </a:lnTo>
                  <a:lnTo>
                    <a:pt x="2267700" y="198831"/>
                  </a:lnTo>
                  <a:lnTo>
                    <a:pt x="2267700" y="199530"/>
                  </a:lnTo>
                  <a:lnTo>
                    <a:pt x="2267700" y="198831"/>
                  </a:lnTo>
                  <a:lnTo>
                    <a:pt x="2267700" y="199530"/>
                  </a:lnTo>
                  <a:lnTo>
                    <a:pt x="2267801" y="199530"/>
                  </a:lnTo>
                  <a:lnTo>
                    <a:pt x="2267801" y="200876"/>
                  </a:lnTo>
                  <a:lnTo>
                    <a:pt x="2267801" y="199530"/>
                  </a:lnTo>
                  <a:lnTo>
                    <a:pt x="2267801" y="200228"/>
                  </a:lnTo>
                  <a:lnTo>
                    <a:pt x="2267801" y="199530"/>
                  </a:lnTo>
                  <a:lnTo>
                    <a:pt x="2267801" y="200228"/>
                  </a:lnTo>
                  <a:lnTo>
                    <a:pt x="2267852" y="200228"/>
                  </a:lnTo>
                  <a:lnTo>
                    <a:pt x="2267852" y="200876"/>
                  </a:lnTo>
                  <a:lnTo>
                    <a:pt x="2267852" y="200228"/>
                  </a:lnTo>
                  <a:lnTo>
                    <a:pt x="2267852" y="200876"/>
                  </a:lnTo>
                  <a:lnTo>
                    <a:pt x="2267852" y="200228"/>
                  </a:lnTo>
                  <a:lnTo>
                    <a:pt x="2267903" y="200228"/>
                  </a:lnTo>
                  <a:lnTo>
                    <a:pt x="2267903" y="200876"/>
                  </a:lnTo>
                  <a:lnTo>
                    <a:pt x="2267903" y="200228"/>
                  </a:lnTo>
                  <a:lnTo>
                    <a:pt x="2267903" y="200876"/>
                  </a:lnTo>
                  <a:lnTo>
                    <a:pt x="2267954" y="200876"/>
                  </a:lnTo>
                  <a:lnTo>
                    <a:pt x="2267954" y="200228"/>
                  </a:lnTo>
                  <a:lnTo>
                    <a:pt x="2267954" y="200876"/>
                  </a:lnTo>
                  <a:lnTo>
                    <a:pt x="2267954" y="200228"/>
                  </a:lnTo>
                  <a:lnTo>
                    <a:pt x="2267954" y="200876"/>
                  </a:lnTo>
                  <a:lnTo>
                    <a:pt x="2267954" y="200228"/>
                  </a:lnTo>
                  <a:lnTo>
                    <a:pt x="2268043" y="200228"/>
                  </a:lnTo>
                  <a:lnTo>
                    <a:pt x="2268043" y="199530"/>
                  </a:lnTo>
                  <a:lnTo>
                    <a:pt x="2268043" y="200228"/>
                  </a:lnTo>
                  <a:lnTo>
                    <a:pt x="2268043" y="199530"/>
                  </a:lnTo>
                  <a:lnTo>
                    <a:pt x="2268043" y="200228"/>
                  </a:lnTo>
                  <a:lnTo>
                    <a:pt x="2268043" y="198831"/>
                  </a:lnTo>
                  <a:lnTo>
                    <a:pt x="2268094" y="198831"/>
                  </a:lnTo>
                  <a:lnTo>
                    <a:pt x="2268094" y="197447"/>
                  </a:lnTo>
                  <a:lnTo>
                    <a:pt x="2268094" y="199530"/>
                  </a:lnTo>
                  <a:lnTo>
                    <a:pt x="2268144" y="199530"/>
                  </a:lnTo>
                  <a:lnTo>
                    <a:pt x="2268144" y="198831"/>
                  </a:lnTo>
                  <a:lnTo>
                    <a:pt x="2268144" y="199530"/>
                  </a:lnTo>
                  <a:lnTo>
                    <a:pt x="2268144" y="197447"/>
                  </a:lnTo>
                  <a:lnTo>
                    <a:pt x="2268144" y="200228"/>
                  </a:lnTo>
                  <a:lnTo>
                    <a:pt x="2268144" y="199530"/>
                  </a:lnTo>
                  <a:lnTo>
                    <a:pt x="2268195" y="199530"/>
                  </a:lnTo>
                  <a:lnTo>
                    <a:pt x="2268195" y="200228"/>
                  </a:lnTo>
                  <a:lnTo>
                    <a:pt x="2268297" y="200228"/>
                  </a:lnTo>
                  <a:lnTo>
                    <a:pt x="2268297" y="199530"/>
                  </a:lnTo>
                  <a:lnTo>
                    <a:pt x="2268297" y="200876"/>
                  </a:lnTo>
                  <a:lnTo>
                    <a:pt x="2268297" y="200228"/>
                  </a:lnTo>
                  <a:lnTo>
                    <a:pt x="2268347" y="200228"/>
                  </a:lnTo>
                  <a:lnTo>
                    <a:pt x="2268347" y="200876"/>
                  </a:lnTo>
                  <a:lnTo>
                    <a:pt x="2268347" y="200228"/>
                  </a:lnTo>
                  <a:lnTo>
                    <a:pt x="2268347" y="200876"/>
                  </a:lnTo>
                  <a:lnTo>
                    <a:pt x="2268347" y="200228"/>
                  </a:lnTo>
                  <a:lnTo>
                    <a:pt x="2268347" y="200876"/>
                  </a:lnTo>
                  <a:lnTo>
                    <a:pt x="2268398" y="200876"/>
                  </a:lnTo>
                  <a:lnTo>
                    <a:pt x="2268500" y="200228"/>
                  </a:lnTo>
                  <a:lnTo>
                    <a:pt x="2268500" y="200876"/>
                  </a:lnTo>
                  <a:lnTo>
                    <a:pt x="2268500" y="199530"/>
                  </a:lnTo>
                  <a:lnTo>
                    <a:pt x="2268500" y="200228"/>
                  </a:lnTo>
                  <a:lnTo>
                    <a:pt x="2268500" y="199530"/>
                  </a:lnTo>
                  <a:lnTo>
                    <a:pt x="2268538" y="199530"/>
                  </a:lnTo>
                  <a:lnTo>
                    <a:pt x="2268538" y="197447"/>
                  </a:lnTo>
                  <a:lnTo>
                    <a:pt x="2268589" y="197447"/>
                  </a:lnTo>
                  <a:lnTo>
                    <a:pt x="2268589" y="199530"/>
                  </a:lnTo>
                  <a:lnTo>
                    <a:pt x="2268589" y="198831"/>
                  </a:lnTo>
                  <a:lnTo>
                    <a:pt x="2268640" y="197447"/>
                  </a:lnTo>
                  <a:lnTo>
                    <a:pt x="2268640" y="202260"/>
                  </a:lnTo>
                  <a:lnTo>
                    <a:pt x="2268640" y="199530"/>
                  </a:lnTo>
                  <a:lnTo>
                    <a:pt x="2268741" y="199530"/>
                  </a:lnTo>
                  <a:lnTo>
                    <a:pt x="2268741" y="200876"/>
                  </a:lnTo>
                  <a:lnTo>
                    <a:pt x="2268741" y="200228"/>
                  </a:lnTo>
                  <a:lnTo>
                    <a:pt x="2268792" y="200228"/>
                  </a:lnTo>
                  <a:lnTo>
                    <a:pt x="2268792" y="200876"/>
                  </a:lnTo>
                  <a:lnTo>
                    <a:pt x="2268944" y="200876"/>
                  </a:lnTo>
                  <a:lnTo>
                    <a:pt x="2268944" y="202260"/>
                  </a:lnTo>
                  <a:lnTo>
                    <a:pt x="2268944" y="200228"/>
                  </a:lnTo>
                  <a:lnTo>
                    <a:pt x="2268944" y="200876"/>
                  </a:lnTo>
                  <a:lnTo>
                    <a:pt x="2268995" y="200876"/>
                  </a:lnTo>
                  <a:lnTo>
                    <a:pt x="2268995" y="200228"/>
                  </a:lnTo>
                  <a:lnTo>
                    <a:pt x="2268995" y="200876"/>
                  </a:lnTo>
                  <a:lnTo>
                    <a:pt x="2268995" y="199530"/>
                  </a:lnTo>
                  <a:lnTo>
                    <a:pt x="2269046" y="199530"/>
                  </a:lnTo>
                  <a:lnTo>
                    <a:pt x="2269046" y="198831"/>
                  </a:lnTo>
                  <a:lnTo>
                    <a:pt x="2269046" y="199530"/>
                  </a:lnTo>
                  <a:lnTo>
                    <a:pt x="2269046" y="197447"/>
                  </a:lnTo>
                  <a:lnTo>
                    <a:pt x="2269046" y="198831"/>
                  </a:lnTo>
                  <a:lnTo>
                    <a:pt x="2269046" y="197447"/>
                  </a:lnTo>
                  <a:lnTo>
                    <a:pt x="2269084" y="196799"/>
                  </a:lnTo>
                  <a:lnTo>
                    <a:pt x="2269084" y="198831"/>
                  </a:lnTo>
                  <a:lnTo>
                    <a:pt x="2269084" y="196799"/>
                  </a:lnTo>
                  <a:lnTo>
                    <a:pt x="2269084" y="197447"/>
                  </a:lnTo>
                  <a:lnTo>
                    <a:pt x="2269084" y="196113"/>
                  </a:lnTo>
                  <a:lnTo>
                    <a:pt x="2269186" y="196799"/>
                  </a:lnTo>
                  <a:lnTo>
                    <a:pt x="2269186" y="199530"/>
                  </a:lnTo>
                  <a:lnTo>
                    <a:pt x="2269186" y="197447"/>
                  </a:lnTo>
                  <a:lnTo>
                    <a:pt x="2269186" y="198831"/>
                  </a:lnTo>
                  <a:lnTo>
                    <a:pt x="2269186" y="197447"/>
                  </a:lnTo>
                  <a:lnTo>
                    <a:pt x="2269186" y="199530"/>
                  </a:lnTo>
                  <a:lnTo>
                    <a:pt x="2269237" y="199530"/>
                  </a:lnTo>
                  <a:lnTo>
                    <a:pt x="2269237" y="197447"/>
                  </a:lnTo>
                  <a:lnTo>
                    <a:pt x="2269237" y="199530"/>
                  </a:lnTo>
                  <a:lnTo>
                    <a:pt x="2269389" y="199530"/>
                  </a:lnTo>
                  <a:lnTo>
                    <a:pt x="2269389" y="200228"/>
                  </a:lnTo>
                  <a:lnTo>
                    <a:pt x="2269389" y="199530"/>
                  </a:lnTo>
                  <a:lnTo>
                    <a:pt x="2269389" y="200228"/>
                  </a:lnTo>
                  <a:lnTo>
                    <a:pt x="2269440" y="200228"/>
                  </a:lnTo>
                  <a:lnTo>
                    <a:pt x="2269440" y="199530"/>
                  </a:lnTo>
                  <a:lnTo>
                    <a:pt x="2269440" y="200228"/>
                  </a:lnTo>
                  <a:lnTo>
                    <a:pt x="2269440" y="199530"/>
                  </a:lnTo>
                  <a:lnTo>
                    <a:pt x="2269440" y="200228"/>
                  </a:lnTo>
                  <a:lnTo>
                    <a:pt x="2269440" y="199530"/>
                  </a:lnTo>
                  <a:lnTo>
                    <a:pt x="2269490" y="199530"/>
                  </a:lnTo>
                  <a:lnTo>
                    <a:pt x="2269490" y="200228"/>
                  </a:lnTo>
                  <a:lnTo>
                    <a:pt x="2269490" y="198831"/>
                  </a:lnTo>
                  <a:lnTo>
                    <a:pt x="2269541" y="198831"/>
                  </a:lnTo>
                  <a:lnTo>
                    <a:pt x="2269541" y="196799"/>
                  </a:lnTo>
                  <a:lnTo>
                    <a:pt x="2269541" y="197447"/>
                  </a:lnTo>
                  <a:lnTo>
                    <a:pt x="2269541" y="196799"/>
                  </a:lnTo>
                  <a:lnTo>
                    <a:pt x="2269541" y="197447"/>
                  </a:lnTo>
                  <a:lnTo>
                    <a:pt x="2269630" y="197447"/>
                  </a:lnTo>
                  <a:lnTo>
                    <a:pt x="2269630" y="198831"/>
                  </a:lnTo>
                  <a:lnTo>
                    <a:pt x="2269630" y="196799"/>
                  </a:lnTo>
                  <a:lnTo>
                    <a:pt x="2269630" y="197447"/>
                  </a:lnTo>
                  <a:lnTo>
                    <a:pt x="2269630" y="196799"/>
                  </a:lnTo>
                  <a:lnTo>
                    <a:pt x="2269630" y="200228"/>
                  </a:lnTo>
                  <a:lnTo>
                    <a:pt x="2269681" y="200228"/>
                  </a:lnTo>
                  <a:lnTo>
                    <a:pt x="2269681" y="197447"/>
                  </a:lnTo>
                  <a:lnTo>
                    <a:pt x="2269681" y="200228"/>
                  </a:lnTo>
                  <a:lnTo>
                    <a:pt x="2269681" y="199530"/>
                  </a:lnTo>
                  <a:lnTo>
                    <a:pt x="2269732" y="200228"/>
                  </a:lnTo>
                  <a:lnTo>
                    <a:pt x="2269732" y="198831"/>
                  </a:lnTo>
                  <a:lnTo>
                    <a:pt x="2269732" y="199530"/>
                  </a:lnTo>
                  <a:lnTo>
                    <a:pt x="2269783" y="199530"/>
                  </a:lnTo>
                  <a:lnTo>
                    <a:pt x="2269783" y="200228"/>
                  </a:lnTo>
                  <a:lnTo>
                    <a:pt x="2269783" y="199530"/>
                  </a:lnTo>
                  <a:lnTo>
                    <a:pt x="2269783" y="200228"/>
                  </a:lnTo>
                  <a:lnTo>
                    <a:pt x="2269783" y="199530"/>
                  </a:lnTo>
                  <a:lnTo>
                    <a:pt x="2269783" y="200228"/>
                  </a:lnTo>
                  <a:lnTo>
                    <a:pt x="2269783" y="199530"/>
                  </a:lnTo>
                  <a:lnTo>
                    <a:pt x="2269783" y="200228"/>
                  </a:lnTo>
                  <a:lnTo>
                    <a:pt x="2269884" y="200228"/>
                  </a:lnTo>
                  <a:lnTo>
                    <a:pt x="2269884" y="199530"/>
                  </a:lnTo>
                  <a:lnTo>
                    <a:pt x="2269884" y="200876"/>
                  </a:lnTo>
                  <a:lnTo>
                    <a:pt x="2269884" y="200228"/>
                  </a:lnTo>
                  <a:lnTo>
                    <a:pt x="2269935" y="200228"/>
                  </a:lnTo>
                  <a:lnTo>
                    <a:pt x="2269935" y="200876"/>
                  </a:lnTo>
                  <a:lnTo>
                    <a:pt x="2269935" y="200228"/>
                  </a:lnTo>
                  <a:lnTo>
                    <a:pt x="2269935" y="200876"/>
                  </a:lnTo>
                  <a:lnTo>
                    <a:pt x="2269935" y="200228"/>
                  </a:lnTo>
                  <a:lnTo>
                    <a:pt x="2269986" y="200228"/>
                  </a:lnTo>
                  <a:lnTo>
                    <a:pt x="2269986" y="199530"/>
                  </a:lnTo>
                  <a:lnTo>
                    <a:pt x="2269986" y="200228"/>
                  </a:lnTo>
                  <a:lnTo>
                    <a:pt x="2269986" y="199530"/>
                  </a:lnTo>
                  <a:lnTo>
                    <a:pt x="2270087" y="199530"/>
                  </a:lnTo>
                  <a:lnTo>
                    <a:pt x="2270087" y="197447"/>
                  </a:lnTo>
                  <a:lnTo>
                    <a:pt x="2270087" y="198831"/>
                  </a:lnTo>
                  <a:lnTo>
                    <a:pt x="2270125" y="198831"/>
                  </a:lnTo>
                  <a:lnTo>
                    <a:pt x="2270125" y="199530"/>
                  </a:lnTo>
                  <a:lnTo>
                    <a:pt x="2270125" y="196799"/>
                  </a:lnTo>
                  <a:lnTo>
                    <a:pt x="2270125" y="200228"/>
                  </a:lnTo>
                  <a:lnTo>
                    <a:pt x="2270176" y="200228"/>
                  </a:lnTo>
                  <a:lnTo>
                    <a:pt x="2270176" y="199530"/>
                  </a:lnTo>
                  <a:lnTo>
                    <a:pt x="2270176" y="200228"/>
                  </a:lnTo>
                  <a:lnTo>
                    <a:pt x="2270176" y="199530"/>
                  </a:lnTo>
                  <a:lnTo>
                    <a:pt x="2270227" y="200228"/>
                  </a:lnTo>
                  <a:lnTo>
                    <a:pt x="2270227" y="199530"/>
                  </a:lnTo>
                  <a:lnTo>
                    <a:pt x="2270227" y="200228"/>
                  </a:lnTo>
                  <a:lnTo>
                    <a:pt x="2270329" y="200228"/>
                  </a:lnTo>
                  <a:lnTo>
                    <a:pt x="2270329" y="199530"/>
                  </a:lnTo>
                  <a:lnTo>
                    <a:pt x="2270329" y="200228"/>
                  </a:lnTo>
                  <a:lnTo>
                    <a:pt x="2270380" y="200228"/>
                  </a:lnTo>
                  <a:lnTo>
                    <a:pt x="2270380" y="199530"/>
                  </a:lnTo>
                  <a:lnTo>
                    <a:pt x="2270380" y="200228"/>
                  </a:lnTo>
                  <a:lnTo>
                    <a:pt x="2270380" y="199530"/>
                  </a:lnTo>
                  <a:lnTo>
                    <a:pt x="2270430" y="200228"/>
                  </a:lnTo>
                  <a:lnTo>
                    <a:pt x="2270430" y="199530"/>
                  </a:lnTo>
                  <a:lnTo>
                    <a:pt x="2270532" y="199530"/>
                  </a:lnTo>
                  <a:lnTo>
                    <a:pt x="2270532" y="197447"/>
                  </a:lnTo>
                  <a:lnTo>
                    <a:pt x="2270532" y="198831"/>
                  </a:lnTo>
                  <a:lnTo>
                    <a:pt x="2270532" y="197447"/>
                  </a:lnTo>
                  <a:lnTo>
                    <a:pt x="2270583" y="197447"/>
                  </a:lnTo>
                  <a:lnTo>
                    <a:pt x="2270583" y="196799"/>
                  </a:lnTo>
                  <a:lnTo>
                    <a:pt x="2270583" y="197447"/>
                  </a:lnTo>
                  <a:lnTo>
                    <a:pt x="2270583" y="196799"/>
                  </a:lnTo>
                  <a:lnTo>
                    <a:pt x="2270583" y="198831"/>
                  </a:lnTo>
                  <a:lnTo>
                    <a:pt x="2270634" y="198831"/>
                  </a:lnTo>
                  <a:lnTo>
                    <a:pt x="2270634" y="196113"/>
                  </a:lnTo>
                  <a:lnTo>
                    <a:pt x="2270634" y="199530"/>
                  </a:lnTo>
                  <a:lnTo>
                    <a:pt x="2270672" y="198831"/>
                  </a:lnTo>
                  <a:lnTo>
                    <a:pt x="2270672" y="200876"/>
                  </a:lnTo>
                  <a:lnTo>
                    <a:pt x="2270672" y="199530"/>
                  </a:lnTo>
                  <a:lnTo>
                    <a:pt x="2270672" y="200228"/>
                  </a:lnTo>
                  <a:lnTo>
                    <a:pt x="2270773" y="200228"/>
                  </a:lnTo>
                  <a:lnTo>
                    <a:pt x="2270773" y="198831"/>
                  </a:lnTo>
                  <a:lnTo>
                    <a:pt x="2270773" y="200228"/>
                  </a:lnTo>
                  <a:lnTo>
                    <a:pt x="2270824" y="200228"/>
                  </a:lnTo>
                  <a:lnTo>
                    <a:pt x="2270824" y="199530"/>
                  </a:lnTo>
                  <a:lnTo>
                    <a:pt x="2270824" y="200228"/>
                  </a:lnTo>
                  <a:lnTo>
                    <a:pt x="2270824" y="199530"/>
                  </a:lnTo>
                  <a:lnTo>
                    <a:pt x="2270875" y="200228"/>
                  </a:lnTo>
                  <a:lnTo>
                    <a:pt x="2270875" y="199530"/>
                  </a:lnTo>
                  <a:lnTo>
                    <a:pt x="2270875" y="200228"/>
                  </a:lnTo>
                  <a:lnTo>
                    <a:pt x="2270875" y="199530"/>
                  </a:lnTo>
                  <a:lnTo>
                    <a:pt x="2270875" y="200228"/>
                  </a:lnTo>
                  <a:lnTo>
                    <a:pt x="2270976" y="200228"/>
                  </a:lnTo>
                  <a:lnTo>
                    <a:pt x="2270976" y="199530"/>
                  </a:lnTo>
                  <a:lnTo>
                    <a:pt x="2270976" y="200228"/>
                  </a:lnTo>
                  <a:lnTo>
                    <a:pt x="2270976" y="199530"/>
                  </a:lnTo>
                  <a:lnTo>
                    <a:pt x="2270976" y="200228"/>
                  </a:lnTo>
                  <a:lnTo>
                    <a:pt x="2270976" y="199530"/>
                  </a:lnTo>
                  <a:lnTo>
                    <a:pt x="2271027" y="199530"/>
                  </a:lnTo>
                  <a:lnTo>
                    <a:pt x="2271027" y="198831"/>
                  </a:lnTo>
                  <a:lnTo>
                    <a:pt x="2271027" y="199530"/>
                  </a:lnTo>
                  <a:lnTo>
                    <a:pt x="2271027" y="196799"/>
                  </a:lnTo>
                  <a:lnTo>
                    <a:pt x="2271027" y="197447"/>
                  </a:lnTo>
                  <a:lnTo>
                    <a:pt x="2271078" y="197447"/>
                  </a:lnTo>
                  <a:lnTo>
                    <a:pt x="2271078" y="196113"/>
                  </a:lnTo>
                  <a:lnTo>
                    <a:pt x="2271078" y="196799"/>
                  </a:lnTo>
                  <a:lnTo>
                    <a:pt x="2271078" y="196113"/>
                  </a:lnTo>
                  <a:lnTo>
                    <a:pt x="2271078" y="197447"/>
                  </a:lnTo>
                  <a:lnTo>
                    <a:pt x="2271078" y="196799"/>
                  </a:lnTo>
                  <a:lnTo>
                    <a:pt x="2271129" y="197447"/>
                  </a:lnTo>
                  <a:lnTo>
                    <a:pt x="2271129" y="196113"/>
                  </a:lnTo>
                  <a:lnTo>
                    <a:pt x="2271129" y="198831"/>
                  </a:lnTo>
                  <a:lnTo>
                    <a:pt x="2271129" y="197447"/>
                  </a:lnTo>
                  <a:lnTo>
                    <a:pt x="2271218" y="197447"/>
                  </a:lnTo>
                  <a:lnTo>
                    <a:pt x="2271218" y="199530"/>
                  </a:lnTo>
                  <a:lnTo>
                    <a:pt x="2271218" y="198831"/>
                  </a:lnTo>
                  <a:lnTo>
                    <a:pt x="2271269" y="198831"/>
                  </a:lnTo>
                  <a:lnTo>
                    <a:pt x="2271269" y="199530"/>
                  </a:lnTo>
                  <a:lnTo>
                    <a:pt x="2271269" y="198831"/>
                  </a:lnTo>
                  <a:lnTo>
                    <a:pt x="2271269" y="200228"/>
                  </a:lnTo>
                  <a:lnTo>
                    <a:pt x="2271269" y="199530"/>
                  </a:lnTo>
                  <a:lnTo>
                    <a:pt x="2271319" y="199530"/>
                  </a:lnTo>
                  <a:lnTo>
                    <a:pt x="2271319" y="200228"/>
                  </a:lnTo>
                  <a:lnTo>
                    <a:pt x="2271319" y="199530"/>
                  </a:lnTo>
                  <a:lnTo>
                    <a:pt x="2271319" y="200228"/>
                  </a:lnTo>
                  <a:lnTo>
                    <a:pt x="2271319" y="199530"/>
                  </a:lnTo>
                  <a:lnTo>
                    <a:pt x="2271319" y="200228"/>
                  </a:lnTo>
                  <a:lnTo>
                    <a:pt x="2271319" y="199530"/>
                  </a:lnTo>
                  <a:lnTo>
                    <a:pt x="2271370" y="199530"/>
                  </a:lnTo>
                  <a:lnTo>
                    <a:pt x="2271370" y="200228"/>
                  </a:lnTo>
                  <a:lnTo>
                    <a:pt x="2271370" y="199530"/>
                  </a:lnTo>
                  <a:lnTo>
                    <a:pt x="2271370" y="200228"/>
                  </a:lnTo>
                  <a:lnTo>
                    <a:pt x="2271472" y="200228"/>
                  </a:lnTo>
                  <a:lnTo>
                    <a:pt x="2271472" y="198831"/>
                  </a:lnTo>
                  <a:lnTo>
                    <a:pt x="2271472" y="199530"/>
                  </a:lnTo>
                  <a:lnTo>
                    <a:pt x="2271472" y="198831"/>
                  </a:lnTo>
                  <a:lnTo>
                    <a:pt x="2271522" y="198831"/>
                  </a:lnTo>
                  <a:lnTo>
                    <a:pt x="2271522" y="196799"/>
                  </a:lnTo>
                  <a:lnTo>
                    <a:pt x="2271522" y="197447"/>
                  </a:lnTo>
                  <a:lnTo>
                    <a:pt x="2271522" y="196113"/>
                  </a:lnTo>
                  <a:lnTo>
                    <a:pt x="2271573" y="196113"/>
                  </a:lnTo>
                  <a:lnTo>
                    <a:pt x="2271573" y="194716"/>
                  </a:lnTo>
                  <a:lnTo>
                    <a:pt x="2271573" y="196113"/>
                  </a:lnTo>
                  <a:lnTo>
                    <a:pt x="2271675" y="196113"/>
                  </a:lnTo>
                  <a:lnTo>
                    <a:pt x="2271675" y="194716"/>
                  </a:lnTo>
                  <a:lnTo>
                    <a:pt x="2271675" y="197447"/>
                  </a:lnTo>
                  <a:lnTo>
                    <a:pt x="2271713" y="196799"/>
                  </a:lnTo>
                  <a:lnTo>
                    <a:pt x="2271713" y="197447"/>
                  </a:lnTo>
                  <a:lnTo>
                    <a:pt x="2271713" y="196799"/>
                  </a:lnTo>
                  <a:lnTo>
                    <a:pt x="2271713" y="197447"/>
                  </a:lnTo>
                  <a:lnTo>
                    <a:pt x="2271713" y="196799"/>
                  </a:lnTo>
                  <a:lnTo>
                    <a:pt x="2271713" y="198831"/>
                  </a:lnTo>
                  <a:lnTo>
                    <a:pt x="2271713" y="197447"/>
                  </a:lnTo>
                  <a:lnTo>
                    <a:pt x="2271764" y="197447"/>
                  </a:lnTo>
                  <a:lnTo>
                    <a:pt x="2271764" y="198831"/>
                  </a:lnTo>
                  <a:lnTo>
                    <a:pt x="2271764" y="197447"/>
                  </a:lnTo>
                  <a:lnTo>
                    <a:pt x="2271764" y="199530"/>
                  </a:lnTo>
                  <a:lnTo>
                    <a:pt x="2271764" y="198831"/>
                  </a:lnTo>
                  <a:lnTo>
                    <a:pt x="2271815" y="198831"/>
                  </a:lnTo>
                  <a:lnTo>
                    <a:pt x="2271815" y="200228"/>
                  </a:lnTo>
                  <a:lnTo>
                    <a:pt x="2271815" y="199530"/>
                  </a:lnTo>
                  <a:lnTo>
                    <a:pt x="2271916" y="199530"/>
                  </a:lnTo>
                  <a:lnTo>
                    <a:pt x="2271916" y="200228"/>
                  </a:lnTo>
                  <a:lnTo>
                    <a:pt x="2271916" y="199530"/>
                  </a:lnTo>
                  <a:lnTo>
                    <a:pt x="2271916" y="200876"/>
                  </a:lnTo>
                  <a:lnTo>
                    <a:pt x="2271916" y="200228"/>
                  </a:lnTo>
                  <a:lnTo>
                    <a:pt x="2271967" y="200228"/>
                  </a:lnTo>
                  <a:lnTo>
                    <a:pt x="2271967" y="199530"/>
                  </a:lnTo>
                  <a:lnTo>
                    <a:pt x="2271967" y="200228"/>
                  </a:lnTo>
                  <a:lnTo>
                    <a:pt x="2271967" y="199530"/>
                  </a:lnTo>
                  <a:lnTo>
                    <a:pt x="2272018" y="199530"/>
                  </a:lnTo>
                  <a:lnTo>
                    <a:pt x="2272018" y="198831"/>
                  </a:lnTo>
                  <a:lnTo>
                    <a:pt x="2272018" y="199530"/>
                  </a:lnTo>
                  <a:lnTo>
                    <a:pt x="2272018" y="196799"/>
                  </a:lnTo>
                  <a:lnTo>
                    <a:pt x="2272119" y="197447"/>
                  </a:lnTo>
                  <a:lnTo>
                    <a:pt x="2272119" y="195415"/>
                  </a:lnTo>
                  <a:lnTo>
                    <a:pt x="2272119" y="196799"/>
                  </a:lnTo>
                  <a:lnTo>
                    <a:pt x="2272170" y="196113"/>
                  </a:lnTo>
                  <a:lnTo>
                    <a:pt x="2272170" y="194716"/>
                  </a:lnTo>
                  <a:lnTo>
                    <a:pt x="2272170" y="198831"/>
                  </a:lnTo>
                  <a:lnTo>
                    <a:pt x="2272170" y="196799"/>
                  </a:lnTo>
                  <a:lnTo>
                    <a:pt x="2272221" y="196799"/>
                  </a:lnTo>
                  <a:lnTo>
                    <a:pt x="2272221" y="196113"/>
                  </a:lnTo>
                  <a:lnTo>
                    <a:pt x="2272221" y="197447"/>
                  </a:lnTo>
                  <a:lnTo>
                    <a:pt x="2272221" y="196799"/>
                  </a:lnTo>
                  <a:lnTo>
                    <a:pt x="2272259" y="196799"/>
                  </a:lnTo>
                  <a:lnTo>
                    <a:pt x="2272259" y="196113"/>
                  </a:lnTo>
                  <a:lnTo>
                    <a:pt x="2272259" y="197447"/>
                  </a:lnTo>
                  <a:lnTo>
                    <a:pt x="2272259" y="196799"/>
                  </a:lnTo>
                  <a:lnTo>
                    <a:pt x="2272361" y="196799"/>
                  </a:lnTo>
                  <a:lnTo>
                    <a:pt x="2272361" y="198831"/>
                  </a:lnTo>
                  <a:lnTo>
                    <a:pt x="2272412" y="198831"/>
                  </a:lnTo>
                  <a:lnTo>
                    <a:pt x="2272412" y="200228"/>
                  </a:lnTo>
                  <a:lnTo>
                    <a:pt x="2272412" y="199530"/>
                  </a:lnTo>
                  <a:lnTo>
                    <a:pt x="2272412" y="200228"/>
                  </a:lnTo>
                  <a:lnTo>
                    <a:pt x="2272412" y="199530"/>
                  </a:lnTo>
                  <a:lnTo>
                    <a:pt x="2272462" y="200228"/>
                  </a:lnTo>
                  <a:lnTo>
                    <a:pt x="2272462" y="199530"/>
                  </a:lnTo>
                  <a:lnTo>
                    <a:pt x="2272462" y="200228"/>
                  </a:lnTo>
                  <a:lnTo>
                    <a:pt x="2272462" y="198831"/>
                  </a:lnTo>
                  <a:lnTo>
                    <a:pt x="2272462" y="199530"/>
                  </a:lnTo>
                  <a:lnTo>
                    <a:pt x="2272462" y="198831"/>
                  </a:lnTo>
                  <a:lnTo>
                    <a:pt x="2272462" y="199530"/>
                  </a:lnTo>
                  <a:lnTo>
                    <a:pt x="2272564" y="198831"/>
                  </a:lnTo>
                  <a:lnTo>
                    <a:pt x="2272564" y="197447"/>
                  </a:lnTo>
                  <a:lnTo>
                    <a:pt x="2272564" y="198831"/>
                  </a:lnTo>
                  <a:lnTo>
                    <a:pt x="2272615" y="198831"/>
                  </a:lnTo>
                  <a:lnTo>
                    <a:pt x="2272615" y="199530"/>
                  </a:lnTo>
                  <a:lnTo>
                    <a:pt x="2272615" y="197447"/>
                  </a:lnTo>
                  <a:lnTo>
                    <a:pt x="2272615" y="200228"/>
                  </a:lnTo>
                  <a:lnTo>
                    <a:pt x="2272665" y="200876"/>
                  </a:lnTo>
                  <a:lnTo>
                    <a:pt x="2272665" y="199530"/>
                  </a:lnTo>
                  <a:lnTo>
                    <a:pt x="2272665" y="200876"/>
                  </a:lnTo>
                  <a:lnTo>
                    <a:pt x="2272716" y="200876"/>
                  </a:lnTo>
                  <a:lnTo>
                    <a:pt x="2272716" y="200228"/>
                  </a:lnTo>
                  <a:lnTo>
                    <a:pt x="2272716" y="200876"/>
                  </a:lnTo>
                  <a:lnTo>
                    <a:pt x="2272716" y="199530"/>
                  </a:lnTo>
                  <a:lnTo>
                    <a:pt x="2272716" y="200228"/>
                  </a:lnTo>
                  <a:lnTo>
                    <a:pt x="2272805" y="200228"/>
                  </a:lnTo>
                  <a:lnTo>
                    <a:pt x="2272805" y="199530"/>
                  </a:lnTo>
                  <a:lnTo>
                    <a:pt x="2272805" y="200228"/>
                  </a:lnTo>
                  <a:lnTo>
                    <a:pt x="2272805" y="199530"/>
                  </a:lnTo>
                  <a:lnTo>
                    <a:pt x="2272805" y="200228"/>
                  </a:lnTo>
                  <a:lnTo>
                    <a:pt x="2272805" y="199530"/>
                  </a:lnTo>
                  <a:lnTo>
                    <a:pt x="2272805" y="200228"/>
                  </a:lnTo>
                  <a:lnTo>
                    <a:pt x="2272805" y="199530"/>
                  </a:lnTo>
                  <a:lnTo>
                    <a:pt x="2272856" y="199530"/>
                  </a:lnTo>
                  <a:lnTo>
                    <a:pt x="2272856" y="200228"/>
                  </a:lnTo>
                  <a:lnTo>
                    <a:pt x="2272856" y="199530"/>
                  </a:lnTo>
                  <a:lnTo>
                    <a:pt x="2272907" y="199530"/>
                  </a:lnTo>
                  <a:lnTo>
                    <a:pt x="2272907" y="200228"/>
                  </a:lnTo>
                  <a:lnTo>
                    <a:pt x="2272907" y="199530"/>
                  </a:lnTo>
                  <a:lnTo>
                    <a:pt x="2272958" y="199530"/>
                  </a:lnTo>
                  <a:lnTo>
                    <a:pt x="2272958" y="198831"/>
                  </a:lnTo>
                  <a:lnTo>
                    <a:pt x="2272958" y="199530"/>
                  </a:lnTo>
                  <a:lnTo>
                    <a:pt x="2272958" y="197447"/>
                  </a:lnTo>
                  <a:lnTo>
                    <a:pt x="2273059" y="197447"/>
                  </a:lnTo>
                  <a:lnTo>
                    <a:pt x="2273059" y="196799"/>
                  </a:lnTo>
                  <a:lnTo>
                    <a:pt x="2273059" y="199530"/>
                  </a:lnTo>
                  <a:lnTo>
                    <a:pt x="2273110" y="199530"/>
                  </a:lnTo>
                  <a:lnTo>
                    <a:pt x="2273110" y="197447"/>
                  </a:lnTo>
                  <a:lnTo>
                    <a:pt x="2273110" y="202260"/>
                  </a:lnTo>
                  <a:lnTo>
                    <a:pt x="2273110" y="200876"/>
                  </a:lnTo>
                  <a:lnTo>
                    <a:pt x="2273161" y="200228"/>
                  </a:lnTo>
                  <a:lnTo>
                    <a:pt x="2273161" y="202260"/>
                  </a:lnTo>
                  <a:lnTo>
                    <a:pt x="2273161" y="200876"/>
                  </a:lnTo>
                  <a:lnTo>
                    <a:pt x="2273262" y="200876"/>
                  </a:lnTo>
                  <a:lnTo>
                    <a:pt x="2273262" y="200228"/>
                  </a:lnTo>
                  <a:lnTo>
                    <a:pt x="2273262" y="200876"/>
                  </a:lnTo>
                  <a:lnTo>
                    <a:pt x="2273262" y="200228"/>
                  </a:lnTo>
                  <a:lnTo>
                    <a:pt x="2273262" y="200876"/>
                  </a:lnTo>
                  <a:lnTo>
                    <a:pt x="2273262" y="200228"/>
                  </a:lnTo>
                  <a:lnTo>
                    <a:pt x="2273300" y="200228"/>
                  </a:lnTo>
                  <a:lnTo>
                    <a:pt x="2273300" y="200876"/>
                  </a:lnTo>
                  <a:lnTo>
                    <a:pt x="2273300" y="200228"/>
                  </a:lnTo>
                  <a:lnTo>
                    <a:pt x="2273300" y="200876"/>
                  </a:lnTo>
                  <a:lnTo>
                    <a:pt x="2273300" y="200228"/>
                  </a:lnTo>
                  <a:lnTo>
                    <a:pt x="2273351" y="200228"/>
                  </a:lnTo>
                  <a:lnTo>
                    <a:pt x="2273351" y="200876"/>
                  </a:lnTo>
                  <a:lnTo>
                    <a:pt x="2273351" y="200228"/>
                  </a:lnTo>
                  <a:lnTo>
                    <a:pt x="2273351" y="200876"/>
                  </a:lnTo>
                  <a:lnTo>
                    <a:pt x="2273351" y="200228"/>
                  </a:lnTo>
                  <a:lnTo>
                    <a:pt x="2273402" y="200228"/>
                  </a:lnTo>
                  <a:lnTo>
                    <a:pt x="2273402" y="200876"/>
                  </a:lnTo>
                  <a:lnTo>
                    <a:pt x="2273402" y="200228"/>
                  </a:lnTo>
                  <a:lnTo>
                    <a:pt x="2273402" y="200876"/>
                  </a:lnTo>
                  <a:lnTo>
                    <a:pt x="2273402" y="199530"/>
                  </a:lnTo>
                  <a:lnTo>
                    <a:pt x="2273504" y="199530"/>
                  </a:lnTo>
                  <a:lnTo>
                    <a:pt x="2273504" y="196799"/>
                  </a:lnTo>
                  <a:lnTo>
                    <a:pt x="2273555" y="196799"/>
                  </a:lnTo>
                  <a:lnTo>
                    <a:pt x="2273555" y="196113"/>
                  </a:lnTo>
                  <a:lnTo>
                    <a:pt x="2273555" y="196799"/>
                  </a:lnTo>
                  <a:lnTo>
                    <a:pt x="2273555" y="196113"/>
                  </a:lnTo>
                  <a:lnTo>
                    <a:pt x="2273555" y="198831"/>
                  </a:lnTo>
                  <a:lnTo>
                    <a:pt x="2273555" y="196799"/>
                  </a:lnTo>
                  <a:lnTo>
                    <a:pt x="2273605" y="196799"/>
                  </a:lnTo>
                  <a:lnTo>
                    <a:pt x="2273605" y="200228"/>
                  </a:lnTo>
                  <a:lnTo>
                    <a:pt x="2273605" y="198831"/>
                  </a:lnTo>
                  <a:lnTo>
                    <a:pt x="2273707" y="198831"/>
                  </a:lnTo>
                  <a:lnTo>
                    <a:pt x="2273707" y="200228"/>
                  </a:lnTo>
                  <a:lnTo>
                    <a:pt x="2273707" y="199530"/>
                  </a:lnTo>
                  <a:lnTo>
                    <a:pt x="2273758" y="199530"/>
                  </a:lnTo>
                  <a:lnTo>
                    <a:pt x="2273758" y="200876"/>
                  </a:lnTo>
                  <a:lnTo>
                    <a:pt x="2273758" y="200228"/>
                  </a:lnTo>
                  <a:lnTo>
                    <a:pt x="2273809" y="200228"/>
                  </a:lnTo>
                  <a:lnTo>
                    <a:pt x="2273809" y="200876"/>
                  </a:lnTo>
                  <a:lnTo>
                    <a:pt x="2273809" y="200228"/>
                  </a:lnTo>
                  <a:lnTo>
                    <a:pt x="2273809" y="200876"/>
                  </a:lnTo>
                  <a:lnTo>
                    <a:pt x="2273809" y="200228"/>
                  </a:lnTo>
                  <a:lnTo>
                    <a:pt x="2273809" y="200876"/>
                  </a:lnTo>
                  <a:lnTo>
                    <a:pt x="2273847" y="200876"/>
                  </a:lnTo>
                  <a:lnTo>
                    <a:pt x="2273847" y="202260"/>
                  </a:lnTo>
                  <a:lnTo>
                    <a:pt x="2273847" y="200228"/>
                  </a:lnTo>
                  <a:lnTo>
                    <a:pt x="2273847" y="202260"/>
                  </a:lnTo>
                  <a:lnTo>
                    <a:pt x="2273847" y="200876"/>
                  </a:lnTo>
                  <a:lnTo>
                    <a:pt x="2273948" y="200876"/>
                  </a:lnTo>
                  <a:lnTo>
                    <a:pt x="2273948" y="199530"/>
                  </a:lnTo>
                  <a:lnTo>
                    <a:pt x="2273999" y="199530"/>
                  </a:lnTo>
                  <a:lnTo>
                    <a:pt x="2273999" y="196799"/>
                  </a:lnTo>
                  <a:lnTo>
                    <a:pt x="2273999" y="197447"/>
                  </a:lnTo>
                  <a:lnTo>
                    <a:pt x="2273999" y="196799"/>
                  </a:lnTo>
                  <a:lnTo>
                    <a:pt x="2273999" y="197447"/>
                  </a:lnTo>
                  <a:lnTo>
                    <a:pt x="2273999" y="196799"/>
                  </a:lnTo>
                  <a:lnTo>
                    <a:pt x="2274050" y="196799"/>
                  </a:lnTo>
                  <a:lnTo>
                    <a:pt x="2274050" y="196113"/>
                  </a:lnTo>
                  <a:lnTo>
                    <a:pt x="2274050" y="198831"/>
                  </a:lnTo>
                  <a:lnTo>
                    <a:pt x="2274050" y="196113"/>
                  </a:lnTo>
                  <a:lnTo>
                    <a:pt x="2274151" y="196113"/>
                  </a:lnTo>
                  <a:lnTo>
                    <a:pt x="2274151" y="199530"/>
                  </a:lnTo>
                  <a:lnTo>
                    <a:pt x="2274151" y="198831"/>
                  </a:lnTo>
                  <a:lnTo>
                    <a:pt x="2274151" y="199530"/>
                  </a:lnTo>
                  <a:lnTo>
                    <a:pt x="2274151" y="197447"/>
                  </a:lnTo>
                  <a:lnTo>
                    <a:pt x="2274202" y="197447"/>
                  </a:lnTo>
                  <a:lnTo>
                    <a:pt x="2274202" y="199530"/>
                  </a:lnTo>
                  <a:lnTo>
                    <a:pt x="2274202" y="197447"/>
                  </a:lnTo>
                  <a:lnTo>
                    <a:pt x="2274202" y="198831"/>
                  </a:lnTo>
                  <a:lnTo>
                    <a:pt x="2274253" y="198831"/>
                  </a:lnTo>
                  <a:lnTo>
                    <a:pt x="2274253" y="199530"/>
                  </a:lnTo>
                  <a:lnTo>
                    <a:pt x="2274253" y="198831"/>
                  </a:lnTo>
                  <a:lnTo>
                    <a:pt x="2274253" y="200228"/>
                  </a:lnTo>
                  <a:lnTo>
                    <a:pt x="2274304" y="200228"/>
                  </a:lnTo>
                  <a:lnTo>
                    <a:pt x="2274304" y="200876"/>
                  </a:lnTo>
                  <a:lnTo>
                    <a:pt x="2274304" y="200228"/>
                  </a:lnTo>
                  <a:lnTo>
                    <a:pt x="2274304" y="200876"/>
                  </a:lnTo>
                  <a:lnTo>
                    <a:pt x="2274393" y="200876"/>
                  </a:lnTo>
                  <a:lnTo>
                    <a:pt x="2274393" y="200228"/>
                  </a:lnTo>
                  <a:lnTo>
                    <a:pt x="2274444" y="200228"/>
                  </a:lnTo>
                  <a:lnTo>
                    <a:pt x="2274444" y="198831"/>
                  </a:lnTo>
                  <a:lnTo>
                    <a:pt x="2274444" y="199530"/>
                  </a:lnTo>
                  <a:lnTo>
                    <a:pt x="2274494" y="198831"/>
                  </a:lnTo>
                  <a:lnTo>
                    <a:pt x="2274494" y="196799"/>
                  </a:lnTo>
                  <a:lnTo>
                    <a:pt x="2274545" y="196113"/>
                  </a:lnTo>
                  <a:lnTo>
                    <a:pt x="2274545" y="198831"/>
                  </a:lnTo>
                  <a:lnTo>
                    <a:pt x="2274545" y="196113"/>
                  </a:lnTo>
                  <a:lnTo>
                    <a:pt x="2274647" y="196113"/>
                  </a:lnTo>
                  <a:lnTo>
                    <a:pt x="2274647" y="199530"/>
                  </a:lnTo>
                  <a:lnTo>
                    <a:pt x="2274647" y="196799"/>
                  </a:lnTo>
                  <a:lnTo>
                    <a:pt x="2274647" y="197447"/>
                  </a:lnTo>
                  <a:lnTo>
                    <a:pt x="2274697" y="198831"/>
                  </a:lnTo>
                  <a:lnTo>
                    <a:pt x="2274697" y="199530"/>
                  </a:lnTo>
                  <a:lnTo>
                    <a:pt x="2274697" y="197447"/>
                  </a:lnTo>
                  <a:lnTo>
                    <a:pt x="2274748" y="198831"/>
                  </a:lnTo>
                  <a:lnTo>
                    <a:pt x="2274748" y="199530"/>
                  </a:lnTo>
                  <a:lnTo>
                    <a:pt x="2274748" y="198831"/>
                  </a:lnTo>
                  <a:lnTo>
                    <a:pt x="2274748" y="199530"/>
                  </a:lnTo>
                  <a:lnTo>
                    <a:pt x="2274748" y="198831"/>
                  </a:lnTo>
                  <a:lnTo>
                    <a:pt x="2274748" y="199530"/>
                  </a:lnTo>
                  <a:lnTo>
                    <a:pt x="2274748" y="198831"/>
                  </a:lnTo>
                  <a:lnTo>
                    <a:pt x="2274748" y="200228"/>
                  </a:lnTo>
                  <a:lnTo>
                    <a:pt x="2274850" y="200228"/>
                  </a:lnTo>
                  <a:lnTo>
                    <a:pt x="2274850" y="199530"/>
                  </a:lnTo>
                  <a:lnTo>
                    <a:pt x="2274850" y="200876"/>
                  </a:lnTo>
                  <a:lnTo>
                    <a:pt x="2274850" y="200228"/>
                  </a:lnTo>
                  <a:lnTo>
                    <a:pt x="2274888" y="200876"/>
                  </a:lnTo>
                  <a:lnTo>
                    <a:pt x="2274888" y="200228"/>
                  </a:lnTo>
                  <a:lnTo>
                    <a:pt x="2274888" y="200876"/>
                  </a:lnTo>
                  <a:lnTo>
                    <a:pt x="2274888" y="199530"/>
                  </a:lnTo>
                  <a:lnTo>
                    <a:pt x="2274888" y="200228"/>
                  </a:lnTo>
                  <a:lnTo>
                    <a:pt x="2274939" y="200228"/>
                  </a:lnTo>
                  <a:lnTo>
                    <a:pt x="2274939" y="198831"/>
                  </a:lnTo>
                  <a:lnTo>
                    <a:pt x="2274939" y="199530"/>
                  </a:lnTo>
                  <a:lnTo>
                    <a:pt x="2274939" y="198831"/>
                  </a:lnTo>
                  <a:lnTo>
                    <a:pt x="2274990" y="198831"/>
                  </a:lnTo>
                  <a:lnTo>
                    <a:pt x="2274990" y="196799"/>
                  </a:lnTo>
                  <a:lnTo>
                    <a:pt x="2274990" y="197447"/>
                  </a:lnTo>
                  <a:lnTo>
                    <a:pt x="2275091" y="198831"/>
                  </a:lnTo>
                  <a:lnTo>
                    <a:pt x="2275091" y="196113"/>
                  </a:lnTo>
                  <a:lnTo>
                    <a:pt x="2275091" y="200228"/>
                  </a:lnTo>
                  <a:lnTo>
                    <a:pt x="2275142" y="200228"/>
                  </a:lnTo>
                  <a:lnTo>
                    <a:pt x="2275142" y="196799"/>
                  </a:lnTo>
                  <a:lnTo>
                    <a:pt x="2275142" y="199530"/>
                  </a:lnTo>
                  <a:lnTo>
                    <a:pt x="2275193" y="199530"/>
                  </a:lnTo>
                  <a:lnTo>
                    <a:pt x="2275193" y="197447"/>
                  </a:lnTo>
                  <a:lnTo>
                    <a:pt x="2275193" y="198831"/>
                  </a:lnTo>
                  <a:lnTo>
                    <a:pt x="2275294" y="198831"/>
                  </a:lnTo>
                  <a:lnTo>
                    <a:pt x="2275294" y="197447"/>
                  </a:lnTo>
                  <a:lnTo>
                    <a:pt x="2275294" y="199530"/>
                  </a:lnTo>
                  <a:lnTo>
                    <a:pt x="2275294" y="198831"/>
                  </a:lnTo>
                  <a:lnTo>
                    <a:pt x="2275294" y="199530"/>
                  </a:lnTo>
                  <a:lnTo>
                    <a:pt x="2275345" y="199530"/>
                  </a:lnTo>
                  <a:lnTo>
                    <a:pt x="2275345" y="198831"/>
                  </a:lnTo>
                  <a:lnTo>
                    <a:pt x="2275345" y="199530"/>
                  </a:lnTo>
                  <a:lnTo>
                    <a:pt x="2275396" y="199530"/>
                  </a:lnTo>
                  <a:lnTo>
                    <a:pt x="2275396" y="198831"/>
                  </a:lnTo>
                  <a:lnTo>
                    <a:pt x="2275434" y="198831"/>
                  </a:lnTo>
                  <a:lnTo>
                    <a:pt x="2275434" y="199530"/>
                  </a:lnTo>
                  <a:lnTo>
                    <a:pt x="2275434" y="198831"/>
                  </a:lnTo>
                  <a:lnTo>
                    <a:pt x="2275434" y="199530"/>
                  </a:lnTo>
                  <a:lnTo>
                    <a:pt x="2275434" y="198831"/>
                  </a:lnTo>
                  <a:lnTo>
                    <a:pt x="2275536" y="198831"/>
                  </a:lnTo>
                  <a:lnTo>
                    <a:pt x="2275536" y="196799"/>
                  </a:lnTo>
                  <a:lnTo>
                    <a:pt x="2275536" y="197447"/>
                  </a:lnTo>
                  <a:lnTo>
                    <a:pt x="2275536" y="196799"/>
                  </a:lnTo>
                  <a:lnTo>
                    <a:pt x="2275536" y="199530"/>
                  </a:lnTo>
                  <a:lnTo>
                    <a:pt x="2275536" y="198831"/>
                  </a:lnTo>
                  <a:lnTo>
                    <a:pt x="2275587" y="198831"/>
                  </a:lnTo>
                  <a:lnTo>
                    <a:pt x="2275587" y="196799"/>
                  </a:lnTo>
                  <a:lnTo>
                    <a:pt x="2275587" y="200876"/>
                  </a:lnTo>
                  <a:lnTo>
                    <a:pt x="2275587" y="200228"/>
                  </a:lnTo>
                  <a:lnTo>
                    <a:pt x="2275637" y="199530"/>
                  </a:lnTo>
                  <a:lnTo>
                    <a:pt x="2275637" y="197447"/>
                  </a:lnTo>
                  <a:lnTo>
                    <a:pt x="2275637" y="200228"/>
                  </a:lnTo>
                  <a:lnTo>
                    <a:pt x="2275637" y="199530"/>
                  </a:lnTo>
                  <a:lnTo>
                    <a:pt x="2275739" y="199530"/>
                  </a:lnTo>
                  <a:lnTo>
                    <a:pt x="2275739" y="198831"/>
                  </a:lnTo>
                  <a:lnTo>
                    <a:pt x="2275739" y="200228"/>
                  </a:lnTo>
                  <a:lnTo>
                    <a:pt x="2275739" y="199530"/>
                  </a:lnTo>
                  <a:lnTo>
                    <a:pt x="2275739" y="200228"/>
                  </a:lnTo>
                  <a:lnTo>
                    <a:pt x="2275790" y="200228"/>
                  </a:lnTo>
                  <a:lnTo>
                    <a:pt x="2275790" y="199530"/>
                  </a:lnTo>
                  <a:lnTo>
                    <a:pt x="2275790" y="200228"/>
                  </a:lnTo>
                  <a:lnTo>
                    <a:pt x="2275790" y="199530"/>
                  </a:lnTo>
                  <a:lnTo>
                    <a:pt x="2275790" y="200228"/>
                  </a:lnTo>
                  <a:lnTo>
                    <a:pt x="2275790" y="199530"/>
                  </a:lnTo>
                  <a:lnTo>
                    <a:pt x="2275790" y="200228"/>
                  </a:lnTo>
                  <a:lnTo>
                    <a:pt x="2275790" y="199530"/>
                  </a:lnTo>
                  <a:lnTo>
                    <a:pt x="2275790" y="200228"/>
                  </a:lnTo>
                  <a:lnTo>
                    <a:pt x="2275840" y="200228"/>
                  </a:lnTo>
                  <a:lnTo>
                    <a:pt x="2275840" y="200876"/>
                  </a:lnTo>
                  <a:lnTo>
                    <a:pt x="2275840" y="200228"/>
                  </a:lnTo>
                  <a:lnTo>
                    <a:pt x="2275891" y="200228"/>
                  </a:lnTo>
                  <a:lnTo>
                    <a:pt x="2275891" y="199530"/>
                  </a:lnTo>
                  <a:lnTo>
                    <a:pt x="2275891" y="200228"/>
                  </a:lnTo>
                  <a:lnTo>
                    <a:pt x="2275891" y="199530"/>
                  </a:lnTo>
                  <a:lnTo>
                    <a:pt x="2275891" y="200228"/>
                  </a:lnTo>
                  <a:lnTo>
                    <a:pt x="2275891" y="199530"/>
                  </a:lnTo>
                  <a:lnTo>
                    <a:pt x="2275980" y="199530"/>
                  </a:lnTo>
                  <a:lnTo>
                    <a:pt x="2275980" y="198831"/>
                  </a:lnTo>
                  <a:lnTo>
                    <a:pt x="2275980" y="199530"/>
                  </a:lnTo>
                  <a:lnTo>
                    <a:pt x="2275980" y="197447"/>
                  </a:lnTo>
                  <a:lnTo>
                    <a:pt x="2275980" y="198831"/>
                  </a:lnTo>
                  <a:lnTo>
                    <a:pt x="2276031" y="198831"/>
                  </a:lnTo>
                  <a:lnTo>
                    <a:pt x="2276031" y="197447"/>
                  </a:lnTo>
                  <a:lnTo>
                    <a:pt x="2276031" y="198831"/>
                  </a:lnTo>
                  <a:lnTo>
                    <a:pt x="2276031" y="196799"/>
                  </a:lnTo>
                  <a:lnTo>
                    <a:pt x="2276031" y="199530"/>
                  </a:lnTo>
                  <a:lnTo>
                    <a:pt x="2276031" y="198831"/>
                  </a:lnTo>
                  <a:lnTo>
                    <a:pt x="2276082" y="198831"/>
                  </a:lnTo>
                  <a:lnTo>
                    <a:pt x="2276082" y="197447"/>
                  </a:lnTo>
                  <a:lnTo>
                    <a:pt x="2276082" y="200876"/>
                  </a:lnTo>
                  <a:lnTo>
                    <a:pt x="2276082" y="199530"/>
                  </a:lnTo>
                  <a:lnTo>
                    <a:pt x="2276133" y="199530"/>
                  </a:lnTo>
                  <a:lnTo>
                    <a:pt x="2276133" y="198831"/>
                  </a:lnTo>
                  <a:lnTo>
                    <a:pt x="2276133" y="199530"/>
                  </a:lnTo>
                  <a:lnTo>
                    <a:pt x="2276133" y="198831"/>
                  </a:lnTo>
                  <a:lnTo>
                    <a:pt x="2276133" y="200228"/>
                  </a:lnTo>
                  <a:lnTo>
                    <a:pt x="2276133" y="199530"/>
                  </a:lnTo>
                  <a:lnTo>
                    <a:pt x="2276234" y="199530"/>
                  </a:lnTo>
                  <a:lnTo>
                    <a:pt x="2276234" y="200876"/>
                  </a:lnTo>
                  <a:lnTo>
                    <a:pt x="2276234" y="199530"/>
                  </a:lnTo>
                  <a:lnTo>
                    <a:pt x="2276234" y="200228"/>
                  </a:lnTo>
                  <a:lnTo>
                    <a:pt x="2276285" y="200228"/>
                  </a:lnTo>
                  <a:lnTo>
                    <a:pt x="2276285" y="200876"/>
                  </a:lnTo>
                  <a:lnTo>
                    <a:pt x="2276285" y="200228"/>
                  </a:lnTo>
                  <a:lnTo>
                    <a:pt x="2276336" y="200228"/>
                  </a:lnTo>
                  <a:lnTo>
                    <a:pt x="2276336" y="200876"/>
                  </a:lnTo>
                  <a:lnTo>
                    <a:pt x="2276336" y="200228"/>
                  </a:lnTo>
                  <a:lnTo>
                    <a:pt x="2276336" y="200876"/>
                  </a:lnTo>
                  <a:lnTo>
                    <a:pt x="2276336" y="199530"/>
                  </a:lnTo>
                  <a:lnTo>
                    <a:pt x="2276437" y="199530"/>
                  </a:lnTo>
                  <a:lnTo>
                    <a:pt x="2276437" y="200228"/>
                  </a:lnTo>
                  <a:lnTo>
                    <a:pt x="2276437" y="198831"/>
                  </a:lnTo>
                  <a:lnTo>
                    <a:pt x="2276437" y="199530"/>
                  </a:lnTo>
                  <a:lnTo>
                    <a:pt x="2276475" y="199530"/>
                  </a:lnTo>
                  <a:lnTo>
                    <a:pt x="2276475" y="198831"/>
                  </a:lnTo>
                  <a:lnTo>
                    <a:pt x="2276475" y="199530"/>
                  </a:lnTo>
                  <a:lnTo>
                    <a:pt x="2276475" y="197447"/>
                  </a:lnTo>
                  <a:lnTo>
                    <a:pt x="2276475" y="198831"/>
                  </a:lnTo>
                  <a:lnTo>
                    <a:pt x="2276475" y="197447"/>
                  </a:lnTo>
                  <a:lnTo>
                    <a:pt x="2276526" y="196799"/>
                  </a:lnTo>
                  <a:lnTo>
                    <a:pt x="2276526" y="196113"/>
                  </a:lnTo>
                  <a:lnTo>
                    <a:pt x="2276526" y="198831"/>
                  </a:lnTo>
                  <a:lnTo>
                    <a:pt x="2276526" y="196799"/>
                  </a:lnTo>
                  <a:lnTo>
                    <a:pt x="2276577" y="196113"/>
                  </a:lnTo>
                  <a:lnTo>
                    <a:pt x="2276577" y="200228"/>
                  </a:lnTo>
                  <a:lnTo>
                    <a:pt x="2276577" y="197447"/>
                  </a:lnTo>
                  <a:lnTo>
                    <a:pt x="2276577" y="198831"/>
                  </a:lnTo>
                  <a:lnTo>
                    <a:pt x="2276577" y="197447"/>
                  </a:lnTo>
                  <a:lnTo>
                    <a:pt x="2276679" y="197447"/>
                  </a:lnTo>
                  <a:lnTo>
                    <a:pt x="2276679" y="200228"/>
                  </a:lnTo>
                  <a:lnTo>
                    <a:pt x="2276679" y="198831"/>
                  </a:lnTo>
                  <a:lnTo>
                    <a:pt x="2276679" y="199530"/>
                  </a:lnTo>
                  <a:lnTo>
                    <a:pt x="2276679" y="198831"/>
                  </a:lnTo>
                  <a:lnTo>
                    <a:pt x="2276679" y="199530"/>
                  </a:lnTo>
                  <a:lnTo>
                    <a:pt x="2276730" y="199530"/>
                  </a:lnTo>
                  <a:lnTo>
                    <a:pt x="2276730" y="200228"/>
                  </a:lnTo>
                  <a:lnTo>
                    <a:pt x="2276730" y="199530"/>
                  </a:lnTo>
                  <a:lnTo>
                    <a:pt x="2276730" y="200228"/>
                  </a:lnTo>
                  <a:lnTo>
                    <a:pt x="2276730" y="199530"/>
                  </a:lnTo>
                  <a:lnTo>
                    <a:pt x="2276730" y="200228"/>
                  </a:lnTo>
                  <a:lnTo>
                    <a:pt x="2276730" y="199530"/>
                  </a:lnTo>
                  <a:lnTo>
                    <a:pt x="2276730" y="200228"/>
                  </a:lnTo>
                  <a:lnTo>
                    <a:pt x="2276780" y="200228"/>
                  </a:lnTo>
                  <a:lnTo>
                    <a:pt x="2276780" y="200876"/>
                  </a:lnTo>
                  <a:lnTo>
                    <a:pt x="2276780" y="200228"/>
                  </a:lnTo>
                  <a:lnTo>
                    <a:pt x="2276780" y="200876"/>
                  </a:lnTo>
                  <a:lnTo>
                    <a:pt x="2276780" y="200228"/>
                  </a:lnTo>
                  <a:lnTo>
                    <a:pt x="2276882" y="200228"/>
                  </a:lnTo>
                  <a:lnTo>
                    <a:pt x="2276882" y="200876"/>
                  </a:lnTo>
                  <a:lnTo>
                    <a:pt x="2276882" y="200228"/>
                  </a:lnTo>
                  <a:lnTo>
                    <a:pt x="2276882" y="200876"/>
                  </a:lnTo>
                  <a:lnTo>
                    <a:pt x="2276882" y="199530"/>
                  </a:lnTo>
                  <a:lnTo>
                    <a:pt x="2276882" y="200228"/>
                  </a:lnTo>
                  <a:lnTo>
                    <a:pt x="2276933" y="200228"/>
                  </a:lnTo>
                  <a:lnTo>
                    <a:pt x="2276933" y="199530"/>
                  </a:lnTo>
                  <a:lnTo>
                    <a:pt x="2276933" y="200228"/>
                  </a:lnTo>
                  <a:lnTo>
                    <a:pt x="2276933" y="199530"/>
                  </a:lnTo>
                  <a:lnTo>
                    <a:pt x="2276933" y="200228"/>
                  </a:lnTo>
                  <a:lnTo>
                    <a:pt x="2276933" y="198831"/>
                  </a:lnTo>
                  <a:lnTo>
                    <a:pt x="2276933" y="199530"/>
                  </a:lnTo>
                  <a:lnTo>
                    <a:pt x="2276984" y="199530"/>
                  </a:lnTo>
                  <a:lnTo>
                    <a:pt x="2276984" y="196799"/>
                  </a:lnTo>
                  <a:lnTo>
                    <a:pt x="2276984" y="197447"/>
                  </a:lnTo>
                  <a:lnTo>
                    <a:pt x="2276984" y="196799"/>
                  </a:lnTo>
                  <a:lnTo>
                    <a:pt x="2277022" y="197447"/>
                  </a:lnTo>
                  <a:lnTo>
                    <a:pt x="2277022" y="196799"/>
                  </a:lnTo>
                  <a:lnTo>
                    <a:pt x="2277022" y="198831"/>
                  </a:lnTo>
                  <a:lnTo>
                    <a:pt x="2277022" y="196799"/>
                  </a:lnTo>
                  <a:lnTo>
                    <a:pt x="2277123" y="196799"/>
                  </a:lnTo>
                  <a:lnTo>
                    <a:pt x="2277123" y="199530"/>
                  </a:lnTo>
                  <a:lnTo>
                    <a:pt x="2277123" y="198831"/>
                  </a:lnTo>
                  <a:lnTo>
                    <a:pt x="2277174" y="198831"/>
                  </a:lnTo>
                  <a:lnTo>
                    <a:pt x="2277174" y="200228"/>
                  </a:lnTo>
                  <a:lnTo>
                    <a:pt x="2277174" y="199530"/>
                  </a:lnTo>
                  <a:lnTo>
                    <a:pt x="2277174" y="200228"/>
                  </a:lnTo>
                  <a:lnTo>
                    <a:pt x="2277225" y="200228"/>
                  </a:lnTo>
                  <a:lnTo>
                    <a:pt x="2277225" y="199530"/>
                  </a:lnTo>
                  <a:lnTo>
                    <a:pt x="2277225" y="200228"/>
                  </a:lnTo>
                  <a:lnTo>
                    <a:pt x="2277225" y="199530"/>
                  </a:lnTo>
                  <a:lnTo>
                    <a:pt x="2277326" y="199530"/>
                  </a:lnTo>
                  <a:lnTo>
                    <a:pt x="2277326" y="200228"/>
                  </a:lnTo>
                  <a:lnTo>
                    <a:pt x="2277326" y="199530"/>
                  </a:lnTo>
                  <a:lnTo>
                    <a:pt x="2277326" y="200228"/>
                  </a:lnTo>
                  <a:lnTo>
                    <a:pt x="2277326" y="199530"/>
                  </a:lnTo>
                  <a:lnTo>
                    <a:pt x="2277326" y="200228"/>
                  </a:lnTo>
                  <a:lnTo>
                    <a:pt x="2277377" y="200228"/>
                  </a:lnTo>
                  <a:lnTo>
                    <a:pt x="2277377" y="199530"/>
                  </a:lnTo>
                  <a:lnTo>
                    <a:pt x="2277377" y="200228"/>
                  </a:lnTo>
                  <a:lnTo>
                    <a:pt x="2277377" y="199530"/>
                  </a:lnTo>
                  <a:lnTo>
                    <a:pt x="2277377" y="200228"/>
                  </a:lnTo>
                  <a:lnTo>
                    <a:pt x="2277377" y="199530"/>
                  </a:lnTo>
                  <a:lnTo>
                    <a:pt x="2277377" y="200228"/>
                  </a:lnTo>
                  <a:lnTo>
                    <a:pt x="2277377" y="199530"/>
                  </a:lnTo>
                  <a:lnTo>
                    <a:pt x="2277428" y="199530"/>
                  </a:lnTo>
                  <a:lnTo>
                    <a:pt x="2277428" y="200228"/>
                  </a:lnTo>
                  <a:lnTo>
                    <a:pt x="2277428" y="199530"/>
                  </a:lnTo>
                  <a:lnTo>
                    <a:pt x="2277428" y="200228"/>
                  </a:lnTo>
                  <a:lnTo>
                    <a:pt x="2277428" y="199530"/>
                  </a:lnTo>
                  <a:lnTo>
                    <a:pt x="2277479" y="198831"/>
                  </a:lnTo>
                  <a:lnTo>
                    <a:pt x="2277479" y="197447"/>
                  </a:lnTo>
                  <a:lnTo>
                    <a:pt x="2277479" y="198831"/>
                  </a:lnTo>
                  <a:lnTo>
                    <a:pt x="2277479" y="196799"/>
                  </a:lnTo>
                  <a:lnTo>
                    <a:pt x="2277568" y="196113"/>
                  </a:lnTo>
                  <a:lnTo>
                    <a:pt x="2277568" y="198831"/>
                  </a:lnTo>
                  <a:lnTo>
                    <a:pt x="2277568" y="196799"/>
                  </a:lnTo>
                  <a:lnTo>
                    <a:pt x="2277619" y="196799"/>
                  </a:lnTo>
                  <a:lnTo>
                    <a:pt x="2277619" y="198831"/>
                  </a:lnTo>
                  <a:lnTo>
                    <a:pt x="2277619" y="197447"/>
                  </a:lnTo>
                  <a:lnTo>
                    <a:pt x="2277619" y="198831"/>
                  </a:lnTo>
                  <a:lnTo>
                    <a:pt x="2277669" y="198831"/>
                  </a:lnTo>
                  <a:lnTo>
                    <a:pt x="2277669" y="199530"/>
                  </a:lnTo>
                  <a:lnTo>
                    <a:pt x="2277669" y="198831"/>
                  </a:lnTo>
                  <a:lnTo>
                    <a:pt x="2277669" y="200228"/>
                  </a:lnTo>
                  <a:lnTo>
                    <a:pt x="2277720" y="200228"/>
                  </a:lnTo>
                  <a:lnTo>
                    <a:pt x="2277720" y="199530"/>
                  </a:lnTo>
                  <a:lnTo>
                    <a:pt x="2277720" y="200228"/>
                  </a:lnTo>
                  <a:lnTo>
                    <a:pt x="2277720" y="199530"/>
                  </a:lnTo>
                  <a:lnTo>
                    <a:pt x="2277720" y="200228"/>
                  </a:lnTo>
                  <a:lnTo>
                    <a:pt x="2277720" y="199530"/>
                  </a:lnTo>
                  <a:lnTo>
                    <a:pt x="2277720" y="200228"/>
                  </a:lnTo>
                  <a:lnTo>
                    <a:pt x="2277822" y="200876"/>
                  </a:lnTo>
                  <a:lnTo>
                    <a:pt x="2277822" y="200228"/>
                  </a:lnTo>
                  <a:lnTo>
                    <a:pt x="2277822" y="200876"/>
                  </a:lnTo>
                  <a:lnTo>
                    <a:pt x="2277822" y="200228"/>
                  </a:lnTo>
                  <a:lnTo>
                    <a:pt x="2277822" y="200876"/>
                  </a:lnTo>
                  <a:lnTo>
                    <a:pt x="2277822" y="200228"/>
                  </a:lnTo>
                  <a:lnTo>
                    <a:pt x="2277822" y="200876"/>
                  </a:lnTo>
                  <a:lnTo>
                    <a:pt x="2277822" y="200228"/>
                  </a:lnTo>
                  <a:lnTo>
                    <a:pt x="2277822" y="200876"/>
                  </a:lnTo>
                  <a:lnTo>
                    <a:pt x="2277822" y="200228"/>
                  </a:lnTo>
                  <a:lnTo>
                    <a:pt x="2277872" y="200876"/>
                  </a:lnTo>
                  <a:lnTo>
                    <a:pt x="2277872" y="200228"/>
                  </a:lnTo>
                  <a:lnTo>
                    <a:pt x="2277872" y="200876"/>
                  </a:lnTo>
                  <a:lnTo>
                    <a:pt x="2277872" y="200228"/>
                  </a:lnTo>
                  <a:lnTo>
                    <a:pt x="2277872" y="200876"/>
                  </a:lnTo>
                  <a:lnTo>
                    <a:pt x="2277872" y="200228"/>
                  </a:lnTo>
                  <a:lnTo>
                    <a:pt x="2277923" y="200228"/>
                  </a:lnTo>
                  <a:lnTo>
                    <a:pt x="2277923" y="199530"/>
                  </a:lnTo>
                  <a:lnTo>
                    <a:pt x="2277923" y="200228"/>
                  </a:lnTo>
                  <a:lnTo>
                    <a:pt x="2277923" y="199530"/>
                  </a:lnTo>
                  <a:lnTo>
                    <a:pt x="2278025" y="199530"/>
                  </a:lnTo>
                  <a:lnTo>
                    <a:pt x="2278025" y="196799"/>
                  </a:lnTo>
                  <a:lnTo>
                    <a:pt x="2278025" y="197447"/>
                  </a:lnTo>
                  <a:lnTo>
                    <a:pt x="2278063" y="197447"/>
                  </a:lnTo>
                  <a:lnTo>
                    <a:pt x="2278063" y="198831"/>
                  </a:lnTo>
                  <a:lnTo>
                    <a:pt x="2278063" y="196799"/>
                  </a:lnTo>
                  <a:lnTo>
                    <a:pt x="2278063" y="199530"/>
                  </a:lnTo>
                  <a:lnTo>
                    <a:pt x="2278114" y="199530"/>
                  </a:lnTo>
                  <a:lnTo>
                    <a:pt x="2278114" y="197447"/>
                  </a:lnTo>
                  <a:lnTo>
                    <a:pt x="2278114" y="199530"/>
                  </a:lnTo>
                  <a:lnTo>
                    <a:pt x="2278165" y="199530"/>
                  </a:lnTo>
                  <a:lnTo>
                    <a:pt x="2278165" y="198831"/>
                  </a:lnTo>
                  <a:lnTo>
                    <a:pt x="2278165" y="199530"/>
                  </a:lnTo>
                  <a:lnTo>
                    <a:pt x="2278165" y="198831"/>
                  </a:lnTo>
                  <a:lnTo>
                    <a:pt x="2278165" y="200228"/>
                  </a:lnTo>
                  <a:lnTo>
                    <a:pt x="2278165" y="199530"/>
                  </a:lnTo>
                  <a:lnTo>
                    <a:pt x="2278165" y="200228"/>
                  </a:lnTo>
                  <a:lnTo>
                    <a:pt x="2278165" y="199530"/>
                  </a:lnTo>
                  <a:lnTo>
                    <a:pt x="2278266" y="199530"/>
                  </a:lnTo>
                  <a:lnTo>
                    <a:pt x="2278266" y="198831"/>
                  </a:lnTo>
                  <a:lnTo>
                    <a:pt x="2278266" y="199530"/>
                  </a:lnTo>
                  <a:lnTo>
                    <a:pt x="2278469" y="199530"/>
                  </a:lnTo>
                  <a:lnTo>
                    <a:pt x="2278469" y="200228"/>
                  </a:lnTo>
                  <a:lnTo>
                    <a:pt x="2278469" y="198831"/>
                  </a:lnTo>
                  <a:lnTo>
                    <a:pt x="2278469" y="199530"/>
                  </a:lnTo>
                  <a:lnTo>
                    <a:pt x="2278469" y="198831"/>
                  </a:lnTo>
                  <a:lnTo>
                    <a:pt x="2278520" y="198831"/>
                  </a:lnTo>
                  <a:lnTo>
                    <a:pt x="2278520" y="199530"/>
                  </a:lnTo>
                  <a:lnTo>
                    <a:pt x="2278520" y="197447"/>
                  </a:lnTo>
                  <a:lnTo>
                    <a:pt x="2278520" y="198831"/>
                  </a:lnTo>
                  <a:lnTo>
                    <a:pt x="2278571" y="198831"/>
                  </a:lnTo>
                  <a:lnTo>
                    <a:pt x="2278571" y="200876"/>
                  </a:lnTo>
                  <a:lnTo>
                    <a:pt x="2278571" y="199530"/>
                  </a:lnTo>
                  <a:lnTo>
                    <a:pt x="2278609" y="199530"/>
                  </a:lnTo>
                  <a:lnTo>
                    <a:pt x="2278609" y="200228"/>
                  </a:lnTo>
                  <a:lnTo>
                    <a:pt x="2278609" y="199530"/>
                  </a:lnTo>
                  <a:lnTo>
                    <a:pt x="2278609" y="200876"/>
                  </a:lnTo>
                  <a:lnTo>
                    <a:pt x="2278609" y="200228"/>
                  </a:lnTo>
                  <a:lnTo>
                    <a:pt x="2278711" y="200228"/>
                  </a:lnTo>
                  <a:lnTo>
                    <a:pt x="2278711" y="202260"/>
                  </a:lnTo>
                  <a:lnTo>
                    <a:pt x="2278711" y="200228"/>
                  </a:lnTo>
                  <a:lnTo>
                    <a:pt x="2278711" y="200876"/>
                  </a:lnTo>
                  <a:lnTo>
                    <a:pt x="2278711" y="200228"/>
                  </a:lnTo>
                  <a:lnTo>
                    <a:pt x="2278711" y="200876"/>
                  </a:lnTo>
                  <a:lnTo>
                    <a:pt x="2278762" y="200228"/>
                  </a:lnTo>
                  <a:lnTo>
                    <a:pt x="2278762" y="200876"/>
                  </a:lnTo>
                  <a:lnTo>
                    <a:pt x="2278762" y="200228"/>
                  </a:lnTo>
                  <a:lnTo>
                    <a:pt x="2278762" y="200876"/>
                  </a:lnTo>
                  <a:lnTo>
                    <a:pt x="2278762" y="200228"/>
                  </a:lnTo>
                  <a:lnTo>
                    <a:pt x="2278762" y="200876"/>
                  </a:lnTo>
                  <a:lnTo>
                    <a:pt x="2278762" y="200228"/>
                  </a:lnTo>
                  <a:lnTo>
                    <a:pt x="2278812" y="200228"/>
                  </a:lnTo>
                  <a:lnTo>
                    <a:pt x="2278812" y="200876"/>
                  </a:lnTo>
                  <a:lnTo>
                    <a:pt x="2278812" y="200228"/>
                  </a:lnTo>
                  <a:lnTo>
                    <a:pt x="2278812" y="200876"/>
                  </a:lnTo>
                  <a:lnTo>
                    <a:pt x="2278914" y="200228"/>
                  </a:lnTo>
                  <a:lnTo>
                    <a:pt x="2278914" y="199530"/>
                  </a:lnTo>
                  <a:lnTo>
                    <a:pt x="2278914" y="200228"/>
                  </a:lnTo>
                  <a:lnTo>
                    <a:pt x="2278914" y="199530"/>
                  </a:lnTo>
                  <a:lnTo>
                    <a:pt x="2278914" y="200228"/>
                  </a:lnTo>
                  <a:lnTo>
                    <a:pt x="2278914" y="199530"/>
                  </a:lnTo>
                  <a:lnTo>
                    <a:pt x="2278965" y="199530"/>
                  </a:lnTo>
                  <a:lnTo>
                    <a:pt x="2278965" y="198831"/>
                  </a:lnTo>
                  <a:lnTo>
                    <a:pt x="2279015" y="198831"/>
                  </a:lnTo>
                  <a:lnTo>
                    <a:pt x="2279015" y="200228"/>
                  </a:lnTo>
                  <a:lnTo>
                    <a:pt x="2279015" y="197447"/>
                  </a:lnTo>
                  <a:lnTo>
                    <a:pt x="2279015" y="199530"/>
                  </a:lnTo>
                  <a:lnTo>
                    <a:pt x="2279015" y="198831"/>
                  </a:lnTo>
                  <a:lnTo>
                    <a:pt x="2279015" y="199530"/>
                  </a:lnTo>
                  <a:lnTo>
                    <a:pt x="2279066" y="200228"/>
                  </a:lnTo>
                  <a:lnTo>
                    <a:pt x="2279066" y="200876"/>
                  </a:lnTo>
                  <a:lnTo>
                    <a:pt x="2279066" y="199530"/>
                  </a:lnTo>
                  <a:lnTo>
                    <a:pt x="2279066" y="200876"/>
                  </a:lnTo>
                  <a:lnTo>
                    <a:pt x="2279155" y="200876"/>
                  </a:lnTo>
                  <a:lnTo>
                    <a:pt x="2279155" y="202260"/>
                  </a:lnTo>
                  <a:lnTo>
                    <a:pt x="2279155" y="200876"/>
                  </a:lnTo>
                  <a:lnTo>
                    <a:pt x="2279155" y="202260"/>
                  </a:lnTo>
                  <a:lnTo>
                    <a:pt x="2279155" y="200876"/>
                  </a:lnTo>
                  <a:lnTo>
                    <a:pt x="2279206" y="200876"/>
                  </a:lnTo>
                  <a:lnTo>
                    <a:pt x="2279206" y="202260"/>
                  </a:lnTo>
                  <a:lnTo>
                    <a:pt x="2279206" y="200876"/>
                  </a:lnTo>
                  <a:lnTo>
                    <a:pt x="2279206" y="202260"/>
                  </a:lnTo>
                  <a:lnTo>
                    <a:pt x="2279206" y="200876"/>
                  </a:lnTo>
                  <a:lnTo>
                    <a:pt x="2279257" y="200876"/>
                  </a:lnTo>
                  <a:lnTo>
                    <a:pt x="2279257" y="200228"/>
                  </a:lnTo>
                  <a:lnTo>
                    <a:pt x="2279257" y="200876"/>
                  </a:lnTo>
                  <a:lnTo>
                    <a:pt x="2279257" y="200228"/>
                  </a:lnTo>
                  <a:lnTo>
                    <a:pt x="2279257" y="200876"/>
                  </a:lnTo>
                  <a:lnTo>
                    <a:pt x="2279308" y="200228"/>
                  </a:lnTo>
                  <a:lnTo>
                    <a:pt x="2279308" y="200876"/>
                  </a:lnTo>
                  <a:lnTo>
                    <a:pt x="2279308" y="199530"/>
                  </a:lnTo>
                  <a:lnTo>
                    <a:pt x="2279409" y="199530"/>
                  </a:lnTo>
                  <a:lnTo>
                    <a:pt x="2279409" y="198831"/>
                  </a:lnTo>
                  <a:lnTo>
                    <a:pt x="2279409" y="199530"/>
                  </a:lnTo>
                  <a:lnTo>
                    <a:pt x="2279409" y="198831"/>
                  </a:lnTo>
                  <a:lnTo>
                    <a:pt x="2279460" y="198831"/>
                  </a:lnTo>
                  <a:lnTo>
                    <a:pt x="2279460" y="197447"/>
                  </a:lnTo>
                  <a:lnTo>
                    <a:pt x="2279460" y="198831"/>
                  </a:lnTo>
                  <a:lnTo>
                    <a:pt x="2279460" y="197447"/>
                  </a:lnTo>
                  <a:lnTo>
                    <a:pt x="2279460" y="200228"/>
                  </a:lnTo>
                  <a:lnTo>
                    <a:pt x="2279511" y="199530"/>
                  </a:lnTo>
                  <a:lnTo>
                    <a:pt x="2279511" y="197447"/>
                  </a:lnTo>
                  <a:lnTo>
                    <a:pt x="2279511" y="200876"/>
                  </a:lnTo>
                  <a:lnTo>
                    <a:pt x="2279511" y="200228"/>
                  </a:lnTo>
                  <a:lnTo>
                    <a:pt x="2279612" y="200228"/>
                  </a:lnTo>
                  <a:lnTo>
                    <a:pt x="2279612" y="199530"/>
                  </a:lnTo>
                  <a:lnTo>
                    <a:pt x="2279612" y="202260"/>
                  </a:lnTo>
                  <a:lnTo>
                    <a:pt x="2279612" y="200876"/>
                  </a:lnTo>
                  <a:lnTo>
                    <a:pt x="2279650" y="200228"/>
                  </a:lnTo>
                  <a:lnTo>
                    <a:pt x="2279650" y="202260"/>
                  </a:lnTo>
                  <a:lnTo>
                    <a:pt x="2279650" y="200876"/>
                  </a:lnTo>
                  <a:lnTo>
                    <a:pt x="2279650" y="202260"/>
                  </a:lnTo>
                  <a:lnTo>
                    <a:pt x="2279701" y="200876"/>
                  </a:lnTo>
                  <a:lnTo>
                    <a:pt x="2279701" y="202260"/>
                  </a:lnTo>
                  <a:lnTo>
                    <a:pt x="2279701" y="200876"/>
                  </a:lnTo>
                  <a:lnTo>
                    <a:pt x="2279752" y="202260"/>
                  </a:lnTo>
                  <a:lnTo>
                    <a:pt x="2279752" y="200876"/>
                  </a:lnTo>
                  <a:lnTo>
                    <a:pt x="2279752" y="202260"/>
                  </a:lnTo>
                  <a:lnTo>
                    <a:pt x="2279752" y="200228"/>
                  </a:lnTo>
                  <a:lnTo>
                    <a:pt x="2279752" y="202260"/>
                  </a:lnTo>
                  <a:lnTo>
                    <a:pt x="2279752" y="200876"/>
                  </a:lnTo>
                  <a:lnTo>
                    <a:pt x="2279854" y="200876"/>
                  </a:lnTo>
                  <a:lnTo>
                    <a:pt x="2279854" y="200228"/>
                  </a:lnTo>
                  <a:lnTo>
                    <a:pt x="2279854" y="200876"/>
                  </a:lnTo>
                  <a:lnTo>
                    <a:pt x="2279854" y="200228"/>
                  </a:lnTo>
                  <a:lnTo>
                    <a:pt x="2279905" y="200876"/>
                  </a:lnTo>
                  <a:lnTo>
                    <a:pt x="2279905" y="199530"/>
                  </a:lnTo>
                  <a:lnTo>
                    <a:pt x="2279905" y="200228"/>
                  </a:lnTo>
                  <a:lnTo>
                    <a:pt x="2279905" y="197447"/>
                  </a:lnTo>
                  <a:lnTo>
                    <a:pt x="2279955" y="197447"/>
                  </a:lnTo>
                  <a:lnTo>
                    <a:pt x="2279955" y="196799"/>
                  </a:lnTo>
                  <a:lnTo>
                    <a:pt x="2279955" y="200228"/>
                  </a:lnTo>
                  <a:lnTo>
                    <a:pt x="2279955" y="197447"/>
                  </a:lnTo>
                  <a:lnTo>
                    <a:pt x="2280057" y="197447"/>
                  </a:lnTo>
                  <a:lnTo>
                    <a:pt x="2280057" y="200228"/>
                  </a:lnTo>
                  <a:lnTo>
                    <a:pt x="2280057" y="199530"/>
                  </a:lnTo>
                  <a:lnTo>
                    <a:pt x="2280057" y="200228"/>
                  </a:lnTo>
                  <a:lnTo>
                    <a:pt x="2280057" y="198831"/>
                  </a:lnTo>
                  <a:lnTo>
                    <a:pt x="2280108" y="199530"/>
                  </a:lnTo>
                  <a:lnTo>
                    <a:pt x="2280108" y="200876"/>
                  </a:lnTo>
                  <a:lnTo>
                    <a:pt x="2280108" y="199530"/>
                  </a:lnTo>
                  <a:lnTo>
                    <a:pt x="2280108" y="200876"/>
                  </a:lnTo>
                  <a:lnTo>
                    <a:pt x="2280159" y="200876"/>
                  </a:lnTo>
                  <a:lnTo>
                    <a:pt x="2280159" y="200228"/>
                  </a:lnTo>
                  <a:lnTo>
                    <a:pt x="2280159" y="200876"/>
                  </a:lnTo>
                  <a:lnTo>
                    <a:pt x="2280159" y="200228"/>
                  </a:lnTo>
                  <a:lnTo>
                    <a:pt x="2280159" y="200876"/>
                  </a:lnTo>
                  <a:lnTo>
                    <a:pt x="2280197" y="200876"/>
                  </a:lnTo>
                  <a:lnTo>
                    <a:pt x="2280197" y="202260"/>
                  </a:lnTo>
                  <a:lnTo>
                    <a:pt x="2280197" y="200876"/>
                  </a:lnTo>
                  <a:lnTo>
                    <a:pt x="2280197" y="202260"/>
                  </a:lnTo>
                  <a:lnTo>
                    <a:pt x="2280197" y="200228"/>
                  </a:lnTo>
                  <a:lnTo>
                    <a:pt x="2280197" y="200876"/>
                  </a:lnTo>
                  <a:lnTo>
                    <a:pt x="2280298" y="202260"/>
                  </a:lnTo>
                  <a:lnTo>
                    <a:pt x="2280298" y="200228"/>
                  </a:lnTo>
                  <a:lnTo>
                    <a:pt x="2280298" y="200876"/>
                  </a:lnTo>
                  <a:lnTo>
                    <a:pt x="2280298" y="200228"/>
                  </a:lnTo>
                  <a:lnTo>
                    <a:pt x="2280298" y="200876"/>
                  </a:lnTo>
                  <a:lnTo>
                    <a:pt x="2280349" y="200876"/>
                  </a:lnTo>
                  <a:lnTo>
                    <a:pt x="2280349" y="200228"/>
                  </a:lnTo>
                  <a:lnTo>
                    <a:pt x="2280349" y="200876"/>
                  </a:lnTo>
                  <a:lnTo>
                    <a:pt x="2280349" y="199530"/>
                  </a:lnTo>
                  <a:lnTo>
                    <a:pt x="2280400" y="200228"/>
                  </a:lnTo>
                  <a:lnTo>
                    <a:pt x="2280400" y="197447"/>
                  </a:lnTo>
                  <a:lnTo>
                    <a:pt x="2280400" y="198831"/>
                  </a:lnTo>
                  <a:lnTo>
                    <a:pt x="2280400" y="196799"/>
                  </a:lnTo>
                  <a:lnTo>
                    <a:pt x="2280400" y="197447"/>
                  </a:lnTo>
                  <a:lnTo>
                    <a:pt x="2280400" y="196799"/>
                  </a:lnTo>
                  <a:lnTo>
                    <a:pt x="2280501" y="196799"/>
                  </a:lnTo>
                  <a:lnTo>
                    <a:pt x="2280501" y="196113"/>
                  </a:lnTo>
                  <a:lnTo>
                    <a:pt x="2280501" y="198831"/>
                  </a:lnTo>
                  <a:lnTo>
                    <a:pt x="2280501" y="196113"/>
                  </a:lnTo>
                  <a:lnTo>
                    <a:pt x="2280552" y="196113"/>
                  </a:lnTo>
                  <a:lnTo>
                    <a:pt x="2280552" y="199530"/>
                  </a:lnTo>
                  <a:lnTo>
                    <a:pt x="2280552" y="197447"/>
                  </a:lnTo>
                  <a:lnTo>
                    <a:pt x="2280603" y="197447"/>
                  </a:lnTo>
                  <a:lnTo>
                    <a:pt x="2280603" y="200228"/>
                  </a:lnTo>
                  <a:lnTo>
                    <a:pt x="2280603" y="199530"/>
                  </a:lnTo>
                  <a:lnTo>
                    <a:pt x="2280654" y="198831"/>
                  </a:lnTo>
                  <a:lnTo>
                    <a:pt x="2280654" y="200228"/>
                  </a:lnTo>
                  <a:lnTo>
                    <a:pt x="2280654" y="199530"/>
                  </a:lnTo>
                  <a:lnTo>
                    <a:pt x="2280654" y="200228"/>
                  </a:lnTo>
                  <a:lnTo>
                    <a:pt x="2280654" y="199530"/>
                  </a:lnTo>
                  <a:lnTo>
                    <a:pt x="2280743" y="199530"/>
                  </a:lnTo>
                  <a:lnTo>
                    <a:pt x="2280743" y="200228"/>
                  </a:lnTo>
                  <a:lnTo>
                    <a:pt x="2280743" y="199530"/>
                  </a:lnTo>
                  <a:lnTo>
                    <a:pt x="2280743" y="200876"/>
                  </a:lnTo>
                  <a:lnTo>
                    <a:pt x="2280743" y="200228"/>
                  </a:lnTo>
                  <a:lnTo>
                    <a:pt x="2280743" y="200876"/>
                  </a:lnTo>
                  <a:lnTo>
                    <a:pt x="2280743" y="200228"/>
                  </a:lnTo>
                  <a:lnTo>
                    <a:pt x="2280743" y="200876"/>
                  </a:lnTo>
                  <a:lnTo>
                    <a:pt x="2280794" y="200228"/>
                  </a:lnTo>
                  <a:lnTo>
                    <a:pt x="2280794" y="200876"/>
                  </a:lnTo>
                  <a:lnTo>
                    <a:pt x="2280794" y="200228"/>
                  </a:lnTo>
                  <a:lnTo>
                    <a:pt x="2280794" y="200876"/>
                  </a:lnTo>
                  <a:lnTo>
                    <a:pt x="2280794" y="200228"/>
                  </a:lnTo>
                  <a:lnTo>
                    <a:pt x="2280794" y="200876"/>
                  </a:lnTo>
                  <a:lnTo>
                    <a:pt x="2280794" y="200228"/>
                  </a:lnTo>
                  <a:lnTo>
                    <a:pt x="2280794" y="200876"/>
                  </a:lnTo>
                  <a:lnTo>
                    <a:pt x="2280844" y="200876"/>
                  </a:lnTo>
                  <a:lnTo>
                    <a:pt x="2280844" y="202260"/>
                  </a:lnTo>
                  <a:lnTo>
                    <a:pt x="2280844" y="200228"/>
                  </a:lnTo>
                  <a:lnTo>
                    <a:pt x="2280844" y="200876"/>
                  </a:lnTo>
                  <a:lnTo>
                    <a:pt x="2280844" y="200228"/>
                  </a:lnTo>
                  <a:lnTo>
                    <a:pt x="2280844" y="200876"/>
                  </a:lnTo>
                  <a:lnTo>
                    <a:pt x="2280844" y="200228"/>
                  </a:lnTo>
                  <a:lnTo>
                    <a:pt x="2280844" y="200876"/>
                  </a:lnTo>
                  <a:lnTo>
                    <a:pt x="2280844" y="199530"/>
                  </a:lnTo>
                  <a:lnTo>
                    <a:pt x="2280895" y="199530"/>
                  </a:lnTo>
                  <a:lnTo>
                    <a:pt x="2280895" y="196799"/>
                  </a:lnTo>
                  <a:lnTo>
                    <a:pt x="2280997" y="196799"/>
                  </a:lnTo>
                  <a:lnTo>
                    <a:pt x="2280997" y="195415"/>
                  </a:lnTo>
                  <a:lnTo>
                    <a:pt x="2280997" y="196113"/>
                  </a:lnTo>
                  <a:lnTo>
                    <a:pt x="2281047" y="196799"/>
                  </a:lnTo>
                  <a:lnTo>
                    <a:pt x="2281047" y="195415"/>
                  </a:lnTo>
                  <a:lnTo>
                    <a:pt x="2281047" y="197447"/>
                  </a:lnTo>
                  <a:lnTo>
                    <a:pt x="2281047" y="196799"/>
                  </a:lnTo>
                  <a:lnTo>
                    <a:pt x="2281098" y="196799"/>
                  </a:lnTo>
                  <a:lnTo>
                    <a:pt x="2281098" y="196113"/>
                  </a:lnTo>
                  <a:lnTo>
                    <a:pt x="2281098" y="196799"/>
                  </a:lnTo>
                  <a:lnTo>
                    <a:pt x="2281098" y="196113"/>
                  </a:lnTo>
                  <a:lnTo>
                    <a:pt x="2281098" y="197447"/>
                  </a:lnTo>
                  <a:lnTo>
                    <a:pt x="2281098" y="196799"/>
                  </a:lnTo>
                  <a:lnTo>
                    <a:pt x="2281200" y="196799"/>
                  </a:lnTo>
                  <a:lnTo>
                    <a:pt x="2281200" y="198831"/>
                  </a:lnTo>
                  <a:lnTo>
                    <a:pt x="2281200" y="196799"/>
                  </a:lnTo>
                  <a:lnTo>
                    <a:pt x="2281200" y="197447"/>
                  </a:lnTo>
                  <a:lnTo>
                    <a:pt x="2281238" y="198831"/>
                  </a:lnTo>
                  <a:lnTo>
                    <a:pt x="2281289" y="199530"/>
                  </a:lnTo>
                  <a:lnTo>
                    <a:pt x="2281289" y="200228"/>
                  </a:lnTo>
                  <a:lnTo>
                    <a:pt x="2281289" y="199530"/>
                  </a:lnTo>
                  <a:lnTo>
                    <a:pt x="2281289" y="200228"/>
                  </a:lnTo>
                  <a:lnTo>
                    <a:pt x="2281340" y="200228"/>
                  </a:lnTo>
                  <a:lnTo>
                    <a:pt x="2281340" y="199530"/>
                  </a:lnTo>
                  <a:lnTo>
                    <a:pt x="2281340" y="200228"/>
                  </a:lnTo>
                  <a:lnTo>
                    <a:pt x="2281340" y="199530"/>
                  </a:lnTo>
                  <a:lnTo>
                    <a:pt x="2281441" y="199530"/>
                  </a:lnTo>
                  <a:lnTo>
                    <a:pt x="2281441" y="198831"/>
                  </a:lnTo>
                  <a:lnTo>
                    <a:pt x="2281441" y="199530"/>
                  </a:lnTo>
                  <a:lnTo>
                    <a:pt x="2281441" y="197447"/>
                  </a:lnTo>
                  <a:lnTo>
                    <a:pt x="2281441" y="198831"/>
                  </a:lnTo>
                  <a:lnTo>
                    <a:pt x="2281441" y="197447"/>
                  </a:lnTo>
                  <a:lnTo>
                    <a:pt x="2281492" y="197447"/>
                  </a:lnTo>
                  <a:lnTo>
                    <a:pt x="2281492" y="196799"/>
                  </a:lnTo>
                  <a:lnTo>
                    <a:pt x="2281492" y="198831"/>
                  </a:lnTo>
                  <a:lnTo>
                    <a:pt x="2281492" y="196799"/>
                  </a:lnTo>
                  <a:lnTo>
                    <a:pt x="2281543" y="196799"/>
                  </a:lnTo>
                  <a:lnTo>
                    <a:pt x="2281543" y="200228"/>
                  </a:lnTo>
                  <a:lnTo>
                    <a:pt x="2281543" y="198831"/>
                  </a:lnTo>
                  <a:lnTo>
                    <a:pt x="2281543" y="199530"/>
                  </a:lnTo>
                  <a:lnTo>
                    <a:pt x="2281543" y="197447"/>
                  </a:lnTo>
                  <a:lnTo>
                    <a:pt x="2281543" y="198831"/>
                  </a:lnTo>
                  <a:lnTo>
                    <a:pt x="2281644" y="198831"/>
                  </a:lnTo>
                  <a:lnTo>
                    <a:pt x="2281644" y="199530"/>
                  </a:lnTo>
                  <a:lnTo>
                    <a:pt x="2281644" y="198831"/>
                  </a:lnTo>
                  <a:lnTo>
                    <a:pt x="2281695" y="198831"/>
                  </a:lnTo>
                  <a:lnTo>
                    <a:pt x="2281695" y="199530"/>
                  </a:lnTo>
                  <a:lnTo>
                    <a:pt x="2281695" y="198831"/>
                  </a:lnTo>
                  <a:lnTo>
                    <a:pt x="2281746" y="199530"/>
                  </a:lnTo>
                  <a:lnTo>
                    <a:pt x="2281746" y="200228"/>
                  </a:lnTo>
                  <a:lnTo>
                    <a:pt x="2281746" y="199530"/>
                  </a:lnTo>
                  <a:lnTo>
                    <a:pt x="2281746" y="200228"/>
                  </a:lnTo>
                  <a:lnTo>
                    <a:pt x="2281746" y="199530"/>
                  </a:lnTo>
                  <a:lnTo>
                    <a:pt x="2281746" y="200228"/>
                  </a:lnTo>
                  <a:lnTo>
                    <a:pt x="2281746" y="199530"/>
                  </a:lnTo>
                  <a:lnTo>
                    <a:pt x="2281784" y="199530"/>
                  </a:lnTo>
                  <a:lnTo>
                    <a:pt x="2281784" y="200228"/>
                  </a:lnTo>
                  <a:lnTo>
                    <a:pt x="2281784" y="199530"/>
                  </a:lnTo>
                  <a:lnTo>
                    <a:pt x="2281784" y="200228"/>
                  </a:lnTo>
                  <a:lnTo>
                    <a:pt x="2281784" y="199530"/>
                  </a:lnTo>
                  <a:lnTo>
                    <a:pt x="2281784" y="200228"/>
                  </a:lnTo>
                  <a:lnTo>
                    <a:pt x="2281784" y="199530"/>
                  </a:lnTo>
                  <a:lnTo>
                    <a:pt x="2281784" y="200876"/>
                  </a:lnTo>
                  <a:lnTo>
                    <a:pt x="2281784" y="199530"/>
                  </a:lnTo>
                  <a:lnTo>
                    <a:pt x="2281886" y="200228"/>
                  </a:lnTo>
                  <a:lnTo>
                    <a:pt x="2281886" y="199530"/>
                  </a:lnTo>
                  <a:lnTo>
                    <a:pt x="2281886" y="200228"/>
                  </a:lnTo>
                  <a:lnTo>
                    <a:pt x="2281886" y="198831"/>
                  </a:lnTo>
                  <a:lnTo>
                    <a:pt x="2281937" y="198831"/>
                  </a:lnTo>
                  <a:lnTo>
                    <a:pt x="2281937" y="199530"/>
                  </a:lnTo>
                  <a:lnTo>
                    <a:pt x="2281937" y="196113"/>
                  </a:lnTo>
                  <a:lnTo>
                    <a:pt x="2281937" y="196799"/>
                  </a:lnTo>
                  <a:lnTo>
                    <a:pt x="2281987" y="197447"/>
                  </a:lnTo>
                  <a:lnTo>
                    <a:pt x="2281987" y="199530"/>
                  </a:lnTo>
                  <a:lnTo>
                    <a:pt x="2281987" y="197447"/>
                  </a:lnTo>
                  <a:lnTo>
                    <a:pt x="2281987" y="200228"/>
                  </a:lnTo>
                  <a:lnTo>
                    <a:pt x="2282089" y="200228"/>
                  </a:lnTo>
                  <a:lnTo>
                    <a:pt x="2282089" y="200876"/>
                  </a:lnTo>
                  <a:lnTo>
                    <a:pt x="2282089" y="199530"/>
                  </a:lnTo>
                  <a:lnTo>
                    <a:pt x="2282089" y="200228"/>
                  </a:lnTo>
                  <a:lnTo>
                    <a:pt x="2282140" y="200228"/>
                  </a:lnTo>
                  <a:lnTo>
                    <a:pt x="2282140" y="200876"/>
                  </a:lnTo>
                  <a:lnTo>
                    <a:pt x="2282140" y="199530"/>
                  </a:lnTo>
                  <a:lnTo>
                    <a:pt x="2282140" y="200228"/>
                  </a:lnTo>
                  <a:lnTo>
                    <a:pt x="2282140" y="199530"/>
                  </a:lnTo>
                  <a:lnTo>
                    <a:pt x="2282140" y="200228"/>
                  </a:lnTo>
                  <a:lnTo>
                    <a:pt x="2282190" y="199530"/>
                  </a:lnTo>
                  <a:lnTo>
                    <a:pt x="2282190" y="200228"/>
                  </a:lnTo>
                  <a:lnTo>
                    <a:pt x="2282190" y="199530"/>
                  </a:lnTo>
                  <a:lnTo>
                    <a:pt x="2282190" y="200228"/>
                  </a:lnTo>
                  <a:lnTo>
                    <a:pt x="2282190" y="199530"/>
                  </a:lnTo>
                  <a:lnTo>
                    <a:pt x="2282190" y="200228"/>
                  </a:lnTo>
                  <a:lnTo>
                    <a:pt x="2282241" y="200228"/>
                  </a:lnTo>
                  <a:lnTo>
                    <a:pt x="2282241" y="199530"/>
                  </a:lnTo>
                  <a:lnTo>
                    <a:pt x="2282241" y="200228"/>
                  </a:lnTo>
                  <a:lnTo>
                    <a:pt x="2282241" y="199530"/>
                  </a:lnTo>
                  <a:lnTo>
                    <a:pt x="2282241" y="200228"/>
                  </a:lnTo>
                  <a:lnTo>
                    <a:pt x="2282330" y="199530"/>
                  </a:lnTo>
                  <a:lnTo>
                    <a:pt x="2282330" y="200228"/>
                  </a:lnTo>
                  <a:lnTo>
                    <a:pt x="2282330" y="199530"/>
                  </a:lnTo>
                  <a:lnTo>
                    <a:pt x="2282330" y="200228"/>
                  </a:lnTo>
                  <a:lnTo>
                    <a:pt x="2282330" y="199530"/>
                  </a:lnTo>
                  <a:lnTo>
                    <a:pt x="2282330" y="200228"/>
                  </a:lnTo>
                  <a:lnTo>
                    <a:pt x="2282330" y="199530"/>
                  </a:lnTo>
                  <a:lnTo>
                    <a:pt x="2282381" y="199530"/>
                  </a:lnTo>
                  <a:lnTo>
                    <a:pt x="2282381" y="198831"/>
                  </a:lnTo>
                  <a:lnTo>
                    <a:pt x="2282381" y="199530"/>
                  </a:lnTo>
                  <a:lnTo>
                    <a:pt x="2282381" y="198831"/>
                  </a:lnTo>
                  <a:lnTo>
                    <a:pt x="2282381" y="199530"/>
                  </a:lnTo>
                  <a:lnTo>
                    <a:pt x="2282381" y="197447"/>
                  </a:lnTo>
                  <a:lnTo>
                    <a:pt x="2282432" y="197447"/>
                  </a:lnTo>
                  <a:lnTo>
                    <a:pt x="2282432" y="198831"/>
                  </a:lnTo>
                  <a:lnTo>
                    <a:pt x="2282432" y="196113"/>
                  </a:lnTo>
                  <a:lnTo>
                    <a:pt x="2282432" y="198831"/>
                  </a:lnTo>
                  <a:lnTo>
                    <a:pt x="2282483" y="198831"/>
                  </a:lnTo>
                  <a:lnTo>
                    <a:pt x="2282483" y="196799"/>
                  </a:lnTo>
                  <a:lnTo>
                    <a:pt x="2282483" y="200228"/>
                  </a:lnTo>
                  <a:lnTo>
                    <a:pt x="2282584" y="200228"/>
                  </a:lnTo>
                  <a:lnTo>
                    <a:pt x="2282584" y="198831"/>
                  </a:lnTo>
                  <a:lnTo>
                    <a:pt x="2282584" y="199530"/>
                  </a:lnTo>
                  <a:lnTo>
                    <a:pt x="2282584" y="198831"/>
                  </a:lnTo>
                  <a:lnTo>
                    <a:pt x="2282584" y="200228"/>
                  </a:lnTo>
                  <a:lnTo>
                    <a:pt x="2282635" y="200228"/>
                  </a:lnTo>
                  <a:lnTo>
                    <a:pt x="2282635" y="199530"/>
                  </a:lnTo>
                  <a:lnTo>
                    <a:pt x="2282635" y="200228"/>
                  </a:lnTo>
                  <a:lnTo>
                    <a:pt x="2282635" y="199530"/>
                  </a:lnTo>
                  <a:lnTo>
                    <a:pt x="2282635" y="200228"/>
                  </a:lnTo>
                  <a:lnTo>
                    <a:pt x="2282635" y="199530"/>
                  </a:lnTo>
                  <a:lnTo>
                    <a:pt x="2282686" y="200228"/>
                  </a:lnTo>
                  <a:lnTo>
                    <a:pt x="2282686" y="199530"/>
                  </a:lnTo>
                  <a:lnTo>
                    <a:pt x="2282686" y="200228"/>
                  </a:lnTo>
                  <a:lnTo>
                    <a:pt x="2282686" y="199530"/>
                  </a:lnTo>
                  <a:lnTo>
                    <a:pt x="2282686" y="200228"/>
                  </a:lnTo>
                  <a:lnTo>
                    <a:pt x="2282787" y="200228"/>
                  </a:lnTo>
                  <a:lnTo>
                    <a:pt x="2282787" y="200876"/>
                  </a:lnTo>
                  <a:lnTo>
                    <a:pt x="2282787" y="200228"/>
                  </a:lnTo>
                  <a:lnTo>
                    <a:pt x="2282787" y="200876"/>
                  </a:lnTo>
                  <a:lnTo>
                    <a:pt x="2282787" y="200228"/>
                  </a:lnTo>
                  <a:lnTo>
                    <a:pt x="2282825" y="200228"/>
                  </a:lnTo>
                  <a:lnTo>
                    <a:pt x="2282825" y="200876"/>
                  </a:lnTo>
                  <a:lnTo>
                    <a:pt x="2282825" y="199530"/>
                  </a:lnTo>
                  <a:lnTo>
                    <a:pt x="2282876" y="199530"/>
                  </a:lnTo>
                  <a:lnTo>
                    <a:pt x="2282876" y="197447"/>
                  </a:lnTo>
                  <a:lnTo>
                    <a:pt x="2282876" y="198831"/>
                  </a:lnTo>
                  <a:lnTo>
                    <a:pt x="2282876" y="197447"/>
                  </a:lnTo>
                  <a:lnTo>
                    <a:pt x="2282927" y="197447"/>
                  </a:lnTo>
                  <a:lnTo>
                    <a:pt x="2282927" y="196799"/>
                  </a:lnTo>
                  <a:lnTo>
                    <a:pt x="2282927" y="199530"/>
                  </a:lnTo>
                  <a:lnTo>
                    <a:pt x="2282927" y="198831"/>
                  </a:lnTo>
                  <a:lnTo>
                    <a:pt x="2283029" y="198831"/>
                  </a:lnTo>
                  <a:lnTo>
                    <a:pt x="2283029" y="196799"/>
                  </a:lnTo>
                  <a:lnTo>
                    <a:pt x="2283029" y="200876"/>
                  </a:lnTo>
                  <a:lnTo>
                    <a:pt x="2283029" y="198831"/>
                  </a:lnTo>
                  <a:lnTo>
                    <a:pt x="2283080" y="198831"/>
                  </a:lnTo>
                  <a:lnTo>
                    <a:pt x="2283080" y="200228"/>
                  </a:lnTo>
                  <a:lnTo>
                    <a:pt x="2283080" y="199530"/>
                  </a:lnTo>
                  <a:lnTo>
                    <a:pt x="2283130" y="199530"/>
                  </a:lnTo>
                  <a:lnTo>
                    <a:pt x="2283130" y="200228"/>
                  </a:lnTo>
                  <a:lnTo>
                    <a:pt x="2283130" y="199530"/>
                  </a:lnTo>
                  <a:lnTo>
                    <a:pt x="2283130" y="200228"/>
                  </a:lnTo>
                  <a:lnTo>
                    <a:pt x="2283232" y="200228"/>
                  </a:lnTo>
                  <a:lnTo>
                    <a:pt x="2283232" y="200876"/>
                  </a:lnTo>
                  <a:lnTo>
                    <a:pt x="2283232" y="200228"/>
                  </a:lnTo>
                  <a:lnTo>
                    <a:pt x="2283232" y="200876"/>
                  </a:lnTo>
                  <a:lnTo>
                    <a:pt x="2283232" y="200228"/>
                  </a:lnTo>
                  <a:lnTo>
                    <a:pt x="2283232" y="200876"/>
                  </a:lnTo>
                  <a:lnTo>
                    <a:pt x="2283232" y="200228"/>
                  </a:lnTo>
                  <a:lnTo>
                    <a:pt x="2283232" y="202260"/>
                  </a:lnTo>
                  <a:lnTo>
                    <a:pt x="2283232" y="200876"/>
                  </a:lnTo>
                  <a:lnTo>
                    <a:pt x="2283283" y="200876"/>
                  </a:lnTo>
                  <a:lnTo>
                    <a:pt x="2283283" y="200228"/>
                  </a:lnTo>
                  <a:lnTo>
                    <a:pt x="2283283" y="200876"/>
                  </a:lnTo>
                  <a:lnTo>
                    <a:pt x="2283334" y="200876"/>
                  </a:lnTo>
                  <a:lnTo>
                    <a:pt x="2283334" y="199530"/>
                  </a:lnTo>
                  <a:lnTo>
                    <a:pt x="2283334" y="200228"/>
                  </a:lnTo>
                  <a:lnTo>
                    <a:pt x="2283334" y="199530"/>
                  </a:lnTo>
                  <a:lnTo>
                    <a:pt x="2283334" y="200228"/>
                  </a:lnTo>
                  <a:lnTo>
                    <a:pt x="2283334" y="199530"/>
                  </a:lnTo>
                  <a:lnTo>
                    <a:pt x="2283372" y="198831"/>
                  </a:lnTo>
                  <a:lnTo>
                    <a:pt x="2283372" y="199530"/>
                  </a:lnTo>
                  <a:lnTo>
                    <a:pt x="2283372" y="197447"/>
                  </a:lnTo>
                  <a:lnTo>
                    <a:pt x="2283372" y="198831"/>
                  </a:lnTo>
                  <a:lnTo>
                    <a:pt x="2283372" y="196799"/>
                  </a:lnTo>
                  <a:lnTo>
                    <a:pt x="2283473" y="196113"/>
                  </a:lnTo>
                  <a:lnTo>
                    <a:pt x="2283473" y="198831"/>
                  </a:lnTo>
                  <a:lnTo>
                    <a:pt x="2283473" y="196799"/>
                  </a:lnTo>
                  <a:lnTo>
                    <a:pt x="2283524" y="196799"/>
                  </a:lnTo>
                  <a:lnTo>
                    <a:pt x="2283524" y="199530"/>
                  </a:lnTo>
                  <a:lnTo>
                    <a:pt x="2283524" y="197447"/>
                  </a:lnTo>
                  <a:lnTo>
                    <a:pt x="2283524" y="198831"/>
                  </a:lnTo>
                  <a:lnTo>
                    <a:pt x="2283575" y="198831"/>
                  </a:lnTo>
                  <a:lnTo>
                    <a:pt x="2283575" y="199530"/>
                  </a:lnTo>
                  <a:lnTo>
                    <a:pt x="2283575" y="197447"/>
                  </a:lnTo>
                  <a:lnTo>
                    <a:pt x="2283575" y="198831"/>
                  </a:lnTo>
                  <a:lnTo>
                    <a:pt x="2283676" y="198831"/>
                  </a:lnTo>
                  <a:lnTo>
                    <a:pt x="2283676" y="200228"/>
                  </a:lnTo>
                  <a:lnTo>
                    <a:pt x="2283676" y="199530"/>
                  </a:lnTo>
                  <a:lnTo>
                    <a:pt x="2283727" y="199530"/>
                  </a:lnTo>
                  <a:lnTo>
                    <a:pt x="2283727" y="200876"/>
                  </a:lnTo>
                  <a:lnTo>
                    <a:pt x="2283778" y="200876"/>
                  </a:lnTo>
                  <a:lnTo>
                    <a:pt x="2283778" y="200228"/>
                  </a:lnTo>
                  <a:lnTo>
                    <a:pt x="2283778" y="200876"/>
                  </a:lnTo>
                  <a:lnTo>
                    <a:pt x="2283778" y="200228"/>
                  </a:lnTo>
                  <a:lnTo>
                    <a:pt x="2283778" y="200876"/>
                  </a:lnTo>
                  <a:lnTo>
                    <a:pt x="2283829" y="200228"/>
                  </a:lnTo>
                  <a:lnTo>
                    <a:pt x="2283829" y="198831"/>
                  </a:lnTo>
                  <a:lnTo>
                    <a:pt x="2283829" y="199530"/>
                  </a:lnTo>
                  <a:lnTo>
                    <a:pt x="2283918" y="199530"/>
                  </a:lnTo>
                  <a:lnTo>
                    <a:pt x="2283918" y="198831"/>
                  </a:lnTo>
                  <a:lnTo>
                    <a:pt x="2283918" y="199530"/>
                  </a:lnTo>
                  <a:lnTo>
                    <a:pt x="2283918" y="196799"/>
                  </a:lnTo>
                  <a:lnTo>
                    <a:pt x="2283918" y="197447"/>
                  </a:lnTo>
                  <a:lnTo>
                    <a:pt x="2283969" y="197447"/>
                  </a:lnTo>
                  <a:lnTo>
                    <a:pt x="2283969" y="199530"/>
                  </a:lnTo>
                  <a:lnTo>
                    <a:pt x="2283969" y="196799"/>
                  </a:lnTo>
                  <a:lnTo>
                    <a:pt x="2283969" y="198831"/>
                  </a:lnTo>
                  <a:lnTo>
                    <a:pt x="2284019" y="198831"/>
                  </a:lnTo>
                  <a:lnTo>
                    <a:pt x="2284019" y="200228"/>
                  </a:lnTo>
                  <a:lnTo>
                    <a:pt x="2284019" y="197447"/>
                  </a:lnTo>
                  <a:lnTo>
                    <a:pt x="2284019" y="198831"/>
                  </a:lnTo>
                  <a:lnTo>
                    <a:pt x="2284019" y="197447"/>
                  </a:lnTo>
                  <a:lnTo>
                    <a:pt x="2284019" y="198831"/>
                  </a:lnTo>
                  <a:lnTo>
                    <a:pt x="2284070" y="199530"/>
                  </a:lnTo>
                  <a:lnTo>
                    <a:pt x="2284070" y="198831"/>
                  </a:lnTo>
                  <a:lnTo>
                    <a:pt x="2284070" y="199530"/>
                  </a:lnTo>
                  <a:lnTo>
                    <a:pt x="2284070" y="198831"/>
                  </a:lnTo>
                  <a:lnTo>
                    <a:pt x="2284172" y="198831"/>
                  </a:lnTo>
                  <a:lnTo>
                    <a:pt x="2284172" y="199530"/>
                  </a:lnTo>
                  <a:lnTo>
                    <a:pt x="2284172" y="198831"/>
                  </a:lnTo>
                  <a:lnTo>
                    <a:pt x="2284172" y="200228"/>
                  </a:lnTo>
                  <a:lnTo>
                    <a:pt x="2284172" y="199530"/>
                  </a:lnTo>
                  <a:lnTo>
                    <a:pt x="2284172" y="200228"/>
                  </a:lnTo>
                  <a:lnTo>
                    <a:pt x="2284222" y="199530"/>
                  </a:lnTo>
                  <a:lnTo>
                    <a:pt x="2284222" y="200228"/>
                  </a:lnTo>
                  <a:lnTo>
                    <a:pt x="2284222" y="199530"/>
                  </a:lnTo>
                  <a:lnTo>
                    <a:pt x="2284222" y="200228"/>
                  </a:lnTo>
                  <a:lnTo>
                    <a:pt x="2284222" y="199530"/>
                  </a:lnTo>
                  <a:lnTo>
                    <a:pt x="2284222" y="200876"/>
                  </a:lnTo>
                  <a:lnTo>
                    <a:pt x="2284222" y="200228"/>
                  </a:lnTo>
                  <a:lnTo>
                    <a:pt x="2284273" y="200228"/>
                  </a:lnTo>
                  <a:lnTo>
                    <a:pt x="2284273" y="199530"/>
                  </a:lnTo>
                  <a:lnTo>
                    <a:pt x="2284273" y="200228"/>
                  </a:lnTo>
                  <a:lnTo>
                    <a:pt x="2284273" y="199530"/>
                  </a:lnTo>
                  <a:lnTo>
                    <a:pt x="2284273" y="200228"/>
                  </a:lnTo>
                  <a:lnTo>
                    <a:pt x="2284273" y="199530"/>
                  </a:lnTo>
                  <a:lnTo>
                    <a:pt x="2284273" y="200228"/>
                  </a:lnTo>
                  <a:lnTo>
                    <a:pt x="2284273" y="199530"/>
                  </a:lnTo>
                  <a:lnTo>
                    <a:pt x="2284375" y="199530"/>
                  </a:lnTo>
                  <a:lnTo>
                    <a:pt x="2284375" y="198831"/>
                  </a:lnTo>
                  <a:lnTo>
                    <a:pt x="2284375" y="199530"/>
                  </a:lnTo>
                  <a:lnTo>
                    <a:pt x="2284375" y="198831"/>
                  </a:lnTo>
                  <a:lnTo>
                    <a:pt x="2284413" y="198831"/>
                  </a:lnTo>
                  <a:lnTo>
                    <a:pt x="2284413" y="197447"/>
                  </a:lnTo>
                  <a:lnTo>
                    <a:pt x="2284413" y="199530"/>
                  </a:lnTo>
                  <a:lnTo>
                    <a:pt x="2284413" y="198831"/>
                  </a:lnTo>
                  <a:lnTo>
                    <a:pt x="2284464" y="198831"/>
                  </a:lnTo>
                  <a:lnTo>
                    <a:pt x="2284464" y="200876"/>
                  </a:lnTo>
                  <a:lnTo>
                    <a:pt x="2284515" y="200228"/>
                  </a:lnTo>
                  <a:lnTo>
                    <a:pt x="2284515" y="200876"/>
                  </a:lnTo>
                  <a:lnTo>
                    <a:pt x="2284515" y="200228"/>
                  </a:lnTo>
                  <a:lnTo>
                    <a:pt x="2284616" y="200228"/>
                  </a:lnTo>
                  <a:lnTo>
                    <a:pt x="2284616" y="200876"/>
                  </a:lnTo>
                  <a:lnTo>
                    <a:pt x="2284616" y="200228"/>
                  </a:lnTo>
                  <a:lnTo>
                    <a:pt x="2284667" y="200228"/>
                  </a:lnTo>
                  <a:lnTo>
                    <a:pt x="2284667" y="200876"/>
                  </a:lnTo>
                  <a:lnTo>
                    <a:pt x="2284667" y="200228"/>
                  </a:lnTo>
                  <a:lnTo>
                    <a:pt x="2284667" y="200876"/>
                  </a:lnTo>
                  <a:lnTo>
                    <a:pt x="2284667" y="200228"/>
                  </a:lnTo>
                  <a:lnTo>
                    <a:pt x="2284667" y="200876"/>
                  </a:lnTo>
                  <a:lnTo>
                    <a:pt x="2284718" y="200876"/>
                  </a:lnTo>
                  <a:lnTo>
                    <a:pt x="2284718" y="200228"/>
                  </a:lnTo>
                  <a:lnTo>
                    <a:pt x="2284718" y="202260"/>
                  </a:lnTo>
                  <a:lnTo>
                    <a:pt x="2284718" y="200876"/>
                  </a:lnTo>
                  <a:lnTo>
                    <a:pt x="2284819" y="200876"/>
                  </a:lnTo>
                  <a:lnTo>
                    <a:pt x="2284819" y="200228"/>
                  </a:lnTo>
                  <a:lnTo>
                    <a:pt x="2284819" y="200876"/>
                  </a:lnTo>
                  <a:lnTo>
                    <a:pt x="2284819" y="199530"/>
                  </a:lnTo>
                  <a:lnTo>
                    <a:pt x="2284819" y="200228"/>
                  </a:lnTo>
                  <a:lnTo>
                    <a:pt x="2284819" y="199530"/>
                  </a:lnTo>
                  <a:lnTo>
                    <a:pt x="2284819" y="200228"/>
                  </a:lnTo>
                  <a:lnTo>
                    <a:pt x="2284870" y="199530"/>
                  </a:lnTo>
                  <a:lnTo>
                    <a:pt x="2284870" y="197447"/>
                  </a:lnTo>
                  <a:lnTo>
                    <a:pt x="2284921" y="197447"/>
                  </a:lnTo>
                  <a:lnTo>
                    <a:pt x="2284921" y="200228"/>
                  </a:lnTo>
                  <a:lnTo>
                    <a:pt x="2284921" y="198831"/>
                  </a:lnTo>
                  <a:lnTo>
                    <a:pt x="2284959" y="198831"/>
                  </a:lnTo>
                  <a:lnTo>
                    <a:pt x="2284959" y="200876"/>
                  </a:lnTo>
                  <a:lnTo>
                    <a:pt x="2284959" y="200228"/>
                  </a:lnTo>
                  <a:lnTo>
                    <a:pt x="2285061" y="200876"/>
                  </a:lnTo>
                  <a:lnTo>
                    <a:pt x="2285061" y="200228"/>
                  </a:lnTo>
                  <a:lnTo>
                    <a:pt x="2285061" y="200876"/>
                  </a:lnTo>
                  <a:lnTo>
                    <a:pt x="2285061" y="199530"/>
                  </a:lnTo>
                  <a:lnTo>
                    <a:pt x="2285061" y="200228"/>
                  </a:lnTo>
                  <a:lnTo>
                    <a:pt x="2285112" y="200228"/>
                  </a:lnTo>
                  <a:lnTo>
                    <a:pt x="2285112" y="200876"/>
                  </a:lnTo>
                  <a:lnTo>
                    <a:pt x="2285112" y="200228"/>
                  </a:lnTo>
                  <a:lnTo>
                    <a:pt x="2285112" y="202260"/>
                  </a:lnTo>
                  <a:lnTo>
                    <a:pt x="2285112" y="200876"/>
                  </a:lnTo>
                  <a:lnTo>
                    <a:pt x="2285112" y="202260"/>
                  </a:lnTo>
                  <a:lnTo>
                    <a:pt x="2285162" y="202260"/>
                  </a:lnTo>
                  <a:lnTo>
                    <a:pt x="2285162" y="200876"/>
                  </a:lnTo>
                  <a:lnTo>
                    <a:pt x="2285162" y="202260"/>
                  </a:lnTo>
                  <a:lnTo>
                    <a:pt x="2285162" y="200876"/>
                  </a:lnTo>
                  <a:lnTo>
                    <a:pt x="2285264" y="202260"/>
                  </a:lnTo>
                  <a:lnTo>
                    <a:pt x="2285264" y="200228"/>
                  </a:lnTo>
                  <a:lnTo>
                    <a:pt x="2285315" y="200228"/>
                  </a:lnTo>
                  <a:lnTo>
                    <a:pt x="2285315" y="198831"/>
                  </a:lnTo>
                  <a:lnTo>
                    <a:pt x="2285365" y="198831"/>
                  </a:lnTo>
                  <a:lnTo>
                    <a:pt x="2285365" y="197447"/>
                  </a:lnTo>
                  <a:lnTo>
                    <a:pt x="2285365" y="198831"/>
                  </a:lnTo>
                  <a:lnTo>
                    <a:pt x="2285365" y="196799"/>
                  </a:lnTo>
                  <a:lnTo>
                    <a:pt x="2285416" y="196799"/>
                  </a:lnTo>
                  <a:lnTo>
                    <a:pt x="2285416" y="199530"/>
                  </a:lnTo>
                  <a:lnTo>
                    <a:pt x="2285416" y="196799"/>
                  </a:lnTo>
                  <a:lnTo>
                    <a:pt x="2285416" y="199530"/>
                  </a:lnTo>
                  <a:lnTo>
                    <a:pt x="2285505" y="199530"/>
                  </a:lnTo>
                  <a:lnTo>
                    <a:pt x="2285505" y="200228"/>
                  </a:lnTo>
                  <a:lnTo>
                    <a:pt x="2285505" y="198831"/>
                  </a:lnTo>
                  <a:lnTo>
                    <a:pt x="2285505" y="200228"/>
                  </a:lnTo>
                  <a:lnTo>
                    <a:pt x="2285556" y="200228"/>
                  </a:lnTo>
                  <a:lnTo>
                    <a:pt x="2285556" y="199530"/>
                  </a:lnTo>
                  <a:lnTo>
                    <a:pt x="2285556" y="200228"/>
                  </a:lnTo>
                  <a:lnTo>
                    <a:pt x="2285556" y="199530"/>
                  </a:lnTo>
                  <a:lnTo>
                    <a:pt x="2285556" y="200228"/>
                  </a:lnTo>
                  <a:lnTo>
                    <a:pt x="2285607" y="200228"/>
                  </a:lnTo>
                  <a:lnTo>
                    <a:pt x="2285607" y="200876"/>
                  </a:lnTo>
                  <a:lnTo>
                    <a:pt x="2285607" y="200228"/>
                  </a:lnTo>
                  <a:lnTo>
                    <a:pt x="2285607" y="200876"/>
                  </a:lnTo>
                  <a:lnTo>
                    <a:pt x="2285658" y="200876"/>
                  </a:lnTo>
                  <a:lnTo>
                    <a:pt x="2285658" y="202260"/>
                  </a:lnTo>
                  <a:lnTo>
                    <a:pt x="2285658" y="200876"/>
                  </a:lnTo>
                  <a:lnTo>
                    <a:pt x="2285658" y="202260"/>
                  </a:lnTo>
                  <a:lnTo>
                    <a:pt x="2285658" y="200876"/>
                  </a:lnTo>
                  <a:lnTo>
                    <a:pt x="2285658" y="202260"/>
                  </a:lnTo>
                  <a:lnTo>
                    <a:pt x="2285658" y="200876"/>
                  </a:lnTo>
                  <a:lnTo>
                    <a:pt x="2285658" y="202260"/>
                  </a:lnTo>
                  <a:lnTo>
                    <a:pt x="2285658" y="200876"/>
                  </a:lnTo>
                  <a:lnTo>
                    <a:pt x="2285658" y="202260"/>
                  </a:lnTo>
                  <a:lnTo>
                    <a:pt x="2285658" y="200876"/>
                  </a:lnTo>
                  <a:lnTo>
                    <a:pt x="2285759" y="200876"/>
                  </a:lnTo>
                  <a:lnTo>
                    <a:pt x="2285759" y="200228"/>
                  </a:lnTo>
                  <a:lnTo>
                    <a:pt x="2285810" y="200228"/>
                  </a:lnTo>
                  <a:lnTo>
                    <a:pt x="2285810" y="198831"/>
                  </a:lnTo>
                  <a:lnTo>
                    <a:pt x="2285861" y="198831"/>
                  </a:lnTo>
                  <a:lnTo>
                    <a:pt x="2285861" y="197447"/>
                  </a:lnTo>
                  <a:lnTo>
                    <a:pt x="2285861" y="198831"/>
                  </a:lnTo>
                  <a:lnTo>
                    <a:pt x="2285861" y="196799"/>
                  </a:lnTo>
                  <a:lnTo>
                    <a:pt x="2285861" y="197447"/>
                  </a:lnTo>
                  <a:lnTo>
                    <a:pt x="2285962" y="197447"/>
                  </a:lnTo>
                  <a:lnTo>
                    <a:pt x="2285962" y="198831"/>
                  </a:lnTo>
                  <a:lnTo>
                    <a:pt x="2285962" y="197447"/>
                  </a:lnTo>
                  <a:lnTo>
                    <a:pt x="2285962" y="198831"/>
                  </a:lnTo>
                  <a:lnTo>
                    <a:pt x="2285962" y="196799"/>
                  </a:lnTo>
                  <a:lnTo>
                    <a:pt x="2285962" y="198831"/>
                  </a:lnTo>
                  <a:lnTo>
                    <a:pt x="2286000" y="199530"/>
                  </a:lnTo>
                  <a:lnTo>
                    <a:pt x="2286000" y="198831"/>
                  </a:lnTo>
                  <a:lnTo>
                    <a:pt x="2286000" y="200228"/>
                  </a:lnTo>
                  <a:lnTo>
                    <a:pt x="2286000" y="199530"/>
                  </a:lnTo>
                  <a:lnTo>
                    <a:pt x="2286051" y="199530"/>
                  </a:lnTo>
                  <a:lnTo>
                    <a:pt x="2286051" y="198831"/>
                  </a:lnTo>
                  <a:lnTo>
                    <a:pt x="2286051" y="199530"/>
                  </a:lnTo>
                  <a:lnTo>
                    <a:pt x="2286051" y="198831"/>
                  </a:lnTo>
                  <a:lnTo>
                    <a:pt x="2286051" y="200228"/>
                  </a:lnTo>
                  <a:lnTo>
                    <a:pt x="2286051" y="199530"/>
                  </a:lnTo>
                  <a:lnTo>
                    <a:pt x="2286051" y="200228"/>
                  </a:lnTo>
                  <a:lnTo>
                    <a:pt x="2286102" y="199530"/>
                  </a:lnTo>
                  <a:lnTo>
                    <a:pt x="2286102" y="200228"/>
                  </a:lnTo>
                  <a:lnTo>
                    <a:pt x="2286102" y="199530"/>
                  </a:lnTo>
                  <a:lnTo>
                    <a:pt x="2286102" y="200876"/>
                  </a:lnTo>
                  <a:lnTo>
                    <a:pt x="2286102" y="200228"/>
                  </a:lnTo>
                  <a:lnTo>
                    <a:pt x="2286204" y="200228"/>
                  </a:lnTo>
                  <a:lnTo>
                    <a:pt x="2286204" y="200876"/>
                  </a:lnTo>
                  <a:lnTo>
                    <a:pt x="2286204" y="200228"/>
                  </a:lnTo>
                  <a:lnTo>
                    <a:pt x="2286204" y="200876"/>
                  </a:lnTo>
                  <a:lnTo>
                    <a:pt x="2286204" y="200228"/>
                  </a:lnTo>
                  <a:lnTo>
                    <a:pt x="2286255" y="200228"/>
                  </a:lnTo>
                  <a:lnTo>
                    <a:pt x="2286255" y="200876"/>
                  </a:lnTo>
                  <a:lnTo>
                    <a:pt x="2286255" y="200228"/>
                  </a:lnTo>
                  <a:lnTo>
                    <a:pt x="2286305" y="200228"/>
                  </a:lnTo>
                  <a:lnTo>
                    <a:pt x="2286305" y="199530"/>
                  </a:lnTo>
                  <a:lnTo>
                    <a:pt x="2286305" y="200228"/>
                  </a:lnTo>
                  <a:lnTo>
                    <a:pt x="2286305" y="198831"/>
                  </a:lnTo>
                  <a:lnTo>
                    <a:pt x="2286407" y="198831"/>
                  </a:lnTo>
                  <a:lnTo>
                    <a:pt x="2286407" y="196799"/>
                  </a:lnTo>
                  <a:lnTo>
                    <a:pt x="2286407" y="197447"/>
                  </a:lnTo>
                  <a:lnTo>
                    <a:pt x="2286407" y="196799"/>
                  </a:lnTo>
                  <a:lnTo>
                    <a:pt x="2286407" y="197447"/>
                  </a:lnTo>
                  <a:lnTo>
                    <a:pt x="2286407" y="196799"/>
                  </a:lnTo>
                  <a:lnTo>
                    <a:pt x="2286407" y="197447"/>
                  </a:lnTo>
                  <a:lnTo>
                    <a:pt x="2286458" y="197447"/>
                  </a:lnTo>
                  <a:lnTo>
                    <a:pt x="2286458" y="196799"/>
                  </a:lnTo>
                  <a:lnTo>
                    <a:pt x="2286458" y="198831"/>
                  </a:lnTo>
                  <a:lnTo>
                    <a:pt x="2286509" y="199530"/>
                  </a:lnTo>
                  <a:lnTo>
                    <a:pt x="2286509" y="197447"/>
                  </a:lnTo>
                  <a:lnTo>
                    <a:pt x="2286509" y="198831"/>
                  </a:lnTo>
                  <a:lnTo>
                    <a:pt x="2286509" y="197447"/>
                  </a:lnTo>
                  <a:lnTo>
                    <a:pt x="2286509" y="199530"/>
                  </a:lnTo>
                  <a:lnTo>
                    <a:pt x="2286547" y="199530"/>
                  </a:lnTo>
                  <a:lnTo>
                    <a:pt x="2286547" y="198831"/>
                  </a:lnTo>
                  <a:lnTo>
                    <a:pt x="2286547" y="199530"/>
                  </a:lnTo>
                  <a:lnTo>
                    <a:pt x="2286547" y="198831"/>
                  </a:lnTo>
                  <a:lnTo>
                    <a:pt x="2286547" y="199530"/>
                  </a:lnTo>
                  <a:lnTo>
                    <a:pt x="2286648" y="199530"/>
                  </a:lnTo>
                  <a:lnTo>
                    <a:pt x="2286648" y="200228"/>
                  </a:lnTo>
                  <a:lnTo>
                    <a:pt x="2286648" y="199530"/>
                  </a:lnTo>
                  <a:lnTo>
                    <a:pt x="2286648" y="200228"/>
                  </a:lnTo>
                  <a:lnTo>
                    <a:pt x="2286699" y="199530"/>
                  </a:lnTo>
                  <a:lnTo>
                    <a:pt x="2286699" y="200228"/>
                  </a:lnTo>
                  <a:lnTo>
                    <a:pt x="2286699" y="199530"/>
                  </a:lnTo>
                  <a:lnTo>
                    <a:pt x="2286699" y="200228"/>
                  </a:lnTo>
                  <a:lnTo>
                    <a:pt x="2286699" y="199530"/>
                  </a:lnTo>
                  <a:lnTo>
                    <a:pt x="2286750" y="199530"/>
                  </a:lnTo>
                  <a:lnTo>
                    <a:pt x="2286750" y="200228"/>
                  </a:lnTo>
                  <a:lnTo>
                    <a:pt x="2286750" y="199530"/>
                  </a:lnTo>
                  <a:lnTo>
                    <a:pt x="2286750" y="200228"/>
                  </a:lnTo>
                  <a:lnTo>
                    <a:pt x="2286750" y="199530"/>
                  </a:lnTo>
                  <a:lnTo>
                    <a:pt x="2286750" y="200228"/>
                  </a:lnTo>
                  <a:lnTo>
                    <a:pt x="2286851" y="200228"/>
                  </a:lnTo>
                  <a:lnTo>
                    <a:pt x="2286851" y="198831"/>
                  </a:lnTo>
                  <a:lnTo>
                    <a:pt x="2286851" y="199530"/>
                  </a:lnTo>
                  <a:lnTo>
                    <a:pt x="2286851" y="198831"/>
                  </a:lnTo>
                  <a:lnTo>
                    <a:pt x="2286902" y="198831"/>
                  </a:lnTo>
                  <a:lnTo>
                    <a:pt x="2286902" y="197447"/>
                  </a:lnTo>
                  <a:lnTo>
                    <a:pt x="2286902" y="198831"/>
                  </a:lnTo>
                  <a:lnTo>
                    <a:pt x="2286902" y="197447"/>
                  </a:lnTo>
                  <a:lnTo>
                    <a:pt x="2286902" y="198831"/>
                  </a:lnTo>
                  <a:lnTo>
                    <a:pt x="2286902" y="196799"/>
                  </a:lnTo>
                  <a:lnTo>
                    <a:pt x="2286953" y="196799"/>
                  </a:lnTo>
                  <a:lnTo>
                    <a:pt x="2286953" y="197447"/>
                  </a:lnTo>
                  <a:lnTo>
                    <a:pt x="2286953" y="196113"/>
                  </a:lnTo>
                  <a:lnTo>
                    <a:pt x="2286953" y="198831"/>
                  </a:lnTo>
                  <a:lnTo>
                    <a:pt x="2287004" y="198831"/>
                  </a:lnTo>
                  <a:lnTo>
                    <a:pt x="2287004" y="196799"/>
                  </a:lnTo>
                  <a:lnTo>
                    <a:pt x="2287004" y="197447"/>
                  </a:lnTo>
                  <a:lnTo>
                    <a:pt x="2287093" y="197447"/>
                  </a:lnTo>
                  <a:lnTo>
                    <a:pt x="2287093" y="196799"/>
                  </a:lnTo>
                  <a:lnTo>
                    <a:pt x="2287093" y="198831"/>
                  </a:lnTo>
                  <a:lnTo>
                    <a:pt x="2287144" y="198831"/>
                  </a:lnTo>
                  <a:lnTo>
                    <a:pt x="2287144" y="199530"/>
                  </a:lnTo>
                  <a:lnTo>
                    <a:pt x="2287144" y="197447"/>
                  </a:lnTo>
                  <a:lnTo>
                    <a:pt x="2287144" y="198831"/>
                  </a:lnTo>
                  <a:lnTo>
                    <a:pt x="2287194" y="198831"/>
                  </a:lnTo>
                  <a:lnTo>
                    <a:pt x="2287194" y="199530"/>
                  </a:lnTo>
                  <a:lnTo>
                    <a:pt x="2287194" y="198831"/>
                  </a:lnTo>
                  <a:lnTo>
                    <a:pt x="2287194" y="199530"/>
                  </a:lnTo>
                  <a:lnTo>
                    <a:pt x="2287245" y="199530"/>
                  </a:lnTo>
                  <a:lnTo>
                    <a:pt x="2287245" y="200228"/>
                  </a:lnTo>
                  <a:lnTo>
                    <a:pt x="2287245" y="198831"/>
                  </a:lnTo>
                  <a:lnTo>
                    <a:pt x="2287245" y="199530"/>
                  </a:lnTo>
                  <a:lnTo>
                    <a:pt x="2287347" y="198831"/>
                  </a:lnTo>
                  <a:lnTo>
                    <a:pt x="2287347" y="197447"/>
                  </a:lnTo>
                  <a:lnTo>
                    <a:pt x="2287397" y="197447"/>
                  </a:lnTo>
                  <a:lnTo>
                    <a:pt x="2287397" y="198831"/>
                  </a:lnTo>
                  <a:lnTo>
                    <a:pt x="2287397" y="197447"/>
                  </a:lnTo>
                  <a:lnTo>
                    <a:pt x="2287448" y="197447"/>
                  </a:lnTo>
                  <a:lnTo>
                    <a:pt x="2287448" y="196799"/>
                  </a:lnTo>
                  <a:lnTo>
                    <a:pt x="2287448" y="199530"/>
                  </a:lnTo>
                  <a:lnTo>
                    <a:pt x="2287448" y="198831"/>
                  </a:lnTo>
                  <a:lnTo>
                    <a:pt x="2287550" y="198831"/>
                  </a:lnTo>
                  <a:lnTo>
                    <a:pt x="2287550" y="200228"/>
                  </a:lnTo>
                  <a:lnTo>
                    <a:pt x="2287550" y="199530"/>
                  </a:lnTo>
                  <a:lnTo>
                    <a:pt x="2287588" y="199530"/>
                  </a:lnTo>
                  <a:lnTo>
                    <a:pt x="2287588" y="200228"/>
                  </a:lnTo>
                  <a:lnTo>
                    <a:pt x="2287588" y="199530"/>
                  </a:lnTo>
                  <a:lnTo>
                    <a:pt x="2287588" y="200228"/>
                  </a:lnTo>
                  <a:lnTo>
                    <a:pt x="2287588" y="199530"/>
                  </a:lnTo>
                  <a:lnTo>
                    <a:pt x="2287588" y="200228"/>
                  </a:lnTo>
                  <a:lnTo>
                    <a:pt x="2287588" y="199530"/>
                  </a:lnTo>
                  <a:lnTo>
                    <a:pt x="2287639" y="200228"/>
                  </a:lnTo>
                  <a:lnTo>
                    <a:pt x="2287639" y="199530"/>
                  </a:lnTo>
                  <a:lnTo>
                    <a:pt x="2287639" y="200228"/>
                  </a:lnTo>
                  <a:lnTo>
                    <a:pt x="2287639" y="199530"/>
                  </a:lnTo>
                  <a:lnTo>
                    <a:pt x="2287639" y="200228"/>
                  </a:lnTo>
                  <a:lnTo>
                    <a:pt x="2287639" y="199530"/>
                  </a:lnTo>
                  <a:lnTo>
                    <a:pt x="2287639" y="200228"/>
                  </a:lnTo>
                  <a:lnTo>
                    <a:pt x="2287639" y="199530"/>
                  </a:lnTo>
                  <a:lnTo>
                    <a:pt x="2287639" y="200228"/>
                  </a:lnTo>
                  <a:lnTo>
                    <a:pt x="2287690" y="200228"/>
                  </a:lnTo>
                  <a:lnTo>
                    <a:pt x="2287690" y="199530"/>
                  </a:lnTo>
                  <a:lnTo>
                    <a:pt x="2287690" y="200228"/>
                  </a:lnTo>
                  <a:lnTo>
                    <a:pt x="2287690" y="199530"/>
                  </a:lnTo>
                  <a:lnTo>
                    <a:pt x="2287791" y="199530"/>
                  </a:lnTo>
                  <a:lnTo>
                    <a:pt x="2287791" y="200228"/>
                  </a:lnTo>
                  <a:lnTo>
                    <a:pt x="2287791" y="199530"/>
                  </a:lnTo>
                  <a:lnTo>
                    <a:pt x="2287791" y="200228"/>
                  </a:lnTo>
                  <a:lnTo>
                    <a:pt x="2287791" y="199530"/>
                  </a:lnTo>
                  <a:lnTo>
                    <a:pt x="2287842" y="199530"/>
                  </a:lnTo>
                  <a:lnTo>
                    <a:pt x="2287842" y="198831"/>
                  </a:lnTo>
                  <a:lnTo>
                    <a:pt x="2287893" y="197447"/>
                  </a:lnTo>
                  <a:lnTo>
                    <a:pt x="2287893" y="200228"/>
                  </a:lnTo>
                  <a:lnTo>
                    <a:pt x="2287893" y="197447"/>
                  </a:lnTo>
                  <a:lnTo>
                    <a:pt x="2287893" y="198831"/>
                  </a:lnTo>
                  <a:lnTo>
                    <a:pt x="2287893" y="197447"/>
                  </a:lnTo>
                  <a:lnTo>
                    <a:pt x="2287994" y="197447"/>
                  </a:lnTo>
                  <a:lnTo>
                    <a:pt x="2287994" y="200876"/>
                  </a:lnTo>
                  <a:lnTo>
                    <a:pt x="2287994" y="199530"/>
                  </a:lnTo>
                  <a:lnTo>
                    <a:pt x="2288045" y="200228"/>
                  </a:lnTo>
                  <a:lnTo>
                    <a:pt x="2288045" y="200876"/>
                  </a:lnTo>
                  <a:lnTo>
                    <a:pt x="2288045" y="200228"/>
                  </a:lnTo>
                  <a:lnTo>
                    <a:pt x="2288045" y="200876"/>
                  </a:lnTo>
                  <a:lnTo>
                    <a:pt x="2288045" y="199530"/>
                  </a:lnTo>
                  <a:lnTo>
                    <a:pt x="2288096" y="200228"/>
                  </a:lnTo>
                  <a:lnTo>
                    <a:pt x="2288096" y="200876"/>
                  </a:lnTo>
                  <a:lnTo>
                    <a:pt x="2288096" y="200228"/>
                  </a:lnTo>
                  <a:lnTo>
                    <a:pt x="2288096" y="200876"/>
                  </a:lnTo>
                  <a:lnTo>
                    <a:pt x="2288096" y="200228"/>
                  </a:lnTo>
                  <a:lnTo>
                    <a:pt x="2288134" y="200876"/>
                  </a:lnTo>
                  <a:lnTo>
                    <a:pt x="2288134" y="200228"/>
                  </a:lnTo>
                  <a:lnTo>
                    <a:pt x="2288134" y="200876"/>
                  </a:lnTo>
                  <a:lnTo>
                    <a:pt x="2288134" y="200228"/>
                  </a:lnTo>
                  <a:lnTo>
                    <a:pt x="2288236" y="200228"/>
                  </a:lnTo>
                  <a:lnTo>
                    <a:pt x="2288236" y="199530"/>
                  </a:lnTo>
                  <a:lnTo>
                    <a:pt x="2288236" y="200228"/>
                  </a:lnTo>
                  <a:lnTo>
                    <a:pt x="2288236" y="199530"/>
                  </a:lnTo>
                  <a:lnTo>
                    <a:pt x="2288236" y="200228"/>
                  </a:lnTo>
                  <a:lnTo>
                    <a:pt x="2288287" y="199530"/>
                  </a:lnTo>
                  <a:lnTo>
                    <a:pt x="2288287" y="200228"/>
                  </a:lnTo>
                  <a:lnTo>
                    <a:pt x="2288287" y="199530"/>
                  </a:lnTo>
                  <a:lnTo>
                    <a:pt x="2288287" y="200228"/>
                  </a:lnTo>
                  <a:lnTo>
                    <a:pt x="2288287" y="198831"/>
                  </a:lnTo>
                  <a:lnTo>
                    <a:pt x="2288337" y="198831"/>
                  </a:lnTo>
                  <a:lnTo>
                    <a:pt x="2288337" y="196799"/>
                  </a:lnTo>
                  <a:lnTo>
                    <a:pt x="2288337" y="198831"/>
                  </a:lnTo>
                  <a:lnTo>
                    <a:pt x="2288439" y="198831"/>
                  </a:lnTo>
                  <a:lnTo>
                    <a:pt x="2288439" y="197447"/>
                  </a:lnTo>
                  <a:lnTo>
                    <a:pt x="2288439" y="198831"/>
                  </a:lnTo>
                  <a:lnTo>
                    <a:pt x="2288439" y="197447"/>
                  </a:lnTo>
                  <a:lnTo>
                    <a:pt x="2288439" y="198831"/>
                  </a:lnTo>
                  <a:lnTo>
                    <a:pt x="2288439" y="196799"/>
                  </a:lnTo>
                  <a:lnTo>
                    <a:pt x="2288439" y="199530"/>
                  </a:lnTo>
                  <a:lnTo>
                    <a:pt x="2288490" y="199530"/>
                  </a:lnTo>
                  <a:lnTo>
                    <a:pt x="2288490" y="198831"/>
                  </a:lnTo>
                  <a:lnTo>
                    <a:pt x="2288490" y="200876"/>
                  </a:lnTo>
                  <a:lnTo>
                    <a:pt x="2288540" y="200876"/>
                  </a:lnTo>
                  <a:lnTo>
                    <a:pt x="2288540" y="199530"/>
                  </a:lnTo>
                  <a:lnTo>
                    <a:pt x="2288540" y="200876"/>
                  </a:lnTo>
                  <a:lnTo>
                    <a:pt x="2288591" y="200228"/>
                  </a:lnTo>
                  <a:lnTo>
                    <a:pt x="2288591" y="200876"/>
                  </a:lnTo>
                  <a:lnTo>
                    <a:pt x="2288591" y="200228"/>
                  </a:lnTo>
                  <a:lnTo>
                    <a:pt x="2288591" y="200876"/>
                  </a:lnTo>
                  <a:lnTo>
                    <a:pt x="2288591" y="200228"/>
                  </a:lnTo>
                  <a:lnTo>
                    <a:pt x="2288591" y="200876"/>
                  </a:lnTo>
                  <a:lnTo>
                    <a:pt x="2288591" y="200228"/>
                  </a:lnTo>
                  <a:lnTo>
                    <a:pt x="2288591" y="200876"/>
                  </a:lnTo>
                  <a:lnTo>
                    <a:pt x="2288591" y="200228"/>
                  </a:lnTo>
                  <a:lnTo>
                    <a:pt x="2288680" y="200228"/>
                  </a:lnTo>
                  <a:lnTo>
                    <a:pt x="2288680" y="200876"/>
                  </a:lnTo>
                  <a:lnTo>
                    <a:pt x="2288680" y="200228"/>
                  </a:lnTo>
                  <a:lnTo>
                    <a:pt x="2288782" y="200228"/>
                  </a:lnTo>
                  <a:lnTo>
                    <a:pt x="2288782" y="199530"/>
                  </a:lnTo>
                  <a:lnTo>
                    <a:pt x="2288782" y="200228"/>
                  </a:lnTo>
                  <a:lnTo>
                    <a:pt x="2288782" y="199530"/>
                  </a:lnTo>
                  <a:lnTo>
                    <a:pt x="2288782" y="200228"/>
                  </a:lnTo>
                  <a:lnTo>
                    <a:pt x="2288782" y="198831"/>
                  </a:lnTo>
                  <a:lnTo>
                    <a:pt x="2288833" y="198831"/>
                  </a:lnTo>
                  <a:lnTo>
                    <a:pt x="2288833" y="196799"/>
                  </a:lnTo>
                  <a:lnTo>
                    <a:pt x="2288833" y="197447"/>
                  </a:lnTo>
                  <a:lnTo>
                    <a:pt x="2288833" y="196799"/>
                  </a:lnTo>
                  <a:lnTo>
                    <a:pt x="2288833" y="198831"/>
                  </a:lnTo>
                  <a:lnTo>
                    <a:pt x="2288833" y="197447"/>
                  </a:lnTo>
                  <a:lnTo>
                    <a:pt x="2288934" y="197447"/>
                  </a:lnTo>
                  <a:lnTo>
                    <a:pt x="2288934" y="199530"/>
                  </a:lnTo>
                  <a:lnTo>
                    <a:pt x="2288985" y="199530"/>
                  </a:lnTo>
                  <a:lnTo>
                    <a:pt x="2288985" y="198831"/>
                  </a:lnTo>
                  <a:lnTo>
                    <a:pt x="2288985" y="200228"/>
                  </a:lnTo>
                  <a:lnTo>
                    <a:pt x="2289036" y="200228"/>
                  </a:lnTo>
                  <a:lnTo>
                    <a:pt x="2289036" y="199530"/>
                  </a:lnTo>
                  <a:lnTo>
                    <a:pt x="2289036" y="200228"/>
                  </a:lnTo>
                  <a:lnTo>
                    <a:pt x="2289036" y="199530"/>
                  </a:lnTo>
                  <a:lnTo>
                    <a:pt x="2289036" y="200228"/>
                  </a:lnTo>
                  <a:lnTo>
                    <a:pt x="2289137" y="200228"/>
                  </a:lnTo>
                  <a:lnTo>
                    <a:pt x="2289137" y="200876"/>
                  </a:lnTo>
                  <a:lnTo>
                    <a:pt x="2289175" y="200876"/>
                  </a:lnTo>
                  <a:lnTo>
                    <a:pt x="2289175" y="200228"/>
                  </a:lnTo>
                  <a:lnTo>
                    <a:pt x="2289175" y="200876"/>
                  </a:lnTo>
                  <a:lnTo>
                    <a:pt x="2289226" y="200228"/>
                  </a:lnTo>
                  <a:lnTo>
                    <a:pt x="2289226" y="200876"/>
                  </a:lnTo>
                  <a:lnTo>
                    <a:pt x="2289226" y="200228"/>
                  </a:lnTo>
                  <a:lnTo>
                    <a:pt x="2289226" y="200876"/>
                  </a:lnTo>
                  <a:lnTo>
                    <a:pt x="2289226" y="200228"/>
                  </a:lnTo>
                  <a:lnTo>
                    <a:pt x="2289277" y="200228"/>
                  </a:lnTo>
                  <a:lnTo>
                    <a:pt x="2289277" y="198831"/>
                  </a:lnTo>
                  <a:lnTo>
                    <a:pt x="2289277" y="199530"/>
                  </a:lnTo>
                  <a:lnTo>
                    <a:pt x="2289277" y="197447"/>
                  </a:lnTo>
                  <a:lnTo>
                    <a:pt x="2289379" y="197447"/>
                  </a:lnTo>
                  <a:lnTo>
                    <a:pt x="2289379" y="196799"/>
                  </a:lnTo>
                  <a:lnTo>
                    <a:pt x="2289379" y="197447"/>
                  </a:lnTo>
                  <a:lnTo>
                    <a:pt x="2289379" y="195415"/>
                  </a:lnTo>
                  <a:lnTo>
                    <a:pt x="2289379" y="197447"/>
                  </a:lnTo>
                  <a:lnTo>
                    <a:pt x="2289430" y="197447"/>
                  </a:lnTo>
                  <a:lnTo>
                    <a:pt x="2289430" y="195415"/>
                  </a:lnTo>
                  <a:lnTo>
                    <a:pt x="2289430" y="198831"/>
                  </a:lnTo>
                  <a:lnTo>
                    <a:pt x="2289480" y="198831"/>
                  </a:lnTo>
                  <a:lnTo>
                    <a:pt x="2289480" y="197447"/>
                  </a:lnTo>
                  <a:lnTo>
                    <a:pt x="2289480" y="200228"/>
                  </a:lnTo>
                  <a:lnTo>
                    <a:pt x="2289480" y="199530"/>
                  </a:lnTo>
                  <a:lnTo>
                    <a:pt x="2289582" y="199530"/>
                  </a:lnTo>
                  <a:lnTo>
                    <a:pt x="2289582" y="198831"/>
                  </a:lnTo>
                  <a:lnTo>
                    <a:pt x="2289582" y="199530"/>
                  </a:lnTo>
                  <a:lnTo>
                    <a:pt x="2289582" y="198831"/>
                  </a:lnTo>
                  <a:lnTo>
                    <a:pt x="2289582" y="200228"/>
                  </a:lnTo>
                  <a:lnTo>
                    <a:pt x="2289582" y="199530"/>
                  </a:lnTo>
                  <a:lnTo>
                    <a:pt x="2289633" y="199530"/>
                  </a:lnTo>
                  <a:lnTo>
                    <a:pt x="2289633" y="200228"/>
                  </a:lnTo>
                  <a:lnTo>
                    <a:pt x="2289633" y="199530"/>
                  </a:lnTo>
                  <a:lnTo>
                    <a:pt x="2289633" y="200228"/>
                  </a:lnTo>
                  <a:lnTo>
                    <a:pt x="2289684" y="200228"/>
                  </a:lnTo>
                  <a:lnTo>
                    <a:pt x="2289684" y="200876"/>
                  </a:lnTo>
                  <a:lnTo>
                    <a:pt x="2289722" y="200876"/>
                  </a:lnTo>
                  <a:lnTo>
                    <a:pt x="2289722" y="200228"/>
                  </a:lnTo>
                  <a:lnTo>
                    <a:pt x="2289722" y="200876"/>
                  </a:lnTo>
                  <a:lnTo>
                    <a:pt x="2289722" y="200228"/>
                  </a:lnTo>
                  <a:lnTo>
                    <a:pt x="2289722" y="200876"/>
                  </a:lnTo>
                  <a:lnTo>
                    <a:pt x="2289722" y="200228"/>
                  </a:lnTo>
                  <a:lnTo>
                    <a:pt x="2289823" y="200228"/>
                  </a:lnTo>
                  <a:lnTo>
                    <a:pt x="2289823" y="198831"/>
                  </a:lnTo>
                  <a:lnTo>
                    <a:pt x="2289874" y="198831"/>
                  </a:lnTo>
                  <a:lnTo>
                    <a:pt x="2289874" y="196799"/>
                  </a:lnTo>
                  <a:lnTo>
                    <a:pt x="2289874" y="198831"/>
                  </a:lnTo>
                  <a:lnTo>
                    <a:pt x="2289874" y="197447"/>
                  </a:lnTo>
                  <a:lnTo>
                    <a:pt x="2289925" y="197447"/>
                  </a:lnTo>
                  <a:lnTo>
                    <a:pt x="2289925" y="196113"/>
                  </a:lnTo>
                  <a:lnTo>
                    <a:pt x="2289925" y="199530"/>
                  </a:lnTo>
                  <a:lnTo>
                    <a:pt x="2289925" y="198831"/>
                  </a:lnTo>
                  <a:lnTo>
                    <a:pt x="2290026" y="197447"/>
                  </a:lnTo>
                  <a:lnTo>
                    <a:pt x="2290026" y="196799"/>
                  </a:lnTo>
                  <a:lnTo>
                    <a:pt x="2290026" y="199530"/>
                  </a:lnTo>
                  <a:lnTo>
                    <a:pt x="2290026" y="198831"/>
                  </a:lnTo>
                  <a:lnTo>
                    <a:pt x="2290077" y="197447"/>
                  </a:lnTo>
                  <a:lnTo>
                    <a:pt x="2290077" y="198831"/>
                  </a:lnTo>
                  <a:lnTo>
                    <a:pt x="2290077" y="197447"/>
                  </a:lnTo>
                  <a:lnTo>
                    <a:pt x="2290077" y="198831"/>
                  </a:lnTo>
                  <a:lnTo>
                    <a:pt x="2290077" y="197447"/>
                  </a:lnTo>
                  <a:lnTo>
                    <a:pt x="2290077" y="199530"/>
                  </a:lnTo>
                  <a:lnTo>
                    <a:pt x="2290128" y="199530"/>
                  </a:lnTo>
                  <a:lnTo>
                    <a:pt x="2290128" y="197447"/>
                  </a:lnTo>
                  <a:lnTo>
                    <a:pt x="2290128" y="199530"/>
                  </a:lnTo>
                  <a:lnTo>
                    <a:pt x="2290179" y="199530"/>
                  </a:lnTo>
                  <a:lnTo>
                    <a:pt x="2290179" y="200228"/>
                  </a:lnTo>
                  <a:lnTo>
                    <a:pt x="2290179" y="199530"/>
                  </a:lnTo>
                  <a:lnTo>
                    <a:pt x="2290179" y="200228"/>
                  </a:lnTo>
                  <a:lnTo>
                    <a:pt x="2290179" y="199530"/>
                  </a:lnTo>
                  <a:lnTo>
                    <a:pt x="2290179" y="200228"/>
                  </a:lnTo>
                  <a:lnTo>
                    <a:pt x="2290179" y="199530"/>
                  </a:lnTo>
                  <a:lnTo>
                    <a:pt x="2290268" y="199530"/>
                  </a:lnTo>
                  <a:lnTo>
                    <a:pt x="2290268" y="200228"/>
                  </a:lnTo>
                  <a:lnTo>
                    <a:pt x="2290268" y="199530"/>
                  </a:lnTo>
                  <a:lnTo>
                    <a:pt x="2290268" y="200228"/>
                  </a:lnTo>
                  <a:lnTo>
                    <a:pt x="2290319" y="199530"/>
                  </a:lnTo>
                  <a:lnTo>
                    <a:pt x="2290319" y="200228"/>
                  </a:lnTo>
                  <a:lnTo>
                    <a:pt x="2290319" y="198831"/>
                  </a:lnTo>
                  <a:lnTo>
                    <a:pt x="2290319" y="199530"/>
                  </a:lnTo>
                  <a:lnTo>
                    <a:pt x="2290319" y="197447"/>
                  </a:lnTo>
                  <a:lnTo>
                    <a:pt x="2290369" y="197447"/>
                  </a:lnTo>
                  <a:lnTo>
                    <a:pt x="2290369" y="199530"/>
                  </a:lnTo>
                  <a:lnTo>
                    <a:pt x="2290369" y="196799"/>
                  </a:lnTo>
                  <a:lnTo>
                    <a:pt x="2290420" y="196799"/>
                  </a:lnTo>
                  <a:lnTo>
                    <a:pt x="2290420" y="200876"/>
                  </a:lnTo>
                  <a:lnTo>
                    <a:pt x="2290420" y="198831"/>
                  </a:lnTo>
                  <a:lnTo>
                    <a:pt x="2290522" y="198831"/>
                  </a:lnTo>
                  <a:lnTo>
                    <a:pt x="2290522" y="200876"/>
                  </a:lnTo>
                  <a:lnTo>
                    <a:pt x="2290522" y="199530"/>
                  </a:lnTo>
                  <a:lnTo>
                    <a:pt x="2290572" y="199530"/>
                  </a:lnTo>
                  <a:lnTo>
                    <a:pt x="2290572" y="200228"/>
                  </a:lnTo>
                  <a:lnTo>
                    <a:pt x="2290572" y="199530"/>
                  </a:lnTo>
                  <a:lnTo>
                    <a:pt x="2290572" y="200228"/>
                  </a:lnTo>
                  <a:lnTo>
                    <a:pt x="2290572" y="199530"/>
                  </a:lnTo>
                  <a:lnTo>
                    <a:pt x="2290572" y="200228"/>
                  </a:lnTo>
                  <a:lnTo>
                    <a:pt x="2290623" y="199530"/>
                  </a:lnTo>
                  <a:lnTo>
                    <a:pt x="2290623" y="200228"/>
                  </a:lnTo>
                  <a:lnTo>
                    <a:pt x="2290623" y="199530"/>
                  </a:lnTo>
                  <a:lnTo>
                    <a:pt x="2290623" y="200228"/>
                  </a:lnTo>
                  <a:lnTo>
                    <a:pt x="2290623" y="199530"/>
                  </a:lnTo>
                  <a:lnTo>
                    <a:pt x="2290623" y="200228"/>
                  </a:lnTo>
                  <a:lnTo>
                    <a:pt x="2290763" y="200228"/>
                  </a:lnTo>
                  <a:lnTo>
                    <a:pt x="2290763" y="199530"/>
                  </a:lnTo>
                  <a:lnTo>
                    <a:pt x="2290763" y="200228"/>
                  </a:lnTo>
                  <a:lnTo>
                    <a:pt x="2290763" y="199530"/>
                  </a:lnTo>
                  <a:lnTo>
                    <a:pt x="2290763" y="200228"/>
                  </a:lnTo>
                  <a:lnTo>
                    <a:pt x="2290814" y="200228"/>
                  </a:lnTo>
                  <a:lnTo>
                    <a:pt x="2290814" y="196799"/>
                  </a:lnTo>
                  <a:lnTo>
                    <a:pt x="2290814" y="197447"/>
                  </a:lnTo>
                  <a:lnTo>
                    <a:pt x="2290865" y="197447"/>
                  </a:lnTo>
                  <a:lnTo>
                    <a:pt x="2290865" y="199530"/>
                  </a:lnTo>
                  <a:lnTo>
                    <a:pt x="2290865" y="197447"/>
                  </a:lnTo>
                  <a:lnTo>
                    <a:pt x="2290865" y="199530"/>
                  </a:lnTo>
                  <a:lnTo>
                    <a:pt x="2290966" y="200228"/>
                  </a:lnTo>
                  <a:lnTo>
                    <a:pt x="2290966" y="202260"/>
                  </a:lnTo>
                  <a:lnTo>
                    <a:pt x="2290966" y="200228"/>
                  </a:lnTo>
                  <a:lnTo>
                    <a:pt x="2290966" y="200876"/>
                  </a:lnTo>
                  <a:lnTo>
                    <a:pt x="2290966" y="200228"/>
                  </a:lnTo>
                  <a:lnTo>
                    <a:pt x="2290966" y="200876"/>
                  </a:lnTo>
                  <a:lnTo>
                    <a:pt x="2290966" y="200228"/>
                  </a:lnTo>
                  <a:lnTo>
                    <a:pt x="2290966" y="200876"/>
                  </a:lnTo>
                  <a:lnTo>
                    <a:pt x="2291017" y="200876"/>
                  </a:lnTo>
                  <a:lnTo>
                    <a:pt x="2291017" y="200228"/>
                  </a:lnTo>
                  <a:lnTo>
                    <a:pt x="2291017" y="200876"/>
                  </a:lnTo>
                  <a:lnTo>
                    <a:pt x="2291017" y="200228"/>
                  </a:lnTo>
                  <a:lnTo>
                    <a:pt x="2291017" y="200876"/>
                  </a:lnTo>
                  <a:lnTo>
                    <a:pt x="2291068" y="202260"/>
                  </a:lnTo>
                  <a:lnTo>
                    <a:pt x="2291068" y="200228"/>
                  </a:lnTo>
                  <a:lnTo>
                    <a:pt x="2291068" y="200876"/>
                  </a:lnTo>
                  <a:lnTo>
                    <a:pt x="2291068" y="200228"/>
                  </a:lnTo>
                  <a:lnTo>
                    <a:pt x="2291068" y="200876"/>
                  </a:lnTo>
                  <a:lnTo>
                    <a:pt x="2291068" y="200228"/>
                  </a:lnTo>
                  <a:lnTo>
                    <a:pt x="2291169" y="200228"/>
                  </a:lnTo>
                  <a:lnTo>
                    <a:pt x="2291169" y="200876"/>
                  </a:lnTo>
                  <a:lnTo>
                    <a:pt x="2291169" y="200228"/>
                  </a:lnTo>
                  <a:lnTo>
                    <a:pt x="2291220" y="200228"/>
                  </a:lnTo>
                  <a:lnTo>
                    <a:pt x="2291220" y="200876"/>
                  </a:lnTo>
                  <a:lnTo>
                    <a:pt x="2291220" y="200228"/>
                  </a:lnTo>
                  <a:lnTo>
                    <a:pt x="2291220" y="200876"/>
                  </a:lnTo>
                  <a:lnTo>
                    <a:pt x="2291220" y="199530"/>
                  </a:lnTo>
                  <a:lnTo>
                    <a:pt x="2291271" y="199530"/>
                  </a:lnTo>
                  <a:lnTo>
                    <a:pt x="2291271" y="200228"/>
                  </a:lnTo>
                  <a:lnTo>
                    <a:pt x="2291271" y="198831"/>
                  </a:lnTo>
                  <a:lnTo>
                    <a:pt x="2291271" y="199530"/>
                  </a:lnTo>
                  <a:lnTo>
                    <a:pt x="2291271" y="197447"/>
                  </a:lnTo>
                  <a:lnTo>
                    <a:pt x="2291309" y="197447"/>
                  </a:lnTo>
                  <a:lnTo>
                    <a:pt x="2291309" y="198831"/>
                  </a:lnTo>
                  <a:lnTo>
                    <a:pt x="2291309" y="196113"/>
                  </a:lnTo>
                  <a:lnTo>
                    <a:pt x="2291309" y="196799"/>
                  </a:lnTo>
                  <a:lnTo>
                    <a:pt x="2291411" y="197447"/>
                  </a:lnTo>
                  <a:lnTo>
                    <a:pt x="2291411" y="198831"/>
                  </a:lnTo>
                  <a:lnTo>
                    <a:pt x="2291411" y="196799"/>
                  </a:lnTo>
                  <a:lnTo>
                    <a:pt x="2291411" y="197447"/>
                  </a:lnTo>
                  <a:lnTo>
                    <a:pt x="2291411" y="196799"/>
                  </a:lnTo>
                  <a:lnTo>
                    <a:pt x="2291411" y="200228"/>
                  </a:lnTo>
                  <a:lnTo>
                    <a:pt x="2291462" y="200228"/>
                  </a:lnTo>
                  <a:lnTo>
                    <a:pt x="2291462" y="199530"/>
                  </a:lnTo>
                  <a:lnTo>
                    <a:pt x="2291462" y="200876"/>
                  </a:lnTo>
                  <a:lnTo>
                    <a:pt x="2291462" y="200228"/>
                  </a:lnTo>
                  <a:lnTo>
                    <a:pt x="2291512" y="200228"/>
                  </a:lnTo>
                  <a:lnTo>
                    <a:pt x="2291512" y="199530"/>
                  </a:lnTo>
                  <a:lnTo>
                    <a:pt x="2291512" y="200876"/>
                  </a:lnTo>
                  <a:lnTo>
                    <a:pt x="2291512" y="200228"/>
                  </a:lnTo>
                  <a:lnTo>
                    <a:pt x="2291512" y="200876"/>
                  </a:lnTo>
                  <a:lnTo>
                    <a:pt x="2291614" y="200228"/>
                  </a:lnTo>
                  <a:lnTo>
                    <a:pt x="2291614" y="199530"/>
                  </a:lnTo>
                  <a:lnTo>
                    <a:pt x="2291614" y="200876"/>
                  </a:lnTo>
                  <a:lnTo>
                    <a:pt x="2291614" y="200228"/>
                  </a:lnTo>
                  <a:lnTo>
                    <a:pt x="2291614" y="200876"/>
                  </a:lnTo>
                  <a:lnTo>
                    <a:pt x="2291665" y="200876"/>
                  </a:lnTo>
                  <a:lnTo>
                    <a:pt x="2291665" y="202260"/>
                  </a:lnTo>
                  <a:lnTo>
                    <a:pt x="2291665" y="200876"/>
                  </a:lnTo>
                  <a:lnTo>
                    <a:pt x="2291665" y="202260"/>
                  </a:lnTo>
                  <a:lnTo>
                    <a:pt x="2291665" y="200876"/>
                  </a:lnTo>
                  <a:lnTo>
                    <a:pt x="2291665" y="202260"/>
                  </a:lnTo>
                  <a:lnTo>
                    <a:pt x="2291665" y="200876"/>
                  </a:lnTo>
                  <a:lnTo>
                    <a:pt x="2291715" y="200228"/>
                  </a:lnTo>
                  <a:lnTo>
                    <a:pt x="2291715" y="202260"/>
                  </a:lnTo>
                  <a:lnTo>
                    <a:pt x="2291715" y="200228"/>
                  </a:lnTo>
                  <a:lnTo>
                    <a:pt x="2291766" y="200876"/>
                  </a:lnTo>
                  <a:lnTo>
                    <a:pt x="2291766" y="199530"/>
                  </a:lnTo>
                  <a:lnTo>
                    <a:pt x="2291855" y="199530"/>
                  </a:lnTo>
                  <a:lnTo>
                    <a:pt x="2291855" y="196799"/>
                  </a:lnTo>
                  <a:lnTo>
                    <a:pt x="2291855" y="198831"/>
                  </a:lnTo>
                  <a:lnTo>
                    <a:pt x="2291906" y="198831"/>
                  </a:lnTo>
                  <a:lnTo>
                    <a:pt x="2291906" y="197447"/>
                  </a:lnTo>
                  <a:lnTo>
                    <a:pt x="2291906" y="200228"/>
                  </a:lnTo>
                  <a:lnTo>
                    <a:pt x="2291906" y="199530"/>
                  </a:lnTo>
                  <a:lnTo>
                    <a:pt x="2291957" y="199530"/>
                  </a:lnTo>
                  <a:lnTo>
                    <a:pt x="2291957" y="200228"/>
                  </a:lnTo>
                  <a:lnTo>
                    <a:pt x="2291957" y="199530"/>
                  </a:lnTo>
                  <a:lnTo>
                    <a:pt x="2292008" y="199530"/>
                  </a:lnTo>
                  <a:lnTo>
                    <a:pt x="2292008" y="200228"/>
                  </a:lnTo>
                  <a:lnTo>
                    <a:pt x="2292008" y="199530"/>
                  </a:lnTo>
                  <a:lnTo>
                    <a:pt x="2292008" y="200228"/>
                  </a:lnTo>
                  <a:lnTo>
                    <a:pt x="2292008" y="199530"/>
                  </a:lnTo>
                  <a:lnTo>
                    <a:pt x="2292008" y="200228"/>
                  </a:lnTo>
                  <a:lnTo>
                    <a:pt x="2292160" y="200228"/>
                  </a:lnTo>
                  <a:lnTo>
                    <a:pt x="2292160" y="202260"/>
                  </a:lnTo>
                  <a:lnTo>
                    <a:pt x="2292160" y="200228"/>
                  </a:lnTo>
                  <a:lnTo>
                    <a:pt x="2292211" y="200228"/>
                  </a:lnTo>
                  <a:lnTo>
                    <a:pt x="2292211" y="200876"/>
                  </a:lnTo>
                  <a:lnTo>
                    <a:pt x="2292211" y="199530"/>
                  </a:lnTo>
                  <a:lnTo>
                    <a:pt x="2292211" y="200228"/>
                  </a:lnTo>
                  <a:lnTo>
                    <a:pt x="2292312" y="200228"/>
                  </a:lnTo>
                  <a:lnTo>
                    <a:pt x="2292312" y="197447"/>
                  </a:lnTo>
                  <a:lnTo>
                    <a:pt x="2292350" y="197447"/>
                  </a:lnTo>
                  <a:lnTo>
                    <a:pt x="2292350" y="196799"/>
                  </a:lnTo>
                  <a:lnTo>
                    <a:pt x="2292350" y="198831"/>
                  </a:lnTo>
                  <a:lnTo>
                    <a:pt x="2292350" y="197447"/>
                  </a:lnTo>
                  <a:lnTo>
                    <a:pt x="2292401" y="197447"/>
                  </a:lnTo>
                  <a:lnTo>
                    <a:pt x="2292401" y="196799"/>
                  </a:lnTo>
                  <a:lnTo>
                    <a:pt x="2292401" y="200228"/>
                  </a:lnTo>
                  <a:lnTo>
                    <a:pt x="2292401" y="199530"/>
                  </a:lnTo>
                  <a:lnTo>
                    <a:pt x="2292401" y="200228"/>
                  </a:lnTo>
                  <a:lnTo>
                    <a:pt x="2292401" y="199530"/>
                  </a:lnTo>
                  <a:lnTo>
                    <a:pt x="2292452" y="199530"/>
                  </a:lnTo>
                  <a:lnTo>
                    <a:pt x="2292452" y="200228"/>
                  </a:lnTo>
                  <a:lnTo>
                    <a:pt x="2292452" y="199530"/>
                  </a:lnTo>
                  <a:lnTo>
                    <a:pt x="2292554" y="199530"/>
                  </a:lnTo>
                  <a:lnTo>
                    <a:pt x="2292554" y="200228"/>
                  </a:lnTo>
                  <a:lnTo>
                    <a:pt x="2292554" y="199530"/>
                  </a:lnTo>
                  <a:lnTo>
                    <a:pt x="2292554" y="200228"/>
                  </a:lnTo>
                  <a:lnTo>
                    <a:pt x="2292554" y="199530"/>
                  </a:lnTo>
                  <a:lnTo>
                    <a:pt x="2292605" y="199530"/>
                  </a:lnTo>
                  <a:lnTo>
                    <a:pt x="2292605" y="200876"/>
                  </a:lnTo>
                  <a:lnTo>
                    <a:pt x="2292605" y="200228"/>
                  </a:lnTo>
                  <a:lnTo>
                    <a:pt x="2292605" y="200876"/>
                  </a:lnTo>
                  <a:lnTo>
                    <a:pt x="2292605" y="200228"/>
                  </a:lnTo>
                  <a:lnTo>
                    <a:pt x="2292605" y="200876"/>
                  </a:lnTo>
                  <a:lnTo>
                    <a:pt x="2292655" y="200876"/>
                  </a:lnTo>
                  <a:lnTo>
                    <a:pt x="2292655" y="200228"/>
                  </a:lnTo>
                  <a:lnTo>
                    <a:pt x="2292655" y="202260"/>
                  </a:lnTo>
                  <a:lnTo>
                    <a:pt x="2292655" y="200228"/>
                  </a:lnTo>
                  <a:lnTo>
                    <a:pt x="2292757" y="200228"/>
                  </a:lnTo>
                  <a:lnTo>
                    <a:pt x="2292757" y="200876"/>
                  </a:lnTo>
                  <a:lnTo>
                    <a:pt x="2292757" y="200228"/>
                  </a:lnTo>
                  <a:lnTo>
                    <a:pt x="2292757" y="200876"/>
                  </a:lnTo>
                  <a:lnTo>
                    <a:pt x="2292757" y="200228"/>
                  </a:lnTo>
                  <a:lnTo>
                    <a:pt x="2292757" y="200876"/>
                  </a:lnTo>
                  <a:lnTo>
                    <a:pt x="2292757" y="199530"/>
                  </a:lnTo>
                  <a:lnTo>
                    <a:pt x="2292757" y="200228"/>
                  </a:lnTo>
                  <a:lnTo>
                    <a:pt x="2292808" y="199530"/>
                  </a:lnTo>
                  <a:lnTo>
                    <a:pt x="2292808" y="197447"/>
                  </a:lnTo>
                  <a:lnTo>
                    <a:pt x="2292859" y="197447"/>
                  </a:lnTo>
                  <a:lnTo>
                    <a:pt x="2292859" y="198831"/>
                  </a:lnTo>
                  <a:lnTo>
                    <a:pt x="2292859" y="196799"/>
                  </a:lnTo>
                  <a:lnTo>
                    <a:pt x="2292897" y="197447"/>
                  </a:lnTo>
                  <a:lnTo>
                    <a:pt x="2292897" y="199530"/>
                  </a:lnTo>
                  <a:lnTo>
                    <a:pt x="2292897" y="198831"/>
                  </a:lnTo>
                  <a:lnTo>
                    <a:pt x="2292998" y="198831"/>
                  </a:lnTo>
                  <a:lnTo>
                    <a:pt x="2292998" y="199530"/>
                  </a:lnTo>
                  <a:lnTo>
                    <a:pt x="2292998" y="198831"/>
                  </a:lnTo>
                  <a:lnTo>
                    <a:pt x="2293049" y="198831"/>
                  </a:lnTo>
                  <a:lnTo>
                    <a:pt x="2293049" y="200228"/>
                  </a:lnTo>
                  <a:lnTo>
                    <a:pt x="2293049" y="198831"/>
                  </a:lnTo>
                  <a:lnTo>
                    <a:pt x="2293049" y="199530"/>
                  </a:lnTo>
                  <a:lnTo>
                    <a:pt x="2293100" y="199530"/>
                  </a:lnTo>
                  <a:lnTo>
                    <a:pt x="2293100" y="200228"/>
                  </a:lnTo>
                  <a:lnTo>
                    <a:pt x="2293100" y="199530"/>
                  </a:lnTo>
                  <a:lnTo>
                    <a:pt x="2293100" y="200228"/>
                  </a:lnTo>
                  <a:lnTo>
                    <a:pt x="2293201" y="200228"/>
                  </a:lnTo>
                  <a:lnTo>
                    <a:pt x="2293201" y="200876"/>
                  </a:lnTo>
                  <a:lnTo>
                    <a:pt x="2293201" y="199530"/>
                  </a:lnTo>
                  <a:lnTo>
                    <a:pt x="2293252" y="199530"/>
                  </a:lnTo>
                  <a:lnTo>
                    <a:pt x="2293252" y="200228"/>
                  </a:lnTo>
                  <a:lnTo>
                    <a:pt x="2293252" y="198831"/>
                  </a:lnTo>
                  <a:lnTo>
                    <a:pt x="2293303" y="198831"/>
                  </a:lnTo>
                  <a:lnTo>
                    <a:pt x="2293303" y="197447"/>
                  </a:lnTo>
                  <a:lnTo>
                    <a:pt x="2293303" y="199530"/>
                  </a:lnTo>
                  <a:lnTo>
                    <a:pt x="2293303" y="198831"/>
                  </a:lnTo>
                  <a:lnTo>
                    <a:pt x="2293354" y="198831"/>
                  </a:lnTo>
                  <a:lnTo>
                    <a:pt x="2293354" y="199530"/>
                  </a:lnTo>
                  <a:lnTo>
                    <a:pt x="2293354" y="198831"/>
                  </a:lnTo>
                  <a:lnTo>
                    <a:pt x="2293354" y="200876"/>
                  </a:lnTo>
                  <a:lnTo>
                    <a:pt x="2293354" y="200228"/>
                  </a:lnTo>
                  <a:lnTo>
                    <a:pt x="2293354" y="200876"/>
                  </a:lnTo>
                  <a:lnTo>
                    <a:pt x="2293443" y="200876"/>
                  </a:lnTo>
                  <a:lnTo>
                    <a:pt x="2293443" y="199530"/>
                  </a:lnTo>
                  <a:lnTo>
                    <a:pt x="2293443" y="200876"/>
                  </a:lnTo>
                  <a:lnTo>
                    <a:pt x="2293443" y="200228"/>
                  </a:lnTo>
                  <a:lnTo>
                    <a:pt x="2293494" y="200228"/>
                  </a:lnTo>
                  <a:lnTo>
                    <a:pt x="2293494" y="199530"/>
                  </a:lnTo>
                  <a:lnTo>
                    <a:pt x="2293494" y="200876"/>
                  </a:lnTo>
                  <a:lnTo>
                    <a:pt x="2293494" y="200228"/>
                  </a:lnTo>
                  <a:lnTo>
                    <a:pt x="2293544" y="200228"/>
                  </a:lnTo>
                  <a:lnTo>
                    <a:pt x="2293544" y="200876"/>
                  </a:lnTo>
                  <a:lnTo>
                    <a:pt x="2293544" y="200228"/>
                  </a:lnTo>
                  <a:lnTo>
                    <a:pt x="2293544" y="200876"/>
                  </a:lnTo>
                  <a:lnTo>
                    <a:pt x="2293544" y="200228"/>
                  </a:lnTo>
                  <a:lnTo>
                    <a:pt x="2293544" y="200876"/>
                  </a:lnTo>
                  <a:lnTo>
                    <a:pt x="2293544" y="200228"/>
                  </a:lnTo>
                  <a:lnTo>
                    <a:pt x="2293595" y="200228"/>
                  </a:lnTo>
                  <a:lnTo>
                    <a:pt x="2293595" y="200876"/>
                  </a:lnTo>
                  <a:lnTo>
                    <a:pt x="2293595" y="200228"/>
                  </a:lnTo>
                  <a:lnTo>
                    <a:pt x="2293595" y="200876"/>
                  </a:lnTo>
                  <a:lnTo>
                    <a:pt x="2293697" y="200876"/>
                  </a:lnTo>
                  <a:lnTo>
                    <a:pt x="2293697" y="202260"/>
                  </a:lnTo>
                  <a:lnTo>
                    <a:pt x="2293697" y="200228"/>
                  </a:lnTo>
                  <a:lnTo>
                    <a:pt x="2293697" y="200876"/>
                  </a:lnTo>
                  <a:lnTo>
                    <a:pt x="2293697" y="200228"/>
                  </a:lnTo>
                  <a:lnTo>
                    <a:pt x="2293697" y="200876"/>
                  </a:lnTo>
                  <a:lnTo>
                    <a:pt x="2293697" y="200228"/>
                  </a:lnTo>
                  <a:lnTo>
                    <a:pt x="2293747" y="200228"/>
                  </a:lnTo>
                  <a:lnTo>
                    <a:pt x="2293747" y="198831"/>
                  </a:lnTo>
                  <a:lnTo>
                    <a:pt x="2293798" y="198831"/>
                  </a:lnTo>
                  <a:lnTo>
                    <a:pt x="2293798" y="200228"/>
                  </a:lnTo>
                  <a:lnTo>
                    <a:pt x="2293900" y="199530"/>
                  </a:lnTo>
                  <a:lnTo>
                    <a:pt x="2293900" y="198831"/>
                  </a:lnTo>
                  <a:lnTo>
                    <a:pt x="2293900" y="202260"/>
                  </a:lnTo>
                  <a:lnTo>
                    <a:pt x="2293900" y="200228"/>
                  </a:lnTo>
                  <a:lnTo>
                    <a:pt x="2293938" y="200228"/>
                  </a:lnTo>
                  <a:lnTo>
                    <a:pt x="2293938" y="200876"/>
                  </a:lnTo>
                  <a:lnTo>
                    <a:pt x="2293938" y="200228"/>
                  </a:lnTo>
                  <a:lnTo>
                    <a:pt x="2293989" y="200228"/>
                  </a:lnTo>
                  <a:lnTo>
                    <a:pt x="2293989" y="200876"/>
                  </a:lnTo>
                  <a:lnTo>
                    <a:pt x="2293989" y="200228"/>
                  </a:lnTo>
                  <a:lnTo>
                    <a:pt x="2293989" y="202260"/>
                  </a:lnTo>
                  <a:lnTo>
                    <a:pt x="2294040" y="200876"/>
                  </a:lnTo>
                  <a:lnTo>
                    <a:pt x="2294040" y="202260"/>
                  </a:lnTo>
                  <a:lnTo>
                    <a:pt x="2294040" y="200876"/>
                  </a:lnTo>
                  <a:lnTo>
                    <a:pt x="2294141" y="202260"/>
                  </a:lnTo>
                  <a:lnTo>
                    <a:pt x="2294141" y="200876"/>
                  </a:lnTo>
                  <a:lnTo>
                    <a:pt x="2294141" y="202260"/>
                  </a:lnTo>
                  <a:lnTo>
                    <a:pt x="2294141" y="200228"/>
                  </a:lnTo>
                  <a:lnTo>
                    <a:pt x="2294141" y="200876"/>
                  </a:lnTo>
                  <a:lnTo>
                    <a:pt x="2294141" y="200228"/>
                  </a:lnTo>
                  <a:lnTo>
                    <a:pt x="2294141" y="200876"/>
                  </a:lnTo>
                  <a:lnTo>
                    <a:pt x="2294192" y="200876"/>
                  </a:lnTo>
                  <a:lnTo>
                    <a:pt x="2294192" y="200228"/>
                  </a:lnTo>
                  <a:lnTo>
                    <a:pt x="2294192" y="200876"/>
                  </a:lnTo>
                  <a:lnTo>
                    <a:pt x="2294192" y="199530"/>
                  </a:lnTo>
                  <a:lnTo>
                    <a:pt x="2294243" y="199530"/>
                  </a:lnTo>
                  <a:lnTo>
                    <a:pt x="2294243" y="197447"/>
                  </a:lnTo>
                  <a:lnTo>
                    <a:pt x="2294243" y="198831"/>
                  </a:lnTo>
                  <a:lnTo>
                    <a:pt x="2294243" y="196799"/>
                  </a:lnTo>
                  <a:lnTo>
                    <a:pt x="2294243" y="197447"/>
                  </a:lnTo>
                  <a:lnTo>
                    <a:pt x="2294344" y="197447"/>
                  </a:lnTo>
                  <a:lnTo>
                    <a:pt x="2294344" y="198831"/>
                  </a:lnTo>
                  <a:lnTo>
                    <a:pt x="2294344" y="197447"/>
                  </a:lnTo>
                  <a:lnTo>
                    <a:pt x="2294344" y="198831"/>
                  </a:lnTo>
                  <a:lnTo>
                    <a:pt x="2294395" y="199530"/>
                  </a:lnTo>
                  <a:lnTo>
                    <a:pt x="2294395" y="200228"/>
                  </a:lnTo>
                  <a:lnTo>
                    <a:pt x="2294395" y="199530"/>
                  </a:lnTo>
                  <a:lnTo>
                    <a:pt x="2294395" y="200228"/>
                  </a:lnTo>
                  <a:lnTo>
                    <a:pt x="2294446" y="200228"/>
                  </a:lnTo>
                  <a:lnTo>
                    <a:pt x="2294446" y="200876"/>
                  </a:lnTo>
                  <a:lnTo>
                    <a:pt x="2294446" y="200228"/>
                  </a:lnTo>
                  <a:lnTo>
                    <a:pt x="2294484" y="200228"/>
                  </a:lnTo>
                  <a:lnTo>
                    <a:pt x="2294484" y="200876"/>
                  </a:lnTo>
                  <a:lnTo>
                    <a:pt x="2294484" y="200228"/>
                  </a:lnTo>
                  <a:lnTo>
                    <a:pt x="2294484" y="200876"/>
                  </a:lnTo>
                  <a:lnTo>
                    <a:pt x="2294586" y="202260"/>
                  </a:lnTo>
                  <a:lnTo>
                    <a:pt x="2294586" y="200876"/>
                  </a:lnTo>
                  <a:lnTo>
                    <a:pt x="2294586" y="202260"/>
                  </a:lnTo>
                  <a:lnTo>
                    <a:pt x="2294586" y="200876"/>
                  </a:lnTo>
                  <a:lnTo>
                    <a:pt x="2294637" y="200876"/>
                  </a:lnTo>
                  <a:lnTo>
                    <a:pt x="2294637" y="202260"/>
                  </a:lnTo>
                  <a:lnTo>
                    <a:pt x="2294637" y="200876"/>
                  </a:lnTo>
                  <a:lnTo>
                    <a:pt x="2294637" y="202260"/>
                  </a:lnTo>
                  <a:lnTo>
                    <a:pt x="2294637" y="200876"/>
                  </a:lnTo>
                  <a:lnTo>
                    <a:pt x="2294637" y="202260"/>
                  </a:lnTo>
                  <a:lnTo>
                    <a:pt x="2294637" y="200876"/>
                  </a:lnTo>
                  <a:lnTo>
                    <a:pt x="2294687" y="200876"/>
                  </a:lnTo>
                  <a:lnTo>
                    <a:pt x="2294687" y="199530"/>
                  </a:lnTo>
                  <a:lnTo>
                    <a:pt x="2294687" y="200228"/>
                  </a:lnTo>
                  <a:lnTo>
                    <a:pt x="2294687" y="199530"/>
                  </a:lnTo>
                  <a:lnTo>
                    <a:pt x="2294687" y="200228"/>
                  </a:lnTo>
                  <a:lnTo>
                    <a:pt x="2294687" y="198831"/>
                  </a:lnTo>
                  <a:lnTo>
                    <a:pt x="2294789" y="198831"/>
                  </a:lnTo>
                  <a:lnTo>
                    <a:pt x="2294789" y="197447"/>
                  </a:lnTo>
                  <a:lnTo>
                    <a:pt x="2294789" y="198831"/>
                  </a:lnTo>
                  <a:lnTo>
                    <a:pt x="2294789" y="197447"/>
                  </a:lnTo>
                  <a:lnTo>
                    <a:pt x="2294789" y="198831"/>
                  </a:lnTo>
                  <a:lnTo>
                    <a:pt x="2294840" y="198831"/>
                  </a:lnTo>
                  <a:lnTo>
                    <a:pt x="2294840" y="199530"/>
                  </a:lnTo>
                  <a:lnTo>
                    <a:pt x="2294840" y="198831"/>
                  </a:lnTo>
                  <a:lnTo>
                    <a:pt x="2294840" y="200876"/>
                  </a:lnTo>
                  <a:lnTo>
                    <a:pt x="2294890" y="200228"/>
                  </a:lnTo>
                  <a:lnTo>
                    <a:pt x="2294890" y="200876"/>
                  </a:lnTo>
                  <a:lnTo>
                    <a:pt x="2294890" y="198831"/>
                  </a:lnTo>
                  <a:lnTo>
                    <a:pt x="2294890" y="200876"/>
                  </a:lnTo>
                  <a:lnTo>
                    <a:pt x="2294941" y="200876"/>
                  </a:lnTo>
                  <a:lnTo>
                    <a:pt x="2294941" y="199530"/>
                  </a:lnTo>
                  <a:lnTo>
                    <a:pt x="2294941" y="200228"/>
                  </a:lnTo>
                  <a:lnTo>
                    <a:pt x="2295030" y="200228"/>
                  </a:lnTo>
                  <a:lnTo>
                    <a:pt x="2295030" y="200876"/>
                  </a:lnTo>
                  <a:lnTo>
                    <a:pt x="2295030" y="200228"/>
                  </a:lnTo>
                  <a:lnTo>
                    <a:pt x="2295030" y="200876"/>
                  </a:lnTo>
                  <a:lnTo>
                    <a:pt x="2295030" y="200228"/>
                  </a:lnTo>
                  <a:lnTo>
                    <a:pt x="2295030" y="200876"/>
                  </a:lnTo>
                  <a:lnTo>
                    <a:pt x="2295081" y="200876"/>
                  </a:lnTo>
                  <a:lnTo>
                    <a:pt x="2295081" y="200228"/>
                  </a:lnTo>
                  <a:lnTo>
                    <a:pt x="2295132" y="200228"/>
                  </a:lnTo>
                  <a:lnTo>
                    <a:pt x="2295132" y="200876"/>
                  </a:lnTo>
                  <a:lnTo>
                    <a:pt x="2295132" y="200228"/>
                  </a:lnTo>
                  <a:lnTo>
                    <a:pt x="2295132" y="200876"/>
                  </a:lnTo>
                  <a:lnTo>
                    <a:pt x="2295132" y="200228"/>
                  </a:lnTo>
                  <a:lnTo>
                    <a:pt x="2295183" y="200228"/>
                  </a:lnTo>
                  <a:lnTo>
                    <a:pt x="2295183" y="198831"/>
                  </a:lnTo>
                  <a:lnTo>
                    <a:pt x="2295284" y="197447"/>
                  </a:lnTo>
                  <a:lnTo>
                    <a:pt x="2295284" y="198831"/>
                  </a:lnTo>
                  <a:lnTo>
                    <a:pt x="2295284" y="197447"/>
                  </a:lnTo>
                  <a:lnTo>
                    <a:pt x="2295284" y="198831"/>
                  </a:lnTo>
                  <a:lnTo>
                    <a:pt x="2295284" y="196113"/>
                  </a:lnTo>
                  <a:lnTo>
                    <a:pt x="2295284" y="196799"/>
                  </a:lnTo>
                  <a:lnTo>
                    <a:pt x="2295335" y="196799"/>
                  </a:lnTo>
                  <a:lnTo>
                    <a:pt x="2295335" y="198831"/>
                  </a:lnTo>
                  <a:lnTo>
                    <a:pt x="2295335" y="196799"/>
                  </a:lnTo>
                  <a:lnTo>
                    <a:pt x="2295335" y="199530"/>
                  </a:lnTo>
                  <a:lnTo>
                    <a:pt x="2295386" y="199530"/>
                  </a:lnTo>
                  <a:lnTo>
                    <a:pt x="2295386" y="198831"/>
                  </a:lnTo>
                  <a:lnTo>
                    <a:pt x="2295386" y="199530"/>
                  </a:lnTo>
                  <a:lnTo>
                    <a:pt x="2295386" y="197447"/>
                  </a:lnTo>
                  <a:lnTo>
                    <a:pt x="2295386" y="199530"/>
                  </a:lnTo>
                  <a:lnTo>
                    <a:pt x="2295487" y="199530"/>
                  </a:lnTo>
                  <a:lnTo>
                    <a:pt x="2295487" y="198831"/>
                  </a:lnTo>
                  <a:lnTo>
                    <a:pt x="2295487" y="200228"/>
                  </a:lnTo>
                  <a:lnTo>
                    <a:pt x="2295525" y="200228"/>
                  </a:lnTo>
                  <a:lnTo>
                    <a:pt x="2295525" y="199530"/>
                  </a:lnTo>
                  <a:lnTo>
                    <a:pt x="2295525" y="200876"/>
                  </a:lnTo>
                  <a:lnTo>
                    <a:pt x="2295576" y="202260"/>
                  </a:lnTo>
                  <a:lnTo>
                    <a:pt x="2295576" y="200876"/>
                  </a:lnTo>
                  <a:lnTo>
                    <a:pt x="2295576" y="202260"/>
                  </a:lnTo>
                  <a:lnTo>
                    <a:pt x="2295576" y="200228"/>
                  </a:lnTo>
                  <a:lnTo>
                    <a:pt x="2295576" y="200876"/>
                  </a:lnTo>
                  <a:lnTo>
                    <a:pt x="2295627" y="200876"/>
                  </a:lnTo>
                  <a:lnTo>
                    <a:pt x="2295627" y="200228"/>
                  </a:lnTo>
                  <a:lnTo>
                    <a:pt x="2295729" y="200228"/>
                  </a:lnTo>
                  <a:lnTo>
                    <a:pt x="2295729" y="198831"/>
                  </a:lnTo>
                  <a:lnTo>
                    <a:pt x="2295780" y="198831"/>
                  </a:lnTo>
                  <a:lnTo>
                    <a:pt x="2295780" y="199530"/>
                  </a:lnTo>
                  <a:lnTo>
                    <a:pt x="2295780" y="196799"/>
                  </a:lnTo>
                  <a:lnTo>
                    <a:pt x="2295780" y="198831"/>
                  </a:lnTo>
                  <a:lnTo>
                    <a:pt x="2295830" y="198831"/>
                  </a:lnTo>
                  <a:lnTo>
                    <a:pt x="2295830" y="196799"/>
                  </a:lnTo>
                  <a:lnTo>
                    <a:pt x="2295830" y="199530"/>
                  </a:lnTo>
                  <a:lnTo>
                    <a:pt x="2295932" y="199530"/>
                  </a:lnTo>
                  <a:lnTo>
                    <a:pt x="2295932" y="196799"/>
                  </a:lnTo>
                  <a:lnTo>
                    <a:pt x="2295932" y="199530"/>
                  </a:lnTo>
                  <a:lnTo>
                    <a:pt x="2295932" y="198831"/>
                  </a:lnTo>
                  <a:lnTo>
                    <a:pt x="2295983" y="198831"/>
                  </a:lnTo>
                  <a:lnTo>
                    <a:pt x="2295983" y="197447"/>
                  </a:lnTo>
                  <a:lnTo>
                    <a:pt x="2295983" y="198831"/>
                  </a:lnTo>
                  <a:lnTo>
                    <a:pt x="2295983" y="197447"/>
                  </a:lnTo>
                  <a:lnTo>
                    <a:pt x="2295983" y="199530"/>
                  </a:lnTo>
                  <a:lnTo>
                    <a:pt x="2295983" y="198831"/>
                  </a:lnTo>
                  <a:lnTo>
                    <a:pt x="2295983" y="199530"/>
                  </a:lnTo>
                  <a:lnTo>
                    <a:pt x="2296034" y="198831"/>
                  </a:lnTo>
                  <a:lnTo>
                    <a:pt x="2296034" y="199530"/>
                  </a:lnTo>
                  <a:lnTo>
                    <a:pt x="2296034" y="198831"/>
                  </a:lnTo>
                  <a:lnTo>
                    <a:pt x="2296034" y="200228"/>
                  </a:lnTo>
                  <a:lnTo>
                    <a:pt x="2296034" y="199530"/>
                  </a:lnTo>
                  <a:lnTo>
                    <a:pt x="2296072" y="199530"/>
                  </a:lnTo>
                  <a:lnTo>
                    <a:pt x="2296072" y="200228"/>
                  </a:lnTo>
                  <a:lnTo>
                    <a:pt x="2296072" y="199530"/>
                  </a:lnTo>
                  <a:lnTo>
                    <a:pt x="2296072" y="200228"/>
                  </a:lnTo>
                  <a:lnTo>
                    <a:pt x="2296072" y="199530"/>
                  </a:lnTo>
                  <a:lnTo>
                    <a:pt x="2296173" y="199530"/>
                  </a:lnTo>
                  <a:lnTo>
                    <a:pt x="2296173" y="200228"/>
                  </a:lnTo>
                  <a:lnTo>
                    <a:pt x="2296173" y="199530"/>
                  </a:lnTo>
                  <a:lnTo>
                    <a:pt x="2296224" y="199530"/>
                  </a:lnTo>
                  <a:lnTo>
                    <a:pt x="2296224" y="198831"/>
                  </a:lnTo>
                  <a:lnTo>
                    <a:pt x="2296224" y="199530"/>
                  </a:lnTo>
                  <a:lnTo>
                    <a:pt x="2296224" y="197447"/>
                  </a:lnTo>
                  <a:lnTo>
                    <a:pt x="2296224" y="198831"/>
                  </a:lnTo>
                  <a:lnTo>
                    <a:pt x="2296224" y="197447"/>
                  </a:lnTo>
                  <a:lnTo>
                    <a:pt x="2296275" y="197447"/>
                  </a:lnTo>
                  <a:lnTo>
                    <a:pt x="2296275" y="199530"/>
                  </a:lnTo>
                  <a:lnTo>
                    <a:pt x="2296275" y="198831"/>
                  </a:lnTo>
                  <a:lnTo>
                    <a:pt x="2296376" y="198831"/>
                  </a:lnTo>
                  <a:lnTo>
                    <a:pt x="2296376" y="197447"/>
                  </a:lnTo>
                  <a:lnTo>
                    <a:pt x="2296376" y="200228"/>
                  </a:lnTo>
                  <a:lnTo>
                    <a:pt x="2296376" y="199530"/>
                  </a:lnTo>
                  <a:lnTo>
                    <a:pt x="2296427" y="199530"/>
                  </a:lnTo>
                  <a:lnTo>
                    <a:pt x="2296427" y="200228"/>
                  </a:lnTo>
                  <a:lnTo>
                    <a:pt x="2296427" y="199530"/>
                  </a:lnTo>
                  <a:lnTo>
                    <a:pt x="2296478" y="199530"/>
                  </a:lnTo>
                  <a:lnTo>
                    <a:pt x="2296478" y="200228"/>
                  </a:lnTo>
                  <a:lnTo>
                    <a:pt x="2296478" y="199530"/>
                  </a:lnTo>
                  <a:lnTo>
                    <a:pt x="2296478" y="200228"/>
                  </a:lnTo>
                  <a:lnTo>
                    <a:pt x="2296529" y="200228"/>
                  </a:lnTo>
                  <a:lnTo>
                    <a:pt x="2296529" y="200876"/>
                  </a:lnTo>
                  <a:lnTo>
                    <a:pt x="2296529" y="200228"/>
                  </a:lnTo>
                  <a:lnTo>
                    <a:pt x="2296529" y="200876"/>
                  </a:lnTo>
                  <a:lnTo>
                    <a:pt x="2296529" y="200228"/>
                  </a:lnTo>
                  <a:lnTo>
                    <a:pt x="2296529" y="200876"/>
                  </a:lnTo>
                  <a:lnTo>
                    <a:pt x="2296529" y="200228"/>
                  </a:lnTo>
                  <a:lnTo>
                    <a:pt x="2296618" y="200228"/>
                  </a:lnTo>
                  <a:lnTo>
                    <a:pt x="2296618" y="199530"/>
                  </a:lnTo>
                  <a:lnTo>
                    <a:pt x="2296618" y="200228"/>
                  </a:lnTo>
                  <a:lnTo>
                    <a:pt x="2296669" y="200228"/>
                  </a:lnTo>
                  <a:lnTo>
                    <a:pt x="2296669" y="199530"/>
                  </a:lnTo>
                  <a:lnTo>
                    <a:pt x="2296669" y="200228"/>
                  </a:lnTo>
                  <a:lnTo>
                    <a:pt x="2296669" y="199530"/>
                  </a:lnTo>
                  <a:lnTo>
                    <a:pt x="2296719" y="199530"/>
                  </a:lnTo>
                  <a:lnTo>
                    <a:pt x="2296719" y="197447"/>
                  </a:lnTo>
                  <a:lnTo>
                    <a:pt x="2296719" y="198831"/>
                  </a:lnTo>
                  <a:lnTo>
                    <a:pt x="2296719" y="197447"/>
                  </a:lnTo>
                  <a:lnTo>
                    <a:pt x="2296719" y="198831"/>
                  </a:lnTo>
                  <a:lnTo>
                    <a:pt x="2296719" y="197447"/>
                  </a:lnTo>
                  <a:lnTo>
                    <a:pt x="2296770" y="197447"/>
                  </a:lnTo>
                  <a:lnTo>
                    <a:pt x="2296770" y="199530"/>
                  </a:lnTo>
                  <a:lnTo>
                    <a:pt x="2296770" y="198831"/>
                  </a:lnTo>
                  <a:lnTo>
                    <a:pt x="2296770" y="199530"/>
                  </a:lnTo>
                  <a:lnTo>
                    <a:pt x="2296872" y="199530"/>
                  </a:lnTo>
                  <a:lnTo>
                    <a:pt x="2296872" y="200876"/>
                  </a:lnTo>
                  <a:lnTo>
                    <a:pt x="2296872" y="199530"/>
                  </a:lnTo>
                  <a:lnTo>
                    <a:pt x="2296872" y="200228"/>
                  </a:lnTo>
                  <a:lnTo>
                    <a:pt x="2296922" y="200228"/>
                  </a:lnTo>
                  <a:lnTo>
                    <a:pt x="2296922" y="200876"/>
                  </a:lnTo>
                  <a:lnTo>
                    <a:pt x="2296922" y="200228"/>
                  </a:lnTo>
                  <a:lnTo>
                    <a:pt x="2296922" y="200876"/>
                  </a:lnTo>
                  <a:lnTo>
                    <a:pt x="2296973" y="200228"/>
                  </a:lnTo>
                  <a:lnTo>
                    <a:pt x="2296973" y="200876"/>
                  </a:lnTo>
                  <a:lnTo>
                    <a:pt x="2296973" y="200228"/>
                  </a:lnTo>
                  <a:lnTo>
                    <a:pt x="2296973" y="200876"/>
                  </a:lnTo>
                  <a:lnTo>
                    <a:pt x="2296973" y="200228"/>
                  </a:lnTo>
                  <a:lnTo>
                    <a:pt x="2296973" y="200876"/>
                  </a:lnTo>
                  <a:lnTo>
                    <a:pt x="2297075" y="200876"/>
                  </a:lnTo>
                  <a:lnTo>
                    <a:pt x="2297075" y="200228"/>
                  </a:lnTo>
                  <a:lnTo>
                    <a:pt x="2297075" y="200876"/>
                  </a:lnTo>
                  <a:lnTo>
                    <a:pt x="2297075" y="200228"/>
                  </a:lnTo>
                  <a:lnTo>
                    <a:pt x="2297075" y="200876"/>
                  </a:lnTo>
                  <a:lnTo>
                    <a:pt x="2297075" y="200228"/>
                  </a:lnTo>
                  <a:lnTo>
                    <a:pt x="2297075" y="200876"/>
                  </a:lnTo>
                  <a:lnTo>
                    <a:pt x="2297075" y="200228"/>
                  </a:lnTo>
                  <a:lnTo>
                    <a:pt x="2297075" y="200876"/>
                  </a:lnTo>
                  <a:lnTo>
                    <a:pt x="2297113" y="200876"/>
                  </a:lnTo>
                  <a:lnTo>
                    <a:pt x="2297113" y="200228"/>
                  </a:lnTo>
                  <a:lnTo>
                    <a:pt x="2297164" y="199530"/>
                  </a:lnTo>
                  <a:lnTo>
                    <a:pt x="2297164" y="197447"/>
                  </a:lnTo>
                  <a:lnTo>
                    <a:pt x="2297215" y="197447"/>
                  </a:lnTo>
                  <a:lnTo>
                    <a:pt x="2297215" y="196799"/>
                  </a:lnTo>
                  <a:lnTo>
                    <a:pt x="2297215" y="197447"/>
                  </a:lnTo>
                  <a:lnTo>
                    <a:pt x="2297215" y="196799"/>
                  </a:lnTo>
                  <a:lnTo>
                    <a:pt x="2297215" y="199530"/>
                  </a:lnTo>
                  <a:lnTo>
                    <a:pt x="2297316" y="199530"/>
                  </a:lnTo>
                  <a:lnTo>
                    <a:pt x="2297316" y="197447"/>
                  </a:lnTo>
                  <a:lnTo>
                    <a:pt x="2297316" y="200228"/>
                  </a:lnTo>
                  <a:lnTo>
                    <a:pt x="2297367" y="200228"/>
                  </a:lnTo>
                  <a:lnTo>
                    <a:pt x="2297367" y="199530"/>
                  </a:lnTo>
                  <a:lnTo>
                    <a:pt x="2297367" y="200876"/>
                  </a:lnTo>
                  <a:lnTo>
                    <a:pt x="2297367" y="200228"/>
                  </a:lnTo>
                  <a:lnTo>
                    <a:pt x="2297418" y="200228"/>
                  </a:lnTo>
                  <a:lnTo>
                    <a:pt x="2297418" y="200876"/>
                  </a:lnTo>
                  <a:lnTo>
                    <a:pt x="2297519" y="200876"/>
                  </a:lnTo>
                  <a:lnTo>
                    <a:pt x="2297519" y="200228"/>
                  </a:lnTo>
                  <a:lnTo>
                    <a:pt x="2297519" y="200876"/>
                  </a:lnTo>
                  <a:lnTo>
                    <a:pt x="2297519" y="200228"/>
                  </a:lnTo>
                  <a:lnTo>
                    <a:pt x="2297570" y="200876"/>
                  </a:lnTo>
                  <a:lnTo>
                    <a:pt x="2297570" y="202260"/>
                  </a:lnTo>
                  <a:lnTo>
                    <a:pt x="2297570" y="200228"/>
                  </a:lnTo>
                  <a:lnTo>
                    <a:pt x="2297621" y="200228"/>
                  </a:lnTo>
                  <a:lnTo>
                    <a:pt x="2297621" y="200876"/>
                  </a:lnTo>
                  <a:lnTo>
                    <a:pt x="2297621" y="199530"/>
                  </a:lnTo>
                  <a:lnTo>
                    <a:pt x="2297621" y="200228"/>
                  </a:lnTo>
                  <a:lnTo>
                    <a:pt x="2297659" y="199530"/>
                  </a:lnTo>
                  <a:lnTo>
                    <a:pt x="2297659" y="200228"/>
                  </a:lnTo>
                  <a:lnTo>
                    <a:pt x="2297659" y="198831"/>
                  </a:lnTo>
                  <a:lnTo>
                    <a:pt x="2297761" y="197447"/>
                  </a:lnTo>
                  <a:lnTo>
                    <a:pt x="2297761" y="196799"/>
                  </a:lnTo>
                  <a:lnTo>
                    <a:pt x="2297761" y="199530"/>
                  </a:lnTo>
                  <a:lnTo>
                    <a:pt x="2297761" y="197447"/>
                  </a:lnTo>
                  <a:lnTo>
                    <a:pt x="2297812" y="197447"/>
                  </a:lnTo>
                  <a:lnTo>
                    <a:pt x="2297812" y="200876"/>
                  </a:lnTo>
                  <a:lnTo>
                    <a:pt x="2297812" y="198831"/>
                  </a:lnTo>
                  <a:lnTo>
                    <a:pt x="2297862" y="199530"/>
                  </a:lnTo>
                  <a:lnTo>
                    <a:pt x="2297862" y="200228"/>
                  </a:lnTo>
                  <a:lnTo>
                    <a:pt x="2297964" y="199530"/>
                  </a:lnTo>
                  <a:lnTo>
                    <a:pt x="2297964" y="200876"/>
                  </a:lnTo>
                  <a:lnTo>
                    <a:pt x="2297964" y="200228"/>
                  </a:lnTo>
                  <a:lnTo>
                    <a:pt x="2297964" y="200876"/>
                  </a:lnTo>
                  <a:lnTo>
                    <a:pt x="2297964" y="200228"/>
                  </a:lnTo>
                  <a:lnTo>
                    <a:pt x="2297964" y="200876"/>
                  </a:lnTo>
                  <a:lnTo>
                    <a:pt x="2297964" y="200228"/>
                  </a:lnTo>
                  <a:lnTo>
                    <a:pt x="2298015" y="200228"/>
                  </a:lnTo>
                  <a:lnTo>
                    <a:pt x="2298015" y="200876"/>
                  </a:lnTo>
                  <a:lnTo>
                    <a:pt x="2298015" y="200228"/>
                  </a:lnTo>
                  <a:lnTo>
                    <a:pt x="2298015" y="200876"/>
                  </a:lnTo>
                  <a:lnTo>
                    <a:pt x="2298015" y="200228"/>
                  </a:lnTo>
                  <a:lnTo>
                    <a:pt x="2298015" y="200876"/>
                  </a:lnTo>
                  <a:lnTo>
                    <a:pt x="2298065" y="200876"/>
                  </a:lnTo>
                  <a:lnTo>
                    <a:pt x="2298065" y="200228"/>
                  </a:lnTo>
                  <a:lnTo>
                    <a:pt x="2298065" y="200876"/>
                  </a:lnTo>
                  <a:lnTo>
                    <a:pt x="2298065" y="200228"/>
                  </a:lnTo>
                  <a:lnTo>
                    <a:pt x="2298065" y="200876"/>
                  </a:lnTo>
                  <a:lnTo>
                    <a:pt x="2298065" y="200228"/>
                  </a:lnTo>
                  <a:lnTo>
                    <a:pt x="2298116" y="200228"/>
                  </a:lnTo>
                  <a:lnTo>
                    <a:pt x="2298116" y="199530"/>
                  </a:lnTo>
                  <a:lnTo>
                    <a:pt x="2298116" y="200228"/>
                  </a:lnTo>
                  <a:lnTo>
                    <a:pt x="2298116" y="198831"/>
                  </a:lnTo>
                  <a:lnTo>
                    <a:pt x="2298116" y="199530"/>
                  </a:lnTo>
                  <a:lnTo>
                    <a:pt x="2298205" y="199530"/>
                  </a:lnTo>
                  <a:lnTo>
                    <a:pt x="2298205" y="196799"/>
                  </a:lnTo>
                  <a:lnTo>
                    <a:pt x="2298256" y="196799"/>
                  </a:lnTo>
                  <a:lnTo>
                    <a:pt x="2298256" y="198831"/>
                  </a:lnTo>
                  <a:lnTo>
                    <a:pt x="2298256" y="196799"/>
                  </a:lnTo>
                  <a:lnTo>
                    <a:pt x="2298307" y="196799"/>
                  </a:lnTo>
                  <a:lnTo>
                    <a:pt x="2298307" y="200228"/>
                  </a:lnTo>
                  <a:lnTo>
                    <a:pt x="2298307" y="197447"/>
                  </a:lnTo>
                  <a:lnTo>
                    <a:pt x="2298358" y="197447"/>
                  </a:lnTo>
                  <a:lnTo>
                    <a:pt x="2298358" y="200228"/>
                  </a:lnTo>
                  <a:lnTo>
                    <a:pt x="2298358" y="198831"/>
                  </a:lnTo>
                  <a:lnTo>
                    <a:pt x="2298459" y="198831"/>
                  </a:lnTo>
                  <a:lnTo>
                    <a:pt x="2298459" y="200228"/>
                  </a:lnTo>
                  <a:lnTo>
                    <a:pt x="2298459" y="199530"/>
                  </a:lnTo>
                  <a:lnTo>
                    <a:pt x="2298459" y="200228"/>
                  </a:lnTo>
                  <a:lnTo>
                    <a:pt x="2298510" y="200228"/>
                  </a:lnTo>
                  <a:lnTo>
                    <a:pt x="2298510" y="200876"/>
                  </a:lnTo>
                  <a:lnTo>
                    <a:pt x="2298510" y="200228"/>
                  </a:lnTo>
                  <a:lnTo>
                    <a:pt x="2298510" y="200876"/>
                  </a:lnTo>
                  <a:lnTo>
                    <a:pt x="2298510" y="200228"/>
                  </a:lnTo>
                  <a:lnTo>
                    <a:pt x="2298510" y="200876"/>
                  </a:lnTo>
                  <a:lnTo>
                    <a:pt x="2298561" y="200876"/>
                  </a:lnTo>
                  <a:lnTo>
                    <a:pt x="2298561" y="200228"/>
                  </a:lnTo>
                  <a:lnTo>
                    <a:pt x="2298561" y="200876"/>
                  </a:lnTo>
                  <a:lnTo>
                    <a:pt x="2298561" y="200228"/>
                  </a:lnTo>
                  <a:lnTo>
                    <a:pt x="2298662" y="200876"/>
                  </a:lnTo>
                  <a:lnTo>
                    <a:pt x="2298662" y="199530"/>
                  </a:lnTo>
                  <a:lnTo>
                    <a:pt x="2298662" y="200228"/>
                  </a:lnTo>
                  <a:lnTo>
                    <a:pt x="2298662" y="199530"/>
                  </a:lnTo>
                  <a:lnTo>
                    <a:pt x="2298700" y="199530"/>
                  </a:lnTo>
                  <a:lnTo>
                    <a:pt x="2298700" y="197447"/>
                  </a:lnTo>
                  <a:lnTo>
                    <a:pt x="2298751" y="198831"/>
                  </a:lnTo>
                  <a:lnTo>
                    <a:pt x="2298751" y="196799"/>
                  </a:lnTo>
                  <a:lnTo>
                    <a:pt x="2298751" y="197447"/>
                  </a:lnTo>
                  <a:lnTo>
                    <a:pt x="2298751" y="196799"/>
                  </a:lnTo>
                  <a:lnTo>
                    <a:pt x="2298751" y="197447"/>
                  </a:lnTo>
                  <a:lnTo>
                    <a:pt x="2298751" y="196799"/>
                  </a:lnTo>
                  <a:lnTo>
                    <a:pt x="2298751" y="199530"/>
                  </a:lnTo>
                  <a:lnTo>
                    <a:pt x="2298802" y="200228"/>
                  </a:lnTo>
                  <a:lnTo>
                    <a:pt x="2298802" y="199530"/>
                  </a:lnTo>
                  <a:lnTo>
                    <a:pt x="2298802" y="200228"/>
                  </a:lnTo>
                  <a:lnTo>
                    <a:pt x="2298802" y="199530"/>
                  </a:lnTo>
                  <a:lnTo>
                    <a:pt x="2298802" y="200228"/>
                  </a:lnTo>
                  <a:lnTo>
                    <a:pt x="2298802" y="197447"/>
                  </a:lnTo>
                  <a:lnTo>
                    <a:pt x="2298802" y="199530"/>
                  </a:lnTo>
                  <a:lnTo>
                    <a:pt x="2298904" y="198831"/>
                  </a:lnTo>
                  <a:lnTo>
                    <a:pt x="2298904" y="199530"/>
                  </a:lnTo>
                  <a:lnTo>
                    <a:pt x="2298904" y="197447"/>
                  </a:lnTo>
                  <a:lnTo>
                    <a:pt x="2298904" y="198831"/>
                  </a:lnTo>
                  <a:lnTo>
                    <a:pt x="2298955" y="198831"/>
                  </a:lnTo>
                  <a:lnTo>
                    <a:pt x="2298955" y="199530"/>
                  </a:lnTo>
                  <a:lnTo>
                    <a:pt x="2298955" y="198831"/>
                  </a:lnTo>
                  <a:lnTo>
                    <a:pt x="2298955" y="199530"/>
                  </a:lnTo>
                  <a:lnTo>
                    <a:pt x="2298955" y="198831"/>
                  </a:lnTo>
                  <a:lnTo>
                    <a:pt x="2298955" y="199530"/>
                  </a:lnTo>
                  <a:lnTo>
                    <a:pt x="2298955" y="198831"/>
                  </a:lnTo>
                  <a:lnTo>
                    <a:pt x="2299005" y="198831"/>
                  </a:lnTo>
                  <a:lnTo>
                    <a:pt x="2299005" y="200228"/>
                  </a:lnTo>
                  <a:lnTo>
                    <a:pt x="2299005" y="199530"/>
                  </a:lnTo>
                  <a:lnTo>
                    <a:pt x="2299005" y="200228"/>
                  </a:lnTo>
                  <a:lnTo>
                    <a:pt x="2299107" y="200228"/>
                  </a:lnTo>
                  <a:lnTo>
                    <a:pt x="2299107" y="199530"/>
                  </a:lnTo>
                  <a:lnTo>
                    <a:pt x="2299107" y="200228"/>
                  </a:lnTo>
                  <a:lnTo>
                    <a:pt x="2299107" y="199530"/>
                  </a:lnTo>
                  <a:lnTo>
                    <a:pt x="2299107" y="200228"/>
                  </a:lnTo>
                  <a:lnTo>
                    <a:pt x="2299107" y="199530"/>
                  </a:lnTo>
                  <a:lnTo>
                    <a:pt x="2299158" y="199530"/>
                  </a:lnTo>
                  <a:lnTo>
                    <a:pt x="2299158" y="198831"/>
                  </a:lnTo>
                  <a:lnTo>
                    <a:pt x="2299158" y="199530"/>
                  </a:lnTo>
                  <a:lnTo>
                    <a:pt x="2299158" y="198831"/>
                  </a:lnTo>
                  <a:lnTo>
                    <a:pt x="2299209" y="197447"/>
                  </a:lnTo>
                  <a:lnTo>
                    <a:pt x="2299209" y="196799"/>
                  </a:lnTo>
                  <a:lnTo>
                    <a:pt x="2299209" y="198831"/>
                  </a:lnTo>
                  <a:lnTo>
                    <a:pt x="2299209" y="197447"/>
                  </a:lnTo>
                  <a:lnTo>
                    <a:pt x="2299247" y="197447"/>
                  </a:lnTo>
                  <a:lnTo>
                    <a:pt x="2299247" y="196799"/>
                  </a:lnTo>
                  <a:lnTo>
                    <a:pt x="2299247" y="200228"/>
                  </a:lnTo>
                  <a:lnTo>
                    <a:pt x="2299247" y="198831"/>
                  </a:lnTo>
                  <a:lnTo>
                    <a:pt x="2299247" y="199530"/>
                  </a:lnTo>
                  <a:lnTo>
                    <a:pt x="2299348" y="199530"/>
                  </a:lnTo>
                  <a:lnTo>
                    <a:pt x="2299348" y="200228"/>
                  </a:lnTo>
                  <a:lnTo>
                    <a:pt x="2299348" y="199530"/>
                  </a:lnTo>
                  <a:lnTo>
                    <a:pt x="2299348" y="200228"/>
                  </a:lnTo>
                  <a:lnTo>
                    <a:pt x="2299399" y="200228"/>
                  </a:lnTo>
                  <a:lnTo>
                    <a:pt x="2299399" y="199530"/>
                  </a:lnTo>
                  <a:lnTo>
                    <a:pt x="2299399" y="200228"/>
                  </a:lnTo>
                  <a:lnTo>
                    <a:pt x="2299450" y="200228"/>
                  </a:lnTo>
                  <a:lnTo>
                    <a:pt x="2299450" y="200876"/>
                  </a:lnTo>
                  <a:lnTo>
                    <a:pt x="2299450" y="200228"/>
                  </a:lnTo>
                  <a:lnTo>
                    <a:pt x="2299450" y="200876"/>
                  </a:lnTo>
                  <a:lnTo>
                    <a:pt x="2299551" y="200228"/>
                  </a:lnTo>
                  <a:lnTo>
                    <a:pt x="2299602" y="200228"/>
                  </a:lnTo>
                  <a:lnTo>
                    <a:pt x="2299602" y="200876"/>
                  </a:lnTo>
                  <a:lnTo>
                    <a:pt x="2299602" y="200228"/>
                  </a:lnTo>
                  <a:lnTo>
                    <a:pt x="2299602" y="200876"/>
                  </a:lnTo>
                  <a:lnTo>
                    <a:pt x="2299602" y="199530"/>
                  </a:lnTo>
                  <a:lnTo>
                    <a:pt x="2299602" y="200228"/>
                  </a:lnTo>
                  <a:lnTo>
                    <a:pt x="2299602" y="199530"/>
                  </a:lnTo>
                  <a:lnTo>
                    <a:pt x="2299602" y="200228"/>
                  </a:lnTo>
                  <a:lnTo>
                    <a:pt x="2299602" y="199530"/>
                  </a:lnTo>
                  <a:lnTo>
                    <a:pt x="2299653" y="199530"/>
                  </a:lnTo>
                  <a:lnTo>
                    <a:pt x="2299653" y="200228"/>
                  </a:lnTo>
                  <a:lnTo>
                    <a:pt x="2299653" y="199530"/>
                  </a:lnTo>
                  <a:lnTo>
                    <a:pt x="2299653" y="200228"/>
                  </a:lnTo>
                  <a:lnTo>
                    <a:pt x="2299653" y="198831"/>
                  </a:lnTo>
                  <a:lnTo>
                    <a:pt x="2299704" y="198831"/>
                  </a:lnTo>
                  <a:lnTo>
                    <a:pt x="2299704" y="197447"/>
                  </a:lnTo>
                  <a:lnTo>
                    <a:pt x="2299704" y="199530"/>
                  </a:lnTo>
                  <a:lnTo>
                    <a:pt x="2299704" y="198831"/>
                  </a:lnTo>
                  <a:lnTo>
                    <a:pt x="2299793" y="198831"/>
                  </a:lnTo>
                  <a:lnTo>
                    <a:pt x="2299793" y="200876"/>
                  </a:lnTo>
                  <a:lnTo>
                    <a:pt x="2299793" y="199530"/>
                  </a:lnTo>
                  <a:lnTo>
                    <a:pt x="2299793" y="200228"/>
                  </a:lnTo>
                  <a:lnTo>
                    <a:pt x="2299844" y="200228"/>
                  </a:lnTo>
                  <a:lnTo>
                    <a:pt x="2299844" y="200876"/>
                  </a:lnTo>
                  <a:lnTo>
                    <a:pt x="2299844" y="200228"/>
                  </a:lnTo>
                  <a:lnTo>
                    <a:pt x="2299844" y="200876"/>
                  </a:lnTo>
                  <a:lnTo>
                    <a:pt x="2299844" y="200228"/>
                  </a:lnTo>
                  <a:lnTo>
                    <a:pt x="2299844" y="200876"/>
                  </a:lnTo>
                  <a:lnTo>
                    <a:pt x="2299844" y="200228"/>
                  </a:lnTo>
                  <a:lnTo>
                    <a:pt x="2299894" y="200876"/>
                  </a:lnTo>
                  <a:lnTo>
                    <a:pt x="2299894" y="200228"/>
                  </a:lnTo>
                  <a:lnTo>
                    <a:pt x="2299894" y="200876"/>
                  </a:lnTo>
                  <a:lnTo>
                    <a:pt x="2299945" y="200876"/>
                  </a:lnTo>
                  <a:lnTo>
                    <a:pt x="2299945" y="200228"/>
                  </a:lnTo>
                  <a:lnTo>
                    <a:pt x="2299945" y="200876"/>
                  </a:lnTo>
                  <a:lnTo>
                    <a:pt x="2300047" y="200876"/>
                  </a:lnTo>
                  <a:lnTo>
                    <a:pt x="2300047" y="200228"/>
                  </a:lnTo>
                  <a:lnTo>
                    <a:pt x="2300047" y="200876"/>
                  </a:lnTo>
                  <a:lnTo>
                    <a:pt x="2300047" y="200228"/>
                  </a:lnTo>
                  <a:lnTo>
                    <a:pt x="2300047" y="200876"/>
                  </a:lnTo>
                  <a:lnTo>
                    <a:pt x="2300047" y="200228"/>
                  </a:lnTo>
                  <a:lnTo>
                    <a:pt x="2300097" y="200228"/>
                  </a:lnTo>
                  <a:lnTo>
                    <a:pt x="2300097" y="198831"/>
                  </a:lnTo>
                  <a:lnTo>
                    <a:pt x="2300097" y="199530"/>
                  </a:lnTo>
                  <a:lnTo>
                    <a:pt x="2300097" y="198831"/>
                  </a:lnTo>
                  <a:lnTo>
                    <a:pt x="2300148" y="198831"/>
                  </a:lnTo>
                  <a:lnTo>
                    <a:pt x="2300148" y="197447"/>
                  </a:lnTo>
                  <a:lnTo>
                    <a:pt x="2300148" y="198831"/>
                  </a:lnTo>
                  <a:lnTo>
                    <a:pt x="2300148" y="196799"/>
                  </a:lnTo>
                  <a:lnTo>
                    <a:pt x="2300250" y="196799"/>
                  </a:lnTo>
                  <a:lnTo>
                    <a:pt x="2300250" y="196113"/>
                  </a:lnTo>
                  <a:lnTo>
                    <a:pt x="2300250" y="198831"/>
                  </a:lnTo>
                  <a:lnTo>
                    <a:pt x="2300250" y="196113"/>
                  </a:lnTo>
                  <a:lnTo>
                    <a:pt x="2300288" y="195415"/>
                  </a:lnTo>
                  <a:lnTo>
                    <a:pt x="2300288" y="199530"/>
                  </a:lnTo>
                  <a:lnTo>
                    <a:pt x="2300288" y="197447"/>
                  </a:lnTo>
                  <a:lnTo>
                    <a:pt x="2300339" y="198831"/>
                  </a:lnTo>
                  <a:lnTo>
                    <a:pt x="2300339" y="200228"/>
                  </a:lnTo>
                  <a:lnTo>
                    <a:pt x="2300339" y="198831"/>
                  </a:lnTo>
                  <a:lnTo>
                    <a:pt x="2300390" y="199530"/>
                  </a:lnTo>
                  <a:lnTo>
                    <a:pt x="2300390" y="200228"/>
                  </a:lnTo>
                  <a:lnTo>
                    <a:pt x="2300390" y="199530"/>
                  </a:lnTo>
                  <a:lnTo>
                    <a:pt x="2300390" y="200228"/>
                  </a:lnTo>
                  <a:lnTo>
                    <a:pt x="2300390" y="199530"/>
                  </a:lnTo>
                  <a:lnTo>
                    <a:pt x="2300390" y="200228"/>
                  </a:lnTo>
                  <a:lnTo>
                    <a:pt x="2300491" y="200228"/>
                  </a:lnTo>
                  <a:lnTo>
                    <a:pt x="2300491" y="199530"/>
                  </a:lnTo>
                  <a:lnTo>
                    <a:pt x="2300491" y="200228"/>
                  </a:lnTo>
                  <a:lnTo>
                    <a:pt x="2300542" y="200228"/>
                  </a:lnTo>
                  <a:lnTo>
                    <a:pt x="2300542" y="200876"/>
                  </a:lnTo>
                  <a:lnTo>
                    <a:pt x="2300542" y="200228"/>
                  </a:lnTo>
                  <a:lnTo>
                    <a:pt x="2300542" y="200876"/>
                  </a:lnTo>
                  <a:lnTo>
                    <a:pt x="2300542" y="200228"/>
                  </a:lnTo>
                  <a:lnTo>
                    <a:pt x="2300542" y="200876"/>
                  </a:lnTo>
                  <a:lnTo>
                    <a:pt x="2300542" y="200228"/>
                  </a:lnTo>
                  <a:lnTo>
                    <a:pt x="2300542" y="200876"/>
                  </a:lnTo>
                  <a:lnTo>
                    <a:pt x="2300593" y="200228"/>
                  </a:lnTo>
                  <a:lnTo>
                    <a:pt x="2300593" y="199530"/>
                  </a:lnTo>
                  <a:lnTo>
                    <a:pt x="2300593" y="200228"/>
                  </a:lnTo>
                  <a:lnTo>
                    <a:pt x="2300593" y="198831"/>
                  </a:lnTo>
                  <a:lnTo>
                    <a:pt x="2300593" y="199530"/>
                  </a:lnTo>
                  <a:lnTo>
                    <a:pt x="2300694" y="198831"/>
                  </a:lnTo>
                  <a:lnTo>
                    <a:pt x="2300694" y="196799"/>
                  </a:lnTo>
                  <a:lnTo>
                    <a:pt x="2300745" y="196799"/>
                  </a:lnTo>
                  <a:lnTo>
                    <a:pt x="2300745" y="197447"/>
                  </a:lnTo>
                  <a:lnTo>
                    <a:pt x="2300745" y="196113"/>
                  </a:lnTo>
                  <a:lnTo>
                    <a:pt x="2300796" y="196799"/>
                  </a:lnTo>
                  <a:lnTo>
                    <a:pt x="2300796" y="198831"/>
                  </a:lnTo>
                  <a:lnTo>
                    <a:pt x="2300796" y="196799"/>
                  </a:lnTo>
                  <a:lnTo>
                    <a:pt x="2300796" y="197447"/>
                  </a:lnTo>
                  <a:lnTo>
                    <a:pt x="2300834" y="198831"/>
                  </a:lnTo>
                  <a:lnTo>
                    <a:pt x="2300834" y="197447"/>
                  </a:lnTo>
                  <a:lnTo>
                    <a:pt x="2300834" y="198831"/>
                  </a:lnTo>
                  <a:lnTo>
                    <a:pt x="2300834" y="197447"/>
                  </a:lnTo>
                  <a:lnTo>
                    <a:pt x="2300834" y="198831"/>
                  </a:lnTo>
                  <a:lnTo>
                    <a:pt x="2300936" y="198831"/>
                  </a:lnTo>
                  <a:lnTo>
                    <a:pt x="2300936" y="199530"/>
                  </a:lnTo>
                  <a:lnTo>
                    <a:pt x="2300987" y="199530"/>
                  </a:lnTo>
                  <a:lnTo>
                    <a:pt x="2300987" y="200228"/>
                  </a:lnTo>
                  <a:lnTo>
                    <a:pt x="2300987" y="199530"/>
                  </a:lnTo>
                  <a:lnTo>
                    <a:pt x="2300987" y="200228"/>
                  </a:lnTo>
                  <a:lnTo>
                    <a:pt x="2300987" y="199530"/>
                  </a:lnTo>
                  <a:lnTo>
                    <a:pt x="2300987" y="200228"/>
                  </a:lnTo>
                  <a:lnTo>
                    <a:pt x="2301037" y="200228"/>
                  </a:lnTo>
                  <a:lnTo>
                    <a:pt x="2301037" y="199530"/>
                  </a:lnTo>
                  <a:lnTo>
                    <a:pt x="2301037" y="200228"/>
                  </a:lnTo>
                  <a:lnTo>
                    <a:pt x="2301037" y="199530"/>
                  </a:lnTo>
                  <a:lnTo>
                    <a:pt x="2301037" y="200228"/>
                  </a:lnTo>
                  <a:lnTo>
                    <a:pt x="2301037" y="199530"/>
                  </a:lnTo>
                  <a:lnTo>
                    <a:pt x="2301037" y="200228"/>
                  </a:lnTo>
                  <a:lnTo>
                    <a:pt x="2301037" y="199530"/>
                  </a:lnTo>
                  <a:lnTo>
                    <a:pt x="2301139" y="199530"/>
                  </a:lnTo>
                  <a:lnTo>
                    <a:pt x="2301139" y="200228"/>
                  </a:lnTo>
                  <a:lnTo>
                    <a:pt x="2301139" y="198831"/>
                  </a:lnTo>
                  <a:lnTo>
                    <a:pt x="2301139" y="199530"/>
                  </a:lnTo>
                  <a:lnTo>
                    <a:pt x="2301139" y="198831"/>
                  </a:lnTo>
                  <a:lnTo>
                    <a:pt x="2301190" y="198831"/>
                  </a:lnTo>
                  <a:lnTo>
                    <a:pt x="2301190" y="196113"/>
                  </a:lnTo>
                  <a:lnTo>
                    <a:pt x="2301240" y="196113"/>
                  </a:lnTo>
                  <a:lnTo>
                    <a:pt x="2301240" y="193383"/>
                  </a:lnTo>
                  <a:lnTo>
                    <a:pt x="2301240" y="196113"/>
                  </a:lnTo>
                  <a:lnTo>
                    <a:pt x="2301240" y="194716"/>
                  </a:lnTo>
                  <a:lnTo>
                    <a:pt x="2301291" y="194716"/>
                  </a:lnTo>
                  <a:lnTo>
                    <a:pt x="2301291" y="193383"/>
                  </a:lnTo>
                  <a:lnTo>
                    <a:pt x="2301291" y="196799"/>
                  </a:lnTo>
                  <a:lnTo>
                    <a:pt x="2301291" y="196113"/>
                  </a:lnTo>
                  <a:lnTo>
                    <a:pt x="2301380" y="196113"/>
                  </a:lnTo>
                  <a:lnTo>
                    <a:pt x="2301380" y="196799"/>
                  </a:lnTo>
                  <a:lnTo>
                    <a:pt x="2301380" y="196113"/>
                  </a:lnTo>
                  <a:lnTo>
                    <a:pt x="2301380" y="197447"/>
                  </a:lnTo>
                  <a:lnTo>
                    <a:pt x="2301380" y="196113"/>
                  </a:lnTo>
                  <a:lnTo>
                    <a:pt x="2301431" y="196113"/>
                  </a:lnTo>
                  <a:lnTo>
                    <a:pt x="2301431" y="197447"/>
                  </a:lnTo>
                  <a:lnTo>
                    <a:pt x="2301482" y="197447"/>
                  </a:lnTo>
                  <a:lnTo>
                    <a:pt x="2301482" y="196799"/>
                  </a:lnTo>
                  <a:lnTo>
                    <a:pt x="2301482" y="199530"/>
                  </a:lnTo>
                  <a:lnTo>
                    <a:pt x="2301482" y="198831"/>
                  </a:lnTo>
                  <a:lnTo>
                    <a:pt x="2301482" y="199530"/>
                  </a:lnTo>
                  <a:lnTo>
                    <a:pt x="2301533" y="199530"/>
                  </a:lnTo>
                  <a:lnTo>
                    <a:pt x="2301533" y="200228"/>
                  </a:lnTo>
                  <a:lnTo>
                    <a:pt x="2301533" y="199530"/>
                  </a:lnTo>
                  <a:lnTo>
                    <a:pt x="2301533" y="200228"/>
                  </a:lnTo>
                  <a:lnTo>
                    <a:pt x="2301533" y="199530"/>
                  </a:lnTo>
                  <a:lnTo>
                    <a:pt x="2301533" y="200228"/>
                  </a:lnTo>
                  <a:lnTo>
                    <a:pt x="2301634" y="200228"/>
                  </a:lnTo>
                  <a:lnTo>
                    <a:pt x="2301634" y="199530"/>
                  </a:lnTo>
                  <a:lnTo>
                    <a:pt x="2301634" y="200228"/>
                  </a:lnTo>
                  <a:lnTo>
                    <a:pt x="2301634" y="199530"/>
                  </a:lnTo>
                  <a:lnTo>
                    <a:pt x="2301634" y="200228"/>
                  </a:lnTo>
                  <a:lnTo>
                    <a:pt x="2301634" y="198831"/>
                  </a:lnTo>
                  <a:lnTo>
                    <a:pt x="2301634" y="199530"/>
                  </a:lnTo>
                  <a:lnTo>
                    <a:pt x="2301685" y="198831"/>
                  </a:lnTo>
                  <a:lnTo>
                    <a:pt x="2301685" y="197447"/>
                  </a:lnTo>
                  <a:lnTo>
                    <a:pt x="2301685" y="198831"/>
                  </a:lnTo>
                  <a:lnTo>
                    <a:pt x="2301685" y="196799"/>
                  </a:lnTo>
                  <a:lnTo>
                    <a:pt x="2301685" y="197447"/>
                  </a:lnTo>
                  <a:lnTo>
                    <a:pt x="2301736" y="196799"/>
                  </a:lnTo>
                  <a:lnTo>
                    <a:pt x="2301736" y="193383"/>
                  </a:lnTo>
                  <a:lnTo>
                    <a:pt x="2301837" y="194716"/>
                  </a:lnTo>
                  <a:lnTo>
                    <a:pt x="2301837" y="195415"/>
                  </a:lnTo>
                  <a:lnTo>
                    <a:pt x="2301837" y="193383"/>
                  </a:lnTo>
                  <a:lnTo>
                    <a:pt x="2301837" y="195415"/>
                  </a:lnTo>
                  <a:lnTo>
                    <a:pt x="2301875" y="195415"/>
                  </a:lnTo>
                  <a:lnTo>
                    <a:pt x="2301875" y="196113"/>
                  </a:lnTo>
                  <a:lnTo>
                    <a:pt x="2301875" y="194716"/>
                  </a:lnTo>
                  <a:lnTo>
                    <a:pt x="2301875" y="196113"/>
                  </a:lnTo>
                  <a:lnTo>
                    <a:pt x="2301875" y="195415"/>
                  </a:lnTo>
                  <a:lnTo>
                    <a:pt x="2301926" y="195415"/>
                  </a:lnTo>
                  <a:lnTo>
                    <a:pt x="2301926" y="196113"/>
                  </a:lnTo>
                  <a:lnTo>
                    <a:pt x="2301926" y="195415"/>
                  </a:lnTo>
                  <a:lnTo>
                    <a:pt x="2301926" y="196113"/>
                  </a:lnTo>
                  <a:lnTo>
                    <a:pt x="2301926" y="195415"/>
                  </a:lnTo>
                  <a:lnTo>
                    <a:pt x="2301926" y="196113"/>
                  </a:lnTo>
                  <a:lnTo>
                    <a:pt x="2301977" y="196113"/>
                  </a:lnTo>
                  <a:lnTo>
                    <a:pt x="2301977" y="196799"/>
                  </a:lnTo>
                  <a:lnTo>
                    <a:pt x="2301977" y="196113"/>
                  </a:lnTo>
                  <a:lnTo>
                    <a:pt x="2301977" y="197447"/>
                  </a:lnTo>
                  <a:lnTo>
                    <a:pt x="2302079" y="197447"/>
                  </a:lnTo>
                  <a:lnTo>
                    <a:pt x="2302079" y="199530"/>
                  </a:lnTo>
                  <a:lnTo>
                    <a:pt x="2302079" y="198831"/>
                  </a:lnTo>
                  <a:lnTo>
                    <a:pt x="2302079" y="199530"/>
                  </a:lnTo>
                  <a:lnTo>
                    <a:pt x="2302079" y="198831"/>
                  </a:lnTo>
                  <a:lnTo>
                    <a:pt x="2302130" y="198831"/>
                  </a:lnTo>
                  <a:lnTo>
                    <a:pt x="2302130" y="199530"/>
                  </a:lnTo>
                  <a:lnTo>
                    <a:pt x="2302130" y="198831"/>
                  </a:lnTo>
                  <a:lnTo>
                    <a:pt x="2302180" y="198831"/>
                  </a:lnTo>
                  <a:lnTo>
                    <a:pt x="2302180" y="197447"/>
                  </a:lnTo>
                  <a:lnTo>
                    <a:pt x="2302282" y="197447"/>
                  </a:lnTo>
                  <a:lnTo>
                    <a:pt x="2302282" y="196113"/>
                  </a:lnTo>
                  <a:lnTo>
                    <a:pt x="2302282" y="197447"/>
                  </a:lnTo>
                  <a:lnTo>
                    <a:pt x="2302282" y="196799"/>
                  </a:lnTo>
                  <a:lnTo>
                    <a:pt x="2302282" y="197447"/>
                  </a:lnTo>
                  <a:lnTo>
                    <a:pt x="2302333" y="197447"/>
                  </a:lnTo>
                  <a:lnTo>
                    <a:pt x="2302333" y="195415"/>
                  </a:lnTo>
                  <a:lnTo>
                    <a:pt x="2302333" y="199530"/>
                  </a:lnTo>
                  <a:lnTo>
                    <a:pt x="2302384" y="198831"/>
                  </a:lnTo>
                  <a:lnTo>
                    <a:pt x="2302384" y="196799"/>
                  </a:lnTo>
                  <a:lnTo>
                    <a:pt x="2302384" y="197447"/>
                  </a:lnTo>
                  <a:lnTo>
                    <a:pt x="2302384" y="196799"/>
                  </a:lnTo>
                  <a:lnTo>
                    <a:pt x="2302422" y="196799"/>
                  </a:lnTo>
                  <a:lnTo>
                    <a:pt x="2302422" y="197447"/>
                  </a:lnTo>
                  <a:lnTo>
                    <a:pt x="2302422" y="196799"/>
                  </a:lnTo>
                  <a:lnTo>
                    <a:pt x="2302422" y="197447"/>
                  </a:lnTo>
                  <a:lnTo>
                    <a:pt x="2302523" y="197447"/>
                  </a:lnTo>
                  <a:lnTo>
                    <a:pt x="2302523" y="198831"/>
                  </a:lnTo>
                  <a:lnTo>
                    <a:pt x="2302523" y="197447"/>
                  </a:lnTo>
                  <a:lnTo>
                    <a:pt x="2302523" y="198831"/>
                  </a:lnTo>
                  <a:lnTo>
                    <a:pt x="2302523" y="197447"/>
                  </a:lnTo>
                  <a:lnTo>
                    <a:pt x="2302523" y="198831"/>
                  </a:lnTo>
                  <a:lnTo>
                    <a:pt x="2302574" y="198831"/>
                  </a:lnTo>
                  <a:lnTo>
                    <a:pt x="2302574" y="199530"/>
                  </a:lnTo>
                  <a:lnTo>
                    <a:pt x="2302574" y="198831"/>
                  </a:lnTo>
                  <a:lnTo>
                    <a:pt x="2302574" y="199530"/>
                  </a:lnTo>
                  <a:lnTo>
                    <a:pt x="2302574" y="198831"/>
                  </a:lnTo>
                  <a:lnTo>
                    <a:pt x="2302574" y="199530"/>
                  </a:lnTo>
                  <a:lnTo>
                    <a:pt x="2302625" y="199530"/>
                  </a:lnTo>
                  <a:lnTo>
                    <a:pt x="2302625" y="198831"/>
                  </a:lnTo>
                  <a:lnTo>
                    <a:pt x="2302625" y="199530"/>
                  </a:lnTo>
                  <a:lnTo>
                    <a:pt x="2302625" y="198831"/>
                  </a:lnTo>
                  <a:lnTo>
                    <a:pt x="2302726" y="198831"/>
                  </a:lnTo>
                  <a:lnTo>
                    <a:pt x="2302726" y="199530"/>
                  </a:lnTo>
                  <a:lnTo>
                    <a:pt x="2302726" y="197447"/>
                  </a:lnTo>
                  <a:lnTo>
                    <a:pt x="2302777" y="198831"/>
                  </a:lnTo>
                  <a:lnTo>
                    <a:pt x="2302777" y="196799"/>
                  </a:lnTo>
                  <a:lnTo>
                    <a:pt x="2302777" y="199530"/>
                  </a:lnTo>
                  <a:lnTo>
                    <a:pt x="2302777" y="198831"/>
                  </a:lnTo>
                  <a:lnTo>
                    <a:pt x="2302828" y="197447"/>
                  </a:lnTo>
                  <a:lnTo>
                    <a:pt x="2302828" y="200228"/>
                  </a:lnTo>
                  <a:lnTo>
                    <a:pt x="2302828" y="199530"/>
                  </a:lnTo>
                  <a:lnTo>
                    <a:pt x="2302879" y="199530"/>
                  </a:lnTo>
                  <a:lnTo>
                    <a:pt x="2302879" y="200228"/>
                  </a:lnTo>
                  <a:lnTo>
                    <a:pt x="2302879" y="198831"/>
                  </a:lnTo>
                  <a:lnTo>
                    <a:pt x="2302879" y="199530"/>
                  </a:lnTo>
                  <a:lnTo>
                    <a:pt x="2302968" y="199530"/>
                  </a:lnTo>
                  <a:lnTo>
                    <a:pt x="2302968" y="198831"/>
                  </a:lnTo>
                  <a:lnTo>
                    <a:pt x="2302968" y="199530"/>
                  </a:lnTo>
                  <a:lnTo>
                    <a:pt x="2302968" y="198831"/>
                  </a:lnTo>
                  <a:lnTo>
                    <a:pt x="2302968" y="200228"/>
                  </a:lnTo>
                  <a:lnTo>
                    <a:pt x="2303019" y="200228"/>
                  </a:lnTo>
                  <a:lnTo>
                    <a:pt x="2303019" y="198831"/>
                  </a:lnTo>
                  <a:lnTo>
                    <a:pt x="2303019" y="199530"/>
                  </a:lnTo>
                  <a:lnTo>
                    <a:pt x="2303120" y="199530"/>
                  </a:lnTo>
                  <a:lnTo>
                    <a:pt x="2303120" y="196799"/>
                  </a:lnTo>
                  <a:lnTo>
                    <a:pt x="2303222" y="196799"/>
                  </a:lnTo>
                  <a:lnTo>
                    <a:pt x="2303222" y="197447"/>
                  </a:lnTo>
                  <a:lnTo>
                    <a:pt x="2303222" y="196113"/>
                  </a:lnTo>
                  <a:lnTo>
                    <a:pt x="2303222" y="196799"/>
                  </a:lnTo>
                  <a:lnTo>
                    <a:pt x="2303272" y="196113"/>
                  </a:lnTo>
                  <a:lnTo>
                    <a:pt x="2303272" y="197447"/>
                  </a:lnTo>
                  <a:lnTo>
                    <a:pt x="2303272" y="196799"/>
                  </a:lnTo>
                  <a:lnTo>
                    <a:pt x="2303323" y="197447"/>
                  </a:lnTo>
                  <a:lnTo>
                    <a:pt x="2303323" y="199530"/>
                  </a:lnTo>
                  <a:lnTo>
                    <a:pt x="2303323" y="198831"/>
                  </a:lnTo>
                  <a:lnTo>
                    <a:pt x="2303323" y="199530"/>
                  </a:lnTo>
                  <a:lnTo>
                    <a:pt x="2303425" y="199530"/>
                  </a:lnTo>
                  <a:lnTo>
                    <a:pt x="2303425" y="200228"/>
                  </a:lnTo>
                  <a:lnTo>
                    <a:pt x="2303425" y="199530"/>
                  </a:lnTo>
                  <a:lnTo>
                    <a:pt x="2303425" y="200228"/>
                  </a:lnTo>
                  <a:lnTo>
                    <a:pt x="2303425" y="199530"/>
                  </a:lnTo>
                  <a:lnTo>
                    <a:pt x="2303463" y="200228"/>
                  </a:lnTo>
                  <a:lnTo>
                    <a:pt x="2303463" y="199530"/>
                  </a:lnTo>
                  <a:lnTo>
                    <a:pt x="2303463" y="200228"/>
                  </a:lnTo>
                  <a:lnTo>
                    <a:pt x="2303514" y="200228"/>
                  </a:lnTo>
                  <a:lnTo>
                    <a:pt x="2303514" y="200876"/>
                  </a:lnTo>
                  <a:lnTo>
                    <a:pt x="2303514" y="200228"/>
                  </a:lnTo>
                  <a:lnTo>
                    <a:pt x="2303514" y="200876"/>
                  </a:lnTo>
                  <a:lnTo>
                    <a:pt x="2303514" y="200228"/>
                  </a:lnTo>
                  <a:lnTo>
                    <a:pt x="2303565" y="200228"/>
                  </a:lnTo>
                  <a:lnTo>
                    <a:pt x="2303565" y="200876"/>
                  </a:lnTo>
                  <a:lnTo>
                    <a:pt x="2303565" y="200228"/>
                  </a:lnTo>
                  <a:lnTo>
                    <a:pt x="2303565" y="200876"/>
                  </a:lnTo>
                  <a:lnTo>
                    <a:pt x="2303565" y="200228"/>
                  </a:lnTo>
                  <a:lnTo>
                    <a:pt x="2303666" y="200228"/>
                  </a:lnTo>
                  <a:lnTo>
                    <a:pt x="2303666" y="199530"/>
                  </a:lnTo>
                  <a:lnTo>
                    <a:pt x="2303666" y="200228"/>
                  </a:lnTo>
                  <a:lnTo>
                    <a:pt x="2303666" y="198831"/>
                  </a:lnTo>
                  <a:lnTo>
                    <a:pt x="2303666" y="199530"/>
                  </a:lnTo>
                  <a:lnTo>
                    <a:pt x="2303666" y="198831"/>
                  </a:lnTo>
                  <a:lnTo>
                    <a:pt x="2303717" y="198831"/>
                  </a:lnTo>
                  <a:lnTo>
                    <a:pt x="2303717" y="196799"/>
                  </a:lnTo>
                  <a:lnTo>
                    <a:pt x="2303717" y="197447"/>
                  </a:lnTo>
                  <a:lnTo>
                    <a:pt x="2303768" y="198831"/>
                  </a:lnTo>
                  <a:lnTo>
                    <a:pt x="2303768" y="197447"/>
                  </a:lnTo>
                  <a:lnTo>
                    <a:pt x="2303768" y="200228"/>
                  </a:lnTo>
                  <a:lnTo>
                    <a:pt x="2303869" y="200228"/>
                  </a:lnTo>
                  <a:lnTo>
                    <a:pt x="2303869" y="198831"/>
                  </a:lnTo>
                  <a:lnTo>
                    <a:pt x="2303869" y="200228"/>
                  </a:lnTo>
                  <a:lnTo>
                    <a:pt x="2303869" y="199530"/>
                  </a:lnTo>
                  <a:lnTo>
                    <a:pt x="2303869" y="200228"/>
                  </a:lnTo>
                  <a:lnTo>
                    <a:pt x="2303920" y="199530"/>
                  </a:lnTo>
                  <a:lnTo>
                    <a:pt x="2303920" y="200228"/>
                  </a:lnTo>
                  <a:lnTo>
                    <a:pt x="2303920" y="199530"/>
                  </a:lnTo>
                  <a:lnTo>
                    <a:pt x="2303920" y="200228"/>
                  </a:lnTo>
                  <a:lnTo>
                    <a:pt x="2303920" y="199530"/>
                  </a:lnTo>
                  <a:lnTo>
                    <a:pt x="2303920" y="200228"/>
                  </a:lnTo>
                  <a:lnTo>
                    <a:pt x="2303971" y="200228"/>
                  </a:lnTo>
                  <a:lnTo>
                    <a:pt x="2303971" y="200876"/>
                  </a:lnTo>
                  <a:lnTo>
                    <a:pt x="2303971" y="200228"/>
                  </a:lnTo>
                  <a:lnTo>
                    <a:pt x="2303971" y="200876"/>
                  </a:lnTo>
                  <a:lnTo>
                    <a:pt x="2304009" y="200876"/>
                  </a:lnTo>
                  <a:lnTo>
                    <a:pt x="2304111" y="200228"/>
                  </a:lnTo>
                  <a:lnTo>
                    <a:pt x="2304111" y="200876"/>
                  </a:lnTo>
                  <a:lnTo>
                    <a:pt x="2304111" y="200228"/>
                  </a:lnTo>
                  <a:lnTo>
                    <a:pt x="2304111" y="200876"/>
                  </a:lnTo>
                  <a:lnTo>
                    <a:pt x="2304111" y="200228"/>
                  </a:lnTo>
                  <a:lnTo>
                    <a:pt x="2304111" y="200876"/>
                  </a:lnTo>
                  <a:lnTo>
                    <a:pt x="2304111" y="199530"/>
                  </a:lnTo>
                  <a:lnTo>
                    <a:pt x="2304111" y="200228"/>
                  </a:lnTo>
                  <a:lnTo>
                    <a:pt x="2304162" y="200228"/>
                  </a:lnTo>
                  <a:lnTo>
                    <a:pt x="2304162" y="198831"/>
                  </a:lnTo>
                  <a:lnTo>
                    <a:pt x="2304162" y="199530"/>
                  </a:lnTo>
                  <a:lnTo>
                    <a:pt x="2304162" y="197447"/>
                  </a:lnTo>
                  <a:lnTo>
                    <a:pt x="2304162" y="199530"/>
                  </a:lnTo>
                  <a:lnTo>
                    <a:pt x="2304212" y="198831"/>
                  </a:lnTo>
                  <a:lnTo>
                    <a:pt x="2304212" y="196799"/>
                  </a:lnTo>
                  <a:lnTo>
                    <a:pt x="2304212" y="199530"/>
                  </a:lnTo>
                  <a:lnTo>
                    <a:pt x="2304212" y="198831"/>
                  </a:lnTo>
                  <a:lnTo>
                    <a:pt x="2304314" y="198831"/>
                  </a:lnTo>
                  <a:lnTo>
                    <a:pt x="2304314" y="196799"/>
                  </a:lnTo>
                  <a:lnTo>
                    <a:pt x="2304314" y="200876"/>
                  </a:lnTo>
                  <a:lnTo>
                    <a:pt x="2304314" y="199530"/>
                  </a:lnTo>
                  <a:lnTo>
                    <a:pt x="2304365" y="199530"/>
                  </a:lnTo>
                  <a:lnTo>
                    <a:pt x="2304365" y="197447"/>
                  </a:lnTo>
                  <a:lnTo>
                    <a:pt x="2304365" y="200228"/>
                  </a:lnTo>
                  <a:lnTo>
                    <a:pt x="2304365" y="199530"/>
                  </a:lnTo>
                  <a:lnTo>
                    <a:pt x="2304365" y="200228"/>
                  </a:lnTo>
                  <a:lnTo>
                    <a:pt x="2304365" y="199530"/>
                  </a:lnTo>
                  <a:lnTo>
                    <a:pt x="2304415" y="199530"/>
                  </a:lnTo>
                  <a:lnTo>
                    <a:pt x="2304415" y="200228"/>
                  </a:lnTo>
                  <a:lnTo>
                    <a:pt x="2304415" y="199530"/>
                  </a:lnTo>
                  <a:lnTo>
                    <a:pt x="2304415" y="200228"/>
                  </a:lnTo>
                  <a:lnTo>
                    <a:pt x="2304415" y="199530"/>
                  </a:lnTo>
                  <a:lnTo>
                    <a:pt x="2304415" y="200228"/>
                  </a:lnTo>
                  <a:lnTo>
                    <a:pt x="2304466" y="200228"/>
                  </a:lnTo>
                  <a:lnTo>
                    <a:pt x="2304466" y="200876"/>
                  </a:lnTo>
                  <a:lnTo>
                    <a:pt x="2304466" y="200228"/>
                  </a:lnTo>
                  <a:lnTo>
                    <a:pt x="2304466" y="200876"/>
                  </a:lnTo>
                  <a:lnTo>
                    <a:pt x="2304555" y="200876"/>
                  </a:lnTo>
                  <a:lnTo>
                    <a:pt x="2304555" y="200228"/>
                  </a:lnTo>
                  <a:lnTo>
                    <a:pt x="2304555" y="200876"/>
                  </a:lnTo>
                  <a:lnTo>
                    <a:pt x="2304555" y="200228"/>
                  </a:lnTo>
                  <a:lnTo>
                    <a:pt x="2304606" y="200228"/>
                  </a:lnTo>
                  <a:lnTo>
                    <a:pt x="2304606" y="200876"/>
                  </a:lnTo>
                  <a:lnTo>
                    <a:pt x="2304606" y="200228"/>
                  </a:lnTo>
                  <a:lnTo>
                    <a:pt x="2304606" y="200876"/>
                  </a:lnTo>
                  <a:lnTo>
                    <a:pt x="2304606" y="200228"/>
                  </a:lnTo>
                  <a:lnTo>
                    <a:pt x="2304606" y="200876"/>
                  </a:lnTo>
                  <a:lnTo>
                    <a:pt x="2304606" y="200228"/>
                  </a:lnTo>
                  <a:lnTo>
                    <a:pt x="2304657" y="200228"/>
                  </a:lnTo>
                  <a:lnTo>
                    <a:pt x="2304657" y="198831"/>
                  </a:lnTo>
                  <a:lnTo>
                    <a:pt x="2304657" y="199530"/>
                  </a:lnTo>
                  <a:lnTo>
                    <a:pt x="2304708" y="199530"/>
                  </a:lnTo>
                  <a:lnTo>
                    <a:pt x="2304708" y="200228"/>
                  </a:lnTo>
                  <a:lnTo>
                    <a:pt x="2304708" y="198831"/>
                  </a:lnTo>
                  <a:lnTo>
                    <a:pt x="2304708" y="200876"/>
                  </a:lnTo>
                  <a:lnTo>
                    <a:pt x="2304809" y="200876"/>
                  </a:lnTo>
                  <a:lnTo>
                    <a:pt x="2304809" y="200228"/>
                  </a:lnTo>
                  <a:lnTo>
                    <a:pt x="2304809" y="200876"/>
                  </a:lnTo>
                  <a:lnTo>
                    <a:pt x="2304860" y="200876"/>
                  </a:lnTo>
                  <a:lnTo>
                    <a:pt x="2304860" y="199530"/>
                  </a:lnTo>
                  <a:lnTo>
                    <a:pt x="2304860" y="200876"/>
                  </a:lnTo>
                  <a:lnTo>
                    <a:pt x="2304860" y="199530"/>
                  </a:lnTo>
                  <a:lnTo>
                    <a:pt x="2304911" y="200228"/>
                  </a:lnTo>
                  <a:lnTo>
                    <a:pt x="2305012" y="200876"/>
                  </a:lnTo>
                  <a:lnTo>
                    <a:pt x="2305012" y="200228"/>
                  </a:lnTo>
                  <a:lnTo>
                    <a:pt x="2305012" y="200876"/>
                  </a:lnTo>
                  <a:lnTo>
                    <a:pt x="2305012" y="200228"/>
                  </a:lnTo>
                  <a:lnTo>
                    <a:pt x="2305012" y="200876"/>
                  </a:lnTo>
                  <a:lnTo>
                    <a:pt x="2305050" y="200876"/>
                  </a:lnTo>
                  <a:lnTo>
                    <a:pt x="2305050" y="200228"/>
                  </a:lnTo>
                  <a:lnTo>
                    <a:pt x="2305050" y="200876"/>
                  </a:lnTo>
                  <a:lnTo>
                    <a:pt x="2305050" y="200228"/>
                  </a:lnTo>
                  <a:lnTo>
                    <a:pt x="2305050" y="200876"/>
                  </a:lnTo>
                  <a:lnTo>
                    <a:pt x="2305050" y="200228"/>
                  </a:lnTo>
                  <a:lnTo>
                    <a:pt x="2305101" y="200228"/>
                  </a:lnTo>
                  <a:lnTo>
                    <a:pt x="2305101" y="199530"/>
                  </a:lnTo>
                  <a:lnTo>
                    <a:pt x="2305101" y="200228"/>
                  </a:lnTo>
                  <a:lnTo>
                    <a:pt x="2305101" y="198831"/>
                  </a:lnTo>
                  <a:lnTo>
                    <a:pt x="2305152" y="198831"/>
                  </a:lnTo>
                  <a:lnTo>
                    <a:pt x="2305152" y="197447"/>
                  </a:lnTo>
                  <a:lnTo>
                    <a:pt x="2305152" y="199530"/>
                  </a:lnTo>
                  <a:lnTo>
                    <a:pt x="2305254" y="199530"/>
                  </a:lnTo>
                  <a:lnTo>
                    <a:pt x="2305254" y="198831"/>
                  </a:lnTo>
                  <a:lnTo>
                    <a:pt x="2305254" y="202260"/>
                  </a:lnTo>
                  <a:lnTo>
                    <a:pt x="2305254" y="200876"/>
                  </a:lnTo>
                  <a:lnTo>
                    <a:pt x="2305305" y="200876"/>
                  </a:lnTo>
                  <a:lnTo>
                    <a:pt x="2305305" y="200228"/>
                  </a:lnTo>
                  <a:lnTo>
                    <a:pt x="2305305" y="200876"/>
                  </a:lnTo>
                  <a:lnTo>
                    <a:pt x="2305305" y="200228"/>
                  </a:lnTo>
                  <a:lnTo>
                    <a:pt x="2305305" y="200876"/>
                  </a:lnTo>
                  <a:lnTo>
                    <a:pt x="2305305" y="200228"/>
                  </a:lnTo>
                  <a:lnTo>
                    <a:pt x="2305305" y="200876"/>
                  </a:lnTo>
                  <a:lnTo>
                    <a:pt x="2305305" y="200228"/>
                  </a:lnTo>
                  <a:lnTo>
                    <a:pt x="2305305" y="200876"/>
                  </a:lnTo>
                  <a:lnTo>
                    <a:pt x="2305305" y="200228"/>
                  </a:lnTo>
                  <a:lnTo>
                    <a:pt x="2305355" y="200228"/>
                  </a:lnTo>
                  <a:lnTo>
                    <a:pt x="2305355" y="202260"/>
                  </a:lnTo>
                  <a:lnTo>
                    <a:pt x="2305355" y="200876"/>
                  </a:lnTo>
                  <a:lnTo>
                    <a:pt x="2305457" y="200876"/>
                  </a:lnTo>
                  <a:lnTo>
                    <a:pt x="2305457" y="202260"/>
                  </a:lnTo>
                  <a:lnTo>
                    <a:pt x="2305457" y="200876"/>
                  </a:lnTo>
                  <a:lnTo>
                    <a:pt x="2305457" y="202260"/>
                  </a:lnTo>
                  <a:lnTo>
                    <a:pt x="2305508" y="202260"/>
                  </a:lnTo>
                  <a:lnTo>
                    <a:pt x="2305508" y="200876"/>
                  </a:lnTo>
                  <a:lnTo>
                    <a:pt x="2305508" y="202260"/>
                  </a:lnTo>
                  <a:lnTo>
                    <a:pt x="2305559" y="202260"/>
                  </a:lnTo>
                  <a:lnTo>
                    <a:pt x="2305559" y="200876"/>
                  </a:lnTo>
                  <a:lnTo>
                    <a:pt x="2305559" y="202260"/>
                  </a:lnTo>
                  <a:lnTo>
                    <a:pt x="2305559" y="200228"/>
                  </a:lnTo>
                  <a:lnTo>
                    <a:pt x="2305597" y="200228"/>
                  </a:lnTo>
                  <a:lnTo>
                    <a:pt x="2305597" y="199530"/>
                  </a:lnTo>
                  <a:lnTo>
                    <a:pt x="2305597" y="200228"/>
                  </a:lnTo>
                  <a:lnTo>
                    <a:pt x="2305597" y="199530"/>
                  </a:lnTo>
                  <a:lnTo>
                    <a:pt x="2305597" y="200228"/>
                  </a:lnTo>
                  <a:lnTo>
                    <a:pt x="2305597" y="199530"/>
                  </a:lnTo>
                  <a:lnTo>
                    <a:pt x="2305597" y="200228"/>
                  </a:lnTo>
                  <a:lnTo>
                    <a:pt x="2305597" y="199530"/>
                  </a:lnTo>
                  <a:lnTo>
                    <a:pt x="2305698" y="199530"/>
                  </a:lnTo>
                  <a:lnTo>
                    <a:pt x="2305698" y="198831"/>
                  </a:lnTo>
                  <a:lnTo>
                    <a:pt x="2305698" y="200228"/>
                  </a:lnTo>
                  <a:lnTo>
                    <a:pt x="2305698" y="199530"/>
                  </a:lnTo>
                  <a:lnTo>
                    <a:pt x="2305749" y="199530"/>
                  </a:lnTo>
                  <a:lnTo>
                    <a:pt x="2305749" y="202260"/>
                  </a:lnTo>
                  <a:lnTo>
                    <a:pt x="2305749" y="200876"/>
                  </a:lnTo>
                  <a:lnTo>
                    <a:pt x="2305749" y="202260"/>
                  </a:lnTo>
                  <a:lnTo>
                    <a:pt x="2305749" y="200228"/>
                  </a:lnTo>
                  <a:lnTo>
                    <a:pt x="2305800" y="200876"/>
                  </a:lnTo>
                  <a:lnTo>
                    <a:pt x="2305800" y="202260"/>
                  </a:lnTo>
                  <a:lnTo>
                    <a:pt x="2305800" y="200876"/>
                  </a:lnTo>
                  <a:lnTo>
                    <a:pt x="2305800" y="202260"/>
                  </a:lnTo>
                  <a:lnTo>
                    <a:pt x="2305800" y="200228"/>
                  </a:lnTo>
                  <a:lnTo>
                    <a:pt x="2305800" y="200876"/>
                  </a:lnTo>
                  <a:lnTo>
                    <a:pt x="2305901" y="200876"/>
                  </a:lnTo>
                  <a:lnTo>
                    <a:pt x="2305901" y="202260"/>
                  </a:lnTo>
                  <a:lnTo>
                    <a:pt x="2305901" y="200876"/>
                  </a:lnTo>
                  <a:lnTo>
                    <a:pt x="2305901" y="202260"/>
                  </a:lnTo>
                  <a:lnTo>
                    <a:pt x="2305901" y="200876"/>
                  </a:lnTo>
                  <a:lnTo>
                    <a:pt x="2305901" y="202260"/>
                  </a:lnTo>
                  <a:lnTo>
                    <a:pt x="2305952" y="202260"/>
                  </a:lnTo>
                  <a:lnTo>
                    <a:pt x="2305952" y="202959"/>
                  </a:lnTo>
                  <a:lnTo>
                    <a:pt x="2306003" y="202260"/>
                  </a:lnTo>
                  <a:lnTo>
                    <a:pt x="2306003" y="200876"/>
                  </a:lnTo>
                  <a:lnTo>
                    <a:pt x="2306054" y="200876"/>
                  </a:lnTo>
                  <a:lnTo>
                    <a:pt x="2306054" y="200228"/>
                  </a:lnTo>
                  <a:lnTo>
                    <a:pt x="2306054" y="200876"/>
                  </a:lnTo>
                  <a:lnTo>
                    <a:pt x="2306054" y="200228"/>
                  </a:lnTo>
                  <a:lnTo>
                    <a:pt x="2306054" y="200876"/>
                  </a:lnTo>
                  <a:lnTo>
                    <a:pt x="2306054" y="199530"/>
                  </a:lnTo>
                  <a:lnTo>
                    <a:pt x="2306143" y="199530"/>
                  </a:lnTo>
                  <a:lnTo>
                    <a:pt x="2306143" y="198831"/>
                  </a:lnTo>
                  <a:lnTo>
                    <a:pt x="2306143" y="199530"/>
                  </a:lnTo>
                  <a:lnTo>
                    <a:pt x="2306143" y="198831"/>
                  </a:lnTo>
                  <a:lnTo>
                    <a:pt x="2306143" y="199530"/>
                  </a:lnTo>
                  <a:lnTo>
                    <a:pt x="2306143" y="197447"/>
                  </a:lnTo>
                  <a:lnTo>
                    <a:pt x="2306143" y="198831"/>
                  </a:lnTo>
                  <a:lnTo>
                    <a:pt x="2306194" y="198831"/>
                  </a:lnTo>
                  <a:lnTo>
                    <a:pt x="2306194" y="200228"/>
                  </a:lnTo>
                  <a:lnTo>
                    <a:pt x="2306194" y="198831"/>
                  </a:lnTo>
                  <a:lnTo>
                    <a:pt x="2306194" y="199530"/>
                  </a:lnTo>
                  <a:lnTo>
                    <a:pt x="2306244" y="200228"/>
                  </a:lnTo>
                  <a:lnTo>
                    <a:pt x="2306244" y="200876"/>
                  </a:lnTo>
                  <a:lnTo>
                    <a:pt x="2306244" y="199530"/>
                  </a:lnTo>
                  <a:lnTo>
                    <a:pt x="2306244" y="200876"/>
                  </a:lnTo>
                  <a:lnTo>
                    <a:pt x="2306295" y="200876"/>
                  </a:lnTo>
                  <a:lnTo>
                    <a:pt x="2306295" y="200228"/>
                  </a:lnTo>
                  <a:lnTo>
                    <a:pt x="2306295" y="200876"/>
                  </a:lnTo>
                  <a:lnTo>
                    <a:pt x="2306295" y="200228"/>
                  </a:lnTo>
                  <a:lnTo>
                    <a:pt x="2306295" y="200876"/>
                  </a:lnTo>
                  <a:lnTo>
                    <a:pt x="2306397" y="200876"/>
                  </a:lnTo>
                  <a:lnTo>
                    <a:pt x="2306397" y="202260"/>
                  </a:lnTo>
                  <a:lnTo>
                    <a:pt x="2306397" y="200876"/>
                  </a:lnTo>
                  <a:lnTo>
                    <a:pt x="2306397" y="202260"/>
                  </a:lnTo>
                  <a:lnTo>
                    <a:pt x="2306447" y="202260"/>
                  </a:lnTo>
                  <a:lnTo>
                    <a:pt x="2306447" y="200876"/>
                  </a:lnTo>
                  <a:lnTo>
                    <a:pt x="2306447" y="202260"/>
                  </a:lnTo>
                  <a:lnTo>
                    <a:pt x="2306447" y="200876"/>
                  </a:lnTo>
                  <a:lnTo>
                    <a:pt x="2306447" y="202260"/>
                  </a:lnTo>
                  <a:lnTo>
                    <a:pt x="2306447" y="200876"/>
                  </a:lnTo>
                  <a:lnTo>
                    <a:pt x="2306447" y="202260"/>
                  </a:lnTo>
                  <a:lnTo>
                    <a:pt x="2306498" y="202260"/>
                  </a:lnTo>
                  <a:lnTo>
                    <a:pt x="2306498" y="200876"/>
                  </a:lnTo>
                  <a:lnTo>
                    <a:pt x="2306600" y="200876"/>
                  </a:lnTo>
                  <a:lnTo>
                    <a:pt x="2306600" y="199530"/>
                  </a:lnTo>
                  <a:lnTo>
                    <a:pt x="2306600" y="200228"/>
                  </a:lnTo>
                  <a:lnTo>
                    <a:pt x="2306600" y="199530"/>
                  </a:lnTo>
                  <a:lnTo>
                    <a:pt x="2306600" y="200228"/>
                  </a:lnTo>
                  <a:lnTo>
                    <a:pt x="2306600" y="199530"/>
                  </a:lnTo>
                  <a:lnTo>
                    <a:pt x="2306638" y="199530"/>
                  </a:lnTo>
                  <a:lnTo>
                    <a:pt x="2306638" y="198831"/>
                  </a:lnTo>
                  <a:lnTo>
                    <a:pt x="2306638" y="199530"/>
                  </a:lnTo>
                  <a:lnTo>
                    <a:pt x="2306638" y="198831"/>
                  </a:lnTo>
                  <a:lnTo>
                    <a:pt x="2306638" y="199530"/>
                  </a:lnTo>
                  <a:lnTo>
                    <a:pt x="2306689" y="199530"/>
                  </a:lnTo>
                  <a:lnTo>
                    <a:pt x="2306689" y="198831"/>
                  </a:lnTo>
                  <a:lnTo>
                    <a:pt x="2306689" y="200228"/>
                  </a:lnTo>
                  <a:lnTo>
                    <a:pt x="2306740" y="200228"/>
                  </a:lnTo>
                  <a:lnTo>
                    <a:pt x="2306740" y="199530"/>
                  </a:lnTo>
                  <a:lnTo>
                    <a:pt x="2306740" y="200228"/>
                  </a:lnTo>
                  <a:lnTo>
                    <a:pt x="2306740" y="199530"/>
                  </a:lnTo>
                  <a:lnTo>
                    <a:pt x="2306740" y="200228"/>
                  </a:lnTo>
                  <a:lnTo>
                    <a:pt x="2306841" y="200228"/>
                  </a:lnTo>
                  <a:lnTo>
                    <a:pt x="2306841" y="200876"/>
                  </a:lnTo>
                  <a:lnTo>
                    <a:pt x="2306841" y="200228"/>
                  </a:lnTo>
                  <a:lnTo>
                    <a:pt x="2306892" y="200876"/>
                  </a:lnTo>
                  <a:lnTo>
                    <a:pt x="2306892" y="200228"/>
                  </a:lnTo>
                  <a:lnTo>
                    <a:pt x="2306892" y="200876"/>
                  </a:lnTo>
                  <a:lnTo>
                    <a:pt x="2307044" y="200876"/>
                  </a:lnTo>
                  <a:lnTo>
                    <a:pt x="2307044" y="200228"/>
                  </a:lnTo>
                  <a:lnTo>
                    <a:pt x="2307044" y="200876"/>
                  </a:lnTo>
                  <a:lnTo>
                    <a:pt x="2307044" y="199530"/>
                  </a:lnTo>
                  <a:lnTo>
                    <a:pt x="2307095" y="200228"/>
                  </a:lnTo>
                  <a:lnTo>
                    <a:pt x="2307095" y="199530"/>
                  </a:lnTo>
                  <a:lnTo>
                    <a:pt x="2307095" y="200228"/>
                  </a:lnTo>
                  <a:lnTo>
                    <a:pt x="2307095" y="199530"/>
                  </a:lnTo>
                  <a:lnTo>
                    <a:pt x="2307095" y="200228"/>
                  </a:lnTo>
                  <a:lnTo>
                    <a:pt x="2307095" y="198831"/>
                  </a:lnTo>
                  <a:lnTo>
                    <a:pt x="2307146" y="198831"/>
                  </a:lnTo>
                  <a:lnTo>
                    <a:pt x="2307146" y="196113"/>
                  </a:lnTo>
                  <a:lnTo>
                    <a:pt x="2307146" y="196799"/>
                  </a:lnTo>
                  <a:lnTo>
                    <a:pt x="2307184" y="197447"/>
                  </a:lnTo>
                  <a:lnTo>
                    <a:pt x="2307184" y="198831"/>
                  </a:lnTo>
                  <a:lnTo>
                    <a:pt x="2307184" y="196799"/>
                  </a:lnTo>
                  <a:lnTo>
                    <a:pt x="2307184" y="198831"/>
                  </a:lnTo>
                  <a:lnTo>
                    <a:pt x="2307286" y="199530"/>
                  </a:lnTo>
                  <a:lnTo>
                    <a:pt x="2307286" y="197447"/>
                  </a:lnTo>
                  <a:lnTo>
                    <a:pt x="2307286" y="199530"/>
                  </a:lnTo>
                  <a:lnTo>
                    <a:pt x="2307337" y="199530"/>
                  </a:lnTo>
                  <a:lnTo>
                    <a:pt x="2307337" y="198831"/>
                  </a:lnTo>
                  <a:lnTo>
                    <a:pt x="2307337" y="200228"/>
                  </a:lnTo>
                  <a:lnTo>
                    <a:pt x="2307387" y="200228"/>
                  </a:lnTo>
                  <a:lnTo>
                    <a:pt x="2307387" y="199530"/>
                  </a:lnTo>
                  <a:lnTo>
                    <a:pt x="2307387" y="200228"/>
                  </a:lnTo>
                  <a:lnTo>
                    <a:pt x="2307387" y="199530"/>
                  </a:lnTo>
                  <a:lnTo>
                    <a:pt x="2307387" y="200876"/>
                  </a:lnTo>
                  <a:lnTo>
                    <a:pt x="2307387" y="200228"/>
                  </a:lnTo>
                  <a:lnTo>
                    <a:pt x="2307387" y="200876"/>
                  </a:lnTo>
                  <a:lnTo>
                    <a:pt x="2307489" y="200228"/>
                  </a:lnTo>
                  <a:lnTo>
                    <a:pt x="2307489" y="200876"/>
                  </a:lnTo>
                  <a:lnTo>
                    <a:pt x="2307489" y="200228"/>
                  </a:lnTo>
                  <a:lnTo>
                    <a:pt x="2307489" y="200876"/>
                  </a:lnTo>
                  <a:lnTo>
                    <a:pt x="2307540" y="200876"/>
                  </a:lnTo>
                  <a:lnTo>
                    <a:pt x="2307540" y="200228"/>
                  </a:lnTo>
                  <a:lnTo>
                    <a:pt x="2307540" y="200876"/>
                  </a:lnTo>
                  <a:lnTo>
                    <a:pt x="2307540" y="200228"/>
                  </a:lnTo>
                  <a:lnTo>
                    <a:pt x="2307540" y="200876"/>
                  </a:lnTo>
                  <a:lnTo>
                    <a:pt x="2307540" y="200228"/>
                  </a:lnTo>
                  <a:lnTo>
                    <a:pt x="2307540" y="200876"/>
                  </a:lnTo>
                  <a:lnTo>
                    <a:pt x="2307540" y="200228"/>
                  </a:lnTo>
                  <a:lnTo>
                    <a:pt x="2307540" y="200876"/>
                  </a:lnTo>
                  <a:lnTo>
                    <a:pt x="2307540" y="200228"/>
                  </a:lnTo>
                  <a:lnTo>
                    <a:pt x="2307590" y="200228"/>
                  </a:lnTo>
                  <a:lnTo>
                    <a:pt x="2307590" y="199530"/>
                  </a:lnTo>
                  <a:lnTo>
                    <a:pt x="2307641" y="199530"/>
                  </a:lnTo>
                  <a:lnTo>
                    <a:pt x="2307641" y="196799"/>
                  </a:lnTo>
                  <a:lnTo>
                    <a:pt x="2307641" y="198831"/>
                  </a:lnTo>
                  <a:lnTo>
                    <a:pt x="2307730" y="197447"/>
                  </a:lnTo>
                  <a:lnTo>
                    <a:pt x="2307730" y="196113"/>
                  </a:lnTo>
                  <a:lnTo>
                    <a:pt x="2307730" y="199530"/>
                  </a:lnTo>
                  <a:lnTo>
                    <a:pt x="2307730" y="198831"/>
                  </a:lnTo>
                  <a:lnTo>
                    <a:pt x="2307781" y="198831"/>
                  </a:lnTo>
                  <a:lnTo>
                    <a:pt x="2307781" y="196799"/>
                  </a:lnTo>
                  <a:lnTo>
                    <a:pt x="2307781" y="197447"/>
                  </a:lnTo>
                  <a:lnTo>
                    <a:pt x="2307781" y="196799"/>
                  </a:lnTo>
                  <a:lnTo>
                    <a:pt x="2307781" y="199530"/>
                  </a:lnTo>
                  <a:lnTo>
                    <a:pt x="2307781" y="198831"/>
                  </a:lnTo>
                  <a:lnTo>
                    <a:pt x="2307832" y="198831"/>
                  </a:lnTo>
                  <a:lnTo>
                    <a:pt x="2307832" y="197447"/>
                  </a:lnTo>
                  <a:lnTo>
                    <a:pt x="2307832" y="199530"/>
                  </a:lnTo>
                  <a:lnTo>
                    <a:pt x="2307832" y="198831"/>
                  </a:lnTo>
                  <a:lnTo>
                    <a:pt x="2307832" y="199530"/>
                  </a:lnTo>
                  <a:lnTo>
                    <a:pt x="2307883" y="199530"/>
                  </a:lnTo>
                  <a:lnTo>
                    <a:pt x="2307883" y="200228"/>
                  </a:lnTo>
                  <a:lnTo>
                    <a:pt x="2307883" y="199530"/>
                  </a:lnTo>
                  <a:lnTo>
                    <a:pt x="2308035" y="199530"/>
                  </a:lnTo>
                  <a:lnTo>
                    <a:pt x="2308035" y="200228"/>
                  </a:lnTo>
                  <a:lnTo>
                    <a:pt x="2308035" y="199530"/>
                  </a:lnTo>
                  <a:lnTo>
                    <a:pt x="2308035" y="200228"/>
                  </a:lnTo>
                  <a:lnTo>
                    <a:pt x="2308035" y="199530"/>
                  </a:lnTo>
                  <a:lnTo>
                    <a:pt x="2308086" y="199530"/>
                  </a:lnTo>
                  <a:lnTo>
                    <a:pt x="2308086" y="200228"/>
                  </a:lnTo>
                  <a:lnTo>
                    <a:pt x="2308086" y="198831"/>
                  </a:lnTo>
                  <a:lnTo>
                    <a:pt x="2308187" y="198831"/>
                  </a:lnTo>
                  <a:lnTo>
                    <a:pt x="2308187" y="197447"/>
                  </a:lnTo>
                  <a:lnTo>
                    <a:pt x="2308187" y="198831"/>
                  </a:lnTo>
                  <a:lnTo>
                    <a:pt x="2308187" y="197447"/>
                  </a:lnTo>
                  <a:lnTo>
                    <a:pt x="2308187" y="200228"/>
                  </a:lnTo>
                  <a:lnTo>
                    <a:pt x="2308187" y="196799"/>
                  </a:lnTo>
                  <a:lnTo>
                    <a:pt x="2308225" y="196799"/>
                  </a:lnTo>
                  <a:lnTo>
                    <a:pt x="2308225" y="200876"/>
                  </a:lnTo>
                  <a:lnTo>
                    <a:pt x="2308225" y="199530"/>
                  </a:lnTo>
                  <a:lnTo>
                    <a:pt x="2308276" y="199530"/>
                  </a:lnTo>
                  <a:lnTo>
                    <a:pt x="2308276" y="200876"/>
                  </a:lnTo>
                  <a:lnTo>
                    <a:pt x="2308276" y="200228"/>
                  </a:lnTo>
                  <a:lnTo>
                    <a:pt x="2308327" y="200228"/>
                  </a:lnTo>
                  <a:lnTo>
                    <a:pt x="2308327" y="200876"/>
                  </a:lnTo>
                  <a:lnTo>
                    <a:pt x="2308327" y="200228"/>
                  </a:lnTo>
                  <a:lnTo>
                    <a:pt x="2308327" y="200876"/>
                  </a:lnTo>
                  <a:lnTo>
                    <a:pt x="2308327" y="200228"/>
                  </a:lnTo>
                  <a:lnTo>
                    <a:pt x="2308327" y="200876"/>
                  </a:lnTo>
                  <a:lnTo>
                    <a:pt x="2308429" y="200228"/>
                  </a:lnTo>
                  <a:lnTo>
                    <a:pt x="2308429" y="200876"/>
                  </a:lnTo>
                  <a:lnTo>
                    <a:pt x="2308429" y="199530"/>
                  </a:lnTo>
                  <a:lnTo>
                    <a:pt x="2308429" y="200228"/>
                  </a:lnTo>
                  <a:lnTo>
                    <a:pt x="2308480" y="200228"/>
                  </a:lnTo>
                  <a:lnTo>
                    <a:pt x="2308480" y="199530"/>
                  </a:lnTo>
                  <a:lnTo>
                    <a:pt x="2308480" y="200876"/>
                  </a:lnTo>
                  <a:lnTo>
                    <a:pt x="2308480" y="200228"/>
                  </a:lnTo>
                  <a:lnTo>
                    <a:pt x="2308530" y="200228"/>
                  </a:lnTo>
                  <a:lnTo>
                    <a:pt x="2308530" y="199530"/>
                  </a:lnTo>
                  <a:lnTo>
                    <a:pt x="2308530" y="200228"/>
                  </a:lnTo>
                  <a:lnTo>
                    <a:pt x="2308632" y="199530"/>
                  </a:lnTo>
                  <a:lnTo>
                    <a:pt x="2308632" y="200228"/>
                  </a:lnTo>
                  <a:lnTo>
                    <a:pt x="2308632" y="199530"/>
                  </a:lnTo>
                  <a:lnTo>
                    <a:pt x="2308632" y="200228"/>
                  </a:lnTo>
                  <a:lnTo>
                    <a:pt x="2308632" y="198831"/>
                  </a:lnTo>
                  <a:lnTo>
                    <a:pt x="2308632" y="199530"/>
                  </a:lnTo>
                  <a:lnTo>
                    <a:pt x="2308632" y="198831"/>
                  </a:lnTo>
                  <a:lnTo>
                    <a:pt x="2308632" y="199530"/>
                  </a:lnTo>
                  <a:lnTo>
                    <a:pt x="2308632" y="197447"/>
                  </a:lnTo>
                  <a:lnTo>
                    <a:pt x="2308683" y="198831"/>
                  </a:lnTo>
                  <a:lnTo>
                    <a:pt x="2308683" y="200876"/>
                  </a:lnTo>
                  <a:lnTo>
                    <a:pt x="2308683" y="197447"/>
                  </a:lnTo>
                  <a:lnTo>
                    <a:pt x="2308683" y="198831"/>
                  </a:lnTo>
                  <a:lnTo>
                    <a:pt x="2308734" y="199530"/>
                  </a:lnTo>
                  <a:lnTo>
                    <a:pt x="2308734" y="200876"/>
                  </a:lnTo>
                  <a:lnTo>
                    <a:pt x="2308734" y="199530"/>
                  </a:lnTo>
                  <a:lnTo>
                    <a:pt x="2308734" y="200876"/>
                  </a:lnTo>
                  <a:lnTo>
                    <a:pt x="2308772" y="200876"/>
                  </a:lnTo>
                  <a:lnTo>
                    <a:pt x="2308772" y="202260"/>
                  </a:lnTo>
                  <a:lnTo>
                    <a:pt x="2308772" y="200876"/>
                  </a:lnTo>
                  <a:lnTo>
                    <a:pt x="2308772" y="202260"/>
                  </a:lnTo>
                  <a:lnTo>
                    <a:pt x="2308772" y="200876"/>
                  </a:lnTo>
                  <a:lnTo>
                    <a:pt x="2308772" y="202260"/>
                  </a:lnTo>
                  <a:lnTo>
                    <a:pt x="2308772" y="200876"/>
                  </a:lnTo>
                  <a:lnTo>
                    <a:pt x="2308873" y="202260"/>
                  </a:lnTo>
                  <a:lnTo>
                    <a:pt x="2308873" y="200876"/>
                  </a:lnTo>
                  <a:lnTo>
                    <a:pt x="2308873" y="202260"/>
                  </a:lnTo>
                  <a:lnTo>
                    <a:pt x="2308873" y="200876"/>
                  </a:lnTo>
                  <a:lnTo>
                    <a:pt x="2308873" y="202260"/>
                  </a:lnTo>
                  <a:lnTo>
                    <a:pt x="2308873" y="200876"/>
                  </a:lnTo>
                  <a:lnTo>
                    <a:pt x="2308924" y="200876"/>
                  </a:lnTo>
                  <a:lnTo>
                    <a:pt x="2308924" y="200228"/>
                  </a:lnTo>
                  <a:lnTo>
                    <a:pt x="2308924" y="200876"/>
                  </a:lnTo>
                  <a:lnTo>
                    <a:pt x="2308924" y="200228"/>
                  </a:lnTo>
                  <a:lnTo>
                    <a:pt x="2308975" y="200228"/>
                  </a:lnTo>
                  <a:lnTo>
                    <a:pt x="2308975" y="200876"/>
                  </a:lnTo>
                  <a:lnTo>
                    <a:pt x="2308975" y="199530"/>
                  </a:lnTo>
                  <a:lnTo>
                    <a:pt x="2309076" y="199530"/>
                  </a:lnTo>
                  <a:lnTo>
                    <a:pt x="2309076" y="200228"/>
                  </a:lnTo>
                  <a:lnTo>
                    <a:pt x="2309076" y="199530"/>
                  </a:lnTo>
                  <a:lnTo>
                    <a:pt x="2309076" y="200228"/>
                  </a:lnTo>
                  <a:lnTo>
                    <a:pt x="2309076" y="198831"/>
                  </a:lnTo>
                  <a:lnTo>
                    <a:pt x="2309127" y="198831"/>
                  </a:lnTo>
                  <a:lnTo>
                    <a:pt x="2309127" y="196799"/>
                  </a:lnTo>
                  <a:lnTo>
                    <a:pt x="2309127" y="197447"/>
                  </a:lnTo>
                  <a:lnTo>
                    <a:pt x="2309127" y="196113"/>
                  </a:lnTo>
                  <a:lnTo>
                    <a:pt x="2309127" y="198831"/>
                  </a:lnTo>
                  <a:lnTo>
                    <a:pt x="2309178" y="198831"/>
                  </a:lnTo>
                  <a:lnTo>
                    <a:pt x="2309178" y="196799"/>
                  </a:lnTo>
                  <a:lnTo>
                    <a:pt x="2309178" y="200228"/>
                  </a:lnTo>
                  <a:lnTo>
                    <a:pt x="2309229" y="200228"/>
                  </a:lnTo>
                  <a:lnTo>
                    <a:pt x="2309229" y="198831"/>
                  </a:lnTo>
                  <a:lnTo>
                    <a:pt x="2309229" y="200876"/>
                  </a:lnTo>
                  <a:lnTo>
                    <a:pt x="2309229" y="200228"/>
                  </a:lnTo>
                  <a:lnTo>
                    <a:pt x="2309229" y="200876"/>
                  </a:lnTo>
                  <a:lnTo>
                    <a:pt x="2309318" y="200876"/>
                  </a:lnTo>
                  <a:lnTo>
                    <a:pt x="2309318" y="200228"/>
                  </a:lnTo>
                  <a:lnTo>
                    <a:pt x="2309318" y="200876"/>
                  </a:lnTo>
                  <a:lnTo>
                    <a:pt x="2309318" y="200228"/>
                  </a:lnTo>
                  <a:lnTo>
                    <a:pt x="2309318" y="200876"/>
                  </a:lnTo>
                  <a:lnTo>
                    <a:pt x="2309318" y="200228"/>
                  </a:lnTo>
                  <a:lnTo>
                    <a:pt x="2309369" y="200876"/>
                  </a:lnTo>
                  <a:lnTo>
                    <a:pt x="2309369" y="200228"/>
                  </a:lnTo>
                  <a:lnTo>
                    <a:pt x="2309369" y="200876"/>
                  </a:lnTo>
                  <a:lnTo>
                    <a:pt x="2309369" y="200228"/>
                  </a:lnTo>
                  <a:lnTo>
                    <a:pt x="2309369" y="200876"/>
                  </a:lnTo>
                  <a:lnTo>
                    <a:pt x="2309369" y="200228"/>
                  </a:lnTo>
                  <a:lnTo>
                    <a:pt x="2309369" y="202260"/>
                  </a:lnTo>
                  <a:lnTo>
                    <a:pt x="2309369" y="200876"/>
                  </a:lnTo>
                  <a:lnTo>
                    <a:pt x="2309369" y="202260"/>
                  </a:lnTo>
                  <a:lnTo>
                    <a:pt x="2309369" y="200876"/>
                  </a:lnTo>
                  <a:lnTo>
                    <a:pt x="2309419" y="200876"/>
                  </a:lnTo>
                  <a:lnTo>
                    <a:pt x="2309419" y="200228"/>
                  </a:lnTo>
                  <a:lnTo>
                    <a:pt x="2309419" y="200876"/>
                  </a:lnTo>
                  <a:lnTo>
                    <a:pt x="2309470" y="200876"/>
                  </a:lnTo>
                  <a:lnTo>
                    <a:pt x="2309470" y="200228"/>
                  </a:lnTo>
                  <a:lnTo>
                    <a:pt x="2309470" y="200876"/>
                  </a:lnTo>
                  <a:lnTo>
                    <a:pt x="2309470" y="200228"/>
                  </a:lnTo>
                  <a:lnTo>
                    <a:pt x="2309470" y="200876"/>
                  </a:lnTo>
                  <a:lnTo>
                    <a:pt x="2309470" y="200228"/>
                  </a:lnTo>
                  <a:lnTo>
                    <a:pt x="2309470" y="200876"/>
                  </a:lnTo>
                  <a:lnTo>
                    <a:pt x="2309470" y="200228"/>
                  </a:lnTo>
                  <a:lnTo>
                    <a:pt x="2309470" y="200876"/>
                  </a:lnTo>
                  <a:lnTo>
                    <a:pt x="2309470" y="200228"/>
                  </a:lnTo>
                  <a:lnTo>
                    <a:pt x="2309572" y="200228"/>
                  </a:lnTo>
                  <a:lnTo>
                    <a:pt x="2309572" y="199530"/>
                  </a:lnTo>
                  <a:lnTo>
                    <a:pt x="2309572" y="200228"/>
                  </a:lnTo>
                  <a:lnTo>
                    <a:pt x="2309572" y="199530"/>
                  </a:lnTo>
                  <a:lnTo>
                    <a:pt x="2309572" y="200228"/>
                  </a:lnTo>
                  <a:lnTo>
                    <a:pt x="2309572" y="198831"/>
                  </a:lnTo>
                  <a:lnTo>
                    <a:pt x="2309572" y="199530"/>
                  </a:lnTo>
                  <a:lnTo>
                    <a:pt x="2309572" y="198831"/>
                  </a:lnTo>
                  <a:lnTo>
                    <a:pt x="2309622" y="198831"/>
                  </a:lnTo>
                  <a:lnTo>
                    <a:pt x="2309622" y="197447"/>
                  </a:lnTo>
                  <a:lnTo>
                    <a:pt x="2309622" y="199530"/>
                  </a:lnTo>
                  <a:lnTo>
                    <a:pt x="2309622" y="198831"/>
                  </a:lnTo>
                  <a:lnTo>
                    <a:pt x="2309673" y="198831"/>
                  </a:lnTo>
                  <a:lnTo>
                    <a:pt x="2309673" y="197447"/>
                  </a:lnTo>
                  <a:lnTo>
                    <a:pt x="2309673" y="200876"/>
                  </a:lnTo>
                  <a:lnTo>
                    <a:pt x="2309673" y="198831"/>
                  </a:lnTo>
                  <a:lnTo>
                    <a:pt x="2309775" y="198831"/>
                  </a:lnTo>
                  <a:lnTo>
                    <a:pt x="2309775" y="200876"/>
                  </a:lnTo>
                  <a:lnTo>
                    <a:pt x="2309775" y="200228"/>
                  </a:lnTo>
                  <a:lnTo>
                    <a:pt x="2309813" y="200228"/>
                  </a:lnTo>
                  <a:lnTo>
                    <a:pt x="2309813" y="200876"/>
                  </a:lnTo>
                  <a:lnTo>
                    <a:pt x="2309813" y="200228"/>
                  </a:lnTo>
                  <a:lnTo>
                    <a:pt x="2309864" y="200228"/>
                  </a:lnTo>
                  <a:lnTo>
                    <a:pt x="2309864" y="200876"/>
                  </a:lnTo>
                  <a:lnTo>
                    <a:pt x="2309864" y="200228"/>
                  </a:lnTo>
                  <a:lnTo>
                    <a:pt x="2309864" y="200876"/>
                  </a:lnTo>
                  <a:lnTo>
                    <a:pt x="2309864" y="200228"/>
                  </a:lnTo>
                  <a:lnTo>
                    <a:pt x="2309864" y="200876"/>
                  </a:lnTo>
                  <a:lnTo>
                    <a:pt x="2309864" y="200228"/>
                  </a:lnTo>
                  <a:lnTo>
                    <a:pt x="2309864" y="200876"/>
                  </a:lnTo>
                  <a:lnTo>
                    <a:pt x="2309915" y="200876"/>
                  </a:lnTo>
                  <a:lnTo>
                    <a:pt x="2309915" y="200228"/>
                  </a:lnTo>
                  <a:lnTo>
                    <a:pt x="2309915" y="200876"/>
                  </a:lnTo>
                  <a:lnTo>
                    <a:pt x="2309915" y="200228"/>
                  </a:lnTo>
                  <a:lnTo>
                    <a:pt x="2309915" y="200876"/>
                  </a:lnTo>
                  <a:lnTo>
                    <a:pt x="2310016" y="200876"/>
                  </a:lnTo>
                  <a:lnTo>
                    <a:pt x="2310016" y="200228"/>
                  </a:lnTo>
                  <a:lnTo>
                    <a:pt x="2310016" y="200876"/>
                  </a:lnTo>
                  <a:lnTo>
                    <a:pt x="2310016" y="200228"/>
                  </a:lnTo>
                  <a:lnTo>
                    <a:pt x="2310016" y="200876"/>
                  </a:lnTo>
                  <a:lnTo>
                    <a:pt x="2310016" y="200228"/>
                  </a:lnTo>
                  <a:lnTo>
                    <a:pt x="2310016" y="200876"/>
                  </a:lnTo>
                  <a:lnTo>
                    <a:pt x="2310016" y="200228"/>
                  </a:lnTo>
                  <a:lnTo>
                    <a:pt x="2310016" y="200876"/>
                  </a:lnTo>
                  <a:lnTo>
                    <a:pt x="2310016" y="200228"/>
                  </a:lnTo>
                  <a:lnTo>
                    <a:pt x="2310067" y="200228"/>
                  </a:lnTo>
                  <a:lnTo>
                    <a:pt x="2310067" y="197447"/>
                  </a:lnTo>
                  <a:lnTo>
                    <a:pt x="2310067" y="198831"/>
                  </a:lnTo>
                  <a:lnTo>
                    <a:pt x="2310067" y="197447"/>
                  </a:lnTo>
                  <a:lnTo>
                    <a:pt x="2310067" y="198831"/>
                  </a:lnTo>
                  <a:lnTo>
                    <a:pt x="2310067" y="197447"/>
                  </a:lnTo>
                  <a:lnTo>
                    <a:pt x="2310067" y="198831"/>
                  </a:lnTo>
                  <a:lnTo>
                    <a:pt x="2310067" y="197447"/>
                  </a:lnTo>
                  <a:lnTo>
                    <a:pt x="2310118" y="197447"/>
                  </a:lnTo>
                  <a:lnTo>
                    <a:pt x="2310118" y="196799"/>
                  </a:lnTo>
                  <a:lnTo>
                    <a:pt x="2310118" y="198831"/>
                  </a:lnTo>
                  <a:lnTo>
                    <a:pt x="2310118" y="197447"/>
                  </a:lnTo>
                  <a:lnTo>
                    <a:pt x="2310219" y="196799"/>
                  </a:lnTo>
                  <a:lnTo>
                    <a:pt x="2310219" y="196113"/>
                  </a:lnTo>
                  <a:lnTo>
                    <a:pt x="2310219" y="200228"/>
                  </a:lnTo>
                  <a:lnTo>
                    <a:pt x="2310219" y="197447"/>
                  </a:lnTo>
                  <a:lnTo>
                    <a:pt x="2310219" y="198831"/>
                  </a:lnTo>
                  <a:lnTo>
                    <a:pt x="2310270" y="198831"/>
                  </a:lnTo>
                  <a:lnTo>
                    <a:pt x="2310270" y="200228"/>
                  </a:lnTo>
                  <a:lnTo>
                    <a:pt x="2310321" y="199530"/>
                  </a:lnTo>
                  <a:lnTo>
                    <a:pt x="2310321" y="200876"/>
                  </a:lnTo>
                  <a:lnTo>
                    <a:pt x="2310321" y="200228"/>
                  </a:lnTo>
                  <a:lnTo>
                    <a:pt x="2310321" y="200876"/>
                  </a:lnTo>
                  <a:lnTo>
                    <a:pt x="2310321" y="199530"/>
                  </a:lnTo>
                  <a:lnTo>
                    <a:pt x="2310321" y="200228"/>
                  </a:lnTo>
                  <a:lnTo>
                    <a:pt x="2310359" y="200228"/>
                  </a:lnTo>
                  <a:lnTo>
                    <a:pt x="2310359" y="200876"/>
                  </a:lnTo>
                  <a:lnTo>
                    <a:pt x="2310359" y="200228"/>
                  </a:lnTo>
                  <a:lnTo>
                    <a:pt x="2310359" y="200876"/>
                  </a:lnTo>
                  <a:lnTo>
                    <a:pt x="2310359" y="200228"/>
                  </a:lnTo>
                  <a:lnTo>
                    <a:pt x="2310359" y="200876"/>
                  </a:lnTo>
                  <a:lnTo>
                    <a:pt x="2310359" y="200228"/>
                  </a:lnTo>
                  <a:lnTo>
                    <a:pt x="2310359" y="200876"/>
                  </a:lnTo>
                  <a:lnTo>
                    <a:pt x="2310461" y="200876"/>
                  </a:lnTo>
                  <a:lnTo>
                    <a:pt x="2310461" y="200228"/>
                  </a:lnTo>
                  <a:lnTo>
                    <a:pt x="2310512" y="200228"/>
                  </a:lnTo>
                  <a:lnTo>
                    <a:pt x="2310512" y="200876"/>
                  </a:lnTo>
                  <a:lnTo>
                    <a:pt x="2310512" y="200228"/>
                  </a:lnTo>
                  <a:lnTo>
                    <a:pt x="2310512" y="200876"/>
                  </a:lnTo>
                  <a:lnTo>
                    <a:pt x="2310512" y="199530"/>
                  </a:lnTo>
                  <a:lnTo>
                    <a:pt x="2310562" y="199530"/>
                  </a:lnTo>
                  <a:lnTo>
                    <a:pt x="2310562" y="197447"/>
                  </a:lnTo>
                  <a:lnTo>
                    <a:pt x="2310664" y="196799"/>
                  </a:lnTo>
                  <a:lnTo>
                    <a:pt x="2310664" y="198831"/>
                  </a:lnTo>
                  <a:lnTo>
                    <a:pt x="2310664" y="196799"/>
                  </a:lnTo>
                  <a:lnTo>
                    <a:pt x="2310664" y="197447"/>
                  </a:lnTo>
                  <a:lnTo>
                    <a:pt x="2310715" y="198831"/>
                  </a:lnTo>
                  <a:lnTo>
                    <a:pt x="2310715" y="199530"/>
                  </a:lnTo>
                  <a:lnTo>
                    <a:pt x="2310715" y="197447"/>
                  </a:lnTo>
                  <a:lnTo>
                    <a:pt x="2310715" y="198831"/>
                  </a:lnTo>
                  <a:lnTo>
                    <a:pt x="2310765" y="198831"/>
                  </a:lnTo>
                  <a:lnTo>
                    <a:pt x="2310765" y="199530"/>
                  </a:lnTo>
                  <a:lnTo>
                    <a:pt x="2310765" y="198831"/>
                  </a:lnTo>
                  <a:lnTo>
                    <a:pt x="2310765" y="199530"/>
                  </a:lnTo>
                  <a:lnTo>
                    <a:pt x="2310816" y="199530"/>
                  </a:lnTo>
                  <a:lnTo>
                    <a:pt x="2310816" y="198831"/>
                  </a:lnTo>
                  <a:lnTo>
                    <a:pt x="2310816" y="199530"/>
                  </a:lnTo>
                  <a:lnTo>
                    <a:pt x="2310816" y="198831"/>
                  </a:lnTo>
                  <a:lnTo>
                    <a:pt x="2310816" y="199530"/>
                  </a:lnTo>
                  <a:lnTo>
                    <a:pt x="2310816" y="198831"/>
                  </a:lnTo>
                  <a:lnTo>
                    <a:pt x="2310816" y="199530"/>
                  </a:lnTo>
                  <a:lnTo>
                    <a:pt x="2310905" y="199530"/>
                  </a:lnTo>
                  <a:lnTo>
                    <a:pt x="2310905" y="200228"/>
                  </a:lnTo>
                  <a:lnTo>
                    <a:pt x="2310905" y="199530"/>
                  </a:lnTo>
                  <a:lnTo>
                    <a:pt x="2310905" y="200228"/>
                  </a:lnTo>
                  <a:lnTo>
                    <a:pt x="2310905" y="199530"/>
                  </a:lnTo>
                  <a:lnTo>
                    <a:pt x="2310905" y="200228"/>
                  </a:lnTo>
                  <a:lnTo>
                    <a:pt x="2310905" y="199530"/>
                  </a:lnTo>
                  <a:lnTo>
                    <a:pt x="2310905" y="200228"/>
                  </a:lnTo>
                  <a:lnTo>
                    <a:pt x="2310956" y="200228"/>
                  </a:lnTo>
                  <a:lnTo>
                    <a:pt x="2310956" y="199530"/>
                  </a:lnTo>
                  <a:lnTo>
                    <a:pt x="2310956" y="200228"/>
                  </a:lnTo>
                  <a:lnTo>
                    <a:pt x="2310956" y="199530"/>
                  </a:lnTo>
                  <a:lnTo>
                    <a:pt x="2310956" y="200228"/>
                  </a:lnTo>
                  <a:lnTo>
                    <a:pt x="2311007" y="200228"/>
                  </a:lnTo>
                  <a:lnTo>
                    <a:pt x="2311007" y="199530"/>
                  </a:lnTo>
                  <a:lnTo>
                    <a:pt x="2311007" y="200228"/>
                  </a:lnTo>
                  <a:lnTo>
                    <a:pt x="2311007" y="198831"/>
                  </a:lnTo>
                  <a:lnTo>
                    <a:pt x="2311058" y="198831"/>
                  </a:lnTo>
                  <a:lnTo>
                    <a:pt x="2311058" y="197447"/>
                  </a:lnTo>
                  <a:lnTo>
                    <a:pt x="2311058" y="198831"/>
                  </a:lnTo>
                  <a:lnTo>
                    <a:pt x="2311058" y="196799"/>
                  </a:lnTo>
                  <a:lnTo>
                    <a:pt x="2311058" y="198831"/>
                  </a:lnTo>
                  <a:lnTo>
                    <a:pt x="2311058" y="197447"/>
                  </a:lnTo>
                  <a:lnTo>
                    <a:pt x="2311058" y="198831"/>
                  </a:lnTo>
                  <a:lnTo>
                    <a:pt x="2311058" y="197447"/>
                  </a:lnTo>
                  <a:lnTo>
                    <a:pt x="2311159" y="197447"/>
                  </a:lnTo>
                  <a:lnTo>
                    <a:pt x="2311159" y="198831"/>
                  </a:lnTo>
                  <a:lnTo>
                    <a:pt x="2311159" y="196799"/>
                  </a:lnTo>
                  <a:lnTo>
                    <a:pt x="2311159" y="200228"/>
                  </a:lnTo>
                  <a:lnTo>
                    <a:pt x="2311210" y="199530"/>
                  </a:lnTo>
                  <a:lnTo>
                    <a:pt x="2311210" y="200228"/>
                  </a:lnTo>
                  <a:lnTo>
                    <a:pt x="2311210" y="199530"/>
                  </a:lnTo>
                  <a:lnTo>
                    <a:pt x="2311210" y="200228"/>
                  </a:lnTo>
                  <a:lnTo>
                    <a:pt x="2311261" y="200228"/>
                  </a:lnTo>
                  <a:lnTo>
                    <a:pt x="2311261" y="199530"/>
                  </a:lnTo>
                  <a:lnTo>
                    <a:pt x="2311261" y="200876"/>
                  </a:lnTo>
                  <a:lnTo>
                    <a:pt x="2311261" y="200228"/>
                  </a:lnTo>
                  <a:lnTo>
                    <a:pt x="2311261" y="200876"/>
                  </a:lnTo>
                  <a:lnTo>
                    <a:pt x="2311261" y="200228"/>
                  </a:lnTo>
                  <a:lnTo>
                    <a:pt x="2311362" y="200228"/>
                  </a:lnTo>
                  <a:lnTo>
                    <a:pt x="2311362" y="199530"/>
                  </a:lnTo>
                  <a:lnTo>
                    <a:pt x="2311362" y="200228"/>
                  </a:lnTo>
                  <a:lnTo>
                    <a:pt x="2311400" y="200228"/>
                  </a:lnTo>
                  <a:lnTo>
                    <a:pt x="2311400" y="200876"/>
                  </a:lnTo>
                  <a:lnTo>
                    <a:pt x="2311451" y="200876"/>
                  </a:lnTo>
                  <a:lnTo>
                    <a:pt x="2311451" y="200228"/>
                  </a:lnTo>
                  <a:lnTo>
                    <a:pt x="2311451" y="200876"/>
                  </a:lnTo>
                  <a:lnTo>
                    <a:pt x="2311451" y="199530"/>
                  </a:lnTo>
                  <a:lnTo>
                    <a:pt x="2311451" y="200228"/>
                  </a:lnTo>
                  <a:lnTo>
                    <a:pt x="2311502" y="200228"/>
                  </a:lnTo>
                  <a:lnTo>
                    <a:pt x="2311502" y="200876"/>
                  </a:lnTo>
                  <a:lnTo>
                    <a:pt x="2311502" y="199530"/>
                  </a:lnTo>
                  <a:lnTo>
                    <a:pt x="2311502" y="200228"/>
                  </a:lnTo>
                  <a:lnTo>
                    <a:pt x="2311502" y="199530"/>
                  </a:lnTo>
                  <a:lnTo>
                    <a:pt x="2311604" y="199530"/>
                  </a:lnTo>
                  <a:lnTo>
                    <a:pt x="2311604" y="198831"/>
                  </a:lnTo>
                  <a:lnTo>
                    <a:pt x="2311604" y="199530"/>
                  </a:lnTo>
                  <a:lnTo>
                    <a:pt x="2311604" y="197447"/>
                  </a:lnTo>
                  <a:lnTo>
                    <a:pt x="2311604" y="199530"/>
                  </a:lnTo>
                  <a:lnTo>
                    <a:pt x="2311655" y="198831"/>
                  </a:lnTo>
                  <a:lnTo>
                    <a:pt x="2311655" y="200876"/>
                  </a:lnTo>
                  <a:lnTo>
                    <a:pt x="2311705" y="200228"/>
                  </a:lnTo>
                  <a:lnTo>
                    <a:pt x="2311705" y="200876"/>
                  </a:lnTo>
                  <a:lnTo>
                    <a:pt x="2311705" y="200228"/>
                  </a:lnTo>
                  <a:lnTo>
                    <a:pt x="2311807" y="200228"/>
                  </a:lnTo>
                  <a:lnTo>
                    <a:pt x="2311807" y="200876"/>
                  </a:lnTo>
                  <a:lnTo>
                    <a:pt x="2311858" y="200876"/>
                  </a:lnTo>
                  <a:lnTo>
                    <a:pt x="2311858" y="200228"/>
                  </a:lnTo>
                  <a:lnTo>
                    <a:pt x="2311858" y="200876"/>
                  </a:lnTo>
                  <a:lnTo>
                    <a:pt x="2311858" y="200228"/>
                  </a:lnTo>
                  <a:lnTo>
                    <a:pt x="2311858" y="200876"/>
                  </a:lnTo>
                  <a:lnTo>
                    <a:pt x="2311858" y="200228"/>
                  </a:lnTo>
                  <a:lnTo>
                    <a:pt x="2311858" y="200876"/>
                  </a:lnTo>
                  <a:lnTo>
                    <a:pt x="2311909" y="200876"/>
                  </a:lnTo>
                  <a:lnTo>
                    <a:pt x="2311909" y="200228"/>
                  </a:lnTo>
                  <a:lnTo>
                    <a:pt x="2311909" y="200876"/>
                  </a:lnTo>
                  <a:lnTo>
                    <a:pt x="2311909" y="200228"/>
                  </a:lnTo>
                  <a:lnTo>
                    <a:pt x="2311947" y="200228"/>
                  </a:lnTo>
                  <a:lnTo>
                    <a:pt x="2311947" y="200876"/>
                  </a:lnTo>
                  <a:lnTo>
                    <a:pt x="2311947" y="199530"/>
                  </a:lnTo>
                  <a:lnTo>
                    <a:pt x="2312048" y="199530"/>
                  </a:lnTo>
                  <a:lnTo>
                    <a:pt x="2312048" y="196799"/>
                  </a:lnTo>
                  <a:lnTo>
                    <a:pt x="2312099" y="196799"/>
                  </a:lnTo>
                  <a:lnTo>
                    <a:pt x="2312099" y="199530"/>
                  </a:lnTo>
                  <a:lnTo>
                    <a:pt x="2312099" y="196799"/>
                  </a:lnTo>
                  <a:lnTo>
                    <a:pt x="2312150" y="196799"/>
                  </a:lnTo>
                  <a:lnTo>
                    <a:pt x="2312150" y="200228"/>
                  </a:lnTo>
                  <a:lnTo>
                    <a:pt x="2312150" y="198831"/>
                  </a:lnTo>
                  <a:lnTo>
                    <a:pt x="2312251" y="199530"/>
                  </a:lnTo>
                  <a:lnTo>
                    <a:pt x="2312251" y="200228"/>
                  </a:lnTo>
                  <a:lnTo>
                    <a:pt x="2312251" y="199530"/>
                  </a:lnTo>
                  <a:lnTo>
                    <a:pt x="2312251" y="200228"/>
                  </a:lnTo>
                  <a:lnTo>
                    <a:pt x="2312251" y="199530"/>
                  </a:lnTo>
                  <a:lnTo>
                    <a:pt x="2312302" y="199530"/>
                  </a:lnTo>
                  <a:lnTo>
                    <a:pt x="2312302" y="200228"/>
                  </a:lnTo>
                  <a:lnTo>
                    <a:pt x="2312302" y="199530"/>
                  </a:lnTo>
                  <a:lnTo>
                    <a:pt x="2312302" y="200228"/>
                  </a:lnTo>
                  <a:lnTo>
                    <a:pt x="2312302" y="199530"/>
                  </a:lnTo>
                  <a:lnTo>
                    <a:pt x="2312302" y="200228"/>
                  </a:lnTo>
                  <a:lnTo>
                    <a:pt x="2312353" y="200228"/>
                  </a:lnTo>
                  <a:lnTo>
                    <a:pt x="2312353" y="200876"/>
                  </a:lnTo>
                  <a:lnTo>
                    <a:pt x="2312353" y="200228"/>
                  </a:lnTo>
                  <a:lnTo>
                    <a:pt x="2312353" y="200876"/>
                  </a:lnTo>
                  <a:lnTo>
                    <a:pt x="2312353" y="200228"/>
                  </a:lnTo>
                  <a:lnTo>
                    <a:pt x="2312353" y="200876"/>
                  </a:lnTo>
                  <a:lnTo>
                    <a:pt x="2312493" y="200876"/>
                  </a:lnTo>
                  <a:lnTo>
                    <a:pt x="2312493" y="198831"/>
                  </a:lnTo>
                  <a:lnTo>
                    <a:pt x="2312544" y="198831"/>
                  </a:lnTo>
                  <a:lnTo>
                    <a:pt x="2312544" y="197447"/>
                  </a:lnTo>
                  <a:lnTo>
                    <a:pt x="2312544" y="198831"/>
                  </a:lnTo>
                  <a:lnTo>
                    <a:pt x="2312544" y="197447"/>
                  </a:lnTo>
                  <a:lnTo>
                    <a:pt x="2312544" y="198831"/>
                  </a:lnTo>
                  <a:lnTo>
                    <a:pt x="2312544" y="197447"/>
                  </a:lnTo>
                  <a:lnTo>
                    <a:pt x="2312544" y="198831"/>
                  </a:lnTo>
                  <a:lnTo>
                    <a:pt x="2312544" y="197447"/>
                  </a:lnTo>
                  <a:lnTo>
                    <a:pt x="2312544" y="198831"/>
                  </a:lnTo>
                  <a:lnTo>
                    <a:pt x="2312594" y="198831"/>
                  </a:lnTo>
                  <a:lnTo>
                    <a:pt x="2312594" y="197447"/>
                  </a:lnTo>
                  <a:lnTo>
                    <a:pt x="2312594" y="198831"/>
                  </a:lnTo>
                  <a:lnTo>
                    <a:pt x="2312594" y="197447"/>
                  </a:lnTo>
                  <a:lnTo>
                    <a:pt x="2312594" y="200228"/>
                  </a:lnTo>
                  <a:lnTo>
                    <a:pt x="2312645" y="200228"/>
                  </a:lnTo>
                  <a:lnTo>
                    <a:pt x="2312645" y="199530"/>
                  </a:lnTo>
                  <a:lnTo>
                    <a:pt x="2312645" y="200876"/>
                  </a:lnTo>
                  <a:lnTo>
                    <a:pt x="2312747" y="200876"/>
                  </a:lnTo>
                  <a:lnTo>
                    <a:pt x="2312747" y="199530"/>
                  </a:lnTo>
                  <a:lnTo>
                    <a:pt x="2312747" y="200228"/>
                  </a:lnTo>
                  <a:lnTo>
                    <a:pt x="2312747" y="199530"/>
                  </a:lnTo>
                  <a:lnTo>
                    <a:pt x="2312747" y="200228"/>
                  </a:lnTo>
                  <a:lnTo>
                    <a:pt x="2312797" y="200228"/>
                  </a:lnTo>
                  <a:lnTo>
                    <a:pt x="2312797" y="199530"/>
                  </a:lnTo>
                  <a:lnTo>
                    <a:pt x="2312797" y="200876"/>
                  </a:lnTo>
                  <a:lnTo>
                    <a:pt x="2312797" y="200228"/>
                  </a:lnTo>
                  <a:lnTo>
                    <a:pt x="2312848" y="200228"/>
                  </a:lnTo>
                  <a:lnTo>
                    <a:pt x="2312848" y="200876"/>
                  </a:lnTo>
                  <a:lnTo>
                    <a:pt x="2312848" y="200228"/>
                  </a:lnTo>
                  <a:lnTo>
                    <a:pt x="2312950" y="200228"/>
                  </a:lnTo>
                  <a:lnTo>
                    <a:pt x="2312950" y="200876"/>
                  </a:lnTo>
                  <a:lnTo>
                    <a:pt x="2312950" y="200228"/>
                  </a:lnTo>
                  <a:lnTo>
                    <a:pt x="2312950" y="200876"/>
                  </a:lnTo>
                  <a:lnTo>
                    <a:pt x="2312950" y="200228"/>
                  </a:lnTo>
                  <a:lnTo>
                    <a:pt x="2312950" y="200876"/>
                  </a:lnTo>
                  <a:lnTo>
                    <a:pt x="2312950" y="200228"/>
                  </a:lnTo>
                  <a:lnTo>
                    <a:pt x="2312988" y="200876"/>
                  </a:lnTo>
                  <a:lnTo>
                    <a:pt x="2312988" y="197447"/>
                  </a:lnTo>
                  <a:lnTo>
                    <a:pt x="2313039" y="197447"/>
                  </a:lnTo>
                  <a:lnTo>
                    <a:pt x="2313039" y="196799"/>
                  </a:lnTo>
                  <a:lnTo>
                    <a:pt x="2313039" y="197447"/>
                  </a:lnTo>
                  <a:lnTo>
                    <a:pt x="2313039" y="196113"/>
                  </a:lnTo>
                  <a:lnTo>
                    <a:pt x="2313039" y="196799"/>
                  </a:lnTo>
                  <a:lnTo>
                    <a:pt x="2313090" y="196799"/>
                  </a:lnTo>
                  <a:lnTo>
                    <a:pt x="2313090" y="197447"/>
                  </a:lnTo>
                  <a:lnTo>
                    <a:pt x="2313090" y="196799"/>
                  </a:lnTo>
                  <a:lnTo>
                    <a:pt x="2313090" y="199530"/>
                  </a:lnTo>
                  <a:lnTo>
                    <a:pt x="2313191" y="199530"/>
                  </a:lnTo>
                  <a:lnTo>
                    <a:pt x="2313191" y="198831"/>
                  </a:lnTo>
                  <a:lnTo>
                    <a:pt x="2313191" y="200228"/>
                  </a:lnTo>
                  <a:lnTo>
                    <a:pt x="2313242" y="200228"/>
                  </a:lnTo>
                  <a:lnTo>
                    <a:pt x="2313242" y="198831"/>
                  </a:lnTo>
                  <a:lnTo>
                    <a:pt x="2313242" y="200228"/>
                  </a:lnTo>
                  <a:lnTo>
                    <a:pt x="2313242" y="199530"/>
                  </a:lnTo>
                  <a:lnTo>
                    <a:pt x="2313242" y="200228"/>
                  </a:lnTo>
                  <a:lnTo>
                    <a:pt x="2313293" y="200228"/>
                  </a:lnTo>
                  <a:lnTo>
                    <a:pt x="2313293" y="199530"/>
                  </a:lnTo>
                  <a:lnTo>
                    <a:pt x="2313293" y="200228"/>
                  </a:lnTo>
                  <a:lnTo>
                    <a:pt x="2313293" y="199530"/>
                  </a:lnTo>
                  <a:lnTo>
                    <a:pt x="2313293" y="200228"/>
                  </a:lnTo>
                  <a:lnTo>
                    <a:pt x="2313293" y="199530"/>
                  </a:lnTo>
                  <a:lnTo>
                    <a:pt x="2313293" y="200228"/>
                  </a:lnTo>
                  <a:lnTo>
                    <a:pt x="2313293" y="199530"/>
                  </a:lnTo>
                  <a:lnTo>
                    <a:pt x="2313293" y="200876"/>
                  </a:lnTo>
                  <a:lnTo>
                    <a:pt x="2313394" y="200228"/>
                  </a:lnTo>
                  <a:lnTo>
                    <a:pt x="2313394" y="200876"/>
                  </a:lnTo>
                  <a:lnTo>
                    <a:pt x="2313394" y="200228"/>
                  </a:lnTo>
                  <a:lnTo>
                    <a:pt x="2313394" y="200876"/>
                  </a:lnTo>
                  <a:lnTo>
                    <a:pt x="2313445" y="200876"/>
                  </a:lnTo>
                  <a:lnTo>
                    <a:pt x="2313445" y="200228"/>
                  </a:lnTo>
                  <a:lnTo>
                    <a:pt x="2313445" y="200876"/>
                  </a:lnTo>
                  <a:lnTo>
                    <a:pt x="2313445" y="200228"/>
                  </a:lnTo>
                  <a:lnTo>
                    <a:pt x="2313445" y="200876"/>
                  </a:lnTo>
                  <a:lnTo>
                    <a:pt x="2313445" y="200228"/>
                  </a:lnTo>
                  <a:lnTo>
                    <a:pt x="2313445" y="200876"/>
                  </a:lnTo>
                  <a:lnTo>
                    <a:pt x="2313445" y="200228"/>
                  </a:lnTo>
                  <a:lnTo>
                    <a:pt x="2313496" y="200876"/>
                  </a:lnTo>
                  <a:lnTo>
                    <a:pt x="2313496" y="200228"/>
                  </a:lnTo>
                  <a:lnTo>
                    <a:pt x="2313496" y="200876"/>
                  </a:lnTo>
                  <a:lnTo>
                    <a:pt x="2313496" y="199530"/>
                  </a:lnTo>
                  <a:lnTo>
                    <a:pt x="2313496" y="200228"/>
                  </a:lnTo>
                  <a:lnTo>
                    <a:pt x="2313496" y="198831"/>
                  </a:lnTo>
                  <a:lnTo>
                    <a:pt x="2313496" y="199530"/>
                  </a:lnTo>
                  <a:lnTo>
                    <a:pt x="2313496" y="198831"/>
                  </a:lnTo>
                  <a:lnTo>
                    <a:pt x="2313534" y="198831"/>
                  </a:lnTo>
                  <a:lnTo>
                    <a:pt x="2313534" y="196799"/>
                  </a:lnTo>
                  <a:lnTo>
                    <a:pt x="2313534" y="197447"/>
                  </a:lnTo>
                  <a:lnTo>
                    <a:pt x="2313636" y="197447"/>
                  </a:lnTo>
                  <a:lnTo>
                    <a:pt x="2313636" y="196799"/>
                  </a:lnTo>
                  <a:lnTo>
                    <a:pt x="2313636" y="200228"/>
                  </a:lnTo>
                  <a:lnTo>
                    <a:pt x="2313636" y="199530"/>
                  </a:lnTo>
                  <a:lnTo>
                    <a:pt x="2313636" y="200228"/>
                  </a:lnTo>
                  <a:lnTo>
                    <a:pt x="2313636" y="198831"/>
                  </a:lnTo>
                  <a:lnTo>
                    <a:pt x="2313687" y="198831"/>
                  </a:lnTo>
                  <a:lnTo>
                    <a:pt x="2313687" y="197447"/>
                  </a:lnTo>
                  <a:lnTo>
                    <a:pt x="2313687" y="199530"/>
                  </a:lnTo>
                  <a:lnTo>
                    <a:pt x="2313687" y="198831"/>
                  </a:lnTo>
                  <a:lnTo>
                    <a:pt x="2313737" y="198831"/>
                  </a:lnTo>
                  <a:lnTo>
                    <a:pt x="2313737" y="197447"/>
                  </a:lnTo>
                  <a:lnTo>
                    <a:pt x="2313737" y="198831"/>
                  </a:lnTo>
                  <a:lnTo>
                    <a:pt x="2313839" y="198831"/>
                  </a:lnTo>
                  <a:lnTo>
                    <a:pt x="2313839" y="199530"/>
                  </a:lnTo>
                  <a:lnTo>
                    <a:pt x="2313890" y="199530"/>
                  </a:lnTo>
                  <a:lnTo>
                    <a:pt x="2313890" y="200228"/>
                  </a:lnTo>
                  <a:lnTo>
                    <a:pt x="2313890" y="199530"/>
                  </a:lnTo>
                  <a:lnTo>
                    <a:pt x="2313890" y="200228"/>
                  </a:lnTo>
                  <a:lnTo>
                    <a:pt x="2313940" y="200228"/>
                  </a:lnTo>
                  <a:lnTo>
                    <a:pt x="2313940" y="199530"/>
                  </a:lnTo>
                  <a:lnTo>
                    <a:pt x="2313940" y="200228"/>
                  </a:lnTo>
                  <a:lnTo>
                    <a:pt x="2313940" y="199530"/>
                  </a:lnTo>
                  <a:lnTo>
                    <a:pt x="2313940" y="200228"/>
                  </a:lnTo>
                  <a:lnTo>
                    <a:pt x="2313940" y="199530"/>
                  </a:lnTo>
                  <a:lnTo>
                    <a:pt x="2313991" y="199530"/>
                  </a:lnTo>
                  <a:lnTo>
                    <a:pt x="2313991" y="198831"/>
                  </a:lnTo>
                  <a:lnTo>
                    <a:pt x="2313991" y="199530"/>
                  </a:lnTo>
                  <a:lnTo>
                    <a:pt x="2313991" y="197447"/>
                  </a:lnTo>
                  <a:lnTo>
                    <a:pt x="2313991" y="198831"/>
                  </a:lnTo>
                  <a:lnTo>
                    <a:pt x="2313991" y="196799"/>
                  </a:lnTo>
                  <a:lnTo>
                    <a:pt x="2314080" y="196799"/>
                  </a:lnTo>
                  <a:lnTo>
                    <a:pt x="2314080" y="198831"/>
                  </a:lnTo>
                  <a:lnTo>
                    <a:pt x="2314080" y="197447"/>
                  </a:lnTo>
                  <a:lnTo>
                    <a:pt x="2314131" y="197447"/>
                  </a:lnTo>
                  <a:lnTo>
                    <a:pt x="2314131" y="200876"/>
                  </a:lnTo>
                  <a:lnTo>
                    <a:pt x="2314131" y="198831"/>
                  </a:lnTo>
                  <a:lnTo>
                    <a:pt x="2314182" y="198831"/>
                  </a:lnTo>
                  <a:lnTo>
                    <a:pt x="2314182" y="200228"/>
                  </a:lnTo>
                  <a:lnTo>
                    <a:pt x="2314182" y="199530"/>
                  </a:lnTo>
                  <a:lnTo>
                    <a:pt x="2314233" y="199530"/>
                  </a:lnTo>
                  <a:lnTo>
                    <a:pt x="2314334" y="200228"/>
                  </a:lnTo>
                  <a:lnTo>
                    <a:pt x="2314334" y="199530"/>
                  </a:lnTo>
                  <a:lnTo>
                    <a:pt x="2314334" y="200876"/>
                  </a:lnTo>
                  <a:lnTo>
                    <a:pt x="2314334" y="200228"/>
                  </a:lnTo>
                  <a:lnTo>
                    <a:pt x="2314385" y="200228"/>
                  </a:lnTo>
                  <a:lnTo>
                    <a:pt x="2314385" y="200876"/>
                  </a:lnTo>
                  <a:lnTo>
                    <a:pt x="2314385" y="200228"/>
                  </a:lnTo>
                  <a:lnTo>
                    <a:pt x="2314385" y="200876"/>
                  </a:lnTo>
                  <a:lnTo>
                    <a:pt x="2314385" y="200228"/>
                  </a:lnTo>
                  <a:lnTo>
                    <a:pt x="2314385" y="200876"/>
                  </a:lnTo>
                  <a:lnTo>
                    <a:pt x="2314385" y="200228"/>
                  </a:lnTo>
                  <a:lnTo>
                    <a:pt x="2314436" y="200228"/>
                  </a:lnTo>
                  <a:lnTo>
                    <a:pt x="2314436" y="199530"/>
                  </a:lnTo>
                  <a:lnTo>
                    <a:pt x="2314537" y="199530"/>
                  </a:lnTo>
                  <a:lnTo>
                    <a:pt x="2314537" y="196799"/>
                  </a:lnTo>
                  <a:lnTo>
                    <a:pt x="2314575" y="197447"/>
                  </a:lnTo>
                  <a:lnTo>
                    <a:pt x="2314575" y="196799"/>
                  </a:lnTo>
                  <a:lnTo>
                    <a:pt x="2314575" y="200228"/>
                  </a:lnTo>
                  <a:lnTo>
                    <a:pt x="2314575" y="196799"/>
                  </a:lnTo>
                  <a:lnTo>
                    <a:pt x="2314575" y="197447"/>
                  </a:lnTo>
                  <a:lnTo>
                    <a:pt x="2314626" y="198831"/>
                  </a:lnTo>
                  <a:lnTo>
                    <a:pt x="2314626" y="202260"/>
                  </a:lnTo>
                  <a:lnTo>
                    <a:pt x="2314626" y="199530"/>
                  </a:lnTo>
                  <a:lnTo>
                    <a:pt x="2314677" y="200228"/>
                  </a:lnTo>
                  <a:lnTo>
                    <a:pt x="2314677" y="200876"/>
                  </a:lnTo>
                  <a:lnTo>
                    <a:pt x="2314677" y="199530"/>
                  </a:lnTo>
                  <a:lnTo>
                    <a:pt x="2314677" y="200228"/>
                  </a:lnTo>
                  <a:lnTo>
                    <a:pt x="2314779" y="200228"/>
                  </a:lnTo>
                  <a:lnTo>
                    <a:pt x="2314779" y="200876"/>
                  </a:lnTo>
                  <a:lnTo>
                    <a:pt x="2314779" y="199530"/>
                  </a:lnTo>
                  <a:lnTo>
                    <a:pt x="2314779" y="200228"/>
                  </a:lnTo>
                  <a:lnTo>
                    <a:pt x="2314779" y="199530"/>
                  </a:lnTo>
                  <a:lnTo>
                    <a:pt x="2314779" y="200228"/>
                  </a:lnTo>
                  <a:lnTo>
                    <a:pt x="2314830" y="200228"/>
                  </a:lnTo>
                  <a:lnTo>
                    <a:pt x="2314830" y="200876"/>
                  </a:lnTo>
                  <a:lnTo>
                    <a:pt x="2314830" y="200228"/>
                  </a:lnTo>
                  <a:lnTo>
                    <a:pt x="2314880" y="200228"/>
                  </a:lnTo>
                  <a:lnTo>
                    <a:pt x="2314880" y="200876"/>
                  </a:lnTo>
                  <a:lnTo>
                    <a:pt x="2314880" y="199530"/>
                  </a:lnTo>
                  <a:lnTo>
                    <a:pt x="2314982" y="199530"/>
                  </a:lnTo>
                  <a:lnTo>
                    <a:pt x="2314982" y="200228"/>
                  </a:lnTo>
                  <a:lnTo>
                    <a:pt x="2314982" y="198831"/>
                  </a:lnTo>
                  <a:lnTo>
                    <a:pt x="2314982" y="199530"/>
                  </a:lnTo>
                  <a:lnTo>
                    <a:pt x="2314982" y="197447"/>
                  </a:lnTo>
                  <a:lnTo>
                    <a:pt x="2314982" y="198831"/>
                  </a:lnTo>
                  <a:lnTo>
                    <a:pt x="2315033" y="198831"/>
                  </a:lnTo>
                  <a:lnTo>
                    <a:pt x="2315033" y="196113"/>
                  </a:lnTo>
                  <a:lnTo>
                    <a:pt x="2315084" y="196799"/>
                  </a:lnTo>
                  <a:lnTo>
                    <a:pt x="2315084" y="199530"/>
                  </a:lnTo>
                  <a:lnTo>
                    <a:pt x="2315084" y="196799"/>
                  </a:lnTo>
                  <a:lnTo>
                    <a:pt x="2315084" y="199530"/>
                  </a:lnTo>
                  <a:lnTo>
                    <a:pt x="2315122" y="200228"/>
                  </a:lnTo>
                  <a:lnTo>
                    <a:pt x="2315122" y="199530"/>
                  </a:lnTo>
                  <a:lnTo>
                    <a:pt x="2315122" y="200228"/>
                  </a:lnTo>
                  <a:lnTo>
                    <a:pt x="2315122" y="198831"/>
                  </a:lnTo>
                  <a:lnTo>
                    <a:pt x="2315122" y="199530"/>
                  </a:lnTo>
                  <a:lnTo>
                    <a:pt x="2315122" y="198831"/>
                  </a:lnTo>
                  <a:lnTo>
                    <a:pt x="2315122" y="199530"/>
                  </a:lnTo>
                  <a:lnTo>
                    <a:pt x="2315223" y="199530"/>
                  </a:lnTo>
                  <a:lnTo>
                    <a:pt x="2315223" y="200228"/>
                  </a:lnTo>
                  <a:lnTo>
                    <a:pt x="2315223" y="199530"/>
                  </a:lnTo>
                  <a:lnTo>
                    <a:pt x="2315223" y="200228"/>
                  </a:lnTo>
                  <a:lnTo>
                    <a:pt x="2315274" y="200228"/>
                  </a:lnTo>
                  <a:lnTo>
                    <a:pt x="2315274" y="199530"/>
                  </a:lnTo>
                  <a:lnTo>
                    <a:pt x="2315274" y="200228"/>
                  </a:lnTo>
                  <a:lnTo>
                    <a:pt x="2315274" y="199530"/>
                  </a:lnTo>
                  <a:lnTo>
                    <a:pt x="2315274" y="200228"/>
                  </a:lnTo>
                  <a:lnTo>
                    <a:pt x="2315274" y="199530"/>
                  </a:lnTo>
                  <a:lnTo>
                    <a:pt x="2315274" y="200876"/>
                  </a:lnTo>
                  <a:lnTo>
                    <a:pt x="2315274" y="200228"/>
                  </a:lnTo>
                  <a:lnTo>
                    <a:pt x="2315325" y="200228"/>
                  </a:lnTo>
                  <a:lnTo>
                    <a:pt x="2315325" y="202260"/>
                  </a:lnTo>
                  <a:lnTo>
                    <a:pt x="2315325" y="200876"/>
                  </a:lnTo>
                  <a:lnTo>
                    <a:pt x="2315426" y="200876"/>
                  </a:lnTo>
                  <a:lnTo>
                    <a:pt x="2315426" y="200228"/>
                  </a:lnTo>
                  <a:lnTo>
                    <a:pt x="2315477" y="200228"/>
                  </a:lnTo>
                  <a:lnTo>
                    <a:pt x="2315477" y="198831"/>
                  </a:lnTo>
                  <a:lnTo>
                    <a:pt x="2315477" y="199530"/>
                  </a:lnTo>
                  <a:lnTo>
                    <a:pt x="2315477" y="197447"/>
                  </a:lnTo>
                  <a:lnTo>
                    <a:pt x="2315528" y="197447"/>
                  </a:lnTo>
                  <a:lnTo>
                    <a:pt x="2315528" y="196799"/>
                  </a:lnTo>
                  <a:lnTo>
                    <a:pt x="2315528" y="197447"/>
                  </a:lnTo>
                  <a:lnTo>
                    <a:pt x="2315528" y="196799"/>
                  </a:lnTo>
                  <a:lnTo>
                    <a:pt x="2315528" y="197447"/>
                  </a:lnTo>
                  <a:lnTo>
                    <a:pt x="2315579" y="197447"/>
                  </a:lnTo>
                  <a:lnTo>
                    <a:pt x="2315579" y="198831"/>
                  </a:lnTo>
                  <a:lnTo>
                    <a:pt x="2315579" y="197447"/>
                  </a:lnTo>
                  <a:lnTo>
                    <a:pt x="2315579" y="198831"/>
                  </a:lnTo>
                  <a:lnTo>
                    <a:pt x="2315579" y="197447"/>
                  </a:lnTo>
                  <a:lnTo>
                    <a:pt x="2315579" y="199530"/>
                  </a:lnTo>
                  <a:lnTo>
                    <a:pt x="2315668" y="199530"/>
                  </a:lnTo>
                  <a:lnTo>
                    <a:pt x="2315668" y="198831"/>
                  </a:lnTo>
                  <a:lnTo>
                    <a:pt x="2315668" y="199530"/>
                  </a:lnTo>
                  <a:lnTo>
                    <a:pt x="2315668" y="197447"/>
                  </a:lnTo>
                  <a:lnTo>
                    <a:pt x="2315668" y="199530"/>
                  </a:lnTo>
                  <a:lnTo>
                    <a:pt x="2315719" y="199530"/>
                  </a:lnTo>
                  <a:lnTo>
                    <a:pt x="2315719" y="198831"/>
                  </a:lnTo>
                  <a:lnTo>
                    <a:pt x="2315719" y="200228"/>
                  </a:lnTo>
                  <a:lnTo>
                    <a:pt x="2315769" y="200228"/>
                  </a:lnTo>
                  <a:lnTo>
                    <a:pt x="2315769" y="199530"/>
                  </a:lnTo>
                  <a:lnTo>
                    <a:pt x="2315769" y="200228"/>
                  </a:lnTo>
                  <a:lnTo>
                    <a:pt x="2315820" y="200228"/>
                  </a:lnTo>
                  <a:lnTo>
                    <a:pt x="2315820" y="200876"/>
                  </a:lnTo>
                  <a:lnTo>
                    <a:pt x="2315820" y="200228"/>
                  </a:lnTo>
                  <a:lnTo>
                    <a:pt x="2315922" y="200228"/>
                  </a:lnTo>
                  <a:lnTo>
                    <a:pt x="2315922" y="199530"/>
                  </a:lnTo>
                  <a:lnTo>
                    <a:pt x="2315972" y="199530"/>
                  </a:lnTo>
                  <a:lnTo>
                    <a:pt x="2315972" y="200228"/>
                  </a:lnTo>
                  <a:lnTo>
                    <a:pt x="2315972" y="198831"/>
                  </a:lnTo>
                  <a:lnTo>
                    <a:pt x="2316023" y="198831"/>
                  </a:lnTo>
                  <a:lnTo>
                    <a:pt x="2316023" y="196799"/>
                  </a:lnTo>
                  <a:lnTo>
                    <a:pt x="2316023" y="197447"/>
                  </a:lnTo>
                  <a:lnTo>
                    <a:pt x="2316023" y="196799"/>
                  </a:lnTo>
                  <a:lnTo>
                    <a:pt x="2316023" y="197447"/>
                  </a:lnTo>
                  <a:lnTo>
                    <a:pt x="2316023" y="196799"/>
                  </a:lnTo>
                  <a:lnTo>
                    <a:pt x="2316125" y="197447"/>
                  </a:lnTo>
                  <a:lnTo>
                    <a:pt x="2316125" y="196113"/>
                  </a:lnTo>
                  <a:lnTo>
                    <a:pt x="2316125" y="198831"/>
                  </a:lnTo>
                  <a:lnTo>
                    <a:pt x="2316163" y="198831"/>
                  </a:lnTo>
                  <a:lnTo>
                    <a:pt x="2316163" y="196799"/>
                  </a:lnTo>
                  <a:lnTo>
                    <a:pt x="2316163" y="198831"/>
                  </a:lnTo>
                  <a:lnTo>
                    <a:pt x="2316214" y="198831"/>
                  </a:lnTo>
                  <a:lnTo>
                    <a:pt x="2316214" y="199530"/>
                  </a:lnTo>
                  <a:lnTo>
                    <a:pt x="2316214" y="198831"/>
                  </a:lnTo>
                  <a:lnTo>
                    <a:pt x="2316214" y="199530"/>
                  </a:lnTo>
                  <a:lnTo>
                    <a:pt x="2316214" y="198831"/>
                  </a:lnTo>
                  <a:lnTo>
                    <a:pt x="2316214" y="199530"/>
                  </a:lnTo>
                  <a:lnTo>
                    <a:pt x="2316265" y="199530"/>
                  </a:lnTo>
                  <a:lnTo>
                    <a:pt x="2316265" y="200228"/>
                  </a:lnTo>
                  <a:lnTo>
                    <a:pt x="2316265" y="199530"/>
                  </a:lnTo>
                  <a:lnTo>
                    <a:pt x="2316265" y="200228"/>
                  </a:lnTo>
                  <a:lnTo>
                    <a:pt x="2316366" y="200228"/>
                  </a:lnTo>
                  <a:lnTo>
                    <a:pt x="2316366" y="200876"/>
                  </a:lnTo>
                  <a:lnTo>
                    <a:pt x="2316366" y="200228"/>
                  </a:lnTo>
                  <a:lnTo>
                    <a:pt x="2316417" y="200228"/>
                  </a:lnTo>
                  <a:lnTo>
                    <a:pt x="2316417" y="199530"/>
                  </a:lnTo>
                  <a:lnTo>
                    <a:pt x="2316417" y="200228"/>
                  </a:lnTo>
                  <a:lnTo>
                    <a:pt x="2316468" y="199530"/>
                  </a:lnTo>
                  <a:lnTo>
                    <a:pt x="2316468" y="200228"/>
                  </a:lnTo>
                  <a:lnTo>
                    <a:pt x="2316468" y="198831"/>
                  </a:lnTo>
                  <a:lnTo>
                    <a:pt x="2316468" y="199530"/>
                  </a:lnTo>
                  <a:lnTo>
                    <a:pt x="2316468" y="198831"/>
                  </a:lnTo>
                  <a:lnTo>
                    <a:pt x="2316468" y="199530"/>
                  </a:lnTo>
                  <a:lnTo>
                    <a:pt x="2316468" y="198831"/>
                  </a:lnTo>
                  <a:lnTo>
                    <a:pt x="2316569" y="198831"/>
                  </a:lnTo>
                  <a:lnTo>
                    <a:pt x="2316569" y="196799"/>
                  </a:lnTo>
                  <a:lnTo>
                    <a:pt x="2316569" y="199530"/>
                  </a:lnTo>
                  <a:lnTo>
                    <a:pt x="2316569" y="198831"/>
                  </a:lnTo>
                  <a:lnTo>
                    <a:pt x="2316620" y="198831"/>
                  </a:lnTo>
                  <a:lnTo>
                    <a:pt x="2316620" y="195415"/>
                  </a:lnTo>
                  <a:lnTo>
                    <a:pt x="2316620" y="199530"/>
                  </a:lnTo>
                  <a:lnTo>
                    <a:pt x="2316620" y="198831"/>
                  </a:lnTo>
                  <a:lnTo>
                    <a:pt x="2316671" y="198831"/>
                  </a:lnTo>
                  <a:lnTo>
                    <a:pt x="2316671" y="196799"/>
                  </a:lnTo>
                  <a:lnTo>
                    <a:pt x="2316671" y="198831"/>
                  </a:lnTo>
                  <a:lnTo>
                    <a:pt x="2316709" y="198831"/>
                  </a:lnTo>
                  <a:lnTo>
                    <a:pt x="2316709" y="197447"/>
                  </a:lnTo>
                  <a:lnTo>
                    <a:pt x="2316709" y="199530"/>
                  </a:lnTo>
                  <a:lnTo>
                    <a:pt x="2316709" y="198831"/>
                  </a:lnTo>
                  <a:lnTo>
                    <a:pt x="2316709" y="199530"/>
                  </a:lnTo>
                  <a:lnTo>
                    <a:pt x="2316709" y="198831"/>
                  </a:lnTo>
                  <a:lnTo>
                    <a:pt x="2316811" y="198831"/>
                  </a:lnTo>
                  <a:lnTo>
                    <a:pt x="2316811" y="197447"/>
                  </a:lnTo>
                  <a:lnTo>
                    <a:pt x="2316811" y="198831"/>
                  </a:lnTo>
                  <a:lnTo>
                    <a:pt x="2316811" y="197447"/>
                  </a:lnTo>
                  <a:lnTo>
                    <a:pt x="2316811" y="199530"/>
                  </a:lnTo>
                  <a:lnTo>
                    <a:pt x="2316811" y="198831"/>
                  </a:lnTo>
                  <a:lnTo>
                    <a:pt x="2316811" y="199530"/>
                  </a:lnTo>
                  <a:lnTo>
                    <a:pt x="2316862" y="199530"/>
                  </a:lnTo>
                  <a:lnTo>
                    <a:pt x="2316862" y="200228"/>
                  </a:lnTo>
                  <a:lnTo>
                    <a:pt x="2316862" y="198831"/>
                  </a:lnTo>
                  <a:lnTo>
                    <a:pt x="2316912" y="198831"/>
                  </a:lnTo>
                  <a:lnTo>
                    <a:pt x="2316912" y="199530"/>
                  </a:lnTo>
                  <a:lnTo>
                    <a:pt x="2316912" y="198831"/>
                  </a:lnTo>
                  <a:lnTo>
                    <a:pt x="2316912" y="199530"/>
                  </a:lnTo>
                  <a:lnTo>
                    <a:pt x="2316912" y="198831"/>
                  </a:lnTo>
                  <a:lnTo>
                    <a:pt x="2316912" y="199530"/>
                  </a:lnTo>
                  <a:lnTo>
                    <a:pt x="2317014" y="199530"/>
                  </a:lnTo>
                  <a:lnTo>
                    <a:pt x="2317014" y="198831"/>
                  </a:lnTo>
                  <a:lnTo>
                    <a:pt x="2317014" y="199530"/>
                  </a:lnTo>
                  <a:lnTo>
                    <a:pt x="2317014" y="198831"/>
                  </a:lnTo>
                  <a:lnTo>
                    <a:pt x="2317014" y="199530"/>
                  </a:lnTo>
                  <a:lnTo>
                    <a:pt x="2317014" y="197447"/>
                  </a:lnTo>
                  <a:lnTo>
                    <a:pt x="2317014" y="198831"/>
                  </a:lnTo>
                  <a:lnTo>
                    <a:pt x="2317065" y="198831"/>
                  </a:lnTo>
                  <a:lnTo>
                    <a:pt x="2317065" y="199530"/>
                  </a:lnTo>
                  <a:lnTo>
                    <a:pt x="2317065" y="198831"/>
                  </a:lnTo>
                  <a:lnTo>
                    <a:pt x="2317065" y="199530"/>
                  </a:lnTo>
                  <a:lnTo>
                    <a:pt x="2317065" y="197447"/>
                  </a:lnTo>
                  <a:lnTo>
                    <a:pt x="2317065" y="198831"/>
                  </a:lnTo>
                  <a:lnTo>
                    <a:pt x="2317115" y="198831"/>
                  </a:lnTo>
                  <a:lnTo>
                    <a:pt x="2317115" y="200876"/>
                  </a:lnTo>
                  <a:lnTo>
                    <a:pt x="2317115" y="198831"/>
                  </a:lnTo>
                  <a:lnTo>
                    <a:pt x="2317115" y="199530"/>
                  </a:lnTo>
                  <a:lnTo>
                    <a:pt x="2317166" y="199530"/>
                  </a:lnTo>
                  <a:lnTo>
                    <a:pt x="2317166" y="200228"/>
                  </a:lnTo>
                  <a:lnTo>
                    <a:pt x="2317166" y="199530"/>
                  </a:lnTo>
                  <a:lnTo>
                    <a:pt x="2317166" y="200228"/>
                  </a:lnTo>
                  <a:lnTo>
                    <a:pt x="2317255" y="200228"/>
                  </a:lnTo>
                  <a:lnTo>
                    <a:pt x="2317255" y="200876"/>
                  </a:lnTo>
                  <a:lnTo>
                    <a:pt x="2317255" y="199530"/>
                  </a:lnTo>
                  <a:lnTo>
                    <a:pt x="2317255" y="200228"/>
                  </a:lnTo>
                  <a:lnTo>
                    <a:pt x="2317306" y="200228"/>
                  </a:lnTo>
                  <a:lnTo>
                    <a:pt x="2317306" y="200876"/>
                  </a:lnTo>
                  <a:lnTo>
                    <a:pt x="2317306" y="200228"/>
                  </a:lnTo>
                  <a:lnTo>
                    <a:pt x="2317306" y="200876"/>
                  </a:lnTo>
                  <a:lnTo>
                    <a:pt x="2317306" y="200228"/>
                  </a:lnTo>
                  <a:lnTo>
                    <a:pt x="2317306" y="200876"/>
                  </a:lnTo>
                  <a:lnTo>
                    <a:pt x="2317357" y="200228"/>
                  </a:lnTo>
                  <a:lnTo>
                    <a:pt x="2317408" y="200228"/>
                  </a:lnTo>
                  <a:lnTo>
                    <a:pt x="2317408" y="199530"/>
                  </a:lnTo>
                  <a:lnTo>
                    <a:pt x="2317408" y="200228"/>
                  </a:lnTo>
                  <a:lnTo>
                    <a:pt x="2317408" y="199530"/>
                  </a:lnTo>
                  <a:lnTo>
                    <a:pt x="2317408" y="200228"/>
                  </a:lnTo>
                  <a:lnTo>
                    <a:pt x="2317408" y="199530"/>
                  </a:lnTo>
                  <a:lnTo>
                    <a:pt x="2317509" y="199530"/>
                  </a:lnTo>
                  <a:lnTo>
                    <a:pt x="2317509" y="198831"/>
                  </a:lnTo>
                  <a:lnTo>
                    <a:pt x="2317509" y="199530"/>
                  </a:lnTo>
                  <a:lnTo>
                    <a:pt x="2317509" y="198831"/>
                  </a:lnTo>
                  <a:lnTo>
                    <a:pt x="2317509" y="199530"/>
                  </a:lnTo>
                  <a:lnTo>
                    <a:pt x="2317509" y="198831"/>
                  </a:lnTo>
                  <a:lnTo>
                    <a:pt x="2317509" y="200228"/>
                  </a:lnTo>
                  <a:lnTo>
                    <a:pt x="2317560" y="200228"/>
                  </a:lnTo>
                  <a:lnTo>
                    <a:pt x="2317560" y="198831"/>
                  </a:lnTo>
                  <a:lnTo>
                    <a:pt x="2317560" y="199530"/>
                  </a:lnTo>
                  <a:lnTo>
                    <a:pt x="2317560" y="198831"/>
                  </a:lnTo>
                  <a:lnTo>
                    <a:pt x="2317560" y="200876"/>
                  </a:lnTo>
                  <a:lnTo>
                    <a:pt x="2317611" y="200876"/>
                  </a:lnTo>
                  <a:lnTo>
                    <a:pt x="2317611" y="200228"/>
                  </a:lnTo>
                  <a:lnTo>
                    <a:pt x="2317611" y="202260"/>
                  </a:lnTo>
                  <a:lnTo>
                    <a:pt x="2317611" y="200876"/>
                  </a:lnTo>
                  <a:lnTo>
                    <a:pt x="2317712" y="200876"/>
                  </a:lnTo>
                  <a:lnTo>
                    <a:pt x="2317712" y="200228"/>
                  </a:lnTo>
                  <a:lnTo>
                    <a:pt x="2317712" y="202260"/>
                  </a:lnTo>
                  <a:lnTo>
                    <a:pt x="2317712" y="200876"/>
                  </a:lnTo>
                  <a:lnTo>
                    <a:pt x="2317712" y="202260"/>
                  </a:lnTo>
                  <a:lnTo>
                    <a:pt x="2317712" y="200876"/>
                  </a:lnTo>
                  <a:lnTo>
                    <a:pt x="2317712" y="202260"/>
                  </a:lnTo>
                  <a:lnTo>
                    <a:pt x="2317712" y="200876"/>
                  </a:lnTo>
                  <a:lnTo>
                    <a:pt x="2317750" y="200876"/>
                  </a:lnTo>
                  <a:lnTo>
                    <a:pt x="2317750" y="202260"/>
                  </a:lnTo>
                  <a:lnTo>
                    <a:pt x="2317750" y="200876"/>
                  </a:lnTo>
                  <a:lnTo>
                    <a:pt x="2317750" y="202959"/>
                  </a:lnTo>
                  <a:lnTo>
                    <a:pt x="2317750" y="200876"/>
                  </a:lnTo>
                  <a:lnTo>
                    <a:pt x="2317801" y="200876"/>
                  </a:lnTo>
                  <a:lnTo>
                    <a:pt x="2317801" y="200228"/>
                  </a:lnTo>
                  <a:lnTo>
                    <a:pt x="2317801" y="200876"/>
                  </a:lnTo>
                  <a:lnTo>
                    <a:pt x="2317801" y="200228"/>
                  </a:lnTo>
                  <a:lnTo>
                    <a:pt x="2317852" y="200228"/>
                  </a:lnTo>
                  <a:lnTo>
                    <a:pt x="2317852" y="200876"/>
                  </a:lnTo>
                  <a:lnTo>
                    <a:pt x="2317852" y="199530"/>
                  </a:lnTo>
                  <a:lnTo>
                    <a:pt x="2317852" y="200228"/>
                  </a:lnTo>
                  <a:lnTo>
                    <a:pt x="2317852" y="199530"/>
                  </a:lnTo>
                  <a:lnTo>
                    <a:pt x="2317954" y="199530"/>
                  </a:lnTo>
                  <a:lnTo>
                    <a:pt x="2317954" y="200228"/>
                  </a:lnTo>
                  <a:lnTo>
                    <a:pt x="2317954" y="197447"/>
                  </a:lnTo>
                  <a:lnTo>
                    <a:pt x="2317954" y="198831"/>
                  </a:lnTo>
                  <a:lnTo>
                    <a:pt x="2318005" y="198831"/>
                  </a:lnTo>
                  <a:lnTo>
                    <a:pt x="2318005" y="196799"/>
                  </a:lnTo>
                  <a:lnTo>
                    <a:pt x="2318005" y="198831"/>
                  </a:lnTo>
                  <a:lnTo>
                    <a:pt x="2318055" y="197447"/>
                  </a:lnTo>
                  <a:lnTo>
                    <a:pt x="2318055" y="199530"/>
                  </a:lnTo>
                  <a:lnTo>
                    <a:pt x="2318157" y="199530"/>
                  </a:lnTo>
                  <a:lnTo>
                    <a:pt x="2318157" y="198831"/>
                  </a:lnTo>
                  <a:lnTo>
                    <a:pt x="2318157" y="200228"/>
                  </a:lnTo>
                  <a:lnTo>
                    <a:pt x="2318208" y="200228"/>
                  </a:lnTo>
                  <a:lnTo>
                    <a:pt x="2318208" y="200876"/>
                  </a:lnTo>
                  <a:lnTo>
                    <a:pt x="2318208" y="200228"/>
                  </a:lnTo>
                  <a:lnTo>
                    <a:pt x="2318208" y="200876"/>
                  </a:lnTo>
                  <a:lnTo>
                    <a:pt x="2318208" y="200228"/>
                  </a:lnTo>
                  <a:lnTo>
                    <a:pt x="2318208" y="200876"/>
                  </a:lnTo>
                  <a:lnTo>
                    <a:pt x="2318208" y="200228"/>
                  </a:lnTo>
                  <a:lnTo>
                    <a:pt x="2318259" y="200228"/>
                  </a:lnTo>
                  <a:lnTo>
                    <a:pt x="2318259" y="200876"/>
                  </a:lnTo>
                  <a:lnTo>
                    <a:pt x="2318297" y="200876"/>
                  </a:lnTo>
                  <a:lnTo>
                    <a:pt x="2318297" y="200228"/>
                  </a:lnTo>
                  <a:lnTo>
                    <a:pt x="2318297" y="200876"/>
                  </a:lnTo>
                  <a:lnTo>
                    <a:pt x="2318297" y="200228"/>
                  </a:lnTo>
                  <a:lnTo>
                    <a:pt x="2318398" y="200876"/>
                  </a:lnTo>
                  <a:lnTo>
                    <a:pt x="2318398" y="200228"/>
                  </a:lnTo>
                  <a:lnTo>
                    <a:pt x="2318398" y="200876"/>
                  </a:lnTo>
                  <a:lnTo>
                    <a:pt x="2318398" y="200228"/>
                  </a:lnTo>
                  <a:lnTo>
                    <a:pt x="2318449" y="200228"/>
                  </a:lnTo>
                  <a:lnTo>
                    <a:pt x="2318449" y="199530"/>
                  </a:lnTo>
                  <a:lnTo>
                    <a:pt x="2318449" y="200228"/>
                  </a:lnTo>
                  <a:lnTo>
                    <a:pt x="2318449" y="198831"/>
                  </a:lnTo>
                  <a:lnTo>
                    <a:pt x="2318449" y="199530"/>
                  </a:lnTo>
                  <a:lnTo>
                    <a:pt x="2318449" y="197447"/>
                  </a:lnTo>
                  <a:lnTo>
                    <a:pt x="2318500" y="197447"/>
                  </a:lnTo>
                  <a:lnTo>
                    <a:pt x="2318500" y="199530"/>
                  </a:lnTo>
                  <a:lnTo>
                    <a:pt x="2318500" y="196799"/>
                  </a:lnTo>
                  <a:lnTo>
                    <a:pt x="2318500" y="197447"/>
                  </a:lnTo>
                  <a:lnTo>
                    <a:pt x="2318601" y="196799"/>
                  </a:lnTo>
                  <a:lnTo>
                    <a:pt x="2318601" y="200228"/>
                  </a:lnTo>
                  <a:lnTo>
                    <a:pt x="2318601" y="199530"/>
                  </a:lnTo>
                  <a:lnTo>
                    <a:pt x="2318601" y="200228"/>
                  </a:lnTo>
                  <a:lnTo>
                    <a:pt x="2318601" y="199530"/>
                  </a:lnTo>
                  <a:lnTo>
                    <a:pt x="2318601" y="200228"/>
                  </a:lnTo>
                  <a:lnTo>
                    <a:pt x="2318601" y="198831"/>
                  </a:lnTo>
                  <a:lnTo>
                    <a:pt x="2318601" y="199530"/>
                  </a:lnTo>
                  <a:lnTo>
                    <a:pt x="2318652" y="199530"/>
                  </a:lnTo>
                  <a:lnTo>
                    <a:pt x="2318652" y="200876"/>
                  </a:lnTo>
                  <a:lnTo>
                    <a:pt x="2318652" y="199530"/>
                  </a:lnTo>
                  <a:lnTo>
                    <a:pt x="2318652" y="200228"/>
                  </a:lnTo>
                  <a:lnTo>
                    <a:pt x="2318652" y="199530"/>
                  </a:lnTo>
                  <a:lnTo>
                    <a:pt x="2318652" y="200228"/>
                  </a:lnTo>
                  <a:lnTo>
                    <a:pt x="2318703" y="200228"/>
                  </a:lnTo>
                  <a:lnTo>
                    <a:pt x="2318703" y="200876"/>
                  </a:lnTo>
                  <a:lnTo>
                    <a:pt x="2318703" y="200228"/>
                  </a:lnTo>
                  <a:lnTo>
                    <a:pt x="2318703" y="202260"/>
                  </a:lnTo>
                  <a:lnTo>
                    <a:pt x="2318754" y="202260"/>
                  </a:lnTo>
                  <a:lnTo>
                    <a:pt x="2318754" y="200228"/>
                  </a:lnTo>
                  <a:lnTo>
                    <a:pt x="2318754" y="200876"/>
                  </a:lnTo>
                  <a:lnTo>
                    <a:pt x="2318843" y="200876"/>
                  </a:lnTo>
                  <a:lnTo>
                    <a:pt x="2318843" y="200228"/>
                  </a:lnTo>
                  <a:lnTo>
                    <a:pt x="2318843" y="200876"/>
                  </a:lnTo>
                  <a:lnTo>
                    <a:pt x="2318843" y="200228"/>
                  </a:lnTo>
                  <a:lnTo>
                    <a:pt x="2318843" y="200876"/>
                  </a:lnTo>
                  <a:lnTo>
                    <a:pt x="2318843" y="200228"/>
                  </a:lnTo>
                  <a:lnTo>
                    <a:pt x="2318843" y="200876"/>
                  </a:lnTo>
                  <a:lnTo>
                    <a:pt x="2318843" y="200228"/>
                  </a:lnTo>
                  <a:lnTo>
                    <a:pt x="2318843" y="200876"/>
                  </a:lnTo>
                  <a:lnTo>
                    <a:pt x="2318894" y="200228"/>
                  </a:lnTo>
                  <a:lnTo>
                    <a:pt x="2318894" y="199530"/>
                  </a:lnTo>
                  <a:lnTo>
                    <a:pt x="2318894" y="200228"/>
                  </a:lnTo>
                  <a:lnTo>
                    <a:pt x="2318894" y="199530"/>
                  </a:lnTo>
                  <a:lnTo>
                    <a:pt x="2318894" y="200228"/>
                  </a:lnTo>
                  <a:lnTo>
                    <a:pt x="2318894" y="199530"/>
                  </a:lnTo>
                  <a:lnTo>
                    <a:pt x="2318944" y="199530"/>
                  </a:lnTo>
                  <a:lnTo>
                    <a:pt x="2318944" y="196799"/>
                  </a:lnTo>
                  <a:lnTo>
                    <a:pt x="2318995" y="196799"/>
                  </a:lnTo>
                  <a:lnTo>
                    <a:pt x="2318995" y="198831"/>
                  </a:lnTo>
                  <a:lnTo>
                    <a:pt x="2318995" y="196113"/>
                  </a:lnTo>
                  <a:lnTo>
                    <a:pt x="2319097" y="196113"/>
                  </a:lnTo>
                  <a:lnTo>
                    <a:pt x="2319097" y="199530"/>
                  </a:lnTo>
                  <a:lnTo>
                    <a:pt x="2319097" y="197447"/>
                  </a:lnTo>
                  <a:lnTo>
                    <a:pt x="2319097" y="198831"/>
                  </a:lnTo>
                  <a:lnTo>
                    <a:pt x="2319147" y="199530"/>
                  </a:lnTo>
                  <a:lnTo>
                    <a:pt x="2319147" y="200228"/>
                  </a:lnTo>
                  <a:lnTo>
                    <a:pt x="2319147" y="199530"/>
                  </a:lnTo>
                  <a:lnTo>
                    <a:pt x="2319147" y="200228"/>
                  </a:lnTo>
                  <a:lnTo>
                    <a:pt x="2319147" y="199530"/>
                  </a:lnTo>
                  <a:lnTo>
                    <a:pt x="2319198" y="199530"/>
                  </a:lnTo>
                  <a:lnTo>
                    <a:pt x="2319198" y="200228"/>
                  </a:lnTo>
                  <a:lnTo>
                    <a:pt x="2319198" y="199530"/>
                  </a:lnTo>
                  <a:lnTo>
                    <a:pt x="2319198" y="200228"/>
                  </a:lnTo>
                  <a:lnTo>
                    <a:pt x="2319198" y="199530"/>
                  </a:lnTo>
                  <a:lnTo>
                    <a:pt x="2319198" y="200228"/>
                  </a:lnTo>
                  <a:lnTo>
                    <a:pt x="2319198" y="199530"/>
                  </a:lnTo>
                  <a:lnTo>
                    <a:pt x="2319300" y="200228"/>
                  </a:lnTo>
                  <a:lnTo>
                    <a:pt x="2319300" y="200876"/>
                  </a:lnTo>
                  <a:lnTo>
                    <a:pt x="2319300" y="200228"/>
                  </a:lnTo>
                  <a:lnTo>
                    <a:pt x="2319300" y="200876"/>
                  </a:lnTo>
                  <a:lnTo>
                    <a:pt x="2319338" y="200228"/>
                  </a:lnTo>
                  <a:lnTo>
                    <a:pt x="2319338" y="200876"/>
                  </a:lnTo>
                  <a:lnTo>
                    <a:pt x="2319338" y="200228"/>
                  </a:lnTo>
                  <a:lnTo>
                    <a:pt x="2319338" y="200876"/>
                  </a:lnTo>
                  <a:lnTo>
                    <a:pt x="2319338" y="200228"/>
                  </a:lnTo>
                  <a:lnTo>
                    <a:pt x="2319338" y="200876"/>
                  </a:lnTo>
                  <a:lnTo>
                    <a:pt x="2319338" y="200228"/>
                  </a:lnTo>
                  <a:lnTo>
                    <a:pt x="2319338" y="200876"/>
                  </a:lnTo>
                  <a:lnTo>
                    <a:pt x="2319389" y="200876"/>
                  </a:lnTo>
                  <a:lnTo>
                    <a:pt x="2319389" y="199530"/>
                  </a:lnTo>
                  <a:lnTo>
                    <a:pt x="2319389" y="200228"/>
                  </a:lnTo>
                  <a:lnTo>
                    <a:pt x="2319389" y="199530"/>
                  </a:lnTo>
                  <a:lnTo>
                    <a:pt x="2319440" y="199530"/>
                  </a:lnTo>
                  <a:lnTo>
                    <a:pt x="2319440" y="198831"/>
                  </a:lnTo>
                  <a:lnTo>
                    <a:pt x="2319440" y="199530"/>
                  </a:lnTo>
                  <a:lnTo>
                    <a:pt x="2319440" y="197447"/>
                  </a:lnTo>
                  <a:lnTo>
                    <a:pt x="2319440" y="198831"/>
                  </a:lnTo>
                  <a:lnTo>
                    <a:pt x="2319440" y="197447"/>
                  </a:lnTo>
                  <a:lnTo>
                    <a:pt x="2319541" y="196799"/>
                  </a:lnTo>
                  <a:lnTo>
                    <a:pt x="2319541" y="197447"/>
                  </a:lnTo>
                  <a:lnTo>
                    <a:pt x="2319541" y="196799"/>
                  </a:lnTo>
                  <a:lnTo>
                    <a:pt x="2319541" y="197447"/>
                  </a:lnTo>
                  <a:lnTo>
                    <a:pt x="2319541" y="196799"/>
                  </a:lnTo>
                  <a:lnTo>
                    <a:pt x="2319541" y="197447"/>
                  </a:lnTo>
                  <a:lnTo>
                    <a:pt x="2319541" y="196799"/>
                  </a:lnTo>
                  <a:lnTo>
                    <a:pt x="2319541" y="197447"/>
                  </a:lnTo>
                  <a:lnTo>
                    <a:pt x="2319541" y="196799"/>
                  </a:lnTo>
                  <a:lnTo>
                    <a:pt x="2319541" y="197447"/>
                  </a:lnTo>
                  <a:lnTo>
                    <a:pt x="2319592" y="197447"/>
                  </a:lnTo>
                  <a:lnTo>
                    <a:pt x="2319592" y="198831"/>
                  </a:lnTo>
                  <a:lnTo>
                    <a:pt x="2319592" y="197447"/>
                  </a:lnTo>
                  <a:lnTo>
                    <a:pt x="2319592" y="198831"/>
                  </a:lnTo>
                  <a:lnTo>
                    <a:pt x="2319643" y="199530"/>
                  </a:lnTo>
                  <a:lnTo>
                    <a:pt x="2319643" y="198831"/>
                  </a:lnTo>
                  <a:lnTo>
                    <a:pt x="2319643" y="199530"/>
                  </a:lnTo>
                  <a:lnTo>
                    <a:pt x="2319643" y="198831"/>
                  </a:lnTo>
                  <a:lnTo>
                    <a:pt x="2319643" y="199530"/>
                  </a:lnTo>
                  <a:lnTo>
                    <a:pt x="2319744" y="199530"/>
                  </a:lnTo>
                  <a:lnTo>
                    <a:pt x="2319744" y="198831"/>
                  </a:lnTo>
                  <a:lnTo>
                    <a:pt x="2319744" y="199530"/>
                  </a:lnTo>
                  <a:lnTo>
                    <a:pt x="2319744" y="198831"/>
                  </a:lnTo>
                  <a:lnTo>
                    <a:pt x="2319744" y="199530"/>
                  </a:lnTo>
                  <a:lnTo>
                    <a:pt x="2319744" y="198831"/>
                  </a:lnTo>
                  <a:lnTo>
                    <a:pt x="2319744" y="199530"/>
                  </a:lnTo>
                  <a:lnTo>
                    <a:pt x="2319795" y="199530"/>
                  </a:lnTo>
                  <a:lnTo>
                    <a:pt x="2319795" y="198831"/>
                  </a:lnTo>
                  <a:lnTo>
                    <a:pt x="2319795" y="199530"/>
                  </a:lnTo>
                  <a:lnTo>
                    <a:pt x="2319795" y="198831"/>
                  </a:lnTo>
                  <a:lnTo>
                    <a:pt x="2319795" y="199530"/>
                  </a:lnTo>
                  <a:lnTo>
                    <a:pt x="2319846" y="199530"/>
                  </a:lnTo>
                  <a:lnTo>
                    <a:pt x="2319846" y="198831"/>
                  </a:lnTo>
                  <a:lnTo>
                    <a:pt x="2319846" y="199530"/>
                  </a:lnTo>
                  <a:lnTo>
                    <a:pt x="2319846" y="198831"/>
                  </a:lnTo>
                  <a:lnTo>
                    <a:pt x="2319846" y="200228"/>
                  </a:lnTo>
                  <a:lnTo>
                    <a:pt x="2319884" y="200228"/>
                  </a:lnTo>
                  <a:lnTo>
                    <a:pt x="2319884" y="199530"/>
                  </a:lnTo>
                  <a:lnTo>
                    <a:pt x="2319884" y="200228"/>
                  </a:lnTo>
                  <a:lnTo>
                    <a:pt x="2319884" y="198831"/>
                  </a:lnTo>
                  <a:lnTo>
                    <a:pt x="2319986" y="198831"/>
                  </a:lnTo>
                  <a:lnTo>
                    <a:pt x="2319986" y="197447"/>
                  </a:lnTo>
                  <a:lnTo>
                    <a:pt x="2319986" y="198831"/>
                  </a:lnTo>
                  <a:lnTo>
                    <a:pt x="2320037" y="198831"/>
                  </a:lnTo>
                  <a:lnTo>
                    <a:pt x="2320037" y="197447"/>
                  </a:lnTo>
                  <a:lnTo>
                    <a:pt x="2320037" y="198831"/>
                  </a:lnTo>
                  <a:lnTo>
                    <a:pt x="2320037" y="197447"/>
                  </a:lnTo>
                  <a:lnTo>
                    <a:pt x="2320037" y="200228"/>
                  </a:lnTo>
                  <a:lnTo>
                    <a:pt x="2320037" y="199530"/>
                  </a:lnTo>
                  <a:lnTo>
                    <a:pt x="2320087" y="200228"/>
                  </a:lnTo>
                  <a:lnTo>
                    <a:pt x="2320087" y="199530"/>
                  </a:lnTo>
                  <a:lnTo>
                    <a:pt x="2320087" y="200876"/>
                  </a:lnTo>
                  <a:lnTo>
                    <a:pt x="2320087" y="200228"/>
                  </a:lnTo>
                  <a:lnTo>
                    <a:pt x="2320189" y="200228"/>
                  </a:lnTo>
                  <a:lnTo>
                    <a:pt x="2320189" y="199530"/>
                  </a:lnTo>
                  <a:lnTo>
                    <a:pt x="2320189" y="200228"/>
                  </a:lnTo>
                  <a:lnTo>
                    <a:pt x="2320189" y="199530"/>
                  </a:lnTo>
                  <a:lnTo>
                    <a:pt x="2320240" y="199530"/>
                  </a:lnTo>
                  <a:lnTo>
                    <a:pt x="2320240" y="200228"/>
                  </a:lnTo>
                  <a:lnTo>
                    <a:pt x="2320240" y="199530"/>
                  </a:lnTo>
                  <a:lnTo>
                    <a:pt x="2320240" y="200228"/>
                  </a:lnTo>
                  <a:lnTo>
                    <a:pt x="2320240" y="199530"/>
                  </a:lnTo>
                  <a:lnTo>
                    <a:pt x="2320240" y="200228"/>
                  </a:lnTo>
                  <a:lnTo>
                    <a:pt x="2320240" y="199530"/>
                  </a:lnTo>
                  <a:lnTo>
                    <a:pt x="2320240" y="200228"/>
                  </a:lnTo>
                  <a:lnTo>
                    <a:pt x="2320290" y="199530"/>
                  </a:lnTo>
                  <a:lnTo>
                    <a:pt x="2320290" y="200228"/>
                  </a:lnTo>
                  <a:lnTo>
                    <a:pt x="2320290" y="199530"/>
                  </a:lnTo>
                  <a:lnTo>
                    <a:pt x="2320290" y="200228"/>
                  </a:lnTo>
                  <a:lnTo>
                    <a:pt x="2320341" y="200228"/>
                  </a:lnTo>
                  <a:lnTo>
                    <a:pt x="2320341" y="199530"/>
                  </a:lnTo>
                  <a:lnTo>
                    <a:pt x="2320430" y="199530"/>
                  </a:lnTo>
                  <a:lnTo>
                    <a:pt x="2320430" y="200228"/>
                  </a:lnTo>
                  <a:lnTo>
                    <a:pt x="2320430" y="199530"/>
                  </a:lnTo>
                  <a:lnTo>
                    <a:pt x="2320430" y="200228"/>
                  </a:lnTo>
                  <a:lnTo>
                    <a:pt x="2320430" y="197447"/>
                  </a:lnTo>
                  <a:lnTo>
                    <a:pt x="2320481" y="197447"/>
                  </a:lnTo>
                  <a:lnTo>
                    <a:pt x="2320481" y="196799"/>
                  </a:lnTo>
                  <a:lnTo>
                    <a:pt x="2320481" y="199530"/>
                  </a:lnTo>
                  <a:lnTo>
                    <a:pt x="2320481" y="198831"/>
                  </a:lnTo>
                  <a:lnTo>
                    <a:pt x="2320481" y="199530"/>
                  </a:lnTo>
                  <a:lnTo>
                    <a:pt x="2320532" y="198831"/>
                  </a:lnTo>
                  <a:lnTo>
                    <a:pt x="2320532" y="197447"/>
                  </a:lnTo>
                  <a:lnTo>
                    <a:pt x="2320532" y="200228"/>
                  </a:lnTo>
                  <a:lnTo>
                    <a:pt x="2320532" y="199530"/>
                  </a:lnTo>
                  <a:lnTo>
                    <a:pt x="2320583" y="200228"/>
                  </a:lnTo>
                  <a:lnTo>
                    <a:pt x="2320583" y="199530"/>
                  </a:lnTo>
                  <a:lnTo>
                    <a:pt x="2320583" y="200876"/>
                  </a:lnTo>
                  <a:lnTo>
                    <a:pt x="2320583" y="200228"/>
                  </a:lnTo>
                  <a:lnTo>
                    <a:pt x="2320583" y="200876"/>
                  </a:lnTo>
                  <a:lnTo>
                    <a:pt x="2320583" y="200228"/>
                  </a:lnTo>
                  <a:lnTo>
                    <a:pt x="2320684" y="200228"/>
                  </a:lnTo>
                  <a:lnTo>
                    <a:pt x="2320684" y="200876"/>
                  </a:lnTo>
                  <a:lnTo>
                    <a:pt x="2320684" y="200228"/>
                  </a:lnTo>
                  <a:lnTo>
                    <a:pt x="2320735" y="200228"/>
                  </a:lnTo>
                  <a:lnTo>
                    <a:pt x="2320735" y="199530"/>
                  </a:lnTo>
                  <a:lnTo>
                    <a:pt x="2320735" y="200228"/>
                  </a:lnTo>
                  <a:lnTo>
                    <a:pt x="2320786" y="200228"/>
                  </a:lnTo>
                  <a:lnTo>
                    <a:pt x="2320786" y="200876"/>
                  </a:lnTo>
                  <a:lnTo>
                    <a:pt x="2320786" y="200228"/>
                  </a:lnTo>
                  <a:lnTo>
                    <a:pt x="2320887" y="200228"/>
                  </a:lnTo>
                  <a:lnTo>
                    <a:pt x="2320887" y="199530"/>
                  </a:lnTo>
                  <a:lnTo>
                    <a:pt x="2320887" y="200228"/>
                  </a:lnTo>
                  <a:lnTo>
                    <a:pt x="2320887" y="198831"/>
                  </a:lnTo>
                  <a:lnTo>
                    <a:pt x="2320925" y="198831"/>
                  </a:lnTo>
                  <a:lnTo>
                    <a:pt x="2320925" y="196799"/>
                  </a:lnTo>
                  <a:lnTo>
                    <a:pt x="2320925" y="197447"/>
                  </a:lnTo>
                  <a:lnTo>
                    <a:pt x="2320925" y="196113"/>
                  </a:lnTo>
                  <a:lnTo>
                    <a:pt x="2320976" y="196113"/>
                  </a:lnTo>
                  <a:lnTo>
                    <a:pt x="2320976" y="198831"/>
                  </a:lnTo>
                  <a:lnTo>
                    <a:pt x="2320976" y="196799"/>
                  </a:lnTo>
                  <a:lnTo>
                    <a:pt x="2321027" y="196799"/>
                  </a:lnTo>
                  <a:lnTo>
                    <a:pt x="2321027" y="200228"/>
                  </a:lnTo>
                  <a:lnTo>
                    <a:pt x="2321027" y="198831"/>
                  </a:lnTo>
                  <a:lnTo>
                    <a:pt x="2321027" y="199530"/>
                  </a:lnTo>
                  <a:lnTo>
                    <a:pt x="2321129" y="199530"/>
                  </a:lnTo>
                  <a:lnTo>
                    <a:pt x="2321129" y="200876"/>
                  </a:lnTo>
                  <a:lnTo>
                    <a:pt x="2321129" y="199530"/>
                  </a:lnTo>
                  <a:lnTo>
                    <a:pt x="2321129" y="200228"/>
                  </a:lnTo>
                  <a:lnTo>
                    <a:pt x="2321180" y="200228"/>
                  </a:lnTo>
                  <a:lnTo>
                    <a:pt x="2321180" y="199530"/>
                  </a:lnTo>
                  <a:lnTo>
                    <a:pt x="2321180" y="200228"/>
                  </a:lnTo>
                  <a:lnTo>
                    <a:pt x="2321230" y="200228"/>
                  </a:lnTo>
                  <a:lnTo>
                    <a:pt x="2321230" y="200876"/>
                  </a:lnTo>
                  <a:lnTo>
                    <a:pt x="2321230" y="200228"/>
                  </a:lnTo>
                  <a:lnTo>
                    <a:pt x="2321230" y="200876"/>
                  </a:lnTo>
                  <a:lnTo>
                    <a:pt x="2321332" y="200876"/>
                  </a:lnTo>
                  <a:lnTo>
                    <a:pt x="2321332" y="200228"/>
                  </a:lnTo>
                  <a:lnTo>
                    <a:pt x="2321332" y="200876"/>
                  </a:lnTo>
                  <a:lnTo>
                    <a:pt x="2321332" y="200228"/>
                  </a:lnTo>
                  <a:lnTo>
                    <a:pt x="2321332" y="200876"/>
                  </a:lnTo>
                  <a:lnTo>
                    <a:pt x="2321332" y="200228"/>
                  </a:lnTo>
                  <a:lnTo>
                    <a:pt x="2321383" y="200228"/>
                  </a:lnTo>
                  <a:lnTo>
                    <a:pt x="2321383" y="200876"/>
                  </a:lnTo>
                  <a:lnTo>
                    <a:pt x="2321383" y="200228"/>
                  </a:lnTo>
                  <a:lnTo>
                    <a:pt x="2321383" y="200876"/>
                  </a:lnTo>
                  <a:lnTo>
                    <a:pt x="2321383" y="199530"/>
                  </a:lnTo>
                  <a:lnTo>
                    <a:pt x="2321434" y="199530"/>
                  </a:lnTo>
                  <a:lnTo>
                    <a:pt x="2321434" y="196799"/>
                  </a:lnTo>
                  <a:lnTo>
                    <a:pt x="2321434" y="197447"/>
                  </a:lnTo>
                  <a:lnTo>
                    <a:pt x="2321472" y="197447"/>
                  </a:lnTo>
                  <a:lnTo>
                    <a:pt x="2321472" y="198831"/>
                  </a:lnTo>
                  <a:lnTo>
                    <a:pt x="2321472" y="196799"/>
                  </a:lnTo>
                  <a:lnTo>
                    <a:pt x="2321472" y="199530"/>
                  </a:lnTo>
                  <a:lnTo>
                    <a:pt x="2321573" y="199530"/>
                  </a:lnTo>
                  <a:lnTo>
                    <a:pt x="2321573" y="198831"/>
                  </a:lnTo>
                  <a:lnTo>
                    <a:pt x="2321573" y="199530"/>
                  </a:lnTo>
                  <a:lnTo>
                    <a:pt x="2321573" y="198831"/>
                  </a:lnTo>
                  <a:lnTo>
                    <a:pt x="2321573" y="200228"/>
                  </a:lnTo>
                  <a:lnTo>
                    <a:pt x="2321624" y="200228"/>
                  </a:lnTo>
                  <a:lnTo>
                    <a:pt x="2321624" y="198831"/>
                  </a:lnTo>
                  <a:lnTo>
                    <a:pt x="2321624" y="200228"/>
                  </a:lnTo>
                  <a:lnTo>
                    <a:pt x="2321624" y="199530"/>
                  </a:lnTo>
                  <a:lnTo>
                    <a:pt x="2321675" y="199530"/>
                  </a:lnTo>
                  <a:lnTo>
                    <a:pt x="2321675" y="200228"/>
                  </a:lnTo>
                  <a:lnTo>
                    <a:pt x="2321675" y="199530"/>
                  </a:lnTo>
                  <a:lnTo>
                    <a:pt x="2321675" y="200228"/>
                  </a:lnTo>
                  <a:lnTo>
                    <a:pt x="2321675" y="199530"/>
                  </a:lnTo>
                  <a:lnTo>
                    <a:pt x="2321675" y="200228"/>
                  </a:lnTo>
                  <a:lnTo>
                    <a:pt x="2321675" y="199530"/>
                  </a:lnTo>
                  <a:lnTo>
                    <a:pt x="2321675" y="200228"/>
                  </a:lnTo>
                  <a:lnTo>
                    <a:pt x="2321776" y="200228"/>
                  </a:lnTo>
                  <a:lnTo>
                    <a:pt x="2321776" y="200876"/>
                  </a:lnTo>
                  <a:lnTo>
                    <a:pt x="2321776" y="200228"/>
                  </a:lnTo>
                  <a:lnTo>
                    <a:pt x="2321776" y="200876"/>
                  </a:lnTo>
                  <a:lnTo>
                    <a:pt x="2321776" y="200228"/>
                  </a:lnTo>
                  <a:lnTo>
                    <a:pt x="2321776" y="200876"/>
                  </a:lnTo>
                  <a:lnTo>
                    <a:pt x="2321827" y="200876"/>
                  </a:lnTo>
                  <a:lnTo>
                    <a:pt x="2321827" y="200228"/>
                  </a:lnTo>
                  <a:lnTo>
                    <a:pt x="2321827" y="200876"/>
                  </a:lnTo>
                  <a:lnTo>
                    <a:pt x="2321827" y="199530"/>
                  </a:lnTo>
                  <a:lnTo>
                    <a:pt x="2321827" y="200228"/>
                  </a:lnTo>
                  <a:lnTo>
                    <a:pt x="2321878" y="200228"/>
                  </a:lnTo>
                  <a:lnTo>
                    <a:pt x="2321878" y="198831"/>
                  </a:lnTo>
                  <a:lnTo>
                    <a:pt x="2321878" y="199530"/>
                  </a:lnTo>
                  <a:lnTo>
                    <a:pt x="2321878" y="197447"/>
                  </a:lnTo>
                  <a:lnTo>
                    <a:pt x="2321878" y="198831"/>
                  </a:lnTo>
                  <a:lnTo>
                    <a:pt x="2321929" y="198831"/>
                  </a:lnTo>
                  <a:lnTo>
                    <a:pt x="2321929" y="195415"/>
                  </a:lnTo>
                  <a:lnTo>
                    <a:pt x="2321929" y="196113"/>
                  </a:lnTo>
                  <a:lnTo>
                    <a:pt x="2322018" y="196113"/>
                  </a:lnTo>
                  <a:lnTo>
                    <a:pt x="2322018" y="197447"/>
                  </a:lnTo>
                  <a:lnTo>
                    <a:pt x="2322018" y="196113"/>
                  </a:lnTo>
                  <a:lnTo>
                    <a:pt x="2322018" y="197447"/>
                  </a:lnTo>
                  <a:lnTo>
                    <a:pt x="2322069" y="198831"/>
                  </a:lnTo>
                  <a:lnTo>
                    <a:pt x="2322069" y="199530"/>
                  </a:lnTo>
                  <a:lnTo>
                    <a:pt x="2322069" y="197447"/>
                  </a:lnTo>
                  <a:lnTo>
                    <a:pt x="2322069" y="198831"/>
                  </a:lnTo>
                  <a:lnTo>
                    <a:pt x="2322069" y="197447"/>
                  </a:lnTo>
                  <a:lnTo>
                    <a:pt x="2322069" y="198831"/>
                  </a:lnTo>
                  <a:lnTo>
                    <a:pt x="2322119" y="199530"/>
                  </a:lnTo>
                  <a:lnTo>
                    <a:pt x="2322119" y="197447"/>
                  </a:lnTo>
                  <a:lnTo>
                    <a:pt x="2322119" y="198831"/>
                  </a:lnTo>
                  <a:lnTo>
                    <a:pt x="2322119" y="197447"/>
                  </a:lnTo>
                  <a:lnTo>
                    <a:pt x="2322119" y="198831"/>
                  </a:lnTo>
                  <a:lnTo>
                    <a:pt x="2322119" y="197447"/>
                  </a:lnTo>
                  <a:lnTo>
                    <a:pt x="2322119" y="199530"/>
                  </a:lnTo>
                  <a:lnTo>
                    <a:pt x="2322119" y="198831"/>
                  </a:lnTo>
                  <a:lnTo>
                    <a:pt x="2322170" y="198831"/>
                  </a:lnTo>
                  <a:lnTo>
                    <a:pt x="2322170" y="199530"/>
                  </a:lnTo>
                  <a:lnTo>
                    <a:pt x="2322272" y="199530"/>
                  </a:lnTo>
                  <a:lnTo>
                    <a:pt x="2322272" y="200228"/>
                  </a:lnTo>
                  <a:lnTo>
                    <a:pt x="2322322" y="200228"/>
                  </a:lnTo>
                  <a:lnTo>
                    <a:pt x="2322322" y="199530"/>
                  </a:lnTo>
                  <a:lnTo>
                    <a:pt x="2322322" y="200228"/>
                  </a:lnTo>
                  <a:lnTo>
                    <a:pt x="2322373" y="200228"/>
                  </a:lnTo>
                  <a:lnTo>
                    <a:pt x="2322373" y="198831"/>
                  </a:lnTo>
                  <a:lnTo>
                    <a:pt x="2322475" y="198831"/>
                  </a:lnTo>
                  <a:lnTo>
                    <a:pt x="2322475" y="196113"/>
                  </a:lnTo>
                  <a:lnTo>
                    <a:pt x="2322475" y="197447"/>
                  </a:lnTo>
                  <a:lnTo>
                    <a:pt x="2322513" y="197447"/>
                  </a:lnTo>
                  <a:lnTo>
                    <a:pt x="2322513" y="196113"/>
                  </a:lnTo>
                  <a:lnTo>
                    <a:pt x="2322513" y="199530"/>
                  </a:lnTo>
                  <a:lnTo>
                    <a:pt x="2322564" y="198831"/>
                  </a:lnTo>
                  <a:lnTo>
                    <a:pt x="2322564" y="197447"/>
                  </a:lnTo>
                  <a:lnTo>
                    <a:pt x="2322564" y="198831"/>
                  </a:lnTo>
                  <a:lnTo>
                    <a:pt x="2322564" y="196799"/>
                  </a:lnTo>
                  <a:lnTo>
                    <a:pt x="2322564" y="198831"/>
                  </a:lnTo>
                  <a:lnTo>
                    <a:pt x="2322615" y="198831"/>
                  </a:lnTo>
                  <a:lnTo>
                    <a:pt x="2322615" y="197447"/>
                  </a:lnTo>
                  <a:lnTo>
                    <a:pt x="2322615" y="198831"/>
                  </a:lnTo>
                  <a:lnTo>
                    <a:pt x="2322615" y="197447"/>
                  </a:lnTo>
                  <a:lnTo>
                    <a:pt x="2322615" y="198831"/>
                  </a:lnTo>
                  <a:lnTo>
                    <a:pt x="2322615" y="197447"/>
                  </a:lnTo>
                  <a:lnTo>
                    <a:pt x="2322615" y="198831"/>
                  </a:lnTo>
                  <a:lnTo>
                    <a:pt x="2322716" y="198831"/>
                  </a:lnTo>
                  <a:lnTo>
                    <a:pt x="2322716" y="197447"/>
                  </a:lnTo>
                  <a:lnTo>
                    <a:pt x="2322716" y="199530"/>
                  </a:lnTo>
                  <a:lnTo>
                    <a:pt x="2322716" y="198831"/>
                  </a:lnTo>
                  <a:lnTo>
                    <a:pt x="2322767" y="198831"/>
                  </a:lnTo>
                  <a:lnTo>
                    <a:pt x="2322767" y="200228"/>
                  </a:lnTo>
                  <a:lnTo>
                    <a:pt x="2322818" y="200228"/>
                  </a:lnTo>
                  <a:lnTo>
                    <a:pt x="2322818" y="199530"/>
                  </a:lnTo>
                  <a:lnTo>
                    <a:pt x="2322919" y="199530"/>
                  </a:lnTo>
                  <a:lnTo>
                    <a:pt x="2322919" y="198831"/>
                  </a:lnTo>
                  <a:lnTo>
                    <a:pt x="2322919" y="199530"/>
                  </a:lnTo>
                  <a:lnTo>
                    <a:pt x="2322919" y="196799"/>
                  </a:lnTo>
                  <a:lnTo>
                    <a:pt x="2322970" y="196799"/>
                  </a:lnTo>
                  <a:lnTo>
                    <a:pt x="2322970" y="198831"/>
                  </a:lnTo>
                  <a:lnTo>
                    <a:pt x="2322970" y="196799"/>
                  </a:lnTo>
                  <a:lnTo>
                    <a:pt x="2323021" y="197447"/>
                  </a:lnTo>
                  <a:lnTo>
                    <a:pt x="2323021" y="196799"/>
                  </a:lnTo>
                  <a:lnTo>
                    <a:pt x="2323021" y="200876"/>
                  </a:lnTo>
                  <a:lnTo>
                    <a:pt x="2323021" y="199530"/>
                  </a:lnTo>
                  <a:lnTo>
                    <a:pt x="2323059" y="198831"/>
                  </a:lnTo>
                  <a:lnTo>
                    <a:pt x="2323059" y="200876"/>
                  </a:lnTo>
                  <a:lnTo>
                    <a:pt x="2323059" y="199530"/>
                  </a:lnTo>
                  <a:lnTo>
                    <a:pt x="2323059" y="200228"/>
                  </a:lnTo>
                  <a:lnTo>
                    <a:pt x="2323059" y="199530"/>
                  </a:lnTo>
                  <a:lnTo>
                    <a:pt x="2323161" y="199530"/>
                  </a:lnTo>
                  <a:lnTo>
                    <a:pt x="2323161" y="200228"/>
                  </a:lnTo>
                  <a:lnTo>
                    <a:pt x="2323161" y="199530"/>
                  </a:lnTo>
                  <a:lnTo>
                    <a:pt x="2323212" y="199530"/>
                  </a:lnTo>
                  <a:lnTo>
                    <a:pt x="2323212" y="200228"/>
                  </a:lnTo>
                  <a:lnTo>
                    <a:pt x="2323262" y="200228"/>
                  </a:lnTo>
                  <a:lnTo>
                    <a:pt x="2323262" y="199530"/>
                  </a:lnTo>
                  <a:lnTo>
                    <a:pt x="2323262" y="200228"/>
                  </a:lnTo>
                  <a:lnTo>
                    <a:pt x="2323364" y="200228"/>
                  </a:lnTo>
                  <a:lnTo>
                    <a:pt x="2323364" y="199530"/>
                  </a:lnTo>
                  <a:lnTo>
                    <a:pt x="2323364" y="200228"/>
                  </a:lnTo>
                  <a:lnTo>
                    <a:pt x="2323364" y="199530"/>
                  </a:lnTo>
                  <a:lnTo>
                    <a:pt x="2323364" y="200228"/>
                  </a:lnTo>
                  <a:lnTo>
                    <a:pt x="2323364" y="199530"/>
                  </a:lnTo>
                  <a:lnTo>
                    <a:pt x="2323364" y="200228"/>
                  </a:lnTo>
                  <a:lnTo>
                    <a:pt x="2323364" y="198831"/>
                  </a:lnTo>
                  <a:lnTo>
                    <a:pt x="2323364" y="199530"/>
                  </a:lnTo>
                  <a:lnTo>
                    <a:pt x="2323415" y="199530"/>
                  </a:lnTo>
                  <a:lnTo>
                    <a:pt x="2323415" y="197447"/>
                  </a:lnTo>
                  <a:lnTo>
                    <a:pt x="2323415" y="198831"/>
                  </a:lnTo>
                  <a:lnTo>
                    <a:pt x="2323415" y="196799"/>
                  </a:lnTo>
                  <a:lnTo>
                    <a:pt x="2323465" y="197447"/>
                  </a:lnTo>
                  <a:lnTo>
                    <a:pt x="2323465" y="196799"/>
                  </a:lnTo>
                  <a:lnTo>
                    <a:pt x="2323465" y="199530"/>
                  </a:lnTo>
                  <a:lnTo>
                    <a:pt x="2323465" y="197447"/>
                  </a:lnTo>
                  <a:lnTo>
                    <a:pt x="2323465" y="198831"/>
                  </a:lnTo>
                  <a:lnTo>
                    <a:pt x="2323516" y="198831"/>
                  </a:lnTo>
                  <a:lnTo>
                    <a:pt x="2323516" y="202260"/>
                  </a:lnTo>
                  <a:lnTo>
                    <a:pt x="2323516" y="199530"/>
                  </a:lnTo>
                  <a:lnTo>
                    <a:pt x="2323516" y="200228"/>
                  </a:lnTo>
                  <a:lnTo>
                    <a:pt x="2323605" y="200228"/>
                  </a:lnTo>
                  <a:lnTo>
                    <a:pt x="2323605" y="200876"/>
                  </a:lnTo>
                  <a:lnTo>
                    <a:pt x="2323605" y="200228"/>
                  </a:lnTo>
                  <a:lnTo>
                    <a:pt x="2323605" y="200876"/>
                  </a:lnTo>
                  <a:lnTo>
                    <a:pt x="2323605" y="199530"/>
                  </a:lnTo>
                  <a:lnTo>
                    <a:pt x="2323656" y="200228"/>
                  </a:lnTo>
                  <a:lnTo>
                    <a:pt x="2323707" y="200876"/>
                  </a:lnTo>
                  <a:lnTo>
                    <a:pt x="2323707" y="200228"/>
                  </a:lnTo>
                  <a:lnTo>
                    <a:pt x="2323707" y="200876"/>
                  </a:lnTo>
                  <a:lnTo>
                    <a:pt x="2323707" y="200228"/>
                  </a:lnTo>
                  <a:lnTo>
                    <a:pt x="2323707" y="200876"/>
                  </a:lnTo>
                  <a:lnTo>
                    <a:pt x="2323707" y="200228"/>
                  </a:lnTo>
                  <a:lnTo>
                    <a:pt x="2323707" y="200876"/>
                  </a:lnTo>
                  <a:lnTo>
                    <a:pt x="2323707" y="200228"/>
                  </a:lnTo>
                  <a:lnTo>
                    <a:pt x="2323707" y="200876"/>
                  </a:lnTo>
                  <a:lnTo>
                    <a:pt x="2323707" y="200228"/>
                  </a:lnTo>
                  <a:lnTo>
                    <a:pt x="2323707" y="200876"/>
                  </a:lnTo>
                  <a:lnTo>
                    <a:pt x="2323707" y="200228"/>
                  </a:lnTo>
                  <a:lnTo>
                    <a:pt x="2323758" y="200876"/>
                  </a:lnTo>
                  <a:lnTo>
                    <a:pt x="2323758" y="200228"/>
                  </a:lnTo>
                  <a:lnTo>
                    <a:pt x="2323758" y="200876"/>
                  </a:lnTo>
                  <a:lnTo>
                    <a:pt x="2323758" y="200228"/>
                  </a:lnTo>
                  <a:lnTo>
                    <a:pt x="2323859" y="200228"/>
                  </a:lnTo>
                  <a:lnTo>
                    <a:pt x="2323859" y="198831"/>
                  </a:lnTo>
                  <a:lnTo>
                    <a:pt x="2323859" y="199530"/>
                  </a:lnTo>
                  <a:lnTo>
                    <a:pt x="2323859" y="198831"/>
                  </a:lnTo>
                  <a:lnTo>
                    <a:pt x="2323859" y="199530"/>
                  </a:lnTo>
                  <a:lnTo>
                    <a:pt x="2323859" y="198831"/>
                  </a:lnTo>
                  <a:lnTo>
                    <a:pt x="2323910" y="198831"/>
                  </a:lnTo>
                  <a:lnTo>
                    <a:pt x="2323910" y="196113"/>
                  </a:lnTo>
                  <a:lnTo>
                    <a:pt x="2323961" y="196113"/>
                  </a:lnTo>
                  <a:lnTo>
                    <a:pt x="2323961" y="198831"/>
                  </a:lnTo>
                  <a:lnTo>
                    <a:pt x="2323961" y="196799"/>
                  </a:lnTo>
                  <a:lnTo>
                    <a:pt x="2324062" y="196799"/>
                  </a:lnTo>
                  <a:lnTo>
                    <a:pt x="2324062" y="199530"/>
                  </a:lnTo>
                  <a:lnTo>
                    <a:pt x="2324062" y="197447"/>
                  </a:lnTo>
                  <a:lnTo>
                    <a:pt x="2324062" y="198831"/>
                  </a:lnTo>
                  <a:lnTo>
                    <a:pt x="2324100" y="199530"/>
                  </a:lnTo>
                  <a:lnTo>
                    <a:pt x="2324100" y="200228"/>
                  </a:lnTo>
                  <a:lnTo>
                    <a:pt x="2324100" y="198831"/>
                  </a:lnTo>
                  <a:lnTo>
                    <a:pt x="2324100" y="199530"/>
                  </a:lnTo>
                  <a:lnTo>
                    <a:pt x="2324151" y="199530"/>
                  </a:lnTo>
                  <a:lnTo>
                    <a:pt x="2324151" y="200228"/>
                  </a:lnTo>
                  <a:lnTo>
                    <a:pt x="2324202" y="200228"/>
                  </a:lnTo>
                  <a:lnTo>
                    <a:pt x="2324202" y="200876"/>
                  </a:lnTo>
                  <a:lnTo>
                    <a:pt x="2324202" y="200228"/>
                  </a:lnTo>
                  <a:lnTo>
                    <a:pt x="2324202" y="200876"/>
                  </a:lnTo>
                  <a:lnTo>
                    <a:pt x="2324202" y="200228"/>
                  </a:lnTo>
                  <a:lnTo>
                    <a:pt x="2324202" y="200876"/>
                  </a:lnTo>
                  <a:lnTo>
                    <a:pt x="2324202" y="200228"/>
                  </a:lnTo>
                  <a:lnTo>
                    <a:pt x="2324202" y="200876"/>
                  </a:lnTo>
                  <a:lnTo>
                    <a:pt x="2324202" y="200228"/>
                  </a:lnTo>
                  <a:lnTo>
                    <a:pt x="2324202" y="200876"/>
                  </a:lnTo>
                  <a:lnTo>
                    <a:pt x="2324202" y="200228"/>
                  </a:lnTo>
                  <a:lnTo>
                    <a:pt x="2324304" y="200228"/>
                  </a:lnTo>
                  <a:lnTo>
                    <a:pt x="2324304" y="200876"/>
                  </a:lnTo>
                  <a:lnTo>
                    <a:pt x="2324304" y="199530"/>
                  </a:lnTo>
                  <a:lnTo>
                    <a:pt x="2324304" y="200228"/>
                  </a:lnTo>
                  <a:lnTo>
                    <a:pt x="2324304" y="199530"/>
                  </a:lnTo>
                  <a:lnTo>
                    <a:pt x="2324355" y="199530"/>
                  </a:lnTo>
                  <a:lnTo>
                    <a:pt x="2324355" y="200228"/>
                  </a:lnTo>
                  <a:lnTo>
                    <a:pt x="2324355" y="198831"/>
                  </a:lnTo>
                  <a:lnTo>
                    <a:pt x="2324355" y="199530"/>
                  </a:lnTo>
                  <a:lnTo>
                    <a:pt x="2324355" y="198831"/>
                  </a:lnTo>
                  <a:lnTo>
                    <a:pt x="2324405" y="198831"/>
                  </a:lnTo>
                  <a:lnTo>
                    <a:pt x="2324405" y="196799"/>
                  </a:lnTo>
                  <a:lnTo>
                    <a:pt x="2324405" y="197447"/>
                  </a:lnTo>
                  <a:lnTo>
                    <a:pt x="2324405" y="196799"/>
                  </a:lnTo>
                  <a:lnTo>
                    <a:pt x="2324405" y="197447"/>
                  </a:lnTo>
                  <a:lnTo>
                    <a:pt x="2324507" y="197447"/>
                  </a:lnTo>
                  <a:lnTo>
                    <a:pt x="2324507" y="198831"/>
                  </a:lnTo>
                  <a:lnTo>
                    <a:pt x="2324507" y="196799"/>
                  </a:lnTo>
                  <a:lnTo>
                    <a:pt x="2324507" y="198831"/>
                  </a:lnTo>
                  <a:lnTo>
                    <a:pt x="2324558" y="198831"/>
                  </a:lnTo>
                  <a:lnTo>
                    <a:pt x="2324558" y="199530"/>
                  </a:lnTo>
                  <a:lnTo>
                    <a:pt x="2324558" y="198831"/>
                  </a:lnTo>
                  <a:lnTo>
                    <a:pt x="2324558" y="199530"/>
                  </a:lnTo>
                  <a:lnTo>
                    <a:pt x="2324558" y="198831"/>
                  </a:lnTo>
                  <a:lnTo>
                    <a:pt x="2324558" y="199530"/>
                  </a:lnTo>
                  <a:lnTo>
                    <a:pt x="2324558" y="198831"/>
                  </a:lnTo>
                  <a:lnTo>
                    <a:pt x="2324609" y="199530"/>
                  </a:lnTo>
                  <a:lnTo>
                    <a:pt x="2324609" y="198831"/>
                  </a:lnTo>
                  <a:lnTo>
                    <a:pt x="2324609" y="199530"/>
                  </a:lnTo>
                  <a:lnTo>
                    <a:pt x="2324609" y="198831"/>
                  </a:lnTo>
                  <a:lnTo>
                    <a:pt x="2324609" y="199530"/>
                  </a:lnTo>
                  <a:lnTo>
                    <a:pt x="2324647" y="199530"/>
                  </a:lnTo>
                  <a:lnTo>
                    <a:pt x="2324647" y="200228"/>
                  </a:lnTo>
                  <a:lnTo>
                    <a:pt x="2324748" y="199530"/>
                  </a:lnTo>
                  <a:lnTo>
                    <a:pt x="2324748" y="200228"/>
                  </a:lnTo>
                  <a:lnTo>
                    <a:pt x="2324748" y="199530"/>
                  </a:lnTo>
                  <a:lnTo>
                    <a:pt x="2324748" y="200228"/>
                  </a:lnTo>
                  <a:lnTo>
                    <a:pt x="2324748" y="199530"/>
                  </a:lnTo>
                  <a:lnTo>
                    <a:pt x="2324748" y="200876"/>
                  </a:lnTo>
                  <a:lnTo>
                    <a:pt x="2324748" y="200228"/>
                  </a:lnTo>
                  <a:lnTo>
                    <a:pt x="2324748" y="200876"/>
                  </a:lnTo>
                  <a:lnTo>
                    <a:pt x="2324748" y="200228"/>
                  </a:lnTo>
                  <a:lnTo>
                    <a:pt x="2324748" y="200876"/>
                  </a:lnTo>
                  <a:lnTo>
                    <a:pt x="2324799" y="200228"/>
                  </a:lnTo>
                  <a:lnTo>
                    <a:pt x="2324799" y="200876"/>
                  </a:lnTo>
                  <a:lnTo>
                    <a:pt x="2324799" y="200228"/>
                  </a:lnTo>
                  <a:lnTo>
                    <a:pt x="2324799" y="200876"/>
                  </a:lnTo>
                  <a:lnTo>
                    <a:pt x="2324799" y="199530"/>
                  </a:lnTo>
                  <a:lnTo>
                    <a:pt x="2324799" y="200228"/>
                  </a:lnTo>
                  <a:lnTo>
                    <a:pt x="2324850" y="199530"/>
                  </a:lnTo>
                  <a:lnTo>
                    <a:pt x="2324850" y="198831"/>
                  </a:lnTo>
                  <a:lnTo>
                    <a:pt x="2324850" y="199530"/>
                  </a:lnTo>
                  <a:lnTo>
                    <a:pt x="2324850" y="198831"/>
                  </a:lnTo>
                  <a:lnTo>
                    <a:pt x="2324951" y="198831"/>
                  </a:lnTo>
                  <a:lnTo>
                    <a:pt x="2324951" y="196113"/>
                  </a:lnTo>
                  <a:lnTo>
                    <a:pt x="2325002" y="196799"/>
                  </a:lnTo>
                  <a:lnTo>
                    <a:pt x="2325002" y="196113"/>
                  </a:lnTo>
                  <a:lnTo>
                    <a:pt x="2325002" y="197447"/>
                  </a:lnTo>
                  <a:lnTo>
                    <a:pt x="2325002" y="196799"/>
                  </a:lnTo>
                  <a:lnTo>
                    <a:pt x="2325002" y="197447"/>
                  </a:lnTo>
                  <a:lnTo>
                    <a:pt x="2325002" y="196113"/>
                  </a:lnTo>
                  <a:lnTo>
                    <a:pt x="2325002" y="196799"/>
                  </a:lnTo>
                  <a:lnTo>
                    <a:pt x="2325053" y="197447"/>
                  </a:lnTo>
                  <a:lnTo>
                    <a:pt x="2325053" y="198831"/>
                  </a:lnTo>
                  <a:lnTo>
                    <a:pt x="2325053" y="197447"/>
                  </a:lnTo>
                  <a:lnTo>
                    <a:pt x="2325104" y="198831"/>
                  </a:lnTo>
                  <a:lnTo>
                    <a:pt x="2325104" y="197447"/>
                  </a:lnTo>
                  <a:lnTo>
                    <a:pt x="2325104" y="198831"/>
                  </a:lnTo>
                  <a:lnTo>
                    <a:pt x="2325104" y="197447"/>
                  </a:lnTo>
                  <a:lnTo>
                    <a:pt x="2325104" y="199530"/>
                  </a:lnTo>
                  <a:lnTo>
                    <a:pt x="2325193" y="199530"/>
                  </a:lnTo>
                  <a:lnTo>
                    <a:pt x="2325193" y="200228"/>
                  </a:lnTo>
                  <a:lnTo>
                    <a:pt x="2325244" y="200228"/>
                  </a:lnTo>
                  <a:lnTo>
                    <a:pt x="2325244" y="199530"/>
                  </a:lnTo>
                  <a:lnTo>
                    <a:pt x="2325244" y="200228"/>
                  </a:lnTo>
                  <a:lnTo>
                    <a:pt x="2325244" y="199530"/>
                  </a:lnTo>
                  <a:lnTo>
                    <a:pt x="2325244" y="200228"/>
                  </a:lnTo>
                  <a:lnTo>
                    <a:pt x="2325294" y="200228"/>
                  </a:lnTo>
                  <a:lnTo>
                    <a:pt x="2325294" y="199530"/>
                  </a:lnTo>
                  <a:lnTo>
                    <a:pt x="2325294" y="200228"/>
                  </a:lnTo>
                  <a:lnTo>
                    <a:pt x="2325294" y="199530"/>
                  </a:lnTo>
                  <a:lnTo>
                    <a:pt x="2325345" y="200228"/>
                  </a:lnTo>
                  <a:lnTo>
                    <a:pt x="2325345" y="198831"/>
                  </a:lnTo>
                  <a:lnTo>
                    <a:pt x="2325345" y="199530"/>
                  </a:lnTo>
                  <a:lnTo>
                    <a:pt x="2325345" y="198831"/>
                  </a:lnTo>
                  <a:lnTo>
                    <a:pt x="2325345" y="199530"/>
                  </a:lnTo>
                  <a:lnTo>
                    <a:pt x="2325345" y="198831"/>
                  </a:lnTo>
                  <a:lnTo>
                    <a:pt x="2325447" y="198831"/>
                  </a:lnTo>
                  <a:lnTo>
                    <a:pt x="2325447" y="197447"/>
                  </a:lnTo>
                  <a:lnTo>
                    <a:pt x="2325447" y="198831"/>
                  </a:lnTo>
                  <a:lnTo>
                    <a:pt x="2325447" y="196799"/>
                  </a:lnTo>
                  <a:lnTo>
                    <a:pt x="2325447" y="197447"/>
                  </a:lnTo>
                  <a:lnTo>
                    <a:pt x="2325447" y="196799"/>
                  </a:lnTo>
                  <a:lnTo>
                    <a:pt x="2325497" y="197447"/>
                  </a:lnTo>
                  <a:lnTo>
                    <a:pt x="2325497" y="198831"/>
                  </a:lnTo>
                  <a:lnTo>
                    <a:pt x="2325497" y="195415"/>
                  </a:lnTo>
                  <a:lnTo>
                    <a:pt x="2325497" y="197447"/>
                  </a:lnTo>
                  <a:lnTo>
                    <a:pt x="2325548" y="198831"/>
                  </a:lnTo>
                  <a:lnTo>
                    <a:pt x="2325548" y="196799"/>
                  </a:lnTo>
                  <a:lnTo>
                    <a:pt x="2325548" y="197447"/>
                  </a:lnTo>
                  <a:lnTo>
                    <a:pt x="2325548" y="196799"/>
                  </a:lnTo>
                  <a:lnTo>
                    <a:pt x="2325548" y="198831"/>
                  </a:lnTo>
                  <a:lnTo>
                    <a:pt x="2325650" y="198831"/>
                  </a:lnTo>
                  <a:lnTo>
                    <a:pt x="2325650" y="197447"/>
                  </a:lnTo>
                  <a:lnTo>
                    <a:pt x="2325650" y="198831"/>
                  </a:lnTo>
                  <a:lnTo>
                    <a:pt x="2325650" y="196799"/>
                  </a:lnTo>
                  <a:lnTo>
                    <a:pt x="2325650" y="197447"/>
                  </a:lnTo>
                  <a:lnTo>
                    <a:pt x="2325650" y="196799"/>
                  </a:lnTo>
                  <a:lnTo>
                    <a:pt x="2325650" y="197447"/>
                  </a:lnTo>
                  <a:lnTo>
                    <a:pt x="2325688" y="197447"/>
                  </a:lnTo>
                  <a:lnTo>
                    <a:pt x="2325688" y="198831"/>
                  </a:lnTo>
                  <a:lnTo>
                    <a:pt x="2325688" y="197447"/>
                  </a:lnTo>
                  <a:lnTo>
                    <a:pt x="2325688" y="199530"/>
                  </a:lnTo>
                  <a:lnTo>
                    <a:pt x="2325688" y="198831"/>
                  </a:lnTo>
                  <a:lnTo>
                    <a:pt x="2325688" y="199530"/>
                  </a:lnTo>
                  <a:lnTo>
                    <a:pt x="2325688" y="198831"/>
                  </a:lnTo>
                  <a:lnTo>
                    <a:pt x="2325688" y="199530"/>
                  </a:lnTo>
                  <a:lnTo>
                    <a:pt x="2325688" y="198831"/>
                  </a:lnTo>
                  <a:lnTo>
                    <a:pt x="2325739" y="199530"/>
                  </a:lnTo>
                  <a:lnTo>
                    <a:pt x="2325739" y="198831"/>
                  </a:lnTo>
                  <a:lnTo>
                    <a:pt x="2325739" y="199530"/>
                  </a:lnTo>
                  <a:lnTo>
                    <a:pt x="2325739" y="198831"/>
                  </a:lnTo>
                  <a:lnTo>
                    <a:pt x="2325739" y="199530"/>
                  </a:lnTo>
                  <a:lnTo>
                    <a:pt x="2325790" y="199530"/>
                  </a:lnTo>
                  <a:lnTo>
                    <a:pt x="2325790" y="198831"/>
                  </a:lnTo>
                  <a:lnTo>
                    <a:pt x="2325790" y="199530"/>
                  </a:lnTo>
                  <a:lnTo>
                    <a:pt x="2325891" y="199530"/>
                  </a:lnTo>
                  <a:lnTo>
                    <a:pt x="2325891" y="198831"/>
                  </a:lnTo>
                  <a:lnTo>
                    <a:pt x="2325891" y="199530"/>
                  </a:lnTo>
                  <a:lnTo>
                    <a:pt x="2325891" y="197447"/>
                  </a:lnTo>
                  <a:lnTo>
                    <a:pt x="2325942" y="197447"/>
                  </a:lnTo>
                  <a:lnTo>
                    <a:pt x="2325942" y="198831"/>
                  </a:lnTo>
                  <a:lnTo>
                    <a:pt x="2325942" y="197447"/>
                  </a:lnTo>
                  <a:lnTo>
                    <a:pt x="2325942" y="198831"/>
                  </a:lnTo>
                  <a:lnTo>
                    <a:pt x="2325993" y="198831"/>
                  </a:lnTo>
                  <a:lnTo>
                    <a:pt x="2325993" y="197447"/>
                  </a:lnTo>
                  <a:lnTo>
                    <a:pt x="2325993" y="200228"/>
                  </a:lnTo>
                  <a:lnTo>
                    <a:pt x="2325993" y="199530"/>
                  </a:lnTo>
                  <a:lnTo>
                    <a:pt x="2326094" y="199530"/>
                  </a:lnTo>
                  <a:lnTo>
                    <a:pt x="2326094" y="200228"/>
                  </a:lnTo>
                  <a:lnTo>
                    <a:pt x="2326094" y="199530"/>
                  </a:lnTo>
                  <a:lnTo>
                    <a:pt x="2326094" y="200228"/>
                  </a:lnTo>
                  <a:lnTo>
                    <a:pt x="2326094" y="199530"/>
                  </a:lnTo>
                  <a:lnTo>
                    <a:pt x="2326145" y="199530"/>
                  </a:lnTo>
                  <a:lnTo>
                    <a:pt x="2326145" y="200228"/>
                  </a:lnTo>
                  <a:lnTo>
                    <a:pt x="2326145" y="199530"/>
                  </a:lnTo>
                  <a:lnTo>
                    <a:pt x="2326145" y="200228"/>
                  </a:lnTo>
                  <a:lnTo>
                    <a:pt x="2326145" y="199530"/>
                  </a:lnTo>
                  <a:lnTo>
                    <a:pt x="2326196" y="199530"/>
                  </a:lnTo>
                  <a:lnTo>
                    <a:pt x="2326196" y="200228"/>
                  </a:lnTo>
                  <a:lnTo>
                    <a:pt x="2326196" y="199530"/>
                  </a:lnTo>
                  <a:lnTo>
                    <a:pt x="2326196" y="200228"/>
                  </a:lnTo>
                  <a:lnTo>
                    <a:pt x="2326196" y="199530"/>
                  </a:lnTo>
                  <a:lnTo>
                    <a:pt x="2326196" y="200228"/>
                  </a:lnTo>
                  <a:lnTo>
                    <a:pt x="2326196" y="199530"/>
                  </a:lnTo>
                  <a:lnTo>
                    <a:pt x="2326234" y="199530"/>
                  </a:lnTo>
                  <a:lnTo>
                    <a:pt x="2326234" y="200228"/>
                  </a:lnTo>
                  <a:lnTo>
                    <a:pt x="2326234" y="199530"/>
                  </a:lnTo>
                  <a:lnTo>
                    <a:pt x="2326234" y="200228"/>
                  </a:lnTo>
                  <a:lnTo>
                    <a:pt x="2326234" y="199530"/>
                  </a:lnTo>
                  <a:lnTo>
                    <a:pt x="2326234" y="200228"/>
                  </a:lnTo>
                  <a:lnTo>
                    <a:pt x="2326336" y="200228"/>
                  </a:lnTo>
                  <a:lnTo>
                    <a:pt x="2326336" y="199530"/>
                  </a:lnTo>
                  <a:lnTo>
                    <a:pt x="2326336" y="200228"/>
                  </a:lnTo>
                  <a:lnTo>
                    <a:pt x="2326336" y="199530"/>
                  </a:lnTo>
                  <a:lnTo>
                    <a:pt x="2326336" y="200228"/>
                  </a:lnTo>
                  <a:lnTo>
                    <a:pt x="2326336" y="199530"/>
                  </a:lnTo>
                  <a:lnTo>
                    <a:pt x="2326387" y="199530"/>
                  </a:lnTo>
                  <a:lnTo>
                    <a:pt x="2326387" y="198831"/>
                  </a:lnTo>
                  <a:lnTo>
                    <a:pt x="2326387" y="199530"/>
                  </a:lnTo>
                  <a:lnTo>
                    <a:pt x="2326387" y="198831"/>
                  </a:lnTo>
                  <a:lnTo>
                    <a:pt x="2326387" y="199530"/>
                  </a:lnTo>
                  <a:lnTo>
                    <a:pt x="2326387" y="198831"/>
                  </a:lnTo>
                  <a:lnTo>
                    <a:pt x="2326387" y="199530"/>
                  </a:lnTo>
                  <a:lnTo>
                    <a:pt x="2326437" y="198831"/>
                  </a:lnTo>
                  <a:lnTo>
                    <a:pt x="2326437" y="197447"/>
                  </a:lnTo>
                  <a:lnTo>
                    <a:pt x="2326437" y="199530"/>
                  </a:lnTo>
                  <a:lnTo>
                    <a:pt x="2326437" y="198831"/>
                  </a:lnTo>
                  <a:lnTo>
                    <a:pt x="2326539" y="198831"/>
                  </a:lnTo>
                  <a:lnTo>
                    <a:pt x="2326539" y="200876"/>
                  </a:lnTo>
                  <a:lnTo>
                    <a:pt x="2326539" y="200228"/>
                  </a:lnTo>
                  <a:lnTo>
                    <a:pt x="2326590" y="200228"/>
                  </a:lnTo>
                  <a:lnTo>
                    <a:pt x="2326590" y="200876"/>
                  </a:lnTo>
                  <a:lnTo>
                    <a:pt x="2326590" y="200228"/>
                  </a:lnTo>
                  <a:lnTo>
                    <a:pt x="2326590" y="200876"/>
                  </a:lnTo>
                  <a:lnTo>
                    <a:pt x="2326590" y="200228"/>
                  </a:lnTo>
                  <a:lnTo>
                    <a:pt x="2326640" y="200876"/>
                  </a:lnTo>
                  <a:lnTo>
                    <a:pt x="2326640" y="200228"/>
                  </a:lnTo>
                  <a:lnTo>
                    <a:pt x="2326640" y="200876"/>
                  </a:lnTo>
                  <a:lnTo>
                    <a:pt x="2326640" y="200228"/>
                  </a:lnTo>
                  <a:lnTo>
                    <a:pt x="2326640" y="200876"/>
                  </a:lnTo>
                  <a:lnTo>
                    <a:pt x="2326640" y="200228"/>
                  </a:lnTo>
                  <a:lnTo>
                    <a:pt x="2326640" y="200876"/>
                  </a:lnTo>
                  <a:lnTo>
                    <a:pt x="2326640" y="200228"/>
                  </a:lnTo>
                  <a:lnTo>
                    <a:pt x="2326640" y="200876"/>
                  </a:lnTo>
                  <a:lnTo>
                    <a:pt x="2326691" y="200876"/>
                  </a:lnTo>
                  <a:lnTo>
                    <a:pt x="2326691" y="200228"/>
                  </a:lnTo>
                  <a:lnTo>
                    <a:pt x="2326691" y="200876"/>
                  </a:lnTo>
                  <a:lnTo>
                    <a:pt x="2326691" y="200228"/>
                  </a:lnTo>
                  <a:lnTo>
                    <a:pt x="2326780" y="200876"/>
                  </a:lnTo>
                  <a:lnTo>
                    <a:pt x="2326780" y="199530"/>
                  </a:lnTo>
                  <a:lnTo>
                    <a:pt x="2326780" y="200228"/>
                  </a:lnTo>
                  <a:lnTo>
                    <a:pt x="2326831" y="199530"/>
                  </a:lnTo>
                  <a:lnTo>
                    <a:pt x="2326831" y="200228"/>
                  </a:lnTo>
                  <a:lnTo>
                    <a:pt x="2326831" y="198831"/>
                  </a:lnTo>
                  <a:lnTo>
                    <a:pt x="2326831" y="199530"/>
                  </a:lnTo>
                  <a:lnTo>
                    <a:pt x="2326831" y="198831"/>
                  </a:lnTo>
                  <a:lnTo>
                    <a:pt x="2326831" y="199530"/>
                  </a:lnTo>
                  <a:lnTo>
                    <a:pt x="2326882" y="198831"/>
                  </a:lnTo>
                  <a:lnTo>
                    <a:pt x="2326882" y="197447"/>
                  </a:lnTo>
                  <a:lnTo>
                    <a:pt x="2326882" y="198831"/>
                  </a:lnTo>
                  <a:lnTo>
                    <a:pt x="2326882" y="196799"/>
                  </a:lnTo>
                  <a:lnTo>
                    <a:pt x="2326882" y="197447"/>
                  </a:lnTo>
                  <a:lnTo>
                    <a:pt x="2326882" y="196799"/>
                  </a:lnTo>
                  <a:lnTo>
                    <a:pt x="2326882" y="197447"/>
                  </a:lnTo>
                  <a:lnTo>
                    <a:pt x="2326882" y="196113"/>
                  </a:lnTo>
                  <a:lnTo>
                    <a:pt x="2326933" y="196799"/>
                  </a:lnTo>
                  <a:lnTo>
                    <a:pt x="2326933" y="197447"/>
                  </a:lnTo>
                  <a:lnTo>
                    <a:pt x="2326933" y="196113"/>
                  </a:lnTo>
                  <a:lnTo>
                    <a:pt x="2326933" y="196799"/>
                  </a:lnTo>
                  <a:lnTo>
                    <a:pt x="2327034" y="197447"/>
                  </a:lnTo>
                  <a:lnTo>
                    <a:pt x="2327034" y="199530"/>
                  </a:lnTo>
                  <a:lnTo>
                    <a:pt x="2327034" y="198831"/>
                  </a:lnTo>
                  <a:lnTo>
                    <a:pt x="2327034" y="199530"/>
                  </a:lnTo>
                  <a:lnTo>
                    <a:pt x="2327085" y="199530"/>
                  </a:lnTo>
                  <a:lnTo>
                    <a:pt x="2327085" y="200228"/>
                  </a:lnTo>
                  <a:lnTo>
                    <a:pt x="2327085" y="199530"/>
                  </a:lnTo>
                  <a:lnTo>
                    <a:pt x="2327085" y="200228"/>
                  </a:lnTo>
                  <a:lnTo>
                    <a:pt x="2327085" y="199530"/>
                  </a:lnTo>
                  <a:lnTo>
                    <a:pt x="2327085" y="200228"/>
                  </a:lnTo>
                  <a:lnTo>
                    <a:pt x="2327085" y="199530"/>
                  </a:lnTo>
                  <a:lnTo>
                    <a:pt x="2327085" y="200228"/>
                  </a:lnTo>
                  <a:lnTo>
                    <a:pt x="2327136" y="200228"/>
                  </a:lnTo>
                  <a:lnTo>
                    <a:pt x="2327136" y="200876"/>
                  </a:lnTo>
                  <a:lnTo>
                    <a:pt x="2327136" y="200228"/>
                  </a:lnTo>
                  <a:lnTo>
                    <a:pt x="2327136" y="200876"/>
                  </a:lnTo>
                  <a:lnTo>
                    <a:pt x="2327136" y="200228"/>
                  </a:lnTo>
                  <a:lnTo>
                    <a:pt x="2327136" y="200876"/>
                  </a:lnTo>
                  <a:lnTo>
                    <a:pt x="2327237" y="200876"/>
                  </a:lnTo>
                  <a:lnTo>
                    <a:pt x="2327237" y="200228"/>
                  </a:lnTo>
                  <a:lnTo>
                    <a:pt x="2327237" y="200876"/>
                  </a:lnTo>
                  <a:lnTo>
                    <a:pt x="2327237" y="200228"/>
                  </a:lnTo>
                  <a:lnTo>
                    <a:pt x="2327237" y="200876"/>
                  </a:lnTo>
                  <a:lnTo>
                    <a:pt x="2327237" y="200228"/>
                  </a:lnTo>
                  <a:lnTo>
                    <a:pt x="2327237" y="200876"/>
                  </a:lnTo>
                  <a:lnTo>
                    <a:pt x="2327237" y="200228"/>
                  </a:lnTo>
                  <a:lnTo>
                    <a:pt x="2327275" y="200228"/>
                  </a:lnTo>
                  <a:lnTo>
                    <a:pt x="2327275" y="200876"/>
                  </a:lnTo>
                  <a:lnTo>
                    <a:pt x="2327275" y="200228"/>
                  </a:lnTo>
                  <a:lnTo>
                    <a:pt x="2327275" y="200876"/>
                  </a:lnTo>
                  <a:lnTo>
                    <a:pt x="2327275" y="200228"/>
                  </a:lnTo>
                  <a:lnTo>
                    <a:pt x="2327275" y="200876"/>
                  </a:lnTo>
                  <a:lnTo>
                    <a:pt x="2327275" y="200228"/>
                  </a:lnTo>
                  <a:lnTo>
                    <a:pt x="2327275" y="200876"/>
                  </a:lnTo>
                  <a:lnTo>
                    <a:pt x="2327275" y="200228"/>
                  </a:lnTo>
                  <a:lnTo>
                    <a:pt x="2327275" y="200876"/>
                  </a:lnTo>
                  <a:lnTo>
                    <a:pt x="2327275" y="200228"/>
                  </a:lnTo>
                  <a:lnTo>
                    <a:pt x="2327326" y="200228"/>
                  </a:lnTo>
                  <a:lnTo>
                    <a:pt x="2327326" y="199530"/>
                  </a:lnTo>
                  <a:lnTo>
                    <a:pt x="2327326" y="200228"/>
                  </a:lnTo>
                  <a:lnTo>
                    <a:pt x="2327326" y="198831"/>
                  </a:lnTo>
                  <a:lnTo>
                    <a:pt x="2327326" y="199530"/>
                  </a:lnTo>
                  <a:lnTo>
                    <a:pt x="2327377" y="199530"/>
                  </a:lnTo>
                  <a:lnTo>
                    <a:pt x="2327377" y="198831"/>
                  </a:lnTo>
                  <a:lnTo>
                    <a:pt x="2327377" y="199530"/>
                  </a:lnTo>
                  <a:lnTo>
                    <a:pt x="2327377" y="196799"/>
                  </a:lnTo>
                  <a:lnTo>
                    <a:pt x="2327377" y="198831"/>
                  </a:lnTo>
                  <a:lnTo>
                    <a:pt x="2327479" y="198831"/>
                  </a:lnTo>
                  <a:lnTo>
                    <a:pt x="2327479" y="197447"/>
                  </a:lnTo>
                  <a:lnTo>
                    <a:pt x="2327479" y="199530"/>
                  </a:lnTo>
                  <a:lnTo>
                    <a:pt x="2327530" y="200228"/>
                  </a:lnTo>
                  <a:lnTo>
                    <a:pt x="2327530" y="198831"/>
                  </a:lnTo>
                  <a:lnTo>
                    <a:pt x="2327530" y="200228"/>
                  </a:lnTo>
                  <a:lnTo>
                    <a:pt x="2327530" y="199530"/>
                  </a:lnTo>
                  <a:lnTo>
                    <a:pt x="2327580" y="199530"/>
                  </a:lnTo>
                  <a:lnTo>
                    <a:pt x="2327580" y="200228"/>
                  </a:lnTo>
                  <a:lnTo>
                    <a:pt x="2327580" y="199530"/>
                  </a:lnTo>
                  <a:lnTo>
                    <a:pt x="2327580" y="200228"/>
                  </a:lnTo>
                  <a:lnTo>
                    <a:pt x="2327682" y="200228"/>
                  </a:lnTo>
                  <a:lnTo>
                    <a:pt x="2327682" y="200876"/>
                  </a:lnTo>
                  <a:lnTo>
                    <a:pt x="2327682" y="200228"/>
                  </a:lnTo>
                  <a:lnTo>
                    <a:pt x="2327682" y="200876"/>
                  </a:lnTo>
                  <a:lnTo>
                    <a:pt x="2327682" y="200228"/>
                  </a:lnTo>
                  <a:lnTo>
                    <a:pt x="2327733" y="200228"/>
                  </a:lnTo>
                  <a:lnTo>
                    <a:pt x="2327733" y="200876"/>
                  </a:lnTo>
                  <a:lnTo>
                    <a:pt x="2327733" y="200228"/>
                  </a:lnTo>
                  <a:lnTo>
                    <a:pt x="2327733" y="200876"/>
                  </a:lnTo>
                  <a:lnTo>
                    <a:pt x="2327733" y="200228"/>
                  </a:lnTo>
                  <a:lnTo>
                    <a:pt x="2327733" y="200876"/>
                  </a:lnTo>
                  <a:lnTo>
                    <a:pt x="2327733" y="200228"/>
                  </a:lnTo>
                  <a:lnTo>
                    <a:pt x="2327784" y="200228"/>
                  </a:lnTo>
                  <a:lnTo>
                    <a:pt x="2327784" y="200876"/>
                  </a:lnTo>
                  <a:lnTo>
                    <a:pt x="2327784" y="200228"/>
                  </a:lnTo>
                  <a:lnTo>
                    <a:pt x="2327784" y="200876"/>
                  </a:lnTo>
                  <a:lnTo>
                    <a:pt x="2327784" y="200228"/>
                  </a:lnTo>
                  <a:lnTo>
                    <a:pt x="2327784" y="200876"/>
                  </a:lnTo>
                  <a:lnTo>
                    <a:pt x="2327784" y="200228"/>
                  </a:lnTo>
                  <a:lnTo>
                    <a:pt x="2327822" y="200228"/>
                  </a:lnTo>
                  <a:lnTo>
                    <a:pt x="2327822" y="199530"/>
                  </a:lnTo>
                  <a:lnTo>
                    <a:pt x="2327822" y="200228"/>
                  </a:lnTo>
                  <a:lnTo>
                    <a:pt x="2327822" y="199530"/>
                  </a:lnTo>
                  <a:lnTo>
                    <a:pt x="2327822" y="200228"/>
                  </a:lnTo>
                  <a:lnTo>
                    <a:pt x="2327822" y="197447"/>
                  </a:lnTo>
                  <a:lnTo>
                    <a:pt x="2327923" y="197447"/>
                  </a:lnTo>
                  <a:lnTo>
                    <a:pt x="2327923" y="196113"/>
                  </a:lnTo>
                  <a:lnTo>
                    <a:pt x="2327923" y="196799"/>
                  </a:lnTo>
                  <a:lnTo>
                    <a:pt x="2327974" y="196799"/>
                  </a:lnTo>
                  <a:lnTo>
                    <a:pt x="2327974" y="196113"/>
                  </a:lnTo>
                  <a:lnTo>
                    <a:pt x="2327974" y="196799"/>
                  </a:lnTo>
                  <a:lnTo>
                    <a:pt x="2327974" y="196113"/>
                  </a:lnTo>
                  <a:lnTo>
                    <a:pt x="2327974" y="197447"/>
                  </a:lnTo>
                  <a:lnTo>
                    <a:pt x="2328025" y="198831"/>
                  </a:lnTo>
                  <a:lnTo>
                    <a:pt x="2328025" y="197447"/>
                  </a:lnTo>
                  <a:lnTo>
                    <a:pt x="2328025" y="200228"/>
                  </a:lnTo>
                  <a:lnTo>
                    <a:pt x="2328126" y="199530"/>
                  </a:lnTo>
                  <a:lnTo>
                    <a:pt x="2328126" y="198831"/>
                  </a:lnTo>
                  <a:lnTo>
                    <a:pt x="2328126" y="199530"/>
                  </a:lnTo>
                  <a:lnTo>
                    <a:pt x="2328177" y="199530"/>
                  </a:lnTo>
                  <a:lnTo>
                    <a:pt x="2328177" y="198831"/>
                  </a:lnTo>
                  <a:lnTo>
                    <a:pt x="2328177" y="200228"/>
                  </a:lnTo>
                  <a:lnTo>
                    <a:pt x="2328177" y="199530"/>
                  </a:lnTo>
                  <a:lnTo>
                    <a:pt x="2328177" y="200228"/>
                  </a:lnTo>
                  <a:lnTo>
                    <a:pt x="2328177" y="199530"/>
                  </a:lnTo>
                  <a:lnTo>
                    <a:pt x="2328177" y="200228"/>
                  </a:lnTo>
                  <a:lnTo>
                    <a:pt x="2328177" y="199530"/>
                  </a:lnTo>
                  <a:lnTo>
                    <a:pt x="2328228" y="200228"/>
                  </a:lnTo>
                  <a:lnTo>
                    <a:pt x="2328228" y="200876"/>
                  </a:lnTo>
                  <a:lnTo>
                    <a:pt x="2328228" y="200228"/>
                  </a:lnTo>
                  <a:lnTo>
                    <a:pt x="2328228" y="200876"/>
                  </a:lnTo>
                  <a:lnTo>
                    <a:pt x="2328279" y="200228"/>
                  </a:lnTo>
                  <a:lnTo>
                    <a:pt x="2328279" y="200876"/>
                  </a:lnTo>
                  <a:lnTo>
                    <a:pt x="2328279" y="200228"/>
                  </a:lnTo>
                  <a:lnTo>
                    <a:pt x="2328279" y="200876"/>
                  </a:lnTo>
                  <a:lnTo>
                    <a:pt x="2328279" y="200228"/>
                  </a:lnTo>
                  <a:lnTo>
                    <a:pt x="2328279" y="200876"/>
                  </a:lnTo>
                  <a:lnTo>
                    <a:pt x="2328279" y="200228"/>
                  </a:lnTo>
                  <a:lnTo>
                    <a:pt x="2328279" y="200876"/>
                  </a:lnTo>
                  <a:lnTo>
                    <a:pt x="2328368" y="200876"/>
                  </a:lnTo>
                  <a:lnTo>
                    <a:pt x="2328368" y="199530"/>
                  </a:lnTo>
                  <a:lnTo>
                    <a:pt x="2328368" y="200228"/>
                  </a:lnTo>
                  <a:lnTo>
                    <a:pt x="2328368" y="199530"/>
                  </a:lnTo>
                  <a:lnTo>
                    <a:pt x="2328368" y="200228"/>
                  </a:lnTo>
                  <a:lnTo>
                    <a:pt x="2328368" y="198831"/>
                  </a:lnTo>
                  <a:lnTo>
                    <a:pt x="2328368" y="199530"/>
                  </a:lnTo>
                  <a:lnTo>
                    <a:pt x="2328368" y="198831"/>
                  </a:lnTo>
                  <a:lnTo>
                    <a:pt x="2328419" y="198831"/>
                  </a:lnTo>
                  <a:lnTo>
                    <a:pt x="2328419" y="196799"/>
                  </a:lnTo>
                  <a:lnTo>
                    <a:pt x="2328419" y="199530"/>
                  </a:lnTo>
                  <a:lnTo>
                    <a:pt x="2328419" y="198831"/>
                  </a:lnTo>
                  <a:lnTo>
                    <a:pt x="2328469" y="197447"/>
                  </a:lnTo>
                  <a:lnTo>
                    <a:pt x="2328469" y="196113"/>
                  </a:lnTo>
                  <a:lnTo>
                    <a:pt x="2328469" y="199530"/>
                  </a:lnTo>
                  <a:lnTo>
                    <a:pt x="2328469" y="198831"/>
                  </a:lnTo>
                  <a:lnTo>
                    <a:pt x="2328520" y="197447"/>
                  </a:lnTo>
                  <a:lnTo>
                    <a:pt x="2328520" y="200228"/>
                  </a:lnTo>
                  <a:lnTo>
                    <a:pt x="2328520" y="198831"/>
                  </a:lnTo>
                  <a:lnTo>
                    <a:pt x="2328622" y="198831"/>
                  </a:lnTo>
                  <a:lnTo>
                    <a:pt x="2328622" y="197447"/>
                  </a:lnTo>
                  <a:lnTo>
                    <a:pt x="2328622" y="199530"/>
                  </a:lnTo>
                  <a:lnTo>
                    <a:pt x="2328622" y="198831"/>
                  </a:lnTo>
                  <a:lnTo>
                    <a:pt x="2328622" y="199530"/>
                  </a:lnTo>
                  <a:lnTo>
                    <a:pt x="2328622" y="198831"/>
                  </a:lnTo>
                  <a:lnTo>
                    <a:pt x="2328672" y="198831"/>
                  </a:lnTo>
                  <a:lnTo>
                    <a:pt x="2328672" y="199530"/>
                  </a:lnTo>
                  <a:lnTo>
                    <a:pt x="2328672" y="198831"/>
                  </a:lnTo>
                  <a:lnTo>
                    <a:pt x="2328672" y="199530"/>
                  </a:lnTo>
                  <a:lnTo>
                    <a:pt x="2328672" y="198831"/>
                  </a:lnTo>
                  <a:lnTo>
                    <a:pt x="2328672" y="199530"/>
                  </a:lnTo>
                  <a:lnTo>
                    <a:pt x="2328672" y="198831"/>
                  </a:lnTo>
                  <a:lnTo>
                    <a:pt x="2328672" y="199530"/>
                  </a:lnTo>
                  <a:lnTo>
                    <a:pt x="2328723" y="199530"/>
                  </a:lnTo>
                  <a:lnTo>
                    <a:pt x="2328723" y="200228"/>
                  </a:lnTo>
                  <a:lnTo>
                    <a:pt x="2328723" y="199530"/>
                  </a:lnTo>
                  <a:lnTo>
                    <a:pt x="2328723" y="200228"/>
                  </a:lnTo>
                  <a:lnTo>
                    <a:pt x="2328723" y="199530"/>
                  </a:lnTo>
                  <a:lnTo>
                    <a:pt x="2328723" y="200228"/>
                  </a:lnTo>
                  <a:lnTo>
                    <a:pt x="2328723" y="199530"/>
                  </a:lnTo>
                  <a:lnTo>
                    <a:pt x="2328825" y="200228"/>
                  </a:lnTo>
                  <a:lnTo>
                    <a:pt x="2328825" y="199530"/>
                  </a:lnTo>
                  <a:lnTo>
                    <a:pt x="2328825" y="200228"/>
                  </a:lnTo>
                  <a:lnTo>
                    <a:pt x="2328825" y="199530"/>
                  </a:lnTo>
                  <a:lnTo>
                    <a:pt x="2328825" y="200228"/>
                  </a:lnTo>
                  <a:lnTo>
                    <a:pt x="2328825" y="199530"/>
                  </a:lnTo>
                  <a:lnTo>
                    <a:pt x="2328825" y="200228"/>
                  </a:lnTo>
                  <a:lnTo>
                    <a:pt x="2328825" y="199530"/>
                  </a:lnTo>
                  <a:lnTo>
                    <a:pt x="2328863" y="199530"/>
                  </a:lnTo>
                  <a:lnTo>
                    <a:pt x="2328863" y="197447"/>
                  </a:lnTo>
                  <a:lnTo>
                    <a:pt x="2328863" y="198831"/>
                  </a:lnTo>
                  <a:lnTo>
                    <a:pt x="2328863" y="197447"/>
                  </a:lnTo>
                  <a:lnTo>
                    <a:pt x="2328914" y="197447"/>
                  </a:lnTo>
                  <a:lnTo>
                    <a:pt x="2328914" y="196799"/>
                  </a:lnTo>
                  <a:lnTo>
                    <a:pt x="2328914" y="199530"/>
                  </a:lnTo>
                  <a:lnTo>
                    <a:pt x="2328914" y="196799"/>
                  </a:lnTo>
                  <a:lnTo>
                    <a:pt x="2328965" y="196799"/>
                  </a:lnTo>
                  <a:lnTo>
                    <a:pt x="2328965" y="196113"/>
                  </a:lnTo>
                  <a:lnTo>
                    <a:pt x="2328965" y="200228"/>
                  </a:lnTo>
                  <a:lnTo>
                    <a:pt x="2328965" y="198831"/>
                  </a:lnTo>
                  <a:lnTo>
                    <a:pt x="2329066" y="198831"/>
                  </a:lnTo>
                  <a:lnTo>
                    <a:pt x="2329066" y="199530"/>
                  </a:lnTo>
                  <a:lnTo>
                    <a:pt x="2329066" y="198831"/>
                  </a:lnTo>
                  <a:lnTo>
                    <a:pt x="2329066" y="200228"/>
                  </a:lnTo>
                  <a:lnTo>
                    <a:pt x="2329066" y="199530"/>
                  </a:lnTo>
                  <a:lnTo>
                    <a:pt x="2329117" y="199530"/>
                  </a:lnTo>
                  <a:lnTo>
                    <a:pt x="2329117" y="200228"/>
                  </a:lnTo>
                  <a:lnTo>
                    <a:pt x="2329117" y="199530"/>
                  </a:lnTo>
                  <a:lnTo>
                    <a:pt x="2329168" y="199530"/>
                  </a:lnTo>
                  <a:lnTo>
                    <a:pt x="2329168" y="200228"/>
                  </a:lnTo>
                  <a:lnTo>
                    <a:pt x="2329168" y="199530"/>
                  </a:lnTo>
                  <a:lnTo>
                    <a:pt x="2329168" y="200228"/>
                  </a:lnTo>
                  <a:lnTo>
                    <a:pt x="2329269" y="200228"/>
                  </a:lnTo>
                  <a:lnTo>
                    <a:pt x="2329269" y="200876"/>
                  </a:lnTo>
                  <a:lnTo>
                    <a:pt x="2329269" y="200228"/>
                  </a:lnTo>
                  <a:lnTo>
                    <a:pt x="2329269" y="200876"/>
                  </a:lnTo>
                  <a:lnTo>
                    <a:pt x="2329269" y="200228"/>
                  </a:lnTo>
                  <a:lnTo>
                    <a:pt x="2329269" y="200876"/>
                  </a:lnTo>
                  <a:lnTo>
                    <a:pt x="2329269" y="200228"/>
                  </a:lnTo>
                  <a:lnTo>
                    <a:pt x="2329269" y="200876"/>
                  </a:lnTo>
                  <a:lnTo>
                    <a:pt x="2329320" y="200876"/>
                  </a:lnTo>
                  <a:lnTo>
                    <a:pt x="2329320" y="199530"/>
                  </a:lnTo>
                  <a:lnTo>
                    <a:pt x="2329320" y="200228"/>
                  </a:lnTo>
                  <a:lnTo>
                    <a:pt x="2329371" y="199530"/>
                  </a:lnTo>
                  <a:lnTo>
                    <a:pt x="2329371" y="200228"/>
                  </a:lnTo>
                  <a:lnTo>
                    <a:pt x="2329371" y="199530"/>
                  </a:lnTo>
                  <a:lnTo>
                    <a:pt x="2329371" y="200228"/>
                  </a:lnTo>
                  <a:lnTo>
                    <a:pt x="2329371" y="198831"/>
                  </a:lnTo>
                  <a:lnTo>
                    <a:pt x="2329371" y="199530"/>
                  </a:lnTo>
                  <a:lnTo>
                    <a:pt x="2329409" y="200228"/>
                  </a:lnTo>
                  <a:lnTo>
                    <a:pt x="2329409" y="200876"/>
                  </a:lnTo>
                  <a:lnTo>
                    <a:pt x="2329409" y="199530"/>
                  </a:lnTo>
                  <a:lnTo>
                    <a:pt x="2329409" y="202260"/>
                  </a:lnTo>
                  <a:lnTo>
                    <a:pt x="2329511" y="202260"/>
                  </a:lnTo>
                  <a:lnTo>
                    <a:pt x="2329511" y="200876"/>
                  </a:lnTo>
                  <a:lnTo>
                    <a:pt x="2329511" y="202959"/>
                  </a:lnTo>
                  <a:lnTo>
                    <a:pt x="2329511" y="202260"/>
                  </a:lnTo>
                  <a:lnTo>
                    <a:pt x="2329562" y="202959"/>
                  </a:lnTo>
                  <a:lnTo>
                    <a:pt x="2329562" y="200876"/>
                  </a:lnTo>
                  <a:lnTo>
                    <a:pt x="2329612" y="200876"/>
                  </a:lnTo>
                  <a:lnTo>
                    <a:pt x="2329612" y="202260"/>
                  </a:lnTo>
                  <a:lnTo>
                    <a:pt x="2329612" y="200876"/>
                  </a:lnTo>
                  <a:lnTo>
                    <a:pt x="2329612" y="202260"/>
                  </a:lnTo>
                  <a:lnTo>
                    <a:pt x="2329612" y="200876"/>
                  </a:lnTo>
                  <a:lnTo>
                    <a:pt x="2329714" y="200876"/>
                  </a:lnTo>
                  <a:lnTo>
                    <a:pt x="2329714" y="202260"/>
                  </a:lnTo>
                  <a:lnTo>
                    <a:pt x="2329714" y="200876"/>
                  </a:lnTo>
                  <a:lnTo>
                    <a:pt x="2329765" y="200876"/>
                  </a:lnTo>
                  <a:lnTo>
                    <a:pt x="2329765" y="200228"/>
                  </a:lnTo>
                  <a:lnTo>
                    <a:pt x="2329765" y="200876"/>
                  </a:lnTo>
                  <a:lnTo>
                    <a:pt x="2329765" y="200228"/>
                  </a:lnTo>
                  <a:lnTo>
                    <a:pt x="2329815" y="200228"/>
                  </a:lnTo>
                  <a:lnTo>
                    <a:pt x="2329815" y="198831"/>
                  </a:lnTo>
                  <a:lnTo>
                    <a:pt x="2329815" y="199530"/>
                  </a:lnTo>
                  <a:lnTo>
                    <a:pt x="2329815" y="198831"/>
                  </a:lnTo>
                  <a:lnTo>
                    <a:pt x="2329866" y="198831"/>
                  </a:lnTo>
                  <a:lnTo>
                    <a:pt x="2329866" y="196799"/>
                  </a:lnTo>
                  <a:lnTo>
                    <a:pt x="2329866" y="197447"/>
                  </a:lnTo>
                  <a:lnTo>
                    <a:pt x="2329866" y="196799"/>
                  </a:lnTo>
                  <a:lnTo>
                    <a:pt x="2329866" y="198831"/>
                  </a:lnTo>
                  <a:lnTo>
                    <a:pt x="2329955" y="198831"/>
                  </a:lnTo>
                  <a:lnTo>
                    <a:pt x="2329955" y="199530"/>
                  </a:lnTo>
                  <a:lnTo>
                    <a:pt x="2329955" y="196799"/>
                  </a:lnTo>
                  <a:lnTo>
                    <a:pt x="2329955" y="197447"/>
                  </a:lnTo>
                  <a:lnTo>
                    <a:pt x="2329955" y="196799"/>
                  </a:lnTo>
                  <a:lnTo>
                    <a:pt x="2329955" y="200228"/>
                  </a:lnTo>
                  <a:lnTo>
                    <a:pt x="2330006" y="200228"/>
                  </a:lnTo>
                  <a:lnTo>
                    <a:pt x="2330006" y="199530"/>
                  </a:lnTo>
                  <a:lnTo>
                    <a:pt x="2330006" y="200876"/>
                  </a:lnTo>
                  <a:lnTo>
                    <a:pt x="2330006" y="200228"/>
                  </a:lnTo>
                  <a:lnTo>
                    <a:pt x="2330057" y="200228"/>
                  </a:lnTo>
                  <a:lnTo>
                    <a:pt x="2330057" y="200876"/>
                  </a:lnTo>
                  <a:lnTo>
                    <a:pt x="2330057" y="200228"/>
                  </a:lnTo>
                  <a:lnTo>
                    <a:pt x="2330057" y="200876"/>
                  </a:lnTo>
                  <a:lnTo>
                    <a:pt x="2330108" y="200876"/>
                  </a:lnTo>
                  <a:lnTo>
                    <a:pt x="2330108" y="200228"/>
                  </a:lnTo>
                  <a:lnTo>
                    <a:pt x="2330108" y="200876"/>
                  </a:lnTo>
                  <a:lnTo>
                    <a:pt x="2330209" y="200876"/>
                  </a:lnTo>
                  <a:lnTo>
                    <a:pt x="2330209" y="202260"/>
                  </a:lnTo>
                  <a:lnTo>
                    <a:pt x="2330209" y="200876"/>
                  </a:lnTo>
                  <a:lnTo>
                    <a:pt x="2330260" y="200876"/>
                  </a:lnTo>
                  <a:lnTo>
                    <a:pt x="2330260" y="202260"/>
                  </a:lnTo>
                  <a:lnTo>
                    <a:pt x="2330260" y="200228"/>
                  </a:lnTo>
                  <a:lnTo>
                    <a:pt x="2330260" y="200876"/>
                  </a:lnTo>
                  <a:lnTo>
                    <a:pt x="2330311" y="200876"/>
                  </a:lnTo>
                  <a:lnTo>
                    <a:pt x="2330311" y="198831"/>
                  </a:lnTo>
                  <a:lnTo>
                    <a:pt x="2330311" y="199530"/>
                  </a:lnTo>
                  <a:lnTo>
                    <a:pt x="2330311" y="198831"/>
                  </a:lnTo>
                  <a:lnTo>
                    <a:pt x="2330412" y="198831"/>
                  </a:lnTo>
                  <a:lnTo>
                    <a:pt x="2330412" y="199530"/>
                  </a:lnTo>
                  <a:lnTo>
                    <a:pt x="2330412" y="198831"/>
                  </a:lnTo>
                  <a:lnTo>
                    <a:pt x="2330412" y="199530"/>
                  </a:lnTo>
                  <a:lnTo>
                    <a:pt x="2330450" y="199530"/>
                  </a:lnTo>
                  <a:lnTo>
                    <a:pt x="2330450" y="202260"/>
                  </a:lnTo>
                  <a:lnTo>
                    <a:pt x="2330450" y="200228"/>
                  </a:lnTo>
                  <a:lnTo>
                    <a:pt x="2330450" y="200876"/>
                  </a:lnTo>
                  <a:lnTo>
                    <a:pt x="2330501" y="200876"/>
                  </a:lnTo>
                  <a:lnTo>
                    <a:pt x="2330501" y="202260"/>
                  </a:lnTo>
                  <a:lnTo>
                    <a:pt x="2330501" y="200876"/>
                  </a:lnTo>
                  <a:lnTo>
                    <a:pt x="2330501" y="202260"/>
                  </a:lnTo>
                  <a:lnTo>
                    <a:pt x="2330552" y="202260"/>
                  </a:lnTo>
                  <a:lnTo>
                    <a:pt x="2330552" y="200876"/>
                  </a:lnTo>
                  <a:lnTo>
                    <a:pt x="2330552" y="202260"/>
                  </a:lnTo>
                  <a:lnTo>
                    <a:pt x="2330552" y="200876"/>
                  </a:lnTo>
                  <a:lnTo>
                    <a:pt x="2330654" y="200876"/>
                  </a:lnTo>
                  <a:lnTo>
                    <a:pt x="2330654" y="202260"/>
                  </a:lnTo>
                  <a:lnTo>
                    <a:pt x="2330705" y="202260"/>
                  </a:lnTo>
                  <a:lnTo>
                    <a:pt x="2330705" y="200876"/>
                  </a:lnTo>
                  <a:lnTo>
                    <a:pt x="2330705" y="202260"/>
                  </a:lnTo>
                  <a:lnTo>
                    <a:pt x="2330705" y="200876"/>
                  </a:lnTo>
                  <a:lnTo>
                    <a:pt x="2330755" y="200876"/>
                  </a:lnTo>
                  <a:lnTo>
                    <a:pt x="2330755" y="200228"/>
                  </a:lnTo>
                  <a:lnTo>
                    <a:pt x="2330755" y="200876"/>
                  </a:lnTo>
                  <a:lnTo>
                    <a:pt x="2330755" y="199530"/>
                  </a:lnTo>
                  <a:lnTo>
                    <a:pt x="2330755" y="200228"/>
                  </a:lnTo>
                  <a:lnTo>
                    <a:pt x="2330857" y="199530"/>
                  </a:lnTo>
                  <a:lnTo>
                    <a:pt x="2330857" y="200228"/>
                  </a:lnTo>
                  <a:lnTo>
                    <a:pt x="2330857" y="196799"/>
                  </a:lnTo>
                  <a:lnTo>
                    <a:pt x="2330857" y="197447"/>
                  </a:lnTo>
                  <a:lnTo>
                    <a:pt x="2330908" y="196799"/>
                  </a:lnTo>
                  <a:lnTo>
                    <a:pt x="2330908" y="196113"/>
                  </a:lnTo>
                  <a:lnTo>
                    <a:pt x="2330908" y="196799"/>
                  </a:lnTo>
                  <a:lnTo>
                    <a:pt x="2330908" y="196113"/>
                  </a:lnTo>
                  <a:lnTo>
                    <a:pt x="2330908" y="198831"/>
                  </a:lnTo>
                  <a:lnTo>
                    <a:pt x="2330908" y="197447"/>
                  </a:lnTo>
                  <a:lnTo>
                    <a:pt x="2330959" y="196799"/>
                  </a:lnTo>
                  <a:lnTo>
                    <a:pt x="2330959" y="199530"/>
                  </a:lnTo>
                  <a:lnTo>
                    <a:pt x="2330959" y="198831"/>
                  </a:lnTo>
                  <a:lnTo>
                    <a:pt x="2330959" y="199530"/>
                  </a:lnTo>
                  <a:lnTo>
                    <a:pt x="2330997" y="198831"/>
                  </a:lnTo>
                  <a:lnTo>
                    <a:pt x="2330997" y="200228"/>
                  </a:lnTo>
                  <a:lnTo>
                    <a:pt x="2330997" y="199530"/>
                  </a:lnTo>
                  <a:lnTo>
                    <a:pt x="2330997" y="200228"/>
                  </a:lnTo>
                  <a:lnTo>
                    <a:pt x="2330997" y="199530"/>
                  </a:lnTo>
                  <a:lnTo>
                    <a:pt x="2330997" y="200228"/>
                  </a:lnTo>
                  <a:lnTo>
                    <a:pt x="2331098" y="200228"/>
                  </a:lnTo>
                  <a:lnTo>
                    <a:pt x="2331098" y="200876"/>
                  </a:lnTo>
                  <a:lnTo>
                    <a:pt x="2331098" y="200228"/>
                  </a:lnTo>
                  <a:lnTo>
                    <a:pt x="2331149" y="200228"/>
                  </a:lnTo>
                  <a:lnTo>
                    <a:pt x="2331149" y="202260"/>
                  </a:lnTo>
                  <a:lnTo>
                    <a:pt x="2331149" y="200876"/>
                  </a:lnTo>
                  <a:lnTo>
                    <a:pt x="2331149" y="202260"/>
                  </a:lnTo>
                  <a:lnTo>
                    <a:pt x="2331149" y="200876"/>
                  </a:lnTo>
                  <a:lnTo>
                    <a:pt x="2331149" y="202260"/>
                  </a:lnTo>
                  <a:lnTo>
                    <a:pt x="2331200" y="202260"/>
                  </a:lnTo>
                  <a:lnTo>
                    <a:pt x="2331200" y="200876"/>
                  </a:lnTo>
                  <a:lnTo>
                    <a:pt x="2331200" y="202260"/>
                  </a:lnTo>
                  <a:lnTo>
                    <a:pt x="2331200" y="200876"/>
                  </a:lnTo>
                  <a:lnTo>
                    <a:pt x="2331301" y="200876"/>
                  </a:lnTo>
                  <a:lnTo>
                    <a:pt x="2331301" y="200228"/>
                  </a:lnTo>
                  <a:lnTo>
                    <a:pt x="2331301" y="200876"/>
                  </a:lnTo>
                  <a:lnTo>
                    <a:pt x="2331301" y="199530"/>
                  </a:lnTo>
                  <a:lnTo>
                    <a:pt x="2331352" y="200228"/>
                  </a:lnTo>
                  <a:lnTo>
                    <a:pt x="2331352" y="198831"/>
                  </a:lnTo>
                  <a:lnTo>
                    <a:pt x="2331352" y="199530"/>
                  </a:lnTo>
                  <a:lnTo>
                    <a:pt x="2331352" y="196799"/>
                  </a:lnTo>
                  <a:lnTo>
                    <a:pt x="2331352" y="197447"/>
                  </a:lnTo>
                  <a:lnTo>
                    <a:pt x="2331403" y="197447"/>
                  </a:lnTo>
                  <a:lnTo>
                    <a:pt x="2331403" y="198831"/>
                  </a:lnTo>
                  <a:lnTo>
                    <a:pt x="2331403" y="196799"/>
                  </a:lnTo>
                  <a:lnTo>
                    <a:pt x="2331403" y="198831"/>
                  </a:lnTo>
                  <a:lnTo>
                    <a:pt x="2331454" y="199530"/>
                  </a:lnTo>
                  <a:lnTo>
                    <a:pt x="2331454" y="200228"/>
                  </a:lnTo>
                  <a:lnTo>
                    <a:pt x="2331454" y="198831"/>
                  </a:lnTo>
                  <a:lnTo>
                    <a:pt x="2331454" y="199530"/>
                  </a:lnTo>
                  <a:lnTo>
                    <a:pt x="2331543" y="199530"/>
                  </a:lnTo>
                  <a:lnTo>
                    <a:pt x="2331543" y="198831"/>
                  </a:lnTo>
                  <a:lnTo>
                    <a:pt x="2331543" y="199530"/>
                  </a:lnTo>
                  <a:lnTo>
                    <a:pt x="2331543" y="198831"/>
                  </a:lnTo>
                  <a:lnTo>
                    <a:pt x="2331543" y="199530"/>
                  </a:lnTo>
                  <a:lnTo>
                    <a:pt x="2331594" y="199530"/>
                  </a:lnTo>
                  <a:lnTo>
                    <a:pt x="2331594" y="200228"/>
                  </a:lnTo>
                  <a:lnTo>
                    <a:pt x="2331594" y="199530"/>
                  </a:lnTo>
                  <a:lnTo>
                    <a:pt x="2331644" y="199530"/>
                  </a:lnTo>
                  <a:lnTo>
                    <a:pt x="2331644" y="200876"/>
                  </a:lnTo>
                  <a:lnTo>
                    <a:pt x="2331644" y="200228"/>
                  </a:lnTo>
                  <a:lnTo>
                    <a:pt x="2331644" y="200876"/>
                  </a:lnTo>
                  <a:lnTo>
                    <a:pt x="2331695" y="200876"/>
                  </a:lnTo>
                  <a:lnTo>
                    <a:pt x="2331695" y="200228"/>
                  </a:lnTo>
                  <a:lnTo>
                    <a:pt x="2331695" y="200876"/>
                  </a:lnTo>
                  <a:lnTo>
                    <a:pt x="2331695" y="200228"/>
                  </a:lnTo>
                  <a:lnTo>
                    <a:pt x="2331695" y="200876"/>
                  </a:lnTo>
                  <a:lnTo>
                    <a:pt x="2331695" y="200228"/>
                  </a:lnTo>
                  <a:lnTo>
                    <a:pt x="2331797" y="200228"/>
                  </a:lnTo>
                  <a:lnTo>
                    <a:pt x="2331797" y="199530"/>
                  </a:lnTo>
                  <a:lnTo>
                    <a:pt x="2331797" y="200228"/>
                  </a:lnTo>
                  <a:lnTo>
                    <a:pt x="2331797" y="199530"/>
                  </a:lnTo>
                  <a:lnTo>
                    <a:pt x="2331847" y="198831"/>
                  </a:lnTo>
                  <a:lnTo>
                    <a:pt x="2331847" y="197447"/>
                  </a:lnTo>
                  <a:lnTo>
                    <a:pt x="2331847" y="198831"/>
                  </a:lnTo>
                  <a:lnTo>
                    <a:pt x="2331847" y="197447"/>
                  </a:lnTo>
                  <a:lnTo>
                    <a:pt x="2331847" y="199530"/>
                  </a:lnTo>
                  <a:lnTo>
                    <a:pt x="2331898" y="199530"/>
                  </a:lnTo>
                  <a:lnTo>
                    <a:pt x="2331898" y="198831"/>
                  </a:lnTo>
                  <a:lnTo>
                    <a:pt x="2331898" y="200876"/>
                  </a:lnTo>
                  <a:lnTo>
                    <a:pt x="2331898" y="200228"/>
                  </a:lnTo>
                  <a:lnTo>
                    <a:pt x="2332000" y="200876"/>
                  </a:lnTo>
                  <a:lnTo>
                    <a:pt x="2332000" y="199530"/>
                  </a:lnTo>
                  <a:lnTo>
                    <a:pt x="2332000" y="200228"/>
                  </a:lnTo>
                  <a:lnTo>
                    <a:pt x="2332000" y="199530"/>
                  </a:lnTo>
                  <a:lnTo>
                    <a:pt x="2332000" y="200228"/>
                  </a:lnTo>
                  <a:lnTo>
                    <a:pt x="2332038" y="200228"/>
                  </a:lnTo>
                  <a:lnTo>
                    <a:pt x="2332038" y="199530"/>
                  </a:lnTo>
                  <a:lnTo>
                    <a:pt x="2332038" y="200228"/>
                  </a:lnTo>
                  <a:lnTo>
                    <a:pt x="2332038" y="199530"/>
                  </a:lnTo>
                  <a:lnTo>
                    <a:pt x="2332038" y="200228"/>
                  </a:lnTo>
                  <a:lnTo>
                    <a:pt x="2332038" y="199530"/>
                  </a:lnTo>
                  <a:lnTo>
                    <a:pt x="2332038" y="200228"/>
                  </a:lnTo>
                  <a:lnTo>
                    <a:pt x="2332089" y="200228"/>
                  </a:lnTo>
                  <a:lnTo>
                    <a:pt x="2332089" y="200876"/>
                  </a:lnTo>
                  <a:lnTo>
                    <a:pt x="2332089" y="200228"/>
                  </a:lnTo>
                  <a:lnTo>
                    <a:pt x="2332089" y="200876"/>
                  </a:lnTo>
                  <a:lnTo>
                    <a:pt x="2332089" y="200228"/>
                  </a:lnTo>
                  <a:lnTo>
                    <a:pt x="2332089" y="200876"/>
                  </a:lnTo>
                  <a:lnTo>
                    <a:pt x="2332241" y="200876"/>
                  </a:lnTo>
                  <a:lnTo>
                    <a:pt x="2332241" y="200228"/>
                  </a:lnTo>
                  <a:lnTo>
                    <a:pt x="2332241" y="200876"/>
                  </a:lnTo>
                  <a:lnTo>
                    <a:pt x="2332241" y="200228"/>
                  </a:lnTo>
                  <a:lnTo>
                    <a:pt x="2332241" y="200876"/>
                  </a:lnTo>
                  <a:lnTo>
                    <a:pt x="2332292" y="200228"/>
                  </a:lnTo>
                  <a:lnTo>
                    <a:pt x="2332292" y="198831"/>
                  </a:lnTo>
                  <a:lnTo>
                    <a:pt x="2332292" y="199530"/>
                  </a:lnTo>
                  <a:lnTo>
                    <a:pt x="2332292" y="197447"/>
                  </a:lnTo>
                  <a:lnTo>
                    <a:pt x="2332343" y="198831"/>
                  </a:lnTo>
                  <a:lnTo>
                    <a:pt x="2332343" y="200228"/>
                  </a:lnTo>
                  <a:lnTo>
                    <a:pt x="2332343" y="199530"/>
                  </a:lnTo>
                  <a:lnTo>
                    <a:pt x="2332444" y="199530"/>
                  </a:lnTo>
                  <a:lnTo>
                    <a:pt x="2332444" y="202260"/>
                  </a:lnTo>
                  <a:lnTo>
                    <a:pt x="2332444" y="200228"/>
                  </a:lnTo>
                  <a:lnTo>
                    <a:pt x="2332444" y="200876"/>
                  </a:lnTo>
                  <a:lnTo>
                    <a:pt x="2332444" y="200228"/>
                  </a:lnTo>
                  <a:lnTo>
                    <a:pt x="2332444" y="200876"/>
                  </a:lnTo>
                  <a:lnTo>
                    <a:pt x="2332495" y="200228"/>
                  </a:lnTo>
                  <a:lnTo>
                    <a:pt x="2332495" y="202260"/>
                  </a:lnTo>
                  <a:lnTo>
                    <a:pt x="2332495" y="200876"/>
                  </a:lnTo>
                  <a:lnTo>
                    <a:pt x="2332495" y="202260"/>
                  </a:lnTo>
                  <a:lnTo>
                    <a:pt x="2332495" y="200228"/>
                  </a:lnTo>
                  <a:lnTo>
                    <a:pt x="2332495" y="200876"/>
                  </a:lnTo>
                  <a:lnTo>
                    <a:pt x="2332584" y="200876"/>
                  </a:lnTo>
                  <a:lnTo>
                    <a:pt x="2332584" y="202260"/>
                  </a:lnTo>
                  <a:lnTo>
                    <a:pt x="2332584" y="200876"/>
                  </a:lnTo>
                  <a:lnTo>
                    <a:pt x="2332686" y="200876"/>
                  </a:lnTo>
                  <a:lnTo>
                    <a:pt x="2332686" y="200228"/>
                  </a:lnTo>
                  <a:lnTo>
                    <a:pt x="2332686" y="200876"/>
                  </a:lnTo>
                  <a:lnTo>
                    <a:pt x="2332686" y="200228"/>
                  </a:lnTo>
                  <a:lnTo>
                    <a:pt x="2332737" y="200228"/>
                  </a:lnTo>
                  <a:lnTo>
                    <a:pt x="2332737" y="199530"/>
                  </a:lnTo>
                  <a:lnTo>
                    <a:pt x="2332737" y="200228"/>
                  </a:lnTo>
                  <a:lnTo>
                    <a:pt x="2332737" y="198831"/>
                  </a:lnTo>
                  <a:lnTo>
                    <a:pt x="2332787" y="198831"/>
                  </a:lnTo>
                  <a:lnTo>
                    <a:pt x="2332787" y="197447"/>
                  </a:lnTo>
                  <a:lnTo>
                    <a:pt x="2332787" y="198831"/>
                  </a:lnTo>
                  <a:lnTo>
                    <a:pt x="2332787" y="196799"/>
                  </a:lnTo>
                  <a:lnTo>
                    <a:pt x="2332889" y="197447"/>
                  </a:lnTo>
                  <a:lnTo>
                    <a:pt x="2332889" y="198831"/>
                  </a:lnTo>
                  <a:lnTo>
                    <a:pt x="2332889" y="196799"/>
                  </a:lnTo>
                  <a:lnTo>
                    <a:pt x="2332940" y="197447"/>
                  </a:lnTo>
                  <a:lnTo>
                    <a:pt x="2332940" y="200228"/>
                  </a:lnTo>
                  <a:lnTo>
                    <a:pt x="2332940" y="199530"/>
                  </a:lnTo>
                  <a:lnTo>
                    <a:pt x="2332940" y="200228"/>
                  </a:lnTo>
                  <a:lnTo>
                    <a:pt x="2332940" y="199530"/>
                  </a:lnTo>
                  <a:lnTo>
                    <a:pt x="2332990" y="199530"/>
                  </a:lnTo>
                  <a:lnTo>
                    <a:pt x="2332990" y="200228"/>
                  </a:lnTo>
                  <a:lnTo>
                    <a:pt x="2332990" y="199530"/>
                  </a:lnTo>
                  <a:lnTo>
                    <a:pt x="2332990" y="200228"/>
                  </a:lnTo>
                  <a:lnTo>
                    <a:pt x="2333041" y="200228"/>
                  </a:lnTo>
                  <a:lnTo>
                    <a:pt x="2333041" y="200876"/>
                  </a:lnTo>
                  <a:lnTo>
                    <a:pt x="2333041" y="200228"/>
                  </a:lnTo>
                  <a:lnTo>
                    <a:pt x="2333041" y="200876"/>
                  </a:lnTo>
                  <a:lnTo>
                    <a:pt x="2333041" y="200228"/>
                  </a:lnTo>
                  <a:lnTo>
                    <a:pt x="2333041" y="200876"/>
                  </a:lnTo>
                  <a:lnTo>
                    <a:pt x="2333041" y="200228"/>
                  </a:lnTo>
                  <a:lnTo>
                    <a:pt x="2333041" y="200876"/>
                  </a:lnTo>
                  <a:lnTo>
                    <a:pt x="2333130" y="200876"/>
                  </a:lnTo>
                  <a:lnTo>
                    <a:pt x="2333130" y="200228"/>
                  </a:lnTo>
                  <a:lnTo>
                    <a:pt x="2333130" y="200876"/>
                  </a:lnTo>
                  <a:lnTo>
                    <a:pt x="2333181" y="200876"/>
                  </a:lnTo>
                  <a:lnTo>
                    <a:pt x="2333181" y="202260"/>
                  </a:lnTo>
                  <a:lnTo>
                    <a:pt x="2333181" y="200228"/>
                  </a:lnTo>
                  <a:lnTo>
                    <a:pt x="2333181" y="200876"/>
                  </a:lnTo>
                  <a:lnTo>
                    <a:pt x="2333232" y="200876"/>
                  </a:lnTo>
                  <a:lnTo>
                    <a:pt x="2333232" y="199530"/>
                  </a:lnTo>
                  <a:lnTo>
                    <a:pt x="2333283" y="199530"/>
                  </a:lnTo>
                  <a:lnTo>
                    <a:pt x="2333283" y="198831"/>
                  </a:lnTo>
                  <a:lnTo>
                    <a:pt x="2333283" y="199530"/>
                  </a:lnTo>
                  <a:lnTo>
                    <a:pt x="2333283" y="197447"/>
                  </a:lnTo>
                  <a:lnTo>
                    <a:pt x="2333283" y="198831"/>
                  </a:lnTo>
                  <a:lnTo>
                    <a:pt x="2333384" y="198831"/>
                  </a:lnTo>
                  <a:lnTo>
                    <a:pt x="2333384" y="199530"/>
                  </a:lnTo>
                  <a:lnTo>
                    <a:pt x="2333384" y="197447"/>
                  </a:lnTo>
                  <a:lnTo>
                    <a:pt x="2333384" y="200228"/>
                  </a:lnTo>
                  <a:lnTo>
                    <a:pt x="2333435" y="200228"/>
                  </a:lnTo>
                  <a:lnTo>
                    <a:pt x="2333435" y="199530"/>
                  </a:lnTo>
                  <a:lnTo>
                    <a:pt x="2333435" y="200228"/>
                  </a:lnTo>
                  <a:lnTo>
                    <a:pt x="2333435" y="199530"/>
                  </a:lnTo>
                  <a:lnTo>
                    <a:pt x="2333435" y="200228"/>
                  </a:lnTo>
                  <a:lnTo>
                    <a:pt x="2333486" y="200228"/>
                  </a:lnTo>
                  <a:lnTo>
                    <a:pt x="2333486" y="199530"/>
                  </a:lnTo>
                  <a:lnTo>
                    <a:pt x="2333486" y="200228"/>
                  </a:lnTo>
                  <a:lnTo>
                    <a:pt x="2333486" y="199530"/>
                  </a:lnTo>
                  <a:lnTo>
                    <a:pt x="2333486" y="200228"/>
                  </a:lnTo>
                  <a:lnTo>
                    <a:pt x="2333486" y="199530"/>
                  </a:lnTo>
                  <a:lnTo>
                    <a:pt x="2333486" y="200228"/>
                  </a:lnTo>
                  <a:lnTo>
                    <a:pt x="2333587" y="200228"/>
                  </a:lnTo>
                  <a:lnTo>
                    <a:pt x="2333587" y="200876"/>
                  </a:lnTo>
                  <a:lnTo>
                    <a:pt x="2333587" y="200228"/>
                  </a:lnTo>
                  <a:lnTo>
                    <a:pt x="2333587" y="202260"/>
                  </a:lnTo>
                  <a:lnTo>
                    <a:pt x="2333587" y="200876"/>
                  </a:lnTo>
                  <a:lnTo>
                    <a:pt x="2333625" y="200876"/>
                  </a:lnTo>
                  <a:lnTo>
                    <a:pt x="2333625" y="200228"/>
                  </a:lnTo>
                  <a:lnTo>
                    <a:pt x="2333625" y="200876"/>
                  </a:lnTo>
                  <a:lnTo>
                    <a:pt x="2333676" y="200876"/>
                  </a:lnTo>
                  <a:lnTo>
                    <a:pt x="2333676" y="200228"/>
                  </a:lnTo>
                  <a:lnTo>
                    <a:pt x="2333676" y="200876"/>
                  </a:lnTo>
                  <a:lnTo>
                    <a:pt x="2333676" y="200228"/>
                  </a:lnTo>
                  <a:lnTo>
                    <a:pt x="2333676" y="200876"/>
                  </a:lnTo>
                  <a:lnTo>
                    <a:pt x="2333676" y="200228"/>
                  </a:lnTo>
                  <a:lnTo>
                    <a:pt x="2333727" y="199530"/>
                  </a:lnTo>
                  <a:lnTo>
                    <a:pt x="2333727" y="200228"/>
                  </a:lnTo>
                  <a:lnTo>
                    <a:pt x="2333727" y="199530"/>
                  </a:lnTo>
                  <a:lnTo>
                    <a:pt x="2333727" y="200228"/>
                  </a:lnTo>
                  <a:lnTo>
                    <a:pt x="2333727" y="198831"/>
                  </a:lnTo>
                  <a:lnTo>
                    <a:pt x="2333829" y="198831"/>
                  </a:lnTo>
                  <a:lnTo>
                    <a:pt x="2333829" y="196113"/>
                  </a:lnTo>
                  <a:lnTo>
                    <a:pt x="2333829" y="196799"/>
                  </a:lnTo>
                  <a:lnTo>
                    <a:pt x="2333880" y="196113"/>
                  </a:lnTo>
                  <a:lnTo>
                    <a:pt x="2333880" y="197447"/>
                  </a:lnTo>
                  <a:lnTo>
                    <a:pt x="2333880" y="195415"/>
                  </a:lnTo>
                  <a:lnTo>
                    <a:pt x="2333880" y="197447"/>
                  </a:lnTo>
                  <a:lnTo>
                    <a:pt x="2333930" y="198831"/>
                  </a:lnTo>
                  <a:lnTo>
                    <a:pt x="2333930" y="197447"/>
                  </a:lnTo>
                  <a:lnTo>
                    <a:pt x="2333930" y="198831"/>
                  </a:lnTo>
                  <a:lnTo>
                    <a:pt x="2333930" y="197447"/>
                  </a:lnTo>
                  <a:lnTo>
                    <a:pt x="2333930" y="198831"/>
                  </a:lnTo>
                  <a:lnTo>
                    <a:pt x="2334032" y="199530"/>
                  </a:lnTo>
                  <a:lnTo>
                    <a:pt x="2334032" y="198831"/>
                  </a:lnTo>
                  <a:lnTo>
                    <a:pt x="2334032" y="199530"/>
                  </a:lnTo>
                  <a:lnTo>
                    <a:pt x="2334083" y="199530"/>
                  </a:lnTo>
                  <a:lnTo>
                    <a:pt x="2334083" y="198831"/>
                  </a:lnTo>
                  <a:lnTo>
                    <a:pt x="2334083" y="200228"/>
                  </a:lnTo>
                  <a:lnTo>
                    <a:pt x="2334083" y="199530"/>
                  </a:lnTo>
                  <a:lnTo>
                    <a:pt x="2334083" y="200228"/>
                  </a:lnTo>
                  <a:lnTo>
                    <a:pt x="2334134" y="200228"/>
                  </a:lnTo>
                  <a:lnTo>
                    <a:pt x="2334134" y="200876"/>
                  </a:lnTo>
                  <a:lnTo>
                    <a:pt x="2334134" y="200228"/>
                  </a:lnTo>
                  <a:lnTo>
                    <a:pt x="2334172" y="200228"/>
                  </a:lnTo>
                  <a:lnTo>
                    <a:pt x="2334172" y="200876"/>
                  </a:lnTo>
                  <a:lnTo>
                    <a:pt x="2334172" y="200228"/>
                  </a:lnTo>
                  <a:lnTo>
                    <a:pt x="2334273" y="200228"/>
                  </a:lnTo>
                  <a:lnTo>
                    <a:pt x="2334273" y="199530"/>
                  </a:lnTo>
                  <a:lnTo>
                    <a:pt x="2334273" y="200228"/>
                  </a:lnTo>
                  <a:lnTo>
                    <a:pt x="2334273" y="198831"/>
                  </a:lnTo>
                  <a:lnTo>
                    <a:pt x="2334273" y="199530"/>
                  </a:lnTo>
                  <a:lnTo>
                    <a:pt x="2334324" y="198831"/>
                  </a:lnTo>
                  <a:lnTo>
                    <a:pt x="2334324" y="196113"/>
                  </a:lnTo>
                  <a:lnTo>
                    <a:pt x="2334324" y="198831"/>
                  </a:lnTo>
                  <a:lnTo>
                    <a:pt x="2334375" y="197447"/>
                  </a:lnTo>
                  <a:lnTo>
                    <a:pt x="2334375" y="195415"/>
                  </a:lnTo>
                  <a:lnTo>
                    <a:pt x="2334375" y="198831"/>
                  </a:lnTo>
                  <a:lnTo>
                    <a:pt x="2334476" y="199530"/>
                  </a:lnTo>
                  <a:lnTo>
                    <a:pt x="2334476" y="196799"/>
                  </a:lnTo>
                  <a:lnTo>
                    <a:pt x="2334476" y="198831"/>
                  </a:lnTo>
                  <a:lnTo>
                    <a:pt x="2334527" y="198831"/>
                  </a:lnTo>
                  <a:lnTo>
                    <a:pt x="2334527" y="197447"/>
                  </a:lnTo>
                  <a:lnTo>
                    <a:pt x="2334527" y="198831"/>
                  </a:lnTo>
                  <a:lnTo>
                    <a:pt x="2334578" y="198831"/>
                  </a:lnTo>
                  <a:lnTo>
                    <a:pt x="2334578" y="199530"/>
                  </a:lnTo>
                  <a:lnTo>
                    <a:pt x="2334578" y="198831"/>
                  </a:lnTo>
                  <a:lnTo>
                    <a:pt x="2334578" y="199530"/>
                  </a:lnTo>
                  <a:lnTo>
                    <a:pt x="2334629" y="198831"/>
                  </a:lnTo>
                  <a:lnTo>
                    <a:pt x="2334629" y="199530"/>
                  </a:lnTo>
                  <a:lnTo>
                    <a:pt x="2334718" y="199530"/>
                  </a:lnTo>
                  <a:lnTo>
                    <a:pt x="2334718" y="200228"/>
                  </a:lnTo>
                  <a:lnTo>
                    <a:pt x="2334718" y="199530"/>
                  </a:lnTo>
                  <a:lnTo>
                    <a:pt x="2334718" y="200228"/>
                  </a:lnTo>
                  <a:lnTo>
                    <a:pt x="2334718" y="199530"/>
                  </a:lnTo>
                  <a:lnTo>
                    <a:pt x="2334769" y="199530"/>
                  </a:lnTo>
                  <a:lnTo>
                    <a:pt x="2334769" y="200228"/>
                  </a:lnTo>
                  <a:lnTo>
                    <a:pt x="2334769" y="198831"/>
                  </a:lnTo>
                  <a:lnTo>
                    <a:pt x="2334769" y="199530"/>
                  </a:lnTo>
                  <a:lnTo>
                    <a:pt x="2334769" y="198831"/>
                  </a:lnTo>
                  <a:lnTo>
                    <a:pt x="2334819" y="198831"/>
                  </a:lnTo>
                  <a:lnTo>
                    <a:pt x="2334819" y="199530"/>
                  </a:lnTo>
                  <a:lnTo>
                    <a:pt x="2334870" y="199530"/>
                  </a:lnTo>
                  <a:lnTo>
                    <a:pt x="2334870" y="198831"/>
                  </a:lnTo>
                  <a:lnTo>
                    <a:pt x="2334870" y="200876"/>
                  </a:lnTo>
                  <a:lnTo>
                    <a:pt x="2334870" y="199530"/>
                  </a:lnTo>
                  <a:lnTo>
                    <a:pt x="2334972" y="199530"/>
                  </a:lnTo>
                  <a:lnTo>
                    <a:pt x="2334972" y="200876"/>
                  </a:lnTo>
                  <a:lnTo>
                    <a:pt x="2334972" y="199530"/>
                  </a:lnTo>
                  <a:lnTo>
                    <a:pt x="2335022" y="199530"/>
                  </a:lnTo>
                  <a:lnTo>
                    <a:pt x="2335022" y="200228"/>
                  </a:lnTo>
                  <a:lnTo>
                    <a:pt x="2335022" y="199530"/>
                  </a:lnTo>
                  <a:lnTo>
                    <a:pt x="2335022" y="200228"/>
                  </a:lnTo>
                  <a:lnTo>
                    <a:pt x="2335073" y="199530"/>
                  </a:lnTo>
                  <a:lnTo>
                    <a:pt x="2335073" y="200876"/>
                  </a:lnTo>
                  <a:lnTo>
                    <a:pt x="2335073" y="200228"/>
                  </a:lnTo>
                  <a:lnTo>
                    <a:pt x="2335073" y="200876"/>
                  </a:lnTo>
                  <a:lnTo>
                    <a:pt x="2335073" y="200228"/>
                  </a:lnTo>
                  <a:lnTo>
                    <a:pt x="2335073" y="200876"/>
                  </a:lnTo>
                  <a:lnTo>
                    <a:pt x="2335175" y="200876"/>
                  </a:lnTo>
                  <a:lnTo>
                    <a:pt x="2335175" y="199530"/>
                  </a:lnTo>
                  <a:lnTo>
                    <a:pt x="2335175" y="200228"/>
                  </a:lnTo>
                  <a:lnTo>
                    <a:pt x="2335213" y="200228"/>
                  </a:lnTo>
                  <a:lnTo>
                    <a:pt x="2335213" y="199530"/>
                  </a:lnTo>
                  <a:lnTo>
                    <a:pt x="2335213" y="200228"/>
                  </a:lnTo>
                  <a:lnTo>
                    <a:pt x="2335213" y="199530"/>
                  </a:lnTo>
                  <a:lnTo>
                    <a:pt x="2335213" y="200228"/>
                  </a:lnTo>
                  <a:lnTo>
                    <a:pt x="2335264" y="200228"/>
                  </a:lnTo>
                  <a:lnTo>
                    <a:pt x="2335264" y="198831"/>
                  </a:lnTo>
                  <a:lnTo>
                    <a:pt x="2335264" y="199530"/>
                  </a:lnTo>
                  <a:lnTo>
                    <a:pt x="2335264" y="198831"/>
                  </a:lnTo>
                  <a:lnTo>
                    <a:pt x="2335264" y="200228"/>
                  </a:lnTo>
                  <a:lnTo>
                    <a:pt x="2335315" y="200228"/>
                  </a:lnTo>
                  <a:lnTo>
                    <a:pt x="2335315" y="199530"/>
                  </a:lnTo>
                  <a:lnTo>
                    <a:pt x="2335315" y="202260"/>
                  </a:lnTo>
                  <a:lnTo>
                    <a:pt x="2335416" y="202260"/>
                  </a:lnTo>
                  <a:lnTo>
                    <a:pt x="2335416" y="200876"/>
                  </a:lnTo>
                  <a:lnTo>
                    <a:pt x="2335416" y="202959"/>
                  </a:lnTo>
                  <a:lnTo>
                    <a:pt x="2335467" y="202260"/>
                  </a:lnTo>
                  <a:lnTo>
                    <a:pt x="2335467" y="200876"/>
                  </a:lnTo>
                  <a:lnTo>
                    <a:pt x="2335467" y="202959"/>
                  </a:lnTo>
                  <a:lnTo>
                    <a:pt x="2335467" y="200876"/>
                  </a:lnTo>
                  <a:lnTo>
                    <a:pt x="2335467" y="202260"/>
                  </a:lnTo>
                  <a:lnTo>
                    <a:pt x="2335518" y="202260"/>
                  </a:lnTo>
                  <a:lnTo>
                    <a:pt x="2335518" y="200876"/>
                  </a:lnTo>
                  <a:lnTo>
                    <a:pt x="2335518" y="202260"/>
                  </a:lnTo>
                  <a:lnTo>
                    <a:pt x="2335518" y="200876"/>
                  </a:lnTo>
                  <a:lnTo>
                    <a:pt x="2335619" y="202260"/>
                  </a:lnTo>
                  <a:lnTo>
                    <a:pt x="2335619" y="200876"/>
                  </a:lnTo>
                  <a:lnTo>
                    <a:pt x="2335619" y="202260"/>
                  </a:lnTo>
                  <a:lnTo>
                    <a:pt x="2335619" y="200876"/>
                  </a:lnTo>
                  <a:lnTo>
                    <a:pt x="2335619" y="202260"/>
                  </a:lnTo>
                  <a:lnTo>
                    <a:pt x="2335619" y="200876"/>
                  </a:lnTo>
                  <a:lnTo>
                    <a:pt x="2335670" y="200876"/>
                  </a:lnTo>
                  <a:lnTo>
                    <a:pt x="2335670" y="199530"/>
                  </a:lnTo>
                  <a:lnTo>
                    <a:pt x="2335670" y="200228"/>
                  </a:lnTo>
                  <a:lnTo>
                    <a:pt x="2335670" y="199530"/>
                  </a:lnTo>
                  <a:lnTo>
                    <a:pt x="2335721" y="199530"/>
                  </a:lnTo>
                  <a:lnTo>
                    <a:pt x="2335721" y="200228"/>
                  </a:lnTo>
                  <a:lnTo>
                    <a:pt x="2335721" y="198831"/>
                  </a:lnTo>
                  <a:lnTo>
                    <a:pt x="2335721" y="199530"/>
                  </a:lnTo>
                  <a:lnTo>
                    <a:pt x="2335721" y="197447"/>
                  </a:lnTo>
                  <a:lnTo>
                    <a:pt x="2335759" y="197447"/>
                  </a:lnTo>
                  <a:lnTo>
                    <a:pt x="2335759" y="196799"/>
                  </a:lnTo>
                  <a:lnTo>
                    <a:pt x="2335759" y="197447"/>
                  </a:lnTo>
                  <a:lnTo>
                    <a:pt x="2335759" y="196799"/>
                  </a:lnTo>
                  <a:lnTo>
                    <a:pt x="2335759" y="199530"/>
                  </a:lnTo>
                  <a:lnTo>
                    <a:pt x="2335861" y="199530"/>
                  </a:lnTo>
                  <a:lnTo>
                    <a:pt x="2335861" y="197447"/>
                  </a:lnTo>
                  <a:lnTo>
                    <a:pt x="2335861" y="200228"/>
                  </a:lnTo>
                  <a:lnTo>
                    <a:pt x="2335861" y="199530"/>
                  </a:lnTo>
                  <a:lnTo>
                    <a:pt x="2335861" y="200228"/>
                  </a:lnTo>
                  <a:lnTo>
                    <a:pt x="2335912" y="200228"/>
                  </a:lnTo>
                  <a:lnTo>
                    <a:pt x="2335912" y="198831"/>
                  </a:lnTo>
                  <a:lnTo>
                    <a:pt x="2335912" y="200228"/>
                  </a:lnTo>
                  <a:lnTo>
                    <a:pt x="2335912" y="199530"/>
                  </a:lnTo>
                  <a:lnTo>
                    <a:pt x="2335912" y="200876"/>
                  </a:lnTo>
                  <a:lnTo>
                    <a:pt x="2335912" y="200228"/>
                  </a:lnTo>
                  <a:lnTo>
                    <a:pt x="2335962" y="200228"/>
                  </a:lnTo>
                  <a:lnTo>
                    <a:pt x="2335962" y="202260"/>
                  </a:lnTo>
                  <a:lnTo>
                    <a:pt x="2335962" y="200228"/>
                  </a:lnTo>
                  <a:lnTo>
                    <a:pt x="2335962" y="200876"/>
                  </a:lnTo>
                  <a:lnTo>
                    <a:pt x="2336064" y="200228"/>
                  </a:lnTo>
                  <a:lnTo>
                    <a:pt x="2336064" y="202260"/>
                  </a:lnTo>
                  <a:lnTo>
                    <a:pt x="2336064" y="200876"/>
                  </a:lnTo>
                  <a:lnTo>
                    <a:pt x="2336064" y="202260"/>
                  </a:lnTo>
                  <a:lnTo>
                    <a:pt x="2336064" y="200876"/>
                  </a:lnTo>
                  <a:lnTo>
                    <a:pt x="2336115" y="202260"/>
                  </a:lnTo>
                  <a:lnTo>
                    <a:pt x="2336115" y="200876"/>
                  </a:lnTo>
                  <a:lnTo>
                    <a:pt x="2336115" y="202260"/>
                  </a:lnTo>
                  <a:lnTo>
                    <a:pt x="2336115" y="200876"/>
                  </a:lnTo>
                  <a:lnTo>
                    <a:pt x="2336165" y="200876"/>
                  </a:lnTo>
                  <a:lnTo>
                    <a:pt x="2336165" y="202260"/>
                  </a:lnTo>
                  <a:lnTo>
                    <a:pt x="2336165" y="200228"/>
                  </a:lnTo>
                  <a:lnTo>
                    <a:pt x="2336216" y="200228"/>
                  </a:lnTo>
                  <a:lnTo>
                    <a:pt x="2336216" y="197447"/>
                  </a:lnTo>
                  <a:lnTo>
                    <a:pt x="2336216" y="198831"/>
                  </a:lnTo>
                  <a:lnTo>
                    <a:pt x="2336216" y="197447"/>
                  </a:lnTo>
                  <a:lnTo>
                    <a:pt x="2336305" y="197447"/>
                  </a:lnTo>
                  <a:lnTo>
                    <a:pt x="2336305" y="199530"/>
                  </a:lnTo>
                  <a:lnTo>
                    <a:pt x="2336305" y="197447"/>
                  </a:lnTo>
                  <a:lnTo>
                    <a:pt x="2336305" y="198831"/>
                  </a:lnTo>
                  <a:lnTo>
                    <a:pt x="2336356" y="198831"/>
                  </a:lnTo>
                  <a:lnTo>
                    <a:pt x="2336356" y="200228"/>
                  </a:lnTo>
                  <a:lnTo>
                    <a:pt x="2336356" y="199530"/>
                  </a:lnTo>
                  <a:lnTo>
                    <a:pt x="2336356" y="200228"/>
                  </a:lnTo>
                  <a:lnTo>
                    <a:pt x="2336356" y="198831"/>
                  </a:lnTo>
                  <a:lnTo>
                    <a:pt x="2336356" y="199530"/>
                  </a:lnTo>
                  <a:lnTo>
                    <a:pt x="2336407" y="199530"/>
                  </a:lnTo>
                  <a:lnTo>
                    <a:pt x="2336407" y="200228"/>
                  </a:lnTo>
                  <a:lnTo>
                    <a:pt x="2336407" y="199530"/>
                  </a:lnTo>
                  <a:lnTo>
                    <a:pt x="2336407" y="200228"/>
                  </a:lnTo>
                  <a:lnTo>
                    <a:pt x="2336458" y="199530"/>
                  </a:lnTo>
                  <a:lnTo>
                    <a:pt x="2336458" y="200876"/>
                  </a:lnTo>
                  <a:lnTo>
                    <a:pt x="2336458" y="200228"/>
                  </a:lnTo>
                  <a:lnTo>
                    <a:pt x="2336559" y="200876"/>
                  </a:lnTo>
                  <a:lnTo>
                    <a:pt x="2336559" y="200228"/>
                  </a:lnTo>
                  <a:lnTo>
                    <a:pt x="2336559" y="200876"/>
                  </a:lnTo>
                  <a:lnTo>
                    <a:pt x="2336610" y="200876"/>
                  </a:lnTo>
                  <a:lnTo>
                    <a:pt x="2336610" y="202260"/>
                  </a:lnTo>
                  <a:lnTo>
                    <a:pt x="2336610" y="200876"/>
                  </a:lnTo>
                  <a:lnTo>
                    <a:pt x="2336610" y="202260"/>
                  </a:lnTo>
                  <a:lnTo>
                    <a:pt x="2336610" y="200876"/>
                  </a:lnTo>
                  <a:lnTo>
                    <a:pt x="2336661" y="200876"/>
                  </a:lnTo>
                  <a:lnTo>
                    <a:pt x="2336661" y="200228"/>
                  </a:lnTo>
                  <a:lnTo>
                    <a:pt x="2336661" y="200876"/>
                  </a:lnTo>
                  <a:lnTo>
                    <a:pt x="2336661" y="199530"/>
                  </a:lnTo>
                  <a:lnTo>
                    <a:pt x="2336661" y="200228"/>
                  </a:lnTo>
                  <a:lnTo>
                    <a:pt x="2336762" y="199530"/>
                  </a:lnTo>
                  <a:lnTo>
                    <a:pt x="2336762" y="197447"/>
                  </a:lnTo>
                  <a:lnTo>
                    <a:pt x="2336762" y="198831"/>
                  </a:lnTo>
                  <a:lnTo>
                    <a:pt x="2336762" y="197447"/>
                  </a:lnTo>
                  <a:lnTo>
                    <a:pt x="2336762" y="198831"/>
                  </a:lnTo>
                  <a:lnTo>
                    <a:pt x="2336800" y="197447"/>
                  </a:lnTo>
                  <a:lnTo>
                    <a:pt x="2336800" y="196799"/>
                  </a:lnTo>
                  <a:lnTo>
                    <a:pt x="2336800" y="197447"/>
                  </a:lnTo>
                  <a:lnTo>
                    <a:pt x="2336800" y="196799"/>
                  </a:lnTo>
                  <a:lnTo>
                    <a:pt x="2336800" y="197447"/>
                  </a:lnTo>
                  <a:lnTo>
                    <a:pt x="2336851" y="196799"/>
                  </a:lnTo>
                  <a:lnTo>
                    <a:pt x="2336851" y="198831"/>
                  </a:lnTo>
                  <a:lnTo>
                    <a:pt x="2336851" y="197447"/>
                  </a:lnTo>
                  <a:lnTo>
                    <a:pt x="2336902" y="197447"/>
                  </a:lnTo>
                  <a:lnTo>
                    <a:pt x="2336902" y="199530"/>
                  </a:lnTo>
                  <a:lnTo>
                    <a:pt x="2336902" y="197447"/>
                  </a:lnTo>
                  <a:lnTo>
                    <a:pt x="2337004" y="197447"/>
                  </a:lnTo>
                  <a:lnTo>
                    <a:pt x="2337004" y="200228"/>
                  </a:lnTo>
                  <a:lnTo>
                    <a:pt x="2337004" y="199530"/>
                  </a:lnTo>
                  <a:lnTo>
                    <a:pt x="2337004" y="200228"/>
                  </a:lnTo>
                  <a:lnTo>
                    <a:pt x="2337055" y="199530"/>
                  </a:lnTo>
                  <a:lnTo>
                    <a:pt x="2337055" y="200228"/>
                  </a:lnTo>
                  <a:lnTo>
                    <a:pt x="2337055" y="199530"/>
                  </a:lnTo>
                  <a:lnTo>
                    <a:pt x="2337055" y="200876"/>
                  </a:lnTo>
                  <a:lnTo>
                    <a:pt x="2337055" y="200228"/>
                  </a:lnTo>
                  <a:lnTo>
                    <a:pt x="2337055" y="200876"/>
                  </a:lnTo>
                  <a:lnTo>
                    <a:pt x="2337055" y="200228"/>
                  </a:lnTo>
                  <a:lnTo>
                    <a:pt x="2337105" y="200228"/>
                  </a:lnTo>
                  <a:lnTo>
                    <a:pt x="2337105" y="200876"/>
                  </a:lnTo>
                  <a:lnTo>
                    <a:pt x="2337105" y="200228"/>
                  </a:lnTo>
                  <a:lnTo>
                    <a:pt x="2337105" y="202260"/>
                  </a:lnTo>
                  <a:lnTo>
                    <a:pt x="2337105" y="200876"/>
                  </a:lnTo>
                  <a:lnTo>
                    <a:pt x="2337207" y="200876"/>
                  </a:lnTo>
                  <a:lnTo>
                    <a:pt x="2337207" y="200228"/>
                  </a:lnTo>
                  <a:lnTo>
                    <a:pt x="2337207" y="200876"/>
                  </a:lnTo>
                  <a:lnTo>
                    <a:pt x="2337207" y="200228"/>
                  </a:lnTo>
                  <a:lnTo>
                    <a:pt x="2337207" y="200876"/>
                  </a:lnTo>
                  <a:lnTo>
                    <a:pt x="2337207" y="200228"/>
                  </a:lnTo>
                  <a:lnTo>
                    <a:pt x="2337258" y="200228"/>
                  </a:lnTo>
                  <a:lnTo>
                    <a:pt x="2337258" y="198831"/>
                  </a:lnTo>
                  <a:lnTo>
                    <a:pt x="2337258" y="199530"/>
                  </a:lnTo>
                  <a:lnTo>
                    <a:pt x="2337258" y="198831"/>
                  </a:lnTo>
                  <a:lnTo>
                    <a:pt x="2337258" y="200228"/>
                  </a:lnTo>
                  <a:lnTo>
                    <a:pt x="2337309" y="200228"/>
                  </a:lnTo>
                  <a:lnTo>
                    <a:pt x="2337309" y="197447"/>
                  </a:lnTo>
                  <a:lnTo>
                    <a:pt x="2337309" y="202260"/>
                  </a:lnTo>
                  <a:lnTo>
                    <a:pt x="2337309" y="200876"/>
                  </a:lnTo>
                  <a:lnTo>
                    <a:pt x="2337347" y="200876"/>
                  </a:lnTo>
                  <a:lnTo>
                    <a:pt x="2337347" y="199530"/>
                  </a:lnTo>
                  <a:lnTo>
                    <a:pt x="2337347" y="200876"/>
                  </a:lnTo>
                  <a:lnTo>
                    <a:pt x="2337448" y="200876"/>
                  </a:lnTo>
                  <a:lnTo>
                    <a:pt x="2337448" y="199530"/>
                  </a:lnTo>
                  <a:lnTo>
                    <a:pt x="2337448" y="200228"/>
                  </a:lnTo>
                  <a:lnTo>
                    <a:pt x="2337499" y="200228"/>
                  </a:lnTo>
                  <a:lnTo>
                    <a:pt x="2337499" y="199530"/>
                  </a:lnTo>
                  <a:lnTo>
                    <a:pt x="2337499" y="200228"/>
                  </a:lnTo>
                  <a:lnTo>
                    <a:pt x="2337499" y="199530"/>
                  </a:lnTo>
                  <a:lnTo>
                    <a:pt x="2337499" y="200228"/>
                  </a:lnTo>
                  <a:lnTo>
                    <a:pt x="2337499" y="199530"/>
                  </a:lnTo>
                  <a:lnTo>
                    <a:pt x="2337499" y="200228"/>
                  </a:lnTo>
                  <a:lnTo>
                    <a:pt x="2337499" y="199530"/>
                  </a:lnTo>
                  <a:lnTo>
                    <a:pt x="2337499" y="200228"/>
                  </a:lnTo>
                  <a:lnTo>
                    <a:pt x="2337499" y="199530"/>
                  </a:lnTo>
                  <a:lnTo>
                    <a:pt x="2337550" y="199530"/>
                  </a:lnTo>
                  <a:lnTo>
                    <a:pt x="2337550" y="200228"/>
                  </a:lnTo>
                  <a:lnTo>
                    <a:pt x="2337550" y="199530"/>
                  </a:lnTo>
                  <a:lnTo>
                    <a:pt x="2337550" y="200228"/>
                  </a:lnTo>
                  <a:lnTo>
                    <a:pt x="2337550" y="199530"/>
                  </a:lnTo>
                  <a:lnTo>
                    <a:pt x="2337550" y="200228"/>
                  </a:lnTo>
                  <a:lnTo>
                    <a:pt x="2337550" y="199530"/>
                  </a:lnTo>
                  <a:lnTo>
                    <a:pt x="2337550" y="200228"/>
                  </a:lnTo>
                  <a:lnTo>
                    <a:pt x="2337550" y="199530"/>
                  </a:lnTo>
                  <a:lnTo>
                    <a:pt x="2337550" y="200228"/>
                  </a:lnTo>
                  <a:lnTo>
                    <a:pt x="2337651" y="200228"/>
                  </a:lnTo>
                  <a:lnTo>
                    <a:pt x="2337651" y="199530"/>
                  </a:lnTo>
                  <a:lnTo>
                    <a:pt x="2337651" y="200228"/>
                  </a:lnTo>
                  <a:lnTo>
                    <a:pt x="2337651" y="199530"/>
                  </a:lnTo>
                  <a:lnTo>
                    <a:pt x="2337651" y="200228"/>
                  </a:lnTo>
                  <a:lnTo>
                    <a:pt x="2337651" y="199530"/>
                  </a:lnTo>
                  <a:lnTo>
                    <a:pt x="2337702" y="199530"/>
                  </a:lnTo>
                  <a:lnTo>
                    <a:pt x="2337702" y="198831"/>
                  </a:lnTo>
                  <a:lnTo>
                    <a:pt x="2337702" y="199530"/>
                  </a:lnTo>
                  <a:lnTo>
                    <a:pt x="2337702" y="198831"/>
                  </a:lnTo>
                  <a:lnTo>
                    <a:pt x="2337702" y="199530"/>
                  </a:lnTo>
                  <a:lnTo>
                    <a:pt x="2337702" y="198831"/>
                  </a:lnTo>
                  <a:lnTo>
                    <a:pt x="2337702" y="199530"/>
                  </a:lnTo>
                  <a:lnTo>
                    <a:pt x="2337702" y="197447"/>
                  </a:lnTo>
                  <a:lnTo>
                    <a:pt x="2337753" y="198831"/>
                  </a:lnTo>
                  <a:lnTo>
                    <a:pt x="2337753" y="197447"/>
                  </a:lnTo>
                  <a:lnTo>
                    <a:pt x="2337753" y="199530"/>
                  </a:lnTo>
                  <a:lnTo>
                    <a:pt x="2337753" y="198831"/>
                  </a:lnTo>
                  <a:lnTo>
                    <a:pt x="2337804" y="198831"/>
                  </a:lnTo>
                  <a:lnTo>
                    <a:pt x="2337804" y="197447"/>
                  </a:lnTo>
                  <a:lnTo>
                    <a:pt x="2337804" y="202260"/>
                  </a:lnTo>
                  <a:lnTo>
                    <a:pt x="2337804" y="200228"/>
                  </a:lnTo>
                  <a:lnTo>
                    <a:pt x="2337893" y="199530"/>
                  </a:lnTo>
                  <a:lnTo>
                    <a:pt x="2337893" y="200228"/>
                  </a:lnTo>
                  <a:lnTo>
                    <a:pt x="2337893" y="199530"/>
                  </a:lnTo>
                  <a:lnTo>
                    <a:pt x="2337893" y="202260"/>
                  </a:lnTo>
                  <a:lnTo>
                    <a:pt x="2337893" y="200228"/>
                  </a:lnTo>
                  <a:lnTo>
                    <a:pt x="2337893" y="200876"/>
                  </a:lnTo>
                  <a:lnTo>
                    <a:pt x="2337944" y="200876"/>
                  </a:lnTo>
                  <a:lnTo>
                    <a:pt x="2337944" y="200228"/>
                  </a:lnTo>
                  <a:lnTo>
                    <a:pt x="2337944" y="200876"/>
                  </a:lnTo>
                  <a:lnTo>
                    <a:pt x="2337944" y="200228"/>
                  </a:lnTo>
                  <a:lnTo>
                    <a:pt x="2337944" y="200876"/>
                  </a:lnTo>
                  <a:lnTo>
                    <a:pt x="2337994" y="200876"/>
                  </a:lnTo>
                  <a:lnTo>
                    <a:pt x="2337994" y="200228"/>
                  </a:lnTo>
                  <a:lnTo>
                    <a:pt x="2337994" y="200876"/>
                  </a:lnTo>
                  <a:lnTo>
                    <a:pt x="2337994" y="200228"/>
                  </a:lnTo>
                  <a:lnTo>
                    <a:pt x="2337994" y="200876"/>
                  </a:lnTo>
                  <a:lnTo>
                    <a:pt x="2337994" y="200228"/>
                  </a:lnTo>
                  <a:lnTo>
                    <a:pt x="2338045" y="200228"/>
                  </a:lnTo>
                  <a:lnTo>
                    <a:pt x="2338045" y="200876"/>
                  </a:lnTo>
                  <a:lnTo>
                    <a:pt x="2338045" y="200228"/>
                  </a:lnTo>
                  <a:lnTo>
                    <a:pt x="2338045" y="200876"/>
                  </a:lnTo>
                  <a:lnTo>
                    <a:pt x="2338147" y="200228"/>
                  </a:lnTo>
                  <a:lnTo>
                    <a:pt x="2338147" y="200876"/>
                  </a:lnTo>
                  <a:lnTo>
                    <a:pt x="2338147" y="199530"/>
                  </a:lnTo>
                  <a:lnTo>
                    <a:pt x="2338147" y="200228"/>
                  </a:lnTo>
                  <a:lnTo>
                    <a:pt x="2338197" y="200228"/>
                  </a:lnTo>
                  <a:lnTo>
                    <a:pt x="2338197" y="198831"/>
                  </a:lnTo>
                  <a:lnTo>
                    <a:pt x="2338248" y="197447"/>
                  </a:lnTo>
                  <a:lnTo>
                    <a:pt x="2338248" y="200228"/>
                  </a:lnTo>
                  <a:lnTo>
                    <a:pt x="2338248" y="197447"/>
                  </a:lnTo>
                  <a:lnTo>
                    <a:pt x="2338350" y="197447"/>
                  </a:lnTo>
                  <a:lnTo>
                    <a:pt x="2338350" y="200876"/>
                  </a:lnTo>
                  <a:lnTo>
                    <a:pt x="2338350" y="199530"/>
                  </a:lnTo>
                  <a:lnTo>
                    <a:pt x="2338388" y="199530"/>
                  </a:lnTo>
                  <a:lnTo>
                    <a:pt x="2338388" y="200876"/>
                  </a:lnTo>
                  <a:lnTo>
                    <a:pt x="2338388" y="199530"/>
                  </a:lnTo>
                  <a:lnTo>
                    <a:pt x="2338388" y="200228"/>
                  </a:lnTo>
                  <a:lnTo>
                    <a:pt x="2338439" y="200228"/>
                  </a:lnTo>
                  <a:lnTo>
                    <a:pt x="2338439" y="202260"/>
                  </a:lnTo>
                  <a:lnTo>
                    <a:pt x="2338439" y="200228"/>
                  </a:lnTo>
                  <a:lnTo>
                    <a:pt x="2338439" y="200876"/>
                  </a:lnTo>
                  <a:lnTo>
                    <a:pt x="2338490" y="200876"/>
                  </a:lnTo>
                  <a:lnTo>
                    <a:pt x="2338490" y="202260"/>
                  </a:lnTo>
                  <a:lnTo>
                    <a:pt x="2338490" y="200228"/>
                  </a:lnTo>
                  <a:lnTo>
                    <a:pt x="2338490" y="200876"/>
                  </a:lnTo>
                  <a:lnTo>
                    <a:pt x="2338490" y="200228"/>
                  </a:lnTo>
                  <a:lnTo>
                    <a:pt x="2338591" y="200228"/>
                  </a:lnTo>
                  <a:lnTo>
                    <a:pt x="2338591" y="200876"/>
                  </a:lnTo>
                  <a:lnTo>
                    <a:pt x="2338591" y="200228"/>
                  </a:lnTo>
                  <a:lnTo>
                    <a:pt x="2338591" y="200876"/>
                  </a:lnTo>
                  <a:lnTo>
                    <a:pt x="2338591" y="200228"/>
                  </a:lnTo>
                  <a:lnTo>
                    <a:pt x="2338642" y="200228"/>
                  </a:lnTo>
                  <a:lnTo>
                    <a:pt x="2338642" y="198831"/>
                  </a:lnTo>
                  <a:lnTo>
                    <a:pt x="2338642" y="199530"/>
                  </a:lnTo>
                  <a:lnTo>
                    <a:pt x="2338693" y="198831"/>
                  </a:lnTo>
                  <a:lnTo>
                    <a:pt x="2338693" y="197447"/>
                  </a:lnTo>
                  <a:lnTo>
                    <a:pt x="2338693" y="198831"/>
                  </a:lnTo>
                  <a:lnTo>
                    <a:pt x="2338693" y="197447"/>
                  </a:lnTo>
                  <a:lnTo>
                    <a:pt x="2338693" y="198831"/>
                  </a:lnTo>
                  <a:lnTo>
                    <a:pt x="2338693" y="196113"/>
                  </a:lnTo>
                  <a:lnTo>
                    <a:pt x="2338693" y="196799"/>
                  </a:lnTo>
                  <a:lnTo>
                    <a:pt x="2338693" y="196113"/>
                  </a:lnTo>
                  <a:lnTo>
                    <a:pt x="2338794" y="196113"/>
                  </a:lnTo>
                  <a:lnTo>
                    <a:pt x="2338794" y="195415"/>
                  </a:lnTo>
                  <a:lnTo>
                    <a:pt x="2338794" y="197447"/>
                  </a:lnTo>
                  <a:lnTo>
                    <a:pt x="2338794" y="196113"/>
                  </a:lnTo>
                  <a:lnTo>
                    <a:pt x="2338845" y="196113"/>
                  </a:lnTo>
                  <a:lnTo>
                    <a:pt x="2338845" y="198831"/>
                  </a:lnTo>
                  <a:lnTo>
                    <a:pt x="2338845" y="197447"/>
                  </a:lnTo>
                  <a:lnTo>
                    <a:pt x="2338845" y="199530"/>
                  </a:lnTo>
                  <a:lnTo>
                    <a:pt x="2338845" y="197447"/>
                  </a:lnTo>
                  <a:lnTo>
                    <a:pt x="2338896" y="197447"/>
                  </a:lnTo>
                  <a:lnTo>
                    <a:pt x="2338896" y="199530"/>
                  </a:lnTo>
                  <a:lnTo>
                    <a:pt x="2338896" y="198831"/>
                  </a:lnTo>
                  <a:lnTo>
                    <a:pt x="2338896" y="199530"/>
                  </a:lnTo>
                  <a:lnTo>
                    <a:pt x="2338896" y="198831"/>
                  </a:lnTo>
                  <a:lnTo>
                    <a:pt x="2338934" y="198831"/>
                  </a:lnTo>
                  <a:lnTo>
                    <a:pt x="2338934" y="200228"/>
                  </a:lnTo>
                  <a:lnTo>
                    <a:pt x="2338934" y="199530"/>
                  </a:lnTo>
                  <a:lnTo>
                    <a:pt x="2338934" y="200228"/>
                  </a:lnTo>
                  <a:lnTo>
                    <a:pt x="2338934" y="199530"/>
                  </a:lnTo>
                  <a:lnTo>
                    <a:pt x="2338934" y="200228"/>
                  </a:lnTo>
                  <a:lnTo>
                    <a:pt x="2339036" y="200228"/>
                  </a:lnTo>
                  <a:lnTo>
                    <a:pt x="2339036" y="199530"/>
                  </a:lnTo>
                  <a:lnTo>
                    <a:pt x="2339036" y="200228"/>
                  </a:lnTo>
                  <a:lnTo>
                    <a:pt x="2339087" y="200228"/>
                  </a:lnTo>
                  <a:lnTo>
                    <a:pt x="2339087" y="200876"/>
                  </a:lnTo>
                  <a:lnTo>
                    <a:pt x="2339087" y="200228"/>
                  </a:lnTo>
                  <a:lnTo>
                    <a:pt x="2339087" y="200876"/>
                  </a:lnTo>
                  <a:lnTo>
                    <a:pt x="2339087" y="200228"/>
                  </a:lnTo>
                  <a:lnTo>
                    <a:pt x="2339137" y="200876"/>
                  </a:lnTo>
                  <a:lnTo>
                    <a:pt x="2339137" y="199530"/>
                  </a:lnTo>
                  <a:lnTo>
                    <a:pt x="2339137" y="200228"/>
                  </a:lnTo>
                  <a:lnTo>
                    <a:pt x="2339137" y="199530"/>
                  </a:lnTo>
                  <a:lnTo>
                    <a:pt x="2339137" y="200228"/>
                  </a:lnTo>
                  <a:lnTo>
                    <a:pt x="2339137" y="199530"/>
                  </a:lnTo>
                  <a:lnTo>
                    <a:pt x="2339239" y="199530"/>
                  </a:lnTo>
                  <a:lnTo>
                    <a:pt x="2339239" y="196799"/>
                  </a:lnTo>
                  <a:lnTo>
                    <a:pt x="2339239" y="197447"/>
                  </a:lnTo>
                  <a:lnTo>
                    <a:pt x="2339290" y="196799"/>
                  </a:lnTo>
                  <a:lnTo>
                    <a:pt x="2339290" y="197447"/>
                  </a:lnTo>
                  <a:lnTo>
                    <a:pt x="2339290" y="196799"/>
                  </a:lnTo>
                  <a:lnTo>
                    <a:pt x="2339290" y="197447"/>
                  </a:lnTo>
                  <a:lnTo>
                    <a:pt x="2339290" y="196799"/>
                  </a:lnTo>
                  <a:lnTo>
                    <a:pt x="2339340" y="197447"/>
                  </a:lnTo>
                  <a:lnTo>
                    <a:pt x="2339340" y="198831"/>
                  </a:lnTo>
                  <a:lnTo>
                    <a:pt x="2339340" y="197447"/>
                  </a:lnTo>
                  <a:lnTo>
                    <a:pt x="2339340" y="198831"/>
                  </a:lnTo>
                  <a:lnTo>
                    <a:pt x="2339391" y="198831"/>
                  </a:lnTo>
                  <a:lnTo>
                    <a:pt x="2339391" y="199530"/>
                  </a:lnTo>
                  <a:lnTo>
                    <a:pt x="2339391" y="198831"/>
                  </a:lnTo>
                  <a:lnTo>
                    <a:pt x="2339391" y="199530"/>
                  </a:lnTo>
                  <a:lnTo>
                    <a:pt x="2339391" y="198831"/>
                  </a:lnTo>
                  <a:lnTo>
                    <a:pt x="2339391" y="199530"/>
                  </a:lnTo>
                  <a:lnTo>
                    <a:pt x="2339391" y="198831"/>
                  </a:lnTo>
                  <a:lnTo>
                    <a:pt x="2339391" y="199530"/>
                  </a:lnTo>
                  <a:lnTo>
                    <a:pt x="2339391" y="198831"/>
                  </a:lnTo>
                  <a:lnTo>
                    <a:pt x="2339480" y="198831"/>
                  </a:lnTo>
                  <a:lnTo>
                    <a:pt x="2339480" y="199530"/>
                  </a:lnTo>
                  <a:lnTo>
                    <a:pt x="2339480" y="198831"/>
                  </a:lnTo>
                  <a:lnTo>
                    <a:pt x="2339480" y="199530"/>
                  </a:lnTo>
                  <a:lnTo>
                    <a:pt x="2339531" y="199530"/>
                  </a:lnTo>
                  <a:lnTo>
                    <a:pt x="2339531" y="200228"/>
                  </a:lnTo>
                  <a:lnTo>
                    <a:pt x="2339531" y="199530"/>
                  </a:lnTo>
                  <a:lnTo>
                    <a:pt x="2339531" y="200228"/>
                  </a:lnTo>
                  <a:lnTo>
                    <a:pt x="2339582" y="200228"/>
                  </a:lnTo>
                  <a:lnTo>
                    <a:pt x="2339633" y="199530"/>
                  </a:lnTo>
                  <a:lnTo>
                    <a:pt x="2339633" y="200228"/>
                  </a:lnTo>
                  <a:lnTo>
                    <a:pt x="2339633" y="198831"/>
                  </a:lnTo>
                  <a:lnTo>
                    <a:pt x="2339734" y="198831"/>
                  </a:lnTo>
                  <a:lnTo>
                    <a:pt x="2339734" y="196113"/>
                  </a:lnTo>
                  <a:lnTo>
                    <a:pt x="2339734" y="196799"/>
                  </a:lnTo>
                  <a:lnTo>
                    <a:pt x="2339785" y="197447"/>
                  </a:lnTo>
                  <a:lnTo>
                    <a:pt x="2339785" y="198831"/>
                  </a:lnTo>
                  <a:lnTo>
                    <a:pt x="2339785" y="196113"/>
                  </a:lnTo>
                  <a:lnTo>
                    <a:pt x="2339785" y="198831"/>
                  </a:lnTo>
                  <a:lnTo>
                    <a:pt x="2339836" y="198831"/>
                  </a:lnTo>
                  <a:lnTo>
                    <a:pt x="2339836" y="199530"/>
                  </a:lnTo>
                  <a:lnTo>
                    <a:pt x="2339836" y="198831"/>
                  </a:lnTo>
                  <a:lnTo>
                    <a:pt x="2339836" y="199530"/>
                  </a:lnTo>
                  <a:lnTo>
                    <a:pt x="2339836" y="197447"/>
                  </a:lnTo>
                  <a:lnTo>
                    <a:pt x="2339836" y="199530"/>
                  </a:lnTo>
                  <a:lnTo>
                    <a:pt x="2339937" y="199530"/>
                  </a:lnTo>
                  <a:lnTo>
                    <a:pt x="2339937" y="197447"/>
                  </a:lnTo>
                  <a:lnTo>
                    <a:pt x="2339937" y="199530"/>
                  </a:lnTo>
                  <a:lnTo>
                    <a:pt x="2339937" y="198831"/>
                  </a:lnTo>
                  <a:lnTo>
                    <a:pt x="2339937" y="199530"/>
                  </a:lnTo>
                  <a:lnTo>
                    <a:pt x="2339975" y="199530"/>
                  </a:lnTo>
                  <a:lnTo>
                    <a:pt x="2339975" y="198831"/>
                  </a:lnTo>
                  <a:lnTo>
                    <a:pt x="2339975" y="199530"/>
                  </a:lnTo>
                  <a:lnTo>
                    <a:pt x="2340077" y="199530"/>
                  </a:lnTo>
                  <a:lnTo>
                    <a:pt x="2340077" y="200228"/>
                  </a:lnTo>
                  <a:lnTo>
                    <a:pt x="2340179" y="199530"/>
                  </a:lnTo>
                  <a:lnTo>
                    <a:pt x="2340179" y="198831"/>
                  </a:lnTo>
                  <a:lnTo>
                    <a:pt x="2340230" y="198831"/>
                  </a:lnTo>
                  <a:lnTo>
                    <a:pt x="2340230" y="196113"/>
                  </a:lnTo>
                  <a:lnTo>
                    <a:pt x="2340230" y="196799"/>
                  </a:lnTo>
                  <a:lnTo>
                    <a:pt x="2340230" y="196113"/>
                  </a:lnTo>
                  <a:lnTo>
                    <a:pt x="2340280" y="196113"/>
                  </a:lnTo>
                  <a:lnTo>
                    <a:pt x="2340280" y="196799"/>
                  </a:lnTo>
                  <a:lnTo>
                    <a:pt x="2340280" y="196113"/>
                  </a:lnTo>
                  <a:lnTo>
                    <a:pt x="2340280" y="196799"/>
                  </a:lnTo>
                  <a:lnTo>
                    <a:pt x="2340280" y="196113"/>
                  </a:lnTo>
                  <a:lnTo>
                    <a:pt x="2340382" y="196799"/>
                  </a:lnTo>
                  <a:lnTo>
                    <a:pt x="2340382" y="198831"/>
                  </a:lnTo>
                  <a:lnTo>
                    <a:pt x="2340382" y="197447"/>
                  </a:lnTo>
                  <a:lnTo>
                    <a:pt x="2340382" y="198831"/>
                  </a:lnTo>
                  <a:lnTo>
                    <a:pt x="2340382" y="196799"/>
                  </a:lnTo>
                  <a:lnTo>
                    <a:pt x="2340382" y="197447"/>
                  </a:lnTo>
                  <a:lnTo>
                    <a:pt x="2340382" y="196113"/>
                  </a:lnTo>
                  <a:lnTo>
                    <a:pt x="2340382" y="197447"/>
                  </a:lnTo>
                  <a:lnTo>
                    <a:pt x="2340433" y="197447"/>
                  </a:lnTo>
                  <a:lnTo>
                    <a:pt x="2340433" y="196799"/>
                  </a:lnTo>
                  <a:lnTo>
                    <a:pt x="2340433" y="197447"/>
                  </a:lnTo>
                  <a:lnTo>
                    <a:pt x="2340433" y="196799"/>
                  </a:lnTo>
                  <a:lnTo>
                    <a:pt x="2340433" y="197447"/>
                  </a:lnTo>
                  <a:lnTo>
                    <a:pt x="2340484" y="197447"/>
                  </a:lnTo>
                  <a:lnTo>
                    <a:pt x="2340484" y="198831"/>
                  </a:lnTo>
                  <a:lnTo>
                    <a:pt x="2340484" y="197447"/>
                  </a:lnTo>
                  <a:lnTo>
                    <a:pt x="2340484" y="198831"/>
                  </a:lnTo>
                  <a:lnTo>
                    <a:pt x="2340522" y="198831"/>
                  </a:lnTo>
                  <a:lnTo>
                    <a:pt x="2340522" y="199530"/>
                  </a:lnTo>
                  <a:lnTo>
                    <a:pt x="2340522" y="198831"/>
                  </a:lnTo>
                  <a:lnTo>
                    <a:pt x="2340522" y="199530"/>
                  </a:lnTo>
                  <a:lnTo>
                    <a:pt x="2340522" y="198831"/>
                  </a:lnTo>
                  <a:lnTo>
                    <a:pt x="2340522" y="199530"/>
                  </a:lnTo>
                  <a:lnTo>
                    <a:pt x="2340623" y="199530"/>
                  </a:lnTo>
                  <a:lnTo>
                    <a:pt x="2340623" y="198831"/>
                  </a:lnTo>
                  <a:lnTo>
                    <a:pt x="2340623" y="199530"/>
                  </a:lnTo>
                  <a:lnTo>
                    <a:pt x="2340623" y="198831"/>
                  </a:lnTo>
                  <a:lnTo>
                    <a:pt x="2340623" y="199530"/>
                  </a:lnTo>
                  <a:lnTo>
                    <a:pt x="2340623" y="198831"/>
                  </a:lnTo>
                  <a:lnTo>
                    <a:pt x="2340623" y="200228"/>
                  </a:lnTo>
                  <a:lnTo>
                    <a:pt x="2340623" y="198831"/>
                  </a:lnTo>
                  <a:lnTo>
                    <a:pt x="2340674" y="198831"/>
                  </a:lnTo>
                  <a:lnTo>
                    <a:pt x="2340674" y="197447"/>
                  </a:lnTo>
                  <a:lnTo>
                    <a:pt x="2340674" y="199530"/>
                  </a:lnTo>
                  <a:lnTo>
                    <a:pt x="2340674" y="197447"/>
                  </a:lnTo>
                  <a:lnTo>
                    <a:pt x="2340725" y="197447"/>
                  </a:lnTo>
                  <a:lnTo>
                    <a:pt x="2340725" y="196113"/>
                  </a:lnTo>
                  <a:lnTo>
                    <a:pt x="2340725" y="196799"/>
                  </a:lnTo>
                  <a:lnTo>
                    <a:pt x="2340826" y="197447"/>
                  </a:lnTo>
                  <a:lnTo>
                    <a:pt x="2340826" y="196113"/>
                  </a:lnTo>
                  <a:lnTo>
                    <a:pt x="2340826" y="199530"/>
                  </a:lnTo>
                  <a:lnTo>
                    <a:pt x="2340877" y="199530"/>
                  </a:lnTo>
                  <a:lnTo>
                    <a:pt x="2340877" y="197447"/>
                  </a:lnTo>
                  <a:lnTo>
                    <a:pt x="2340877" y="199530"/>
                  </a:lnTo>
                  <a:lnTo>
                    <a:pt x="2340928" y="199530"/>
                  </a:lnTo>
                  <a:lnTo>
                    <a:pt x="2340928" y="198831"/>
                  </a:lnTo>
                  <a:lnTo>
                    <a:pt x="2340979" y="198831"/>
                  </a:lnTo>
                  <a:lnTo>
                    <a:pt x="2340979" y="200228"/>
                  </a:lnTo>
                  <a:lnTo>
                    <a:pt x="2341068" y="199530"/>
                  </a:lnTo>
                  <a:lnTo>
                    <a:pt x="2341068" y="198831"/>
                  </a:lnTo>
                  <a:lnTo>
                    <a:pt x="2341068" y="199530"/>
                  </a:lnTo>
                  <a:lnTo>
                    <a:pt x="2341068" y="198831"/>
                  </a:lnTo>
                  <a:lnTo>
                    <a:pt x="2341068" y="200228"/>
                  </a:lnTo>
                  <a:lnTo>
                    <a:pt x="2341068" y="199530"/>
                  </a:lnTo>
                  <a:lnTo>
                    <a:pt x="2341119" y="199530"/>
                  </a:lnTo>
                  <a:lnTo>
                    <a:pt x="2341119" y="200228"/>
                  </a:lnTo>
                  <a:lnTo>
                    <a:pt x="2341119" y="199530"/>
                  </a:lnTo>
                  <a:lnTo>
                    <a:pt x="2341119" y="200228"/>
                  </a:lnTo>
                  <a:lnTo>
                    <a:pt x="2341119" y="199530"/>
                  </a:lnTo>
                  <a:lnTo>
                    <a:pt x="2341119" y="200228"/>
                  </a:lnTo>
                  <a:lnTo>
                    <a:pt x="2341119" y="199530"/>
                  </a:lnTo>
                  <a:lnTo>
                    <a:pt x="2341169" y="199530"/>
                  </a:lnTo>
                  <a:lnTo>
                    <a:pt x="2341169" y="198831"/>
                  </a:lnTo>
                  <a:lnTo>
                    <a:pt x="2341169" y="199530"/>
                  </a:lnTo>
                  <a:lnTo>
                    <a:pt x="2341169" y="198831"/>
                  </a:lnTo>
                  <a:lnTo>
                    <a:pt x="2341220" y="197447"/>
                  </a:lnTo>
                  <a:lnTo>
                    <a:pt x="2341220" y="200228"/>
                  </a:lnTo>
                  <a:lnTo>
                    <a:pt x="2341220" y="199530"/>
                  </a:lnTo>
                  <a:lnTo>
                    <a:pt x="2341322" y="199530"/>
                  </a:lnTo>
                  <a:lnTo>
                    <a:pt x="2341322" y="197447"/>
                  </a:lnTo>
                  <a:lnTo>
                    <a:pt x="2341322" y="200876"/>
                  </a:lnTo>
                  <a:lnTo>
                    <a:pt x="2341322" y="199530"/>
                  </a:lnTo>
                  <a:lnTo>
                    <a:pt x="2341322" y="200228"/>
                  </a:lnTo>
                  <a:lnTo>
                    <a:pt x="2341322" y="199530"/>
                  </a:lnTo>
                  <a:lnTo>
                    <a:pt x="2341372" y="199530"/>
                  </a:lnTo>
                  <a:lnTo>
                    <a:pt x="2341372" y="200228"/>
                  </a:lnTo>
                  <a:lnTo>
                    <a:pt x="2341372" y="199530"/>
                  </a:lnTo>
                  <a:lnTo>
                    <a:pt x="2341372" y="200228"/>
                  </a:lnTo>
                  <a:lnTo>
                    <a:pt x="2341372" y="199530"/>
                  </a:lnTo>
                  <a:lnTo>
                    <a:pt x="2341372" y="200876"/>
                  </a:lnTo>
                  <a:lnTo>
                    <a:pt x="2341372" y="200228"/>
                  </a:lnTo>
                  <a:lnTo>
                    <a:pt x="2341423" y="200228"/>
                  </a:lnTo>
                  <a:lnTo>
                    <a:pt x="2341423" y="199530"/>
                  </a:lnTo>
                  <a:lnTo>
                    <a:pt x="2341423" y="200228"/>
                  </a:lnTo>
                  <a:lnTo>
                    <a:pt x="2341423" y="199530"/>
                  </a:lnTo>
                  <a:lnTo>
                    <a:pt x="2341423" y="200228"/>
                  </a:lnTo>
                  <a:lnTo>
                    <a:pt x="2341525" y="200228"/>
                  </a:lnTo>
                  <a:lnTo>
                    <a:pt x="2341525" y="199530"/>
                  </a:lnTo>
                  <a:lnTo>
                    <a:pt x="2341525" y="200876"/>
                  </a:lnTo>
                  <a:lnTo>
                    <a:pt x="2341525" y="200228"/>
                  </a:lnTo>
                  <a:lnTo>
                    <a:pt x="2341563" y="200228"/>
                  </a:lnTo>
                  <a:lnTo>
                    <a:pt x="2341563" y="199530"/>
                  </a:lnTo>
                  <a:lnTo>
                    <a:pt x="2341563" y="200228"/>
                  </a:lnTo>
                  <a:lnTo>
                    <a:pt x="2341614" y="200228"/>
                  </a:lnTo>
                  <a:lnTo>
                    <a:pt x="2341614" y="199530"/>
                  </a:lnTo>
                  <a:lnTo>
                    <a:pt x="2341614" y="200228"/>
                  </a:lnTo>
                  <a:lnTo>
                    <a:pt x="2341614" y="199530"/>
                  </a:lnTo>
                  <a:lnTo>
                    <a:pt x="2341665" y="198831"/>
                  </a:lnTo>
                  <a:lnTo>
                    <a:pt x="2341665" y="199530"/>
                  </a:lnTo>
                  <a:lnTo>
                    <a:pt x="2341665" y="197447"/>
                  </a:lnTo>
                  <a:lnTo>
                    <a:pt x="2341665" y="198831"/>
                  </a:lnTo>
                  <a:lnTo>
                    <a:pt x="2341665" y="196113"/>
                  </a:lnTo>
                  <a:lnTo>
                    <a:pt x="2341766" y="196113"/>
                  </a:lnTo>
                  <a:lnTo>
                    <a:pt x="2341766" y="196799"/>
                  </a:lnTo>
                  <a:lnTo>
                    <a:pt x="2341766" y="196113"/>
                  </a:lnTo>
                  <a:lnTo>
                    <a:pt x="2341766" y="198831"/>
                  </a:lnTo>
                  <a:lnTo>
                    <a:pt x="2341766" y="196799"/>
                  </a:lnTo>
                  <a:lnTo>
                    <a:pt x="2341817" y="196799"/>
                  </a:lnTo>
                  <a:lnTo>
                    <a:pt x="2341817" y="200228"/>
                  </a:lnTo>
                  <a:lnTo>
                    <a:pt x="2341817" y="198831"/>
                  </a:lnTo>
                  <a:lnTo>
                    <a:pt x="2341868" y="198831"/>
                  </a:lnTo>
                  <a:lnTo>
                    <a:pt x="2341868" y="200876"/>
                  </a:lnTo>
                  <a:lnTo>
                    <a:pt x="2341868" y="199530"/>
                  </a:lnTo>
                  <a:lnTo>
                    <a:pt x="2341969" y="199530"/>
                  </a:lnTo>
                  <a:lnTo>
                    <a:pt x="2341969" y="200228"/>
                  </a:lnTo>
                  <a:lnTo>
                    <a:pt x="2341969" y="199530"/>
                  </a:lnTo>
                  <a:lnTo>
                    <a:pt x="2341969" y="200228"/>
                  </a:lnTo>
                  <a:lnTo>
                    <a:pt x="2342109" y="200228"/>
                  </a:lnTo>
                  <a:lnTo>
                    <a:pt x="2342109" y="200876"/>
                  </a:lnTo>
                  <a:lnTo>
                    <a:pt x="2342109" y="199530"/>
                  </a:lnTo>
                  <a:lnTo>
                    <a:pt x="2342211" y="199530"/>
                  </a:lnTo>
                  <a:lnTo>
                    <a:pt x="2342211" y="197447"/>
                  </a:lnTo>
                  <a:lnTo>
                    <a:pt x="2342211" y="198831"/>
                  </a:lnTo>
                  <a:lnTo>
                    <a:pt x="2342211" y="196799"/>
                  </a:lnTo>
                  <a:lnTo>
                    <a:pt x="2342211" y="197447"/>
                  </a:lnTo>
                  <a:lnTo>
                    <a:pt x="2342211" y="196799"/>
                  </a:lnTo>
                  <a:lnTo>
                    <a:pt x="2342262" y="196799"/>
                  </a:lnTo>
                  <a:lnTo>
                    <a:pt x="2342262" y="196113"/>
                  </a:lnTo>
                  <a:lnTo>
                    <a:pt x="2342262" y="196799"/>
                  </a:lnTo>
                  <a:lnTo>
                    <a:pt x="2342262" y="194716"/>
                  </a:lnTo>
                  <a:lnTo>
                    <a:pt x="2342312" y="193383"/>
                  </a:lnTo>
                  <a:lnTo>
                    <a:pt x="2342312" y="189268"/>
                  </a:lnTo>
                  <a:lnTo>
                    <a:pt x="2342414" y="189268"/>
                  </a:lnTo>
                  <a:lnTo>
                    <a:pt x="2342414" y="187922"/>
                  </a:lnTo>
                  <a:lnTo>
                    <a:pt x="2342414" y="189954"/>
                  </a:lnTo>
                  <a:lnTo>
                    <a:pt x="2342414" y="189268"/>
                  </a:lnTo>
                  <a:lnTo>
                    <a:pt x="2342465" y="188620"/>
                  </a:lnTo>
                  <a:lnTo>
                    <a:pt x="2342465" y="192684"/>
                  </a:lnTo>
                  <a:lnTo>
                    <a:pt x="2342465" y="191986"/>
                  </a:lnTo>
                  <a:lnTo>
                    <a:pt x="2342515" y="191986"/>
                  </a:lnTo>
                  <a:lnTo>
                    <a:pt x="2342515" y="195415"/>
                  </a:lnTo>
                  <a:lnTo>
                    <a:pt x="2342566" y="195415"/>
                  </a:lnTo>
                  <a:lnTo>
                    <a:pt x="2342566" y="197447"/>
                  </a:lnTo>
                  <a:lnTo>
                    <a:pt x="2342655" y="197447"/>
                  </a:lnTo>
                  <a:lnTo>
                    <a:pt x="2342655" y="199530"/>
                  </a:lnTo>
                  <a:lnTo>
                    <a:pt x="2342655" y="198831"/>
                  </a:lnTo>
                  <a:lnTo>
                    <a:pt x="2342655" y="199530"/>
                  </a:lnTo>
                  <a:lnTo>
                    <a:pt x="2342655" y="198831"/>
                  </a:lnTo>
                  <a:lnTo>
                    <a:pt x="2342706" y="199530"/>
                  </a:lnTo>
                  <a:lnTo>
                    <a:pt x="2342706" y="198831"/>
                  </a:lnTo>
                  <a:lnTo>
                    <a:pt x="2342706" y="199530"/>
                  </a:lnTo>
                  <a:lnTo>
                    <a:pt x="2342706" y="197447"/>
                  </a:lnTo>
                  <a:lnTo>
                    <a:pt x="2342757" y="198831"/>
                  </a:lnTo>
                  <a:lnTo>
                    <a:pt x="2342757" y="199530"/>
                  </a:lnTo>
                  <a:lnTo>
                    <a:pt x="2342757" y="197447"/>
                  </a:lnTo>
                  <a:lnTo>
                    <a:pt x="2342757" y="198831"/>
                  </a:lnTo>
                  <a:lnTo>
                    <a:pt x="2342757" y="197447"/>
                  </a:lnTo>
                  <a:lnTo>
                    <a:pt x="2342757" y="198831"/>
                  </a:lnTo>
                  <a:lnTo>
                    <a:pt x="2342757" y="197447"/>
                  </a:lnTo>
                  <a:lnTo>
                    <a:pt x="2342808" y="196799"/>
                  </a:lnTo>
                  <a:lnTo>
                    <a:pt x="2342808" y="197447"/>
                  </a:lnTo>
                  <a:lnTo>
                    <a:pt x="2342808" y="195415"/>
                  </a:lnTo>
                  <a:lnTo>
                    <a:pt x="2342808" y="196113"/>
                  </a:lnTo>
                  <a:lnTo>
                    <a:pt x="2342808" y="194716"/>
                  </a:lnTo>
                  <a:lnTo>
                    <a:pt x="2342909" y="194716"/>
                  </a:lnTo>
                  <a:lnTo>
                    <a:pt x="2342909" y="192684"/>
                  </a:lnTo>
                  <a:lnTo>
                    <a:pt x="2342909" y="194716"/>
                  </a:lnTo>
                  <a:lnTo>
                    <a:pt x="2342909" y="193383"/>
                  </a:lnTo>
                  <a:lnTo>
                    <a:pt x="2342909" y="194716"/>
                  </a:lnTo>
                  <a:lnTo>
                    <a:pt x="2342909" y="193383"/>
                  </a:lnTo>
                  <a:lnTo>
                    <a:pt x="2342960" y="193383"/>
                  </a:lnTo>
                  <a:lnTo>
                    <a:pt x="2342960" y="191351"/>
                  </a:lnTo>
                  <a:lnTo>
                    <a:pt x="2342960" y="194716"/>
                  </a:lnTo>
                  <a:lnTo>
                    <a:pt x="2342960" y="193383"/>
                  </a:lnTo>
                  <a:lnTo>
                    <a:pt x="2343011" y="193383"/>
                  </a:lnTo>
                  <a:lnTo>
                    <a:pt x="2343011" y="195415"/>
                  </a:lnTo>
                  <a:lnTo>
                    <a:pt x="2343112" y="195415"/>
                  </a:lnTo>
                  <a:lnTo>
                    <a:pt x="2343112" y="196113"/>
                  </a:lnTo>
                  <a:lnTo>
                    <a:pt x="2343112" y="195415"/>
                  </a:lnTo>
                  <a:lnTo>
                    <a:pt x="2343112" y="196799"/>
                  </a:lnTo>
                  <a:lnTo>
                    <a:pt x="2343150" y="196799"/>
                  </a:lnTo>
                  <a:lnTo>
                    <a:pt x="2343150" y="199530"/>
                  </a:lnTo>
                  <a:lnTo>
                    <a:pt x="2343201" y="199530"/>
                  </a:lnTo>
                  <a:lnTo>
                    <a:pt x="2343201" y="200876"/>
                  </a:lnTo>
                  <a:lnTo>
                    <a:pt x="2343252" y="200876"/>
                  </a:lnTo>
                  <a:lnTo>
                    <a:pt x="2343252" y="200228"/>
                  </a:lnTo>
                  <a:lnTo>
                    <a:pt x="2343252" y="200876"/>
                  </a:lnTo>
                  <a:lnTo>
                    <a:pt x="2343252" y="199530"/>
                  </a:lnTo>
                  <a:lnTo>
                    <a:pt x="2343354" y="199530"/>
                  </a:lnTo>
                  <a:lnTo>
                    <a:pt x="2343354" y="198831"/>
                  </a:lnTo>
                  <a:lnTo>
                    <a:pt x="2343354" y="199530"/>
                  </a:lnTo>
                  <a:lnTo>
                    <a:pt x="2343354" y="197447"/>
                  </a:lnTo>
                  <a:lnTo>
                    <a:pt x="2343405" y="196799"/>
                  </a:lnTo>
                  <a:lnTo>
                    <a:pt x="2343405" y="196113"/>
                  </a:lnTo>
                  <a:lnTo>
                    <a:pt x="2343405" y="196799"/>
                  </a:lnTo>
                  <a:lnTo>
                    <a:pt x="2343405" y="195415"/>
                  </a:lnTo>
                  <a:lnTo>
                    <a:pt x="2343455" y="195415"/>
                  </a:lnTo>
                  <a:lnTo>
                    <a:pt x="2343455" y="194716"/>
                  </a:lnTo>
                  <a:lnTo>
                    <a:pt x="2343455" y="196799"/>
                  </a:lnTo>
                  <a:lnTo>
                    <a:pt x="2343455" y="196113"/>
                  </a:lnTo>
                  <a:lnTo>
                    <a:pt x="2343557" y="196113"/>
                  </a:lnTo>
                  <a:lnTo>
                    <a:pt x="2343557" y="196799"/>
                  </a:lnTo>
                  <a:lnTo>
                    <a:pt x="2343557" y="196113"/>
                  </a:lnTo>
                  <a:lnTo>
                    <a:pt x="2343557" y="196799"/>
                  </a:lnTo>
                  <a:lnTo>
                    <a:pt x="2343557" y="196113"/>
                  </a:lnTo>
                  <a:lnTo>
                    <a:pt x="2343608" y="196113"/>
                  </a:lnTo>
                  <a:lnTo>
                    <a:pt x="2343608" y="196799"/>
                  </a:lnTo>
                  <a:lnTo>
                    <a:pt x="2343608" y="196113"/>
                  </a:lnTo>
                  <a:lnTo>
                    <a:pt x="2343608" y="196799"/>
                  </a:lnTo>
                  <a:lnTo>
                    <a:pt x="2343659" y="196799"/>
                  </a:lnTo>
                  <a:lnTo>
                    <a:pt x="2343659" y="197447"/>
                  </a:lnTo>
                  <a:lnTo>
                    <a:pt x="2343659" y="196799"/>
                  </a:lnTo>
                  <a:lnTo>
                    <a:pt x="2343659" y="197447"/>
                  </a:lnTo>
                  <a:lnTo>
                    <a:pt x="2343697" y="198831"/>
                  </a:lnTo>
                  <a:lnTo>
                    <a:pt x="2343697" y="199530"/>
                  </a:lnTo>
                  <a:lnTo>
                    <a:pt x="2343697" y="198831"/>
                  </a:lnTo>
                  <a:lnTo>
                    <a:pt x="2343697" y="199530"/>
                  </a:lnTo>
                  <a:lnTo>
                    <a:pt x="2343697" y="198831"/>
                  </a:lnTo>
                  <a:lnTo>
                    <a:pt x="2343697" y="199530"/>
                  </a:lnTo>
                  <a:lnTo>
                    <a:pt x="2343798" y="200228"/>
                  </a:lnTo>
                  <a:lnTo>
                    <a:pt x="2343798" y="200876"/>
                  </a:lnTo>
                  <a:lnTo>
                    <a:pt x="2343798" y="199530"/>
                  </a:lnTo>
                  <a:lnTo>
                    <a:pt x="2343849" y="199530"/>
                  </a:lnTo>
                  <a:lnTo>
                    <a:pt x="2343849" y="200228"/>
                  </a:lnTo>
                  <a:lnTo>
                    <a:pt x="2343849" y="198831"/>
                  </a:lnTo>
                  <a:lnTo>
                    <a:pt x="2343849" y="199530"/>
                  </a:lnTo>
                  <a:lnTo>
                    <a:pt x="2343849" y="198831"/>
                  </a:lnTo>
                  <a:lnTo>
                    <a:pt x="2343849" y="199530"/>
                  </a:lnTo>
                  <a:lnTo>
                    <a:pt x="2343900" y="199530"/>
                  </a:lnTo>
                  <a:lnTo>
                    <a:pt x="2343900" y="200228"/>
                  </a:lnTo>
                  <a:lnTo>
                    <a:pt x="2343900" y="198831"/>
                  </a:lnTo>
                  <a:lnTo>
                    <a:pt x="2343900" y="200228"/>
                  </a:lnTo>
                  <a:lnTo>
                    <a:pt x="2344001" y="200228"/>
                  </a:lnTo>
                  <a:lnTo>
                    <a:pt x="2344001" y="200876"/>
                  </a:lnTo>
                  <a:lnTo>
                    <a:pt x="2344001" y="199530"/>
                  </a:lnTo>
                  <a:lnTo>
                    <a:pt x="2344001" y="200228"/>
                  </a:lnTo>
                  <a:lnTo>
                    <a:pt x="2344052" y="200876"/>
                  </a:lnTo>
                  <a:lnTo>
                    <a:pt x="2344052" y="199530"/>
                  </a:lnTo>
                  <a:lnTo>
                    <a:pt x="2344052" y="200228"/>
                  </a:lnTo>
                  <a:lnTo>
                    <a:pt x="2344103" y="200228"/>
                  </a:lnTo>
                  <a:lnTo>
                    <a:pt x="2344103" y="199530"/>
                  </a:lnTo>
                  <a:lnTo>
                    <a:pt x="2344103" y="200228"/>
                  </a:lnTo>
                  <a:lnTo>
                    <a:pt x="2344103" y="198831"/>
                  </a:lnTo>
                  <a:lnTo>
                    <a:pt x="2344103" y="200228"/>
                  </a:lnTo>
                  <a:lnTo>
                    <a:pt x="2344103" y="199530"/>
                  </a:lnTo>
                  <a:lnTo>
                    <a:pt x="2344154" y="199530"/>
                  </a:lnTo>
                  <a:lnTo>
                    <a:pt x="2344154" y="200228"/>
                  </a:lnTo>
                  <a:lnTo>
                    <a:pt x="2344154" y="199530"/>
                  </a:lnTo>
                  <a:lnTo>
                    <a:pt x="2344154" y="200228"/>
                  </a:lnTo>
                  <a:lnTo>
                    <a:pt x="2344154" y="199530"/>
                  </a:lnTo>
                  <a:lnTo>
                    <a:pt x="2344154" y="200228"/>
                  </a:lnTo>
                  <a:lnTo>
                    <a:pt x="2344154" y="199530"/>
                  </a:lnTo>
                  <a:lnTo>
                    <a:pt x="2344154" y="200228"/>
                  </a:lnTo>
                  <a:lnTo>
                    <a:pt x="2344154" y="199530"/>
                  </a:lnTo>
                  <a:lnTo>
                    <a:pt x="2344243" y="199530"/>
                  </a:lnTo>
                  <a:lnTo>
                    <a:pt x="2344243" y="200228"/>
                  </a:lnTo>
                  <a:lnTo>
                    <a:pt x="2344294" y="200228"/>
                  </a:lnTo>
                  <a:lnTo>
                    <a:pt x="2344294" y="200876"/>
                  </a:lnTo>
                  <a:lnTo>
                    <a:pt x="2344294" y="198831"/>
                  </a:lnTo>
                  <a:lnTo>
                    <a:pt x="2344294" y="199530"/>
                  </a:lnTo>
                  <a:lnTo>
                    <a:pt x="2344344" y="199530"/>
                  </a:lnTo>
                  <a:lnTo>
                    <a:pt x="2344344" y="198831"/>
                  </a:lnTo>
                  <a:lnTo>
                    <a:pt x="2344344" y="199530"/>
                  </a:lnTo>
                  <a:lnTo>
                    <a:pt x="2344344" y="198831"/>
                  </a:lnTo>
                  <a:lnTo>
                    <a:pt x="2344344" y="200876"/>
                  </a:lnTo>
                  <a:lnTo>
                    <a:pt x="2344395" y="200228"/>
                  </a:lnTo>
                  <a:lnTo>
                    <a:pt x="2344395" y="200876"/>
                  </a:lnTo>
                  <a:lnTo>
                    <a:pt x="2344395" y="199530"/>
                  </a:lnTo>
                  <a:lnTo>
                    <a:pt x="2344395" y="202959"/>
                  </a:lnTo>
                  <a:lnTo>
                    <a:pt x="2344395" y="202260"/>
                  </a:lnTo>
                  <a:lnTo>
                    <a:pt x="2344497" y="202260"/>
                  </a:lnTo>
                  <a:lnTo>
                    <a:pt x="2344497" y="200876"/>
                  </a:lnTo>
                  <a:lnTo>
                    <a:pt x="2344497" y="202959"/>
                  </a:lnTo>
                  <a:lnTo>
                    <a:pt x="2344547" y="202260"/>
                  </a:lnTo>
                  <a:lnTo>
                    <a:pt x="2344547" y="200876"/>
                  </a:lnTo>
                  <a:lnTo>
                    <a:pt x="2344547" y="202959"/>
                  </a:lnTo>
                  <a:lnTo>
                    <a:pt x="2344598" y="202260"/>
                  </a:lnTo>
                  <a:lnTo>
                    <a:pt x="2344598" y="202959"/>
                  </a:lnTo>
                  <a:lnTo>
                    <a:pt x="2344598" y="202260"/>
                  </a:lnTo>
                  <a:lnTo>
                    <a:pt x="2344598" y="202959"/>
                  </a:lnTo>
                  <a:lnTo>
                    <a:pt x="2344598" y="202260"/>
                  </a:lnTo>
                  <a:lnTo>
                    <a:pt x="2344700" y="202260"/>
                  </a:lnTo>
                  <a:lnTo>
                    <a:pt x="2344700" y="200876"/>
                  </a:lnTo>
                  <a:lnTo>
                    <a:pt x="2344700" y="202260"/>
                  </a:lnTo>
                  <a:lnTo>
                    <a:pt x="2344700" y="200876"/>
                  </a:lnTo>
                  <a:lnTo>
                    <a:pt x="2344738" y="202260"/>
                  </a:lnTo>
                  <a:lnTo>
                    <a:pt x="2344738" y="200228"/>
                  </a:lnTo>
                  <a:lnTo>
                    <a:pt x="2344738" y="200876"/>
                  </a:lnTo>
                  <a:lnTo>
                    <a:pt x="2344738" y="200228"/>
                  </a:lnTo>
                  <a:lnTo>
                    <a:pt x="2344738" y="200876"/>
                  </a:lnTo>
                  <a:lnTo>
                    <a:pt x="2344738" y="200228"/>
                  </a:lnTo>
                  <a:lnTo>
                    <a:pt x="2344738" y="200876"/>
                  </a:lnTo>
                  <a:lnTo>
                    <a:pt x="2344738" y="200228"/>
                  </a:lnTo>
                  <a:lnTo>
                    <a:pt x="2344789" y="200228"/>
                  </a:lnTo>
                  <a:lnTo>
                    <a:pt x="2344789" y="202959"/>
                  </a:lnTo>
                  <a:lnTo>
                    <a:pt x="2344789" y="202260"/>
                  </a:lnTo>
                  <a:lnTo>
                    <a:pt x="2344789" y="202959"/>
                  </a:lnTo>
                  <a:lnTo>
                    <a:pt x="2344840" y="202959"/>
                  </a:lnTo>
                  <a:lnTo>
                    <a:pt x="2344840" y="204990"/>
                  </a:lnTo>
                  <a:lnTo>
                    <a:pt x="2344840" y="203594"/>
                  </a:lnTo>
                  <a:lnTo>
                    <a:pt x="2344840" y="204292"/>
                  </a:lnTo>
                  <a:lnTo>
                    <a:pt x="2344941" y="204292"/>
                  </a:lnTo>
                  <a:lnTo>
                    <a:pt x="2344941" y="206324"/>
                  </a:lnTo>
                  <a:lnTo>
                    <a:pt x="2344941" y="204292"/>
                  </a:lnTo>
                  <a:lnTo>
                    <a:pt x="2344941" y="204990"/>
                  </a:lnTo>
                  <a:lnTo>
                    <a:pt x="2344992" y="204990"/>
                  </a:lnTo>
                  <a:lnTo>
                    <a:pt x="2344992" y="206324"/>
                  </a:lnTo>
                  <a:lnTo>
                    <a:pt x="2344992" y="204990"/>
                  </a:lnTo>
                  <a:lnTo>
                    <a:pt x="2344992" y="206324"/>
                  </a:lnTo>
                  <a:lnTo>
                    <a:pt x="2344992" y="204990"/>
                  </a:lnTo>
                  <a:lnTo>
                    <a:pt x="2344992" y="206324"/>
                  </a:lnTo>
                  <a:lnTo>
                    <a:pt x="2345043" y="206324"/>
                  </a:lnTo>
                  <a:lnTo>
                    <a:pt x="2345043" y="204990"/>
                  </a:lnTo>
                  <a:lnTo>
                    <a:pt x="2345043" y="206324"/>
                  </a:lnTo>
                  <a:lnTo>
                    <a:pt x="2345043" y="204292"/>
                  </a:lnTo>
                  <a:lnTo>
                    <a:pt x="2345043" y="204990"/>
                  </a:lnTo>
                  <a:lnTo>
                    <a:pt x="2345043" y="204292"/>
                  </a:lnTo>
                  <a:lnTo>
                    <a:pt x="2345144" y="204292"/>
                  </a:lnTo>
                  <a:lnTo>
                    <a:pt x="2345144" y="204990"/>
                  </a:lnTo>
                  <a:lnTo>
                    <a:pt x="2345144" y="204292"/>
                  </a:lnTo>
                  <a:lnTo>
                    <a:pt x="2345144" y="204990"/>
                  </a:lnTo>
                  <a:lnTo>
                    <a:pt x="2345144" y="203594"/>
                  </a:lnTo>
                  <a:lnTo>
                    <a:pt x="2345195" y="203594"/>
                  </a:lnTo>
                  <a:lnTo>
                    <a:pt x="2345195" y="204292"/>
                  </a:lnTo>
                  <a:lnTo>
                    <a:pt x="2345195" y="202260"/>
                  </a:lnTo>
                  <a:lnTo>
                    <a:pt x="2345195" y="204990"/>
                  </a:lnTo>
                  <a:lnTo>
                    <a:pt x="2345246" y="204292"/>
                  </a:lnTo>
                  <a:lnTo>
                    <a:pt x="2345246" y="203594"/>
                  </a:lnTo>
                  <a:lnTo>
                    <a:pt x="2345246" y="207721"/>
                  </a:lnTo>
                  <a:lnTo>
                    <a:pt x="2345246" y="207022"/>
                  </a:lnTo>
                  <a:lnTo>
                    <a:pt x="2345284" y="206324"/>
                  </a:lnTo>
                  <a:lnTo>
                    <a:pt x="2345284" y="204990"/>
                  </a:lnTo>
                  <a:lnTo>
                    <a:pt x="2345284" y="207721"/>
                  </a:lnTo>
                  <a:lnTo>
                    <a:pt x="2345284" y="207022"/>
                  </a:lnTo>
                  <a:lnTo>
                    <a:pt x="2345386" y="207022"/>
                  </a:lnTo>
                  <a:lnTo>
                    <a:pt x="2345386" y="206324"/>
                  </a:lnTo>
                  <a:lnTo>
                    <a:pt x="2345386" y="207022"/>
                  </a:lnTo>
                  <a:lnTo>
                    <a:pt x="2345386" y="206324"/>
                  </a:lnTo>
                  <a:lnTo>
                    <a:pt x="2345386" y="207022"/>
                  </a:lnTo>
                  <a:lnTo>
                    <a:pt x="2345437" y="207022"/>
                  </a:lnTo>
                  <a:lnTo>
                    <a:pt x="2345437" y="206324"/>
                  </a:lnTo>
                  <a:lnTo>
                    <a:pt x="2345487" y="206324"/>
                  </a:lnTo>
                  <a:lnTo>
                    <a:pt x="2345487" y="207022"/>
                  </a:lnTo>
                  <a:lnTo>
                    <a:pt x="2345487" y="206324"/>
                  </a:lnTo>
                  <a:lnTo>
                    <a:pt x="2345589" y="204990"/>
                  </a:lnTo>
                  <a:lnTo>
                    <a:pt x="2345589" y="206324"/>
                  </a:lnTo>
                  <a:lnTo>
                    <a:pt x="2345589" y="204990"/>
                  </a:lnTo>
                  <a:lnTo>
                    <a:pt x="2345589" y="206324"/>
                  </a:lnTo>
                  <a:lnTo>
                    <a:pt x="2345589" y="204990"/>
                  </a:lnTo>
                  <a:lnTo>
                    <a:pt x="2345589" y="206324"/>
                  </a:lnTo>
                  <a:lnTo>
                    <a:pt x="2345589" y="204292"/>
                  </a:lnTo>
                  <a:lnTo>
                    <a:pt x="2345640" y="204292"/>
                  </a:lnTo>
                  <a:lnTo>
                    <a:pt x="2345640" y="203594"/>
                  </a:lnTo>
                  <a:lnTo>
                    <a:pt x="2345640" y="204292"/>
                  </a:lnTo>
                  <a:lnTo>
                    <a:pt x="2345640" y="202959"/>
                  </a:lnTo>
                  <a:lnTo>
                    <a:pt x="2345690" y="202260"/>
                  </a:lnTo>
                  <a:lnTo>
                    <a:pt x="2345690" y="200876"/>
                  </a:lnTo>
                  <a:lnTo>
                    <a:pt x="2345690" y="202959"/>
                  </a:lnTo>
                  <a:lnTo>
                    <a:pt x="2345690" y="200876"/>
                  </a:lnTo>
                  <a:lnTo>
                    <a:pt x="2345741" y="200876"/>
                  </a:lnTo>
                  <a:lnTo>
                    <a:pt x="2345741" y="200228"/>
                  </a:lnTo>
                  <a:lnTo>
                    <a:pt x="2345741" y="204292"/>
                  </a:lnTo>
                  <a:lnTo>
                    <a:pt x="2345741" y="202959"/>
                  </a:lnTo>
                  <a:lnTo>
                    <a:pt x="2345830" y="202959"/>
                  </a:lnTo>
                  <a:lnTo>
                    <a:pt x="2345830" y="204292"/>
                  </a:lnTo>
                  <a:lnTo>
                    <a:pt x="2345830" y="203594"/>
                  </a:lnTo>
                  <a:lnTo>
                    <a:pt x="2345830" y="204292"/>
                  </a:lnTo>
                  <a:lnTo>
                    <a:pt x="2345830" y="203594"/>
                  </a:lnTo>
                  <a:lnTo>
                    <a:pt x="2345830" y="204292"/>
                  </a:lnTo>
                  <a:lnTo>
                    <a:pt x="2345830" y="203594"/>
                  </a:lnTo>
                  <a:lnTo>
                    <a:pt x="2345881" y="203594"/>
                  </a:lnTo>
                  <a:lnTo>
                    <a:pt x="2345881" y="204292"/>
                  </a:lnTo>
                  <a:lnTo>
                    <a:pt x="2345932" y="204990"/>
                  </a:lnTo>
                  <a:lnTo>
                    <a:pt x="2345932" y="204292"/>
                  </a:lnTo>
                  <a:lnTo>
                    <a:pt x="2345932" y="204990"/>
                  </a:lnTo>
                  <a:lnTo>
                    <a:pt x="2345932" y="204292"/>
                  </a:lnTo>
                  <a:lnTo>
                    <a:pt x="2345932" y="204990"/>
                  </a:lnTo>
                  <a:lnTo>
                    <a:pt x="2345983" y="204990"/>
                  </a:lnTo>
                  <a:lnTo>
                    <a:pt x="2345983" y="204292"/>
                  </a:lnTo>
                  <a:lnTo>
                    <a:pt x="2345983" y="204990"/>
                  </a:lnTo>
                  <a:lnTo>
                    <a:pt x="2345983" y="204292"/>
                  </a:lnTo>
                  <a:lnTo>
                    <a:pt x="2346084" y="204292"/>
                  </a:lnTo>
                  <a:lnTo>
                    <a:pt x="2346084" y="204990"/>
                  </a:lnTo>
                  <a:lnTo>
                    <a:pt x="2346084" y="203594"/>
                  </a:lnTo>
                  <a:lnTo>
                    <a:pt x="2346135" y="203594"/>
                  </a:lnTo>
                  <a:lnTo>
                    <a:pt x="2346135" y="202260"/>
                  </a:lnTo>
                  <a:lnTo>
                    <a:pt x="2346135" y="203594"/>
                  </a:lnTo>
                  <a:lnTo>
                    <a:pt x="2346186" y="203594"/>
                  </a:lnTo>
                  <a:lnTo>
                    <a:pt x="2346186" y="202260"/>
                  </a:lnTo>
                  <a:lnTo>
                    <a:pt x="2346186" y="202959"/>
                  </a:lnTo>
                  <a:lnTo>
                    <a:pt x="2346186" y="202260"/>
                  </a:lnTo>
                  <a:lnTo>
                    <a:pt x="2346186" y="204292"/>
                  </a:lnTo>
                  <a:lnTo>
                    <a:pt x="2346186" y="203594"/>
                  </a:lnTo>
                  <a:lnTo>
                    <a:pt x="2346287" y="203594"/>
                  </a:lnTo>
                  <a:lnTo>
                    <a:pt x="2346287" y="202959"/>
                  </a:lnTo>
                  <a:lnTo>
                    <a:pt x="2346287" y="204292"/>
                  </a:lnTo>
                  <a:lnTo>
                    <a:pt x="2346287" y="203594"/>
                  </a:lnTo>
                  <a:lnTo>
                    <a:pt x="2346325" y="203594"/>
                  </a:lnTo>
                  <a:lnTo>
                    <a:pt x="2346325" y="202959"/>
                  </a:lnTo>
                  <a:lnTo>
                    <a:pt x="2346325" y="203594"/>
                  </a:lnTo>
                  <a:lnTo>
                    <a:pt x="2346325" y="202959"/>
                  </a:lnTo>
                  <a:lnTo>
                    <a:pt x="2346325" y="203594"/>
                  </a:lnTo>
                  <a:lnTo>
                    <a:pt x="2346376" y="203594"/>
                  </a:lnTo>
                  <a:lnTo>
                    <a:pt x="2346376" y="202959"/>
                  </a:lnTo>
                  <a:lnTo>
                    <a:pt x="2346376" y="203594"/>
                  </a:lnTo>
                  <a:lnTo>
                    <a:pt x="2346376" y="202959"/>
                  </a:lnTo>
                  <a:lnTo>
                    <a:pt x="2346376" y="203594"/>
                  </a:lnTo>
                  <a:lnTo>
                    <a:pt x="2346376" y="202959"/>
                  </a:lnTo>
                  <a:lnTo>
                    <a:pt x="2346376" y="203594"/>
                  </a:lnTo>
                  <a:lnTo>
                    <a:pt x="2346529" y="203594"/>
                  </a:lnTo>
                  <a:lnTo>
                    <a:pt x="2346529" y="202959"/>
                  </a:lnTo>
                  <a:lnTo>
                    <a:pt x="2346529" y="203594"/>
                  </a:lnTo>
                  <a:lnTo>
                    <a:pt x="2346529" y="202959"/>
                  </a:lnTo>
                  <a:lnTo>
                    <a:pt x="2346580" y="202959"/>
                  </a:lnTo>
                  <a:lnTo>
                    <a:pt x="2346580" y="203594"/>
                  </a:lnTo>
                  <a:lnTo>
                    <a:pt x="2346580" y="202260"/>
                  </a:lnTo>
                  <a:lnTo>
                    <a:pt x="2346580" y="202959"/>
                  </a:lnTo>
                  <a:lnTo>
                    <a:pt x="2346580" y="200876"/>
                  </a:lnTo>
                  <a:lnTo>
                    <a:pt x="2346630" y="200876"/>
                  </a:lnTo>
                  <a:lnTo>
                    <a:pt x="2346630" y="200228"/>
                  </a:lnTo>
                  <a:lnTo>
                    <a:pt x="2346630" y="202959"/>
                  </a:lnTo>
                  <a:lnTo>
                    <a:pt x="2346630" y="200228"/>
                  </a:lnTo>
                  <a:lnTo>
                    <a:pt x="2346732" y="200876"/>
                  </a:lnTo>
                  <a:lnTo>
                    <a:pt x="2346732" y="200228"/>
                  </a:lnTo>
                  <a:lnTo>
                    <a:pt x="2346732" y="204292"/>
                  </a:lnTo>
                  <a:lnTo>
                    <a:pt x="2346732" y="202959"/>
                  </a:lnTo>
                  <a:lnTo>
                    <a:pt x="2346783" y="202959"/>
                  </a:lnTo>
                  <a:lnTo>
                    <a:pt x="2346783" y="203594"/>
                  </a:lnTo>
                  <a:lnTo>
                    <a:pt x="2346783" y="202959"/>
                  </a:lnTo>
                  <a:lnTo>
                    <a:pt x="2346783" y="203594"/>
                  </a:lnTo>
                  <a:lnTo>
                    <a:pt x="2346783" y="202959"/>
                  </a:lnTo>
                  <a:lnTo>
                    <a:pt x="2346783" y="203594"/>
                  </a:lnTo>
                  <a:lnTo>
                    <a:pt x="2346834" y="203594"/>
                  </a:lnTo>
                  <a:lnTo>
                    <a:pt x="2346834" y="202959"/>
                  </a:lnTo>
                  <a:lnTo>
                    <a:pt x="2346834" y="203594"/>
                  </a:lnTo>
                  <a:lnTo>
                    <a:pt x="2346834" y="202959"/>
                  </a:lnTo>
                  <a:lnTo>
                    <a:pt x="2346834" y="203594"/>
                  </a:lnTo>
                  <a:lnTo>
                    <a:pt x="2346872" y="203594"/>
                  </a:lnTo>
                  <a:lnTo>
                    <a:pt x="2346872" y="204292"/>
                  </a:lnTo>
                  <a:lnTo>
                    <a:pt x="2346872" y="203594"/>
                  </a:lnTo>
                  <a:lnTo>
                    <a:pt x="2346973" y="204292"/>
                  </a:lnTo>
                  <a:lnTo>
                    <a:pt x="2346973" y="203594"/>
                  </a:lnTo>
                  <a:lnTo>
                    <a:pt x="2347024" y="203594"/>
                  </a:lnTo>
                  <a:lnTo>
                    <a:pt x="2347024" y="202260"/>
                  </a:lnTo>
                  <a:lnTo>
                    <a:pt x="2347024" y="202959"/>
                  </a:lnTo>
                  <a:lnTo>
                    <a:pt x="2347075" y="202959"/>
                  </a:lnTo>
                  <a:lnTo>
                    <a:pt x="2347075" y="199530"/>
                  </a:lnTo>
                  <a:lnTo>
                    <a:pt x="2347075" y="200228"/>
                  </a:lnTo>
                  <a:lnTo>
                    <a:pt x="2347176" y="200228"/>
                  </a:lnTo>
                  <a:lnTo>
                    <a:pt x="2347176" y="202260"/>
                  </a:lnTo>
                  <a:lnTo>
                    <a:pt x="2347176" y="200228"/>
                  </a:lnTo>
                  <a:lnTo>
                    <a:pt x="2347176" y="202959"/>
                  </a:lnTo>
                  <a:lnTo>
                    <a:pt x="2347227" y="203594"/>
                  </a:lnTo>
                  <a:lnTo>
                    <a:pt x="2347227" y="202959"/>
                  </a:lnTo>
                  <a:lnTo>
                    <a:pt x="2347227" y="203594"/>
                  </a:lnTo>
                  <a:lnTo>
                    <a:pt x="2347278" y="203594"/>
                  </a:lnTo>
                  <a:lnTo>
                    <a:pt x="2347278" y="202959"/>
                  </a:lnTo>
                  <a:lnTo>
                    <a:pt x="2347278" y="203594"/>
                  </a:lnTo>
                  <a:lnTo>
                    <a:pt x="2347278" y="202959"/>
                  </a:lnTo>
                  <a:lnTo>
                    <a:pt x="2347278" y="203594"/>
                  </a:lnTo>
                  <a:lnTo>
                    <a:pt x="2347278" y="202959"/>
                  </a:lnTo>
                  <a:lnTo>
                    <a:pt x="2347278" y="203594"/>
                  </a:lnTo>
                  <a:lnTo>
                    <a:pt x="2347329" y="203594"/>
                  </a:lnTo>
                  <a:lnTo>
                    <a:pt x="2347329" y="204292"/>
                  </a:lnTo>
                  <a:lnTo>
                    <a:pt x="2347329" y="202959"/>
                  </a:lnTo>
                  <a:lnTo>
                    <a:pt x="2347329" y="203594"/>
                  </a:lnTo>
                  <a:lnTo>
                    <a:pt x="2347329" y="202959"/>
                  </a:lnTo>
                  <a:lnTo>
                    <a:pt x="2347329" y="203594"/>
                  </a:lnTo>
                  <a:lnTo>
                    <a:pt x="2347418" y="203594"/>
                  </a:lnTo>
                  <a:lnTo>
                    <a:pt x="2347418" y="204292"/>
                  </a:lnTo>
                  <a:lnTo>
                    <a:pt x="2347418" y="203594"/>
                  </a:lnTo>
                  <a:lnTo>
                    <a:pt x="2347469" y="202959"/>
                  </a:lnTo>
                  <a:lnTo>
                    <a:pt x="2347469" y="203594"/>
                  </a:lnTo>
                  <a:lnTo>
                    <a:pt x="2347469" y="202959"/>
                  </a:lnTo>
                  <a:lnTo>
                    <a:pt x="2347469" y="203594"/>
                  </a:lnTo>
                  <a:lnTo>
                    <a:pt x="2347469" y="202959"/>
                  </a:lnTo>
                  <a:lnTo>
                    <a:pt x="2347519" y="202260"/>
                  </a:lnTo>
                  <a:lnTo>
                    <a:pt x="2347519" y="200876"/>
                  </a:lnTo>
                  <a:lnTo>
                    <a:pt x="2347570" y="200876"/>
                  </a:lnTo>
                  <a:lnTo>
                    <a:pt x="2347570" y="197447"/>
                  </a:lnTo>
                  <a:lnTo>
                    <a:pt x="2347570" y="198831"/>
                  </a:lnTo>
                  <a:lnTo>
                    <a:pt x="2347672" y="197447"/>
                  </a:lnTo>
                  <a:lnTo>
                    <a:pt x="2347672" y="200228"/>
                  </a:lnTo>
                  <a:lnTo>
                    <a:pt x="2347672" y="197447"/>
                  </a:lnTo>
                  <a:lnTo>
                    <a:pt x="2347672" y="198831"/>
                  </a:lnTo>
                  <a:lnTo>
                    <a:pt x="2347722" y="199530"/>
                  </a:lnTo>
                  <a:lnTo>
                    <a:pt x="2347722" y="202260"/>
                  </a:lnTo>
                  <a:lnTo>
                    <a:pt x="2347722" y="199530"/>
                  </a:lnTo>
                  <a:lnTo>
                    <a:pt x="2347722" y="200228"/>
                  </a:lnTo>
                  <a:lnTo>
                    <a:pt x="2347773" y="200228"/>
                  </a:lnTo>
                  <a:lnTo>
                    <a:pt x="2347773" y="200876"/>
                  </a:lnTo>
                  <a:lnTo>
                    <a:pt x="2347773" y="200228"/>
                  </a:lnTo>
                  <a:lnTo>
                    <a:pt x="2347773" y="200876"/>
                  </a:lnTo>
                  <a:lnTo>
                    <a:pt x="2347773" y="200228"/>
                  </a:lnTo>
                  <a:lnTo>
                    <a:pt x="2347773" y="200876"/>
                  </a:lnTo>
                  <a:lnTo>
                    <a:pt x="2347773" y="200228"/>
                  </a:lnTo>
                  <a:lnTo>
                    <a:pt x="2347773" y="200876"/>
                  </a:lnTo>
                  <a:lnTo>
                    <a:pt x="2347875" y="200228"/>
                  </a:lnTo>
                  <a:lnTo>
                    <a:pt x="2347875" y="202260"/>
                  </a:lnTo>
                  <a:lnTo>
                    <a:pt x="2347875" y="200876"/>
                  </a:lnTo>
                  <a:lnTo>
                    <a:pt x="2347875" y="202260"/>
                  </a:lnTo>
                  <a:lnTo>
                    <a:pt x="2347875" y="200876"/>
                  </a:lnTo>
                  <a:lnTo>
                    <a:pt x="2347875" y="202260"/>
                  </a:lnTo>
                  <a:lnTo>
                    <a:pt x="2347913" y="202260"/>
                  </a:lnTo>
                  <a:lnTo>
                    <a:pt x="2347913" y="202959"/>
                  </a:lnTo>
                  <a:lnTo>
                    <a:pt x="2347913" y="202260"/>
                  </a:lnTo>
                  <a:lnTo>
                    <a:pt x="2347913" y="202959"/>
                  </a:lnTo>
                  <a:lnTo>
                    <a:pt x="2347964" y="202959"/>
                  </a:lnTo>
                  <a:lnTo>
                    <a:pt x="2347964" y="202260"/>
                  </a:lnTo>
                  <a:lnTo>
                    <a:pt x="2347964" y="202959"/>
                  </a:lnTo>
                  <a:lnTo>
                    <a:pt x="2347964" y="202260"/>
                  </a:lnTo>
                  <a:lnTo>
                    <a:pt x="2348015" y="202260"/>
                  </a:lnTo>
                  <a:lnTo>
                    <a:pt x="2348015" y="200876"/>
                  </a:lnTo>
                  <a:lnTo>
                    <a:pt x="2348015" y="202260"/>
                  </a:lnTo>
                  <a:lnTo>
                    <a:pt x="2348015" y="200228"/>
                  </a:lnTo>
                  <a:lnTo>
                    <a:pt x="2348116" y="200228"/>
                  </a:lnTo>
                  <a:lnTo>
                    <a:pt x="2348116" y="198831"/>
                  </a:lnTo>
                  <a:lnTo>
                    <a:pt x="2348116" y="200228"/>
                  </a:lnTo>
                  <a:lnTo>
                    <a:pt x="2348167" y="200228"/>
                  </a:lnTo>
                  <a:lnTo>
                    <a:pt x="2348167" y="199530"/>
                  </a:lnTo>
                  <a:lnTo>
                    <a:pt x="2348167" y="200228"/>
                  </a:lnTo>
                  <a:lnTo>
                    <a:pt x="2348167" y="199530"/>
                  </a:lnTo>
                  <a:lnTo>
                    <a:pt x="2348167" y="202260"/>
                  </a:lnTo>
                  <a:lnTo>
                    <a:pt x="2348218" y="202260"/>
                  </a:lnTo>
                  <a:lnTo>
                    <a:pt x="2348218" y="200228"/>
                  </a:lnTo>
                  <a:lnTo>
                    <a:pt x="2348218" y="200876"/>
                  </a:lnTo>
                  <a:lnTo>
                    <a:pt x="2348319" y="200876"/>
                  </a:lnTo>
                  <a:lnTo>
                    <a:pt x="2348319" y="200228"/>
                  </a:lnTo>
                  <a:lnTo>
                    <a:pt x="2348319" y="202260"/>
                  </a:lnTo>
                  <a:lnTo>
                    <a:pt x="2348319" y="200876"/>
                  </a:lnTo>
                  <a:lnTo>
                    <a:pt x="2348319" y="202260"/>
                  </a:lnTo>
                  <a:lnTo>
                    <a:pt x="2348370" y="202260"/>
                  </a:lnTo>
                  <a:lnTo>
                    <a:pt x="2348370" y="200876"/>
                  </a:lnTo>
                  <a:lnTo>
                    <a:pt x="2348370" y="202260"/>
                  </a:lnTo>
                  <a:lnTo>
                    <a:pt x="2348421" y="202260"/>
                  </a:lnTo>
                  <a:lnTo>
                    <a:pt x="2348421" y="202959"/>
                  </a:lnTo>
                  <a:lnTo>
                    <a:pt x="2348421" y="202260"/>
                  </a:lnTo>
                  <a:lnTo>
                    <a:pt x="2348459" y="202260"/>
                  </a:lnTo>
                  <a:lnTo>
                    <a:pt x="2348459" y="200876"/>
                  </a:lnTo>
                  <a:lnTo>
                    <a:pt x="2348459" y="202260"/>
                  </a:lnTo>
                  <a:lnTo>
                    <a:pt x="2348459" y="200228"/>
                  </a:lnTo>
                  <a:lnTo>
                    <a:pt x="2348459" y="200876"/>
                  </a:lnTo>
                  <a:lnTo>
                    <a:pt x="2348561" y="200876"/>
                  </a:lnTo>
                  <a:lnTo>
                    <a:pt x="2348561" y="199530"/>
                  </a:lnTo>
                  <a:lnTo>
                    <a:pt x="2348612" y="200228"/>
                  </a:lnTo>
                  <a:lnTo>
                    <a:pt x="2348612" y="196799"/>
                  </a:lnTo>
                  <a:lnTo>
                    <a:pt x="2348612" y="197447"/>
                  </a:lnTo>
                  <a:lnTo>
                    <a:pt x="2348662" y="197447"/>
                  </a:lnTo>
                  <a:lnTo>
                    <a:pt x="2348662" y="199530"/>
                  </a:lnTo>
                  <a:lnTo>
                    <a:pt x="2348662" y="196799"/>
                  </a:lnTo>
                  <a:lnTo>
                    <a:pt x="2348662" y="200228"/>
                  </a:lnTo>
                  <a:lnTo>
                    <a:pt x="2348764" y="200228"/>
                  </a:lnTo>
                  <a:lnTo>
                    <a:pt x="2348764" y="197447"/>
                  </a:lnTo>
                  <a:lnTo>
                    <a:pt x="2348764" y="198831"/>
                  </a:lnTo>
                  <a:lnTo>
                    <a:pt x="2348764" y="197447"/>
                  </a:lnTo>
                  <a:lnTo>
                    <a:pt x="2348764" y="200228"/>
                  </a:lnTo>
                  <a:lnTo>
                    <a:pt x="2348815" y="200228"/>
                  </a:lnTo>
                  <a:lnTo>
                    <a:pt x="2348815" y="199530"/>
                  </a:lnTo>
                  <a:lnTo>
                    <a:pt x="2348815" y="200228"/>
                  </a:lnTo>
                  <a:lnTo>
                    <a:pt x="2348815" y="199530"/>
                  </a:lnTo>
                  <a:lnTo>
                    <a:pt x="2348815" y="200228"/>
                  </a:lnTo>
                  <a:lnTo>
                    <a:pt x="2348865" y="200876"/>
                  </a:lnTo>
                  <a:lnTo>
                    <a:pt x="2348865" y="200228"/>
                  </a:lnTo>
                  <a:lnTo>
                    <a:pt x="2348865" y="200876"/>
                  </a:lnTo>
                  <a:lnTo>
                    <a:pt x="2348916" y="200876"/>
                  </a:lnTo>
                  <a:lnTo>
                    <a:pt x="2348916" y="202260"/>
                  </a:lnTo>
                  <a:lnTo>
                    <a:pt x="2348916" y="200876"/>
                  </a:lnTo>
                  <a:lnTo>
                    <a:pt x="2348916" y="202260"/>
                  </a:lnTo>
                  <a:lnTo>
                    <a:pt x="2348916" y="200876"/>
                  </a:lnTo>
                  <a:lnTo>
                    <a:pt x="2348916" y="202959"/>
                  </a:lnTo>
                  <a:lnTo>
                    <a:pt x="2348916" y="202260"/>
                  </a:lnTo>
                  <a:lnTo>
                    <a:pt x="2349005" y="202260"/>
                  </a:lnTo>
                  <a:lnTo>
                    <a:pt x="2349005" y="200876"/>
                  </a:lnTo>
                  <a:lnTo>
                    <a:pt x="2349005" y="202260"/>
                  </a:lnTo>
                  <a:lnTo>
                    <a:pt x="2349005" y="200876"/>
                  </a:lnTo>
                  <a:lnTo>
                    <a:pt x="2349056" y="200876"/>
                  </a:lnTo>
                  <a:lnTo>
                    <a:pt x="2349056" y="200228"/>
                  </a:lnTo>
                  <a:lnTo>
                    <a:pt x="2349056" y="200876"/>
                  </a:lnTo>
                  <a:lnTo>
                    <a:pt x="2349056" y="199530"/>
                  </a:lnTo>
                  <a:lnTo>
                    <a:pt x="2349107" y="199530"/>
                  </a:lnTo>
                  <a:lnTo>
                    <a:pt x="2349107" y="198831"/>
                  </a:lnTo>
                  <a:lnTo>
                    <a:pt x="2349107" y="199530"/>
                  </a:lnTo>
                  <a:lnTo>
                    <a:pt x="2349107" y="196799"/>
                  </a:lnTo>
                  <a:lnTo>
                    <a:pt x="2349107" y="197447"/>
                  </a:lnTo>
                  <a:lnTo>
                    <a:pt x="2349158" y="198831"/>
                  </a:lnTo>
                  <a:lnTo>
                    <a:pt x="2349158" y="196799"/>
                  </a:lnTo>
                  <a:lnTo>
                    <a:pt x="2349158" y="199530"/>
                  </a:lnTo>
                  <a:lnTo>
                    <a:pt x="2349259" y="199530"/>
                  </a:lnTo>
                  <a:lnTo>
                    <a:pt x="2349259" y="197447"/>
                  </a:lnTo>
                  <a:lnTo>
                    <a:pt x="2349259" y="199530"/>
                  </a:lnTo>
                  <a:lnTo>
                    <a:pt x="2349310" y="199530"/>
                  </a:lnTo>
                  <a:lnTo>
                    <a:pt x="2349310" y="197447"/>
                  </a:lnTo>
                  <a:lnTo>
                    <a:pt x="2349310" y="198831"/>
                  </a:lnTo>
                  <a:lnTo>
                    <a:pt x="2349310" y="197447"/>
                  </a:lnTo>
                  <a:lnTo>
                    <a:pt x="2349310" y="199530"/>
                  </a:lnTo>
                  <a:lnTo>
                    <a:pt x="2349310" y="198831"/>
                  </a:lnTo>
                  <a:lnTo>
                    <a:pt x="2349361" y="199530"/>
                  </a:lnTo>
                  <a:lnTo>
                    <a:pt x="2349462" y="199530"/>
                  </a:lnTo>
                  <a:lnTo>
                    <a:pt x="2349462" y="200228"/>
                  </a:lnTo>
                  <a:lnTo>
                    <a:pt x="2349462" y="199530"/>
                  </a:lnTo>
                  <a:lnTo>
                    <a:pt x="2349500" y="199530"/>
                  </a:lnTo>
                  <a:lnTo>
                    <a:pt x="2349500" y="200228"/>
                  </a:lnTo>
                  <a:lnTo>
                    <a:pt x="2349551" y="200228"/>
                  </a:lnTo>
                  <a:lnTo>
                    <a:pt x="2349551" y="199530"/>
                  </a:lnTo>
                  <a:lnTo>
                    <a:pt x="2349551" y="200228"/>
                  </a:lnTo>
                  <a:lnTo>
                    <a:pt x="2349551" y="198831"/>
                  </a:lnTo>
                  <a:lnTo>
                    <a:pt x="2349602" y="198831"/>
                  </a:lnTo>
                  <a:lnTo>
                    <a:pt x="2349602" y="196799"/>
                  </a:lnTo>
                  <a:lnTo>
                    <a:pt x="2349602" y="197447"/>
                  </a:lnTo>
                  <a:lnTo>
                    <a:pt x="2349704" y="198831"/>
                  </a:lnTo>
                  <a:lnTo>
                    <a:pt x="2349704" y="199530"/>
                  </a:lnTo>
                  <a:lnTo>
                    <a:pt x="2349704" y="196799"/>
                  </a:lnTo>
                  <a:lnTo>
                    <a:pt x="2349704" y="199530"/>
                  </a:lnTo>
                  <a:lnTo>
                    <a:pt x="2349755" y="199530"/>
                  </a:lnTo>
                  <a:lnTo>
                    <a:pt x="2349755" y="198831"/>
                  </a:lnTo>
                  <a:lnTo>
                    <a:pt x="2349755" y="199530"/>
                  </a:lnTo>
                  <a:lnTo>
                    <a:pt x="2349805" y="199530"/>
                  </a:lnTo>
                  <a:lnTo>
                    <a:pt x="2349805" y="198831"/>
                  </a:lnTo>
                  <a:lnTo>
                    <a:pt x="2349805" y="199530"/>
                  </a:lnTo>
                  <a:lnTo>
                    <a:pt x="2349907" y="200228"/>
                  </a:lnTo>
                  <a:lnTo>
                    <a:pt x="2349907" y="198831"/>
                  </a:lnTo>
                  <a:lnTo>
                    <a:pt x="2349907" y="200228"/>
                  </a:lnTo>
                  <a:lnTo>
                    <a:pt x="2349958" y="200228"/>
                  </a:lnTo>
                  <a:lnTo>
                    <a:pt x="2349958" y="200876"/>
                  </a:lnTo>
                  <a:lnTo>
                    <a:pt x="2349958" y="200228"/>
                  </a:lnTo>
                  <a:lnTo>
                    <a:pt x="2350009" y="200228"/>
                  </a:lnTo>
                  <a:lnTo>
                    <a:pt x="2350009" y="200876"/>
                  </a:lnTo>
                  <a:lnTo>
                    <a:pt x="2350009" y="200228"/>
                  </a:lnTo>
                  <a:lnTo>
                    <a:pt x="2350009" y="200876"/>
                  </a:lnTo>
                  <a:lnTo>
                    <a:pt x="2350009" y="200228"/>
                  </a:lnTo>
                  <a:lnTo>
                    <a:pt x="2350047" y="200228"/>
                  </a:lnTo>
                  <a:lnTo>
                    <a:pt x="2350047" y="199530"/>
                  </a:lnTo>
                  <a:lnTo>
                    <a:pt x="2350047" y="200228"/>
                  </a:lnTo>
                  <a:lnTo>
                    <a:pt x="2350047" y="198831"/>
                  </a:lnTo>
                  <a:lnTo>
                    <a:pt x="2350047" y="199530"/>
                  </a:lnTo>
                  <a:lnTo>
                    <a:pt x="2350047" y="198831"/>
                  </a:lnTo>
                  <a:lnTo>
                    <a:pt x="2350148" y="198831"/>
                  </a:lnTo>
                  <a:lnTo>
                    <a:pt x="2350148" y="197447"/>
                  </a:lnTo>
                  <a:lnTo>
                    <a:pt x="2350148" y="199530"/>
                  </a:lnTo>
                  <a:lnTo>
                    <a:pt x="2350148" y="198831"/>
                  </a:lnTo>
                  <a:lnTo>
                    <a:pt x="2350148" y="199530"/>
                  </a:lnTo>
                  <a:lnTo>
                    <a:pt x="2350199" y="199530"/>
                  </a:lnTo>
                  <a:lnTo>
                    <a:pt x="2350199" y="200228"/>
                  </a:lnTo>
                  <a:lnTo>
                    <a:pt x="2350199" y="198831"/>
                  </a:lnTo>
                  <a:lnTo>
                    <a:pt x="2350199" y="200876"/>
                  </a:lnTo>
                  <a:lnTo>
                    <a:pt x="2350199" y="200228"/>
                  </a:lnTo>
                  <a:lnTo>
                    <a:pt x="2350250" y="200228"/>
                  </a:lnTo>
                  <a:lnTo>
                    <a:pt x="2350250" y="199530"/>
                  </a:lnTo>
                  <a:lnTo>
                    <a:pt x="2350250" y="200876"/>
                  </a:lnTo>
                  <a:lnTo>
                    <a:pt x="2350250" y="200228"/>
                  </a:lnTo>
                  <a:lnTo>
                    <a:pt x="2350250" y="200876"/>
                  </a:lnTo>
                  <a:lnTo>
                    <a:pt x="2350351" y="200876"/>
                  </a:lnTo>
                  <a:lnTo>
                    <a:pt x="2350351" y="200228"/>
                  </a:lnTo>
                  <a:lnTo>
                    <a:pt x="2350351" y="202260"/>
                  </a:lnTo>
                  <a:lnTo>
                    <a:pt x="2350351" y="200228"/>
                  </a:lnTo>
                  <a:lnTo>
                    <a:pt x="2350402" y="200228"/>
                  </a:lnTo>
                  <a:lnTo>
                    <a:pt x="2350402" y="200876"/>
                  </a:lnTo>
                  <a:lnTo>
                    <a:pt x="2350402" y="200228"/>
                  </a:lnTo>
                  <a:lnTo>
                    <a:pt x="2350402" y="200876"/>
                  </a:lnTo>
                  <a:lnTo>
                    <a:pt x="2350402" y="200228"/>
                  </a:lnTo>
                  <a:lnTo>
                    <a:pt x="2350504" y="200228"/>
                  </a:lnTo>
                  <a:lnTo>
                    <a:pt x="2350504" y="199530"/>
                  </a:lnTo>
                  <a:lnTo>
                    <a:pt x="2350504" y="200228"/>
                  </a:lnTo>
                  <a:lnTo>
                    <a:pt x="2350504" y="199530"/>
                  </a:lnTo>
                  <a:lnTo>
                    <a:pt x="2350504" y="200228"/>
                  </a:lnTo>
                  <a:lnTo>
                    <a:pt x="2350504" y="199530"/>
                  </a:lnTo>
                  <a:lnTo>
                    <a:pt x="2350593" y="199530"/>
                  </a:lnTo>
                  <a:lnTo>
                    <a:pt x="2350593" y="197447"/>
                  </a:lnTo>
                  <a:lnTo>
                    <a:pt x="2350644" y="197447"/>
                  </a:lnTo>
                  <a:lnTo>
                    <a:pt x="2350644" y="196799"/>
                  </a:lnTo>
                  <a:lnTo>
                    <a:pt x="2350644" y="198831"/>
                  </a:lnTo>
                  <a:lnTo>
                    <a:pt x="2350644" y="197447"/>
                  </a:lnTo>
                  <a:lnTo>
                    <a:pt x="2350644" y="198831"/>
                  </a:lnTo>
                  <a:lnTo>
                    <a:pt x="2350644" y="197447"/>
                  </a:lnTo>
                  <a:lnTo>
                    <a:pt x="2350644" y="198831"/>
                  </a:lnTo>
                  <a:lnTo>
                    <a:pt x="2350644" y="197447"/>
                  </a:lnTo>
                  <a:lnTo>
                    <a:pt x="2350694" y="197447"/>
                  </a:lnTo>
                  <a:lnTo>
                    <a:pt x="2350694" y="200228"/>
                  </a:lnTo>
                  <a:lnTo>
                    <a:pt x="2350694" y="199530"/>
                  </a:lnTo>
                  <a:lnTo>
                    <a:pt x="2350694" y="200228"/>
                  </a:lnTo>
                  <a:lnTo>
                    <a:pt x="2350694" y="199530"/>
                  </a:lnTo>
                  <a:lnTo>
                    <a:pt x="2350694" y="200228"/>
                  </a:lnTo>
                  <a:lnTo>
                    <a:pt x="2350694" y="198831"/>
                  </a:lnTo>
                  <a:lnTo>
                    <a:pt x="2350745" y="199530"/>
                  </a:lnTo>
                  <a:lnTo>
                    <a:pt x="2350745" y="200228"/>
                  </a:lnTo>
                  <a:lnTo>
                    <a:pt x="2350847" y="200228"/>
                  </a:lnTo>
                  <a:lnTo>
                    <a:pt x="2350847" y="200876"/>
                  </a:lnTo>
                  <a:lnTo>
                    <a:pt x="2350847" y="200228"/>
                  </a:lnTo>
                  <a:lnTo>
                    <a:pt x="2350847" y="200876"/>
                  </a:lnTo>
                  <a:lnTo>
                    <a:pt x="2350847" y="200228"/>
                  </a:lnTo>
                  <a:lnTo>
                    <a:pt x="2350847" y="200876"/>
                  </a:lnTo>
                  <a:lnTo>
                    <a:pt x="2350897" y="200876"/>
                  </a:lnTo>
                  <a:lnTo>
                    <a:pt x="2350897" y="200228"/>
                  </a:lnTo>
                  <a:lnTo>
                    <a:pt x="2350897" y="200876"/>
                  </a:lnTo>
                  <a:lnTo>
                    <a:pt x="2350948" y="200876"/>
                  </a:lnTo>
                  <a:lnTo>
                    <a:pt x="2350948" y="202260"/>
                  </a:lnTo>
                  <a:lnTo>
                    <a:pt x="2350948" y="200228"/>
                  </a:lnTo>
                  <a:lnTo>
                    <a:pt x="2350948" y="200876"/>
                  </a:lnTo>
                  <a:lnTo>
                    <a:pt x="2350948" y="200228"/>
                  </a:lnTo>
                  <a:lnTo>
                    <a:pt x="2350948" y="200876"/>
                  </a:lnTo>
                  <a:lnTo>
                    <a:pt x="2350948" y="200228"/>
                  </a:lnTo>
                  <a:lnTo>
                    <a:pt x="2351050" y="200228"/>
                  </a:lnTo>
                  <a:lnTo>
                    <a:pt x="2351050" y="200876"/>
                  </a:lnTo>
                  <a:lnTo>
                    <a:pt x="2351050" y="199530"/>
                  </a:lnTo>
                  <a:lnTo>
                    <a:pt x="2351088" y="199530"/>
                  </a:lnTo>
                  <a:lnTo>
                    <a:pt x="2351088" y="197447"/>
                  </a:lnTo>
                  <a:lnTo>
                    <a:pt x="2351088" y="198831"/>
                  </a:lnTo>
                  <a:lnTo>
                    <a:pt x="2351088" y="196799"/>
                  </a:lnTo>
                  <a:lnTo>
                    <a:pt x="2351139" y="196799"/>
                  </a:lnTo>
                  <a:lnTo>
                    <a:pt x="2351139" y="198831"/>
                  </a:lnTo>
                  <a:lnTo>
                    <a:pt x="2351139" y="196799"/>
                  </a:lnTo>
                  <a:lnTo>
                    <a:pt x="2351190" y="196799"/>
                  </a:lnTo>
                  <a:lnTo>
                    <a:pt x="2351190" y="200228"/>
                  </a:lnTo>
                  <a:lnTo>
                    <a:pt x="2351190" y="198831"/>
                  </a:lnTo>
                  <a:lnTo>
                    <a:pt x="2351190" y="199530"/>
                  </a:lnTo>
                  <a:lnTo>
                    <a:pt x="2351291" y="199530"/>
                  </a:lnTo>
                  <a:lnTo>
                    <a:pt x="2351291" y="200228"/>
                  </a:lnTo>
                  <a:lnTo>
                    <a:pt x="2351291" y="199530"/>
                  </a:lnTo>
                  <a:lnTo>
                    <a:pt x="2351291" y="200228"/>
                  </a:lnTo>
                  <a:lnTo>
                    <a:pt x="2351291" y="199530"/>
                  </a:lnTo>
                  <a:lnTo>
                    <a:pt x="2351342" y="199530"/>
                  </a:lnTo>
                  <a:lnTo>
                    <a:pt x="2351342" y="200876"/>
                  </a:lnTo>
                  <a:lnTo>
                    <a:pt x="2351342" y="199530"/>
                  </a:lnTo>
                  <a:lnTo>
                    <a:pt x="2351342" y="200228"/>
                  </a:lnTo>
                  <a:lnTo>
                    <a:pt x="2351393" y="200228"/>
                  </a:lnTo>
                  <a:lnTo>
                    <a:pt x="2351393" y="200876"/>
                  </a:lnTo>
                  <a:lnTo>
                    <a:pt x="2351393" y="200228"/>
                  </a:lnTo>
                  <a:lnTo>
                    <a:pt x="2351393" y="200876"/>
                  </a:lnTo>
                  <a:lnTo>
                    <a:pt x="2351393" y="200228"/>
                  </a:lnTo>
                  <a:lnTo>
                    <a:pt x="2351393" y="200876"/>
                  </a:lnTo>
                  <a:lnTo>
                    <a:pt x="2351393" y="200228"/>
                  </a:lnTo>
                  <a:lnTo>
                    <a:pt x="2351393" y="200876"/>
                  </a:lnTo>
                  <a:lnTo>
                    <a:pt x="2351393" y="200228"/>
                  </a:lnTo>
                  <a:lnTo>
                    <a:pt x="2351494" y="200228"/>
                  </a:lnTo>
                  <a:lnTo>
                    <a:pt x="2351494" y="200876"/>
                  </a:lnTo>
                  <a:lnTo>
                    <a:pt x="2351494" y="200228"/>
                  </a:lnTo>
                  <a:lnTo>
                    <a:pt x="2351494" y="200876"/>
                  </a:lnTo>
                  <a:lnTo>
                    <a:pt x="2351494" y="200228"/>
                  </a:lnTo>
                  <a:lnTo>
                    <a:pt x="2351494" y="200876"/>
                  </a:lnTo>
                  <a:lnTo>
                    <a:pt x="2351494" y="200228"/>
                  </a:lnTo>
                  <a:lnTo>
                    <a:pt x="2351545" y="200228"/>
                  </a:lnTo>
                  <a:lnTo>
                    <a:pt x="2351545" y="198831"/>
                  </a:lnTo>
                  <a:lnTo>
                    <a:pt x="2351596" y="198831"/>
                  </a:lnTo>
                  <a:lnTo>
                    <a:pt x="2351596" y="199530"/>
                  </a:lnTo>
                  <a:lnTo>
                    <a:pt x="2351596" y="196799"/>
                  </a:lnTo>
                  <a:lnTo>
                    <a:pt x="2351634" y="196799"/>
                  </a:lnTo>
                  <a:lnTo>
                    <a:pt x="2351634" y="195415"/>
                  </a:lnTo>
                  <a:lnTo>
                    <a:pt x="2351634" y="196113"/>
                  </a:lnTo>
                  <a:lnTo>
                    <a:pt x="2351634" y="195415"/>
                  </a:lnTo>
                  <a:lnTo>
                    <a:pt x="2351634" y="197447"/>
                  </a:lnTo>
                  <a:lnTo>
                    <a:pt x="2351634" y="196113"/>
                  </a:lnTo>
                  <a:lnTo>
                    <a:pt x="2351736" y="196113"/>
                  </a:lnTo>
                  <a:lnTo>
                    <a:pt x="2351736" y="194716"/>
                  </a:lnTo>
                  <a:lnTo>
                    <a:pt x="2351736" y="198831"/>
                  </a:lnTo>
                  <a:lnTo>
                    <a:pt x="2351736" y="197447"/>
                  </a:lnTo>
                  <a:lnTo>
                    <a:pt x="2351787" y="196799"/>
                  </a:lnTo>
                  <a:lnTo>
                    <a:pt x="2351787" y="199530"/>
                  </a:lnTo>
                  <a:lnTo>
                    <a:pt x="2351787" y="197447"/>
                  </a:lnTo>
                  <a:lnTo>
                    <a:pt x="2351837" y="197447"/>
                  </a:lnTo>
                  <a:lnTo>
                    <a:pt x="2351837" y="199530"/>
                  </a:lnTo>
                  <a:lnTo>
                    <a:pt x="2351837" y="198831"/>
                  </a:lnTo>
                  <a:lnTo>
                    <a:pt x="2351837" y="199530"/>
                  </a:lnTo>
                  <a:lnTo>
                    <a:pt x="2351837" y="198831"/>
                  </a:lnTo>
                  <a:lnTo>
                    <a:pt x="2351939" y="198831"/>
                  </a:lnTo>
                  <a:lnTo>
                    <a:pt x="2351939" y="200876"/>
                  </a:lnTo>
                  <a:lnTo>
                    <a:pt x="2351990" y="200876"/>
                  </a:lnTo>
                  <a:lnTo>
                    <a:pt x="2351990" y="200228"/>
                  </a:lnTo>
                  <a:lnTo>
                    <a:pt x="2351990" y="200876"/>
                  </a:lnTo>
                  <a:lnTo>
                    <a:pt x="2351990" y="200228"/>
                  </a:lnTo>
                  <a:lnTo>
                    <a:pt x="2351990" y="200876"/>
                  </a:lnTo>
                  <a:lnTo>
                    <a:pt x="2352040" y="200876"/>
                  </a:lnTo>
                  <a:lnTo>
                    <a:pt x="2352040" y="199530"/>
                  </a:lnTo>
                  <a:lnTo>
                    <a:pt x="2352091" y="199530"/>
                  </a:lnTo>
                  <a:lnTo>
                    <a:pt x="2352091" y="197447"/>
                  </a:lnTo>
                  <a:lnTo>
                    <a:pt x="2352180" y="196799"/>
                  </a:lnTo>
                  <a:lnTo>
                    <a:pt x="2352180" y="199530"/>
                  </a:lnTo>
                  <a:lnTo>
                    <a:pt x="2352180" y="196113"/>
                  </a:lnTo>
                  <a:lnTo>
                    <a:pt x="2352180" y="196799"/>
                  </a:lnTo>
                  <a:lnTo>
                    <a:pt x="2352231" y="196799"/>
                  </a:lnTo>
                  <a:lnTo>
                    <a:pt x="2352231" y="199530"/>
                  </a:lnTo>
                  <a:lnTo>
                    <a:pt x="2352231" y="196799"/>
                  </a:lnTo>
                  <a:lnTo>
                    <a:pt x="2352231" y="197447"/>
                  </a:lnTo>
                  <a:lnTo>
                    <a:pt x="2352282" y="197447"/>
                  </a:lnTo>
                  <a:lnTo>
                    <a:pt x="2352282" y="199530"/>
                  </a:lnTo>
                  <a:lnTo>
                    <a:pt x="2352282" y="198831"/>
                  </a:lnTo>
                  <a:lnTo>
                    <a:pt x="2352282" y="199530"/>
                  </a:lnTo>
                  <a:lnTo>
                    <a:pt x="2352282" y="197447"/>
                  </a:lnTo>
                  <a:lnTo>
                    <a:pt x="2352282" y="198831"/>
                  </a:lnTo>
                  <a:lnTo>
                    <a:pt x="2352282" y="197447"/>
                  </a:lnTo>
                  <a:lnTo>
                    <a:pt x="2352282" y="198831"/>
                  </a:lnTo>
                  <a:lnTo>
                    <a:pt x="2352333" y="198831"/>
                  </a:lnTo>
                  <a:lnTo>
                    <a:pt x="2352333" y="196799"/>
                  </a:lnTo>
                  <a:lnTo>
                    <a:pt x="2352333" y="199530"/>
                  </a:lnTo>
                  <a:lnTo>
                    <a:pt x="2352434" y="198831"/>
                  </a:lnTo>
                  <a:lnTo>
                    <a:pt x="2352434" y="199530"/>
                  </a:lnTo>
                  <a:lnTo>
                    <a:pt x="2352434" y="198831"/>
                  </a:lnTo>
                  <a:lnTo>
                    <a:pt x="2352434" y="199530"/>
                  </a:lnTo>
                  <a:lnTo>
                    <a:pt x="2352434" y="198831"/>
                  </a:lnTo>
                  <a:lnTo>
                    <a:pt x="2352434" y="199530"/>
                  </a:lnTo>
                  <a:lnTo>
                    <a:pt x="2352485" y="199530"/>
                  </a:lnTo>
                  <a:lnTo>
                    <a:pt x="2352485" y="200228"/>
                  </a:lnTo>
                  <a:lnTo>
                    <a:pt x="2352485" y="199530"/>
                  </a:lnTo>
                  <a:lnTo>
                    <a:pt x="2352485" y="200228"/>
                  </a:lnTo>
                  <a:lnTo>
                    <a:pt x="2352485" y="199530"/>
                  </a:lnTo>
                  <a:lnTo>
                    <a:pt x="2352485" y="200228"/>
                  </a:lnTo>
                  <a:lnTo>
                    <a:pt x="2352485" y="199530"/>
                  </a:lnTo>
                  <a:lnTo>
                    <a:pt x="2352485" y="200228"/>
                  </a:lnTo>
                  <a:lnTo>
                    <a:pt x="2352485" y="199530"/>
                  </a:lnTo>
                  <a:lnTo>
                    <a:pt x="2352536" y="199530"/>
                  </a:lnTo>
                  <a:lnTo>
                    <a:pt x="2352536" y="200228"/>
                  </a:lnTo>
                  <a:lnTo>
                    <a:pt x="2352536" y="199530"/>
                  </a:lnTo>
                  <a:lnTo>
                    <a:pt x="2352637" y="199530"/>
                  </a:lnTo>
                  <a:lnTo>
                    <a:pt x="2352637" y="198831"/>
                  </a:lnTo>
                  <a:lnTo>
                    <a:pt x="2352637" y="199530"/>
                  </a:lnTo>
                  <a:lnTo>
                    <a:pt x="2352637" y="197447"/>
                  </a:lnTo>
                  <a:lnTo>
                    <a:pt x="2352637" y="198831"/>
                  </a:lnTo>
                  <a:lnTo>
                    <a:pt x="2352675" y="198831"/>
                  </a:lnTo>
                  <a:lnTo>
                    <a:pt x="2352675" y="199530"/>
                  </a:lnTo>
                  <a:lnTo>
                    <a:pt x="2352675" y="198831"/>
                  </a:lnTo>
                  <a:lnTo>
                    <a:pt x="2352675" y="202260"/>
                  </a:lnTo>
                  <a:lnTo>
                    <a:pt x="2352675" y="200876"/>
                  </a:lnTo>
                  <a:lnTo>
                    <a:pt x="2352726" y="200876"/>
                  </a:lnTo>
                  <a:lnTo>
                    <a:pt x="2352726" y="198831"/>
                  </a:lnTo>
                  <a:lnTo>
                    <a:pt x="2352726" y="200876"/>
                  </a:lnTo>
                  <a:lnTo>
                    <a:pt x="2352726" y="200228"/>
                  </a:lnTo>
                  <a:lnTo>
                    <a:pt x="2352726" y="200876"/>
                  </a:lnTo>
                  <a:lnTo>
                    <a:pt x="2352777" y="200228"/>
                  </a:lnTo>
                  <a:lnTo>
                    <a:pt x="2352777" y="199530"/>
                  </a:lnTo>
                  <a:lnTo>
                    <a:pt x="2352777" y="200228"/>
                  </a:lnTo>
                  <a:lnTo>
                    <a:pt x="2352930" y="200228"/>
                  </a:lnTo>
                  <a:lnTo>
                    <a:pt x="2352930" y="200876"/>
                  </a:lnTo>
                  <a:lnTo>
                    <a:pt x="2352930" y="200228"/>
                  </a:lnTo>
                  <a:lnTo>
                    <a:pt x="2352930" y="200876"/>
                  </a:lnTo>
                  <a:lnTo>
                    <a:pt x="2352930" y="200228"/>
                  </a:lnTo>
                  <a:lnTo>
                    <a:pt x="2352930" y="202260"/>
                  </a:lnTo>
                  <a:lnTo>
                    <a:pt x="2352930" y="200876"/>
                  </a:lnTo>
                  <a:lnTo>
                    <a:pt x="2352980" y="200876"/>
                  </a:lnTo>
                  <a:lnTo>
                    <a:pt x="2352980" y="200228"/>
                  </a:lnTo>
                  <a:lnTo>
                    <a:pt x="2352980" y="200876"/>
                  </a:lnTo>
                  <a:lnTo>
                    <a:pt x="2352980" y="200228"/>
                  </a:lnTo>
                  <a:lnTo>
                    <a:pt x="2352980" y="200876"/>
                  </a:lnTo>
                  <a:lnTo>
                    <a:pt x="2352980" y="200228"/>
                  </a:lnTo>
                  <a:lnTo>
                    <a:pt x="2353082" y="200228"/>
                  </a:lnTo>
                  <a:lnTo>
                    <a:pt x="2353082" y="198831"/>
                  </a:lnTo>
                  <a:lnTo>
                    <a:pt x="2353133" y="198831"/>
                  </a:lnTo>
                  <a:lnTo>
                    <a:pt x="2353133" y="200228"/>
                  </a:lnTo>
                  <a:lnTo>
                    <a:pt x="2353133" y="199530"/>
                  </a:lnTo>
                  <a:lnTo>
                    <a:pt x="2353133" y="200228"/>
                  </a:lnTo>
                  <a:lnTo>
                    <a:pt x="2353184" y="200228"/>
                  </a:lnTo>
                  <a:lnTo>
                    <a:pt x="2353184" y="199530"/>
                  </a:lnTo>
                  <a:lnTo>
                    <a:pt x="2353184" y="202260"/>
                  </a:lnTo>
                  <a:lnTo>
                    <a:pt x="2353184" y="200876"/>
                  </a:lnTo>
                  <a:lnTo>
                    <a:pt x="2353184" y="202260"/>
                  </a:lnTo>
                  <a:lnTo>
                    <a:pt x="2353184" y="200876"/>
                  </a:lnTo>
                  <a:lnTo>
                    <a:pt x="2353222" y="200876"/>
                  </a:lnTo>
                  <a:lnTo>
                    <a:pt x="2353222" y="202959"/>
                  </a:lnTo>
                  <a:lnTo>
                    <a:pt x="2353222" y="200876"/>
                  </a:lnTo>
                  <a:lnTo>
                    <a:pt x="2353222" y="202260"/>
                  </a:lnTo>
                  <a:lnTo>
                    <a:pt x="2353323" y="202260"/>
                  </a:lnTo>
                  <a:lnTo>
                    <a:pt x="2353323" y="200876"/>
                  </a:lnTo>
                  <a:lnTo>
                    <a:pt x="2353323" y="202959"/>
                  </a:lnTo>
                  <a:lnTo>
                    <a:pt x="2353323" y="200876"/>
                  </a:lnTo>
                  <a:lnTo>
                    <a:pt x="2353323" y="202260"/>
                  </a:lnTo>
                  <a:lnTo>
                    <a:pt x="2353374" y="202260"/>
                  </a:lnTo>
                  <a:lnTo>
                    <a:pt x="2353374" y="200876"/>
                  </a:lnTo>
                  <a:lnTo>
                    <a:pt x="2353374" y="202260"/>
                  </a:lnTo>
                  <a:lnTo>
                    <a:pt x="2353425" y="202260"/>
                  </a:lnTo>
                  <a:lnTo>
                    <a:pt x="2353425" y="200876"/>
                  </a:lnTo>
                  <a:lnTo>
                    <a:pt x="2353425" y="202260"/>
                  </a:lnTo>
                  <a:lnTo>
                    <a:pt x="2353425" y="200228"/>
                  </a:lnTo>
                  <a:lnTo>
                    <a:pt x="2353425" y="200876"/>
                  </a:lnTo>
                  <a:lnTo>
                    <a:pt x="2353526" y="200876"/>
                  </a:lnTo>
                  <a:lnTo>
                    <a:pt x="2353526" y="199530"/>
                  </a:lnTo>
                  <a:lnTo>
                    <a:pt x="2353526" y="200228"/>
                  </a:lnTo>
                  <a:lnTo>
                    <a:pt x="2353526" y="199530"/>
                  </a:lnTo>
                  <a:lnTo>
                    <a:pt x="2353577" y="199530"/>
                  </a:lnTo>
                  <a:lnTo>
                    <a:pt x="2353577" y="197447"/>
                  </a:lnTo>
                  <a:lnTo>
                    <a:pt x="2353577" y="198831"/>
                  </a:lnTo>
                  <a:lnTo>
                    <a:pt x="2353577" y="197447"/>
                  </a:lnTo>
                  <a:lnTo>
                    <a:pt x="2353628" y="197447"/>
                  </a:lnTo>
                  <a:lnTo>
                    <a:pt x="2353628" y="199530"/>
                  </a:lnTo>
                  <a:lnTo>
                    <a:pt x="2353628" y="197447"/>
                  </a:lnTo>
                  <a:lnTo>
                    <a:pt x="2353628" y="198831"/>
                  </a:lnTo>
                  <a:lnTo>
                    <a:pt x="2353628" y="197447"/>
                  </a:lnTo>
                  <a:lnTo>
                    <a:pt x="2353628" y="198831"/>
                  </a:lnTo>
                  <a:lnTo>
                    <a:pt x="2353679" y="198831"/>
                  </a:lnTo>
                  <a:lnTo>
                    <a:pt x="2353679" y="200876"/>
                  </a:lnTo>
                  <a:lnTo>
                    <a:pt x="2353679" y="199530"/>
                  </a:lnTo>
                  <a:lnTo>
                    <a:pt x="2353679" y="200876"/>
                  </a:lnTo>
                  <a:lnTo>
                    <a:pt x="2353768" y="200876"/>
                  </a:lnTo>
                  <a:lnTo>
                    <a:pt x="2353768" y="200228"/>
                  </a:lnTo>
                  <a:lnTo>
                    <a:pt x="2353768" y="200876"/>
                  </a:lnTo>
                  <a:lnTo>
                    <a:pt x="2353768" y="200228"/>
                  </a:lnTo>
                  <a:lnTo>
                    <a:pt x="2353768" y="200876"/>
                  </a:lnTo>
                  <a:lnTo>
                    <a:pt x="2353768" y="200228"/>
                  </a:lnTo>
                  <a:lnTo>
                    <a:pt x="2353768" y="200876"/>
                  </a:lnTo>
                  <a:lnTo>
                    <a:pt x="2353768" y="200228"/>
                  </a:lnTo>
                  <a:lnTo>
                    <a:pt x="2353768" y="200876"/>
                  </a:lnTo>
                  <a:lnTo>
                    <a:pt x="2353768" y="200228"/>
                  </a:lnTo>
                  <a:lnTo>
                    <a:pt x="2353768" y="200876"/>
                  </a:lnTo>
                  <a:lnTo>
                    <a:pt x="2353819" y="200876"/>
                  </a:lnTo>
                  <a:lnTo>
                    <a:pt x="2353819" y="202260"/>
                  </a:lnTo>
                  <a:lnTo>
                    <a:pt x="2353819" y="200876"/>
                  </a:lnTo>
                  <a:lnTo>
                    <a:pt x="2353819" y="202260"/>
                  </a:lnTo>
                  <a:lnTo>
                    <a:pt x="2353819" y="200876"/>
                  </a:lnTo>
                  <a:lnTo>
                    <a:pt x="2353819" y="202260"/>
                  </a:lnTo>
                  <a:lnTo>
                    <a:pt x="2353869" y="200876"/>
                  </a:lnTo>
                  <a:lnTo>
                    <a:pt x="2353869" y="202260"/>
                  </a:lnTo>
                  <a:lnTo>
                    <a:pt x="2353869" y="200876"/>
                  </a:lnTo>
                  <a:lnTo>
                    <a:pt x="2353869" y="202260"/>
                  </a:lnTo>
                  <a:lnTo>
                    <a:pt x="2353869" y="200876"/>
                  </a:lnTo>
                  <a:lnTo>
                    <a:pt x="2353869" y="202260"/>
                  </a:lnTo>
                  <a:lnTo>
                    <a:pt x="2353869" y="200876"/>
                  </a:lnTo>
                  <a:lnTo>
                    <a:pt x="2353869" y="202260"/>
                  </a:lnTo>
                  <a:lnTo>
                    <a:pt x="2353920" y="202260"/>
                  </a:lnTo>
                  <a:lnTo>
                    <a:pt x="2353920" y="202959"/>
                  </a:lnTo>
                  <a:lnTo>
                    <a:pt x="2353920" y="202260"/>
                  </a:lnTo>
                  <a:lnTo>
                    <a:pt x="2354022" y="202260"/>
                  </a:lnTo>
                  <a:lnTo>
                    <a:pt x="2354022" y="199530"/>
                  </a:lnTo>
                  <a:lnTo>
                    <a:pt x="2354022" y="200228"/>
                  </a:lnTo>
                  <a:lnTo>
                    <a:pt x="2354022" y="199530"/>
                  </a:lnTo>
                  <a:lnTo>
                    <a:pt x="2354072" y="199530"/>
                  </a:lnTo>
                  <a:lnTo>
                    <a:pt x="2354072" y="197447"/>
                  </a:lnTo>
                  <a:lnTo>
                    <a:pt x="2354072" y="198831"/>
                  </a:lnTo>
                  <a:lnTo>
                    <a:pt x="2354072" y="197447"/>
                  </a:lnTo>
                  <a:lnTo>
                    <a:pt x="2354072" y="199530"/>
                  </a:lnTo>
                  <a:lnTo>
                    <a:pt x="2354123" y="199530"/>
                  </a:lnTo>
                  <a:lnTo>
                    <a:pt x="2354123" y="198831"/>
                  </a:lnTo>
                  <a:lnTo>
                    <a:pt x="2354123" y="199530"/>
                  </a:lnTo>
                  <a:lnTo>
                    <a:pt x="2354123" y="198831"/>
                  </a:lnTo>
                  <a:lnTo>
                    <a:pt x="2354123" y="200228"/>
                  </a:lnTo>
                  <a:lnTo>
                    <a:pt x="2354225" y="200228"/>
                  </a:lnTo>
                  <a:lnTo>
                    <a:pt x="2354225" y="199530"/>
                  </a:lnTo>
                  <a:lnTo>
                    <a:pt x="2354225" y="202260"/>
                  </a:lnTo>
                  <a:lnTo>
                    <a:pt x="2354225" y="200876"/>
                  </a:lnTo>
                  <a:lnTo>
                    <a:pt x="2354263" y="200876"/>
                  </a:lnTo>
                  <a:lnTo>
                    <a:pt x="2354263" y="200228"/>
                  </a:lnTo>
                  <a:lnTo>
                    <a:pt x="2354263" y="200876"/>
                  </a:lnTo>
                  <a:lnTo>
                    <a:pt x="2354263" y="200228"/>
                  </a:lnTo>
                  <a:lnTo>
                    <a:pt x="2354314" y="200228"/>
                  </a:lnTo>
                  <a:lnTo>
                    <a:pt x="2354314" y="202260"/>
                  </a:lnTo>
                  <a:lnTo>
                    <a:pt x="2354314" y="200876"/>
                  </a:lnTo>
                  <a:lnTo>
                    <a:pt x="2354365" y="200876"/>
                  </a:lnTo>
                  <a:lnTo>
                    <a:pt x="2354365" y="202260"/>
                  </a:lnTo>
                  <a:lnTo>
                    <a:pt x="2354365" y="200876"/>
                  </a:lnTo>
                  <a:lnTo>
                    <a:pt x="2354365" y="202260"/>
                  </a:lnTo>
                  <a:lnTo>
                    <a:pt x="2354466" y="202260"/>
                  </a:lnTo>
                  <a:lnTo>
                    <a:pt x="2354466" y="200876"/>
                  </a:lnTo>
                  <a:lnTo>
                    <a:pt x="2354466" y="202260"/>
                  </a:lnTo>
                  <a:lnTo>
                    <a:pt x="2354466" y="200876"/>
                  </a:lnTo>
                  <a:lnTo>
                    <a:pt x="2354517" y="200876"/>
                  </a:lnTo>
                  <a:lnTo>
                    <a:pt x="2354517" y="198831"/>
                  </a:lnTo>
                  <a:lnTo>
                    <a:pt x="2354517" y="199530"/>
                  </a:lnTo>
                  <a:lnTo>
                    <a:pt x="2354517" y="198831"/>
                  </a:lnTo>
                  <a:lnTo>
                    <a:pt x="2354568" y="198831"/>
                  </a:lnTo>
                  <a:lnTo>
                    <a:pt x="2354568" y="197447"/>
                  </a:lnTo>
                  <a:lnTo>
                    <a:pt x="2354568" y="199530"/>
                  </a:lnTo>
                  <a:lnTo>
                    <a:pt x="2354669" y="198831"/>
                  </a:lnTo>
                  <a:lnTo>
                    <a:pt x="2354669" y="197447"/>
                  </a:lnTo>
                  <a:lnTo>
                    <a:pt x="2354669" y="199530"/>
                  </a:lnTo>
                  <a:lnTo>
                    <a:pt x="2354669" y="198831"/>
                  </a:lnTo>
                  <a:lnTo>
                    <a:pt x="2354669" y="200228"/>
                  </a:lnTo>
                  <a:lnTo>
                    <a:pt x="2354669" y="199530"/>
                  </a:lnTo>
                  <a:lnTo>
                    <a:pt x="2354720" y="199530"/>
                  </a:lnTo>
                  <a:lnTo>
                    <a:pt x="2354720" y="200876"/>
                  </a:lnTo>
                  <a:lnTo>
                    <a:pt x="2354720" y="200228"/>
                  </a:lnTo>
                  <a:lnTo>
                    <a:pt x="2354771" y="200228"/>
                  </a:lnTo>
                  <a:lnTo>
                    <a:pt x="2354771" y="202260"/>
                  </a:lnTo>
                  <a:lnTo>
                    <a:pt x="2354771" y="200228"/>
                  </a:lnTo>
                  <a:lnTo>
                    <a:pt x="2354771" y="200876"/>
                  </a:lnTo>
                  <a:lnTo>
                    <a:pt x="2354809" y="200228"/>
                  </a:lnTo>
                  <a:lnTo>
                    <a:pt x="2354809" y="202260"/>
                  </a:lnTo>
                  <a:lnTo>
                    <a:pt x="2354809" y="200876"/>
                  </a:lnTo>
                  <a:lnTo>
                    <a:pt x="2354809" y="202260"/>
                  </a:lnTo>
                  <a:lnTo>
                    <a:pt x="2354911" y="202260"/>
                  </a:lnTo>
                  <a:lnTo>
                    <a:pt x="2354911" y="200876"/>
                  </a:lnTo>
                  <a:lnTo>
                    <a:pt x="2354911" y="202260"/>
                  </a:lnTo>
                  <a:lnTo>
                    <a:pt x="2354962" y="202260"/>
                  </a:lnTo>
                  <a:lnTo>
                    <a:pt x="2354962" y="200876"/>
                  </a:lnTo>
                  <a:lnTo>
                    <a:pt x="2355012" y="200876"/>
                  </a:lnTo>
                  <a:lnTo>
                    <a:pt x="2355012" y="198831"/>
                  </a:lnTo>
                  <a:lnTo>
                    <a:pt x="2355114" y="198831"/>
                  </a:lnTo>
                  <a:lnTo>
                    <a:pt x="2355114" y="197447"/>
                  </a:lnTo>
                  <a:lnTo>
                    <a:pt x="2355114" y="198831"/>
                  </a:lnTo>
                  <a:lnTo>
                    <a:pt x="2355114" y="197447"/>
                  </a:lnTo>
                  <a:lnTo>
                    <a:pt x="2355165" y="197447"/>
                  </a:lnTo>
                  <a:lnTo>
                    <a:pt x="2355165" y="196799"/>
                  </a:lnTo>
                  <a:lnTo>
                    <a:pt x="2355165" y="199530"/>
                  </a:lnTo>
                  <a:lnTo>
                    <a:pt x="2355165" y="198831"/>
                  </a:lnTo>
                  <a:lnTo>
                    <a:pt x="2355215" y="198831"/>
                  </a:lnTo>
                  <a:lnTo>
                    <a:pt x="2355215" y="197447"/>
                  </a:lnTo>
                  <a:lnTo>
                    <a:pt x="2355215" y="199530"/>
                  </a:lnTo>
                  <a:lnTo>
                    <a:pt x="2355215" y="198831"/>
                  </a:lnTo>
                  <a:lnTo>
                    <a:pt x="2355266" y="198831"/>
                  </a:lnTo>
                  <a:lnTo>
                    <a:pt x="2355266" y="197447"/>
                  </a:lnTo>
                  <a:lnTo>
                    <a:pt x="2355266" y="199530"/>
                  </a:lnTo>
                  <a:lnTo>
                    <a:pt x="2355266" y="198831"/>
                  </a:lnTo>
                  <a:lnTo>
                    <a:pt x="2355266" y="200228"/>
                  </a:lnTo>
                  <a:lnTo>
                    <a:pt x="2355355" y="200228"/>
                  </a:lnTo>
                  <a:lnTo>
                    <a:pt x="2355355" y="199530"/>
                  </a:lnTo>
                  <a:lnTo>
                    <a:pt x="2355355" y="200228"/>
                  </a:lnTo>
                  <a:lnTo>
                    <a:pt x="2355355" y="199530"/>
                  </a:lnTo>
                  <a:lnTo>
                    <a:pt x="2355355" y="200876"/>
                  </a:lnTo>
                  <a:lnTo>
                    <a:pt x="2355355" y="200228"/>
                  </a:lnTo>
                  <a:lnTo>
                    <a:pt x="2355406" y="200228"/>
                  </a:lnTo>
                  <a:lnTo>
                    <a:pt x="2355406" y="200876"/>
                  </a:lnTo>
                  <a:lnTo>
                    <a:pt x="2355406" y="200228"/>
                  </a:lnTo>
                  <a:lnTo>
                    <a:pt x="2355406" y="200876"/>
                  </a:lnTo>
                  <a:lnTo>
                    <a:pt x="2355406" y="200228"/>
                  </a:lnTo>
                  <a:lnTo>
                    <a:pt x="2355406" y="200876"/>
                  </a:lnTo>
                  <a:lnTo>
                    <a:pt x="2355406" y="200228"/>
                  </a:lnTo>
                  <a:lnTo>
                    <a:pt x="2355457" y="200228"/>
                  </a:lnTo>
                  <a:lnTo>
                    <a:pt x="2355457" y="199530"/>
                  </a:lnTo>
                  <a:lnTo>
                    <a:pt x="2355457" y="200228"/>
                  </a:lnTo>
                  <a:lnTo>
                    <a:pt x="2355457" y="199530"/>
                  </a:lnTo>
                  <a:lnTo>
                    <a:pt x="2355508" y="199530"/>
                  </a:lnTo>
                  <a:lnTo>
                    <a:pt x="2355508" y="197447"/>
                  </a:lnTo>
                  <a:lnTo>
                    <a:pt x="2355609" y="198831"/>
                  </a:lnTo>
                  <a:lnTo>
                    <a:pt x="2355609" y="200228"/>
                  </a:lnTo>
                  <a:lnTo>
                    <a:pt x="2355609" y="198831"/>
                  </a:lnTo>
                  <a:lnTo>
                    <a:pt x="2355609" y="199530"/>
                  </a:lnTo>
                  <a:lnTo>
                    <a:pt x="2355609" y="198831"/>
                  </a:lnTo>
                  <a:lnTo>
                    <a:pt x="2355609" y="199530"/>
                  </a:lnTo>
                  <a:lnTo>
                    <a:pt x="2355660" y="199530"/>
                  </a:lnTo>
                  <a:lnTo>
                    <a:pt x="2355660" y="200876"/>
                  </a:lnTo>
                  <a:lnTo>
                    <a:pt x="2355660" y="199530"/>
                  </a:lnTo>
                  <a:lnTo>
                    <a:pt x="2355660" y="200228"/>
                  </a:lnTo>
                  <a:lnTo>
                    <a:pt x="2355660" y="199530"/>
                  </a:lnTo>
                  <a:lnTo>
                    <a:pt x="2355660" y="200876"/>
                  </a:lnTo>
                  <a:lnTo>
                    <a:pt x="2355711" y="200876"/>
                  </a:lnTo>
                  <a:lnTo>
                    <a:pt x="2355711" y="200228"/>
                  </a:lnTo>
                  <a:lnTo>
                    <a:pt x="2355812" y="200228"/>
                  </a:lnTo>
                  <a:lnTo>
                    <a:pt x="2355812" y="200876"/>
                  </a:lnTo>
                  <a:lnTo>
                    <a:pt x="2355812" y="200228"/>
                  </a:lnTo>
                  <a:lnTo>
                    <a:pt x="2355850" y="200228"/>
                  </a:lnTo>
                  <a:lnTo>
                    <a:pt x="2355850" y="200876"/>
                  </a:lnTo>
                  <a:lnTo>
                    <a:pt x="2355850" y="200228"/>
                  </a:lnTo>
                  <a:lnTo>
                    <a:pt x="2355850" y="200876"/>
                  </a:lnTo>
                  <a:lnTo>
                    <a:pt x="2355850" y="200228"/>
                  </a:lnTo>
                  <a:lnTo>
                    <a:pt x="2355850" y="200876"/>
                  </a:lnTo>
                  <a:lnTo>
                    <a:pt x="2355850" y="200228"/>
                  </a:lnTo>
                  <a:lnTo>
                    <a:pt x="2355850" y="200876"/>
                  </a:lnTo>
                  <a:lnTo>
                    <a:pt x="2355901" y="200876"/>
                  </a:lnTo>
                  <a:lnTo>
                    <a:pt x="2355901" y="200228"/>
                  </a:lnTo>
                  <a:lnTo>
                    <a:pt x="2355901" y="200876"/>
                  </a:lnTo>
                  <a:lnTo>
                    <a:pt x="2355901" y="200228"/>
                  </a:lnTo>
                  <a:lnTo>
                    <a:pt x="2355952" y="200228"/>
                  </a:lnTo>
                  <a:lnTo>
                    <a:pt x="2355952" y="200876"/>
                  </a:lnTo>
                  <a:lnTo>
                    <a:pt x="2355952" y="199530"/>
                  </a:lnTo>
                  <a:lnTo>
                    <a:pt x="2356054" y="199530"/>
                  </a:lnTo>
                  <a:lnTo>
                    <a:pt x="2356054" y="198831"/>
                  </a:lnTo>
                  <a:lnTo>
                    <a:pt x="2356054" y="200228"/>
                  </a:lnTo>
                  <a:lnTo>
                    <a:pt x="2356105" y="200228"/>
                  </a:lnTo>
                  <a:lnTo>
                    <a:pt x="2356105" y="198831"/>
                  </a:lnTo>
                  <a:lnTo>
                    <a:pt x="2356105" y="202260"/>
                  </a:lnTo>
                  <a:lnTo>
                    <a:pt x="2356105" y="200876"/>
                  </a:lnTo>
                  <a:lnTo>
                    <a:pt x="2356155" y="200876"/>
                  </a:lnTo>
                  <a:lnTo>
                    <a:pt x="2356155" y="199530"/>
                  </a:lnTo>
                  <a:lnTo>
                    <a:pt x="2356155" y="200876"/>
                  </a:lnTo>
                  <a:lnTo>
                    <a:pt x="2356257" y="200876"/>
                  </a:lnTo>
                  <a:lnTo>
                    <a:pt x="2356257" y="200228"/>
                  </a:lnTo>
                  <a:lnTo>
                    <a:pt x="2356257" y="202260"/>
                  </a:lnTo>
                  <a:lnTo>
                    <a:pt x="2356257" y="200876"/>
                  </a:lnTo>
                  <a:lnTo>
                    <a:pt x="2356308" y="200228"/>
                  </a:lnTo>
                  <a:lnTo>
                    <a:pt x="2356308" y="202260"/>
                  </a:lnTo>
                  <a:lnTo>
                    <a:pt x="2356308" y="200876"/>
                  </a:lnTo>
                  <a:lnTo>
                    <a:pt x="2356359" y="200876"/>
                  </a:lnTo>
                  <a:lnTo>
                    <a:pt x="2356359" y="202260"/>
                  </a:lnTo>
                  <a:lnTo>
                    <a:pt x="2356359" y="200228"/>
                  </a:lnTo>
                  <a:lnTo>
                    <a:pt x="2356397" y="200228"/>
                  </a:lnTo>
                  <a:lnTo>
                    <a:pt x="2356397" y="200876"/>
                  </a:lnTo>
                  <a:lnTo>
                    <a:pt x="2356397" y="199530"/>
                  </a:lnTo>
                  <a:lnTo>
                    <a:pt x="2356397" y="200228"/>
                  </a:lnTo>
                  <a:lnTo>
                    <a:pt x="2356397" y="199530"/>
                  </a:lnTo>
                  <a:lnTo>
                    <a:pt x="2356498" y="199530"/>
                  </a:lnTo>
                  <a:lnTo>
                    <a:pt x="2356498" y="198831"/>
                  </a:lnTo>
                  <a:lnTo>
                    <a:pt x="2356498" y="199530"/>
                  </a:lnTo>
                  <a:lnTo>
                    <a:pt x="2356498" y="198831"/>
                  </a:lnTo>
                  <a:lnTo>
                    <a:pt x="2356549" y="197447"/>
                  </a:lnTo>
                  <a:lnTo>
                    <a:pt x="2356549" y="196799"/>
                  </a:lnTo>
                  <a:lnTo>
                    <a:pt x="2356549" y="199530"/>
                  </a:lnTo>
                  <a:lnTo>
                    <a:pt x="2356549" y="198831"/>
                  </a:lnTo>
                  <a:lnTo>
                    <a:pt x="2356600" y="198831"/>
                  </a:lnTo>
                  <a:lnTo>
                    <a:pt x="2356600" y="196799"/>
                  </a:lnTo>
                  <a:lnTo>
                    <a:pt x="2356600" y="200876"/>
                  </a:lnTo>
                  <a:lnTo>
                    <a:pt x="2356600" y="200228"/>
                  </a:lnTo>
                  <a:lnTo>
                    <a:pt x="2356701" y="200228"/>
                  </a:lnTo>
                  <a:lnTo>
                    <a:pt x="2356701" y="198831"/>
                  </a:lnTo>
                  <a:lnTo>
                    <a:pt x="2356701" y="200876"/>
                  </a:lnTo>
                  <a:lnTo>
                    <a:pt x="2356701" y="200228"/>
                  </a:lnTo>
                  <a:lnTo>
                    <a:pt x="2356752" y="200228"/>
                  </a:lnTo>
                  <a:lnTo>
                    <a:pt x="2356752" y="202260"/>
                  </a:lnTo>
                  <a:lnTo>
                    <a:pt x="2356752" y="200228"/>
                  </a:lnTo>
                  <a:lnTo>
                    <a:pt x="2356803" y="200228"/>
                  </a:lnTo>
                  <a:lnTo>
                    <a:pt x="2356803" y="202260"/>
                  </a:lnTo>
                  <a:lnTo>
                    <a:pt x="2356854" y="200876"/>
                  </a:lnTo>
                  <a:lnTo>
                    <a:pt x="2356854" y="202260"/>
                  </a:lnTo>
                  <a:lnTo>
                    <a:pt x="2356854" y="200876"/>
                  </a:lnTo>
                  <a:lnTo>
                    <a:pt x="2356943" y="200876"/>
                  </a:lnTo>
                  <a:lnTo>
                    <a:pt x="2356943" y="200228"/>
                  </a:lnTo>
                  <a:lnTo>
                    <a:pt x="2356943" y="200876"/>
                  </a:lnTo>
                  <a:lnTo>
                    <a:pt x="2356943" y="200228"/>
                  </a:lnTo>
                  <a:lnTo>
                    <a:pt x="2356994" y="200228"/>
                  </a:lnTo>
                  <a:lnTo>
                    <a:pt x="2356994" y="200876"/>
                  </a:lnTo>
                  <a:lnTo>
                    <a:pt x="2356994" y="197447"/>
                  </a:lnTo>
                  <a:lnTo>
                    <a:pt x="2357044" y="197447"/>
                  </a:lnTo>
                  <a:lnTo>
                    <a:pt x="2357044" y="196799"/>
                  </a:lnTo>
                  <a:lnTo>
                    <a:pt x="2357044" y="200228"/>
                  </a:lnTo>
                  <a:lnTo>
                    <a:pt x="2357044" y="197447"/>
                  </a:lnTo>
                  <a:lnTo>
                    <a:pt x="2357095" y="197447"/>
                  </a:lnTo>
                  <a:lnTo>
                    <a:pt x="2357095" y="200876"/>
                  </a:lnTo>
                  <a:lnTo>
                    <a:pt x="2357095" y="200228"/>
                  </a:lnTo>
                  <a:lnTo>
                    <a:pt x="2357095" y="200876"/>
                  </a:lnTo>
                  <a:lnTo>
                    <a:pt x="2357095" y="198831"/>
                  </a:lnTo>
                  <a:lnTo>
                    <a:pt x="2357197" y="198831"/>
                  </a:lnTo>
                  <a:lnTo>
                    <a:pt x="2357197" y="200876"/>
                  </a:lnTo>
                  <a:lnTo>
                    <a:pt x="2357197" y="200228"/>
                  </a:lnTo>
                  <a:lnTo>
                    <a:pt x="2357247" y="200228"/>
                  </a:lnTo>
                  <a:lnTo>
                    <a:pt x="2357247" y="200876"/>
                  </a:lnTo>
                  <a:lnTo>
                    <a:pt x="2357247" y="200228"/>
                  </a:lnTo>
                  <a:lnTo>
                    <a:pt x="2357247" y="200876"/>
                  </a:lnTo>
                  <a:lnTo>
                    <a:pt x="2357247" y="200228"/>
                  </a:lnTo>
                  <a:lnTo>
                    <a:pt x="2357247" y="200876"/>
                  </a:lnTo>
                  <a:lnTo>
                    <a:pt x="2357247" y="200228"/>
                  </a:lnTo>
                  <a:lnTo>
                    <a:pt x="2357298" y="200876"/>
                  </a:lnTo>
                  <a:lnTo>
                    <a:pt x="2357298" y="202260"/>
                  </a:lnTo>
                  <a:lnTo>
                    <a:pt x="2357400" y="202260"/>
                  </a:lnTo>
                  <a:lnTo>
                    <a:pt x="2357400" y="200876"/>
                  </a:lnTo>
                  <a:lnTo>
                    <a:pt x="2357438" y="200876"/>
                  </a:lnTo>
                  <a:lnTo>
                    <a:pt x="2357438" y="199530"/>
                  </a:lnTo>
                  <a:lnTo>
                    <a:pt x="2357438" y="200228"/>
                  </a:lnTo>
                  <a:lnTo>
                    <a:pt x="2357489" y="200228"/>
                  </a:lnTo>
                  <a:lnTo>
                    <a:pt x="2357489" y="197447"/>
                  </a:lnTo>
                  <a:lnTo>
                    <a:pt x="2357540" y="196799"/>
                  </a:lnTo>
                  <a:lnTo>
                    <a:pt x="2357540" y="196113"/>
                  </a:lnTo>
                  <a:lnTo>
                    <a:pt x="2357540" y="196799"/>
                  </a:lnTo>
                  <a:lnTo>
                    <a:pt x="2357641" y="196799"/>
                  </a:lnTo>
                  <a:lnTo>
                    <a:pt x="2357641" y="196113"/>
                  </a:lnTo>
                  <a:lnTo>
                    <a:pt x="2357641" y="198831"/>
                  </a:lnTo>
                  <a:lnTo>
                    <a:pt x="2357641" y="197447"/>
                  </a:lnTo>
                  <a:lnTo>
                    <a:pt x="2357692" y="197447"/>
                  </a:lnTo>
                  <a:lnTo>
                    <a:pt x="2357692" y="198831"/>
                  </a:lnTo>
                  <a:lnTo>
                    <a:pt x="2357692" y="197447"/>
                  </a:lnTo>
                  <a:lnTo>
                    <a:pt x="2357692" y="199530"/>
                  </a:lnTo>
                  <a:lnTo>
                    <a:pt x="2357692" y="198831"/>
                  </a:lnTo>
                  <a:lnTo>
                    <a:pt x="2357743" y="198831"/>
                  </a:lnTo>
                  <a:lnTo>
                    <a:pt x="2357743" y="199530"/>
                  </a:lnTo>
                  <a:lnTo>
                    <a:pt x="2357844" y="199530"/>
                  </a:lnTo>
                  <a:lnTo>
                    <a:pt x="2357844" y="200228"/>
                  </a:lnTo>
                  <a:lnTo>
                    <a:pt x="2357946" y="200228"/>
                  </a:lnTo>
                  <a:lnTo>
                    <a:pt x="2357946" y="200876"/>
                  </a:lnTo>
                  <a:lnTo>
                    <a:pt x="2357946" y="200228"/>
                  </a:lnTo>
                  <a:lnTo>
                    <a:pt x="2357946" y="200876"/>
                  </a:lnTo>
                  <a:lnTo>
                    <a:pt x="2357946" y="199530"/>
                  </a:lnTo>
                  <a:lnTo>
                    <a:pt x="2357946" y="200228"/>
                  </a:lnTo>
                  <a:lnTo>
                    <a:pt x="2357984" y="200228"/>
                  </a:lnTo>
                  <a:lnTo>
                    <a:pt x="2357984" y="199530"/>
                  </a:lnTo>
                  <a:lnTo>
                    <a:pt x="2357984" y="200228"/>
                  </a:lnTo>
                  <a:lnTo>
                    <a:pt x="2357984" y="197447"/>
                  </a:lnTo>
                  <a:lnTo>
                    <a:pt x="2358086" y="197447"/>
                  </a:lnTo>
                  <a:lnTo>
                    <a:pt x="2358086" y="196799"/>
                  </a:lnTo>
                  <a:lnTo>
                    <a:pt x="2358086" y="198831"/>
                  </a:lnTo>
                  <a:lnTo>
                    <a:pt x="2358086" y="196799"/>
                  </a:lnTo>
                  <a:lnTo>
                    <a:pt x="2358137" y="196799"/>
                  </a:lnTo>
                  <a:lnTo>
                    <a:pt x="2358137" y="199530"/>
                  </a:lnTo>
                  <a:lnTo>
                    <a:pt x="2358137" y="197447"/>
                  </a:lnTo>
                  <a:lnTo>
                    <a:pt x="2358137" y="198831"/>
                  </a:lnTo>
                  <a:lnTo>
                    <a:pt x="2358137" y="197447"/>
                  </a:lnTo>
                  <a:lnTo>
                    <a:pt x="2358137" y="198831"/>
                  </a:lnTo>
                  <a:lnTo>
                    <a:pt x="2358187" y="198831"/>
                  </a:lnTo>
                  <a:lnTo>
                    <a:pt x="2358187" y="197447"/>
                  </a:lnTo>
                  <a:lnTo>
                    <a:pt x="2358187" y="198831"/>
                  </a:lnTo>
                  <a:lnTo>
                    <a:pt x="2358289" y="198831"/>
                  </a:lnTo>
                  <a:lnTo>
                    <a:pt x="2358289" y="199530"/>
                  </a:lnTo>
                  <a:lnTo>
                    <a:pt x="2358340" y="199530"/>
                  </a:lnTo>
                  <a:lnTo>
                    <a:pt x="2358340" y="198831"/>
                  </a:lnTo>
                  <a:lnTo>
                    <a:pt x="2358340" y="199530"/>
                  </a:lnTo>
                  <a:lnTo>
                    <a:pt x="2358390" y="200228"/>
                  </a:lnTo>
                  <a:lnTo>
                    <a:pt x="2358390" y="199530"/>
                  </a:lnTo>
                  <a:lnTo>
                    <a:pt x="2358390" y="200228"/>
                  </a:lnTo>
                  <a:lnTo>
                    <a:pt x="2358441" y="199530"/>
                  </a:lnTo>
                  <a:lnTo>
                    <a:pt x="2358441" y="200228"/>
                  </a:lnTo>
                  <a:lnTo>
                    <a:pt x="2358441" y="198831"/>
                  </a:lnTo>
                  <a:lnTo>
                    <a:pt x="2358441" y="199530"/>
                  </a:lnTo>
                  <a:lnTo>
                    <a:pt x="2358530" y="199530"/>
                  </a:lnTo>
                  <a:lnTo>
                    <a:pt x="2358530" y="197447"/>
                  </a:lnTo>
                  <a:lnTo>
                    <a:pt x="2358530" y="198831"/>
                  </a:lnTo>
                  <a:lnTo>
                    <a:pt x="2358530" y="197447"/>
                  </a:lnTo>
                  <a:lnTo>
                    <a:pt x="2358530" y="198831"/>
                  </a:lnTo>
                  <a:lnTo>
                    <a:pt x="2358530" y="197447"/>
                  </a:lnTo>
                  <a:lnTo>
                    <a:pt x="2358581" y="197447"/>
                  </a:lnTo>
                  <a:lnTo>
                    <a:pt x="2358581" y="198831"/>
                  </a:lnTo>
                  <a:lnTo>
                    <a:pt x="2358581" y="197447"/>
                  </a:lnTo>
                  <a:lnTo>
                    <a:pt x="2358581" y="198831"/>
                  </a:lnTo>
                  <a:lnTo>
                    <a:pt x="2358581" y="196799"/>
                  </a:lnTo>
                  <a:lnTo>
                    <a:pt x="2358581" y="198831"/>
                  </a:lnTo>
                  <a:lnTo>
                    <a:pt x="2358632" y="199530"/>
                  </a:lnTo>
                  <a:lnTo>
                    <a:pt x="2358632" y="200228"/>
                  </a:lnTo>
                  <a:lnTo>
                    <a:pt x="2358632" y="198831"/>
                  </a:lnTo>
                  <a:lnTo>
                    <a:pt x="2358632" y="199530"/>
                  </a:lnTo>
                  <a:lnTo>
                    <a:pt x="2358683" y="199530"/>
                  </a:lnTo>
                  <a:lnTo>
                    <a:pt x="2358683" y="200228"/>
                  </a:lnTo>
                  <a:lnTo>
                    <a:pt x="2358683" y="199530"/>
                  </a:lnTo>
                  <a:lnTo>
                    <a:pt x="2358683" y="200228"/>
                  </a:lnTo>
                  <a:lnTo>
                    <a:pt x="2358784" y="200228"/>
                  </a:lnTo>
                  <a:lnTo>
                    <a:pt x="2358784" y="199530"/>
                  </a:lnTo>
                  <a:lnTo>
                    <a:pt x="2358784" y="200228"/>
                  </a:lnTo>
                  <a:lnTo>
                    <a:pt x="2358835" y="200228"/>
                  </a:lnTo>
                  <a:lnTo>
                    <a:pt x="2358835" y="199530"/>
                  </a:lnTo>
                  <a:lnTo>
                    <a:pt x="2358835" y="200228"/>
                  </a:lnTo>
                  <a:lnTo>
                    <a:pt x="2358835" y="199530"/>
                  </a:lnTo>
                  <a:lnTo>
                    <a:pt x="2358835" y="200228"/>
                  </a:lnTo>
                  <a:lnTo>
                    <a:pt x="2358835" y="199530"/>
                  </a:lnTo>
                  <a:lnTo>
                    <a:pt x="2358886" y="199530"/>
                  </a:lnTo>
                  <a:lnTo>
                    <a:pt x="2358886" y="200876"/>
                  </a:lnTo>
                  <a:lnTo>
                    <a:pt x="2358886" y="200228"/>
                  </a:lnTo>
                  <a:lnTo>
                    <a:pt x="2358886" y="200876"/>
                  </a:lnTo>
                  <a:lnTo>
                    <a:pt x="2358886" y="200228"/>
                  </a:lnTo>
                  <a:lnTo>
                    <a:pt x="2358987" y="200228"/>
                  </a:lnTo>
                  <a:lnTo>
                    <a:pt x="2358987" y="199530"/>
                  </a:lnTo>
                  <a:lnTo>
                    <a:pt x="2358987" y="200228"/>
                  </a:lnTo>
                  <a:lnTo>
                    <a:pt x="2358987" y="199530"/>
                  </a:lnTo>
                  <a:lnTo>
                    <a:pt x="2359025" y="199530"/>
                  </a:lnTo>
                  <a:lnTo>
                    <a:pt x="2359025" y="196799"/>
                  </a:lnTo>
                  <a:lnTo>
                    <a:pt x="2359025" y="197447"/>
                  </a:lnTo>
                  <a:lnTo>
                    <a:pt x="2359076" y="197447"/>
                  </a:lnTo>
                  <a:lnTo>
                    <a:pt x="2359076" y="199530"/>
                  </a:lnTo>
                  <a:lnTo>
                    <a:pt x="2359076" y="197447"/>
                  </a:lnTo>
                  <a:lnTo>
                    <a:pt x="2359076" y="199530"/>
                  </a:lnTo>
                  <a:lnTo>
                    <a:pt x="2359127" y="199530"/>
                  </a:lnTo>
                  <a:lnTo>
                    <a:pt x="2359127" y="200876"/>
                  </a:lnTo>
                  <a:lnTo>
                    <a:pt x="2359127" y="198831"/>
                  </a:lnTo>
                  <a:lnTo>
                    <a:pt x="2359127" y="200228"/>
                  </a:lnTo>
                  <a:lnTo>
                    <a:pt x="2359229" y="200228"/>
                  </a:lnTo>
                  <a:lnTo>
                    <a:pt x="2359229" y="199530"/>
                  </a:lnTo>
                  <a:lnTo>
                    <a:pt x="2359229" y="200228"/>
                  </a:lnTo>
                  <a:lnTo>
                    <a:pt x="2359229" y="199530"/>
                  </a:lnTo>
                  <a:lnTo>
                    <a:pt x="2359229" y="200228"/>
                  </a:lnTo>
                  <a:lnTo>
                    <a:pt x="2359280" y="200228"/>
                  </a:lnTo>
                  <a:lnTo>
                    <a:pt x="2359280" y="200876"/>
                  </a:lnTo>
                  <a:lnTo>
                    <a:pt x="2359280" y="200228"/>
                  </a:lnTo>
                  <a:lnTo>
                    <a:pt x="2359280" y="200876"/>
                  </a:lnTo>
                  <a:lnTo>
                    <a:pt x="2359280" y="200228"/>
                  </a:lnTo>
                  <a:lnTo>
                    <a:pt x="2359330" y="200228"/>
                  </a:lnTo>
                  <a:lnTo>
                    <a:pt x="2359330" y="200876"/>
                  </a:lnTo>
                  <a:lnTo>
                    <a:pt x="2359432" y="200876"/>
                  </a:lnTo>
                  <a:lnTo>
                    <a:pt x="2359432" y="200228"/>
                  </a:lnTo>
                  <a:lnTo>
                    <a:pt x="2359432" y="200876"/>
                  </a:lnTo>
                  <a:lnTo>
                    <a:pt x="2359432" y="200228"/>
                  </a:lnTo>
                  <a:lnTo>
                    <a:pt x="2359432" y="200876"/>
                  </a:lnTo>
                  <a:lnTo>
                    <a:pt x="2359432" y="199530"/>
                  </a:lnTo>
                  <a:lnTo>
                    <a:pt x="2359432" y="200228"/>
                  </a:lnTo>
                  <a:lnTo>
                    <a:pt x="2359432" y="199530"/>
                  </a:lnTo>
                  <a:lnTo>
                    <a:pt x="2359483" y="199530"/>
                  </a:lnTo>
                  <a:lnTo>
                    <a:pt x="2359483" y="200228"/>
                  </a:lnTo>
                  <a:lnTo>
                    <a:pt x="2359483" y="198831"/>
                  </a:lnTo>
                  <a:lnTo>
                    <a:pt x="2359534" y="197447"/>
                  </a:lnTo>
                  <a:lnTo>
                    <a:pt x="2359534" y="198831"/>
                  </a:lnTo>
                  <a:lnTo>
                    <a:pt x="2359534" y="196799"/>
                  </a:lnTo>
                  <a:lnTo>
                    <a:pt x="2359534" y="198831"/>
                  </a:lnTo>
                  <a:lnTo>
                    <a:pt x="2359572" y="198831"/>
                  </a:lnTo>
                  <a:lnTo>
                    <a:pt x="2359572" y="196799"/>
                  </a:lnTo>
                  <a:lnTo>
                    <a:pt x="2359572" y="200228"/>
                  </a:lnTo>
                  <a:lnTo>
                    <a:pt x="2359673" y="200228"/>
                  </a:lnTo>
                  <a:lnTo>
                    <a:pt x="2359673" y="199530"/>
                  </a:lnTo>
                  <a:lnTo>
                    <a:pt x="2359673" y="200876"/>
                  </a:lnTo>
                  <a:lnTo>
                    <a:pt x="2359673" y="200228"/>
                  </a:lnTo>
                  <a:lnTo>
                    <a:pt x="2359724" y="200228"/>
                  </a:lnTo>
                  <a:lnTo>
                    <a:pt x="2359724" y="199530"/>
                  </a:lnTo>
                  <a:lnTo>
                    <a:pt x="2359724" y="200876"/>
                  </a:lnTo>
                  <a:lnTo>
                    <a:pt x="2359724" y="200228"/>
                  </a:lnTo>
                  <a:lnTo>
                    <a:pt x="2359724" y="200876"/>
                  </a:lnTo>
                  <a:lnTo>
                    <a:pt x="2359775" y="200228"/>
                  </a:lnTo>
                  <a:lnTo>
                    <a:pt x="2359775" y="199530"/>
                  </a:lnTo>
                  <a:lnTo>
                    <a:pt x="2359775" y="200876"/>
                  </a:lnTo>
                  <a:lnTo>
                    <a:pt x="2359775" y="200228"/>
                  </a:lnTo>
                  <a:lnTo>
                    <a:pt x="2359876" y="200228"/>
                  </a:lnTo>
                  <a:lnTo>
                    <a:pt x="2359876" y="200876"/>
                  </a:lnTo>
                  <a:lnTo>
                    <a:pt x="2359876" y="200228"/>
                  </a:lnTo>
                  <a:lnTo>
                    <a:pt x="2359876" y="200876"/>
                  </a:lnTo>
                  <a:lnTo>
                    <a:pt x="2359876" y="200228"/>
                  </a:lnTo>
                  <a:lnTo>
                    <a:pt x="2359927" y="200228"/>
                  </a:lnTo>
                  <a:lnTo>
                    <a:pt x="2359927" y="200876"/>
                  </a:lnTo>
                  <a:lnTo>
                    <a:pt x="2359927" y="199530"/>
                  </a:lnTo>
                  <a:lnTo>
                    <a:pt x="2359978" y="199530"/>
                  </a:lnTo>
                  <a:lnTo>
                    <a:pt x="2359978" y="200228"/>
                  </a:lnTo>
                  <a:lnTo>
                    <a:pt x="2359978" y="199530"/>
                  </a:lnTo>
                  <a:lnTo>
                    <a:pt x="2360029" y="199530"/>
                  </a:lnTo>
                  <a:lnTo>
                    <a:pt x="2360029" y="198831"/>
                  </a:lnTo>
                  <a:lnTo>
                    <a:pt x="2360029" y="200228"/>
                  </a:lnTo>
                  <a:lnTo>
                    <a:pt x="2360029" y="199530"/>
                  </a:lnTo>
                  <a:lnTo>
                    <a:pt x="2360029" y="200228"/>
                  </a:lnTo>
                  <a:lnTo>
                    <a:pt x="2360029" y="199530"/>
                  </a:lnTo>
                  <a:lnTo>
                    <a:pt x="2360029" y="200228"/>
                  </a:lnTo>
                  <a:lnTo>
                    <a:pt x="2360118" y="200228"/>
                  </a:lnTo>
                  <a:lnTo>
                    <a:pt x="2360118" y="202260"/>
                  </a:lnTo>
                  <a:lnTo>
                    <a:pt x="2360118" y="200228"/>
                  </a:lnTo>
                  <a:lnTo>
                    <a:pt x="2360118" y="202260"/>
                  </a:lnTo>
                  <a:lnTo>
                    <a:pt x="2360169" y="202260"/>
                  </a:lnTo>
                  <a:lnTo>
                    <a:pt x="2360169" y="200876"/>
                  </a:lnTo>
                  <a:lnTo>
                    <a:pt x="2360169" y="202260"/>
                  </a:lnTo>
                  <a:lnTo>
                    <a:pt x="2360169" y="200876"/>
                  </a:lnTo>
                  <a:lnTo>
                    <a:pt x="2360219" y="200876"/>
                  </a:lnTo>
                  <a:lnTo>
                    <a:pt x="2360270" y="202260"/>
                  </a:lnTo>
                  <a:lnTo>
                    <a:pt x="2360270" y="200876"/>
                  </a:lnTo>
                  <a:lnTo>
                    <a:pt x="2360270" y="202260"/>
                  </a:lnTo>
                  <a:lnTo>
                    <a:pt x="2360270" y="200876"/>
                  </a:lnTo>
                  <a:lnTo>
                    <a:pt x="2360270" y="202260"/>
                  </a:lnTo>
                  <a:lnTo>
                    <a:pt x="2360270" y="200876"/>
                  </a:lnTo>
                  <a:lnTo>
                    <a:pt x="2360372" y="200876"/>
                  </a:lnTo>
                  <a:lnTo>
                    <a:pt x="2360372" y="200228"/>
                  </a:lnTo>
                  <a:lnTo>
                    <a:pt x="2360372" y="200876"/>
                  </a:lnTo>
                  <a:lnTo>
                    <a:pt x="2360422" y="200228"/>
                  </a:lnTo>
                  <a:lnTo>
                    <a:pt x="2360422" y="200876"/>
                  </a:lnTo>
                  <a:lnTo>
                    <a:pt x="2360422" y="199530"/>
                  </a:lnTo>
                  <a:lnTo>
                    <a:pt x="2360473" y="198831"/>
                  </a:lnTo>
                  <a:lnTo>
                    <a:pt x="2360473" y="197447"/>
                  </a:lnTo>
                  <a:lnTo>
                    <a:pt x="2360473" y="198831"/>
                  </a:lnTo>
                  <a:lnTo>
                    <a:pt x="2360473" y="196799"/>
                  </a:lnTo>
                  <a:lnTo>
                    <a:pt x="2360473" y="197447"/>
                  </a:lnTo>
                  <a:lnTo>
                    <a:pt x="2360575" y="197447"/>
                  </a:lnTo>
                  <a:lnTo>
                    <a:pt x="2360575" y="199530"/>
                  </a:lnTo>
                  <a:lnTo>
                    <a:pt x="2360575" y="197447"/>
                  </a:lnTo>
                  <a:lnTo>
                    <a:pt x="2360575" y="200228"/>
                  </a:lnTo>
                  <a:lnTo>
                    <a:pt x="2360613" y="200228"/>
                  </a:lnTo>
                  <a:lnTo>
                    <a:pt x="2360613" y="200876"/>
                  </a:lnTo>
                  <a:lnTo>
                    <a:pt x="2360613" y="199530"/>
                  </a:lnTo>
                  <a:lnTo>
                    <a:pt x="2360613" y="202260"/>
                  </a:lnTo>
                  <a:lnTo>
                    <a:pt x="2360613" y="200876"/>
                  </a:lnTo>
                  <a:lnTo>
                    <a:pt x="2360664" y="200876"/>
                  </a:lnTo>
                  <a:lnTo>
                    <a:pt x="2360664" y="202260"/>
                  </a:lnTo>
                  <a:lnTo>
                    <a:pt x="2360664" y="200228"/>
                  </a:lnTo>
                  <a:lnTo>
                    <a:pt x="2360664" y="202260"/>
                  </a:lnTo>
                  <a:lnTo>
                    <a:pt x="2360664" y="200876"/>
                  </a:lnTo>
                  <a:lnTo>
                    <a:pt x="2360715" y="200876"/>
                  </a:lnTo>
                  <a:lnTo>
                    <a:pt x="2360715" y="202260"/>
                  </a:lnTo>
                  <a:lnTo>
                    <a:pt x="2360715" y="200876"/>
                  </a:lnTo>
                  <a:lnTo>
                    <a:pt x="2360715" y="202260"/>
                  </a:lnTo>
                  <a:lnTo>
                    <a:pt x="2360816" y="202260"/>
                  </a:lnTo>
                  <a:lnTo>
                    <a:pt x="2360816" y="202959"/>
                  </a:lnTo>
                  <a:lnTo>
                    <a:pt x="2360816" y="200876"/>
                  </a:lnTo>
                  <a:lnTo>
                    <a:pt x="2360816" y="202260"/>
                  </a:lnTo>
                  <a:lnTo>
                    <a:pt x="2360816" y="200876"/>
                  </a:lnTo>
                  <a:lnTo>
                    <a:pt x="2360867" y="202260"/>
                  </a:lnTo>
                  <a:lnTo>
                    <a:pt x="2360867" y="200876"/>
                  </a:lnTo>
                  <a:lnTo>
                    <a:pt x="2360867" y="202260"/>
                  </a:lnTo>
                  <a:lnTo>
                    <a:pt x="2360867" y="200876"/>
                  </a:lnTo>
                  <a:lnTo>
                    <a:pt x="2360867" y="202260"/>
                  </a:lnTo>
                  <a:lnTo>
                    <a:pt x="2360867" y="200228"/>
                  </a:lnTo>
                  <a:lnTo>
                    <a:pt x="2360918" y="200876"/>
                  </a:lnTo>
                  <a:lnTo>
                    <a:pt x="2360918" y="200228"/>
                  </a:lnTo>
                  <a:lnTo>
                    <a:pt x="2360918" y="200876"/>
                  </a:lnTo>
                  <a:lnTo>
                    <a:pt x="2360918" y="199530"/>
                  </a:lnTo>
                  <a:lnTo>
                    <a:pt x="2361019" y="198831"/>
                  </a:lnTo>
                  <a:lnTo>
                    <a:pt x="2361019" y="197447"/>
                  </a:lnTo>
                  <a:lnTo>
                    <a:pt x="2361019" y="198831"/>
                  </a:lnTo>
                  <a:lnTo>
                    <a:pt x="2361019" y="197447"/>
                  </a:lnTo>
                  <a:lnTo>
                    <a:pt x="2361019" y="198831"/>
                  </a:lnTo>
                  <a:lnTo>
                    <a:pt x="2361019" y="197447"/>
                  </a:lnTo>
                  <a:lnTo>
                    <a:pt x="2361019" y="198831"/>
                  </a:lnTo>
                  <a:lnTo>
                    <a:pt x="2361019" y="197447"/>
                  </a:lnTo>
                  <a:lnTo>
                    <a:pt x="2361019" y="198831"/>
                  </a:lnTo>
                  <a:lnTo>
                    <a:pt x="2361019" y="197447"/>
                  </a:lnTo>
                  <a:lnTo>
                    <a:pt x="2361019" y="198831"/>
                  </a:lnTo>
                  <a:lnTo>
                    <a:pt x="2361070" y="198831"/>
                  </a:lnTo>
                  <a:lnTo>
                    <a:pt x="2361070" y="196799"/>
                  </a:lnTo>
                  <a:lnTo>
                    <a:pt x="2361070" y="199530"/>
                  </a:lnTo>
                  <a:lnTo>
                    <a:pt x="2361121" y="199530"/>
                  </a:lnTo>
                  <a:lnTo>
                    <a:pt x="2361121" y="198831"/>
                  </a:lnTo>
                  <a:lnTo>
                    <a:pt x="2361121" y="200228"/>
                  </a:lnTo>
                  <a:lnTo>
                    <a:pt x="2361121" y="199530"/>
                  </a:lnTo>
                  <a:lnTo>
                    <a:pt x="2361121" y="200228"/>
                  </a:lnTo>
                  <a:lnTo>
                    <a:pt x="2361121" y="199530"/>
                  </a:lnTo>
                  <a:lnTo>
                    <a:pt x="2361121" y="200228"/>
                  </a:lnTo>
                  <a:lnTo>
                    <a:pt x="2361159" y="199530"/>
                  </a:lnTo>
                  <a:lnTo>
                    <a:pt x="2361159" y="200228"/>
                  </a:lnTo>
                  <a:lnTo>
                    <a:pt x="2361261" y="199530"/>
                  </a:lnTo>
                  <a:lnTo>
                    <a:pt x="2361261" y="200876"/>
                  </a:lnTo>
                  <a:lnTo>
                    <a:pt x="2361261" y="200228"/>
                  </a:lnTo>
                  <a:lnTo>
                    <a:pt x="2361312" y="200228"/>
                  </a:lnTo>
                  <a:lnTo>
                    <a:pt x="2361312" y="200876"/>
                  </a:lnTo>
                  <a:lnTo>
                    <a:pt x="2361312" y="200228"/>
                  </a:lnTo>
                  <a:lnTo>
                    <a:pt x="2361312" y="202260"/>
                  </a:lnTo>
                  <a:lnTo>
                    <a:pt x="2361312" y="200876"/>
                  </a:lnTo>
                  <a:lnTo>
                    <a:pt x="2361362" y="200876"/>
                  </a:lnTo>
                  <a:lnTo>
                    <a:pt x="2361362" y="200228"/>
                  </a:lnTo>
                  <a:lnTo>
                    <a:pt x="2361464" y="200228"/>
                  </a:lnTo>
                  <a:lnTo>
                    <a:pt x="2361464" y="198831"/>
                  </a:lnTo>
                  <a:lnTo>
                    <a:pt x="2361515" y="198831"/>
                  </a:lnTo>
                  <a:lnTo>
                    <a:pt x="2361515" y="200228"/>
                  </a:lnTo>
                  <a:lnTo>
                    <a:pt x="2361515" y="198831"/>
                  </a:lnTo>
                  <a:lnTo>
                    <a:pt x="2361565" y="199530"/>
                  </a:lnTo>
                  <a:lnTo>
                    <a:pt x="2361565" y="202260"/>
                  </a:lnTo>
                  <a:lnTo>
                    <a:pt x="2361565" y="199530"/>
                  </a:lnTo>
                  <a:lnTo>
                    <a:pt x="2361565" y="200228"/>
                  </a:lnTo>
                  <a:lnTo>
                    <a:pt x="2361616" y="200876"/>
                  </a:lnTo>
                  <a:lnTo>
                    <a:pt x="2361616" y="202260"/>
                  </a:lnTo>
                  <a:lnTo>
                    <a:pt x="2361616" y="200228"/>
                  </a:lnTo>
                  <a:lnTo>
                    <a:pt x="2361616" y="200876"/>
                  </a:lnTo>
                  <a:lnTo>
                    <a:pt x="2361705" y="200876"/>
                  </a:lnTo>
                  <a:lnTo>
                    <a:pt x="2361705" y="200228"/>
                  </a:lnTo>
                  <a:lnTo>
                    <a:pt x="2361705" y="200876"/>
                  </a:lnTo>
                  <a:lnTo>
                    <a:pt x="2361705" y="200228"/>
                  </a:lnTo>
                  <a:lnTo>
                    <a:pt x="2361705" y="200876"/>
                  </a:lnTo>
                  <a:lnTo>
                    <a:pt x="2361756" y="200876"/>
                  </a:lnTo>
                  <a:lnTo>
                    <a:pt x="2361756" y="202260"/>
                  </a:lnTo>
                  <a:lnTo>
                    <a:pt x="2361756" y="200876"/>
                  </a:lnTo>
                  <a:lnTo>
                    <a:pt x="2361858" y="200876"/>
                  </a:lnTo>
                  <a:lnTo>
                    <a:pt x="2361858" y="200228"/>
                  </a:lnTo>
                  <a:lnTo>
                    <a:pt x="2361858" y="200876"/>
                  </a:lnTo>
                  <a:lnTo>
                    <a:pt x="2361858" y="199530"/>
                  </a:lnTo>
                  <a:lnTo>
                    <a:pt x="2361959" y="199530"/>
                  </a:lnTo>
                  <a:lnTo>
                    <a:pt x="2361959" y="197447"/>
                  </a:lnTo>
                  <a:lnTo>
                    <a:pt x="2361959" y="200228"/>
                  </a:lnTo>
                  <a:lnTo>
                    <a:pt x="2362010" y="200228"/>
                  </a:lnTo>
                  <a:lnTo>
                    <a:pt x="2362010" y="199530"/>
                  </a:lnTo>
                  <a:lnTo>
                    <a:pt x="2362010" y="200876"/>
                  </a:lnTo>
                  <a:lnTo>
                    <a:pt x="2362061" y="200876"/>
                  </a:lnTo>
                  <a:lnTo>
                    <a:pt x="2362061" y="200228"/>
                  </a:lnTo>
                  <a:lnTo>
                    <a:pt x="2362061" y="202260"/>
                  </a:lnTo>
                  <a:lnTo>
                    <a:pt x="2362162" y="202260"/>
                  </a:lnTo>
                  <a:lnTo>
                    <a:pt x="2362162" y="200876"/>
                  </a:lnTo>
                  <a:lnTo>
                    <a:pt x="2362162" y="202260"/>
                  </a:lnTo>
                  <a:lnTo>
                    <a:pt x="2362162" y="200876"/>
                  </a:lnTo>
                  <a:lnTo>
                    <a:pt x="2362162" y="202260"/>
                  </a:lnTo>
                  <a:lnTo>
                    <a:pt x="2362162" y="200876"/>
                  </a:lnTo>
                  <a:lnTo>
                    <a:pt x="2362200" y="200876"/>
                  </a:lnTo>
                  <a:lnTo>
                    <a:pt x="2362200" y="200228"/>
                  </a:lnTo>
                  <a:lnTo>
                    <a:pt x="2362200" y="200876"/>
                  </a:lnTo>
                  <a:lnTo>
                    <a:pt x="2362200" y="200228"/>
                  </a:lnTo>
                  <a:lnTo>
                    <a:pt x="2362251" y="200876"/>
                  </a:lnTo>
                  <a:lnTo>
                    <a:pt x="2362251" y="202260"/>
                  </a:lnTo>
                  <a:lnTo>
                    <a:pt x="2362251" y="200876"/>
                  </a:lnTo>
                  <a:lnTo>
                    <a:pt x="2362302" y="200876"/>
                  </a:lnTo>
                  <a:lnTo>
                    <a:pt x="2362302" y="200228"/>
                  </a:lnTo>
                  <a:lnTo>
                    <a:pt x="2362302" y="200876"/>
                  </a:lnTo>
                  <a:lnTo>
                    <a:pt x="2362302" y="200228"/>
                  </a:lnTo>
                  <a:lnTo>
                    <a:pt x="2362302" y="200876"/>
                  </a:lnTo>
                  <a:lnTo>
                    <a:pt x="2362302" y="200228"/>
                  </a:lnTo>
                  <a:lnTo>
                    <a:pt x="2362404" y="200228"/>
                  </a:lnTo>
                  <a:lnTo>
                    <a:pt x="2362404" y="198831"/>
                  </a:lnTo>
                  <a:lnTo>
                    <a:pt x="2362455" y="198831"/>
                  </a:lnTo>
                  <a:lnTo>
                    <a:pt x="2362455" y="196799"/>
                  </a:lnTo>
                  <a:lnTo>
                    <a:pt x="2362455" y="199530"/>
                  </a:lnTo>
                  <a:lnTo>
                    <a:pt x="2362505" y="198831"/>
                  </a:lnTo>
                  <a:lnTo>
                    <a:pt x="2362505" y="197447"/>
                  </a:lnTo>
                  <a:lnTo>
                    <a:pt x="2362505" y="200876"/>
                  </a:lnTo>
                  <a:lnTo>
                    <a:pt x="2362505" y="200228"/>
                  </a:lnTo>
                  <a:lnTo>
                    <a:pt x="2362607" y="200228"/>
                  </a:lnTo>
                  <a:lnTo>
                    <a:pt x="2362607" y="198831"/>
                  </a:lnTo>
                  <a:lnTo>
                    <a:pt x="2362607" y="199530"/>
                  </a:lnTo>
                  <a:lnTo>
                    <a:pt x="2362607" y="198831"/>
                  </a:lnTo>
                  <a:lnTo>
                    <a:pt x="2362607" y="200876"/>
                  </a:lnTo>
                  <a:lnTo>
                    <a:pt x="2362607" y="200228"/>
                  </a:lnTo>
                  <a:lnTo>
                    <a:pt x="2362658" y="200228"/>
                  </a:lnTo>
                  <a:lnTo>
                    <a:pt x="2362658" y="200876"/>
                  </a:lnTo>
                  <a:lnTo>
                    <a:pt x="2362658" y="200228"/>
                  </a:lnTo>
                  <a:lnTo>
                    <a:pt x="2362709" y="200876"/>
                  </a:lnTo>
                  <a:lnTo>
                    <a:pt x="2362709" y="200228"/>
                  </a:lnTo>
                  <a:lnTo>
                    <a:pt x="2362709" y="200876"/>
                  </a:lnTo>
                  <a:lnTo>
                    <a:pt x="2362747" y="200876"/>
                  </a:lnTo>
                  <a:lnTo>
                    <a:pt x="2362747" y="202260"/>
                  </a:lnTo>
                  <a:lnTo>
                    <a:pt x="2362747" y="200876"/>
                  </a:lnTo>
                  <a:lnTo>
                    <a:pt x="2362747" y="202260"/>
                  </a:lnTo>
                  <a:lnTo>
                    <a:pt x="2362747" y="200876"/>
                  </a:lnTo>
                  <a:lnTo>
                    <a:pt x="2362848" y="200876"/>
                  </a:lnTo>
                  <a:lnTo>
                    <a:pt x="2362848" y="200228"/>
                  </a:lnTo>
                  <a:lnTo>
                    <a:pt x="2362848" y="200876"/>
                  </a:lnTo>
                  <a:lnTo>
                    <a:pt x="2362848" y="200228"/>
                  </a:lnTo>
                  <a:lnTo>
                    <a:pt x="2362848" y="200876"/>
                  </a:lnTo>
                  <a:lnTo>
                    <a:pt x="2362848" y="200228"/>
                  </a:lnTo>
                  <a:lnTo>
                    <a:pt x="2362899" y="200228"/>
                  </a:lnTo>
                  <a:lnTo>
                    <a:pt x="2362899" y="197447"/>
                  </a:lnTo>
                  <a:lnTo>
                    <a:pt x="2362950" y="197447"/>
                  </a:lnTo>
                  <a:lnTo>
                    <a:pt x="2362950" y="196799"/>
                  </a:lnTo>
                  <a:lnTo>
                    <a:pt x="2362950" y="198831"/>
                  </a:lnTo>
                  <a:lnTo>
                    <a:pt x="2362950" y="197447"/>
                  </a:lnTo>
                  <a:lnTo>
                    <a:pt x="2363051" y="196799"/>
                  </a:lnTo>
                  <a:lnTo>
                    <a:pt x="2363051" y="198831"/>
                  </a:lnTo>
                  <a:lnTo>
                    <a:pt x="2363051" y="197447"/>
                  </a:lnTo>
                  <a:lnTo>
                    <a:pt x="2363051" y="200228"/>
                  </a:lnTo>
                  <a:lnTo>
                    <a:pt x="2363051" y="198831"/>
                  </a:lnTo>
                  <a:lnTo>
                    <a:pt x="2363102" y="198831"/>
                  </a:lnTo>
                  <a:lnTo>
                    <a:pt x="2363102" y="199530"/>
                  </a:lnTo>
                  <a:lnTo>
                    <a:pt x="2363102" y="198831"/>
                  </a:lnTo>
                  <a:lnTo>
                    <a:pt x="2363102" y="200228"/>
                  </a:lnTo>
                  <a:lnTo>
                    <a:pt x="2363102" y="199530"/>
                  </a:lnTo>
                  <a:lnTo>
                    <a:pt x="2363153" y="199530"/>
                  </a:lnTo>
                  <a:lnTo>
                    <a:pt x="2363153" y="200228"/>
                  </a:lnTo>
                  <a:lnTo>
                    <a:pt x="2363153" y="198831"/>
                  </a:lnTo>
                  <a:lnTo>
                    <a:pt x="2363153" y="200228"/>
                  </a:lnTo>
                  <a:lnTo>
                    <a:pt x="2363153" y="199530"/>
                  </a:lnTo>
                  <a:lnTo>
                    <a:pt x="2363153" y="200228"/>
                  </a:lnTo>
                  <a:lnTo>
                    <a:pt x="2363153" y="199530"/>
                  </a:lnTo>
                  <a:lnTo>
                    <a:pt x="2363153" y="200228"/>
                  </a:lnTo>
                  <a:lnTo>
                    <a:pt x="2363153" y="199530"/>
                  </a:lnTo>
                  <a:lnTo>
                    <a:pt x="2363204" y="199530"/>
                  </a:lnTo>
                  <a:lnTo>
                    <a:pt x="2363204" y="200876"/>
                  </a:lnTo>
                  <a:lnTo>
                    <a:pt x="2363204" y="200228"/>
                  </a:lnTo>
                  <a:lnTo>
                    <a:pt x="2363293" y="200228"/>
                  </a:lnTo>
                  <a:lnTo>
                    <a:pt x="2363293" y="200876"/>
                  </a:lnTo>
                  <a:lnTo>
                    <a:pt x="2363293" y="200228"/>
                  </a:lnTo>
                  <a:lnTo>
                    <a:pt x="2363344" y="200228"/>
                  </a:lnTo>
                  <a:lnTo>
                    <a:pt x="2363344" y="200876"/>
                  </a:lnTo>
                  <a:lnTo>
                    <a:pt x="2363344" y="200228"/>
                  </a:lnTo>
                  <a:lnTo>
                    <a:pt x="2363394" y="200228"/>
                  </a:lnTo>
                  <a:lnTo>
                    <a:pt x="2363394" y="197447"/>
                  </a:lnTo>
                  <a:lnTo>
                    <a:pt x="2363445" y="197447"/>
                  </a:lnTo>
                  <a:lnTo>
                    <a:pt x="2363445" y="194716"/>
                  </a:lnTo>
                  <a:lnTo>
                    <a:pt x="2363547" y="194716"/>
                  </a:lnTo>
                  <a:lnTo>
                    <a:pt x="2363547" y="196113"/>
                  </a:lnTo>
                  <a:lnTo>
                    <a:pt x="2363547" y="194716"/>
                  </a:lnTo>
                  <a:lnTo>
                    <a:pt x="2363547" y="196113"/>
                  </a:lnTo>
                  <a:lnTo>
                    <a:pt x="2363597" y="196113"/>
                  </a:lnTo>
                  <a:lnTo>
                    <a:pt x="2363597" y="197447"/>
                  </a:lnTo>
                  <a:lnTo>
                    <a:pt x="2363597" y="196113"/>
                  </a:lnTo>
                  <a:lnTo>
                    <a:pt x="2363597" y="196799"/>
                  </a:lnTo>
                  <a:lnTo>
                    <a:pt x="2363648" y="196799"/>
                  </a:lnTo>
                  <a:lnTo>
                    <a:pt x="2363648" y="197447"/>
                  </a:lnTo>
                  <a:lnTo>
                    <a:pt x="2363648" y="196799"/>
                  </a:lnTo>
                  <a:lnTo>
                    <a:pt x="2363648" y="197447"/>
                  </a:lnTo>
                  <a:lnTo>
                    <a:pt x="2363648" y="196799"/>
                  </a:lnTo>
                  <a:lnTo>
                    <a:pt x="2363648" y="197447"/>
                  </a:lnTo>
                  <a:lnTo>
                    <a:pt x="2363750" y="197447"/>
                  </a:lnTo>
                  <a:lnTo>
                    <a:pt x="2363750" y="200228"/>
                  </a:lnTo>
                  <a:lnTo>
                    <a:pt x="2363788" y="200228"/>
                  </a:lnTo>
                  <a:lnTo>
                    <a:pt x="2363788" y="199530"/>
                  </a:lnTo>
                  <a:lnTo>
                    <a:pt x="2363788" y="200228"/>
                  </a:lnTo>
                  <a:lnTo>
                    <a:pt x="2363839" y="200228"/>
                  </a:lnTo>
                  <a:lnTo>
                    <a:pt x="2363839" y="199530"/>
                  </a:lnTo>
                  <a:lnTo>
                    <a:pt x="2363839" y="200228"/>
                  </a:lnTo>
                  <a:lnTo>
                    <a:pt x="2363839" y="199530"/>
                  </a:lnTo>
                  <a:lnTo>
                    <a:pt x="2363839" y="200876"/>
                  </a:lnTo>
                  <a:lnTo>
                    <a:pt x="2363839" y="200228"/>
                  </a:lnTo>
                  <a:lnTo>
                    <a:pt x="2363890" y="200228"/>
                  </a:lnTo>
                  <a:lnTo>
                    <a:pt x="2363890" y="198831"/>
                  </a:lnTo>
                  <a:lnTo>
                    <a:pt x="2363890" y="199530"/>
                  </a:lnTo>
                  <a:lnTo>
                    <a:pt x="2363890" y="198831"/>
                  </a:lnTo>
                  <a:lnTo>
                    <a:pt x="2363890" y="199530"/>
                  </a:lnTo>
                  <a:lnTo>
                    <a:pt x="2363991" y="198831"/>
                  </a:lnTo>
                  <a:lnTo>
                    <a:pt x="2363991" y="196799"/>
                  </a:lnTo>
                  <a:lnTo>
                    <a:pt x="2363991" y="199530"/>
                  </a:lnTo>
                  <a:lnTo>
                    <a:pt x="2364042" y="199530"/>
                  </a:lnTo>
                  <a:lnTo>
                    <a:pt x="2364042" y="196799"/>
                  </a:lnTo>
                  <a:lnTo>
                    <a:pt x="2364042" y="199530"/>
                  </a:lnTo>
                  <a:lnTo>
                    <a:pt x="2364042" y="197447"/>
                  </a:lnTo>
                  <a:lnTo>
                    <a:pt x="2364093" y="198831"/>
                  </a:lnTo>
                  <a:lnTo>
                    <a:pt x="2364093" y="196799"/>
                  </a:lnTo>
                  <a:lnTo>
                    <a:pt x="2364093" y="198831"/>
                  </a:lnTo>
                  <a:lnTo>
                    <a:pt x="2364093" y="197447"/>
                  </a:lnTo>
                  <a:lnTo>
                    <a:pt x="2364245" y="197447"/>
                  </a:lnTo>
                  <a:lnTo>
                    <a:pt x="2364245" y="198831"/>
                  </a:lnTo>
                  <a:lnTo>
                    <a:pt x="2364245" y="197447"/>
                  </a:lnTo>
                  <a:lnTo>
                    <a:pt x="2364245" y="198831"/>
                  </a:lnTo>
                  <a:lnTo>
                    <a:pt x="2364245" y="197447"/>
                  </a:lnTo>
                  <a:lnTo>
                    <a:pt x="2364245" y="198831"/>
                  </a:lnTo>
                  <a:lnTo>
                    <a:pt x="2364296" y="198831"/>
                  </a:lnTo>
                  <a:lnTo>
                    <a:pt x="2364296" y="199530"/>
                  </a:lnTo>
                  <a:lnTo>
                    <a:pt x="2364296" y="198831"/>
                  </a:lnTo>
                  <a:lnTo>
                    <a:pt x="2364296" y="199530"/>
                  </a:lnTo>
                  <a:lnTo>
                    <a:pt x="2364296" y="198831"/>
                  </a:lnTo>
                  <a:lnTo>
                    <a:pt x="2364296" y="199530"/>
                  </a:lnTo>
                  <a:lnTo>
                    <a:pt x="2364436" y="199530"/>
                  </a:lnTo>
                  <a:lnTo>
                    <a:pt x="2364436" y="198831"/>
                  </a:lnTo>
                  <a:lnTo>
                    <a:pt x="2364436" y="199530"/>
                  </a:lnTo>
                  <a:lnTo>
                    <a:pt x="2364436" y="197447"/>
                  </a:lnTo>
                  <a:lnTo>
                    <a:pt x="2364487" y="197447"/>
                  </a:lnTo>
                  <a:lnTo>
                    <a:pt x="2364487" y="200228"/>
                  </a:lnTo>
                  <a:lnTo>
                    <a:pt x="2364487" y="197447"/>
                  </a:lnTo>
                  <a:lnTo>
                    <a:pt x="2364537" y="197447"/>
                  </a:lnTo>
                  <a:lnTo>
                    <a:pt x="2364537" y="200876"/>
                  </a:lnTo>
                  <a:lnTo>
                    <a:pt x="2364537" y="198831"/>
                  </a:lnTo>
                  <a:lnTo>
                    <a:pt x="2364639" y="199530"/>
                  </a:lnTo>
                  <a:lnTo>
                    <a:pt x="2364639" y="200228"/>
                  </a:lnTo>
                  <a:lnTo>
                    <a:pt x="2364639" y="199530"/>
                  </a:lnTo>
                  <a:lnTo>
                    <a:pt x="2364690" y="200228"/>
                  </a:lnTo>
                  <a:lnTo>
                    <a:pt x="2364690" y="199530"/>
                  </a:lnTo>
                  <a:lnTo>
                    <a:pt x="2364690" y="200228"/>
                  </a:lnTo>
                  <a:lnTo>
                    <a:pt x="2364690" y="199530"/>
                  </a:lnTo>
                  <a:lnTo>
                    <a:pt x="2364690" y="200228"/>
                  </a:lnTo>
                  <a:lnTo>
                    <a:pt x="2364690" y="199530"/>
                  </a:lnTo>
                  <a:lnTo>
                    <a:pt x="2364740" y="200228"/>
                  </a:lnTo>
                  <a:lnTo>
                    <a:pt x="2364740" y="199530"/>
                  </a:lnTo>
                  <a:lnTo>
                    <a:pt x="2364740" y="200228"/>
                  </a:lnTo>
                  <a:lnTo>
                    <a:pt x="2364740" y="199530"/>
                  </a:lnTo>
                  <a:lnTo>
                    <a:pt x="2364740" y="200228"/>
                  </a:lnTo>
                  <a:lnTo>
                    <a:pt x="2364740" y="199530"/>
                  </a:lnTo>
                  <a:lnTo>
                    <a:pt x="2364791" y="199530"/>
                  </a:lnTo>
                  <a:lnTo>
                    <a:pt x="2364791" y="200228"/>
                  </a:lnTo>
                  <a:lnTo>
                    <a:pt x="2364791" y="199530"/>
                  </a:lnTo>
                  <a:lnTo>
                    <a:pt x="2364791" y="200228"/>
                  </a:lnTo>
                  <a:lnTo>
                    <a:pt x="2364791" y="199530"/>
                  </a:lnTo>
                  <a:lnTo>
                    <a:pt x="2364791" y="200228"/>
                  </a:lnTo>
                  <a:lnTo>
                    <a:pt x="2364791" y="199530"/>
                  </a:lnTo>
                  <a:lnTo>
                    <a:pt x="2364791" y="200228"/>
                  </a:lnTo>
                  <a:lnTo>
                    <a:pt x="2364791" y="199530"/>
                  </a:lnTo>
                  <a:lnTo>
                    <a:pt x="2364880" y="199530"/>
                  </a:lnTo>
                  <a:lnTo>
                    <a:pt x="2364880" y="198831"/>
                  </a:lnTo>
                  <a:lnTo>
                    <a:pt x="2364880" y="199530"/>
                  </a:lnTo>
                  <a:lnTo>
                    <a:pt x="2364880" y="198831"/>
                  </a:lnTo>
                  <a:lnTo>
                    <a:pt x="2364931" y="198831"/>
                  </a:lnTo>
                  <a:lnTo>
                    <a:pt x="2364931" y="197447"/>
                  </a:lnTo>
                  <a:lnTo>
                    <a:pt x="2364931" y="200228"/>
                  </a:lnTo>
                  <a:lnTo>
                    <a:pt x="2364982" y="199530"/>
                  </a:lnTo>
                  <a:lnTo>
                    <a:pt x="2364982" y="200228"/>
                  </a:lnTo>
                  <a:lnTo>
                    <a:pt x="2364982" y="199530"/>
                  </a:lnTo>
                  <a:lnTo>
                    <a:pt x="2364982" y="202260"/>
                  </a:lnTo>
                  <a:lnTo>
                    <a:pt x="2364982" y="200876"/>
                  </a:lnTo>
                  <a:lnTo>
                    <a:pt x="2365033" y="202260"/>
                  </a:lnTo>
                  <a:lnTo>
                    <a:pt x="2365033" y="200876"/>
                  </a:lnTo>
                  <a:lnTo>
                    <a:pt x="2365033" y="202959"/>
                  </a:lnTo>
                  <a:lnTo>
                    <a:pt x="2365033" y="202260"/>
                  </a:lnTo>
                  <a:lnTo>
                    <a:pt x="2365033" y="202959"/>
                  </a:lnTo>
                  <a:lnTo>
                    <a:pt x="2365033" y="200876"/>
                  </a:lnTo>
                  <a:lnTo>
                    <a:pt x="2365134" y="200876"/>
                  </a:lnTo>
                  <a:lnTo>
                    <a:pt x="2365134" y="202260"/>
                  </a:lnTo>
                  <a:lnTo>
                    <a:pt x="2365134" y="200876"/>
                  </a:lnTo>
                  <a:lnTo>
                    <a:pt x="2365185" y="200876"/>
                  </a:lnTo>
                  <a:lnTo>
                    <a:pt x="2365185" y="202260"/>
                  </a:lnTo>
                  <a:lnTo>
                    <a:pt x="2365185" y="200876"/>
                  </a:lnTo>
                  <a:lnTo>
                    <a:pt x="2365185" y="202260"/>
                  </a:lnTo>
                  <a:lnTo>
                    <a:pt x="2365185" y="200876"/>
                  </a:lnTo>
                  <a:lnTo>
                    <a:pt x="2365337" y="200876"/>
                  </a:lnTo>
                  <a:lnTo>
                    <a:pt x="2365337" y="200228"/>
                  </a:lnTo>
                  <a:lnTo>
                    <a:pt x="2365337" y="200876"/>
                  </a:lnTo>
                  <a:lnTo>
                    <a:pt x="2365337" y="200228"/>
                  </a:lnTo>
                  <a:lnTo>
                    <a:pt x="2365337" y="200876"/>
                  </a:lnTo>
                  <a:lnTo>
                    <a:pt x="2365337" y="199530"/>
                  </a:lnTo>
                  <a:lnTo>
                    <a:pt x="2365375" y="199530"/>
                  </a:lnTo>
                  <a:lnTo>
                    <a:pt x="2365375" y="198831"/>
                  </a:lnTo>
                  <a:lnTo>
                    <a:pt x="2365375" y="199530"/>
                  </a:lnTo>
                  <a:lnTo>
                    <a:pt x="2365375" y="197447"/>
                  </a:lnTo>
                  <a:lnTo>
                    <a:pt x="2365426" y="197447"/>
                  </a:lnTo>
                  <a:lnTo>
                    <a:pt x="2365426" y="196799"/>
                  </a:lnTo>
                  <a:lnTo>
                    <a:pt x="2365426" y="200228"/>
                  </a:lnTo>
                  <a:lnTo>
                    <a:pt x="2365426" y="197447"/>
                  </a:lnTo>
                  <a:lnTo>
                    <a:pt x="2365426" y="198831"/>
                  </a:lnTo>
                  <a:lnTo>
                    <a:pt x="2365477" y="198831"/>
                  </a:lnTo>
                  <a:lnTo>
                    <a:pt x="2365477" y="202260"/>
                  </a:lnTo>
                  <a:lnTo>
                    <a:pt x="2365477" y="199530"/>
                  </a:lnTo>
                  <a:lnTo>
                    <a:pt x="2365477" y="200228"/>
                  </a:lnTo>
                  <a:lnTo>
                    <a:pt x="2365579" y="200876"/>
                  </a:lnTo>
                  <a:lnTo>
                    <a:pt x="2365579" y="202260"/>
                  </a:lnTo>
                  <a:lnTo>
                    <a:pt x="2365579" y="200876"/>
                  </a:lnTo>
                  <a:lnTo>
                    <a:pt x="2365579" y="202260"/>
                  </a:lnTo>
                  <a:lnTo>
                    <a:pt x="2365579" y="200228"/>
                  </a:lnTo>
                  <a:lnTo>
                    <a:pt x="2365579" y="200876"/>
                  </a:lnTo>
                  <a:lnTo>
                    <a:pt x="2365630" y="202260"/>
                  </a:lnTo>
                  <a:lnTo>
                    <a:pt x="2365630" y="200876"/>
                  </a:lnTo>
                  <a:lnTo>
                    <a:pt x="2365630" y="202260"/>
                  </a:lnTo>
                  <a:lnTo>
                    <a:pt x="2365630" y="200876"/>
                  </a:lnTo>
                  <a:lnTo>
                    <a:pt x="2365630" y="202260"/>
                  </a:lnTo>
                  <a:lnTo>
                    <a:pt x="2365680" y="202260"/>
                  </a:lnTo>
                  <a:lnTo>
                    <a:pt x="2365680" y="200876"/>
                  </a:lnTo>
                  <a:lnTo>
                    <a:pt x="2365680" y="202260"/>
                  </a:lnTo>
                  <a:lnTo>
                    <a:pt x="2365782" y="202959"/>
                  </a:lnTo>
                  <a:lnTo>
                    <a:pt x="2365782" y="200876"/>
                  </a:lnTo>
                  <a:lnTo>
                    <a:pt x="2365833" y="200876"/>
                  </a:lnTo>
                  <a:lnTo>
                    <a:pt x="2365833" y="200228"/>
                  </a:lnTo>
                  <a:lnTo>
                    <a:pt x="2365833" y="200876"/>
                  </a:lnTo>
                  <a:lnTo>
                    <a:pt x="2365833" y="199530"/>
                  </a:lnTo>
                  <a:lnTo>
                    <a:pt x="2365833" y="200228"/>
                  </a:lnTo>
                  <a:lnTo>
                    <a:pt x="2365833" y="199530"/>
                  </a:lnTo>
                  <a:lnTo>
                    <a:pt x="2365884" y="199530"/>
                  </a:lnTo>
                  <a:lnTo>
                    <a:pt x="2365884" y="196799"/>
                  </a:lnTo>
                  <a:lnTo>
                    <a:pt x="2365884" y="198831"/>
                  </a:lnTo>
                  <a:lnTo>
                    <a:pt x="2365922" y="198831"/>
                  </a:lnTo>
                  <a:lnTo>
                    <a:pt x="2365922" y="199530"/>
                  </a:lnTo>
                  <a:lnTo>
                    <a:pt x="2365922" y="196799"/>
                  </a:lnTo>
                  <a:lnTo>
                    <a:pt x="2365922" y="200876"/>
                  </a:lnTo>
                  <a:lnTo>
                    <a:pt x="2366023" y="200876"/>
                  </a:lnTo>
                  <a:lnTo>
                    <a:pt x="2366023" y="199530"/>
                  </a:lnTo>
                  <a:lnTo>
                    <a:pt x="2366023" y="200228"/>
                  </a:lnTo>
                  <a:lnTo>
                    <a:pt x="2366074" y="200228"/>
                  </a:lnTo>
                  <a:lnTo>
                    <a:pt x="2366074" y="200876"/>
                  </a:lnTo>
                  <a:lnTo>
                    <a:pt x="2366074" y="200228"/>
                  </a:lnTo>
                  <a:lnTo>
                    <a:pt x="2366125" y="200876"/>
                  </a:lnTo>
                  <a:lnTo>
                    <a:pt x="2366125" y="200228"/>
                  </a:lnTo>
                  <a:lnTo>
                    <a:pt x="2366125" y="202260"/>
                  </a:lnTo>
                  <a:lnTo>
                    <a:pt x="2366125" y="200876"/>
                  </a:lnTo>
                  <a:lnTo>
                    <a:pt x="2366125" y="202260"/>
                  </a:lnTo>
                  <a:lnTo>
                    <a:pt x="2366226" y="202260"/>
                  </a:lnTo>
                  <a:lnTo>
                    <a:pt x="2366226" y="200876"/>
                  </a:lnTo>
                  <a:lnTo>
                    <a:pt x="2366226" y="202260"/>
                  </a:lnTo>
                  <a:lnTo>
                    <a:pt x="2366226" y="200876"/>
                  </a:lnTo>
                  <a:lnTo>
                    <a:pt x="2366277" y="200876"/>
                  </a:lnTo>
                  <a:lnTo>
                    <a:pt x="2366277" y="202260"/>
                  </a:lnTo>
                  <a:lnTo>
                    <a:pt x="2366277" y="200876"/>
                  </a:lnTo>
                  <a:lnTo>
                    <a:pt x="2366277" y="202260"/>
                  </a:lnTo>
                  <a:lnTo>
                    <a:pt x="2366277" y="200876"/>
                  </a:lnTo>
                  <a:lnTo>
                    <a:pt x="2366277" y="202260"/>
                  </a:lnTo>
                  <a:lnTo>
                    <a:pt x="2366277" y="200228"/>
                  </a:lnTo>
                  <a:lnTo>
                    <a:pt x="2366328" y="200228"/>
                  </a:lnTo>
                  <a:lnTo>
                    <a:pt x="2366328" y="198831"/>
                  </a:lnTo>
                  <a:lnTo>
                    <a:pt x="2366379" y="198831"/>
                  </a:lnTo>
                  <a:lnTo>
                    <a:pt x="2366379" y="196799"/>
                  </a:lnTo>
                  <a:lnTo>
                    <a:pt x="2366379" y="197447"/>
                  </a:lnTo>
                  <a:lnTo>
                    <a:pt x="2366379" y="196799"/>
                  </a:lnTo>
                  <a:lnTo>
                    <a:pt x="2366379" y="198831"/>
                  </a:lnTo>
                  <a:lnTo>
                    <a:pt x="2366468" y="199530"/>
                  </a:lnTo>
                  <a:lnTo>
                    <a:pt x="2366468" y="200228"/>
                  </a:lnTo>
                  <a:lnTo>
                    <a:pt x="2366468" y="196113"/>
                  </a:lnTo>
                  <a:lnTo>
                    <a:pt x="2366468" y="200228"/>
                  </a:lnTo>
                  <a:lnTo>
                    <a:pt x="2366519" y="200228"/>
                  </a:lnTo>
                  <a:lnTo>
                    <a:pt x="2366519" y="197447"/>
                  </a:lnTo>
                  <a:lnTo>
                    <a:pt x="2366519" y="200228"/>
                  </a:lnTo>
                  <a:lnTo>
                    <a:pt x="2366519" y="199530"/>
                  </a:lnTo>
                  <a:lnTo>
                    <a:pt x="2366569" y="200228"/>
                  </a:lnTo>
                  <a:lnTo>
                    <a:pt x="2366569" y="198831"/>
                  </a:lnTo>
                  <a:lnTo>
                    <a:pt x="2366569" y="200228"/>
                  </a:lnTo>
                  <a:lnTo>
                    <a:pt x="2366620" y="200228"/>
                  </a:lnTo>
                  <a:lnTo>
                    <a:pt x="2366620" y="200876"/>
                  </a:lnTo>
                  <a:lnTo>
                    <a:pt x="2366620" y="200228"/>
                  </a:lnTo>
                  <a:lnTo>
                    <a:pt x="2366620" y="200876"/>
                  </a:lnTo>
                  <a:lnTo>
                    <a:pt x="2366620" y="200228"/>
                  </a:lnTo>
                  <a:lnTo>
                    <a:pt x="2366620" y="200876"/>
                  </a:lnTo>
                  <a:lnTo>
                    <a:pt x="2366620" y="200228"/>
                  </a:lnTo>
                  <a:lnTo>
                    <a:pt x="2366722" y="200876"/>
                  </a:lnTo>
                  <a:lnTo>
                    <a:pt x="2366722" y="202260"/>
                  </a:lnTo>
                  <a:lnTo>
                    <a:pt x="2366722" y="200876"/>
                  </a:lnTo>
                  <a:lnTo>
                    <a:pt x="2366772" y="200876"/>
                  </a:lnTo>
                  <a:lnTo>
                    <a:pt x="2366772" y="202260"/>
                  </a:lnTo>
                  <a:lnTo>
                    <a:pt x="2366772" y="200228"/>
                  </a:lnTo>
                  <a:lnTo>
                    <a:pt x="2366823" y="200228"/>
                  </a:lnTo>
                  <a:lnTo>
                    <a:pt x="2366823" y="199530"/>
                  </a:lnTo>
                  <a:lnTo>
                    <a:pt x="2366823" y="200228"/>
                  </a:lnTo>
                  <a:lnTo>
                    <a:pt x="2366823" y="198831"/>
                  </a:lnTo>
                  <a:lnTo>
                    <a:pt x="2366925" y="198831"/>
                  </a:lnTo>
                  <a:lnTo>
                    <a:pt x="2366925" y="196799"/>
                  </a:lnTo>
                  <a:lnTo>
                    <a:pt x="2366925" y="198831"/>
                  </a:lnTo>
                  <a:lnTo>
                    <a:pt x="2366963" y="197447"/>
                  </a:lnTo>
                  <a:lnTo>
                    <a:pt x="2366963" y="195415"/>
                  </a:lnTo>
                  <a:lnTo>
                    <a:pt x="2366963" y="199530"/>
                  </a:lnTo>
                  <a:lnTo>
                    <a:pt x="2367014" y="198831"/>
                  </a:lnTo>
                  <a:lnTo>
                    <a:pt x="2367014" y="196799"/>
                  </a:lnTo>
                  <a:lnTo>
                    <a:pt x="2367014" y="199530"/>
                  </a:lnTo>
                  <a:lnTo>
                    <a:pt x="2367065" y="198831"/>
                  </a:lnTo>
                  <a:lnTo>
                    <a:pt x="2367065" y="197447"/>
                  </a:lnTo>
                  <a:lnTo>
                    <a:pt x="2367065" y="199530"/>
                  </a:lnTo>
                  <a:lnTo>
                    <a:pt x="2367065" y="198831"/>
                  </a:lnTo>
                  <a:lnTo>
                    <a:pt x="2367065" y="199530"/>
                  </a:lnTo>
                  <a:lnTo>
                    <a:pt x="2367065" y="198831"/>
                  </a:lnTo>
                  <a:lnTo>
                    <a:pt x="2367166" y="198831"/>
                  </a:lnTo>
                  <a:lnTo>
                    <a:pt x="2367166" y="199530"/>
                  </a:lnTo>
                  <a:lnTo>
                    <a:pt x="2367166" y="198831"/>
                  </a:lnTo>
                  <a:lnTo>
                    <a:pt x="2367217" y="199530"/>
                  </a:lnTo>
                  <a:lnTo>
                    <a:pt x="2367217" y="200228"/>
                  </a:lnTo>
                  <a:lnTo>
                    <a:pt x="2367217" y="199530"/>
                  </a:lnTo>
                  <a:lnTo>
                    <a:pt x="2367217" y="200228"/>
                  </a:lnTo>
                  <a:lnTo>
                    <a:pt x="2367268" y="199530"/>
                  </a:lnTo>
                  <a:lnTo>
                    <a:pt x="2367268" y="200228"/>
                  </a:lnTo>
                  <a:lnTo>
                    <a:pt x="2367268" y="199530"/>
                  </a:lnTo>
                  <a:lnTo>
                    <a:pt x="2367369" y="200228"/>
                  </a:lnTo>
                  <a:lnTo>
                    <a:pt x="2367369" y="198831"/>
                  </a:lnTo>
                  <a:lnTo>
                    <a:pt x="2367420" y="198831"/>
                  </a:lnTo>
                  <a:lnTo>
                    <a:pt x="2367420" y="197447"/>
                  </a:lnTo>
                  <a:lnTo>
                    <a:pt x="2367420" y="199530"/>
                  </a:lnTo>
                  <a:lnTo>
                    <a:pt x="2367420" y="198831"/>
                  </a:lnTo>
                  <a:lnTo>
                    <a:pt x="2367471" y="197447"/>
                  </a:lnTo>
                  <a:lnTo>
                    <a:pt x="2367471" y="200228"/>
                  </a:lnTo>
                  <a:lnTo>
                    <a:pt x="2367471" y="198831"/>
                  </a:lnTo>
                  <a:lnTo>
                    <a:pt x="2367509" y="198831"/>
                  </a:lnTo>
                  <a:lnTo>
                    <a:pt x="2367509" y="200876"/>
                  </a:lnTo>
                  <a:lnTo>
                    <a:pt x="2367509" y="200228"/>
                  </a:lnTo>
                  <a:lnTo>
                    <a:pt x="2367509" y="200876"/>
                  </a:lnTo>
                  <a:lnTo>
                    <a:pt x="2367509" y="199530"/>
                  </a:lnTo>
                  <a:lnTo>
                    <a:pt x="2367611" y="199530"/>
                  </a:lnTo>
                  <a:lnTo>
                    <a:pt x="2367611" y="200228"/>
                  </a:lnTo>
                  <a:lnTo>
                    <a:pt x="2367611" y="199530"/>
                  </a:lnTo>
                  <a:lnTo>
                    <a:pt x="2367662" y="199530"/>
                  </a:lnTo>
                  <a:lnTo>
                    <a:pt x="2367662" y="200876"/>
                  </a:lnTo>
                  <a:lnTo>
                    <a:pt x="2367662" y="200228"/>
                  </a:lnTo>
                  <a:lnTo>
                    <a:pt x="2367712" y="200228"/>
                  </a:lnTo>
                  <a:lnTo>
                    <a:pt x="2367712" y="200876"/>
                  </a:lnTo>
                  <a:lnTo>
                    <a:pt x="2367712" y="199530"/>
                  </a:lnTo>
                  <a:lnTo>
                    <a:pt x="2367814" y="199530"/>
                  </a:lnTo>
                  <a:lnTo>
                    <a:pt x="2367814" y="198831"/>
                  </a:lnTo>
                  <a:lnTo>
                    <a:pt x="2367814" y="200228"/>
                  </a:lnTo>
                  <a:lnTo>
                    <a:pt x="2367814" y="199530"/>
                  </a:lnTo>
                  <a:lnTo>
                    <a:pt x="2367814" y="200228"/>
                  </a:lnTo>
                  <a:lnTo>
                    <a:pt x="2367814" y="198831"/>
                  </a:lnTo>
                  <a:lnTo>
                    <a:pt x="2367865" y="199530"/>
                  </a:lnTo>
                  <a:lnTo>
                    <a:pt x="2367865" y="197447"/>
                  </a:lnTo>
                  <a:lnTo>
                    <a:pt x="2367865" y="198831"/>
                  </a:lnTo>
                  <a:lnTo>
                    <a:pt x="2367915" y="198831"/>
                  </a:lnTo>
                  <a:lnTo>
                    <a:pt x="2367915" y="200228"/>
                  </a:lnTo>
                  <a:lnTo>
                    <a:pt x="2367915" y="198831"/>
                  </a:lnTo>
                  <a:lnTo>
                    <a:pt x="2367915" y="199530"/>
                  </a:lnTo>
                  <a:lnTo>
                    <a:pt x="2367915" y="198831"/>
                  </a:lnTo>
                  <a:lnTo>
                    <a:pt x="2367915" y="200876"/>
                  </a:lnTo>
                  <a:lnTo>
                    <a:pt x="2367966" y="200876"/>
                  </a:lnTo>
                  <a:lnTo>
                    <a:pt x="2367966" y="200228"/>
                  </a:lnTo>
                  <a:lnTo>
                    <a:pt x="2367966" y="200876"/>
                  </a:lnTo>
                  <a:lnTo>
                    <a:pt x="2367966" y="200228"/>
                  </a:lnTo>
                  <a:lnTo>
                    <a:pt x="2367966" y="200876"/>
                  </a:lnTo>
                  <a:lnTo>
                    <a:pt x="2368055" y="200876"/>
                  </a:lnTo>
                  <a:lnTo>
                    <a:pt x="2368055" y="200228"/>
                  </a:lnTo>
                  <a:lnTo>
                    <a:pt x="2368055" y="202260"/>
                  </a:lnTo>
                  <a:lnTo>
                    <a:pt x="2368055" y="200876"/>
                  </a:lnTo>
                  <a:lnTo>
                    <a:pt x="2368055" y="202260"/>
                  </a:lnTo>
                  <a:lnTo>
                    <a:pt x="2368106" y="202260"/>
                  </a:lnTo>
                  <a:lnTo>
                    <a:pt x="2368106" y="200876"/>
                  </a:lnTo>
                  <a:lnTo>
                    <a:pt x="2368106" y="202260"/>
                  </a:lnTo>
                  <a:lnTo>
                    <a:pt x="2368106" y="200876"/>
                  </a:lnTo>
                  <a:lnTo>
                    <a:pt x="2368106" y="202260"/>
                  </a:lnTo>
                  <a:lnTo>
                    <a:pt x="2368106" y="200876"/>
                  </a:lnTo>
                  <a:lnTo>
                    <a:pt x="2368106" y="202260"/>
                  </a:lnTo>
                  <a:lnTo>
                    <a:pt x="2368106" y="200876"/>
                  </a:lnTo>
                  <a:lnTo>
                    <a:pt x="2368157" y="200876"/>
                  </a:lnTo>
                  <a:lnTo>
                    <a:pt x="2368157" y="200228"/>
                  </a:lnTo>
                  <a:lnTo>
                    <a:pt x="2368157" y="200876"/>
                  </a:lnTo>
                  <a:lnTo>
                    <a:pt x="2368208" y="200228"/>
                  </a:lnTo>
                  <a:lnTo>
                    <a:pt x="2368208" y="199530"/>
                  </a:lnTo>
                  <a:lnTo>
                    <a:pt x="2368208" y="200228"/>
                  </a:lnTo>
                  <a:lnTo>
                    <a:pt x="2368208" y="199530"/>
                  </a:lnTo>
                  <a:lnTo>
                    <a:pt x="2368309" y="199530"/>
                  </a:lnTo>
                  <a:lnTo>
                    <a:pt x="2368309" y="197447"/>
                  </a:lnTo>
                  <a:lnTo>
                    <a:pt x="2368309" y="198831"/>
                  </a:lnTo>
                  <a:lnTo>
                    <a:pt x="2368309" y="197447"/>
                  </a:lnTo>
                  <a:lnTo>
                    <a:pt x="2368360" y="197447"/>
                  </a:lnTo>
                  <a:lnTo>
                    <a:pt x="2368360" y="196799"/>
                  </a:lnTo>
                  <a:lnTo>
                    <a:pt x="2368360" y="197447"/>
                  </a:lnTo>
                  <a:lnTo>
                    <a:pt x="2368360" y="196799"/>
                  </a:lnTo>
                  <a:lnTo>
                    <a:pt x="2368360" y="197447"/>
                  </a:lnTo>
                  <a:lnTo>
                    <a:pt x="2368360" y="196799"/>
                  </a:lnTo>
                  <a:lnTo>
                    <a:pt x="2368360" y="198831"/>
                  </a:lnTo>
                  <a:lnTo>
                    <a:pt x="2368411" y="198831"/>
                  </a:lnTo>
                  <a:lnTo>
                    <a:pt x="2368411" y="196799"/>
                  </a:lnTo>
                  <a:lnTo>
                    <a:pt x="2368411" y="200228"/>
                  </a:lnTo>
                  <a:lnTo>
                    <a:pt x="2368411" y="199530"/>
                  </a:lnTo>
                  <a:lnTo>
                    <a:pt x="2368512" y="199530"/>
                  </a:lnTo>
                  <a:lnTo>
                    <a:pt x="2368512" y="200228"/>
                  </a:lnTo>
                  <a:lnTo>
                    <a:pt x="2368512" y="199530"/>
                  </a:lnTo>
                  <a:lnTo>
                    <a:pt x="2368550" y="199530"/>
                  </a:lnTo>
                  <a:lnTo>
                    <a:pt x="2368550" y="200876"/>
                  </a:lnTo>
                  <a:lnTo>
                    <a:pt x="2368550" y="200228"/>
                  </a:lnTo>
                  <a:lnTo>
                    <a:pt x="2368550" y="200876"/>
                  </a:lnTo>
                  <a:lnTo>
                    <a:pt x="2368601" y="200876"/>
                  </a:lnTo>
                  <a:lnTo>
                    <a:pt x="2368601" y="200228"/>
                  </a:lnTo>
                  <a:lnTo>
                    <a:pt x="2368601" y="200876"/>
                  </a:lnTo>
                  <a:lnTo>
                    <a:pt x="2368601" y="200228"/>
                  </a:lnTo>
                  <a:lnTo>
                    <a:pt x="2368652" y="200228"/>
                  </a:lnTo>
                  <a:lnTo>
                    <a:pt x="2368652" y="200876"/>
                  </a:lnTo>
                  <a:lnTo>
                    <a:pt x="2368652" y="200228"/>
                  </a:lnTo>
                  <a:lnTo>
                    <a:pt x="2368754" y="200228"/>
                  </a:lnTo>
                  <a:lnTo>
                    <a:pt x="2368754" y="200876"/>
                  </a:lnTo>
                  <a:lnTo>
                    <a:pt x="2368754" y="199530"/>
                  </a:lnTo>
                  <a:lnTo>
                    <a:pt x="2368754" y="200228"/>
                  </a:lnTo>
                  <a:lnTo>
                    <a:pt x="2368805" y="199530"/>
                  </a:lnTo>
                  <a:lnTo>
                    <a:pt x="2368805" y="197447"/>
                  </a:lnTo>
                  <a:lnTo>
                    <a:pt x="2368855" y="197447"/>
                  </a:lnTo>
                  <a:lnTo>
                    <a:pt x="2368855" y="196799"/>
                  </a:lnTo>
                  <a:lnTo>
                    <a:pt x="2368855" y="197447"/>
                  </a:lnTo>
                  <a:lnTo>
                    <a:pt x="2368855" y="196799"/>
                  </a:lnTo>
                  <a:lnTo>
                    <a:pt x="2368855" y="197447"/>
                  </a:lnTo>
                  <a:lnTo>
                    <a:pt x="2368957" y="197447"/>
                  </a:lnTo>
                  <a:lnTo>
                    <a:pt x="2368957" y="199530"/>
                  </a:lnTo>
                  <a:lnTo>
                    <a:pt x="2368957" y="198831"/>
                  </a:lnTo>
                  <a:lnTo>
                    <a:pt x="2368957" y="199530"/>
                  </a:lnTo>
                  <a:lnTo>
                    <a:pt x="2368957" y="198831"/>
                  </a:lnTo>
                  <a:lnTo>
                    <a:pt x="2368957" y="199530"/>
                  </a:lnTo>
                  <a:lnTo>
                    <a:pt x="2368957" y="198831"/>
                  </a:lnTo>
                  <a:lnTo>
                    <a:pt x="2369008" y="198831"/>
                  </a:lnTo>
                  <a:lnTo>
                    <a:pt x="2369008" y="200228"/>
                  </a:lnTo>
                  <a:lnTo>
                    <a:pt x="2369059" y="199530"/>
                  </a:lnTo>
                  <a:lnTo>
                    <a:pt x="2369059" y="200876"/>
                  </a:lnTo>
                  <a:lnTo>
                    <a:pt x="2369059" y="200228"/>
                  </a:lnTo>
                  <a:lnTo>
                    <a:pt x="2369097" y="200228"/>
                  </a:lnTo>
                  <a:lnTo>
                    <a:pt x="2369097" y="199530"/>
                  </a:lnTo>
                  <a:lnTo>
                    <a:pt x="2369097" y="200876"/>
                  </a:lnTo>
                  <a:lnTo>
                    <a:pt x="2369198" y="200876"/>
                  </a:lnTo>
                  <a:lnTo>
                    <a:pt x="2369198" y="200228"/>
                  </a:lnTo>
                  <a:lnTo>
                    <a:pt x="2369198" y="200876"/>
                  </a:lnTo>
                  <a:lnTo>
                    <a:pt x="2369198" y="200228"/>
                  </a:lnTo>
                  <a:lnTo>
                    <a:pt x="2369249" y="200228"/>
                  </a:lnTo>
                  <a:lnTo>
                    <a:pt x="2369249" y="200876"/>
                  </a:lnTo>
                  <a:lnTo>
                    <a:pt x="2369249" y="199530"/>
                  </a:lnTo>
                  <a:lnTo>
                    <a:pt x="2369300" y="199530"/>
                  </a:lnTo>
                  <a:lnTo>
                    <a:pt x="2369300" y="198831"/>
                  </a:lnTo>
                  <a:lnTo>
                    <a:pt x="2369300" y="199530"/>
                  </a:lnTo>
                  <a:lnTo>
                    <a:pt x="2369300" y="196799"/>
                  </a:lnTo>
                  <a:lnTo>
                    <a:pt x="2369401" y="196799"/>
                  </a:lnTo>
                  <a:lnTo>
                    <a:pt x="2369401" y="196113"/>
                  </a:lnTo>
                  <a:lnTo>
                    <a:pt x="2369401" y="196799"/>
                  </a:lnTo>
                  <a:lnTo>
                    <a:pt x="2369401" y="196113"/>
                  </a:lnTo>
                  <a:lnTo>
                    <a:pt x="2369401" y="197447"/>
                  </a:lnTo>
                  <a:lnTo>
                    <a:pt x="2369401" y="196799"/>
                  </a:lnTo>
                  <a:lnTo>
                    <a:pt x="2369452" y="196799"/>
                  </a:lnTo>
                  <a:lnTo>
                    <a:pt x="2369452" y="199530"/>
                  </a:lnTo>
                  <a:lnTo>
                    <a:pt x="2369452" y="197447"/>
                  </a:lnTo>
                  <a:lnTo>
                    <a:pt x="2369452" y="198831"/>
                  </a:lnTo>
                  <a:lnTo>
                    <a:pt x="2369503" y="197447"/>
                  </a:lnTo>
                  <a:lnTo>
                    <a:pt x="2369503" y="198831"/>
                  </a:lnTo>
                  <a:lnTo>
                    <a:pt x="2369503" y="197447"/>
                  </a:lnTo>
                  <a:lnTo>
                    <a:pt x="2369503" y="199530"/>
                  </a:lnTo>
                  <a:lnTo>
                    <a:pt x="2369503" y="198831"/>
                  </a:lnTo>
                  <a:lnTo>
                    <a:pt x="2369554" y="198831"/>
                  </a:lnTo>
                  <a:lnTo>
                    <a:pt x="2369554" y="199530"/>
                  </a:lnTo>
                  <a:lnTo>
                    <a:pt x="2369554" y="198831"/>
                  </a:lnTo>
                  <a:lnTo>
                    <a:pt x="2369554" y="199530"/>
                  </a:lnTo>
                  <a:lnTo>
                    <a:pt x="2369554" y="198831"/>
                  </a:lnTo>
                  <a:lnTo>
                    <a:pt x="2369554" y="200228"/>
                  </a:lnTo>
                  <a:lnTo>
                    <a:pt x="2369554" y="199530"/>
                  </a:lnTo>
                  <a:lnTo>
                    <a:pt x="2369643" y="199530"/>
                  </a:lnTo>
                  <a:lnTo>
                    <a:pt x="2369643" y="200228"/>
                  </a:lnTo>
                  <a:lnTo>
                    <a:pt x="2369694" y="200228"/>
                  </a:lnTo>
                  <a:lnTo>
                    <a:pt x="2369694" y="199530"/>
                  </a:lnTo>
                  <a:lnTo>
                    <a:pt x="2369694" y="200876"/>
                  </a:lnTo>
                  <a:lnTo>
                    <a:pt x="2369744" y="200876"/>
                  </a:lnTo>
                  <a:lnTo>
                    <a:pt x="2369744" y="199530"/>
                  </a:lnTo>
                  <a:lnTo>
                    <a:pt x="2369744" y="200228"/>
                  </a:lnTo>
                  <a:lnTo>
                    <a:pt x="2369744" y="199530"/>
                  </a:lnTo>
                  <a:lnTo>
                    <a:pt x="2369744" y="200228"/>
                  </a:lnTo>
                  <a:lnTo>
                    <a:pt x="2369744" y="199530"/>
                  </a:lnTo>
                  <a:lnTo>
                    <a:pt x="2369795" y="199530"/>
                  </a:lnTo>
                  <a:lnTo>
                    <a:pt x="2369795" y="196799"/>
                  </a:lnTo>
                  <a:lnTo>
                    <a:pt x="2369795" y="197447"/>
                  </a:lnTo>
                  <a:lnTo>
                    <a:pt x="2369795" y="196113"/>
                  </a:lnTo>
                  <a:lnTo>
                    <a:pt x="2369897" y="196113"/>
                  </a:lnTo>
                  <a:lnTo>
                    <a:pt x="2369897" y="196799"/>
                  </a:lnTo>
                  <a:lnTo>
                    <a:pt x="2369897" y="195415"/>
                  </a:lnTo>
                  <a:lnTo>
                    <a:pt x="2369947" y="196113"/>
                  </a:lnTo>
                  <a:lnTo>
                    <a:pt x="2369947" y="198831"/>
                  </a:lnTo>
                  <a:lnTo>
                    <a:pt x="2369947" y="197447"/>
                  </a:lnTo>
                  <a:lnTo>
                    <a:pt x="2369947" y="198831"/>
                  </a:lnTo>
                  <a:lnTo>
                    <a:pt x="2369947" y="196799"/>
                  </a:lnTo>
                  <a:lnTo>
                    <a:pt x="2369947" y="197447"/>
                  </a:lnTo>
                  <a:lnTo>
                    <a:pt x="2369998" y="197447"/>
                  </a:lnTo>
                  <a:lnTo>
                    <a:pt x="2369998" y="198831"/>
                  </a:lnTo>
                  <a:lnTo>
                    <a:pt x="2369998" y="196799"/>
                  </a:lnTo>
                  <a:lnTo>
                    <a:pt x="2369998" y="197447"/>
                  </a:lnTo>
                  <a:lnTo>
                    <a:pt x="2370100" y="197447"/>
                  </a:lnTo>
                  <a:lnTo>
                    <a:pt x="2370100" y="198831"/>
                  </a:lnTo>
                  <a:lnTo>
                    <a:pt x="2370100" y="197447"/>
                  </a:lnTo>
                  <a:lnTo>
                    <a:pt x="2370100" y="198831"/>
                  </a:lnTo>
                  <a:lnTo>
                    <a:pt x="2370138" y="197447"/>
                  </a:lnTo>
                  <a:lnTo>
                    <a:pt x="2370138" y="198831"/>
                  </a:lnTo>
                  <a:lnTo>
                    <a:pt x="2370189" y="198831"/>
                  </a:lnTo>
                  <a:lnTo>
                    <a:pt x="2370189" y="200228"/>
                  </a:lnTo>
                  <a:lnTo>
                    <a:pt x="2370189" y="198831"/>
                  </a:lnTo>
                  <a:lnTo>
                    <a:pt x="2370240" y="198831"/>
                  </a:lnTo>
                  <a:lnTo>
                    <a:pt x="2370240" y="199530"/>
                  </a:lnTo>
                  <a:lnTo>
                    <a:pt x="2370240" y="198831"/>
                  </a:lnTo>
                  <a:lnTo>
                    <a:pt x="2370240" y="199530"/>
                  </a:lnTo>
                  <a:lnTo>
                    <a:pt x="2370240" y="197447"/>
                  </a:lnTo>
                  <a:lnTo>
                    <a:pt x="2370240" y="198831"/>
                  </a:lnTo>
                  <a:lnTo>
                    <a:pt x="2370240" y="197447"/>
                  </a:lnTo>
                  <a:lnTo>
                    <a:pt x="2370240" y="198831"/>
                  </a:lnTo>
                  <a:lnTo>
                    <a:pt x="2370341" y="197447"/>
                  </a:lnTo>
                  <a:lnTo>
                    <a:pt x="2370341" y="195415"/>
                  </a:lnTo>
                  <a:lnTo>
                    <a:pt x="2370392" y="196113"/>
                  </a:lnTo>
                  <a:lnTo>
                    <a:pt x="2370392" y="197447"/>
                  </a:lnTo>
                  <a:lnTo>
                    <a:pt x="2370392" y="195415"/>
                  </a:lnTo>
                  <a:lnTo>
                    <a:pt x="2370443" y="196113"/>
                  </a:lnTo>
                  <a:lnTo>
                    <a:pt x="2370443" y="199530"/>
                  </a:lnTo>
                  <a:lnTo>
                    <a:pt x="2370443" y="197447"/>
                  </a:lnTo>
                  <a:lnTo>
                    <a:pt x="2370443" y="198831"/>
                  </a:lnTo>
                  <a:lnTo>
                    <a:pt x="2370443" y="196799"/>
                  </a:lnTo>
                  <a:lnTo>
                    <a:pt x="2370443" y="197447"/>
                  </a:lnTo>
                  <a:lnTo>
                    <a:pt x="2370544" y="197447"/>
                  </a:lnTo>
                  <a:lnTo>
                    <a:pt x="2370544" y="198831"/>
                  </a:lnTo>
                  <a:lnTo>
                    <a:pt x="2370544" y="196799"/>
                  </a:lnTo>
                  <a:lnTo>
                    <a:pt x="2370544" y="197447"/>
                  </a:lnTo>
                  <a:lnTo>
                    <a:pt x="2370595" y="198831"/>
                  </a:lnTo>
                  <a:lnTo>
                    <a:pt x="2370595" y="197447"/>
                  </a:lnTo>
                  <a:lnTo>
                    <a:pt x="2370595" y="198831"/>
                  </a:lnTo>
                  <a:lnTo>
                    <a:pt x="2370595" y="197447"/>
                  </a:lnTo>
                  <a:lnTo>
                    <a:pt x="2370595" y="198831"/>
                  </a:lnTo>
                  <a:lnTo>
                    <a:pt x="2370595" y="197447"/>
                  </a:lnTo>
                  <a:lnTo>
                    <a:pt x="2370595" y="198831"/>
                  </a:lnTo>
                  <a:lnTo>
                    <a:pt x="2370646" y="198831"/>
                  </a:lnTo>
                  <a:lnTo>
                    <a:pt x="2370646" y="199530"/>
                  </a:lnTo>
                  <a:lnTo>
                    <a:pt x="2370646" y="198831"/>
                  </a:lnTo>
                  <a:lnTo>
                    <a:pt x="2370646" y="199530"/>
                  </a:lnTo>
                  <a:lnTo>
                    <a:pt x="2370646" y="198831"/>
                  </a:lnTo>
                  <a:lnTo>
                    <a:pt x="2370646" y="199530"/>
                  </a:lnTo>
                  <a:lnTo>
                    <a:pt x="2370684" y="199530"/>
                  </a:lnTo>
                  <a:lnTo>
                    <a:pt x="2370684" y="200228"/>
                  </a:lnTo>
                  <a:lnTo>
                    <a:pt x="2370684" y="199530"/>
                  </a:lnTo>
                  <a:lnTo>
                    <a:pt x="2370684" y="200228"/>
                  </a:lnTo>
                  <a:lnTo>
                    <a:pt x="2370684" y="199530"/>
                  </a:lnTo>
                  <a:lnTo>
                    <a:pt x="2370684" y="200228"/>
                  </a:lnTo>
                  <a:lnTo>
                    <a:pt x="2370684" y="199530"/>
                  </a:lnTo>
                  <a:lnTo>
                    <a:pt x="2370786" y="200228"/>
                  </a:lnTo>
                  <a:lnTo>
                    <a:pt x="2370786" y="199530"/>
                  </a:lnTo>
                  <a:lnTo>
                    <a:pt x="2370786" y="200228"/>
                  </a:lnTo>
                  <a:lnTo>
                    <a:pt x="2370786" y="198831"/>
                  </a:lnTo>
                  <a:lnTo>
                    <a:pt x="2370786" y="199530"/>
                  </a:lnTo>
                  <a:lnTo>
                    <a:pt x="2370786" y="198831"/>
                  </a:lnTo>
                  <a:lnTo>
                    <a:pt x="2370837" y="197447"/>
                  </a:lnTo>
                  <a:lnTo>
                    <a:pt x="2370837" y="198831"/>
                  </a:lnTo>
                  <a:lnTo>
                    <a:pt x="2370837" y="197447"/>
                  </a:lnTo>
                  <a:lnTo>
                    <a:pt x="2370837" y="198831"/>
                  </a:lnTo>
                  <a:lnTo>
                    <a:pt x="2370837" y="196799"/>
                  </a:lnTo>
                  <a:lnTo>
                    <a:pt x="2370837" y="197447"/>
                  </a:lnTo>
                  <a:lnTo>
                    <a:pt x="2370837" y="196113"/>
                  </a:lnTo>
                  <a:lnTo>
                    <a:pt x="2370887" y="196113"/>
                  </a:lnTo>
                  <a:lnTo>
                    <a:pt x="2370887" y="198831"/>
                  </a:lnTo>
                  <a:lnTo>
                    <a:pt x="2370887" y="196113"/>
                  </a:lnTo>
                  <a:lnTo>
                    <a:pt x="2370887" y="196799"/>
                  </a:lnTo>
                  <a:lnTo>
                    <a:pt x="2370887" y="196113"/>
                  </a:lnTo>
                  <a:lnTo>
                    <a:pt x="2370887" y="197447"/>
                  </a:lnTo>
                  <a:lnTo>
                    <a:pt x="2370989" y="198831"/>
                  </a:lnTo>
                  <a:lnTo>
                    <a:pt x="2370989" y="199530"/>
                  </a:lnTo>
                  <a:lnTo>
                    <a:pt x="2370989" y="197447"/>
                  </a:lnTo>
                  <a:lnTo>
                    <a:pt x="2370989" y="199530"/>
                  </a:lnTo>
                  <a:lnTo>
                    <a:pt x="2371040" y="199530"/>
                  </a:lnTo>
                  <a:lnTo>
                    <a:pt x="2371040" y="198831"/>
                  </a:lnTo>
                  <a:lnTo>
                    <a:pt x="2371090" y="198831"/>
                  </a:lnTo>
                  <a:lnTo>
                    <a:pt x="2371090" y="199530"/>
                  </a:lnTo>
                  <a:lnTo>
                    <a:pt x="2371090" y="198831"/>
                  </a:lnTo>
                  <a:lnTo>
                    <a:pt x="2371090" y="199530"/>
                  </a:lnTo>
                  <a:lnTo>
                    <a:pt x="2371090" y="198831"/>
                  </a:lnTo>
                  <a:lnTo>
                    <a:pt x="2371141" y="198831"/>
                  </a:lnTo>
                  <a:lnTo>
                    <a:pt x="2371141" y="199530"/>
                  </a:lnTo>
                  <a:lnTo>
                    <a:pt x="2371141" y="198831"/>
                  </a:lnTo>
                  <a:lnTo>
                    <a:pt x="2371141" y="199530"/>
                  </a:lnTo>
                  <a:lnTo>
                    <a:pt x="2371141" y="198831"/>
                  </a:lnTo>
                  <a:lnTo>
                    <a:pt x="2371141" y="199530"/>
                  </a:lnTo>
                  <a:lnTo>
                    <a:pt x="2371141" y="198831"/>
                  </a:lnTo>
                  <a:lnTo>
                    <a:pt x="2371230" y="198831"/>
                  </a:lnTo>
                  <a:lnTo>
                    <a:pt x="2371230" y="199530"/>
                  </a:lnTo>
                  <a:lnTo>
                    <a:pt x="2371230" y="198831"/>
                  </a:lnTo>
                  <a:lnTo>
                    <a:pt x="2371230" y="199530"/>
                  </a:lnTo>
                  <a:lnTo>
                    <a:pt x="2371230" y="198831"/>
                  </a:lnTo>
                  <a:lnTo>
                    <a:pt x="2371230" y="199530"/>
                  </a:lnTo>
                  <a:lnTo>
                    <a:pt x="2371230" y="198831"/>
                  </a:lnTo>
                  <a:lnTo>
                    <a:pt x="2371281" y="198831"/>
                  </a:lnTo>
                  <a:lnTo>
                    <a:pt x="2371281" y="199530"/>
                  </a:lnTo>
                  <a:lnTo>
                    <a:pt x="2371281" y="197447"/>
                  </a:lnTo>
                  <a:lnTo>
                    <a:pt x="2371281" y="198831"/>
                  </a:lnTo>
                  <a:lnTo>
                    <a:pt x="2371281" y="197447"/>
                  </a:lnTo>
                  <a:lnTo>
                    <a:pt x="2371332" y="197447"/>
                  </a:lnTo>
                  <a:lnTo>
                    <a:pt x="2371332" y="196799"/>
                  </a:lnTo>
                  <a:lnTo>
                    <a:pt x="2371332" y="197447"/>
                  </a:lnTo>
                  <a:lnTo>
                    <a:pt x="2371332" y="196113"/>
                  </a:lnTo>
                  <a:lnTo>
                    <a:pt x="2371332" y="196799"/>
                  </a:lnTo>
                  <a:lnTo>
                    <a:pt x="2371332" y="196113"/>
                  </a:lnTo>
                  <a:lnTo>
                    <a:pt x="2371383" y="196113"/>
                  </a:lnTo>
                  <a:lnTo>
                    <a:pt x="2371383" y="196799"/>
                  </a:lnTo>
                  <a:lnTo>
                    <a:pt x="2371383" y="196113"/>
                  </a:lnTo>
                  <a:lnTo>
                    <a:pt x="2371383" y="196799"/>
                  </a:lnTo>
                  <a:lnTo>
                    <a:pt x="2371383" y="196113"/>
                  </a:lnTo>
                  <a:lnTo>
                    <a:pt x="2371383" y="196799"/>
                  </a:lnTo>
                  <a:lnTo>
                    <a:pt x="2371383" y="196113"/>
                  </a:lnTo>
                  <a:lnTo>
                    <a:pt x="2371383" y="196799"/>
                  </a:lnTo>
                  <a:lnTo>
                    <a:pt x="2371484" y="196799"/>
                  </a:lnTo>
                  <a:lnTo>
                    <a:pt x="2371484" y="198831"/>
                  </a:lnTo>
                  <a:lnTo>
                    <a:pt x="2371484" y="196799"/>
                  </a:lnTo>
                  <a:lnTo>
                    <a:pt x="2371484" y="197447"/>
                  </a:lnTo>
                  <a:lnTo>
                    <a:pt x="2371535" y="197447"/>
                  </a:lnTo>
                  <a:lnTo>
                    <a:pt x="2371535" y="198831"/>
                  </a:lnTo>
                  <a:lnTo>
                    <a:pt x="2371535" y="197447"/>
                  </a:lnTo>
                  <a:lnTo>
                    <a:pt x="2371535" y="198831"/>
                  </a:lnTo>
                  <a:lnTo>
                    <a:pt x="2371535" y="197447"/>
                  </a:lnTo>
                  <a:lnTo>
                    <a:pt x="2371535" y="198831"/>
                  </a:lnTo>
                  <a:lnTo>
                    <a:pt x="2371687" y="198831"/>
                  </a:lnTo>
                  <a:lnTo>
                    <a:pt x="2371687" y="199530"/>
                  </a:lnTo>
                  <a:lnTo>
                    <a:pt x="2371725" y="199530"/>
                  </a:lnTo>
                  <a:lnTo>
                    <a:pt x="2371725" y="200228"/>
                  </a:lnTo>
                  <a:lnTo>
                    <a:pt x="2371725" y="199530"/>
                  </a:lnTo>
                  <a:lnTo>
                    <a:pt x="2371776" y="199530"/>
                  </a:lnTo>
                  <a:lnTo>
                    <a:pt x="2371776" y="197447"/>
                  </a:lnTo>
                  <a:lnTo>
                    <a:pt x="2371776" y="198831"/>
                  </a:lnTo>
                  <a:lnTo>
                    <a:pt x="2371776" y="196799"/>
                  </a:lnTo>
                  <a:lnTo>
                    <a:pt x="2371827" y="196799"/>
                  </a:lnTo>
                  <a:lnTo>
                    <a:pt x="2371827" y="197447"/>
                  </a:lnTo>
                  <a:lnTo>
                    <a:pt x="2371827" y="196799"/>
                  </a:lnTo>
                  <a:lnTo>
                    <a:pt x="2371827" y="197447"/>
                  </a:lnTo>
                  <a:lnTo>
                    <a:pt x="2371827" y="196113"/>
                  </a:lnTo>
                  <a:lnTo>
                    <a:pt x="2371929" y="195415"/>
                  </a:lnTo>
                  <a:lnTo>
                    <a:pt x="2371929" y="197447"/>
                  </a:lnTo>
                  <a:lnTo>
                    <a:pt x="2371929" y="195415"/>
                  </a:lnTo>
                  <a:lnTo>
                    <a:pt x="2371929" y="196113"/>
                  </a:lnTo>
                  <a:lnTo>
                    <a:pt x="2371980" y="196113"/>
                  </a:lnTo>
                  <a:lnTo>
                    <a:pt x="2371980" y="198831"/>
                  </a:lnTo>
                  <a:lnTo>
                    <a:pt x="2371980" y="196113"/>
                  </a:lnTo>
                  <a:lnTo>
                    <a:pt x="2371980" y="196799"/>
                  </a:lnTo>
                  <a:lnTo>
                    <a:pt x="2372030" y="196799"/>
                  </a:lnTo>
                  <a:lnTo>
                    <a:pt x="2372030" y="198831"/>
                  </a:lnTo>
                  <a:lnTo>
                    <a:pt x="2372030" y="197447"/>
                  </a:lnTo>
                  <a:lnTo>
                    <a:pt x="2372132" y="197447"/>
                  </a:lnTo>
                  <a:lnTo>
                    <a:pt x="2372132" y="198831"/>
                  </a:lnTo>
                  <a:lnTo>
                    <a:pt x="2372183" y="198831"/>
                  </a:lnTo>
                  <a:lnTo>
                    <a:pt x="2372183" y="199530"/>
                  </a:lnTo>
                  <a:lnTo>
                    <a:pt x="2372183" y="198831"/>
                  </a:lnTo>
                  <a:lnTo>
                    <a:pt x="2372183" y="199530"/>
                  </a:lnTo>
                  <a:lnTo>
                    <a:pt x="2372183" y="198831"/>
                  </a:lnTo>
                  <a:lnTo>
                    <a:pt x="2372183" y="199530"/>
                  </a:lnTo>
                  <a:lnTo>
                    <a:pt x="2372183" y="198831"/>
                  </a:lnTo>
                  <a:lnTo>
                    <a:pt x="2372183" y="199530"/>
                  </a:lnTo>
                  <a:lnTo>
                    <a:pt x="2372234" y="199530"/>
                  </a:lnTo>
                  <a:lnTo>
                    <a:pt x="2372272" y="198831"/>
                  </a:lnTo>
                  <a:lnTo>
                    <a:pt x="2372272" y="199530"/>
                  </a:lnTo>
                  <a:lnTo>
                    <a:pt x="2372272" y="198831"/>
                  </a:lnTo>
                  <a:lnTo>
                    <a:pt x="2372272" y="199530"/>
                  </a:lnTo>
                  <a:lnTo>
                    <a:pt x="2372272" y="197447"/>
                  </a:lnTo>
                  <a:lnTo>
                    <a:pt x="2372373" y="197447"/>
                  </a:lnTo>
                  <a:lnTo>
                    <a:pt x="2372373" y="196799"/>
                  </a:lnTo>
                  <a:lnTo>
                    <a:pt x="2372373" y="197447"/>
                  </a:lnTo>
                  <a:lnTo>
                    <a:pt x="2372373" y="196799"/>
                  </a:lnTo>
                  <a:lnTo>
                    <a:pt x="2372373" y="197447"/>
                  </a:lnTo>
                  <a:lnTo>
                    <a:pt x="2372373" y="195415"/>
                  </a:lnTo>
                  <a:lnTo>
                    <a:pt x="2372373" y="196113"/>
                  </a:lnTo>
                  <a:lnTo>
                    <a:pt x="2372373" y="195415"/>
                  </a:lnTo>
                  <a:lnTo>
                    <a:pt x="2372424" y="196113"/>
                  </a:lnTo>
                  <a:lnTo>
                    <a:pt x="2372424" y="194716"/>
                  </a:lnTo>
                  <a:lnTo>
                    <a:pt x="2372424" y="195415"/>
                  </a:lnTo>
                  <a:lnTo>
                    <a:pt x="2372475" y="194716"/>
                  </a:lnTo>
                  <a:lnTo>
                    <a:pt x="2372475" y="196799"/>
                  </a:lnTo>
                  <a:lnTo>
                    <a:pt x="2372475" y="195415"/>
                  </a:lnTo>
                  <a:lnTo>
                    <a:pt x="2372576" y="195415"/>
                  </a:lnTo>
                  <a:lnTo>
                    <a:pt x="2372576" y="197447"/>
                  </a:lnTo>
                  <a:lnTo>
                    <a:pt x="2372576" y="196799"/>
                  </a:lnTo>
                  <a:lnTo>
                    <a:pt x="2372627" y="196113"/>
                  </a:lnTo>
                  <a:lnTo>
                    <a:pt x="2372627" y="198831"/>
                  </a:lnTo>
                  <a:lnTo>
                    <a:pt x="2372627" y="197447"/>
                  </a:lnTo>
                  <a:lnTo>
                    <a:pt x="2372678" y="197447"/>
                  </a:lnTo>
                  <a:lnTo>
                    <a:pt x="2372678" y="199530"/>
                  </a:lnTo>
                  <a:lnTo>
                    <a:pt x="2372729" y="199530"/>
                  </a:lnTo>
                  <a:lnTo>
                    <a:pt x="2372729" y="200228"/>
                  </a:lnTo>
                  <a:lnTo>
                    <a:pt x="2372729" y="199530"/>
                  </a:lnTo>
                  <a:lnTo>
                    <a:pt x="2372818" y="200228"/>
                  </a:lnTo>
                  <a:lnTo>
                    <a:pt x="2372818" y="199530"/>
                  </a:lnTo>
                  <a:lnTo>
                    <a:pt x="2372869" y="199530"/>
                  </a:lnTo>
                  <a:lnTo>
                    <a:pt x="2372869" y="196799"/>
                  </a:lnTo>
                  <a:lnTo>
                    <a:pt x="2372919" y="196799"/>
                  </a:lnTo>
                  <a:lnTo>
                    <a:pt x="2372919" y="195415"/>
                  </a:lnTo>
                  <a:lnTo>
                    <a:pt x="2372919" y="196113"/>
                  </a:lnTo>
                  <a:lnTo>
                    <a:pt x="2372919" y="195415"/>
                  </a:lnTo>
                  <a:lnTo>
                    <a:pt x="2372919" y="196113"/>
                  </a:lnTo>
                  <a:lnTo>
                    <a:pt x="2372919" y="195415"/>
                  </a:lnTo>
                  <a:lnTo>
                    <a:pt x="2372970" y="195415"/>
                  </a:lnTo>
                  <a:lnTo>
                    <a:pt x="2372970" y="194716"/>
                  </a:lnTo>
                  <a:lnTo>
                    <a:pt x="2372970" y="196799"/>
                  </a:lnTo>
                  <a:lnTo>
                    <a:pt x="2373072" y="196799"/>
                  </a:lnTo>
                  <a:lnTo>
                    <a:pt x="2373072" y="196113"/>
                  </a:lnTo>
                  <a:lnTo>
                    <a:pt x="2373072" y="196799"/>
                  </a:lnTo>
                  <a:lnTo>
                    <a:pt x="2373122" y="196799"/>
                  </a:lnTo>
                  <a:lnTo>
                    <a:pt x="2373122" y="197447"/>
                  </a:lnTo>
                  <a:lnTo>
                    <a:pt x="2373122" y="196799"/>
                  </a:lnTo>
                  <a:lnTo>
                    <a:pt x="2373122" y="197447"/>
                  </a:lnTo>
                  <a:lnTo>
                    <a:pt x="2373122" y="196799"/>
                  </a:lnTo>
                  <a:lnTo>
                    <a:pt x="2373122" y="197447"/>
                  </a:lnTo>
                  <a:lnTo>
                    <a:pt x="2373122" y="196799"/>
                  </a:lnTo>
                  <a:lnTo>
                    <a:pt x="2373173" y="196799"/>
                  </a:lnTo>
                  <a:lnTo>
                    <a:pt x="2373173" y="197447"/>
                  </a:lnTo>
                  <a:lnTo>
                    <a:pt x="2373173" y="196799"/>
                  </a:lnTo>
                  <a:lnTo>
                    <a:pt x="2373173" y="198831"/>
                  </a:lnTo>
                  <a:lnTo>
                    <a:pt x="2373173" y="197447"/>
                  </a:lnTo>
                  <a:lnTo>
                    <a:pt x="2373173" y="198831"/>
                  </a:lnTo>
                  <a:lnTo>
                    <a:pt x="2373275" y="197447"/>
                  </a:lnTo>
                  <a:lnTo>
                    <a:pt x="2373275" y="198831"/>
                  </a:lnTo>
                  <a:lnTo>
                    <a:pt x="2373313" y="198831"/>
                  </a:lnTo>
                  <a:lnTo>
                    <a:pt x="2373313" y="199530"/>
                  </a:lnTo>
                  <a:lnTo>
                    <a:pt x="2373313" y="198831"/>
                  </a:lnTo>
                  <a:lnTo>
                    <a:pt x="2373313" y="199530"/>
                  </a:lnTo>
                  <a:lnTo>
                    <a:pt x="2373313" y="198831"/>
                  </a:lnTo>
                  <a:lnTo>
                    <a:pt x="2373313" y="199530"/>
                  </a:lnTo>
                  <a:lnTo>
                    <a:pt x="2373313" y="198831"/>
                  </a:lnTo>
                  <a:lnTo>
                    <a:pt x="2373364" y="198831"/>
                  </a:lnTo>
                  <a:lnTo>
                    <a:pt x="2373364" y="199530"/>
                  </a:lnTo>
                  <a:lnTo>
                    <a:pt x="2373364" y="196799"/>
                  </a:lnTo>
                  <a:lnTo>
                    <a:pt x="2373364" y="198831"/>
                  </a:lnTo>
                  <a:lnTo>
                    <a:pt x="2373415" y="199530"/>
                  </a:lnTo>
                  <a:lnTo>
                    <a:pt x="2373415" y="197447"/>
                  </a:lnTo>
                  <a:lnTo>
                    <a:pt x="2373415" y="200228"/>
                  </a:lnTo>
                  <a:lnTo>
                    <a:pt x="2373516" y="200876"/>
                  </a:lnTo>
                  <a:lnTo>
                    <a:pt x="2373516" y="199530"/>
                  </a:lnTo>
                  <a:lnTo>
                    <a:pt x="2373567" y="200228"/>
                  </a:lnTo>
                  <a:lnTo>
                    <a:pt x="2373567" y="199530"/>
                  </a:lnTo>
                  <a:lnTo>
                    <a:pt x="2373567" y="200228"/>
                  </a:lnTo>
                  <a:lnTo>
                    <a:pt x="2373567" y="199530"/>
                  </a:lnTo>
                  <a:lnTo>
                    <a:pt x="2373719" y="199530"/>
                  </a:lnTo>
                  <a:lnTo>
                    <a:pt x="2373719" y="200228"/>
                  </a:lnTo>
                  <a:lnTo>
                    <a:pt x="2373719" y="199530"/>
                  </a:lnTo>
                  <a:lnTo>
                    <a:pt x="2373770" y="199530"/>
                  </a:lnTo>
                  <a:lnTo>
                    <a:pt x="2373770" y="200228"/>
                  </a:lnTo>
                  <a:lnTo>
                    <a:pt x="2373770" y="199530"/>
                  </a:lnTo>
                  <a:lnTo>
                    <a:pt x="2373821" y="199530"/>
                  </a:lnTo>
                  <a:lnTo>
                    <a:pt x="2373821" y="197447"/>
                  </a:lnTo>
                  <a:lnTo>
                    <a:pt x="2373821" y="199530"/>
                  </a:lnTo>
                  <a:lnTo>
                    <a:pt x="2373859" y="199530"/>
                  </a:lnTo>
                  <a:lnTo>
                    <a:pt x="2373859" y="196799"/>
                  </a:lnTo>
                  <a:lnTo>
                    <a:pt x="2373859" y="198831"/>
                  </a:lnTo>
                  <a:lnTo>
                    <a:pt x="2373961" y="198831"/>
                  </a:lnTo>
                  <a:lnTo>
                    <a:pt x="2373961" y="197447"/>
                  </a:lnTo>
                  <a:lnTo>
                    <a:pt x="2373961" y="200228"/>
                  </a:lnTo>
                  <a:lnTo>
                    <a:pt x="2374012" y="200228"/>
                  </a:lnTo>
                  <a:lnTo>
                    <a:pt x="2374012" y="199530"/>
                  </a:lnTo>
                  <a:lnTo>
                    <a:pt x="2374012" y="200228"/>
                  </a:lnTo>
                  <a:lnTo>
                    <a:pt x="2374062" y="200228"/>
                  </a:lnTo>
                  <a:lnTo>
                    <a:pt x="2374062" y="200876"/>
                  </a:lnTo>
                  <a:lnTo>
                    <a:pt x="2374062" y="199530"/>
                  </a:lnTo>
                  <a:lnTo>
                    <a:pt x="2374062" y="200876"/>
                  </a:lnTo>
                  <a:lnTo>
                    <a:pt x="2374164" y="200876"/>
                  </a:lnTo>
                  <a:lnTo>
                    <a:pt x="2374164" y="199530"/>
                  </a:lnTo>
                  <a:lnTo>
                    <a:pt x="2374215" y="199530"/>
                  </a:lnTo>
                  <a:lnTo>
                    <a:pt x="2374215" y="200228"/>
                  </a:lnTo>
                  <a:lnTo>
                    <a:pt x="2374215" y="199530"/>
                  </a:lnTo>
                  <a:lnTo>
                    <a:pt x="2374215" y="200228"/>
                  </a:lnTo>
                  <a:lnTo>
                    <a:pt x="2374215" y="199530"/>
                  </a:lnTo>
                  <a:lnTo>
                    <a:pt x="2374215" y="200228"/>
                  </a:lnTo>
                  <a:lnTo>
                    <a:pt x="2374215" y="199530"/>
                  </a:lnTo>
                  <a:lnTo>
                    <a:pt x="2374265" y="199530"/>
                  </a:lnTo>
                  <a:lnTo>
                    <a:pt x="2374265" y="200228"/>
                  </a:lnTo>
                  <a:lnTo>
                    <a:pt x="2374265" y="198831"/>
                  </a:lnTo>
                  <a:lnTo>
                    <a:pt x="2374316" y="198831"/>
                  </a:lnTo>
                  <a:lnTo>
                    <a:pt x="2374316" y="199530"/>
                  </a:lnTo>
                  <a:lnTo>
                    <a:pt x="2374316" y="198831"/>
                  </a:lnTo>
                  <a:lnTo>
                    <a:pt x="2374316" y="199530"/>
                  </a:lnTo>
                  <a:lnTo>
                    <a:pt x="2374316" y="197447"/>
                  </a:lnTo>
                  <a:lnTo>
                    <a:pt x="2374405" y="197447"/>
                  </a:lnTo>
                  <a:lnTo>
                    <a:pt x="2374405" y="196113"/>
                  </a:lnTo>
                  <a:lnTo>
                    <a:pt x="2374405" y="198831"/>
                  </a:lnTo>
                  <a:lnTo>
                    <a:pt x="2374405" y="197447"/>
                  </a:lnTo>
                  <a:lnTo>
                    <a:pt x="2374456" y="197447"/>
                  </a:lnTo>
                  <a:lnTo>
                    <a:pt x="2374456" y="196799"/>
                  </a:lnTo>
                  <a:lnTo>
                    <a:pt x="2374456" y="200876"/>
                  </a:lnTo>
                  <a:lnTo>
                    <a:pt x="2374456" y="199530"/>
                  </a:lnTo>
                  <a:lnTo>
                    <a:pt x="2374507" y="199530"/>
                  </a:lnTo>
                  <a:lnTo>
                    <a:pt x="2374507" y="200876"/>
                  </a:lnTo>
                  <a:lnTo>
                    <a:pt x="2374507" y="200228"/>
                  </a:lnTo>
                  <a:lnTo>
                    <a:pt x="2374507" y="200876"/>
                  </a:lnTo>
                  <a:lnTo>
                    <a:pt x="2374507" y="200228"/>
                  </a:lnTo>
                  <a:lnTo>
                    <a:pt x="2374558" y="199530"/>
                  </a:lnTo>
                  <a:lnTo>
                    <a:pt x="2374558" y="200876"/>
                  </a:lnTo>
                  <a:lnTo>
                    <a:pt x="2374558" y="200228"/>
                  </a:lnTo>
                  <a:lnTo>
                    <a:pt x="2374558" y="200876"/>
                  </a:lnTo>
                  <a:lnTo>
                    <a:pt x="2374659" y="200876"/>
                  </a:lnTo>
                  <a:lnTo>
                    <a:pt x="2374659" y="202260"/>
                  </a:lnTo>
                  <a:lnTo>
                    <a:pt x="2374659" y="200876"/>
                  </a:lnTo>
                  <a:lnTo>
                    <a:pt x="2374659" y="202260"/>
                  </a:lnTo>
                  <a:lnTo>
                    <a:pt x="2374710" y="202260"/>
                  </a:lnTo>
                  <a:lnTo>
                    <a:pt x="2374710" y="200876"/>
                  </a:lnTo>
                  <a:lnTo>
                    <a:pt x="2374710" y="202260"/>
                  </a:lnTo>
                  <a:lnTo>
                    <a:pt x="2374710" y="200876"/>
                  </a:lnTo>
                  <a:lnTo>
                    <a:pt x="2374710" y="202260"/>
                  </a:lnTo>
                  <a:lnTo>
                    <a:pt x="2374710" y="200876"/>
                  </a:lnTo>
                  <a:lnTo>
                    <a:pt x="2374761" y="200876"/>
                  </a:lnTo>
                  <a:lnTo>
                    <a:pt x="2374761" y="200228"/>
                  </a:lnTo>
                  <a:lnTo>
                    <a:pt x="2374761" y="200876"/>
                  </a:lnTo>
                  <a:lnTo>
                    <a:pt x="2374761" y="199530"/>
                  </a:lnTo>
                  <a:lnTo>
                    <a:pt x="2374761" y="200228"/>
                  </a:lnTo>
                  <a:lnTo>
                    <a:pt x="2374862" y="199530"/>
                  </a:lnTo>
                  <a:lnTo>
                    <a:pt x="2374862" y="197447"/>
                  </a:lnTo>
                  <a:lnTo>
                    <a:pt x="2374900" y="197447"/>
                  </a:lnTo>
                  <a:lnTo>
                    <a:pt x="2374900" y="200228"/>
                  </a:lnTo>
                  <a:lnTo>
                    <a:pt x="2374900" y="197447"/>
                  </a:lnTo>
                  <a:lnTo>
                    <a:pt x="2374900" y="199530"/>
                  </a:lnTo>
                  <a:lnTo>
                    <a:pt x="2374951" y="200228"/>
                  </a:lnTo>
                  <a:lnTo>
                    <a:pt x="2374951" y="202260"/>
                  </a:lnTo>
                  <a:lnTo>
                    <a:pt x="2374951" y="200228"/>
                  </a:lnTo>
                  <a:lnTo>
                    <a:pt x="2375002" y="200876"/>
                  </a:lnTo>
                  <a:lnTo>
                    <a:pt x="2375002" y="200228"/>
                  </a:lnTo>
                  <a:lnTo>
                    <a:pt x="2375002" y="200876"/>
                  </a:lnTo>
                  <a:lnTo>
                    <a:pt x="2375104" y="200876"/>
                  </a:lnTo>
                  <a:lnTo>
                    <a:pt x="2375104" y="202260"/>
                  </a:lnTo>
                  <a:lnTo>
                    <a:pt x="2375104" y="200876"/>
                  </a:lnTo>
                  <a:lnTo>
                    <a:pt x="2375104" y="202260"/>
                  </a:lnTo>
                  <a:lnTo>
                    <a:pt x="2375104" y="200876"/>
                  </a:lnTo>
                  <a:lnTo>
                    <a:pt x="2375155" y="200876"/>
                  </a:lnTo>
                  <a:lnTo>
                    <a:pt x="2375155" y="202260"/>
                  </a:lnTo>
                  <a:lnTo>
                    <a:pt x="2375155" y="200876"/>
                  </a:lnTo>
                  <a:lnTo>
                    <a:pt x="2375205" y="200876"/>
                  </a:lnTo>
                  <a:lnTo>
                    <a:pt x="2375205" y="202260"/>
                  </a:lnTo>
                  <a:lnTo>
                    <a:pt x="2375205" y="200876"/>
                  </a:lnTo>
                  <a:lnTo>
                    <a:pt x="2375205" y="202260"/>
                  </a:lnTo>
                  <a:lnTo>
                    <a:pt x="2375205" y="200228"/>
                  </a:lnTo>
                  <a:lnTo>
                    <a:pt x="2375205" y="200876"/>
                  </a:lnTo>
                  <a:lnTo>
                    <a:pt x="2375307" y="200876"/>
                  </a:lnTo>
                  <a:lnTo>
                    <a:pt x="2375307" y="199530"/>
                  </a:lnTo>
                  <a:lnTo>
                    <a:pt x="2375307" y="200228"/>
                  </a:lnTo>
                  <a:lnTo>
                    <a:pt x="2375307" y="199530"/>
                  </a:lnTo>
                  <a:lnTo>
                    <a:pt x="2375307" y="200228"/>
                  </a:lnTo>
                  <a:lnTo>
                    <a:pt x="2375307" y="198831"/>
                  </a:lnTo>
                  <a:lnTo>
                    <a:pt x="2375358" y="198831"/>
                  </a:lnTo>
                  <a:lnTo>
                    <a:pt x="2375358" y="199530"/>
                  </a:lnTo>
                  <a:lnTo>
                    <a:pt x="2375358" y="197447"/>
                  </a:lnTo>
                  <a:lnTo>
                    <a:pt x="2375358" y="200228"/>
                  </a:lnTo>
                  <a:lnTo>
                    <a:pt x="2375358" y="199530"/>
                  </a:lnTo>
                  <a:lnTo>
                    <a:pt x="2375409" y="198831"/>
                  </a:lnTo>
                  <a:lnTo>
                    <a:pt x="2375409" y="197447"/>
                  </a:lnTo>
                  <a:lnTo>
                    <a:pt x="2375409" y="202260"/>
                  </a:lnTo>
                  <a:lnTo>
                    <a:pt x="2375409" y="200228"/>
                  </a:lnTo>
                  <a:lnTo>
                    <a:pt x="2375447" y="200228"/>
                  </a:lnTo>
                  <a:lnTo>
                    <a:pt x="2375447" y="199530"/>
                  </a:lnTo>
                  <a:lnTo>
                    <a:pt x="2375447" y="202260"/>
                  </a:lnTo>
                  <a:lnTo>
                    <a:pt x="2375447" y="200876"/>
                  </a:lnTo>
                  <a:lnTo>
                    <a:pt x="2375447" y="202260"/>
                  </a:lnTo>
                  <a:lnTo>
                    <a:pt x="2375548" y="200876"/>
                  </a:lnTo>
                  <a:lnTo>
                    <a:pt x="2375548" y="200228"/>
                  </a:lnTo>
                  <a:lnTo>
                    <a:pt x="2375548" y="202260"/>
                  </a:lnTo>
                  <a:lnTo>
                    <a:pt x="2375548" y="200876"/>
                  </a:lnTo>
                  <a:lnTo>
                    <a:pt x="2375599" y="200228"/>
                  </a:lnTo>
                  <a:lnTo>
                    <a:pt x="2375599" y="202260"/>
                  </a:lnTo>
                  <a:lnTo>
                    <a:pt x="2375599" y="200876"/>
                  </a:lnTo>
                  <a:lnTo>
                    <a:pt x="2375599" y="202260"/>
                  </a:lnTo>
                  <a:lnTo>
                    <a:pt x="2375599" y="200876"/>
                  </a:lnTo>
                  <a:lnTo>
                    <a:pt x="2375650" y="202260"/>
                  </a:lnTo>
                  <a:lnTo>
                    <a:pt x="2375650" y="200876"/>
                  </a:lnTo>
                  <a:lnTo>
                    <a:pt x="2375650" y="202260"/>
                  </a:lnTo>
                  <a:lnTo>
                    <a:pt x="2375650" y="200876"/>
                  </a:lnTo>
                  <a:lnTo>
                    <a:pt x="2375650" y="202260"/>
                  </a:lnTo>
                  <a:lnTo>
                    <a:pt x="2375650" y="200876"/>
                  </a:lnTo>
                  <a:lnTo>
                    <a:pt x="2375650" y="202260"/>
                  </a:lnTo>
                  <a:lnTo>
                    <a:pt x="2375650" y="200876"/>
                  </a:lnTo>
                  <a:lnTo>
                    <a:pt x="2375650" y="202260"/>
                  </a:lnTo>
                  <a:lnTo>
                    <a:pt x="2375751" y="202260"/>
                  </a:lnTo>
                  <a:lnTo>
                    <a:pt x="2375751" y="200876"/>
                  </a:lnTo>
                  <a:lnTo>
                    <a:pt x="2375802" y="200876"/>
                  </a:lnTo>
                  <a:lnTo>
                    <a:pt x="2375802" y="198831"/>
                  </a:lnTo>
                  <a:lnTo>
                    <a:pt x="2375853" y="198831"/>
                  </a:lnTo>
                  <a:lnTo>
                    <a:pt x="2375853" y="199530"/>
                  </a:lnTo>
                  <a:lnTo>
                    <a:pt x="2375853" y="197447"/>
                  </a:lnTo>
                  <a:lnTo>
                    <a:pt x="2375904" y="197447"/>
                  </a:lnTo>
                  <a:lnTo>
                    <a:pt x="2375904" y="200228"/>
                  </a:lnTo>
                  <a:lnTo>
                    <a:pt x="2375904" y="199530"/>
                  </a:lnTo>
                  <a:lnTo>
                    <a:pt x="2375993" y="199530"/>
                  </a:lnTo>
                  <a:lnTo>
                    <a:pt x="2375993" y="200876"/>
                  </a:lnTo>
                  <a:lnTo>
                    <a:pt x="2375993" y="200228"/>
                  </a:lnTo>
                  <a:lnTo>
                    <a:pt x="2376044" y="200228"/>
                  </a:lnTo>
                  <a:lnTo>
                    <a:pt x="2376044" y="200876"/>
                  </a:lnTo>
                  <a:lnTo>
                    <a:pt x="2376044" y="200228"/>
                  </a:lnTo>
                  <a:lnTo>
                    <a:pt x="2376044" y="200876"/>
                  </a:lnTo>
                  <a:lnTo>
                    <a:pt x="2376044" y="200228"/>
                  </a:lnTo>
                  <a:lnTo>
                    <a:pt x="2376044" y="200876"/>
                  </a:lnTo>
                  <a:lnTo>
                    <a:pt x="2376044" y="200228"/>
                  </a:lnTo>
                  <a:lnTo>
                    <a:pt x="2376044" y="200876"/>
                  </a:lnTo>
                  <a:lnTo>
                    <a:pt x="2376145" y="200876"/>
                  </a:lnTo>
                  <a:lnTo>
                    <a:pt x="2376145" y="200228"/>
                  </a:lnTo>
                  <a:lnTo>
                    <a:pt x="2376145" y="200876"/>
                  </a:lnTo>
                  <a:lnTo>
                    <a:pt x="2376145" y="200228"/>
                  </a:lnTo>
                  <a:lnTo>
                    <a:pt x="2376145" y="200876"/>
                  </a:lnTo>
                  <a:lnTo>
                    <a:pt x="2376247" y="200876"/>
                  </a:lnTo>
                  <a:lnTo>
                    <a:pt x="2376247" y="199530"/>
                  </a:lnTo>
                  <a:lnTo>
                    <a:pt x="2376297" y="199530"/>
                  </a:lnTo>
                  <a:lnTo>
                    <a:pt x="2376297" y="197447"/>
                  </a:lnTo>
                  <a:lnTo>
                    <a:pt x="2376297" y="198831"/>
                  </a:lnTo>
                  <a:lnTo>
                    <a:pt x="2376348" y="199530"/>
                  </a:lnTo>
                  <a:lnTo>
                    <a:pt x="2376348" y="198831"/>
                  </a:lnTo>
                  <a:lnTo>
                    <a:pt x="2376348" y="200228"/>
                  </a:lnTo>
                  <a:lnTo>
                    <a:pt x="2376450" y="200876"/>
                  </a:lnTo>
                  <a:lnTo>
                    <a:pt x="2376450" y="200228"/>
                  </a:lnTo>
                  <a:lnTo>
                    <a:pt x="2376450" y="202260"/>
                  </a:lnTo>
                  <a:lnTo>
                    <a:pt x="2376488" y="200876"/>
                  </a:lnTo>
                  <a:lnTo>
                    <a:pt x="2376488" y="200228"/>
                  </a:lnTo>
                  <a:lnTo>
                    <a:pt x="2376488" y="200876"/>
                  </a:lnTo>
                  <a:lnTo>
                    <a:pt x="2376590" y="200876"/>
                  </a:lnTo>
                  <a:lnTo>
                    <a:pt x="2376590" y="202260"/>
                  </a:lnTo>
                  <a:lnTo>
                    <a:pt x="2376590" y="200876"/>
                  </a:lnTo>
                  <a:lnTo>
                    <a:pt x="2376590" y="202260"/>
                  </a:lnTo>
                  <a:lnTo>
                    <a:pt x="2376590" y="200876"/>
                  </a:lnTo>
                  <a:lnTo>
                    <a:pt x="2376590" y="202260"/>
                  </a:lnTo>
                  <a:lnTo>
                    <a:pt x="2376691" y="202260"/>
                  </a:lnTo>
                  <a:lnTo>
                    <a:pt x="2376691" y="200876"/>
                  </a:lnTo>
                  <a:lnTo>
                    <a:pt x="2376691" y="202260"/>
                  </a:lnTo>
                  <a:lnTo>
                    <a:pt x="2376691" y="200876"/>
                  </a:lnTo>
                  <a:lnTo>
                    <a:pt x="2376742" y="202260"/>
                  </a:lnTo>
                  <a:lnTo>
                    <a:pt x="2376742" y="200228"/>
                  </a:lnTo>
                  <a:lnTo>
                    <a:pt x="2376742" y="200876"/>
                  </a:lnTo>
                  <a:lnTo>
                    <a:pt x="2376742" y="200228"/>
                  </a:lnTo>
                  <a:lnTo>
                    <a:pt x="2376742" y="200876"/>
                  </a:lnTo>
                  <a:lnTo>
                    <a:pt x="2376742" y="200228"/>
                  </a:lnTo>
                  <a:lnTo>
                    <a:pt x="2376793" y="199530"/>
                  </a:lnTo>
                  <a:lnTo>
                    <a:pt x="2376793" y="200228"/>
                  </a:lnTo>
                  <a:lnTo>
                    <a:pt x="2376894" y="200228"/>
                  </a:lnTo>
                  <a:lnTo>
                    <a:pt x="2376894" y="199530"/>
                  </a:lnTo>
                  <a:lnTo>
                    <a:pt x="2376894" y="202260"/>
                  </a:lnTo>
                  <a:lnTo>
                    <a:pt x="2376894" y="200876"/>
                  </a:lnTo>
                  <a:lnTo>
                    <a:pt x="2376945" y="200876"/>
                  </a:lnTo>
                  <a:lnTo>
                    <a:pt x="2376945" y="200228"/>
                  </a:lnTo>
                  <a:lnTo>
                    <a:pt x="2376945" y="202260"/>
                  </a:lnTo>
                  <a:lnTo>
                    <a:pt x="2376996" y="202260"/>
                  </a:lnTo>
                  <a:lnTo>
                    <a:pt x="2376996" y="200876"/>
                  </a:lnTo>
                  <a:lnTo>
                    <a:pt x="2376996" y="202260"/>
                  </a:lnTo>
                  <a:lnTo>
                    <a:pt x="2376996" y="200876"/>
                  </a:lnTo>
                  <a:lnTo>
                    <a:pt x="2377034" y="202260"/>
                  </a:lnTo>
                  <a:lnTo>
                    <a:pt x="2377034" y="200876"/>
                  </a:lnTo>
                  <a:lnTo>
                    <a:pt x="2377034" y="202260"/>
                  </a:lnTo>
                  <a:lnTo>
                    <a:pt x="2377034" y="200876"/>
                  </a:lnTo>
                  <a:lnTo>
                    <a:pt x="2377034" y="202260"/>
                  </a:lnTo>
                  <a:lnTo>
                    <a:pt x="2377136" y="202260"/>
                  </a:lnTo>
                  <a:lnTo>
                    <a:pt x="2377136" y="200876"/>
                  </a:lnTo>
                  <a:lnTo>
                    <a:pt x="2377136" y="202260"/>
                  </a:lnTo>
                  <a:lnTo>
                    <a:pt x="2377136" y="200876"/>
                  </a:lnTo>
                  <a:lnTo>
                    <a:pt x="2377187" y="200876"/>
                  </a:lnTo>
                  <a:lnTo>
                    <a:pt x="2377187" y="202260"/>
                  </a:lnTo>
                  <a:lnTo>
                    <a:pt x="2377187" y="200228"/>
                  </a:lnTo>
                  <a:lnTo>
                    <a:pt x="2377187" y="200876"/>
                  </a:lnTo>
                  <a:lnTo>
                    <a:pt x="2377187" y="200228"/>
                  </a:lnTo>
                  <a:lnTo>
                    <a:pt x="2377237" y="200228"/>
                  </a:lnTo>
                  <a:lnTo>
                    <a:pt x="2377237" y="198831"/>
                  </a:lnTo>
                  <a:lnTo>
                    <a:pt x="2377339" y="198831"/>
                  </a:lnTo>
                  <a:lnTo>
                    <a:pt x="2377339" y="199530"/>
                  </a:lnTo>
                  <a:lnTo>
                    <a:pt x="2377339" y="198831"/>
                  </a:lnTo>
                  <a:lnTo>
                    <a:pt x="2377339" y="199530"/>
                  </a:lnTo>
                  <a:lnTo>
                    <a:pt x="2377339" y="198831"/>
                  </a:lnTo>
                  <a:lnTo>
                    <a:pt x="2377390" y="199530"/>
                  </a:lnTo>
                  <a:lnTo>
                    <a:pt x="2377390" y="198831"/>
                  </a:lnTo>
                  <a:lnTo>
                    <a:pt x="2377390" y="200876"/>
                  </a:lnTo>
                  <a:lnTo>
                    <a:pt x="2377390" y="200228"/>
                  </a:lnTo>
                  <a:lnTo>
                    <a:pt x="2377390" y="200876"/>
                  </a:lnTo>
                  <a:lnTo>
                    <a:pt x="2377390" y="200228"/>
                  </a:lnTo>
                  <a:lnTo>
                    <a:pt x="2377440" y="200228"/>
                  </a:lnTo>
                  <a:lnTo>
                    <a:pt x="2377440" y="202260"/>
                  </a:lnTo>
                  <a:lnTo>
                    <a:pt x="2377440" y="200228"/>
                  </a:lnTo>
                  <a:lnTo>
                    <a:pt x="2377440" y="200876"/>
                  </a:lnTo>
                  <a:lnTo>
                    <a:pt x="2377491" y="200876"/>
                  </a:lnTo>
                  <a:lnTo>
                    <a:pt x="2377491" y="202260"/>
                  </a:lnTo>
                  <a:lnTo>
                    <a:pt x="2377491" y="200876"/>
                  </a:lnTo>
                  <a:lnTo>
                    <a:pt x="2377491" y="202260"/>
                  </a:lnTo>
                  <a:lnTo>
                    <a:pt x="2377580" y="200876"/>
                  </a:lnTo>
                  <a:lnTo>
                    <a:pt x="2377580" y="202260"/>
                  </a:lnTo>
                  <a:lnTo>
                    <a:pt x="2377580" y="200876"/>
                  </a:lnTo>
                  <a:lnTo>
                    <a:pt x="2377580" y="202260"/>
                  </a:lnTo>
                  <a:lnTo>
                    <a:pt x="2377580" y="200876"/>
                  </a:lnTo>
                  <a:lnTo>
                    <a:pt x="2377580" y="202260"/>
                  </a:lnTo>
                  <a:lnTo>
                    <a:pt x="2377631" y="200876"/>
                  </a:lnTo>
                  <a:lnTo>
                    <a:pt x="2377631" y="202260"/>
                  </a:lnTo>
                  <a:lnTo>
                    <a:pt x="2377631" y="200876"/>
                  </a:lnTo>
                  <a:lnTo>
                    <a:pt x="2377631" y="202260"/>
                  </a:lnTo>
                  <a:lnTo>
                    <a:pt x="2377631" y="200876"/>
                  </a:lnTo>
                  <a:lnTo>
                    <a:pt x="2377682" y="200876"/>
                  </a:lnTo>
                  <a:lnTo>
                    <a:pt x="2377682" y="200228"/>
                  </a:lnTo>
                  <a:lnTo>
                    <a:pt x="2377682" y="200876"/>
                  </a:lnTo>
                  <a:lnTo>
                    <a:pt x="2377682" y="200228"/>
                  </a:lnTo>
                  <a:lnTo>
                    <a:pt x="2377733" y="200228"/>
                  </a:lnTo>
                  <a:lnTo>
                    <a:pt x="2377733" y="198831"/>
                  </a:lnTo>
                  <a:lnTo>
                    <a:pt x="2377733" y="199530"/>
                  </a:lnTo>
                  <a:lnTo>
                    <a:pt x="2377733" y="198831"/>
                  </a:lnTo>
                  <a:lnTo>
                    <a:pt x="2377733" y="199530"/>
                  </a:lnTo>
                  <a:lnTo>
                    <a:pt x="2377834" y="200228"/>
                  </a:lnTo>
                  <a:lnTo>
                    <a:pt x="2377834" y="199530"/>
                  </a:lnTo>
                  <a:lnTo>
                    <a:pt x="2377834" y="202260"/>
                  </a:lnTo>
                  <a:lnTo>
                    <a:pt x="2377885" y="202260"/>
                  </a:lnTo>
                  <a:lnTo>
                    <a:pt x="2377885" y="200228"/>
                  </a:lnTo>
                  <a:lnTo>
                    <a:pt x="2377885" y="200876"/>
                  </a:lnTo>
                  <a:lnTo>
                    <a:pt x="2377885" y="200228"/>
                  </a:lnTo>
                  <a:lnTo>
                    <a:pt x="2377885" y="202260"/>
                  </a:lnTo>
                  <a:lnTo>
                    <a:pt x="2377885" y="200876"/>
                  </a:lnTo>
                  <a:lnTo>
                    <a:pt x="2377936" y="202260"/>
                  </a:lnTo>
                  <a:lnTo>
                    <a:pt x="2377936" y="200228"/>
                  </a:lnTo>
                  <a:lnTo>
                    <a:pt x="2377936" y="202260"/>
                  </a:lnTo>
                  <a:lnTo>
                    <a:pt x="2378037" y="202260"/>
                  </a:lnTo>
                  <a:lnTo>
                    <a:pt x="2378037" y="200876"/>
                  </a:lnTo>
                  <a:lnTo>
                    <a:pt x="2378037" y="202260"/>
                  </a:lnTo>
                  <a:lnTo>
                    <a:pt x="2378037" y="200876"/>
                  </a:lnTo>
                  <a:lnTo>
                    <a:pt x="2378037" y="202260"/>
                  </a:lnTo>
                  <a:lnTo>
                    <a:pt x="2378075" y="202260"/>
                  </a:lnTo>
                  <a:lnTo>
                    <a:pt x="2378075" y="200876"/>
                  </a:lnTo>
                  <a:lnTo>
                    <a:pt x="2378075" y="202260"/>
                  </a:lnTo>
                  <a:lnTo>
                    <a:pt x="2378126" y="202260"/>
                  </a:lnTo>
                  <a:lnTo>
                    <a:pt x="2378126" y="200876"/>
                  </a:lnTo>
                  <a:lnTo>
                    <a:pt x="2378126" y="202260"/>
                  </a:lnTo>
                  <a:lnTo>
                    <a:pt x="2378126" y="200876"/>
                  </a:lnTo>
                  <a:lnTo>
                    <a:pt x="2378126" y="202260"/>
                  </a:lnTo>
                  <a:lnTo>
                    <a:pt x="2378126" y="200876"/>
                  </a:lnTo>
                  <a:lnTo>
                    <a:pt x="2378177" y="200876"/>
                  </a:lnTo>
                  <a:lnTo>
                    <a:pt x="2378177" y="199530"/>
                  </a:lnTo>
                  <a:lnTo>
                    <a:pt x="2378279" y="198831"/>
                  </a:lnTo>
                  <a:lnTo>
                    <a:pt x="2378279" y="196799"/>
                  </a:lnTo>
                  <a:lnTo>
                    <a:pt x="2378330" y="196799"/>
                  </a:lnTo>
                  <a:lnTo>
                    <a:pt x="2378330" y="198831"/>
                  </a:lnTo>
                  <a:lnTo>
                    <a:pt x="2378330" y="197447"/>
                  </a:lnTo>
                  <a:lnTo>
                    <a:pt x="2378330" y="199530"/>
                  </a:lnTo>
                  <a:lnTo>
                    <a:pt x="2378380" y="200228"/>
                  </a:lnTo>
                  <a:lnTo>
                    <a:pt x="2378380" y="198831"/>
                  </a:lnTo>
                  <a:lnTo>
                    <a:pt x="2378380" y="200228"/>
                  </a:lnTo>
                  <a:lnTo>
                    <a:pt x="2378482" y="200228"/>
                  </a:lnTo>
                  <a:lnTo>
                    <a:pt x="2378482" y="199530"/>
                  </a:lnTo>
                  <a:lnTo>
                    <a:pt x="2378482" y="200228"/>
                  </a:lnTo>
                  <a:lnTo>
                    <a:pt x="2378533" y="200228"/>
                  </a:lnTo>
                  <a:lnTo>
                    <a:pt x="2378533" y="200876"/>
                  </a:lnTo>
                  <a:lnTo>
                    <a:pt x="2378584" y="200876"/>
                  </a:lnTo>
                  <a:lnTo>
                    <a:pt x="2378584" y="202260"/>
                  </a:lnTo>
                  <a:lnTo>
                    <a:pt x="2378584" y="200876"/>
                  </a:lnTo>
                  <a:lnTo>
                    <a:pt x="2378584" y="202260"/>
                  </a:lnTo>
                  <a:lnTo>
                    <a:pt x="2378622" y="202260"/>
                  </a:lnTo>
                  <a:lnTo>
                    <a:pt x="2378622" y="202959"/>
                  </a:lnTo>
                  <a:lnTo>
                    <a:pt x="2378622" y="202260"/>
                  </a:lnTo>
                  <a:lnTo>
                    <a:pt x="2378622" y="202959"/>
                  </a:lnTo>
                  <a:lnTo>
                    <a:pt x="2378622" y="200876"/>
                  </a:lnTo>
                  <a:lnTo>
                    <a:pt x="2378723" y="200876"/>
                  </a:lnTo>
                  <a:lnTo>
                    <a:pt x="2378723" y="199530"/>
                  </a:lnTo>
                  <a:lnTo>
                    <a:pt x="2378723" y="200228"/>
                  </a:lnTo>
                  <a:lnTo>
                    <a:pt x="2378723" y="199530"/>
                  </a:lnTo>
                  <a:lnTo>
                    <a:pt x="2378774" y="198831"/>
                  </a:lnTo>
                  <a:lnTo>
                    <a:pt x="2378774" y="197447"/>
                  </a:lnTo>
                  <a:lnTo>
                    <a:pt x="2378774" y="199530"/>
                  </a:lnTo>
                  <a:lnTo>
                    <a:pt x="2378774" y="198831"/>
                  </a:lnTo>
                  <a:lnTo>
                    <a:pt x="2378825" y="197447"/>
                  </a:lnTo>
                  <a:lnTo>
                    <a:pt x="2378825" y="196799"/>
                  </a:lnTo>
                  <a:lnTo>
                    <a:pt x="2378825" y="200228"/>
                  </a:lnTo>
                  <a:lnTo>
                    <a:pt x="2378825" y="198831"/>
                  </a:lnTo>
                  <a:lnTo>
                    <a:pt x="2378926" y="198831"/>
                  </a:lnTo>
                  <a:lnTo>
                    <a:pt x="2378926" y="199530"/>
                  </a:lnTo>
                  <a:lnTo>
                    <a:pt x="2378926" y="198831"/>
                  </a:lnTo>
                  <a:lnTo>
                    <a:pt x="2378926" y="199530"/>
                  </a:lnTo>
                  <a:lnTo>
                    <a:pt x="2378926" y="198831"/>
                  </a:lnTo>
                  <a:lnTo>
                    <a:pt x="2378977" y="198831"/>
                  </a:lnTo>
                  <a:lnTo>
                    <a:pt x="2378977" y="199530"/>
                  </a:lnTo>
                  <a:lnTo>
                    <a:pt x="2378977" y="198831"/>
                  </a:lnTo>
                  <a:lnTo>
                    <a:pt x="2379028" y="199530"/>
                  </a:lnTo>
                  <a:lnTo>
                    <a:pt x="2379028" y="198831"/>
                  </a:lnTo>
                  <a:lnTo>
                    <a:pt x="2379028" y="200228"/>
                  </a:lnTo>
                  <a:lnTo>
                    <a:pt x="2379028" y="199530"/>
                  </a:lnTo>
                  <a:lnTo>
                    <a:pt x="2379028" y="200228"/>
                  </a:lnTo>
                  <a:lnTo>
                    <a:pt x="2379079" y="200228"/>
                  </a:lnTo>
                  <a:lnTo>
                    <a:pt x="2379079" y="200876"/>
                  </a:lnTo>
                  <a:lnTo>
                    <a:pt x="2379079" y="200228"/>
                  </a:lnTo>
                  <a:lnTo>
                    <a:pt x="2379079" y="200876"/>
                  </a:lnTo>
                  <a:lnTo>
                    <a:pt x="2379079" y="200228"/>
                  </a:lnTo>
                  <a:lnTo>
                    <a:pt x="2379168" y="200228"/>
                  </a:lnTo>
                  <a:lnTo>
                    <a:pt x="2379168" y="199530"/>
                  </a:lnTo>
                  <a:lnTo>
                    <a:pt x="2379168" y="200228"/>
                  </a:lnTo>
                  <a:lnTo>
                    <a:pt x="2379219" y="199530"/>
                  </a:lnTo>
                  <a:lnTo>
                    <a:pt x="2379219" y="198831"/>
                  </a:lnTo>
                  <a:lnTo>
                    <a:pt x="2379219" y="199530"/>
                  </a:lnTo>
                  <a:lnTo>
                    <a:pt x="2379219" y="198831"/>
                  </a:lnTo>
                  <a:lnTo>
                    <a:pt x="2379219" y="199530"/>
                  </a:lnTo>
                  <a:lnTo>
                    <a:pt x="2379219" y="198831"/>
                  </a:lnTo>
                  <a:lnTo>
                    <a:pt x="2379269" y="198831"/>
                  </a:lnTo>
                  <a:lnTo>
                    <a:pt x="2379269" y="200228"/>
                  </a:lnTo>
                  <a:lnTo>
                    <a:pt x="2379269" y="199530"/>
                  </a:lnTo>
                  <a:lnTo>
                    <a:pt x="2379269" y="200228"/>
                  </a:lnTo>
                  <a:lnTo>
                    <a:pt x="2379320" y="200876"/>
                  </a:lnTo>
                  <a:lnTo>
                    <a:pt x="2379320" y="202260"/>
                  </a:lnTo>
                  <a:lnTo>
                    <a:pt x="2379320" y="200876"/>
                  </a:lnTo>
                  <a:lnTo>
                    <a:pt x="2379320" y="202260"/>
                  </a:lnTo>
                  <a:lnTo>
                    <a:pt x="2379320" y="200876"/>
                  </a:lnTo>
                  <a:lnTo>
                    <a:pt x="2379320" y="202260"/>
                  </a:lnTo>
                  <a:lnTo>
                    <a:pt x="2379422" y="202260"/>
                  </a:lnTo>
                  <a:lnTo>
                    <a:pt x="2379422" y="200876"/>
                  </a:lnTo>
                  <a:lnTo>
                    <a:pt x="2379422" y="202260"/>
                  </a:lnTo>
                  <a:lnTo>
                    <a:pt x="2379472" y="202260"/>
                  </a:lnTo>
                  <a:lnTo>
                    <a:pt x="2379472" y="200876"/>
                  </a:lnTo>
                  <a:lnTo>
                    <a:pt x="2379472" y="202260"/>
                  </a:lnTo>
                  <a:lnTo>
                    <a:pt x="2379472" y="200876"/>
                  </a:lnTo>
                  <a:lnTo>
                    <a:pt x="2379523" y="200876"/>
                  </a:lnTo>
                  <a:lnTo>
                    <a:pt x="2379523" y="202260"/>
                  </a:lnTo>
                  <a:lnTo>
                    <a:pt x="2379523" y="200876"/>
                  </a:lnTo>
                  <a:lnTo>
                    <a:pt x="2379523" y="202260"/>
                  </a:lnTo>
                  <a:lnTo>
                    <a:pt x="2379523" y="200876"/>
                  </a:lnTo>
                  <a:lnTo>
                    <a:pt x="2379625" y="200876"/>
                  </a:lnTo>
                  <a:lnTo>
                    <a:pt x="2379625" y="200228"/>
                  </a:lnTo>
                  <a:lnTo>
                    <a:pt x="2379625" y="200876"/>
                  </a:lnTo>
                  <a:lnTo>
                    <a:pt x="2379625" y="200228"/>
                  </a:lnTo>
                  <a:lnTo>
                    <a:pt x="2379625" y="200876"/>
                  </a:lnTo>
                  <a:lnTo>
                    <a:pt x="2379625" y="200228"/>
                  </a:lnTo>
                  <a:lnTo>
                    <a:pt x="2379625" y="200876"/>
                  </a:lnTo>
                  <a:lnTo>
                    <a:pt x="2379663" y="200876"/>
                  </a:lnTo>
                  <a:lnTo>
                    <a:pt x="2379663" y="198831"/>
                  </a:lnTo>
                  <a:lnTo>
                    <a:pt x="2379663" y="199530"/>
                  </a:lnTo>
                  <a:lnTo>
                    <a:pt x="2379663" y="198831"/>
                  </a:lnTo>
                  <a:lnTo>
                    <a:pt x="2379714" y="198831"/>
                  </a:lnTo>
                  <a:lnTo>
                    <a:pt x="2379714" y="197447"/>
                  </a:lnTo>
                  <a:lnTo>
                    <a:pt x="2379714" y="199530"/>
                  </a:lnTo>
                  <a:lnTo>
                    <a:pt x="2379765" y="199530"/>
                  </a:lnTo>
                  <a:lnTo>
                    <a:pt x="2379765" y="200228"/>
                  </a:lnTo>
                  <a:lnTo>
                    <a:pt x="2379765" y="199530"/>
                  </a:lnTo>
                  <a:lnTo>
                    <a:pt x="2379765" y="200876"/>
                  </a:lnTo>
                  <a:lnTo>
                    <a:pt x="2379866" y="200876"/>
                  </a:lnTo>
                  <a:lnTo>
                    <a:pt x="2379866" y="200228"/>
                  </a:lnTo>
                  <a:lnTo>
                    <a:pt x="2379866" y="202260"/>
                  </a:lnTo>
                  <a:lnTo>
                    <a:pt x="2379917" y="200876"/>
                  </a:lnTo>
                  <a:lnTo>
                    <a:pt x="2379917" y="202260"/>
                  </a:lnTo>
                  <a:lnTo>
                    <a:pt x="2379917" y="200876"/>
                  </a:lnTo>
                  <a:lnTo>
                    <a:pt x="2379917" y="202260"/>
                  </a:lnTo>
                  <a:lnTo>
                    <a:pt x="2379968" y="200876"/>
                  </a:lnTo>
                  <a:lnTo>
                    <a:pt x="2379968" y="202260"/>
                  </a:lnTo>
                  <a:lnTo>
                    <a:pt x="2379968" y="200876"/>
                  </a:lnTo>
                  <a:lnTo>
                    <a:pt x="2380069" y="202260"/>
                  </a:lnTo>
                  <a:lnTo>
                    <a:pt x="2380069" y="200876"/>
                  </a:lnTo>
                  <a:lnTo>
                    <a:pt x="2380069" y="202260"/>
                  </a:lnTo>
                  <a:lnTo>
                    <a:pt x="2380069" y="200876"/>
                  </a:lnTo>
                  <a:lnTo>
                    <a:pt x="2380120" y="200876"/>
                  </a:lnTo>
                  <a:lnTo>
                    <a:pt x="2380120" y="200228"/>
                  </a:lnTo>
                  <a:lnTo>
                    <a:pt x="2380120" y="200876"/>
                  </a:lnTo>
                  <a:lnTo>
                    <a:pt x="2380120" y="200228"/>
                  </a:lnTo>
                  <a:lnTo>
                    <a:pt x="2380120" y="200876"/>
                  </a:lnTo>
                  <a:lnTo>
                    <a:pt x="2380120" y="199530"/>
                  </a:lnTo>
                  <a:lnTo>
                    <a:pt x="2380120" y="200228"/>
                  </a:lnTo>
                  <a:lnTo>
                    <a:pt x="2380171" y="200228"/>
                  </a:lnTo>
                  <a:lnTo>
                    <a:pt x="2380171" y="197447"/>
                  </a:lnTo>
                  <a:lnTo>
                    <a:pt x="2380209" y="197447"/>
                  </a:lnTo>
                  <a:lnTo>
                    <a:pt x="2380209" y="196113"/>
                  </a:lnTo>
                  <a:lnTo>
                    <a:pt x="2380209" y="198831"/>
                  </a:lnTo>
                  <a:lnTo>
                    <a:pt x="2380311" y="198831"/>
                  </a:lnTo>
                  <a:lnTo>
                    <a:pt x="2380311" y="196799"/>
                  </a:lnTo>
                  <a:lnTo>
                    <a:pt x="2380311" y="199530"/>
                  </a:lnTo>
                  <a:lnTo>
                    <a:pt x="2380362" y="199530"/>
                  </a:lnTo>
                  <a:lnTo>
                    <a:pt x="2380362" y="198831"/>
                  </a:lnTo>
                  <a:lnTo>
                    <a:pt x="2380362" y="200228"/>
                  </a:lnTo>
                  <a:lnTo>
                    <a:pt x="2380362" y="199530"/>
                  </a:lnTo>
                  <a:lnTo>
                    <a:pt x="2380362" y="200228"/>
                  </a:lnTo>
                  <a:lnTo>
                    <a:pt x="2380362" y="199530"/>
                  </a:lnTo>
                  <a:lnTo>
                    <a:pt x="2380412" y="199530"/>
                  </a:lnTo>
                  <a:lnTo>
                    <a:pt x="2380412" y="200228"/>
                  </a:lnTo>
                  <a:lnTo>
                    <a:pt x="2380412" y="199530"/>
                  </a:lnTo>
                  <a:lnTo>
                    <a:pt x="2380412" y="200876"/>
                  </a:lnTo>
                  <a:lnTo>
                    <a:pt x="2380412" y="200228"/>
                  </a:lnTo>
                  <a:lnTo>
                    <a:pt x="2380412" y="200876"/>
                  </a:lnTo>
                  <a:lnTo>
                    <a:pt x="2380412" y="200228"/>
                  </a:lnTo>
                  <a:lnTo>
                    <a:pt x="2380412" y="200876"/>
                  </a:lnTo>
                  <a:lnTo>
                    <a:pt x="2380514" y="200876"/>
                  </a:lnTo>
                  <a:lnTo>
                    <a:pt x="2380514" y="202260"/>
                  </a:lnTo>
                  <a:lnTo>
                    <a:pt x="2380514" y="200876"/>
                  </a:lnTo>
                  <a:lnTo>
                    <a:pt x="2380514" y="202260"/>
                  </a:lnTo>
                  <a:lnTo>
                    <a:pt x="2380565" y="202260"/>
                  </a:lnTo>
                  <a:lnTo>
                    <a:pt x="2380565" y="200876"/>
                  </a:lnTo>
                  <a:lnTo>
                    <a:pt x="2380565" y="202260"/>
                  </a:lnTo>
                  <a:lnTo>
                    <a:pt x="2380565" y="200876"/>
                  </a:lnTo>
                  <a:lnTo>
                    <a:pt x="2380565" y="202260"/>
                  </a:lnTo>
                  <a:lnTo>
                    <a:pt x="2380565" y="200876"/>
                  </a:lnTo>
                  <a:lnTo>
                    <a:pt x="2380615" y="200876"/>
                  </a:lnTo>
                  <a:lnTo>
                    <a:pt x="2380615" y="199530"/>
                  </a:lnTo>
                  <a:lnTo>
                    <a:pt x="2380666" y="199530"/>
                  </a:lnTo>
                  <a:lnTo>
                    <a:pt x="2380666" y="197447"/>
                  </a:lnTo>
                  <a:lnTo>
                    <a:pt x="2380666" y="198831"/>
                  </a:lnTo>
                  <a:lnTo>
                    <a:pt x="2380666" y="197447"/>
                  </a:lnTo>
                  <a:lnTo>
                    <a:pt x="2380755" y="196799"/>
                  </a:lnTo>
                  <a:lnTo>
                    <a:pt x="2380755" y="198831"/>
                  </a:lnTo>
                  <a:lnTo>
                    <a:pt x="2380755" y="197447"/>
                  </a:lnTo>
                  <a:lnTo>
                    <a:pt x="2380806" y="197447"/>
                  </a:lnTo>
                  <a:lnTo>
                    <a:pt x="2380806" y="196799"/>
                  </a:lnTo>
                  <a:lnTo>
                    <a:pt x="2380806" y="199530"/>
                  </a:lnTo>
                  <a:lnTo>
                    <a:pt x="2380806" y="198831"/>
                  </a:lnTo>
                  <a:lnTo>
                    <a:pt x="2380857" y="198831"/>
                  </a:lnTo>
                  <a:lnTo>
                    <a:pt x="2380857" y="200228"/>
                  </a:lnTo>
                  <a:lnTo>
                    <a:pt x="2380857" y="199530"/>
                  </a:lnTo>
                  <a:lnTo>
                    <a:pt x="2380908" y="199530"/>
                  </a:lnTo>
                  <a:lnTo>
                    <a:pt x="2381009" y="200228"/>
                  </a:lnTo>
                  <a:lnTo>
                    <a:pt x="2381009" y="199530"/>
                  </a:lnTo>
                  <a:lnTo>
                    <a:pt x="2381009" y="200228"/>
                  </a:lnTo>
                  <a:lnTo>
                    <a:pt x="2381009" y="199530"/>
                  </a:lnTo>
                  <a:lnTo>
                    <a:pt x="2381009" y="200228"/>
                  </a:lnTo>
                  <a:lnTo>
                    <a:pt x="2381009" y="199530"/>
                  </a:lnTo>
                  <a:lnTo>
                    <a:pt x="2381009" y="200228"/>
                  </a:lnTo>
                  <a:lnTo>
                    <a:pt x="2381060" y="200876"/>
                  </a:lnTo>
                  <a:lnTo>
                    <a:pt x="2381060" y="200228"/>
                  </a:lnTo>
                  <a:lnTo>
                    <a:pt x="2381060" y="200876"/>
                  </a:lnTo>
                  <a:lnTo>
                    <a:pt x="2381060" y="200228"/>
                  </a:lnTo>
                  <a:lnTo>
                    <a:pt x="2381060" y="200876"/>
                  </a:lnTo>
                  <a:lnTo>
                    <a:pt x="2381060" y="200228"/>
                  </a:lnTo>
                  <a:lnTo>
                    <a:pt x="2381060" y="200876"/>
                  </a:lnTo>
                  <a:lnTo>
                    <a:pt x="2381111" y="200876"/>
                  </a:lnTo>
                  <a:lnTo>
                    <a:pt x="2381111" y="200228"/>
                  </a:lnTo>
                  <a:lnTo>
                    <a:pt x="2381111" y="200876"/>
                  </a:lnTo>
                  <a:lnTo>
                    <a:pt x="2381111" y="199530"/>
                  </a:lnTo>
                  <a:lnTo>
                    <a:pt x="2381111" y="200228"/>
                  </a:lnTo>
                  <a:lnTo>
                    <a:pt x="2381111" y="199530"/>
                  </a:lnTo>
                  <a:lnTo>
                    <a:pt x="2381111" y="200228"/>
                  </a:lnTo>
                  <a:lnTo>
                    <a:pt x="2381212" y="200228"/>
                  </a:lnTo>
                  <a:lnTo>
                    <a:pt x="2381212" y="196799"/>
                  </a:lnTo>
                  <a:lnTo>
                    <a:pt x="2381250" y="196799"/>
                  </a:lnTo>
                  <a:lnTo>
                    <a:pt x="2381250" y="196113"/>
                  </a:lnTo>
                  <a:lnTo>
                    <a:pt x="2381250" y="198831"/>
                  </a:lnTo>
                  <a:lnTo>
                    <a:pt x="2381250" y="196113"/>
                  </a:lnTo>
                  <a:lnTo>
                    <a:pt x="2381301" y="196113"/>
                  </a:lnTo>
                  <a:lnTo>
                    <a:pt x="2381301" y="199530"/>
                  </a:lnTo>
                  <a:lnTo>
                    <a:pt x="2381301" y="196799"/>
                  </a:lnTo>
                  <a:lnTo>
                    <a:pt x="2381352" y="196799"/>
                  </a:lnTo>
                  <a:lnTo>
                    <a:pt x="2381352" y="199530"/>
                  </a:lnTo>
                  <a:lnTo>
                    <a:pt x="2381352" y="197447"/>
                  </a:lnTo>
                  <a:lnTo>
                    <a:pt x="2381352" y="198831"/>
                  </a:lnTo>
                  <a:lnTo>
                    <a:pt x="2381352" y="197447"/>
                  </a:lnTo>
                  <a:lnTo>
                    <a:pt x="2381352" y="198831"/>
                  </a:lnTo>
                  <a:lnTo>
                    <a:pt x="2381454" y="198831"/>
                  </a:lnTo>
                  <a:lnTo>
                    <a:pt x="2381454" y="197447"/>
                  </a:lnTo>
                  <a:lnTo>
                    <a:pt x="2381454" y="199530"/>
                  </a:lnTo>
                  <a:lnTo>
                    <a:pt x="2381454" y="198831"/>
                  </a:lnTo>
                  <a:lnTo>
                    <a:pt x="2381454" y="199530"/>
                  </a:lnTo>
                  <a:lnTo>
                    <a:pt x="2381454" y="198831"/>
                  </a:lnTo>
                  <a:lnTo>
                    <a:pt x="2381454" y="199530"/>
                  </a:lnTo>
                  <a:lnTo>
                    <a:pt x="2381505" y="199530"/>
                  </a:lnTo>
                  <a:lnTo>
                    <a:pt x="2381505" y="200228"/>
                  </a:lnTo>
                  <a:lnTo>
                    <a:pt x="2381505" y="199530"/>
                  </a:lnTo>
                  <a:lnTo>
                    <a:pt x="2381505" y="200228"/>
                  </a:lnTo>
                  <a:lnTo>
                    <a:pt x="2381505" y="199530"/>
                  </a:lnTo>
                  <a:lnTo>
                    <a:pt x="2381505" y="200228"/>
                  </a:lnTo>
                  <a:lnTo>
                    <a:pt x="2381555" y="200228"/>
                  </a:lnTo>
                  <a:lnTo>
                    <a:pt x="2381555" y="199530"/>
                  </a:lnTo>
                  <a:lnTo>
                    <a:pt x="2381555" y="200228"/>
                  </a:lnTo>
                  <a:lnTo>
                    <a:pt x="2381657" y="200228"/>
                  </a:lnTo>
                  <a:lnTo>
                    <a:pt x="2381657" y="199530"/>
                  </a:lnTo>
                  <a:lnTo>
                    <a:pt x="2381657" y="200228"/>
                  </a:lnTo>
                  <a:lnTo>
                    <a:pt x="2381657" y="199530"/>
                  </a:lnTo>
                  <a:lnTo>
                    <a:pt x="2381657" y="200228"/>
                  </a:lnTo>
                  <a:lnTo>
                    <a:pt x="2381657" y="199530"/>
                  </a:lnTo>
                  <a:lnTo>
                    <a:pt x="2381708" y="199530"/>
                  </a:lnTo>
                  <a:lnTo>
                    <a:pt x="2381708" y="196799"/>
                  </a:lnTo>
                  <a:lnTo>
                    <a:pt x="2381708" y="197447"/>
                  </a:lnTo>
                  <a:lnTo>
                    <a:pt x="2381759" y="196799"/>
                  </a:lnTo>
                  <a:lnTo>
                    <a:pt x="2381759" y="198831"/>
                  </a:lnTo>
                  <a:lnTo>
                    <a:pt x="2381759" y="196113"/>
                  </a:lnTo>
                  <a:lnTo>
                    <a:pt x="2381759" y="198831"/>
                  </a:lnTo>
                  <a:lnTo>
                    <a:pt x="2381797" y="199530"/>
                  </a:lnTo>
                  <a:lnTo>
                    <a:pt x="2381797" y="200228"/>
                  </a:lnTo>
                  <a:lnTo>
                    <a:pt x="2381797" y="197447"/>
                  </a:lnTo>
                  <a:lnTo>
                    <a:pt x="2381797" y="198831"/>
                  </a:lnTo>
                  <a:lnTo>
                    <a:pt x="2381898" y="199530"/>
                  </a:lnTo>
                  <a:lnTo>
                    <a:pt x="2381898" y="197447"/>
                  </a:lnTo>
                  <a:lnTo>
                    <a:pt x="2381898" y="199530"/>
                  </a:lnTo>
                  <a:lnTo>
                    <a:pt x="2381898" y="198831"/>
                  </a:lnTo>
                  <a:lnTo>
                    <a:pt x="2381949" y="198831"/>
                  </a:lnTo>
                  <a:lnTo>
                    <a:pt x="2381949" y="197447"/>
                  </a:lnTo>
                  <a:lnTo>
                    <a:pt x="2382000" y="198831"/>
                  </a:lnTo>
                  <a:lnTo>
                    <a:pt x="2382000" y="200228"/>
                  </a:lnTo>
                  <a:lnTo>
                    <a:pt x="2382000" y="198831"/>
                  </a:lnTo>
                  <a:lnTo>
                    <a:pt x="2382101" y="199530"/>
                  </a:lnTo>
                  <a:lnTo>
                    <a:pt x="2382101" y="198831"/>
                  </a:lnTo>
                  <a:lnTo>
                    <a:pt x="2382101" y="199530"/>
                  </a:lnTo>
                  <a:lnTo>
                    <a:pt x="2382152" y="199530"/>
                  </a:lnTo>
                  <a:lnTo>
                    <a:pt x="2382152" y="198831"/>
                  </a:lnTo>
                  <a:lnTo>
                    <a:pt x="2382152" y="199530"/>
                  </a:lnTo>
                  <a:lnTo>
                    <a:pt x="2382152" y="197447"/>
                  </a:lnTo>
                  <a:lnTo>
                    <a:pt x="2382152" y="198831"/>
                  </a:lnTo>
                  <a:lnTo>
                    <a:pt x="2382203" y="198831"/>
                  </a:lnTo>
                  <a:lnTo>
                    <a:pt x="2382203" y="196799"/>
                  </a:lnTo>
                  <a:lnTo>
                    <a:pt x="2382203" y="199530"/>
                  </a:lnTo>
                  <a:lnTo>
                    <a:pt x="2382254" y="199530"/>
                  </a:lnTo>
                  <a:lnTo>
                    <a:pt x="2382254" y="196799"/>
                  </a:lnTo>
                  <a:lnTo>
                    <a:pt x="2382254" y="200876"/>
                  </a:lnTo>
                  <a:lnTo>
                    <a:pt x="2382254" y="200228"/>
                  </a:lnTo>
                  <a:lnTo>
                    <a:pt x="2382343" y="199530"/>
                  </a:lnTo>
                  <a:lnTo>
                    <a:pt x="2382343" y="198831"/>
                  </a:lnTo>
                  <a:lnTo>
                    <a:pt x="2382343" y="200228"/>
                  </a:lnTo>
                  <a:lnTo>
                    <a:pt x="2382343" y="199530"/>
                  </a:lnTo>
                  <a:lnTo>
                    <a:pt x="2382394" y="199530"/>
                  </a:lnTo>
                  <a:lnTo>
                    <a:pt x="2382394" y="200228"/>
                  </a:lnTo>
                  <a:lnTo>
                    <a:pt x="2382444" y="200228"/>
                  </a:lnTo>
                  <a:lnTo>
                    <a:pt x="2382444" y="200876"/>
                  </a:lnTo>
                  <a:lnTo>
                    <a:pt x="2382444" y="200228"/>
                  </a:lnTo>
                  <a:lnTo>
                    <a:pt x="2382444" y="200876"/>
                  </a:lnTo>
                  <a:lnTo>
                    <a:pt x="2382444" y="200228"/>
                  </a:lnTo>
                  <a:lnTo>
                    <a:pt x="2382444" y="200876"/>
                  </a:lnTo>
                  <a:lnTo>
                    <a:pt x="2382444" y="200228"/>
                  </a:lnTo>
                  <a:lnTo>
                    <a:pt x="2382444" y="200876"/>
                  </a:lnTo>
                  <a:lnTo>
                    <a:pt x="2382495" y="200228"/>
                  </a:lnTo>
                  <a:lnTo>
                    <a:pt x="2382495" y="200876"/>
                  </a:lnTo>
                  <a:lnTo>
                    <a:pt x="2382495" y="200228"/>
                  </a:lnTo>
                  <a:lnTo>
                    <a:pt x="2382495" y="200876"/>
                  </a:lnTo>
                  <a:lnTo>
                    <a:pt x="2382495" y="200228"/>
                  </a:lnTo>
                  <a:lnTo>
                    <a:pt x="2382495" y="200876"/>
                  </a:lnTo>
                  <a:lnTo>
                    <a:pt x="2382495" y="199530"/>
                  </a:lnTo>
                  <a:lnTo>
                    <a:pt x="2382495" y="200228"/>
                  </a:lnTo>
                  <a:lnTo>
                    <a:pt x="2382597" y="200228"/>
                  </a:lnTo>
                  <a:lnTo>
                    <a:pt x="2382597" y="199530"/>
                  </a:lnTo>
                  <a:lnTo>
                    <a:pt x="2382597" y="200228"/>
                  </a:lnTo>
                  <a:lnTo>
                    <a:pt x="2382597" y="198831"/>
                  </a:lnTo>
                  <a:lnTo>
                    <a:pt x="2382647" y="198831"/>
                  </a:lnTo>
                  <a:lnTo>
                    <a:pt x="2382647" y="199530"/>
                  </a:lnTo>
                  <a:lnTo>
                    <a:pt x="2382647" y="196799"/>
                  </a:lnTo>
                  <a:lnTo>
                    <a:pt x="2382698" y="196799"/>
                  </a:lnTo>
                  <a:lnTo>
                    <a:pt x="2382698" y="200228"/>
                  </a:lnTo>
                  <a:lnTo>
                    <a:pt x="2382698" y="197447"/>
                  </a:lnTo>
                  <a:lnTo>
                    <a:pt x="2382800" y="197447"/>
                  </a:lnTo>
                  <a:lnTo>
                    <a:pt x="2382800" y="200876"/>
                  </a:lnTo>
                  <a:lnTo>
                    <a:pt x="2382800" y="199530"/>
                  </a:lnTo>
                  <a:lnTo>
                    <a:pt x="2382800" y="200228"/>
                  </a:lnTo>
                  <a:lnTo>
                    <a:pt x="2382800" y="199530"/>
                  </a:lnTo>
                  <a:lnTo>
                    <a:pt x="2382800" y="200228"/>
                  </a:lnTo>
                  <a:lnTo>
                    <a:pt x="2382838" y="200228"/>
                  </a:lnTo>
                  <a:lnTo>
                    <a:pt x="2382838" y="200876"/>
                  </a:lnTo>
                  <a:lnTo>
                    <a:pt x="2382838" y="200228"/>
                  </a:lnTo>
                  <a:lnTo>
                    <a:pt x="2382838" y="200876"/>
                  </a:lnTo>
                  <a:lnTo>
                    <a:pt x="2382940" y="200876"/>
                  </a:lnTo>
                  <a:lnTo>
                    <a:pt x="2382940" y="202260"/>
                  </a:lnTo>
                  <a:lnTo>
                    <a:pt x="2382940" y="200228"/>
                  </a:lnTo>
                  <a:lnTo>
                    <a:pt x="2382940" y="200876"/>
                  </a:lnTo>
                  <a:lnTo>
                    <a:pt x="2383041" y="200876"/>
                  </a:lnTo>
                  <a:lnTo>
                    <a:pt x="2383041" y="200228"/>
                  </a:lnTo>
                  <a:lnTo>
                    <a:pt x="2383041" y="200876"/>
                  </a:lnTo>
                  <a:lnTo>
                    <a:pt x="2383041" y="200228"/>
                  </a:lnTo>
                  <a:lnTo>
                    <a:pt x="2383092" y="200228"/>
                  </a:lnTo>
                  <a:lnTo>
                    <a:pt x="2383092" y="198831"/>
                  </a:lnTo>
                  <a:lnTo>
                    <a:pt x="2383092" y="199530"/>
                  </a:lnTo>
                  <a:lnTo>
                    <a:pt x="2383092" y="198831"/>
                  </a:lnTo>
                  <a:lnTo>
                    <a:pt x="2383143" y="198831"/>
                  </a:lnTo>
                  <a:lnTo>
                    <a:pt x="2383143" y="199530"/>
                  </a:lnTo>
                  <a:lnTo>
                    <a:pt x="2383143" y="197447"/>
                  </a:lnTo>
                  <a:lnTo>
                    <a:pt x="2383143" y="198831"/>
                  </a:lnTo>
                  <a:lnTo>
                    <a:pt x="2383143" y="196799"/>
                  </a:lnTo>
                  <a:lnTo>
                    <a:pt x="2383143" y="197447"/>
                  </a:lnTo>
                  <a:lnTo>
                    <a:pt x="2383244" y="197447"/>
                  </a:lnTo>
                  <a:lnTo>
                    <a:pt x="2383244" y="199530"/>
                  </a:lnTo>
                  <a:lnTo>
                    <a:pt x="2383244" y="196799"/>
                  </a:lnTo>
                  <a:lnTo>
                    <a:pt x="2383244" y="200228"/>
                  </a:lnTo>
                  <a:lnTo>
                    <a:pt x="2383295" y="200228"/>
                  </a:lnTo>
                  <a:lnTo>
                    <a:pt x="2383295" y="197447"/>
                  </a:lnTo>
                  <a:lnTo>
                    <a:pt x="2383295" y="199530"/>
                  </a:lnTo>
                  <a:lnTo>
                    <a:pt x="2383346" y="200228"/>
                  </a:lnTo>
                  <a:lnTo>
                    <a:pt x="2383346" y="199530"/>
                  </a:lnTo>
                  <a:lnTo>
                    <a:pt x="2383346" y="200228"/>
                  </a:lnTo>
                  <a:lnTo>
                    <a:pt x="2383384" y="200228"/>
                  </a:lnTo>
                  <a:lnTo>
                    <a:pt x="2383384" y="200876"/>
                  </a:lnTo>
                  <a:lnTo>
                    <a:pt x="2383384" y="200228"/>
                  </a:lnTo>
                  <a:lnTo>
                    <a:pt x="2383384" y="200876"/>
                  </a:lnTo>
                  <a:lnTo>
                    <a:pt x="2383384" y="200228"/>
                  </a:lnTo>
                  <a:lnTo>
                    <a:pt x="2383384" y="200876"/>
                  </a:lnTo>
                  <a:lnTo>
                    <a:pt x="2383384" y="200228"/>
                  </a:lnTo>
                  <a:lnTo>
                    <a:pt x="2383384" y="200876"/>
                  </a:lnTo>
                  <a:lnTo>
                    <a:pt x="2383384" y="200228"/>
                  </a:lnTo>
                  <a:lnTo>
                    <a:pt x="2383486" y="200228"/>
                  </a:lnTo>
                  <a:lnTo>
                    <a:pt x="2383486" y="200876"/>
                  </a:lnTo>
                  <a:lnTo>
                    <a:pt x="2383486" y="200228"/>
                  </a:lnTo>
                  <a:lnTo>
                    <a:pt x="2383486" y="200876"/>
                  </a:lnTo>
                  <a:lnTo>
                    <a:pt x="2383537" y="200876"/>
                  </a:lnTo>
                  <a:lnTo>
                    <a:pt x="2383537" y="200228"/>
                  </a:lnTo>
                  <a:lnTo>
                    <a:pt x="2383537" y="200876"/>
                  </a:lnTo>
                  <a:lnTo>
                    <a:pt x="2383537" y="200228"/>
                  </a:lnTo>
                  <a:lnTo>
                    <a:pt x="2383537" y="200876"/>
                  </a:lnTo>
                  <a:lnTo>
                    <a:pt x="2383537" y="200228"/>
                  </a:lnTo>
                  <a:lnTo>
                    <a:pt x="2383587" y="200228"/>
                  </a:lnTo>
                  <a:lnTo>
                    <a:pt x="2383587" y="198831"/>
                  </a:lnTo>
                  <a:lnTo>
                    <a:pt x="2383587" y="199530"/>
                  </a:lnTo>
                  <a:lnTo>
                    <a:pt x="2383587" y="198831"/>
                  </a:lnTo>
                  <a:lnTo>
                    <a:pt x="2383689" y="198831"/>
                  </a:lnTo>
                  <a:lnTo>
                    <a:pt x="2383689" y="197447"/>
                  </a:lnTo>
                  <a:lnTo>
                    <a:pt x="2383689" y="198831"/>
                  </a:lnTo>
                  <a:lnTo>
                    <a:pt x="2383689" y="196799"/>
                  </a:lnTo>
                  <a:lnTo>
                    <a:pt x="2383689" y="198831"/>
                  </a:lnTo>
                  <a:lnTo>
                    <a:pt x="2383740" y="198831"/>
                  </a:lnTo>
                  <a:lnTo>
                    <a:pt x="2383740" y="196799"/>
                  </a:lnTo>
                  <a:lnTo>
                    <a:pt x="2383740" y="200228"/>
                  </a:lnTo>
                  <a:lnTo>
                    <a:pt x="2383740" y="199530"/>
                  </a:lnTo>
                  <a:lnTo>
                    <a:pt x="2383790" y="199530"/>
                  </a:lnTo>
                  <a:lnTo>
                    <a:pt x="2383790" y="197447"/>
                  </a:lnTo>
                  <a:lnTo>
                    <a:pt x="2383790" y="200876"/>
                  </a:lnTo>
                  <a:lnTo>
                    <a:pt x="2383790" y="200228"/>
                  </a:lnTo>
                  <a:lnTo>
                    <a:pt x="2383790" y="200876"/>
                  </a:lnTo>
                  <a:lnTo>
                    <a:pt x="2383790" y="199530"/>
                  </a:lnTo>
                  <a:lnTo>
                    <a:pt x="2383841" y="199530"/>
                  </a:lnTo>
                  <a:lnTo>
                    <a:pt x="2383841" y="200228"/>
                  </a:lnTo>
                  <a:lnTo>
                    <a:pt x="2384032" y="200228"/>
                  </a:lnTo>
                  <a:lnTo>
                    <a:pt x="2384032" y="199530"/>
                  </a:lnTo>
                  <a:lnTo>
                    <a:pt x="2384032" y="200228"/>
                  </a:lnTo>
                  <a:lnTo>
                    <a:pt x="2384032" y="198831"/>
                  </a:lnTo>
                  <a:lnTo>
                    <a:pt x="2384083" y="198831"/>
                  </a:lnTo>
                  <a:lnTo>
                    <a:pt x="2384083" y="197447"/>
                  </a:lnTo>
                  <a:lnTo>
                    <a:pt x="2384184" y="197447"/>
                  </a:lnTo>
                  <a:lnTo>
                    <a:pt x="2384184" y="196113"/>
                  </a:lnTo>
                  <a:lnTo>
                    <a:pt x="2384184" y="196799"/>
                  </a:lnTo>
                  <a:lnTo>
                    <a:pt x="2384235" y="196799"/>
                  </a:lnTo>
                  <a:lnTo>
                    <a:pt x="2384235" y="197447"/>
                  </a:lnTo>
                  <a:lnTo>
                    <a:pt x="2384235" y="195415"/>
                  </a:lnTo>
                  <a:lnTo>
                    <a:pt x="2384235" y="198831"/>
                  </a:lnTo>
                  <a:lnTo>
                    <a:pt x="2384286" y="197447"/>
                  </a:lnTo>
                  <a:lnTo>
                    <a:pt x="2384286" y="196799"/>
                  </a:lnTo>
                  <a:lnTo>
                    <a:pt x="2384286" y="198831"/>
                  </a:lnTo>
                  <a:lnTo>
                    <a:pt x="2384387" y="198831"/>
                  </a:lnTo>
                  <a:lnTo>
                    <a:pt x="2384387" y="197447"/>
                  </a:lnTo>
                  <a:lnTo>
                    <a:pt x="2384387" y="199530"/>
                  </a:lnTo>
                  <a:lnTo>
                    <a:pt x="2384387" y="198831"/>
                  </a:lnTo>
                  <a:lnTo>
                    <a:pt x="2384425" y="198831"/>
                  </a:lnTo>
                  <a:lnTo>
                    <a:pt x="2384425" y="200228"/>
                  </a:lnTo>
                  <a:lnTo>
                    <a:pt x="2384425" y="199530"/>
                  </a:lnTo>
                  <a:lnTo>
                    <a:pt x="2384476" y="199530"/>
                  </a:lnTo>
                  <a:lnTo>
                    <a:pt x="2384476" y="200876"/>
                  </a:lnTo>
                  <a:lnTo>
                    <a:pt x="2384476" y="200228"/>
                  </a:lnTo>
                  <a:lnTo>
                    <a:pt x="2384476" y="200876"/>
                  </a:lnTo>
                  <a:lnTo>
                    <a:pt x="2384527" y="200228"/>
                  </a:lnTo>
                  <a:lnTo>
                    <a:pt x="2384527" y="199530"/>
                  </a:lnTo>
                  <a:lnTo>
                    <a:pt x="2384527" y="200228"/>
                  </a:lnTo>
                  <a:lnTo>
                    <a:pt x="2384527" y="199530"/>
                  </a:lnTo>
                  <a:lnTo>
                    <a:pt x="2384629" y="199530"/>
                  </a:lnTo>
                  <a:lnTo>
                    <a:pt x="2384629" y="198831"/>
                  </a:lnTo>
                  <a:lnTo>
                    <a:pt x="2384680" y="198831"/>
                  </a:lnTo>
                  <a:lnTo>
                    <a:pt x="2384680" y="196113"/>
                  </a:lnTo>
                  <a:lnTo>
                    <a:pt x="2384680" y="196799"/>
                  </a:lnTo>
                  <a:lnTo>
                    <a:pt x="2384680" y="195415"/>
                  </a:lnTo>
                  <a:lnTo>
                    <a:pt x="2384730" y="195415"/>
                  </a:lnTo>
                  <a:lnTo>
                    <a:pt x="2384730" y="194716"/>
                  </a:lnTo>
                  <a:lnTo>
                    <a:pt x="2384730" y="195415"/>
                  </a:lnTo>
                  <a:lnTo>
                    <a:pt x="2384832" y="196113"/>
                  </a:lnTo>
                  <a:lnTo>
                    <a:pt x="2384832" y="196799"/>
                  </a:lnTo>
                  <a:lnTo>
                    <a:pt x="2384832" y="196113"/>
                  </a:lnTo>
                  <a:lnTo>
                    <a:pt x="2384832" y="196799"/>
                  </a:lnTo>
                  <a:lnTo>
                    <a:pt x="2384832" y="196113"/>
                  </a:lnTo>
                  <a:lnTo>
                    <a:pt x="2384832" y="196799"/>
                  </a:lnTo>
                  <a:lnTo>
                    <a:pt x="2384883" y="196799"/>
                  </a:lnTo>
                  <a:lnTo>
                    <a:pt x="2384883" y="196113"/>
                  </a:lnTo>
                  <a:lnTo>
                    <a:pt x="2384883" y="196799"/>
                  </a:lnTo>
                  <a:lnTo>
                    <a:pt x="2384883" y="196113"/>
                  </a:lnTo>
                  <a:lnTo>
                    <a:pt x="2384883" y="196799"/>
                  </a:lnTo>
                  <a:lnTo>
                    <a:pt x="2384934" y="196799"/>
                  </a:lnTo>
                  <a:lnTo>
                    <a:pt x="2384934" y="197447"/>
                  </a:lnTo>
                  <a:lnTo>
                    <a:pt x="2384934" y="196799"/>
                  </a:lnTo>
                  <a:lnTo>
                    <a:pt x="2384934" y="197447"/>
                  </a:lnTo>
                  <a:lnTo>
                    <a:pt x="2384972" y="197447"/>
                  </a:lnTo>
                  <a:lnTo>
                    <a:pt x="2384972" y="198831"/>
                  </a:lnTo>
                  <a:lnTo>
                    <a:pt x="2384972" y="197447"/>
                  </a:lnTo>
                  <a:lnTo>
                    <a:pt x="2384972" y="198831"/>
                  </a:lnTo>
                  <a:lnTo>
                    <a:pt x="2385073" y="198831"/>
                  </a:lnTo>
                  <a:lnTo>
                    <a:pt x="2385073" y="199530"/>
                  </a:lnTo>
                  <a:lnTo>
                    <a:pt x="2385073" y="198831"/>
                  </a:lnTo>
                  <a:lnTo>
                    <a:pt x="2385073" y="199530"/>
                  </a:lnTo>
                  <a:lnTo>
                    <a:pt x="2385073" y="198831"/>
                  </a:lnTo>
                  <a:lnTo>
                    <a:pt x="2385073" y="199530"/>
                  </a:lnTo>
                  <a:lnTo>
                    <a:pt x="2385073" y="198831"/>
                  </a:lnTo>
                  <a:lnTo>
                    <a:pt x="2385073" y="199530"/>
                  </a:lnTo>
                  <a:lnTo>
                    <a:pt x="2385073" y="198831"/>
                  </a:lnTo>
                  <a:lnTo>
                    <a:pt x="2385124" y="198831"/>
                  </a:lnTo>
                  <a:lnTo>
                    <a:pt x="2385124" y="199530"/>
                  </a:lnTo>
                  <a:lnTo>
                    <a:pt x="2385124" y="198831"/>
                  </a:lnTo>
                  <a:lnTo>
                    <a:pt x="2385124" y="199530"/>
                  </a:lnTo>
                  <a:lnTo>
                    <a:pt x="2385124" y="197447"/>
                  </a:lnTo>
                  <a:lnTo>
                    <a:pt x="2385175" y="197447"/>
                  </a:lnTo>
                  <a:lnTo>
                    <a:pt x="2385175" y="196113"/>
                  </a:lnTo>
                  <a:lnTo>
                    <a:pt x="2385175" y="196799"/>
                  </a:lnTo>
                  <a:lnTo>
                    <a:pt x="2385276" y="196799"/>
                  </a:lnTo>
                  <a:lnTo>
                    <a:pt x="2385276" y="197447"/>
                  </a:lnTo>
                  <a:lnTo>
                    <a:pt x="2385276" y="196113"/>
                  </a:lnTo>
                  <a:lnTo>
                    <a:pt x="2385276" y="198831"/>
                  </a:lnTo>
                  <a:lnTo>
                    <a:pt x="2385327" y="198831"/>
                  </a:lnTo>
                  <a:lnTo>
                    <a:pt x="2385327" y="196799"/>
                  </a:lnTo>
                  <a:lnTo>
                    <a:pt x="2385327" y="197447"/>
                  </a:lnTo>
                  <a:lnTo>
                    <a:pt x="2385327" y="196799"/>
                  </a:lnTo>
                  <a:lnTo>
                    <a:pt x="2385327" y="197447"/>
                  </a:lnTo>
                  <a:lnTo>
                    <a:pt x="2385327" y="196799"/>
                  </a:lnTo>
                  <a:lnTo>
                    <a:pt x="2385327" y="197447"/>
                  </a:lnTo>
                  <a:lnTo>
                    <a:pt x="2385378" y="197447"/>
                  </a:lnTo>
                  <a:lnTo>
                    <a:pt x="2385378" y="196799"/>
                  </a:lnTo>
                  <a:lnTo>
                    <a:pt x="2385378" y="197447"/>
                  </a:lnTo>
                  <a:lnTo>
                    <a:pt x="2385378" y="196799"/>
                  </a:lnTo>
                  <a:lnTo>
                    <a:pt x="2385378" y="198831"/>
                  </a:lnTo>
                  <a:lnTo>
                    <a:pt x="2385378" y="197447"/>
                  </a:lnTo>
                  <a:lnTo>
                    <a:pt x="2385429" y="197447"/>
                  </a:lnTo>
                  <a:lnTo>
                    <a:pt x="2385429" y="198831"/>
                  </a:lnTo>
                  <a:lnTo>
                    <a:pt x="2385429" y="197447"/>
                  </a:lnTo>
                  <a:lnTo>
                    <a:pt x="2385429" y="198831"/>
                  </a:lnTo>
                  <a:lnTo>
                    <a:pt x="2385429" y="197447"/>
                  </a:lnTo>
                  <a:lnTo>
                    <a:pt x="2385429" y="198831"/>
                  </a:lnTo>
                  <a:lnTo>
                    <a:pt x="2385518" y="198831"/>
                  </a:lnTo>
                  <a:lnTo>
                    <a:pt x="2385518" y="199530"/>
                  </a:lnTo>
                  <a:lnTo>
                    <a:pt x="2385518" y="198831"/>
                  </a:lnTo>
                  <a:lnTo>
                    <a:pt x="2385518" y="199530"/>
                  </a:lnTo>
                  <a:lnTo>
                    <a:pt x="2385518" y="198831"/>
                  </a:lnTo>
                  <a:lnTo>
                    <a:pt x="2385518" y="199530"/>
                  </a:lnTo>
                  <a:lnTo>
                    <a:pt x="2385518" y="198831"/>
                  </a:lnTo>
                  <a:lnTo>
                    <a:pt x="2385518" y="200228"/>
                  </a:lnTo>
                  <a:lnTo>
                    <a:pt x="2385569" y="199530"/>
                  </a:lnTo>
                  <a:lnTo>
                    <a:pt x="2385619" y="199530"/>
                  </a:lnTo>
                  <a:lnTo>
                    <a:pt x="2385619" y="197447"/>
                  </a:lnTo>
                  <a:lnTo>
                    <a:pt x="2385619" y="198831"/>
                  </a:lnTo>
                  <a:lnTo>
                    <a:pt x="2385670" y="197447"/>
                  </a:lnTo>
                  <a:lnTo>
                    <a:pt x="2385670" y="196799"/>
                  </a:lnTo>
                  <a:lnTo>
                    <a:pt x="2385670" y="198831"/>
                  </a:lnTo>
                  <a:lnTo>
                    <a:pt x="2385670" y="195415"/>
                  </a:lnTo>
                  <a:lnTo>
                    <a:pt x="2385670" y="196113"/>
                  </a:lnTo>
                  <a:lnTo>
                    <a:pt x="2385772" y="196799"/>
                  </a:lnTo>
                  <a:lnTo>
                    <a:pt x="2385772" y="198831"/>
                  </a:lnTo>
                  <a:lnTo>
                    <a:pt x="2385772" y="196799"/>
                  </a:lnTo>
                  <a:lnTo>
                    <a:pt x="2385772" y="198831"/>
                  </a:lnTo>
                  <a:lnTo>
                    <a:pt x="2385822" y="199530"/>
                  </a:lnTo>
                  <a:lnTo>
                    <a:pt x="2385822" y="200228"/>
                  </a:lnTo>
                  <a:lnTo>
                    <a:pt x="2385822" y="197447"/>
                  </a:lnTo>
                  <a:lnTo>
                    <a:pt x="2385822" y="198831"/>
                  </a:lnTo>
                  <a:lnTo>
                    <a:pt x="2385822" y="197447"/>
                  </a:lnTo>
                  <a:lnTo>
                    <a:pt x="2385822" y="198831"/>
                  </a:lnTo>
                  <a:lnTo>
                    <a:pt x="2385873" y="198831"/>
                  </a:lnTo>
                  <a:lnTo>
                    <a:pt x="2385873" y="199530"/>
                  </a:lnTo>
                  <a:lnTo>
                    <a:pt x="2385873" y="197447"/>
                  </a:lnTo>
                  <a:lnTo>
                    <a:pt x="2385975" y="197447"/>
                  </a:lnTo>
                  <a:lnTo>
                    <a:pt x="2385975" y="198831"/>
                  </a:lnTo>
                  <a:lnTo>
                    <a:pt x="2386013" y="198831"/>
                  </a:lnTo>
                  <a:lnTo>
                    <a:pt x="2386013" y="199530"/>
                  </a:lnTo>
                  <a:lnTo>
                    <a:pt x="2386013" y="198831"/>
                  </a:lnTo>
                  <a:lnTo>
                    <a:pt x="2386064" y="198831"/>
                  </a:lnTo>
                  <a:lnTo>
                    <a:pt x="2386064" y="199530"/>
                  </a:lnTo>
                  <a:lnTo>
                    <a:pt x="2386064" y="198831"/>
                  </a:lnTo>
                  <a:lnTo>
                    <a:pt x="2386064" y="199530"/>
                  </a:lnTo>
                  <a:lnTo>
                    <a:pt x="2386064" y="197447"/>
                  </a:lnTo>
                  <a:lnTo>
                    <a:pt x="2386064" y="198831"/>
                  </a:lnTo>
                  <a:lnTo>
                    <a:pt x="2386064" y="197447"/>
                  </a:lnTo>
                  <a:lnTo>
                    <a:pt x="2386064" y="198831"/>
                  </a:lnTo>
                  <a:lnTo>
                    <a:pt x="2386115" y="198831"/>
                  </a:lnTo>
                  <a:lnTo>
                    <a:pt x="2386115" y="197447"/>
                  </a:lnTo>
                  <a:lnTo>
                    <a:pt x="2386115" y="198831"/>
                  </a:lnTo>
                  <a:lnTo>
                    <a:pt x="2386115" y="196799"/>
                  </a:lnTo>
                  <a:lnTo>
                    <a:pt x="2386216" y="196799"/>
                  </a:lnTo>
                  <a:lnTo>
                    <a:pt x="2386216" y="196113"/>
                  </a:lnTo>
                  <a:lnTo>
                    <a:pt x="2386216" y="196799"/>
                  </a:lnTo>
                  <a:lnTo>
                    <a:pt x="2386216" y="195415"/>
                  </a:lnTo>
                  <a:lnTo>
                    <a:pt x="2386216" y="196799"/>
                  </a:lnTo>
                  <a:lnTo>
                    <a:pt x="2386267" y="196799"/>
                  </a:lnTo>
                  <a:lnTo>
                    <a:pt x="2386267" y="197447"/>
                  </a:lnTo>
                  <a:lnTo>
                    <a:pt x="2386267" y="196799"/>
                  </a:lnTo>
                  <a:lnTo>
                    <a:pt x="2386267" y="197447"/>
                  </a:lnTo>
                  <a:lnTo>
                    <a:pt x="2386267" y="195415"/>
                  </a:lnTo>
                  <a:lnTo>
                    <a:pt x="2386267" y="198831"/>
                  </a:lnTo>
                  <a:lnTo>
                    <a:pt x="2386318" y="198831"/>
                  </a:lnTo>
                  <a:lnTo>
                    <a:pt x="2386318" y="196799"/>
                  </a:lnTo>
                  <a:lnTo>
                    <a:pt x="2386318" y="198831"/>
                  </a:lnTo>
                  <a:lnTo>
                    <a:pt x="2386419" y="198831"/>
                  </a:lnTo>
                  <a:lnTo>
                    <a:pt x="2386419" y="197447"/>
                  </a:lnTo>
                  <a:lnTo>
                    <a:pt x="2386419" y="198831"/>
                  </a:lnTo>
                  <a:lnTo>
                    <a:pt x="2386419" y="197447"/>
                  </a:lnTo>
                  <a:lnTo>
                    <a:pt x="2386419" y="199530"/>
                  </a:lnTo>
                  <a:lnTo>
                    <a:pt x="2386470" y="199530"/>
                  </a:lnTo>
                  <a:lnTo>
                    <a:pt x="2386470" y="198831"/>
                  </a:lnTo>
                  <a:lnTo>
                    <a:pt x="2386470" y="199530"/>
                  </a:lnTo>
                  <a:lnTo>
                    <a:pt x="2386521" y="199530"/>
                  </a:lnTo>
                  <a:lnTo>
                    <a:pt x="2386521" y="200228"/>
                  </a:lnTo>
                  <a:lnTo>
                    <a:pt x="2386521" y="199530"/>
                  </a:lnTo>
                  <a:lnTo>
                    <a:pt x="2386521" y="200228"/>
                  </a:lnTo>
                  <a:lnTo>
                    <a:pt x="2386521" y="199530"/>
                  </a:lnTo>
                  <a:lnTo>
                    <a:pt x="2386521" y="200228"/>
                  </a:lnTo>
                  <a:lnTo>
                    <a:pt x="2386521" y="199530"/>
                  </a:lnTo>
                  <a:lnTo>
                    <a:pt x="2386521" y="200228"/>
                  </a:lnTo>
                  <a:lnTo>
                    <a:pt x="2386521" y="199530"/>
                  </a:lnTo>
                  <a:lnTo>
                    <a:pt x="2386521" y="200228"/>
                  </a:lnTo>
                  <a:lnTo>
                    <a:pt x="2386521" y="199530"/>
                  </a:lnTo>
                  <a:lnTo>
                    <a:pt x="2386559" y="199530"/>
                  </a:lnTo>
                  <a:lnTo>
                    <a:pt x="2386559" y="198831"/>
                  </a:lnTo>
                  <a:lnTo>
                    <a:pt x="2386661" y="198831"/>
                  </a:lnTo>
                  <a:lnTo>
                    <a:pt x="2386661" y="196799"/>
                  </a:lnTo>
                  <a:lnTo>
                    <a:pt x="2386661" y="197447"/>
                  </a:lnTo>
                  <a:lnTo>
                    <a:pt x="2386712" y="197447"/>
                  </a:lnTo>
                  <a:lnTo>
                    <a:pt x="2386712" y="195415"/>
                  </a:lnTo>
                  <a:lnTo>
                    <a:pt x="2386712" y="197447"/>
                  </a:lnTo>
                  <a:lnTo>
                    <a:pt x="2386762" y="196799"/>
                  </a:lnTo>
                  <a:lnTo>
                    <a:pt x="2386762" y="196113"/>
                  </a:lnTo>
                  <a:lnTo>
                    <a:pt x="2386762" y="199530"/>
                  </a:lnTo>
                  <a:lnTo>
                    <a:pt x="2386762" y="198831"/>
                  </a:lnTo>
                  <a:lnTo>
                    <a:pt x="2386762" y="199530"/>
                  </a:lnTo>
                  <a:lnTo>
                    <a:pt x="2386864" y="198831"/>
                  </a:lnTo>
                  <a:lnTo>
                    <a:pt x="2386864" y="197447"/>
                  </a:lnTo>
                  <a:lnTo>
                    <a:pt x="2386864" y="199530"/>
                  </a:lnTo>
                  <a:lnTo>
                    <a:pt x="2386864" y="198831"/>
                  </a:lnTo>
                  <a:lnTo>
                    <a:pt x="2386864" y="199530"/>
                  </a:lnTo>
                  <a:lnTo>
                    <a:pt x="2386915" y="198831"/>
                  </a:lnTo>
                  <a:lnTo>
                    <a:pt x="2386915" y="197447"/>
                  </a:lnTo>
                  <a:lnTo>
                    <a:pt x="2386915" y="199530"/>
                  </a:lnTo>
                  <a:lnTo>
                    <a:pt x="2386915" y="198831"/>
                  </a:lnTo>
                  <a:lnTo>
                    <a:pt x="2386965" y="198831"/>
                  </a:lnTo>
                  <a:lnTo>
                    <a:pt x="2386965" y="199530"/>
                  </a:lnTo>
                  <a:lnTo>
                    <a:pt x="2387016" y="199530"/>
                  </a:lnTo>
                  <a:lnTo>
                    <a:pt x="2387016" y="200228"/>
                  </a:lnTo>
                  <a:lnTo>
                    <a:pt x="2387016" y="199530"/>
                  </a:lnTo>
                  <a:lnTo>
                    <a:pt x="2387105" y="199530"/>
                  </a:lnTo>
                  <a:lnTo>
                    <a:pt x="2387105" y="198831"/>
                  </a:lnTo>
                  <a:lnTo>
                    <a:pt x="2387105" y="199530"/>
                  </a:lnTo>
                  <a:lnTo>
                    <a:pt x="2387156" y="199530"/>
                  </a:lnTo>
                  <a:lnTo>
                    <a:pt x="2387156" y="197447"/>
                  </a:lnTo>
                  <a:lnTo>
                    <a:pt x="2387207" y="197447"/>
                  </a:lnTo>
                  <a:lnTo>
                    <a:pt x="2387207" y="195415"/>
                  </a:lnTo>
                  <a:lnTo>
                    <a:pt x="2387207" y="197447"/>
                  </a:lnTo>
                  <a:lnTo>
                    <a:pt x="2387207" y="196799"/>
                  </a:lnTo>
                  <a:lnTo>
                    <a:pt x="2387258" y="196799"/>
                  </a:lnTo>
                  <a:lnTo>
                    <a:pt x="2387258" y="196113"/>
                  </a:lnTo>
                  <a:lnTo>
                    <a:pt x="2387258" y="199530"/>
                  </a:lnTo>
                  <a:lnTo>
                    <a:pt x="2387258" y="198831"/>
                  </a:lnTo>
                  <a:lnTo>
                    <a:pt x="2387359" y="197447"/>
                  </a:lnTo>
                  <a:lnTo>
                    <a:pt x="2387359" y="199530"/>
                  </a:lnTo>
                  <a:lnTo>
                    <a:pt x="2387359" y="198831"/>
                  </a:lnTo>
                  <a:lnTo>
                    <a:pt x="2387410" y="198831"/>
                  </a:lnTo>
                  <a:lnTo>
                    <a:pt x="2387410" y="199530"/>
                  </a:lnTo>
                  <a:lnTo>
                    <a:pt x="2387410" y="198831"/>
                  </a:lnTo>
                  <a:lnTo>
                    <a:pt x="2387410" y="199530"/>
                  </a:lnTo>
                  <a:lnTo>
                    <a:pt x="2387410" y="198831"/>
                  </a:lnTo>
                  <a:lnTo>
                    <a:pt x="2387410" y="199530"/>
                  </a:lnTo>
                  <a:lnTo>
                    <a:pt x="2387461" y="199530"/>
                  </a:lnTo>
                  <a:lnTo>
                    <a:pt x="2387461" y="200228"/>
                  </a:lnTo>
                  <a:lnTo>
                    <a:pt x="2387562" y="200228"/>
                  </a:lnTo>
                  <a:lnTo>
                    <a:pt x="2387562" y="199530"/>
                  </a:lnTo>
                  <a:lnTo>
                    <a:pt x="2387600" y="199530"/>
                  </a:lnTo>
                  <a:lnTo>
                    <a:pt x="2387600" y="198831"/>
                  </a:lnTo>
                  <a:lnTo>
                    <a:pt x="2387651" y="198831"/>
                  </a:lnTo>
                  <a:lnTo>
                    <a:pt x="2387651" y="199530"/>
                  </a:lnTo>
                  <a:lnTo>
                    <a:pt x="2387651" y="196799"/>
                  </a:lnTo>
                  <a:lnTo>
                    <a:pt x="2387651" y="197447"/>
                  </a:lnTo>
                  <a:lnTo>
                    <a:pt x="2387651" y="196799"/>
                  </a:lnTo>
                  <a:lnTo>
                    <a:pt x="2387702" y="196799"/>
                  </a:lnTo>
                  <a:lnTo>
                    <a:pt x="2387702" y="198831"/>
                  </a:lnTo>
                  <a:lnTo>
                    <a:pt x="2387702" y="196799"/>
                  </a:lnTo>
                  <a:lnTo>
                    <a:pt x="2387804" y="197447"/>
                  </a:lnTo>
                  <a:lnTo>
                    <a:pt x="2387804" y="200228"/>
                  </a:lnTo>
                  <a:lnTo>
                    <a:pt x="2387804" y="198831"/>
                  </a:lnTo>
                  <a:lnTo>
                    <a:pt x="2387804" y="199530"/>
                  </a:lnTo>
                  <a:lnTo>
                    <a:pt x="2387804" y="197447"/>
                  </a:lnTo>
                  <a:lnTo>
                    <a:pt x="2387804" y="199530"/>
                  </a:lnTo>
                  <a:lnTo>
                    <a:pt x="2387855" y="199530"/>
                  </a:lnTo>
                  <a:lnTo>
                    <a:pt x="2387855" y="200228"/>
                  </a:lnTo>
                  <a:lnTo>
                    <a:pt x="2387855" y="198831"/>
                  </a:lnTo>
                  <a:lnTo>
                    <a:pt x="2387855" y="199530"/>
                  </a:lnTo>
                  <a:lnTo>
                    <a:pt x="2387905" y="199530"/>
                  </a:lnTo>
                  <a:lnTo>
                    <a:pt x="2387905" y="198831"/>
                  </a:lnTo>
                  <a:lnTo>
                    <a:pt x="2387905" y="199530"/>
                  </a:lnTo>
                  <a:lnTo>
                    <a:pt x="2387905" y="198831"/>
                  </a:lnTo>
                  <a:lnTo>
                    <a:pt x="2387905" y="199530"/>
                  </a:lnTo>
                  <a:lnTo>
                    <a:pt x="2388007" y="199530"/>
                  </a:lnTo>
                  <a:lnTo>
                    <a:pt x="2388007" y="200228"/>
                  </a:lnTo>
                  <a:lnTo>
                    <a:pt x="2388007" y="198831"/>
                  </a:lnTo>
                  <a:lnTo>
                    <a:pt x="2388007" y="200228"/>
                  </a:lnTo>
                  <a:lnTo>
                    <a:pt x="2388007" y="199530"/>
                  </a:lnTo>
                  <a:lnTo>
                    <a:pt x="2388007" y="200228"/>
                  </a:lnTo>
                  <a:lnTo>
                    <a:pt x="2388058" y="200228"/>
                  </a:lnTo>
                  <a:lnTo>
                    <a:pt x="2388058" y="199530"/>
                  </a:lnTo>
                  <a:lnTo>
                    <a:pt x="2388058" y="200228"/>
                  </a:lnTo>
                  <a:lnTo>
                    <a:pt x="2388058" y="199530"/>
                  </a:lnTo>
                  <a:lnTo>
                    <a:pt x="2388109" y="199530"/>
                  </a:lnTo>
                  <a:lnTo>
                    <a:pt x="2388109" y="198831"/>
                  </a:lnTo>
                  <a:lnTo>
                    <a:pt x="2388109" y="199530"/>
                  </a:lnTo>
                  <a:lnTo>
                    <a:pt x="2388109" y="198831"/>
                  </a:lnTo>
                  <a:lnTo>
                    <a:pt x="2388147" y="198831"/>
                  </a:lnTo>
                  <a:lnTo>
                    <a:pt x="2388147" y="197447"/>
                  </a:lnTo>
                  <a:lnTo>
                    <a:pt x="2388147" y="199530"/>
                  </a:lnTo>
                  <a:lnTo>
                    <a:pt x="2388147" y="198831"/>
                  </a:lnTo>
                  <a:lnTo>
                    <a:pt x="2388147" y="199530"/>
                  </a:lnTo>
                  <a:lnTo>
                    <a:pt x="2388147" y="198831"/>
                  </a:lnTo>
                  <a:lnTo>
                    <a:pt x="2388248" y="198831"/>
                  </a:lnTo>
                  <a:lnTo>
                    <a:pt x="2388248" y="200876"/>
                  </a:lnTo>
                  <a:lnTo>
                    <a:pt x="2388248" y="199530"/>
                  </a:lnTo>
                  <a:lnTo>
                    <a:pt x="2388299" y="200228"/>
                  </a:lnTo>
                  <a:lnTo>
                    <a:pt x="2388299" y="200876"/>
                  </a:lnTo>
                  <a:lnTo>
                    <a:pt x="2388299" y="200228"/>
                  </a:lnTo>
                  <a:lnTo>
                    <a:pt x="2388299" y="200876"/>
                  </a:lnTo>
                  <a:lnTo>
                    <a:pt x="2388299" y="200228"/>
                  </a:lnTo>
                  <a:lnTo>
                    <a:pt x="2388299" y="200876"/>
                  </a:lnTo>
                  <a:lnTo>
                    <a:pt x="2388299" y="200228"/>
                  </a:lnTo>
                  <a:lnTo>
                    <a:pt x="2388350" y="200228"/>
                  </a:lnTo>
                  <a:lnTo>
                    <a:pt x="2388350" y="200876"/>
                  </a:lnTo>
                  <a:lnTo>
                    <a:pt x="2388350" y="200228"/>
                  </a:lnTo>
                  <a:lnTo>
                    <a:pt x="2388350" y="200876"/>
                  </a:lnTo>
                  <a:lnTo>
                    <a:pt x="2388350" y="200228"/>
                  </a:lnTo>
                  <a:lnTo>
                    <a:pt x="2388451" y="200228"/>
                  </a:lnTo>
                  <a:lnTo>
                    <a:pt x="2388451" y="202260"/>
                  </a:lnTo>
                  <a:lnTo>
                    <a:pt x="2388451" y="200876"/>
                  </a:lnTo>
                  <a:lnTo>
                    <a:pt x="2388451" y="202260"/>
                  </a:lnTo>
                  <a:lnTo>
                    <a:pt x="2388451" y="200876"/>
                  </a:lnTo>
                  <a:lnTo>
                    <a:pt x="2388451" y="202260"/>
                  </a:lnTo>
                  <a:lnTo>
                    <a:pt x="2388502" y="202260"/>
                  </a:lnTo>
                  <a:lnTo>
                    <a:pt x="2388502" y="200876"/>
                  </a:lnTo>
                  <a:lnTo>
                    <a:pt x="2388502" y="202260"/>
                  </a:lnTo>
                  <a:lnTo>
                    <a:pt x="2388502" y="200228"/>
                  </a:lnTo>
                  <a:lnTo>
                    <a:pt x="2388502" y="200876"/>
                  </a:lnTo>
                  <a:lnTo>
                    <a:pt x="2388553" y="200876"/>
                  </a:lnTo>
                  <a:lnTo>
                    <a:pt x="2388553" y="200228"/>
                  </a:lnTo>
                  <a:lnTo>
                    <a:pt x="2388553" y="200876"/>
                  </a:lnTo>
                  <a:lnTo>
                    <a:pt x="2388553" y="199530"/>
                  </a:lnTo>
                  <a:lnTo>
                    <a:pt x="2388604" y="200228"/>
                  </a:lnTo>
                  <a:lnTo>
                    <a:pt x="2388604" y="198831"/>
                  </a:lnTo>
                  <a:lnTo>
                    <a:pt x="2388604" y="199530"/>
                  </a:lnTo>
                  <a:lnTo>
                    <a:pt x="2388693" y="200228"/>
                  </a:lnTo>
                  <a:lnTo>
                    <a:pt x="2388693" y="200876"/>
                  </a:lnTo>
                  <a:lnTo>
                    <a:pt x="2388693" y="198831"/>
                  </a:lnTo>
                  <a:lnTo>
                    <a:pt x="2388693" y="199530"/>
                  </a:lnTo>
                  <a:lnTo>
                    <a:pt x="2388693" y="198831"/>
                  </a:lnTo>
                  <a:lnTo>
                    <a:pt x="2388693" y="202260"/>
                  </a:lnTo>
                  <a:lnTo>
                    <a:pt x="2388744" y="202260"/>
                  </a:lnTo>
                  <a:lnTo>
                    <a:pt x="2388744" y="200228"/>
                  </a:lnTo>
                  <a:lnTo>
                    <a:pt x="2388744" y="202260"/>
                  </a:lnTo>
                  <a:lnTo>
                    <a:pt x="2388794" y="202260"/>
                  </a:lnTo>
                  <a:lnTo>
                    <a:pt x="2388794" y="202959"/>
                  </a:lnTo>
                  <a:lnTo>
                    <a:pt x="2388794" y="202260"/>
                  </a:lnTo>
                  <a:lnTo>
                    <a:pt x="2388794" y="202959"/>
                  </a:lnTo>
                  <a:lnTo>
                    <a:pt x="2388794" y="200876"/>
                  </a:lnTo>
                  <a:lnTo>
                    <a:pt x="2388794" y="202260"/>
                  </a:lnTo>
                  <a:lnTo>
                    <a:pt x="2388794" y="200876"/>
                  </a:lnTo>
                  <a:lnTo>
                    <a:pt x="2388794" y="202260"/>
                  </a:lnTo>
                  <a:lnTo>
                    <a:pt x="2388845" y="202260"/>
                  </a:lnTo>
                  <a:lnTo>
                    <a:pt x="2388845" y="200876"/>
                  </a:lnTo>
                  <a:lnTo>
                    <a:pt x="2388845" y="202959"/>
                  </a:lnTo>
                  <a:lnTo>
                    <a:pt x="2388845" y="202260"/>
                  </a:lnTo>
                  <a:lnTo>
                    <a:pt x="2388947" y="202260"/>
                  </a:lnTo>
                  <a:lnTo>
                    <a:pt x="2388947" y="202959"/>
                  </a:lnTo>
                  <a:lnTo>
                    <a:pt x="2388947" y="202260"/>
                  </a:lnTo>
                  <a:lnTo>
                    <a:pt x="2388947" y="202959"/>
                  </a:lnTo>
                  <a:lnTo>
                    <a:pt x="2388947" y="202260"/>
                  </a:lnTo>
                  <a:lnTo>
                    <a:pt x="2388997" y="202260"/>
                  </a:lnTo>
                  <a:lnTo>
                    <a:pt x="2388997" y="200876"/>
                  </a:lnTo>
                  <a:lnTo>
                    <a:pt x="2388997" y="202260"/>
                  </a:lnTo>
                  <a:lnTo>
                    <a:pt x="2388997" y="200228"/>
                  </a:lnTo>
                  <a:lnTo>
                    <a:pt x="2389048" y="200228"/>
                  </a:lnTo>
                  <a:lnTo>
                    <a:pt x="2389048" y="198831"/>
                  </a:lnTo>
                  <a:lnTo>
                    <a:pt x="2389150" y="198831"/>
                  </a:lnTo>
                  <a:lnTo>
                    <a:pt x="2389150" y="197447"/>
                  </a:lnTo>
                  <a:lnTo>
                    <a:pt x="2389150" y="200228"/>
                  </a:lnTo>
                  <a:lnTo>
                    <a:pt x="2389188" y="199530"/>
                  </a:lnTo>
                  <a:lnTo>
                    <a:pt x="2389188" y="197447"/>
                  </a:lnTo>
                  <a:lnTo>
                    <a:pt x="2389188" y="200876"/>
                  </a:lnTo>
                  <a:lnTo>
                    <a:pt x="2389188" y="200228"/>
                  </a:lnTo>
                  <a:lnTo>
                    <a:pt x="2389239" y="200228"/>
                  </a:lnTo>
                  <a:lnTo>
                    <a:pt x="2389239" y="199530"/>
                  </a:lnTo>
                  <a:lnTo>
                    <a:pt x="2389239" y="202260"/>
                  </a:lnTo>
                  <a:lnTo>
                    <a:pt x="2389239" y="200876"/>
                  </a:lnTo>
                  <a:lnTo>
                    <a:pt x="2389290" y="200228"/>
                  </a:lnTo>
                  <a:lnTo>
                    <a:pt x="2389290" y="200876"/>
                  </a:lnTo>
                  <a:lnTo>
                    <a:pt x="2389290" y="200228"/>
                  </a:lnTo>
                  <a:lnTo>
                    <a:pt x="2389290" y="200876"/>
                  </a:lnTo>
                  <a:lnTo>
                    <a:pt x="2389290" y="200228"/>
                  </a:lnTo>
                  <a:lnTo>
                    <a:pt x="2389391" y="200876"/>
                  </a:lnTo>
                  <a:lnTo>
                    <a:pt x="2389391" y="202260"/>
                  </a:lnTo>
                  <a:lnTo>
                    <a:pt x="2389391" y="200876"/>
                  </a:lnTo>
                  <a:lnTo>
                    <a:pt x="2389391" y="202260"/>
                  </a:lnTo>
                  <a:lnTo>
                    <a:pt x="2389442" y="202260"/>
                  </a:lnTo>
                  <a:lnTo>
                    <a:pt x="2389442" y="200876"/>
                  </a:lnTo>
                  <a:lnTo>
                    <a:pt x="2389442" y="202260"/>
                  </a:lnTo>
                  <a:lnTo>
                    <a:pt x="2389442" y="200876"/>
                  </a:lnTo>
                  <a:lnTo>
                    <a:pt x="2389442" y="202959"/>
                  </a:lnTo>
                  <a:lnTo>
                    <a:pt x="2389442" y="202260"/>
                  </a:lnTo>
                  <a:lnTo>
                    <a:pt x="2389442" y="202959"/>
                  </a:lnTo>
                  <a:lnTo>
                    <a:pt x="2389442" y="200876"/>
                  </a:lnTo>
                  <a:lnTo>
                    <a:pt x="2389493" y="200876"/>
                  </a:lnTo>
                  <a:lnTo>
                    <a:pt x="2389493" y="200228"/>
                  </a:lnTo>
                  <a:lnTo>
                    <a:pt x="2389493" y="200876"/>
                  </a:lnTo>
                  <a:lnTo>
                    <a:pt x="2389493" y="200228"/>
                  </a:lnTo>
                  <a:lnTo>
                    <a:pt x="2389594" y="200876"/>
                  </a:lnTo>
                  <a:lnTo>
                    <a:pt x="2389594" y="199530"/>
                  </a:lnTo>
                  <a:lnTo>
                    <a:pt x="2389594" y="200228"/>
                  </a:lnTo>
                  <a:lnTo>
                    <a:pt x="2389594" y="197447"/>
                  </a:lnTo>
                  <a:lnTo>
                    <a:pt x="2389645" y="197447"/>
                  </a:lnTo>
                  <a:lnTo>
                    <a:pt x="2389645" y="198831"/>
                  </a:lnTo>
                  <a:lnTo>
                    <a:pt x="2389645" y="197447"/>
                  </a:lnTo>
                  <a:lnTo>
                    <a:pt x="2389696" y="197447"/>
                  </a:lnTo>
                  <a:lnTo>
                    <a:pt x="2389696" y="200228"/>
                  </a:lnTo>
                  <a:lnTo>
                    <a:pt x="2389696" y="199530"/>
                  </a:lnTo>
                  <a:lnTo>
                    <a:pt x="2389734" y="198831"/>
                  </a:lnTo>
                  <a:lnTo>
                    <a:pt x="2389734" y="197447"/>
                  </a:lnTo>
                  <a:lnTo>
                    <a:pt x="2389734" y="200228"/>
                  </a:lnTo>
                  <a:lnTo>
                    <a:pt x="2389734" y="199530"/>
                  </a:lnTo>
                  <a:lnTo>
                    <a:pt x="2389734" y="200228"/>
                  </a:lnTo>
                  <a:lnTo>
                    <a:pt x="2389734" y="199530"/>
                  </a:lnTo>
                  <a:lnTo>
                    <a:pt x="2389836" y="199530"/>
                  </a:lnTo>
                  <a:lnTo>
                    <a:pt x="2389836" y="200228"/>
                  </a:lnTo>
                  <a:lnTo>
                    <a:pt x="2389836" y="199530"/>
                  </a:lnTo>
                  <a:lnTo>
                    <a:pt x="2389836" y="200228"/>
                  </a:lnTo>
                  <a:lnTo>
                    <a:pt x="2389887" y="200228"/>
                  </a:lnTo>
                  <a:lnTo>
                    <a:pt x="2389887" y="202260"/>
                  </a:lnTo>
                  <a:lnTo>
                    <a:pt x="2389887" y="200876"/>
                  </a:lnTo>
                  <a:lnTo>
                    <a:pt x="2389887" y="202260"/>
                  </a:lnTo>
                  <a:lnTo>
                    <a:pt x="2389887" y="200228"/>
                  </a:lnTo>
                  <a:lnTo>
                    <a:pt x="2389887" y="202260"/>
                  </a:lnTo>
                  <a:lnTo>
                    <a:pt x="2389937" y="200876"/>
                  </a:lnTo>
                  <a:lnTo>
                    <a:pt x="2389937" y="202260"/>
                  </a:lnTo>
                  <a:lnTo>
                    <a:pt x="2389937" y="200876"/>
                  </a:lnTo>
                  <a:lnTo>
                    <a:pt x="2389937" y="202260"/>
                  </a:lnTo>
                  <a:lnTo>
                    <a:pt x="2389937" y="200876"/>
                  </a:lnTo>
                  <a:lnTo>
                    <a:pt x="2390039" y="200876"/>
                  </a:lnTo>
                  <a:lnTo>
                    <a:pt x="2390039" y="200228"/>
                  </a:lnTo>
                  <a:lnTo>
                    <a:pt x="2390090" y="199530"/>
                  </a:lnTo>
                  <a:lnTo>
                    <a:pt x="2390090" y="200228"/>
                  </a:lnTo>
                  <a:lnTo>
                    <a:pt x="2390090" y="198831"/>
                  </a:lnTo>
                  <a:lnTo>
                    <a:pt x="2390090" y="199530"/>
                  </a:lnTo>
                  <a:lnTo>
                    <a:pt x="2390090" y="197447"/>
                  </a:lnTo>
                  <a:lnTo>
                    <a:pt x="2390140" y="197447"/>
                  </a:lnTo>
                  <a:lnTo>
                    <a:pt x="2390140" y="196113"/>
                  </a:lnTo>
                  <a:lnTo>
                    <a:pt x="2390140" y="198831"/>
                  </a:lnTo>
                  <a:lnTo>
                    <a:pt x="2390191" y="198831"/>
                  </a:lnTo>
                  <a:lnTo>
                    <a:pt x="2390191" y="196799"/>
                  </a:lnTo>
                  <a:lnTo>
                    <a:pt x="2390191" y="198831"/>
                  </a:lnTo>
                  <a:lnTo>
                    <a:pt x="2390280" y="198831"/>
                  </a:lnTo>
                  <a:lnTo>
                    <a:pt x="2390280" y="196799"/>
                  </a:lnTo>
                  <a:lnTo>
                    <a:pt x="2390280" y="199530"/>
                  </a:lnTo>
                  <a:lnTo>
                    <a:pt x="2390331" y="198831"/>
                  </a:lnTo>
                  <a:lnTo>
                    <a:pt x="2390331" y="199530"/>
                  </a:lnTo>
                  <a:lnTo>
                    <a:pt x="2390331" y="198831"/>
                  </a:lnTo>
                  <a:lnTo>
                    <a:pt x="2390331" y="199530"/>
                  </a:lnTo>
                  <a:lnTo>
                    <a:pt x="2390331" y="198831"/>
                  </a:lnTo>
                  <a:lnTo>
                    <a:pt x="2390331" y="200228"/>
                  </a:lnTo>
                  <a:lnTo>
                    <a:pt x="2390382" y="199530"/>
                  </a:lnTo>
                  <a:lnTo>
                    <a:pt x="2390382" y="200876"/>
                  </a:lnTo>
                  <a:lnTo>
                    <a:pt x="2390382" y="200228"/>
                  </a:lnTo>
                  <a:lnTo>
                    <a:pt x="2390433" y="200228"/>
                  </a:lnTo>
                  <a:lnTo>
                    <a:pt x="2390433" y="200876"/>
                  </a:lnTo>
                  <a:lnTo>
                    <a:pt x="2390433" y="200228"/>
                  </a:lnTo>
                  <a:lnTo>
                    <a:pt x="2390433" y="200876"/>
                  </a:lnTo>
                  <a:lnTo>
                    <a:pt x="2390534" y="200876"/>
                  </a:lnTo>
                  <a:lnTo>
                    <a:pt x="2390534" y="202260"/>
                  </a:lnTo>
                  <a:lnTo>
                    <a:pt x="2390534" y="200228"/>
                  </a:lnTo>
                  <a:lnTo>
                    <a:pt x="2390585" y="200228"/>
                  </a:lnTo>
                  <a:lnTo>
                    <a:pt x="2390585" y="199530"/>
                  </a:lnTo>
                  <a:lnTo>
                    <a:pt x="2390585" y="200228"/>
                  </a:lnTo>
                  <a:lnTo>
                    <a:pt x="2390585" y="197447"/>
                  </a:lnTo>
                  <a:lnTo>
                    <a:pt x="2390636" y="198831"/>
                  </a:lnTo>
                  <a:lnTo>
                    <a:pt x="2390636" y="197447"/>
                  </a:lnTo>
                  <a:lnTo>
                    <a:pt x="2390636" y="198831"/>
                  </a:lnTo>
                  <a:lnTo>
                    <a:pt x="2390636" y="197447"/>
                  </a:lnTo>
                  <a:lnTo>
                    <a:pt x="2390636" y="199530"/>
                  </a:lnTo>
                  <a:lnTo>
                    <a:pt x="2390636" y="197447"/>
                  </a:lnTo>
                  <a:lnTo>
                    <a:pt x="2390636" y="198831"/>
                  </a:lnTo>
                  <a:lnTo>
                    <a:pt x="2390737" y="197447"/>
                  </a:lnTo>
                  <a:lnTo>
                    <a:pt x="2390737" y="200228"/>
                  </a:lnTo>
                  <a:lnTo>
                    <a:pt x="2390737" y="197447"/>
                  </a:lnTo>
                  <a:lnTo>
                    <a:pt x="2390737" y="198831"/>
                  </a:lnTo>
                  <a:lnTo>
                    <a:pt x="2390775" y="197447"/>
                  </a:lnTo>
                  <a:lnTo>
                    <a:pt x="2390775" y="199530"/>
                  </a:lnTo>
                  <a:lnTo>
                    <a:pt x="2390775" y="198831"/>
                  </a:lnTo>
                  <a:lnTo>
                    <a:pt x="2390826" y="198831"/>
                  </a:lnTo>
                  <a:lnTo>
                    <a:pt x="2390826" y="199530"/>
                  </a:lnTo>
                  <a:lnTo>
                    <a:pt x="2390826" y="198831"/>
                  </a:lnTo>
                  <a:lnTo>
                    <a:pt x="2390877" y="198831"/>
                  </a:lnTo>
                  <a:lnTo>
                    <a:pt x="2390877" y="200228"/>
                  </a:lnTo>
                  <a:lnTo>
                    <a:pt x="2390877" y="199530"/>
                  </a:lnTo>
                  <a:lnTo>
                    <a:pt x="2390979" y="199530"/>
                  </a:lnTo>
                  <a:lnTo>
                    <a:pt x="2390979" y="200228"/>
                  </a:lnTo>
                  <a:lnTo>
                    <a:pt x="2390979" y="198831"/>
                  </a:lnTo>
                  <a:lnTo>
                    <a:pt x="2390979" y="199530"/>
                  </a:lnTo>
                  <a:lnTo>
                    <a:pt x="2391030" y="199530"/>
                  </a:lnTo>
                  <a:lnTo>
                    <a:pt x="2391030" y="200228"/>
                  </a:lnTo>
                  <a:lnTo>
                    <a:pt x="2391030" y="199530"/>
                  </a:lnTo>
                  <a:lnTo>
                    <a:pt x="2391080" y="199530"/>
                  </a:lnTo>
                  <a:lnTo>
                    <a:pt x="2391080" y="198831"/>
                  </a:lnTo>
                  <a:lnTo>
                    <a:pt x="2391080" y="199530"/>
                  </a:lnTo>
                  <a:lnTo>
                    <a:pt x="2391080" y="197447"/>
                  </a:lnTo>
                  <a:lnTo>
                    <a:pt x="2391080" y="199530"/>
                  </a:lnTo>
                  <a:lnTo>
                    <a:pt x="2391182" y="199530"/>
                  </a:lnTo>
                  <a:lnTo>
                    <a:pt x="2391182" y="198831"/>
                  </a:lnTo>
                  <a:lnTo>
                    <a:pt x="2391182" y="199530"/>
                  </a:lnTo>
                  <a:lnTo>
                    <a:pt x="2391182" y="198831"/>
                  </a:lnTo>
                  <a:lnTo>
                    <a:pt x="2391182" y="200876"/>
                  </a:lnTo>
                  <a:lnTo>
                    <a:pt x="2391233" y="200876"/>
                  </a:lnTo>
                  <a:lnTo>
                    <a:pt x="2391233" y="199530"/>
                  </a:lnTo>
                  <a:lnTo>
                    <a:pt x="2391233" y="200228"/>
                  </a:lnTo>
                  <a:lnTo>
                    <a:pt x="2391233" y="199530"/>
                  </a:lnTo>
                  <a:lnTo>
                    <a:pt x="2391233" y="200876"/>
                  </a:lnTo>
                  <a:lnTo>
                    <a:pt x="2391284" y="200876"/>
                  </a:lnTo>
                  <a:lnTo>
                    <a:pt x="2391284" y="200228"/>
                  </a:lnTo>
                  <a:lnTo>
                    <a:pt x="2391284" y="200876"/>
                  </a:lnTo>
                  <a:lnTo>
                    <a:pt x="2391322" y="200876"/>
                  </a:lnTo>
                  <a:lnTo>
                    <a:pt x="2391322" y="200228"/>
                  </a:lnTo>
                  <a:lnTo>
                    <a:pt x="2391322" y="200876"/>
                  </a:lnTo>
                  <a:lnTo>
                    <a:pt x="2391322" y="200228"/>
                  </a:lnTo>
                  <a:lnTo>
                    <a:pt x="2391322" y="200876"/>
                  </a:lnTo>
                  <a:lnTo>
                    <a:pt x="2391322" y="200228"/>
                  </a:lnTo>
                  <a:lnTo>
                    <a:pt x="2391322" y="200876"/>
                  </a:lnTo>
                  <a:lnTo>
                    <a:pt x="2391322" y="200228"/>
                  </a:lnTo>
                  <a:lnTo>
                    <a:pt x="2391322" y="200876"/>
                  </a:lnTo>
                  <a:lnTo>
                    <a:pt x="2391322" y="200228"/>
                  </a:lnTo>
                  <a:lnTo>
                    <a:pt x="2391322" y="200876"/>
                  </a:lnTo>
                  <a:lnTo>
                    <a:pt x="2391423" y="200876"/>
                  </a:lnTo>
                  <a:lnTo>
                    <a:pt x="2391423" y="200228"/>
                  </a:lnTo>
                  <a:lnTo>
                    <a:pt x="2391423" y="200876"/>
                  </a:lnTo>
                  <a:lnTo>
                    <a:pt x="2391423" y="200228"/>
                  </a:lnTo>
                  <a:lnTo>
                    <a:pt x="2391423" y="200876"/>
                  </a:lnTo>
                  <a:lnTo>
                    <a:pt x="2391423" y="200228"/>
                  </a:lnTo>
                  <a:lnTo>
                    <a:pt x="2391423" y="200876"/>
                  </a:lnTo>
                  <a:lnTo>
                    <a:pt x="2391423" y="200228"/>
                  </a:lnTo>
                  <a:lnTo>
                    <a:pt x="2391474" y="200228"/>
                  </a:lnTo>
                  <a:lnTo>
                    <a:pt x="2391474" y="200876"/>
                  </a:lnTo>
                  <a:lnTo>
                    <a:pt x="2391474" y="199530"/>
                  </a:lnTo>
                  <a:lnTo>
                    <a:pt x="2391474" y="200228"/>
                  </a:lnTo>
                  <a:lnTo>
                    <a:pt x="2391474" y="199530"/>
                  </a:lnTo>
                  <a:lnTo>
                    <a:pt x="2391525" y="199530"/>
                  </a:lnTo>
                  <a:lnTo>
                    <a:pt x="2391525" y="198831"/>
                  </a:lnTo>
                  <a:lnTo>
                    <a:pt x="2391525" y="199530"/>
                  </a:lnTo>
                  <a:lnTo>
                    <a:pt x="2391525" y="198831"/>
                  </a:lnTo>
                  <a:lnTo>
                    <a:pt x="2391525" y="199530"/>
                  </a:lnTo>
                  <a:lnTo>
                    <a:pt x="2391525" y="198831"/>
                  </a:lnTo>
                  <a:lnTo>
                    <a:pt x="2391626" y="198831"/>
                  </a:lnTo>
                  <a:lnTo>
                    <a:pt x="2391626" y="196113"/>
                  </a:lnTo>
                  <a:lnTo>
                    <a:pt x="2391626" y="196799"/>
                  </a:lnTo>
                  <a:lnTo>
                    <a:pt x="2391677" y="197447"/>
                  </a:lnTo>
                  <a:lnTo>
                    <a:pt x="2391677" y="198831"/>
                  </a:lnTo>
                  <a:lnTo>
                    <a:pt x="2391677" y="196799"/>
                  </a:lnTo>
                  <a:lnTo>
                    <a:pt x="2391677" y="197447"/>
                  </a:lnTo>
                  <a:lnTo>
                    <a:pt x="2391677" y="196799"/>
                  </a:lnTo>
                  <a:lnTo>
                    <a:pt x="2391677" y="199530"/>
                  </a:lnTo>
                  <a:lnTo>
                    <a:pt x="2391728" y="199530"/>
                  </a:lnTo>
                  <a:lnTo>
                    <a:pt x="2391728" y="198831"/>
                  </a:lnTo>
                  <a:lnTo>
                    <a:pt x="2391728" y="199530"/>
                  </a:lnTo>
                  <a:lnTo>
                    <a:pt x="2391779" y="200228"/>
                  </a:lnTo>
                  <a:lnTo>
                    <a:pt x="2391779" y="199530"/>
                  </a:lnTo>
                  <a:lnTo>
                    <a:pt x="2391779" y="200228"/>
                  </a:lnTo>
                  <a:lnTo>
                    <a:pt x="2391779" y="199530"/>
                  </a:lnTo>
                  <a:lnTo>
                    <a:pt x="2391779" y="200228"/>
                  </a:lnTo>
                  <a:lnTo>
                    <a:pt x="2391779" y="199530"/>
                  </a:lnTo>
                  <a:lnTo>
                    <a:pt x="2391779" y="200228"/>
                  </a:lnTo>
                  <a:lnTo>
                    <a:pt x="2391779" y="199530"/>
                  </a:lnTo>
                  <a:lnTo>
                    <a:pt x="2391779" y="200228"/>
                  </a:lnTo>
                  <a:lnTo>
                    <a:pt x="2391868" y="200228"/>
                  </a:lnTo>
                  <a:lnTo>
                    <a:pt x="2391868" y="200876"/>
                  </a:lnTo>
                  <a:lnTo>
                    <a:pt x="2391868" y="200228"/>
                  </a:lnTo>
                  <a:lnTo>
                    <a:pt x="2391868" y="200876"/>
                  </a:lnTo>
                  <a:lnTo>
                    <a:pt x="2391868" y="200228"/>
                  </a:lnTo>
                  <a:lnTo>
                    <a:pt x="2391868" y="200876"/>
                  </a:lnTo>
                  <a:lnTo>
                    <a:pt x="2391868" y="200228"/>
                  </a:lnTo>
                  <a:lnTo>
                    <a:pt x="2391868" y="200876"/>
                  </a:lnTo>
                  <a:lnTo>
                    <a:pt x="2391868" y="200228"/>
                  </a:lnTo>
                  <a:lnTo>
                    <a:pt x="2391919" y="200228"/>
                  </a:lnTo>
                  <a:lnTo>
                    <a:pt x="2391919" y="200876"/>
                  </a:lnTo>
                  <a:lnTo>
                    <a:pt x="2391919" y="200228"/>
                  </a:lnTo>
                  <a:lnTo>
                    <a:pt x="2391919" y="200876"/>
                  </a:lnTo>
                  <a:lnTo>
                    <a:pt x="2391919" y="200228"/>
                  </a:lnTo>
                  <a:lnTo>
                    <a:pt x="2391919" y="200876"/>
                  </a:lnTo>
                  <a:lnTo>
                    <a:pt x="2391969" y="200876"/>
                  </a:lnTo>
                  <a:lnTo>
                    <a:pt x="2391969" y="199530"/>
                  </a:lnTo>
                  <a:lnTo>
                    <a:pt x="2391969" y="200228"/>
                  </a:lnTo>
                  <a:lnTo>
                    <a:pt x="2391969" y="199530"/>
                  </a:lnTo>
                  <a:lnTo>
                    <a:pt x="2392020" y="199530"/>
                  </a:lnTo>
                  <a:lnTo>
                    <a:pt x="2392020" y="198831"/>
                  </a:lnTo>
                  <a:lnTo>
                    <a:pt x="2392020" y="199530"/>
                  </a:lnTo>
                  <a:lnTo>
                    <a:pt x="2392020" y="198831"/>
                  </a:lnTo>
                  <a:lnTo>
                    <a:pt x="2392020" y="199530"/>
                  </a:lnTo>
                  <a:lnTo>
                    <a:pt x="2392020" y="197447"/>
                  </a:lnTo>
                  <a:lnTo>
                    <a:pt x="2392020" y="198831"/>
                  </a:lnTo>
                  <a:lnTo>
                    <a:pt x="2392020" y="197447"/>
                  </a:lnTo>
                  <a:lnTo>
                    <a:pt x="2392122" y="197447"/>
                  </a:lnTo>
                  <a:lnTo>
                    <a:pt x="2392122" y="196799"/>
                  </a:lnTo>
                  <a:lnTo>
                    <a:pt x="2392122" y="197447"/>
                  </a:lnTo>
                  <a:lnTo>
                    <a:pt x="2392122" y="196799"/>
                  </a:lnTo>
                  <a:lnTo>
                    <a:pt x="2392122" y="197447"/>
                  </a:lnTo>
                  <a:lnTo>
                    <a:pt x="2392172" y="197447"/>
                  </a:lnTo>
                  <a:lnTo>
                    <a:pt x="2392172" y="196799"/>
                  </a:lnTo>
                  <a:lnTo>
                    <a:pt x="2392172" y="199530"/>
                  </a:lnTo>
                  <a:lnTo>
                    <a:pt x="2392223" y="198831"/>
                  </a:lnTo>
                  <a:lnTo>
                    <a:pt x="2392223" y="200228"/>
                  </a:lnTo>
                  <a:lnTo>
                    <a:pt x="2392223" y="199530"/>
                  </a:lnTo>
                  <a:lnTo>
                    <a:pt x="2392223" y="200228"/>
                  </a:lnTo>
                  <a:lnTo>
                    <a:pt x="2392325" y="200228"/>
                  </a:lnTo>
                  <a:lnTo>
                    <a:pt x="2392325" y="199530"/>
                  </a:lnTo>
                  <a:lnTo>
                    <a:pt x="2392325" y="200228"/>
                  </a:lnTo>
                  <a:lnTo>
                    <a:pt x="2392363" y="200228"/>
                  </a:lnTo>
                  <a:lnTo>
                    <a:pt x="2392363" y="200876"/>
                  </a:lnTo>
                  <a:lnTo>
                    <a:pt x="2392363" y="200228"/>
                  </a:lnTo>
                  <a:lnTo>
                    <a:pt x="2392414" y="200228"/>
                  </a:lnTo>
                  <a:lnTo>
                    <a:pt x="2392414" y="200876"/>
                  </a:lnTo>
                  <a:lnTo>
                    <a:pt x="2392414" y="200228"/>
                  </a:lnTo>
                  <a:lnTo>
                    <a:pt x="2392414" y="200876"/>
                  </a:lnTo>
                  <a:lnTo>
                    <a:pt x="2392414" y="200228"/>
                  </a:lnTo>
                  <a:lnTo>
                    <a:pt x="2392465" y="200228"/>
                  </a:lnTo>
                  <a:lnTo>
                    <a:pt x="2392465" y="199530"/>
                  </a:lnTo>
                  <a:lnTo>
                    <a:pt x="2392465" y="200228"/>
                  </a:lnTo>
                  <a:lnTo>
                    <a:pt x="2392566" y="199530"/>
                  </a:lnTo>
                  <a:lnTo>
                    <a:pt x="2392566" y="200228"/>
                  </a:lnTo>
                  <a:lnTo>
                    <a:pt x="2392566" y="197447"/>
                  </a:lnTo>
                  <a:lnTo>
                    <a:pt x="2392566" y="198831"/>
                  </a:lnTo>
                  <a:lnTo>
                    <a:pt x="2392617" y="198831"/>
                  </a:lnTo>
                  <a:lnTo>
                    <a:pt x="2392617" y="197447"/>
                  </a:lnTo>
                  <a:lnTo>
                    <a:pt x="2392617" y="198831"/>
                  </a:lnTo>
                  <a:lnTo>
                    <a:pt x="2392617" y="197447"/>
                  </a:lnTo>
                  <a:lnTo>
                    <a:pt x="2392668" y="197447"/>
                  </a:lnTo>
                  <a:lnTo>
                    <a:pt x="2392668" y="198831"/>
                  </a:lnTo>
                  <a:lnTo>
                    <a:pt x="2392668" y="197447"/>
                  </a:lnTo>
                  <a:lnTo>
                    <a:pt x="2392668" y="199530"/>
                  </a:lnTo>
                  <a:lnTo>
                    <a:pt x="2392668" y="198831"/>
                  </a:lnTo>
                  <a:lnTo>
                    <a:pt x="2392769" y="198831"/>
                  </a:lnTo>
                  <a:lnTo>
                    <a:pt x="2392769" y="199530"/>
                  </a:lnTo>
                  <a:lnTo>
                    <a:pt x="2392820" y="199530"/>
                  </a:lnTo>
                  <a:lnTo>
                    <a:pt x="2392820" y="200228"/>
                  </a:lnTo>
                  <a:lnTo>
                    <a:pt x="2392871" y="200228"/>
                  </a:lnTo>
                  <a:lnTo>
                    <a:pt x="2392871" y="200876"/>
                  </a:lnTo>
                  <a:lnTo>
                    <a:pt x="2392909" y="200876"/>
                  </a:lnTo>
                  <a:lnTo>
                    <a:pt x="2392909" y="200228"/>
                  </a:lnTo>
                  <a:lnTo>
                    <a:pt x="2392909" y="200876"/>
                  </a:lnTo>
                  <a:lnTo>
                    <a:pt x="2392909" y="200228"/>
                  </a:lnTo>
                  <a:lnTo>
                    <a:pt x="2392909" y="200876"/>
                  </a:lnTo>
                  <a:lnTo>
                    <a:pt x="2392909" y="200228"/>
                  </a:lnTo>
                  <a:lnTo>
                    <a:pt x="2392909" y="200876"/>
                  </a:lnTo>
                  <a:lnTo>
                    <a:pt x="2392909" y="200228"/>
                  </a:lnTo>
                  <a:lnTo>
                    <a:pt x="2393011" y="200228"/>
                  </a:lnTo>
                  <a:lnTo>
                    <a:pt x="2393011" y="199530"/>
                  </a:lnTo>
                  <a:lnTo>
                    <a:pt x="2393011" y="200228"/>
                  </a:lnTo>
                  <a:lnTo>
                    <a:pt x="2393011" y="199530"/>
                  </a:lnTo>
                  <a:lnTo>
                    <a:pt x="2393011" y="200228"/>
                  </a:lnTo>
                  <a:lnTo>
                    <a:pt x="2393011" y="198831"/>
                  </a:lnTo>
                  <a:lnTo>
                    <a:pt x="2393062" y="198831"/>
                  </a:lnTo>
                  <a:lnTo>
                    <a:pt x="2393062" y="197447"/>
                  </a:lnTo>
                  <a:lnTo>
                    <a:pt x="2393062" y="198831"/>
                  </a:lnTo>
                  <a:lnTo>
                    <a:pt x="2393062" y="196113"/>
                  </a:lnTo>
                  <a:lnTo>
                    <a:pt x="2393062" y="196799"/>
                  </a:lnTo>
                  <a:lnTo>
                    <a:pt x="2393112" y="196799"/>
                  </a:lnTo>
                  <a:lnTo>
                    <a:pt x="2393112" y="196113"/>
                  </a:lnTo>
                  <a:lnTo>
                    <a:pt x="2393112" y="196799"/>
                  </a:lnTo>
                  <a:lnTo>
                    <a:pt x="2393112" y="196113"/>
                  </a:lnTo>
                  <a:lnTo>
                    <a:pt x="2393112" y="196799"/>
                  </a:lnTo>
                  <a:lnTo>
                    <a:pt x="2393112" y="196113"/>
                  </a:lnTo>
                  <a:lnTo>
                    <a:pt x="2393214" y="196113"/>
                  </a:lnTo>
                  <a:lnTo>
                    <a:pt x="2393214" y="198831"/>
                  </a:lnTo>
                  <a:lnTo>
                    <a:pt x="2393214" y="197447"/>
                  </a:lnTo>
                  <a:lnTo>
                    <a:pt x="2393265" y="197447"/>
                  </a:lnTo>
                  <a:lnTo>
                    <a:pt x="2393265" y="199530"/>
                  </a:lnTo>
                  <a:lnTo>
                    <a:pt x="2393265" y="198831"/>
                  </a:lnTo>
                  <a:lnTo>
                    <a:pt x="2393265" y="199530"/>
                  </a:lnTo>
                  <a:lnTo>
                    <a:pt x="2393315" y="199530"/>
                  </a:lnTo>
                  <a:lnTo>
                    <a:pt x="2393315" y="198831"/>
                  </a:lnTo>
                  <a:lnTo>
                    <a:pt x="2393315" y="200228"/>
                  </a:lnTo>
                  <a:lnTo>
                    <a:pt x="2393315" y="199530"/>
                  </a:lnTo>
                  <a:lnTo>
                    <a:pt x="2393315" y="200228"/>
                  </a:lnTo>
                  <a:lnTo>
                    <a:pt x="2393315" y="199530"/>
                  </a:lnTo>
                  <a:lnTo>
                    <a:pt x="2393366" y="199530"/>
                  </a:lnTo>
                  <a:lnTo>
                    <a:pt x="2393366" y="200228"/>
                  </a:lnTo>
                  <a:lnTo>
                    <a:pt x="2393366" y="199530"/>
                  </a:lnTo>
                  <a:lnTo>
                    <a:pt x="2393366" y="200228"/>
                  </a:lnTo>
                  <a:lnTo>
                    <a:pt x="2393366" y="199530"/>
                  </a:lnTo>
                  <a:lnTo>
                    <a:pt x="2393366" y="200228"/>
                  </a:lnTo>
                  <a:lnTo>
                    <a:pt x="2393366" y="199530"/>
                  </a:lnTo>
                  <a:lnTo>
                    <a:pt x="2393455" y="200228"/>
                  </a:lnTo>
                  <a:lnTo>
                    <a:pt x="2393506" y="200228"/>
                  </a:lnTo>
                  <a:lnTo>
                    <a:pt x="2393506" y="199530"/>
                  </a:lnTo>
                  <a:lnTo>
                    <a:pt x="2393506" y="200228"/>
                  </a:lnTo>
                  <a:lnTo>
                    <a:pt x="2393506" y="199530"/>
                  </a:lnTo>
                  <a:lnTo>
                    <a:pt x="2393557" y="199530"/>
                  </a:lnTo>
                  <a:lnTo>
                    <a:pt x="2393557" y="196799"/>
                  </a:lnTo>
                  <a:lnTo>
                    <a:pt x="2393608" y="196799"/>
                  </a:lnTo>
                  <a:lnTo>
                    <a:pt x="2393608" y="194716"/>
                  </a:lnTo>
                  <a:lnTo>
                    <a:pt x="2393608" y="195415"/>
                  </a:lnTo>
                  <a:lnTo>
                    <a:pt x="2393608" y="193383"/>
                  </a:lnTo>
                  <a:lnTo>
                    <a:pt x="2393709" y="192684"/>
                  </a:lnTo>
                  <a:lnTo>
                    <a:pt x="2393709" y="189954"/>
                  </a:lnTo>
                  <a:lnTo>
                    <a:pt x="2393709" y="191351"/>
                  </a:lnTo>
                  <a:lnTo>
                    <a:pt x="2393709" y="189954"/>
                  </a:lnTo>
                  <a:lnTo>
                    <a:pt x="2393760" y="189954"/>
                  </a:lnTo>
                  <a:lnTo>
                    <a:pt x="2393760" y="188620"/>
                  </a:lnTo>
                  <a:lnTo>
                    <a:pt x="2393760" y="192684"/>
                  </a:lnTo>
                  <a:lnTo>
                    <a:pt x="2393760" y="191986"/>
                  </a:lnTo>
                  <a:lnTo>
                    <a:pt x="2393811" y="191986"/>
                  </a:lnTo>
                  <a:lnTo>
                    <a:pt x="2393811" y="191351"/>
                  </a:lnTo>
                  <a:lnTo>
                    <a:pt x="2393811" y="193383"/>
                  </a:lnTo>
                  <a:lnTo>
                    <a:pt x="2393912" y="193383"/>
                  </a:lnTo>
                  <a:lnTo>
                    <a:pt x="2393912" y="196113"/>
                  </a:lnTo>
                  <a:lnTo>
                    <a:pt x="2393912" y="195415"/>
                  </a:lnTo>
                  <a:lnTo>
                    <a:pt x="2393912" y="196799"/>
                  </a:lnTo>
                  <a:lnTo>
                    <a:pt x="2393950" y="196113"/>
                  </a:lnTo>
                  <a:lnTo>
                    <a:pt x="2393950" y="196799"/>
                  </a:lnTo>
                  <a:lnTo>
                    <a:pt x="2393950" y="196113"/>
                  </a:lnTo>
                  <a:lnTo>
                    <a:pt x="2393950" y="197447"/>
                  </a:lnTo>
                  <a:lnTo>
                    <a:pt x="2393950" y="196799"/>
                  </a:lnTo>
                  <a:lnTo>
                    <a:pt x="2393950" y="198831"/>
                  </a:lnTo>
                  <a:lnTo>
                    <a:pt x="2394001" y="198831"/>
                  </a:lnTo>
                  <a:lnTo>
                    <a:pt x="2394001" y="199530"/>
                  </a:lnTo>
                  <a:lnTo>
                    <a:pt x="2394001" y="198831"/>
                  </a:lnTo>
                  <a:lnTo>
                    <a:pt x="2394001" y="199530"/>
                  </a:lnTo>
                  <a:lnTo>
                    <a:pt x="2394001" y="198831"/>
                  </a:lnTo>
                  <a:lnTo>
                    <a:pt x="2394001" y="199530"/>
                  </a:lnTo>
                  <a:lnTo>
                    <a:pt x="2394052" y="199530"/>
                  </a:lnTo>
                  <a:lnTo>
                    <a:pt x="2394052" y="200228"/>
                  </a:lnTo>
                  <a:lnTo>
                    <a:pt x="2394052" y="198831"/>
                  </a:lnTo>
                  <a:lnTo>
                    <a:pt x="2394154" y="197447"/>
                  </a:lnTo>
                  <a:lnTo>
                    <a:pt x="2394154" y="195415"/>
                  </a:lnTo>
                  <a:lnTo>
                    <a:pt x="2394205" y="196113"/>
                  </a:lnTo>
                  <a:lnTo>
                    <a:pt x="2394205" y="192684"/>
                  </a:lnTo>
                  <a:lnTo>
                    <a:pt x="2394255" y="191986"/>
                  </a:lnTo>
                  <a:lnTo>
                    <a:pt x="2394255" y="189268"/>
                  </a:lnTo>
                  <a:lnTo>
                    <a:pt x="2394357" y="189268"/>
                  </a:lnTo>
                  <a:lnTo>
                    <a:pt x="2394357" y="187922"/>
                  </a:lnTo>
                  <a:lnTo>
                    <a:pt x="2394357" y="189954"/>
                  </a:lnTo>
                  <a:lnTo>
                    <a:pt x="2394357" y="189268"/>
                  </a:lnTo>
                  <a:lnTo>
                    <a:pt x="2394408" y="189954"/>
                  </a:lnTo>
                  <a:lnTo>
                    <a:pt x="2394408" y="189268"/>
                  </a:lnTo>
                  <a:lnTo>
                    <a:pt x="2394408" y="192684"/>
                  </a:lnTo>
                  <a:lnTo>
                    <a:pt x="2394459" y="191986"/>
                  </a:lnTo>
                  <a:lnTo>
                    <a:pt x="2394459" y="195415"/>
                  </a:lnTo>
                  <a:lnTo>
                    <a:pt x="2394459" y="194716"/>
                  </a:lnTo>
                  <a:lnTo>
                    <a:pt x="2394459" y="196113"/>
                  </a:lnTo>
                  <a:lnTo>
                    <a:pt x="2394497" y="196113"/>
                  </a:lnTo>
                  <a:lnTo>
                    <a:pt x="2394497" y="198831"/>
                  </a:lnTo>
                  <a:lnTo>
                    <a:pt x="2394497" y="197447"/>
                  </a:lnTo>
                  <a:lnTo>
                    <a:pt x="2394497" y="198831"/>
                  </a:lnTo>
                  <a:lnTo>
                    <a:pt x="2394598" y="198831"/>
                  </a:lnTo>
                  <a:lnTo>
                    <a:pt x="2394598" y="200228"/>
                  </a:lnTo>
                  <a:lnTo>
                    <a:pt x="2394598" y="199530"/>
                  </a:lnTo>
                  <a:lnTo>
                    <a:pt x="2394598" y="200228"/>
                  </a:lnTo>
                  <a:lnTo>
                    <a:pt x="2394598" y="199530"/>
                  </a:lnTo>
                  <a:lnTo>
                    <a:pt x="2394598" y="200228"/>
                  </a:lnTo>
                  <a:lnTo>
                    <a:pt x="2394598" y="199530"/>
                  </a:lnTo>
                  <a:lnTo>
                    <a:pt x="2394598" y="200228"/>
                  </a:lnTo>
                  <a:lnTo>
                    <a:pt x="2394649" y="200228"/>
                  </a:lnTo>
                  <a:lnTo>
                    <a:pt x="2394649" y="200876"/>
                  </a:lnTo>
                  <a:lnTo>
                    <a:pt x="2394649" y="200228"/>
                  </a:lnTo>
                  <a:lnTo>
                    <a:pt x="2394649" y="200876"/>
                  </a:lnTo>
                  <a:lnTo>
                    <a:pt x="2394649" y="199530"/>
                  </a:lnTo>
                  <a:lnTo>
                    <a:pt x="2394700" y="200228"/>
                  </a:lnTo>
                  <a:lnTo>
                    <a:pt x="2394700" y="196799"/>
                  </a:lnTo>
                  <a:lnTo>
                    <a:pt x="2394801" y="196799"/>
                  </a:lnTo>
                  <a:lnTo>
                    <a:pt x="2394801" y="197447"/>
                  </a:lnTo>
                  <a:lnTo>
                    <a:pt x="2394801" y="196113"/>
                  </a:lnTo>
                  <a:lnTo>
                    <a:pt x="2394852" y="196113"/>
                  </a:lnTo>
                  <a:lnTo>
                    <a:pt x="2394852" y="197447"/>
                  </a:lnTo>
                  <a:lnTo>
                    <a:pt x="2394852" y="195415"/>
                  </a:lnTo>
                  <a:lnTo>
                    <a:pt x="2394903" y="196113"/>
                  </a:lnTo>
                  <a:lnTo>
                    <a:pt x="2394903" y="196799"/>
                  </a:lnTo>
                  <a:lnTo>
                    <a:pt x="2394903" y="196113"/>
                  </a:lnTo>
                  <a:lnTo>
                    <a:pt x="2394954" y="196113"/>
                  </a:lnTo>
                  <a:lnTo>
                    <a:pt x="2394954" y="196799"/>
                  </a:lnTo>
                  <a:lnTo>
                    <a:pt x="2394954" y="196113"/>
                  </a:lnTo>
                  <a:lnTo>
                    <a:pt x="2394954" y="196799"/>
                  </a:lnTo>
                  <a:lnTo>
                    <a:pt x="2394954" y="195415"/>
                  </a:lnTo>
                  <a:lnTo>
                    <a:pt x="2395043" y="196113"/>
                  </a:lnTo>
                  <a:lnTo>
                    <a:pt x="2395043" y="197447"/>
                  </a:lnTo>
                  <a:lnTo>
                    <a:pt x="2395043" y="196799"/>
                  </a:lnTo>
                  <a:lnTo>
                    <a:pt x="2395043" y="198831"/>
                  </a:lnTo>
                  <a:lnTo>
                    <a:pt x="2395094" y="197447"/>
                  </a:lnTo>
                  <a:lnTo>
                    <a:pt x="2395094" y="199530"/>
                  </a:lnTo>
                  <a:lnTo>
                    <a:pt x="2395094" y="198831"/>
                  </a:lnTo>
                  <a:lnTo>
                    <a:pt x="2395144" y="198831"/>
                  </a:lnTo>
                  <a:lnTo>
                    <a:pt x="2395144" y="200228"/>
                  </a:lnTo>
                  <a:lnTo>
                    <a:pt x="2395144" y="199530"/>
                  </a:lnTo>
                  <a:lnTo>
                    <a:pt x="2395195" y="199530"/>
                  </a:lnTo>
                  <a:lnTo>
                    <a:pt x="2395195" y="198831"/>
                  </a:lnTo>
                  <a:lnTo>
                    <a:pt x="2395195" y="199530"/>
                  </a:lnTo>
                  <a:lnTo>
                    <a:pt x="2395195" y="197447"/>
                  </a:lnTo>
                  <a:lnTo>
                    <a:pt x="2395297" y="197447"/>
                  </a:lnTo>
                  <a:lnTo>
                    <a:pt x="2395297" y="199530"/>
                  </a:lnTo>
                  <a:lnTo>
                    <a:pt x="2395297" y="198831"/>
                  </a:lnTo>
                  <a:lnTo>
                    <a:pt x="2395297" y="199530"/>
                  </a:lnTo>
                  <a:lnTo>
                    <a:pt x="2395347" y="199530"/>
                  </a:lnTo>
                  <a:lnTo>
                    <a:pt x="2395347" y="200876"/>
                  </a:lnTo>
                  <a:lnTo>
                    <a:pt x="2395347" y="198831"/>
                  </a:lnTo>
                  <a:lnTo>
                    <a:pt x="2395347" y="200228"/>
                  </a:lnTo>
                  <a:lnTo>
                    <a:pt x="2395398" y="200228"/>
                  </a:lnTo>
                  <a:lnTo>
                    <a:pt x="2395398" y="199530"/>
                  </a:lnTo>
                  <a:lnTo>
                    <a:pt x="2395398" y="200228"/>
                  </a:lnTo>
                  <a:lnTo>
                    <a:pt x="2395398" y="198831"/>
                  </a:lnTo>
                  <a:lnTo>
                    <a:pt x="2395398" y="199530"/>
                  </a:lnTo>
                  <a:lnTo>
                    <a:pt x="2395500" y="199530"/>
                  </a:lnTo>
                  <a:lnTo>
                    <a:pt x="2395500" y="198831"/>
                  </a:lnTo>
                  <a:lnTo>
                    <a:pt x="2395500" y="199530"/>
                  </a:lnTo>
                  <a:lnTo>
                    <a:pt x="2395500" y="198831"/>
                  </a:lnTo>
                  <a:lnTo>
                    <a:pt x="2395500" y="199530"/>
                  </a:lnTo>
                  <a:lnTo>
                    <a:pt x="2395538" y="199530"/>
                  </a:lnTo>
                  <a:lnTo>
                    <a:pt x="2395538" y="198831"/>
                  </a:lnTo>
                  <a:lnTo>
                    <a:pt x="2395538" y="199530"/>
                  </a:lnTo>
                  <a:lnTo>
                    <a:pt x="2395589" y="199530"/>
                  </a:lnTo>
                  <a:lnTo>
                    <a:pt x="2395589" y="200228"/>
                  </a:lnTo>
                  <a:lnTo>
                    <a:pt x="2395589" y="198831"/>
                  </a:lnTo>
                  <a:lnTo>
                    <a:pt x="2395589" y="199530"/>
                  </a:lnTo>
                  <a:lnTo>
                    <a:pt x="2395589" y="198831"/>
                  </a:lnTo>
                  <a:lnTo>
                    <a:pt x="2395589" y="199530"/>
                  </a:lnTo>
                  <a:lnTo>
                    <a:pt x="2395640" y="199530"/>
                  </a:lnTo>
                  <a:lnTo>
                    <a:pt x="2395640" y="198831"/>
                  </a:lnTo>
                  <a:lnTo>
                    <a:pt x="2395640" y="199530"/>
                  </a:lnTo>
                  <a:lnTo>
                    <a:pt x="2395741" y="199530"/>
                  </a:lnTo>
                  <a:lnTo>
                    <a:pt x="2395741" y="197447"/>
                  </a:lnTo>
                  <a:lnTo>
                    <a:pt x="2395741" y="199530"/>
                  </a:lnTo>
                  <a:lnTo>
                    <a:pt x="2395792" y="199530"/>
                  </a:lnTo>
                  <a:lnTo>
                    <a:pt x="2395792" y="200228"/>
                  </a:lnTo>
                  <a:lnTo>
                    <a:pt x="2395792" y="198831"/>
                  </a:lnTo>
                  <a:lnTo>
                    <a:pt x="2395792" y="199530"/>
                  </a:lnTo>
                  <a:lnTo>
                    <a:pt x="2395792" y="197447"/>
                  </a:lnTo>
                  <a:lnTo>
                    <a:pt x="2395792" y="200876"/>
                  </a:lnTo>
                  <a:lnTo>
                    <a:pt x="2395843" y="200876"/>
                  </a:lnTo>
                  <a:lnTo>
                    <a:pt x="2395843" y="200228"/>
                  </a:lnTo>
                  <a:lnTo>
                    <a:pt x="2395843" y="202260"/>
                  </a:lnTo>
                  <a:lnTo>
                    <a:pt x="2395944" y="202260"/>
                  </a:lnTo>
                  <a:lnTo>
                    <a:pt x="2395944" y="200876"/>
                  </a:lnTo>
                  <a:lnTo>
                    <a:pt x="2395944" y="202260"/>
                  </a:lnTo>
                  <a:lnTo>
                    <a:pt x="2395944" y="200876"/>
                  </a:lnTo>
                  <a:lnTo>
                    <a:pt x="2395995" y="200876"/>
                  </a:lnTo>
                  <a:lnTo>
                    <a:pt x="2395995" y="202260"/>
                  </a:lnTo>
                  <a:lnTo>
                    <a:pt x="2395995" y="200876"/>
                  </a:lnTo>
                  <a:lnTo>
                    <a:pt x="2395995" y="202260"/>
                  </a:lnTo>
                  <a:lnTo>
                    <a:pt x="2395995" y="200228"/>
                  </a:lnTo>
                  <a:lnTo>
                    <a:pt x="2395995" y="200876"/>
                  </a:lnTo>
                  <a:lnTo>
                    <a:pt x="2396046" y="200876"/>
                  </a:lnTo>
                  <a:lnTo>
                    <a:pt x="2396046" y="200228"/>
                  </a:lnTo>
                  <a:lnTo>
                    <a:pt x="2396046" y="200876"/>
                  </a:lnTo>
                  <a:lnTo>
                    <a:pt x="2396046" y="200228"/>
                  </a:lnTo>
                  <a:lnTo>
                    <a:pt x="2396084" y="200228"/>
                  </a:lnTo>
                  <a:lnTo>
                    <a:pt x="2396084" y="199530"/>
                  </a:lnTo>
                  <a:lnTo>
                    <a:pt x="2396084" y="200876"/>
                  </a:lnTo>
                  <a:lnTo>
                    <a:pt x="2396186" y="200228"/>
                  </a:lnTo>
                  <a:lnTo>
                    <a:pt x="2396186" y="198831"/>
                  </a:lnTo>
                  <a:lnTo>
                    <a:pt x="2396186" y="199530"/>
                  </a:lnTo>
                  <a:lnTo>
                    <a:pt x="2396186" y="198831"/>
                  </a:lnTo>
                  <a:lnTo>
                    <a:pt x="2396237" y="198831"/>
                  </a:lnTo>
                  <a:lnTo>
                    <a:pt x="2396237" y="199530"/>
                  </a:lnTo>
                  <a:lnTo>
                    <a:pt x="2396237" y="196799"/>
                  </a:lnTo>
                  <a:lnTo>
                    <a:pt x="2396237" y="199530"/>
                  </a:lnTo>
                  <a:lnTo>
                    <a:pt x="2396287" y="199530"/>
                  </a:lnTo>
                  <a:lnTo>
                    <a:pt x="2396287" y="197447"/>
                  </a:lnTo>
                  <a:lnTo>
                    <a:pt x="2396287" y="200876"/>
                  </a:lnTo>
                  <a:lnTo>
                    <a:pt x="2396287" y="200228"/>
                  </a:lnTo>
                  <a:lnTo>
                    <a:pt x="2396389" y="200228"/>
                  </a:lnTo>
                  <a:lnTo>
                    <a:pt x="2396389" y="199530"/>
                  </a:lnTo>
                  <a:lnTo>
                    <a:pt x="2396389" y="202260"/>
                  </a:lnTo>
                  <a:lnTo>
                    <a:pt x="2396389" y="200876"/>
                  </a:lnTo>
                  <a:lnTo>
                    <a:pt x="2396440" y="200876"/>
                  </a:lnTo>
                  <a:lnTo>
                    <a:pt x="2396440" y="202260"/>
                  </a:lnTo>
                  <a:lnTo>
                    <a:pt x="2396490" y="202260"/>
                  </a:lnTo>
                  <a:lnTo>
                    <a:pt x="2396490" y="202959"/>
                  </a:lnTo>
                  <a:lnTo>
                    <a:pt x="2396490" y="202260"/>
                  </a:lnTo>
                  <a:lnTo>
                    <a:pt x="2396541" y="202260"/>
                  </a:lnTo>
                  <a:lnTo>
                    <a:pt x="2396541" y="202959"/>
                  </a:lnTo>
                  <a:lnTo>
                    <a:pt x="2396541" y="202260"/>
                  </a:lnTo>
                  <a:lnTo>
                    <a:pt x="2396541" y="202959"/>
                  </a:lnTo>
                  <a:lnTo>
                    <a:pt x="2396541" y="202260"/>
                  </a:lnTo>
                  <a:lnTo>
                    <a:pt x="2396541" y="202959"/>
                  </a:lnTo>
                  <a:lnTo>
                    <a:pt x="2396541" y="202260"/>
                  </a:lnTo>
                  <a:lnTo>
                    <a:pt x="2396541" y="202959"/>
                  </a:lnTo>
                  <a:lnTo>
                    <a:pt x="2396630" y="202959"/>
                  </a:lnTo>
                  <a:lnTo>
                    <a:pt x="2396630" y="200876"/>
                  </a:lnTo>
                  <a:lnTo>
                    <a:pt x="2396630" y="202260"/>
                  </a:lnTo>
                  <a:lnTo>
                    <a:pt x="2396630" y="200876"/>
                  </a:lnTo>
                  <a:lnTo>
                    <a:pt x="2396681" y="200876"/>
                  </a:lnTo>
                  <a:lnTo>
                    <a:pt x="2396681" y="202959"/>
                  </a:lnTo>
                  <a:lnTo>
                    <a:pt x="2396681" y="202260"/>
                  </a:lnTo>
                  <a:lnTo>
                    <a:pt x="2396732" y="202260"/>
                  </a:lnTo>
                  <a:lnTo>
                    <a:pt x="2396732" y="204990"/>
                  </a:lnTo>
                  <a:lnTo>
                    <a:pt x="2396732" y="203594"/>
                  </a:lnTo>
                  <a:lnTo>
                    <a:pt x="2396732" y="204292"/>
                  </a:lnTo>
                  <a:lnTo>
                    <a:pt x="2396732" y="203594"/>
                  </a:lnTo>
                  <a:lnTo>
                    <a:pt x="2396783" y="203594"/>
                  </a:lnTo>
                  <a:lnTo>
                    <a:pt x="2396783" y="204990"/>
                  </a:lnTo>
                  <a:lnTo>
                    <a:pt x="2396783" y="203594"/>
                  </a:lnTo>
                  <a:lnTo>
                    <a:pt x="2396783" y="204292"/>
                  </a:lnTo>
                  <a:lnTo>
                    <a:pt x="2396884" y="204292"/>
                  </a:lnTo>
                  <a:lnTo>
                    <a:pt x="2396884" y="204990"/>
                  </a:lnTo>
                  <a:lnTo>
                    <a:pt x="2396884" y="204292"/>
                  </a:lnTo>
                  <a:lnTo>
                    <a:pt x="2396884" y="204990"/>
                  </a:lnTo>
                  <a:lnTo>
                    <a:pt x="2396884" y="204292"/>
                  </a:lnTo>
                  <a:lnTo>
                    <a:pt x="2396935" y="204292"/>
                  </a:lnTo>
                  <a:lnTo>
                    <a:pt x="2396935" y="203594"/>
                  </a:lnTo>
                  <a:lnTo>
                    <a:pt x="2396935" y="204292"/>
                  </a:lnTo>
                  <a:lnTo>
                    <a:pt x="2396935" y="203594"/>
                  </a:lnTo>
                  <a:lnTo>
                    <a:pt x="2396935" y="204990"/>
                  </a:lnTo>
                  <a:lnTo>
                    <a:pt x="2396935" y="204292"/>
                  </a:lnTo>
                  <a:lnTo>
                    <a:pt x="2396986" y="204292"/>
                  </a:lnTo>
                  <a:lnTo>
                    <a:pt x="2396986" y="202959"/>
                  </a:lnTo>
                  <a:lnTo>
                    <a:pt x="2397087" y="202959"/>
                  </a:lnTo>
                  <a:lnTo>
                    <a:pt x="2397087" y="204990"/>
                  </a:lnTo>
                  <a:lnTo>
                    <a:pt x="2397087" y="204292"/>
                  </a:lnTo>
                  <a:lnTo>
                    <a:pt x="2397125" y="204292"/>
                  </a:lnTo>
                  <a:lnTo>
                    <a:pt x="2397125" y="203594"/>
                  </a:lnTo>
                  <a:lnTo>
                    <a:pt x="2397125" y="208407"/>
                  </a:lnTo>
                  <a:lnTo>
                    <a:pt x="2397125" y="207022"/>
                  </a:lnTo>
                  <a:lnTo>
                    <a:pt x="2397176" y="207022"/>
                  </a:lnTo>
                  <a:lnTo>
                    <a:pt x="2397176" y="206324"/>
                  </a:lnTo>
                  <a:lnTo>
                    <a:pt x="2397176" y="207721"/>
                  </a:lnTo>
                  <a:lnTo>
                    <a:pt x="2397227" y="207721"/>
                  </a:lnTo>
                  <a:lnTo>
                    <a:pt x="2397227" y="207022"/>
                  </a:lnTo>
                  <a:lnTo>
                    <a:pt x="2397227" y="207721"/>
                  </a:lnTo>
                  <a:lnTo>
                    <a:pt x="2397227" y="207022"/>
                  </a:lnTo>
                  <a:lnTo>
                    <a:pt x="2397329" y="207721"/>
                  </a:lnTo>
                  <a:lnTo>
                    <a:pt x="2397329" y="207022"/>
                  </a:lnTo>
                  <a:lnTo>
                    <a:pt x="2397380" y="207022"/>
                  </a:lnTo>
                  <a:lnTo>
                    <a:pt x="2397380" y="207721"/>
                  </a:lnTo>
                  <a:lnTo>
                    <a:pt x="2397380" y="207022"/>
                  </a:lnTo>
                  <a:lnTo>
                    <a:pt x="2397380" y="207721"/>
                  </a:lnTo>
                  <a:lnTo>
                    <a:pt x="2397380" y="206324"/>
                  </a:lnTo>
                  <a:lnTo>
                    <a:pt x="2397430" y="206324"/>
                  </a:lnTo>
                  <a:lnTo>
                    <a:pt x="2397430" y="204292"/>
                  </a:lnTo>
                  <a:lnTo>
                    <a:pt x="2397532" y="204292"/>
                  </a:lnTo>
                  <a:lnTo>
                    <a:pt x="2397532" y="202959"/>
                  </a:lnTo>
                  <a:lnTo>
                    <a:pt x="2397532" y="203594"/>
                  </a:lnTo>
                  <a:lnTo>
                    <a:pt x="2397532" y="200876"/>
                  </a:lnTo>
                  <a:lnTo>
                    <a:pt x="2397532" y="202260"/>
                  </a:lnTo>
                  <a:lnTo>
                    <a:pt x="2397583" y="202260"/>
                  </a:lnTo>
                  <a:lnTo>
                    <a:pt x="2397583" y="200876"/>
                  </a:lnTo>
                  <a:lnTo>
                    <a:pt x="2397583" y="203594"/>
                  </a:lnTo>
                  <a:lnTo>
                    <a:pt x="2397583" y="202260"/>
                  </a:lnTo>
                  <a:lnTo>
                    <a:pt x="2397634" y="202260"/>
                  </a:lnTo>
                  <a:lnTo>
                    <a:pt x="2397634" y="204990"/>
                  </a:lnTo>
                  <a:lnTo>
                    <a:pt x="2397634" y="204292"/>
                  </a:lnTo>
                  <a:lnTo>
                    <a:pt x="2397634" y="204990"/>
                  </a:lnTo>
                  <a:lnTo>
                    <a:pt x="2397634" y="202959"/>
                  </a:lnTo>
                  <a:lnTo>
                    <a:pt x="2397634" y="203594"/>
                  </a:lnTo>
                  <a:lnTo>
                    <a:pt x="2397672" y="204292"/>
                  </a:lnTo>
                  <a:lnTo>
                    <a:pt x="2397672" y="204990"/>
                  </a:lnTo>
                  <a:lnTo>
                    <a:pt x="2397672" y="204292"/>
                  </a:lnTo>
                  <a:lnTo>
                    <a:pt x="2397672" y="204990"/>
                  </a:lnTo>
                  <a:lnTo>
                    <a:pt x="2397672" y="204292"/>
                  </a:lnTo>
                  <a:lnTo>
                    <a:pt x="2397773" y="204292"/>
                  </a:lnTo>
                  <a:lnTo>
                    <a:pt x="2397773" y="206324"/>
                  </a:lnTo>
                  <a:lnTo>
                    <a:pt x="2397824" y="204990"/>
                  </a:lnTo>
                  <a:lnTo>
                    <a:pt x="2397824" y="206324"/>
                  </a:lnTo>
                  <a:lnTo>
                    <a:pt x="2397824" y="204990"/>
                  </a:lnTo>
                  <a:lnTo>
                    <a:pt x="2397824" y="206324"/>
                  </a:lnTo>
                  <a:lnTo>
                    <a:pt x="2397875" y="206324"/>
                  </a:lnTo>
                  <a:lnTo>
                    <a:pt x="2397875" y="204990"/>
                  </a:lnTo>
                  <a:lnTo>
                    <a:pt x="2397875" y="206324"/>
                  </a:lnTo>
                  <a:lnTo>
                    <a:pt x="2397875" y="204990"/>
                  </a:lnTo>
                  <a:lnTo>
                    <a:pt x="2397976" y="204990"/>
                  </a:lnTo>
                  <a:lnTo>
                    <a:pt x="2397976" y="202959"/>
                  </a:lnTo>
                  <a:lnTo>
                    <a:pt x="2398027" y="203594"/>
                  </a:lnTo>
                  <a:lnTo>
                    <a:pt x="2398027" y="199530"/>
                  </a:lnTo>
                  <a:lnTo>
                    <a:pt x="2398027" y="200228"/>
                  </a:lnTo>
                  <a:lnTo>
                    <a:pt x="2398078" y="200228"/>
                  </a:lnTo>
                  <a:lnTo>
                    <a:pt x="2398078" y="202959"/>
                  </a:lnTo>
                  <a:lnTo>
                    <a:pt x="2398078" y="200876"/>
                  </a:lnTo>
                  <a:lnTo>
                    <a:pt x="2398078" y="202959"/>
                  </a:lnTo>
                  <a:lnTo>
                    <a:pt x="2398129" y="202959"/>
                  </a:lnTo>
                  <a:lnTo>
                    <a:pt x="2398129" y="203594"/>
                  </a:lnTo>
                  <a:lnTo>
                    <a:pt x="2398129" y="202959"/>
                  </a:lnTo>
                  <a:lnTo>
                    <a:pt x="2398129" y="203594"/>
                  </a:lnTo>
                  <a:lnTo>
                    <a:pt x="2398129" y="202260"/>
                  </a:lnTo>
                  <a:lnTo>
                    <a:pt x="2398129" y="203594"/>
                  </a:lnTo>
                  <a:lnTo>
                    <a:pt x="2398218" y="203594"/>
                  </a:lnTo>
                  <a:lnTo>
                    <a:pt x="2398218" y="202959"/>
                  </a:lnTo>
                  <a:lnTo>
                    <a:pt x="2398218" y="203594"/>
                  </a:lnTo>
                  <a:lnTo>
                    <a:pt x="2398269" y="203594"/>
                  </a:lnTo>
                  <a:lnTo>
                    <a:pt x="2398269" y="202959"/>
                  </a:lnTo>
                  <a:lnTo>
                    <a:pt x="2398269" y="203594"/>
                  </a:lnTo>
                  <a:lnTo>
                    <a:pt x="2398269" y="202959"/>
                  </a:lnTo>
                  <a:lnTo>
                    <a:pt x="2398269" y="203594"/>
                  </a:lnTo>
                  <a:lnTo>
                    <a:pt x="2398269" y="202959"/>
                  </a:lnTo>
                  <a:lnTo>
                    <a:pt x="2398269" y="204292"/>
                  </a:lnTo>
                  <a:lnTo>
                    <a:pt x="2398269" y="203594"/>
                  </a:lnTo>
                  <a:lnTo>
                    <a:pt x="2398319" y="204292"/>
                  </a:lnTo>
                  <a:lnTo>
                    <a:pt x="2398319" y="204990"/>
                  </a:lnTo>
                  <a:lnTo>
                    <a:pt x="2398319" y="204292"/>
                  </a:lnTo>
                  <a:lnTo>
                    <a:pt x="2398319" y="204990"/>
                  </a:lnTo>
                  <a:lnTo>
                    <a:pt x="2398319" y="204292"/>
                  </a:lnTo>
                  <a:lnTo>
                    <a:pt x="2398319" y="204990"/>
                  </a:lnTo>
                  <a:lnTo>
                    <a:pt x="2398370" y="204990"/>
                  </a:lnTo>
                  <a:lnTo>
                    <a:pt x="2398370" y="204292"/>
                  </a:lnTo>
                  <a:lnTo>
                    <a:pt x="2398472" y="204292"/>
                  </a:lnTo>
                  <a:lnTo>
                    <a:pt x="2398472" y="202959"/>
                  </a:lnTo>
                  <a:lnTo>
                    <a:pt x="2398472" y="203594"/>
                  </a:lnTo>
                  <a:lnTo>
                    <a:pt x="2398472" y="202260"/>
                  </a:lnTo>
                  <a:lnTo>
                    <a:pt x="2398472" y="202959"/>
                  </a:lnTo>
                  <a:lnTo>
                    <a:pt x="2398522" y="202959"/>
                  </a:lnTo>
                  <a:lnTo>
                    <a:pt x="2398522" y="200228"/>
                  </a:lnTo>
                  <a:lnTo>
                    <a:pt x="2398522" y="202260"/>
                  </a:lnTo>
                  <a:lnTo>
                    <a:pt x="2398573" y="202260"/>
                  </a:lnTo>
                  <a:lnTo>
                    <a:pt x="2398573" y="200228"/>
                  </a:lnTo>
                  <a:lnTo>
                    <a:pt x="2398573" y="202959"/>
                  </a:lnTo>
                  <a:lnTo>
                    <a:pt x="2398675" y="202959"/>
                  </a:lnTo>
                  <a:lnTo>
                    <a:pt x="2398675" y="200876"/>
                  </a:lnTo>
                  <a:lnTo>
                    <a:pt x="2398675" y="202959"/>
                  </a:lnTo>
                  <a:lnTo>
                    <a:pt x="2398713" y="202260"/>
                  </a:lnTo>
                  <a:lnTo>
                    <a:pt x="2398713" y="200876"/>
                  </a:lnTo>
                  <a:lnTo>
                    <a:pt x="2398713" y="202959"/>
                  </a:lnTo>
                  <a:lnTo>
                    <a:pt x="2398713" y="202260"/>
                  </a:lnTo>
                  <a:lnTo>
                    <a:pt x="2398764" y="202260"/>
                  </a:lnTo>
                  <a:lnTo>
                    <a:pt x="2398764" y="200876"/>
                  </a:lnTo>
                  <a:lnTo>
                    <a:pt x="2398764" y="202959"/>
                  </a:lnTo>
                  <a:lnTo>
                    <a:pt x="2398764" y="202260"/>
                  </a:lnTo>
                  <a:lnTo>
                    <a:pt x="2398764" y="202959"/>
                  </a:lnTo>
                  <a:lnTo>
                    <a:pt x="2398815" y="202959"/>
                  </a:lnTo>
                  <a:lnTo>
                    <a:pt x="2398815" y="203594"/>
                  </a:lnTo>
                  <a:lnTo>
                    <a:pt x="2398815" y="202959"/>
                  </a:lnTo>
                  <a:lnTo>
                    <a:pt x="2398916" y="202959"/>
                  </a:lnTo>
                  <a:lnTo>
                    <a:pt x="2398916" y="203594"/>
                  </a:lnTo>
                  <a:lnTo>
                    <a:pt x="2398916" y="202260"/>
                  </a:lnTo>
                  <a:lnTo>
                    <a:pt x="2398967" y="202260"/>
                  </a:lnTo>
                  <a:lnTo>
                    <a:pt x="2398967" y="202959"/>
                  </a:lnTo>
                  <a:lnTo>
                    <a:pt x="2398967" y="200228"/>
                  </a:lnTo>
                  <a:lnTo>
                    <a:pt x="2399018" y="200228"/>
                  </a:lnTo>
                  <a:lnTo>
                    <a:pt x="2399018" y="200876"/>
                  </a:lnTo>
                  <a:lnTo>
                    <a:pt x="2399018" y="199530"/>
                  </a:lnTo>
                  <a:lnTo>
                    <a:pt x="2399018" y="200228"/>
                  </a:lnTo>
                  <a:lnTo>
                    <a:pt x="2399119" y="200876"/>
                  </a:lnTo>
                  <a:lnTo>
                    <a:pt x="2399119" y="200228"/>
                  </a:lnTo>
                  <a:lnTo>
                    <a:pt x="2399119" y="200876"/>
                  </a:lnTo>
                  <a:lnTo>
                    <a:pt x="2399119" y="199530"/>
                  </a:lnTo>
                  <a:lnTo>
                    <a:pt x="2399119" y="202260"/>
                  </a:lnTo>
                  <a:lnTo>
                    <a:pt x="2399170" y="200876"/>
                  </a:lnTo>
                  <a:lnTo>
                    <a:pt x="2399170" y="200228"/>
                  </a:lnTo>
                  <a:lnTo>
                    <a:pt x="2399170" y="202260"/>
                  </a:lnTo>
                  <a:lnTo>
                    <a:pt x="2399221" y="200876"/>
                  </a:lnTo>
                  <a:lnTo>
                    <a:pt x="2399221" y="200228"/>
                  </a:lnTo>
                  <a:lnTo>
                    <a:pt x="2399221" y="200876"/>
                  </a:lnTo>
                  <a:lnTo>
                    <a:pt x="2399259" y="200876"/>
                  </a:lnTo>
                  <a:lnTo>
                    <a:pt x="2399259" y="200228"/>
                  </a:lnTo>
                  <a:lnTo>
                    <a:pt x="2399259" y="202260"/>
                  </a:lnTo>
                  <a:lnTo>
                    <a:pt x="2399361" y="202260"/>
                  </a:lnTo>
                  <a:lnTo>
                    <a:pt x="2399361" y="200876"/>
                  </a:lnTo>
                  <a:lnTo>
                    <a:pt x="2399412" y="202260"/>
                  </a:lnTo>
                  <a:lnTo>
                    <a:pt x="2399412" y="200876"/>
                  </a:lnTo>
                  <a:lnTo>
                    <a:pt x="2399412" y="202260"/>
                  </a:lnTo>
                  <a:lnTo>
                    <a:pt x="2399412" y="200876"/>
                  </a:lnTo>
                  <a:lnTo>
                    <a:pt x="2399412" y="202260"/>
                  </a:lnTo>
                  <a:lnTo>
                    <a:pt x="2399412" y="200876"/>
                  </a:lnTo>
                  <a:lnTo>
                    <a:pt x="2399412" y="202260"/>
                  </a:lnTo>
                  <a:lnTo>
                    <a:pt x="2399462" y="200876"/>
                  </a:lnTo>
                  <a:lnTo>
                    <a:pt x="2399462" y="199530"/>
                  </a:lnTo>
                  <a:lnTo>
                    <a:pt x="2399564" y="199530"/>
                  </a:lnTo>
                  <a:lnTo>
                    <a:pt x="2399564" y="198831"/>
                  </a:lnTo>
                  <a:lnTo>
                    <a:pt x="2399564" y="200228"/>
                  </a:lnTo>
                  <a:lnTo>
                    <a:pt x="2399564" y="199530"/>
                  </a:lnTo>
                  <a:lnTo>
                    <a:pt x="2399615" y="199530"/>
                  </a:lnTo>
                  <a:lnTo>
                    <a:pt x="2399615" y="198831"/>
                  </a:lnTo>
                  <a:lnTo>
                    <a:pt x="2399615" y="199530"/>
                  </a:lnTo>
                  <a:lnTo>
                    <a:pt x="2399615" y="198831"/>
                  </a:lnTo>
                  <a:lnTo>
                    <a:pt x="2399615" y="200228"/>
                  </a:lnTo>
                  <a:lnTo>
                    <a:pt x="2399665" y="199530"/>
                  </a:lnTo>
                  <a:lnTo>
                    <a:pt x="2399665" y="200228"/>
                  </a:lnTo>
                  <a:lnTo>
                    <a:pt x="2399716" y="200228"/>
                  </a:lnTo>
                  <a:lnTo>
                    <a:pt x="2399716" y="199530"/>
                  </a:lnTo>
                  <a:lnTo>
                    <a:pt x="2399716" y="200228"/>
                  </a:lnTo>
                  <a:lnTo>
                    <a:pt x="2399716" y="199530"/>
                  </a:lnTo>
                  <a:lnTo>
                    <a:pt x="2399716" y="200228"/>
                  </a:lnTo>
                  <a:lnTo>
                    <a:pt x="2399805" y="200228"/>
                  </a:lnTo>
                  <a:lnTo>
                    <a:pt x="2399805" y="200876"/>
                  </a:lnTo>
                  <a:lnTo>
                    <a:pt x="2399805" y="200228"/>
                  </a:lnTo>
                  <a:lnTo>
                    <a:pt x="2399805" y="200876"/>
                  </a:lnTo>
                  <a:lnTo>
                    <a:pt x="2399856" y="200876"/>
                  </a:lnTo>
                  <a:lnTo>
                    <a:pt x="2399856" y="200228"/>
                  </a:lnTo>
                  <a:lnTo>
                    <a:pt x="2399856" y="200876"/>
                  </a:lnTo>
                  <a:lnTo>
                    <a:pt x="2399907" y="200228"/>
                  </a:lnTo>
                  <a:lnTo>
                    <a:pt x="2399907" y="200876"/>
                  </a:lnTo>
                  <a:lnTo>
                    <a:pt x="2399907" y="200228"/>
                  </a:lnTo>
                  <a:lnTo>
                    <a:pt x="2399907" y="200876"/>
                  </a:lnTo>
                  <a:lnTo>
                    <a:pt x="2399907" y="199530"/>
                  </a:lnTo>
                  <a:lnTo>
                    <a:pt x="2399907" y="200228"/>
                  </a:lnTo>
                  <a:lnTo>
                    <a:pt x="2399907" y="199530"/>
                  </a:lnTo>
                  <a:lnTo>
                    <a:pt x="2399907" y="200228"/>
                  </a:lnTo>
                  <a:lnTo>
                    <a:pt x="2399958" y="200228"/>
                  </a:lnTo>
                  <a:lnTo>
                    <a:pt x="2399958" y="199530"/>
                  </a:lnTo>
                  <a:lnTo>
                    <a:pt x="2399958" y="200228"/>
                  </a:lnTo>
                  <a:lnTo>
                    <a:pt x="2399958" y="198831"/>
                  </a:lnTo>
                  <a:lnTo>
                    <a:pt x="2399958" y="199530"/>
                  </a:lnTo>
                  <a:lnTo>
                    <a:pt x="2400059" y="198831"/>
                  </a:lnTo>
                  <a:lnTo>
                    <a:pt x="2400059" y="200228"/>
                  </a:lnTo>
                  <a:lnTo>
                    <a:pt x="2400059" y="198831"/>
                  </a:lnTo>
                  <a:lnTo>
                    <a:pt x="2400059" y="200876"/>
                  </a:lnTo>
                  <a:lnTo>
                    <a:pt x="2400110" y="200876"/>
                  </a:lnTo>
                  <a:lnTo>
                    <a:pt x="2400110" y="202959"/>
                  </a:lnTo>
                  <a:lnTo>
                    <a:pt x="2400110" y="200876"/>
                  </a:lnTo>
                  <a:lnTo>
                    <a:pt x="2400161" y="202260"/>
                  </a:lnTo>
                  <a:lnTo>
                    <a:pt x="2400161" y="202959"/>
                  </a:lnTo>
                  <a:lnTo>
                    <a:pt x="2400161" y="202260"/>
                  </a:lnTo>
                  <a:lnTo>
                    <a:pt x="2400161" y="202959"/>
                  </a:lnTo>
                  <a:lnTo>
                    <a:pt x="2400161" y="200876"/>
                  </a:lnTo>
                  <a:lnTo>
                    <a:pt x="2400161" y="202260"/>
                  </a:lnTo>
                  <a:lnTo>
                    <a:pt x="2400161" y="200876"/>
                  </a:lnTo>
                  <a:lnTo>
                    <a:pt x="2400161" y="202260"/>
                  </a:lnTo>
                  <a:lnTo>
                    <a:pt x="2400262" y="202260"/>
                  </a:lnTo>
                  <a:lnTo>
                    <a:pt x="2400262" y="200876"/>
                  </a:lnTo>
                  <a:lnTo>
                    <a:pt x="2400262" y="202959"/>
                  </a:lnTo>
                  <a:lnTo>
                    <a:pt x="2400262" y="202260"/>
                  </a:lnTo>
                  <a:lnTo>
                    <a:pt x="2400351" y="202260"/>
                  </a:lnTo>
                  <a:lnTo>
                    <a:pt x="2400351" y="200876"/>
                  </a:lnTo>
                  <a:lnTo>
                    <a:pt x="2400351" y="202260"/>
                  </a:lnTo>
                  <a:lnTo>
                    <a:pt x="2400351" y="200876"/>
                  </a:lnTo>
                  <a:lnTo>
                    <a:pt x="2400351" y="202260"/>
                  </a:lnTo>
                  <a:lnTo>
                    <a:pt x="2400351" y="200876"/>
                  </a:lnTo>
                  <a:lnTo>
                    <a:pt x="2400402" y="200876"/>
                  </a:lnTo>
                  <a:lnTo>
                    <a:pt x="2400402" y="202260"/>
                  </a:lnTo>
                  <a:lnTo>
                    <a:pt x="2400402" y="200228"/>
                  </a:lnTo>
                  <a:lnTo>
                    <a:pt x="2400402" y="200876"/>
                  </a:lnTo>
                  <a:lnTo>
                    <a:pt x="2400402" y="200228"/>
                  </a:lnTo>
                  <a:lnTo>
                    <a:pt x="2400504" y="200228"/>
                  </a:lnTo>
                  <a:lnTo>
                    <a:pt x="2400504" y="198831"/>
                  </a:lnTo>
                  <a:lnTo>
                    <a:pt x="2400504" y="199530"/>
                  </a:lnTo>
                  <a:lnTo>
                    <a:pt x="2400504" y="198831"/>
                  </a:lnTo>
                  <a:lnTo>
                    <a:pt x="2400504" y="199530"/>
                  </a:lnTo>
                  <a:lnTo>
                    <a:pt x="2400555" y="200228"/>
                  </a:lnTo>
                  <a:lnTo>
                    <a:pt x="2400555" y="200876"/>
                  </a:lnTo>
                  <a:lnTo>
                    <a:pt x="2400555" y="199530"/>
                  </a:lnTo>
                  <a:lnTo>
                    <a:pt x="2400555" y="202260"/>
                  </a:lnTo>
                  <a:lnTo>
                    <a:pt x="2400605" y="202260"/>
                  </a:lnTo>
                  <a:lnTo>
                    <a:pt x="2400605" y="200228"/>
                  </a:lnTo>
                  <a:lnTo>
                    <a:pt x="2400605" y="202260"/>
                  </a:lnTo>
                  <a:lnTo>
                    <a:pt x="2400707" y="202260"/>
                  </a:lnTo>
                  <a:lnTo>
                    <a:pt x="2400707" y="200876"/>
                  </a:lnTo>
                  <a:lnTo>
                    <a:pt x="2400707" y="202260"/>
                  </a:lnTo>
                  <a:lnTo>
                    <a:pt x="2400809" y="202260"/>
                  </a:lnTo>
                  <a:lnTo>
                    <a:pt x="2400809" y="200876"/>
                  </a:lnTo>
                  <a:lnTo>
                    <a:pt x="2400809" y="202959"/>
                  </a:lnTo>
                  <a:lnTo>
                    <a:pt x="2400809" y="202260"/>
                  </a:lnTo>
                  <a:lnTo>
                    <a:pt x="2400847" y="202260"/>
                  </a:lnTo>
                  <a:lnTo>
                    <a:pt x="2400847" y="200228"/>
                  </a:lnTo>
                  <a:lnTo>
                    <a:pt x="2400847" y="200876"/>
                  </a:lnTo>
                  <a:lnTo>
                    <a:pt x="2400948" y="200876"/>
                  </a:lnTo>
                  <a:lnTo>
                    <a:pt x="2400948" y="199530"/>
                  </a:lnTo>
                  <a:lnTo>
                    <a:pt x="2400999" y="199530"/>
                  </a:lnTo>
                  <a:lnTo>
                    <a:pt x="2400999" y="198831"/>
                  </a:lnTo>
                  <a:lnTo>
                    <a:pt x="2400999" y="199530"/>
                  </a:lnTo>
                  <a:lnTo>
                    <a:pt x="2400999" y="197447"/>
                  </a:lnTo>
                  <a:lnTo>
                    <a:pt x="2400999" y="199530"/>
                  </a:lnTo>
                  <a:lnTo>
                    <a:pt x="2401050" y="199530"/>
                  </a:lnTo>
                  <a:lnTo>
                    <a:pt x="2401050" y="197447"/>
                  </a:lnTo>
                  <a:lnTo>
                    <a:pt x="2401050" y="198831"/>
                  </a:lnTo>
                  <a:lnTo>
                    <a:pt x="2401050" y="197447"/>
                  </a:lnTo>
                  <a:lnTo>
                    <a:pt x="2401050" y="200228"/>
                  </a:lnTo>
                  <a:lnTo>
                    <a:pt x="2401151" y="200228"/>
                  </a:lnTo>
                  <a:lnTo>
                    <a:pt x="2401151" y="199530"/>
                  </a:lnTo>
                  <a:lnTo>
                    <a:pt x="2401151" y="200876"/>
                  </a:lnTo>
                  <a:lnTo>
                    <a:pt x="2401151" y="200228"/>
                  </a:lnTo>
                  <a:lnTo>
                    <a:pt x="2401151" y="200876"/>
                  </a:lnTo>
                  <a:lnTo>
                    <a:pt x="2401151" y="200228"/>
                  </a:lnTo>
                  <a:lnTo>
                    <a:pt x="2401202" y="200876"/>
                  </a:lnTo>
                  <a:lnTo>
                    <a:pt x="2401202" y="200228"/>
                  </a:lnTo>
                  <a:lnTo>
                    <a:pt x="2401202" y="200876"/>
                  </a:lnTo>
                  <a:lnTo>
                    <a:pt x="2401253" y="200876"/>
                  </a:lnTo>
                  <a:lnTo>
                    <a:pt x="2401253" y="202260"/>
                  </a:lnTo>
                  <a:lnTo>
                    <a:pt x="2401253" y="200876"/>
                  </a:lnTo>
                  <a:lnTo>
                    <a:pt x="2401253" y="202260"/>
                  </a:lnTo>
                  <a:lnTo>
                    <a:pt x="2401304" y="202260"/>
                  </a:lnTo>
                  <a:lnTo>
                    <a:pt x="2401304" y="202959"/>
                  </a:lnTo>
                  <a:lnTo>
                    <a:pt x="2401304" y="200876"/>
                  </a:lnTo>
                  <a:lnTo>
                    <a:pt x="2401304" y="202260"/>
                  </a:lnTo>
                  <a:lnTo>
                    <a:pt x="2401304" y="200876"/>
                  </a:lnTo>
                  <a:lnTo>
                    <a:pt x="2401304" y="202260"/>
                  </a:lnTo>
                  <a:lnTo>
                    <a:pt x="2401304" y="200876"/>
                  </a:lnTo>
                  <a:lnTo>
                    <a:pt x="2401304" y="202260"/>
                  </a:lnTo>
                  <a:lnTo>
                    <a:pt x="2401393" y="202260"/>
                  </a:lnTo>
                  <a:lnTo>
                    <a:pt x="2401393" y="200876"/>
                  </a:lnTo>
                  <a:lnTo>
                    <a:pt x="2401393" y="202260"/>
                  </a:lnTo>
                  <a:lnTo>
                    <a:pt x="2401393" y="200876"/>
                  </a:lnTo>
                  <a:lnTo>
                    <a:pt x="2401444" y="200876"/>
                  </a:lnTo>
                  <a:lnTo>
                    <a:pt x="2401444" y="200228"/>
                  </a:lnTo>
                  <a:lnTo>
                    <a:pt x="2401444" y="200876"/>
                  </a:lnTo>
                  <a:lnTo>
                    <a:pt x="2401444" y="199530"/>
                  </a:lnTo>
                  <a:lnTo>
                    <a:pt x="2401494" y="199530"/>
                  </a:lnTo>
                  <a:lnTo>
                    <a:pt x="2401494" y="200876"/>
                  </a:lnTo>
                  <a:lnTo>
                    <a:pt x="2401494" y="197447"/>
                  </a:lnTo>
                  <a:lnTo>
                    <a:pt x="2401494" y="198831"/>
                  </a:lnTo>
                  <a:lnTo>
                    <a:pt x="2401545" y="199530"/>
                  </a:lnTo>
                  <a:lnTo>
                    <a:pt x="2401545" y="202260"/>
                  </a:lnTo>
                  <a:lnTo>
                    <a:pt x="2401545" y="200228"/>
                  </a:lnTo>
                  <a:lnTo>
                    <a:pt x="2401647" y="200228"/>
                  </a:lnTo>
                  <a:lnTo>
                    <a:pt x="2401647" y="202260"/>
                  </a:lnTo>
                  <a:lnTo>
                    <a:pt x="2401647" y="200228"/>
                  </a:lnTo>
                  <a:lnTo>
                    <a:pt x="2401647" y="200876"/>
                  </a:lnTo>
                  <a:lnTo>
                    <a:pt x="2401647" y="200228"/>
                  </a:lnTo>
                  <a:lnTo>
                    <a:pt x="2401647" y="200876"/>
                  </a:lnTo>
                  <a:lnTo>
                    <a:pt x="2401697" y="200876"/>
                  </a:lnTo>
                  <a:lnTo>
                    <a:pt x="2401697" y="202260"/>
                  </a:lnTo>
                  <a:lnTo>
                    <a:pt x="2401748" y="202260"/>
                  </a:lnTo>
                  <a:lnTo>
                    <a:pt x="2401748" y="200876"/>
                  </a:lnTo>
                  <a:lnTo>
                    <a:pt x="2401748" y="202260"/>
                  </a:lnTo>
                  <a:lnTo>
                    <a:pt x="2401748" y="200876"/>
                  </a:lnTo>
                  <a:lnTo>
                    <a:pt x="2401748" y="202260"/>
                  </a:lnTo>
                  <a:lnTo>
                    <a:pt x="2401850" y="202260"/>
                  </a:lnTo>
                  <a:lnTo>
                    <a:pt x="2401850" y="200876"/>
                  </a:lnTo>
                  <a:lnTo>
                    <a:pt x="2401850" y="202260"/>
                  </a:lnTo>
                  <a:lnTo>
                    <a:pt x="2401888" y="202260"/>
                  </a:lnTo>
                  <a:lnTo>
                    <a:pt x="2401888" y="200228"/>
                  </a:lnTo>
                  <a:lnTo>
                    <a:pt x="2401888" y="200876"/>
                  </a:lnTo>
                  <a:lnTo>
                    <a:pt x="2401888" y="200228"/>
                  </a:lnTo>
                  <a:lnTo>
                    <a:pt x="2401888" y="200876"/>
                  </a:lnTo>
                  <a:lnTo>
                    <a:pt x="2401888" y="200228"/>
                  </a:lnTo>
                  <a:lnTo>
                    <a:pt x="2401939" y="200228"/>
                  </a:lnTo>
                  <a:lnTo>
                    <a:pt x="2401939" y="198831"/>
                  </a:lnTo>
                  <a:lnTo>
                    <a:pt x="2401939" y="199530"/>
                  </a:lnTo>
                  <a:lnTo>
                    <a:pt x="2401939" y="197447"/>
                  </a:lnTo>
                  <a:lnTo>
                    <a:pt x="2401990" y="197447"/>
                  </a:lnTo>
                  <a:lnTo>
                    <a:pt x="2401990" y="199530"/>
                  </a:lnTo>
                  <a:lnTo>
                    <a:pt x="2401990" y="197447"/>
                  </a:lnTo>
                  <a:lnTo>
                    <a:pt x="2401990" y="198831"/>
                  </a:lnTo>
                  <a:lnTo>
                    <a:pt x="2401990" y="197447"/>
                  </a:lnTo>
                  <a:lnTo>
                    <a:pt x="2401990" y="198831"/>
                  </a:lnTo>
                  <a:lnTo>
                    <a:pt x="2401990" y="197447"/>
                  </a:lnTo>
                  <a:lnTo>
                    <a:pt x="2401990" y="198831"/>
                  </a:lnTo>
                  <a:lnTo>
                    <a:pt x="2402091" y="199530"/>
                  </a:lnTo>
                  <a:lnTo>
                    <a:pt x="2402091" y="200876"/>
                  </a:lnTo>
                  <a:lnTo>
                    <a:pt x="2402091" y="199530"/>
                  </a:lnTo>
                  <a:lnTo>
                    <a:pt x="2402091" y="200228"/>
                  </a:lnTo>
                  <a:lnTo>
                    <a:pt x="2402142" y="200228"/>
                  </a:lnTo>
                  <a:lnTo>
                    <a:pt x="2402142" y="200876"/>
                  </a:lnTo>
                  <a:lnTo>
                    <a:pt x="2402142" y="199530"/>
                  </a:lnTo>
                  <a:lnTo>
                    <a:pt x="2402142" y="200228"/>
                  </a:lnTo>
                  <a:lnTo>
                    <a:pt x="2402142" y="199530"/>
                  </a:lnTo>
                  <a:lnTo>
                    <a:pt x="2402142" y="200228"/>
                  </a:lnTo>
                  <a:lnTo>
                    <a:pt x="2402193" y="200228"/>
                  </a:lnTo>
                  <a:lnTo>
                    <a:pt x="2402193" y="202260"/>
                  </a:lnTo>
                  <a:lnTo>
                    <a:pt x="2402193" y="200876"/>
                  </a:lnTo>
                  <a:lnTo>
                    <a:pt x="2402193" y="202260"/>
                  </a:lnTo>
                  <a:lnTo>
                    <a:pt x="2402294" y="200876"/>
                  </a:lnTo>
                  <a:lnTo>
                    <a:pt x="2402294" y="202260"/>
                  </a:lnTo>
                  <a:lnTo>
                    <a:pt x="2402345" y="202260"/>
                  </a:lnTo>
                  <a:lnTo>
                    <a:pt x="2402345" y="200876"/>
                  </a:lnTo>
                  <a:lnTo>
                    <a:pt x="2402345" y="202260"/>
                  </a:lnTo>
                  <a:lnTo>
                    <a:pt x="2402345" y="200876"/>
                  </a:lnTo>
                  <a:lnTo>
                    <a:pt x="2402345" y="202260"/>
                  </a:lnTo>
                  <a:lnTo>
                    <a:pt x="2402345" y="200876"/>
                  </a:lnTo>
                  <a:lnTo>
                    <a:pt x="2402396" y="200876"/>
                  </a:lnTo>
                  <a:lnTo>
                    <a:pt x="2402396" y="200228"/>
                  </a:lnTo>
                  <a:lnTo>
                    <a:pt x="2402434" y="199530"/>
                  </a:lnTo>
                  <a:lnTo>
                    <a:pt x="2402434" y="198831"/>
                  </a:lnTo>
                  <a:lnTo>
                    <a:pt x="2402434" y="199530"/>
                  </a:lnTo>
                  <a:lnTo>
                    <a:pt x="2402434" y="197447"/>
                  </a:lnTo>
                  <a:lnTo>
                    <a:pt x="2402536" y="198831"/>
                  </a:lnTo>
                  <a:lnTo>
                    <a:pt x="2402536" y="199530"/>
                  </a:lnTo>
                  <a:lnTo>
                    <a:pt x="2402536" y="198831"/>
                  </a:lnTo>
                  <a:lnTo>
                    <a:pt x="2402536" y="199530"/>
                  </a:lnTo>
                  <a:lnTo>
                    <a:pt x="2402536" y="196799"/>
                  </a:lnTo>
                  <a:lnTo>
                    <a:pt x="2402536" y="199530"/>
                  </a:lnTo>
                  <a:lnTo>
                    <a:pt x="2402587" y="200228"/>
                  </a:lnTo>
                  <a:lnTo>
                    <a:pt x="2402587" y="198831"/>
                  </a:lnTo>
                  <a:lnTo>
                    <a:pt x="2402587" y="200228"/>
                  </a:lnTo>
                  <a:lnTo>
                    <a:pt x="2402637" y="200228"/>
                  </a:lnTo>
                  <a:lnTo>
                    <a:pt x="2402637" y="199530"/>
                  </a:lnTo>
                  <a:lnTo>
                    <a:pt x="2402637" y="200228"/>
                  </a:lnTo>
                  <a:lnTo>
                    <a:pt x="2402637" y="199530"/>
                  </a:lnTo>
                  <a:lnTo>
                    <a:pt x="2402637" y="200228"/>
                  </a:lnTo>
                  <a:lnTo>
                    <a:pt x="2402739" y="200228"/>
                  </a:lnTo>
                  <a:lnTo>
                    <a:pt x="2402739" y="199530"/>
                  </a:lnTo>
                  <a:lnTo>
                    <a:pt x="2402739" y="200228"/>
                  </a:lnTo>
                  <a:lnTo>
                    <a:pt x="2402739" y="199530"/>
                  </a:lnTo>
                  <a:lnTo>
                    <a:pt x="2402739" y="200228"/>
                  </a:lnTo>
                  <a:lnTo>
                    <a:pt x="2402739" y="199530"/>
                  </a:lnTo>
                  <a:lnTo>
                    <a:pt x="2402739" y="200228"/>
                  </a:lnTo>
                  <a:lnTo>
                    <a:pt x="2402790" y="200228"/>
                  </a:lnTo>
                  <a:lnTo>
                    <a:pt x="2402790" y="200876"/>
                  </a:lnTo>
                  <a:lnTo>
                    <a:pt x="2402840" y="200876"/>
                  </a:lnTo>
                  <a:lnTo>
                    <a:pt x="2402840" y="200228"/>
                  </a:lnTo>
                  <a:lnTo>
                    <a:pt x="2402840" y="200876"/>
                  </a:lnTo>
                  <a:lnTo>
                    <a:pt x="2402891" y="200876"/>
                  </a:lnTo>
                  <a:lnTo>
                    <a:pt x="2402891" y="199530"/>
                  </a:lnTo>
                  <a:lnTo>
                    <a:pt x="2402891" y="200876"/>
                  </a:lnTo>
                  <a:lnTo>
                    <a:pt x="2402891" y="198831"/>
                  </a:lnTo>
                  <a:lnTo>
                    <a:pt x="2402980" y="198831"/>
                  </a:lnTo>
                  <a:lnTo>
                    <a:pt x="2402980" y="197447"/>
                  </a:lnTo>
                  <a:lnTo>
                    <a:pt x="2402980" y="198831"/>
                  </a:lnTo>
                  <a:lnTo>
                    <a:pt x="2402980" y="197447"/>
                  </a:lnTo>
                  <a:lnTo>
                    <a:pt x="2402980" y="200228"/>
                  </a:lnTo>
                  <a:lnTo>
                    <a:pt x="2402980" y="199530"/>
                  </a:lnTo>
                  <a:lnTo>
                    <a:pt x="2403031" y="199530"/>
                  </a:lnTo>
                  <a:lnTo>
                    <a:pt x="2403031" y="197447"/>
                  </a:lnTo>
                  <a:lnTo>
                    <a:pt x="2403031" y="200876"/>
                  </a:lnTo>
                  <a:lnTo>
                    <a:pt x="2403031" y="200228"/>
                  </a:lnTo>
                  <a:lnTo>
                    <a:pt x="2403082" y="200228"/>
                  </a:lnTo>
                  <a:lnTo>
                    <a:pt x="2403082" y="199530"/>
                  </a:lnTo>
                  <a:lnTo>
                    <a:pt x="2403082" y="200876"/>
                  </a:lnTo>
                  <a:lnTo>
                    <a:pt x="2403082" y="199530"/>
                  </a:lnTo>
                  <a:lnTo>
                    <a:pt x="2403133" y="200228"/>
                  </a:lnTo>
                  <a:lnTo>
                    <a:pt x="2403133" y="199530"/>
                  </a:lnTo>
                  <a:lnTo>
                    <a:pt x="2403133" y="200876"/>
                  </a:lnTo>
                  <a:lnTo>
                    <a:pt x="2403133" y="200228"/>
                  </a:lnTo>
                  <a:lnTo>
                    <a:pt x="2403234" y="200228"/>
                  </a:lnTo>
                  <a:lnTo>
                    <a:pt x="2403234" y="200876"/>
                  </a:lnTo>
                  <a:lnTo>
                    <a:pt x="2403234" y="200228"/>
                  </a:lnTo>
                  <a:lnTo>
                    <a:pt x="2403285" y="200228"/>
                  </a:lnTo>
                  <a:lnTo>
                    <a:pt x="2403285" y="200876"/>
                  </a:lnTo>
                  <a:lnTo>
                    <a:pt x="2403285" y="200228"/>
                  </a:lnTo>
                  <a:lnTo>
                    <a:pt x="2403285" y="200876"/>
                  </a:lnTo>
                  <a:lnTo>
                    <a:pt x="2403336" y="200876"/>
                  </a:lnTo>
                  <a:lnTo>
                    <a:pt x="2403336" y="202260"/>
                  </a:lnTo>
                  <a:lnTo>
                    <a:pt x="2403336" y="200228"/>
                  </a:lnTo>
                  <a:lnTo>
                    <a:pt x="2403336" y="200876"/>
                  </a:lnTo>
                  <a:lnTo>
                    <a:pt x="2403336" y="200228"/>
                  </a:lnTo>
                  <a:lnTo>
                    <a:pt x="2403336" y="200876"/>
                  </a:lnTo>
                  <a:lnTo>
                    <a:pt x="2403437" y="200876"/>
                  </a:lnTo>
                  <a:lnTo>
                    <a:pt x="2403437" y="198831"/>
                  </a:lnTo>
                  <a:lnTo>
                    <a:pt x="2403475" y="198831"/>
                  </a:lnTo>
                  <a:lnTo>
                    <a:pt x="2403475" y="200228"/>
                  </a:lnTo>
                  <a:lnTo>
                    <a:pt x="2403475" y="198831"/>
                  </a:lnTo>
                  <a:lnTo>
                    <a:pt x="2403526" y="197447"/>
                  </a:lnTo>
                  <a:lnTo>
                    <a:pt x="2403526" y="200876"/>
                  </a:lnTo>
                  <a:lnTo>
                    <a:pt x="2403526" y="199530"/>
                  </a:lnTo>
                  <a:lnTo>
                    <a:pt x="2403526" y="200228"/>
                  </a:lnTo>
                  <a:lnTo>
                    <a:pt x="2403577" y="199530"/>
                  </a:lnTo>
                  <a:lnTo>
                    <a:pt x="2403577" y="202260"/>
                  </a:lnTo>
                  <a:lnTo>
                    <a:pt x="2403577" y="200876"/>
                  </a:lnTo>
                  <a:lnTo>
                    <a:pt x="2403679" y="200876"/>
                  </a:lnTo>
                  <a:lnTo>
                    <a:pt x="2403679" y="200228"/>
                  </a:lnTo>
                  <a:lnTo>
                    <a:pt x="2403679" y="200876"/>
                  </a:lnTo>
                  <a:lnTo>
                    <a:pt x="2403679" y="200228"/>
                  </a:lnTo>
                  <a:lnTo>
                    <a:pt x="2403679" y="200876"/>
                  </a:lnTo>
                  <a:lnTo>
                    <a:pt x="2403679" y="200228"/>
                  </a:lnTo>
                  <a:lnTo>
                    <a:pt x="2403679" y="200876"/>
                  </a:lnTo>
                  <a:lnTo>
                    <a:pt x="2403730" y="200876"/>
                  </a:lnTo>
                  <a:lnTo>
                    <a:pt x="2403730" y="200228"/>
                  </a:lnTo>
                  <a:lnTo>
                    <a:pt x="2403780" y="200228"/>
                  </a:lnTo>
                  <a:lnTo>
                    <a:pt x="2403780" y="200876"/>
                  </a:lnTo>
                  <a:lnTo>
                    <a:pt x="2403780" y="200228"/>
                  </a:lnTo>
                  <a:lnTo>
                    <a:pt x="2403882" y="200228"/>
                  </a:lnTo>
                  <a:lnTo>
                    <a:pt x="2403882" y="200876"/>
                  </a:lnTo>
                  <a:lnTo>
                    <a:pt x="2403882" y="199530"/>
                  </a:lnTo>
                  <a:lnTo>
                    <a:pt x="2403933" y="199530"/>
                  </a:lnTo>
                  <a:lnTo>
                    <a:pt x="2403933" y="197447"/>
                  </a:lnTo>
                  <a:lnTo>
                    <a:pt x="2403984" y="197447"/>
                  </a:lnTo>
                  <a:lnTo>
                    <a:pt x="2403984" y="196799"/>
                  </a:lnTo>
                  <a:lnTo>
                    <a:pt x="2403984" y="199530"/>
                  </a:lnTo>
                  <a:lnTo>
                    <a:pt x="2403984" y="196799"/>
                  </a:lnTo>
                  <a:lnTo>
                    <a:pt x="2403984" y="197447"/>
                  </a:lnTo>
                  <a:lnTo>
                    <a:pt x="2404022" y="198831"/>
                  </a:lnTo>
                  <a:lnTo>
                    <a:pt x="2404022" y="200876"/>
                  </a:lnTo>
                  <a:lnTo>
                    <a:pt x="2404022" y="198831"/>
                  </a:lnTo>
                  <a:lnTo>
                    <a:pt x="2404022" y="200228"/>
                  </a:lnTo>
                  <a:lnTo>
                    <a:pt x="2404123" y="200876"/>
                  </a:lnTo>
                  <a:lnTo>
                    <a:pt x="2404123" y="199530"/>
                  </a:lnTo>
                  <a:lnTo>
                    <a:pt x="2404123" y="200876"/>
                  </a:lnTo>
                  <a:lnTo>
                    <a:pt x="2404123" y="200228"/>
                  </a:lnTo>
                  <a:lnTo>
                    <a:pt x="2404123" y="200876"/>
                  </a:lnTo>
                  <a:lnTo>
                    <a:pt x="2404174" y="200876"/>
                  </a:lnTo>
                  <a:lnTo>
                    <a:pt x="2404174" y="200228"/>
                  </a:lnTo>
                  <a:lnTo>
                    <a:pt x="2404174" y="200876"/>
                  </a:lnTo>
                  <a:lnTo>
                    <a:pt x="2404225" y="200876"/>
                  </a:lnTo>
                  <a:lnTo>
                    <a:pt x="2404225" y="202260"/>
                  </a:lnTo>
                  <a:lnTo>
                    <a:pt x="2404225" y="200876"/>
                  </a:lnTo>
                  <a:lnTo>
                    <a:pt x="2404225" y="202260"/>
                  </a:lnTo>
                  <a:lnTo>
                    <a:pt x="2404225" y="200876"/>
                  </a:lnTo>
                  <a:lnTo>
                    <a:pt x="2404225" y="202260"/>
                  </a:lnTo>
                  <a:lnTo>
                    <a:pt x="2404225" y="200876"/>
                  </a:lnTo>
                  <a:lnTo>
                    <a:pt x="2404326" y="200876"/>
                  </a:lnTo>
                  <a:lnTo>
                    <a:pt x="2404326" y="200228"/>
                  </a:lnTo>
                  <a:lnTo>
                    <a:pt x="2404326" y="200876"/>
                  </a:lnTo>
                  <a:lnTo>
                    <a:pt x="2404326" y="200228"/>
                  </a:lnTo>
                  <a:lnTo>
                    <a:pt x="2404377" y="200228"/>
                  </a:lnTo>
                  <a:lnTo>
                    <a:pt x="2404377" y="200876"/>
                  </a:lnTo>
                  <a:lnTo>
                    <a:pt x="2404377" y="200228"/>
                  </a:lnTo>
                  <a:lnTo>
                    <a:pt x="2404377" y="200876"/>
                  </a:lnTo>
                  <a:lnTo>
                    <a:pt x="2404377" y="200228"/>
                  </a:lnTo>
                  <a:lnTo>
                    <a:pt x="2404377" y="200876"/>
                  </a:lnTo>
                  <a:lnTo>
                    <a:pt x="2404377" y="199530"/>
                  </a:lnTo>
                  <a:lnTo>
                    <a:pt x="2404428" y="199530"/>
                  </a:lnTo>
                  <a:lnTo>
                    <a:pt x="2404428" y="196799"/>
                  </a:lnTo>
                  <a:lnTo>
                    <a:pt x="2404428" y="197447"/>
                  </a:lnTo>
                  <a:lnTo>
                    <a:pt x="2404479" y="197447"/>
                  </a:lnTo>
                  <a:lnTo>
                    <a:pt x="2404479" y="196113"/>
                  </a:lnTo>
                  <a:lnTo>
                    <a:pt x="2404479" y="197447"/>
                  </a:lnTo>
                  <a:lnTo>
                    <a:pt x="2404479" y="196799"/>
                  </a:lnTo>
                  <a:lnTo>
                    <a:pt x="2404568" y="196799"/>
                  </a:lnTo>
                  <a:lnTo>
                    <a:pt x="2404568" y="199530"/>
                  </a:lnTo>
                  <a:lnTo>
                    <a:pt x="2404568" y="197447"/>
                  </a:lnTo>
                  <a:lnTo>
                    <a:pt x="2404568" y="198831"/>
                  </a:lnTo>
                  <a:lnTo>
                    <a:pt x="2404619" y="198831"/>
                  </a:lnTo>
                  <a:lnTo>
                    <a:pt x="2404619" y="199530"/>
                  </a:lnTo>
                  <a:lnTo>
                    <a:pt x="2404669" y="199530"/>
                  </a:lnTo>
                  <a:lnTo>
                    <a:pt x="2404669" y="200228"/>
                  </a:lnTo>
                  <a:lnTo>
                    <a:pt x="2404669" y="199530"/>
                  </a:lnTo>
                  <a:lnTo>
                    <a:pt x="2404669" y="200228"/>
                  </a:lnTo>
                  <a:lnTo>
                    <a:pt x="2404669" y="199530"/>
                  </a:lnTo>
                  <a:lnTo>
                    <a:pt x="2404669" y="200228"/>
                  </a:lnTo>
                  <a:lnTo>
                    <a:pt x="2404720" y="200228"/>
                  </a:lnTo>
                  <a:lnTo>
                    <a:pt x="2404720" y="200876"/>
                  </a:lnTo>
                  <a:lnTo>
                    <a:pt x="2404720" y="200228"/>
                  </a:lnTo>
                  <a:lnTo>
                    <a:pt x="2404822" y="200876"/>
                  </a:lnTo>
                  <a:lnTo>
                    <a:pt x="2404822" y="200228"/>
                  </a:lnTo>
                  <a:lnTo>
                    <a:pt x="2404822" y="200876"/>
                  </a:lnTo>
                  <a:lnTo>
                    <a:pt x="2404822" y="200228"/>
                  </a:lnTo>
                  <a:lnTo>
                    <a:pt x="2404822" y="200876"/>
                  </a:lnTo>
                  <a:lnTo>
                    <a:pt x="2404822" y="200228"/>
                  </a:lnTo>
                  <a:lnTo>
                    <a:pt x="2404872" y="200228"/>
                  </a:lnTo>
                  <a:lnTo>
                    <a:pt x="2404872" y="198831"/>
                  </a:lnTo>
                  <a:lnTo>
                    <a:pt x="2404923" y="199530"/>
                  </a:lnTo>
                  <a:lnTo>
                    <a:pt x="2404923" y="196799"/>
                  </a:lnTo>
                  <a:lnTo>
                    <a:pt x="2404923" y="197447"/>
                  </a:lnTo>
                  <a:lnTo>
                    <a:pt x="2404923" y="196799"/>
                  </a:lnTo>
                  <a:lnTo>
                    <a:pt x="2405025" y="196799"/>
                  </a:lnTo>
                  <a:lnTo>
                    <a:pt x="2405025" y="196113"/>
                  </a:lnTo>
                  <a:lnTo>
                    <a:pt x="2405025" y="197447"/>
                  </a:lnTo>
                  <a:lnTo>
                    <a:pt x="2405025" y="195415"/>
                  </a:lnTo>
                  <a:lnTo>
                    <a:pt x="2405063" y="195415"/>
                  </a:lnTo>
                  <a:lnTo>
                    <a:pt x="2405063" y="198831"/>
                  </a:lnTo>
                  <a:lnTo>
                    <a:pt x="2405063" y="196799"/>
                  </a:lnTo>
                  <a:lnTo>
                    <a:pt x="2405114" y="196799"/>
                  </a:lnTo>
                  <a:lnTo>
                    <a:pt x="2405114" y="198831"/>
                  </a:lnTo>
                  <a:lnTo>
                    <a:pt x="2405114" y="197447"/>
                  </a:lnTo>
                  <a:lnTo>
                    <a:pt x="2405165" y="197447"/>
                  </a:lnTo>
                  <a:lnTo>
                    <a:pt x="2405165" y="198831"/>
                  </a:lnTo>
                  <a:lnTo>
                    <a:pt x="2405165" y="197447"/>
                  </a:lnTo>
                  <a:lnTo>
                    <a:pt x="2405165" y="198831"/>
                  </a:lnTo>
                  <a:lnTo>
                    <a:pt x="2405165" y="197447"/>
                  </a:lnTo>
                  <a:lnTo>
                    <a:pt x="2405165" y="199530"/>
                  </a:lnTo>
                  <a:lnTo>
                    <a:pt x="2405266" y="199530"/>
                  </a:lnTo>
                  <a:lnTo>
                    <a:pt x="2405266" y="198831"/>
                  </a:lnTo>
                  <a:lnTo>
                    <a:pt x="2405266" y="200228"/>
                  </a:lnTo>
                  <a:lnTo>
                    <a:pt x="2405317" y="200228"/>
                  </a:lnTo>
                  <a:lnTo>
                    <a:pt x="2405317" y="199530"/>
                  </a:lnTo>
                  <a:lnTo>
                    <a:pt x="2405317" y="200876"/>
                  </a:lnTo>
                  <a:lnTo>
                    <a:pt x="2405317" y="200228"/>
                  </a:lnTo>
                  <a:lnTo>
                    <a:pt x="2405317" y="200876"/>
                  </a:lnTo>
                  <a:lnTo>
                    <a:pt x="2405317" y="200228"/>
                  </a:lnTo>
                  <a:lnTo>
                    <a:pt x="2405368" y="200876"/>
                  </a:lnTo>
                  <a:lnTo>
                    <a:pt x="2405368" y="200228"/>
                  </a:lnTo>
                  <a:lnTo>
                    <a:pt x="2405368" y="200876"/>
                  </a:lnTo>
                  <a:lnTo>
                    <a:pt x="2405368" y="200228"/>
                  </a:lnTo>
                  <a:lnTo>
                    <a:pt x="2405368" y="200876"/>
                  </a:lnTo>
                  <a:lnTo>
                    <a:pt x="2405368" y="198831"/>
                  </a:lnTo>
                  <a:lnTo>
                    <a:pt x="2405368" y="199530"/>
                  </a:lnTo>
                  <a:lnTo>
                    <a:pt x="2405469" y="198831"/>
                  </a:lnTo>
                  <a:lnTo>
                    <a:pt x="2405469" y="199530"/>
                  </a:lnTo>
                  <a:lnTo>
                    <a:pt x="2405469" y="196113"/>
                  </a:lnTo>
                  <a:lnTo>
                    <a:pt x="2405520" y="196113"/>
                  </a:lnTo>
                  <a:lnTo>
                    <a:pt x="2405520" y="197447"/>
                  </a:lnTo>
                  <a:lnTo>
                    <a:pt x="2405520" y="195415"/>
                  </a:lnTo>
                  <a:lnTo>
                    <a:pt x="2405520" y="196113"/>
                  </a:lnTo>
                  <a:lnTo>
                    <a:pt x="2405571" y="195415"/>
                  </a:lnTo>
                  <a:lnTo>
                    <a:pt x="2405571" y="198831"/>
                  </a:lnTo>
                  <a:lnTo>
                    <a:pt x="2405571" y="196799"/>
                  </a:lnTo>
                  <a:lnTo>
                    <a:pt x="2405609" y="196799"/>
                  </a:lnTo>
                  <a:lnTo>
                    <a:pt x="2405609" y="198831"/>
                  </a:lnTo>
                  <a:lnTo>
                    <a:pt x="2405609" y="196799"/>
                  </a:lnTo>
                  <a:lnTo>
                    <a:pt x="2405609" y="197447"/>
                  </a:lnTo>
                  <a:lnTo>
                    <a:pt x="2405762" y="197447"/>
                  </a:lnTo>
                  <a:lnTo>
                    <a:pt x="2405762" y="199530"/>
                  </a:lnTo>
                  <a:lnTo>
                    <a:pt x="2405812" y="198831"/>
                  </a:lnTo>
                  <a:lnTo>
                    <a:pt x="2405812" y="199530"/>
                  </a:lnTo>
                  <a:lnTo>
                    <a:pt x="2405812" y="198831"/>
                  </a:lnTo>
                  <a:lnTo>
                    <a:pt x="2405812" y="199530"/>
                  </a:lnTo>
                  <a:lnTo>
                    <a:pt x="2405914" y="199530"/>
                  </a:lnTo>
                  <a:lnTo>
                    <a:pt x="2405914" y="198831"/>
                  </a:lnTo>
                  <a:lnTo>
                    <a:pt x="2405965" y="199530"/>
                  </a:lnTo>
                  <a:lnTo>
                    <a:pt x="2405965" y="197447"/>
                  </a:lnTo>
                  <a:lnTo>
                    <a:pt x="2405965" y="198831"/>
                  </a:lnTo>
                  <a:lnTo>
                    <a:pt x="2405965" y="196799"/>
                  </a:lnTo>
                  <a:lnTo>
                    <a:pt x="2406015" y="196799"/>
                  </a:lnTo>
                  <a:lnTo>
                    <a:pt x="2406015" y="198831"/>
                  </a:lnTo>
                  <a:lnTo>
                    <a:pt x="2406015" y="196799"/>
                  </a:lnTo>
                  <a:lnTo>
                    <a:pt x="2406015" y="199530"/>
                  </a:lnTo>
                  <a:lnTo>
                    <a:pt x="2406066" y="199530"/>
                  </a:lnTo>
                  <a:lnTo>
                    <a:pt x="2406066" y="198831"/>
                  </a:lnTo>
                  <a:lnTo>
                    <a:pt x="2406066" y="199530"/>
                  </a:lnTo>
                  <a:lnTo>
                    <a:pt x="2406066" y="198831"/>
                  </a:lnTo>
                  <a:lnTo>
                    <a:pt x="2406066" y="200228"/>
                  </a:lnTo>
                  <a:lnTo>
                    <a:pt x="2406155" y="200228"/>
                  </a:lnTo>
                  <a:lnTo>
                    <a:pt x="2406155" y="198831"/>
                  </a:lnTo>
                  <a:lnTo>
                    <a:pt x="2406155" y="199530"/>
                  </a:lnTo>
                  <a:lnTo>
                    <a:pt x="2406206" y="199530"/>
                  </a:lnTo>
                  <a:lnTo>
                    <a:pt x="2406206" y="198831"/>
                  </a:lnTo>
                  <a:lnTo>
                    <a:pt x="2406206" y="199530"/>
                  </a:lnTo>
                  <a:lnTo>
                    <a:pt x="2406206" y="198831"/>
                  </a:lnTo>
                  <a:lnTo>
                    <a:pt x="2406206" y="199530"/>
                  </a:lnTo>
                  <a:lnTo>
                    <a:pt x="2406257" y="200228"/>
                  </a:lnTo>
                  <a:lnTo>
                    <a:pt x="2406257" y="199530"/>
                  </a:lnTo>
                  <a:lnTo>
                    <a:pt x="2406257" y="200228"/>
                  </a:lnTo>
                  <a:lnTo>
                    <a:pt x="2406257" y="199530"/>
                  </a:lnTo>
                  <a:lnTo>
                    <a:pt x="2406257" y="200228"/>
                  </a:lnTo>
                  <a:lnTo>
                    <a:pt x="2406257" y="199530"/>
                  </a:lnTo>
                  <a:lnTo>
                    <a:pt x="2406257" y="200228"/>
                  </a:lnTo>
                  <a:lnTo>
                    <a:pt x="2406308" y="200228"/>
                  </a:lnTo>
                  <a:lnTo>
                    <a:pt x="2406308" y="199530"/>
                  </a:lnTo>
                  <a:lnTo>
                    <a:pt x="2406308" y="200228"/>
                  </a:lnTo>
                  <a:lnTo>
                    <a:pt x="2406308" y="199530"/>
                  </a:lnTo>
                  <a:lnTo>
                    <a:pt x="2406308" y="200228"/>
                  </a:lnTo>
                  <a:lnTo>
                    <a:pt x="2406409" y="200228"/>
                  </a:lnTo>
                  <a:lnTo>
                    <a:pt x="2406409" y="199530"/>
                  </a:lnTo>
                  <a:lnTo>
                    <a:pt x="2406409" y="200228"/>
                  </a:lnTo>
                  <a:lnTo>
                    <a:pt x="2406409" y="198831"/>
                  </a:lnTo>
                  <a:lnTo>
                    <a:pt x="2406409" y="199530"/>
                  </a:lnTo>
                  <a:lnTo>
                    <a:pt x="2406409" y="198831"/>
                  </a:lnTo>
                  <a:lnTo>
                    <a:pt x="2406460" y="198831"/>
                  </a:lnTo>
                  <a:lnTo>
                    <a:pt x="2406460" y="196799"/>
                  </a:lnTo>
                  <a:lnTo>
                    <a:pt x="2406460" y="199530"/>
                  </a:lnTo>
                  <a:lnTo>
                    <a:pt x="2406511" y="199530"/>
                  </a:lnTo>
                  <a:lnTo>
                    <a:pt x="2406511" y="197447"/>
                  </a:lnTo>
                  <a:lnTo>
                    <a:pt x="2406511" y="200876"/>
                  </a:lnTo>
                  <a:lnTo>
                    <a:pt x="2406612" y="200876"/>
                  </a:lnTo>
                  <a:lnTo>
                    <a:pt x="2406612" y="199530"/>
                  </a:lnTo>
                  <a:lnTo>
                    <a:pt x="2406612" y="200876"/>
                  </a:lnTo>
                  <a:lnTo>
                    <a:pt x="2406612" y="200228"/>
                  </a:lnTo>
                  <a:lnTo>
                    <a:pt x="2406612" y="200876"/>
                  </a:lnTo>
                  <a:lnTo>
                    <a:pt x="2406650" y="200876"/>
                  </a:lnTo>
                  <a:lnTo>
                    <a:pt x="2406650" y="200228"/>
                  </a:lnTo>
                  <a:lnTo>
                    <a:pt x="2406650" y="200876"/>
                  </a:lnTo>
                  <a:lnTo>
                    <a:pt x="2406650" y="200228"/>
                  </a:lnTo>
                  <a:lnTo>
                    <a:pt x="2406650" y="200876"/>
                  </a:lnTo>
                  <a:lnTo>
                    <a:pt x="2406650" y="200228"/>
                  </a:lnTo>
                  <a:lnTo>
                    <a:pt x="2406650" y="200876"/>
                  </a:lnTo>
                  <a:lnTo>
                    <a:pt x="2406650" y="200228"/>
                  </a:lnTo>
                  <a:lnTo>
                    <a:pt x="2406701" y="200228"/>
                  </a:lnTo>
                  <a:lnTo>
                    <a:pt x="2406701" y="199530"/>
                  </a:lnTo>
                  <a:lnTo>
                    <a:pt x="2406701" y="200876"/>
                  </a:lnTo>
                  <a:lnTo>
                    <a:pt x="2406701" y="200228"/>
                  </a:lnTo>
                  <a:lnTo>
                    <a:pt x="2406752" y="200228"/>
                  </a:lnTo>
                  <a:lnTo>
                    <a:pt x="2406752" y="200876"/>
                  </a:lnTo>
                  <a:lnTo>
                    <a:pt x="2406752" y="200228"/>
                  </a:lnTo>
                  <a:lnTo>
                    <a:pt x="2406854" y="200228"/>
                  </a:lnTo>
                  <a:lnTo>
                    <a:pt x="2406854" y="200876"/>
                  </a:lnTo>
                  <a:lnTo>
                    <a:pt x="2406854" y="199530"/>
                  </a:lnTo>
                  <a:lnTo>
                    <a:pt x="2406905" y="199530"/>
                  </a:lnTo>
                  <a:lnTo>
                    <a:pt x="2406905" y="197447"/>
                  </a:lnTo>
                  <a:lnTo>
                    <a:pt x="2406955" y="197447"/>
                  </a:lnTo>
                  <a:lnTo>
                    <a:pt x="2406955" y="199530"/>
                  </a:lnTo>
                  <a:lnTo>
                    <a:pt x="2406955" y="197447"/>
                  </a:lnTo>
                  <a:lnTo>
                    <a:pt x="2407057" y="197447"/>
                  </a:lnTo>
                  <a:lnTo>
                    <a:pt x="2407057" y="200876"/>
                  </a:lnTo>
                  <a:lnTo>
                    <a:pt x="2407057" y="200228"/>
                  </a:lnTo>
                  <a:lnTo>
                    <a:pt x="2407057" y="200876"/>
                  </a:lnTo>
                  <a:lnTo>
                    <a:pt x="2407057" y="199530"/>
                  </a:lnTo>
                  <a:lnTo>
                    <a:pt x="2407108" y="200228"/>
                  </a:lnTo>
                  <a:lnTo>
                    <a:pt x="2407108" y="200876"/>
                  </a:lnTo>
                  <a:lnTo>
                    <a:pt x="2407108" y="200228"/>
                  </a:lnTo>
                  <a:lnTo>
                    <a:pt x="2407108" y="200876"/>
                  </a:lnTo>
                  <a:lnTo>
                    <a:pt x="2407108" y="200228"/>
                  </a:lnTo>
                  <a:lnTo>
                    <a:pt x="2407159" y="200228"/>
                  </a:lnTo>
                  <a:lnTo>
                    <a:pt x="2407159" y="200876"/>
                  </a:lnTo>
                  <a:lnTo>
                    <a:pt x="2407159" y="200228"/>
                  </a:lnTo>
                  <a:lnTo>
                    <a:pt x="2407197" y="200876"/>
                  </a:lnTo>
                  <a:lnTo>
                    <a:pt x="2407197" y="200228"/>
                  </a:lnTo>
                  <a:lnTo>
                    <a:pt x="2407197" y="200876"/>
                  </a:lnTo>
                  <a:lnTo>
                    <a:pt x="2407298" y="200876"/>
                  </a:lnTo>
                  <a:lnTo>
                    <a:pt x="2407298" y="202260"/>
                  </a:lnTo>
                  <a:lnTo>
                    <a:pt x="2407298" y="200876"/>
                  </a:lnTo>
                  <a:lnTo>
                    <a:pt x="2407298" y="202260"/>
                  </a:lnTo>
                  <a:lnTo>
                    <a:pt x="2407298" y="200228"/>
                  </a:lnTo>
                  <a:lnTo>
                    <a:pt x="2407298" y="200876"/>
                  </a:lnTo>
                  <a:lnTo>
                    <a:pt x="2407298" y="200228"/>
                  </a:lnTo>
                  <a:lnTo>
                    <a:pt x="2407349" y="200228"/>
                  </a:lnTo>
                  <a:lnTo>
                    <a:pt x="2407349" y="199530"/>
                  </a:lnTo>
                  <a:lnTo>
                    <a:pt x="2407400" y="199530"/>
                  </a:lnTo>
                  <a:lnTo>
                    <a:pt x="2407400" y="197447"/>
                  </a:lnTo>
                  <a:lnTo>
                    <a:pt x="2407400" y="199530"/>
                  </a:lnTo>
                  <a:lnTo>
                    <a:pt x="2407501" y="199530"/>
                  </a:lnTo>
                  <a:lnTo>
                    <a:pt x="2407501" y="198831"/>
                  </a:lnTo>
                  <a:lnTo>
                    <a:pt x="2407501" y="200876"/>
                  </a:lnTo>
                  <a:lnTo>
                    <a:pt x="2407501" y="200228"/>
                  </a:lnTo>
                  <a:lnTo>
                    <a:pt x="2407552" y="200876"/>
                  </a:lnTo>
                  <a:lnTo>
                    <a:pt x="2407552" y="200228"/>
                  </a:lnTo>
                  <a:lnTo>
                    <a:pt x="2407552" y="202260"/>
                  </a:lnTo>
                  <a:lnTo>
                    <a:pt x="2407552" y="200876"/>
                  </a:lnTo>
                  <a:lnTo>
                    <a:pt x="2407552" y="202260"/>
                  </a:lnTo>
                  <a:lnTo>
                    <a:pt x="2407552" y="200876"/>
                  </a:lnTo>
                  <a:lnTo>
                    <a:pt x="2407603" y="200876"/>
                  </a:lnTo>
                  <a:lnTo>
                    <a:pt x="2407603" y="202260"/>
                  </a:lnTo>
                  <a:lnTo>
                    <a:pt x="2407603" y="200876"/>
                  </a:lnTo>
                  <a:lnTo>
                    <a:pt x="2407603" y="202260"/>
                  </a:lnTo>
                  <a:lnTo>
                    <a:pt x="2407603" y="200876"/>
                  </a:lnTo>
                  <a:lnTo>
                    <a:pt x="2407654" y="200876"/>
                  </a:lnTo>
                  <a:lnTo>
                    <a:pt x="2407654" y="202260"/>
                  </a:lnTo>
                  <a:lnTo>
                    <a:pt x="2407654" y="200876"/>
                  </a:lnTo>
                  <a:lnTo>
                    <a:pt x="2407654" y="202260"/>
                  </a:lnTo>
                  <a:lnTo>
                    <a:pt x="2407654" y="200876"/>
                  </a:lnTo>
                  <a:lnTo>
                    <a:pt x="2407743" y="200876"/>
                  </a:lnTo>
                  <a:lnTo>
                    <a:pt x="2407743" y="202260"/>
                  </a:lnTo>
                  <a:lnTo>
                    <a:pt x="2407743" y="200876"/>
                  </a:lnTo>
                  <a:lnTo>
                    <a:pt x="2407743" y="202260"/>
                  </a:lnTo>
                  <a:lnTo>
                    <a:pt x="2407743" y="200876"/>
                  </a:lnTo>
                  <a:lnTo>
                    <a:pt x="2407743" y="202260"/>
                  </a:lnTo>
                  <a:lnTo>
                    <a:pt x="2407794" y="202260"/>
                  </a:lnTo>
                  <a:lnTo>
                    <a:pt x="2407794" y="200228"/>
                  </a:lnTo>
                  <a:lnTo>
                    <a:pt x="2407844" y="200228"/>
                  </a:lnTo>
                  <a:lnTo>
                    <a:pt x="2407844" y="199530"/>
                  </a:lnTo>
                  <a:lnTo>
                    <a:pt x="2407844" y="200228"/>
                  </a:lnTo>
                  <a:lnTo>
                    <a:pt x="2407844" y="197447"/>
                  </a:lnTo>
                  <a:lnTo>
                    <a:pt x="2407895" y="198831"/>
                  </a:lnTo>
                  <a:lnTo>
                    <a:pt x="2407895" y="196799"/>
                  </a:lnTo>
                  <a:lnTo>
                    <a:pt x="2407895" y="198831"/>
                  </a:lnTo>
                  <a:lnTo>
                    <a:pt x="2407997" y="198831"/>
                  </a:lnTo>
                  <a:lnTo>
                    <a:pt x="2407997" y="197447"/>
                  </a:lnTo>
                  <a:lnTo>
                    <a:pt x="2407997" y="200228"/>
                  </a:lnTo>
                  <a:lnTo>
                    <a:pt x="2407997" y="199530"/>
                  </a:lnTo>
                  <a:lnTo>
                    <a:pt x="2407997" y="200228"/>
                  </a:lnTo>
                  <a:lnTo>
                    <a:pt x="2408047" y="199530"/>
                  </a:lnTo>
                  <a:lnTo>
                    <a:pt x="2408047" y="198831"/>
                  </a:lnTo>
                  <a:lnTo>
                    <a:pt x="2408047" y="200876"/>
                  </a:lnTo>
                  <a:lnTo>
                    <a:pt x="2408047" y="200228"/>
                  </a:lnTo>
                  <a:lnTo>
                    <a:pt x="2408098" y="199530"/>
                  </a:lnTo>
                  <a:lnTo>
                    <a:pt x="2408098" y="200228"/>
                  </a:lnTo>
                  <a:lnTo>
                    <a:pt x="2408098" y="199530"/>
                  </a:lnTo>
                  <a:lnTo>
                    <a:pt x="2408098" y="200876"/>
                  </a:lnTo>
                  <a:lnTo>
                    <a:pt x="2408098" y="200228"/>
                  </a:lnTo>
                  <a:lnTo>
                    <a:pt x="2408200" y="200228"/>
                  </a:lnTo>
                  <a:lnTo>
                    <a:pt x="2408200" y="200876"/>
                  </a:lnTo>
                  <a:lnTo>
                    <a:pt x="2408200" y="200228"/>
                  </a:lnTo>
                  <a:lnTo>
                    <a:pt x="2408200" y="200876"/>
                  </a:lnTo>
                  <a:lnTo>
                    <a:pt x="2408200" y="200228"/>
                  </a:lnTo>
                  <a:lnTo>
                    <a:pt x="2408200" y="200876"/>
                  </a:lnTo>
                  <a:lnTo>
                    <a:pt x="2408238" y="200876"/>
                  </a:lnTo>
                  <a:lnTo>
                    <a:pt x="2408238" y="202260"/>
                  </a:lnTo>
                  <a:lnTo>
                    <a:pt x="2408238" y="200876"/>
                  </a:lnTo>
                  <a:lnTo>
                    <a:pt x="2408238" y="202260"/>
                  </a:lnTo>
                  <a:lnTo>
                    <a:pt x="2408289" y="202260"/>
                  </a:lnTo>
                  <a:lnTo>
                    <a:pt x="2408289" y="200876"/>
                  </a:lnTo>
                  <a:lnTo>
                    <a:pt x="2408289" y="202260"/>
                  </a:lnTo>
                  <a:lnTo>
                    <a:pt x="2408289" y="200228"/>
                  </a:lnTo>
                  <a:lnTo>
                    <a:pt x="2408340" y="199530"/>
                  </a:lnTo>
                  <a:lnTo>
                    <a:pt x="2408340" y="200228"/>
                  </a:lnTo>
                  <a:lnTo>
                    <a:pt x="2408340" y="199530"/>
                  </a:lnTo>
                  <a:lnTo>
                    <a:pt x="2408340" y="200228"/>
                  </a:lnTo>
                  <a:lnTo>
                    <a:pt x="2408340" y="199530"/>
                  </a:lnTo>
                  <a:lnTo>
                    <a:pt x="2408340" y="200228"/>
                  </a:lnTo>
                  <a:lnTo>
                    <a:pt x="2408340" y="197447"/>
                  </a:lnTo>
                  <a:lnTo>
                    <a:pt x="2408441" y="197447"/>
                  </a:lnTo>
                  <a:lnTo>
                    <a:pt x="2408441" y="199530"/>
                  </a:lnTo>
                  <a:lnTo>
                    <a:pt x="2408441" y="196799"/>
                  </a:lnTo>
                  <a:lnTo>
                    <a:pt x="2408441" y="197447"/>
                  </a:lnTo>
                  <a:lnTo>
                    <a:pt x="2408492" y="197447"/>
                  </a:lnTo>
                  <a:lnTo>
                    <a:pt x="2408492" y="200228"/>
                  </a:lnTo>
                  <a:lnTo>
                    <a:pt x="2408492" y="198831"/>
                  </a:lnTo>
                  <a:lnTo>
                    <a:pt x="2408492" y="199530"/>
                  </a:lnTo>
                  <a:lnTo>
                    <a:pt x="2408492" y="198831"/>
                  </a:lnTo>
                  <a:lnTo>
                    <a:pt x="2408543" y="199530"/>
                  </a:lnTo>
                  <a:lnTo>
                    <a:pt x="2408543" y="200228"/>
                  </a:lnTo>
                  <a:lnTo>
                    <a:pt x="2408543" y="198831"/>
                  </a:lnTo>
                  <a:lnTo>
                    <a:pt x="2408543" y="199530"/>
                  </a:lnTo>
                  <a:lnTo>
                    <a:pt x="2408644" y="199530"/>
                  </a:lnTo>
                  <a:lnTo>
                    <a:pt x="2408644" y="200228"/>
                  </a:lnTo>
                  <a:lnTo>
                    <a:pt x="2408644" y="199530"/>
                  </a:lnTo>
                  <a:lnTo>
                    <a:pt x="2408644" y="200228"/>
                  </a:lnTo>
                  <a:lnTo>
                    <a:pt x="2408695" y="200228"/>
                  </a:lnTo>
                  <a:lnTo>
                    <a:pt x="2408695" y="199530"/>
                  </a:lnTo>
                  <a:lnTo>
                    <a:pt x="2408695" y="200876"/>
                  </a:lnTo>
                  <a:lnTo>
                    <a:pt x="2408695" y="200228"/>
                  </a:lnTo>
                  <a:lnTo>
                    <a:pt x="2408746" y="200228"/>
                  </a:lnTo>
                  <a:lnTo>
                    <a:pt x="2408746" y="200876"/>
                  </a:lnTo>
                  <a:lnTo>
                    <a:pt x="2408746" y="200228"/>
                  </a:lnTo>
                  <a:lnTo>
                    <a:pt x="2408746" y="200876"/>
                  </a:lnTo>
                  <a:lnTo>
                    <a:pt x="2408746" y="200228"/>
                  </a:lnTo>
                  <a:lnTo>
                    <a:pt x="2408746" y="200876"/>
                  </a:lnTo>
                  <a:lnTo>
                    <a:pt x="2408746" y="200228"/>
                  </a:lnTo>
                  <a:lnTo>
                    <a:pt x="2408784" y="200228"/>
                  </a:lnTo>
                  <a:lnTo>
                    <a:pt x="2408784" y="200876"/>
                  </a:lnTo>
                  <a:lnTo>
                    <a:pt x="2408784" y="199530"/>
                  </a:lnTo>
                  <a:lnTo>
                    <a:pt x="2408886" y="198831"/>
                  </a:lnTo>
                  <a:lnTo>
                    <a:pt x="2408886" y="197447"/>
                  </a:lnTo>
                  <a:lnTo>
                    <a:pt x="2408886" y="198831"/>
                  </a:lnTo>
                  <a:lnTo>
                    <a:pt x="2408886" y="197447"/>
                  </a:lnTo>
                  <a:lnTo>
                    <a:pt x="2408886" y="200228"/>
                  </a:lnTo>
                  <a:lnTo>
                    <a:pt x="2408937" y="200228"/>
                  </a:lnTo>
                  <a:lnTo>
                    <a:pt x="2408937" y="198831"/>
                  </a:lnTo>
                  <a:lnTo>
                    <a:pt x="2408937" y="202959"/>
                  </a:lnTo>
                  <a:lnTo>
                    <a:pt x="2408937" y="202260"/>
                  </a:lnTo>
                  <a:lnTo>
                    <a:pt x="2408987" y="202260"/>
                  </a:lnTo>
                  <a:lnTo>
                    <a:pt x="2408987" y="200228"/>
                  </a:lnTo>
                  <a:lnTo>
                    <a:pt x="2408987" y="202260"/>
                  </a:lnTo>
                  <a:lnTo>
                    <a:pt x="2408987" y="200876"/>
                  </a:lnTo>
                  <a:lnTo>
                    <a:pt x="2409089" y="200876"/>
                  </a:lnTo>
                  <a:lnTo>
                    <a:pt x="2409089" y="200228"/>
                  </a:lnTo>
                  <a:lnTo>
                    <a:pt x="2409089" y="200876"/>
                  </a:lnTo>
                  <a:lnTo>
                    <a:pt x="2409089" y="200228"/>
                  </a:lnTo>
                  <a:lnTo>
                    <a:pt x="2409089" y="202260"/>
                  </a:lnTo>
                  <a:lnTo>
                    <a:pt x="2409089" y="200876"/>
                  </a:lnTo>
                  <a:lnTo>
                    <a:pt x="2409140" y="200876"/>
                  </a:lnTo>
                  <a:lnTo>
                    <a:pt x="2409140" y="202260"/>
                  </a:lnTo>
                  <a:lnTo>
                    <a:pt x="2409140" y="200876"/>
                  </a:lnTo>
                  <a:lnTo>
                    <a:pt x="2409190" y="200876"/>
                  </a:lnTo>
                  <a:lnTo>
                    <a:pt x="2409190" y="200228"/>
                  </a:lnTo>
                  <a:lnTo>
                    <a:pt x="2409190" y="202260"/>
                  </a:lnTo>
                  <a:lnTo>
                    <a:pt x="2409190" y="200228"/>
                  </a:lnTo>
                  <a:lnTo>
                    <a:pt x="2409190" y="200876"/>
                  </a:lnTo>
                  <a:lnTo>
                    <a:pt x="2409241" y="200876"/>
                  </a:lnTo>
                  <a:lnTo>
                    <a:pt x="2409241" y="200228"/>
                  </a:lnTo>
                  <a:lnTo>
                    <a:pt x="2409330" y="200228"/>
                  </a:lnTo>
                  <a:lnTo>
                    <a:pt x="2409330" y="198831"/>
                  </a:lnTo>
                  <a:lnTo>
                    <a:pt x="2409330" y="199530"/>
                  </a:lnTo>
                  <a:lnTo>
                    <a:pt x="2409330" y="198831"/>
                  </a:lnTo>
                  <a:lnTo>
                    <a:pt x="2409381" y="198831"/>
                  </a:lnTo>
                  <a:lnTo>
                    <a:pt x="2409381" y="197447"/>
                  </a:lnTo>
                  <a:lnTo>
                    <a:pt x="2409381" y="200876"/>
                  </a:lnTo>
                  <a:lnTo>
                    <a:pt x="2409381" y="199530"/>
                  </a:lnTo>
                  <a:lnTo>
                    <a:pt x="2409432" y="198831"/>
                  </a:lnTo>
                  <a:lnTo>
                    <a:pt x="2409432" y="202260"/>
                  </a:lnTo>
                  <a:lnTo>
                    <a:pt x="2409432" y="200228"/>
                  </a:lnTo>
                  <a:lnTo>
                    <a:pt x="2409483" y="200228"/>
                  </a:lnTo>
                  <a:lnTo>
                    <a:pt x="2409483" y="202260"/>
                  </a:lnTo>
                  <a:lnTo>
                    <a:pt x="2409483" y="200228"/>
                  </a:lnTo>
                  <a:lnTo>
                    <a:pt x="2409483" y="200876"/>
                  </a:lnTo>
                  <a:lnTo>
                    <a:pt x="2409483" y="200228"/>
                  </a:lnTo>
                  <a:lnTo>
                    <a:pt x="2409584" y="200876"/>
                  </a:lnTo>
                  <a:lnTo>
                    <a:pt x="2409584" y="202260"/>
                  </a:lnTo>
                  <a:lnTo>
                    <a:pt x="2409584" y="200876"/>
                  </a:lnTo>
                  <a:lnTo>
                    <a:pt x="2409584" y="202260"/>
                  </a:lnTo>
                  <a:lnTo>
                    <a:pt x="2409584" y="200876"/>
                  </a:lnTo>
                  <a:lnTo>
                    <a:pt x="2409635" y="200876"/>
                  </a:lnTo>
                  <a:lnTo>
                    <a:pt x="2409635" y="202260"/>
                  </a:lnTo>
                  <a:lnTo>
                    <a:pt x="2409635" y="200876"/>
                  </a:lnTo>
                  <a:lnTo>
                    <a:pt x="2409635" y="202260"/>
                  </a:lnTo>
                  <a:lnTo>
                    <a:pt x="2409635" y="200876"/>
                  </a:lnTo>
                  <a:lnTo>
                    <a:pt x="2409686" y="200876"/>
                  </a:lnTo>
                  <a:lnTo>
                    <a:pt x="2409686" y="202260"/>
                  </a:lnTo>
                  <a:lnTo>
                    <a:pt x="2409686" y="200876"/>
                  </a:lnTo>
                  <a:lnTo>
                    <a:pt x="2409686" y="202260"/>
                  </a:lnTo>
                  <a:lnTo>
                    <a:pt x="2409686" y="200876"/>
                  </a:lnTo>
                  <a:lnTo>
                    <a:pt x="2409787" y="200228"/>
                  </a:lnTo>
                  <a:lnTo>
                    <a:pt x="2409787" y="200876"/>
                  </a:lnTo>
                  <a:lnTo>
                    <a:pt x="2409787" y="198831"/>
                  </a:lnTo>
                  <a:lnTo>
                    <a:pt x="2409787" y="199530"/>
                  </a:lnTo>
                  <a:lnTo>
                    <a:pt x="2409825" y="198831"/>
                  </a:lnTo>
                  <a:lnTo>
                    <a:pt x="2409825" y="197447"/>
                  </a:lnTo>
                  <a:lnTo>
                    <a:pt x="2409825" y="198831"/>
                  </a:lnTo>
                  <a:lnTo>
                    <a:pt x="2409825" y="196113"/>
                  </a:lnTo>
                  <a:lnTo>
                    <a:pt x="2409876" y="196113"/>
                  </a:lnTo>
                  <a:lnTo>
                    <a:pt x="2409876" y="198831"/>
                  </a:lnTo>
                  <a:lnTo>
                    <a:pt x="2409876" y="197447"/>
                  </a:lnTo>
                  <a:lnTo>
                    <a:pt x="2409876" y="198831"/>
                  </a:lnTo>
                  <a:lnTo>
                    <a:pt x="2409876" y="197447"/>
                  </a:lnTo>
                  <a:lnTo>
                    <a:pt x="2409876" y="199530"/>
                  </a:lnTo>
                  <a:lnTo>
                    <a:pt x="2409927" y="199530"/>
                  </a:lnTo>
                  <a:lnTo>
                    <a:pt x="2409927" y="200228"/>
                  </a:lnTo>
                  <a:lnTo>
                    <a:pt x="2409927" y="199530"/>
                  </a:lnTo>
                  <a:lnTo>
                    <a:pt x="2409927" y="200228"/>
                  </a:lnTo>
                  <a:lnTo>
                    <a:pt x="2409927" y="199530"/>
                  </a:lnTo>
                  <a:lnTo>
                    <a:pt x="2409927" y="200228"/>
                  </a:lnTo>
                  <a:lnTo>
                    <a:pt x="2409927" y="199530"/>
                  </a:lnTo>
                  <a:lnTo>
                    <a:pt x="2409927" y="200228"/>
                  </a:lnTo>
                  <a:lnTo>
                    <a:pt x="2410029" y="200228"/>
                  </a:lnTo>
                  <a:lnTo>
                    <a:pt x="2410029" y="200876"/>
                  </a:lnTo>
                  <a:lnTo>
                    <a:pt x="2410029" y="200228"/>
                  </a:lnTo>
                  <a:lnTo>
                    <a:pt x="2410080" y="200228"/>
                  </a:lnTo>
                  <a:lnTo>
                    <a:pt x="2410080" y="199530"/>
                  </a:lnTo>
                  <a:lnTo>
                    <a:pt x="2410080" y="200876"/>
                  </a:lnTo>
                  <a:lnTo>
                    <a:pt x="2410080" y="200228"/>
                  </a:lnTo>
                  <a:lnTo>
                    <a:pt x="2410080" y="200876"/>
                  </a:lnTo>
                  <a:lnTo>
                    <a:pt x="2410130" y="200876"/>
                  </a:lnTo>
                  <a:lnTo>
                    <a:pt x="2410130" y="202260"/>
                  </a:lnTo>
                  <a:lnTo>
                    <a:pt x="2410232" y="200876"/>
                  </a:lnTo>
                  <a:lnTo>
                    <a:pt x="2410232" y="202260"/>
                  </a:lnTo>
                  <a:lnTo>
                    <a:pt x="2410232" y="200876"/>
                  </a:lnTo>
                  <a:lnTo>
                    <a:pt x="2410283" y="200876"/>
                  </a:lnTo>
                  <a:lnTo>
                    <a:pt x="2410283" y="198831"/>
                  </a:lnTo>
                  <a:lnTo>
                    <a:pt x="2410334" y="198831"/>
                  </a:lnTo>
                  <a:lnTo>
                    <a:pt x="2410334" y="196799"/>
                  </a:lnTo>
                  <a:lnTo>
                    <a:pt x="2410334" y="197447"/>
                  </a:lnTo>
                  <a:lnTo>
                    <a:pt x="2410334" y="196113"/>
                  </a:lnTo>
                  <a:lnTo>
                    <a:pt x="2410372" y="196113"/>
                  </a:lnTo>
                  <a:lnTo>
                    <a:pt x="2410372" y="197447"/>
                  </a:lnTo>
                  <a:lnTo>
                    <a:pt x="2410372" y="196113"/>
                  </a:lnTo>
                  <a:lnTo>
                    <a:pt x="2410372" y="196799"/>
                  </a:lnTo>
                  <a:lnTo>
                    <a:pt x="2410372" y="196113"/>
                  </a:lnTo>
                  <a:lnTo>
                    <a:pt x="2410372" y="197447"/>
                  </a:lnTo>
                  <a:lnTo>
                    <a:pt x="2410473" y="198831"/>
                  </a:lnTo>
                  <a:lnTo>
                    <a:pt x="2410473" y="200228"/>
                  </a:lnTo>
                  <a:lnTo>
                    <a:pt x="2410473" y="196799"/>
                  </a:lnTo>
                  <a:lnTo>
                    <a:pt x="2410473" y="199530"/>
                  </a:lnTo>
                  <a:lnTo>
                    <a:pt x="2410524" y="198831"/>
                  </a:lnTo>
                  <a:lnTo>
                    <a:pt x="2410524" y="199530"/>
                  </a:lnTo>
                  <a:lnTo>
                    <a:pt x="2410524" y="198831"/>
                  </a:lnTo>
                  <a:lnTo>
                    <a:pt x="2410524" y="199530"/>
                  </a:lnTo>
                  <a:lnTo>
                    <a:pt x="2410575" y="199530"/>
                  </a:lnTo>
                  <a:lnTo>
                    <a:pt x="2410575" y="200228"/>
                  </a:lnTo>
                  <a:lnTo>
                    <a:pt x="2410575" y="199530"/>
                  </a:lnTo>
                  <a:lnTo>
                    <a:pt x="2410575" y="200228"/>
                  </a:lnTo>
                  <a:lnTo>
                    <a:pt x="2410575" y="199530"/>
                  </a:lnTo>
                  <a:lnTo>
                    <a:pt x="2410575" y="200228"/>
                  </a:lnTo>
                  <a:lnTo>
                    <a:pt x="2410676" y="200228"/>
                  </a:lnTo>
                  <a:lnTo>
                    <a:pt x="2410676" y="200876"/>
                  </a:lnTo>
                  <a:lnTo>
                    <a:pt x="2410676" y="200228"/>
                  </a:lnTo>
                  <a:lnTo>
                    <a:pt x="2410676" y="200876"/>
                  </a:lnTo>
                  <a:lnTo>
                    <a:pt x="2410676" y="200228"/>
                  </a:lnTo>
                  <a:lnTo>
                    <a:pt x="2410676" y="200876"/>
                  </a:lnTo>
                  <a:lnTo>
                    <a:pt x="2410727" y="200876"/>
                  </a:lnTo>
                  <a:lnTo>
                    <a:pt x="2410727" y="200228"/>
                  </a:lnTo>
                  <a:lnTo>
                    <a:pt x="2410727" y="200876"/>
                  </a:lnTo>
                  <a:lnTo>
                    <a:pt x="2410727" y="200228"/>
                  </a:lnTo>
                  <a:lnTo>
                    <a:pt x="2410778" y="200228"/>
                  </a:lnTo>
                  <a:lnTo>
                    <a:pt x="2410778" y="197447"/>
                  </a:lnTo>
                  <a:lnTo>
                    <a:pt x="2410829" y="197447"/>
                  </a:lnTo>
                  <a:lnTo>
                    <a:pt x="2410829" y="196113"/>
                  </a:lnTo>
                  <a:lnTo>
                    <a:pt x="2410918" y="196799"/>
                  </a:lnTo>
                  <a:lnTo>
                    <a:pt x="2410918" y="197447"/>
                  </a:lnTo>
                  <a:lnTo>
                    <a:pt x="2410918" y="196113"/>
                  </a:lnTo>
                  <a:lnTo>
                    <a:pt x="2410918" y="198831"/>
                  </a:lnTo>
                  <a:lnTo>
                    <a:pt x="2410969" y="198831"/>
                  </a:lnTo>
                  <a:lnTo>
                    <a:pt x="2410969" y="199530"/>
                  </a:lnTo>
                  <a:lnTo>
                    <a:pt x="2410969" y="196799"/>
                  </a:lnTo>
                  <a:lnTo>
                    <a:pt x="2410969" y="198831"/>
                  </a:lnTo>
                  <a:lnTo>
                    <a:pt x="2411019" y="198831"/>
                  </a:lnTo>
                  <a:lnTo>
                    <a:pt x="2411019" y="197447"/>
                  </a:lnTo>
                  <a:lnTo>
                    <a:pt x="2411019" y="198831"/>
                  </a:lnTo>
                  <a:lnTo>
                    <a:pt x="2411019" y="197447"/>
                  </a:lnTo>
                  <a:lnTo>
                    <a:pt x="2411019" y="198831"/>
                  </a:lnTo>
                  <a:lnTo>
                    <a:pt x="2411019" y="197447"/>
                  </a:lnTo>
                  <a:lnTo>
                    <a:pt x="2411019" y="198831"/>
                  </a:lnTo>
                  <a:lnTo>
                    <a:pt x="2411070" y="198831"/>
                  </a:lnTo>
                  <a:lnTo>
                    <a:pt x="2411070" y="199530"/>
                  </a:lnTo>
                  <a:lnTo>
                    <a:pt x="2411070" y="198831"/>
                  </a:lnTo>
                  <a:lnTo>
                    <a:pt x="2411070" y="199530"/>
                  </a:lnTo>
                  <a:lnTo>
                    <a:pt x="2411172" y="199530"/>
                  </a:lnTo>
                  <a:lnTo>
                    <a:pt x="2411172" y="200228"/>
                  </a:lnTo>
                  <a:lnTo>
                    <a:pt x="2411172" y="199530"/>
                  </a:lnTo>
                  <a:lnTo>
                    <a:pt x="2411172" y="200228"/>
                  </a:lnTo>
                  <a:lnTo>
                    <a:pt x="2411172" y="199530"/>
                  </a:lnTo>
                  <a:lnTo>
                    <a:pt x="2411172" y="200228"/>
                  </a:lnTo>
                  <a:lnTo>
                    <a:pt x="2411172" y="199530"/>
                  </a:lnTo>
                  <a:lnTo>
                    <a:pt x="2411172" y="200228"/>
                  </a:lnTo>
                  <a:lnTo>
                    <a:pt x="2411222" y="199530"/>
                  </a:lnTo>
                  <a:lnTo>
                    <a:pt x="2411222" y="200228"/>
                  </a:lnTo>
                  <a:lnTo>
                    <a:pt x="2411222" y="199530"/>
                  </a:lnTo>
                  <a:lnTo>
                    <a:pt x="2411273" y="199530"/>
                  </a:lnTo>
                  <a:lnTo>
                    <a:pt x="2411273" y="197447"/>
                  </a:lnTo>
                  <a:lnTo>
                    <a:pt x="2411273" y="198831"/>
                  </a:lnTo>
                  <a:lnTo>
                    <a:pt x="2411273" y="197447"/>
                  </a:lnTo>
                  <a:lnTo>
                    <a:pt x="2411375" y="197447"/>
                  </a:lnTo>
                  <a:lnTo>
                    <a:pt x="2411375" y="196799"/>
                  </a:lnTo>
                  <a:lnTo>
                    <a:pt x="2411375" y="198831"/>
                  </a:lnTo>
                  <a:lnTo>
                    <a:pt x="2411413" y="197447"/>
                  </a:lnTo>
                  <a:lnTo>
                    <a:pt x="2411413" y="196799"/>
                  </a:lnTo>
                  <a:lnTo>
                    <a:pt x="2411413" y="199530"/>
                  </a:lnTo>
                  <a:lnTo>
                    <a:pt x="2411464" y="198831"/>
                  </a:lnTo>
                  <a:lnTo>
                    <a:pt x="2411464" y="196799"/>
                  </a:lnTo>
                  <a:lnTo>
                    <a:pt x="2411464" y="198831"/>
                  </a:lnTo>
                  <a:lnTo>
                    <a:pt x="2411515" y="198831"/>
                  </a:lnTo>
                  <a:lnTo>
                    <a:pt x="2411515" y="197447"/>
                  </a:lnTo>
                  <a:lnTo>
                    <a:pt x="2411515" y="198831"/>
                  </a:lnTo>
                  <a:lnTo>
                    <a:pt x="2411515" y="197447"/>
                  </a:lnTo>
                  <a:lnTo>
                    <a:pt x="2411515" y="198831"/>
                  </a:lnTo>
                  <a:lnTo>
                    <a:pt x="2411515" y="197447"/>
                  </a:lnTo>
                  <a:lnTo>
                    <a:pt x="2411616" y="197447"/>
                  </a:lnTo>
                  <a:lnTo>
                    <a:pt x="2411616" y="199530"/>
                  </a:lnTo>
                  <a:lnTo>
                    <a:pt x="2411616" y="198831"/>
                  </a:lnTo>
                  <a:lnTo>
                    <a:pt x="2411616" y="199530"/>
                  </a:lnTo>
                  <a:lnTo>
                    <a:pt x="2411616" y="198831"/>
                  </a:lnTo>
                  <a:lnTo>
                    <a:pt x="2411616" y="199530"/>
                  </a:lnTo>
                  <a:lnTo>
                    <a:pt x="2411667" y="198831"/>
                  </a:lnTo>
                  <a:lnTo>
                    <a:pt x="2411667" y="199530"/>
                  </a:lnTo>
                  <a:lnTo>
                    <a:pt x="2411667" y="198831"/>
                  </a:lnTo>
                  <a:lnTo>
                    <a:pt x="2411667" y="199530"/>
                  </a:lnTo>
                  <a:lnTo>
                    <a:pt x="2411667" y="198831"/>
                  </a:lnTo>
                  <a:lnTo>
                    <a:pt x="2411667" y="199530"/>
                  </a:lnTo>
                  <a:lnTo>
                    <a:pt x="2411718" y="199530"/>
                  </a:lnTo>
                  <a:lnTo>
                    <a:pt x="2411718" y="198831"/>
                  </a:lnTo>
                  <a:lnTo>
                    <a:pt x="2411718" y="199530"/>
                  </a:lnTo>
                  <a:lnTo>
                    <a:pt x="2411718" y="198831"/>
                  </a:lnTo>
                  <a:lnTo>
                    <a:pt x="2411718" y="199530"/>
                  </a:lnTo>
                  <a:lnTo>
                    <a:pt x="2411718" y="198831"/>
                  </a:lnTo>
                  <a:lnTo>
                    <a:pt x="2411819" y="198831"/>
                  </a:lnTo>
                  <a:lnTo>
                    <a:pt x="2411819" y="197447"/>
                  </a:lnTo>
                  <a:lnTo>
                    <a:pt x="2411819" y="198831"/>
                  </a:lnTo>
                  <a:lnTo>
                    <a:pt x="2411819" y="196799"/>
                  </a:lnTo>
                  <a:lnTo>
                    <a:pt x="2411870" y="196799"/>
                  </a:lnTo>
                  <a:lnTo>
                    <a:pt x="2411870" y="196113"/>
                  </a:lnTo>
                  <a:lnTo>
                    <a:pt x="2411870" y="197447"/>
                  </a:lnTo>
                  <a:lnTo>
                    <a:pt x="2411870" y="196799"/>
                  </a:lnTo>
                  <a:lnTo>
                    <a:pt x="2411921" y="196799"/>
                  </a:lnTo>
                  <a:lnTo>
                    <a:pt x="2411921" y="199530"/>
                  </a:lnTo>
                  <a:lnTo>
                    <a:pt x="2411921" y="198831"/>
                  </a:lnTo>
                  <a:lnTo>
                    <a:pt x="2411921" y="199530"/>
                  </a:lnTo>
                  <a:lnTo>
                    <a:pt x="2411921" y="198831"/>
                  </a:lnTo>
                  <a:lnTo>
                    <a:pt x="2411959" y="198831"/>
                  </a:lnTo>
                  <a:lnTo>
                    <a:pt x="2411959" y="199530"/>
                  </a:lnTo>
                  <a:lnTo>
                    <a:pt x="2411959" y="198831"/>
                  </a:lnTo>
                  <a:lnTo>
                    <a:pt x="2411959" y="199530"/>
                  </a:lnTo>
                  <a:lnTo>
                    <a:pt x="2411959" y="198831"/>
                  </a:lnTo>
                  <a:lnTo>
                    <a:pt x="2412061" y="198831"/>
                  </a:lnTo>
                  <a:lnTo>
                    <a:pt x="2412061" y="199530"/>
                  </a:lnTo>
                  <a:lnTo>
                    <a:pt x="2412061" y="198831"/>
                  </a:lnTo>
                  <a:lnTo>
                    <a:pt x="2412061" y="199530"/>
                  </a:lnTo>
                  <a:lnTo>
                    <a:pt x="2412061" y="198831"/>
                  </a:lnTo>
                  <a:lnTo>
                    <a:pt x="2412061" y="199530"/>
                  </a:lnTo>
                  <a:lnTo>
                    <a:pt x="2412112" y="199530"/>
                  </a:lnTo>
                  <a:lnTo>
                    <a:pt x="2412112" y="200228"/>
                  </a:lnTo>
                  <a:lnTo>
                    <a:pt x="2412112" y="199530"/>
                  </a:lnTo>
                  <a:lnTo>
                    <a:pt x="2412162" y="200228"/>
                  </a:lnTo>
                  <a:lnTo>
                    <a:pt x="2412162" y="199530"/>
                  </a:lnTo>
                  <a:lnTo>
                    <a:pt x="2412264" y="199530"/>
                  </a:lnTo>
                  <a:lnTo>
                    <a:pt x="2412264" y="198831"/>
                  </a:lnTo>
                  <a:lnTo>
                    <a:pt x="2412264" y="199530"/>
                  </a:lnTo>
                  <a:lnTo>
                    <a:pt x="2412264" y="198831"/>
                  </a:lnTo>
                  <a:lnTo>
                    <a:pt x="2412315" y="198831"/>
                  </a:lnTo>
                  <a:lnTo>
                    <a:pt x="2412315" y="196799"/>
                  </a:lnTo>
                  <a:lnTo>
                    <a:pt x="2412365" y="196799"/>
                  </a:lnTo>
                  <a:lnTo>
                    <a:pt x="2412365" y="198831"/>
                  </a:lnTo>
                  <a:lnTo>
                    <a:pt x="2412365" y="197447"/>
                  </a:lnTo>
                  <a:lnTo>
                    <a:pt x="2412416" y="196799"/>
                  </a:lnTo>
                  <a:lnTo>
                    <a:pt x="2412416" y="197447"/>
                  </a:lnTo>
                  <a:lnTo>
                    <a:pt x="2412416" y="196799"/>
                  </a:lnTo>
                  <a:lnTo>
                    <a:pt x="2412416" y="199530"/>
                  </a:lnTo>
                  <a:lnTo>
                    <a:pt x="2412416" y="197447"/>
                  </a:lnTo>
                  <a:lnTo>
                    <a:pt x="2412505" y="198831"/>
                  </a:lnTo>
                  <a:lnTo>
                    <a:pt x="2412505" y="199530"/>
                  </a:lnTo>
                  <a:lnTo>
                    <a:pt x="2412505" y="198831"/>
                  </a:lnTo>
                  <a:lnTo>
                    <a:pt x="2412505" y="199530"/>
                  </a:lnTo>
                  <a:lnTo>
                    <a:pt x="2412505" y="198831"/>
                  </a:lnTo>
                  <a:lnTo>
                    <a:pt x="2412556" y="198831"/>
                  </a:lnTo>
                  <a:lnTo>
                    <a:pt x="2412556" y="199530"/>
                  </a:lnTo>
                  <a:lnTo>
                    <a:pt x="2412607" y="199530"/>
                  </a:lnTo>
                  <a:lnTo>
                    <a:pt x="2412607" y="200228"/>
                  </a:lnTo>
                  <a:lnTo>
                    <a:pt x="2412607" y="199530"/>
                  </a:lnTo>
                  <a:lnTo>
                    <a:pt x="2412607" y="200228"/>
                  </a:lnTo>
                  <a:lnTo>
                    <a:pt x="2412658" y="200228"/>
                  </a:lnTo>
                  <a:lnTo>
                    <a:pt x="2412658" y="199530"/>
                  </a:lnTo>
                  <a:lnTo>
                    <a:pt x="2412658" y="200228"/>
                  </a:lnTo>
                  <a:lnTo>
                    <a:pt x="2412658" y="199530"/>
                  </a:lnTo>
                  <a:lnTo>
                    <a:pt x="2412658" y="200228"/>
                  </a:lnTo>
                  <a:lnTo>
                    <a:pt x="2412658" y="199530"/>
                  </a:lnTo>
                  <a:lnTo>
                    <a:pt x="2412759" y="199530"/>
                  </a:lnTo>
                  <a:lnTo>
                    <a:pt x="2412759" y="198831"/>
                  </a:lnTo>
                  <a:lnTo>
                    <a:pt x="2412810" y="198831"/>
                  </a:lnTo>
                  <a:lnTo>
                    <a:pt x="2412810" y="196113"/>
                  </a:lnTo>
                  <a:lnTo>
                    <a:pt x="2412861" y="196113"/>
                  </a:lnTo>
                  <a:lnTo>
                    <a:pt x="2412861" y="195415"/>
                  </a:lnTo>
                  <a:lnTo>
                    <a:pt x="2412861" y="197447"/>
                  </a:lnTo>
                  <a:lnTo>
                    <a:pt x="2412861" y="196113"/>
                  </a:lnTo>
                  <a:lnTo>
                    <a:pt x="2412962" y="196113"/>
                  </a:lnTo>
                  <a:lnTo>
                    <a:pt x="2412962" y="199530"/>
                  </a:lnTo>
                  <a:lnTo>
                    <a:pt x="2412962" y="196799"/>
                  </a:lnTo>
                  <a:lnTo>
                    <a:pt x="2413000" y="196799"/>
                  </a:lnTo>
                  <a:lnTo>
                    <a:pt x="2413000" y="199530"/>
                  </a:lnTo>
                  <a:lnTo>
                    <a:pt x="2413000" y="197447"/>
                  </a:lnTo>
                  <a:lnTo>
                    <a:pt x="2413000" y="199530"/>
                  </a:lnTo>
                  <a:lnTo>
                    <a:pt x="2413051" y="198831"/>
                  </a:lnTo>
                  <a:lnTo>
                    <a:pt x="2413051" y="199530"/>
                  </a:lnTo>
                  <a:lnTo>
                    <a:pt x="2413051" y="198831"/>
                  </a:lnTo>
                  <a:lnTo>
                    <a:pt x="2413051" y="199530"/>
                  </a:lnTo>
                  <a:lnTo>
                    <a:pt x="2413051" y="198831"/>
                  </a:lnTo>
                  <a:lnTo>
                    <a:pt x="2413051" y="199530"/>
                  </a:lnTo>
                  <a:lnTo>
                    <a:pt x="2413051" y="198831"/>
                  </a:lnTo>
                  <a:lnTo>
                    <a:pt x="2413102" y="199530"/>
                  </a:lnTo>
                  <a:lnTo>
                    <a:pt x="2413102" y="198831"/>
                  </a:lnTo>
                  <a:lnTo>
                    <a:pt x="2413102" y="199530"/>
                  </a:lnTo>
                  <a:lnTo>
                    <a:pt x="2413204" y="199530"/>
                  </a:lnTo>
                  <a:lnTo>
                    <a:pt x="2413204" y="200228"/>
                  </a:lnTo>
                  <a:lnTo>
                    <a:pt x="2413204" y="198831"/>
                  </a:lnTo>
                  <a:lnTo>
                    <a:pt x="2413204" y="199530"/>
                  </a:lnTo>
                  <a:lnTo>
                    <a:pt x="2413255" y="199530"/>
                  </a:lnTo>
                  <a:lnTo>
                    <a:pt x="2413255" y="198831"/>
                  </a:lnTo>
                  <a:lnTo>
                    <a:pt x="2413255" y="199530"/>
                  </a:lnTo>
                  <a:lnTo>
                    <a:pt x="2413255" y="198831"/>
                  </a:lnTo>
                  <a:lnTo>
                    <a:pt x="2413255" y="199530"/>
                  </a:lnTo>
                  <a:lnTo>
                    <a:pt x="2413255" y="198831"/>
                  </a:lnTo>
                  <a:lnTo>
                    <a:pt x="2413255" y="199530"/>
                  </a:lnTo>
                  <a:lnTo>
                    <a:pt x="2413255" y="198831"/>
                  </a:lnTo>
                  <a:lnTo>
                    <a:pt x="2413305" y="197447"/>
                  </a:lnTo>
                  <a:lnTo>
                    <a:pt x="2413305" y="196113"/>
                  </a:lnTo>
                  <a:lnTo>
                    <a:pt x="2413407" y="196113"/>
                  </a:lnTo>
                  <a:lnTo>
                    <a:pt x="2413407" y="198831"/>
                  </a:lnTo>
                  <a:lnTo>
                    <a:pt x="2413407" y="196113"/>
                  </a:lnTo>
                  <a:lnTo>
                    <a:pt x="2413407" y="198831"/>
                  </a:lnTo>
                  <a:lnTo>
                    <a:pt x="2413458" y="198831"/>
                  </a:lnTo>
                  <a:lnTo>
                    <a:pt x="2413458" y="199530"/>
                  </a:lnTo>
                  <a:lnTo>
                    <a:pt x="2413458" y="198831"/>
                  </a:lnTo>
                  <a:lnTo>
                    <a:pt x="2413458" y="199530"/>
                  </a:lnTo>
                  <a:lnTo>
                    <a:pt x="2413458" y="196799"/>
                  </a:lnTo>
                  <a:lnTo>
                    <a:pt x="2413458" y="198831"/>
                  </a:lnTo>
                  <a:lnTo>
                    <a:pt x="2413509" y="199530"/>
                  </a:lnTo>
                  <a:lnTo>
                    <a:pt x="2413509" y="197447"/>
                  </a:lnTo>
                  <a:lnTo>
                    <a:pt x="2413509" y="198831"/>
                  </a:lnTo>
                  <a:lnTo>
                    <a:pt x="2413509" y="197447"/>
                  </a:lnTo>
                  <a:lnTo>
                    <a:pt x="2413509" y="198831"/>
                  </a:lnTo>
                  <a:lnTo>
                    <a:pt x="2413509" y="197447"/>
                  </a:lnTo>
                  <a:lnTo>
                    <a:pt x="2413509" y="199530"/>
                  </a:lnTo>
                  <a:lnTo>
                    <a:pt x="2413547" y="199530"/>
                  </a:lnTo>
                  <a:lnTo>
                    <a:pt x="2413547" y="198831"/>
                  </a:lnTo>
                  <a:lnTo>
                    <a:pt x="2413547" y="199530"/>
                  </a:lnTo>
                  <a:lnTo>
                    <a:pt x="2413547" y="198831"/>
                  </a:lnTo>
                  <a:lnTo>
                    <a:pt x="2413547" y="199530"/>
                  </a:lnTo>
                  <a:lnTo>
                    <a:pt x="2413547" y="198831"/>
                  </a:lnTo>
                  <a:lnTo>
                    <a:pt x="2413547" y="199530"/>
                  </a:lnTo>
                  <a:lnTo>
                    <a:pt x="2413648" y="199530"/>
                  </a:lnTo>
                  <a:lnTo>
                    <a:pt x="2413648" y="198831"/>
                  </a:lnTo>
                  <a:lnTo>
                    <a:pt x="2413648" y="200228"/>
                  </a:lnTo>
                  <a:lnTo>
                    <a:pt x="2413648" y="199530"/>
                  </a:lnTo>
                  <a:lnTo>
                    <a:pt x="2413699" y="199530"/>
                  </a:lnTo>
                  <a:lnTo>
                    <a:pt x="2413699" y="200228"/>
                  </a:lnTo>
                  <a:lnTo>
                    <a:pt x="2413699" y="199530"/>
                  </a:lnTo>
                  <a:lnTo>
                    <a:pt x="2413699" y="200228"/>
                  </a:lnTo>
                  <a:lnTo>
                    <a:pt x="2413699" y="199530"/>
                  </a:lnTo>
                  <a:lnTo>
                    <a:pt x="2413750" y="199530"/>
                  </a:lnTo>
                  <a:lnTo>
                    <a:pt x="2413750" y="200228"/>
                  </a:lnTo>
                  <a:lnTo>
                    <a:pt x="2413750" y="198831"/>
                  </a:lnTo>
                  <a:lnTo>
                    <a:pt x="2413750" y="199530"/>
                  </a:lnTo>
                  <a:lnTo>
                    <a:pt x="2413750" y="198831"/>
                  </a:lnTo>
                  <a:lnTo>
                    <a:pt x="2413750" y="199530"/>
                  </a:lnTo>
                  <a:lnTo>
                    <a:pt x="2413750" y="197447"/>
                  </a:lnTo>
                  <a:lnTo>
                    <a:pt x="2413750" y="198831"/>
                  </a:lnTo>
                  <a:lnTo>
                    <a:pt x="2413851" y="197447"/>
                  </a:lnTo>
                  <a:lnTo>
                    <a:pt x="2413851" y="194716"/>
                  </a:lnTo>
                  <a:lnTo>
                    <a:pt x="2413902" y="194716"/>
                  </a:lnTo>
                  <a:lnTo>
                    <a:pt x="2413902" y="196113"/>
                  </a:lnTo>
                  <a:lnTo>
                    <a:pt x="2413902" y="195415"/>
                  </a:lnTo>
                  <a:lnTo>
                    <a:pt x="2413902" y="196113"/>
                  </a:lnTo>
                  <a:lnTo>
                    <a:pt x="2413902" y="195415"/>
                  </a:lnTo>
                  <a:lnTo>
                    <a:pt x="2413902" y="196113"/>
                  </a:lnTo>
                  <a:lnTo>
                    <a:pt x="2413953" y="196113"/>
                  </a:lnTo>
                  <a:lnTo>
                    <a:pt x="2413953" y="197447"/>
                  </a:lnTo>
                  <a:lnTo>
                    <a:pt x="2413953" y="196799"/>
                  </a:lnTo>
                  <a:lnTo>
                    <a:pt x="2414004" y="196799"/>
                  </a:lnTo>
                  <a:lnTo>
                    <a:pt x="2414004" y="198831"/>
                  </a:lnTo>
                  <a:lnTo>
                    <a:pt x="2414004" y="197447"/>
                  </a:lnTo>
                  <a:lnTo>
                    <a:pt x="2414004" y="198831"/>
                  </a:lnTo>
                  <a:lnTo>
                    <a:pt x="2414093" y="198831"/>
                  </a:lnTo>
                  <a:lnTo>
                    <a:pt x="2414093" y="199530"/>
                  </a:lnTo>
                  <a:lnTo>
                    <a:pt x="2414093" y="198831"/>
                  </a:lnTo>
                  <a:lnTo>
                    <a:pt x="2414093" y="199530"/>
                  </a:lnTo>
                  <a:lnTo>
                    <a:pt x="2414093" y="198831"/>
                  </a:lnTo>
                  <a:lnTo>
                    <a:pt x="2414144" y="199530"/>
                  </a:lnTo>
                  <a:lnTo>
                    <a:pt x="2414144" y="198831"/>
                  </a:lnTo>
                  <a:lnTo>
                    <a:pt x="2414144" y="200228"/>
                  </a:lnTo>
                  <a:lnTo>
                    <a:pt x="2414194" y="200228"/>
                  </a:lnTo>
                  <a:lnTo>
                    <a:pt x="2414194" y="199530"/>
                  </a:lnTo>
                  <a:lnTo>
                    <a:pt x="2414194" y="200228"/>
                  </a:lnTo>
                  <a:lnTo>
                    <a:pt x="2414194" y="199530"/>
                  </a:lnTo>
                  <a:lnTo>
                    <a:pt x="2414245" y="199530"/>
                  </a:lnTo>
                  <a:lnTo>
                    <a:pt x="2414245" y="198831"/>
                  </a:lnTo>
                  <a:lnTo>
                    <a:pt x="2414245" y="199530"/>
                  </a:lnTo>
                  <a:lnTo>
                    <a:pt x="2414245" y="198831"/>
                  </a:lnTo>
                  <a:lnTo>
                    <a:pt x="2414347" y="198831"/>
                  </a:lnTo>
                  <a:lnTo>
                    <a:pt x="2414347" y="196113"/>
                  </a:lnTo>
                  <a:lnTo>
                    <a:pt x="2414397" y="196113"/>
                  </a:lnTo>
                  <a:lnTo>
                    <a:pt x="2414397" y="195415"/>
                  </a:lnTo>
                  <a:lnTo>
                    <a:pt x="2414397" y="196113"/>
                  </a:lnTo>
                  <a:lnTo>
                    <a:pt x="2414397" y="195415"/>
                  </a:lnTo>
                  <a:lnTo>
                    <a:pt x="2414397" y="196113"/>
                  </a:lnTo>
                  <a:lnTo>
                    <a:pt x="2414397" y="194716"/>
                  </a:lnTo>
                  <a:lnTo>
                    <a:pt x="2414448" y="194716"/>
                  </a:lnTo>
                  <a:lnTo>
                    <a:pt x="2414448" y="196799"/>
                  </a:lnTo>
                  <a:lnTo>
                    <a:pt x="2414448" y="196113"/>
                  </a:lnTo>
                  <a:lnTo>
                    <a:pt x="2414550" y="196799"/>
                  </a:lnTo>
                  <a:lnTo>
                    <a:pt x="2414550" y="196113"/>
                  </a:lnTo>
                  <a:lnTo>
                    <a:pt x="2414550" y="196799"/>
                  </a:lnTo>
                  <a:lnTo>
                    <a:pt x="2414588" y="196799"/>
                  </a:lnTo>
                  <a:lnTo>
                    <a:pt x="2414588" y="197447"/>
                  </a:lnTo>
                  <a:lnTo>
                    <a:pt x="2414588" y="196799"/>
                  </a:lnTo>
                  <a:lnTo>
                    <a:pt x="2414588" y="197447"/>
                  </a:lnTo>
                  <a:lnTo>
                    <a:pt x="2414639" y="197447"/>
                  </a:lnTo>
                  <a:lnTo>
                    <a:pt x="2414639" y="198831"/>
                  </a:lnTo>
                  <a:lnTo>
                    <a:pt x="2414639" y="197447"/>
                  </a:lnTo>
                  <a:lnTo>
                    <a:pt x="2414639" y="198831"/>
                  </a:lnTo>
                  <a:lnTo>
                    <a:pt x="2414639" y="197447"/>
                  </a:lnTo>
                  <a:lnTo>
                    <a:pt x="2414690" y="198831"/>
                  </a:lnTo>
                  <a:lnTo>
                    <a:pt x="2414690" y="199530"/>
                  </a:lnTo>
                  <a:lnTo>
                    <a:pt x="2414690" y="198831"/>
                  </a:lnTo>
                  <a:lnTo>
                    <a:pt x="2414690" y="199530"/>
                  </a:lnTo>
                  <a:lnTo>
                    <a:pt x="2414690" y="198831"/>
                  </a:lnTo>
                  <a:lnTo>
                    <a:pt x="2414690" y="199530"/>
                  </a:lnTo>
                  <a:lnTo>
                    <a:pt x="2414791" y="199530"/>
                  </a:lnTo>
                  <a:lnTo>
                    <a:pt x="2414791" y="197447"/>
                  </a:lnTo>
                  <a:lnTo>
                    <a:pt x="2414791" y="198831"/>
                  </a:lnTo>
                  <a:lnTo>
                    <a:pt x="2414842" y="198831"/>
                  </a:lnTo>
                  <a:lnTo>
                    <a:pt x="2414842" y="196799"/>
                  </a:lnTo>
                  <a:lnTo>
                    <a:pt x="2414842" y="197447"/>
                  </a:lnTo>
                  <a:lnTo>
                    <a:pt x="2414842" y="196113"/>
                  </a:lnTo>
                  <a:lnTo>
                    <a:pt x="2414842" y="197447"/>
                  </a:lnTo>
                  <a:lnTo>
                    <a:pt x="2414893" y="197447"/>
                  </a:lnTo>
                  <a:lnTo>
                    <a:pt x="2414893" y="196799"/>
                  </a:lnTo>
                  <a:lnTo>
                    <a:pt x="2414893" y="197447"/>
                  </a:lnTo>
                  <a:lnTo>
                    <a:pt x="2414893" y="196799"/>
                  </a:lnTo>
                  <a:lnTo>
                    <a:pt x="2414893" y="197447"/>
                  </a:lnTo>
                  <a:lnTo>
                    <a:pt x="2414893" y="196799"/>
                  </a:lnTo>
                  <a:lnTo>
                    <a:pt x="2414893" y="198831"/>
                  </a:lnTo>
                  <a:lnTo>
                    <a:pt x="2414994" y="198831"/>
                  </a:lnTo>
                  <a:lnTo>
                    <a:pt x="2414994" y="199530"/>
                  </a:lnTo>
                  <a:lnTo>
                    <a:pt x="2414994" y="197447"/>
                  </a:lnTo>
                  <a:lnTo>
                    <a:pt x="2414994" y="199530"/>
                  </a:lnTo>
                  <a:lnTo>
                    <a:pt x="2415045" y="199530"/>
                  </a:lnTo>
                  <a:lnTo>
                    <a:pt x="2415045" y="198831"/>
                  </a:lnTo>
                  <a:lnTo>
                    <a:pt x="2415045" y="199530"/>
                  </a:lnTo>
                  <a:lnTo>
                    <a:pt x="2415096" y="198831"/>
                  </a:lnTo>
                  <a:lnTo>
                    <a:pt x="2415096" y="197447"/>
                  </a:lnTo>
                  <a:lnTo>
                    <a:pt x="2415096" y="199530"/>
                  </a:lnTo>
                  <a:lnTo>
                    <a:pt x="2415134" y="199530"/>
                  </a:lnTo>
                  <a:lnTo>
                    <a:pt x="2415134" y="198831"/>
                  </a:lnTo>
                  <a:lnTo>
                    <a:pt x="2415134" y="199530"/>
                  </a:lnTo>
                  <a:lnTo>
                    <a:pt x="2415134" y="198831"/>
                  </a:lnTo>
                  <a:lnTo>
                    <a:pt x="2415134" y="199530"/>
                  </a:lnTo>
                  <a:lnTo>
                    <a:pt x="2415134" y="198831"/>
                  </a:lnTo>
                  <a:lnTo>
                    <a:pt x="2415134" y="199530"/>
                  </a:lnTo>
                  <a:lnTo>
                    <a:pt x="2415236" y="200228"/>
                  </a:lnTo>
                  <a:lnTo>
                    <a:pt x="2415236" y="199530"/>
                  </a:lnTo>
                  <a:lnTo>
                    <a:pt x="2415236" y="200228"/>
                  </a:lnTo>
                  <a:lnTo>
                    <a:pt x="2415236" y="199530"/>
                  </a:lnTo>
                  <a:lnTo>
                    <a:pt x="2415287" y="199530"/>
                  </a:lnTo>
                  <a:lnTo>
                    <a:pt x="2415287" y="197447"/>
                  </a:lnTo>
                  <a:lnTo>
                    <a:pt x="2415337" y="197447"/>
                  </a:lnTo>
                  <a:lnTo>
                    <a:pt x="2415337" y="198831"/>
                  </a:lnTo>
                  <a:lnTo>
                    <a:pt x="2415337" y="196799"/>
                  </a:lnTo>
                  <a:lnTo>
                    <a:pt x="2415337" y="198831"/>
                  </a:lnTo>
                  <a:lnTo>
                    <a:pt x="2415439" y="198831"/>
                  </a:lnTo>
                  <a:lnTo>
                    <a:pt x="2415439" y="200876"/>
                  </a:lnTo>
                  <a:lnTo>
                    <a:pt x="2415439" y="200228"/>
                  </a:lnTo>
                  <a:lnTo>
                    <a:pt x="2415490" y="200228"/>
                  </a:lnTo>
                  <a:lnTo>
                    <a:pt x="2415490" y="199530"/>
                  </a:lnTo>
                  <a:lnTo>
                    <a:pt x="2415490" y="200228"/>
                  </a:lnTo>
                  <a:lnTo>
                    <a:pt x="2415540" y="200228"/>
                  </a:lnTo>
                  <a:lnTo>
                    <a:pt x="2415540" y="199530"/>
                  </a:lnTo>
                  <a:lnTo>
                    <a:pt x="2415540" y="200876"/>
                  </a:lnTo>
                  <a:lnTo>
                    <a:pt x="2415540" y="199530"/>
                  </a:lnTo>
                  <a:lnTo>
                    <a:pt x="2415591" y="199530"/>
                  </a:lnTo>
                  <a:lnTo>
                    <a:pt x="2415591" y="200228"/>
                  </a:lnTo>
                  <a:lnTo>
                    <a:pt x="2415591" y="199530"/>
                  </a:lnTo>
                  <a:lnTo>
                    <a:pt x="2415591" y="200228"/>
                  </a:lnTo>
                  <a:lnTo>
                    <a:pt x="2415591" y="199530"/>
                  </a:lnTo>
                  <a:lnTo>
                    <a:pt x="2415591" y="200228"/>
                  </a:lnTo>
                  <a:lnTo>
                    <a:pt x="2415591" y="199530"/>
                  </a:lnTo>
                  <a:lnTo>
                    <a:pt x="2415680" y="199530"/>
                  </a:lnTo>
                  <a:lnTo>
                    <a:pt x="2415680" y="200228"/>
                  </a:lnTo>
                  <a:lnTo>
                    <a:pt x="2415680" y="199530"/>
                  </a:lnTo>
                  <a:lnTo>
                    <a:pt x="2415680" y="200228"/>
                  </a:lnTo>
                  <a:lnTo>
                    <a:pt x="2415680" y="199530"/>
                  </a:lnTo>
                  <a:lnTo>
                    <a:pt x="2415731" y="199530"/>
                  </a:lnTo>
                  <a:lnTo>
                    <a:pt x="2415731" y="198831"/>
                  </a:lnTo>
                  <a:lnTo>
                    <a:pt x="2415782" y="198831"/>
                  </a:lnTo>
                  <a:lnTo>
                    <a:pt x="2415782" y="196113"/>
                  </a:lnTo>
                  <a:lnTo>
                    <a:pt x="2415833" y="196113"/>
                  </a:lnTo>
                  <a:lnTo>
                    <a:pt x="2415833" y="197447"/>
                  </a:lnTo>
                  <a:lnTo>
                    <a:pt x="2415833" y="196799"/>
                  </a:lnTo>
                  <a:lnTo>
                    <a:pt x="2415833" y="197447"/>
                  </a:lnTo>
                  <a:lnTo>
                    <a:pt x="2415934" y="198831"/>
                  </a:lnTo>
                  <a:lnTo>
                    <a:pt x="2415934" y="200228"/>
                  </a:lnTo>
                  <a:lnTo>
                    <a:pt x="2415934" y="199530"/>
                  </a:lnTo>
                  <a:lnTo>
                    <a:pt x="2415985" y="200228"/>
                  </a:lnTo>
                  <a:lnTo>
                    <a:pt x="2415985" y="200876"/>
                  </a:lnTo>
                  <a:lnTo>
                    <a:pt x="2415985" y="199530"/>
                  </a:lnTo>
                  <a:lnTo>
                    <a:pt x="2415985" y="200876"/>
                  </a:lnTo>
                  <a:lnTo>
                    <a:pt x="2416036" y="200876"/>
                  </a:lnTo>
                  <a:lnTo>
                    <a:pt x="2416036" y="200228"/>
                  </a:lnTo>
                  <a:lnTo>
                    <a:pt x="2416036" y="200876"/>
                  </a:lnTo>
                  <a:lnTo>
                    <a:pt x="2416036" y="200228"/>
                  </a:lnTo>
                  <a:lnTo>
                    <a:pt x="2416137" y="200876"/>
                  </a:lnTo>
                  <a:lnTo>
                    <a:pt x="2416137" y="200228"/>
                  </a:lnTo>
                  <a:lnTo>
                    <a:pt x="2416137" y="200876"/>
                  </a:lnTo>
                  <a:lnTo>
                    <a:pt x="2416137" y="200228"/>
                  </a:lnTo>
                  <a:lnTo>
                    <a:pt x="2416137" y="200876"/>
                  </a:lnTo>
                  <a:lnTo>
                    <a:pt x="2416175" y="200876"/>
                  </a:lnTo>
                  <a:lnTo>
                    <a:pt x="2416175" y="200228"/>
                  </a:lnTo>
                  <a:lnTo>
                    <a:pt x="2416175" y="200876"/>
                  </a:lnTo>
                  <a:lnTo>
                    <a:pt x="2416175" y="200228"/>
                  </a:lnTo>
                  <a:lnTo>
                    <a:pt x="2416175" y="200876"/>
                  </a:lnTo>
                  <a:lnTo>
                    <a:pt x="2416175" y="200228"/>
                  </a:lnTo>
                  <a:lnTo>
                    <a:pt x="2416226" y="200228"/>
                  </a:lnTo>
                  <a:lnTo>
                    <a:pt x="2416226" y="199530"/>
                  </a:lnTo>
                  <a:lnTo>
                    <a:pt x="2416226" y="200228"/>
                  </a:lnTo>
                  <a:lnTo>
                    <a:pt x="2416226" y="198831"/>
                  </a:lnTo>
                  <a:lnTo>
                    <a:pt x="2416277" y="198831"/>
                  </a:lnTo>
                  <a:lnTo>
                    <a:pt x="2416277" y="196799"/>
                  </a:lnTo>
                  <a:lnTo>
                    <a:pt x="2416277" y="197447"/>
                  </a:lnTo>
                  <a:lnTo>
                    <a:pt x="2416379" y="197447"/>
                  </a:lnTo>
                  <a:lnTo>
                    <a:pt x="2416379" y="196799"/>
                  </a:lnTo>
                  <a:lnTo>
                    <a:pt x="2416379" y="199530"/>
                  </a:lnTo>
                  <a:lnTo>
                    <a:pt x="2416430" y="199530"/>
                  </a:lnTo>
                  <a:lnTo>
                    <a:pt x="2416430" y="198831"/>
                  </a:lnTo>
                  <a:lnTo>
                    <a:pt x="2416430" y="199530"/>
                  </a:lnTo>
                  <a:lnTo>
                    <a:pt x="2416480" y="200228"/>
                  </a:lnTo>
                  <a:lnTo>
                    <a:pt x="2416480" y="199530"/>
                  </a:lnTo>
                  <a:lnTo>
                    <a:pt x="2416480" y="200228"/>
                  </a:lnTo>
                  <a:lnTo>
                    <a:pt x="2416480" y="199530"/>
                  </a:lnTo>
                  <a:lnTo>
                    <a:pt x="2416480" y="200228"/>
                  </a:lnTo>
                  <a:lnTo>
                    <a:pt x="2416480" y="199530"/>
                  </a:lnTo>
                  <a:lnTo>
                    <a:pt x="2416480" y="200228"/>
                  </a:lnTo>
                  <a:lnTo>
                    <a:pt x="2416480" y="199530"/>
                  </a:lnTo>
                  <a:lnTo>
                    <a:pt x="2416480" y="200228"/>
                  </a:lnTo>
                  <a:lnTo>
                    <a:pt x="2416480" y="199530"/>
                  </a:lnTo>
                  <a:lnTo>
                    <a:pt x="2416582" y="200228"/>
                  </a:lnTo>
                  <a:lnTo>
                    <a:pt x="2416582" y="199530"/>
                  </a:lnTo>
                  <a:lnTo>
                    <a:pt x="2416582" y="200228"/>
                  </a:lnTo>
                  <a:lnTo>
                    <a:pt x="2416582" y="199530"/>
                  </a:lnTo>
                  <a:lnTo>
                    <a:pt x="2416582" y="200228"/>
                  </a:lnTo>
                  <a:lnTo>
                    <a:pt x="2416582" y="199530"/>
                  </a:lnTo>
                  <a:lnTo>
                    <a:pt x="2416582" y="200228"/>
                  </a:lnTo>
                  <a:lnTo>
                    <a:pt x="2416633" y="200228"/>
                  </a:lnTo>
                  <a:lnTo>
                    <a:pt x="2416633" y="200876"/>
                  </a:lnTo>
                  <a:lnTo>
                    <a:pt x="2416633" y="200228"/>
                  </a:lnTo>
                  <a:lnTo>
                    <a:pt x="2416633" y="200876"/>
                  </a:lnTo>
                  <a:lnTo>
                    <a:pt x="2416633" y="200228"/>
                  </a:lnTo>
                  <a:lnTo>
                    <a:pt x="2416633" y="200876"/>
                  </a:lnTo>
                  <a:lnTo>
                    <a:pt x="2416684" y="200876"/>
                  </a:lnTo>
                  <a:lnTo>
                    <a:pt x="2416684" y="200228"/>
                  </a:lnTo>
                  <a:lnTo>
                    <a:pt x="2416722" y="200876"/>
                  </a:lnTo>
                  <a:lnTo>
                    <a:pt x="2416722" y="197447"/>
                  </a:lnTo>
                  <a:lnTo>
                    <a:pt x="2416823" y="197447"/>
                  </a:lnTo>
                  <a:lnTo>
                    <a:pt x="2416823" y="196799"/>
                  </a:lnTo>
                  <a:lnTo>
                    <a:pt x="2416823" y="198831"/>
                  </a:lnTo>
                  <a:lnTo>
                    <a:pt x="2416823" y="197447"/>
                  </a:lnTo>
                  <a:lnTo>
                    <a:pt x="2416874" y="197447"/>
                  </a:lnTo>
                  <a:lnTo>
                    <a:pt x="2416874" y="196799"/>
                  </a:lnTo>
                  <a:lnTo>
                    <a:pt x="2416874" y="200228"/>
                  </a:lnTo>
                  <a:lnTo>
                    <a:pt x="2416874" y="199530"/>
                  </a:lnTo>
                  <a:lnTo>
                    <a:pt x="2416925" y="199530"/>
                  </a:lnTo>
                  <a:lnTo>
                    <a:pt x="2416925" y="198831"/>
                  </a:lnTo>
                  <a:lnTo>
                    <a:pt x="2416925" y="200228"/>
                  </a:lnTo>
                  <a:lnTo>
                    <a:pt x="2416925" y="199530"/>
                  </a:lnTo>
                  <a:lnTo>
                    <a:pt x="2417026" y="199530"/>
                  </a:lnTo>
                  <a:lnTo>
                    <a:pt x="2417026" y="198831"/>
                  </a:lnTo>
                  <a:lnTo>
                    <a:pt x="2417026" y="199530"/>
                  </a:lnTo>
                  <a:lnTo>
                    <a:pt x="2417077" y="199530"/>
                  </a:lnTo>
                  <a:lnTo>
                    <a:pt x="2417077" y="200228"/>
                  </a:lnTo>
                  <a:lnTo>
                    <a:pt x="2417128" y="200228"/>
                  </a:lnTo>
                  <a:lnTo>
                    <a:pt x="2417128" y="200876"/>
                  </a:lnTo>
                  <a:lnTo>
                    <a:pt x="2417128" y="200228"/>
                  </a:lnTo>
                  <a:lnTo>
                    <a:pt x="2417128" y="200876"/>
                  </a:lnTo>
                  <a:lnTo>
                    <a:pt x="2417128" y="200228"/>
                  </a:lnTo>
                  <a:lnTo>
                    <a:pt x="2417128" y="200876"/>
                  </a:lnTo>
                  <a:lnTo>
                    <a:pt x="2417179" y="200876"/>
                  </a:lnTo>
                  <a:lnTo>
                    <a:pt x="2417179" y="200228"/>
                  </a:lnTo>
                  <a:lnTo>
                    <a:pt x="2417179" y="200876"/>
                  </a:lnTo>
                  <a:lnTo>
                    <a:pt x="2417179" y="199530"/>
                  </a:lnTo>
                  <a:lnTo>
                    <a:pt x="2417179" y="200228"/>
                  </a:lnTo>
                  <a:lnTo>
                    <a:pt x="2417179" y="199530"/>
                  </a:lnTo>
                  <a:lnTo>
                    <a:pt x="2417179" y="200228"/>
                  </a:lnTo>
                  <a:lnTo>
                    <a:pt x="2417268" y="200228"/>
                  </a:lnTo>
                  <a:lnTo>
                    <a:pt x="2417268" y="198831"/>
                  </a:lnTo>
                  <a:lnTo>
                    <a:pt x="2417268" y="199530"/>
                  </a:lnTo>
                  <a:lnTo>
                    <a:pt x="2417268" y="197447"/>
                  </a:lnTo>
                  <a:lnTo>
                    <a:pt x="2417268" y="198831"/>
                  </a:lnTo>
                  <a:lnTo>
                    <a:pt x="2417319" y="198831"/>
                  </a:lnTo>
                  <a:lnTo>
                    <a:pt x="2417319" y="197447"/>
                  </a:lnTo>
                  <a:lnTo>
                    <a:pt x="2417319" y="199530"/>
                  </a:lnTo>
                  <a:lnTo>
                    <a:pt x="2417319" y="196799"/>
                  </a:lnTo>
                  <a:lnTo>
                    <a:pt x="2417369" y="196799"/>
                  </a:lnTo>
                  <a:lnTo>
                    <a:pt x="2417369" y="200228"/>
                  </a:lnTo>
                  <a:lnTo>
                    <a:pt x="2417369" y="198831"/>
                  </a:lnTo>
                  <a:lnTo>
                    <a:pt x="2417420" y="198831"/>
                  </a:lnTo>
                  <a:lnTo>
                    <a:pt x="2417420" y="200228"/>
                  </a:lnTo>
                  <a:lnTo>
                    <a:pt x="2417420" y="198831"/>
                  </a:lnTo>
                  <a:lnTo>
                    <a:pt x="2417420" y="199530"/>
                  </a:lnTo>
                  <a:lnTo>
                    <a:pt x="2417420" y="198831"/>
                  </a:lnTo>
                  <a:lnTo>
                    <a:pt x="2417522" y="199530"/>
                  </a:lnTo>
                  <a:lnTo>
                    <a:pt x="2417522" y="198831"/>
                  </a:lnTo>
                  <a:lnTo>
                    <a:pt x="2417522" y="199530"/>
                  </a:lnTo>
                  <a:lnTo>
                    <a:pt x="2417572" y="199530"/>
                  </a:lnTo>
                  <a:lnTo>
                    <a:pt x="2417572" y="198831"/>
                  </a:lnTo>
                  <a:lnTo>
                    <a:pt x="2417572" y="199530"/>
                  </a:lnTo>
                  <a:lnTo>
                    <a:pt x="2417572" y="198831"/>
                  </a:lnTo>
                  <a:lnTo>
                    <a:pt x="2417572" y="200228"/>
                  </a:lnTo>
                  <a:lnTo>
                    <a:pt x="2417623" y="199530"/>
                  </a:lnTo>
                  <a:lnTo>
                    <a:pt x="2417623" y="200228"/>
                  </a:lnTo>
                  <a:lnTo>
                    <a:pt x="2417623" y="199530"/>
                  </a:lnTo>
                  <a:lnTo>
                    <a:pt x="2417725" y="200228"/>
                  </a:lnTo>
                  <a:lnTo>
                    <a:pt x="2417725" y="199530"/>
                  </a:lnTo>
                  <a:lnTo>
                    <a:pt x="2417725" y="200228"/>
                  </a:lnTo>
                  <a:lnTo>
                    <a:pt x="2417725" y="199530"/>
                  </a:lnTo>
                  <a:lnTo>
                    <a:pt x="2417763" y="199530"/>
                  </a:lnTo>
                  <a:lnTo>
                    <a:pt x="2417763" y="196799"/>
                  </a:lnTo>
                  <a:lnTo>
                    <a:pt x="2417814" y="196799"/>
                  </a:lnTo>
                  <a:lnTo>
                    <a:pt x="2417814" y="198831"/>
                  </a:lnTo>
                  <a:lnTo>
                    <a:pt x="2417814" y="196799"/>
                  </a:lnTo>
                  <a:lnTo>
                    <a:pt x="2417814" y="197447"/>
                  </a:lnTo>
                  <a:lnTo>
                    <a:pt x="2417865" y="199530"/>
                  </a:lnTo>
                  <a:lnTo>
                    <a:pt x="2417865" y="200876"/>
                  </a:lnTo>
                  <a:lnTo>
                    <a:pt x="2417865" y="200228"/>
                  </a:lnTo>
                  <a:lnTo>
                    <a:pt x="2417865" y="200876"/>
                  </a:lnTo>
                  <a:lnTo>
                    <a:pt x="2417865" y="198831"/>
                  </a:lnTo>
                  <a:lnTo>
                    <a:pt x="2417865" y="200228"/>
                  </a:lnTo>
                  <a:lnTo>
                    <a:pt x="2417865" y="199530"/>
                  </a:lnTo>
                  <a:lnTo>
                    <a:pt x="2417966" y="200228"/>
                  </a:lnTo>
                  <a:lnTo>
                    <a:pt x="2417966" y="199530"/>
                  </a:lnTo>
                  <a:lnTo>
                    <a:pt x="2417966" y="200228"/>
                  </a:lnTo>
                  <a:lnTo>
                    <a:pt x="2418017" y="200228"/>
                  </a:lnTo>
                  <a:lnTo>
                    <a:pt x="2418017" y="199530"/>
                  </a:lnTo>
                  <a:lnTo>
                    <a:pt x="2418017" y="200228"/>
                  </a:lnTo>
                  <a:lnTo>
                    <a:pt x="2418017" y="199530"/>
                  </a:lnTo>
                  <a:lnTo>
                    <a:pt x="2418017" y="200228"/>
                  </a:lnTo>
                  <a:lnTo>
                    <a:pt x="2418017" y="199530"/>
                  </a:lnTo>
                  <a:lnTo>
                    <a:pt x="2418017" y="200228"/>
                  </a:lnTo>
                  <a:lnTo>
                    <a:pt x="2418068" y="200228"/>
                  </a:lnTo>
                  <a:lnTo>
                    <a:pt x="2418068" y="200876"/>
                  </a:lnTo>
                  <a:lnTo>
                    <a:pt x="2418068" y="200228"/>
                  </a:lnTo>
                  <a:lnTo>
                    <a:pt x="2418068" y="200876"/>
                  </a:lnTo>
                  <a:lnTo>
                    <a:pt x="2418068" y="200228"/>
                  </a:lnTo>
                  <a:lnTo>
                    <a:pt x="2418169" y="200876"/>
                  </a:lnTo>
                  <a:lnTo>
                    <a:pt x="2418169" y="200228"/>
                  </a:lnTo>
                  <a:lnTo>
                    <a:pt x="2418220" y="200228"/>
                  </a:lnTo>
                  <a:lnTo>
                    <a:pt x="2418220" y="198831"/>
                  </a:lnTo>
                  <a:lnTo>
                    <a:pt x="2418271" y="198831"/>
                  </a:lnTo>
                  <a:lnTo>
                    <a:pt x="2418271" y="197447"/>
                  </a:lnTo>
                  <a:lnTo>
                    <a:pt x="2418271" y="198831"/>
                  </a:lnTo>
                  <a:lnTo>
                    <a:pt x="2418271" y="197447"/>
                  </a:lnTo>
                  <a:lnTo>
                    <a:pt x="2418271" y="198831"/>
                  </a:lnTo>
                  <a:lnTo>
                    <a:pt x="2418271" y="196799"/>
                  </a:lnTo>
                  <a:lnTo>
                    <a:pt x="2418271" y="199530"/>
                  </a:lnTo>
                  <a:lnTo>
                    <a:pt x="2418309" y="199530"/>
                  </a:lnTo>
                  <a:lnTo>
                    <a:pt x="2418309" y="198831"/>
                  </a:lnTo>
                  <a:lnTo>
                    <a:pt x="2418309" y="200876"/>
                  </a:lnTo>
                  <a:lnTo>
                    <a:pt x="2418411" y="200228"/>
                  </a:lnTo>
                  <a:lnTo>
                    <a:pt x="2418411" y="199530"/>
                  </a:lnTo>
                  <a:lnTo>
                    <a:pt x="2418411" y="200876"/>
                  </a:lnTo>
                  <a:lnTo>
                    <a:pt x="2418411" y="200228"/>
                  </a:lnTo>
                  <a:lnTo>
                    <a:pt x="2418462" y="200228"/>
                  </a:lnTo>
                  <a:lnTo>
                    <a:pt x="2418462" y="199530"/>
                  </a:lnTo>
                  <a:lnTo>
                    <a:pt x="2418462" y="200876"/>
                  </a:lnTo>
                  <a:lnTo>
                    <a:pt x="2418462" y="200228"/>
                  </a:lnTo>
                  <a:lnTo>
                    <a:pt x="2418512" y="200228"/>
                  </a:lnTo>
                  <a:lnTo>
                    <a:pt x="2418512" y="200876"/>
                  </a:lnTo>
                  <a:lnTo>
                    <a:pt x="2418614" y="200876"/>
                  </a:lnTo>
                  <a:lnTo>
                    <a:pt x="2418614" y="200228"/>
                  </a:lnTo>
                  <a:lnTo>
                    <a:pt x="2418614" y="200876"/>
                  </a:lnTo>
                  <a:lnTo>
                    <a:pt x="2418614" y="200228"/>
                  </a:lnTo>
                  <a:lnTo>
                    <a:pt x="2418614" y="200876"/>
                  </a:lnTo>
                  <a:lnTo>
                    <a:pt x="2418614" y="200228"/>
                  </a:lnTo>
                  <a:lnTo>
                    <a:pt x="2418614" y="200876"/>
                  </a:lnTo>
                  <a:lnTo>
                    <a:pt x="2418614" y="200228"/>
                  </a:lnTo>
                  <a:lnTo>
                    <a:pt x="2418614" y="200876"/>
                  </a:lnTo>
                  <a:lnTo>
                    <a:pt x="2418614" y="200228"/>
                  </a:lnTo>
                  <a:lnTo>
                    <a:pt x="2418665" y="200876"/>
                  </a:lnTo>
                  <a:lnTo>
                    <a:pt x="2418665" y="200228"/>
                  </a:lnTo>
                  <a:lnTo>
                    <a:pt x="2418665" y="200876"/>
                  </a:lnTo>
                  <a:lnTo>
                    <a:pt x="2418665" y="199530"/>
                  </a:lnTo>
                  <a:lnTo>
                    <a:pt x="2418665" y="200228"/>
                  </a:lnTo>
                  <a:lnTo>
                    <a:pt x="2418665" y="199530"/>
                  </a:lnTo>
                  <a:lnTo>
                    <a:pt x="2418715" y="199530"/>
                  </a:lnTo>
                  <a:lnTo>
                    <a:pt x="2418715" y="198831"/>
                  </a:lnTo>
                  <a:lnTo>
                    <a:pt x="2418715" y="199530"/>
                  </a:lnTo>
                  <a:lnTo>
                    <a:pt x="2418715" y="197447"/>
                  </a:lnTo>
                  <a:lnTo>
                    <a:pt x="2418715" y="198831"/>
                  </a:lnTo>
                  <a:lnTo>
                    <a:pt x="2418715" y="197447"/>
                  </a:lnTo>
                  <a:lnTo>
                    <a:pt x="2418766" y="197447"/>
                  </a:lnTo>
                  <a:lnTo>
                    <a:pt x="2418766" y="196113"/>
                  </a:lnTo>
                  <a:lnTo>
                    <a:pt x="2418766" y="196799"/>
                  </a:lnTo>
                  <a:lnTo>
                    <a:pt x="2418766" y="196113"/>
                  </a:lnTo>
                  <a:lnTo>
                    <a:pt x="2418766" y="199530"/>
                  </a:lnTo>
                  <a:lnTo>
                    <a:pt x="2418766" y="198831"/>
                  </a:lnTo>
                  <a:lnTo>
                    <a:pt x="2418766" y="199530"/>
                  </a:lnTo>
                  <a:lnTo>
                    <a:pt x="2418855" y="198831"/>
                  </a:lnTo>
                  <a:lnTo>
                    <a:pt x="2418855" y="196799"/>
                  </a:lnTo>
                  <a:lnTo>
                    <a:pt x="2418855" y="200228"/>
                  </a:lnTo>
                  <a:lnTo>
                    <a:pt x="2418855" y="199530"/>
                  </a:lnTo>
                  <a:lnTo>
                    <a:pt x="2418906" y="199530"/>
                  </a:lnTo>
                  <a:lnTo>
                    <a:pt x="2418906" y="197447"/>
                  </a:lnTo>
                  <a:lnTo>
                    <a:pt x="2418906" y="200228"/>
                  </a:lnTo>
                  <a:lnTo>
                    <a:pt x="2418906" y="199530"/>
                  </a:lnTo>
                  <a:lnTo>
                    <a:pt x="2418957" y="198831"/>
                  </a:lnTo>
                  <a:lnTo>
                    <a:pt x="2418957" y="200228"/>
                  </a:lnTo>
                  <a:lnTo>
                    <a:pt x="2418957" y="199530"/>
                  </a:lnTo>
                  <a:lnTo>
                    <a:pt x="2419008" y="199530"/>
                  </a:lnTo>
                  <a:lnTo>
                    <a:pt x="2419008" y="200876"/>
                  </a:lnTo>
                  <a:lnTo>
                    <a:pt x="2419008" y="200228"/>
                  </a:lnTo>
                  <a:lnTo>
                    <a:pt x="2419109" y="200228"/>
                  </a:lnTo>
                  <a:lnTo>
                    <a:pt x="2419109" y="200876"/>
                  </a:lnTo>
                  <a:lnTo>
                    <a:pt x="2419109" y="200228"/>
                  </a:lnTo>
                  <a:lnTo>
                    <a:pt x="2419109" y="200876"/>
                  </a:lnTo>
                  <a:lnTo>
                    <a:pt x="2419109" y="200228"/>
                  </a:lnTo>
                  <a:lnTo>
                    <a:pt x="2419109" y="200876"/>
                  </a:lnTo>
                  <a:lnTo>
                    <a:pt x="2419160" y="200228"/>
                  </a:lnTo>
                  <a:lnTo>
                    <a:pt x="2419160" y="200876"/>
                  </a:lnTo>
                  <a:lnTo>
                    <a:pt x="2419160" y="199530"/>
                  </a:lnTo>
                  <a:lnTo>
                    <a:pt x="2419211" y="199530"/>
                  </a:lnTo>
                  <a:lnTo>
                    <a:pt x="2419211" y="197447"/>
                  </a:lnTo>
                  <a:lnTo>
                    <a:pt x="2419312" y="197447"/>
                  </a:lnTo>
                  <a:lnTo>
                    <a:pt x="2419312" y="196799"/>
                  </a:lnTo>
                  <a:lnTo>
                    <a:pt x="2419312" y="197447"/>
                  </a:lnTo>
                  <a:lnTo>
                    <a:pt x="2419312" y="196799"/>
                  </a:lnTo>
                  <a:lnTo>
                    <a:pt x="2419312" y="199530"/>
                  </a:lnTo>
                  <a:lnTo>
                    <a:pt x="2419312" y="197447"/>
                  </a:lnTo>
                  <a:lnTo>
                    <a:pt x="2419350" y="197447"/>
                  </a:lnTo>
                  <a:lnTo>
                    <a:pt x="2419350" y="196799"/>
                  </a:lnTo>
                  <a:lnTo>
                    <a:pt x="2419350" y="200876"/>
                  </a:lnTo>
                  <a:lnTo>
                    <a:pt x="2419350" y="198831"/>
                  </a:lnTo>
                  <a:lnTo>
                    <a:pt x="2419401" y="198831"/>
                  </a:lnTo>
                  <a:lnTo>
                    <a:pt x="2419401" y="200228"/>
                  </a:lnTo>
                  <a:lnTo>
                    <a:pt x="2419401" y="199530"/>
                  </a:lnTo>
                  <a:lnTo>
                    <a:pt x="2419452" y="198831"/>
                  </a:lnTo>
                  <a:lnTo>
                    <a:pt x="2419452" y="200228"/>
                  </a:lnTo>
                  <a:lnTo>
                    <a:pt x="2419452" y="199530"/>
                  </a:lnTo>
                  <a:lnTo>
                    <a:pt x="2419452" y="200228"/>
                  </a:lnTo>
                  <a:lnTo>
                    <a:pt x="2419452" y="199530"/>
                  </a:lnTo>
                  <a:lnTo>
                    <a:pt x="2419452" y="200228"/>
                  </a:lnTo>
                  <a:lnTo>
                    <a:pt x="2419452" y="199530"/>
                  </a:lnTo>
                  <a:lnTo>
                    <a:pt x="2419554" y="199530"/>
                  </a:lnTo>
                  <a:lnTo>
                    <a:pt x="2419554" y="200876"/>
                  </a:lnTo>
                  <a:lnTo>
                    <a:pt x="2419605" y="200876"/>
                  </a:lnTo>
                  <a:lnTo>
                    <a:pt x="2419605" y="200228"/>
                  </a:lnTo>
                  <a:lnTo>
                    <a:pt x="2419655" y="200228"/>
                  </a:lnTo>
                  <a:lnTo>
                    <a:pt x="2419655" y="199530"/>
                  </a:lnTo>
                  <a:lnTo>
                    <a:pt x="2419757" y="199530"/>
                  </a:lnTo>
                  <a:lnTo>
                    <a:pt x="2419757" y="196799"/>
                  </a:lnTo>
                  <a:lnTo>
                    <a:pt x="2419808" y="196799"/>
                  </a:lnTo>
                  <a:lnTo>
                    <a:pt x="2419808" y="195415"/>
                  </a:lnTo>
                  <a:lnTo>
                    <a:pt x="2419808" y="196799"/>
                  </a:lnTo>
                  <a:lnTo>
                    <a:pt x="2419859" y="196799"/>
                  </a:lnTo>
                  <a:lnTo>
                    <a:pt x="2419859" y="196113"/>
                  </a:lnTo>
                  <a:lnTo>
                    <a:pt x="2419859" y="198831"/>
                  </a:lnTo>
                  <a:lnTo>
                    <a:pt x="2419859" y="196799"/>
                  </a:lnTo>
                  <a:lnTo>
                    <a:pt x="2419897" y="196799"/>
                  </a:lnTo>
                  <a:lnTo>
                    <a:pt x="2419897" y="197447"/>
                  </a:lnTo>
                  <a:lnTo>
                    <a:pt x="2419897" y="196799"/>
                  </a:lnTo>
                  <a:lnTo>
                    <a:pt x="2419897" y="198831"/>
                  </a:lnTo>
                  <a:lnTo>
                    <a:pt x="2419897" y="197447"/>
                  </a:lnTo>
                  <a:lnTo>
                    <a:pt x="2419998" y="197447"/>
                  </a:lnTo>
                  <a:lnTo>
                    <a:pt x="2419998" y="199530"/>
                  </a:lnTo>
                  <a:lnTo>
                    <a:pt x="2419998" y="198831"/>
                  </a:lnTo>
                  <a:lnTo>
                    <a:pt x="2419998" y="199530"/>
                  </a:lnTo>
                  <a:lnTo>
                    <a:pt x="2420049" y="199530"/>
                  </a:lnTo>
                  <a:lnTo>
                    <a:pt x="2420049" y="200876"/>
                  </a:lnTo>
                  <a:lnTo>
                    <a:pt x="2420049" y="200228"/>
                  </a:lnTo>
                  <a:lnTo>
                    <a:pt x="2420100" y="200228"/>
                  </a:lnTo>
                  <a:lnTo>
                    <a:pt x="2420100" y="200876"/>
                  </a:lnTo>
                  <a:lnTo>
                    <a:pt x="2420100" y="200228"/>
                  </a:lnTo>
                  <a:lnTo>
                    <a:pt x="2420100" y="200876"/>
                  </a:lnTo>
                  <a:lnTo>
                    <a:pt x="2420100" y="200228"/>
                  </a:lnTo>
                  <a:lnTo>
                    <a:pt x="2420201" y="200228"/>
                  </a:lnTo>
                  <a:lnTo>
                    <a:pt x="2420201" y="200876"/>
                  </a:lnTo>
                  <a:lnTo>
                    <a:pt x="2420201" y="200228"/>
                  </a:lnTo>
                  <a:lnTo>
                    <a:pt x="2420252" y="199530"/>
                  </a:lnTo>
                  <a:lnTo>
                    <a:pt x="2420252" y="197447"/>
                  </a:lnTo>
                  <a:lnTo>
                    <a:pt x="2420303" y="197447"/>
                  </a:lnTo>
                  <a:lnTo>
                    <a:pt x="2420303" y="196799"/>
                  </a:lnTo>
                  <a:lnTo>
                    <a:pt x="2420303" y="197447"/>
                  </a:lnTo>
                  <a:lnTo>
                    <a:pt x="2420303" y="196113"/>
                  </a:lnTo>
                  <a:lnTo>
                    <a:pt x="2420303" y="197447"/>
                  </a:lnTo>
                  <a:lnTo>
                    <a:pt x="2420354" y="197447"/>
                  </a:lnTo>
                  <a:lnTo>
                    <a:pt x="2420354" y="195415"/>
                  </a:lnTo>
                  <a:lnTo>
                    <a:pt x="2420354" y="197447"/>
                  </a:lnTo>
                  <a:lnTo>
                    <a:pt x="2420354" y="196799"/>
                  </a:lnTo>
                  <a:lnTo>
                    <a:pt x="2420443" y="196799"/>
                  </a:lnTo>
                  <a:lnTo>
                    <a:pt x="2420443" y="197447"/>
                  </a:lnTo>
                  <a:lnTo>
                    <a:pt x="2420443" y="196799"/>
                  </a:lnTo>
                  <a:lnTo>
                    <a:pt x="2420443" y="197447"/>
                  </a:lnTo>
                  <a:lnTo>
                    <a:pt x="2420443" y="196113"/>
                  </a:lnTo>
                  <a:lnTo>
                    <a:pt x="2420443" y="197447"/>
                  </a:lnTo>
                  <a:lnTo>
                    <a:pt x="2420443" y="196799"/>
                  </a:lnTo>
                  <a:lnTo>
                    <a:pt x="2420443" y="197447"/>
                  </a:lnTo>
                  <a:lnTo>
                    <a:pt x="2420494" y="197447"/>
                  </a:lnTo>
                  <a:lnTo>
                    <a:pt x="2420494" y="196113"/>
                  </a:lnTo>
                  <a:lnTo>
                    <a:pt x="2420494" y="197447"/>
                  </a:lnTo>
                  <a:lnTo>
                    <a:pt x="2420494" y="196799"/>
                  </a:lnTo>
                  <a:lnTo>
                    <a:pt x="2420494" y="197447"/>
                  </a:lnTo>
                  <a:lnTo>
                    <a:pt x="2420544" y="197447"/>
                  </a:lnTo>
                  <a:lnTo>
                    <a:pt x="2420544" y="198831"/>
                  </a:lnTo>
                  <a:lnTo>
                    <a:pt x="2420544" y="197447"/>
                  </a:lnTo>
                  <a:lnTo>
                    <a:pt x="2420544" y="199530"/>
                  </a:lnTo>
                  <a:lnTo>
                    <a:pt x="2420544" y="198831"/>
                  </a:lnTo>
                  <a:lnTo>
                    <a:pt x="2420595" y="198831"/>
                  </a:lnTo>
                  <a:lnTo>
                    <a:pt x="2420595" y="199530"/>
                  </a:lnTo>
                  <a:lnTo>
                    <a:pt x="2420595" y="198831"/>
                  </a:lnTo>
                  <a:lnTo>
                    <a:pt x="2420595" y="199530"/>
                  </a:lnTo>
                  <a:lnTo>
                    <a:pt x="2420697" y="199530"/>
                  </a:lnTo>
                  <a:lnTo>
                    <a:pt x="2420697" y="200228"/>
                  </a:lnTo>
                  <a:lnTo>
                    <a:pt x="2420697" y="199530"/>
                  </a:lnTo>
                  <a:lnTo>
                    <a:pt x="2420697" y="200228"/>
                  </a:lnTo>
                  <a:lnTo>
                    <a:pt x="2420747" y="199530"/>
                  </a:lnTo>
                  <a:lnTo>
                    <a:pt x="2420747" y="197447"/>
                  </a:lnTo>
                  <a:lnTo>
                    <a:pt x="2420798" y="197447"/>
                  </a:lnTo>
                  <a:lnTo>
                    <a:pt x="2420798" y="199530"/>
                  </a:lnTo>
                  <a:lnTo>
                    <a:pt x="2420798" y="197447"/>
                  </a:lnTo>
                  <a:lnTo>
                    <a:pt x="2420900" y="197447"/>
                  </a:lnTo>
                  <a:lnTo>
                    <a:pt x="2420900" y="200228"/>
                  </a:lnTo>
                  <a:lnTo>
                    <a:pt x="2420900" y="199530"/>
                  </a:lnTo>
                  <a:lnTo>
                    <a:pt x="2420900" y="200228"/>
                  </a:lnTo>
                  <a:lnTo>
                    <a:pt x="2420900" y="198831"/>
                  </a:lnTo>
                  <a:lnTo>
                    <a:pt x="2420900" y="199530"/>
                  </a:lnTo>
                  <a:lnTo>
                    <a:pt x="2420938" y="199530"/>
                  </a:lnTo>
                  <a:lnTo>
                    <a:pt x="2420938" y="200228"/>
                  </a:lnTo>
                  <a:lnTo>
                    <a:pt x="2420938" y="199530"/>
                  </a:lnTo>
                  <a:lnTo>
                    <a:pt x="2420938" y="200228"/>
                  </a:lnTo>
                  <a:lnTo>
                    <a:pt x="2420938" y="199530"/>
                  </a:lnTo>
                  <a:lnTo>
                    <a:pt x="2420938" y="200228"/>
                  </a:lnTo>
                  <a:lnTo>
                    <a:pt x="2420938" y="199530"/>
                  </a:lnTo>
                  <a:lnTo>
                    <a:pt x="2420989" y="199530"/>
                  </a:lnTo>
                  <a:lnTo>
                    <a:pt x="2420989" y="200228"/>
                  </a:lnTo>
                  <a:lnTo>
                    <a:pt x="2420989" y="199530"/>
                  </a:lnTo>
                  <a:lnTo>
                    <a:pt x="2420989" y="200228"/>
                  </a:lnTo>
                  <a:lnTo>
                    <a:pt x="2421040" y="200228"/>
                  </a:lnTo>
                  <a:lnTo>
                    <a:pt x="2421040" y="199530"/>
                  </a:lnTo>
                  <a:lnTo>
                    <a:pt x="2421040" y="200228"/>
                  </a:lnTo>
                  <a:lnTo>
                    <a:pt x="2421040" y="199530"/>
                  </a:lnTo>
                  <a:lnTo>
                    <a:pt x="2421040" y="200228"/>
                  </a:lnTo>
                  <a:lnTo>
                    <a:pt x="2421040" y="199530"/>
                  </a:lnTo>
                  <a:lnTo>
                    <a:pt x="2421040" y="200228"/>
                  </a:lnTo>
                  <a:lnTo>
                    <a:pt x="2421141" y="200228"/>
                  </a:lnTo>
                  <a:lnTo>
                    <a:pt x="2421141" y="199530"/>
                  </a:lnTo>
                  <a:lnTo>
                    <a:pt x="2421192" y="199530"/>
                  </a:lnTo>
                  <a:lnTo>
                    <a:pt x="2421192" y="200228"/>
                  </a:lnTo>
                  <a:lnTo>
                    <a:pt x="2421192" y="199530"/>
                  </a:lnTo>
                  <a:lnTo>
                    <a:pt x="2421243" y="200228"/>
                  </a:lnTo>
                  <a:lnTo>
                    <a:pt x="2421243" y="197447"/>
                  </a:lnTo>
                  <a:lnTo>
                    <a:pt x="2421243" y="200228"/>
                  </a:lnTo>
                  <a:lnTo>
                    <a:pt x="2421344" y="200228"/>
                  </a:lnTo>
                  <a:lnTo>
                    <a:pt x="2421344" y="198831"/>
                  </a:lnTo>
                  <a:lnTo>
                    <a:pt x="2421344" y="200876"/>
                  </a:lnTo>
                  <a:lnTo>
                    <a:pt x="2421395" y="200876"/>
                  </a:lnTo>
                  <a:lnTo>
                    <a:pt x="2421395" y="199530"/>
                  </a:lnTo>
                  <a:lnTo>
                    <a:pt x="2421395" y="200876"/>
                  </a:lnTo>
                  <a:lnTo>
                    <a:pt x="2421446" y="200876"/>
                  </a:lnTo>
                  <a:lnTo>
                    <a:pt x="2421446" y="200228"/>
                  </a:lnTo>
                  <a:lnTo>
                    <a:pt x="2421446" y="202260"/>
                  </a:lnTo>
                  <a:lnTo>
                    <a:pt x="2421446" y="200876"/>
                  </a:lnTo>
                  <a:lnTo>
                    <a:pt x="2421484" y="200876"/>
                  </a:lnTo>
                  <a:lnTo>
                    <a:pt x="2421484" y="200228"/>
                  </a:lnTo>
                  <a:lnTo>
                    <a:pt x="2421484" y="200876"/>
                  </a:lnTo>
                  <a:lnTo>
                    <a:pt x="2421586" y="200228"/>
                  </a:lnTo>
                  <a:lnTo>
                    <a:pt x="2421586" y="200876"/>
                  </a:lnTo>
                  <a:lnTo>
                    <a:pt x="2421586" y="199530"/>
                  </a:lnTo>
                  <a:lnTo>
                    <a:pt x="2421586" y="200228"/>
                  </a:lnTo>
                  <a:lnTo>
                    <a:pt x="2421637" y="199530"/>
                  </a:lnTo>
                  <a:lnTo>
                    <a:pt x="2421637" y="200228"/>
                  </a:lnTo>
                  <a:lnTo>
                    <a:pt x="2421637" y="199530"/>
                  </a:lnTo>
                  <a:lnTo>
                    <a:pt x="2421637" y="200228"/>
                  </a:lnTo>
                  <a:lnTo>
                    <a:pt x="2421637" y="199530"/>
                  </a:lnTo>
                  <a:lnTo>
                    <a:pt x="2421637" y="200228"/>
                  </a:lnTo>
                  <a:lnTo>
                    <a:pt x="2421637" y="199530"/>
                  </a:lnTo>
                  <a:lnTo>
                    <a:pt x="2421687" y="199530"/>
                  </a:lnTo>
                  <a:lnTo>
                    <a:pt x="2421687" y="198831"/>
                  </a:lnTo>
                  <a:lnTo>
                    <a:pt x="2421687" y="199530"/>
                  </a:lnTo>
                  <a:lnTo>
                    <a:pt x="2421687" y="198831"/>
                  </a:lnTo>
                  <a:lnTo>
                    <a:pt x="2421687" y="199530"/>
                  </a:lnTo>
                  <a:lnTo>
                    <a:pt x="2421687" y="197447"/>
                  </a:lnTo>
                  <a:lnTo>
                    <a:pt x="2421789" y="197447"/>
                  </a:lnTo>
                  <a:lnTo>
                    <a:pt x="2421789" y="196799"/>
                  </a:lnTo>
                  <a:lnTo>
                    <a:pt x="2421789" y="199530"/>
                  </a:lnTo>
                  <a:lnTo>
                    <a:pt x="2421789" y="198831"/>
                  </a:lnTo>
                  <a:lnTo>
                    <a:pt x="2421840" y="197447"/>
                  </a:lnTo>
                  <a:lnTo>
                    <a:pt x="2421840" y="196799"/>
                  </a:lnTo>
                  <a:lnTo>
                    <a:pt x="2421840" y="200228"/>
                  </a:lnTo>
                  <a:lnTo>
                    <a:pt x="2421840" y="198831"/>
                  </a:lnTo>
                  <a:lnTo>
                    <a:pt x="2421890" y="198831"/>
                  </a:lnTo>
                  <a:lnTo>
                    <a:pt x="2421890" y="200876"/>
                  </a:lnTo>
                  <a:lnTo>
                    <a:pt x="2421890" y="200228"/>
                  </a:lnTo>
                  <a:lnTo>
                    <a:pt x="2421941" y="200228"/>
                  </a:lnTo>
                  <a:lnTo>
                    <a:pt x="2421941" y="202260"/>
                  </a:lnTo>
                  <a:lnTo>
                    <a:pt x="2421941" y="200228"/>
                  </a:lnTo>
                  <a:lnTo>
                    <a:pt x="2421941" y="200876"/>
                  </a:lnTo>
                  <a:lnTo>
                    <a:pt x="2422030" y="202260"/>
                  </a:lnTo>
                  <a:lnTo>
                    <a:pt x="2422030" y="200876"/>
                  </a:lnTo>
                  <a:lnTo>
                    <a:pt x="2422030" y="202260"/>
                  </a:lnTo>
                  <a:lnTo>
                    <a:pt x="2422030" y="200876"/>
                  </a:lnTo>
                  <a:lnTo>
                    <a:pt x="2422030" y="202260"/>
                  </a:lnTo>
                  <a:lnTo>
                    <a:pt x="2422081" y="202260"/>
                  </a:lnTo>
                  <a:lnTo>
                    <a:pt x="2422081" y="200228"/>
                  </a:lnTo>
                  <a:lnTo>
                    <a:pt x="2422081" y="200876"/>
                  </a:lnTo>
                  <a:lnTo>
                    <a:pt x="2422132" y="200876"/>
                  </a:lnTo>
                  <a:lnTo>
                    <a:pt x="2422132" y="199530"/>
                  </a:lnTo>
                  <a:lnTo>
                    <a:pt x="2422132" y="200228"/>
                  </a:lnTo>
                  <a:lnTo>
                    <a:pt x="2422132" y="199530"/>
                  </a:lnTo>
                  <a:lnTo>
                    <a:pt x="2422183" y="199530"/>
                  </a:lnTo>
                  <a:lnTo>
                    <a:pt x="2422183" y="200228"/>
                  </a:lnTo>
                  <a:lnTo>
                    <a:pt x="2422183" y="198831"/>
                  </a:lnTo>
                  <a:lnTo>
                    <a:pt x="2422183" y="199530"/>
                  </a:lnTo>
                  <a:lnTo>
                    <a:pt x="2422183" y="198831"/>
                  </a:lnTo>
                  <a:lnTo>
                    <a:pt x="2422183" y="199530"/>
                  </a:lnTo>
                  <a:lnTo>
                    <a:pt x="2422183" y="196799"/>
                  </a:lnTo>
                  <a:lnTo>
                    <a:pt x="2422284" y="196799"/>
                  </a:lnTo>
                  <a:lnTo>
                    <a:pt x="2422284" y="200228"/>
                  </a:lnTo>
                  <a:lnTo>
                    <a:pt x="2422284" y="196799"/>
                  </a:lnTo>
                  <a:lnTo>
                    <a:pt x="2422284" y="198831"/>
                  </a:lnTo>
                  <a:lnTo>
                    <a:pt x="2422335" y="199530"/>
                  </a:lnTo>
                  <a:lnTo>
                    <a:pt x="2422335" y="200228"/>
                  </a:lnTo>
                  <a:lnTo>
                    <a:pt x="2422335" y="198831"/>
                  </a:lnTo>
                  <a:lnTo>
                    <a:pt x="2422335" y="199530"/>
                  </a:lnTo>
                  <a:lnTo>
                    <a:pt x="2422386" y="199530"/>
                  </a:lnTo>
                  <a:lnTo>
                    <a:pt x="2422386" y="200228"/>
                  </a:lnTo>
                  <a:lnTo>
                    <a:pt x="2422386" y="199530"/>
                  </a:lnTo>
                  <a:lnTo>
                    <a:pt x="2422386" y="200876"/>
                  </a:lnTo>
                  <a:lnTo>
                    <a:pt x="2422487" y="200228"/>
                  </a:lnTo>
                  <a:lnTo>
                    <a:pt x="2422487" y="200876"/>
                  </a:lnTo>
                  <a:lnTo>
                    <a:pt x="2422487" y="200228"/>
                  </a:lnTo>
                  <a:lnTo>
                    <a:pt x="2422487" y="200876"/>
                  </a:lnTo>
                  <a:lnTo>
                    <a:pt x="2422487" y="200228"/>
                  </a:lnTo>
                  <a:lnTo>
                    <a:pt x="2422487" y="200876"/>
                  </a:lnTo>
                  <a:lnTo>
                    <a:pt x="2422487" y="200228"/>
                  </a:lnTo>
                  <a:lnTo>
                    <a:pt x="2422487" y="200876"/>
                  </a:lnTo>
                  <a:lnTo>
                    <a:pt x="2422525" y="200876"/>
                  </a:lnTo>
                  <a:lnTo>
                    <a:pt x="2422525" y="200228"/>
                  </a:lnTo>
                  <a:lnTo>
                    <a:pt x="2422525" y="200876"/>
                  </a:lnTo>
                  <a:lnTo>
                    <a:pt x="2422525" y="200228"/>
                  </a:lnTo>
                  <a:lnTo>
                    <a:pt x="2422525" y="200876"/>
                  </a:lnTo>
                  <a:lnTo>
                    <a:pt x="2422576" y="200876"/>
                  </a:lnTo>
                  <a:lnTo>
                    <a:pt x="2422576" y="200228"/>
                  </a:lnTo>
                  <a:lnTo>
                    <a:pt x="2422576" y="200876"/>
                  </a:lnTo>
                  <a:lnTo>
                    <a:pt x="2422576" y="200228"/>
                  </a:lnTo>
                  <a:lnTo>
                    <a:pt x="2422576" y="200876"/>
                  </a:lnTo>
                  <a:lnTo>
                    <a:pt x="2422576" y="200228"/>
                  </a:lnTo>
                  <a:lnTo>
                    <a:pt x="2422576" y="200876"/>
                  </a:lnTo>
                  <a:lnTo>
                    <a:pt x="2422576" y="200228"/>
                  </a:lnTo>
                  <a:lnTo>
                    <a:pt x="2422627" y="200228"/>
                  </a:lnTo>
                  <a:lnTo>
                    <a:pt x="2422627" y="199530"/>
                  </a:lnTo>
                  <a:lnTo>
                    <a:pt x="2422627" y="200228"/>
                  </a:lnTo>
                  <a:lnTo>
                    <a:pt x="2422627" y="199530"/>
                  </a:lnTo>
                  <a:lnTo>
                    <a:pt x="2422729" y="199530"/>
                  </a:lnTo>
                  <a:lnTo>
                    <a:pt x="2422729" y="196799"/>
                  </a:lnTo>
                  <a:lnTo>
                    <a:pt x="2422780" y="197447"/>
                  </a:lnTo>
                  <a:lnTo>
                    <a:pt x="2422780" y="199530"/>
                  </a:lnTo>
                  <a:lnTo>
                    <a:pt x="2422780" y="196799"/>
                  </a:lnTo>
                  <a:lnTo>
                    <a:pt x="2422780" y="199530"/>
                  </a:lnTo>
                  <a:lnTo>
                    <a:pt x="2422830" y="199530"/>
                  </a:lnTo>
                  <a:lnTo>
                    <a:pt x="2422830" y="200228"/>
                  </a:lnTo>
                  <a:lnTo>
                    <a:pt x="2422830" y="197447"/>
                  </a:lnTo>
                  <a:lnTo>
                    <a:pt x="2422830" y="200228"/>
                  </a:lnTo>
                  <a:lnTo>
                    <a:pt x="2422932" y="200228"/>
                  </a:lnTo>
                  <a:lnTo>
                    <a:pt x="2422932" y="199530"/>
                  </a:lnTo>
                  <a:lnTo>
                    <a:pt x="2422932" y="200228"/>
                  </a:lnTo>
                  <a:lnTo>
                    <a:pt x="2422932" y="199530"/>
                  </a:lnTo>
                  <a:lnTo>
                    <a:pt x="2422932" y="200228"/>
                  </a:lnTo>
                  <a:lnTo>
                    <a:pt x="2422932" y="199530"/>
                  </a:lnTo>
                  <a:lnTo>
                    <a:pt x="2422932" y="200876"/>
                  </a:lnTo>
                  <a:lnTo>
                    <a:pt x="2422932" y="200228"/>
                  </a:lnTo>
                  <a:lnTo>
                    <a:pt x="2422983" y="200228"/>
                  </a:lnTo>
                  <a:lnTo>
                    <a:pt x="2422983" y="200876"/>
                  </a:lnTo>
                  <a:lnTo>
                    <a:pt x="2422983" y="200228"/>
                  </a:lnTo>
                  <a:lnTo>
                    <a:pt x="2422983" y="200876"/>
                  </a:lnTo>
                  <a:lnTo>
                    <a:pt x="2423034" y="200228"/>
                  </a:lnTo>
                  <a:lnTo>
                    <a:pt x="2423034" y="200876"/>
                  </a:lnTo>
                  <a:lnTo>
                    <a:pt x="2423034" y="200228"/>
                  </a:lnTo>
                  <a:lnTo>
                    <a:pt x="2423034" y="200876"/>
                  </a:lnTo>
                  <a:lnTo>
                    <a:pt x="2423034" y="200228"/>
                  </a:lnTo>
                  <a:lnTo>
                    <a:pt x="2423072" y="200876"/>
                  </a:lnTo>
                  <a:lnTo>
                    <a:pt x="2423072" y="200228"/>
                  </a:lnTo>
                  <a:lnTo>
                    <a:pt x="2423072" y="200876"/>
                  </a:lnTo>
                  <a:lnTo>
                    <a:pt x="2423072" y="200228"/>
                  </a:lnTo>
                  <a:lnTo>
                    <a:pt x="2423072" y="200876"/>
                  </a:lnTo>
                  <a:lnTo>
                    <a:pt x="2423072" y="200228"/>
                  </a:lnTo>
                  <a:lnTo>
                    <a:pt x="2423173" y="200228"/>
                  </a:lnTo>
                  <a:lnTo>
                    <a:pt x="2423173" y="199530"/>
                  </a:lnTo>
                  <a:lnTo>
                    <a:pt x="2423224" y="199530"/>
                  </a:lnTo>
                  <a:lnTo>
                    <a:pt x="2423224" y="197447"/>
                  </a:lnTo>
                  <a:lnTo>
                    <a:pt x="2423224" y="198831"/>
                  </a:lnTo>
                  <a:lnTo>
                    <a:pt x="2423275" y="197447"/>
                  </a:lnTo>
                  <a:lnTo>
                    <a:pt x="2423275" y="196113"/>
                  </a:lnTo>
                  <a:lnTo>
                    <a:pt x="2423275" y="200228"/>
                  </a:lnTo>
                  <a:lnTo>
                    <a:pt x="2423275" y="199530"/>
                  </a:lnTo>
                  <a:lnTo>
                    <a:pt x="2423376" y="198831"/>
                  </a:lnTo>
                  <a:lnTo>
                    <a:pt x="2423376" y="197447"/>
                  </a:lnTo>
                  <a:lnTo>
                    <a:pt x="2423376" y="200228"/>
                  </a:lnTo>
                  <a:lnTo>
                    <a:pt x="2423376" y="198831"/>
                  </a:lnTo>
                  <a:lnTo>
                    <a:pt x="2423427" y="198831"/>
                  </a:lnTo>
                  <a:lnTo>
                    <a:pt x="2423427" y="199530"/>
                  </a:lnTo>
                  <a:lnTo>
                    <a:pt x="2423427" y="198831"/>
                  </a:lnTo>
                  <a:lnTo>
                    <a:pt x="2423427" y="200228"/>
                  </a:lnTo>
                  <a:lnTo>
                    <a:pt x="2423427" y="199530"/>
                  </a:lnTo>
                  <a:lnTo>
                    <a:pt x="2423478" y="199530"/>
                  </a:lnTo>
                  <a:lnTo>
                    <a:pt x="2423478" y="200228"/>
                  </a:lnTo>
                  <a:lnTo>
                    <a:pt x="2423478" y="199530"/>
                  </a:lnTo>
                  <a:lnTo>
                    <a:pt x="2423478" y="200228"/>
                  </a:lnTo>
                  <a:lnTo>
                    <a:pt x="2423478" y="199530"/>
                  </a:lnTo>
                  <a:lnTo>
                    <a:pt x="2423529" y="199530"/>
                  </a:lnTo>
                  <a:lnTo>
                    <a:pt x="2423529" y="200228"/>
                  </a:lnTo>
                  <a:lnTo>
                    <a:pt x="2423529" y="199530"/>
                  </a:lnTo>
                  <a:lnTo>
                    <a:pt x="2423529" y="200228"/>
                  </a:lnTo>
                  <a:lnTo>
                    <a:pt x="2423529" y="199530"/>
                  </a:lnTo>
                  <a:lnTo>
                    <a:pt x="2423529" y="200228"/>
                  </a:lnTo>
                  <a:lnTo>
                    <a:pt x="2423529" y="199530"/>
                  </a:lnTo>
                  <a:lnTo>
                    <a:pt x="2423618" y="199530"/>
                  </a:lnTo>
                  <a:lnTo>
                    <a:pt x="2423618" y="200228"/>
                  </a:lnTo>
                  <a:lnTo>
                    <a:pt x="2423618" y="199530"/>
                  </a:lnTo>
                  <a:lnTo>
                    <a:pt x="2423618" y="200228"/>
                  </a:lnTo>
                  <a:lnTo>
                    <a:pt x="2423618" y="199530"/>
                  </a:lnTo>
                  <a:lnTo>
                    <a:pt x="2423669" y="199530"/>
                  </a:lnTo>
                  <a:lnTo>
                    <a:pt x="2423669" y="198831"/>
                  </a:lnTo>
                  <a:lnTo>
                    <a:pt x="2423669" y="199530"/>
                  </a:lnTo>
                  <a:lnTo>
                    <a:pt x="2423669" y="198831"/>
                  </a:lnTo>
                  <a:lnTo>
                    <a:pt x="2423719" y="197447"/>
                  </a:lnTo>
                  <a:lnTo>
                    <a:pt x="2423719" y="200228"/>
                  </a:lnTo>
                  <a:lnTo>
                    <a:pt x="2423719" y="196799"/>
                  </a:lnTo>
                  <a:lnTo>
                    <a:pt x="2423770" y="196799"/>
                  </a:lnTo>
                  <a:lnTo>
                    <a:pt x="2423770" y="200228"/>
                  </a:lnTo>
                  <a:lnTo>
                    <a:pt x="2423770" y="198831"/>
                  </a:lnTo>
                  <a:lnTo>
                    <a:pt x="2423770" y="199530"/>
                  </a:lnTo>
                  <a:lnTo>
                    <a:pt x="2423872" y="199530"/>
                  </a:lnTo>
                  <a:lnTo>
                    <a:pt x="2423872" y="200876"/>
                  </a:lnTo>
                  <a:lnTo>
                    <a:pt x="2423872" y="200228"/>
                  </a:lnTo>
                  <a:lnTo>
                    <a:pt x="2423872" y="200876"/>
                  </a:lnTo>
                  <a:lnTo>
                    <a:pt x="2423872" y="199530"/>
                  </a:lnTo>
                  <a:lnTo>
                    <a:pt x="2423922" y="200228"/>
                  </a:lnTo>
                  <a:lnTo>
                    <a:pt x="2423922" y="200876"/>
                  </a:lnTo>
                  <a:lnTo>
                    <a:pt x="2423922" y="200228"/>
                  </a:lnTo>
                  <a:lnTo>
                    <a:pt x="2423973" y="200228"/>
                  </a:lnTo>
                  <a:lnTo>
                    <a:pt x="2423973" y="200876"/>
                  </a:lnTo>
                  <a:lnTo>
                    <a:pt x="2423973" y="200228"/>
                  </a:lnTo>
                  <a:lnTo>
                    <a:pt x="2424075" y="200228"/>
                  </a:lnTo>
                  <a:lnTo>
                    <a:pt x="2424075" y="199530"/>
                  </a:lnTo>
                  <a:lnTo>
                    <a:pt x="2424075" y="200876"/>
                  </a:lnTo>
                  <a:lnTo>
                    <a:pt x="2424075" y="200228"/>
                  </a:lnTo>
                  <a:lnTo>
                    <a:pt x="2424075" y="200876"/>
                  </a:lnTo>
                  <a:lnTo>
                    <a:pt x="2424113" y="200876"/>
                  </a:lnTo>
                  <a:lnTo>
                    <a:pt x="2424113" y="199530"/>
                  </a:lnTo>
                  <a:lnTo>
                    <a:pt x="2424164" y="199530"/>
                  </a:lnTo>
                  <a:lnTo>
                    <a:pt x="2424164" y="198831"/>
                  </a:lnTo>
                  <a:lnTo>
                    <a:pt x="2424164" y="199530"/>
                  </a:lnTo>
                  <a:lnTo>
                    <a:pt x="2424164" y="197447"/>
                  </a:lnTo>
                  <a:lnTo>
                    <a:pt x="2424164" y="198831"/>
                  </a:lnTo>
                  <a:lnTo>
                    <a:pt x="2424164" y="197447"/>
                  </a:lnTo>
                  <a:lnTo>
                    <a:pt x="2424215" y="197447"/>
                  </a:lnTo>
                  <a:lnTo>
                    <a:pt x="2424215" y="199530"/>
                  </a:lnTo>
                  <a:lnTo>
                    <a:pt x="2424215" y="197447"/>
                  </a:lnTo>
                  <a:lnTo>
                    <a:pt x="2424215" y="198831"/>
                  </a:lnTo>
                  <a:lnTo>
                    <a:pt x="2424316" y="199530"/>
                  </a:lnTo>
                  <a:lnTo>
                    <a:pt x="2424316" y="200228"/>
                  </a:lnTo>
                  <a:lnTo>
                    <a:pt x="2424316" y="199530"/>
                  </a:lnTo>
                  <a:lnTo>
                    <a:pt x="2424316" y="200228"/>
                  </a:lnTo>
                  <a:lnTo>
                    <a:pt x="2424316" y="199530"/>
                  </a:lnTo>
                  <a:lnTo>
                    <a:pt x="2424316" y="200876"/>
                  </a:lnTo>
                  <a:lnTo>
                    <a:pt x="2424367" y="200876"/>
                  </a:lnTo>
                  <a:lnTo>
                    <a:pt x="2424367" y="200228"/>
                  </a:lnTo>
                  <a:lnTo>
                    <a:pt x="2424367" y="200876"/>
                  </a:lnTo>
                  <a:lnTo>
                    <a:pt x="2424367" y="199530"/>
                  </a:lnTo>
                  <a:lnTo>
                    <a:pt x="2424367" y="200876"/>
                  </a:lnTo>
                  <a:lnTo>
                    <a:pt x="2424367" y="200228"/>
                  </a:lnTo>
                  <a:lnTo>
                    <a:pt x="2424367" y="200876"/>
                  </a:lnTo>
                  <a:lnTo>
                    <a:pt x="2424418" y="200876"/>
                  </a:lnTo>
                  <a:lnTo>
                    <a:pt x="2424418" y="200228"/>
                  </a:lnTo>
                  <a:lnTo>
                    <a:pt x="2424418" y="200876"/>
                  </a:lnTo>
                  <a:lnTo>
                    <a:pt x="2424418" y="200228"/>
                  </a:lnTo>
                  <a:lnTo>
                    <a:pt x="2424519" y="200876"/>
                  </a:lnTo>
                  <a:lnTo>
                    <a:pt x="2424519" y="200228"/>
                  </a:lnTo>
                  <a:lnTo>
                    <a:pt x="2424519" y="200876"/>
                  </a:lnTo>
                  <a:lnTo>
                    <a:pt x="2424519" y="200228"/>
                  </a:lnTo>
                  <a:lnTo>
                    <a:pt x="2424519" y="200876"/>
                  </a:lnTo>
                  <a:lnTo>
                    <a:pt x="2424519" y="200228"/>
                  </a:lnTo>
                  <a:lnTo>
                    <a:pt x="2424570" y="200228"/>
                  </a:lnTo>
                  <a:lnTo>
                    <a:pt x="2424570" y="200876"/>
                  </a:lnTo>
                  <a:lnTo>
                    <a:pt x="2424570" y="200228"/>
                  </a:lnTo>
                  <a:lnTo>
                    <a:pt x="2424621" y="200876"/>
                  </a:lnTo>
                  <a:lnTo>
                    <a:pt x="2424621" y="198831"/>
                  </a:lnTo>
                  <a:lnTo>
                    <a:pt x="2424659" y="198831"/>
                  </a:lnTo>
                  <a:lnTo>
                    <a:pt x="2424659" y="196113"/>
                  </a:lnTo>
                  <a:lnTo>
                    <a:pt x="2424659" y="196799"/>
                  </a:lnTo>
                  <a:lnTo>
                    <a:pt x="2424761" y="197447"/>
                  </a:lnTo>
                  <a:lnTo>
                    <a:pt x="2424761" y="196799"/>
                  </a:lnTo>
                  <a:lnTo>
                    <a:pt x="2424761" y="199530"/>
                  </a:lnTo>
                  <a:lnTo>
                    <a:pt x="2424812" y="199530"/>
                  </a:lnTo>
                  <a:lnTo>
                    <a:pt x="2424812" y="198831"/>
                  </a:lnTo>
                  <a:lnTo>
                    <a:pt x="2424812" y="199530"/>
                  </a:lnTo>
                  <a:lnTo>
                    <a:pt x="2424812" y="198831"/>
                  </a:lnTo>
                  <a:lnTo>
                    <a:pt x="2424812" y="199530"/>
                  </a:lnTo>
                  <a:lnTo>
                    <a:pt x="2424812" y="198831"/>
                  </a:lnTo>
                  <a:lnTo>
                    <a:pt x="2424812" y="200228"/>
                  </a:lnTo>
                  <a:lnTo>
                    <a:pt x="2424862" y="200228"/>
                  </a:lnTo>
                  <a:lnTo>
                    <a:pt x="2424862" y="199530"/>
                  </a:lnTo>
                  <a:lnTo>
                    <a:pt x="2424862" y="200228"/>
                  </a:lnTo>
                  <a:lnTo>
                    <a:pt x="2424862" y="199530"/>
                  </a:lnTo>
                  <a:lnTo>
                    <a:pt x="2424862" y="200228"/>
                  </a:lnTo>
                  <a:lnTo>
                    <a:pt x="2424964" y="200228"/>
                  </a:lnTo>
                  <a:lnTo>
                    <a:pt x="2424964" y="198831"/>
                  </a:lnTo>
                  <a:lnTo>
                    <a:pt x="2424964" y="200228"/>
                  </a:lnTo>
                  <a:lnTo>
                    <a:pt x="2424964" y="199530"/>
                  </a:lnTo>
                  <a:lnTo>
                    <a:pt x="2425015" y="199530"/>
                  </a:lnTo>
                  <a:lnTo>
                    <a:pt x="2425015" y="198831"/>
                  </a:lnTo>
                  <a:lnTo>
                    <a:pt x="2425015" y="200876"/>
                  </a:lnTo>
                  <a:lnTo>
                    <a:pt x="2425015" y="200228"/>
                  </a:lnTo>
                  <a:lnTo>
                    <a:pt x="2425065" y="200228"/>
                  </a:lnTo>
                  <a:lnTo>
                    <a:pt x="2425065" y="200876"/>
                  </a:lnTo>
                  <a:lnTo>
                    <a:pt x="2425065" y="200228"/>
                  </a:lnTo>
                  <a:lnTo>
                    <a:pt x="2425116" y="200228"/>
                  </a:lnTo>
                  <a:lnTo>
                    <a:pt x="2425116" y="200876"/>
                  </a:lnTo>
                  <a:lnTo>
                    <a:pt x="2425116" y="200228"/>
                  </a:lnTo>
                  <a:lnTo>
                    <a:pt x="2425116" y="200876"/>
                  </a:lnTo>
                  <a:lnTo>
                    <a:pt x="2425116" y="197447"/>
                  </a:lnTo>
                  <a:lnTo>
                    <a:pt x="2425205" y="197447"/>
                  </a:lnTo>
                  <a:lnTo>
                    <a:pt x="2425205" y="196799"/>
                  </a:lnTo>
                  <a:lnTo>
                    <a:pt x="2425205" y="197447"/>
                  </a:lnTo>
                  <a:lnTo>
                    <a:pt x="2425256" y="197447"/>
                  </a:lnTo>
                  <a:lnTo>
                    <a:pt x="2425256" y="196799"/>
                  </a:lnTo>
                  <a:lnTo>
                    <a:pt x="2425256" y="199530"/>
                  </a:lnTo>
                  <a:lnTo>
                    <a:pt x="2425307" y="199530"/>
                  </a:lnTo>
                  <a:lnTo>
                    <a:pt x="2425307" y="197447"/>
                  </a:lnTo>
                  <a:lnTo>
                    <a:pt x="2425307" y="200228"/>
                  </a:lnTo>
                  <a:lnTo>
                    <a:pt x="2425307" y="199530"/>
                  </a:lnTo>
                  <a:lnTo>
                    <a:pt x="2425358" y="199530"/>
                  </a:lnTo>
                  <a:lnTo>
                    <a:pt x="2425358" y="198831"/>
                  </a:lnTo>
                  <a:lnTo>
                    <a:pt x="2425358" y="200228"/>
                  </a:lnTo>
                  <a:lnTo>
                    <a:pt x="2425358" y="199530"/>
                  </a:lnTo>
                  <a:lnTo>
                    <a:pt x="2425459" y="199530"/>
                  </a:lnTo>
                  <a:lnTo>
                    <a:pt x="2425459" y="198831"/>
                  </a:lnTo>
                  <a:lnTo>
                    <a:pt x="2425459" y="200228"/>
                  </a:lnTo>
                  <a:lnTo>
                    <a:pt x="2425459" y="199530"/>
                  </a:lnTo>
                  <a:lnTo>
                    <a:pt x="2425459" y="200228"/>
                  </a:lnTo>
                  <a:lnTo>
                    <a:pt x="2425510" y="200228"/>
                  </a:lnTo>
                  <a:lnTo>
                    <a:pt x="2425510" y="199530"/>
                  </a:lnTo>
                  <a:lnTo>
                    <a:pt x="2425510" y="200228"/>
                  </a:lnTo>
                  <a:lnTo>
                    <a:pt x="2425510" y="199530"/>
                  </a:lnTo>
                  <a:lnTo>
                    <a:pt x="2425510" y="200228"/>
                  </a:lnTo>
                  <a:lnTo>
                    <a:pt x="2425561" y="200228"/>
                  </a:lnTo>
                  <a:lnTo>
                    <a:pt x="2425561" y="200876"/>
                  </a:lnTo>
                  <a:lnTo>
                    <a:pt x="2425561" y="200228"/>
                  </a:lnTo>
                  <a:lnTo>
                    <a:pt x="2425662" y="200228"/>
                  </a:lnTo>
                  <a:lnTo>
                    <a:pt x="2425662" y="198831"/>
                  </a:lnTo>
                  <a:lnTo>
                    <a:pt x="2425662" y="199530"/>
                  </a:lnTo>
                  <a:lnTo>
                    <a:pt x="2425662" y="197447"/>
                  </a:lnTo>
                  <a:lnTo>
                    <a:pt x="2425662" y="198831"/>
                  </a:lnTo>
                  <a:lnTo>
                    <a:pt x="2425662" y="197447"/>
                  </a:lnTo>
                  <a:lnTo>
                    <a:pt x="2425700" y="197447"/>
                  </a:lnTo>
                  <a:lnTo>
                    <a:pt x="2425700" y="195415"/>
                  </a:lnTo>
                  <a:lnTo>
                    <a:pt x="2425700" y="196113"/>
                  </a:lnTo>
                  <a:lnTo>
                    <a:pt x="2425751" y="196799"/>
                  </a:lnTo>
                  <a:lnTo>
                    <a:pt x="2425751" y="197447"/>
                  </a:lnTo>
                  <a:lnTo>
                    <a:pt x="2425751" y="196113"/>
                  </a:lnTo>
                  <a:lnTo>
                    <a:pt x="2425751" y="198831"/>
                  </a:lnTo>
                  <a:lnTo>
                    <a:pt x="2425802" y="198831"/>
                  </a:lnTo>
                  <a:lnTo>
                    <a:pt x="2425802" y="197447"/>
                  </a:lnTo>
                  <a:lnTo>
                    <a:pt x="2425802" y="199530"/>
                  </a:lnTo>
                  <a:lnTo>
                    <a:pt x="2425802" y="198831"/>
                  </a:lnTo>
                  <a:lnTo>
                    <a:pt x="2425904" y="198831"/>
                  </a:lnTo>
                  <a:lnTo>
                    <a:pt x="2425904" y="199530"/>
                  </a:lnTo>
                  <a:lnTo>
                    <a:pt x="2425904" y="197447"/>
                  </a:lnTo>
                  <a:lnTo>
                    <a:pt x="2425904" y="199530"/>
                  </a:lnTo>
                  <a:lnTo>
                    <a:pt x="2425955" y="199530"/>
                  </a:lnTo>
                  <a:lnTo>
                    <a:pt x="2425955" y="198831"/>
                  </a:lnTo>
                  <a:lnTo>
                    <a:pt x="2425955" y="199530"/>
                  </a:lnTo>
                  <a:lnTo>
                    <a:pt x="2425955" y="198831"/>
                  </a:lnTo>
                  <a:lnTo>
                    <a:pt x="2425955" y="199530"/>
                  </a:lnTo>
                  <a:lnTo>
                    <a:pt x="2426005" y="199530"/>
                  </a:lnTo>
                  <a:lnTo>
                    <a:pt x="2426005" y="200228"/>
                  </a:lnTo>
                  <a:lnTo>
                    <a:pt x="2426005" y="199530"/>
                  </a:lnTo>
                  <a:lnTo>
                    <a:pt x="2426005" y="200228"/>
                  </a:lnTo>
                  <a:lnTo>
                    <a:pt x="2426005" y="199530"/>
                  </a:lnTo>
                  <a:lnTo>
                    <a:pt x="2426005" y="200876"/>
                  </a:lnTo>
                  <a:lnTo>
                    <a:pt x="2426005" y="200228"/>
                  </a:lnTo>
                  <a:lnTo>
                    <a:pt x="2426107" y="200876"/>
                  </a:lnTo>
                  <a:lnTo>
                    <a:pt x="2426107" y="200228"/>
                  </a:lnTo>
                  <a:lnTo>
                    <a:pt x="2426107" y="200876"/>
                  </a:lnTo>
                  <a:lnTo>
                    <a:pt x="2426107" y="200228"/>
                  </a:lnTo>
                  <a:lnTo>
                    <a:pt x="2426107" y="200876"/>
                  </a:lnTo>
                  <a:lnTo>
                    <a:pt x="2426107" y="200228"/>
                  </a:lnTo>
                  <a:lnTo>
                    <a:pt x="2426107" y="200876"/>
                  </a:lnTo>
                  <a:lnTo>
                    <a:pt x="2426158" y="200228"/>
                  </a:lnTo>
                  <a:lnTo>
                    <a:pt x="2426158" y="200876"/>
                  </a:lnTo>
                  <a:lnTo>
                    <a:pt x="2426158" y="198831"/>
                  </a:lnTo>
                  <a:lnTo>
                    <a:pt x="2426209" y="197447"/>
                  </a:lnTo>
                  <a:lnTo>
                    <a:pt x="2426209" y="196799"/>
                  </a:lnTo>
                  <a:lnTo>
                    <a:pt x="2426209" y="199530"/>
                  </a:lnTo>
                  <a:lnTo>
                    <a:pt x="2426209" y="197447"/>
                  </a:lnTo>
                  <a:lnTo>
                    <a:pt x="2426247" y="197447"/>
                  </a:lnTo>
                  <a:lnTo>
                    <a:pt x="2426247" y="196113"/>
                  </a:lnTo>
                  <a:lnTo>
                    <a:pt x="2426247" y="200228"/>
                  </a:lnTo>
                  <a:lnTo>
                    <a:pt x="2426247" y="198831"/>
                  </a:lnTo>
                  <a:lnTo>
                    <a:pt x="2426348" y="197447"/>
                  </a:lnTo>
                  <a:lnTo>
                    <a:pt x="2426348" y="199530"/>
                  </a:lnTo>
                  <a:lnTo>
                    <a:pt x="2426348" y="198831"/>
                  </a:lnTo>
                  <a:lnTo>
                    <a:pt x="2426399" y="198831"/>
                  </a:lnTo>
                  <a:lnTo>
                    <a:pt x="2426399" y="199530"/>
                  </a:lnTo>
                  <a:lnTo>
                    <a:pt x="2426399" y="197447"/>
                  </a:lnTo>
                  <a:lnTo>
                    <a:pt x="2426399" y="198831"/>
                  </a:lnTo>
                  <a:lnTo>
                    <a:pt x="2426450" y="198831"/>
                  </a:lnTo>
                  <a:lnTo>
                    <a:pt x="2426450" y="199530"/>
                  </a:lnTo>
                  <a:lnTo>
                    <a:pt x="2426450" y="198831"/>
                  </a:lnTo>
                  <a:lnTo>
                    <a:pt x="2426450" y="200228"/>
                  </a:lnTo>
                  <a:lnTo>
                    <a:pt x="2426551" y="200228"/>
                  </a:lnTo>
                  <a:lnTo>
                    <a:pt x="2426551" y="199530"/>
                  </a:lnTo>
                  <a:lnTo>
                    <a:pt x="2426551" y="200228"/>
                  </a:lnTo>
                  <a:lnTo>
                    <a:pt x="2426551" y="199530"/>
                  </a:lnTo>
                  <a:lnTo>
                    <a:pt x="2426551" y="200228"/>
                  </a:lnTo>
                  <a:lnTo>
                    <a:pt x="2426551" y="199530"/>
                  </a:lnTo>
                  <a:lnTo>
                    <a:pt x="2426602" y="200228"/>
                  </a:lnTo>
                  <a:lnTo>
                    <a:pt x="2426602" y="199530"/>
                  </a:lnTo>
                  <a:lnTo>
                    <a:pt x="2426602" y="200228"/>
                  </a:lnTo>
                  <a:lnTo>
                    <a:pt x="2426602" y="199530"/>
                  </a:lnTo>
                  <a:lnTo>
                    <a:pt x="2426602" y="200228"/>
                  </a:lnTo>
                  <a:lnTo>
                    <a:pt x="2426602" y="199530"/>
                  </a:lnTo>
                  <a:lnTo>
                    <a:pt x="2426602" y="200228"/>
                  </a:lnTo>
                  <a:lnTo>
                    <a:pt x="2426602" y="198831"/>
                  </a:lnTo>
                  <a:lnTo>
                    <a:pt x="2426653" y="198831"/>
                  </a:lnTo>
                  <a:lnTo>
                    <a:pt x="2426653" y="196799"/>
                  </a:lnTo>
                  <a:lnTo>
                    <a:pt x="2426704" y="196799"/>
                  </a:lnTo>
                  <a:lnTo>
                    <a:pt x="2426704" y="199530"/>
                  </a:lnTo>
                  <a:lnTo>
                    <a:pt x="2426704" y="197447"/>
                  </a:lnTo>
                  <a:lnTo>
                    <a:pt x="2426793" y="197447"/>
                  </a:lnTo>
                  <a:lnTo>
                    <a:pt x="2426793" y="200876"/>
                  </a:lnTo>
                  <a:lnTo>
                    <a:pt x="2426793" y="198831"/>
                  </a:lnTo>
                  <a:lnTo>
                    <a:pt x="2426844" y="198831"/>
                  </a:lnTo>
                  <a:lnTo>
                    <a:pt x="2426844" y="200876"/>
                  </a:lnTo>
                  <a:lnTo>
                    <a:pt x="2426844" y="199530"/>
                  </a:lnTo>
                  <a:lnTo>
                    <a:pt x="2426844" y="200228"/>
                  </a:lnTo>
                  <a:lnTo>
                    <a:pt x="2426844" y="199530"/>
                  </a:lnTo>
                  <a:lnTo>
                    <a:pt x="2426894" y="199530"/>
                  </a:lnTo>
                  <a:lnTo>
                    <a:pt x="2426894" y="200228"/>
                  </a:lnTo>
                  <a:lnTo>
                    <a:pt x="2426894" y="199530"/>
                  </a:lnTo>
                  <a:lnTo>
                    <a:pt x="2426894" y="200228"/>
                  </a:lnTo>
                  <a:lnTo>
                    <a:pt x="2426894" y="199530"/>
                  </a:lnTo>
                  <a:lnTo>
                    <a:pt x="2426894" y="200228"/>
                  </a:lnTo>
                  <a:lnTo>
                    <a:pt x="2426894" y="199530"/>
                  </a:lnTo>
                  <a:lnTo>
                    <a:pt x="2426894" y="200228"/>
                  </a:lnTo>
                  <a:lnTo>
                    <a:pt x="2426945" y="200228"/>
                  </a:lnTo>
                  <a:lnTo>
                    <a:pt x="2426945" y="200876"/>
                  </a:lnTo>
                  <a:lnTo>
                    <a:pt x="2426945" y="200228"/>
                  </a:lnTo>
                  <a:lnTo>
                    <a:pt x="2426945" y="200876"/>
                  </a:lnTo>
                  <a:lnTo>
                    <a:pt x="2427047" y="200876"/>
                  </a:lnTo>
                  <a:lnTo>
                    <a:pt x="2427047" y="200228"/>
                  </a:lnTo>
                  <a:lnTo>
                    <a:pt x="2427047" y="200876"/>
                  </a:lnTo>
                  <a:lnTo>
                    <a:pt x="2427047" y="200228"/>
                  </a:lnTo>
                  <a:lnTo>
                    <a:pt x="2427097" y="200228"/>
                  </a:lnTo>
                  <a:lnTo>
                    <a:pt x="2427097" y="199530"/>
                  </a:lnTo>
                  <a:lnTo>
                    <a:pt x="2427097" y="200228"/>
                  </a:lnTo>
                  <a:lnTo>
                    <a:pt x="2427097" y="199530"/>
                  </a:lnTo>
                  <a:lnTo>
                    <a:pt x="2427097" y="200228"/>
                  </a:lnTo>
                  <a:lnTo>
                    <a:pt x="2427097" y="198831"/>
                  </a:lnTo>
                  <a:lnTo>
                    <a:pt x="2427148" y="199530"/>
                  </a:lnTo>
                  <a:lnTo>
                    <a:pt x="2427148" y="196799"/>
                  </a:lnTo>
                  <a:lnTo>
                    <a:pt x="2427148" y="197447"/>
                  </a:lnTo>
                  <a:lnTo>
                    <a:pt x="2427148" y="196799"/>
                  </a:lnTo>
                  <a:lnTo>
                    <a:pt x="2427148" y="197447"/>
                  </a:lnTo>
                  <a:lnTo>
                    <a:pt x="2427250" y="197447"/>
                  </a:lnTo>
                  <a:lnTo>
                    <a:pt x="2427250" y="200228"/>
                  </a:lnTo>
                  <a:lnTo>
                    <a:pt x="2427250" y="197447"/>
                  </a:lnTo>
                  <a:lnTo>
                    <a:pt x="2427250" y="200876"/>
                  </a:lnTo>
                  <a:lnTo>
                    <a:pt x="2427288" y="200876"/>
                  </a:lnTo>
                  <a:lnTo>
                    <a:pt x="2427288" y="202260"/>
                  </a:lnTo>
                  <a:lnTo>
                    <a:pt x="2427288" y="199530"/>
                  </a:lnTo>
                  <a:lnTo>
                    <a:pt x="2427288" y="202260"/>
                  </a:lnTo>
                  <a:lnTo>
                    <a:pt x="2427339" y="202260"/>
                  </a:lnTo>
                  <a:lnTo>
                    <a:pt x="2427339" y="200228"/>
                  </a:lnTo>
                  <a:lnTo>
                    <a:pt x="2427339" y="200876"/>
                  </a:lnTo>
                  <a:lnTo>
                    <a:pt x="2427390" y="200876"/>
                  </a:lnTo>
                  <a:lnTo>
                    <a:pt x="2427390" y="200228"/>
                  </a:lnTo>
                  <a:lnTo>
                    <a:pt x="2427390" y="200876"/>
                  </a:lnTo>
                  <a:lnTo>
                    <a:pt x="2427390" y="200228"/>
                  </a:lnTo>
                  <a:lnTo>
                    <a:pt x="2427390" y="200876"/>
                  </a:lnTo>
                  <a:lnTo>
                    <a:pt x="2427491" y="200876"/>
                  </a:lnTo>
                  <a:lnTo>
                    <a:pt x="2427491" y="202260"/>
                  </a:lnTo>
                  <a:lnTo>
                    <a:pt x="2427491" y="200876"/>
                  </a:lnTo>
                  <a:lnTo>
                    <a:pt x="2427542" y="200228"/>
                  </a:lnTo>
                  <a:lnTo>
                    <a:pt x="2427542" y="200876"/>
                  </a:lnTo>
                  <a:lnTo>
                    <a:pt x="2427542" y="199530"/>
                  </a:lnTo>
                  <a:lnTo>
                    <a:pt x="2427593" y="199530"/>
                  </a:lnTo>
                  <a:lnTo>
                    <a:pt x="2427593" y="200228"/>
                  </a:lnTo>
                  <a:lnTo>
                    <a:pt x="2427593" y="199530"/>
                  </a:lnTo>
                  <a:lnTo>
                    <a:pt x="2427593" y="200228"/>
                  </a:lnTo>
                  <a:lnTo>
                    <a:pt x="2427593" y="198831"/>
                  </a:lnTo>
                  <a:lnTo>
                    <a:pt x="2427593" y="199530"/>
                  </a:lnTo>
                  <a:lnTo>
                    <a:pt x="2427593" y="197447"/>
                  </a:lnTo>
                  <a:lnTo>
                    <a:pt x="2427694" y="197447"/>
                  </a:lnTo>
                  <a:lnTo>
                    <a:pt x="2427694" y="195415"/>
                  </a:lnTo>
                  <a:lnTo>
                    <a:pt x="2427694" y="198831"/>
                  </a:lnTo>
                  <a:lnTo>
                    <a:pt x="2427745" y="198831"/>
                  </a:lnTo>
                  <a:lnTo>
                    <a:pt x="2427745" y="196799"/>
                  </a:lnTo>
                  <a:lnTo>
                    <a:pt x="2427745" y="200228"/>
                  </a:lnTo>
                  <a:lnTo>
                    <a:pt x="2427796" y="199530"/>
                  </a:lnTo>
                  <a:lnTo>
                    <a:pt x="2427796" y="198831"/>
                  </a:lnTo>
                  <a:lnTo>
                    <a:pt x="2427796" y="199530"/>
                  </a:lnTo>
                  <a:lnTo>
                    <a:pt x="2427834" y="199530"/>
                  </a:lnTo>
                  <a:lnTo>
                    <a:pt x="2427834" y="198831"/>
                  </a:lnTo>
                  <a:lnTo>
                    <a:pt x="2427834" y="200228"/>
                  </a:lnTo>
                  <a:lnTo>
                    <a:pt x="2427936" y="200228"/>
                  </a:lnTo>
                  <a:lnTo>
                    <a:pt x="2427936" y="199530"/>
                  </a:lnTo>
                  <a:lnTo>
                    <a:pt x="2427936" y="200228"/>
                  </a:lnTo>
                  <a:lnTo>
                    <a:pt x="2427987" y="200228"/>
                  </a:lnTo>
                  <a:lnTo>
                    <a:pt x="2427987" y="202260"/>
                  </a:lnTo>
                  <a:lnTo>
                    <a:pt x="2427987" y="200876"/>
                  </a:lnTo>
                  <a:lnTo>
                    <a:pt x="2428037" y="200876"/>
                  </a:lnTo>
                  <a:lnTo>
                    <a:pt x="2428037" y="199530"/>
                  </a:lnTo>
                  <a:lnTo>
                    <a:pt x="2428139" y="199530"/>
                  </a:lnTo>
                  <a:lnTo>
                    <a:pt x="2428139" y="198831"/>
                  </a:lnTo>
                  <a:lnTo>
                    <a:pt x="2428139" y="199530"/>
                  </a:lnTo>
                  <a:lnTo>
                    <a:pt x="2428139" y="197447"/>
                  </a:lnTo>
                  <a:lnTo>
                    <a:pt x="2428190" y="197447"/>
                  </a:lnTo>
                  <a:lnTo>
                    <a:pt x="2428190" y="196799"/>
                  </a:lnTo>
                  <a:lnTo>
                    <a:pt x="2428190" y="199530"/>
                  </a:lnTo>
                  <a:lnTo>
                    <a:pt x="2428190" y="197447"/>
                  </a:lnTo>
                  <a:lnTo>
                    <a:pt x="2428240" y="197447"/>
                  </a:lnTo>
                  <a:lnTo>
                    <a:pt x="2428240" y="196799"/>
                  </a:lnTo>
                  <a:lnTo>
                    <a:pt x="2428240" y="200228"/>
                  </a:lnTo>
                  <a:lnTo>
                    <a:pt x="2428240" y="198831"/>
                  </a:lnTo>
                  <a:lnTo>
                    <a:pt x="2428291" y="197447"/>
                  </a:lnTo>
                  <a:lnTo>
                    <a:pt x="2428291" y="199530"/>
                  </a:lnTo>
                  <a:lnTo>
                    <a:pt x="2428291" y="198831"/>
                  </a:lnTo>
                  <a:lnTo>
                    <a:pt x="2428291" y="199530"/>
                  </a:lnTo>
                  <a:lnTo>
                    <a:pt x="2428380" y="199530"/>
                  </a:lnTo>
                  <a:lnTo>
                    <a:pt x="2428380" y="198831"/>
                  </a:lnTo>
                  <a:lnTo>
                    <a:pt x="2428380" y="199530"/>
                  </a:lnTo>
                  <a:lnTo>
                    <a:pt x="2428380" y="198831"/>
                  </a:lnTo>
                  <a:lnTo>
                    <a:pt x="2428380" y="199530"/>
                  </a:lnTo>
                  <a:lnTo>
                    <a:pt x="2428380" y="198831"/>
                  </a:lnTo>
                  <a:lnTo>
                    <a:pt x="2428380" y="200228"/>
                  </a:lnTo>
                  <a:lnTo>
                    <a:pt x="2428380" y="199530"/>
                  </a:lnTo>
                  <a:lnTo>
                    <a:pt x="2428380" y="200228"/>
                  </a:lnTo>
                  <a:lnTo>
                    <a:pt x="2428380" y="199530"/>
                  </a:lnTo>
                  <a:lnTo>
                    <a:pt x="2428431" y="199530"/>
                  </a:lnTo>
                  <a:lnTo>
                    <a:pt x="2428431" y="200228"/>
                  </a:lnTo>
                  <a:lnTo>
                    <a:pt x="2428431" y="199530"/>
                  </a:lnTo>
                  <a:lnTo>
                    <a:pt x="2428431" y="200876"/>
                  </a:lnTo>
                  <a:lnTo>
                    <a:pt x="2428431" y="200228"/>
                  </a:lnTo>
                  <a:lnTo>
                    <a:pt x="2428431" y="200876"/>
                  </a:lnTo>
                  <a:lnTo>
                    <a:pt x="2428482" y="200228"/>
                  </a:lnTo>
                  <a:lnTo>
                    <a:pt x="2428482" y="202260"/>
                  </a:lnTo>
                  <a:lnTo>
                    <a:pt x="2428482" y="200228"/>
                  </a:lnTo>
                  <a:lnTo>
                    <a:pt x="2428482" y="200876"/>
                  </a:lnTo>
                  <a:lnTo>
                    <a:pt x="2428482" y="200228"/>
                  </a:lnTo>
                  <a:lnTo>
                    <a:pt x="2428533" y="200228"/>
                  </a:lnTo>
                  <a:lnTo>
                    <a:pt x="2428533" y="199530"/>
                  </a:lnTo>
                  <a:lnTo>
                    <a:pt x="2428533" y="200228"/>
                  </a:lnTo>
                  <a:lnTo>
                    <a:pt x="2428533" y="199530"/>
                  </a:lnTo>
                  <a:lnTo>
                    <a:pt x="2428634" y="199530"/>
                  </a:lnTo>
                  <a:lnTo>
                    <a:pt x="2428634" y="196799"/>
                  </a:lnTo>
                  <a:lnTo>
                    <a:pt x="2428685" y="196799"/>
                  </a:lnTo>
                  <a:lnTo>
                    <a:pt x="2428685" y="196113"/>
                  </a:lnTo>
                  <a:lnTo>
                    <a:pt x="2428685" y="197447"/>
                  </a:lnTo>
                  <a:lnTo>
                    <a:pt x="2428736" y="196799"/>
                  </a:lnTo>
                  <a:lnTo>
                    <a:pt x="2428736" y="198831"/>
                  </a:lnTo>
                  <a:lnTo>
                    <a:pt x="2428736" y="197447"/>
                  </a:lnTo>
                  <a:lnTo>
                    <a:pt x="2428837" y="197447"/>
                  </a:lnTo>
                  <a:lnTo>
                    <a:pt x="2428837" y="198831"/>
                  </a:lnTo>
                  <a:lnTo>
                    <a:pt x="2428837" y="197447"/>
                  </a:lnTo>
                  <a:lnTo>
                    <a:pt x="2428875" y="197447"/>
                  </a:lnTo>
                  <a:lnTo>
                    <a:pt x="2428875" y="199530"/>
                  </a:lnTo>
                  <a:lnTo>
                    <a:pt x="2428875" y="198831"/>
                  </a:lnTo>
                  <a:lnTo>
                    <a:pt x="2428926" y="198831"/>
                  </a:lnTo>
                  <a:lnTo>
                    <a:pt x="2428926" y="199530"/>
                  </a:lnTo>
                  <a:lnTo>
                    <a:pt x="2428977" y="199530"/>
                  </a:lnTo>
                  <a:lnTo>
                    <a:pt x="2428977" y="200876"/>
                  </a:lnTo>
                  <a:lnTo>
                    <a:pt x="2428977" y="199530"/>
                  </a:lnTo>
                  <a:lnTo>
                    <a:pt x="2429079" y="199530"/>
                  </a:lnTo>
                  <a:lnTo>
                    <a:pt x="2429079" y="200228"/>
                  </a:lnTo>
                  <a:lnTo>
                    <a:pt x="2429079" y="199530"/>
                  </a:lnTo>
                  <a:lnTo>
                    <a:pt x="2429079" y="200228"/>
                  </a:lnTo>
                  <a:lnTo>
                    <a:pt x="2429079" y="199530"/>
                  </a:lnTo>
                  <a:lnTo>
                    <a:pt x="2429079" y="200228"/>
                  </a:lnTo>
                  <a:lnTo>
                    <a:pt x="2429079" y="199530"/>
                  </a:lnTo>
                  <a:lnTo>
                    <a:pt x="2429079" y="200228"/>
                  </a:lnTo>
                  <a:lnTo>
                    <a:pt x="2429079" y="199530"/>
                  </a:lnTo>
                  <a:lnTo>
                    <a:pt x="2429130" y="199530"/>
                  </a:lnTo>
                  <a:lnTo>
                    <a:pt x="2429130" y="198831"/>
                  </a:lnTo>
                  <a:lnTo>
                    <a:pt x="2429130" y="199530"/>
                  </a:lnTo>
                  <a:lnTo>
                    <a:pt x="2429130" y="197447"/>
                  </a:lnTo>
                  <a:lnTo>
                    <a:pt x="2429180" y="197447"/>
                  </a:lnTo>
                  <a:lnTo>
                    <a:pt x="2429180" y="196799"/>
                  </a:lnTo>
                  <a:lnTo>
                    <a:pt x="2429180" y="197447"/>
                  </a:lnTo>
                  <a:lnTo>
                    <a:pt x="2429180" y="196113"/>
                  </a:lnTo>
                  <a:lnTo>
                    <a:pt x="2429180" y="196799"/>
                  </a:lnTo>
                  <a:lnTo>
                    <a:pt x="2429282" y="197447"/>
                  </a:lnTo>
                  <a:lnTo>
                    <a:pt x="2429282" y="195415"/>
                  </a:lnTo>
                  <a:lnTo>
                    <a:pt x="2429282" y="197447"/>
                  </a:lnTo>
                  <a:lnTo>
                    <a:pt x="2429282" y="196799"/>
                  </a:lnTo>
                  <a:lnTo>
                    <a:pt x="2429333" y="196799"/>
                  </a:lnTo>
                  <a:lnTo>
                    <a:pt x="2429333" y="196113"/>
                  </a:lnTo>
                  <a:lnTo>
                    <a:pt x="2429333" y="197447"/>
                  </a:lnTo>
                  <a:lnTo>
                    <a:pt x="2429333" y="196799"/>
                  </a:lnTo>
                  <a:lnTo>
                    <a:pt x="2429333" y="197447"/>
                  </a:lnTo>
                  <a:lnTo>
                    <a:pt x="2429384" y="197447"/>
                  </a:lnTo>
                  <a:lnTo>
                    <a:pt x="2429384" y="196799"/>
                  </a:lnTo>
                  <a:lnTo>
                    <a:pt x="2429384" y="198831"/>
                  </a:lnTo>
                  <a:lnTo>
                    <a:pt x="2429422" y="197447"/>
                  </a:lnTo>
                  <a:lnTo>
                    <a:pt x="2429422" y="198831"/>
                  </a:lnTo>
                  <a:lnTo>
                    <a:pt x="2429523" y="198831"/>
                  </a:lnTo>
                  <a:lnTo>
                    <a:pt x="2429523" y="199530"/>
                  </a:lnTo>
                  <a:lnTo>
                    <a:pt x="2429523" y="198831"/>
                  </a:lnTo>
                  <a:lnTo>
                    <a:pt x="2429523" y="199530"/>
                  </a:lnTo>
                  <a:lnTo>
                    <a:pt x="2429523" y="198831"/>
                  </a:lnTo>
                  <a:lnTo>
                    <a:pt x="2429574" y="198831"/>
                  </a:lnTo>
                  <a:lnTo>
                    <a:pt x="2429574" y="199530"/>
                  </a:lnTo>
                  <a:lnTo>
                    <a:pt x="2429574" y="198831"/>
                  </a:lnTo>
                  <a:lnTo>
                    <a:pt x="2429574" y="199530"/>
                  </a:lnTo>
                  <a:lnTo>
                    <a:pt x="2429574" y="198831"/>
                  </a:lnTo>
                  <a:lnTo>
                    <a:pt x="2429574" y="199530"/>
                  </a:lnTo>
                  <a:lnTo>
                    <a:pt x="2429574" y="198831"/>
                  </a:lnTo>
                  <a:lnTo>
                    <a:pt x="2429574" y="199530"/>
                  </a:lnTo>
                  <a:lnTo>
                    <a:pt x="2429574" y="197447"/>
                  </a:lnTo>
                  <a:lnTo>
                    <a:pt x="2429625" y="198831"/>
                  </a:lnTo>
                  <a:lnTo>
                    <a:pt x="2429625" y="199530"/>
                  </a:lnTo>
                  <a:lnTo>
                    <a:pt x="2429625" y="197447"/>
                  </a:lnTo>
                  <a:lnTo>
                    <a:pt x="2429726" y="197447"/>
                  </a:lnTo>
                  <a:lnTo>
                    <a:pt x="2429726" y="196799"/>
                  </a:lnTo>
                  <a:lnTo>
                    <a:pt x="2429726" y="198831"/>
                  </a:lnTo>
                  <a:lnTo>
                    <a:pt x="2429726" y="197447"/>
                  </a:lnTo>
                  <a:lnTo>
                    <a:pt x="2429777" y="197447"/>
                  </a:lnTo>
                  <a:lnTo>
                    <a:pt x="2429777" y="199530"/>
                  </a:lnTo>
                  <a:lnTo>
                    <a:pt x="2429777" y="198831"/>
                  </a:lnTo>
                  <a:lnTo>
                    <a:pt x="2429828" y="198831"/>
                  </a:lnTo>
                  <a:lnTo>
                    <a:pt x="2429828" y="199530"/>
                  </a:lnTo>
                  <a:lnTo>
                    <a:pt x="2429828" y="198831"/>
                  </a:lnTo>
                  <a:lnTo>
                    <a:pt x="2429828" y="200228"/>
                  </a:lnTo>
                  <a:lnTo>
                    <a:pt x="2429879" y="199530"/>
                  </a:lnTo>
                  <a:lnTo>
                    <a:pt x="2429879" y="200228"/>
                  </a:lnTo>
                  <a:lnTo>
                    <a:pt x="2429879" y="199530"/>
                  </a:lnTo>
                  <a:lnTo>
                    <a:pt x="2429879" y="200228"/>
                  </a:lnTo>
                  <a:lnTo>
                    <a:pt x="2429879" y="199530"/>
                  </a:lnTo>
                  <a:lnTo>
                    <a:pt x="2429968" y="199530"/>
                  </a:lnTo>
                  <a:lnTo>
                    <a:pt x="2429968" y="200228"/>
                  </a:lnTo>
                  <a:lnTo>
                    <a:pt x="2429968" y="199530"/>
                  </a:lnTo>
                  <a:lnTo>
                    <a:pt x="2429968" y="200228"/>
                  </a:lnTo>
                  <a:lnTo>
                    <a:pt x="2429968" y="199530"/>
                  </a:lnTo>
                  <a:lnTo>
                    <a:pt x="2429968" y="200228"/>
                  </a:lnTo>
                  <a:lnTo>
                    <a:pt x="2430019" y="200228"/>
                  </a:lnTo>
                  <a:lnTo>
                    <a:pt x="2430019" y="199530"/>
                  </a:lnTo>
                  <a:lnTo>
                    <a:pt x="2430019" y="200228"/>
                  </a:lnTo>
                  <a:lnTo>
                    <a:pt x="2430019" y="199530"/>
                  </a:lnTo>
                  <a:lnTo>
                    <a:pt x="2430019" y="200228"/>
                  </a:lnTo>
                  <a:lnTo>
                    <a:pt x="2430019" y="199530"/>
                  </a:lnTo>
                  <a:lnTo>
                    <a:pt x="2430120" y="199530"/>
                  </a:lnTo>
                  <a:lnTo>
                    <a:pt x="2430120" y="198831"/>
                  </a:lnTo>
                  <a:lnTo>
                    <a:pt x="2430120" y="199530"/>
                  </a:lnTo>
                  <a:lnTo>
                    <a:pt x="2430120" y="198831"/>
                  </a:lnTo>
                  <a:lnTo>
                    <a:pt x="2430120" y="199530"/>
                  </a:lnTo>
                  <a:lnTo>
                    <a:pt x="2430120" y="197447"/>
                  </a:lnTo>
                  <a:lnTo>
                    <a:pt x="2430120" y="198831"/>
                  </a:lnTo>
                  <a:lnTo>
                    <a:pt x="2430222" y="198831"/>
                  </a:lnTo>
                  <a:lnTo>
                    <a:pt x="2430222" y="200228"/>
                  </a:lnTo>
                  <a:lnTo>
                    <a:pt x="2430222" y="198831"/>
                  </a:lnTo>
                  <a:lnTo>
                    <a:pt x="2430222" y="200876"/>
                  </a:lnTo>
                  <a:lnTo>
                    <a:pt x="2430272" y="200876"/>
                  </a:lnTo>
                  <a:lnTo>
                    <a:pt x="2430272" y="199530"/>
                  </a:lnTo>
                  <a:lnTo>
                    <a:pt x="2430272" y="200228"/>
                  </a:lnTo>
                  <a:lnTo>
                    <a:pt x="2430272" y="199530"/>
                  </a:lnTo>
                  <a:lnTo>
                    <a:pt x="2430272" y="200228"/>
                  </a:lnTo>
                  <a:lnTo>
                    <a:pt x="2430323" y="200228"/>
                  </a:lnTo>
                  <a:lnTo>
                    <a:pt x="2430323" y="200876"/>
                  </a:lnTo>
                  <a:lnTo>
                    <a:pt x="2430323" y="200228"/>
                  </a:lnTo>
                  <a:lnTo>
                    <a:pt x="2430323" y="200876"/>
                  </a:lnTo>
                  <a:lnTo>
                    <a:pt x="2430323" y="200228"/>
                  </a:lnTo>
                  <a:lnTo>
                    <a:pt x="2430323" y="200876"/>
                  </a:lnTo>
                  <a:lnTo>
                    <a:pt x="2430425" y="200876"/>
                  </a:lnTo>
                  <a:lnTo>
                    <a:pt x="2430425" y="200228"/>
                  </a:lnTo>
                  <a:lnTo>
                    <a:pt x="2430425" y="200876"/>
                  </a:lnTo>
                  <a:lnTo>
                    <a:pt x="2430425" y="200228"/>
                  </a:lnTo>
                  <a:lnTo>
                    <a:pt x="2430425" y="200876"/>
                  </a:lnTo>
                  <a:lnTo>
                    <a:pt x="2430425" y="200228"/>
                  </a:lnTo>
                  <a:lnTo>
                    <a:pt x="2430425" y="200876"/>
                  </a:lnTo>
                  <a:lnTo>
                    <a:pt x="2430425" y="200228"/>
                  </a:lnTo>
                  <a:lnTo>
                    <a:pt x="2430463" y="200228"/>
                  </a:lnTo>
                  <a:lnTo>
                    <a:pt x="2430463" y="200876"/>
                  </a:lnTo>
                  <a:lnTo>
                    <a:pt x="2430463" y="200228"/>
                  </a:lnTo>
                  <a:lnTo>
                    <a:pt x="2430514" y="200228"/>
                  </a:lnTo>
                  <a:lnTo>
                    <a:pt x="2430514" y="199530"/>
                  </a:lnTo>
                  <a:lnTo>
                    <a:pt x="2430514" y="200228"/>
                  </a:lnTo>
                  <a:lnTo>
                    <a:pt x="2430514" y="199530"/>
                  </a:lnTo>
                  <a:lnTo>
                    <a:pt x="2430565" y="198831"/>
                  </a:lnTo>
                  <a:lnTo>
                    <a:pt x="2430565" y="199530"/>
                  </a:lnTo>
                  <a:lnTo>
                    <a:pt x="2430565" y="198831"/>
                  </a:lnTo>
                  <a:lnTo>
                    <a:pt x="2430565" y="199530"/>
                  </a:lnTo>
                  <a:lnTo>
                    <a:pt x="2430565" y="197447"/>
                  </a:lnTo>
                  <a:lnTo>
                    <a:pt x="2430666" y="197447"/>
                  </a:lnTo>
                  <a:lnTo>
                    <a:pt x="2430666" y="198831"/>
                  </a:lnTo>
                  <a:lnTo>
                    <a:pt x="2430666" y="196799"/>
                  </a:lnTo>
                  <a:lnTo>
                    <a:pt x="2430666" y="198831"/>
                  </a:lnTo>
                  <a:lnTo>
                    <a:pt x="2430717" y="198831"/>
                  </a:lnTo>
                  <a:lnTo>
                    <a:pt x="2430717" y="196799"/>
                  </a:lnTo>
                  <a:lnTo>
                    <a:pt x="2430717" y="197447"/>
                  </a:lnTo>
                  <a:lnTo>
                    <a:pt x="2430717" y="196799"/>
                  </a:lnTo>
                  <a:lnTo>
                    <a:pt x="2430717" y="200228"/>
                  </a:lnTo>
                  <a:lnTo>
                    <a:pt x="2430717" y="199530"/>
                  </a:lnTo>
                  <a:lnTo>
                    <a:pt x="2430768" y="199530"/>
                  </a:lnTo>
                  <a:lnTo>
                    <a:pt x="2430768" y="198831"/>
                  </a:lnTo>
                  <a:lnTo>
                    <a:pt x="2430768" y="199530"/>
                  </a:lnTo>
                  <a:lnTo>
                    <a:pt x="2430768" y="198831"/>
                  </a:lnTo>
                  <a:lnTo>
                    <a:pt x="2430768" y="200228"/>
                  </a:lnTo>
                  <a:lnTo>
                    <a:pt x="2430869" y="200228"/>
                  </a:lnTo>
                  <a:lnTo>
                    <a:pt x="2430869" y="199530"/>
                  </a:lnTo>
                  <a:lnTo>
                    <a:pt x="2430869" y="200876"/>
                  </a:lnTo>
                  <a:lnTo>
                    <a:pt x="2430920" y="200876"/>
                  </a:lnTo>
                  <a:lnTo>
                    <a:pt x="2430920" y="200228"/>
                  </a:lnTo>
                  <a:lnTo>
                    <a:pt x="2430920" y="200876"/>
                  </a:lnTo>
                  <a:lnTo>
                    <a:pt x="2430920" y="200228"/>
                  </a:lnTo>
                  <a:lnTo>
                    <a:pt x="2430920" y="200876"/>
                  </a:lnTo>
                  <a:lnTo>
                    <a:pt x="2430971" y="200876"/>
                  </a:lnTo>
                  <a:lnTo>
                    <a:pt x="2430971" y="200228"/>
                  </a:lnTo>
                  <a:lnTo>
                    <a:pt x="2430971" y="200876"/>
                  </a:lnTo>
                  <a:lnTo>
                    <a:pt x="2430971" y="200228"/>
                  </a:lnTo>
                  <a:lnTo>
                    <a:pt x="2431111" y="200228"/>
                  </a:lnTo>
                  <a:lnTo>
                    <a:pt x="2431111" y="199530"/>
                  </a:lnTo>
                  <a:lnTo>
                    <a:pt x="2431111" y="200228"/>
                  </a:lnTo>
                  <a:lnTo>
                    <a:pt x="2431111" y="198831"/>
                  </a:lnTo>
                  <a:lnTo>
                    <a:pt x="2431111" y="199530"/>
                  </a:lnTo>
                  <a:lnTo>
                    <a:pt x="2431162" y="199530"/>
                  </a:lnTo>
                  <a:lnTo>
                    <a:pt x="2431162" y="197447"/>
                  </a:lnTo>
                  <a:lnTo>
                    <a:pt x="2431162" y="199530"/>
                  </a:lnTo>
                  <a:lnTo>
                    <a:pt x="2431162" y="198831"/>
                  </a:lnTo>
                  <a:lnTo>
                    <a:pt x="2431162" y="199530"/>
                  </a:lnTo>
                  <a:lnTo>
                    <a:pt x="2431162" y="198831"/>
                  </a:lnTo>
                  <a:lnTo>
                    <a:pt x="2431212" y="197447"/>
                  </a:lnTo>
                  <a:lnTo>
                    <a:pt x="2431212" y="200876"/>
                  </a:lnTo>
                  <a:lnTo>
                    <a:pt x="2431212" y="199530"/>
                  </a:lnTo>
                  <a:lnTo>
                    <a:pt x="2431314" y="199530"/>
                  </a:lnTo>
                  <a:lnTo>
                    <a:pt x="2431314" y="200228"/>
                  </a:lnTo>
                  <a:lnTo>
                    <a:pt x="2431365" y="200228"/>
                  </a:lnTo>
                  <a:lnTo>
                    <a:pt x="2431365" y="200876"/>
                  </a:lnTo>
                  <a:lnTo>
                    <a:pt x="2431365" y="200228"/>
                  </a:lnTo>
                  <a:lnTo>
                    <a:pt x="2431365" y="200876"/>
                  </a:lnTo>
                  <a:lnTo>
                    <a:pt x="2431415" y="200876"/>
                  </a:lnTo>
                  <a:lnTo>
                    <a:pt x="2431415" y="202260"/>
                  </a:lnTo>
                  <a:lnTo>
                    <a:pt x="2431415" y="200876"/>
                  </a:lnTo>
                  <a:lnTo>
                    <a:pt x="2431415" y="202260"/>
                  </a:lnTo>
                  <a:lnTo>
                    <a:pt x="2431415" y="200876"/>
                  </a:lnTo>
                  <a:lnTo>
                    <a:pt x="2431415" y="202260"/>
                  </a:lnTo>
                  <a:lnTo>
                    <a:pt x="2431415" y="200876"/>
                  </a:lnTo>
                  <a:lnTo>
                    <a:pt x="2431415" y="202260"/>
                  </a:lnTo>
                  <a:lnTo>
                    <a:pt x="2431415" y="200228"/>
                  </a:lnTo>
                  <a:lnTo>
                    <a:pt x="2431415" y="200876"/>
                  </a:lnTo>
                  <a:lnTo>
                    <a:pt x="2431466" y="200876"/>
                  </a:lnTo>
                  <a:lnTo>
                    <a:pt x="2431466" y="200228"/>
                  </a:lnTo>
                  <a:lnTo>
                    <a:pt x="2431466" y="200876"/>
                  </a:lnTo>
                  <a:lnTo>
                    <a:pt x="2431466" y="200228"/>
                  </a:lnTo>
                  <a:lnTo>
                    <a:pt x="2431466" y="200876"/>
                  </a:lnTo>
                  <a:lnTo>
                    <a:pt x="2431466" y="200228"/>
                  </a:lnTo>
                  <a:lnTo>
                    <a:pt x="2431555" y="200228"/>
                  </a:lnTo>
                  <a:lnTo>
                    <a:pt x="2431555" y="199530"/>
                  </a:lnTo>
                  <a:lnTo>
                    <a:pt x="2431606" y="199530"/>
                  </a:lnTo>
                  <a:lnTo>
                    <a:pt x="2431606" y="197447"/>
                  </a:lnTo>
                  <a:lnTo>
                    <a:pt x="2431606" y="198831"/>
                  </a:lnTo>
                  <a:lnTo>
                    <a:pt x="2431606" y="197447"/>
                  </a:lnTo>
                  <a:lnTo>
                    <a:pt x="2431657" y="196799"/>
                  </a:lnTo>
                  <a:lnTo>
                    <a:pt x="2431657" y="196113"/>
                  </a:lnTo>
                  <a:lnTo>
                    <a:pt x="2431657" y="199530"/>
                  </a:lnTo>
                  <a:lnTo>
                    <a:pt x="2431657" y="196799"/>
                  </a:lnTo>
                  <a:lnTo>
                    <a:pt x="2431708" y="196799"/>
                  </a:lnTo>
                  <a:lnTo>
                    <a:pt x="2431708" y="199530"/>
                  </a:lnTo>
                  <a:lnTo>
                    <a:pt x="2431708" y="198831"/>
                  </a:lnTo>
                  <a:lnTo>
                    <a:pt x="2431809" y="198831"/>
                  </a:lnTo>
                  <a:lnTo>
                    <a:pt x="2431809" y="200228"/>
                  </a:lnTo>
                  <a:lnTo>
                    <a:pt x="2431809" y="199530"/>
                  </a:lnTo>
                  <a:lnTo>
                    <a:pt x="2431809" y="200228"/>
                  </a:lnTo>
                  <a:lnTo>
                    <a:pt x="2431809" y="199530"/>
                  </a:lnTo>
                  <a:lnTo>
                    <a:pt x="2431860" y="199530"/>
                  </a:lnTo>
                  <a:lnTo>
                    <a:pt x="2431860" y="200228"/>
                  </a:lnTo>
                  <a:lnTo>
                    <a:pt x="2431911" y="200228"/>
                  </a:lnTo>
                  <a:lnTo>
                    <a:pt x="2431911" y="200876"/>
                  </a:lnTo>
                  <a:lnTo>
                    <a:pt x="2431911" y="200228"/>
                  </a:lnTo>
                  <a:lnTo>
                    <a:pt x="2431911" y="200876"/>
                  </a:lnTo>
                  <a:lnTo>
                    <a:pt x="2431911" y="200228"/>
                  </a:lnTo>
                  <a:lnTo>
                    <a:pt x="2432012" y="200876"/>
                  </a:lnTo>
                  <a:lnTo>
                    <a:pt x="2432012" y="200228"/>
                  </a:lnTo>
                  <a:lnTo>
                    <a:pt x="2432012" y="200876"/>
                  </a:lnTo>
                  <a:lnTo>
                    <a:pt x="2432012" y="200228"/>
                  </a:lnTo>
                  <a:lnTo>
                    <a:pt x="2432012" y="200876"/>
                  </a:lnTo>
                  <a:lnTo>
                    <a:pt x="2432050" y="200876"/>
                  </a:lnTo>
                  <a:lnTo>
                    <a:pt x="2432050" y="200228"/>
                  </a:lnTo>
                  <a:lnTo>
                    <a:pt x="2432101" y="200228"/>
                  </a:lnTo>
                  <a:lnTo>
                    <a:pt x="2432101" y="198831"/>
                  </a:lnTo>
                  <a:lnTo>
                    <a:pt x="2432101" y="199530"/>
                  </a:lnTo>
                  <a:lnTo>
                    <a:pt x="2432101" y="197447"/>
                  </a:lnTo>
                  <a:lnTo>
                    <a:pt x="2432152" y="196799"/>
                  </a:lnTo>
                  <a:lnTo>
                    <a:pt x="2432152" y="198831"/>
                  </a:lnTo>
                  <a:lnTo>
                    <a:pt x="2432152" y="196113"/>
                  </a:lnTo>
                  <a:lnTo>
                    <a:pt x="2432254" y="196113"/>
                  </a:lnTo>
                  <a:lnTo>
                    <a:pt x="2432254" y="199530"/>
                  </a:lnTo>
                  <a:lnTo>
                    <a:pt x="2432254" y="196799"/>
                  </a:lnTo>
                  <a:lnTo>
                    <a:pt x="2432254" y="198831"/>
                  </a:lnTo>
                  <a:lnTo>
                    <a:pt x="2432355" y="198831"/>
                  </a:lnTo>
                  <a:lnTo>
                    <a:pt x="2432355" y="199530"/>
                  </a:lnTo>
                  <a:lnTo>
                    <a:pt x="2432355" y="198831"/>
                  </a:lnTo>
                  <a:lnTo>
                    <a:pt x="2432355" y="199530"/>
                  </a:lnTo>
                  <a:lnTo>
                    <a:pt x="2432355" y="198831"/>
                  </a:lnTo>
                  <a:lnTo>
                    <a:pt x="2432355" y="199530"/>
                  </a:lnTo>
                  <a:lnTo>
                    <a:pt x="2432355" y="198831"/>
                  </a:lnTo>
                  <a:lnTo>
                    <a:pt x="2432355" y="199530"/>
                  </a:lnTo>
                  <a:lnTo>
                    <a:pt x="2432355" y="198831"/>
                  </a:lnTo>
                  <a:lnTo>
                    <a:pt x="2432355" y="199530"/>
                  </a:lnTo>
                  <a:lnTo>
                    <a:pt x="2432457" y="198831"/>
                  </a:lnTo>
                  <a:lnTo>
                    <a:pt x="2432457" y="199530"/>
                  </a:lnTo>
                  <a:lnTo>
                    <a:pt x="2432457" y="198831"/>
                  </a:lnTo>
                  <a:lnTo>
                    <a:pt x="2432457" y="200228"/>
                  </a:lnTo>
                  <a:lnTo>
                    <a:pt x="2432457" y="199530"/>
                  </a:lnTo>
                  <a:lnTo>
                    <a:pt x="2432508" y="199530"/>
                  </a:lnTo>
                  <a:lnTo>
                    <a:pt x="2432508" y="200228"/>
                  </a:lnTo>
                  <a:lnTo>
                    <a:pt x="2432508" y="199530"/>
                  </a:lnTo>
                  <a:lnTo>
                    <a:pt x="2432508" y="200228"/>
                  </a:lnTo>
                  <a:lnTo>
                    <a:pt x="2432508" y="199530"/>
                  </a:lnTo>
                  <a:lnTo>
                    <a:pt x="2432508" y="200228"/>
                  </a:lnTo>
                  <a:lnTo>
                    <a:pt x="2432559" y="200228"/>
                  </a:lnTo>
                  <a:lnTo>
                    <a:pt x="2432559" y="199530"/>
                  </a:lnTo>
                  <a:lnTo>
                    <a:pt x="2432559" y="200228"/>
                  </a:lnTo>
                  <a:lnTo>
                    <a:pt x="2432559" y="199530"/>
                  </a:lnTo>
                  <a:lnTo>
                    <a:pt x="2432559" y="200228"/>
                  </a:lnTo>
                  <a:lnTo>
                    <a:pt x="2432559" y="199530"/>
                  </a:lnTo>
                  <a:lnTo>
                    <a:pt x="2432559" y="200228"/>
                  </a:lnTo>
                  <a:lnTo>
                    <a:pt x="2432559" y="198831"/>
                  </a:lnTo>
                  <a:lnTo>
                    <a:pt x="2432559" y="199530"/>
                  </a:lnTo>
                  <a:lnTo>
                    <a:pt x="2432559" y="198831"/>
                  </a:lnTo>
                  <a:lnTo>
                    <a:pt x="2432597" y="199530"/>
                  </a:lnTo>
                  <a:lnTo>
                    <a:pt x="2432597" y="198831"/>
                  </a:lnTo>
                  <a:lnTo>
                    <a:pt x="2432597" y="199530"/>
                  </a:lnTo>
                  <a:lnTo>
                    <a:pt x="2432597" y="197447"/>
                  </a:lnTo>
                  <a:lnTo>
                    <a:pt x="2432597" y="199530"/>
                  </a:lnTo>
                  <a:lnTo>
                    <a:pt x="2432597" y="198831"/>
                  </a:lnTo>
                  <a:lnTo>
                    <a:pt x="2432698" y="198831"/>
                  </a:lnTo>
                  <a:lnTo>
                    <a:pt x="2432698" y="199530"/>
                  </a:lnTo>
                  <a:lnTo>
                    <a:pt x="2432698" y="197447"/>
                  </a:lnTo>
                  <a:lnTo>
                    <a:pt x="2432698" y="200876"/>
                  </a:lnTo>
                  <a:lnTo>
                    <a:pt x="2432749" y="200876"/>
                  </a:lnTo>
                  <a:lnTo>
                    <a:pt x="2432749" y="199530"/>
                  </a:lnTo>
                  <a:lnTo>
                    <a:pt x="2432749" y="200228"/>
                  </a:lnTo>
                  <a:lnTo>
                    <a:pt x="2432901" y="200228"/>
                  </a:lnTo>
                  <a:lnTo>
                    <a:pt x="2432901" y="200876"/>
                  </a:lnTo>
                  <a:lnTo>
                    <a:pt x="2432901" y="200228"/>
                  </a:lnTo>
                  <a:lnTo>
                    <a:pt x="2432952" y="199530"/>
                  </a:lnTo>
                  <a:lnTo>
                    <a:pt x="2432952" y="200876"/>
                  </a:lnTo>
                  <a:lnTo>
                    <a:pt x="2432952" y="200228"/>
                  </a:lnTo>
                  <a:lnTo>
                    <a:pt x="2432952" y="200876"/>
                  </a:lnTo>
                  <a:lnTo>
                    <a:pt x="2432952" y="200228"/>
                  </a:lnTo>
                  <a:lnTo>
                    <a:pt x="2432952" y="200876"/>
                  </a:lnTo>
                  <a:lnTo>
                    <a:pt x="2433003" y="200228"/>
                  </a:lnTo>
                  <a:lnTo>
                    <a:pt x="2433003" y="200876"/>
                  </a:lnTo>
                  <a:lnTo>
                    <a:pt x="2433003" y="200228"/>
                  </a:lnTo>
                  <a:lnTo>
                    <a:pt x="2433003" y="200876"/>
                  </a:lnTo>
                  <a:lnTo>
                    <a:pt x="2433003" y="200228"/>
                  </a:lnTo>
                  <a:lnTo>
                    <a:pt x="2433054" y="200228"/>
                  </a:lnTo>
                  <a:lnTo>
                    <a:pt x="2433054" y="199530"/>
                  </a:lnTo>
                  <a:lnTo>
                    <a:pt x="2433054" y="200228"/>
                  </a:lnTo>
                  <a:lnTo>
                    <a:pt x="2433054" y="198831"/>
                  </a:lnTo>
                  <a:lnTo>
                    <a:pt x="2433054" y="199530"/>
                  </a:lnTo>
                  <a:lnTo>
                    <a:pt x="2433054" y="198831"/>
                  </a:lnTo>
                  <a:lnTo>
                    <a:pt x="2433143" y="198831"/>
                  </a:lnTo>
                  <a:lnTo>
                    <a:pt x="2433143" y="199530"/>
                  </a:lnTo>
                  <a:lnTo>
                    <a:pt x="2433143" y="198831"/>
                  </a:lnTo>
                  <a:lnTo>
                    <a:pt x="2433194" y="198831"/>
                  </a:lnTo>
                  <a:lnTo>
                    <a:pt x="2433194" y="200876"/>
                  </a:lnTo>
                  <a:lnTo>
                    <a:pt x="2433194" y="200228"/>
                  </a:lnTo>
                  <a:lnTo>
                    <a:pt x="2433194" y="200876"/>
                  </a:lnTo>
                  <a:lnTo>
                    <a:pt x="2433194" y="200228"/>
                  </a:lnTo>
                  <a:lnTo>
                    <a:pt x="2433244" y="200228"/>
                  </a:lnTo>
                  <a:lnTo>
                    <a:pt x="2433244" y="202260"/>
                  </a:lnTo>
                  <a:lnTo>
                    <a:pt x="2433244" y="200876"/>
                  </a:lnTo>
                  <a:lnTo>
                    <a:pt x="2433244" y="202260"/>
                  </a:lnTo>
                  <a:lnTo>
                    <a:pt x="2433244" y="200876"/>
                  </a:lnTo>
                  <a:lnTo>
                    <a:pt x="2433295" y="200876"/>
                  </a:lnTo>
                  <a:lnTo>
                    <a:pt x="2433295" y="200228"/>
                  </a:lnTo>
                  <a:lnTo>
                    <a:pt x="2433295" y="200876"/>
                  </a:lnTo>
                  <a:lnTo>
                    <a:pt x="2433295" y="200228"/>
                  </a:lnTo>
                  <a:lnTo>
                    <a:pt x="2433397" y="200876"/>
                  </a:lnTo>
                  <a:lnTo>
                    <a:pt x="2433397" y="200228"/>
                  </a:lnTo>
                  <a:lnTo>
                    <a:pt x="2433397" y="200876"/>
                  </a:lnTo>
                  <a:lnTo>
                    <a:pt x="2433397" y="200228"/>
                  </a:lnTo>
                  <a:lnTo>
                    <a:pt x="2433397" y="200876"/>
                  </a:lnTo>
                  <a:lnTo>
                    <a:pt x="2433397" y="200228"/>
                  </a:lnTo>
                  <a:lnTo>
                    <a:pt x="2433447" y="200228"/>
                  </a:lnTo>
                  <a:lnTo>
                    <a:pt x="2433447" y="200876"/>
                  </a:lnTo>
                  <a:lnTo>
                    <a:pt x="2433447" y="200228"/>
                  </a:lnTo>
                  <a:lnTo>
                    <a:pt x="2433447" y="200876"/>
                  </a:lnTo>
                  <a:lnTo>
                    <a:pt x="2433447" y="200228"/>
                  </a:lnTo>
                  <a:lnTo>
                    <a:pt x="2433447" y="200876"/>
                  </a:lnTo>
                  <a:lnTo>
                    <a:pt x="2433447" y="200228"/>
                  </a:lnTo>
                  <a:lnTo>
                    <a:pt x="2433447" y="200876"/>
                  </a:lnTo>
                  <a:lnTo>
                    <a:pt x="2433498" y="200228"/>
                  </a:lnTo>
                  <a:lnTo>
                    <a:pt x="2433498" y="200876"/>
                  </a:lnTo>
                  <a:lnTo>
                    <a:pt x="2433498" y="199530"/>
                  </a:lnTo>
                  <a:lnTo>
                    <a:pt x="2433600" y="199530"/>
                  </a:lnTo>
                  <a:lnTo>
                    <a:pt x="2433600" y="197447"/>
                  </a:lnTo>
                  <a:lnTo>
                    <a:pt x="2433600" y="198831"/>
                  </a:lnTo>
                  <a:lnTo>
                    <a:pt x="2433600" y="196799"/>
                  </a:lnTo>
                  <a:lnTo>
                    <a:pt x="2433638" y="196799"/>
                  </a:lnTo>
                  <a:lnTo>
                    <a:pt x="2433638" y="198831"/>
                  </a:lnTo>
                  <a:lnTo>
                    <a:pt x="2433638" y="196799"/>
                  </a:lnTo>
                  <a:lnTo>
                    <a:pt x="2433638" y="198831"/>
                  </a:lnTo>
                  <a:lnTo>
                    <a:pt x="2433689" y="198831"/>
                  </a:lnTo>
                  <a:lnTo>
                    <a:pt x="2433689" y="200228"/>
                  </a:lnTo>
                  <a:lnTo>
                    <a:pt x="2433689" y="198831"/>
                  </a:lnTo>
                  <a:lnTo>
                    <a:pt x="2433689" y="199530"/>
                  </a:lnTo>
                  <a:lnTo>
                    <a:pt x="2433689" y="198831"/>
                  </a:lnTo>
                  <a:lnTo>
                    <a:pt x="2433689" y="200228"/>
                  </a:lnTo>
                  <a:lnTo>
                    <a:pt x="2433740" y="200228"/>
                  </a:lnTo>
                  <a:lnTo>
                    <a:pt x="2433740" y="200876"/>
                  </a:lnTo>
                  <a:lnTo>
                    <a:pt x="2433740" y="200228"/>
                  </a:lnTo>
                  <a:lnTo>
                    <a:pt x="2433740" y="200876"/>
                  </a:lnTo>
                  <a:lnTo>
                    <a:pt x="2433841" y="200876"/>
                  </a:lnTo>
                  <a:lnTo>
                    <a:pt x="2433841" y="202260"/>
                  </a:lnTo>
                  <a:lnTo>
                    <a:pt x="2433841" y="200228"/>
                  </a:lnTo>
                  <a:lnTo>
                    <a:pt x="2433841" y="200876"/>
                  </a:lnTo>
                  <a:lnTo>
                    <a:pt x="2433841" y="200228"/>
                  </a:lnTo>
                  <a:lnTo>
                    <a:pt x="2433841" y="200876"/>
                  </a:lnTo>
                  <a:lnTo>
                    <a:pt x="2433892" y="202260"/>
                  </a:lnTo>
                  <a:lnTo>
                    <a:pt x="2433892" y="200876"/>
                  </a:lnTo>
                  <a:lnTo>
                    <a:pt x="2433892" y="202260"/>
                  </a:lnTo>
                  <a:lnTo>
                    <a:pt x="2433892" y="200228"/>
                  </a:lnTo>
                  <a:lnTo>
                    <a:pt x="2433892" y="200876"/>
                  </a:lnTo>
                  <a:lnTo>
                    <a:pt x="2433892" y="200228"/>
                  </a:lnTo>
                  <a:lnTo>
                    <a:pt x="2433892" y="200876"/>
                  </a:lnTo>
                  <a:lnTo>
                    <a:pt x="2433943" y="200876"/>
                  </a:lnTo>
                  <a:lnTo>
                    <a:pt x="2433943" y="202260"/>
                  </a:lnTo>
                  <a:lnTo>
                    <a:pt x="2433943" y="200228"/>
                  </a:lnTo>
                  <a:lnTo>
                    <a:pt x="2433943" y="200876"/>
                  </a:lnTo>
                  <a:lnTo>
                    <a:pt x="2433943" y="200228"/>
                  </a:lnTo>
                  <a:lnTo>
                    <a:pt x="2434044" y="200876"/>
                  </a:lnTo>
                  <a:lnTo>
                    <a:pt x="2434044" y="200228"/>
                  </a:lnTo>
                  <a:lnTo>
                    <a:pt x="2434044" y="200876"/>
                  </a:lnTo>
                  <a:lnTo>
                    <a:pt x="2434044" y="199530"/>
                  </a:lnTo>
                  <a:lnTo>
                    <a:pt x="2434095" y="199530"/>
                  </a:lnTo>
                  <a:lnTo>
                    <a:pt x="2434095" y="196799"/>
                  </a:lnTo>
                  <a:lnTo>
                    <a:pt x="2434095" y="197447"/>
                  </a:lnTo>
                  <a:lnTo>
                    <a:pt x="2434146" y="198831"/>
                  </a:lnTo>
                  <a:lnTo>
                    <a:pt x="2434146" y="199530"/>
                  </a:lnTo>
                  <a:lnTo>
                    <a:pt x="2434146" y="196799"/>
                  </a:lnTo>
                  <a:lnTo>
                    <a:pt x="2434146" y="199530"/>
                  </a:lnTo>
                  <a:lnTo>
                    <a:pt x="2434184" y="199530"/>
                  </a:lnTo>
                  <a:lnTo>
                    <a:pt x="2434184" y="200228"/>
                  </a:lnTo>
                  <a:lnTo>
                    <a:pt x="2434184" y="198831"/>
                  </a:lnTo>
                  <a:lnTo>
                    <a:pt x="2434184" y="200228"/>
                  </a:lnTo>
                  <a:lnTo>
                    <a:pt x="2434184" y="199530"/>
                  </a:lnTo>
                  <a:lnTo>
                    <a:pt x="2434184" y="200228"/>
                  </a:lnTo>
                  <a:lnTo>
                    <a:pt x="2434286" y="200228"/>
                  </a:lnTo>
                  <a:lnTo>
                    <a:pt x="2434286" y="199530"/>
                  </a:lnTo>
                  <a:lnTo>
                    <a:pt x="2434286" y="200228"/>
                  </a:lnTo>
                  <a:lnTo>
                    <a:pt x="2434337" y="200228"/>
                  </a:lnTo>
                  <a:lnTo>
                    <a:pt x="2434337" y="199530"/>
                  </a:lnTo>
                  <a:lnTo>
                    <a:pt x="2434337" y="200876"/>
                  </a:lnTo>
                  <a:lnTo>
                    <a:pt x="2434337" y="200228"/>
                  </a:lnTo>
                  <a:lnTo>
                    <a:pt x="2434337" y="200876"/>
                  </a:lnTo>
                  <a:lnTo>
                    <a:pt x="2434387" y="200876"/>
                  </a:lnTo>
                  <a:lnTo>
                    <a:pt x="2434387" y="200228"/>
                  </a:lnTo>
                  <a:lnTo>
                    <a:pt x="2434387" y="200876"/>
                  </a:lnTo>
                  <a:lnTo>
                    <a:pt x="2434489" y="200228"/>
                  </a:lnTo>
                  <a:lnTo>
                    <a:pt x="2434489" y="202260"/>
                  </a:lnTo>
                  <a:lnTo>
                    <a:pt x="2434489" y="200228"/>
                  </a:lnTo>
                  <a:lnTo>
                    <a:pt x="2434489" y="200876"/>
                  </a:lnTo>
                  <a:lnTo>
                    <a:pt x="2434489" y="200228"/>
                  </a:lnTo>
                  <a:lnTo>
                    <a:pt x="2434540" y="200228"/>
                  </a:lnTo>
                  <a:lnTo>
                    <a:pt x="2434540" y="199530"/>
                  </a:lnTo>
                  <a:lnTo>
                    <a:pt x="2434540" y="200228"/>
                  </a:lnTo>
                  <a:lnTo>
                    <a:pt x="2434540" y="198831"/>
                  </a:lnTo>
                  <a:lnTo>
                    <a:pt x="2434590" y="198831"/>
                  </a:lnTo>
                  <a:lnTo>
                    <a:pt x="2434590" y="196113"/>
                  </a:lnTo>
                  <a:lnTo>
                    <a:pt x="2434590" y="196799"/>
                  </a:lnTo>
                  <a:lnTo>
                    <a:pt x="2434641" y="196799"/>
                  </a:lnTo>
                  <a:lnTo>
                    <a:pt x="2434641" y="196113"/>
                  </a:lnTo>
                  <a:lnTo>
                    <a:pt x="2434641" y="198831"/>
                  </a:lnTo>
                  <a:lnTo>
                    <a:pt x="2434730" y="198831"/>
                  </a:lnTo>
                  <a:lnTo>
                    <a:pt x="2434730" y="199530"/>
                  </a:lnTo>
                  <a:lnTo>
                    <a:pt x="2434832" y="199530"/>
                  </a:lnTo>
                  <a:lnTo>
                    <a:pt x="2434832" y="198831"/>
                  </a:lnTo>
                  <a:lnTo>
                    <a:pt x="2434832" y="199530"/>
                  </a:lnTo>
                  <a:lnTo>
                    <a:pt x="2434832" y="198831"/>
                  </a:lnTo>
                  <a:lnTo>
                    <a:pt x="2434832" y="200228"/>
                  </a:lnTo>
                  <a:lnTo>
                    <a:pt x="2434832" y="199530"/>
                  </a:lnTo>
                  <a:lnTo>
                    <a:pt x="2434832" y="200228"/>
                  </a:lnTo>
                  <a:lnTo>
                    <a:pt x="2434883" y="199530"/>
                  </a:lnTo>
                  <a:lnTo>
                    <a:pt x="2434883" y="200876"/>
                  </a:lnTo>
                  <a:lnTo>
                    <a:pt x="2434883" y="200228"/>
                  </a:lnTo>
                  <a:lnTo>
                    <a:pt x="2434883" y="200876"/>
                  </a:lnTo>
                  <a:lnTo>
                    <a:pt x="2434883" y="200228"/>
                  </a:lnTo>
                  <a:lnTo>
                    <a:pt x="2434984" y="200876"/>
                  </a:lnTo>
                  <a:lnTo>
                    <a:pt x="2434984" y="200228"/>
                  </a:lnTo>
                  <a:lnTo>
                    <a:pt x="2434984" y="200876"/>
                  </a:lnTo>
                  <a:lnTo>
                    <a:pt x="2434984" y="200228"/>
                  </a:lnTo>
                  <a:lnTo>
                    <a:pt x="2434984" y="200876"/>
                  </a:lnTo>
                  <a:lnTo>
                    <a:pt x="2434984" y="200228"/>
                  </a:lnTo>
                  <a:lnTo>
                    <a:pt x="2435035" y="200228"/>
                  </a:lnTo>
                  <a:lnTo>
                    <a:pt x="2435035" y="197447"/>
                  </a:lnTo>
                  <a:lnTo>
                    <a:pt x="2435086" y="197447"/>
                  </a:lnTo>
                  <a:lnTo>
                    <a:pt x="2435086" y="196799"/>
                  </a:lnTo>
                  <a:lnTo>
                    <a:pt x="2435086" y="197447"/>
                  </a:lnTo>
                  <a:lnTo>
                    <a:pt x="2435187" y="197447"/>
                  </a:lnTo>
                  <a:lnTo>
                    <a:pt x="2435187" y="196113"/>
                  </a:lnTo>
                  <a:lnTo>
                    <a:pt x="2435187" y="198831"/>
                  </a:lnTo>
                  <a:lnTo>
                    <a:pt x="2435225" y="198831"/>
                  </a:lnTo>
                  <a:lnTo>
                    <a:pt x="2435225" y="197447"/>
                  </a:lnTo>
                  <a:lnTo>
                    <a:pt x="2435225" y="198831"/>
                  </a:lnTo>
                  <a:lnTo>
                    <a:pt x="2435276" y="198831"/>
                  </a:lnTo>
                  <a:lnTo>
                    <a:pt x="2435276" y="197447"/>
                  </a:lnTo>
                  <a:lnTo>
                    <a:pt x="2435276" y="198831"/>
                  </a:lnTo>
                  <a:lnTo>
                    <a:pt x="2435276" y="197447"/>
                  </a:lnTo>
                  <a:lnTo>
                    <a:pt x="2435276" y="198831"/>
                  </a:lnTo>
                  <a:lnTo>
                    <a:pt x="2435327" y="197447"/>
                  </a:lnTo>
                  <a:lnTo>
                    <a:pt x="2435327" y="198831"/>
                  </a:lnTo>
                  <a:lnTo>
                    <a:pt x="2435327" y="197447"/>
                  </a:lnTo>
                  <a:lnTo>
                    <a:pt x="2435327" y="199530"/>
                  </a:lnTo>
                  <a:lnTo>
                    <a:pt x="2435327" y="197447"/>
                  </a:lnTo>
                  <a:lnTo>
                    <a:pt x="2435327" y="198831"/>
                  </a:lnTo>
                  <a:lnTo>
                    <a:pt x="2435429" y="198831"/>
                  </a:lnTo>
                  <a:lnTo>
                    <a:pt x="2435429" y="200228"/>
                  </a:lnTo>
                  <a:lnTo>
                    <a:pt x="2435429" y="199530"/>
                  </a:lnTo>
                  <a:lnTo>
                    <a:pt x="2435480" y="199530"/>
                  </a:lnTo>
                  <a:lnTo>
                    <a:pt x="2435480" y="200228"/>
                  </a:lnTo>
                  <a:lnTo>
                    <a:pt x="2435480" y="199530"/>
                  </a:lnTo>
                  <a:lnTo>
                    <a:pt x="2435480" y="200228"/>
                  </a:lnTo>
                  <a:lnTo>
                    <a:pt x="2435480" y="199530"/>
                  </a:lnTo>
                  <a:lnTo>
                    <a:pt x="2435480" y="200228"/>
                  </a:lnTo>
                  <a:lnTo>
                    <a:pt x="2435480" y="199530"/>
                  </a:lnTo>
                  <a:lnTo>
                    <a:pt x="2435530" y="199530"/>
                  </a:lnTo>
                  <a:lnTo>
                    <a:pt x="2435530" y="197447"/>
                  </a:lnTo>
                  <a:lnTo>
                    <a:pt x="2435632" y="197447"/>
                  </a:lnTo>
                  <a:lnTo>
                    <a:pt x="2435632" y="198831"/>
                  </a:lnTo>
                  <a:lnTo>
                    <a:pt x="2435632" y="197447"/>
                  </a:lnTo>
                  <a:lnTo>
                    <a:pt x="2435683" y="197447"/>
                  </a:lnTo>
                  <a:lnTo>
                    <a:pt x="2435683" y="200228"/>
                  </a:lnTo>
                  <a:lnTo>
                    <a:pt x="2435683" y="198831"/>
                  </a:lnTo>
                  <a:lnTo>
                    <a:pt x="2435734" y="198831"/>
                  </a:lnTo>
                  <a:lnTo>
                    <a:pt x="2435734" y="200876"/>
                  </a:lnTo>
                  <a:lnTo>
                    <a:pt x="2435734" y="199530"/>
                  </a:lnTo>
                  <a:lnTo>
                    <a:pt x="2435734" y="200228"/>
                  </a:lnTo>
                  <a:lnTo>
                    <a:pt x="2435734" y="199530"/>
                  </a:lnTo>
                  <a:lnTo>
                    <a:pt x="2435734" y="200228"/>
                  </a:lnTo>
                  <a:lnTo>
                    <a:pt x="2435734" y="199530"/>
                  </a:lnTo>
                  <a:lnTo>
                    <a:pt x="2435772" y="199530"/>
                  </a:lnTo>
                  <a:lnTo>
                    <a:pt x="2435772" y="200228"/>
                  </a:lnTo>
                  <a:lnTo>
                    <a:pt x="2435772" y="199530"/>
                  </a:lnTo>
                  <a:lnTo>
                    <a:pt x="2435873" y="200228"/>
                  </a:lnTo>
                  <a:lnTo>
                    <a:pt x="2435873" y="199530"/>
                  </a:lnTo>
                  <a:lnTo>
                    <a:pt x="2435873" y="200876"/>
                  </a:lnTo>
                  <a:lnTo>
                    <a:pt x="2435873" y="200228"/>
                  </a:lnTo>
                  <a:lnTo>
                    <a:pt x="2435924" y="200228"/>
                  </a:lnTo>
                  <a:lnTo>
                    <a:pt x="2435924" y="200876"/>
                  </a:lnTo>
                  <a:lnTo>
                    <a:pt x="2435924" y="200228"/>
                  </a:lnTo>
                  <a:lnTo>
                    <a:pt x="2435924" y="200876"/>
                  </a:lnTo>
                  <a:lnTo>
                    <a:pt x="2435924" y="200228"/>
                  </a:lnTo>
                  <a:lnTo>
                    <a:pt x="2435924" y="200876"/>
                  </a:lnTo>
                  <a:lnTo>
                    <a:pt x="2435924" y="200228"/>
                  </a:lnTo>
                  <a:lnTo>
                    <a:pt x="2435975" y="200228"/>
                  </a:lnTo>
                  <a:lnTo>
                    <a:pt x="2435975" y="199530"/>
                  </a:lnTo>
                  <a:lnTo>
                    <a:pt x="2435975" y="200228"/>
                  </a:lnTo>
                  <a:lnTo>
                    <a:pt x="2435975" y="199530"/>
                  </a:lnTo>
                  <a:lnTo>
                    <a:pt x="2435975" y="200228"/>
                  </a:lnTo>
                  <a:lnTo>
                    <a:pt x="2435975" y="199530"/>
                  </a:lnTo>
                  <a:lnTo>
                    <a:pt x="2436076" y="199530"/>
                  </a:lnTo>
                  <a:lnTo>
                    <a:pt x="2436076" y="197447"/>
                  </a:lnTo>
                  <a:lnTo>
                    <a:pt x="2436076" y="198831"/>
                  </a:lnTo>
                  <a:lnTo>
                    <a:pt x="2436127" y="198831"/>
                  </a:lnTo>
                  <a:lnTo>
                    <a:pt x="2436127" y="197447"/>
                  </a:lnTo>
                  <a:lnTo>
                    <a:pt x="2436127" y="200228"/>
                  </a:lnTo>
                  <a:lnTo>
                    <a:pt x="2436127" y="198831"/>
                  </a:lnTo>
                  <a:lnTo>
                    <a:pt x="2436127" y="199530"/>
                  </a:lnTo>
                  <a:lnTo>
                    <a:pt x="2436178" y="199530"/>
                  </a:lnTo>
                  <a:lnTo>
                    <a:pt x="2436178" y="200876"/>
                  </a:lnTo>
                  <a:lnTo>
                    <a:pt x="2436178" y="199530"/>
                  </a:lnTo>
                  <a:lnTo>
                    <a:pt x="2436178" y="200228"/>
                  </a:lnTo>
                  <a:lnTo>
                    <a:pt x="2436229" y="200876"/>
                  </a:lnTo>
                  <a:lnTo>
                    <a:pt x="2436229" y="200228"/>
                  </a:lnTo>
                  <a:lnTo>
                    <a:pt x="2436229" y="200876"/>
                  </a:lnTo>
                  <a:lnTo>
                    <a:pt x="2436229" y="200228"/>
                  </a:lnTo>
                  <a:lnTo>
                    <a:pt x="2436229" y="200876"/>
                  </a:lnTo>
                  <a:lnTo>
                    <a:pt x="2436229" y="200228"/>
                  </a:lnTo>
                  <a:lnTo>
                    <a:pt x="2436318" y="200228"/>
                  </a:lnTo>
                  <a:lnTo>
                    <a:pt x="2436318" y="200876"/>
                  </a:lnTo>
                  <a:lnTo>
                    <a:pt x="2436318" y="200228"/>
                  </a:lnTo>
                  <a:lnTo>
                    <a:pt x="2436369" y="200228"/>
                  </a:lnTo>
                  <a:lnTo>
                    <a:pt x="2436369" y="200876"/>
                  </a:lnTo>
                  <a:lnTo>
                    <a:pt x="2436369" y="200228"/>
                  </a:lnTo>
                  <a:lnTo>
                    <a:pt x="2436369" y="200876"/>
                  </a:lnTo>
                  <a:lnTo>
                    <a:pt x="2436419" y="200876"/>
                  </a:lnTo>
                  <a:lnTo>
                    <a:pt x="2436419" y="200228"/>
                  </a:lnTo>
                  <a:lnTo>
                    <a:pt x="2436419" y="200876"/>
                  </a:lnTo>
                  <a:lnTo>
                    <a:pt x="2436419" y="200228"/>
                  </a:lnTo>
                  <a:lnTo>
                    <a:pt x="2436419" y="200876"/>
                  </a:lnTo>
                  <a:lnTo>
                    <a:pt x="2436419" y="200228"/>
                  </a:lnTo>
                  <a:lnTo>
                    <a:pt x="2436419" y="200876"/>
                  </a:lnTo>
                  <a:lnTo>
                    <a:pt x="2436470" y="200876"/>
                  </a:lnTo>
                  <a:lnTo>
                    <a:pt x="2436470" y="198831"/>
                  </a:lnTo>
                  <a:lnTo>
                    <a:pt x="2436572" y="198831"/>
                  </a:lnTo>
                  <a:lnTo>
                    <a:pt x="2436572" y="196799"/>
                  </a:lnTo>
                  <a:lnTo>
                    <a:pt x="2436572" y="197447"/>
                  </a:lnTo>
                  <a:lnTo>
                    <a:pt x="2436572" y="196113"/>
                  </a:lnTo>
                  <a:lnTo>
                    <a:pt x="2436622" y="196113"/>
                  </a:lnTo>
                  <a:lnTo>
                    <a:pt x="2436622" y="198831"/>
                  </a:lnTo>
                  <a:lnTo>
                    <a:pt x="2436622" y="196799"/>
                  </a:lnTo>
                  <a:lnTo>
                    <a:pt x="2436622" y="198831"/>
                  </a:lnTo>
                  <a:lnTo>
                    <a:pt x="2436673" y="198831"/>
                  </a:lnTo>
                  <a:lnTo>
                    <a:pt x="2436673" y="200228"/>
                  </a:lnTo>
                  <a:lnTo>
                    <a:pt x="2436673" y="198831"/>
                  </a:lnTo>
                  <a:lnTo>
                    <a:pt x="2436673" y="199530"/>
                  </a:lnTo>
                  <a:lnTo>
                    <a:pt x="2436775" y="199530"/>
                  </a:lnTo>
                  <a:lnTo>
                    <a:pt x="2436775" y="200228"/>
                  </a:lnTo>
                  <a:lnTo>
                    <a:pt x="2436775" y="199530"/>
                  </a:lnTo>
                  <a:lnTo>
                    <a:pt x="2436775" y="200228"/>
                  </a:lnTo>
                  <a:lnTo>
                    <a:pt x="2436775" y="199530"/>
                  </a:lnTo>
                  <a:lnTo>
                    <a:pt x="2436775" y="200228"/>
                  </a:lnTo>
                  <a:lnTo>
                    <a:pt x="2436775" y="199530"/>
                  </a:lnTo>
                  <a:lnTo>
                    <a:pt x="2436775" y="200228"/>
                  </a:lnTo>
                  <a:lnTo>
                    <a:pt x="2436775" y="199530"/>
                  </a:lnTo>
                  <a:lnTo>
                    <a:pt x="2436775" y="200228"/>
                  </a:lnTo>
                  <a:lnTo>
                    <a:pt x="2436813" y="199530"/>
                  </a:lnTo>
                  <a:lnTo>
                    <a:pt x="2436813" y="200228"/>
                  </a:lnTo>
                  <a:lnTo>
                    <a:pt x="2436813" y="199530"/>
                  </a:lnTo>
                  <a:lnTo>
                    <a:pt x="2436813" y="200228"/>
                  </a:lnTo>
                  <a:lnTo>
                    <a:pt x="2436813" y="199530"/>
                  </a:lnTo>
                  <a:lnTo>
                    <a:pt x="2436813" y="200876"/>
                  </a:lnTo>
                  <a:lnTo>
                    <a:pt x="2436864" y="200876"/>
                  </a:lnTo>
                  <a:lnTo>
                    <a:pt x="2436864" y="200228"/>
                  </a:lnTo>
                  <a:lnTo>
                    <a:pt x="2436864" y="202260"/>
                  </a:lnTo>
                  <a:lnTo>
                    <a:pt x="2436864" y="200876"/>
                  </a:lnTo>
                  <a:lnTo>
                    <a:pt x="2436864" y="202260"/>
                  </a:lnTo>
                  <a:lnTo>
                    <a:pt x="2436864" y="200876"/>
                  </a:lnTo>
                  <a:lnTo>
                    <a:pt x="2436864" y="202260"/>
                  </a:lnTo>
                  <a:lnTo>
                    <a:pt x="2436864" y="200876"/>
                  </a:lnTo>
                  <a:lnTo>
                    <a:pt x="2436915" y="200876"/>
                  </a:lnTo>
                  <a:lnTo>
                    <a:pt x="2436915" y="200228"/>
                  </a:lnTo>
                  <a:lnTo>
                    <a:pt x="2436915" y="200876"/>
                  </a:lnTo>
                  <a:lnTo>
                    <a:pt x="2436915" y="200228"/>
                  </a:lnTo>
                  <a:lnTo>
                    <a:pt x="2437016" y="200228"/>
                  </a:lnTo>
                  <a:lnTo>
                    <a:pt x="2437016" y="199530"/>
                  </a:lnTo>
                  <a:lnTo>
                    <a:pt x="2437016" y="200228"/>
                  </a:lnTo>
                  <a:lnTo>
                    <a:pt x="2437016" y="199530"/>
                  </a:lnTo>
                  <a:lnTo>
                    <a:pt x="2437016" y="200228"/>
                  </a:lnTo>
                  <a:lnTo>
                    <a:pt x="2437016" y="198831"/>
                  </a:lnTo>
                  <a:lnTo>
                    <a:pt x="2437016" y="199530"/>
                  </a:lnTo>
                  <a:lnTo>
                    <a:pt x="2437016" y="198831"/>
                  </a:lnTo>
                  <a:lnTo>
                    <a:pt x="2437067" y="199530"/>
                  </a:lnTo>
                  <a:lnTo>
                    <a:pt x="2437067" y="197447"/>
                  </a:lnTo>
                  <a:lnTo>
                    <a:pt x="2437067" y="198831"/>
                  </a:lnTo>
                  <a:lnTo>
                    <a:pt x="2437067" y="196799"/>
                  </a:lnTo>
                  <a:lnTo>
                    <a:pt x="2437067" y="198831"/>
                  </a:lnTo>
                  <a:lnTo>
                    <a:pt x="2437118" y="198831"/>
                  </a:lnTo>
                  <a:lnTo>
                    <a:pt x="2437118" y="199530"/>
                  </a:lnTo>
                  <a:lnTo>
                    <a:pt x="2437118" y="197447"/>
                  </a:lnTo>
                  <a:lnTo>
                    <a:pt x="2437118" y="200228"/>
                  </a:lnTo>
                  <a:lnTo>
                    <a:pt x="2437219" y="200228"/>
                  </a:lnTo>
                  <a:lnTo>
                    <a:pt x="2437219" y="198831"/>
                  </a:lnTo>
                  <a:lnTo>
                    <a:pt x="2437219" y="200228"/>
                  </a:lnTo>
                  <a:lnTo>
                    <a:pt x="2437270" y="200228"/>
                  </a:lnTo>
                  <a:lnTo>
                    <a:pt x="2437270" y="199530"/>
                  </a:lnTo>
                  <a:lnTo>
                    <a:pt x="2437270" y="200228"/>
                  </a:lnTo>
                  <a:lnTo>
                    <a:pt x="2437321" y="200228"/>
                  </a:lnTo>
                  <a:lnTo>
                    <a:pt x="2437321" y="199530"/>
                  </a:lnTo>
                  <a:lnTo>
                    <a:pt x="2437321" y="200876"/>
                  </a:lnTo>
                  <a:lnTo>
                    <a:pt x="2437321" y="200228"/>
                  </a:lnTo>
                  <a:lnTo>
                    <a:pt x="2437359" y="200228"/>
                  </a:lnTo>
                  <a:lnTo>
                    <a:pt x="2437359" y="202260"/>
                  </a:lnTo>
                  <a:lnTo>
                    <a:pt x="2437359" y="200876"/>
                  </a:lnTo>
                  <a:lnTo>
                    <a:pt x="2437359" y="202260"/>
                  </a:lnTo>
                  <a:lnTo>
                    <a:pt x="2437359" y="200876"/>
                  </a:lnTo>
                  <a:lnTo>
                    <a:pt x="2437461" y="200876"/>
                  </a:lnTo>
                  <a:lnTo>
                    <a:pt x="2437461" y="200228"/>
                  </a:lnTo>
                  <a:lnTo>
                    <a:pt x="2437461" y="200876"/>
                  </a:lnTo>
                  <a:lnTo>
                    <a:pt x="2437461" y="200228"/>
                  </a:lnTo>
                  <a:lnTo>
                    <a:pt x="2437461" y="200876"/>
                  </a:lnTo>
                  <a:lnTo>
                    <a:pt x="2437461" y="200228"/>
                  </a:lnTo>
                  <a:lnTo>
                    <a:pt x="2437512" y="200228"/>
                  </a:lnTo>
                  <a:lnTo>
                    <a:pt x="2437512" y="197447"/>
                  </a:lnTo>
                  <a:lnTo>
                    <a:pt x="2437562" y="198831"/>
                  </a:lnTo>
                  <a:lnTo>
                    <a:pt x="2437562" y="196799"/>
                  </a:lnTo>
                  <a:lnTo>
                    <a:pt x="2437562" y="197447"/>
                  </a:lnTo>
                  <a:lnTo>
                    <a:pt x="2437562" y="196113"/>
                  </a:lnTo>
                  <a:lnTo>
                    <a:pt x="2437562" y="197447"/>
                  </a:lnTo>
                  <a:lnTo>
                    <a:pt x="2437664" y="198831"/>
                  </a:lnTo>
                  <a:lnTo>
                    <a:pt x="2437664" y="196799"/>
                  </a:lnTo>
                  <a:lnTo>
                    <a:pt x="2437664" y="199530"/>
                  </a:lnTo>
                  <a:lnTo>
                    <a:pt x="2437715" y="199530"/>
                  </a:lnTo>
                  <a:lnTo>
                    <a:pt x="2437715" y="198831"/>
                  </a:lnTo>
                  <a:lnTo>
                    <a:pt x="2437715" y="199530"/>
                  </a:lnTo>
                  <a:lnTo>
                    <a:pt x="2437715" y="198831"/>
                  </a:lnTo>
                  <a:lnTo>
                    <a:pt x="2437715" y="199530"/>
                  </a:lnTo>
                  <a:lnTo>
                    <a:pt x="2437765" y="199530"/>
                  </a:lnTo>
                  <a:lnTo>
                    <a:pt x="2437765" y="198831"/>
                  </a:lnTo>
                  <a:lnTo>
                    <a:pt x="2437765" y="200228"/>
                  </a:lnTo>
                  <a:lnTo>
                    <a:pt x="2437765" y="199530"/>
                  </a:lnTo>
                  <a:lnTo>
                    <a:pt x="2437816" y="199530"/>
                  </a:lnTo>
                  <a:lnTo>
                    <a:pt x="2437816" y="200876"/>
                  </a:lnTo>
                  <a:lnTo>
                    <a:pt x="2437816" y="200228"/>
                  </a:lnTo>
                  <a:lnTo>
                    <a:pt x="2437816" y="200876"/>
                  </a:lnTo>
                  <a:lnTo>
                    <a:pt x="2437816" y="200228"/>
                  </a:lnTo>
                  <a:lnTo>
                    <a:pt x="2437816" y="200876"/>
                  </a:lnTo>
                  <a:lnTo>
                    <a:pt x="2437905" y="200876"/>
                  </a:lnTo>
                  <a:lnTo>
                    <a:pt x="2437905" y="200228"/>
                  </a:lnTo>
                  <a:lnTo>
                    <a:pt x="2437905" y="200876"/>
                  </a:lnTo>
                  <a:lnTo>
                    <a:pt x="2437956" y="200876"/>
                  </a:lnTo>
                  <a:lnTo>
                    <a:pt x="2437956" y="200228"/>
                  </a:lnTo>
                  <a:lnTo>
                    <a:pt x="2437956" y="200876"/>
                  </a:lnTo>
                  <a:lnTo>
                    <a:pt x="2437956" y="200228"/>
                  </a:lnTo>
                  <a:lnTo>
                    <a:pt x="2438007" y="200228"/>
                  </a:lnTo>
                  <a:lnTo>
                    <a:pt x="2438007" y="198831"/>
                  </a:lnTo>
                  <a:lnTo>
                    <a:pt x="2438007" y="199530"/>
                  </a:lnTo>
                  <a:lnTo>
                    <a:pt x="2438007" y="198831"/>
                  </a:lnTo>
                  <a:lnTo>
                    <a:pt x="2438058" y="198831"/>
                  </a:lnTo>
                  <a:lnTo>
                    <a:pt x="2438058" y="196799"/>
                  </a:lnTo>
                  <a:lnTo>
                    <a:pt x="2438058" y="199530"/>
                  </a:lnTo>
                  <a:lnTo>
                    <a:pt x="2438058" y="198831"/>
                  </a:lnTo>
                  <a:lnTo>
                    <a:pt x="2438058" y="199530"/>
                  </a:lnTo>
                  <a:lnTo>
                    <a:pt x="2438058" y="198831"/>
                  </a:lnTo>
                  <a:lnTo>
                    <a:pt x="2438159" y="197447"/>
                  </a:lnTo>
                  <a:lnTo>
                    <a:pt x="2438159" y="196799"/>
                  </a:lnTo>
                  <a:lnTo>
                    <a:pt x="2438159" y="199530"/>
                  </a:lnTo>
                  <a:lnTo>
                    <a:pt x="2438210" y="198831"/>
                  </a:lnTo>
                  <a:lnTo>
                    <a:pt x="2438210" y="197447"/>
                  </a:lnTo>
                  <a:lnTo>
                    <a:pt x="2438210" y="199530"/>
                  </a:lnTo>
                  <a:lnTo>
                    <a:pt x="2438210" y="198831"/>
                  </a:lnTo>
                  <a:lnTo>
                    <a:pt x="2438210" y="199530"/>
                  </a:lnTo>
                  <a:lnTo>
                    <a:pt x="2438210" y="198831"/>
                  </a:lnTo>
                  <a:lnTo>
                    <a:pt x="2438261" y="199530"/>
                  </a:lnTo>
                  <a:lnTo>
                    <a:pt x="2438261" y="198831"/>
                  </a:lnTo>
                  <a:lnTo>
                    <a:pt x="2438261" y="199530"/>
                  </a:lnTo>
                  <a:lnTo>
                    <a:pt x="2438261" y="198831"/>
                  </a:lnTo>
                  <a:lnTo>
                    <a:pt x="2438261" y="199530"/>
                  </a:lnTo>
                  <a:lnTo>
                    <a:pt x="2438261" y="198831"/>
                  </a:lnTo>
                  <a:lnTo>
                    <a:pt x="2438261" y="199530"/>
                  </a:lnTo>
                  <a:lnTo>
                    <a:pt x="2438362" y="199530"/>
                  </a:lnTo>
                  <a:lnTo>
                    <a:pt x="2438362" y="198831"/>
                  </a:lnTo>
                  <a:lnTo>
                    <a:pt x="2438362" y="200228"/>
                  </a:lnTo>
                  <a:lnTo>
                    <a:pt x="2438362" y="199530"/>
                  </a:lnTo>
                  <a:lnTo>
                    <a:pt x="2438362" y="200228"/>
                  </a:lnTo>
                  <a:lnTo>
                    <a:pt x="2438362" y="199530"/>
                  </a:lnTo>
                  <a:lnTo>
                    <a:pt x="2438362" y="200228"/>
                  </a:lnTo>
                  <a:lnTo>
                    <a:pt x="2438362" y="199530"/>
                  </a:lnTo>
                  <a:lnTo>
                    <a:pt x="2438362" y="200228"/>
                  </a:lnTo>
                  <a:lnTo>
                    <a:pt x="2438400" y="200228"/>
                  </a:lnTo>
                  <a:lnTo>
                    <a:pt x="2438400" y="199530"/>
                  </a:lnTo>
                  <a:lnTo>
                    <a:pt x="2438400" y="200228"/>
                  </a:lnTo>
                  <a:lnTo>
                    <a:pt x="2438400" y="199530"/>
                  </a:lnTo>
                  <a:lnTo>
                    <a:pt x="2438400" y="200876"/>
                  </a:lnTo>
                  <a:lnTo>
                    <a:pt x="2438400" y="200228"/>
                  </a:lnTo>
                  <a:lnTo>
                    <a:pt x="2438451" y="200228"/>
                  </a:lnTo>
                  <a:lnTo>
                    <a:pt x="2438451" y="199530"/>
                  </a:lnTo>
                  <a:lnTo>
                    <a:pt x="2438451" y="200228"/>
                  </a:lnTo>
                  <a:lnTo>
                    <a:pt x="2438451" y="199530"/>
                  </a:lnTo>
                  <a:lnTo>
                    <a:pt x="2438451" y="200228"/>
                  </a:lnTo>
                  <a:lnTo>
                    <a:pt x="2438451" y="199530"/>
                  </a:lnTo>
                  <a:lnTo>
                    <a:pt x="2438451" y="200228"/>
                  </a:lnTo>
                  <a:lnTo>
                    <a:pt x="2438502" y="199530"/>
                  </a:lnTo>
                  <a:lnTo>
                    <a:pt x="2438502" y="197447"/>
                  </a:lnTo>
                  <a:lnTo>
                    <a:pt x="2438502" y="198831"/>
                  </a:lnTo>
                  <a:lnTo>
                    <a:pt x="2438604" y="198831"/>
                  </a:lnTo>
                  <a:lnTo>
                    <a:pt x="2438604" y="197447"/>
                  </a:lnTo>
                  <a:lnTo>
                    <a:pt x="2438604" y="199530"/>
                  </a:lnTo>
                  <a:lnTo>
                    <a:pt x="2438604" y="197447"/>
                  </a:lnTo>
                  <a:lnTo>
                    <a:pt x="2438655" y="197447"/>
                  </a:lnTo>
                  <a:lnTo>
                    <a:pt x="2438655" y="200228"/>
                  </a:lnTo>
                  <a:lnTo>
                    <a:pt x="2438655" y="198831"/>
                  </a:lnTo>
                  <a:lnTo>
                    <a:pt x="2438705" y="198831"/>
                  </a:lnTo>
                  <a:lnTo>
                    <a:pt x="2438705" y="199530"/>
                  </a:lnTo>
                  <a:lnTo>
                    <a:pt x="2438705" y="198831"/>
                  </a:lnTo>
                  <a:lnTo>
                    <a:pt x="2438705" y="200228"/>
                  </a:lnTo>
                  <a:lnTo>
                    <a:pt x="2438705" y="199530"/>
                  </a:lnTo>
                  <a:lnTo>
                    <a:pt x="2438705" y="200228"/>
                  </a:lnTo>
                  <a:lnTo>
                    <a:pt x="2438705" y="199530"/>
                  </a:lnTo>
                  <a:lnTo>
                    <a:pt x="2438807" y="199530"/>
                  </a:lnTo>
                  <a:lnTo>
                    <a:pt x="2438807" y="200876"/>
                  </a:lnTo>
                  <a:lnTo>
                    <a:pt x="2438807" y="200228"/>
                  </a:lnTo>
                  <a:lnTo>
                    <a:pt x="2438858" y="200228"/>
                  </a:lnTo>
                  <a:lnTo>
                    <a:pt x="2438858" y="200876"/>
                  </a:lnTo>
                  <a:lnTo>
                    <a:pt x="2438858" y="200228"/>
                  </a:lnTo>
                  <a:lnTo>
                    <a:pt x="2438858" y="200876"/>
                  </a:lnTo>
                  <a:lnTo>
                    <a:pt x="2438909" y="200876"/>
                  </a:lnTo>
                  <a:lnTo>
                    <a:pt x="2438909" y="200228"/>
                  </a:lnTo>
                  <a:lnTo>
                    <a:pt x="2438947" y="200228"/>
                  </a:lnTo>
                  <a:lnTo>
                    <a:pt x="2438947" y="200876"/>
                  </a:lnTo>
                  <a:lnTo>
                    <a:pt x="2438947" y="199530"/>
                  </a:lnTo>
                  <a:lnTo>
                    <a:pt x="2439048" y="199530"/>
                  </a:lnTo>
                  <a:lnTo>
                    <a:pt x="2439048" y="197447"/>
                  </a:lnTo>
                  <a:lnTo>
                    <a:pt x="2439099" y="197447"/>
                  </a:lnTo>
                  <a:lnTo>
                    <a:pt x="2439099" y="199530"/>
                  </a:lnTo>
                  <a:lnTo>
                    <a:pt x="2439099" y="198831"/>
                  </a:lnTo>
                  <a:lnTo>
                    <a:pt x="2439099" y="199530"/>
                  </a:lnTo>
                  <a:lnTo>
                    <a:pt x="2439150" y="199530"/>
                  </a:lnTo>
                  <a:lnTo>
                    <a:pt x="2439150" y="200876"/>
                  </a:lnTo>
                  <a:lnTo>
                    <a:pt x="2439150" y="200228"/>
                  </a:lnTo>
                  <a:lnTo>
                    <a:pt x="2439251" y="200228"/>
                  </a:lnTo>
                  <a:lnTo>
                    <a:pt x="2439251" y="200876"/>
                  </a:lnTo>
                  <a:lnTo>
                    <a:pt x="2439251" y="200228"/>
                  </a:lnTo>
                  <a:lnTo>
                    <a:pt x="2439251" y="200876"/>
                  </a:lnTo>
                  <a:lnTo>
                    <a:pt x="2439302" y="200876"/>
                  </a:lnTo>
                  <a:lnTo>
                    <a:pt x="2439302" y="200228"/>
                  </a:lnTo>
                  <a:lnTo>
                    <a:pt x="2439302" y="200876"/>
                  </a:lnTo>
                  <a:lnTo>
                    <a:pt x="2439302" y="200228"/>
                  </a:lnTo>
                  <a:lnTo>
                    <a:pt x="2439302" y="200876"/>
                  </a:lnTo>
                  <a:lnTo>
                    <a:pt x="2439353" y="200876"/>
                  </a:lnTo>
                  <a:lnTo>
                    <a:pt x="2439353" y="200228"/>
                  </a:lnTo>
                  <a:lnTo>
                    <a:pt x="2439353" y="200876"/>
                  </a:lnTo>
                  <a:lnTo>
                    <a:pt x="2439353" y="200228"/>
                  </a:lnTo>
                  <a:lnTo>
                    <a:pt x="2439493" y="200228"/>
                  </a:lnTo>
                  <a:lnTo>
                    <a:pt x="2439493" y="198831"/>
                  </a:lnTo>
                  <a:lnTo>
                    <a:pt x="2439493" y="199530"/>
                  </a:lnTo>
                  <a:lnTo>
                    <a:pt x="2439493" y="198831"/>
                  </a:lnTo>
                  <a:lnTo>
                    <a:pt x="2439493" y="199530"/>
                  </a:lnTo>
                  <a:lnTo>
                    <a:pt x="2439493" y="198831"/>
                  </a:lnTo>
                  <a:lnTo>
                    <a:pt x="2439544" y="198831"/>
                  </a:lnTo>
                  <a:lnTo>
                    <a:pt x="2439544" y="196799"/>
                  </a:lnTo>
                  <a:lnTo>
                    <a:pt x="2439544" y="198831"/>
                  </a:lnTo>
                  <a:lnTo>
                    <a:pt x="2439594" y="198831"/>
                  </a:lnTo>
                  <a:lnTo>
                    <a:pt x="2439594" y="197447"/>
                  </a:lnTo>
                  <a:lnTo>
                    <a:pt x="2439594" y="200228"/>
                  </a:lnTo>
                  <a:lnTo>
                    <a:pt x="2439594" y="199530"/>
                  </a:lnTo>
                  <a:lnTo>
                    <a:pt x="2439645" y="200228"/>
                  </a:lnTo>
                  <a:lnTo>
                    <a:pt x="2439645" y="199530"/>
                  </a:lnTo>
                  <a:lnTo>
                    <a:pt x="2439645" y="200228"/>
                  </a:lnTo>
                  <a:lnTo>
                    <a:pt x="2439747" y="200228"/>
                  </a:lnTo>
                  <a:lnTo>
                    <a:pt x="2439747" y="200876"/>
                  </a:lnTo>
                  <a:lnTo>
                    <a:pt x="2439747" y="200228"/>
                  </a:lnTo>
                  <a:lnTo>
                    <a:pt x="2439747" y="200876"/>
                  </a:lnTo>
                  <a:lnTo>
                    <a:pt x="2439797" y="200876"/>
                  </a:lnTo>
                  <a:lnTo>
                    <a:pt x="2439797" y="202260"/>
                  </a:lnTo>
                  <a:lnTo>
                    <a:pt x="2439797" y="200876"/>
                  </a:lnTo>
                  <a:lnTo>
                    <a:pt x="2439797" y="202260"/>
                  </a:lnTo>
                  <a:lnTo>
                    <a:pt x="2439797" y="200876"/>
                  </a:lnTo>
                  <a:lnTo>
                    <a:pt x="2439848" y="200876"/>
                  </a:lnTo>
                  <a:lnTo>
                    <a:pt x="2439848" y="202260"/>
                  </a:lnTo>
                  <a:lnTo>
                    <a:pt x="2439848" y="200876"/>
                  </a:lnTo>
                  <a:lnTo>
                    <a:pt x="2439848" y="202260"/>
                  </a:lnTo>
                  <a:lnTo>
                    <a:pt x="2439848" y="200876"/>
                  </a:lnTo>
                  <a:lnTo>
                    <a:pt x="2439848" y="202260"/>
                  </a:lnTo>
                  <a:lnTo>
                    <a:pt x="2439848" y="200876"/>
                  </a:lnTo>
                  <a:lnTo>
                    <a:pt x="2439848" y="202260"/>
                  </a:lnTo>
                  <a:lnTo>
                    <a:pt x="2439848" y="200876"/>
                  </a:lnTo>
                  <a:lnTo>
                    <a:pt x="2439950" y="200876"/>
                  </a:lnTo>
                  <a:lnTo>
                    <a:pt x="2439950" y="200228"/>
                  </a:lnTo>
                  <a:lnTo>
                    <a:pt x="2439950" y="200876"/>
                  </a:lnTo>
                  <a:lnTo>
                    <a:pt x="2439950" y="200228"/>
                  </a:lnTo>
                  <a:lnTo>
                    <a:pt x="2439988" y="200228"/>
                  </a:lnTo>
                  <a:lnTo>
                    <a:pt x="2439988" y="199530"/>
                  </a:lnTo>
                  <a:lnTo>
                    <a:pt x="2439988" y="200228"/>
                  </a:lnTo>
                  <a:lnTo>
                    <a:pt x="2439988" y="198831"/>
                  </a:lnTo>
                  <a:lnTo>
                    <a:pt x="2439988" y="199530"/>
                  </a:lnTo>
                  <a:lnTo>
                    <a:pt x="2439988" y="198831"/>
                  </a:lnTo>
                  <a:lnTo>
                    <a:pt x="2440039" y="198831"/>
                  </a:lnTo>
                  <a:lnTo>
                    <a:pt x="2440039" y="196799"/>
                  </a:lnTo>
                  <a:lnTo>
                    <a:pt x="2440039" y="197447"/>
                  </a:lnTo>
                  <a:lnTo>
                    <a:pt x="2440039" y="196799"/>
                  </a:lnTo>
                  <a:lnTo>
                    <a:pt x="2440039" y="198831"/>
                  </a:lnTo>
                  <a:lnTo>
                    <a:pt x="2440090" y="198831"/>
                  </a:lnTo>
                  <a:lnTo>
                    <a:pt x="2440090" y="196799"/>
                  </a:lnTo>
                  <a:lnTo>
                    <a:pt x="2440090" y="200228"/>
                  </a:lnTo>
                  <a:lnTo>
                    <a:pt x="2440090" y="199530"/>
                  </a:lnTo>
                  <a:lnTo>
                    <a:pt x="2440191" y="199530"/>
                  </a:lnTo>
                  <a:lnTo>
                    <a:pt x="2440191" y="198831"/>
                  </a:lnTo>
                  <a:lnTo>
                    <a:pt x="2440191" y="199530"/>
                  </a:lnTo>
                  <a:lnTo>
                    <a:pt x="2440191" y="198831"/>
                  </a:lnTo>
                  <a:lnTo>
                    <a:pt x="2440191" y="200228"/>
                  </a:lnTo>
                  <a:lnTo>
                    <a:pt x="2440191" y="199530"/>
                  </a:lnTo>
                  <a:lnTo>
                    <a:pt x="2440191" y="200228"/>
                  </a:lnTo>
                  <a:lnTo>
                    <a:pt x="2440242" y="200228"/>
                  </a:lnTo>
                  <a:lnTo>
                    <a:pt x="2440242" y="199530"/>
                  </a:lnTo>
                  <a:lnTo>
                    <a:pt x="2440242" y="200228"/>
                  </a:lnTo>
                  <a:lnTo>
                    <a:pt x="2440242" y="199530"/>
                  </a:lnTo>
                  <a:lnTo>
                    <a:pt x="2440242" y="200228"/>
                  </a:lnTo>
                  <a:lnTo>
                    <a:pt x="2440293" y="200228"/>
                  </a:lnTo>
                  <a:lnTo>
                    <a:pt x="2440293" y="200876"/>
                  </a:lnTo>
                  <a:lnTo>
                    <a:pt x="2440293" y="200228"/>
                  </a:lnTo>
                  <a:lnTo>
                    <a:pt x="2440293" y="200876"/>
                  </a:lnTo>
                  <a:lnTo>
                    <a:pt x="2440293" y="200228"/>
                  </a:lnTo>
                  <a:lnTo>
                    <a:pt x="2440394" y="200228"/>
                  </a:lnTo>
                  <a:lnTo>
                    <a:pt x="2440394" y="200876"/>
                  </a:lnTo>
                  <a:lnTo>
                    <a:pt x="2440394" y="200228"/>
                  </a:lnTo>
                  <a:lnTo>
                    <a:pt x="2440394" y="200876"/>
                  </a:lnTo>
                  <a:lnTo>
                    <a:pt x="2440394" y="200228"/>
                  </a:lnTo>
                  <a:lnTo>
                    <a:pt x="2440394" y="200876"/>
                  </a:lnTo>
                  <a:lnTo>
                    <a:pt x="2440445" y="200876"/>
                  </a:lnTo>
                  <a:lnTo>
                    <a:pt x="2440445" y="200228"/>
                  </a:lnTo>
                  <a:lnTo>
                    <a:pt x="2440496" y="200228"/>
                  </a:lnTo>
                  <a:lnTo>
                    <a:pt x="2440496" y="197447"/>
                  </a:lnTo>
                  <a:lnTo>
                    <a:pt x="2440496" y="198831"/>
                  </a:lnTo>
                  <a:lnTo>
                    <a:pt x="2440534" y="197447"/>
                  </a:lnTo>
                  <a:lnTo>
                    <a:pt x="2440534" y="198831"/>
                  </a:lnTo>
                  <a:lnTo>
                    <a:pt x="2440534" y="196799"/>
                  </a:lnTo>
                  <a:lnTo>
                    <a:pt x="2440534" y="198831"/>
                  </a:lnTo>
                  <a:lnTo>
                    <a:pt x="2440534" y="196799"/>
                  </a:lnTo>
                  <a:lnTo>
                    <a:pt x="2440636" y="196799"/>
                  </a:lnTo>
                  <a:lnTo>
                    <a:pt x="2440636" y="199530"/>
                  </a:lnTo>
                  <a:lnTo>
                    <a:pt x="2440636" y="198831"/>
                  </a:lnTo>
                  <a:lnTo>
                    <a:pt x="2440687" y="197447"/>
                  </a:lnTo>
                  <a:lnTo>
                    <a:pt x="2440687" y="198831"/>
                  </a:lnTo>
                  <a:lnTo>
                    <a:pt x="2440687" y="197447"/>
                  </a:lnTo>
                  <a:lnTo>
                    <a:pt x="2440687" y="199530"/>
                  </a:lnTo>
                  <a:lnTo>
                    <a:pt x="2440687" y="198831"/>
                  </a:lnTo>
                  <a:lnTo>
                    <a:pt x="2440687" y="199530"/>
                  </a:lnTo>
                  <a:lnTo>
                    <a:pt x="2440737" y="199530"/>
                  </a:lnTo>
                  <a:lnTo>
                    <a:pt x="2440737" y="200228"/>
                  </a:lnTo>
                  <a:lnTo>
                    <a:pt x="2440890" y="200228"/>
                  </a:lnTo>
                  <a:lnTo>
                    <a:pt x="2440890" y="200876"/>
                  </a:lnTo>
                  <a:lnTo>
                    <a:pt x="2440890" y="200228"/>
                  </a:lnTo>
                  <a:lnTo>
                    <a:pt x="2440890" y="200876"/>
                  </a:lnTo>
                  <a:lnTo>
                    <a:pt x="2440890" y="200228"/>
                  </a:lnTo>
                  <a:lnTo>
                    <a:pt x="2440890" y="200876"/>
                  </a:lnTo>
                  <a:lnTo>
                    <a:pt x="2440940" y="200876"/>
                  </a:lnTo>
                  <a:lnTo>
                    <a:pt x="2440940" y="200228"/>
                  </a:lnTo>
                  <a:lnTo>
                    <a:pt x="2440940" y="200876"/>
                  </a:lnTo>
                  <a:lnTo>
                    <a:pt x="2440940" y="200228"/>
                  </a:lnTo>
                  <a:lnTo>
                    <a:pt x="2440940" y="200876"/>
                  </a:lnTo>
                  <a:lnTo>
                    <a:pt x="2440940" y="199530"/>
                  </a:lnTo>
                  <a:lnTo>
                    <a:pt x="2440991" y="200228"/>
                  </a:lnTo>
                  <a:lnTo>
                    <a:pt x="2440991" y="199530"/>
                  </a:lnTo>
                  <a:lnTo>
                    <a:pt x="2440991" y="200228"/>
                  </a:lnTo>
                  <a:lnTo>
                    <a:pt x="2440991" y="197447"/>
                  </a:lnTo>
                  <a:lnTo>
                    <a:pt x="2441080" y="197447"/>
                  </a:lnTo>
                  <a:lnTo>
                    <a:pt x="2441080" y="196799"/>
                  </a:lnTo>
                  <a:lnTo>
                    <a:pt x="2441080" y="197447"/>
                  </a:lnTo>
                  <a:lnTo>
                    <a:pt x="2441080" y="196799"/>
                  </a:lnTo>
                  <a:lnTo>
                    <a:pt x="2441131" y="196799"/>
                  </a:lnTo>
                  <a:lnTo>
                    <a:pt x="2441131" y="196113"/>
                  </a:lnTo>
                  <a:lnTo>
                    <a:pt x="2441131" y="198831"/>
                  </a:lnTo>
                  <a:lnTo>
                    <a:pt x="2441131" y="197447"/>
                  </a:lnTo>
                  <a:lnTo>
                    <a:pt x="2441182" y="197447"/>
                  </a:lnTo>
                  <a:lnTo>
                    <a:pt x="2441182" y="198831"/>
                  </a:lnTo>
                  <a:lnTo>
                    <a:pt x="2441182" y="197447"/>
                  </a:lnTo>
                  <a:lnTo>
                    <a:pt x="2441233" y="197447"/>
                  </a:lnTo>
                  <a:lnTo>
                    <a:pt x="2441233" y="198831"/>
                  </a:lnTo>
                  <a:lnTo>
                    <a:pt x="2441233" y="197447"/>
                  </a:lnTo>
                  <a:lnTo>
                    <a:pt x="2441233" y="199530"/>
                  </a:lnTo>
                  <a:lnTo>
                    <a:pt x="2441233" y="198831"/>
                  </a:lnTo>
                  <a:lnTo>
                    <a:pt x="2441233" y="199530"/>
                  </a:lnTo>
                  <a:lnTo>
                    <a:pt x="2441233" y="198831"/>
                  </a:lnTo>
                  <a:lnTo>
                    <a:pt x="2441334" y="198831"/>
                  </a:lnTo>
                  <a:lnTo>
                    <a:pt x="2441334" y="199530"/>
                  </a:lnTo>
                  <a:lnTo>
                    <a:pt x="2441334" y="198831"/>
                  </a:lnTo>
                  <a:lnTo>
                    <a:pt x="2441334" y="199530"/>
                  </a:lnTo>
                  <a:lnTo>
                    <a:pt x="2441334" y="198831"/>
                  </a:lnTo>
                  <a:lnTo>
                    <a:pt x="2441334" y="199530"/>
                  </a:lnTo>
                  <a:lnTo>
                    <a:pt x="2441385" y="199530"/>
                  </a:lnTo>
                  <a:lnTo>
                    <a:pt x="2441385" y="200228"/>
                  </a:lnTo>
                  <a:lnTo>
                    <a:pt x="2441385" y="199530"/>
                  </a:lnTo>
                  <a:lnTo>
                    <a:pt x="2441385" y="200228"/>
                  </a:lnTo>
                  <a:lnTo>
                    <a:pt x="2441436" y="200228"/>
                  </a:lnTo>
                  <a:lnTo>
                    <a:pt x="2441436" y="199530"/>
                  </a:lnTo>
                  <a:lnTo>
                    <a:pt x="2441436" y="200228"/>
                  </a:lnTo>
                  <a:lnTo>
                    <a:pt x="2441436" y="199530"/>
                  </a:lnTo>
                  <a:lnTo>
                    <a:pt x="2441436" y="200228"/>
                  </a:lnTo>
                  <a:lnTo>
                    <a:pt x="2441436" y="199530"/>
                  </a:lnTo>
                  <a:lnTo>
                    <a:pt x="2441436" y="200228"/>
                  </a:lnTo>
                  <a:lnTo>
                    <a:pt x="2441436" y="199530"/>
                  </a:lnTo>
                  <a:lnTo>
                    <a:pt x="2441436" y="200228"/>
                  </a:lnTo>
                  <a:lnTo>
                    <a:pt x="2441436" y="199530"/>
                  </a:lnTo>
                  <a:lnTo>
                    <a:pt x="2441537" y="199530"/>
                  </a:lnTo>
                  <a:lnTo>
                    <a:pt x="2441537" y="200228"/>
                  </a:lnTo>
                  <a:lnTo>
                    <a:pt x="2441537" y="198831"/>
                  </a:lnTo>
                  <a:lnTo>
                    <a:pt x="2441537" y="199530"/>
                  </a:lnTo>
                  <a:lnTo>
                    <a:pt x="2441537" y="197447"/>
                  </a:lnTo>
                  <a:lnTo>
                    <a:pt x="2441575" y="197447"/>
                  </a:lnTo>
                  <a:lnTo>
                    <a:pt x="2441575" y="199530"/>
                  </a:lnTo>
                  <a:lnTo>
                    <a:pt x="2441575" y="197447"/>
                  </a:lnTo>
                  <a:lnTo>
                    <a:pt x="2441575" y="198831"/>
                  </a:lnTo>
                  <a:lnTo>
                    <a:pt x="2441575" y="197447"/>
                  </a:lnTo>
                  <a:lnTo>
                    <a:pt x="2441626" y="198831"/>
                  </a:lnTo>
                  <a:lnTo>
                    <a:pt x="2441626" y="200228"/>
                  </a:lnTo>
                  <a:lnTo>
                    <a:pt x="2441626" y="198831"/>
                  </a:lnTo>
                  <a:lnTo>
                    <a:pt x="2441626" y="200228"/>
                  </a:lnTo>
                  <a:lnTo>
                    <a:pt x="2441677" y="200228"/>
                  </a:lnTo>
                  <a:lnTo>
                    <a:pt x="2441677" y="199530"/>
                  </a:lnTo>
                  <a:lnTo>
                    <a:pt x="2441677" y="200228"/>
                  </a:lnTo>
                  <a:lnTo>
                    <a:pt x="2441677" y="199530"/>
                  </a:lnTo>
                  <a:lnTo>
                    <a:pt x="2441677" y="200228"/>
                  </a:lnTo>
                  <a:lnTo>
                    <a:pt x="2441830" y="200228"/>
                  </a:lnTo>
                  <a:lnTo>
                    <a:pt x="2441830" y="200876"/>
                  </a:lnTo>
                  <a:lnTo>
                    <a:pt x="2441830" y="200228"/>
                  </a:lnTo>
                  <a:lnTo>
                    <a:pt x="2441830" y="200876"/>
                  </a:lnTo>
                  <a:lnTo>
                    <a:pt x="2441830" y="200228"/>
                  </a:lnTo>
                  <a:lnTo>
                    <a:pt x="2441880" y="200228"/>
                  </a:lnTo>
                  <a:lnTo>
                    <a:pt x="2441880" y="200876"/>
                  </a:lnTo>
                  <a:lnTo>
                    <a:pt x="2441880" y="200228"/>
                  </a:lnTo>
                  <a:lnTo>
                    <a:pt x="2441880" y="200876"/>
                  </a:lnTo>
                  <a:lnTo>
                    <a:pt x="2441880" y="200228"/>
                  </a:lnTo>
                  <a:lnTo>
                    <a:pt x="2441982" y="200228"/>
                  </a:lnTo>
                  <a:lnTo>
                    <a:pt x="2441982" y="199530"/>
                  </a:lnTo>
                  <a:lnTo>
                    <a:pt x="2442033" y="199530"/>
                  </a:lnTo>
                  <a:lnTo>
                    <a:pt x="2442033" y="198831"/>
                  </a:lnTo>
                  <a:lnTo>
                    <a:pt x="2442033" y="199530"/>
                  </a:lnTo>
                  <a:lnTo>
                    <a:pt x="2442033" y="198831"/>
                  </a:lnTo>
                  <a:lnTo>
                    <a:pt x="2442033" y="200228"/>
                  </a:lnTo>
                  <a:lnTo>
                    <a:pt x="2442084" y="199530"/>
                  </a:lnTo>
                  <a:lnTo>
                    <a:pt x="2442084" y="200228"/>
                  </a:lnTo>
                  <a:lnTo>
                    <a:pt x="2442084" y="199530"/>
                  </a:lnTo>
                  <a:lnTo>
                    <a:pt x="2442084" y="200228"/>
                  </a:lnTo>
                  <a:lnTo>
                    <a:pt x="2442084" y="198831"/>
                  </a:lnTo>
                  <a:lnTo>
                    <a:pt x="2442084" y="202260"/>
                  </a:lnTo>
                  <a:lnTo>
                    <a:pt x="2442084" y="200876"/>
                  </a:lnTo>
                  <a:lnTo>
                    <a:pt x="2442122" y="200876"/>
                  </a:lnTo>
                  <a:lnTo>
                    <a:pt x="2442122" y="200228"/>
                  </a:lnTo>
                  <a:lnTo>
                    <a:pt x="2442122" y="202260"/>
                  </a:lnTo>
                  <a:lnTo>
                    <a:pt x="2442223" y="202260"/>
                  </a:lnTo>
                  <a:lnTo>
                    <a:pt x="2442223" y="200876"/>
                  </a:lnTo>
                  <a:lnTo>
                    <a:pt x="2442223" y="202260"/>
                  </a:lnTo>
                  <a:lnTo>
                    <a:pt x="2442223" y="200228"/>
                  </a:lnTo>
                  <a:lnTo>
                    <a:pt x="2442223" y="202260"/>
                  </a:lnTo>
                  <a:lnTo>
                    <a:pt x="2442223" y="200876"/>
                  </a:lnTo>
                  <a:lnTo>
                    <a:pt x="2442274" y="200876"/>
                  </a:lnTo>
                  <a:lnTo>
                    <a:pt x="2442274" y="200228"/>
                  </a:lnTo>
                  <a:lnTo>
                    <a:pt x="2442274" y="200876"/>
                  </a:lnTo>
                  <a:lnTo>
                    <a:pt x="2442274" y="200228"/>
                  </a:lnTo>
                  <a:lnTo>
                    <a:pt x="2442274" y="202260"/>
                  </a:lnTo>
                  <a:lnTo>
                    <a:pt x="2442274" y="200228"/>
                  </a:lnTo>
                  <a:lnTo>
                    <a:pt x="2442325" y="200228"/>
                  </a:lnTo>
                  <a:lnTo>
                    <a:pt x="2442325" y="200876"/>
                  </a:lnTo>
                  <a:lnTo>
                    <a:pt x="2442325" y="200228"/>
                  </a:lnTo>
                  <a:lnTo>
                    <a:pt x="2442325" y="200876"/>
                  </a:lnTo>
                  <a:lnTo>
                    <a:pt x="2442325" y="200228"/>
                  </a:lnTo>
                  <a:lnTo>
                    <a:pt x="2442325" y="200876"/>
                  </a:lnTo>
                  <a:lnTo>
                    <a:pt x="2442325" y="200228"/>
                  </a:lnTo>
                  <a:lnTo>
                    <a:pt x="2442325" y="200876"/>
                  </a:lnTo>
                  <a:lnTo>
                    <a:pt x="2442325" y="200228"/>
                  </a:lnTo>
                  <a:lnTo>
                    <a:pt x="2442325" y="200876"/>
                  </a:lnTo>
                  <a:lnTo>
                    <a:pt x="2442325" y="200228"/>
                  </a:lnTo>
                  <a:lnTo>
                    <a:pt x="2442426" y="200876"/>
                  </a:lnTo>
                  <a:lnTo>
                    <a:pt x="2442426" y="200228"/>
                  </a:lnTo>
                  <a:lnTo>
                    <a:pt x="2442426" y="200876"/>
                  </a:lnTo>
                  <a:lnTo>
                    <a:pt x="2442426" y="200228"/>
                  </a:lnTo>
                  <a:lnTo>
                    <a:pt x="2442426" y="200876"/>
                  </a:lnTo>
                  <a:lnTo>
                    <a:pt x="2442426" y="200228"/>
                  </a:lnTo>
                  <a:lnTo>
                    <a:pt x="2442477" y="200228"/>
                  </a:lnTo>
                  <a:lnTo>
                    <a:pt x="2442477" y="197447"/>
                  </a:lnTo>
                  <a:lnTo>
                    <a:pt x="2442528" y="197447"/>
                  </a:lnTo>
                  <a:lnTo>
                    <a:pt x="2442528" y="199530"/>
                  </a:lnTo>
                  <a:lnTo>
                    <a:pt x="2442528" y="198831"/>
                  </a:lnTo>
                  <a:lnTo>
                    <a:pt x="2442528" y="199530"/>
                  </a:lnTo>
                  <a:lnTo>
                    <a:pt x="2442528" y="198831"/>
                  </a:lnTo>
                  <a:lnTo>
                    <a:pt x="2442579" y="198831"/>
                  </a:lnTo>
                  <a:lnTo>
                    <a:pt x="2442579" y="200876"/>
                  </a:lnTo>
                  <a:lnTo>
                    <a:pt x="2442579" y="200228"/>
                  </a:lnTo>
                  <a:lnTo>
                    <a:pt x="2442579" y="200876"/>
                  </a:lnTo>
                  <a:lnTo>
                    <a:pt x="2442579" y="200228"/>
                  </a:lnTo>
                  <a:lnTo>
                    <a:pt x="2442668" y="200228"/>
                  </a:lnTo>
                  <a:lnTo>
                    <a:pt x="2442668" y="199530"/>
                  </a:lnTo>
                  <a:lnTo>
                    <a:pt x="2442668" y="202260"/>
                  </a:lnTo>
                  <a:lnTo>
                    <a:pt x="2442668" y="200876"/>
                  </a:lnTo>
                  <a:lnTo>
                    <a:pt x="2442668" y="202260"/>
                  </a:lnTo>
                  <a:lnTo>
                    <a:pt x="2442668" y="200876"/>
                  </a:lnTo>
                  <a:lnTo>
                    <a:pt x="2442719" y="200876"/>
                  </a:lnTo>
                  <a:lnTo>
                    <a:pt x="2442719" y="202260"/>
                  </a:lnTo>
                  <a:lnTo>
                    <a:pt x="2442719" y="200876"/>
                  </a:lnTo>
                  <a:lnTo>
                    <a:pt x="2442719" y="202260"/>
                  </a:lnTo>
                  <a:lnTo>
                    <a:pt x="2442719" y="200876"/>
                  </a:lnTo>
                  <a:lnTo>
                    <a:pt x="2442769" y="200228"/>
                  </a:lnTo>
                  <a:lnTo>
                    <a:pt x="2442769" y="202260"/>
                  </a:lnTo>
                  <a:lnTo>
                    <a:pt x="2442769" y="200876"/>
                  </a:lnTo>
                  <a:lnTo>
                    <a:pt x="2442769" y="202260"/>
                  </a:lnTo>
                  <a:lnTo>
                    <a:pt x="2442769" y="200876"/>
                  </a:lnTo>
                  <a:lnTo>
                    <a:pt x="2442769" y="202260"/>
                  </a:lnTo>
                  <a:lnTo>
                    <a:pt x="2442820" y="202260"/>
                  </a:lnTo>
                  <a:lnTo>
                    <a:pt x="2442820" y="200876"/>
                  </a:lnTo>
                  <a:lnTo>
                    <a:pt x="2442820" y="202260"/>
                  </a:lnTo>
                  <a:lnTo>
                    <a:pt x="2442820" y="200876"/>
                  </a:lnTo>
                  <a:lnTo>
                    <a:pt x="2442820" y="202260"/>
                  </a:lnTo>
                  <a:lnTo>
                    <a:pt x="2442820" y="200876"/>
                  </a:lnTo>
                  <a:lnTo>
                    <a:pt x="2442922" y="200876"/>
                  </a:lnTo>
                  <a:lnTo>
                    <a:pt x="2442922" y="200228"/>
                  </a:lnTo>
                  <a:lnTo>
                    <a:pt x="2442922" y="200876"/>
                  </a:lnTo>
                  <a:lnTo>
                    <a:pt x="2442922" y="200228"/>
                  </a:lnTo>
                  <a:lnTo>
                    <a:pt x="2442922" y="200876"/>
                  </a:lnTo>
                  <a:lnTo>
                    <a:pt x="2442922" y="200228"/>
                  </a:lnTo>
                  <a:lnTo>
                    <a:pt x="2442972" y="199530"/>
                  </a:lnTo>
                  <a:lnTo>
                    <a:pt x="2442972" y="200228"/>
                  </a:lnTo>
                  <a:lnTo>
                    <a:pt x="2442972" y="199530"/>
                  </a:lnTo>
                  <a:lnTo>
                    <a:pt x="2442972" y="200228"/>
                  </a:lnTo>
                  <a:lnTo>
                    <a:pt x="2442972" y="197447"/>
                  </a:lnTo>
                  <a:lnTo>
                    <a:pt x="2442972" y="199530"/>
                  </a:lnTo>
                  <a:lnTo>
                    <a:pt x="2443023" y="199530"/>
                  </a:lnTo>
                  <a:lnTo>
                    <a:pt x="2443023" y="200228"/>
                  </a:lnTo>
                  <a:lnTo>
                    <a:pt x="2443023" y="198831"/>
                  </a:lnTo>
                  <a:lnTo>
                    <a:pt x="2443023" y="200876"/>
                  </a:lnTo>
                  <a:lnTo>
                    <a:pt x="2443125" y="200876"/>
                  </a:lnTo>
                  <a:lnTo>
                    <a:pt x="2443125" y="199530"/>
                  </a:lnTo>
                  <a:lnTo>
                    <a:pt x="2443125" y="200876"/>
                  </a:lnTo>
                  <a:lnTo>
                    <a:pt x="2443163" y="200876"/>
                  </a:lnTo>
                  <a:lnTo>
                    <a:pt x="2443163" y="202260"/>
                  </a:lnTo>
                  <a:lnTo>
                    <a:pt x="2443163" y="200228"/>
                  </a:lnTo>
                  <a:lnTo>
                    <a:pt x="2443163" y="202260"/>
                  </a:lnTo>
                  <a:lnTo>
                    <a:pt x="2443214" y="202260"/>
                  </a:lnTo>
                  <a:lnTo>
                    <a:pt x="2443214" y="200876"/>
                  </a:lnTo>
                  <a:lnTo>
                    <a:pt x="2443214" y="202260"/>
                  </a:lnTo>
                  <a:lnTo>
                    <a:pt x="2443214" y="200876"/>
                  </a:lnTo>
                  <a:lnTo>
                    <a:pt x="2443214" y="202260"/>
                  </a:lnTo>
                  <a:lnTo>
                    <a:pt x="2443214" y="200876"/>
                  </a:lnTo>
                  <a:lnTo>
                    <a:pt x="2443265" y="200876"/>
                  </a:lnTo>
                  <a:lnTo>
                    <a:pt x="2443265" y="202260"/>
                  </a:lnTo>
                  <a:lnTo>
                    <a:pt x="2443265" y="200876"/>
                  </a:lnTo>
                  <a:lnTo>
                    <a:pt x="2443265" y="202260"/>
                  </a:lnTo>
                  <a:lnTo>
                    <a:pt x="2443265" y="200876"/>
                  </a:lnTo>
                  <a:lnTo>
                    <a:pt x="2443265" y="202260"/>
                  </a:lnTo>
                  <a:lnTo>
                    <a:pt x="2443265" y="200876"/>
                  </a:lnTo>
                  <a:lnTo>
                    <a:pt x="2443366" y="200876"/>
                  </a:lnTo>
                  <a:lnTo>
                    <a:pt x="2443366" y="202260"/>
                  </a:lnTo>
                  <a:lnTo>
                    <a:pt x="2443366" y="200876"/>
                  </a:lnTo>
                  <a:lnTo>
                    <a:pt x="2443366" y="202260"/>
                  </a:lnTo>
                  <a:lnTo>
                    <a:pt x="2443366" y="200876"/>
                  </a:lnTo>
                  <a:lnTo>
                    <a:pt x="2443417" y="200876"/>
                  </a:lnTo>
                  <a:lnTo>
                    <a:pt x="2443417" y="199530"/>
                  </a:lnTo>
                  <a:lnTo>
                    <a:pt x="2443417" y="200228"/>
                  </a:lnTo>
                  <a:lnTo>
                    <a:pt x="2443417" y="199530"/>
                  </a:lnTo>
                  <a:lnTo>
                    <a:pt x="2443417" y="200228"/>
                  </a:lnTo>
                  <a:lnTo>
                    <a:pt x="2443468" y="199530"/>
                  </a:lnTo>
                  <a:lnTo>
                    <a:pt x="2443468" y="196113"/>
                  </a:lnTo>
                  <a:lnTo>
                    <a:pt x="2443569" y="196799"/>
                  </a:lnTo>
                  <a:lnTo>
                    <a:pt x="2443569" y="198831"/>
                  </a:lnTo>
                  <a:lnTo>
                    <a:pt x="2443569" y="196799"/>
                  </a:lnTo>
                  <a:lnTo>
                    <a:pt x="2443620" y="197447"/>
                  </a:lnTo>
                  <a:lnTo>
                    <a:pt x="2443620" y="199530"/>
                  </a:lnTo>
                  <a:lnTo>
                    <a:pt x="2443620" y="198831"/>
                  </a:lnTo>
                  <a:lnTo>
                    <a:pt x="2443620" y="199530"/>
                  </a:lnTo>
                  <a:lnTo>
                    <a:pt x="2443620" y="197447"/>
                  </a:lnTo>
                  <a:lnTo>
                    <a:pt x="2443620" y="199530"/>
                  </a:lnTo>
                  <a:lnTo>
                    <a:pt x="2443671" y="199530"/>
                  </a:lnTo>
                  <a:lnTo>
                    <a:pt x="2443671" y="200228"/>
                  </a:lnTo>
                  <a:lnTo>
                    <a:pt x="2443709" y="200228"/>
                  </a:lnTo>
                  <a:lnTo>
                    <a:pt x="2443709" y="200876"/>
                  </a:lnTo>
                  <a:lnTo>
                    <a:pt x="2443709" y="200228"/>
                  </a:lnTo>
                  <a:lnTo>
                    <a:pt x="2443709" y="200876"/>
                  </a:lnTo>
                  <a:lnTo>
                    <a:pt x="2443709" y="200228"/>
                  </a:lnTo>
                  <a:lnTo>
                    <a:pt x="2443709" y="200876"/>
                  </a:lnTo>
                  <a:lnTo>
                    <a:pt x="2443709" y="200228"/>
                  </a:lnTo>
                  <a:lnTo>
                    <a:pt x="2443811" y="200228"/>
                  </a:lnTo>
                  <a:lnTo>
                    <a:pt x="2443811" y="202260"/>
                  </a:lnTo>
                  <a:lnTo>
                    <a:pt x="2443811" y="200876"/>
                  </a:lnTo>
                  <a:lnTo>
                    <a:pt x="2443811" y="202260"/>
                  </a:lnTo>
                  <a:lnTo>
                    <a:pt x="2443811" y="200876"/>
                  </a:lnTo>
                  <a:lnTo>
                    <a:pt x="2443811" y="202260"/>
                  </a:lnTo>
                  <a:lnTo>
                    <a:pt x="2443862" y="202260"/>
                  </a:lnTo>
                  <a:lnTo>
                    <a:pt x="2443862" y="200876"/>
                  </a:lnTo>
                  <a:lnTo>
                    <a:pt x="2443912" y="200876"/>
                  </a:lnTo>
                  <a:lnTo>
                    <a:pt x="2443912" y="199530"/>
                  </a:lnTo>
                  <a:lnTo>
                    <a:pt x="2444014" y="199530"/>
                  </a:lnTo>
                  <a:lnTo>
                    <a:pt x="2444014" y="198831"/>
                  </a:lnTo>
                  <a:lnTo>
                    <a:pt x="2444014" y="199530"/>
                  </a:lnTo>
                  <a:lnTo>
                    <a:pt x="2444014" y="196799"/>
                  </a:lnTo>
                  <a:lnTo>
                    <a:pt x="2444014" y="197447"/>
                  </a:lnTo>
                  <a:lnTo>
                    <a:pt x="2444065" y="197447"/>
                  </a:lnTo>
                  <a:lnTo>
                    <a:pt x="2444065" y="198831"/>
                  </a:lnTo>
                  <a:lnTo>
                    <a:pt x="2444065" y="196113"/>
                  </a:lnTo>
                  <a:lnTo>
                    <a:pt x="2444065" y="199530"/>
                  </a:lnTo>
                  <a:lnTo>
                    <a:pt x="2444115" y="199530"/>
                  </a:lnTo>
                  <a:lnTo>
                    <a:pt x="2444115" y="197447"/>
                  </a:lnTo>
                  <a:lnTo>
                    <a:pt x="2444115" y="199530"/>
                  </a:lnTo>
                  <a:lnTo>
                    <a:pt x="2444166" y="199530"/>
                  </a:lnTo>
                  <a:lnTo>
                    <a:pt x="2444166" y="198831"/>
                  </a:lnTo>
                  <a:lnTo>
                    <a:pt x="2444166" y="199530"/>
                  </a:lnTo>
                  <a:lnTo>
                    <a:pt x="2444255" y="199530"/>
                  </a:lnTo>
                  <a:lnTo>
                    <a:pt x="2444255" y="198831"/>
                  </a:lnTo>
                  <a:lnTo>
                    <a:pt x="2444255" y="199530"/>
                  </a:lnTo>
                  <a:lnTo>
                    <a:pt x="2444255" y="198831"/>
                  </a:lnTo>
                  <a:lnTo>
                    <a:pt x="2444255" y="200228"/>
                  </a:lnTo>
                  <a:lnTo>
                    <a:pt x="2444306" y="199530"/>
                  </a:lnTo>
                  <a:lnTo>
                    <a:pt x="2444306" y="200228"/>
                  </a:lnTo>
                  <a:lnTo>
                    <a:pt x="2444306" y="199530"/>
                  </a:lnTo>
                  <a:lnTo>
                    <a:pt x="2444306" y="200228"/>
                  </a:lnTo>
                  <a:lnTo>
                    <a:pt x="2444408" y="200228"/>
                  </a:lnTo>
                  <a:lnTo>
                    <a:pt x="2444408" y="199530"/>
                  </a:lnTo>
                  <a:lnTo>
                    <a:pt x="2444408" y="200228"/>
                  </a:lnTo>
                  <a:lnTo>
                    <a:pt x="2444408" y="199530"/>
                  </a:lnTo>
                  <a:lnTo>
                    <a:pt x="2444408" y="200228"/>
                  </a:lnTo>
                  <a:lnTo>
                    <a:pt x="2444408" y="199530"/>
                  </a:lnTo>
                  <a:lnTo>
                    <a:pt x="2444408" y="200228"/>
                  </a:lnTo>
                  <a:lnTo>
                    <a:pt x="2444408" y="199530"/>
                  </a:lnTo>
                  <a:lnTo>
                    <a:pt x="2444509" y="199530"/>
                  </a:lnTo>
                  <a:lnTo>
                    <a:pt x="2444509" y="198831"/>
                  </a:lnTo>
                  <a:lnTo>
                    <a:pt x="2444509" y="199530"/>
                  </a:lnTo>
                  <a:lnTo>
                    <a:pt x="2444560" y="199530"/>
                  </a:lnTo>
                  <a:lnTo>
                    <a:pt x="2444560" y="198831"/>
                  </a:lnTo>
                  <a:lnTo>
                    <a:pt x="2444560" y="200876"/>
                  </a:lnTo>
                  <a:lnTo>
                    <a:pt x="2444560" y="200228"/>
                  </a:lnTo>
                  <a:lnTo>
                    <a:pt x="2444611" y="200228"/>
                  </a:lnTo>
                  <a:lnTo>
                    <a:pt x="2444611" y="200876"/>
                  </a:lnTo>
                  <a:lnTo>
                    <a:pt x="2444611" y="200228"/>
                  </a:lnTo>
                  <a:lnTo>
                    <a:pt x="2444611" y="200876"/>
                  </a:lnTo>
                  <a:lnTo>
                    <a:pt x="2444611" y="200228"/>
                  </a:lnTo>
                  <a:lnTo>
                    <a:pt x="2444712" y="200876"/>
                  </a:lnTo>
                  <a:lnTo>
                    <a:pt x="2444712" y="200228"/>
                  </a:lnTo>
                  <a:lnTo>
                    <a:pt x="2444712" y="200876"/>
                  </a:lnTo>
                  <a:lnTo>
                    <a:pt x="2444712" y="200228"/>
                  </a:lnTo>
                  <a:lnTo>
                    <a:pt x="2444750" y="200228"/>
                  </a:lnTo>
                  <a:lnTo>
                    <a:pt x="2444750" y="200876"/>
                  </a:lnTo>
                  <a:lnTo>
                    <a:pt x="2444750" y="200228"/>
                  </a:lnTo>
                  <a:lnTo>
                    <a:pt x="2444801" y="200228"/>
                  </a:lnTo>
                  <a:lnTo>
                    <a:pt x="2444801" y="200876"/>
                  </a:lnTo>
                  <a:lnTo>
                    <a:pt x="2444801" y="200228"/>
                  </a:lnTo>
                  <a:lnTo>
                    <a:pt x="2444801" y="200876"/>
                  </a:lnTo>
                  <a:lnTo>
                    <a:pt x="2444801" y="200228"/>
                  </a:lnTo>
                  <a:lnTo>
                    <a:pt x="2444801" y="200876"/>
                  </a:lnTo>
                  <a:lnTo>
                    <a:pt x="2444801" y="200228"/>
                  </a:lnTo>
                  <a:lnTo>
                    <a:pt x="2444801" y="200876"/>
                  </a:lnTo>
                  <a:lnTo>
                    <a:pt x="2444852" y="200876"/>
                  </a:lnTo>
                  <a:lnTo>
                    <a:pt x="2444852" y="199530"/>
                  </a:lnTo>
                  <a:lnTo>
                    <a:pt x="2444852" y="200228"/>
                  </a:lnTo>
                  <a:lnTo>
                    <a:pt x="2444954" y="200228"/>
                  </a:lnTo>
                  <a:lnTo>
                    <a:pt x="2444954" y="198831"/>
                  </a:lnTo>
                  <a:lnTo>
                    <a:pt x="2444954" y="199530"/>
                  </a:lnTo>
                  <a:lnTo>
                    <a:pt x="2444954" y="198831"/>
                  </a:lnTo>
                  <a:lnTo>
                    <a:pt x="2445005" y="197447"/>
                  </a:lnTo>
                  <a:lnTo>
                    <a:pt x="2445005" y="198831"/>
                  </a:lnTo>
                  <a:lnTo>
                    <a:pt x="2445005" y="197447"/>
                  </a:lnTo>
                  <a:lnTo>
                    <a:pt x="2445005" y="199530"/>
                  </a:lnTo>
                  <a:lnTo>
                    <a:pt x="2445005" y="198831"/>
                  </a:lnTo>
                  <a:lnTo>
                    <a:pt x="2445005" y="199530"/>
                  </a:lnTo>
                  <a:lnTo>
                    <a:pt x="2445055" y="199530"/>
                  </a:lnTo>
                  <a:lnTo>
                    <a:pt x="2445055" y="202260"/>
                  </a:lnTo>
                  <a:lnTo>
                    <a:pt x="2445055" y="200876"/>
                  </a:lnTo>
                  <a:lnTo>
                    <a:pt x="2445055" y="202260"/>
                  </a:lnTo>
                  <a:lnTo>
                    <a:pt x="2445055" y="200228"/>
                  </a:lnTo>
                  <a:lnTo>
                    <a:pt x="2445055" y="200876"/>
                  </a:lnTo>
                  <a:lnTo>
                    <a:pt x="2445055" y="200228"/>
                  </a:lnTo>
                  <a:lnTo>
                    <a:pt x="2445157" y="200228"/>
                  </a:lnTo>
                  <a:lnTo>
                    <a:pt x="2445157" y="200876"/>
                  </a:lnTo>
                  <a:lnTo>
                    <a:pt x="2445157" y="200228"/>
                  </a:lnTo>
                  <a:lnTo>
                    <a:pt x="2445157" y="200876"/>
                  </a:lnTo>
                  <a:lnTo>
                    <a:pt x="2445208" y="200876"/>
                  </a:lnTo>
                  <a:lnTo>
                    <a:pt x="2445208" y="200228"/>
                  </a:lnTo>
                  <a:lnTo>
                    <a:pt x="2445208" y="200876"/>
                  </a:lnTo>
                  <a:lnTo>
                    <a:pt x="2445208" y="200228"/>
                  </a:lnTo>
                  <a:lnTo>
                    <a:pt x="2445208" y="200876"/>
                  </a:lnTo>
                  <a:lnTo>
                    <a:pt x="2445208" y="200228"/>
                  </a:lnTo>
                  <a:lnTo>
                    <a:pt x="2445208" y="200876"/>
                  </a:lnTo>
                  <a:lnTo>
                    <a:pt x="2445259" y="202260"/>
                  </a:lnTo>
                  <a:lnTo>
                    <a:pt x="2445259" y="200228"/>
                  </a:lnTo>
                  <a:lnTo>
                    <a:pt x="2445259" y="200876"/>
                  </a:lnTo>
                  <a:lnTo>
                    <a:pt x="2445259" y="200228"/>
                  </a:lnTo>
                  <a:lnTo>
                    <a:pt x="2445259" y="200876"/>
                  </a:lnTo>
                  <a:lnTo>
                    <a:pt x="2445297" y="200876"/>
                  </a:lnTo>
                  <a:lnTo>
                    <a:pt x="2445297" y="200228"/>
                  </a:lnTo>
                  <a:lnTo>
                    <a:pt x="2445297" y="200876"/>
                  </a:lnTo>
                  <a:lnTo>
                    <a:pt x="2445297" y="200228"/>
                  </a:lnTo>
                  <a:lnTo>
                    <a:pt x="2445398" y="200876"/>
                  </a:lnTo>
                  <a:lnTo>
                    <a:pt x="2445398" y="200228"/>
                  </a:lnTo>
                  <a:lnTo>
                    <a:pt x="2445398" y="200876"/>
                  </a:lnTo>
                  <a:lnTo>
                    <a:pt x="2445398" y="199530"/>
                  </a:lnTo>
                  <a:lnTo>
                    <a:pt x="2445398" y="200228"/>
                  </a:lnTo>
                  <a:lnTo>
                    <a:pt x="2445398" y="199530"/>
                  </a:lnTo>
                  <a:lnTo>
                    <a:pt x="2445449" y="199530"/>
                  </a:lnTo>
                  <a:lnTo>
                    <a:pt x="2445449" y="196799"/>
                  </a:lnTo>
                  <a:lnTo>
                    <a:pt x="2445449" y="197447"/>
                  </a:lnTo>
                  <a:lnTo>
                    <a:pt x="2445449" y="196799"/>
                  </a:lnTo>
                  <a:lnTo>
                    <a:pt x="2445449" y="197447"/>
                  </a:lnTo>
                  <a:lnTo>
                    <a:pt x="2445449" y="196799"/>
                  </a:lnTo>
                  <a:lnTo>
                    <a:pt x="2445500" y="196799"/>
                  </a:lnTo>
                  <a:lnTo>
                    <a:pt x="2445500" y="198831"/>
                  </a:lnTo>
                  <a:lnTo>
                    <a:pt x="2445500" y="196799"/>
                  </a:lnTo>
                  <a:lnTo>
                    <a:pt x="2445500" y="197447"/>
                  </a:lnTo>
                  <a:lnTo>
                    <a:pt x="2445601" y="197447"/>
                  </a:lnTo>
                  <a:lnTo>
                    <a:pt x="2445601" y="200228"/>
                  </a:lnTo>
                  <a:lnTo>
                    <a:pt x="2445601" y="198831"/>
                  </a:lnTo>
                  <a:lnTo>
                    <a:pt x="2445601" y="199530"/>
                  </a:lnTo>
                  <a:lnTo>
                    <a:pt x="2445652" y="200228"/>
                  </a:lnTo>
                  <a:lnTo>
                    <a:pt x="2445652" y="200876"/>
                  </a:lnTo>
                  <a:lnTo>
                    <a:pt x="2445652" y="199530"/>
                  </a:lnTo>
                  <a:lnTo>
                    <a:pt x="2445652" y="200228"/>
                  </a:lnTo>
                  <a:lnTo>
                    <a:pt x="2445652" y="199530"/>
                  </a:lnTo>
                  <a:lnTo>
                    <a:pt x="2445703" y="200228"/>
                  </a:lnTo>
                  <a:lnTo>
                    <a:pt x="2445703" y="200876"/>
                  </a:lnTo>
                  <a:lnTo>
                    <a:pt x="2445754" y="200228"/>
                  </a:lnTo>
                  <a:lnTo>
                    <a:pt x="2445754" y="202260"/>
                  </a:lnTo>
                  <a:lnTo>
                    <a:pt x="2445754" y="200876"/>
                  </a:lnTo>
                  <a:lnTo>
                    <a:pt x="2445754" y="202260"/>
                  </a:lnTo>
                  <a:lnTo>
                    <a:pt x="2445843" y="202260"/>
                  </a:lnTo>
                  <a:lnTo>
                    <a:pt x="2445843" y="200876"/>
                  </a:lnTo>
                  <a:lnTo>
                    <a:pt x="2445843" y="202260"/>
                  </a:lnTo>
                  <a:lnTo>
                    <a:pt x="2445843" y="200876"/>
                  </a:lnTo>
                  <a:lnTo>
                    <a:pt x="2445843" y="202260"/>
                  </a:lnTo>
                  <a:lnTo>
                    <a:pt x="2445843" y="200876"/>
                  </a:lnTo>
                  <a:lnTo>
                    <a:pt x="2445843" y="202260"/>
                  </a:lnTo>
                  <a:lnTo>
                    <a:pt x="2445843" y="200876"/>
                  </a:lnTo>
                  <a:lnTo>
                    <a:pt x="2445894" y="200876"/>
                  </a:lnTo>
                  <a:lnTo>
                    <a:pt x="2445894" y="199530"/>
                  </a:lnTo>
                  <a:lnTo>
                    <a:pt x="2445944" y="199530"/>
                  </a:lnTo>
                  <a:lnTo>
                    <a:pt x="2445944" y="198831"/>
                  </a:lnTo>
                  <a:lnTo>
                    <a:pt x="2445944" y="199530"/>
                  </a:lnTo>
                  <a:lnTo>
                    <a:pt x="2445944" y="196113"/>
                  </a:lnTo>
                  <a:lnTo>
                    <a:pt x="2445944" y="196799"/>
                  </a:lnTo>
                  <a:lnTo>
                    <a:pt x="2445995" y="197447"/>
                  </a:lnTo>
                  <a:lnTo>
                    <a:pt x="2445995" y="198831"/>
                  </a:lnTo>
                  <a:lnTo>
                    <a:pt x="2445995" y="196799"/>
                  </a:lnTo>
                  <a:lnTo>
                    <a:pt x="2445995" y="197447"/>
                  </a:lnTo>
                  <a:lnTo>
                    <a:pt x="2445995" y="196799"/>
                  </a:lnTo>
                  <a:lnTo>
                    <a:pt x="2445995" y="197447"/>
                  </a:lnTo>
                  <a:lnTo>
                    <a:pt x="2446097" y="198831"/>
                  </a:lnTo>
                  <a:lnTo>
                    <a:pt x="2446097" y="199530"/>
                  </a:lnTo>
                  <a:lnTo>
                    <a:pt x="2446097" y="198831"/>
                  </a:lnTo>
                  <a:lnTo>
                    <a:pt x="2446097" y="199530"/>
                  </a:lnTo>
                  <a:lnTo>
                    <a:pt x="2446097" y="198831"/>
                  </a:lnTo>
                  <a:lnTo>
                    <a:pt x="2446097" y="199530"/>
                  </a:lnTo>
                  <a:lnTo>
                    <a:pt x="2446147" y="199530"/>
                  </a:lnTo>
                  <a:lnTo>
                    <a:pt x="2446147" y="198831"/>
                  </a:lnTo>
                  <a:lnTo>
                    <a:pt x="2446147" y="200228"/>
                  </a:lnTo>
                  <a:lnTo>
                    <a:pt x="2446147" y="199530"/>
                  </a:lnTo>
                  <a:lnTo>
                    <a:pt x="2446198" y="200228"/>
                  </a:lnTo>
                  <a:lnTo>
                    <a:pt x="2446198" y="200876"/>
                  </a:lnTo>
                  <a:lnTo>
                    <a:pt x="2446198" y="200228"/>
                  </a:lnTo>
                  <a:lnTo>
                    <a:pt x="2446198" y="200876"/>
                  </a:lnTo>
                  <a:lnTo>
                    <a:pt x="2446300" y="200876"/>
                  </a:lnTo>
                  <a:lnTo>
                    <a:pt x="2446300" y="200228"/>
                  </a:lnTo>
                  <a:lnTo>
                    <a:pt x="2446300" y="200876"/>
                  </a:lnTo>
                  <a:lnTo>
                    <a:pt x="2446300" y="200228"/>
                  </a:lnTo>
                  <a:lnTo>
                    <a:pt x="2446300" y="200876"/>
                  </a:lnTo>
                  <a:lnTo>
                    <a:pt x="2446338" y="200876"/>
                  </a:lnTo>
                  <a:lnTo>
                    <a:pt x="2446338" y="200228"/>
                  </a:lnTo>
                  <a:lnTo>
                    <a:pt x="2446389" y="200228"/>
                  </a:lnTo>
                  <a:lnTo>
                    <a:pt x="2446389" y="198831"/>
                  </a:lnTo>
                  <a:lnTo>
                    <a:pt x="2446389" y="199530"/>
                  </a:lnTo>
                  <a:lnTo>
                    <a:pt x="2446389" y="198831"/>
                  </a:lnTo>
                  <a:lnTo>
                    <a:pt x="2446440" y="198831"/>
                  </a:lnTo>
                  <a:lnTo>
                    <a:pt x="2446440" y="197447"/>
                  </a:lnTo>
                  <a:lnTo>
                    <a:pt x="2446440" y="198831"/>
                  </a:lnTo>
                  <a:lnTo>
                    <a:pt x="2446440" y="196799"/>
                  </a:lnTo>
                  <a:lnTo>
                    <a:pt x="2446541" y="196799"/>
                  </a:lnTo>
                  <a:lnTo>
                    <a:pt x="2446541" y="198831"/>
                  </a:lnTo>
                  <a:lnTo>
                    <a:pt x="2446541" y="196113"/>
                  </a:lnTo>
                  <a:lnTo>
                    <a:pt x="2446541" y="198831"/>
                  </a:lnTo>
                  <a:lnTo>
                    <a:pt x="2446592" y="199530"/>
                  </a:lnTo>
                  <a:lnTo>
                    <a:pt x="2446592" y="200228"/>
                  </a:lnTo>
                  <a:lnTo>
                    <a:pt x="2446592" y="197447"/>
                  </a:lnTo>
                  <a:lnTo>
                    <a:pt x="2446592" y="199530"/>
                  </a:lnTo>
                  <a:lnTo>
                    <a:pt x="2446643" y="199530"/>
                  </a:lnTo>
                  <a:lnTo>
                    <a:pt x="2446643" y="198831"/>
                  </a:lnTo>
                  <a:lnTo>
                    <a:pt x="2446643" y="199530"/>
                  </a:lnTo>
                  <a:lnTo>
                    <a:pt x="2446643" y="198831"/>
                  </a:lnTo>
                  <a:lnTo>
                    <a:pt x="2446643" y="199530"/>
                  </a:lnTo>
                  <a:lnTo>
                    <a:pt x="2446744" y="199530"/>
                  </a:lnTo>
                  <a:lnTo>
                    <a:pt x="2446744" y="200228"/>
                  </a:lnTo>
                  <a:lnTo>
                    <a:pt x="2446744" y="199530"/>
                  </a:lnTo>
                  <a:lnTo>
                    <a:pt x="2446744" y="200876"/>
                  </a:lnTo>
                  <a:lnTo>
                    <a:pt x="2446744" y="200228"/>
                  </a:lnTo>
                  <a:lnTo>
                    <a:pt x="2446795" y="200228"/>
                  </a:lnTo>
                  <a:lnTo>
                    <a:pt x="2446795" y="200876"/>
                  </a:lnTo>
                  <a:lnTo>
                    <a:pt x="2446846" y="200876"/>
                  </a:lnTo>
                  <a:lnTo>
                    <a:pt x="2446846" y="200228"/>
                  </a:lnTo>
                  <a:lnTo>
                    <a:pt x="2446846" y="200876"/>
                  </a:lnTo>
                  <a:lnTo>
                    <a:pt x="2446846" y="200228"/>
                  </a:lnTo>
                  <a:lnTo>
                    <a:pt x="2446846" y="200876"/>
                  </a:lnTo>
                  <a:lnTo>
                    <a:pt x="2446846" y="200228"/>
                  </a:lnTo>
                  <a:lnTo>
                    <a:pt x="2446846" y="200876"/>
                  </a:lnTo>
                  <a:lnTo>
                    <a:pt x="2446846" y="200228"/>
                  </a:lnTo>
                  <a:lnTo>
                    <a:pt x="2446846" y="200876"/>
                  </a:lnTo>
                  <a:lnTo>
                    <a:pt x="2446846" y="200228"/>
                  </a:lnTo>
                  <a:lnTo>
                    <a:pt x="2446846" y="200876"/>
                  </a:lnTo>
                  <a:lnTo>
                    <a:pt x="2446846" y="200228"/>
                  </a:lnTo>
                  <a:lnTo>
                    <a:pt x="2446846" y="200876"/>
                  </a:lnTo>
                  <a:lnTo>
                    <a:pt x="2446846" y="200228"/>
                  </a:lnTo>
                  <a:lnTo>
                    <a:pt x="2446884" y="200228"/>
                  </a:lnTo>
                  <a:lnTo>
                    <a:pt x="2446884" y="199530"/>
                  </a:lnTo>
                  <a:lnTo>
                    <a:pt x="2446986" y="199530"/>
                  </a:lnTo>
                  <a:lnTo>
                    <a:pt x="2446986" y="197447"/>
                  </a:lnTo>
                  <a:lnTo>
                    <a:pt x="2446986" y="198831"/>
                  </a:lnTo>
                  <a:lnTo>
                    <a:pt x="2446986" y="197447"/>
                  </a:lnTo>
                  <a:lnTo>
                    <a:pt x="2446986" y="199530"/>
                  </a:lnTo>
                  <a:lnTo>
                    <a:pt x="2447037" y="199530"/>
                  </a:lnTo>
                  <a:lnTo>
                    <a:pt x="2447037" y="196799"/>
                  </a:lnTo>
                  <a:lnTo>
                    <a:pt x="2447037" y="200228"/>
                  </a:lnTo>
                  <a:lnTo>
                    <a:pt x="2447037" y="199530"/>
                  </a:lnTo>
                  <a:lnTo>
                    <a:pt x="2447087" y="199530"/>
                  </a:lnTo>
                  <a:lnTo>
                    <a:pt x="2447087" y="198831"/>
                  </a:lnTo>
                  <a:lnTo>
                    <a:pt x="2447087" y="199530"/>
                  </a:lnTo>
                  <a:lnTo>
                    <a:pt x="2447087" y="198831"/>
                  </a:lnTo>
                  <a:lnTo>
                    <a:pt x="2447189" y="198831"/>
                  </a:lnTo>
                  <a:lnTo>
                    <a:pt x="2447189" y="199530"/>
                  </a:lnTo>
                  <a:lnTo>
                    <a:pt x="2447189" y="198831"/>
                  </a:lnTo>
                  <a:lnTo>
                    <a:pt x="2447189" y="199530"/>
                  </a:lnTo>
                  <a:lnTo>
                    <a:pt x="2447189" y="198831"/>
                  </a:lnTo>
                  <a:lnTo>
                    <a:pt x="2447240" y="199530"/>
                  </a:lnTo>
                  <a:lnTo>
                    <a:pt x="2447240" y="198831"/>
                  </a:lnTo>
                  <a:lnTo>
                    <a:pt x="2447240" y="200228"/>
                  </a:lnTo>
                  <a:lnTo>
                    <a:pt x="2447240" y="199530"/>
                  </a:lnTo>
                  <a:lnTo>
                    <a:pt x="2447240" y="200228"/>
                  </a:lnTo>
                  <a:lnTo>
                    <a:pt x="2447290" y="200228"/>
                  </a:lnTo>
                  <a:lnTo>
                    <a:pt x="2447290" y="199530"/>
                  </a:lnTo>
                  <a:lnTo>
                    <a:pt x="2447290" y="200228"/>
                  </a:lnTo>
                  <a:lnTo>
                    <a:pt x="2447290" y="199530"/>
                  </a:lnTo>
                  <a:lnTo>
                    <a:pt x="2447290" y="200228"/>
                  </a:lnTo>
                  <a:lnTo>
                    <a:pt x="2447341" y="199530"/>
                  </a:lnTo>
                  <a:lnTo>
                    <a:pt x="2447341" y="200228"/>
                  </a:lnTo>
                  <a:lnTo>
                    <a:pt x="2447341" y="199530"/>
                  </a:lnTo>
                  <a:lnTo>
                    <a:pt x="2447341" y="200228"/>
                  </a:lnTo>
                  <a:lnTo>
                    <a:pt x="2447341" y="199530"/>
                  </a:lnTo>
                  <a:lnTo>
                    <a:pt x="2447341" y="200228"/>
                  </a:lnTo>
                  <a:lnTo>
                    <a:pt x="2447341" y="199530"/>
                  </a:lnTo>
                  <a:lnTo>
                    <a:pt x="2447430" y="199530"/>
                  </a:lnTo>
                  <a:lnTo>
                    <a:pt x="2447430" y="197447"/>
                  </a:lnTo>
                  <a:lnTo>
                    <a:pt x="2447481" y="197447"/>
                  </a:lnTo>
                  <a:lnTo>
                    <a:pt x="2447481" y="198831"/>
                  </a:lnTo>
                  <a:lnTo>
                    <a:pt x="2447481" y="197447"/>
                  </a:lnTo>
                  <a:lnTo>
                    <a:pt x="2447481" y="199530"/>
                  </a:lnTo>
                  <a:lnTo>
                    <a:pt x="2447481" y="198831"/>
                  </a:lnTo>
                  <a:lnTo>
                    <a:pt x="2447481" y="199530"/>
                  </a:lnTo>
                  <a:lnTo>
                    <a:pt x="2447481" y="198831"/>
                  </a:lnTo>
                  <a:lnTo>
                    <a:pt x="2447481" y="199530"/>
                  </a:lnTo>
                  <a:lnTo>
                    <a:pt x="2447481" y="198831"/>
                  </a:lnTo>
                  <a:lnTo>
                    <a:pt x="2447532" y="198831"/>
                  </a:lnTo>
                  <a:lnTo>
                    <a:pt x="2447532" y="200876"/>
                  </a:lnTo>
                  <a:lnTo>
                    <a:pt x="2447532" y="200228"/>
                  </a:lnTo>
                  <a:lnTo>
                    <a:pt x="2447532" y="200876"/>
                  </a:lnTo>
                  <a:lnTo>
                    <a:pt x="2447532" y="200228"/>
                  </a:lnTo>
                  <a:lnTo>
                    <a:pt x="2447583" y="200228"/>
                  </a:lnTo>
                  <a:lnTo>
                    <a:pt x="2447583" y="200876"/>
                  </a:lnTo>
                  <a:lnTo>
                    <a:pt x="2447583" y="200228"/>
                  </a:lnTo>
                  <a:lnTo>
                    <a:pt x="2447684" y="200228"/>
                  </a:lnTo>
                  <a:lnTo>
                    <a:pt x="2447684" y="200876"/>
                  </a:lnTo>
                  <a:lnTo>
                    <a:pt x="2447684" y="200228"/>
                  </a:lnTo>
                  <a:lnTo>
                    <a:pt x="2447735" y="200876"/>
                  </a:lnTo>
                  <a:lnTo>
                    <a:pt x="2447735" y="200228"/>
                  </a:lnTo>
                  <a:lnTo>
                    <a:pt x="2447735" y="200876"/>
                  </a:lnTo>
                  <a:lnTo>
                    <a:pt x="2447735" y="200228"/>
                  </a:lnTo>
                  <a:lnTo>
                    <a:pt x="2447735" y="200876"/>
                  </a:lnTo>
                  <a:lnTo>
                    <a:pt x="2447735" y="200228"/>
                  </a:lnTo>
                  <a:lnTo>
                    <a:pt x="2447735" y="200876"/>
                  </a:lnTo>
                  <a:lnTo>
                    <a:pt x="2447735" y="200228"/>
                  </a:lnTo>
                  <a:lnTo>
                    <a:pt x="2447735" y="200876"/>
                  </a:lnTo>
                  <a:lnTo>
                    <a:pt x="2447735" y="200228"/>
                  </a:lnTo>
                  <a:lnTo>
                    <a:pt x="2447786" y="200876"/>
                  </a:lnTo>
                  <a:lnTo>
                    <a:pt x="2447786" y="200228"/>
                  </a:lnTo>
                  <a:lnTo>
                    <a:pt x="2447786" y="200876"/>
                  </a:lnTo>
                  <a:lnTo>
                    <a:pt x="2447786" y="200228"/>
                  </a:lnTo>
                  <a:lnTo>
                    <a:pt x="2447887" y="200228"/>
                  </a:lnTo>
                  <a:lnTo>
                    <a:pt x="2447887" y="200876"/>
                  </a:lnTo>
                  <a:lnTo>
                    <a:pt x="2447887" y="199530"/>
                  </a:lnTo>
                  <a:lnTo>
                    <a:pt x="2447887" y="200228"/>
                  </a:lnTo>
                  <a:lnTo>
                    <a:pt x="2447887" y="199530"/>
                  </a:lnTo>
                  <a:lnTo>
                    <a:pt x="2447887" y="200228"/>
                  </a:lnTo>
                  <a:lnTo>
                    <a:pt x="2447887" y="199530"/>
                  </a:lnTo>
                  <a:lnTo>
                    <a:pt x="2447887" y="200228"/>
                  </a:lnTo>
                  <a:lnTo>
                    <a:pt x="2447887" y="199530"/>
                  </a:lnTo>
                  <a:lnTo>
                    <a:pt x="2447925" y="199530"/>
                  </a:lnTo>
                  <a:lnTo>
                    <a:pt x="2447925" y="198831"/>
                  </a:lnTo>
                  <a:lnTo>
                    <a:pt x="2447925" y="199530"/>
                  </a:lnTo>
                  <a:lnTo>
                    <a:pt x="2447925" y="198831"/>
                  </a:lnTo>
                  <a:lnTo>
                    <a:pt x="2447976" y="197447"/>
                  </a:lnTo>
                  <a:lnTo>
                    <a:pt x="2447976" y="199530"/>
                  </a:lnTo>
                  <a:lnTo>
                    <a:pt x="2447976" y="198831"/>
                  </a:lnTo>
                  <a:lnTo>
                    <a:pt x="2447976" y="200228"/>
                  </a:lnTo>
                  <a:lnTo>
                    <a:pt x="2448027" y="200228"/>
                  </a:lnTo>
                  <a:lnTo>
                    <a:pt x="2448027" y="200876"/>
                  </a:lnTo>
                  <a:lnTo>
                    <a:pt x="2448027" y="200228"/>
                  </a:lnTo>
                  <a:lnTo>
                    <a:pt x="2448027" y="200876"/>
                  </a:lnTo>
                  <a:lnTo>
                    <a:pt x="2448027" y="200228"/>
                  </a:lnTo>
                  <a:lnTo>
                    <a:pt x="2448027" y="200876"/>
                  </a:lnTo>
                  <a:lnTo>
                    <a:pt x="2448129" y="200876"/>
                  </a:lnTo>
                  <a:lnTo>
                    <a:pt x="2448129" y="202260"/>
                  </a:lnTo>
                  <a:lnTo>
                    <a:pt x="2448129" y="200876"/>
                  </a:lnTo>
                  <a:lnTo>
                    <a:pt x="2448180" y="200876"/>
                  </a:lnTo>
                  <a:lnTo>
                    <a:pt x="2448180" y="202260"/>
                  </a:lnTo>
                  <a:lnTo>
                    <a:pt x="2448230" y="202260"/>
                  </a:lnTo>
                  <a:lnTo>
                    <a:pt x="2448230" y="200876"/>
                  </a:lnTo>
                  <a:lnTo>
                    <a:pt x="2448230" y="202260"/>
                  </a:lnTo>
                  <a:lnTo>
                    <a:pt x="2448230" y="200876"/>
                  </a:lnTo>
                  <a:lnTo>
                    <a:pt x="2448230" y="202260"/>
                  </a:lnTo>
                  <a:lnTo>
                    <a:pt x="2448230" y="200876"/>
                  </a:lnTo>
                  <a:lnTo>
                    <a:pt x="2448332" y="200876"/>
                  </a:lnTo>
                  <a:lnTo>
                    <a:pt x="2448332" y="202260"/>
                  </a:lnTo>
                  <a:lnTo>
                    <a:pt x="2448332" y="200876"/>
                  </a:lnTo>
                  <a:lnTo>
                    <a:pt x="2448332" y="202260"/>
                  </a:lnTo>
                  <a:lnTo>
                    <a:pt x="2448332" y="200876"/>
                  </a:lnTo>
                  <a:lnTo>
                    <a:pt x="2448332" y="202260"/>
                  </a:lnTo>
                  <a:lnTo>
                    <a:pt x="2448332" y="200228"/>
                  </a:lnTo>
                  <a:lnTo>
                    <a:pt x="2448332" y="200876"/>
                  </a:lnTo>
                  <a:lnTo>
                    <a:pt x="2448332" y="200228"/>
                  </a:lnTo>
                  <a:lnTo>
                    <a:pt x="2448332" y="200876"/>
                  </a:lnTo>
                  <a:lnTo>
                    <a:pt x="2448332" y="200228"/>
                  </a:lnTo>
                  <a:lnTo>
                    <a:pt x="2448383" y="200228"/>
                  </a:lnTo>
                  <a:lnTo>
                    <a:pt x="2448383" y="199530"/>
                  </a:lnTo>
                  <a:lnTo>
                    <a:pt x="2448383" y="200228"/>
                  </a:lnTo>
                  <a:lnTo>
                    <a:pt x="2448383" y="198831"/>
                  </a:lnTo>
                  <a:lnTo>
                    <a:pt x="2448434" y="198831"/>
                  </a:lnTo>
                  <a:lnTo>
                    <a:pt x="2448434" y="197447"/>
                  </a:lnTo>
                  <a:lnTo>
                    <a:pt x="2448434" y="198831"/>
                  </a:lnTo>
                  <a:lnTo>
                    <a:pt x="2448434" y="197447"/>
                  </a:lnTo>
                  <a:lnTo>
                    <a:pt x="2448434" y="198831"/>
                  </a:lnTo>
                  <a:lnTo>
                    <a:pt x="2448434" y="196799"/>
                  </a:lnTo>
                  <a:lnTo>
                    <a:pt x="2448472" y="197447"/>
                  </a:lnTo>
                  <a:lnTo>
                    <a:pt x="2448472" y="199530"/>
                  </a:lnTo>
                  <a:lnTo>
                    <a:pt x="2448472" y="196799"/>
                  </a:lnTo>
                  <a:lnTo>
                    <a:pt x="2448472" y="199530"/>
                  </a:lnTo>
                  <a:lnTo>
                    <a:pt x="2448573" y="199530"/>
                  </a:lnTo>
                  <a:lnTo>
                    <a:pt x="2448573" y="200228"/>
                  </a:lnTo>
                  <a:lnTo>
                    <a:pt x="2448573" y="198831"/>
                  </a:lnTo>
                  <a:lnTo>
                    <a:pt x="2448573" y="200228"/>
                  </a:lnTo>
                  <a:lnTo>
                    <a:pt x="2448573" y="199530"/>
                  </a:lnTo>
                  <a:lnTo>
                    <a:pt x="2448624" y="200228"/>
                  </a:lnTo>
                  <a:lnTo>
                    <a:pt x="2448624" y="199530"/>
                  </a:lnTo>
                  <a:lnTo>
                    <a:pt x="2448624" y="200228"/>
                  </a:lnTo>
                  <a:lnTo>
                    <a:pt x="2448675" y="200228"/>
                  </a:lnTo>
                  <a:lnTo>
                    <a:pt x="2448675" y="200876"/>
                  </a:lnTo>
                  <a:lnTo>
                    <a:pt x="2448675" y="200228"/>
                  </a:lnTo>
                  <a:lnTo>
                    <a:pt x="2448675" y="200876"/>
                  </a:lnTo>
                  <a:lnTo>
                    <a:pt x="2448776" y="200876"/>
                  </a:lnTo>
                  <a:lnTo>
                    <a:pt x="2448776" y="202260"/>
                  </a:lnTo>
                  <a:lnTo>
                    <a:pt x="2448776" y="200876"/>
                  </a:lnTo>
                  <a:lnTo>
                    <a:pt x="2448827" y="200876"/>
                  </a:lnTo>
                  <a:lnTo>
                    <a:pt x="2448827" y="202260"/>
                  </a:lnTo>
                  <a:lnTo>
                    <a:pt x="2448827" y="200228"/>
                  </a:lnTo>
                  <a:lnTo>
                    <a:pt x="2448878" y="200228"/>
                  </a:lnTo>
                  <a:lnTo>
                    <a:pt x="2448878" y="198831"/>
                  </a:lnTo>
                  <a:lnTo>
                    <a:pt x="2448929" y="198831"/>
                  </a:lnTo>
                  <a:lnTo>
                    <a:pt x="2448929" y="199530"/>
                  </a:lnTo>
                  <a:lnTo>
                    <a:pt x="2448929" y="197447"/>
                  </a:lnTo>
                  <a:lnTo>
                    <a:pt x="2448929" y="199530"/>
                  </a:lnTo>
                  <a:lnTo>
                    <a:pt x="2449018" y="199530"/>
                  </a:lnTo>
                  <a:lnTo>
                    <a:pt x="2449018" y="197447"/>
                  </a:lnTo>
                  <a:lnTo>
                    <a:pt x="2449018" y="200228"/>
                  </a:lnTo>
                  <a:lnTo>
                    <a:pt x="2449069" y="200228"/>
                  </a:lnTo>
                  <a:lnTo>
                    <a:pt x="2449069" y="198831"/>
                  </a:lnTo>
                  <a:lnTo>
                    <a:pt x="2449069" y="200228"/>
                  </a:lnTo>
                  <a:lnTo>
                    <a:pt x="2449119" y="200228"/>
                  </a:lnTo>
                  <a:lnTo>
                    <a:pt x="2449119" y="199530"/>
                  </a:lnTo>
                  <a:lnTo>
                    <a:pt x="2449119" y="200228"/>
                  </a:lnTo>
                  <a:lnTo>
                    <a:pt x="2449170" y="200228"/>
                  </a:lnTo>
                  <a:lnTo>
                    <a:pt x="2449170" y="202260"/>
                  </a:lnTo>
                  <a:lnTo>
                    <a:pt x="2449170" y="200876"/>
                  </a:lnTo>
                  <a:lnTo>
                    <a:pt x="2449272" y="200876"/>
                  </a:lnTo>
                  <a:lnTo>
                    <a:pt x="2449272" y="202260"/>
                  </a:lnTo>
                  <a:lnTo>
                    <a:pt x="2449272" y="200876"/>
                  </a:lnTo>
                  <a:lnTo>
                    <a:pt x="2449322" y="200876"/>
                  </a:lnTo>
                  <a:lnTo>
                    <a:pt x="2449322" y="200228"/>
                  </a:lnTo>
                  <a:lnTo>
                    <a:pt x="2449322" y="200876"/>
                  </a:lnTo>
                  <a:lnTo>
                    <a:pt x="2449322" y="200228"/>
                  </a:lnTo>
                  <a:lnTo>
                    <a:pt x="2449322" y="200876"/>
                  </a:lnTo>
                  <a:lnTo>
                    <a:pt x="2449322" y="199530"/>
                  </a:lnTo>
                  <a:lnTo>
                    <a:pt x="2449373" y="200228"/>
                  </a:lnTo>
                  <a:lnTo>
                    <a:pt x="2449373" y="199530"/>
                  </a:lnTo>
                  <a:lnTo>
                    <a:pt x="2449373" y="200228"/>
                  </a:lnTo>
                  <a:lnTo>
                    <a:pt x="2449373" y="198831"/>
                  </a:lnTo>
                  <a:lnTo>
                    <a:pt x="2449373" y="199530"/>
                  </a:lnTo>
                  <a:lnTo>
                    <a:pt x="2449373" y="197447"/>
                  </a:lnTo>
                  <a:lnTo>
                    <a:pt x="2449373" y="198831"/>
                  </a:lnTo>
                  <a:lnTo>
                    <a:pt x="2449373" y="197447"/>
                  </a:lnTo>
                  <a:lnTo>
                    <a:pt x="2449475" y="197447"/>
                  </a:lnTo>
                  <a:lnTo>
                    <a:pt x="2449475" y="196113"/>
                  </a:lnTo>
                  <a:lnTo>
                    <a:pt x="2449475" y="198831"/>
                  </a:lnTo>
                  <a:lnTo>
                    <a:pt x="2449513" y="198831"/>
                  </a:lnTo>
                  <a:lnTo>
                    <a:pt x="2449513" y="197447"/>
                  </a:lnTo>
                  <a:lnTo>
                    <a:pt x="2449513" y="198831"/>
                  </a:lnTo>
                  <a:lnTo>
                    <a:pt x="2449513" y="196799"/>
                  </a:lnTo>
                  <a:lnTo>
                    <a:pt x="2449513" y="199530"/>
                  </a:lnTo>
                  <a:lnTo>
                    <a:pt x="2449564" y="199530"/>
                  </a:lnTo>
                  <a:lnTo>
                    <a:pt x="2449564" y="198831"/>
                  </a:lnTo>
                  <a:lnTo>
                    <a:pt x="2449564" y="199530"/>
                  </a:lnTo>
                  <a:lnTo>
                    <a:pt x="2449615" y="199530"/>
                  </a:lnTo>
                  <a:lnTo>
                    <a:pt x="2449615" y="200228"/>
                  </a:lnTo>
                  <a:lnTo>
                    <a:pt x="2449615" y="199530"/>
                  </a:lnTo>
                  <a:lnTo>
                    <a:pt x="2449615" y="200228"/>
                  </a:lnTo>
                  <a:lnTo>
                    <a:pt x="2449615" y="199530"/>
                  </a:lnTo>
                  <a:lnTo>
                    <a:pt x="2449615" y="200228"/>
                  </a:lnTo>
                  <a:lnTo>
                    <a:pt x="2449615" y="199530"/>
                  </a:lnTo>
                  <a:lnTo>
                    <a:pt x="2449615" y="200228"/>
                  </a:lnTo>
                  <a:lnTo>
                    <a:pt x="2449716" y="200228"/>
                  </a:lnTo>
                  <a:lnTo>
                    <a:pt x="2449716" y="199530"/>
                  </a:lnTo>
                  <a:lnTo>
                    <a:pt x="2449716" y="200876"/>
                  </a:lnTo>
                  <a:lnTo>
                    <a:pt x="2449716" y="200228"/>
                  </a:lnTo>
                  <a:lnTo>
                    <a:pt x="2449716" y="200876"/>
                  </a:lnTo>
                  <a:lnTo>
                    <a:pt x="2449716" y="200228"/>
                  </a:lnTo>
                  <a:lnTo>
                    <a:pt x="2449767" y="200228"/>
                  </a:lnTo>
                  <a:lnTo>
                    <a:pt x="2449767" y="202260"/>
                  </a:lnTo>
                  <a:lnTo>
                    <a:pt x="2449767" y="200228"/>
                  </a:lnTo>
                  <a:lnTo>
                    <a:pt x="2449818" y="200228"/>
                  </a:lnTo>
                  <a:lnTo>
                    <a:pt x="2449818" y="200876"/>
                  </a:lnTo>
                  <a:lnTo>
                    <a:pt x="2449818" y="200228"/>
                  </a:lnTo>
                  <a:lnTo>
                    <a:pt x="2449818" y="200876"/>
                  </a:lnTo>
                  <a:lnTo>
                    <a:pt x="2449818" y="200228"/>
                  </a:lnTo>
                  <a:lnTo>
                    <a:pt x="2449919" y="200228"/>
                  </a:lnTo>
                  <a:lnTo>
                    <a:pt x="2449919" y="199530"/>
                  </a:lnTo>
                  <a:lnTo>
                    <a:pt x="2449919" y="200228"/>
                  </a:lnTo>
                  <a:lnTo>
                    <a:pt x="2449919" y="198831"/>
                  </a:lnTo>
                  <a:lnTo>
                    <a:pt x="2449970" y="198831"/>
                  </a:lnTo>
                  <a:lnTo>
                    <a:pt x="2449970" y="197447"/>
                  </a:lnTo>
                  <a:lnTo>
                    <a:pt x="2449970" y="199530"/>
                  </a:lnTo>
                  <a:lnTo>
                    <a:pt x="2449970" y="197447"/>
                  </a:lnTo>
                  <a:lnTo>
                    <a:pt x="2450021" y="197447"/>
                  </a:lnTo>
                  <a:lnTo>
                    <a:pt x="2450021" y="196799"/>
                  </a:lnTo>
                  <a:lnTo>
                    <a:pt x="2450021" y="200228"/>
                  </a:lnTo>
                  <a:lnTo>
                    <a:pt x="2450021" y="197447"/>
                  </a:lnTo>
                  <a:lnTo>
                    <a:pt x="2450059" y="197447"/>
                  </a:lnTo>
                  <a:lnTo>
                    <a:pt x="2450059" y="199530"/>
                  </a:lnTo>
                  <a:lnTo>
                    <a:pt x="2450059" y="198831"/>
                  </a:lnTo>
                  <a:lnTo>
                    <a:pt x="2450059" y="199530"/>
                  </a:lnTo>
                  <a:lnTo>
                    <a:pt x="2450059" y="198831"/>
                  </a:lnTo>
                  <a:lnTo>
                    <a:pt x="2450059" y="199530"/>
                  </a:lnTo>
                  <a:lnTo>
                    <a:pt x="2450161" y="198831"/>
                  </a:lnTo>
                  <a:lnTo>
                    <a:pt x="2450161" y="199530"/>
                  </a:lnTo>
                  <a:lnTo>
                    <a:pt x="2450212" y="199530"/>
                  </a:lnTo>
                  <a:lnTo>
                    <a:pt x="2450212" y="200228"/>
                  </a:lnTo>
                  <a:lnTo>
                    <a:pt x="2450212" y="199530"/>
                  </a:lnTo>
                  <a:lnTo>
                    <a:pt x="2450212" y="200228"/>
                  </a:lnTo>
                  <a:lnTo>
                    <a:pt x="2450212" y="199530"/>
                  </a:lnTo>
                  <a:lnTo>
                    <a:pt x="2450212" y="200228"/>
                  </a:lnTo>
                  <a:lnTo>
                    <a:pt x="2450262" y="200228"/>
                  </a:lnTo>
                  <a:lnTo>
                    <a:pt x="2450262" y="199530"/>
                  </a:lnTo>
                  <a:lnTo>
                    <a:pt x="2450262" y="200228"/>
                  </a:lnTo>
                  <a:lnTo>
                    <a:pt x="2450262" y="199530"/>
                  </a:lnTo>
                  <a:lnTo>
                    <a:pt x="2450262" y="200228"/>
                  </a:lnTo>
                  <a:lnTo>
                    <a:pt x="2450364" y="199530"/>
                  </a:lnTo>
                  <a:lnTo>
                    <a:pt x="2450364" y="200228"/>
                  </a:lnTo>
                  <a:lnTo>
                    <a:pt x="2450364" y="199530"/>
                  </a:lnTo>
                  <a:lnTo>
                    <a:pt x="2450364" y="200228"/>
                  </a:lnTo>
                  <a:lnTo>
                    <a:pt x="2450364" y="199530"/>
                  </a:lnTo>
                  <a:lnTo>
                    <a:pt x="2450415" y="199530"/>
                  </a:lnTo>
                  <a:lnTo>
                    <a:pt x="2450415" y="198831"/>
                  </a:lnTo>
                  <a:lnTo>
                    <a:pt x="2450465" y="198831"/>
                  </a:lnTo>
                  <a:lnTo>
                    <a:pt x="2450465" y="200228"/>
                  </a:lnTo>
                  <a:lnTo>
                    <a:pt x="2450465" y="198831"/>
                  </a:lnTo>
                  <a:lnTo>
                    <a:pt x="2450465" y="200228"/>
                  </a:lnTo>
                  <a:lnTo>
                    <a:pt x="2450516" y="200876"/>
                  </a:lnTo>
                  <a:lnTo>
                    <a:pt x="2450516" y="200228"/>
                  </a:lnTo>
                  <a:lnTo>
                    <a:pt x="2450516" y="200876"/>
                  </a:lnTo>
                  <a:lnTo>
                    <a:pt x="2450516" y="199530"/>
                  </a:lnTo>
                  <a:lnTo>
                    <a:pt x="2450516" y="200228"/>
                  </a:lnTo>
                  <a:lnTo>
                    <a:pt x="2450605" y="200876"/>
                  </a:lnTo>
                  <a:lnTo>
                    <a:pt x="2450605" y="200228"/>
                  </a:lnTo>
                  <a:lnTo>
                    <a:pt x="2450605" y="200876"/>
                  </a:lnTo>
                  <a:lnTo>
                    <a:pt x="2450656" y="202260"/>
                  </a:lnTo>
                  <a:lnTo>
                    <a:pt x="2450656" y="200876"/>
                  </a:lnTo>
                  <a:lnTo>
                    <a:pt x="2450656" y="202260"/>
                  </a:lnTo>
                  <a:lnTo>
                    <a:pt x="2450656" y="200876"/>
                  </a:lnTo>
                  <a:lnTo>
                    <a:pt x="2450707" y="200876"/>
                  </a:lnTo>
                  <a:lnTo>
                    <a:pt x="2450758" y="200228"/>
                  </a:lnTo>
                  <a:lnTo>
                    <a:pt x="2450758" y="200876"/>
                  </a:lnTo>
                  <a:lnTo>
                    <a:pt x="2450758" y="200228"/>
                  </a:lnTo>
                  <a:lnTo>
                    <a:pt x="2450859" y="200228"/>
                  </a:lnTo>
                  <a:lnTo>
                    <a:pt x="2450859" y="199530"/>
                  </a:lnTo>
                  <a:lnTo>
                    <a:pt x="2450859" y="200228"/>
                  </a:lnTo>
                  <a:lnTo>
                    <a:pt x="2450859" y="199530"/>
                  </a:lnTo>
                  <a:lnTo>
                    <a:pt x="2450859" y="200228"/>
                  </a:lnTo>
                  <a:lnTo>
                    <a:pt x="2450859" y="199530"/>
                  </a:lnTo>
                  <a:lnTo>
                    <a:pt x="2450910" y="198831"/>
                  </a:lnTo>
                  <a:lnTo>
                    <a:pt x="2450910" y="200876"/>
                  </a:lnTo>
                  <a:lnTo>
                    <a:pt x="2450910" y="199530"/>
                  </a:lnTo>
                  <a:lnTo>
                    <a:pt x="2450961" y="199530"/>
                  </a:lnTo>
                  <a:lnTo>
                    <a:pt x="2450961" y="202959"/>
                  </a:lnTo>
                  <a:lnTo>
                    <a:pt x="2450961" y="200876"/>
                  </a:lnTo>
                  <a:lnTo>
                    <a:pt x="2450961" y="202260"/>
                  </a:lnTo>
                  <a:lnTo>
                    <a:pt x="2451062" y="200876"/>
                  </a:lnTo>
                  <a:lnTo>
                    <a:pt x="2451062" y="202959"/>
                  </a:lnTo>
                  <a:lnTo>
                    <a:pt x="2451062" y="202260"/>
                  </a:lnTo>
                  <a:lnTo>
                    <a:pt x="2451062" y="202959"/>
                  </a:lnTo>
                  <a:lnTo>
                    <a:pt x="2451062" y="200876"/>
                  </a:lnTo>
                  <a:lnTo>
                    <a:pt x="2451100" y="200876"/>
                  </a:lnTo>
                  <a:lnTo>
                    <a:pt x="2451100" y="202959"/>
                  </a:lnTo>
                  <a:lnTo>
                    <a:pt x="2451100" y="202260"/>
                  </a:lnTo>
                  <a:lnTo>
                    <a:pt x="2451100" y="202959"/>
                  </a:lnTo>
                  <a:lnTo>
                    <a:pt x="2451100" y="202260"/>
                  </a:lnTo>
                  <a:lnTo>
                    <a:pt x="2451100" y="202959"/>
                  </a:lnTo>
                  <a:lnTo>
                    <a:pt x="2451151" y="202959"/>
                  </a:lnTo>
                  <a:lnTo>
                    <a:pt x="2451151" y="202260"/>
                  </a:lnTo>
                  <a:lnTo>
                    <a:pt x="2451202" y="202260"/>
                  </a:lnTo>
                  <a:lnTo>
                    <a:pt x="2451202" y="200876"/>
                  </a:lnTo>
                  <a:lnTo>
                    <a:pt x="2451202" y="202260"/>
                  </a:lnTo>
                  <a:lnTo>
                    <a:pt x="2451202" y="200876"/>
                  </a:lnTo>
                  <a:lnTo>
                    <a:pt x="2451202" y="202260"/>
                  </a:lnTo>
                  <a:lnTo>
                    <a:pt x="2451304" y="200876"/>
                  </a:lnTo>
                  <a:lnTo>
                    <a:pt x="2451304" y="200228"/>
                  </a:lnTo>
                  <a:lnTo>
                    <a:pt x="2451304" y="200876"/>
                  </a:lnTo>
                  <a:lnTo>
                    <a:pt x="2451304" y="200228"/>
                  </a:lnTo>
                  <a:lnTo>
                    <a:pt x="2451304" y="200876"/>
                  </a:lnTo>
                  <a:lnTo>
                    <a:pt x="2451304" y="199530"/>
                  </a:lnTo>
                  <a:lnTo>
                    <a:pt x="2451304" y="200228"/>
                  </a:lnTo>
                  <a:lnTo>
                    <a:pt x="2451304" y="199530"/>
                  </a:lnTo>
                  <a:lnTo>
                    <a:pt x="2451355" y="199530"/>
                  </a:lnTo>
                  <a:lnTo>
                    <a:pt x="2451355" y="198831"/>
                  </a:lnTo>
                  <a:lnTo>
                    <a:pt x="2451355" y="199530"/>
                  </a:lnTo>
                  <a:lnTo>
                    <a:pt x="2451355" y="196799"/>
                  </a:lnTo>
                  <a:lnTo>
                    <a:pt x="2451405" y="196799"/>
                  </a:lnTo>
                  <a:lnTo>
                    <a:pt x="2451405" y="200228"/>
                  </a:lnTo>
                  <a:lnTo>
                    <a:pt x="2451405" y="197447"/>
                  </a:lnTo>
                  <a:lnTo>
                    <a:pt x="2451507" y="197447"/>
                  </a:lnTo>
                  <a:lnTo>
                    <a:pt x="2451507" y="200876"/>
                  </a:lnTo>
                  <a:lnTo>
                    <a:pt x="2451507" y="199530"/>
                  </a:lnTo>
                  <a:lnTo>
                    <a:pt x="2451507" y="200228"/>
                  </a:lnTo>
                  <a:lnTo>
                    <a:pt x="2451507" y="199530"/>
                  </a:lnTo>
                  <a:lnTo>
                    <a:pt x="2451558" y="200228"/>
                  </a:lnTo>
                  <a:lnTo>
                    <a:pt x="2451558" y="202260"/>
                  </a:lnTo>
                  <a:lnTo>
                    <a:pt x="2451558" y="200228"/>
                  </a:lnTo>
                  <a:lnTo>
                    <a:pt x="2451609" y="200228"/>
                  </a:lnTo>
                  <a:lnTo>
                    <a:pt x="2451609" y="202260"/>
                  </a:lnTo>
                  <a:lnTo>
                    <a:pt x="2451609" y="200876"/>
                  </a:lnTo>
                  <a:lnTo>
                    <a:pt x="2451609" y="202260"/>
                  </a:lnTo>
                  <a:lnTo>
                    <a:pt x="2451609" y="200876"/>
                  </a:lnTo>
                  <a:lnTo>
                    <a:pt x="2451609" y="202260"/>
                  </a:lnTo>
                  <a:lnTo>
                    <a:pt x="2451647" y="202260"/>
                  </a:lnTo>
                  <a:lnTo>
                    <a:pt x="2451647" y="202959"/>
                  </a:lnTo>
                  <a:lnTo>
                    <a:pt x="2451647" y="202260"/>
                  </a:lnTo>
                  <a:lnTo>
                    <a:pt x="2451748" y="200876"/>
                  </a:lnTo>
                  <a:lnTo>
                    <a:pt x="2451748" y="202959"/>
                  </a:lnTo>
                  <a:lnTo>
                    <a:pt x="2451748" y="200876"/>
                  </a:lnTo>
                  <a:lnTo>
                    <a:pt x="2451748" y="202260"/>
                  </a:lnTo>
                  <a:lnTo>
                    <a:pt x="2451799" y="202260"/>
                  </a:lnTo>
                  <a:lnTo>
                    <a:pt x="2451799" y="200876"/>
                  </a:lnTo>
                  <a:lnTo>
                    <a:pt x="2451799" y="202260"/>
                  </a:lnTo>
                  <a:lnTo>
                    <a:pt x="2451799" y="200228"/>
                  </a:lnTo>
                  <a:lnTo>
                    <a:pt x="2451850" y="200228"/>
                  </a:lnTo>
                  <a:lnTo>
                    <a:pt x="2451850" y="198831"/>
                  </a:lnTo>
                  <a:lnTo>
                    <a:pt x="2451850" y="200876"/>
                  </a:lnTo>
                  <a:lnTo>
                    <a:pt x="2451951" y="200876"/>
                  </a:lnTo>
                  <a:lnTo>
                    <a:pt x="2451951" y="197447"/>
                  </a:lnTo>
                  <a:lnTo>
                    <a:pt x="2451951" y="200876"/>
                  </a:lnTo>
                  <a:lnTo>
                    <a:pt x="2452002" y="200876"/>
                  </a:lnTo>
                  <a:lnTo>
                    <a:pt x="2452002" y="200228"/>
                  </a:lnTo>
                  <a:lnTo>
                    <a:pt x="2452002" y="202260"/>
                  </a:lnTo>
                  <a:lnTo>
                    <a:pt x="2452002" y="200876"/>
                  </a:lnTo>
                  <a:lnTo>
                    <a:pt x="2452002" y="202260"/>
                  </a:lnTo>
                  <a:lnTo>
                    <a:pt x="2452002" y="200876"/>
                  </a:lnTo>
                  <a:lnTo>
                    <a:pt x="2452053" y="200876"/>
                  </a:lnTo>
                  <a:lnTo>
                    <a:pt x="2452053" y="200228"/>
                  </a:lnTo>
                  <a:lnTo>
                    <a:pt x="2452053" y="200876"/>
                  </a:lnTo>
                  <a:lnTo>
                    <a:pt x="2452104" y="200876"/>
                  </a:lnTo>
                  <a:lnTo>
                    <a:pt x="2452104" y="202260"/>
                  </a:lnTo>
                  <a:lnTo>
                    <a:pt x="2452104" y="200876"/>
                  </a:lnTo>
                  <a:lnTo>
                    <a:pt x="2452104" y="202260"/>
                  </a:lnTo>
                  <a:lnTo>
                    <a:pt x="2452104" y="200876"/>
                  </a:lnTo>
                  <a:lnTo>
                    <a:pt x="2452193" y="200876"/>
                  </a:lnTo>
                  <a:lnTo>
                    <a:pt x="2452193" y="202260"/>
                  </a:lnTo>
                  <a:lnTo>
                    <a:pt x="2452193" y="200876"/>
                  </a:lnTo>
                  <a:lnTo>
                    <a:pt x="2452193" y="202260"/>
                  </a:lnTo>
                  <a:lnTo>
                    <a:pt x="2452244" y="202260"/>
                  </a:lnTo>
                  <a:lnTo>
                    <a:pt x="2452244" y="200876"/>
                  </a:lnTo>
                  <a:lnTo>
                    <a:pt x="2452294" y="200876"/>
                  </a:lnTo>
                  <a:lnTo>
                    <a:pt x="2452294" y="199530"/>
                  </a:lnTo>
                  <a:lnTo>
                    <a:pt x="2452294" y="200228"/>
                  </a:lnTo>
                  <a:lnTo>
                    <a:pt x="2452294" y="199530"/>
                  </a:lnTo>
                  <a:lnTo>
                    <a:pt x="2452345" y="199530"/>
                  </a:lnTo>
                  <a:lnTo>
                    <a:pt x="2452345" y="197447"/>
                  </a:lnTo>
                  <a:lnTo>
                    <a:pt x="2452345" y="199530"/>
                  </a:lnTo>
                  <a:lnTo>
                    <a:pt x="2452345" y="198831"/>
                  </a:lnTo>
                  <a:lnTo>
                    <a:pt x="2452447" y="198831"/>
                  </a:lnTo>
                  <a:lnTo>
                    <a:pt x="2452447" y="197447"/>
                  </a:lnTo>
                  <a:lnTo>
                    <a:pt x="2452447" y="200228"/>
                  </a:lnTo>
                  <a:lnTo>
                    <a:pt x="2452497" y="200228"/>
                  </a:lnTo>
                  <a:lnTo>
                    <a:pt x="2452497" y="199530"/>
                  </a:lnTo>
                  <a:lnTo>
                    <a:pt x="2452497" y="200876"/>
                  </a:lnTo>
                  <a:lnTo>
                    <a:pt x="2452497" y="200228"/>
                  </a:lnTo>
                  <a:lnTo>
                    <a:pt x="2452548" y="200228"/>
                  </a:lnTo>
                  <a:lnTo>
                    <a:pt x="2452548" y="200876"/>
                  </a:lnTo>
                  <a:lnTo>
                    <a:pt x="2452548" y="200228"/>
                  </a:lnTo>
                  <a:lnTo>
                    <a:pt x="2452548" y="202260"/>
                  </a:lnTo>
                  <a:lnTo>
                    <a:pt x="2452650" y="202260"/>
                  </a:lnTo>
                  <a:lnTo>
                    <a:pt x="2452650" y="200876"/>
                  </a:lnTo>
                  <a:lnTo>
                    <a:pt x="2452650" y="202260"/>
                  </a:lnTo>
                  <a:lnTo>
                    <a:pt x="2452688" y="202260"/>
                  </a:lnTo>
                  <a:lnTo>
                    <a:pt x="2452688" y="200876"/>
                  </a:lnTo>
                  <a:lnTo>
                    <a:pt x="2452688" y="202260"/>
                  </a:lnTo>
                  <a:lnTo>
                    <a:pt x="2452688" y="200876"/>
                  </a:lnTo>
                  <a:lnTo>
                    <a:pt x="2452739" y="200876"/>
                  </a:lnTo>
                  <a:lnTo>
                    <a:pt x="2452739" y="200228"/>
                  </a:lnTo>
                  <a:lnTo>
                    <a:pt x="2452739" y="200876"/>
                  </a:lnTo>
                  <a:lnTo>
                    <a:pt x="2452739" y="200228"/>
                  </a:lnTo>
                  <a:lnTo>
                    <a:pt x="2452790" y="200228"/>
                  </a:lnTo>
                  <a:lnTo>
                    <a:pt x="2452790" y="198831"/>
                  </a:lnTo>
                  <a:lnTo>
                    <a:pt x="2452790" y="199530"/>
                  </a:lnTo>
                  <a:lnTo>
                    <a:pt x="2452790" y="197447"/>
                  </a:lnTo>
                  <a:lnTo>
                    <a:pt x="2452891" y="197447"/>
                  </a:lnTo>
                  <a:lnTo>
                    <a:pt x="2452891" y="199530"/>
                  </a:lnTo>
                  <a:lnTo>
                    <a:pt x="2452891" y="197447"/>
                  </a:lnTo>
                  <a:lnTo>
                    <a:pt x="2452942" y="197447"/>
                  </a:lnTo>
                  <a:lnTo>
                    <a:pt x="2452942" y="196113"/>
                  </a:lnTo>
                  <a:lnTo>
                    <a:pt x="2452942" y="196799"/>
                  </a:lnTo>
                  <a:lnTo>
                    <a:pt x="2452942" y="196113"/>
                  </a:lnTo>
                  <a:lnTo>
                    <a:pt x="2452942" y="200228"/>
                  </a:lnTo>
                  <a:lnTo>
                    <a:pt x="2452942" y="197447"/>
                  </a:lnTo>
                  <a:lnTo>
                    <a:pt x="2452993" y="197447"/>
                  </a:lnTo>
                  <a:lnTo>
                    <a:pt x="2452993" y="200228"/>
                  </a:lnTo>
                  <a:lnTo>
                    <a:pt x="2452993" y="198831"/>
                  </a:lnTo>
                  <a:lnTo>
                    <a:pt x="2453094" y="197447"/>
                  </a:lnTo>
                  <a:lnTo>
                    <a:pt x="2453094" y="199530"/>
                  </a:lnTo>
                  <a:lnTo>
                    <a:pt x="2453094" y="198831"/>
                  </a:lnTo>
                  <a:lnTo>
                    <a:pt x="2453094" y="199530"/>
                  </a:lnTo>
                  <a:lnTo>
                    <a:pt x="2453145" y="199530"/>
                  </a:lnTo>
                  <a:lnTo>
                    <a:pt x="2453145" y="200228"/>
                  </a:lnTo>
                  <a:lnTo>
                    <a:pt x="2453145" y="199530"/>
                  </a:lnTo>
                  <a:lnTo>
                    <a:pt x="2453145" y="200228"/>
                  </a:lnTo>
                  <a:lnTo>
                    <a:pt x="2453145" y="199530"/>
                  </a:lnTo>
                  <a:lnTo>
                    <a:pt x="2453196" y="199530"/>
                  </a:lnTo>
                  <a:lnTo>
                    <a:pt x="2453196" y="200228"/>
                  </a:lnTo>
                  <a:lnTo>
                    <a:pt x="2453196" y="199530"/>
                  </a:lnTo>
                  <a:lnTo>
                    <a:pt x="2453196" y="200228"/>
                  </a:lnTo>
                  <a:lnTo>
                    <a:pt x="2453196" y="199530"/>
                  </a:lnTo>
                  <a:lnTo>
                    <a:pt x="2453196" y="200228"/>
                  </a:lnTo>
                  <a:lnTo>
                    <a:pt x="2453234" y="200228"/>
                  </a:lnTo>
                  <a:lnTo>
                    <a:pt x="2453234" y="199530"/>
                  </a:lnTo>
                  <a:lnTo>
                    <a:pt x="2453234" y="200228"/>
                  </a:lnTo>
                  <a:lnTo>
                    <a:pt x="2453234" y="199530"/>
                  </a:lnTo>
                  <a:lnTo>
                    <a:pt x="2453234" y="200228"/>
                  </a:lnTo>
                  <a:lnTo>
                    <a:pt x="2453336" y="199530"/>
                  </a:lnTo>
                  <a:lnTo>
                    <a:pt x="2453336" y="198831"/>
                  </a:lnTo>
                  <a:lnTo>
                    <a:pt x="2453336" y="199530"/>
                  </a:lnTo>
                  <a:lnTo>
                    <a:pt x="2453336" y="197447"/>
                  </a:lnTo>
                  <a:lnTo>
                    <a:pt x="2453336" y="198831"/>
                  </a:lnTo>
                  <a:lnTo>
                    <a:pt x="2453336" y="197447"/>
                  </a:lnTo>
                  <a:lnTo>
                    <a:pt x="2453387" y="197447"/>
                  </a:lnTo>
                  <a:lnTo>
                    <a:pt x="2453387" y="196799"/>
                  </a:lnTo>
                  <a:lnTo>
                    <a:pt x="2453387" y="198831"/>
                  </a:lnTo>
                  <a:lnTo>
                    <a:pt x="2453387" y="196799"/>
                  </a:lnTo>
                  <a:lnTo>
                    <a:pt x="2453437" y="196799"/>
                  </a:lnTo>
                  <a:lnTo>
                    <a:pt x="2453437" y="200228"/>
                  </a:lnTo>
                  <a:lnTo>
                    <a:pt x="2453437" y="199530"/>
                  </a:lnTo>
                  <a:lnTo>
                    <a:pt x="2453437" y="200228"/>
                  </a:lnTo>
                  <a:lnTo>
                    <a:pt x="2453437" y="197447"/>
                  </a:lnTo>
                  <a:lnTo>
                    <a:pt x="2453437" y="198831"/>
                  </a:lnTo>
                  <a:lnTo>
                    <a:pt x="2453437" y="197447"/>
                  </a:lnTo>
                  <a:lnTo>
                    <a:pt x="2453539" y="198831"/>
                  </a:lnTo>
                  <a:lnTo>
                    <a:pt x="2453539" y="200228"/>
                  </a:lnTo>
                  <a:lnTo>
                    <a:pt x="2453539" y="199530"/>
                  </a:lnTo>
                  <a:lnTo>
                    <a:pt x="2453590" y="199530"/>
                  </a:lnTo>
                  <a:lnTo>
                    <a:pt x="2453590" y="200228"/>
                  </a:lnTo>
                  <a:lnTo>
                    <a:pt x="2453590" y="199530"/>
                  </a:lnTo>
                  <a:lnTo>
                    <a:pt x="2453590" y="200228"/>
                  </a:lnTo>
                  <a:lnTo>
                    <a:pt x="2453590" y="199530"/>
                  </a:lnTo>
                  <a:lnTo>
                    <a:pt x="2453640" y="200228"/>
                  </a:lnTo>
                  <a:lnTo>
                    <a:pt x="2453640" y="200876"/>
                  </a:lnTo>
                  <a:lnTo>
                    <a:pt x="2453640" y="200228"/>
                  </a:lnTo>
                  <a:lnTo>
                    <a:pt x="2453691" y="200228"/>
                  </a:lnTo>
                  <a:lnTo>
                    <a:pt x="2453691" y="200876"/>
                  </a:lnTo>
                  <a:lnTo>
                    <a:pt x="2453691" y="200228"/>
                  </a:lnTo>
                  <a:lnTo>
                    <a:pt x="2453780" y="200228"/>
                  </a:lnTo>
                  <a:lnTo>
                    <a:pt x="2453780" y="199530"/>
                  </a:lnTo>
                  <a:lnTo>
                    <a:pt x="2453780" y="200228"/>
                  </a:lnTo>
                  <a:lnTo>
                    <a:pt x="2453780" y="199530"/>
                  </a:lnTo>
                  <a:lnTo>
                    <a:pt x="2453780" y="200228"/>
                  </a:lnTo>
                  <a:lnTo>
                    <a:pt x="2453780" y="199530"/>
                  </a:lnTo>
                  <a:lnTo>
                    <a:pt x="2453831" y="200228"/>
                  </a:lnTo>
                  <a:lnTo>
                    <a:pt x="2453831" y="198831"/>
                  </a:lnTo>
                  <a:lnTo>
                    <a:pt x="2453831" y="199530"/>
                  </a:lnTo>
                  <a:lnTo>
                    <a:pt x="2453831" y="197447"/>
                  </a:lnTo>
                  <a:lnTo>
                    <a:pt x="2453882" y="197447"/>
                  </a:lnTo>
                  <a:lnTo>
                    <a:pt x="2453882" y="199530"/>
                  </a:lnTo>
                  <a:lnTo>
                    <a:pt x="2453882" y="198831"/>
                  </a:lnTo>
                  <a:lnTo>
                    <a:pt x="2453882" y="199530"/>
                  </a:lnTo>
                  <a:lnTo>
                    <a:pt x="2453882" y="197447"/>
                  </a:lnTo>
                  <a:lnTo>
                    <a:pt x="2453882" y="198831"/>
                  </a:lnTo>
                  <a:lnTo>
                    <a:pt x="2453882" y="197447"/>
                  </a:lnTo>
                  <a:lnTo>
                    <a:pt x="2453882" y="198831"/>
                  </a:lnTo>
                  <a:lnTo>
                    <a:pt x="2453933" y="198831"/>
                  </a:lnTo>
                  <a:lnTo>
                    <a:pt x="2453933" y="200228"/>
                  </a:lnTo>
                  <a:lnTo>
                    <a:pt x="2453933" y="198831"/>
                  </a:lnTo>
                  <a:lnTo>
                    <a:pt x="2453933" y="199530"/>
                  </a:lnTo>
                  <a:lnTo>
                    <a:pt x="2454034" y="199530"/>
                  </a:lnTo>
                  <a:lnTo>
                    <a:pt x="2454034" y="200228"/>
                  </a:lnTo>
                  <a:lnTo>
                    <a:pt x="2454136" y="200228"/>
                  </a:lnTo>
                  <a:lnTo>
                    <a:pt x="2454136" y="199530"/>
                  </a:lnTo>
                  <a:lnTo>
                    <a:pt x="2454136" y="200876"/>
                  </a:lnTo>
                  <a:lnTo>
                    <a:pt x="2454136" y="200228"/>
                  </a:lnTo>
                  <a:lnTo>
                    <a:pt x="2454237" y="200228"/>
                  </a:lnTo>
                  <a:lnTo>
                    <a:pt x="2454237" y="199530"/>
                  </a:lnTo>
                  <a:lnTo>
                    <a:pt x="2454237" y="200228"/>
                  </a:lnTo>
                  <a:lnTo>
                    <a:pt x="2454275" y="200228"/>
                  </a:lnTo>
                  <a:lnTo>
                    <a:pt x="2454275" y="199530"/>
                  </a:lnTo>
                  <a:lnTo>
                    <a:pt x="2454275" y="200228"/>
                  </a:lnTo>
                  <a:lnTo>
                    <a:pt x="2454275" y="199530"/>
                  </a:lnTo>
                  <a:lnTo>
                    <a:pt x="2454275" y="200228"/>
                  </a:lnTo>
                  <a:lnTo>
                    <a:pt x="2454275" y="199530"/>
                  </a:lnTo>
                  <a:lnTo>
                    <a:pt x="2454326" y="199530"/>
                  </a:lnTo>
                  <a:lnTo>
                    <a:pt x="2454326" y="196799"/>
                  </a:lnTo>
                  <a:lnTo>
                    <a:pt x="2454377" y="196799"/>
                  </a:lnTo>
                  <a:lnTo>
                    <a:pt x="2454377" y="197447"/>
                  </a:lnTo>
                  <a:lnTo>
                    <a:pt x="2454377" y="196799"/>
                  </a:lnTo>
                  <a:lnTo>
                    <a:pt x="2454479" y="196799"/>
                  </a:lnTo>
                  <a:lnTo>
                    <a:pt x="2454479" y="199530"/>
                  </a:lnTo>
                  <a:lnTo>
                    <a:pt x="2454479" y="197447"/>
                  </a:lnTo>
                  <a:lnTo>
                    <a:pt x="2454479" y="198831"/>
                  </a:lnTo>
                  <a:lnTo>
                    <a:pt x="2454479" y="197447"/>
                  </a:lnTo>
                  <a:lnTo>
                    <a:pt x="2454479" y="198831"/>
                  </a:lnTo>
                  <a:lnTo>
                    <a:pt x="2454479" y="197447"/>
                  </a:lnTo>
                  <a:lnTo>
                    <a:pt x="2454479" y="198831"/>
                  </a:lnTo>
                  <a:lnTo>
                    <a:pt x="2454530" y="199530"/>
                  </a:lnTo>
                  <a:lnTo>
                    <a:pt x="2454530" y="198831"/>
                  </a:lnTo>
                  <a:lnTo>
                    <a:pt x="2454530" y="199530"/>
                  </a:lnTo>
                  <a:lnTo>
                    <a:pt x="2454530" y="198831"/>
                  </a:lnTo>
                  <a:lnTo>
                    <a:pt x="2454530" y="199530"/>
                  </a:lnTo>
                  <a:lnTo>
                    <a:pt x="2454580" y="199530"/>
                  </a:lnTo>
                  <a:lnTo>
                    <a:pt x="2454580" y="200228"/>
                  </a:lnTo>
                  <a:lnTo>
                    <a:pt x="2454580" y="198831"/>
                  </a:lnTo>
                  <a:lnTo>
                    <a:pt x="2454580" y="200228"/>
                  </a:lnTo>
                  <a:lnTo>
                    <a:pt x="2454580" y="199530"/>
                  </a:lnTo>
                  <a:lnTo>
                    <a:pt x="2454580" y="200228"/>
                  </a:lnTo>
                  <a:lnTo>
                    <a:pt x="2454580" y="199530"/>
                  </a:lnTo>
                  <a:lnTo>
                    <a:pt x="2454682" y="199530"/>
                  </a:lnTo>
                  <a:lnTo>
                    <a:pt x="2454682" y="200228"/>
                  </a:lnTo>
                  <a:lnTo>
                    <a:pt x="2454682" y="199530"/>
                  </a:lnTo>
                  <a:lnTo>
                    <a:pt x="2454682" y="200228"/>
                  </a:lnTo>
                  <a:lnTo>
                    <a:pt x="2454682" y="199530"/>
                  </a:lnTo>
                  <a:lnTo>
                    <a:pt x="2454682" y="200228"/>
                  </a:lnTo>
                  <a:lnTo>
                    <a:pt x="2454733" y="200228"/>
                  </a:lnTo>
                  <a:lnTo>
                    <a:pt x="2454733" y="200876"/>
                  </a:lnTo>
                  <a:lnTo>
                    <a:pt x="2454733" y="200228"/>
                  </a:lnTo>
                  <a:lnTo>
                    <a:pt x="2454784" y="200228"/>
                  </a:lnTo>
                  <a:lnTo>
                    <a:pt x="2454784" y="199530"/>
                  </a:lnTo>
                  <a:lnTo>
                    <a:pt x="2454784" y="200228"/>
                  </a:lnTo>
                  <a:lnTo>
                    <a:pt x="2454784" y="199530"/>
                  </a:lnTo>
                  <a:lnTo>
                    <a:pt x="2454784" y="200228"/>
                  </a:lnTo>
                  <a:lnTo>
                    <a:pt x="2454784" y="198831"/>
                  </a:lnTo>
                  <a:lnTo>
                    <a:pt x="2454822" y="198831"/>
                  </a:lnTo>
                  <a:lnTo>
                    <a:pt x="2454822" y="197447"/>
                  </a:lnTo>
                  <a:lnTo>
                    <a:pt x="2454822" y="198831"/>
                  </a:lnTo>
                  <a:lnTo>
                    <a:pt x="2454822" y="196799"/>
                  </a:lnTo>
                  <a:lnTo>
                    <a:pt x="2454822" y="197447"/>
                  </a:lnTo>
                  <a:lnTo>
                    <a:pt x="2454923" y="197447"/>
                  </a:lnTo>
                  <a:lnTo>
                    <a:pt x="2454923" y="198831"/>
                  </a:lnTo>
                  <a:lnTo>
                    <a:pt x="2454923" y="196799"/>
                  </a:lnTo>
                  <a:lnTo>
                    <a:pt x="2454923" y="199530"/>
                  </a:lnTo>
                  <a:lnTo>
                    <a:pt x="2454974" y="199530"/>
                  </a:lnTo>
                  <a:lnTo>
                    <a:pt x="2454974" y="198831"/>
                  </a:lnTo>
                  <a:lnTo>
                    <a:pt x="2454974" y="200228"/>
                  </a:lnTo>
                  <a:lnTo>
                    <a:pt x="2454974" y="199530"/>
                  </a:lnTo>
                  <a:lnTo>
                    <a:pt x="2455025" y="199530"/>
                  </a:lnTo>
                  <a:lnTo>
                    <a:pt x="2455025" y="200228"/>
                  </a:lnTo>
                  <a:lnTo>
                    <a:pt x="2455025" y="199530"/>
                  </a:lnTo>
                  <a:lnTo>
                    <a:pt x="2455025" y="200228"/>
                  </a:lnTo>
                  <a:lnTo>
                    <a:pt x="2455025" y="199530"/>
                  </a:lnTo>
                  <a:lnTo>
                    <a:pt x="2455025" y="200228"/>
                  </a:lnTo>
                  <a:lnTo>
                    <a:pt x="2455025" y="199530"/>
                  </a:lnTo>
                  <a:lnTo>
                    <a:pt x="2455025" y="200228"/>
                  </a:lnTo>
                  <a:lnTo>
                    <a:pt x="2455025" y="199530"/>
                  </a:lnTo>
                  <a:lnTo>
                    <a:pt x="2455025" y="200228"/>
                  </a:lnTo>
                  <a:lnTo>
                    <a:pt x="2455126" y="200228"/>
                  </a:lnTo>
                  <a:lnTo>
                    <a:pt x="2455126" y="199530"/>
                  </a:lnTo>
                  <a:lnTo>
                    <a:pt x="2455126" y="200228"/>
                  </a:lnTo>
                  <a:lnTo>
                    <a:pt x="2455126" y="199530"/>
                  </a:lnTo>
                  <a:lnTo>
                    <a:pt x="2455126" y="200228"/>
                  </a:lnTo>
                  <a:lnTo>
                    <a:pt x="2455126" y="199530"/>
                  </a:lnTo>
                  <a:lnTo>
                    <a:pt x="2455126" y="200228"/>
                  </a:lnTo>
                  <a:lnTo>
                    <a:pt x="2455126" y="199530"/>
                  </a:lnTo>
                  <a:lnTo>
                    <a:pt x="2455126" y="200228"/>
                  </a:lnTo>
                  <a:lnTo>
                    <a:pt x="2455228" y="200228"/>
                  </a:lnTo>
                  <a:lnTo>
                    <a:pt x="2455228" y="199530"/>
                  </a:lnTo>
                  <a:lnTo>
                    <a:pt x="2455228" y="200228"/>
                  </a:lnTo>
                  <a:lnTo>
                    <a:pt x="2455279" y="200228"/>
                  </a:lnTo>
                  <a:lnTo>
                    <a:pt x="2455279" y="197447"/>
                  </a:lnTo>
                  <a:lnTo>
                    <a:pt x="2455279" y="198831"/>
                  </a:lnTo>
                  <a:lnTo>
                    <a:pt x="2455368" y="197447"/>
                  </a:lnTo>
                  <a:lnTo>
                    <a:pt x="2455368" y="198831"/>
                  </a:lnTo>
                  <a:lnTo>
                    <a:pt x="2455368" y="196113"/>
                  </a:lnTo>
                  <a:lnTo>
                    <a:pt x="2455368" y="196799"/>
                  </a:lnTo>
                  <a:lnTo>
                    <a:pt x="2455368" y="196113"/>
                  </a:lnTo>
                  <a:lnTo>
                    <a:pt x="2455419" y="196113"/>
                  </a:lnTo>
                  <a:lnTo>
                    <a:pt x="2455419" y="197447"/>
                  </a:lnTo>
                  <a:lnTo>
                    <a:pt x="2455419" y="196113"/>
                  </a:lnTo>
                  <a:lnTo>
                    <a:pt x="2455419" y="197447"/>
                  </a:lnTo>
                  <a:lnTo>
                    <a:pt x="2455469" y="198831"/>
                  </a:lnTo>
                  <a:lnTo>
                    <a:pt x="2455469" y="197447"/>
                  </a:lnTo>
                  <a:lnTo>
                    <a:pt x="2455469" y="199530"/>
                  </a:lnTo>
                  <a:lnTo>
                    <a:pt x="2455520" y="199530"/>
                  </a:lnTo>
                  <a:lnTo>
                    <a:pt x="2455520" y="198831"/>
                  </a:lnTo>
                  <a:lnTo>
                    <a:pt x="2455520" y="199530"/>
                  </a:lnTo>
                  <a:lnTo>
                    <a:pt x="2455622" y="200228"/>
                  </a:lnTo>
                  <a:lnTo>
                    <a:pt x="2455622" y="199530"/>
                  </a:lnTo>
                  <a:lnTo>
                    <a:pt x="2455622" y="200228"/>
                  </a:lnTo>
                  <a:lnTo>
                    <a:pt x="2455622" y="199530"/>
                  </a:lnTo>
                  <a:lnTo>
                    <a:pt x="2455622" y="200228"/>
                  </a:lnTo>
                  <a:lnTo>
                    <a:pt x="2455622" y="199530"/>
                  </a:lnTo>
                  <a:lnTo>
                    <a:pt x="2455622" y="200228"/>
                  </a:lnTo>
                  <a:lnTo>
                    <a:pt x="2455672" y="200228"/>
                  </a:lnTo>
                  <a:lnTo>
                    <a:pt x="2455672" y="200876"/>
                  </a:lnTo>
                  <a:lnTo>
                    <a:pt x="2455672" y="200228"/>
                  </a:lnTo>
                  <a:lnTo>
                    <a:pt x="2455672" y="200876"/>
                  </a:lnTo>
                  <a:lnTo>
                    <a:pt x="2455672" y="200228"/>
                  </a:lnTo>
                  <a:lnTo>
                    <a:pt x="2455723" y="200228"/>
                  </a:lnTo>
                  <a:lnTo>
                    <a:pt x="2455723" y="200876"/>
                  </a:lnTo>
                  <a:lnTo>
                    <a:pt x="2455723" y="200228"/>
                  </a:lnTo>
                  <a:lnTo>
                    <a:pt x="2455723" y="200876"/>
                  </a:lnTo>
                  <a:lnTo>
                    <a:pt x="2455723" y="200228"/>
                  </a:lnTo>
                  <a:lnTo>
                    <a:pt x="2455723" y="200876"/>
                  </a:lnTo>
                  <a:lnTo>
                    <a:pt x="2455723" y="200228"/>
                  </a:lnTo>
                  <a:lnTo>
                    <a:pt x="2455723" y="200876"/>
                  </a:lnTo>
                  <a:lnTo>
                    <a:pt x="2455723" y="200228"/>
                  </a:lnTo>
                  <a:lnTo>
                    <a:pt x="2455825" y="200228"/>
                  </a:lnTo>
                  <a:lnTo>
                    <a:pt x="2455825" y="199530"/>
                  </a:lnTo>
                  <a:lnTo>
                    <a:pt x="2455825" y="200228"/>
                  </a:lnTo>
                  <a:lnTo>
                    <a:pt x="2455825" y="198831"/>
                  </a:lnTo>
                  <a:lnTo>
                    <a:pt x="2455863" y="198831"/>
                  </a:lnTo>
                  <a:lnTo>
                    <a:pt x="2455863" y="196799"/>
                  </a:lnTo>
                  <a:lnTo>
                    <a:pt x="2455863" y="198831"/>
                  </a:lnTo>
                  <a:lnTo>
                    <a:pt x="2455914" y="198831"/>
                  </a:lnTo>
                  <a:lnTo>
                    <a:pt x="2455914" y="196799"/>
                  </a:lnTo>
                  <a:lnTo>
                    <a:pt x="2455914" y="199530"/>
                  </a:lnTo>
                  <a:lnTo>
                    <a:pt x="2455965" y="199530"/>
                  </a:lnTo>
                  <a:lnTo>
                    <a:pt x="2455965" y="197447"/>
                  </a:lnTo>
                  <a:lnTo>
                    <a:pt x="2455965" y="199530"/>
                  </a:lnTo>
                  <a:lnTo>
                    <a:pt x="2455965" y="198831"/>
                  </a:lnTo>
                  <a:lnTo>
                    <a:pt x="2456066" y="198831"/>
                  </a:lnTo>
                  <a:lnTo>
                    <a:pt x="2456066" y="197447"/>
                  </a:lnTo>
                  <a:lnTo>
                    <a:pt x="2456066" y="199530"/>
                  </a:lnTo>
                  <a:lnTo>
                    <a:pt x="2456066" y="198831"/>
                  </a:lnTo>
                  <a:lnTo>
                    <a:pt x="2456066" y="199530"/>
                  </a:lnTo>
                  <a:lnTo>
                    <a:pt x="2456066" y="198831"/>
                  </a:lnTo>
                  <a:lnTo>
                    <a:pt x="2456117" y="197447"/>
                  </a:lnTo>
                  <a:lnTo>
                    <a:pt x="2456117" y="199530"/>
                  </a:lnTo>
                  <a:lnTo>
                    <a:pt x="2456117" y="198831"/>
                  </a:lnTo>
                  <a:lnTo>
                    <a:pt x="2456117" y="199530"/>
                  </a:lnTo>
                  <a:lnTo>
                    <a:pt x="2456117" y="198831"/>
                  </a:lnTo>
                  <a:lnTo>
                    <a:pt x="2456117" y="199530"/>
                  </a:lnTo>
                  <a:lnTo>
                    <a:pt x="2456117" y="198831"/>
                  </a:lnTo>
                  <a:lnTo>
                    <a:pt x="2456168" y="198831"/>
                  </a:lnTo>
                  <a:lnTo>
                    <a:pt x="2456168" y="200228"/>
                  </a:lnTo>
                  <a:lnTo>
                    <a:pt x="2456168" y="199530"/>
                  </a:lnTo>
                  <a:lnTo>
                    <a:pt x="2456168" y="200228"/>
                  </a:lnTo>
                  <a:lnTo>
                    <a:pt x="2456168" y="199530"/>
                  </a:lnTo>
                  <a:lnTo>
                    <a:pt x="2456168" y="200228"/>
                  </a:lnTo>
                  <a:lnTo>
                    <a:pt x="2456168" y="199530"/>
                  </a:lnTo>
                  <a:lnTo>
                    <a:pt x="2456269" y="200228"/>
                  </a:lnTo>
                  <a:lnTo>
                    <a:pt x="2456269" y="199530"/>
                  </a:lnTo>
                  <a:lnTo>
                    <a:pt x="2456269" y="200228"/>
                  </a:lnTo>
                  <a:lnTo>
                    <a:pt x="2456269" y="199530"/>
                  </a:lnTo>
                  <a:lnTo>
                    <a:pt x="2456269" y="200228"/>
                  </a:lnTo>
                  <a:lnTo>
                    <a:pt x="2456269" y="199530"/>
                  </a:lnTo>
                  <a:lnTo>
                    <a:pt x="2456320" y="199530"/>
                  </a:lnTo>
                  <a:lnTo>
                    <a:pt x="2456320" y="197447"/>
                  </a:lnTo>
                  <a:lnTo>
                    <a:pt x="2456371" y="198831"/>
                  </a:lnTo>
                  <a:lnTo>
                    <a:pt x="2456371" y="197447"/>
                  </a:lnTo>
                  <a:lnTo>
                    <a:pt x="2456371" y="198831"/>
                  </a:lnTo>
                  <a:lnTo>
                    <a:pt x="2456371" y="197447"/>
                  </a:lnTo>
                  <a:lnTo>
                    <a:pt x="2456371" y="199530"/>
                  </a:lnTo>
                  <a:lnTo>
                    <a:pt x="2456371" y="198831"/>
                  </a:lnTo>
                  <a:lnTo>
                    <a:pt x="2456371" y="199530"/>
                  </a:lnTo>
                  <a:lnTo>
                    <a:pt x="2456409" y="199530"/>
                  </a:lnTo>
                  <a:lnTo>
                    <a:pt x="2456409" y="198831"/>
                  </a:lnTo>
                  <a:lnTo>
                    <a:pt x="2456409" y="200876"/>
                  </a:lnTo>
                  <a:lnTo>
                    <a:pt x="2456409" y="199530"/>
                  </a:lnTo>
                  <a:lnTo>
                    <a:pt x="2456511" y="199530"/>
                  </a:lnTo>
                  <a:lnTo>
                    <a:pt x="2456511" y="200228"/>
                  </a:lnTo>
                  <a:lnTo>
                    <a:pt x="2456511" y="199530"/>
                  </a:lnTo>
                  <a:lnTo>
                    <a:pt x="2456562" y="200228"/>
                  </a:lnTo>
                  <a:lnTo>
                    <a:pt x="2456562" y="199530"/>
                  </a:lnTo>
                  <a:lnTo>
                    <a:pt x="2456562" y="200876"/>
                  </a:lnTo>
                  <a:lnTo>
                    <a:pt x="2456562" y="200228"/>
                  </a:lnTo>
                  <a:lnTo>
                    <a:pt x="2456612" y="200228"/>
                  </a:lnTo>
                  <a:lnTo>
                    <a:pt x="2456612" y="200876"/>
                  </a:lnTo>
                  <a:lnTo>
                    <a:pt x="2456612" y="200228"/>
                  </a:lnTo>
                  <a:lnTo>
                    <a:pt x="2456612" y="200876"/>
                  </a:lnTo>
                  <a:lnTo>
                    <a:pt x="2456714" y="200876"/>
                  </a:lnTo>
                  <a:lnTo>
                    <a:pt x="2456714" y="200228"/>
                  </a:lnTo>
                  <a:lnTo>
                    <a:pt x="2456714" y="200876"/>
                  </a:lnTo>
                  <a:lnTo>
                    <a:pt x="2456714" y="200228"/>
                  </a:lnTo>
                  <a:lnTo>
                    <a:pt x="2456714" y="200876"/>
                  </a:lnTo>
                  <a:lnTo>
                    <a:pt x="2456714" y="200228"/>
                  </a:lnTo>
                  <a:lnTo>
                    <a:pt x="2456714" y="200876"/>
                  </a:lnTo>
                  <a:lnTo>
                    <a:pt x="2456714" y="200228"/>
                  </a:lnTo>
                  <a:lnTo>
                    <a:pt x="2456714" y="200876"/>
                  </a:lnTo>
                  <a:lnTo>
                    <a:pt x="2456714" y="200228"/>
                  </a:lnTo>
                  <a:lnTo>
                    <a:pt x="2456765" y="200228"/>
                  </a:lnTo>
                  <a:lnTo>
                    <a:pt x="2456765" y="200876"/>
                  </a:lnTo>
                  <a:lnTo>
                    <a:pt x="2456765" y="199530"/>
                  </a:lnTo>
                  <a:lnTo>
                    <a:pt x="2456765" y="200228"/>
                  </a:lnTo>
                  <a:lnTo>
                    <a:pt x="2456765" y="199530"/>
                  </a:lnTo>
                  <a:lnTo>
                    <a:pt x="2456815" y="199530"/>
                  </a:lnTo>
                  <a:lnTo>
                    <a:pt x="2456815" y="198831"/>
                  </a:lnTo>
                  <a:lnTo>
                    <a:pt x="2456815" y="199530"/>
                  </a:lnTo>
                  <a:lnTo>
                    <a:pt x="2456815" y="197447"/>
                  </a:lnTo>
                  <a:lnTo>
                    <a:pt x="2456866" y="198831"/>
                  </a:lnTo>
                  <a:lnTo>
                    <a:pt x="2456866" y="199530"/>
                  </a:lnTo>
                  <a:lnTo>
                    <a:pt x="2456866" y="198831"/>
                  </a:lnTo>
                  <a:lnTo>
                    <a:pt x="2456866" y="200228"/>
                  </a:lnTo>
                  <a:lnTo>
                    <a:pt x="2456955" y="200876"/>
                  </a:lnTo>
                  <a:lnTo>
                    <a:pt x="2456955" y="202260"/>
                  </a:lnTo>
                  <a:lnTo>
                    <a:pt x="2456955" y="200228"/>
                  </a:lnTo>
                  <a:lnTo>
                    <a:pt x="2456955" y="200876"/>
                  </a:lnTo>
                  <a:lnTo>
                    <a:pt x="2456955" y="200228"/>
                  </a:lnTo>
                  <a:lnTo>
                    <a:pt x="2456955" y="202260"/>
                  </a:lnTo>
                  <a:lnTo>
                    <a:pt x="2457006" y="202260"/>
                  </a:lnTo>
                  <a:lnTo>
                    <a:pt x="2457006" y="200876"/>
                  </a:lnTo>
                  <a:lnTo>
                    <a:pt x="2457006" y="202260"/>
                  </a:lnTo>
                  <a:lnTo>
                    <a:pt x="2457006" y="200876"/>
                  </a:lnTo>
                  <a:lnTo>
                    <a:pt x="2457057" y="200876"/>
                  </a:lnTo>
                  <a:lnTo>
                    <a:pt x="2457057" y="200228"/>
                  </a:lnTo>
                  <a:lnTo>
                    <a:pt x="2457057" y="200876"/>
                  </a:lnTo>
                  <a:lnTo>
                    <a:pt x="2457108" y="200228"/>
                  </a:lnTo>
                  <a:lnTo>
                    <a:pt x="2457108" y="200876"/>
                  </a:lnTo>
                  <a:lnTo>
                    <a:pt x="2457108" y="200228"/>
                  </a:lnTo>
                  <a:lnTo>
                    <a:pt x="2457209" y="200876"/>
                  </a:lnTo>
                  <a:lnTo>
                    <a:pt x="2457209" y="200228"/>
                  </a:lnTo>
                  <a:lnTo>
                    <a:pt x="2457209" y="200876"/>
                  </a:lnTo>
                  <a:lnTo>
                    <a:pt x="2457209" y="199530"/>
                  </a:lnTo>
                  <a:lnTo>
                    <a:pt x="2457209" y="200228"/>
                  </a:lnTo>
                  <a:lnTo>
                    <a:pt x="2457260" y="199530"/>
                  </a:lnTo>
                  <a:lnTo>
                    <a:pt x="2457260" y="200228"/>
                  </a:lnTo>
                  <a:lnTo>
                    <a:pt x="2457260" y="198831"/>
                  </a:lnTo>
                  <a:lnTo>
                    <a:pt x="2457311" y="198831"/>
                  </a:lnTo>
                  <a:lnTo>
                    <a:pt x="2457311" y="196799"/>
                  </a:lnTo>
                  <a:lnTo>
                    <a:pt x="2457311" y="197447"/>
                  </a:lnTo>
                  <a:lnTo>
                    <a:pt x="2457311" y="196799"/>
                  </a:lnTo>
                  <a:lnTo>
                    <a:pt x="2457311" y="197447"/>
                  </a:lnTo>
                  <a:lnTo>
                    <a:pt x="2457311" y="196799"/>
                  </a:lnTo>
                  <a:lnTo>
                    <a:pt x="2457311" y="197447"/>
                  </a:lnTo>
                  <a:lnTo>
                    <a:pt x="2457412" y="197447"/>
                  </a:lnTo>
                  <a:lnTo>
                    <a:pt x="2457412" y="198831"/>
                  </a:lnTo>
                  <a:lnTo>
                    <a:pt x="2457412" y="197447"/>
                  </a:lnTo>
                  <a:lnTo>
                    <a:pt x="2457412" y="198831"/>
                  </a:lnTo>
                  <a:lnTo>
                    <a:pt x="2457412" y="196799"/>
                  </a:lnTo>
                  <a:lnTo>
                    <a:pt x="2457412" y="199530"/>
                  </a:lnTo>
                  <a:lnTo>
                    <a:pt x="2457450" y="199530"/>
                  </a:lnTo>
                  <a:lnTo>
                    <a:pt x="2457450" y="200876"/>
                  </a:lnTo>
                  <a:lnTo>
                    <a:pt x="2457450" y="200228"/>
                  </a:lnTo>
                  <a:lnTo>
                    <a:pt x="2457501" y="199530"/>
                  </a:lnTo>
                  <a:lnTo>
                    <a:pt x="2457501" y="200876"/>
                  </a:lnTo>
                  <a:lnTo>
                    <a:pt x="2457501" y="200228"/>
                  </a:lnTo>
                  <a:lnTo>
                    <a:pt x="2457552" y="200228"/>
                  </a:lnTo>
                  <a:lnTo>
                    <a:pt x="2457552" y="200876"/>
                  </a:lnTo>
                  <a:lnTo>
                    <a:pt x="2457552" y="200228"/>
                  </a:lnTo>
                  <a:lnTo>
                    <a:pt x="2457552" y="202260"/>
                  </a:lnTo>
                  <a:lnTo>
                    <a:pt x="2457552" y="200876"/>
                  </a:lnTo>
                  <a:lnTo>
                    <a:pt x="2457654" y="200876"/>
                  </a:lnTo>
                  <a:lnTo>
                    <a:pt x="2457654" y="202260"/>
                  </a:lnTo>
                  <a:lnTo>
                    <a:pt x="2457654" y="200876"/>
                  </a:lnTo>
                  <a:lnTo>
                    <a:pt x="2457654" y="202260"/>
                  </a:lnTo>
                  <a:lnTo>
                    <a:pt x="2457705" y="200876"/>
                  </a:lnTo>
                  <a:lnTo>
                    <a:pt x="2457705" y="202260"/>
                  </a:lnTo>
                  <a:lnTo>
                    <a:pt x="2457705" y="200228"/>
                  </a:lnTo>
                  <a:lnTo>
                    <a:pt x="2457705" y="200876"/>
                  </a:lnTo>
                  <a:lnTo>
                    <a:pt x="2457705" y="200228"/>
                  </a:lnTo>
                  <a:lnTo>
                    <a:pt x="2457755" y="200228"/>
                  </a:lnTo>
                  <a:lnTo>
                    <a:pt x="2457755" y="197447"/>
                  </a:lnTo>
                  <a:lnTo>
                    <a:pt x="2457857" y="198831"/>
                  </a:lnTo>
                  <a:lnTo>
                    <a:pt x="2457857" y="197447"/>
                  </a:lnTo>
                  <a:lnTo>
                    <a:pt x="2457857" y="198831"/>
                  </a:lnTo>
                  <a:lnTo>
                    <a:pt x="2457857" y="197447"/>
                  </a:lnTo>
                  <a:lnTo>
                    <a:pt x="2457857" y="199530"/>
                  </a:lnTo>
                  <a:lnTo>
                    <a:pt x="2457857" y="197447"/>
                  </a:lnTo>
                  <a:lnTo>
                    <a:pt x="2457908" y="197447"/>
                  </a:lnTo>
                  <a:lnTo>
                    <a:pt x="2457908" y="200876"/>
                  </a:lnTo>
                  <a:lnTo>
                    <a:pt x="2457908" y="200228"/>
                  </a:lnTo>
                  <a:lnTo>
                    <a:pt x="2457959" y="200228"/>
                  </a:lnTo>
                  <a:lnTo>
                    <a:pt x="2457959" y="200876"/>
                  </a:lnTo>
                  <a:lnTo>
                    <a:pt x="2457959" y="200228"/>
                  </a:lnTo>
                  <a:lnTo>
                    <a:pt x="2457997" y="200876"/>
                  </a:lnTo>
                  <a:lnTo>
                    <a:pt x="2457997" y="200228"/>
                  </a:lnTo>
                  <a:lnTo>
                    <a:pt x="2458098" y="200876"/>
                  </a:lnTo>
                  <a:lnTo>
                    <a:pt x="2458149" y="200876"/>
                  </a:lnTo>
                  <a:lnTo>
                    <a:pt x="2458149" y="200228"/>
                  </a:lnTo>
                  <a:lnTo>
                    <a:pt x="2458149" y="200876"/>
                  </a:lnTo>
                  <a:lnTo>
                    <a:pt x="2458200" y="200876"/>
                  </a:lnTo>
                  <a:lnTo>
                    <a:pt x="2458200" y="200228"/>
                  </a:lnTo>
                  <a:lnTo>
                    <a:pt x="2458200" y="200876"/>
                  </a:lnTo>
                  <a:lnTo>
                    <a:pt x="2458200" y="199530"/>
                  </a:lnTo>
                  <a:lnTo>
                    <a:pt x="2458301" y="199530"/>
                  </a:lnTo>
                  <a:lnTo>
                    <a:pt x="2458301" y="197447"/>
                  </a:lnTo>
                  <a:lnTo>
                    <a:pt x="2458352" y="196799"/>
                  </a:lnTo>
                  <a:lnTo>
                    <a:pt x="2458352" y="198831"/>
                  </a:lnTo>
                  <a:lnTo>
                    <a:pt x="2458352" y="196799"/>
                  </a:lnTo>
                  <a:lnTo>
                    <a:pt x="2458352" y="197447"/>
                  </a:lnTo>
                  <a:lnTo>
                    <a:pt x="2458352" y="196799"/>
                  </a:lnTo>
                  <a:lnTo>
                    <a:pt x="2458403" y="197447"/>
                  </a:lnTo>
                  <a:lnTo>
                    <a:pt x="2458403" y="200228"/>
                  </a:lnTo>
                  <a:lnTo>
                    <a:pt x="2458403" y="198831"/>
                  </a:lnTo>
                  <a:lnTo>
                    <a:pt x="2458403" y="199530"/>
                  </a:lnTo>
                  <a:lnTo>
                    <a:pt x="2458403" y="198831"/>
                  </a:lnTo>
                  <a:lnTo>
                    <a:pt x="2458454" y="198831"/>
                  </a:lnTo>
                  <a:lnTo>
                    <a:pt x="2458454" y="200228"/>
                  </a:lnTo>
                  <a:lnTo>
                    <a:pt x="2458454" y="198831"/>
                  </a:lnTo>
                  <a:lnTo>
                    <a:pt x="2458454" y="199530"/>
                  </a:lnTo>
                  <a:lnTo>
                    <a:pt x="2458543" y="199530"/>
                  </a:lnTo>
                  <a:lnTo>
                    <a:pt x="2458543" y="200876"/>
                  </a:lnTo>
                  <a:lnTo>
                    <a:pt x="2458543" y="200228"/>
                  </a:lnTo>
                  <a:lnTo>
                    <a:pt x="2458594" y="200228"/>
                  </a:lnTo>
                  <a:lnTo>
                    <a:pt x="2458594" y="200876"/>
                  </a:lnTo>
                  <a:lnTo>
                    <a:pt x="2458594" y="200228"/>
                  </a:lnTo>
                  <a:lnTo>
                    <a:pt x="2458594" y="200876"/>
                  </a:lnTo>
                  <a:lnTo>
                    <a:pt x="2458644" y="200228"/>
                  </a:lnTo>
                  <a:lnTo>
                    <a:pt x="2458644" y="200876"/>
                  </a:lnTo>
                  <a:lnTo>
                    <a:pt x="2458695" y="200876"/>
                  </a:lnTo>
                  <a:lnTo>
                    <a:pt x="2458695" y="199530"/>
                  </a:lnTo>
                  <a:lnTo>
                    <a:pt x="2458797" y="199530"/>
                  </a:lnTo>
                  <a:lnTo>
                    <a:pt x="2458797" y="196113"/>
                  </a:lnTo>
                  <a:lnTo>
                    <a:pt x="2458847" y="196799"/>
                  </a:lnTo>
                  <a:lnTo>
                    <a:pt x="2458847" y="197447"/>
                  </a:lnTo>
                  <a:lnTo>
                    <a:pt x="2458847" y="196799"/>
                  </a:lnTo>
                  <a:lnTo>
                    <a:pt x="2458847" y="197447"/>
                  </a:lnTo>
                  <a:lnTo>
                    <a:pt x="2458847" y="196113"/>
                  </a:lnTo>
                  <a:lnTo>
                    <a:pt x="2458847" y="196799"/>
                  </a:lnTo>
                  <a:lnTo>
                    <a:pt x="2458898" y="196799"/>
                  </a:lnTo>
                  <a:lnTo>
                    <a:pt x="2458898" y="199530"/>
                  </a:lnTo>
                  <a:lnTo>
                    <a:pt x="2458898" y="197447"/>
                  </a:lnTo>
                  <a:lnTo>
                    <a:pt x="2459000" y="197447"/>
                  </a:lnTo>
                  <a:lnTo>
                    <a:pt x="2459000" y="199530"/>
                  </a:lnTo>
                  <a:lnTo>
                    <a:pt x="2459000" y="197447"/>
                  </a:lnTo>
                  <a:lnTo>
                    <a:pt x="2459000" y="198831"/>
                  </a:lnTo>
                  <a:lnTo>
                    <a:pt x="2459038" y="198831"/>
                  </a:lnTo>
                  <a:lnTo>
                    <a:pt x="2459038" y="199530"/>
                  </a:lnTo>
                  <a:lnTo>
                    <a:pt x="2459089" y="199530"/>
                  </a:lnTo>
                  <a:lnTo>
                    <a:pt x="2459089" y="198831"/>
                  </a:lnTo>
                  <a:lnTo>
                    <a:pt x="2459089" y="200228"/>
                  </a:lnTo>
                  <a:lnTo>
                    <a:pt x="2459089" y="199530"/>
                  </a:lnTo>
                  <a:lnTo>
                    <a:pt x="2459089" y="200228"/>
                  </a:lnTo>
                  <a:lnTo>
                    <a:pt x="2459089" y="199530"/>
                  </a:lnTo>
                  <a:lnTo>
                    <a:pt x="2459140" y="199530"/>
                  </a:lnTo>
                  <a:lnTo>
                    <a:pt x="2459140" y="200228"/>
                  </a:lnTo>
                  <a:lnTo>
                    <a:pt x="2459140" y="199530"/>
                  </a:lnTo>
                  <a:lnTo>
                    <a:pt x="2459140" y="200228"/>
                  </a:lnTo>
                  <a:lnTo>
                    <a:pt x="2459140" y="199530"/>
                  </a:lnTo>
                  <a:lnTo>
                    <a:pt x="2459241" y="200228"/>
                  </a:lnTo>
                  <a:lnTo>
                    <a:pt x="2459241" y="199530"/>
                  </a:lnTo>
                  <a:lnTo>
                    <a:pt x="2459241" y="200228"/>
                  </a:lnTo>
                  <a:lnTo>
                    <a:pt x="2459241" y="198831"/>
                  </a:lnTo>
                  <a:lnTo>
                    <a:pt x="2459292" y="198831"/>
                  </a:lnTo>
                  <a:lnTo>
                    <a:pt x="2459292" y="197447"/>
                  </a:lnTo>
                  <a:lnTo>
                    <a:pt x="2459343" y="197447"/>
                  </a:lnTo>
                  <a:lnTo>
                    <a:pt x="2459343" y="198831"/>
                  </a:lnTo>
                  <a:lnTo>
                    <a:pt x="2459343" y="196799"/>
                  </a:lnTo>
                  <a:lnTo>
                    <a:pt x="2459343" y="199530"/>
                  </a:lnTo>
                  <a:lnTo>
                    <a:pt x="2459444" y="199530"/>
                  </a:lnTo>
                  <a:lnTo>
                    <a:pt x="2459444" y="198831"/>
                  </a:lnTo>
                  <a:lnTo>
                    <a:pt x="2459444" y="199530"/>
                  </a:lnTo>
                  <a:lnTo>
                    <a:pt x="2459495" y="200228"/>
                  </a:lnTo>
                  <a:lnTo>
                    <a:pt x="2459495" y="198831"/>
                  </a:lnTo>
                  <a:lnTo>
                    <a:pt x="2459495" y="199530"/>
                  </a:lnTo>
                  <a:lnTo>
                    <a:pt x="2459546" y="199530"/>
                  </a:lnTo>
                  <a:lnTo>
                    <a:pt x="2459546" y="200228"/>
                  </a:lnTo>
                  <a:lnTo>
                    <a:pt x="2459546" y="199530"/>
                  </a:lnTo>
                  <a:lnTo>
                    <a:pt x="2459584" y="199530"/>
                  </a:lnTo>
                  <a:lnTo>
                    <a:pt x="2459584" y="200876"/>
                  </a:lnTo>
                  <a:lnTo>
                    <a:pt x="2459584" y="199530"/>
                  </a:lnTo>
                  <a:lnTo>
                    <a:pt x="2459584" y="200228"/>
                  </a:lnTo>
                  <a:lnTo>
                    <a:pt x="2459686" y="200876"/>
                  </a:lnTo>
                  <a:lnTo>
                    <a:pt x="2459686" y="200228"/>
                  </a:lnTo>
                  <a:lnTo>
                    <a:pt x="2459686" y="200876"/>
                  </a:lnTo>
                  <a:lnTo>
                    <a:pt x="2459686" y="200228"/>
                  </a:lnTo>
                  <a:lnTo>
                    <a:pt x="2459686" y="200876"/>
                  </a:lnTo>
                  <a:lnTo>
                    <a:pt x="2459686" y="200228"/>
                  </a:lnTo>
                  <a:lnTo>
                    <a:pt x="2459737" y="200228"/>
                  </a:lnTo>
                  <a:lnTo>
                    <a:pt x="2459737" y="198831"/>
                  </a:lnTo>
                  <a:lnTo>
                    <a:pt x="2459787" y="198831"/>
                  </a:lnTo>
                  <a:lnTo>
                    <a:pt x="2459787" y="197447"/>
                  </a:lnTo>
                  <a:lnTo>
                    <a:pt x="2459787" y="198831"/>
                  </a:lnTo>
                  <a:lnTo>
                    <a:pt x="2459889" y="199530"/>
                  </a:lnTo>
                  <a:lnTo>
                    <a:pt x="2459889" y="198831"/>
                  </a:lnTo>
                  <a:lnTo>
                    <a:pt x="2459889" y="200228"/>
                  </a:lnTo>
                  <a:lnTo>
                    <a:pt x="2459889" y="199530"/>
                  </a:lnTo>
                  <a:lnTo>
                    <a:pt x="2459940" y="200228"/>
                  </a:lnTo>
                  <a:lnTo>
                    <a:pt x="2459940" y="199530"/>
                  </a:lnTo>
                  <a:lnTo>
                    <a:pt x="2459940" y="200228"/>
                  </a:lnTo>
                  <a:lnTo>
                    <a:pt x="2459990" y="200228"/>
                  </a:lnTo>
                  <a:lnTo>
                    <a:pt x="2459990" y="199530"/>
                  </a:lnTo>
                  <a:lnTo>
                    <a:pt x="2459990" y="200876"/>
                  </a:lnTo>
                  <a:lnTo>
                    <a:pt x="2459990" y="200228"/>
                  </a:lnTo>
                  <a:lnTo>
                    <a:pt x="2460041" y="200228"/>
                  </a:lnTo>
                  <a:lnTo>
                    <a:pt x="2460041" y="199530"/>
                  </a:lnTo>
                  <a:lnTo>
                    <a:pt x="2460041" y="200876"/>
                  </a:lnTo>
                  <a:lnTo>
                    <a:pt x="2460041" y="200228"/>
                  </a:lnTo>
                  <a:lnTo>
                    <a:pt x="2460041" y="200876"/>
                  </a:lnTo>
                  <a:lnTo>
                    <a:pt x="2460041" y="200228"/>
                  </a:lnTo>
                  <a:lnTo>
                    <a:pt x="2460130" y="200876"/>
                  </a:lnTo>
                  <a:lnTo>
                    <a:pt x="2460130" y="200228"/>
                  </a:lnTo>
                  <a:lnTo>
                    <a:pt x="2460130" y="200876"/>
                  </a:lnTo>
                  <a:lnTo>
                    <a:pt x="2460130" y="200228"/>
                  </a:lnTo>
                  <a:lnTo>
                    <a:pt x="2460130" y="200876"/>
                  </a:lnTo>
                  <a:lnTo>
                    <a:pt x="2460130" y="199530"/>
                  </a:lnTo>
                  <a:lnTo>
                    <a:pt x="2460181" y="200228"/>
                  </a:lnTo>
                  <a:lnTo>
                    <a:pt x="2460181" y="200876"/>
                  </a:lnTo>
                  <a:lnTo>
                    <a:pt x="2460181" y="199530"/>
                  </a:lnTo>
                  <a:lnTo>
                    <a:pt x="2460181" y="200228"/>
                  </a:lnTo>
                  <a:lnTo>
                    <a:pt x="2460232" y="200228"/>
                  </a:lnTo>
                  <a:lnTo>
                    <a:pt x="2460232" y="199530"/>
                  </a:lnTo>
                  <a:lnTo>
                    <a:pt x="2460232" y="200228"/>
                  </a:lnTo>
                  <a:lnTo>
                    <a:pt x="2460232" y="197447"/>
                  </a:lnTo>
                  <a:lnTo>
                    <a:pt x="2460283" y="197447"/>
                  </a:lnTo>
                  <a:lnTo>
                    <a:pt x="2460283" y="198831"/>
                  </a:lnTo>
                  <a:lnTo>
                    <a:pt x="2460283" y="196799"/>
                  </a:lnTo>
                  <a:lnTo>
                    <a:pt x="2460283" y="198831"/>
                  </a:lnTo>
                  <a:lnTo>
                    <a:pt x="2460384" y="197447"/>
                  </a:lnTo>
                  <a:lnTo>
                    <a:pt x="2460384" y="199530"/>
                  </a:lnTo>
                  <a:lnTo>
                    <a:pt x="2460435" y="199530"/>
                  </a:lnTo>
                  <a:lnTo>
                    <a:pt x="2460435" y="198831"/>
                  </a:lnTo>
                  <a:lnTo>
                    <a:pt x="2460435" y="199530"/>
                  </a:lnTo>
                  <a:lnTo>
                    <a:pt x="2460435" y="198831"/>
                  </a:lnTo>
                  <a:lnTo>
                    <a:pt x="2460435" y="199530"/>
                  </a:lnTo>
                  <a:lnTo>
                    <a:pt x="2460435" y="198831"/>
                  </a:lnTo>
                  <a:lnTo>
                    <a:pt x="2460486" y="199530"/>
                  </a:lnTo>
                  <a:lnTo>
                    <a:pt x="2460486" y="200228"/>
                  </a:lnTo>
                  <a:lnTo>
                    <a:pt x="2460486" y="199530"/>
                  </a:lnTo>
                  <a:lnTo>
                    <a:pt x="2460486" y="200228"/>
                  </a:lnTo>
                  <a:lnTo>
                    <a:pt x="2460486" y="199530"/>
                  </a:lnTo>
                  <a:lnTo>
                    <a:pt x="2460587" y="200228"/>
                  </a:lnTo>
                  <a:lnTo>
                    <a:pt x="2460587" y="199530"/>
                  </a:lnTo>
                  <a:lnTo>
                    <a:pt x="2460587" y="200228"/>
                  </a:lnTo>
                  <a:lnTo>
                    <a:pt x="2460587" y="199530"/>
                  </a:lnTo>
                  <a:lnTo>
                    <a:pt x="2460587" y="200228"/>
                  </a:lnTo>
                  <a:lnTo>
                    <a:pt x="2460587" y="199530"/>
                  </a:lnTo>
                  <a:lnTo>
                    <a:pt x="2460587" y="200876"/>
                  </a:lnTo>
                  <a:lnTo>
                    <a:pt x="2460625" y="200228"/>
                  </a:lnTo>
                  <a:lnTo>
                    <a:pt x="2460625" y="200876"/>
                  </a:lnTo>
                  <a:lnTo>
                    <a:pt x="2460625" y="200228"/>
                  </a:lnTo>
                  <a:lnTo>
                    <a:pt x="2460676" y="200228"/>
                  </a:lnTo>
                  <a:lnTo>
                    <a:pt x="2460676" y="199530"/>
                  </a:lnTo>
                  <a:lnTo>
                    <a:pt x="2460676" y="200228"/>
                  </a:lnTo>
                  <a:lnTo>
                    <a:pt x="2460676" y="199530"/>
                  </a:lnTo>
                  <a:lnTo>
                    <a:pt x="2460676" y="200876"/>
                  </a:lnTo>
                  <a:lnTo>
                    <a:pt x="2460676" y="199530"/>
                  </a:lnTo>
                  <a:lnTo>
                    <a:pt x="2460727" y="199530"/>
                  </a:lnTo>
                  <a:lnTo>
                    <a:pt x="2460727" y="198831"/>
                  </a:lnTo>
                  <a:lnTo>
                    <a:pt x="2460727" y="199530"/>
                  </a:lnTo>
                  <a:lnTo>
                    <a:pt x="2460727" y="198831"/>
                  </a:lnTo>
                  <a:lnTo>
                    <a:pt x="2460727" y="199530"/>
                  </a:lnTo>
                  <a:lnTo>
                    <a:pt x="2460727" y="196799"/>
                  </a:lnTo>
                  <a:lnTo>
                    <a:pt x="2460829" y="196799"/>
                  </a:lnTo>
                  <a:lnTo>
                    <a:pt x="2460829" y="198831"/>
                  </a:lnTo>
                  <a:lnTo>
                    <a:pt x="2460829" y="197447"/>
                  </a:lnTo>
                  <a:lnTo>
                    <a:pt x="2460880" y="197447"/>
                  </a:lnTo>
                  <a:lnTo>
                    <a:pt x="2460880" y="200228"/>
                  </a:lnTo>
                  <a:lnTo>
                    <a:pt x="2460880" y="198831"/>
                  </a:lnTo>
                  <a:lnTo>
                    <a:pt x="2460880" y="199530"/>
                  </a:lnTo>
                  <a:lnTo>
                    <a:pt x="2460930" y="199530"/>
                  </a:lnTo>
                  <a:lnTo>
                    <a:pt x="2460930" y="198831"/>
                  </a:lnTo>
                  <a:lnTo>
                    <a:pt x="2460930" y="200228"/>
                  </a:lnTo>
                  <a:lnTo>
                    <a:pt x="2460930" y="199530"/>
                  </a:lnTo>
                  <a:lnTo>
                    <a:pt x="2460930" y="200228"/>
                  </a:lnTo>
                  <a:lnTo>
                    <a:pt x="2460930" y="199530"/>
                  </a:lnTo>
                  <a:lnTo>
                    <a:pt x="2460930" y="200228"/>
                  </a:lnTo>
                  <a:lnTo>
                    <a:pt x="2461083" y="200228"/>
                  </a:lnTo>
                  <a:lnTo>
                    <a:pt x="2461083" y="200876"/>
                  </a:lnTo>
                  <a:lnTo>
                    <a:pt x="2461083" y="200228"/>
                  </a:lnTo>
                  <a:lnTo>
                    <a:pt x="2461083" y="200876"/>
                  </a:lnTo>
                  <a:lnTo>
                    <a:pt x="2461083" y="200228"/>
                  </a:lnTo>
                  <a:lnTo>
                    <a:pt x="2461134" y="200228"/>
                  </a:lnTo>
                  <a:lnTo>
                    <a:pt x="2461134" y="200876"/>
                  </a:lnTo>
                  <a:lnTo>
                    <a:pt x="2461134" y="199530"/>
                  </a:lnTo>
                  <a:lnTo>
                    <a:pt x="2461134" y="200228"/>
                  </a:lnTo>
                  <a:lnTo>
                    <a:pt x="2461172" y="200228"/>
                  </a:lnTo>
                  <a:lnTo>
                    <a:pt x="2461172" y="199530"/>
                  </a:lnTo>
                  <a:lnTo>
                    <a:pt x="2461273" y="198831"/>
                  </a:lnTo>
                  <a:lnTo>
                    <a:pt x="2461273" y="199530"/>
                  </a:lnTo>
                  <a:lnTo>
                    <a:pt x="2461273" y="198831"/>
                  </a:lnTo>
                  <a:lnTo>
                    <a:pt x="2461273" y="199530"/>
                  </a:lnTo>
                  <a:lnTo>
                    <a:pt x="2461273" y="197447"/>
                  </a:lnTo>
                  <a:lnTo>
                    <a:pt x="2461273" y="198831"/>
                  </a:lnTo>
                  <a:lnTo>
                    <a:pt x="2461273" y="196799"/>
                  </a:lnTo>
                  <a:lnTo>
                    <a:pt x="2461324" y="196799"/>
                  </a:lnTo>
                  <a:lnTo>
                    <a:pt x="2461324" y="197447"/>
                  </a:lnTo>
                  <a:lnTo>
                    <a:pt x="2461324" y="196113"/>
                  </a:lnTo>
                  <a:lnTo>
                    <a:pt x="2461324" y="198831"/>
                  </a:lnTo>
                  <a:lnTo>
                    <a:pt x="2461324" y="197447"/>
                  </a:lnTo>
                  <a:lnTo>
                    <a:pt x="2461375" y="196799"/>
                  </a:lnTo>
                  <a:lnTo>
                    <a:pt x="2461375" y="197447"/>
                  </a:lnTo>
                  <a:lnTo>
                    <a:pt x="2461375" y="196113"/>
                  </a:lnTo>
                  <a:lnTo>
                    <a:pt x="2461375" y="198831"/>
                  </a:lnTo>
                  <a:lnTo>
                    <a:pt x="2461476" y="198831"/>
                  </a:lnTo>
                  <a:lnTo>
                    <a:pt x="2461476" y="197447"/>
                  </a:lnTo>
                  <a:lnTo>
                    <a:pt x="2461476" y="199530"/>
                  </a:lnTo>
                  <a:lnTo>
                    <a:pt x="2461476" y="198831"/>
                  </a:lnTo>
                  <a:lnTo>
                    <a:pt x="2461476" y="199530"/>
                  </a:lnTo>
                  <a:lnTo>
                    <a:pt x="2461527" y="199530"/>
                  </a:lnTo>
                  <a:lnTo>
                    <a:pt x="2461527" y="198831"/>
                  </a:lnTo>
                  <a:lnTo>
                    <a:pt x="2461527" y="200228"/>
                  </a:lnTo>
                  <a:lnTo>
                    <a:pt x="2461527" y="199530"/>
                  </a:lnTo>
                  <a:lnTo>
                    <a:pt x="2461578" y="199530"/>
                  </a:lnTo>
                  <a:lnTo>
                    <a:pt x="2461578" y="200876"/>
                  </a:lnTo>
                  <a:lnTo>
                    <a:pt x="2461578" y="200228"/>
                  </a:lnTo>
                  <a:lnTo>
                    <a:pt x="2461629" y="200228"/>
                  </a:lnTo>
                  <a:lnTo>
                    <a:pt x="2461629" y="200876"/>
                  </a:lnTo>
                  <a:lnTo>
                    <a:pt x="2461718" y="200228"/>
                  </a:lnTo>
                  <a:lnTo>
                    <a:pt x="2461718" y="200876"/>
                  </a:lnTo>
                  <a:lnTo>
                    <a:pt x="2461718" y="200228"/>
                  </a:lnTo>
                  <a:lnTo>
                    <a:pt x="2461718" y="200876"/>
                  </a:lnTo>
                  <a:lnTo>
                    <a:pt x="2461718" y="199530"/>
                  </a:lnTo>
                  <a:lnTo>
                    <a:pt x="2461769" y="199530"/>
                  </a:lnTo>
                  <a:lnTo>
                    <a:pt x="2461769" y="200228"/>
                  </a:lnTo>
                  <a:lnTo>
                    <a:pt x="2461769" y="197447"/>
                  </a:lnTo>
                  <a:lnTo>
                    <a:pt x="2461769" y="199530"/>
                  </a:lnTo>
                  <a:lnTo>
                    <a:pt x="2461819" y="200228"/>
                  </a:lnTo>
                  <a:lnTo>
                    <a:pt x="2461819" y="197447"/>
                  </a:lnTo>
                  <a:lnTo>
                    <a:pt x="2461819" y="200876"/>
                  </a:lnTo>
                  <a:lnTo>
                    <a:pt x="2461870" y="200228"/>
                  </a:lnTo>
                  <a:lnTo>
                    <a:pt x="2461870" y="199530"/>
                  </a:lnTo>
                  <a:lnTo>
                    <a:pt x="2461870" y="200876"/>
                  </a:lnTo>
                  <a:lnTo>
                    <a:pt x="2461870" y="200228"/>
                  </a:lnTo>
                  <a:lnTo>
                    <a:pt x="2461972" y="200228"/>
                  </a:lnTo>
                  <a:lnTo>
                    <a:pt x="2461972" y="199530"/>
                  </a:lnTo>
                  <a:lnTo>
                    <a:pt x="2461972" y="200876"/>
                  </a:lnTo>
                  <a:lnTo>
                    <a:pt x="2461972" y="200228"/>
                  </a:lnTo>
                  <a:lnTo>
                    <a:pt x="2462022" y="200228"/>
                  </a:lnTo>
                  <a:lnTo>
                    <a:pt x="2462022" y="199530"/>
                  </a:lnTo>
                  <a:lnTo>
                    <a:pt x="2462022" y="200228"/>
                  </a:lnTo>
                  <a:lnTo>
                    <a:pt x="2462073" y="199530"/>
                  </a:lnTo>
                  <a:lnTo>
                    <a:pt x="2462073" y="200228"/>
                  </a:lnTo>
                  <a:lnTo>
                    <a:pt x="2462073" y="199530"/>
                  </a:lnTo>
                  <a:lnTo>
                    <a:pt x="2462073" y="200228"/>
                  </a:lnTo>
                  <a:lnTo>
                    <a:pt x="2462175" y="200228"/>
                  </a:lnTo>
                  <a:lnTo>
                    <a:pt x="2462175" y="199530"/>
                  </a:lnTo>
                  <a:lnTo>
                    <a:pt x="2462175" y="200228"/>
                  </a:lnTo>
                  <a:lnTo>
                    <a:pt x="2462213" y="199530"/>
                  </a:lnTo>
                  <a:lnTo>
                    <a:pt x="2462213" y="200228"/>
                  </a:lnTo>
                  <a:lnTo>
                    <a:pt x="2462213" y="198831"/>
                  </a:lnTo>
                  <a:lnTo>
                    <a:pt x="2462213" y="200228"/>
                  </a:lnTo>
                  <a:lnTo>
                    <a:pt x="2462213" y="198831"/>
                  </a:lnTo>
                  <a:lnTo>
                    <a:pt x="2462264" y="198831"/>
                  </a:lnTo>
                  <a:lnTo>
                    <a:pt x="2462264" y="200228"/>
                  </a:lnTo>
                  <a:lnTo>
                    <a:pt x="2462264" y="198831"/>
                  </a:lnTo>
                  <a:lnTo>
                    <a:pt x="2462264" y="199530"/>
                  </a:lnTo>
                  <a:lnTo>
                    <a:pt x="2462264" y="198831"/>
                  </a:lnTo>
                  <a:lnTo>
                    <a:pt x="2462315" y="198831"/>
                  </a:lnTo>
                  <a:lnTo>
                    <a:pt x="2462315" y="202260"/>
                  </a:lnTo>
                  <a:lnTo>
                    <a:pt x="2462315" y="200228"/>
                  </a:lnTo>
                  <a:lnTo>
                    <a:pt x="2462315" y="200876"/>
                  </a:lnTo>
                  <a:lnTo>
                    <a:pt x="2462416" y="200876"/>
                  </a:lnTo>
                  <a:lnTo>
                    <a:pt x="2462416" y="202959"/>
                  </a:lnTo>
                  <a:lnTo>
                    <a:pt x="2462416" y="200876"/>
                  </a:lnTo>
                  <a:lnTo>
                    <a:pt x="2462467" y="200876"/>
                  </a:lnTo>
                  <a:lnTo>
                    <a:pt x="2462467" y="202260"/>
                  </a:lnTo>
                  <a:lnTo>
                    <a:pt x="2462467" y="200876"/>
                  </a:lnTo>
                  <a:lnTo>
                    <a:pt x="2462467" y="202260"/>
                  </a:lnTo>
                  <a:lnTo>
                    <a:pt x="2462518" y="202260"/>
                  </a:lnTo>
                  <a:lnTo>
                    <a:pt x="2462518" y="200876"/>
                  </a:lnTo>
                  <a:lnTo>
                    <a:pt x="2462518" y="202260"/>
                  </a:lnTo>
                  <a:lnTo>
                    <a:pt x="2462518" y="200876"/>
                  </a:lnTo>
                  <a:lnTo>
                    <a:pt x="2462518" y="202260"/>
                  </a:lnTo>
                  <a:lnTo>
                    <a:pt x="2462518" y="200876"/>
                  </a:lnTo>
                  <a:lnTo>
                    <a:pt x="2462518" y="202260"/>
                  </a:lnTo>
                  <a:lnTo>
                    <a:pt x="2462619" y="200876"/>
                  </a:lnTo>
                  <a:lnTo>
                    <a:pt x="2462619" y="202260"/>
                  </a:lnTo>
                  <a:lnTo>
                    <a:pt x="2462619" y="200876"/>
                  </a:lnTo>
                  <a:lnTo>
                    <a:pt x="2462670" y="200876"/>
                  </a:lnTo>
                  <a:lnTo>
                    <a:pt x="2462670" y="202260"/>
                  </a:lnTo>
                  <a:lnTo>
                    <a:pt x="2462670" y="200228"/>
                  </a:lnTo>
                  <a:lnTo>
                    <a:pt x="2462670" y="200876"/>
                  </a:lnTo>
                  <a:lnTo>
                    <a:pt x="2462670" y="200228"/>
                  </a:lnTo>
                  <a:lnTo>
                    <a:pt x="2462670" y="200876"/>
                  </a:lnTo>
                  <a:lnTo>
                    <a:pt x="2462670" y="199530"/>
                  </a:lnTo>
                  <a:lnTo>
                    <a:pt x="2462670" y="200228"/>
                  </a:lnTo>
                  <a:lnTo>
                    <a:pt x="2462670" y="199530"/>
                  </a:lnTo>
                  <a:lnTo>
                    <a:pt x="2462670" y="200228"/>
                  </a:lnTo>
                  <a:lnTo>
                    <a:pt x="2462721" y="200228"/>
                  </a:lnTo>
                  <a:lnTo>
                    <a:pt x="2462721" y="199530"/>
                  </a:lnTo>
                  <a:lnTo>
                    <a:pt x="2462721" y="200228"/>
                  </a:lnTo>
                  <a:lnTo>
                    <a:pt x="2462721" y="198831"/>
                  </a:lnTo>
                  <a:lnTo>
                    <a:pt x="2462721" y="200228"/>
                  </a:lnTo>
                  <a:lnTo>
                    <a:pt x="2462759" y="200876"/>
                  </a:lnTo>
                  <a:lnTo>
                    <a:pt x="2462759" y="198831"/>
                  </a:lnTo>
                  <a:lnTo>
                    <a:pt x="2462759" y="202260"/>
                  </a:lnTo>
                  <a:lnTo>
                    <a:pt x="2462861" y="202260"/>
                  </a:lnTo>
                  <a:lnTo>
                    <a:pt x="2462861" y="200876"/>
                  </a:lnTo>
                  <a:lnTo>
                    <a:pt x="2462861" y="202260"/>
                  </a:lnTo>
                  <a:lnTo>
                    <a:pt x="2462861" y="200228"/>
                  </a:lnTo>
                  <a:lnTo>
                    <a:pt x="2462861" y="202959"/>
                  </a:lnTo>
                  <a:lnTo>
                    <a:pt x="2462912" y="202959"/>
                  </a:lnTo>
                  <a:lnTo>
                    <a:pt x="2462912" y="200876"/>
                  </a:lnTo>
                  <a:lnTo>
                    <a:pt x="2462912" y="202260"/>
                  </a:lnTo>
                  <a:lnTo>
                    <a:pt x="2462962" y="202260"/>
                  </a:lnTo>
                  <a:lnTo>
                    <a:pt x="2462962" y="202959"/>
                  </a:lnTo>
                  <a:lnTo>
                    <a:pt x="2462962" y="202260"/>
                  </a:lnTo>
                  <a:lnTo>
                    <a:pt x="2462962" y="202959"/>
                  </a:lnTo>
                  <a:lnTo>
                    <a:pt x="2463064" y="202260"/>
                  </a:lnTo>
                  <a:lnTo>
                    <a:pt x="2463115" y="202260"/>
                  </a:lnTo>
                  <a:lnTo>
                    <a:pt x="2463115" y="200876"/>
                  </a:lnTo>
                  <a:lnTo>
                    <a:pt x="2463115" y="202260"/>
                  </a:lnTo>
                  <a:lnTo>
                    <a:pt x="2463115" y="200876"/>
                  </a:lnTo>
                  <a:lnTo>
                    <a:pt x="2463115" y="202260"/>
                  </a:lnTo>
                  <a:lnTo>
                    <a:pt x="2463115" y="200228"/>
                  </a:lnTo>
                  <a:lnTo>
                    <a:pt x="2463165" y="200228"/>
                  </a:lnTo>
                  <a:lnTo>
                    <a:pt x="2463165" y="197447"/>
                  </a:lnTo>
                  <a:lnTo>
                    <a:pt x="2463216" y="197447"/>
                  </a:lnTo>
                  <a:lnTo>
                    <a:pt x="2463216" y="196113"/>
                  </a:lnTo>
                  <a:lnTo>
                    <a:pt x="2463216" y="197447"/>
                  </a:lnTo>
                  <a:lnTo>
                    <a:pt x="2463305" y="198831"/>
                  </a:lnTo>
                  <a:lnTo>
                    <a:pt x="2463305" y="199530"/>
                  </a:lnTo>
                  <a:lnTo>
                    <a:pt x="2463305" y="196113"/>
                  </a:lnTo>
                  <a:lnTo>
                    <a:pt x="2463305" y="199530"/>
                  </a:lnTo>
                  <a:lnTo>
                    <a:pt x="2463356" y="199530"/>
                  </a:lnTo>
                  <a:lnTo>
                    <a:pt x="2463356" y="198831"/>
                  </a:lnTo>
                  <a:lnTo>
                    <a:pt x="2463356" y="200876"/>
                  </a:lnTo>
                  <a:lnTo>
                    <a:pt x="2463356" y="199530"/>
                  </a:lnTo>
                  <a:lnTo>
                    <a:pt x="2463407" y="200228"/>
                  </a:lnTo>
                  <a:lnTo>
                    <a:pt x="2463407" y="199530"/>
                  </a:lnTo>
                  <a:lnTo>
                    <a:pt x="2463407" y="200228"/>
                  </a:lnTo>
                  <a:lnTo>
                    <a:pt x="2463458" y="200228"/>
                  </a:lnTo>
                  <a:lnTo>
                    <a:pt x="2463458" y="202260"/>
                  </a:lnTo>
                  <a:lnTo>
                    <a:pt x="2463458" y="200876"/>
                  </a:lnTo>
                  <a:lnTo>
                    <a:pt x="2463559" y="200876"/>
                  </a:lnTo>
                  <a:lnTo>
                    <a:pt x="2463559" y="202260"/>
                  </a:lnTo>
                  <a:lnTo>
                    <a:pt x="2463559" y="200876"/>
                  </a:lnTo>
                  <a:lnTo>
                    <a:pt x="2463610" y="200876"/>
                  </a:lnTo>
                  <a:lnTo>
                    <a:pt x="2463661" y="200228"/>
                  </a:lnTo>
                  <a:lnTo>
                    <a:pt x="2463661" y="200876"/>
                  </a:lnTo>
                  <a:lnTo>
                    <a:pt x="2463661" y="198831"/>
                  </a:lnTo>
                  <a:lnTo>
                    <a:pt x="2463661" y="199530"/>
                  </a:lnTo>
                  <a:lnTo>
                    <a:pt x="2463661" y="198831"/>
                  </a:lnTo>
                  <a:lnTo>
                    <a:pt x="2463762" y="198831"/>
                  </a:lnTo>
                  <a:lnTo>
                    <a:pt x="2463762" y="196799"/>
                  </a:lnTo>
                  <a:lnTo>
                    <a:pt x="2463762" y="197447"/>
                  </a:lnTo>
                  <a:lnTo>
                    <a:pt x="2463762" y="196799"/>
                  </a:lnTo>
                  <a:lnTo>
                    <a:pt x="2463762" y="197447"/>
                  </a:lnTo>
                  <a:lnTo>
                    <a:pt x="2463800" y="198831"/>
                  </a:lnTo>
                  <a:lnTo>
                    <a:pt x="2463800" y="196799"/>
                  </a:lnTo>
                  <a:lnTo>
                    <a:pt x="2463800" y="199530"/>
                  </a:lnTo>
                  <a:lnTo>
                    <a:pt x="2463851" y="199530"/>
                  </a:lnTo>
                  <a:lnTo>
                    <a:pt x="2463851" y="198831"/>
                  </a:lnTo>
                  <a:lnTo>
                    <a:pt x="2463851" y="200228"/>
                  </a:lnTo>
                  <a:lnTo>
                    <a:pt x="2463851" y="199530"/>
                  </a:lnTo>
                  <a:lnTo>
                    <a:pt x="2463902" y="199530"/>
                  </a:lnTo>
                  <a:lnTo>
                    <a:pt x="2463902" y="198831"/>
                  </a:lnTo>
                  <a:lnTo>
                    <a:pt x="2463902" y="199530"/>
                  </a:lnTo>
                  <a:lnTo>
                    <a:pt x="2464004" y="199530"/>
                  </a:lnTo>
                  <a:lnTo>
                    <a:pt x="2464004" y="200228"/>
                  </a:lnTo>
                  <a:lnTo>
                    <a:pt x="2464004" y="199530"/>
                  </a:lnTo>
                  <a:lnTo>
                    <a:pt x="2464004" y="200876"/>
                  </a:lnTo>
                  <a:lnTo>
                    <a:pt x="2464004" y="200228"/>
                  </a:lnTo>
                  <a:lnTo>
                    <a:pt x="2464055" y="200228"/>
                  </a:lnTo>
                  <a:lnTo>
                    <a:pt x="2464055" y="200876"/>
                  </a:lnTo>
                  <a:lnTo>
                    <a:pt x="2464055" y="200228"/>
                  </a:lnTo>
                  <a:lnTo>
                    <a:pt x="2464055" y="200876"/>
                  </a:lnTo>
                  <a:lnTo>
                    <a:pt x="2464055" y="200228"/>
                  </a:lnTo>
                  <a:lnTo>
                    <a:pt x="2464055" y="200876"/>
                  </a:lnTo>
                  <a:lnTo>
                    <a:pt x="2464055" y="200228"/>
                  </a:lnTo>
                  <a:lnTo>
                    <a:pt x="2464105" y="200228"/>
                  </a:lnTo>
                  <a:lnTo>
                    <a:pt x="2464105" y="200876"/>
                  </a:lnTo>
                  <a:lnTo>
                    <a:pt x="2464105" y="200228"/>
                  </a:lnTo>
                  <a:lnTo>
                    <a:pt x="2464105" y="200876"/>
                  </a:lnTo>
                  <a:lnTo>
                    <a:pt x="2464105" y="200228"/>
                  </a:lnTo>
                  <a:lnTo>
                    <a:pt x="2464105" y="200876"/>
                  </a:lnTo>
                  <a:lnTo>
                    <a:pt x="2464105" y="200228"/>
                  </a:lnTo>
                  <a:lnTo>
                    <a:pt x="2464207" y="200228"/>
                  </a:lnTo>
                  <a:lnTo>
                    <a:pt x="2464207" y="199530"/>
                  </a:lnTo>
                  <a:lnTo>
                    <a:pt x="2464207" y="200228"/>
                  </a:lnTo>
                  <a:lnTo>
                    <a:pt x="2464207" y="197447"/>
                  </a:lnTo>
                  <a:lnTo>
                    <a:pt x="2464258" y="197447"/>
                  </a:lnTo>
                  <a:lnTo>
                    <a:pt x="2464258" y="196113"/>
                  </a:lnTo>
                  <a:lnTo>
                    <a:pt x="2464309" y="196113"/>
                  </a:lnTo>
                  <a:lnTo>
                    <a:pt x="2464309" y="196799"/>
                  </a:lnTo>
                  <a:lnTo>
                    <a:pt x="2464309" y="195415"/>
                  </a:lnTo>
                  <a:lnTo>
                    <a:pt x="2464309" y="197447"/>
                  </a:lnTo>
                  <a:lnTo>
                    <a:pt x="2464347" y="197447"/>
                  </a:lnTo>
                  <a:lnTo>
                    <a:pt x="2464347" y="198831"/>
                  </a:lnTo>
                  <a:lnTo>
                    <a:pt x="2464347" y="197447"/>
                  </a:lnTo>
                  <a:lnTo>
                    <a:pt x="2464347" y="198831"/>
                  </a:lnTo>
                  <a:lnTo>
                    <a:pt x="2464448" y="198831"/>
                  </a:lnTo>
                  <a:lnTo>
                    <a:pt x="2464448" y="197447"/>
                  </a:lnTo>
                  <a:lnTo>
                    <a:pt x="2464448" y="198831"/>
                  </a:lnTo>
                  <a:lnTo>
                    <a:pt x="2464448" y="197447"/>
                  </a:lnTo>
                  <a:lnTo>
                    <a:pt x="2464448" y="198831"/>
                  </a:lnTo>
                  <a:lnTo>
                    <a:pt x="2464499" y="198831"/>
                  </a:lnTo>
                  <a:lnTo>
                    <a:pt x="2464499" y="197447"/>
                  </a:lnTo>
                  <a:lnTo>
                    <a:pt x="2464499" y="198831"/>
                  </a:lnTo>
                  <a:lnTo>
                    <a:pt x="2464499" y="197447"/>
                  </a:lnTo>
                  <a:lnTo>
                    <a:pt x="2464499" y="199530"/>
                  </a:lnTo>
                  <a:lnTo>
                    <a:pt x="2464499" y="198831"/>
                  </a:lnTo>
                  <a:lnTo>
                    <a:pt x="2464499" y="199530"/>
                  </a:lnTo>
                  <a:lnTo>
                    <a:pt x="2464550" y="199530"/>
                  </a:lnTo>
                  <a:lnTo>
                    <a:pt x="2464550" y="200228"/>
                  </a:lnTo>
                  <a:lnTo>
                    <a:pt x="2464651" y="200228"/>
                  </a:lnTo>
                  <a:lnTo>
                    <a:pt x="2464651" y="200876"/>
                  </a:lnTo>
                  <a:lnTo>
                    <a:pt x="2464651" y="200228"/>
                  </a:lnTo>
                  <a:lnTo>
                    <a:pt x="2464651" y="200876"/>
                  </a:lnTo>
                  <a:lnTo>
                    <a:pt x="2464651" y="200228"/>
                  </a:lnTo>
                  <a:lnTo>
                    <a:pt x="2464702" y="200228"/>
                  </a:lnTo>
                  <a:lnTo>
                    <a:pt x="2464702" y="199530"/>
                  </a:lnTo>
                  <a:lnTo>
                    <a:pt x="2464702" y="200228"/>
                  </a:lnTo>
                  <a:lnTo>
                    <a:pt x="2464702" y="197447"/>
                  </a:lnTo>
                  <a:lnTo>
                    <a:pt x="2464753" y="197447"/>
                  </a:lnTo>
                  <a:lnTo>
                    <a:pt x="2464753" y="198831"/>
                  </a:lnTo>
                  <a:lnTo>
                    <a:pt x="2464753" y="196113"/>
                  </a:lnTo>
                  <a:lnTo>
                    <a:pt x="2464753" y="196799"/>
                  </a:lnTo>
                  <a:lnTo>
                    <a:pt x="2464804" y="196799"/>
                  </a:lnTo>
                  <a:lnTo>
                    <a:pt x="2464804" y="197447"/>
                  </a:lnTo>
                  <a:lnTo>
                    <a:pt x="2464804" y="194716"/>
                  </a:lnTo>
                  <a:lnTo>
                    <a:pt x="2464804" y="197447"/>
                  </a:lnTo>
                  <a:lnTo>
                    <a:pt x="2464893" y="197447"/>
                  </a:lnTo>
                  <a:lnTo>
                    <a:pt x="2464893" y="196113"/>
                  </a:lnTo>
                  <a:lnTo>
                    <a:pt x="2464893" y="196799"/>
                  </a:lnTo>
                  <a:lnTo>
                    <a:pt x="2464944" y="197447"/>
                  </a:lnTo>
                  <a:lnTo>
                    <a:pt x="2464944" y="196113"/>
                  </a:lnTo>
                  <a:lnTo>
                    <a:pt x="2464944" y="197447"/>
                  </a:lnTo>
                  <a:lnTo>
                    <a:pt x="2464994" y="197447"/>
                  </a:lnTo>
                  <a:lnTo>
                    <a:pt x="2464994" y="196799"/>
                  </a:lnTo>
                  <a:lnTo>
                    <a:pt x="2464994" y="197447"/>
                  </a:lnTo>
                  <a:lnTo>
                    <a:pt x="2464994" y="196799"/>
                  </a:lnTo>
                  <a:lnTo>
                    <a:pt x="2464994" y="197447"/>
                  </a:lnTo>
                  <a:lnTo>
                    <a:pt x="2464994" y="196799"/>
                  </a:lnTo>
                  <a:lnTo>
                    <a:pt x="2464994" y="197447"/>
                  </a:lnTo>
                  <a:lnTo>
                    <a:pt x="2464994" y="196799"/>
                  </a:lnTo>
                  <a:lnTo>
                    <a:pt x="2464994" y="198831"/>
                  </a:lnTo>
                  <a:lnTo>
                    <a:pt x="2464994" y="197447"/>
                  </a:lnTo>
                  <a:lnTo>
                    <a:pt x="2465045" y="197447"/>
                  </a:lnTo>
                  <a:lnTo>
                    <a:pt x="2465045" y="198831"/>
                  </a:lnTo>
                  <a:lnTo>
                    <a:pt x="2465045" y="197447"/>
                  </a:lnTo>
                  <a:lnTo>
                    <a:pt x="2465045" y="198831"/>
                  </a:lnTo>
                  <a:lnTo>
                    <a:pt x="2465147" y="198831"/>
                  </a:lnTo>
                  <a:lnTo>
                    <a:pt x="2465147" y="199530"/>
                  </a:lnTo>
                  <a:lnTo>
                    <a:pt x="2465147" y="198831"/>
                  </a:lnTo>
                  <a:lnTo>
                    <a:pt x="2465147" y="199530"/>
                  </a:lnTo>
                  <a:lnTo>
                    <a:pt x="2465147" y="198831"/>
                  </a:lnTo>
                  <a:lnTo>
                    <a:pt x="2465147" y="199530"/>
                  </a:lnTo>
                  <a:lnTo>
                    <a:pt x="2465197" y="199530"/>
                  </a:lnTo>
                  <a:lnTo>
                    <a:pt x="2465197" y="198831"/>
                  </a:lnTo>
                  <a:lnTo>
                    <a:pt x="2465197" y="199530"/>
                  </a:lnTo>
                  <a:lnTo>
                    <a:pt x="2465197" y="198831"/>
                  </a:lnTo>
                  <a:lnTo>
                    <a:pt x="2465197" y="199530"/>
                  </a:lnTo>
                  <a:lnTo>
                    <a:pt x="2465197" y="197447"/>
                  </a:lnTo>
                  <a:lnTo>
                    <a:pt x="2465197" y="198831"/>
                  </a:lnTo>
                  <a:lnTo>
                    <a:pt x="2465197" y="197447"/>
                  </a:lnTo>
                  <a:lnTo>
                    <a:pt x="2465197" y="198831"/>
                  </a:lnTo>
                  <a:lnTo>
                    <a:pt x="2465248" y="197447"/>
                  </a:lnTo>
                  <a:lnTo>
                    <a:pt x="2465248" y="198831"/>
                  </a:lnTo>
                  <a:lnTo>
                    <a:pt x="2465248" y="196113"/>
                  </a:lnTo>
                  <a:lnTo>
                    <a:pt x="2465248" y="196799"/>
                  </a:lnTo>
                  <a:lnTo>
                    <a:pt x="2465350" y="196799"/>
                  </a:lnTo>
                  <a:lnTo>
                    <a:pt x="2465350" y="197447"/>
                  </a:lnTo>
                  <a:lnTo>
                    <a:pt x="2465350" y="196113"/>
                  </a:lnTo>
                  <a:lnTo>
                    <a:pt x="2465350" y="199530"/>
                  </a:lnTo>
                  <a:lnTo>
                    <a:pt x="2465388" y="199530"/>
                  </a:lnTo>
                  <a:lnTo>
                    <a:pt x="2465388" y="197447"/>
                  </a:lnTo>
                  <a:lnTo>
                    <a:pt x="2465388" y="199530"/>
                  </a:lnTo>
                  <a:lnTo>
                    <a:pt x="2465388" y="198831"/>
                  </a:lnTo>
                  <a:lnTo>
                    <a:pt x="2465439" y="198831"/>
                  </a:lnTo>
                  <a:lnTo>
                    <a:pt x="2465439" y="196799"/>
                  </a:lnTo>
                  <a:lnTo>
                    <a:pt x="2465439" y="198831"/>
                  </a:lnTo>
                  <a:lnTo>
                    <a:pt x="2465490" y="197447"/>
                  </a:lnTo>
                  <a:lnTo>
                    <a:pt x="2465490" y="198831"/>
                  </a:lnTo>
                  <a:lnTo>
                    <a:pt x="2465490" y="197447"/>
                  </a:lnTo>
                  <a:lnTo>
                    <a:pt x="2465490" y="198831"/>
                  </a:lnTo>
                  <a:lnTo>
                    <a:pt x="2465591" y="198831"/>
                  </a:lnTo>
                  <a:lnTo>
                    <a:pt x="2465591" y="199530"/>
                  </a:lnTo>
                  <a:lnTo>
                    <a:pt x="2465642" y="199530"/>
                  </a:lnTo>
                  <a:lnTo>
                    <a:pt x="2465642" y="200228"/>
                  </a:lnTo>
                  <a:lnTo>
                    <a:pt x="2465642" y="199530"/>
                  </a:lnTo>
                  <a:lnTo>
                    <a:pt x="2465693" y="199530"/>
                  </a:lnTo>
                  <a:lnTo>
                    <a:pt x="2465693" y="198831"/>
                  </a:lnTo>
                  <a:lnTo>
                    <a:pt x="2465693" y="199530"/>
                  </a:lnTo>
                  <a:lnTo>
                    <a:pt x="2465693" y="198831"/>
                  </a:lnTo>
                  <a:lnTo>
                    <a:pt x="2465693" y="199530"/>
                  </a:lnTo>
                  <a:lnTo>
                    <a:pt x="2465693" y="198831"/>
                  </a:lnTo>
                  <a:lnTo>
                    <a:pt x="2465693" y="199530"/>
                  </a:lnTo>
                  <a:lnTo>
                    <a:pt x="2465794" y="199530"/>
                  </a:lnTo>
                  <a:lnTo>
                    <a:pt x="2465794" y="196799"/>
                  </a:lnTo>
                  <a:lnTo>
                    <a:pt x="2465794" y="200228"/>
                  </a:lnTo>
                  <a:lnTo>
                    <a:pt x="2465794" y="199530"/>
                  </a:lnTo>
                  <a:lnTo>
                    <a:pt x="2465845" y="198831"/>
                  </a:lnTo>
                  <a:lnTo>
                    <a:pt x="2465845" y="197447"/>
                  </a:lnTo>
                  <a:lnTo>
                    <a:pt x="2465845" y="200876"/>
                  </a:lnTo>
                  <a:lnTo>
                    <a:pt x="2465845" y="199530"/>
                  </a:lnTo>
                  <a:lnTo>
                    <a:pt x="2465896" y="199530"/>
                  </a:lnTo>
                  <a:lnTo>
                    <a:pt x="2465896" y="202260"/>
                  </a:lnTo>
                  <a:lnTo>
                    <a:pt x="2465896" y="200228"/>
                  </a:lnTo>
                  <a:lnTo>
                    <a:pt x="2465934" y="200228"/>
                  </a:lnTo>
                  <a:lnTo>
                    <a:pt x="2465934" y="200876"/>
                  </a:lnTo>
                  <a:lnTo>
                    <a:pt x="2465934" y="199530"/>
                  </a:lnTo>
                  <a:lnTo>
                    <a:pt x="2466036" y="200228"/>
                  </a:lnTo>
                  <a:lnTo>
                    <a:pt x="2466137" y="200228"/>
                  </a:lnTo>
                  <a:lnTo>
                    <a:pt x="2466137" y="198831"/>
                  </a:lnTo>
                  <a:lnTo>
                    <a:pt x="2466137" y="199530"/>
                  </a:lnTo>
                  <a:lnTo>
                    <a:pt x="2466137" y="198831"/>
                  </a:lnTo>
                  <a:lnTo>
                    <a:pt x="2466239" y="198831"/>
                  </a:lnTo>
                  <a:lnTo>
                    <a:pt x="2466239" y="197447"/>
                  </a:lnTo>
                  <a:lnTo>
                    <a:pt x="2466239" y="198831"/>
                  </a:lnTo>
                  <a:lnTo>
                    <a:pt x="2466239" y="197447"/>
                  </a:lnTo>
                  <a:lnTo>
                    <a:pt x="2466290" y="197447"/>
                  </a:lnTo>
                  <a:lnTo>
                    <a:pt x="2466290" y="199530"/>
                  </a:lnTo>
                  <a:lnTo>
                    <a:pt x="2466290" y="198831"/>
                  </a:lnTo>
                  <a:lnTo>
                    <a:pt x="2466290" y="199530"/>
                  </a:lnTo>
                  <a:lnTo>
                    <a:pt x="2466340" y="200228"/>
                  </a:lnTo>
                  <a:lnTo>
                    <a:pt x="2466340" y="200876"/>
                  </a:lnTo>
                  <a:lnTo>
                    <a:pt x="2466340" y="200228"/>
                  </a:lnTo>
                  <a:lnTo>
                    <a:pt x="2466340" y="200876"/>
                  </a:lnTo>
                  <a:lnTo>
                    <a:pt x="2466391" y="200876"/>
                  </a:lnTo>
                  <a:lnTo>
                    <a:pt x="2466391" y="200228"/>
                  </a:lnTo>
                  <a:lnTo>
                    <a:pt x="2466391" y="200876"/>
                  </a:lnTo>
                  <a:lnTo>
                    <a:pt x="2466480" y="200876"/>
                  </a:lnTo>
                  <a:lnTo>
                    <a:pt x="2466531" y="200228"/>
                  </a:lnTo>
                  <a:lnTo>
                    <a:pt x="2466531" y="202260"/>
                  </a:lnTo>
                  <a:lnTo>
                    <a:pt x="2466531" y="200876"/>
                  </a:lnTo>
                  <a:lnTo>
                    <a:pt x="2466531" y="202260"/>
                  </a:lnTo>
                  <a:lnTo>
                    <a:pt x="2466531" y="200876"/>
                  </a:lnTo>
                  <a:lnTo>
                    <a:pt x="2466582" y="200876"/>
                  </a:lnTo>
                  <a:lnTo>
                    <a:pt x="2466582" y="200228"/>
                  </a:lnTo>
                  <a:lnTo>
                    <a:pt x="2466633" y="200228"/>
                  </a:lnTo>
                  <a:lnTo>
                    <a:pt x="2466633" y="198831"/>
                  </a:lnTo>
                  <a:lnTo>
                    <a:pt x="2466633" y="199530"/>
                  </a:lnTo>
                  <a:lnTo>
                    <a:pt x="2466633" y="198831"/>
                  </a:lnTo>
                  <a:lnTo>
                    <a:pt x="2466734" y="198831"/>
                  </a:lnTo>
                  <a:lnTo>
                    <a:pt x="2466734" y="197447"/>
                  </a:lnTo>
                  <a:lnTo>
                    <a:pt x="2466734" y="200228"/>
                  </a:lnTo>
                  <a:lnTo>
                    <a:pt x="2466734" y="198831"/>
                  </a:lnTo>
                  <a:lnTo>
                    <a:pt x="2466734" y="199530"/>
                  </a:lnTo>
                  <a:lnTo>
                    <a:pt x="2466734" y="198831"/>
                  </a:lnTo>
                  <a:lnTo>
                    <a:pt x="2466785" y="198831"/>
                  </a:lnTo>
                  <a:lnTo>
                    <a:pt x="2466785" y="202260"/>
                  </a:lnTo>
                  <a:lnTo>
                    <a:pt x="2466785" y="200228"/>
                  </a:lnTo>
                  <a:lnTo>
                    <a:pt x="2466836" y="200228"/>
                  </a:lnTo>
                  <a:lnTo>
                    <a:pt x="2466836" y="202959"/>
                  </a:lnTo>
                  <a:lnTo>
                    <a:pt x="2466836" y="200876"/>
                  </a:lnTo>
                  <a:lnTo>
                    <a:pt x="2466937" y="200876"/>
                  </a:lnTo>
                  <a:lnTo>
                    <a:pt x="2466937" y="202260"/>
                  </a:lnTo>
                  <a:lnTo>
                    <a:pt x="2466937" y="200876"/>
                  </a:lnTo>
                  <a:lnTo>
                    <a:pt x="2466937" y="202260"/>
                  </a:lnTo>
                  <a:lnTo>
                    <a:pt x="2466975" y="202260"/>
                  </a:lnTo>
                  <a:lnTo>
                    <a:pt x="2466975" y="200876"/>
                  </a:lnTo>
                  <a:lnTo>
                    <a:pt x="2466975" y="202260"/>
                  </a:lnTo>
                  <a:lnTo>
                    <a:pt x="2467026" y="202260"/>
                  </a:lnTo>
                  <a:lnTo>
                    <a:pt x="2467026" y="202959"/>
                  </a:lnTo>
                  <a:lnTo>
                    <a:pt x="2467026" y="202260"/>
                  </a:lnTo>
                  <a:lnTo>
                    <a:pt x="2467026" y="202959"/>
                  </a:lnTo>
                  <a:lnTo>
                    <a:pt x="2467026" y="202260"/>
                  </a:lnTo>
                  <a:lnTo>
                    <a:pt x="2467077" y="202260"/>
                  </a:lnTo>
                  <a:lnTo>
                    <a:pt x="2467077" y="200228"/>
                  </a:lnTo>
                  <a:lnTo>
                    <a:pt x="2467077" y="200876"/>
                  </a:lnTo>
                  <a:lnTo>
                    <a:pt x="2467077" y="200228"/>
                  </a:lnTo>
                  <a:lnTo>
                    <a:pt x="2467179" y="200228"/>
                  </a:lnTo>
                  <a:lnTo>
                    <a:pt x="2467179" y="198831"/>
                  </a:lnTo>
                  <a:lnTo>
                    <a:pt x="2467230" y="197447"/>
                  </a:lnTo>
                  <a:lnTo>
                    <a:pt x="2467230" y="196799"/>
                  </a:lnTo>
                  <a:lnTo>
                    <a:pt x="2467230" y="199530"/>
                  </a:lnTo>
                  <a:lnTo>
                    <a:pt x="2467230" y="197447"/>
                  </a:lnTo>
                  <a:lnTo>
                    <a:pt x="2467280" y="198831"/>
                  </a:lnTo>
                  <a:lnTo>
                    <a:pt x="2467280" y="200876"/>
                  </a:lnTo>
                  <a:lnTo>
                    <a:pt x="2467280" y="199530"/>
                  </a:lnTo>
                  <a:lnTo>
                    <a:pt x="2467280" y="200228"/>
                  </a:lnTo>
                  <a:lnTo>
                    <a:pt x="2467382" y="200228"/>
                  </a:lnTo>
                  <a:lnTo>
                    <a:pt x="2467382" y="202260"/>
                  </a:lnTo>
                  <a:lnTo>
                    <a:pt x="2467382" y="199530"/>
                  </a:lnTo>
                  <a:lnTo>
                    <a:pt x="2467382" y="200876"/>
                  </a:lnTo>
                  <a:lnTo>
                    <a:pt x="2467433" y="200876"/>
                  </a:lnTo>
                  <a:lnTo>
                    <a:pt x="2467433" y="202260"/>
                  </a:lnTo>
                  <a:lnTo>
                    <a:pt x="2467433" y="200876"/>
                  </a:lnTo>
                  <a:lnTo>
                    <a:pt x="2467433" y="202260"/>
                  </a:lnTo>
                  <a:lnTo>
                    <a:pt x="2467433" y="200876"/>
                  </a:lnTo>
                  <a:lnTo>
                    <a:pt x="2467433" y="202260"/>
                  </a:lnTo>
                  <a:lnTo>
                    <a:pt x="2467433" y="200876"/>
                  </a:lnTo>
                  <a:lnTo>
                    <a:pt x="2467433" y="202260"/>
                  </a:lnTo>
                  <a:lnTo>
                    <a:pt x="2467484" y="202260"/>
                  </a:lnTo>
                  <a:lnTo>
                    <a:pt x="2467484" y="202959"/>
                  </a:lnTo>
                  <a:lnTo>
                    <a:pt x="2467484" y="202260"/>
                  </a:lnTo>
                  <a:lnTo>
                    <a:pt x="2467522" y="202260"/>
                  </a:lnTo>
                  <a:lnTo>
                    <a:pt x="2467522" y="202959"/>
                  </a:lnTo>
                  <a:lnTo>
                    <a:pt x="2467522" y="202260"/>
                  </a:lnTo>
                  <a:lnTo>
                    <a:pt x="2467522" y="202959"/>
                  </a:lnTo>
                  <a:lnTo>
                    <a:pt x="2467522" y="202260"/>
                  </a:lnTo>
                  <a:lnTo>
                    <a:pt x="2467623" y="202260"/>
                  </a:lnTo>
                  <a:lnTo>
                    <a:pt x="2467623" y="200228"/>
                  </a:lnTo>
                  <a:lnTo>
                    <a:pt x="2467674" y="200228"/>
                  </a:lnTo>
                  <a:lnTo>
                    <a:pt x="2467674" y="198831"/>
                  </a:lnTo>
                  <a:lnTo>
                    <a:pt x="2467674" y="199530"/>
                  </a:lnTo>
                  <a:lnTo>
                    <a:pt x="2467725" y="199530"/>
                  </a:lnTo>
                  <a:lnTo>
                    <a:pt x="2467725" y="197447"/>
                  </a:lnTo>
                  <a:lnTo>
                    <a:pt x="2467725" y="202260"/>
                  </a:lnTo>
                  <a:lnTo>
                    <a:pt x="2467826" y="202260"/>
                  </a:lnTo>
                  <a:lnTo>
                    <a:pt x="2467826" y="198831"/>
                  </a:lnTo>
                  <a:lnTo>
                    <a:pt x="2467826" y="200876"/>
                  </a:lnTo>
                  <a:lnTo>
                    <a:pt x="2467877" y="200876"/>
                  </a:lnTo>
                  <a:lnTo>
                    <a:pt x="2467877" y="199530"/>
                  </a:lnTo>
                  <a:lnTo>
                    <a:pt x="2467877" y="200228"/>
                  </a:lnTo>
                  <a:lnTo>
                    <a:pt x="2467928" y="200228"/>
                  </a:lnTo>
                  <a:lnTo>
                    <a:pt x="2467928" y="199530"/>
                  </a:lnTo>
                  <a:lnTo>
                    <a:pt x="2467928" y="200876"/>
                  </a:lnTo>
                  <a:lnTo>
                    <a:pt x="2467979" y="200876"/>
                  </a:lnTo>
                  <a:lnTo>
                    <a:pt x="2467979" y="200228"/>
                  </a:lnTo>
                  <a:lnTo>
                    <a:pt x="2467979" y="200876"/>
                  </a:lnTo>
                  <a:lnTo>
                    <a:pt x="2467979" y="200228"/>
                  </a:lnTo>
                  <a:lnTo>
                    <a:pt x="2468068" y="200228"/>
                  </a:lnTo>
                  <a:lnTo>
                    <a:pt x="2468068" y="200876"/>
                  </a:lnTo>
                  <a:lnTo>
                    <a:pt x="2468068" y="200228"/>
                  </a:lnTo>
                  <a:lnTo>
                    <a:pt x="2468119" y="200228"/>
                  </a:lnTo>
                  <a:lnTo>
                    <a:pt x="2468119" y="199530"/>
                  </a:lnTo>
                  <a:lnTo>
                    <a:pt x="2468119" y="200228"/>
                  </a:lnTo>
                  <a:lnTo>
                    <a:pt x="2468119" y="199530"/>
                  </a:lnTo>
                  <a:lnTo>
                    <a:pt x="2468169" y="198831"/>
                  </a:lnTo>
                  <a:lnTo>
                    <a:pt x="2468169" y="197447"/>
                  </a:lnTo>
                  <a:lnTo>
                    <a:pt x="2468169" y="200228"/>
                  </a:lnTo>
                  <a:lnTo>
                    <a:pt x="2468169" y="199530"/>
                  </a:lnTo>
                  <a:lnTo>
                    <a:pt x="2468220" y="198831"/>
                  </a:lnTo>
                  <a:lnTo>
                    <a:pt x="2468220" y="202260"/>
                  </a:lnTo>
                  <a:lnTo>
                    <a:pt x="2468220" y="200228"/>
                  </a:lnTo>
                  <a:lnTo>
                    <a:pt x="2468322" y="200228"/>
                  </a:lnTo>
                  <a:lnTo>
                    <a:pt x="2468322" y="199530"/>
                  </a:lnTo>
                  <a:lnTo>
                    <a:pt x="2468322" y="202260"/>
                  </a:lnTo>
                  <a:lnTo>
                    <a:pt x="2468322" y="200228"/>
                  </a:lnTo>
                  <a:lnTo>
                    <a:pt x="2468372" y="200228"/>
                  </a:lnTo>
                  <a:lnTo>
                    <a:pt x="2468372" y="200876"/>
                  </a:lnTo>
                  <a:lnTo>
                    <a:pt x="2468372" y="200228"/>
                  </a:lnTo>
                  <a:lnTo>
                    <a:pt x="2468423" y="200228"/>
                  </a:lnTo>
                  <a:lnTo>
                    <a:pt x="2468423" y="200876"/>
                  </a:lnTo>
                  <a:lnTo>
                    <a:pt x="2468423" y="200228"/>
                  </a:lnTo>
                  <a:lnTo>
                    <a:pt x="2468423" y="202260"/>
                  </a:lnTo>
                  <a:lnTo>
                    <a:pt x="2468423" y="200876"/>
                  </a:lnTo>
                  <a:lnTo>
                    <a:pt x="2468423" y="202260"/>
                  </a:lnTo>
                  <a:lnTo>
                    <a:pt x="2468423" y="200876"/>
                  </a:lnTo>
                  <a:lnTo>
                    <a:pt x="2468423" y="202260"/>
                  </a:lnTo>
                  <a:lnTo>
                    <a:pt x="2468525" y="200876"/>
                  </a:lnTo>
                  <a:lnTo>
                    <a:pt x="2468525" y="202260"/>
                  </a:lnTo>
                  <a:lnTo>
                    <a:pt x="2468525" y="200876"/>
                  </a:lnTo>
                  <a:lnTo>
                    <a:pt x="2468525" y="202260"/>
                  </a:lnTo>
                  <a:lnTo>
                    <a:pt x="2468525" y="200876"/>
                  </a:lnTo>
                  <a:lnTo>
                    <a:pt x="2468563" y="200876"/>
                  </a:lnTo>
                  <a:lnTo>
                    <a:pt x="2468563" y="200228"/>
                  </a:lnTo>
                  <a:lnTo>
                    <a:pt x="2468563" y="200876"/>
                  </a:lnTo>
                  <a:lnTo>
                    <a:pt x="2468563" y="200228"/>
                  </a:lnTo>
                  <a:lnTo>
                    <a:pt x="2468614" y="200228"/>
                  </a:lnTo>
                  <a:lnTo>
                    <a:pt x="2468614" y="198831"/>
                  </a:lnTo>
                  <a:lnTo>
                    <a:pt x="2468614" y="199530"/>
                  </a:lnTo>
                  <a:lnTo>
                    <a:pt x="2468614" y="198831"/>
                  </a:lnTo>
                  <a:lnTo>
                    <a:pt x="2468665" y="197447"/>
                  </a:lnTo>
                  <a:lnTo>
                    <a:pt x="2468665" y="200876"/>
                  </a:lnTo>
                  <a:lnTo>
                    <a:pt x="2468665" y="197447"/>
                  </a:lnTo>
                  <a:lnTo>
                    <a:pt x="2468766" y="197447"/>
                  </a:lnTo>
                  <a:lnTo>
                    <a:pt x="2468766" y="202260"/>
                  </a:lnTo>
                  <a:lnTo>
                    <a:pt x="2468766" y="199530"/>
                  </a:lnTo>
                  <a:lnTo>
                    <a:pt x="2468817" y="200228"/>
                  </a:lnTo>
                  <a:lnTo>
                    <a:pt x="2468817" y="200876"/>
                  </a:lnTo>
                  <a:lnTo>
                    <a:pt x="2468817" y="200228"/>
                  </a:lnTo>
                  <a:lnTo>
                    <a:pt x="2468868" y="200228"/>
                  </a:lnTo>
                  <a:lnTo>
                    <a:pt x="2468868" y="200876"/>
                  </a:lnTo>
                  <a:lnTo>
                    <a:pt x="2468868" y="200228"/>
                  </a:lnTo>
                  <a:lnTo>
                    <a:pt x="2468868" y="200876"/>
                  </a:lnTo>
                  <a:lnTo>
                    <a:pt x="2468868" y="200228"/>
                  </a:lnTo>
                  <a:lnTo>
                    <a:pt x="2468868" y="200876"/>
                  </a:lnTo>
                  <a:lnTo>
                    <a:pt x="2468969" y="200876"/>
                  </a:lnTo>
                  <a:lnTo>
                    <a:pt x="2468969" y="202260"/>
                  </a:lnTo>
                  <a:lnTo>
                    <a:pt x="2468969" y="200876"/>
                  </a:lnTo>
                  <a:lnTo>
                    <a:pt x="2469020" y="200876"/>
                  </a:lnTo>
                  <a:lnTo>
                    <a:pt x="2469020" y="202260"/>
                  </a:lnTo>
                  <a:lnTo>
                    <a:pt x="2469020" y="200228"/>
                  </a:lnTo>
                  <a:lnTo>
                    <a:pt x="2469020" y="200876"/>
                  </a:lnTo>
                  <a:lnTo>
                    <a:pt x="2469020" y="200228"/>
                  </a:lnTo>
                  <a:lnTo>
                    <a:pt x="2469071" y="200228"/>
                  </a:lnTo>
                  <a:lnTo>
                    <a:pt x="2469071" y="198831"/>
                  </a:lnTo>
                  <a:lnTo>
                    <a:pt x="2469109" y="198831"/>
                  </a:lnTo>
                  <a:lnTo>
                    <a:pt x="2469109" y="196113"/>
                  </a:lnTo>
                  <a:lnTo>
                    <a:pt x="2469211" y="196113"/>
                  </a:lnTo>
                  <a:lnTo>
                    <a:pt x="2469211" y="198831"/>
                  </a:lnTo>
                  <a:lnTo>
                    <a:pt x="2469211" y="197447"/>
                  </a:lnTo>
                  <a:lnTo>
                    <a:pt x="2469211" y="198831"/>
                  </a:lnTo>
                  <a:lnTo>
                    <a:pt x="2469211" y="196113"/>
                  </a:lnTo>
                  <a:lnTo>
                    <a:pt x="2469211" y="196799"/>
                  </a:lnTo>
                  <a:lnTo>
                    <a:pt x="2469262" y="196799"/>
                  </a:lnTo>
                  <a:lnTo>
                    <a:pt x="2469262" y="199530"/>
                  </a:lnTo>
                  <a:lnTo>
                    <a:pt x="2469262" y="198831"/>
                  </a:lnTo>
                  <a:lnTo>
                    <a:pt x="2469262" y="199530"/>
                  </a:lnTo>
                  <a:lnTo>
                    <a:pt x="2469312" y="199530"/>
                  </a:lnTo>
                  <a:lnTo>
                    <a:pt x="2469312" y="200228"/>
                  </a:lnTo>
                  <a:lnTo>
                    <a:pt x="2469312" y="198831"/>
                  </a:lnTo>
                  <a:lnTo>
                    <a:pt x="2469312" y="199530"/>
                  </a:lnTo>
                  <a:lnTo>
                    <a:pt x="2469312" y="198831"/>
                  </a:lnTo>
                  <a:lnTo>
                    <a:pt x="2469312" y="199530"/>
                  </a:lnTo>
                  <a:lnTo>
                    <a:pt x="2469414" y="199530"/>
                  </a:lnTo>
                  <a:lnTo>
                    <a:pt x="2469414" y="200228"/>
                  </a:lnTo>
                  <a:lnTo>
                    <a:pt x="2469414" y="199530"/>
                  </a:lnTo>
                  <a:lnTo>
                    <a:pt x="2469414" y="200228"/>
                  </a:lnTo>
                  <a:lnTo>
                    <a:pt x="2469414" y="199530"/>
                  </a:lnTo>
                  <a:lnTo>
                    <a:pt x="2469414" y="200228"/>
                  </a:lnTo>
                  <a:lnTo>
                    <a:pt x="2469414" y="199530"/>
                  </a:lnTo>
                  <a:lnTo>
                    <a:pt x="2469414" y="200876"/>
                  </a:lnTo>
                  <a:lnTo>
                    <a:pt x="2469414" y="200228"/>
                  </a:lnTo>
                  <a:lnTo>
                    <a:pt x="2469465" y="200876"/>
                  </a:lnTo>
                  <a:lnTo>
                    <a:pt x="2469465" y="200228"/>
                  </a:lnTo>
                  <a:lnTo>
                    <a:pt x="2469465" y="200876"/>
                  </a:lnTo>
                  <a:lnTo>
                    <a:pt x="2469465" y="200228"/>
                  </a:lnTo>
                  <a:lnTo>
                    <a:pt x="2469465" y="200876"/>
                  </a:lnTo>
                  <a:lnTo>
                    <a:pt x="2469465" y="200228"/>
                  </a:lnTo>
                  <a:lnTo>
                    <a:pt x="2469465" y="200876"/>
                  </a:lnTo>
                  <a:lnTo>
                    <a:pt x="2469515" y="200876"/>
                  </a:lnTo>
                  <a:lnTo>
                    <a:pt x="2469515" y="202260"/>
                  </a:lnTo>
                  <a:lnTo>
                    <a:pt x="2469515" y="200228"/>
                  </a:lnTo>
                  <a:lnTo>
                    <a:pt x="2469515" y="200876"/>
                  </a:lnTo>
                  <a:lnTo>
                    <a:pt x="2469515" y="199530"/>
                  </a:lnTo>
                  <a:lnTo>
                    <a:pt x="2469515" y="200228"/>
                  </a:lnTo>
                  <a:lnTo>
                    <a:pt x="2469566" y="200228"/>
                  </a:lnTo>
                  <a:lnTo>
                    <a:pt x="2469566" y="200876"/>
                  </a:lnTo>
                  <a:lnTo>
                    <a:pt x="2469566" y="199530"/>
                  </a:lnTo>
                  <a:lnTo>
                    <a:pt x="2469655" y="199530"/>
                  </a:lnTo>
                  <a:lnTo>
                    <a:pt x="2469655" y="197447"/>
                  </a:lnTo>
                  <a:lnTo>
                    <a:pt x="2469706" y="197447"/>
                  </a:lnTo>
                  <a:lnTo>
                    <a:pt x="2469706" y="196799"/>
                  </a:lnTo>
                  <a:lnTo>
                    <a:pt x="2469706" y="198831"/>
                  </a:lnTo>
                  <a:lnTo>
                    <a:pt x="2469706" y="196799"/>
                  </a:lnTo>
                  <a:lnTo>
                    <a:pt x="2469706" y="198831"/>
                  </a:lnTo>
                  <a:lnTo>
                    <a:pt x="2469757" y="198831"/>
                  </a:lnTo>
                  <a:lnTo>
                    <a:pt x="2469757" y="199530"/>
                  </a:lnTo>
                  <a:lnTo>
                    <a:pt x="2469757" y="197447"/>
                  </a:lnTo>
                  <a:lnTo>
                    <a:pt x="2469757" y="198831"/>
                  </a:lnTo>
                  <a:lnTo>
                    <a:pt x="2469808" y="198831"/>
                  </a:lnTo>
                  <a:lnTo>
                    <a:pt x="2469808" y="199530"/>
                  </a:lnTo>
                  <a:lnTo>
                    <a:pt x="2469808" y="198831"/>
                  </a:lnTo>
                  <a:lnTo>
                    <a:pt x="2469808" y="199530"/>
                  </a:lnTo>
                  <a:lnTo>
                    <a:pt x="2469909" y="199530"/>
                  </a:lnTo>
                  <a:lnTo>
                    <a:pt x="2469909" y="200228"/>
                  </a:lnTo>
                  <a:lnTo>
                    <a:pt x="2469960" y="200228"/>
                  </a:lnTo>
                  <a:lnTo>
                    <a:pt x="2469960" y="199530"/>
                  </a:lnTo>
                  <a:lnTo>
                    <a:pt x="2469960" y="200876"/>
                  </a:lnTo>
                  <a:lnTo>
                    <a:pt x="2469960" y="200228"/>
                  </a:lnTo>
                  <a:lnTo>
                    <a:pt x="2470112" y="200228"/>
                  </a:lnTo>
                  <a:lnTo>
                    <a:pt x="2470112" y="198831"/>
                  </a:lnTo>
                  <a:lnTo>
                    <a:pt x="2470150" y="198831"/>
                  </a:lnTo>
                  <a:lnTo>
                    <a:pt x="2470150" y="196799"/>
                  </a:lnTo>
                  <a:lnTo>
                    <a:pt x="2470201" y="197447"/>
                  </a:lnTo>
                  <a:lnTo>
                    <a:pt x="2470201" y="199530"/>
                  </a:lnTo>
                  <a:lnTo>
                    <a:pt x="2470201" y="196113"/>
                  </a:lnTo>
                  <a:lnTo>
                    <a:pt x="2470201" y="198831"/>
                  </a:lnTo>
                  <a:lnTo>
                    <a:pt x="2470252" y="199530"/>
                  </a:lnTo>
                  <a:lnTo>
                    <a:pt x="2470252" y="197447"/>
                  </a:lnTo>
                  <a:lnTo>
                    <a:pt x="2470252" y="198831"/>
                  </a:lnTo>
                  <a:lnTo>
                    <a:pt x="2470252" y="197447"/>
                  </a:lnTo>
                  <a:lnTo>
                    <a:pt x="2470252" y="199530"/>
                  </a:lnTo>
                  <a:lnTo>
                    <a:pt x="2470354" y="199530"/>
                  </a:lnTo>
                  <a:lnTo>
                    <a:pt x="2470354" y="198831"/>
                  </a:lnTo>
                  <a:lnTo>
                    <a:pt x="2470354" y="199530"/>
                  </a:lnTo>
                  <a:lnTo>
                    <a:pt x="2470354" y="198831"/>
                  </a:lnTo>
                  <a:lnTo>
                    <a:pt x="2470354" y="199530"/>
                  </a:lnTo>
                  <a:lnTo>
                    <a:pt x="2470405" y="198831"/>
                  </a:lnTo>
                  <a:lnTo>
                    <a:pt x="2470405" y="199530"/>
                  </a:lnTo>
                  <a:lnTo>
                    <a:pt x="2470405" y="198831"/>
                  </a:lnTo>
                  <a:lnTo>
                    <a:pt x="2470405" y="200228"/>
                  </a:lnTo>
                  <a:lnTo>
                    <a:pt x="2470405" y="199530"/>
                  </a:lnTo>
                  <a:lnTo>
                    <a:pt x="2470405" y="200228"/>
                  </a:lnTo>
                  <a:lnTo>
                    <a:pt x="2470405" y="199530"/>
                  </a:lnTo>
                  <a:lnTo>
                    <a:pt x="2470455" y="199530"/>
                  </a:lnTo>
                  <a:lnTo>
                    <a:pt x="2470455" y="200876"/>
                  </a:lnTo>
                  <a:lnTo>
                    <a:pt x="2470455" y="199530"/>
                  </a:lnTo>
                  <a:lnTo>
                    <a:pt x="2470557" y="199530"/>
                  </a:lnTo>
                  <a:lnTo>
                    <a:pt x="2470557" y="200228"/>
                  </a:lnTo>
                  <a:lnTo>
                    <a:pt x="2470557" y="199530"/>
                  </a:lnTo>
                  <a:lnTo>
                    <a:pt x="2470557" y="200228"/>
                  </a:lnTo>
                  <a:lnTo>
                    <a:pt x="2470557" y="199530"/>
                  </a:lnTo>
                  <a:lnTo>
                    <a:pt x="2470608" y="199530"/>
                  </a:lnTo>
                  <a:lnTo>
                    <a:pt x="2470608" y="198831"/>
                  </a:lnTo>
                  <a:lnTo>
                    <a:pt x="2470608" y="199530"/>
                  </a:lnTo>
                  <a:lnTo>
                    <a:pt x="2470608" y="198831"/>
                  </a:lnTo>
                  <a:lnTo>
                    <a:pt x="2470659" y="197447"/>
                  </a:lnTo>
                  <a:lnTo>
                    <a:pt x="2470659" y="199530"/>
                  </a:lnTo>
                  <a:lnTo>
                    <a:pt x="2470659" y="198831"/>
                  </a:lnTo>
                  <a:lnTo>
                    <a:pt x="2470697" y="198831"/>
                  </a:lnTo>
                  <a:lnTo>
                    <a:pt x="2470697" y="196799"/>
                  </a:lnTo>
                  <a:lnTo>
                    <a:pt x="2470697" y="200228"/>
                  </a:lnTo>
                  <a:lnTo>
                    <a:pt x="2470697" y="198831"/>
                  </a:lnTo>
                  <a:lnTo>
                    <a:pt x="2470798" y="198831"/>
                  </a:lnTo>
                  <a:lnTo>
                    <a:pt x="2470798" y="197447"/>
                  </a:lnTo>
                  <a:lnTo>
                    <a:pt x="2470798" y="200228"/>
                  </a:lnTo>
                  <a:lnTo>
                    <a:pt x="2470798" y="199530"/>
                  </a:lnTo>
                  <a:lnTo>
                    <a:pt x="2470849" y="198831"/>
                  </a:lnTo>
                  <a:lnTo>
                    <a:pt x="2470849" y="197447"/>
                  </a:lnTo>
                  <a:lnTo>
                    <a:pt x="2470849" y="199530"/>
                  </a:lnTo>
                  <a:lnTo>
                    <a:pt x="2470849" y="198831"/>
                  </a:lnTo>
                  <a:lnTo>
                    <a:pt x="2470849" y="199530"/>
                  </a:lnTo>
                  <a:lnTo>
                    <a:pt x="2470900" y="199530"/>
                  </a:lnTo>
                  <a:lnTo>
                    <a:pt x="2470900" y="198831"/>
                  </a:lnTo>
                  <a:lnTo>
                    <a:pt x="2470900" y="200228"/>
                  </a:lnTo>
                  <a:lnTo>
                    <a:pt x="2471001" y="200228"/>
                  </a:lnTo>
                  <a:lnTo>
                    <a:pt x="2471001" y="198831"/>
                  </a:lnTo>
                  <a:lnTo>
                    <a:pt x="2471001" y="199530"/>
                  </a:lnTo>
                  <a:lnTo>
                    <a:pt x="2471052" y="199530"/>
                  </a:lnTo>
                  <a:lnTo>
                    <a:pt x="2471052" y="198831"/>
                  </a:lnTo>
                  <a:lnTo>
                    <a:pt x="2471052" y="199530"/>
                  </a:lnTo>
                  <a:lnTo>
                    <a:pt x="2471052" y="198831"/>
                  </a:lnTo>
                  <a:lnTo>
                    <a:pt x="2471052" y="199530"/>
                  </a:lnTo>
                  <a:lnTo>
                    <a:pt x="2471103" y="199530"/>
                  </a:lnTo>
                  <a:lnTo>
                    <a:pt x="2471103" y="197447"/>
                  </a:lnTo>
                  <a:lnTo>
                    <a:pt x="2471103" y="198831"/>
                  </a:lnTo>
                  <a:lnTo>
                    <a:pt x="2471103" y="197447"/>
                  </a:lnTo>
                  <a:lnTo>
                    <a:pt x="2471154" y="197447"/>
                  </a:lnTo>
                  <a:lnTo>
                    <a:pt x="2471154" y="196799"/>
                  </a:lnTo>
                  <a:lnTo>
                    <a:pt x="2471154" y="198831"/>
                  </a:lnTo>
                  <a:lnTo>
                    <a:pt x="2471154" y="197447"/>
                  </a:lnTo>
                  <a:lnTo>
                    <a:pt x="2471154" y="198831"/>
                  </a:lnTo>
                  <a:lnTo>
                    <a:pt x="2471154" y="196799"/>
                  </a:lnTo>
                  <a:lnTo>
                    <a:pt x="2471243" y="196799"/>
                  </a:lnTo>
                  <a:lnTo>
                    <a:pt x="2471243" y="200228"/>
                  </a:lnTo>
                  <a:lnTo>
                    <a:pt x="2471243" y="198831"/>
                  </a:lnTo>
                  <a:lnTo>
                    <a:pt x="2471294" y="198831"/>
                  </a:lnTo>
                  <a:lnTo>
                    <a:pt x="2471294" y="200228"/>
                  </a:lnTo>
                  <a:lnTo>
                    <a:pt x="2471294" y="199530"/>
                  </a:lnTo>
                  <a:lnTo>
                    <a:pt x="2471294" y="200228"/>
                  </a:lnTo>
                  <a:lnTo>
                    <a:pt x="2471294" y="199530"/>
                  </a:lnTo>
                  <a:lnTo>
                    <a:pt x="2471344" y="199530"/>
                  </a:lnTo>
                  <a:lnTo>
                    <a:pt x="2471344" y="200228"/>
                  </a:lnTo>
                  <a:lnTo>
                    <a:pt x="2471344" y="199530"/>
                  </a:lnTo>
                  <a:lnTo>
                    <a:pt x="2471344" y="200228"/>
                  </a:lnTo>
                  <a:lnTo>
                    <a:pt x="2471344" y="199530"/>
                  </a:lnTo>
                  <a:lnTo>
                    <a:pt x="2471344" y="200228"/>
                  </a:lnTo>
                  <a:lnTo>
                    <a:pt x="2471395" y="200228"/>
                  </a:lnTo>
                  <a:lnTo>
                    <a:pt x="2471395" y="200876"/>
                  </a:lnTo>
                  <a:lnTo>
                    <a:pt x="2471395" y="200228"/>
                  </a:lnTo>
                  <a:lnTo>
                    <a:pt x="2471395" y="200876"/>
                  </a:lnTo>
                  <a:lnTo>
                    <a:pt x="2471395" y="200228"/>
                  </a:lnTo>
                  <a:lnTo>
                    <a:pt x="2471497" y="200228"/>
                  </a:lnTo>
                  <a:lnTo>
                    <a:pt x="2471497" y="200876"/>
                  </a:lnTo>
                  <a:lnTo>
                    <a:pt x="2471497" y="199530"/>
                  </a:lnTo>
                  <a:lnTo>
                    <a:pt x="2471497" y="200228"/>
                  </a:lnTo>
                  <a:lnTo>
                    <a:pt x="2471547" y="200228"/>
                  </a:lnTo>
                  <a:lnTo>
                    <a:pt x="2471547" y="199530"/>
                  </a:lnTo>
                  <a:lnTo>
                    <a:pt x="2471547" y="200228"/>
                  </a:lnTo>
                  <a:lnTo>
                    <a:pt x="2471598" y="199530"/>
                  </a:lnTo>
                  <a:lnTo>
                    <a:pt x="2471598" y="198831"/>
                  </a:lnTo>
                  <a:lnTo>
                    <a:pt x="2471598" y="199530"/>
                  </a:lnTo>
                  <a:lnTo>
                    <a:pt x="2471598" y="197447"/>
                  </a:lnTo>
                  <a:lnTo>
                    <a:pt x="2471700" y="197447"/>
                  </a:lnTo>
                  <a:lnTo>
                    <a:pt x="2471700" y="199530"/>
                  </a:lnTo>
                  <a:lnTo>
                    <a:pt x="2471700" y="198831"/>
                  </a:lnTo>
                  <a:lnTo>
                    <a:pt x="2471700" y="199530"/>
                  </a:lnTo>
                  <a:lnTo>
                    <a:pt x="2471700" y="197447"/>
                  </a:lnTo>
                  <a:lnTo>
                    <a:pt x="2471700" y="199530"/>
                  </a:lnTo>
                  <a:lnTo>
                    <a:pt x="2471738" y="199530"/>
                  </a:lnTo>
                  <a:lnTo>
                    <a:pt x="2471738" y="200876"/>
                  </a:lnTo>
                  <a:lnTo>
                    <a:pt x="2471738" y="199530"/>
                  </a:lnTo>
                  <a:lnTo>
                    <a:pt x="2471738" y="200228"/>
                  </a:lnTo>
                  <a:lnTo>
                    <a:pt x="2471738" y="199530"/>
                  </a:lnTo>
                  <a:lnTo>
                    <a:pt x="2471789" y="200228"/>
                  </a:lnTo>
                  <a:lnTo>
                    <a:pt x="2471789" y="200876"/>
                  </a:lnTo>
                  <a:lnTo>
                    <a:pt x="2471789" y="200228"/>
                  </a:lnTo>
                  <a:lnTo>
                    <a:pt x="2471789" y="200876"/>
                  </a:lnTo>
                  <a:lnTo>
                    <a:pt x="2471789" y="200228"/>
                  </a:lnTo>
                  <a:lnTo>
                    <a:pt x="2471789" y="200876"/>
                  </a:lnTo>
                  <a:lnTo>
                    <a:pt x="2471840" y="200876"/>
                  </a:lnTo>
                  <a:lnTo>
                    <a:pt x="2471840" y="200228"/>
                  </a:lnTo>
                  <a:lnTo>
                    <a:pt x="2471840" y="200876"/>
                  </a:lnTo>
                  <a:lnTo>
                    <a:pt x="2471840" y="200228"/>
                  </a:lnTo>
                  <a:lnTo>
                    <a:pt x="2471840" y="200876"/>
                  </a:lnTo>
                  <a:lnTo>
                    <a:pt x="2471840" y="200228"/>
                  </a:lnTo>
                  <a:lnTo>
                    <a:pt x="2471941" y="200876"/>
                  </a:lnTo>
                  <a:lnTo>
                    <a:pt x="2471941" y="200228"/>
                  </a:lnTo>
                  <a:lnTo>
                    <a:pt x="2471941" y="200876"/>
                  </a:lnTo>
                  <a:lnTo>
                    <a:pt x="2471941" y="200228"/>
                  </a:lnTo>
                  <a:lnTo>
                    <a:pt x="2471941" y="200876"/>
                  </a:lnTo>
                  <a:lnTo>
                    <a:pt x="2471941" y="200228"/>
                  </a:lnTo>
                  <a:lnTo>
                    <a:pt x="2471992" y="200228"/>
                  </a:lnTo>
                  <a:lnTo>
                    <a:pt x="2471992" y="200876"/>
                  </a:lnTo>
                  <a:lnTo>
                    <a:pt x="2471992" y="200228"/>
                  </a:lnTo>
                  <a:lnTo>
                    <a:pt x="2471992" y="200876"/>
                  </a:lnTo>
                  <a:lnTo>
                    <a:pt x="2471992" y="200228"/>
                  </a:lnTo>
                  <a:lnTo>
                    <a:pt x="2471992" y="200876"/>
                  </a:lnTo>
                  <a:lnTo>
                    <a:pt x="2471992" y="200228"/>
                  </a:lnTo>
                  <a:lnTo>
                    <a:pt x="2471992" y="200876"/>
                  </a:lnTo>
                  <a:lnTo>
                    <a:pt x="2471992" y="200228"/>
                  </a:lnTo>
                  <a:lnTo>
                    <a:pt x="2472043" y="200228"/>
                  </a:lnTo>
                  <a:lnTo>
                    <a:pt x="2472043" y="199530"/>
                  </a:lnTo>
                  <a:lnTo>
                    <a:pt x="2472043" y="200228"/>
                  </a:lnTo>
                  <a:lnTo>
                    <a:pt x="2472043" y="199530"/>
                  </a:lnTo>
                  <a:lnTo>
                    <a:pt x="2472043" y="200228"/>
                  </a:lnTo>
                  <a:lnTo>
                    <a:pt x="2472043" y="198831"/>
                  </a:lnTo>
                  <a:lnTo>
                    <a:pt x="2472144" y="198831"/>
                  </a:lnTo>
                  <a:lnTo>
                    <a:pt x="2472144" y="196799"/>
                  </a:lnTo>
                  <a:lnTo>
                    <a:pt x="2472144" y="197447"/>
                  </a:lnTo>
                  <a:lnTo>
                    <a:pt x="2472144" y="196113"/>
                  </a:lnTo>
                  <a:lnTo>
                    <a:pt x="2472144" y="196799"/>
                  </a:lnTo>
                  <a:lnTo>
                    <a:pt x="2472195" y="196799"/>
                  </a:lnTo>
                  <a:lnTo>
                    <a:pt x="2472195" y="198831"/>
                  </a:lnTo>
                  <a:lnTo>
                    <a:pt x="2472195" y="196799"/>
                  </a:lnTo>
                  <a:lnTo>
                    <a:pt x="2472195" y="198831"/>
                  </a:lnTo>
                  <a:lnTo>
                    <a:pt x="2472246" y="199530"/>
                  </a:lnTo>
                  <a:lnTo>
                    <a:pt x="2472246" y="197447"/>
                  </a:lnTo>
                  <a:lnTo>
                    <a:pt x="2472246" y="198831"/>
                  </a:lnTo>
                  <a:lnTo>
                    <a:pt x="2472246" y="197447"/>
                  </a:lnTo>
                  <a:lnTo>
                    <a:pt x="2472246" y="200228"/>
                  </a:lnTo>
                  <a:lnTo>
                    <a:pt x="2472284" y="200228"/>
                  </a:lnTo>
                  <a:lnTo>
                    <a:pt x="2472284" y="199530"/>
                  </a:lnTo>
                  <a:lnTo>
                    <a:pt x="2472284" y="200228"/>
                  </a:lnTo>
                  <a:lnTo>
                    <a:pt x="2472284" y="199530"/>
                  </a:lnTo>
                  <a:lnTo>
                    <a:pt x="2472284" y="200228"/>
                  </a:lnTo>
                  <a:lnTo>
                    <a:pt x="2472386" y="200228"/>
                  </a:lnTo>
                  <a:lnTo>
                    <a:pt x="2472386" y="199530"/>
                  </a:lnTo>
                  <a:lnTo>
                    <a:pt x="2472386" y="200228"/>
                  </a:lnTo>
                  <a:lnTo>
                    <a:pt x="2472386" y="199530"/>
                  </a:lnTo>
                  <a:lnTo>
                    <a:pt x="2472386" y="200228"/>
                  </a:lnTo>
                  <a:lnTo>
                    <a:pt x="2472437" y="200228"/>
                  </a:lnTo>
                  <a:lnTo>
                    <a:pt x="2472437" y="199530"/>
                  </a:lnTo>
                  <a:lnTo>
                    <a:pt x="2472437" y="200876"/>
                  </a:lnTo>
                  <a:lnTo>
                    <a:pt x="2472437" y="200228"/>
                  </a:lnTo>
                  <a:lnTo>
                    <a:pt x="2472487" y="200876"/>
                  </a:lnTo>
                  <a:lnTo>
                    <a:pt x="2472487" y="199530"/>
                  </a:lnTo>
                  <a:lnTo>
                    <a:pt x="2472487" y="200228"/>
                  </a:lnTo>
                  <a:lnTo>
                    <a:pt x="2472589" y="200228"/>
                  </a:lnTo>
                  <a:lnTo>
                    <a:pt x="2472589" y="198831"/>
                  </a:lnTo>
                  <a:lnTo>
                    <a:pt x="2472640" y="198831"/>
                  </a:lnTo>
                  <a:lnTo>
                    <a:pt x="2472640" y="196799"/>
                  </a:lnTo>
                  <a:lnTo>
                    <a:pt x="2472640" y="199530"/>
                  </a:lnTo>
                  <a:lnTo>
                    <a:pt x="2472690" y="199530"/>
                  </a:lnTo>
                  <a:lnTo>
                    <a:pt x="2472690" y="196799"/>
                  </a:lnTo>
                  <a:lnTo>
                    <a:pt x="2472690" y="200228"/>
                  </a:lnTo>
                  <a:lnTo>
                    <a:pt x="2472741" y="199530"/>
                  </a:lnTo>
                  <a:lnTo>
                    <a:pt x="2472741" y="198831"/>
                  </a:lnTo>
                  <a:lnTo>
                    <a:pt x="2472741" y="200228"/>
                  </a:lnTo>
                  <a:lnTo>
                    <a:pt x="2472830" y="199530"/>
                  </a:lnTo>
                  <a:lnTo>
                    <a:pt x="2472830" y="200228"/>
                  </a:lnTo>
                  <a:lnTo>
                    <a:pt x="2472830" y="199530"/>
                  </a:lnTo>
                  <a:lnTo>
                    <a:pt x="2472830" y="200228"/>
                  </a:lnTo>
                  <a:lnTo>
                    <a:pt x="2472830" y="199530"/>
                  </a:lnTo>
                  <a:lnTo>
                    <a:pt x="2472881" y="199530"/>
                  </a:lnTo>
                  <a:lnTo>
                    <a:pt x="2472881" y="200228"/>
                  </a:lnTo>
                  <a:lnTo>
                    <a:pt x="2472881" y="199530"/>
                  </a:lnTo>
                  <a:lnTo>
                    <a:pt x="2472881" y="200228"/>
                  </a:lnTo>
                  <a:lnTo>
                    <a:pt x="2472983" y="200228"/>
                  </a:lnTo>
                  <a:lnTo>
                    <a:pt x="2472983" y="200876"/>
                  </a:lnTo>
                  <a:lnTo>
                    <a:pt x="2472983" y="199530"/>
                  </a:lnTo>
                  <a:lnTo>
                    <a:pt x="2472983" y="200228"/>
                  </a:lnTo>
                  <a:lnTo>
                    <a:pt x="2473084" y="200228"/>
                  </a:lnTo>
                  <a:lnTo>
                    <a:pt x="2473084" y="199530"/>
                  </a:lnTo>
                  <a:lnTo>
                    <a:pt x="2473084" y="200228"/>
                  </a:lnTo>
                  <a:lnTo>
                    <a:pt x="2473084" y="197447"/>
                  </a:lnTo>
                  <a:lnTo>
                    <a:pt x="2473135" y="197447"/>
                  </a:lnTo>
                  <a:lnTo>
                    <a:pt x="2473135" y="196799"/>
                  </a:lnTo>
                  <a:lnTo>
                    <a:pt x="2473135" y="197447"/>
                  </a:lnTo>
                  <a:lnTo>
                    <a:pt x="2473135" y="195415"/>
                  </a:lnTo>
                  <a:lnTo>
                    <a:pt x="2473135" y="196113"/>
                  </a:lnTo>
                  <a:lnTo>
                    <a:pt x="2473186" y="196113"/>
                  </a:lnTo>
                  <a:lnTo>
                    <a:pt x="2473186" y="197447"/>
                  </a:lnTo>
                  <a:lnTo>
                    <a:pt x="2473287" y="197447"/>
                  </a:lnTo>
                  <a:lnTo>
                    <a:pt x="2473287" y="196799"/>
                  </a:lnTo>
                  <a:lnTo>
                    <a:pt x="2473287" y="198831"/>
                  </a:lnTo>
                  <a:lnTo>
                    <a:pt x="2473287" y="197447"/>
                  </a:lnTo>
                  <a:lnTo>
                    <a:pt x="2473287" y="198831"/>
                  </a:lnTo>
                  <a:lnTo>
                    <a:pt x="2473287" y="197447"/>
                  </a:lnTo>
                  <a:lnTo>
                    <a:pt x="2473325" y="198831"/>
                  </a:lnTo>
                  <a:lnTo>
                    <a:pt x="2473325" y="199530"/>
                  </a:lnTo>
                  <a:lnTo>
                    <a:pt x="2473325" y="198831"/>
                  </a:lnTo>
                  <a:lnTo>
                    <a:pt x="2473325" y="199530"/>
                  </a:lnTo>
                  <a:lnTo>
                    <a:pt x="2473376" y="199530"/>
                  </a:lnTo>
                  <a:lnTo>
                    <a:pt x="2473376" y="198831"/>
                  </a:lnTo>
                  <a:lnTo>
                    <a:pt x="2473376" y="199530"/>
                  </a:lnTo>
                  <a:lnTo>
                    <a:pt x="2473427" y="200228"/>
                  </a:lnTo>
                  <a:lnTo>
                    <a:pt x="2473427" y="199530"/>
                  </a:lnTo>
                  <a:lnTo>
                    <a:pt x="2473427" y="200876"/>
                  </a:lnTo>
                  <a:lnTo>
                    <a:pt x="2473427" y="200228"/>
                  </a:lnTo>
                  <a:lnTo>
                    <a:pt x="2473529" y="200228"/>
                  </a:lnTo>
                  <a:lnTo>
                    <a:pt x="2473529" y="200876"/>
                  </a:lnTo>
                  <a:lnTo>
                    <a:pt x="2473529" y="199530"/>
                  </a:lnTo>
                  <a:lnTo>
                    <a:pt x="2473580" y="199530"/>
                  </a:lnTo>
                  <a:lnTo>
                    <a:pt x="2473580" y="197447"/>
                  </a:lnTo>
                  <a:lnTo>
                    <a:pt x="2473630" y="197447"/>
                  </a:lnTo>
                  <a:lnTo>
                    <a:pt x="2473630" y="196113"/>
                  </a:lnTo>
                  <a:lnTo>
                    <a:pt x="2473630" y="196799"/>
                  </a:lnTo>
                  <a:lnTo>
                    <a:pt x="2473630" y="196113"/>
                  </a:lnTo>
                  <a:lnTo>
                    <a:pt x="2473630" y="196799"/>
                  </a:lnTo>
                  <a:lnTo>
                    <a:pt x="2473630" y="196113"/>
                  </a:lnTo>
                  <a:lnTo>
                    <a:pt x="2473630" y="196799"/>
                  </a:lnTo>
                  <a:lnTo>
                    <a:pt x="2473732" y="196799"/>
                  </a:lnTo>
                  <a:lnTo>
                    <a:pt x="2473732" y="196113"/>
                  </a:lnTo>
                  <a:lnTo>
                    <a:pt x="2473732" y="196799"/>
                  </a:lnTo>
                  <a:lnTo>
                    <a:pt x="2473732" y="196113"/>
                  </a:lnTo>
                  <a:lnTo>
                    <a:pt x="2473732" y="197447"/>
                  </a:lnTo>
                  <a:lnTo>
                    <a:pt x="2473783" y="197447"/>
                  </a:lnTo>
                  <a:lnTo>
                    <a:pt x="2473783" y="196113"/>
                  </a:lnTo>
                  <a:lnTo>
                    <a:pt x="2473783" y="197447"/>
                  </a:lnTo>
                  <a:lnTo>
                    <a:pt x="2473783" y="196799"/>
                  </a:lnTo>
                  <a:lnTo>
                    <a:pt x="2473783" y="197447"/>
                  </a:lnTo>
                  <a:lnTo>
                    <a:pt x="2473834" y="197447"/>
                  </a:lnTo>
                  <a:lnTo>
                    <a:pt x="2473834" y="196799"/>
                  </a:lnTo>
                  <a:lnTo>
                    <a:pt x="2473834" y="197447"/>
                  </a:lnTo>
                  <a:lnTo>
                    <a:pt x="2473834" y="196799"/>
                  </a:lnTo>
                  <a:lnTo>
                    <a:pt x="2473834" y="197447"/>
                  </a:lnTo>
                  <a:lnTo>
                    <a:pt x="2473872" y="197447"/>
                  </a:lnTo>
                  <a:lnTo>
                    <a:pt x="2473872" y="198831"/>
                  </a:lnTo>
                  <a:lnTo>
                    <a:pt x="2473973" y="198831"/>
                  </a:lnTo>
                  <a:lnTo>
                    <a:pt x="2473973" y="200228"/>
                  </a:lnTo>
                  <a:lnTo>
                    <a:pt x="2473973" y="199530"/>
                  </a:lnTo>
                  <a:lnTo>
                    <a:pt x="2474024" y="199530"/>
                  </a:lnTo>
                  <a:lnTo>
                    <a:pt x="2474024" y="198831"/>
                  </a:lnTo>
                  <a:lnTo>
                    <a:pt x="2474024" y="200228"/>
                  </a:lnTo>
                  <a:lnTo>
                    <a:pt x="2474024" y="199530"/>
                  </a:lnTo>
                  <a:lnTo>
                    <a:pt x="2474075" y="199530"/>
                  </a:lnTo>
                  <a:lnTo>
                    <a:pt x="2474075" y="198831"/>
                  </a:lnTo>
                  <a:lnTo>
                    <a:pt x="2474075" y="199530"/>
                  </a:lnTo>
                  <a:lnTo>
                    <a:pt x="2474075" y="197447"/>
                  </a:lnTo>
                  <a:lnTo>
                    <a:pt x="2474176" y="197447"/>
                  </a:lnTo>
                  <a:lnTo>
                    <a:pt x="2474176" y="196799"/>
                  </a:lnTo>
                  <a:lnTo>
                    <a:pt x="2474176" y="197447"/>
                  </a:lnTo>
                  <a:lnTo>
                    <a:pt x="2474227" y="197447"/>
                  </a:lnTo>
                  <a:lnTo>
                    <a:pt x="2474227" y="198831"/>
                  </a:lnTo>
                  <a:lnTo>
                    <a:pt x="2474227" y="196799"/>
                  </a:lnTo>
                  <a:lnTo>
                    <a:pt x="2474227" y="199530"/>
                  </a:lnTo>
                  <a:lnTo>
                    <a:pt x="2474278" y="199530"/>
                  </a:lnTo>
                  <a:lnTo>
                    <a:pt x="2474278" y="197447"/>
                  </a:lnTo>
                  <a:lnTo>
                    <a:pt x="2474278" y="198831"/>
                  </a:lnTo>
                  <a:lnTo>
                    <a:pt x="2474278" y="197447"/>
                  </a:lnTo>
                  <a:lnTo>
                    <a:pt x="2474278" y="198831"/>
                  </a:lnTo>
                  <a:lnTo>
                    <a:pt x="2474278" y="197447"/>
                  </a:lnTo>
                  <a:lnTo>
                    <a:pt x="2474278" y="198831"/>
                  </a:lnTo>
                  <a:lnTo>
                    <a:pt x="2474329" y="198831"/>
                  </a:lnTo>
                  <a:lnTo>
                    <a:pt x="2474329" y="199530"/>
                  </a:lnTo>
                  <a:lnTo>
                    <a:pt x="2474329" y="198831"/>
                  </a:lnTo>
                  <a:lnTo>
                    <a:pt x="2474329" y="199530"/>
                  </a:lnTo>
                  <a:lnTo>
                    <a:pt x="2474418" y="199530"/>
                  </a:lnTo>
                  <a:lnTo>
                    <a:pt x="2474418" y="198831"/>
                  </a:lnTo>
                  <a:lnTo>
                    <a:pt x="2474418" y="199530"/>
                  </a:lnTo>
                  <a:lnTo>
                    <a:pt x="2474418" y="198831"/>
                  </a:lnTo>
                  <a:lnTo>
                    <a:pt x="2474418" y="199530"/>
                  </a:lnTo>
                  <a:lnTo>
                    <a:pt x="2474469" y="199530"/>
                  </a:lnTo>
                  <a:lnTo>
                    <a:pt x="2474469" y="200228"/>
                  </a:lnTo>
                  <a:lnTo>
                    <a:pt x="2474469" y="199530"/>
                  </a:lnTo>
                  <a:lnTo>
                    <a:pt x="2474469" y="200228"/>
                  </a:lnTo>
                  <a:lnTo>
                    <a:pt x="2474519" y="200228"/>
                  </a:lnTo>
                  <a:lnTo>
                    <a:pt x="2474519" y="199530"/>
                  </a:lnTo>
                  <a:lnTo>
                    <a:pt x="2474519" y="200228"/>
                  </a:lnTo>
                  <a:lnTo>
                    <a:pt x="2474519" y="199530"/>
                  </a:lnTo>
                  <a:lnTo>
                    <a:pt x="2474519" y="200228"/>
                  </a:lnTo>
                  <a:lnTo>
                    <a:pt x="2474519" y="199530"/>
                  </a:lnTo>
                  <a:lnTo>
                    <a:pt x="2474519" y="200228"/>
                  </a:lnTo>
                  <a:lnTo>
                    <a:pt x="2474570" y="200228"/>
                  </a:lnTo>
                  <a:lnTo>
                    <a:pt x="2474570" y="197447"/>
                  </a:lnTo>
                  <a:lnTo>
                    <a:pt x="2474570" y="199530"/>
                  </a:lnTo>
                  <a:lnTo>
                    <a:pt x="2474672" y="199530"/>
                  </a:lnTo>
                  <a:lnTo>
                    <a:pt x="2474672" y="196799"/>
                  </a:lnTo>
                  <a:lnTo>
                    <a:pt x="2474672" y="199530"/>
                  </a:lnTo>
                  <a:lnTo>
                    <a:pt x="2474722" y="198831"/>
                  </a:lnTo>
                  <a:lnTo>
                    <a:pt x="2474722" y="200876"/>
                  </a:lnTo>
                  <a:lnTo>
                    <a:pt x="2474722" y="199530"/>
                  </a:lnTo>
                  <a:lnTo>
                    <a:pt x="2474773" y="199530"/>
                  </a:lnTo>
                  <a:lnTo>
                    <a:pt x="2474773" y="200876"/>
                  </a:lnTo>
                  <a:lnTo>
                    <a:pt x="2474773" y="199530"/>
                  </a:lnTo>
                  <a:lnTo>
                    <a:pt x="2474875" y="200228"/>
                  </a:lnTo>
                  <a:lnTo>
                    <a:pt x="2474875" y="199530"/>
                  </a:lnTo>
                  <a:lnTo>
                    <a:pt x="2474875" y="200228"/>
                  </a:lnTo>
                  <a:lnTo>
                    <a:pt x="2475015" y="200228"/>
                  </a:lnTo>
                  <a:lnTo>
                    <a:pt x="2475015" y="199530"/>
                  </a:lnTo>
                  <a:lnTo>
                    <a:pt x="2475015" y="200228"/>
                  </a:lnTo>
                  <a:lnTo>
                    <a:pt x="2475015" y="198831"/>
                  </a:lnTo>
                  <a:lnTo>
                    <a:pt x="2475015" y="199530"/>
                  </a:lnTo>
                  <a:lnTo>
                    <a:pt x="2475015" y="198831"/>
                  </a:lnTo>
                  <a:lnTo>
                    <a:pt x="2475015" y="199530"/>
                  </a:lnTo>
                  <a:lnTo>
                    <a:pt x="2475015" y="198831"/>
                  </a:lnTo>
                  <a:lnTo>
                    <a:pt x="2475116" y="198831"/>
                  </a:lnTo>
                  <a:lnTo>
                    <a:pt x="2475116" y="196799"/>
                  </a:lnTo>
                  <a:lnTo>
                    <a:pt x="2475116" y="198831"/>
                  </a:lnTo>
                  <a:lnTo>
                    <a:pt x="2475167" y="198831"/>
                  </a:lnTo>
                  <a:lnTo>
                    <a:pt x="2475167" y="197447"/>
                  </a:lnTo>
                  <a:lnTo>
                    <a:pt x="2475167" y="200876"/>
                  </a:lnTo>
                  <a:lnTo>
                    <a:pt x="2475218" y="200876"/>
                  </a:lnTo>
                  <a:lnTo>
                    <a:pt x="2475218" y="200228"/>
                  </a:lnTo>
                  <a:lnTo>
                    <a:pt x="2475218" y="200876"/>
                  </a:lnTo>
                  <a:lnTo>
                    <a:pt x="2475218" y="199530"/>
                  </a:lnTo>
                  <a:lnTo>
                    <a:pt x="2475218" y="200876"/>
                  </a:lnTo>
                  <a:lnTo>
                    <a:pt x="2475319" y="200876"/>
                  </a:lnTo>
                  <a:lnTo>
                    <a:pt x="2475319" y="200228"/>
                  </a:lnTo>
                  <a:lnTo>
                    <a:pt x="2475319" y="200876"/>
                  </a:lnTo>
                  <a:lnTo>
                    <a:pt x="2475319" y="200228"/>
                  </a:lnTo>
                  <a:lnTo>
                    <a:pt x="2475319" y="200876"/>
                  </a:lnTo>
                  <a:lnTo>
                    <a:pt x="2475370" y="200876"/>
                  </a:lnTo>
                  <a:lnTo>
                    <a:pt x="2475370" y="200228"/>
                  </a:lnTo>
                  <a:lnTo>
                    <a:pt x="2475370" y="202260"/>
                  </a:lnTo>
                  <a:lnTo>
                    <a:pt x="2475370" y="200876"/>
                  </a:lnTo>
                  <a:lnTo>
                    <a:pt x="2475421" y="200876"/>
                  </a:lnTo>
                  <a:lnTo>
                    <a:pt x="2475421" y="202260"/>
                  </a:lnTo>
                  <a:lnTo>
                    <a:pt x="2475421" y="200228"/>
                  </a:lnTo>
                  <a:lnTo>
                    <a:pt x="2475421" y="200876"/>
                  </a:lnTo>
                  <a:lnTo>
                    <a:pt x="2475459" y="200876"/>
                  </a:lnTo>
                  <a:lnTo>
                    <a:pt x="2475459" y="202260"/>
                  </a:lnTo>
                  <a:lnTo>
                    <a:pt x="2475459" y="200228"/>
                  </a:lnTo>
                  <a:lnTo>
                    <a:pt x="2475561" y="200228"/>
                  </a:lnTo>
                  <a:lnTo>
                    <a:pt x="2475561" y="198831"/>
                  </a:lnTo>
                  <a:lnTo>
                    <a:pt x="2475561" y="199530"/>
                  </a:lnTo>
                  <a:lnTo>
                    <a:pt x="2475561" y="198831"/>
                  </a:lnTo>
                  <a:lnTo>
                    <a:pt x="2475612" y="197447"/>
                  </a:lnTo>
                  <a:lnTo>
                    <a:pt x="2475612" y="200228"/>
                  </a:lnTo>
                  <a:lnTo>
                    <a:pt x="2475612" y="198831"/>
                  </a:lnTo>
                  <a:lnTo>
                    <a:pt x="2475662" y="197447"/>
                  </a:lnTo>
                  <a:lnTo>
                    <a:pt x="2475662" y="202260"/>
                  </a:lnTo>
                  <a:lnTo>
                    <a:pt x="2475662" y="199530"/>
                  </a:lnTo>
                  <a:lnTo>
                    <a:pt x="2475764" y="200228"/>
                  </a:lnTo>
                  <a:lnTo>
                    <a:pt x="2475764" y="202260"/>
                  </a:lnTo>
                  <a:lnTo>
                    <a:pt x="2475764" y="200876"/>
                  </a:lnTo>
                  <a:lnTo>
                    <a:pt x="2475764" y="202260"/>
                  </a:lnTo>
                  <a:lnTo>
                    <a:pt x="2475764" y="200876"/>
                  </a:lnTo>
                  <a:lnTo>
                    <a:pt x="2475815" y="200876"/>
                  </a:lnTo>
                  <a:lnTo>
                    <a:pt x="2475815" y="202260"/>
                  </a:lnTo>
                  <a:lnTo>
                    <a:pt x="2475815" y="200876"/>
                  </a:lnTo>
                  <a:lnTo>
                    <a:pt x="2475815" y="202260"/>
                  </a:lnTo>
                  <a:lnTo>
                    <a:pt x="2475815" y="200876"/>
                  </a:lnTo>
                  <a:lnTo>
                    <a:pt x="2475865" y="202260"/>
                  </a:lnTo>
                  <a:lnTo>
                    <a:pt x="2475865" y="200876"/>
                  </a:lnTo>
                  <a:lnTo>
                    <a:pt x="2475865" y="202260"/>
                  </a:lnTo>
                  <a:lnTo>
                    <a:pt x="2475865" y="200876"/>
                  </a:lnTo>
                  <a:lnTo>
                    <a:pt x="2475865" y="202260"/>
                  </a:lnTo>
                  <a:lnTo>
                    <a:pt x="2475865" y="200876"/>
                  </a:lnTo>
                  <a:lnTo>
                    <a:pt x="2475865" y="202260"/>
                  </a:lnTo>
                  <a:lnTo>
                    <a:pt x="2475916" y="202260"/>
                  </a:lnTo>
                  <a:lnTo>
                    <a:pt x="2475916" y="200876"/>
                  </a:lnTo>
                  <a:lnTo>
                    <a:pt x="2475916" y="202260"/>
                  </a:lnTo>
                  <a:lnTo>
                    <a:pt x="2475916" y="200876"/>
                  </a:lnTo>
                  <a:lnTo>
                    <a:pt x="2476005" y="200876"/>
                  </a:lnTo>
                  <a:lnTo>
                    <a:pt x="2476005" y="200228"/>
                  </a:lnTo>
                  <a:lnTo>
                    <a:pt x="2476005" y="200876"/>
                  </a:lnTo>
                  <a:lnTo>
                    <a:pt x="2476005" y="200228"/>
                  </a:lnTo>
                  <a:lnTo>
                    <a:pt x="2476005" y="200876"/>
                  </a:lnTo>
                  <a:lnTo>
                    <a:pt x="2476005" y="199530"/>
                  </a:lnTo>
                  <a:lnTo>
                    <a:pt x="2476056" y="199530"/>
                  </a:lnTo>
                  <a:lnTo>
                    <a:pt x="2476056" y="196799"/>
                  </a:lnTo>
                  <a:lnTo>
                    <a:pt x="2476107" y="196799"/>
                  </a:lnTo>
                  <a:lnTo>
                    <a:pt x="2476107" y="199530"/>
                  </a:lnTo>
                  <a:lnTo>
                    <a:pt x="2476107" y="197447"/>
                  </a:lnTo>
                  <a:lnTo>
                    <a:pt x="2476158" y="197447"/>
                  </a:lnTo>
                  <a:lnTo>
                    <a:pt x="2476158" y="200876"/>
                  </a:lnTo>
                  <a:lnTo>
                    <a:pt x="2476158" y="198831"/>
                  </a:lnTo>
                  <a:lnTo>
                    <a:pt x="2476158" y="199530"/>
                  </a:lnTo>
                  <a:lnTo>
                    <a:pt x="2476259" y="199530"/>
                  </a:lnTo>
                  <a:lnTo>
                    <a:pt x="2476259" y="200876"/>
                  </a:lnTo>
                  <a:lnTo>
                    <a:pt x="2476259" y="200228"/>
                  </a:lnTo>
                  <a:lnTo>
                    <a:pt x="2476259" y="200876"/>
                  </a:lnTo>
                  <a:lnTo>
                    <a:pt x="2476259" y="200228"/>
                  </a:lnTo>
                  <a:lnTo>
                    <a:pt x="2476310" y="200228"/>
                  </a:lnTo>
                  <a:lnTo>
                    <a:pt x="2476310" y="200876"/>
                  </a:lnTo>
                  <a:lnTo>
                    <a:pt x="2476310" y="200228"/>
                  </a:lnTo>
                  <a:lnTo>
                    <a:pt x="2476310" y="200876"/>
                  </a:lnTo>
                  <a:lnTo>
                    <a:pt x="2476361" y="200876"/>
                  </a:lnTo>
                  <a:lnTo>
                    <a:pt x="2476361" y="202260"/>
                  </a:lnTo>
                  <a:lnTo>
                    <a:pt x="2476361" y="200876"/>
                  </a:lnTo>
                  <a:lnTo>
                    <a:pt x="2476462" y="200876"/>
                  </a:lnTo>
                  <a:lnTo>
                    <a:pt x="2476462" y="202260"/>
                  </a:lnTo>
                  <a:lnTo>
                    <a:pt x="2476462" y="200876"/>
                  </a:lnTo>
                  <a:lnTo>
                    <a:pt x="2476462" y="202260"/>
                  </a:lnTo>
                  <a:lnTo>
                    <a:pt x="2476462" y="200876"/>
                  </a:lnTo>
                  <a:lnTo>
                    <a:pt x="2476462" y="202260"/>
                  </a:lnTo>
                  <a:lnTo>
                    <a:pt x="2476462" y="200876"/>
                  </a:lnTo>
                  <a:lnTo>
                    <a:pt x="2476500" y="200876"/>
                  </a:lnTo>
                  <a:lnTo>
                    <a:pt x="2476500" y="200228"/>
                  </a:lnTo>
                  <a:lnTo>
                    <a:pt x="2476500" y="200876"/>
                  </a:lnTo>
                  <a:lnTo>
                    <a:pt x="2476500" y="199530"/>
                  </a:lnTo>
                  <a:lnTo>
                    <a:pt x="2476551" y="199530"/>
                  </a:lnTo>
                  <a:lnTo>
                    <a:pt x="2476551" y="197447"/>
                  </a:lnTo>
                  <a:lnTo>
                    <a:pt x="2476551" y="199530"/>
                  </a:lnTo>
                  <a:lnTo>
                    <a:pt x="2476602" y="199530"/>
                  </a:lnTo>
                  <a:lnTo>
                    <a:pt x="2476602" y="196799"/>
                  </a:lnTo>
                  <a:lnTo>
                    <a:pt x="2476602" y="200876"/>
                  </a:lnTo>
                  <a:lnTo>
                    <a:pt x="2476704" y="200876"/>
                  </a:lnTo>
                  <a:lnTo>
                    <a:pt x="2476704" y="198831"/>
                  </a:lnTo>
                  <a:lnTo>
                    <a:pt x="2476704" y="200876"/>
                  </a:lnTo>
                  <a:lnTo>
                    <a:pt x="2476755" y="200876"/>
                  </a:lnTo>
                  <a:lnTo>
                    <a:pt x="2476755" y="199530"/>
                  </a:lnTo>
                  <a:lnTo>
                    <a:pt x="2476755" y="200228"/>
                  </a:lnTo>
                  <a:lnTo>
                    <a:pt x="2476755" y="199530"/>
                  </a:lnTo>
                  <a:lnTo>
                    <a:pt x="2476755" y="200228"/>
                  </a:lnTo>
                  <a:lnTo>
                    <a:pt x="2476755" y="199530"/>
                  </a:lnTo>
                  <a:lnTo>
                    <a:pt x="2476755" y="200228"/>
                  </a:lnTo>
                  <a:lnTo>
                    <a:pt x="2476755" y="199530"/>
                  </a:lnTo>
                  <a:lnTo>
                    <a:pt x="2476805" y="199530"/>
                  </a:lnTo>
                  <a:lnTo>
                    <a:pt x="2476805" y="200228"/>
                  </a:lnTo>
                  <a:lnTo>
                    <a:pt x="2476805" y="199530"/>
                  </a:lnTo>
                  <a:lnTo>
                    <a:pt x="2476805" y="200228"/>
                  </a:lnTo>
                  <a:lnTo>
                    <a:pt x="2476805" y="199530"/>
                  </a:lnTo>
                  <a:lnTo>
                    <a:pt x="2476805" y="200228"/>
                  </a:lnTo>
                  <a:lnTo>
                    <a:pt x="2476805" y="199530"/>
                  </a:lnTo>
                  <a:lnTo>
                    <a:pt x="2476805" y="200228"/>
                  </a:lnTo>
                  <a:lnTo>
                    <a:pt x="2476907" y="200228"/>
                  </a:lnTo>
                  <a:lnTo>
                    <a:pt x="2476907" y="199530"/>
                  </a:lnTo>
                  <a:lnTo>
                    <a:pt x="2476907" y="200876"/>
                  </a:lnTo>
                  <a:lnTo>
                    <a:pt x="2476907" y="200228"/>
                  </a:lnTo>
                  <a:lnTo>
                    <a:pt x="2476907" y="200876"/>
                  </a:lnTo>
                  <a:lnTo>
                    <a:pt x="2476907" y="200228"/>
                  </a:lnTo>
                  <a:lnTo>
                    <a:pt x="2476907" y="200876"/>
                  </a:lnTo>
                  <a:lnTo>
                    <a:pt x="2476907" y="200228"/>
                  </a:lnTo>
                  <a:lnTo>
                    <a:pt x="2476958" y="200228"/>
                  </a:lnTo>
                  <a:lnTo>
                    <a:pt x="2476958" y="200876"/>
                  </a:lnTo>
                  <a:lnTo>
                    <a:pt x="2476958" y="200228"/>
                  </a:lnTo>
                  <a:lnTo>
                    <a:pt x="2476958" y="200876"/>
                  </a:lnTo>
                  <a:lnTo>
                    <a:pt x="2476958" y="200228"/>
                  </a:lnTo>
                  <a:lnTo>
                    <a:pt x="2477009" y="200228"/>
                  </a:lnTo>
                  <a:lnTo>
                    <a:pt x="2477009" y="199530"/>
                  </a:lnTo>
                  <a:lnTo>
                    <a:pt x="2477009" y="200228"/>
                  </a:lnTo>
                  <a:lnTo>
                    <a:pt x="2477009" y="198831"/>
                  </a:lnTo>
                  <a:lnTo>
                    <a:pt x="2477009" y="199530"/>
                  </a:lnTo>
                  <a:lnTo>
                    <a:pt x="2477009" y="198831"/>
                  </a:lnTo>
                  <a:lnTo>
                    <a:pt x="2477047" y="198831"/>
                  </a:lnTo>
                  <a:lnTo>
                    <a:pt x="2477047" y="197447"/>
                  </a:lnTo>
                  <a:lnTo>
                    <a:pt x="2477047" y="198831"/>
                  </a:lnTo>
                  <a:lnTo>
                    <a:pt x="2477047" y="197447"/>
                  </a:lnTo>
                  <a:lnTo>
                    <a:pt x="2477047" y="199530"/>
                  </a:lnTo>
                  <a:lnTo>
                    <a:pt x="2477047" y="198831"/>
                  </a:lnTo>
                  <a:lnTo>
                    <a:pt x="2477148" y="198831"/>
                  </a:lnTo>
                  <a:lnTo>
                    <a:pt x="2477148" y="197447"/>
                  </a:lnTo>
                  <a:lnTo>
                    <a:pt x="2477148" y="202260"/>
                  </a:lnTo>
                  <a:lnTo>
                    <a:pt x="2477148" y="200228"/>
                  </a:lnTo>
                  <a:lnTo>
                    <a:pt x="2477199" y="199530"/>
                  </a:lnTo>
                  <a:lnTo>
                    <a:pt x="2477199" y="200876"/>
                  </a:lnTo>
                  <a:lnTo>
                    <a:pt x="2477199" y="200228"/>
                  </a:lnTo>
                  <a:lnTo>
                    <a:pt x="2477199" y="200876"/>
                  </a:lnTo>
                  <a:lnTo>
                    <a:pt x="2477199" y="199530"/>
                  </a:lnTo>
                  <a:lnTo>
                    <a:pt x="2477250" y="199530"/>
                  </a:lnTo>
                  <a:lnTo>
                    <a:pt x="2477250" y="200876"/>
                  </a:lnTo>
                  <a:lnTo>
                    <a:pt x="2477250" y="200228"/>
                  </a:lnTo>
                  <a:lnTo>
                    <a:pt x="2477250" y="200876"/>
                  </a:lnTo>
                  <a:lnTo>
                    <a:pt x="2477250" y="199530"/>
                  </a:lnTo>
                  <a:lnTo>
                    <a:pt x="2477351" y="199530"/>
                  </a:lnTo>
                  <a:lnTo>
                    <a:pt x="2477351" y="200876"/>
                  </a:lnTo>
                  <a:lnTo>
                    <a:pt x="2477351" y="200228"/>
                  </a:lnTo>
                  <a:lnTo>
                    <a:pt x="2477351" y="200876"/>
                  </a:lnTo>
                  <a:lnTo>
                    <a:pt x="2477402" y="200876"/>
                  </a:lnTo>
                  <a:lnTo>
                    <a:pt x="2477402" y="202260"/>
                  </a:lnTo>
                  <a:lnTo>
                    <a:pt x="2477402" y="200876"/>
                  </a:lnTo>
                  <a:lnTo>
                    <a:pt x="2477453" y="200876"/>
                  </a:lnTo>
                  <a:lnTo>
                    <a:pt x="2477453" y="202260"/>
                  </a:lnTo>
                  <a:lnTo>
                    <a:pt x="2477453" y="200228"/>
                  </a:lnTo>
                  <a:lnTo>
                    <a:pt x="2477453" y="200876"/>
                  </a:lnTo>
                  <a:lnTo>
                    <a:pt x="2477453" y="200228"/>
                  </a:lnTo>
                  <a:lnTo>
                    <a:pt x="2477504" y="200228"/>
                  </a:lnTo>
                  <a:lnTo>
                    <a:pt x="2477504" y="199530"/>
                  </a:lnTo>
                  <a:lnTo>
                    <a:pt x="2477504" y="200228"/>
                  </a:lnTo>
                  <a:lnTo>
                    <a:pt x="2477504" y="199530"/>
                  </a:lnTo>
                  <a:lnTo>
                    <a:pt x="2477504" y="202260"/>
                  </a:lnTo>
                  <a:lnTo>
                    <a:pt x="2477593" y="200876"/>
                  </a:lnTo>
                  <a:lnTo>
                    <a:pt x="2477593" y="200228"/>
                  </a:lnTo>
                  <a:lnTo>
                    <a:pt x="2477593" y="204292"/>
                  </a:lnTo>
                  <a:lnTo>
                    <a:pt x="2477593" y="202959"/>
                  </a:lnTo>
                  <a:lnTo>
                    <a:pt x="2477644" y="202959"/>
                  </a:lnTo>
                  <a:lnTo>
                    <a:pt x="2477644" y="202260"/>
                  </a:lnTo>
                  <a:lnTo>
                    <a:pt x="2477644" y="202959"/>
                  </a:lnTo>
                  <a:lnTo>
                    <a:pt x="2477644" y="202260"/>
                  </a:lnTo>
                  <a:lnTo>
                    <a:pt x="2477644" y="203594"/>
                  </a:lnTo>
                  <a:lnTo>
                    <a:pt x="2477644" y="202959"/>
                  </a:lnTo>
                  <a:lnTo>
                    <a:pt x="2477745" y="202959"/>
                  </a:lnTo>
                  <a:lnTo>
                    <a:pt x="2477745" y="203594"/>
                  </a:lnTo>
                  <a:lnTo>
                    <a:pt x="2477745" y="202260"/>
                  </a:lnTo>
                  <a:lnTo>
                    <a:pt x="2477745" y="202959"/>
                  </a:lnTo>
                  <a:lnTo>
                    <a:pt x="2477745" y="202260"/>
                  </a:lnTo>
                  <a:lnTo>
                    <a:pt x="2477745" y="202959"/>
                  </a:lnTo>
                  <a:lnTo>
                    <a:pt x="2477847" y="202260"/>
                  </a:lnTo>
                  <a:lnTo>
                    <a:pt x="2477847" y="202959"/>
                  </a:lnTo>
                  <a:lnTo>
                    <a:pt x="2477847" y="200876"/>
                  </a:lnTo>
                  <a:lnTo>
                    <a:pt x="2477847" y="202260"/>
                  </a:lnTo>
                  <a:lnTo>
                    <a:pt x="2477847" y="200876"/>
                  </a:lnTo>
                  <a:lnTo>
                    <a:pt x="2477897" y="200876"/>
                  </a:lnTo>
                  <a:lnTo>
                    <a:pt x="2477897" y="199530"/>
                  </a:lnTo>
                  <a:lnTo>
                    <a:pt x="2477948" y="199530"/>
                  </a:lnTo>
                  <a:lnTo>
                    <a:pt x="2477948" y="200228"/>
                  </a:lnTo>
                  <a:lnTo>
                    <a:pt x="2477948" y="197447"/>
                  </a:lnTo>
                  <a:lnTo>
                    <a:pt x="2478050" y="197447"/>
                  </a:lnTo>
                  <a:lnTo>
                    <a:pt x="2478050" y="200228"/>
                  </a:lnTo>
                  <a:lnTo>
                    <a:pt x="2478050" y="198831"/>
                  </a:lnTo>
                  <a:lnTo>
                    <a:pt x="2478050" y="199530"/>
                  </a:lnTo>
                  <a:lnTo>
                    <a:pt x="2478088" y="199530"/>
                  </a:lnTo>
                  <a:lnTo>
                    <a:pt x="2478088" y="202959"/>
                  </a:lnTo>
                  <a:lnTo>
                    <a:pt x="2478088" y="200228"/>
                  </a:lnTo>
                  <a:lnTo>
                    <a:pt x="2478088" y="200876"/>
                  </a:lnTo>
                  <a:lnTo>
                    <a:pt x="2478139" y="202260"/>
                  </a:lnTo>
                  <a:lnTo>
                    <a:pt x="2478139" y="202959"/>
                  </a:lnTo>
                  <a:lnTo>
                    <a:pt x="2478139" y="200876"/>
                  </a:lnTo>
                  <a:lnTo>
                    <a:pt x="2478139" y="202260"/>
                  </a:lnTo>
                  <a:lnTo>
                    <a:pt x="2478190" y="202260"/>
                  </a:lnTo>
                  <a:lnTo>
                    <a:pt x="2478190" y="202959"/>
                  </a:lnTo>
                  <a:lnTo>
                    <a:pt x="2478190" y="200876"/>
                  </a:lnTo>
                  <a:lnTo>
                    <a:pt x="2478190" y="202959"/>
                  </a:lnTo>
                  <a:lnTo>
                    <a:pt x="2478190" y="202260"/>
                  </a:lnTo>
                  <a:lnTo>
                    <a:pt x="2478291" y="202260"/>
                  </a:lnTo>
                  <a:lnTo>
                    <a:pt x="2478291" y="202959"/>
                  </a:lnTo>
                  <a:lnTo>
                    <a:pt x="2478291" y="202260"/>
                  </a:lnTo>
                  <a:lnTo>
                    <a:pt x="2478291" y="202959"/>
                  </a:lnTo>
                  <a:lnTo>
                    <a:pt x="2478291" y="202260"/>
                  </a:lnTo>
                  <a:lnTo>
                    <a:pt x="2478342" y="202959"/>
                  </a:lnTo>
                  <a:lnTo>
                    <a:pt x="2478342" y="202260"/>
                  </a:lnTo>
                  <a:lnTo>
                    <a:pt x="2478342" y="202959"/>
                  </a:lnTo>
                  <a:lnTo>
                    <a:pt x="2478342" y="200876"/>
                  </a:lnTo>
                  <a:lnTo>
                    <a:pt x="2478342" y="202260"/>
                  </a:lnTo>
                  <a:lnTo>
                    <a:pt x="2478342" y="200876"/>
                  </a:lnTo>
                  <a:lnTo>
                    <a:pt x="2478342" y="202260"/>
                  </a:lnTo>
                  <a:lnTo>
                    <a:pt x="2478342" y="200876"/>
                  </a:lnTo>
                  <a:lnTo>
                    <a:pt x="2478393" y="202260"/>
                  </a:lnTo>
                  <a:lnTo>
                    <a:pt x="2478393" y="199530"/>
                  </a:lnTo>
                  <a:lnTo>
                    <a:pt x="2478393" y="200228"/>
                  </a:lnTo>
                  <a:lnTo>
                    <a:pt x="2478393" y="199530"/>
                  </a:lnTo>
                  <a:lnTo>
                    <a:pt x="2478494" y="198831"/>
                  </a:lnTo>
                  <a:lnTo>
                    <a:pt x="2478494" y="197447"/>
                  </a:lnTo>
                  <a:lnTo>
                    <a:pt x="2478494" y="199530"/>
                  </a:lnTo>
                  <a:lnTo>
                    <a:pt x="2478545" y="199530"/>
                  </a:lnTo>
                  <a:lnTo>
                    <a:pt x="2478545" y="196799"/>
                  </a:lnTo>
                  <a:lnTo>
                    <a:pt x="2478545" y="200228"/>
                  </a:lnTo>
                  <a:lnTo>
                    <a:pt x="2478596" y="200876"/>
                  </a:lnTo>
                  <a:lnTo>
                    <a:pt x="2478596" y="198831"/>
                  </a:lnTo>
                  <a:lnTo>
                    <a:pt x="2478596" y="200228"/>
                  </a:lnTo>
                  <a:lnTo>
                    <a:pt x="2478634" y="200228"/>
                  </a:lnTo>
                  <a:lnTo>
                    <a:pt x="2478634" y="200876"/>
                  </a:lnTo>
                  <a:lnTo>
                    <a:pt x="2478634" y="199530"/>
                  </a:lnTo>
                  <a:lnTo>
                    <a:pt x="2478634" y="200228"/>
                  </a:lnTo>
                  <a:lnTo>
                    <a:pt x="2478634" y="199530"/>
                  </a:lnTo>
                  <a:lnTo>
                    <a:pt x="2478634" y="200876"/>
                  </a:lnTo>
                  <a:lnTo>
                    <a:pt x="2478736" y="200876"/>
                  </a:lnTo>
                  <a:lnTo>
                    <a:pt x="2478736" y="200228"/>
                  </a:lnTo>
                  <a:lnTo>
                    <a:pt x="2478736" y="202260"/>
                  </a:lnTo>
                  <a:lnTo>
                    <a:pt x="2478736" y="200876"/>
                  </a:lnTo>
                  <a:lnTo>
                    <a:pt x="2478787" y="200876"/>
                  </a:lnTo>
                  <a:lnTo>
                    <a:pt x="2478787" y="202959"/>
                  </a:lnTo>
                  <a:lnTo>
                    <a:pt x="2478787" y="200876"/>
                  </a:lnTo>
                  <a:lnTo>
                    <a:pt x="2478837" y="200876"/>
                  </a:lnTo>
                  <a:lnTo>
                    <a:pt x="2478837" y="202260"/>
                  </a:lnTo>
                  <a:lnTo>
                    <a:pt x="2478837" y="200876"/>
                  </a:lnTo>
                  <a:lnTo>
                    <a:pt x="2478837" y="202260"/>
                  </a:lnTo>
                  <a:lnTo>
                    <a:pt x="2478837" y="200876"/>
                  </a:lnTo>
                  <a:lnTo>
                    <a:pt x="2478939" y="200228"/>
                  </a:lnTo>
                  <a:lnTo>
                    <a:pt x="2478939" y="199530"/>
                  </a:lnTo>
                  <a:lnTo>
                    <a:pt x="2478939" y="200228"/>
                  </a:lnTo>
                  <a:lnTo>
                    <a:pt x="2478939" y="197447"/>
                  </a:lnTo>
                  <a:lnTo>
                    <a:pt x="2478990" y="197447"/>
                  </a:lnTo>
                  <a:lnTo>
                    <a:pt x="2478990" y="198831"/>
                  </a:lnTo>
                  <a:lnTo>
                    <a:pt x="2478990" y="196799"/>
                  </a:lnTo>
                  <a:lnTo>
                    <a:pt x="2478990" y="197447"/>
                  </a:lnTo>
                  <a:lnTo>
                    <a:pt x="2478990" y="196113"/>
                  </a:lnTo>
                  <a:lnTo>
                    <a:pt x="2479040" y="196113"/>
                  </a:lnTo>
                  <a:lnTo>
                    <a:pt x="2479040" y="197447"/>
                  </a:lnTo>
                  <a:lnTo>
                    <a:pt x="2479040" y="196113"/>
                  </a:lnTo>
                  <a:lnTo>
                    <a:pt x="2479040" y="197447"/>
                  </a:lnTo>
                  <a:lnTo>
                    <a:pt x="2479091" y="197447"/>
                  </a:lnTo>
                  <a:lnTo>
                    <a:pt x="2479091" y="198831"/>
                  </a:lnTo>
                  <a:lnTo>
                    <a:pt x="2479091" y="196799"/>
                  </a:lnTo>
                  <a:lnTo>
                    <a:pt x="2479091" y="198831"/>
                  </a:lnTo>
                  <a:lnTo>
                    <a:pt x="2479091" y="197447"/>
                  </a:lnTo>
                  <a:lnTo>
                    <a:pt x="2479091" y="198831"/>
                  </a:lnTo>
                  <a:lnTo>
                    <a:pt x="2479180" y="198831"/>
                  </a:lnTo>
                  <a:lnTo>
                    <a:pt x="2479180" y="197447"/>
                  </a:lnTo>
                  <a:lnTo>
                    <a:pt x="2479180" y="199530"/>
                  </a:lnTo>
                  <a:lnTo>
                    <a:pt x="2479231" y="199530"/>
                  </a:lnTo>
                  <a:lnTo>
                    <a:pt x="2479231" y="198831"/>
                  </a:lnTo>
                  <a:lnTo>
                    <a:pt x="2479231" y="200228"/>
                  </a:lnTo>
                  <a:lnTo>
                    <a:pt x="2479282" y="200228"/>
                  </a:lnTo>
                  <a:lnTo>
                    <a:pt x="2479282" y="200876"/>
                  </a:lnTo>
                  <a:lnTo>
                    <a:pt x="2479333" y="200876"/>
                  </a:lnTo>
                  <a:lnTo>
                    <a:pt x="2479333" y="200228"/>
                  </a:lnTo>
                  <a:lnTo>
                    <a:pt x="2479333" y="200876"/>
                  </a:lnTo>
                  <a:lnTo>
                    <a:pt x="2479333" y="200228"/>
                  </a:lnTo>
                  <a:lnTo>
                    <a:pt x="2479333" y="200876"/>
                  </a:lnTo>
                  <a:lnTo>
                    <a:pt x="2479333" y="200228"/>
                  </a:lnTo>
                  <a:lnTo>
                    <a:pt x="2479333" y="200876"/>
                  </a:lnTo>
                  <a:lnTo>
                    <a:pt x="2479434" y="200228"/>
                  </a:lnTo>
                  <a:lnTo>
                    <a:pt x="2479434" y="198831"/>
                  </a:lnTo>
                  <a:lnTo>
                    <a:pt x="2479434" y="199530"/>
                  </a:lnTo>
                  <a:lnTo>
                    <a:pt x="2479434" y="198831"/>
                  </a:lnTo>
                  <a:lnTo>
                    <a:pt x="2479485" y="198831"/>
                  </a:lnTo>
                  <a:lnTo>
                    <a:pt x="2479485" y="196799"/>
                  </a:lnTo>
                  <a:lnTo>
                    <a:pt x="2479536" y="196799"/>
                  </a:lnTo>
                  <a:lnTo>
                    <a:pt x="2479536" y="195415"/>
                  </a:lnTo>
                  <a:lnTo>
                    <a:pt x="2479536" y="198831"/>
                  </a:lnTo>
                  <a:lnTo>
                    <a:pt x="2479536" y="197447"/>
                  </a:lnTo>
                  <a:lnTo>
                    <a:pt x="2479637" y="197447"/>
                  </a:lnTo>
                  <a:lnTo>
                    <a:pt x="2479637" y="196799"/>
                  </a:lnTo>
                  <a:lnTo>
                    <a:pt x="2479637" y="197447"/>
                  </a:lnTo>
                  <a:lnTo>
                    <a:pt x="2479637" y="196799"/>
                  </a:lnTo>
                  <a:lnTo>
                    <a:pt x="2479637" y="197447"/>
                  </a:lnTo>
                  <a:lnTo>
                    <a:pt x="2479675" y="197447"/>
                  </a:lnTo>
                  <a:lnTo>
                    <a:pt x="2479675" y="196799"/>
                  </a:lnTo>
                  <a:lnTo>
                    <a:pt x="2479675" y="197447"/>
                  </a:lnTo>
                  <a:lnTo>
                    <a:pt x="2479675" y="196799"/>
                  </a:lnTo>
                  <a:lnTo>
                    <a:pt x="2479675" y="197447"/>
                  </a:lnTo>
                  <a:lnTo>
                    <a:pt x="2479675" y="196799"/>
                  </a:lnTo>
                  <a:lnTo>
                    <a:pt x="2479675" y="197447"/>
                  </a:lnTo>
                  <a:lnTo>
                    <a:pt x="2479726" y="197447"/>
                  </a:lnTo>
                  <a:lnTo>
                    <a:pt x="2479726" y="198831"/>
                  </a:lnTo>
                  <a:lnTo>
                    <a:pt x="2479777" y="198831"/>
                  </a:lnTo>
                  <a:lnTo>
                    <a:pt x="2479777" y="199530"/>
                  </a:lnTo>
                  <a:lnTo>
                    <a:pt x="2479777" y="198831"/>
                  </a:lnTo>
                  <a:lnTo>
                    <a:pt x="2479777" y="199530"/>
                  </a:lnTo>
                  <a:lnTo>
                    <a:pt x="2479777" y="198831"/>
                  </a:lnTo>
                  <a:lnTo>
                    <a:pt x="2479879" y="199530"/>
                  </a:lnTo>
                  <a:lnTo>
                    <a:pt x="2479879" y="198831"/>
                  </a:lnTo>
                  <a:lnTo>
                    <a:pt x="2479879" y="199530"/>
                  </a:lnTo>
                  <a:lnTo>
                    <a:pt x="2479879" y="198831"/>
                  </a:lnTo>
                  <a:lnTo>
                    <a:pt x="2479879" y="199530"/>
                  </a:lnTo>
                  <a:lnTo>
                    <a:pt x="2479879" y="198831"/>
                  </a:lnTo>
                  <a:lnTo>
                    <a:pt x="2479930" y="199530"/>
                  </a:lnTo>
                  <a:lnTo>
                    <a:pt x="2479930" y="198831"/>
                  </a:lnTo>
                  <a:lnTo>
                    <a:pt x="2479930" y="199530"/>
                  </a:lnTo>
                  <a:lnTo>
                    <a:pt x="2479930" y="197447"/>
                  </a:lnTo>
                  <a:lnTo>
                    <a:pt x="2479980" y="197447"/>
                  </a:lnTo>
                  <a:lnTo>
                    <a:pt x="2479980" y="196799"/>
                  </a:lnTo>
                  <a:lnTo>
                    <a:pt x="2479980" y="197447"/>
                  </a:lnTo>
                  <a:lnTo>
                    <a:pt x="2479980" y="196799"/>
                  </a:lnTo>
                  <a:lnTo>
                    <a:pt x="2479980" y="198831"/>
                  </a:lnTo>
                  <a:lnTo>
                    <a:pt x="2480082" y="198831"/>
                  </a:lnTo>
                  <a:lnTo>
                    <a:pt x="2480082" y="197447"/>
                  </a:lnTo>
                  <a:lnTo>
                    <a:pt x="2480082" y="199530"/>
                  </a:lnTo>
                  <a:lnTo>
                    <a:pt x="2480082" y="198831"/>
                  </a:lnTo>
                  <a:lnTo>
                    <a:pt x="2480082" y="199530"/>
                  </a:lnTo>
                  <a:lnTo>
                    <a:pt x="2480133" y="198831"/>
                  </a:lnTo>
                  <a:lnTo>
                    <a:pt x="2480184" y="198831"/>
                  </a:lnTo>
                  <a:lnTo>
                    <a:pt x="2480184" y="197447"/>
                  </a:lnTo>
                  <a:lnTo>
                    <a:pt x="2480184" y="198831"/>
                  </a:lnTo>
                  <a:lnTo>
                    <a:pt x="2480222" y="198831"/>
                  </a:lnTo>
                  <a:lnTo>
                    <a:pt x="2480222" y="199530"/>
                  </a:lnTo>
                  <a:lnTo>
                    <a:pt x="2480222" y="198831"/>
                  </a:lnTo>
                  <a:lnTo>
                    <a:pt x="2480222" y="199530"/>
                  </a:lnTo>
                  <a:lnTo>
                    <a:pt x="2480222" y="198831"/>
                  </a:lnTo>
                  <a:lnTo>
                    <a:pt x="2480222" y="199530"/>
                  </a:lnTo>
                  <a:lnTo>
                    <a:pt x="2480222" y="198831"/>
                  </a:lnTo>
                  <a:lnTo>
                    <a:pt x="2480323" y="198831"/>
                  </a:lnTo>
                  <a:lnTo>
                    <a:pt x="2480323" y="199530"/>
                  </a:lnTo>
                  <a:lnTo>
                    <a:pt x="2480323" y="198831"/>
                  </a:lnTo>
                  <a:lnTo>
                    <a:pt x="2480323" y="199530"/>
                  </a:lnTo>
                  <a:lnTo>
                    <a:pt x="2480374" y="199530"/>
                  </a:lnTo>
                  <a:lnTo>
                    <a:pt x="2480374" y="198831"/>
                  </a:lnTo>
                  <a:lnTo>
                    <a:pt x="2480374" y="199530"/>
                  </a:lnTo>
                  <a:lnTo>
                    <a:pt x="2480374" y="198831"/>
                  </a:lnTo>
                  <a:lnTo>
                    <a:pt x="2480425" y="198831"/>
                  </a:lnTo>
                  <a:lnTo>
                    <a:pt x="2480425" y="197447"/>
                  </a:lnTo>
                  <a:lnTo>
                    <a:pt x="2480425" y="198831"/>
                  </a:lnTo>
                  <a:lnTo>
                    <a:pt x="2480425" y="197447"/>
                  </a:lnTo>
                  <a:lnTo>
                    <a:pt x="2480425" y="198831"/>
                  </a:lnTo>
                  <a:lnTo>
                    <a:pt x="2480425" y="196799"/>
                  </a:lnTo>
                  <a:lnTo>
                    <a:pt x="2480526" y="196799"/>
                  </a:lnTo>
                  <a:lnTo>
                    <a:pt x="2480526" y="197447"/>
                  </a:lnTo>
                  <a:lnTo>
                    <a:pt x="2480526" y="195415"/>
                  </a:lnTo>
                  <a:lnTo>
                    <a:pt x="2480526" y="196799"/>
                  </a:lnTo>
                  <a:lnTo>
                    <a:pt x="2480526" y="196113"/>
                  </a:lnTo>
                  <a:lnTo>
                    <a:pt x="2480577" y="196799"/>
                  </a:lnTo>
                  <a:lnTo>
                    <a:pt x="2480577" y="197447"/>
                  </a:lnTo>
                  <a:lnTo>
                    <a:pt x="2480577" y="196113"/>
                  </a:lnTo>
                  <a:lnTo>
                    <a:pt x="2480577" y="197447"/>
                  </a:lnTo>
                  <a:lnTo>
                    <a:pt x="2480628" y="197447"/>
                  </a:lnTo>
                  <a:lnTo>
                    <a:pt x="2480628" y="198831"/>
                  </a:lnTo>
                  <a:lnTo>
                    <a:pt x="2480628" y="196799"/>
                  </a:lnTo>
                  <a:lnTo>
                    <a:pt x="2480628" y="198831"/>
                  </a:lnTo>
                  <a:lnTo>
                    <a:pt x="2480679" y="198831"/>
                  </a:lnTo>
                  <a:lnTo>
                    <a:pt x="2480679" y="197447"/>
                  </a:lnTo>
                  <a:lnTo>
                    <a:pt x="2480679" y="198831"/>
                  </a:lnTo>
                  <a:lnTo>
                    <a:pt x="2480768" y="198831"/>
                  </a:lnTo>
                  <a:lnTo>
                    <a:pt x="2480768" y="199530"/>
                  </a:lnTo>
                  <a:lnTo>
                    <a:pt x="2480768" y="198831"/>
                  </a:lnTo>
                  <a:lnTo>
                    <a:pt x="2480819" y="198831"/>
                  </a:lnTo>
                  <a:lnTo>
                    <a:pt x="2480819" y="197447"/>
                  </a:lnTo>
                  <a:lnTo>
                    <a:pt x="2480819" y="198831"/>
                  </a:lnTo>
                  <a:lnTo>
                    <a:pt x="2480869" y="198831"/>
                  </a:lnTo>
                  <a:lnTo>
                    <a:pt x="2480920" y="197447"/>
                  </a:lnTo>
                  <a:lnTo>
                    <a:pt x="2480920" y="196113"/>
                  </a:lnTo>
                  <a:lnTo>
                    <a:pt x="2481022" y="196113"/>
                  </a:lnTo>
                  <a:lnTo>
                    <a:pt x="2481022" y="194716"/>
                  </a:lnTo>
                  <a:lnTo>
                    <a:pt x="2481072" y="194716"/>
                  </a:lnTo>
                  <a:lnTo>
                    <a:pt x="2481072" y="196113"/>
                  </a:lnTo>
                  <a:lnTo>
                    <a:pt x="2481072" y="194716"/>
                  </a:lnTo>
                  <a:lnTo>
                    <a:pt x="2481072" y="196113"/>
                  </a:lnTo>
                  <a:lnTo>
                    <a:pt x="2481123" y="196799"/>
                  </a:lnTo>
                  <a:lnTo>
                    <a:pt x="2481123" y="195415"/>
                  </a:lnTo>
                  <a:lnTo>
                    <a:pt x="2481123" y="197447"/>
                  </a:lnTo>
                  <a:lnTo>
                    <a:pt x="2481225" y="197447"/>
                  </a:lnTo>
                  <a:lnTo>
                    <a:pt x="2481225" y="196799"/>
                  </a:lnTo>
                  <a:lnTo>
                    <a:pt x="2481225" y="197447"/>
                  </a:lnTo>
                  <a:lnTo>
                    <a:pt x="2481225" y="196799"/>
                  </a:lnTo>
                  <a:lnTo>
                    <a:pt x="2481225" y="197447"/>
                  </a:lnTo>
                  <a:lnTo>
                    <a:pt x="2481263" y="197447"/>
                  </a:lnTo>
                  <a:lnTo>
                    <a:pt x="2481263" y="198831"/>
                  </a:lnTo>
                  <a:lnTo>
                    <a:pt x="2481263" y="197447"/>
                  </a:lnTo>
                  <a:lnTo>
                    <a:pt x="2481263" y="198831"/>
                  </a:lnTo>
                  <a:lnTo>
                    <a:pt x="2481365" y="198831"/>
                  </a:lnTo>
                  <a:lnTo>
                    <a:pt x="2481365" y="199530"/>
                  </a:lnTo>
                  <a:lnTo>
                    <a:pt x="2481365" y="198831"/>
                  </a:lnTo>
                  <a:lnTo>
                    <a:pt x="2481466" y="198831"/>
                  </a:lnTo>
                  <a:lnTo>
                    <a:pt x="2481466" y="199530"/>
                  </a:lnTo>
                  <a:lnTo>
                    <a:pt x="2481466" y="197447"/>
                  </a:lnTo>
                  <a:lnTo>
                    <a:pt x="2481517" y="197447"/>
                  </a:lnTo>
                  <a:lnTo>
                    <a:pt x="2481517" y="196799"/>
                  </a:lnTo>
                  <a:lnTo>
                    <a:pt x="2481517" y="197447"/>
                  </a:lnTo>
                  <a:lnTo>
                    <a:pt x="2481517" y="195415"/>
                  </a:lnTo>
                  <a:lnTo>
                    <a:pt x="2481517" y="196113"/>
                  </a:lnTo>
                  <a:lnTo>
                    <a:pt x="2481568" y="196113"/>
                  </a:lnTo>
                  <a:lnTo>
                    <a:pt x="2481568" y="195415"/>
                  </a:lnTo>
                  <a:lnTo>
                    <a:pt x="2481568" y="196113"/>
                  </a:lnTo>
                  <a:lnTo>
                    <a:pt x="2481568" y="194716"/>
                  </a:lnTo>
                  <a:lnTo>
                    <a:pt x="2481568" y="196799"/>
                  </a:lnTo>
                  <a:lnTo>
                    <a:pt x="2481669" y="196799"/>
                  </a:lnTo>
                  <a:lnTo>
                    <a:pt x="2481669" y="196113"/>
                  </a:lnTo>
                  <a:lnTo>
                    <a:pt x="2481669" y="197447"/>
                  </a:lnTo>
                  <a:lnTo>
                    <a:pt x="2481720" y="197447"/>
                  </a:lnTo>
                  <a:lnTo>
                    <a:pt x="2481720" y="196799"/>
                  </a:lnTo>
                  <a:lnTo>
                    <a:pt x="2481720" y="198831"/>
                  </a:lnTo>
                  <a:lnTo>
                    <a:pt x="2481771" y="197447"/>
                  </a:lnTo>
                  <a:lnTo>
                    <a:pt x="2481771" y="196799"/>
                  </a:lnTo>
                  <a:lnTo>
                    <a:pt x="2481771" y="198831"/>
                  </a:lnTo>
                  <a:lnTo>
                    <a:pt x="2481771" y="197447"/>
                  </a:lnTo>
                  <a:lnTo>
                    <a:pt x="2481809" y="198831"/>
                  </a:lnTo>
                  <a:lnTo>
                    <a:pt x="2481809" y="197447"/>
                  </a:lnTo>
                  <a:lnTo>
                    <a:pt x="2481809" y="199530"/>
                  </a:lnTo>
                  <a:lnTo>
                    <a:pt x="2481809" y="198831"/>
                  </a:lnTo>
                  <a:lnTo>
                    <a:pt x="2481911" y="198831"/>
                  </a:lnTo>
                  <a:lnTo>
                    <a:pt x="2481911" y="199530"/>
                  </a:lnTo>
                  <a:lnTo>
                    <a:pt x="2481911" y="198831"/>
                  </a:lnTo>
                  <a:lnTo>
                    <a:pt x="2481911" y="199530"/>
                  </a:lnTo>
                  <a:lnTo>
                    <a:pt x="2481911" y="198831"/>
                  </a:lnTo>
                  <a:lnTo>
                    <a:pt x="2481911" y="199530"/>
                  </a:lnTo>
                  <a:lnTo>
                    <a:pt x="2481911" y="198831"/>
                  </a:lnTo>
                  <a:lnTo>
                    <a:pt x="2481911" y="199530"/>
                  </a:lnTo>
                  <a:lnTo>
                    <a:pt x="2481962" y="198831"/>
                  </a:lnTo>
                  <a:lnTo>
                    <a:pt x="2481962" y="196799"/>
                  </a:lnTo>
                  <a:lnTo>
                    <a:pt x="2482012" y="196799"/>
                  </a:lnTo>
                  <a:lnTo>
                    <a:pt x="2482012" y="194716"/>
                  </a:lnTo>
                  <a:lnTo>
                    <a:pt x="2482114" y="194716"/>
                  </a:lnTo>
                  <a:lnTo>
                    <a:pt x="2482114" y="196113"/>
                  </a:lnTo>
                  <a:lnTo>
                    <a:pt x="2482114" y="194716"/>
                  </a:lnTo>
                  <a:lnTo>
                    <a:pt x="2482114" y="195415"/>
                  </a:lnTo>
                  <a:lnTo>
                    <a:pt x="2482165" y="196113"/>
                  </a:lnTo>
                  <a:lnTo>
                    <a:pt x="2482165" y="197447"/>
                  </a:lnTo>
                  <a:lnTo>
                    <a:pt x="2482165" y="196799"/>
                  </a:lnTo>
                  <a:lnTo>
                    <a:pt x="2482165" y="197447"/>
                  </a:lnTo>
                  <a:lnTo>
                    <a:pt x="2482165" y="196113"/>
                  </a:lnTo>
                  <a:lnTo>
                    <a:pt x="2482165" y="196799"/>
                  </a:lnTo>
                  <a:lnTo>
                    <a:pt x="2482215" y="196799"/>
                  </a:lnTo>
                  <a:lnTo>
                    <a:pt x="2482215" y="197447"/>
                  </a:lnTo>
                  <a:lnTo>
                    <a:pt x="2482215" y="196799"/>
                  </a:lnTo>
                  <a:lnTo>
                    <a:pt x="2482266" y="196799"/>
                  </a:lnTo>
                  <a:lnTo>
                    <a:pt x="2482266" y="197447"/>
                  </a:lnTo>
                  <a:lnTo>
                    <a:pt x="2482266" y="196799"/>
                  </a:lnTo>
                  <a:lnTo>
                    <a:pt x="2482266" y="197447"/>
                  </a:lnTo>
                  <a:lnTo>
                    <a:pt x="2482355" y="197447"/>
                  </a:lnTo>
                  <a:lnTo>
                    <a:pt x="2482355" y="198831"/>
                  </a:lnTo>
                  <a:lnTo>
                    <a:pt x="2482355" y="197447"/>
                  </a:lnTo>
                  <a:lnTo>
                    <a:pt x="2482355" y="199530"/>
                  </a:lnTo>
                  <a:lnTo>
                    <a:pt x="2482355" y="198831"/>
                  </a:lnTo>
                  <a:lnTo>
                    <a:pt x="2482406" y="198831"/>
                  </a:lnTo>
                  <a:lnTo>
                    <a:pt x="2482406" y="199530"/>
                  </a:lnTo>
                  <a:lnTo>
                    <a:pt x="2482406" y="198831"/>
                  </a:lnTo>
                  <a:lnTo>
                    <a:pt x="2482406" y="199530"/>
                  </a:lnTo>
                  <a:lnTo>
                    <a:pt x="2482406" y="198831"/>
                  </a:lnTo>
                  <a:lnTo>
                    <a:pt x="2482457" y="198831"/>
                  </a:lnTo>
                  <a:lnTo>
                    <a:pt x="2482457" y="197447"/>
                  </a:lnTo>
                  <a:lnTo>
                    <a:pt x="2482508" y="197447"/>
                  </a:lnTo>
                  <a:lnTo>
                    <a:pt x="2482508" y="196799"/>
                  </a:lnTo>
                  <a:lnTo>
                    <a:pt x="2482508" y="197447"/>
                  </a:lnTo>
                  <a:lnTo>
                    <a:pt x="2482508" y="196113"/>
                  </a:lnTo>
                  <a:lnTo>
                    <a:pt x="2482508" y="196799"/>
                  </a:lnTo>
                  <a:lnTo>
                    <a:pt x="2482508" y="196113"/>
                  </a:lnTo>
                  <a:lnTo>
                    <a:pt x="2482508" y="196799"/>
                  </a:lnTo>
                  <a:lnTo>
                    <a:pt x="2482609" y="196799"/>
                  </a:lnTo>
                  <a:lnTo>
                    <a:pt x="2482609" y="195415"/>
                  </a:lnTo>
                  <a:lnTo>
                    <a:pt x="2482609" y="198831"/>
                  </a:lnTo>
                  <a:lnTo>
                    <a:pt x="2482660" y="197447"/>
                  </a:lnTo>
                  <a:lnTo>
                    <a:pt x="2482660" y="196799"/>
                  </a:lnTo>
                  <a:lnTo>
                    <a:pt x="2482660" y="197447"/>
                  </a:lnTo>
                  <a:lnTo>
                    <a:pt x="2482711" y="197447"/>
                  </a:lnTo>
                  <a:lnTo>
                    <a:pt x="2482711" y="196799"/>
                  </a:lnTo>
                  <a:lnTo>
                    <a:pt x="2482711" y="197447"/>
                  </a:lnTo>
                  <a:lnTo>
                    <a:pt x="2482711" y="196799"/>
                  </a:lnTo>
                  <a:lnTo>
                    <a:pt x="2482711" y="197447"/>
                  </a:lnTo>
                  <a:lnTo>
                    <a:pt x="2482711" y="196799"/>
                  </a:lnTo>
                  <a:lnTo>
                    <a:pt x="2482711" y="197447"/>
                  </a:lnTo>
                  <a:lnTo>
                    <a:pt x="2482812" y="197447"/>
                  </a:lnTo>
                  <a:lnTo>
                    <a:pt x="2482850" y="196799"/>
                  </a:lnTo>
                  <a:lnTo>
                    <a:pt x="2482850" y="198831"/>
                  </a:lnTo>
                  <a:lnTo>
                    <a:pt x="2482850" y="197447"/>
                  </a:lnTo>
                  <a:lnTo>
                    <a:pt x="2482850" y="198831"/>
                  </a:lnTo>
                  <a:lnTo>
                    <a:pt x="2482850" y="197447"/>
                  </a:lnTo>
                  <a:lnTo>
                    <a:pt x="2482850" y="198831"/>
                  </a:lnTo>
                  <a:lnTo>
                    <a:pt x="2482850" y="197447"/>
                  </a:lnTo>
                  <a:lnTo>
                    <a:pt x="2482901" y="198831"/>
                  </a:lnTo>
                  <a:lnTo>
                    <a:pt x="2482901" y="197447"/>
                  </a:lnTo>
                  <a:lnTo>
                    <a:pt x="2482901" y="198831"/>
                  </a:lnTo>
                  <a:lnTo>
                    <a:pt x="2482901" y="197447"/>
                  </a:lnTo>
                  <a:lnTo>
                    <a:pt x="2482901" y="198831"/>
                  </a:lnTo>
                  <a:lnTo>
                    <a:pt x="2482901" y="197447"/>
                  </a:lnTo>
                  <a:lnTo>
                    <a:pt x="2482952" y="197447"/>
                  </a:lnTo>
                  <a:lnTo>
                    <a:pt x="2482952" y="198831"/>
                  </a:lnTo>
                  <a:lnTo>
                    <a:pt x="2482952" y="196799"/>
                  </a:lnTo>
                  <a:lnTo>
                    <a:pt x="2482952" y="197447"/>
                  </a:lnTo>
                  <a:lnTo>
                    <a:pt x="2482952" y="196799"/>
                  </a:lnTo>
                  <a:lnTo>
                    <a:pt x="2483054" y="196799"/>
                  </a:lnTo>
                  <a:lnTo>
                    <a:pt x="2483054" y="198831"/>
                  </a:lnTo>
                  <a:lnTo>
                    <a:pt x="2483054" y="197447"/>
                  </a:lnTo>
                  <a:lnTo>
                    <a:pt x="2483105" y="197447"/>
                  </a:lnTo>
                  <a:lnTo>
                    <a:pt x="2483105" y="200228"/>
                  </a:lnTo>
                  <a:lnTo>
                    <a:pt x="2483105" y="199530"/>
                  </a:lnTo>
                  <a:lnTo>
                    <a:pt x="2483155" y="200228"/>
                  </a:lnTo>
                  <a:lnTo>
                    <a:pt x="2483155" y="200876"/>
                  </a:lnTo>
                  <a:lnTo>
                    <a:pt x="2483155" y="200228"/>
                  </a:lnTo>
                  <a:lnTo>
                    <a:pt x="2483155" y="200876"/>
                  </a:lnTo>
                  <a:lnTo>
                    <a:pt x="2483155" y="199530"/>
                  </a:lnTo>
                  <a:lnTo>
                    <a:pt x="2483155" y="200228"/>
                  </a:lnTo>
                  <a:lnTo>
                    <a:pt x="2483257" y="200228"/>
                  </a:lnTo>
                  <a:lnTo>
                    <a:pt x="2483257" y="199530"/>
                  </a:lnTo>
                  <a:lnTo>
                    <a:pt x="2483257" y="200228"/>
                  </a:lnTo>
                  <a:lnTo>
                    <a:pt x="2483257" y="199530"/>
                  </a:lnTo>
                  <a:lnTo>
                    <a:pt x="2483257" y="200228"/>
                  </a:lnTo>
                  <a:lnTo>
                    <a:pt x="2483257" y="199530"/>
                  </a:lnTo>
                  <a:lnTo>
                    <a:pt x="2483257" y="200228"/>
                  </a:lnTo>
                  <a:lnTo>
                    <a:pt x="2483257" y="199530"/>
                  </a:lnTo>
                  <a:lnTo>
                    <a:pt x="2483257" y="200228"/>
                  </a:lnTo>
                  <a:lnTo>
                    <a:pt x="2483308" y="200228"/>
                  </a:lnTo>
                  <a:lnTo>
                    <a:pt x="2483308" y="199530"/>
                  </a:lnTo>
                  <a:lnTo>
                    <a:pt x="2483308" y="200228"/>
                  </a:lnTo>
                  <a:lnTo>
                    <a:pt x="2483359" y="200228"/>
                  </a:lnTo>
                  <a:lnTo>
                    <a:pt x="2483359" y="199530"/>
                  </a:lnTo>
                  <a:lnTo>
                    <a:pt x="2483359" y="200228"/>
                  </a:lnTo>
                  <a:lnTo>
                    <a:pt x="2483359" y="199530"/>
                  </a:lnTo>
                  <a:lnTo>
                    <a:pt x="2483359" y="200228"/>
                  </a:lnTo>
                  <a:lnTo>
                    <a:pt x="2483359" y="199530"/>
                  </a:lnTo>
                  <a:lnTo>
                    <a:pt x="2483397" y="199530"/>
                  </a:lnTo>
                  <a:lnTo>
                    <a:pt x="2483397" y="200228"/>
                  </a:lnTo>
                  <a:lnTo>
                    <a:pt x="2483397" y="198831"/>
                  </a:lnTo>
                  <a:lnTo>
                    <a:pt x="2483498" y="198831"/>
                  </a:lnTo>
                  <a:lnTo>
                    <a:pt x="2483498" y="197447"/>
                  </a:lnTo>
                  <a:lnTo>
                    <a:pt x="2483498" y="198831"/>
                  </a:lnTo>
                  <a:lnTo>
                    <a:pt x="2483498" y="196799"/>
                  </a:lnTo>
                  <a:lnTo>
                    <a:pt x="2483498" y="197447"/>
                  </a:lnTo>
                  <a:lnTo>
                    <a:pt x="2483549" y="197447"/>
                  </a:lnTo>
                  <a:lnTo>
                    <a:pt x="2483549" y="198831"/>
                  </a:lnTo>
                  <a:lnTo>
                    <a:pt x="2483549" y="197447"/>
                  </a:lnTo>
                  <a:lnTo>
                    <a:pt x="2483600" y="198831"/>
                  </a:lnTo>
                  <a:lnTo>
                    <a:pt x="2483600" y="200228"/>
                  </a:lnTo>
                  <a:lnTo>
                    <a:pt x="2483600" y="199530"/>
                  </a:lnTo>
                  <a:lnTo>
                    <a:pt x="2483600" y="200228"/>
                  </a:lnTo>
                  <a:lnTo>
                    <a:pt x="2483600" y="199530"/>
                  </a:lnTo>
                  <a:lnTo>
                    <a:pt x="2483701" y="200228"/>
                  </a:lnTo>
                  <a:lnTo>
                    <a:pt x="2483701" y="200876"/>
                  </a:lnTo>
                  <a:lnTo>
                    <a:pt x="2483701" y="199530"/>
                  </a:lnTo>
                  <a:lnTo>
                    <a:pt x="2483701" y="200228"/>
                  </a:lnTo>
                  <a:lnTo>
                    <a:pt x="2483701" y="199530"/>
                  </a:lnTo>
                  <a:lnTo>
                    <a:pt x="2483701" y="200228"/>
                  </a:lnTo>
                  <a:lnTo>
                    <a:pt x="2483752" y="200228"/>
                  </a:lnTo>
                  <a:lnTo>
                    <a:pt x="2483752" y="200876"/>
                  </a:lnTo>
                  <a:lnTo>
                    <a:pt x="2483803" y="200876"/>
                  </a:lnTo>
                  <a:lnTo>
                    <a:pt x="2483803" y="202260"/>
                  </a:lnTo>
                  <a:lnTo>
                    <a:pt x="2483803" y="200228"/>
                  </a:lnTo>
                  <a:lnTo>
                    <a:pt x="2483803" y="200876"/>
                  </a:lnTo>
                  <a:lnTo>
                    <a:pt x="2483803" y="200228"/>
                  </a:lnTo>
                  <a:lnTo>
                    <a:pt x="2483803" y="200876"/>
                  </a:lnTo>
                  <a:lnTo>
                    <a:pt x="2483803" y="200228"/>
                  </a:lnTo>
                  <a:lnTo>
                    <a:pt x="2483803" y="200876"/>
                  </a:lnTo>
                  <a:lnTo>
                    <a:pt x="2483854" y="200876"/>
                  </a:lnTo>
                  <a:lnTo>
                    <a:pt x="2483854" y="200228"/>
                  </a:lnTo>
                  <a:lnTo>
                    <a:pt x="2483854" y="200876"/>
                  </a:lnTo>
                  <a:lnTo>
                    <a:pt x="2483854" y="200228"/>
                  </a:lnTo>
                  <a:lnTo>
                    <a:pt x="2483943" y="200228"/>
                  </a:lnTo>
                  <a:lnTo>
                    <a:pt x="2483943" y="199530"/>
                  </a:lnTo>
                  <a:lnTo>
                    <a:pt x="2483943" y="200228"/>
                  </a:lnTo>
                  <a:lnTo>
                    <a:pt x="2483943" y="198831"/>
                  </a:lnTo>
                  <a:lnTo>
                    <a:pt x="2483943" y="199530"/>
                  </a:lnTo>
                  <a:lnTo>
                    <a:pt x="2483943" y="198831"/>
                  </a:lnTo>
                  <a:lnTo>
                    <a:pt x="2483943" y="199530"/>
                  </a:lnTo>
                  <a:lnTo>
                    <a:pt x="2483943" y="197447"/>
                  </a:lnTo>
                  <a:lnTo>
                    <a:pt x="2483943" y="198831"/>
                  </a:lnTo>
                  <a:lnTo>
                    <a:pt x="2483943" y="197447"/>
                  </a:lnTo>
                  <a:lnTo>
                    <a:pt x="2483943" y="198831"/>
                  </a:lnTo>
                  <a:lnTo>
                    <a:pt x="2483994" y="198831"/>
                  </a:lnTo>
                  <a:lnTo>
                    <a:pt x="2483994" y="196113"/>
                  </a:lnTo>
                  <a:lnTo>
                    <a:pt x="2484044" y="196113"/>
                  </a:lnTo>
                  <a:lnTo>
                    <a:pt x="2484044" y="195415"/>
                  </a:lnTo>
                  <a:lnTo>
                    <a:pt x="2484044" y="196799"/>
                  </a:lnTo>
                  <a:lnTo>
                    <a:pt x="2484044" y="195415"/>
                  </a:lnTo>
                  <a:lnTo>
                    <a:pt x="2484095" y="196113"/>
                  </a:lnTo>
                  <a:lnTo>
                    <a:pt x="2484095" y="198831"/>
                  </a:lnTo>
                  <a:lnTo>
                    <a:pt x="2484095" y="197447"/>
                  </a:lnTo>
                  <a:lnTo>
                    <a:pt x="2484197" y="197447"/>
                  </a:lnTo>
                  <a:lnTo>
                    <a:pt x="2484197" y="199530"/>
                  </a:lnTo>
                  <a:lnTo>
                    <a:pt x="2484197" y="198831"/>
                  </a:lnTo>
                  <a:lnTo>
                    <a:pt x="2484197" y="199530"/>
                  </a:lnTo>
                  <a:lnTo>
                    <a:pt x="2484197" y="197447"/>
                  </a:lnTo>
                  <a:lnTo>
                    <a:pt x="2484197" y="198831"/>
                  </a:lnTo>
                  <a:lnTo>
                    <a:pt x="2484247" y="198831"/>
                  </a:lnTo>
                  <a:lnTo>
                    <a:pt x="2484247" y="199530"/>
                  </a:lnTo>
                  <a:lnTo>
                    <a:pt x="2484298" y="200228"/>
                  </a:lnTo>
                  <a:lnTo>
                    <a:pt x="2484298" y="199530"/>
                  </a:lnTo>
                  <a:lnTo>
                    <a:pt x="2484298" y="200228"/>
                  </a:lnTo>
                  <a:lnTo>
                    <a:pt x="2484298" y="199530"/>
                  </a:lnTo>
                  <a:lnTo>
                    <a:pt x="2484400" y="199530"/>
                  </a:lnTo>
                  <a:lnTo>
                    <a:pt x="2484400" y="200876"/>
                  </a:lnTo>
                  <a:lnTo>
                    <a:pt x="2484400" y="200228"/>
                  </a:lnTo>
                  <a:lnTo>
                    <a:pt x="2484400" y="200876"/>
                  </a:lnTo>
                  <a:lnTo>
                    <a:pt x="2484400" y="200228"/>
                  </a:lnTo>
                  <a:lnTo>
                    <a:pt x="2484438" y="200228"/>
                  </a:lnTo>
                  <a:lnTo>
                    <a:pt x="2484438" y="198831"/>
                  </a:lnTo>
                  <a:lnTo>
                    <a:pt x="2484489" y="198831"/>
                  </a:lnTo>
                  <a:lnTo>
                    <a:pt x="2484489" y="197447"/>
                  </a:lnTo>
                  <a:lnTo>
                    <a:pt x="2484489" y="198831"/>
                  </a:lnTo>
                  <a:lnTo>
                    <a:pt x="2484489" y="197447"/>
                  </a:lnTo>
                  <a:lnTo>
                    <a:pt x="2484489" y="198831"/>
                  </a:lnTo>
                  <a:lnTo>
                    <a:pt x="2484489" y="196799"/>
                  </a:lnTo>
                  <a:lnTo>
                    <a:pt x="2484540" y="196799"/>
                  </a:lnTo>
                  <a:lnTo>
                    <a:pt x="2484540" y="198831"/>
                  </a:lnTo>
                  <a:lnTo>
                    <a:pt x="2484540" y="196799"/>
                  </a:lnTo>
                  <a:lnTo>
                    <a:pt x="2484540" y="199530"/>
                  </a:lnTo>
                  <a:lnTo>
                    <a:pt x="2484641" y="199530"/>
                  </a:lnTo>
                  <a:lnTo>
                    <a:pt x="2484641" y="197447"/>
                  </a:lnTo>
                  <a:lnTo>
                    <a:pt x="2484641" y="199530"/>
                  </a:lnTo>
                  <a:lnTo>
                    <a:pt x="2484692" y="199530"/>
                  </a:lnTo>
                  <a:lnTo>
                    <a:pt x="2484692" y="197447"/>
                  </a:lnTo>
                  <a:lnTo>
                    <a:pt x="2484692" y="199530"/>
                  </a:lnTo>
                  <a:lnTo>
                    <a:pt x="2484692" y="198831"/>
                  </a:lnTo>
                  <a:lnTo>
                    <a:pt x="2484743" y="199530"/>
                  </a:lnTo>
                  <a:lnTo>
                    <a:pt x="2484743" y="198831"/>
                  </a:lnTo>
                  <a:lnTo>
                    <a:pt x="2484743" y="200228"/>
                  </a:lnTo>
                  <a:lnTo>
                    <a:pt x="2484844" y="200228"/>
                  </a:lnTo>
                  <a:lnTo>
                    <a:pt x="2484844" y="199530"/>
                  </a:lnTo>
                  <a:lnTo>
                    <a:pt x="2484844" y="200228"/>
                  </a:lnTo>
                  <a:lnTo>
                    <a:pt x="2484895" y="200228"/>
                  </a:lnTo>
                  <a:lnTo>
                    <a:pt x="2484895" y="199530"/>
                  </a:lnTo>
                  <a:lnTo>
                    <a:pt x="2484895" y="200228"/>
                  </a:lnTo>
                  <a:lnTo>
                    <a:pt x="2484946" y="200228"/>
                  </a:lnTo>
                  <a:lnTo>
                    <a:pt x="2484946" y="197447"/>
                  </a:lnTo>
                  <a:lnTo>
                    <a:pt x="2484946" y="198831"/>
                  </a:lnTo>
                  <a:lnTo>
                    <a:pt x="2484984" y="198831"/>
                  </a:lnTo>
                  <a:lnTo>
                    <a:pt x="2484984" y="196799"/>
                  </a:lnTo>
                  <a:lnTo>
                    <a:pt x="2484984" y="197447"/>
                  </a:lnTo>
                  <a:lnTo>
                    <a:pt x="2484984" y="196113"/>
                  </a:lnTo>
                  <a:lnTo>
                    <a:pt x="2485086" y="196799"/>
                  </a:lnTo>
                  <a:lnTo>
                    <a:pt x="2485086" y="198831"/>
                  </a:lnTo>
                  <a:lnTo>
                    <a:pt x="2485086" y="196113"/>
                  </a:lnTo>
                  <a:lnTo>
                    <a:pt x="2485086" y="198831"/>
                  </a:lnTo>
                  <a:lnTo>
                    <a:pt x="2485137" y="199530"/>
                  </a:lnTo>
                  <a:lnTo>
                    <a:pt x="2485137" y="197447"/>
                  </a:lnTo>
                  <a:lnTo>
                    <a:pt x="2485137" y="199530"/>
                  </a:lnTo>
                  <a:lnTo>
                    <a:pt x="2485187" y="199530"/>
                  </a:lnTo>
                  <a:lnTo>
                    <a:pt x="2485187" y="198831"/>
                  </a:lnTo>
                  <a:lnTo>
                    <a:pt x="2485187" y="199530"/>
                  </a:lnTo>
                  <a:lnTo>
                    <a:pt x="2485187" y="197447"/>
                  </a:lnTo>
                  <a:lnTo>
                    <a:pt x="2485187" y="199530"/>
                  </a:lnTo>
                  <a:lnTo>
                    <a:pt x="2485289" y="199530"/>
                  </a:lnTo>
                  <a:lnTo>
                    <a:pt x="2485289" y="200228"/>
                  </a:lnTo>
                  <a:lnTo>
                    <a:pt x="2485340" y="200228"/>
                  </a:lnTo>
                  <a:lnTo>
                    <a:pt x="2485340" y="199530"/>
                  </a:lnTo>
                  <a:lnTo>
                    <a:pt x="2485340" y="200876"/>
                  </a:lnTo>
                  <a:lnTo>
                    <a:pt x="2485340" y="200228"/>
                  </a:lnTo>
                  <a:lnTo>
                    <a:pt x="2485390" y="200228"/>
                  </a:lnTo>
                  <a:lnTo>
                    <a:pt x="2485390" y="200876"/>
                  </a:lnTo>
                  <a:lnTo>
                    <a:pt x="2485390" y="199530"/>
                  </a:lnTo>
                  <a:lnTo>
                    <a:pt x="2485441" y="199530"/>
                  </a:lnTo>
                  <a:lnTo>
                    <a:pt x="2485441" y="200228"/>
                  </a:lnTo>
                  <a:lnTo>
                    <a:pt x="2485441" y="198831"/>
                  </a:lnTo>
                  <a:lnTo>
                    <a:pt x="2485441" y="199530"/>
                  </a:lnTo>
                  <a:lnTo>
                    <a:pt x="2485441" y="198831"/>
                  </a:lnTo>
                  <a:lnTo>
                    <a:pt x="2485530" y="198831"/>
                  </a:lnTo>
                  <a:lnTo>
                    <a:pt x="2485530" y="197447"/>
                  </a:lnTo>
                  <a:lnTo>
                    <a:pt x="2485530" y="198831"/>
                  </a:lnTo>
                  <a:lnTo>
                    <a:pt x="2485530" y="196799"/>
                  </a:lnTo>
                  <a:lnTo>
                    <a:pt x="2485530" y="197447"/>
                  </a:lnTo>
                  <a:lnTo>
                    <a:pt x="2485530" y="196799"/>
                  </a:lnTo>
                  <a:lnTo>
                    <a:pt x="2485530" y="199530"/>
                  </a:lnTo>
                  <a:lnTo>
                    <a:pt x="2485581" y="199530"/>
                  </a:lnTo>
                  <a:lnTo>
                    <a:pt x="2485581" y="196113"/>
                  </a:lnTo>
                  <a:lnTo>
                    <a:pt x="2485581" y="199530"/>
                  </a:lnTo>
                  <a:lnTo>
                    <a:pt x="2485581" y="198831"/>
                  </a:lnTo>
                  <a:lnTo>
                    <a:pt x="2485581" y="199530"/>
                  </a:lnTo>
                  <a:lnTo>
                    <a:pt x="2485632" y="199530"/>
                  </a:lnTo>
                  <a:lnTo>
                    <a:pt x="2485632" y="197447"/>
                  </a:lnTo>
                  <a:lnTo>
                    <a:pt x="2485632" y="199530"/>
                  </a:lnTo>
                  <a:lnTo>
                    <a:pt x="2485683" y="199530"/>
                  </a:lnTo>
                  <a:lnTo>
                    <a:pt x="2485683" y="197447"/>
                  </a:lnTo>
                  <a:lnTo>
                    <a:pt x="2485683" y="199530"/>
                  </a:lnTo>
                  <a:lnTo>
                    <a:pt x="2485683" y="198831"/>
                  </a:lnTo>
                  <a:lnTo>
                    <a:pt x="2485784" y="198831"/>
                  </a:lnTo>
                  <a:lnTo>
                    <a:pt x="2485784" y="200228"/>
                  </a:lnTo>
                  <a:lnTo>
                    <a:pt x="2485784" y="199530"/>
                  </a:lnTo>
                  <a:lnTo>
                    <a:pt x="2485835" y="199530"/>
                  </a:lnTo>
                  <a:lnTo>
                    <a:pt x="2485835" y="200228"/>
                  </a:lnTo>
                  <a:lnTo>
                    <a:pt x="2485835" y="199530"/>
                  </a:lnTo>
                  <a:lnTo>
                    <a:pt x="2485886" y="199530"/>
                  </a:lnTo>
                  <a:lnTo>
                    <a:pt x="2485886" y="200228"/>
                  </a:lnTo>
                  <a:lnTo>
                    <a:pt x="2485886" y="198831"/>
                  </a:lnTo>
                  <a:lnTo>
                    <a:pt x="2485886" y="199530"/>
                  </a:lnTo>
                  <a:lnTo>
                    <a:pt x="2485987" y="198831"/>
                  </a:lnTo>
                  <a:lnTo>
                    <a:pt x="2486025" y="198831"/>
                  </a:lnTo>
                  <a:lnTo>
                    <a:pt x="2486025" y="196799"/>
                  </a:lnTo>
                  <a:lnTo>
                    <a:pt x="2486025" y="199530"/>
                  </a:lnTo>
                  <a:lnTo>
                    <a:pt x="2486025" y="198831"/>
                  </a:lnTo>
                  <a:lnTo>
                    <a:pt x="2486076" y="197447"/>
                  </a:lnTo>
                  <a:lnTo>
                    <a:pt x="2486076" y="196799"/>
                  </a:lnTo>
                  <a:lnTo>
                    <a:pt x="2486076" y="200228"/>
                  </a:lnTo>
                  <a:lnTo>
                    <a:pt x="2486076" y="198831"/>
                  </a:lnTo>
                  <a:lnTo>
                    <a:pt x="2486127" y="198831"/>
                  </a:lnTo>
                  <a:lnTo>
                    <a:pt x="2486127" y="200228"/>
                  </a:lnTo>
                  <a:lnTo>
                    <a:pt x="2486127" y="199530"/>
                  </a:lnTo>
                  <a:lnTo>
                    <a:pt x="2486229" y="199530"/>
                  </a:lnTo>
                  <a:lnTo>
                    <a:pt x="2486229" y="200228"/>
                  </a:lnTo>
                  <a:lnTo>
                    <a:pt x="2486229" y="199530"/>
                  </a:lnTo>
                  <a:lnTo>
                    <a:pt x="2486229" y="200228"/>
                  </a:lnTo>
                  <a:lnTo>
                    <a:pt x="2486280" y="200228"/>
                  </a:lnTo>
                  <a:lnTo>
                    <a:pt x="2486280" y="200876"/>
                  </a:lnTo>
                  <a:lnTo>
                    <a:pt x="2486330" y="200876"/>
                  </a:lnTo>
                  <a:lnTo>
                    <a:pt x="2486330" y="200228"/>
                  </a:lnTo>
                  <a:lnTo>
                    <a:pt x="2486330" y="200876"/>
                  </a:lnTo>
                  <a:lnTo>
                    <a:pt x="2486330" y="200228"/>
                  </a:lnTo>
                  <a:lnTo>
                    <a:pt x="2486330" y="200876"/>
                  </a:lnTo>
                  <a:lnTo>
                    <a:pt x="2486330" y="200228"/>
                  </a:lnTo>
                  <a:lnTo>
                    <a:pt x="2486330" y="200876"/>
                  </a:lnTo>
                  <a:lnTo>
                    <a:pt x="2486330" y="200228"/>
                  </a:lnTo>
                  <a:lnTo>
                    <a:pt x="2486330" y="200876"/>
                  </a:lnTo>
                  <a:lnTo>
                    <a:pt x="2486330" y="200228"/>
                  </a:lnTo>
                  <a:lnTo>
                    <a:pt x="2486432" y="200876"/>
                  </a:lnTo>
                  <a:lnTo>
                    <a:pt x="2486432" y="200228"/>
                  </a:lnTo>
                  <a:lnTo>
                    <a:pt x="2486432" y="200876"/>
                  </a:lnTo>
                  <a:lnTo>
                    <a:pt x="2486432" y="199530"/>
                  </a:lnTo>
                  <a:lnTo>
                    <a:pt x="2486432" y="200228"/>
                  </a:lnTo>
                  <a:lnTo>
                    <a:pt x="2486432" y="199530"/>
                  </a:lnTo>
                  <a:lnTo>
                    <a:pt x="2486432" y="200228"/>
                  </a:lnTo>
                  <a:lnTo>
                    <a:pt x="2486432" y="199530"/>
                  </a:lnTo>
                  <a:lnTo>
                    <a:pt x="2486432" y="200228"/>
                  </a:lnTo>
                  <a:lnTo>
                    <a:pt x="2486483" y="199530"/>
                  </a:lnTo>
                  <a:lnTo>
                    <a:pt x="2486483" y="198831"/>
                  </a:lnTo>
                  <a:lnTo>
                    <a:pt x="2486483" y="199530"/>
                  </a:lnTo>
                  <a:lnTo>
                    <a:pt x="2486483" y="198831"/>
                  </a:lnTo>
                  <a:lnTo>
                    <a:pt x="2486483" y="199530"/>
                  </a:lnTo>
                  <a:lnTo>
                    <a:pt x="2486483" y="198831"/>
                  </a:lnTo>
                  <a:lnTo>
                    <a:pt x="2486534" y="198831"/>
                  </a:lnTo>
                  <a:lnTo>
                    <a:pt x="2486534" y="197447"/>
                  </a:lnTo>
                  <a:lnTo>
                    <a:pt x="2486534" y="200228"/>
                  </a:lnTo>
                  <a:lnTo>
                    <a:pt x="2486534" y="198831"/>
                  </a:lnTo>
                  <a:lnTo>
                    <a:pt x="2486572" y="198831"/>
                  </a:lnTo>
                  <a:lnTo>
                    <a:pt x="2486572" y="200876"/>
                  </a:lnTo>
                  <a:lnTo>
                    <a:pt x="2486572" y="200228"/>
                  </a:lnTo>
                  <a:lnTo>
                    <a:pt x="2486572" y="200876"/>
                  </a:lnTo>
                  <a:lnTo>
                    <a:pt x="2486572" y="199530"/>
                  </a:lnTo>
                  <a:lnTo>
                    <a:pt x="2486673" y="200228"/>
                  </a:lnTo>
                  <a:lnTo>
                    <a:pt x="2486673" y="200876"/>
                  </a:lnTo>
                  <a:lnTo>
                    <a:pt x="2486673" y="200228"/>
                  </a:lnTo>
                  <a:lnTo>
                    <a:pt x="2486673" y="200876"/>
                  </a:lnTo>
                  <a:lnTo>
                    <a:pt x="2486724" y="200876"/>
                  </a:lnTo>
                  <a:lnTo>
                    <a:pt x="2486724" y="200228"/>
                  </a:lnTo>
                  <a:lnTo>
                    <a:pt x="2486724" y="202260"/>
                  </a:lnTo>
                  <a:lnTo>
                    <a:pt x="2486724" y="200876"/>
                  </a:lnTo>
                  <a:lnTo>
                    <a:pt x="2486775" y="200876"/>
                  </a:lnTo>
                  <a:lnTo>
                    <a:pt x="2486775" y="202260"/>
                  </a:lnTo>
                  <a:lnTo>
                    <a:pt x="2486775" y="200228"/>
                  </a:lnTo>
                  <a:lnTo>
                    <a:pt x="2486775" y="200876"/>
                  </a:lnTo>
                  <a:lnTo>
                    <a:pt x="2486775" y="200228"/>
                  </a:lnTo>
                  <a:lnTo>
                    <a:pt x="2486775" y="200876"/>
                  </a:lnTo>
                  <a:lnTo>
                    <a:pt x="2486876" y="200876"/>
                  </a:lnTo>
                  <a:lnTo>
                    <a:pt x="2486876" y="200228"/>
                  </a:lnTo>
                  <a:lnTo>
                    <a:pt x="2486876" y="200876"/>
                  </a:lnTo>
                  <a:lnTo>
                    <a:pt x="2486876" y="200228"/>
                  </a:lnTo>
                  <a:lnTo>
                    <a:pt x="2486876" y="200876"/>
                  </a:lnTo>
                  <a:lnTo>
                    <a:pt x="2486876" y="200228"/>
                  </a:lnTo>
                  <a:lnTo>
                    <a:pt x="2486927" y="200228"/>
                  </a:lnTo>
                  <a:lnTo>
                    <a:pt x="2486927" y="200876"/>
                  </a:lnTo>
                  <a:lnTo>
                    <a:pt x="2486927" y="198831"/>
                  </a:lnTo>
                  <a:lnTo>
                    <a:pt x="2486927" y="199530"/>
                  </a:lnTo>
                  <a:lnTo>
                    <a:pt x="2486927" y="198831"/>
                  </a:lnTo>
                  <a:lnTo>
                    <a:pt x="2486978" y="198831"/>
                  </a:lnTo>
                  <a:lnTo>
                    <a:pt x="2486978" y="197447"/>
                  </a:lnTo>
                  <a:lnTo>
                    <a:pt x="2486978" y="199530"/>
                  </a:lnTo>
                  <a:lnTo>
                    <a:pt x="2487029" y="198831"/>
                  </a:lnTo>
                  <a:lnTo>
                    <a:pt x="2487029" y="199530"/>
                  </a:lnTo>
                  <a:lnTo>
                    <a:pt x="2487029" y="198831"/>
                  </a:lnTo>
                  <a:lnTo>
                    <a:pt x="2487029" y="200876"/>
                  </a:lnTo>
                  <a:lnTo>
                    <a:pt x="2487029" y="200228"/>
                  </a:lnTo>
                  <a:lnTo>
                    <a:pt x="2487029" y="200876"/>
                  </a:lnTo>
                  <a:lnTo>
                    <a:pt x="2487029" y="200228"/>
                  </a:lnTo>
                  <a:lnTo>
                    <a:pt x="2487118" y="200228"/>
                  </a:lnTo>
                  <a:lnTo>
                    <a:pt x="2487118" y="202260"/>
                  </a:lnTo>
                  <a:lnTo>
                    <a:pt x="2487118" y="200876"/>
                  </a:lnTo>
                  <a:lnTo>
                    <a:pt x="2487169" y="200876"/>
                  </a:lnTo>
                  <a:lnTo>
                    <a:pt x="2487169" y="200228"/>
                  </a:lnTo>
                  <a:lnTo>
                    <a:pt x="2487169" y="202260"/>
                  </a:lnTo>
                  <a:lnTo>
                    <a:pt x="2487169" y="200876"/>
                  </a:lnTo>
                  <a:lnTo>
                    <a:pt x="2487169" y="202260"/>
                  </a:lnTo>
                  <a:lnTo>
                    <a:pt x="2487219" y="200876"/>
                  </a:lnTo>
                  <a:lnTo>
                    <a:pt x="2487219" y="202260"/>
                  </a:lnTo>
                  <a:lnTo>
                    <a:pt x="2487219" y="200876"/>
                  </a:lnTo>
                  <a:lnTo>
                    <a:pt x="2487219" y="202260"/>
                  </a:lnTo>
                  <a:lnTo>
                    <a:pt x="2487270" y="202260"/>
                  </a:lnTo>
                  <a:lnTo>
                    <a:pt x="2487270" y="200876"/>
                  </a:lnTo>
                  <a:lnTo>
                    <a:pt x="2487270" y="202260"/>
                  </a:lnTo>
                  <a:lnTo>
                    <a:pt x="2487372" y="202260"/>
                  </a:lnTo>
                  <a:lnTo>
                    <a:pt x="2487372" y="200228"/>
                  </a:lnTo>
                  <a:lnTo>
                    <a:pt x="2487372" y="200876"/>
                  </a:lnTo>
                  <a:lnTo>
                    <a:pt x="2487372" y="200228"/>
                  </a:lnTo>
                  <a:lnTo>
                    <a:pt x="2487422" y="200228"/>
                  </a:lnTo>
                  <a:lnTo>
                    <a:pt x="2487422" y="198831"/>
                  </a:lnTo>
                  <a:lnTo>
                    <a:pt x="2487473" y="198831"/>
                  </a:lnTo>
                  <a:lnTo>
                    <a:pt x="2487473" y="200228"/>
                  </a:lnTo>
                  <a:lnTo>
                    <a:pt x="2487473" y="198831"/>
                  </a:lnTo>
                  <a:lnTo>
                    <a:pt x="2487575" y="199530"/>
                  </a:lnTo>
                  <a:lnTo>
                    <a:pt x="2487575" y="198831"/>
                  </a:lnTo>
                  <a:lnTo>
                    <a:pt x="2487575" y="200876"/>
                  </a:lnTo>
                  <a:lnTo>
                    <a:pt x="2487575" y="200228"/>
                  </a:lnTo>
                  <a:lnTo>
                    <a:pt x="2487613" y="200228"/>
                  </a:lnTo>
                  <a:lnTo>
                    <a:pt x="2487613" y="200876"/>
                  </a:lnTo>
                  <a:lnTo>
                    <a:pt x="2487613" y="200228"/>
                  </a:lnTo>
                  <a:lnTo>
                    <a:pt x="2487613" y="200876"/>
                  </a:lnTo>
                  <a:lnTo>
                    <a:pt x="2487664" y="200876"/>
                  </a:lnTo>
                  <a:lnTo>
                    <a:pt x="2487664" y="202260"/>
                  </a:lnTo>
                  <a:lnTo>
                    <a:pt x="2487664" y="200876"/>
                  </a:lnTo>
                  <a:lnTo>
                    <a:pt x="2487664" y="202260"/>
                  </a:lnTo>
                  <a:lnTo>
                    <a:pt x="2487664" y="200876"/>
                  </a:lnTo>
                  <a:lnTo>
                    <a:pt x="2487664" y="202260"/>
                  </a:lnTo>
                  <a:lnTo>
                    <a:pt x="2487715" y="202260"/>
                  </a:lnTo>
                  <a:lnTo>
                    <a:pt x="2487715" y="200876"/>
                  </a:lnTo>
                  <a:lnTo>
                    <a:pt x="2487715" y="202260"/>
                  </a:lnTo>
                  <a:lnTo>
                    <a:pt x="2487816" y="202260"/>
                  </a:lnTo>
                  <a:lnTo>
                    <a:pt x="2487816" y="200876"/>
                  </a:lnTo>
                  <a:lnTo>
                    <a:pt x="2487867" y="200876"/>
                  </a:lnTo>
                  <a:lnTo>
                    <a:pt x="2487867" y="199530"/>
                  </a:lnTo>
                  <a:lnTo>
                    <a:pt x="2487918" y="199530"/>
                  </a:lnTo>
                  <a:lnTo>
                    <a:pt x="2487918" y="198831"/>
                  </a:lnTo>
                  <a:lnTo>
                    <a:pt x="2487918" y="199530"/>
                  </a:lnTo>
                  <a:lnTo>
                    <a:pt x="2487918" y="196799"/>
                  </a:lnTo>
                  <a:lnTo>
                    <a:pt x="2487918" y="197447"/>
                  </a:lnTo>
                  <a:lnTo>
                    <a:pt x="2488019" y="197447"/>
                  </a:lnTo>
                  <a:lnTo>
                    <a:pt x="2488019" y="198831"/>
                  </a:lnTo>
                  <a:lnTo>
                    <a:pt x="2488019" y="196799"/>
                  </a:lnTo>
                  <a:lnTo>
                    <a:pt x="2488019" y="197447"/>
                  </a:lnTo>
                  <a:lnTo>
                    <a:pt x="2488070" y="197447"/>
                  </a:lnTo>
                  <a:lnTo>
                    <a:pt x="2488070" y="200876"/>
                  </a:lnTo>
                  <a:lnTo>
                    <a:pt x="2488070" y="198831"/>
                  </a:lnTo>
                  <a:lnTo>
                    <a:pt x="2488070" y="199530"/>
                  </a:lnTo>
                  <a:lnTo>
                    <a:pt x="2488121" y="199530"/>
                  </a:lnTo>
                  <a:lnTo>
                    <a:pt x="2488121" y="200876"/>
                  </a:lnTo>
                  <a:lnTo>
                    <a:pt x="2488121" y="199530"/>
                  </a:lnTo>
                  <a:lnTo>
                    <a:pt x="2488121" y="200876"/>
                  </a:lnTo>
                  <a:lnTo>
                    <a:pt x="2488159" y="200876"/>
                  </a:lnTo>
                  <a:lnTo>
                    <a:pt x="2488159" y="200228"/>
                  </a:lnTo>
                  <a:lnTo>
                    <a:pt x="2488159" y="200876"/>
                  </a:lnTo>
                  <a:lnTo>
                    <a:pt x="2488159" y="200228"/>
                  </a:lnTo>
                  <a:lnTo>
                    <a:pt x="2488159" y="200876"/>
                  </a:lnTo>
                  <a:lnTo>
                    <a:pt x="2488261" y="200876"/>
                  </a:lnTo>
                  <a:lnTo>
                    <a:pt x="2488261" y="202260"/>
                  </a:lnTo>
                  <a:lnTo>
                    <a:pt x="2488261" y="200876"/>
                  </a:lnTo>
                  <a:lnTo>
                    <a:pt x="2488261" y="202260"/>
                  </a:lnTo>
                  <a:lnTo>
                    <a:pt x="2488312" y="202260"/>
                  </a:lnTo>
                  <a:lnTo>
                    <a:pt x="2488312" y="200876"/>
                  </a:lnTo>
                  <a:lnTo>
                    <a:pt x="2488312" y="202260"/>
                  </a:lnTo>
                  <a:lnTo>
                    <a:pt x="2488312" y="200228"/>
                  </a:lnTo>
                  <a:lnTo>
                    <a:pt x="2488362" y="200228"/>
                  </a:lnTo>
                  <a:lnTo>
                    <a:pt x="2488362" y="200876"/>
                  </a:lnTo>
                  <a:lnTo>
                    <a:pt x="2488362" y="200228"/>
                  </a:lnTo>
                  <a:lnTo>
                    <a:pt x="2488464" y="200228"/>
                  </a:lnTo>
                  <a:lnTo>
                    <a:pt x="2488464" y="197447"/>
                  </a:lnTo>
                  <a:lnTo>
                    <a:pt x="2488464" y="198831"/>
                  </a:lnTo>
                  <a:lnTo>
                    <a:pt x="2488515" y="198831"/>
                  </a:lnTo>
                  <a:lnTo>
                    <a:pt x="2488515" y="196799"/>
                  </a:lnTo>
                  <a:lnTo>
                    <a:pt x="2488515" y="200228"/>
                  </a:lnTo>
                  <a:lnTo>
                    <a:pt x="2488565" y="200228"/>
                  </a:lnTo>
                  <a:lnTo>
                    <a:pt x="2488565" y="198831"/>
                  </a:lnTo>
                  <a:lnTo>
                    <a:pt x="2488565" y="200228"/>
                  </a:lnTo>
                  <a:lnTo>
                    <a:pt x="2488616" y="200228"/>
                  </a:lnTo>
                  <a:lnTo>
                    <a:pt x="2488616" y="198831"/>
                  </a:lnTo>
                  <a:lnTo>
                    <a:pt x="2488616" y="199530"/>
                  </a:lnTo>
                  <a:lnTo>
                    <a:pt x="2488705" y="199530"/>
                  </a:lnTo>
                  <a:lnTo>
                    <a:pt x="2488705" y="200228"/>
                  </a:lnTo>
                  <a:lnTo>
                    <a:pt x="2488756" y="200228"/>
                  </a:lnTo>
                  <a:lnTo>
                    <a:pt x="2488756" y="200876"/>
                  </a:lnTo>
                  <a:lnTo>
                    <a:pt x="2488756" y="200228"/>
                  </a:lnTo>
                  <a:lnTo>
                    <a:pt x="2488807" y="200228"/>
                  </a:lnTo>
                  <a:lnTo>
                    <a:pt x="2488807" y="200876"/>
                  </a:lnTo>
                  <a:lnTo>
                    <a:pt x="2488807" y="200228"/>
                  </a:lnTo>
                  <a:lnTo>
                    <a:pt x="2488858" y="200228"/>
                  </a:lnTo>
                  <a:lnTo>
                    <a:pt x="2488858" y="199530"/>
                  </a:lnTo>
                  <a:lnTo>
                    <a:pt x="2488858" y="200228"/>
                  </a:lnTo>
                  <a:lnTo>
                    <a:pt x="2488858" y="198831"/>
                  </a:lnTo>
                  <a:lnTo>
                    <a:pt x="2488959" y="198831"/>
                  </a:lnTo>
                  <a:lnTo>
                    <a:pt x="2488959" y="199530"/>
                  </a:lnTo>
                  <a:lnTo>
                    <a:pt x="2488959" y="198831"/>
                  </a:lnTo>
                  <a:lnTo>
                    <a:pt x="2488959" y="200228"/>
                  </a:lnTo>
                  <a:lnTo>
                    <a:pt x="2488959" y="199530"/>
                  </a:lnTo>
                  <a:lnTo>
                    <a:pt x="2488959" y="200228"/>
                  </a:lnTo>
                  <a:lnTo>
                    <a:pt x="2488959" y="198831"/>
                  </a:lnTo>
                  <a:lnTo>
                    <a:pt x="2489010" y="198831"/>
                  </a:lnTo>
                  <a:lnTo>
                    <a:pt x="2489010" y="197447"/>
                  </a:lnTo>
                  <a:lnTo>
                    <a:pt x="2489010" y="200876"/>
                  </a:lnTo>
                  <a:lnTo>
                    <a:pt x="2489010" y="199530"/>
                  </a:lnTo>
                  <a:lnTo>
                    <a:pt x="2489061" y="199530"/>
                  </a:lnTo>
                  <a:lnTo>
                    <a:pt x="2489061" y="202260"/>
                  </a:lnTo>
                  <a:lnTo>
                    <a:pt x="2489061" y="200228"/>
                  </a:lnTo>
                  <a:lnTo>
                    <a:pt x="2489162" y="200876"/>
                  </a:lnTo>
                  <a:lnTo>
                    <a:pt x="2489162" y="200228"/>
                  </a:lnTo>
                  <a:lnTo>
                    <a:pt x="2489162" y="202260"/>
                  </a:lnTo>
                  <a:lnTo>
                    <a:pt x="2489162" y="200876"/>
                  </a:lnTo>
                  <a:lnTo>
                    <a:pt x="2489251" y="200876"/>
                  </a:lnTo>
                  <a:lnTo>
                    <a:pt x="2489251" y="202260"/>
                  </a:lnTo>
                  <a:lnTo>
                    <a:pt x="2489251" y="200228"/>
                  </a:lnTo>
                  <a:lnTo>
                    <a:pt x="2489251" y="200876"/>
                  </a:lnTo>
                  <a:lnTo>
                    <a:pt x="2489302" y="200876"/>
                  </a:lnTo>
                  <a:lnTo>
                    <a:pt x="2489302" y="200228"/>
                  </a:lnTo>
                  <a:lnTo>
                    <a:pt x="2489302" y="200876"/>
                  </a:lnTo>
                  <a:lnTo>
                    <a:pt x="2489302" y="200228"/>
                  </a:lnTo>
                  <a:lnTo>
                    <a:pt x="2489302" y="200876"/>
                  </a:lnTo>
                  <a:lnTo>
                    <a:pt x="2489302" y="200228"/>
                  </a:lnTo>
                  <a:lnTo>
                    <a:pt x="2489404" y="200228"/>
                  </a:lnTo>
                  <a:lnTo>
                    <a:pt x="2489404" y="199530"/>
                  </a:lnTo>
                  <a:lnTo>
                    <a:pt x="2489404" y="200228"/>
                  </a:lnTo>
                  <a:lnTo>
                    <a:pt x="2489404" y="198831"/>
                  </a:lnTo>
                  <a:lnTo>
                    <a:pt x="2489455" y="198831"/>
                  </a:lnTo>
                  <a:lnTo>
                    <a:pt x="2489455" y="200876"/>
                  </a:lnTo>
                  <a:lnTo>
                    <a:pt x="2489455" y="198831"/>
                  </a:lnTo>
                  <a:lnTo>
                    <a:pt x="2489455" y="200876"/>
                  </a:lnTo>
                  <a:lnTo>
                    <a:pt x="2489505" y="202260"/>
                  </a:lnTo>
                  <a:lnTo>
                    <a:pt x="2489505" y="202959"/>
                  </a:lnTo>
                  <a:lnTo>
                    <a:pt x="2489505" y="200228"/>
                  </a:lnTo>
                  <a:lnTo>
                    <a:pt x="2489505" y="202260"/>
                  </a:lnTo>
                  <a:lnTo>
                    <a:pt x="2489607" y="202959"/>
                  </a:lnTo>
                  <a:lnTo>
                    <a:pt x="2489607" y="200876"/>
                  </a:lnTo>
                  <a:lnTo>
                    <a:pt x="2489607" y="202260"/>
                  </a:lnTo>
                  <a:lnTo>
                    <a:pt x="2489658" y="202959"/>
                  </a:lnTo>
                  <a:lnTo>
                    <a:pt x="2489658" y="200876"/>
                  </a:lnTo>
                  <a:lnTo>
                    <a:pt x="2489658" y="202260"/>
                  </a:lnTo>
                  <a:lnTo>
                    <a:pt x="2489658" y="200876"/>
                  </a:lnTo>
                  <a:lnTo>
                    <a:pt x="2489658" y="202959"/>
                  </a:lnTo>
                  <a:lnTo>
                    <a:pt x="2489709" y="202260"/>
                  </a:lnTo>
                  <a:lnTo>
                    <a:pt x="2489747" y="202260"/>
                  </a:lnTo>
                  <a:lnTo>
                    <a:pt x="2489747" y="200876"/>
                  </a:lnTo>
                  <a:lnTo>
                    <a:pt x="2489747" y="202260"/>
                  </a:lnTo>
                  <a:lnTo>
                    <a:pt x="2489747" y="200876"/>
                  </a:lnTo>
                  <a:lnTo>
                    <a:pt x="2489848" y="200876"/>
                  </a:lnTo>
                  <a:lnTo>
                    <a:pt x="2489848" y="200228"/>
                  </a:lnTo>
                  <a:lnTo>
                    <a:pt x="2489848" y="200876"/>
                  </a:lnTo>
                  <a:lnTo>
                    <a:pt x="2489848" y="200228"/>
                  </a:lnTo>
                  <a:lnTo>
                    <a:pt x="2489848" y="200876"/>
                  </a:lnTo>
                  <a:lnTo>
                    <a:pt x="2489848" y="199530"/>
                  </a:lnTo>
                  <a:lnTo>
                    <a:pt x="2489899" y="199530"/>
                  </a:lnTo>
                  <a:lnTo>
                    <a:pt x="2489899" y="198831"/>
                  </a:lnTo>
                  <a:lnTo>
                    <a:pt x="2489899" y="199530"/>
                  </a:lnTo>
                  <a:lnTo>
                    <a:pt x="2489899" y="197447"/>
                  </a:lnTo>
                  <a:lnTo>
                    <a:pt x="2489899" y="198831"/>
                  </a:lnTo>
                  <a:lnTo>
                    <a:pt x="2489899" y="196799"/>
                  </a:lnTo>
                  <a:lnTo>
                    <a:pt x="2489899" y="198831"/>
                  </a:lnTo>
                  <a:lnTo>
                    <a:pt x="2489950" y="199530"/>
                  </a:lnTo>
                  <a:lnTo>
                    <a:pt x="2489950" y="200228"/>
                  </a:lnTo>
                  <a:lnTo>
                    <a:pt x="2489950" y="196799"/>
                  </a:lnTo>
                  <a:lnTo>
                    <a:pt x="2489950" y="200876"/>
                  </a:lnTo>
                  <a:lnTo>
                    <a:pt x="2490051" y="200876"/>
                  </a:lnTo>
                  <a:lnTo>
                    <a:pt x="2490051" y="199530"/>
                  </a:lnTo>
                  <a:lnTo>
                    <a:pt x="2490051" y="200876"/>
                  </a:lnTo>
                  <a:lnTo>
                    <a:pt x="2490102" y="200876"/>
                  </a:lnTo>
                  <a:lnTo>
                    <a:pt x="2490102" y="200228"/>
                  </a:lnTo>
                  <a:lnTo>
                    <a:pt x="2490102" y="200876"/>
                  </a:lnTo>
                  <a:lnTo>
                    <a:pt x="2490102" y="200228"/>
                  </a:lnTo>
                  <a:lnTo>
                    <a:pt x="2490102" y="200876"/>
                  </a:lnTo>
                  <a:lnTo>
                    <a:pt x="2490102" y="200228"/>
                  </a:lnTo>
                  <a:lnTo>
                    <a:pt x="2490102" y="202260"/>
                  </a:lnTo>
                  <a:lnTo>
                    <a:pt x="2490102" y="200876"/>
                  </a:lnTo>
                  <a:lnTo>
                    <a:pt x="2490153" y="200876"/>
                  </a:lnTo>
                  <a:lnTo>
                    <a:pt x="2490153" y="202260"/>
                  </a:lnTo>
                  <a:lnTo>
                    <a:pt x="2490153" y="200876"/>
                  </a:lnTo>
                  <a:lnTo>
                    <a:pt x="2490153" y="202260"/>
                  </a:lnTo>
                  <a:lnTo>
                    <a:pt x="2490204" y="202260"/>
                  </a:lnTo>
                  <a:lnTo>
                    <a:pt x="2490204" y="200876"/>
                  </a:lnTo>
                  <a:lnTo>
                    <a:pt x="2490204" y="202260"/>
                  </a:lnTo>
                  <a:lnTo>
                    <a:pt x="2490204" y="200876"/>
                  </a:lnTo>
                  <a:lnTo>
                    <a:pt x="2490204" y="202260"/>
                  </a:lnTo>
                  <a:lnTo>
                    <a:pt x="2490204" y="200876"/>
                  </a:lnTo>
                  <a:lnTo>
                    <a:pt x="2490293" y="200876"/>
                  </a:lnTo>
                  <a:lnTo>
                    <a:pt x="2490293" y="202260"/>
                  </a:lnTo>
                  <a:lnTo>
                    <a:pt x="2490293" y="200228"/>
                  </a:lnTo>
                  <a:lnTo>
                    <a:pt x="2490293" y="200876"/>
                  </a:lnTo>
                  <a:lnTo>
                    <a:pt x="2490293" y="200228"/>
                  </a:lnTo>
                  <a:lnTo>
                    <a:pt x="2490344" y="200228"/>
                  </a:lnTo>
                  <a:lnTo>
                    <a:pt x="2490344" y="200876"/>
                  </a:lnTo>
                  <a:lnTo>
                    <a:pt x="2490344" y="198831"/>
                  </a:lnTo>
                  <a:lnTo>
                    <a:pt x="2490394" y="198831"/>
                  </a:lnTo>
                  <a:lnTo>
                    <a:pt x="2490394" y="197447"/>
                  </a:lnTo>
                  <a:lnTo>
                    <a:pt x="2490394" y="199530"/>
                  </a:lnTo>
                  <a:lnTo>
                    <a:pt x="2490445" y="199530"/>
                  </a:lnTo>
                  <a:lnTo>
                    <a:pt x="2490445" y="198831"/>
                  </a:lnTo>
                  <a:lnTo>
                    <a:pt x="2490445" y="200876"/>
                  </a:lnTo>
                  <a:lnTo>
                    <a:pt x="2490445" y="200228"/>
                  </a:lnTo>
                  <a:lnTo>
                    <a:pt x="2490547" y="199530"/>
                  </a:lnTo>
                  <a:lnTo>
                    <a:pt x="2490547" y="200876"/>
                  </a:lnTo>
                  <a:lnTo>
                    <a:pt x="2490597" y="200876"/>
                  </a:lnTo>
                  <a:lnTo>
                    <a:pt x="2490597" y="200228"/>
                  </a:lnTo>
                  <a:lnTo>
                    <a:pt x="2490597" y="202260"/>
                  </a:lnTo>
                  <a:lnTo>
                    <a:pt x="2490597" y="200876"/>
                  </a:lnTo>
                  <a:lnTo>
                    <a:pt x="2490648" y="200876"/>
                  </a:lnTo>
                  <a:lnTo>
                    <a:pt x="2490648" y="200228"/>
                  </a:lnTo>
                  <a:lnTo>
                    <a:pt x="2490648" y="200876"/>
                  </a:lnTo>
                  <a:lnTo>
                    <a:pt x="2490750" y="200876"/>
                  </a:lnTo>
                  <a:lnTo>
                    <a:pt x="2490750" y="202260"/>
                  </a:lnTo>
                  <a:lnTo>
                    <a:pt x="2490750" y="200876"/>
                  </a:lnTo>
                  <a:lnTo>
                    <a:pt x="2490750" y="202260"/>
                  </a:lnTo>
                  <a:lnTo>
                    <a:pt x="2490750" y="200876"/>
                  </a:lnTo>
                  <a:lnTo>
                    <a:pt x="2490750" y="202260"/>
                  </a:lnTo>
                  <a:lnTo>
                    <a:pt x="2490750" y="200876"/>
                  </a:lnTo>
                  <a:lnTo>
                    <a:pt x="2490788" y="200876"/>
                  </a:lnTo>
                  <a:lnTo>
                    <a:pt x="2490788" y="199530"/>
                  </a:lnTo>
                  <a:lnTo>
                    <a:pt x="2490839" y="199530"/>
                  </a:lnTo>
                  <a:lnTo>
                    <a:pt x="2490839" y="200228"/>
                  </a:lnTo>
                  <a:lnTo>
                    <a:pt x="2490839" y="199530"/>
                  </a:lnTo>
                  <a:lnTo>
                    <a:pt x="2490839" y="200228"/>
                  </a:lnTo>
                  <a:lnTo>
                    <a:pt x="2490839" y="197447"/>
                  </a:lnTo>
                  <a:lnTo>
                    <a:pt x="2490890" y="197447"/>
                  </a:lnTo>
                  <a:lnTo>
                    <a:pt x="2490890" y="196799"/>
                  </a:lnTo>
                  <a:lnTo>
                    <a:pt x="2490890" y="198831"/>
                  </a:lnTo>
                  <a:lnTo>
                    <a:pt x="2490991" y="198831"/>
                  </a:lnTo>
                  <a:lnTo>
                    <a:pt x="2490991" y="196799"/>
                  </a:lnTo>
                  <a:lnTo>
                    <a:pt x="2490991" y="200228"/>
                  </a:lnTo>
                  <a:lnTo>
                    <a:pt x="2490991" y="198831"/>
                  </a:lnTo>
                  <a:lnTo>
                    <a:pt x="2491042" y="198831"/>
                  </a:lnTo>
                  <a:lnTo>
                    <a:pt x="2491042" y="200228"/>
                  </a:lnTo>
                  <a:lnTo>
                    <a:pt x="2491042" y="199530"/>
                  </a:lnTo>
                  <a:lnTo>
                    <a:pt x="2491093" y="200228"/>
                  </a:lnTo>
                  <a:lnTo>
                    <a:pt x="2491194" y="200228"/>
                  </a:lnTo>
                  <a:lnTo>
                    <a:pt x="2491194" y="200876"/>
                  </a:lnTo>
                  <a:lnTo>
                    <a:pt x="2491194" y="200228"/>
                  </a:lnTo>
                  <a:lnTo>
                    <a:pt x="2491194" y="200876"/>
                  </a:lnTo>
                  <a:lnTo>
                    <a:pt x="2491194" y="200228"/>
                  </a:lnTo>
                  <a:lnTo>
                    <a:pt x="2491194" y="200876"/>
                  </a:lnTo>
                  <a:lnTo>
                    <a:pt x="2491245" y="200876"/>
                  </a:lnTo>
                  <a:lnTo>
                    <a:pt x="2491245" y="200228"/>
                  </a:lnTo>
                  <a:lnTo>
                    <a:pt x="2491245" y="202260"/>
                  </a:lnTo>
                  <a:lnTo>
                    <a:pt x="2491245" y="200876"/>
                  </a:lnTo>
                  <a:lnTo>
                    <a:pt x="2491296" y="200228"/>
                  </a:lnTo>
                  <a:lnTo>
                    <a:pt x="2491296" y="202260"/>
                  </a:lnTo>
                  <a:lnTo>
                    <a:pt x="2491296" y="200228"/>
                  </a:lnTo>
                  <a:lnTo>
                    <a:pt x="2491296" y="200876"/>
                  </a:lnTo>
                  <a:lnTo>
                    <a:pt x="2491296" y="200228"/>
                  </a:lnTo>
                  <a:lnTo>
                    <a:pt x="2491334" y="200228"/>
                  </a:lnTo>
                  <a:lnTo>
                    <a:pt x="2491334" y="197447"/>
                  </a:lnTo>
                  <a:lnTo>
                    <a:pt x="2491436" y="196799"/>
                  </a:lnTo>
                  <a:lnTo>
                    <a:pt x="2491436" y="198831"/>
                  </a:lnTo>
                  <a:lnTo>
                    <a:pt x="2491436" y="196799"/>
                  </a:lnTo>
                  <a:lnTo>
                    <a:pt x="2491487" y="196113"/>
                  </a:lnTo>
                  <a:lnTo>
                    <a:pt x="2491487" y="200228"/>
                  </a:lnTo>
                  <a:lnTo>
                    <a:pt x="2491487" y="197447"/>
                  </a:lnTo>
                  <a:lnTo>
                    <a:pt x="2491537" y="197447"/>
                  </a:lnTo>
                  <a:lnTo>
                    <a:pt x="2491537" y="199530"/>
                  </a:lnTo>
                  <a:lnTo>
                    <a:pt x="2491537" y="198831"/>
                  </a:lnTo>
                  <a:lnTo>
                    <a:pt x="2491639" y="198831"/>
                  </a:lnTo>
                  <a:lnTo>
                    <a:pt x="2491639" y="199530"/>
                  </a:lnTo>
                  <a:lnTo>
                    <a:pt x="2491639" y="198831"/>
                  </a:lnTo>
                  <a:lnTo>
                    <a:pt x="2491690" y="198831"/>
                  </a:lnTo>
                  <a:lnTo>
                    <a:pt x="2491690" y="200228"/>
                  </a:lnTo>
                  <a:lnTo>
                    <a:pt x="2491690" y="199530"/>
                  </a:lnTo>
                  <a:lnTo>
                    <a:pt x="2491740" y="199530"/>
                  </a:lnTo>
                  <a:lnTo>
                    <a:pt x="2491740" y="200228"/>
                  </a:lnTo>
                  <a:lnTo>
                    <a:pt x="2491791" y="200228"/>
                  </a:lnTo>
                  <a:lnTo>
                    <a:pt x="2491791" y="199530"/>
                  </a:lnTo>
                  <a:lnTo>
                    <a:pt x="2491791" y="200228"/>
                  </a:lnTo>
                  <a:lnTo>
                    <a:pt x="2491791" y="199530"/>
                  </a:lnTo>
                  <a:lnTo>
                    <a:pt x="2491791" y="200228"/>
                  </a:lnTo>
                  <a:lnTo>
                    <a:pt x="2491880" y="199530"/>
                  </a:lnTo>
                  <a:lnTo>
                    <a:pt x="2491880" y="196799"/>
                  </a:lnTo>
                  <a:lnTo>
                    <a:pt x="2491880" y="197447"/>
                  </a:lnTo>
                  <a:lnTo>
                    <a:pt x="2491931" y="197447"/>
                  </a:lnTo>
                  <a:lnTo>
                    <a:pt x="2491931" y="199530"/>
                  </a:lnTo>
                  <a:lnTo>
                    <a:pt x="2491931" y="196113"/>
                  </a:lnTo>
                  <a:lnTo>
                    <a:pt x="2491931" y="196799"/>
                  </a:lnTo>
                  <a:lnTo>
                    <a:pt x="2491982" y="197447"/>
                  </a:lnTo>
                  <a:lnTo>
                    <a:pt x="2491982" y="200876"/>
                  </a:lnTo>
                  <a:lnTo>
                    <a:pt x="2491982" y="198831"/>
                  </a:lnTo>
                  <a:lnTo>
                    <a:pt x="2491982" y="199530"/>
                  </a:lnTo>
                  <a:lnTo>
                    <a:pt x="2492033" y="199530"/>
                  </a:lnTo>
                  <a:lnTo>
                    <a:pt x="2492033" y="200228"/>
                  </a:lnTo>
                  <a:lnTo>
                    <a:pt x="2492033" y="198831"/>
                  </a:lnTo>
                  <a:lnTo>
                    <a:pt x="2492033" y="199530"/>
                  </a:lnTo>
                  <a:lnTo>
                    <a:pt x="2492134" y="199530"/>
                  </a:lnTo>
                  <a:lnTo>
                    <a:pt x="2492134" y="200228"/>
                  </a:lnTo>
                  <a:lnTo>
                    <a:pt x="2492134" y="199530"/>
                  </a:lnTo>
                  <a:lnTo>
                    <a:pt x="2492134" y="200228"/>
                  </a:lnTo>
                  <a:lnTo>
                    <a:pt x="2492185" y="200228"/>
                  </a:lnTo>
                  <a:lnTo>
                    <a:pt x="2492185" y="199530"/>
                  </a:lnTo>
                  <a:lnTo>
                    <a:pt x="2492185" y="200876"/>
                  </a:lnTo>
                  <a:lnTo>
                    <a:pt x="2492236" y="200228"/>
                  </a:lnTo>
                  <a:lnTo>
                    <a:pt x="2492236" y="200876"/>
                  </a:lnTo>
                  <a:lnTo>
                    <a:pt x="2492236" y="200228"/>
                  </a:lnTo>
                  <a:lnTo>
                    <a:pt x="2492337" y="200228"/>
                  </a:lnTo>
                  <a:lnTo>
                    <a:pt x="2492337" y="199530"/>
                  </a:lnTo>
                  <a:lnTo>
                    <a:pt x="2492337" y="200228"/>
                  </a:lnTo>
                  <a:lnTo>
                    <a:pt x="2492337" y="199530"/>
                  </a:lnTo>
                  <a:lnTo>
                    <a:pt x="2492375" y="198831"/>
                  </a:lnTo>
                  <a:lnTo>
                    <a:pt x="2492375" y="196799"/>
                  </a:lnTo>
                  <a:lnTo>
                    <a:pt x="2492375" y="198831"/>
                  </a:lnTo>
                  <a:lnTo>
                    <a:pt x="2492426" y="198831"/>
                  </a:lnTo>
                  <a:lnTo>
                    <a:pt x="2492426" y="199530"/>
                  </a:lnTo>
                  <a:lnTo>
                    <a:pt x="2492426" y="197447"/>
                  </a:lnTo>
                  <a:lnTo>
                    <a:pt x="2492426" y="200876"/>
                  </a:lnTo>
                  <a:lnTo>
                    <a:pt x="2492477" y="200876"/>
                  </a:lnTo>
                  <a:lnTo>
                    <a:pt x="2492477" y="199530"/>
                  </a:lnTo>
                  <a:lnTo>
                    <a:pt x="2492477" y="200876"/>
                  </a:lnTo>
                  <a:lnTo>
                    <a:pt x="2492579" y="200876"/>
                  </a:lnTo>
                  <a:lnTo>
                    <a:pt x="2492579" y="199530"/>
                  </a:lnTo>
                  <a:lnTo>
                    <a:pt x="2492579" y="200228"/>
                  </a:lnTo>
                  <a:lnTo>
                    <a:pt x="2492630" y="200228"/>
                  </a:lnTo>
                  <a:lnTo>
                    <a:pt x="2492630" y="199530"/>
                  </a:lnTo>
                  <a:lnTo>
                    <a:pt x="2492630" y="200228"/>
                  </a:lnTo>
                  <a:lnTo>
                    <a:pt x="2492630" y="199530"/>
                  </a:lnTo>
                  <a:lnTo>
                    <a:pt x="2492630" y="200228"/>
                  </a:lnTo>
                  <a:lnTo>
                    <a:pt x="2492680" y="200228"/>
                  </a:lnTo>
                  <a:lnTo>
                    <a:pt x="2492680" y="199530"/>
                  </a:lnTo>
                  <a:lnTo>
                    <a:pt x="2492680" y="200228"/>
                  </a:lnTo>
                  <a:lnTo>
                    <a:pt x="2492782" y="200228"/>
                  </a:lnTo>
                  <a:lnTo>
                    <a:pt x="2492782" y="199530"/>
                  </a:lnTo>
                  <a:lnTo>
                    <a:pt x="2492833" y="199530"/>
                  </a:lnTo>
                  <a:lnTo>
                    <a:pt x="2492833" y="198831"/>
                  </a:lnTo>
                  <a:lnTo>
                    <a:pt x="2492833" y="199530"/>
                  </a:lnTo>
                  <a:lnTo>
                    <a:pt x="2492833" y="197447"/>
                  </a:lnTo>
                  <a:lnTo>
                    <a:pt x="2492884" y="197447"/>
                  </a:lnTo>
                  <a:lnTo>
                    <a:pt x="2492884" y="196113"/>
                  </a:lnTo>
                  <a:lnTo>
                    <a:pt x="2492884" y="198831"/>
                  </a:lnTo>
                  <a:lnTo>
                    <a:pt x="2492922" y="198831"/>
                  </a:lnTo>
                  <a:lnTo>
                    <a:pt x="2492922" y="196113"/>
                  </a:lnTo>
                  <a:lnTo>
                    <a:pt x="2492922" y="200228"/>
                  </a:lnTo>
                  <a:lnTo>
                    <a:pt x="2493023" y="200228"/>
                  </a:lnTo>
                  <a:lnTo>
                    <a:pt x="2493023" y="198831"/>
                  </a:lnTo>
                  <a:lnTo>
                    <a:pt x="2493023" y="200876"/>
                  </a:lnTo>
                  <a:lnTo>
                    <a:pt x="2493023" y="200228"/>
                  </a:lnTo>
                  <a:lnTo>
                    <a:pt x="2493074" y="199530"/>
                  </a:lnTo>
                  <a:lnTo>
                    <a:pt x="2493074" y="200228"/>
                  </a:lnTo>
                  <a:lnTo>
                    <a:pt x="2493074" y="199530"/>
                  </a:lnTo>
                  <a:lnTo>
                    <a:pt x="2493074" y="200876"/>
                  </a:lnTo>
                  <a:lnTo>
                    <a:pt x="2493074" y="200228"/>
                  </a:lnTo>
                  <a:lnTo>
                    <a:pt x="2493125" y="199530"/>
                  </a:lnTo>
                  <a:lnTo>
                    <a:pt x="2493125" y="200876"/>
                  </a:lnTo>
                  <a:lnTo>
                    <a:pt x="2493125" y="200228"/>
                  </a:lnTo>
                  <a:lnTo>
                    <a:pt x="2493125" y="200876"/>
                  </a:lnTo>
                  <a:lnTo>
                    <a:pt x="2493125" y="200228"/>
                  </a:lnTo>
                  <a:lnTo>
                    <a:pt x="2493226" y="199530"/>
                  </a:lnTo>
                  <a:lnTo>
                    <a:pt x="2493226" y="200228"/>
                  </a:lnTo>
                  <a:lnTo>
                    <a:pt x="2493226" y="199530"/>
                  </a:lnTo>
                  <a:lnTo>
                    <a:pt x="2493226" y="202260"/>
                  </a:lnTo>
                  <a:lnTo>
                    <a:pt x="2493226" y="200228"/>
                  </a:lnTo>
                  <a:lnTo>
                    <a:pt x="2493277" y="200228"/>
                  </a:lnTo>
                  <a:lnTo>
                    <a:pt x="2493277" y="200876"/>
                  </a:lnTo>
                  <a:lnTo>
                    <a:pt x="2493277" y="200228"/>
                  </a:lnTo>
                  <a:lnTo>
                    <a:pt x="2493328" y="199530"/>
                  </a:lnTo>
                  <a:lnTo>
                    <a:pt x="2493328" y="197447"/>
                  </a:lnTo>
                  <a:lnTo>
                    <a:pt x="2493379" y="197447"/>
                  </a:lnTo>
                  <a:lnTo>
                    <a:pt x="2493379" y="196113"/>
                  </a:lnTo>
                  <a:lnTo>
                    <a:pt x="2493379" y="197447"/>
                  </a:lnTo>
                  <a:lnTo>
                    <a:pt x="2493468" y="197447"/>
                  </a:lnTo>
                  <a:lnTo>
                    <a:pt x="2493468" y="196113"/>
                  </a:lnTo>
                  <a:lnTo>
                    <a:pt x="2493468" y="199530"/>
                  </a:lnTo>
                  <a:lnTo>
                    <a:pt x="2493519" y="198831"/>
                  </a:lnTo>
                  <a:lnTo>
                    <a:pt x="2493519" y="197447"/>
                  </a:lnTo>
                  <a:lnTo>
                    <a:pt x="2493519" y="198831"/>
                  </a:lnTo>
                  <a:lnTo>
                    <a:pt x="2493519" y="197447"/>
                  </a:lnTo>
                  <a:lnTo>
                    <a:pt x="2493519" y="199530"/>
                  </a:lnTo>
                  <a:lnTo>
                    <a:pt x="2493519" y="198831"/>
                  </a:lnTo>
                  <a:lnTo>
                    <a:pt x="2493519" y="199530"/>
                  </a:lnTo>
                  <a:lnTo>
                    <a:pt x="2493569" y="199530"/>
                  </a:lnTo>
                  <a:lnTo>
                    <a:pt x="2493569" y="198831"/>
                  </a:lnTo>
                  <a:lnTo>
                    <a:pt x="2493569" y="200228"/>
                  </a:lnTo>
                  <a:lnTo>
                    <a:pt x="2493569" y="199530"/>
                  </a:lnTo>
                  <a:lnTo>
                    <a:pt x="2493569" y="200228"/>
                  </a:lnTo>
                  <a:lnTo>
                    <a:pt x="2493569" y="199530"/>
                  </a:lnTo>
                  <a:lnTo>
                    <a:pt x="2493620" y="199530"/>
                  </a:lnTo>
                  <a:lnTo>
                    <a:pt x="2493620" y="200228"/>
                  </a:lnTo>
                  <a:lnTo>
                    <a:pt x="2493620" y="199530"/>
                  </a:lnTo>
                  <a:lnTo>
                    <a:pt x="2493620" y="200228"/>
                  </a:lnTo>
                  <a:lnTo>
                    <a:pt x="2493620" y="199530"/>
                  </a:lnTo>
                  <a:lnTo>
                    <a:pt x="2493620" y="200228"/>
                  </a:lnTo>
                  <a:lnTo>
                    <a:pt x="2493620" y="199530"/>
                  </a:lnTo>
                  <a:lnTo>
                    <a:pt x="2493620" y="200228"/>
                  </a:lnTo>
                  <a:lnTo>
                    <a:pt x="2493722" y="200228"/>
                  </a:lnTo>
                  <a:lnTo>
                    <a:pt x="2493722" y="200876"/>
                  </a:lnTo>
                  <a:lnTo>
                    <a:pt x="2493722" y="200228"/>
                  </a:lnTo>
                  <a:lnTo>
                    <a:pt x="2493722" y="200876"/>
                  </a:lnTo>
                  <a:lnTo>
                    <a:pt x="2493722" y="200228"/>
                  </a:lnTo>
                  <a:lnTo>
                    <a:pt x="2493772" y="200876"/>
                  </a:lnTo>
                  <a:lnTo>
                    <a:pt x="2493772" y="199530"/>
                  </a:lnTo>
                  <a:lnTo>
                    <a:pt x="2493772" y="200228"/>
                  </a:lnTo>
                  <a:lnTo>
                    <a:pt x="2493772" y="199530"/>
                  </a:lnTo>
                  <a:lnTo>
                    <a:pt x="2493772" y="200228"/>
                  </a:lnTo>
                  <a:lnTo>
                    <a:pt x="2493772" y="199530"/>
                  </a:lnTo>
                  <a:lnTo>
                    <a:pt x="2493823" y="200228"/>
                  </a:lnTo>
                  <a:lnTo>
                    <a:pt x="2493823" y="197447"/>
                  </a:lnTo>
                  <a:lnTo>
                    <a:pt x="2493925" y="197447"/>
                  </a:lnTo>
                  <a:lnTo>
                    <a:pt x="2493925" y="196113"/>
                  </a:lnTo>
                  <a:lnTo>
                    <a:pt x="2493925" y="196799"/>
                  </a:lnTo>
                  <a:lnTo>
                    <a:pt x="2493925" y="196113"/>
                  </a:lnTo>
                  <a:lnTo>
                    <a:pt x="2493925" y="196799"/>
                  </a:lnTo>
                  <a:lnTo>
                    <a:pt x="2493963" y="197447"/>
                  </a:lnTo>
                  <a:lnTo>
                    <a:pt x="2493963" y="195415"/>
                  </a:lnTo>
                  <a:lnTo>
                    <a:pt x="2493963" y="198831"/>
                  </a:lnTo>
                  <a:lnTo>
                    <a:pt x="2493963" y="197447"/>
                  </a:lnTo>
                  <a:lnTo>
                    <a:pt x="2494014" y="197447"/>
                  </a:lnTo>
                  <a:lnTo>
                    <a:pt x="2494014" y="196799"/>
                  </a:lnTo>
                  <a:lnTo>
                    <a:pt x="2494014" y="197447"/>
                  </a:lnTo>
                  <a:lnTo>
                    <a:pt x="2494014" y="196799"/>
                  </a:lnTo>
                  <a:lnTo>
                    <a:pt x="2494014" y="198831"/>
                  </a:lnTo>
                  <a:lnTo>
                    <a:pt x="2494014" y="197447"/>
                  </a:lnTo>
                  <a:lnTo>
                    <a:pt x="2494014" y="198831"/>
                  </a:lnTo>
                  <a:lnTo>
                    <a:pt x="2494065" y="198831"/>
                  </a:lnTo>
                  <a:lnTo>
                    <a:pt x="2494065" y="197447"/>
                  </a:lnTo>
                  <a:lnTo>
                    <a:pt x="2494065" y="199530"/>
                  </a:lnTo>
                  <a:lnTo>
                    <a:pt x="2494065" y="198831"/>
                  </a:lnTo>
                  <a:lnTo>
                    <a:pt x="2494166" y="198831"/>
                  </a:lnTo>
                  <a:lnTo>
                    <a:pt x="2494166" y="200228"/>
                  </a:lnTo>
                  <a:lnTo>
                    <a:pt x="2494166" y="199530"/>
                  </a:lnTo>
                  <a:lnTo>
                    <a:pt x="2494166" y="200228"/>
                  </a:lnTo>
                  <a:lnTo>
                    <a:pt x="2494217" y="199530"/>
                  </a:lnTo>
                  <a:lnTo>
                    <a:pt x="2494217" y="200228"/>
                  </a:lnTo>
                  <a:lnTo>
                    <a:pt x="2494217" y="199530"/>
                  </a:lnTo>
                  <a:lnTo>
                    <a:pt x="2494217" y="200228"/>
                  </a:lnTo>
                  <a:lnTo>
                    <a:pt x="2494268" y="200228"/>
                  </a:lnTo>
                  <a:lnTo>
                    <a:pt x="2494268" y="200876"/>
                  </a:lnTo>
                  <a:lnTo>
                    <a:pt x="2494268" y="199530"/>
                  </a:lnTo>
                  <a:lnTo>
                    <a:pt x="2494268" y="200228"/>
                  </a:lnTo>
                  <a:lnTo>
                    <a:pt x="2494268" y="199530"/>
                  </a:lnTo>
                  <a:lnTo>
                    <a:pt x="2494268" y="200228"/>
                  </a:lnTo>
                  <a:lnTo>
                    <a:pt x="2494268" y="199530"/>
                  </a:lnTo>
                  <a:lnTo>
                    <a:pt x="2494369" y="199530"/>
                  </a:lnTo>
                  <a:lnTo>
                    <a:pt x="2494369" y="198831"/>
                  </a:lnTo>
                  <a:lnTo>
                    <a:pt x="2494369" y="199530"/>
                  </a:lnTo>
                  <a:lnTo>
                    <a:pt x="2494369" y="197447"/>
                  </a:lnTo>
                  <a:lnTo>
                    <a:pt x="2494420" y="197447"/>
                  </a:lnTo>
                  <a:lnTo>
                    <a:pt x="2494420" y="196799"/>
                  </a:lnTo>
                  <a:lnTo>
                    <a:pt x="2494420" y="197447"/>
                  </a:lnTo>
                  <a:lnTo>
                    <a:pt x="2494420" y="196799"/>
                  </a:lnTo>
                  <a:lnTo>
                    <a:pt x="2494471" y="196799"/>
                  </a:lnTo>
                  <a:lnTo>
                    <a:pt x="2494471" y="197447"/>
                  </a:lnTo>
                  <a:lnTo>
                    <a:pt x="2494471" y="196799"/>
                  </a:lnTo>
                  <a:lnTo>
                    <a:pt x="2494471" y="198831"/>
                  </a:lnTo>
                  <a:lnTo>
                    <a:pt x="2494471" y="197447"/>
                  </a:lnTo>
                  <a:lnTo>
                    <a:pt x="2494509" y="197447"/>
                  </a:lnTo>
                  <a:lnTo>
                    <a:pt x="2494509" y="198831"/>
                  </a:lnTo>
                  <a:lnTo>
                    <a:pt x="2494509" y="196799"/>
                  </a:lnTo>
                  <a:lnTo>
                    <a:pt x="2494611" y="197447"/>
                  </a:lnTo>
                  <a:lnTo>
                    <a:pt x="2494611" y="198831"/>
                  </a:lnTo>
                  <a:lnTo>
                    <a:pt x="2494611" y="197447"/>
                  </a:lnTo>
                  <a:lnTo>
                    <a:pt x="2494611" y="198831"/>
                  </a:lnTo>
                  <a:lnTo>
                    <a:pt x="2494662" y="198831"/>
                  </a:lnTo>
                  <a:lnTo>
                    <a:pt x="2494662" y="199530"/>
                  </a:lnTo>
                  <a:lnTo>
                    <a:pt x="2494712" y="198831"/>
                  </a:lnTo>
                  <a:lnTo>
                    <a:pt x="2494712" y="199530"/>
                  </a:lnTo>
                  <a:lnTo>
                    <a:pt x="2494712" y="198831"/>
                  </a:lnTo>
                  <a:lnTo>
                    <a:pt x="2494712" y="199530"/>
                  </a:lnTo>
                  <a:lnTo>
                    <a:pt x="2494712" y="198831"/>
                  </a:lnTo>
                  <a:lnTo>
                    <a:pt x="2494712" y="199530"/>
                  </a:lnTo>
                  <a:lnTo>
                    <a:pt x="2494814" y="199530"/>
                  </a:lnTo>
                  <a:lnTo>
                    <a:pt x="2494814" y="198831"/>
                  </a:lnTo>
                  <a:lnTo>
                    <a:pt x="2494814" y="199530"/>
                  </a:lnTo>
                  <a:lnTo>
                    <a:pt x="2494814" y="198831"/>
                  </a:lnTo>
                  <a:lnTo>
                    <a:pt x="2494814" y="199530"/>
                  </a:lnTo>
                  <a:lnTo>
                    <a:pt x="2494814" y="198831"/>
                  </a:lnTo>
                  <a:lnTo>
                    <a:pt x="2494865" y="198831"/>
                  </a:lnTo>
                  <a:lnTo>
                    <a:pt x="2494865" y="197447"/>
                  </a:lnTo>
                  <a:lnTo>
                    <a:pt x="2494865" y="198831"/>
                  </a:lnTo>
                  <a:lnTo>
                    <a:pt x="2494865" y="197447"/>
                  </a:lnTo>
                  <a:lnTo>
                    <a:pt x="2494865" y="198831"/>
                  </a:lnTo>
                  <a:lnTo>
                    <a:pt x="2494915" y="198831"/>
                  </a:lnTo>
                  <a:lnTo>
                    <a:pt x="2494915" y="197447"/>
                  </a:lnTo>
                  <a:lnTo>
                    <a:pt x="2494915" y="198831"/>
                  </a:lnTo>
                  <a:lnTo>
                    <a:pt x="2494915" y="197447"/>
                  </a:lnTo>
                  <a:lnTo>
                    <a:pt x="2494915" y="198831"/>
                  </a:lnTo>
                  <a:lnTo>
                    <a:pt x="2494915" y="197447"/>
                  </a:lnTo>
                  <a:lnTo>
                    <a:pt x="2494915" y="198831"/>
                  </a:lnTo>
                  <a:lnTo>
                    <a:pt x="2494915" y="197447"/>
                  </a:lnTo>
                  <a:lnTo>
                    <a:pt x="2494966" y="198831"/>
                  </a:lnTo>
                  <a:lnTo>
                    <a:pt x="2494966" y="200228"/>
                  </a:lnTo>
                  <a:lnTo>
                    <a:pt x="2494966" y="199530"/>
                  </a:lnTo>
                  <a:lnTo>
                    <a:pt x="2494966" y="200228"/>
                  </a:lnTo>
                  <a:lnTo>
                    <a:pt x="2494966" y="199530"/>
                  </a:lnTo>
                  <a:lnTo>
                    <a:pt x="2495055" y="199530"/>
                  </a:lnTo>
                  <a:lnTo>
                    <a:pt x="2495055" y="200228"/>
                  </a:lnTo>
                  <a:lnTo>
                    <a:pt x="2495055" y="199530"/>
                  </a:lnTo>
                  <a:lnTo>
                    <a:pt x="2495106" y="200228"/>
                  </a:lnTo>
                  <a:lnTo>
                    <a:pt x="2495106" y="199530"/>
                  </a:lnTo>
                  <a:lnTo>
                    <a:pt x="2495106" y="200228"/>
                  </a:lnTo>
                  <a:lnTo>
                    <a:pt x="2495106" y="199530"/>
                  </a:lnTo>
                  <a:lnTo>
                    <a:pt x="2495106" y="200876"/>
                  </a:lnTo>
                  <a:lnTo>
                    <a:pt x="2495157" y="200876"/>
                  </a:lnTo>
                  <a:lnTo>
                    <a:pt x="2495157" y="200228"/>
                  </a:lnTo>
                  <a:lnTo>
                    <a:pt x="2495208" y="200228"/>
                  </a:lnTo>
                  <a:lnTo>
                    <a:pt x="2495208" y="199530"/>
                  </a:lnTo>
                  <a:lnTo>
                    <a:pt x="2495208" y="200228"/>
                  </a:lnTo>
                  <a:lnTo>
                    <a:pt x="2495309" y="200228"/>
                  </a:lnTo>
                  <a:lnTo>
                    <a:pt x="2495309" y="199530"/>
                  </a:lnTo>
                  <a:lnTo>
                    <a:pt x="2495360" y="199530"/>
                  </a:lnTo>
                  <a:lnTo>
                    <a:pt x="2495360" y="197447"/>
                  </a:lnTo>
                  <a:lnTo>
                    <a:pt x="2495411" y="196799"/>
                  </a:lnTo>
                  <a:lnTo>
                    <a:pt x="2495411" y="199530"/>
                  </a:lnTo>
                  <a:lnTo>
                    <a:pt x="2495411" y="196799"/>
                  </a:lnTo>
                  <a:lnTo>
                    <a:pt x="2495411" y="199530"/>
                  </a:lnTo>
                  <a:lnTo>
                    <a:pt x="2495512" y="199530"/>
                  </a:lnTo>
                  <a:lnTo>
                    <a:pt x="2495512" y="200228"/>
                  </a:lnTo>
                  <a:lnTo>
                    <a:pt x="2495512" y="199530"/>
                  </a:lnTo>
                  <a:lnTo>
                    <a:pt x="2495512" y="200228"/>
                  </a:lnTo>
                  <a:lnTo>
                    <a:pt x="2495550" y="200228"/>
                  </a:lnTo>
                  <a:lnTo>
                    <a:pt x="2495550" y="200876"/>
                  </a:lnTo>
                  <a:lnTo>
                    <a:pt x="2495550" y="200228"/>
                  </a:lnTo>
                  <a:lnTo>
                    <a:pt x="2495550" y="200876"/>
                  </a:lnTo>
                  <a:lnTo>
                    <a:pt x="2495550" y="200228"/>
                  </a:lnTo>
                  <a:lnTo>
                    <a:pt x="2495601" y="200228"/>
                  </a:lnTo>
                  <a:lnTo>
                    <a:pt x="2495601" y="200876"/>
                  </a:lnTo>
                  <a:lnTo>
                    <a:pt x="2495601" y="200228"/>
                  </a:lnTo>
                  <a:lnTo>
                    <a:pt x="2495601" y="200876"/>
                  </a:lnTo>
                  <a:lnTo>
                    <a:pt x="2495601" y="200228"/>
                  </a:lnTo>
                  <a:lnTo>
                    <a:pt x="2495652" y="200876"/>
                  </a:lnTo>
                  <a:lnTo>
                    <a:pt x="2495652" y="200228"/>
                  </a:lnTo>
                  <a:lnTo>
                    <a:pt x="2495652" y="200876"/>
                  </a:lnTo>
                  <a:lnTo>
                    <a:pt x="2495652" y="200228"/>
                  </a:lnTo>
                  <a:lnTo>
                    <a:pt x="2495754" y="200876"/>
                  </a:lnTo>
                  <a:lnTo>
                    <a:pt x="2495754" y="200228"/>
                  </a:lnTo>
                  <a:lnTo>
                    <a:pt x="2495754" y="200876"/>
                  </a:lnTo>
                  <a:lnTo>
                    <a:pt x="2495754" y="199530"/>
                  </a:lnTo>
                  <a:lnTo>
                    <a:pt x="2495754" y="200228"/>
                  </a:lnTo>
                  <a:lnTo>
                    <a:pt x="2495805" y="200228"/>
                  </a:lnTo>
                  <a:lnTo>
                    <a:pt x="2495805" y="198831"/>
                  </a:lnTo>
                  <a:lnTo>
                    <a:pt x="2495805" y="199530"/>
                  </a:lnTo>
                  <a:lnTo>
                    <a:pt x="2495805" y="198831"/>
                  </a:lnTo>
                  <a:lnTo>
                    <a:pt x="2495855" y="198831"/>
                  </a:lnTo>
                  <a:lnTo>
                    <a:pt x="2495855" y="197447"/>
                  </a:lnTo>
                  <a:lnTo>
                    <a:pt x="2495855" y="198831"/>
                  </a:lnTo>
                  <a:lnTo>
                    <a:pt x="2495855" y="195415"/>
                  </a:lnTo>
                  <a:lnTo>
                    <a:pt x="2495855" y="196799"/>
                  </a:lnTo>
                  <a:lnTo>
                    <a:pt x="2495957" y="196799"/>
                  </a:lnTo>
                  <a:lnTo>
                    <a:pt x="2495957" y="198831"/>
                  </a:lnTo>
                  <a:lnTo>
                    <a:pt x="2495957" y="196113"/>
                  </a:lnTo>
                  <a:lnTo>
                    <a:pt x="2495957" y="198831"/>
                  </a:lnTo>
                  <a:lnTo>
                    <a:pt x="2496008" y="199530"/>
                  </a:lnTo>
                  <a:lnTo>
                    <a:pt x="2496008" y="198831"/>
                  </a:lnTo>
                  <a:lnTo>
                    <a:pt x="2496008" y="199530"/>
                  </a:lnTo>
                  <a:lnTo>
                    <a:pt x="2496059" y="199530"/>
                  </a:lnTo>
                  <a:lnTo>
                    <a:pt x="2496059" y="198831"/>
                  </a:lnTo>
                  <a:lnTo>
                    <a:pt x="2496059" y="199530"/>
                  </a:lnTo>
                  <a:lnTo>
                    <a:pt x="2496059" y="198831"/>
                  </a:lnTo>
                  <a:lnTo>
                    <a:pt x="2496059" y="200228"/>
                  </a:lnTo>
                  <a:lnTo>
                    <a:pt x="2496097" y="200228"/>
                  </a:lnTo>
                  <a:lnTo>
                    <a:pt x="2496097" y="199530"/>
                  </a:lnTo>
                  <a:lnTo>
                    <a:pt x="2496097" y="200876"/>
                  </a:lnTo>
                  <a:lnTo>
                    <a:pt x="2496097" y="200228"/>
                  </a:lnTo>
                  <a:lnTo>
                    <a:pt x="2496198" y="200228"/>
                  </a:lnTo>
                  <a:lnTo>
                    <a:pt x="2496198" y="200876"/>
                  </a:lnTo>
                  <a:lnTo>
                    <a:pt x="2496198" y="200228"/>
                  </a:lnTo>
                  <a:lnTo>
                    <a:pt x="2496198" y="200876"/>
                  </a:lnTo>
                  <a:lnTo>
                    <a:pt x="2496198" y="200228"/>
                  </a:lnTo>
                  <a:lnTo>
                    <a:pt x="2496249" y="200228"/>
                  </a:lnTo>
                  <a:lnTo>
                    <a:pt x="2496249" y="200876"/>
                  </a:lnTo>
                  <a:lnTo>
                    <a:pt x="2496249" y="200228"/>
                  </a:lnTo>
                  <a:lnTo>
                    <a:pt x="2496249" y="200876"/>
                  </a:lnTo>
                  <a:lnTo>
                    <a:pt x="2496249" y="200228"/>
                  </a:lnTo>
                  <a:lnTo>
                    <a:pt x="2496300" y="200228"/>
                  </a:lnTo>
                  <a:lnTo>
                    <a:pt x="2496300" y="198831"/>
                  </a:lnTo>
                  <a:lnTo>
                    <a:pt x="2496300" y="199530"/>
                  </a:lnTo>
                  <a:lnTo>
                    <a:pt x="2496401" y="199530"/>
                  </a:lnTo>
                  <a:lnTo>
                    <a:pt x="2496401" y="196799"/>
                  </a:lnTo>
                  <a:lnTo>
                    <a:pt x="2496401" y="199530"/>
                  </a:lnTo>
                  <a:lnTo>
                    <a:pt x="2496452" y="198831"/>
                  </a:lnTo>
                  <a:lnTo>
                    <a:pt x="2496452" y="196113"/>
                  </a:lnTo>
                  <a:lnTo>
                    <a:pt x="2496452" y="200228"/>
                  </a:lnTo>
                  <a:lnTo>
                    <a:pt x="2496452" y="199530"/>
                  </a:lnTo>
                  <a:lnTo>
                    <a:pt x="2496503" y="199530"/>
                  </a:lnTo>
                  <a:lnTo>
                    <a:pt x="2496503" y="197447"/>
                  </a:lnTo>
                  <a:lnTo>
                    <a:pt x="2496503" y="200228"/>
                  </a:lnTo>
                  <a:lnTo>
                    <a:pt x="2496503" y="199530"/>
                  </a:lnTo>
                  <a:lnTo>
                    <a:pt x="2496554" y="200228"/>
                  </a:lnTo>
                  <a:lnTo>
                    <a:pt x="2496554" y="199530"/>
                  </a:lnTo>
                  <a:lnTo>
                    <a:pt x="2496554" y="200228"/>
                  </a:lnTo>
                  <a:lnTo>
                    <a:pt x="2496643" y="200228"/>
                  </a:lnTo>
                  <a:lnTo>
                    <a:pt x="2496643" y="200876"/>
                  </a:lnTo>
                  <a:lnTo>
                    <a:pt x="2496643" y="200228"/>
                  </a:lnTo>
                  <a:lnTo>
                    <a:pt x="2496694" y="200228"/>
                  </a:lnTo>
                  <a:lnTo>
                    <a:pt x="2496694" y="200876"/>
                  </a:lnTo>
                  <a:lnTo>
                    <a:pt x="2496694" y="200228"/>
                  </a:lnTo>
                  <a:lnTo>
                    <a:pt x="2496694" y="200876"/>
                  </a:lnTo>
                  <a:lnTo>
                    <a:pt x="2496744" y="200228"/>
                  </a:lnTo>
                  <a:lnTo>
                    <a:pt x="2496744" y="200876"/>
                  </a:lnTo>
                  <a:lnTo>
                    <a:pt x="2496744" y="200228"/>
                  </a:lnTo>
                  <a:lnTo>
                    <a:pt x="2496795" y="200228"/>
                  </a:lnTo>
                  <a:lnTo>
                    <a:pt x="2496795" y="198831"/>
                  </a:lnTo>
                  <a:lnTo>
                    <a:pt x="2496795" y="199530"/>
                  </a:lnTo>
                  <a:lnTo>
                    <a:pt x="2496795" y="198831"/>
                  </a:lnTo>
                  <a:lnTo>
                    <a:pt x="2496795" y="199530"/>
                  </a:lnTo>
                  <a:lnTo>
                    <a:pt x="2496795" y="198831"/>
                  </a:lnTo>
                  <a:lnTo>
                    <a:pt x="2496897" y="198831"/>
                  </a:lnTo>
                  <a:lnTo>
                    <a:pt x="2496897" y="196799"/>
                  </a:lnTo>
                  <a:lnTo>
                    <a:pt x="2496897" y="197447"/>
                  </a:lnTo>
                  <a:lnTo>
                    <a:pt x="2496897" y="196799"/>
                  </a:lnTo>
                  <a:lnTo>
                    <a:pt x="2496897" y="197447"/>
                  </a:lnTo>
                  <a:lnTo>
                    <a:pt x="2496897" y="196799"/>
                  </a:lnTo>
                  <a:lnTo>
                    <a:pt x="2496947" y="196799"/>
                  </a:lnTo>
                  <a:lnTo>
                    <a:pt x="2496947" y="197447"/>
                  </a:lnTo>
                  <a:lnTo>
                    <a:pt x="2496947" y="196113"/>
                  </a:lnTo>
                  <a:lnTo>
                    <a:pt x="2496947" y="199530"/>
                  </a:lnTo>
                  <a:lnTo>
                    <a:pt x="2496998" y="199530"/>
                  </a:lnTo>
                  <a:lnTo>
                    <a:pt x="2496998" y="197447"/>
                  </a:lnTo>
                  <a:lnTo>
                    <a:pt x="2496998" y="199530"/>
                  </a:lnTo>
                  <a:lnTo>
                    <a:pt x="2497100" y="199530"/>
                  </a:lnTo>
                  <a:lnTo>
                    <a:pt x="2497100" y="198831"/>
                  </a:lnTo>
                  <a:lnTo>
                    <a:pt x="2497100" y="199530"/>
                  </a:lnTo>
                  <a:lnTo>
                    <a:pt x="2497100" y="198831"/>
                  </a:lnTo>
                  <a:lnTo>
                    <a:pt x="2497100" y="199530"/>
                  </a:lnTo>
                  <a:lnTo>
                    <a:pt x="2497138" y="199530"/>
                  </a:lnTo>
                  <a:lnTo>
                    <a:pt x="2497138" y="200228"/>
                  </a:lnTo>
                  <a:lnTo>
                    <a:pt x="2497189" y="200228"/>
                  </a:lnTo>
                  <a:lnTo>
                    <a:pt x="2497189" y="200876"/>
                  </a:lnTo>
                  <a:lnTo>
                    <a:pt x="2497189" y="200228"/>
                  </a:lnTo>
                  <a:lnTo>
                    <a:pt x="2497189" y="200876"/>
                  </a:lnTo>
                  <a:lnTo>
                    <a:pt x="2497189" y="200228"/>
                  </a:lnTo>
                  <a:lnTo>
                    <a:pt x="2497189" y="200876"/>
                  </a:lnTo>
                  <a:lnTo>
                    <a:pt x="2497189" y="200228"/>
                  </a:lnTo>
                  <a:lnTo>
                    <a:pt x="2497189" y="200876"/>
                  </a:lnTo>
                  <a:lnTo>
                    <a:pt x="2497189" y="200228"/>
                  </a:lnTo>
                  <a:lnTo>
                    <a:pt x="2497189" y="200876"/>
                  </a:lnTo>
                  <a:lnTo>
                    <a:pt x="2497240" y="200876"/>
                  </a:lnTo>
                  <a:lnTo>
                    <a:pt x="2497240" y="200228"/>
                  </a:lnTo>
                  <a:lnTo>
                    <a:pt x="2497240" y="200876"/>
                  </a:lnTo>
                  <a:lnTo>
                    <a:pt x="2497240" y="200228"/>
                  </a:lnTo>
                  <a:lnTo>
                    <a:pt x="2497341" y="200228"/>
                  </a:lnTo>
                  <a:lnTo>
                    <a:pt x="2497341" y="198831"/>
                  </a:lnTo>
                  <a:lnTo>
                    <a:pt x="2497392" y="198831"/>
                  </a:lnTo>
                  <a:lnTo>
                    <a:pt x="2497392" y="197447"/>
                  </a:lnTo>
                  <a:lnTo>
                    <a:pt x="2497392" y="198831"/>
                  </a:lnTo>
                  <a:lnTo>
                    <a:pt x="2497392" y="197447"/>
                  </a:lnTo>
                  <a:lnTo>
                    <a:pt x="2497443" y="197447"/>
                  </a:lnTo>
                  <a:lnTo>
                    <a:pt x="2497443" y="196113"/>
                  </a:lnTo>
                  <a:lnTo>
                    <a:pt x="2497443" y="200228"/>
                  </a:lnTo>
                  <a:lnTo>
                    <a:pt x="2497443" y="198831"/>
                  </a:lnTo>
                  <a:lnTo>
                    <a:pt x="2497544" y="198831"/>
                  </a:lnTo>
                  <a:lnTo>
                    <a:pt x="2497544" y="197447"/>
                  </a:lnTo>
                  <a:lnTo>
                    <a:pt x="2497544" y="200228"/>
                  </a:lnTo>
                  <a:lnTo>
                    <a:pt x="2497544" y="199530"/>
                  </a:lnTo>
                  <a:lnTo>
                    <a:pt x="2497595" y="198831"/>
                  </a:lnTo>
                  <a:lnTo>
                    <a:pt x="2497595" y="199530"/>
                  </a:lnTo>
                  <a:lnTo>
                    <a:pt x="2497595" y="198831"/>
                  </a:lnTo>
                  <a:lnTo>
                    <a:pt x="2497595" y="199530"/>
                  </a:lnTo>
                  <a:lnTo>
                    <a:pt x="2497595" y="198831"/>
                  </a:lnTo>
                  <a:lnTo>
                    <a:pt x="2497595" y="199530"/>
                  </a:lnTo>
                  <a:lnTo>
                    <a:pt x="2497646" y="199530"/>
                  </a:lnTo>
                  <a:lnTo>
                    <a:pt x="2497646" y="198831"/>
                  </a:lnTo>
                  <a:lnTo>
                    <a:pt x="2497646" y="200228"/>
                  </a:lnTo>
                  <a:lnTo>
                    <a:pt x="2497646" y="199530"/>
                  </a:lnTo>
                  <a:lnTo>
                    <a:pt x="2497684" y="199530"/>
                  </a:lnTo>
                  <a:lnTo>
                    <a:pt x="2497684" y="200228"/>
                  </a:lnTo>
                  <a:lnTo>
                    <a:pt x="2497684" y="199530"/>
                  </a:lnTo>
                  <a:lnTo>
                    <a:pt x="2497684" y="200228"/>
                  </a:lnTo>
                  <a:lnTo>
                    <a:pt x="2497684" y="199530"/>
                  </a:lnTo>
                  <a:lnTo>
                    <a:pt x="2497786" y="199530"/>
                  </a:lnTo>
                  <a:lnTo>
                    <a:pt x="2497786" y="200228"/>
                  </a:lnTo>
                  <a:lnTo>
                    <a:pt x="2497786" y="199530"/>
                  </a:lnTo>
                  <a:lnTo>
                    <a:pt x="2497786" y="200228"/>
                  </a:lnTo>
                  <a:lnTo>
                    <a:pt x="2497786" y="199530"/>
                  </a:lnTo>
                  <a:lnTo>
                    <a:pt x="2497786" y="200228"/>
                  </a:lnTo>
                  <a:lnTo>
                    <a:pt x="2497786" y="199530"/>
                  </a:lnTo>
                  <a:lnTo>
                    <a:pt x="2497837" y="199530"/>
                  </a:lnTo>
                  <a:lnTo>
                    <a:pt x="2497837" y="198831"/>
                  </a:lnTo>
                  <a:lnTo>
                    <a:pt x="2497837" y="199530"/>
                  </a:lnTo>
                  <a:lnTo>
                    <a:pt x="2497837" y="197447"/>
                  </a:lnTo>
                  <a:lnTo>
                    <a:pt x="2497887" y="197447"/>
                  </a:lnTo>
                  <a:lnTo>
                    <a:pt x="2497887" y="200228"/>
                  </a:lnTo>
                  <a:lnTo>
                    <a:pt x="2497887" y="197447"/>
                  </a:lnTo>
                  <a:lnTo>
                    <a:pt x="2497887" y="198831"/>
                  </a:lnTo>
                  <a:lnTo>
                    <a:pt x="2497989" y="199530"/>
                  </a:lnTo>
                  <a:lnTo>
                    <a:pt x="2497989" y="200876"/>
                  </a:lnTo>
                  <a:lnTo>
                    <a:pt x="2497989" y="199530"/>
                  </a:lnTo>
                  <a:lnTo>
                    <a:pt x="2497989" y="200228"/>
                  </a:lnTo>
                  <a:lnTo>
                    <a:pt x="2498040" y="200228"/>
                  </a:lnTo>
                  <a:lnTo>
                    <a:pt x="2498040" y="200876"/>
                  </a:lnTo>
                  <a:lnTo>
                    <a:pt x="2498040" y="200228"/>
                  </a:lnTo>
                  <a:lnTo>
                    <a:pt x="2498040" y="200876"/>
                  </a:lnTo>
                  <a:lnTo>
                    <a:pt x="2498040" y="200228"/>
                  </a:lnTo>
                  <a:lnTo>
                    <a:pt x="2498090" y="200876"/>
                  </a:lnTo>
                  <a:lnTo>
                    <a:pt x="2498090" y="200228"/>
                  </a:lnTo>
                  <a:lnTo>
                    <a:pt x="2498090" y="200876"/>
                  </a:lnTo>
                  <a:lnTo>
                    <a:pt x="2498090" y="200228"/>
                  </a:lnTo>
                  <a:lnTo>
                    <a:pt x="2498090" y="200876"/>
                  </a:lnTo>
                  <a:lnTo>
                    <a:pt x="2498090" y="200228"/>
                  </a:lnTo>
                  <a:lnTo>
                    <a:pt x="2498141" y="200876"/>
                  </a:lnTo>
                  <a:lnTo>
                    <a:pt x="2498141" y="202260"/>
                  </a:lnTo>
                  <a:lnTo>
                    <a:pt x="2498141" y="200228"/>
                  </a:lnTo>
                  <a:lnTo>
                    <a:pt x="2498141" y="200876"/>
                  </a:lnTo>
                  <a:lnTo>
                    <a:pt x="2498230" y="200876"/>
                  </a:lnTo>
                  <a:lnTo>
                    <a:pt x="2498230" y="200228"/>
                  </a:lnTo>
                  <a:lnTo>
                    <a:pt x="2498230" y="200876"/>
                  </a:lnTo>
                  <a:lnTo>
                    <a:pt x="2498230" y="200228"/>
                  </a:lnTo>
                  <a:lnTo>
                    <a:pt x="2498230" y="200876"/>
                  </a:lnTo>
                  <a:lnTo>
                    <a:pt x="2498230" y="200228"/>
                  </a:lnTo>
                  <a:lnTo>
                    <a:pt x="2498230" y="200876"/>
                  </a:lnTo>
                  <a:lnTo>
                    <a:pt x="2498281" y="200876"/>
                  </a:lnTo>
                  <a:lnTo>
                    <a:pt x="2498281" y="199530"/>
                  </a:lnTo>
                  <a:lnTo>
                    <a:pt x="2498281" y="200228"/>
                  </a:lnTo>
                  <a:lnTo>
                    <a:pt x="2498281" y="199530"/>
                  </a:lnTo>
                  <a:lnTo>
                    <a:pt x="2498281" y="200228"/>
                  </a:lnTo>
                  <a:lnTo>
                    <a:pt x="2498281" y="199530"/>
                  </a:lnTo>
                  <a:lnTo>
                    <a:pt x="2498332" y="199530"/>
                  </a:lnTo>
                  <a:lnTo>
                    <a:pt x="2498332" y="197447"/>
                  </a:lnTo>
                  <a:lnTo>
                    <a:pt x="2498332" y="199530"/>
                  </a:lnTo>
                  <a:lnTo>
                    <a:pt x="2498383" y="200228"/>
                  </a:lnTo>
                  <a:lnTo>
                    <a:pt x="2498383" y="198831"/>
                  </a:lnTo>
                  <a:lnTo>
                    <a:pt x="2498383" y="199530"/>
                  </a:lnTo>
                  <a:lnTo>
                    <a:pt x="2498383" y="197447"/>
                  </a:lnTo>
                  <a:lnTo>
                    <a:pt x="2498383" y="202260"/>
                  </a:lnTo>
                  <a:lnTo>
                    <a:pt x="2498484" y="202260"/>
                  </a:lnTo>
                  <a:lnTo>
                    <a:pt x="2498484" y="200876"/>
                  </a:lnTo>
                  <a:lnTo>
                    <a:pt x="2498484" y="202260"/>
                  </a:lnTo>
                  <a:lnTo>
                    <a:pt x="2498484" y="200228"/>
                  </a:lnTo>
                  <a:lnTo>
                    <a:pt x="2498484" y="202260"/>
                  </a:lnTo>
                  <a:lnTo>
                    <a:pt x="2498535" y="202260"/>
                  </a:lnTo>
                  <a:lnTo>
                    <a:pt x="2498535" y="200228"/>
                  </a:lnTo>
                  <a:lnTo>
                    <a:pt x="2498535" y="202260"/>
                  </a:lnTo>
                  <a:lnTo>
                    <a:pt x="2498535" y="200876"/>
                  </a:lnTo>
                  <a:lnTo>
                    <a:pt x="2498687" y="200876"/>
                  </a:lnTo>
                  <a:lnTo>
                    <a:pt x="2498687" y="200228"/>
                  </a:lnTo>
                  <a:lnTo>
                    <a:pt x="2498687" y="202260"/>
                  </a:lnTo>
                  <a:lnTo>
                    <a:pt x="2498687" y="200876"/>
                  </a:lnTo>
                  <a:lnTo>
                    <a:pt x="2498687" y="202260"/>
                  </a:lnTo>
                  <a:lnTo>
                    <a:pt x="2498687" y="200876"/>
                  </a:lnTo>
                  <a:lnTo>
                    <a:pt x="2498687" y="202260"/>
                  </a:lnTo>
                  <a:lnTo>
                    <a:pt x="2498687" y="200876"/>
                  </a:lnTo>
                  <a:lnTo>
                    <a:pt x="2498725" y="200876"/>
                  </a:lnTo>
                  <a:lnTo>
                    <a:pt x="2498725" y="200228"/>
                  </a:lnTo>
                  <a:lnTo>
                    <a:pt x="2498776" y="200228"/>
                  </a:lnTo>
                  <a:lnTo>
                    <a:pt x="2498776" y="197447"/>
                  </a:lnTo>
                  <a:lnTo>
                    <a:pt x="2498776" y="198831"/>
                  </a:lnTo>
                  <a:lnTo>
                    <a:pt x="2498776" y="197447"/>
                  </a:lnTo>
                  <a:lnTo>
                    <a:pt x="2498776" y="198831"/>
                  </a:lnTo>
                  <a:lnTo>
                    <a:pt x="2498827" y="198831"/>
                  </a:lnTo>
                  <a:lnTo>
                    <a:pt x="2498827" y="196799"/>
                  </a:lnTo>
                  <a:lnTo>
                    <a:pt x="2498827" y="199530"/>
                  </a:lnTo>
                  <a:lnTo>
                    <a:pt x="2498827" y="198831"/>
                  </a:lnTo>
                  <a:lnTo>
                    <a:pt x="2498827" y="199530"/>
                  </a:lnTo>
                  <a:lnTo>
                    <a:pt x="2498827" y="198831"/>
                  </a:lnTo>
                  <a:lnTo>
                    <a:pt x="2498827" y="199530"/>
                  </a:lnTo>
                  <a:lnTo>
                    <a:pt x="2498827" y="198831"/>
                  </a:lnTo>
                  <a:lnTo>
                    <a:pt x="2498929" y="198831"/>
                  </a:lnTo>
                  <a:lnTo>
                    <a:pt x="2498929" y="197447"/>
                  </a:lnTo>
                  <a:lnTo>
                    <a:pt x="2498929" y="202260"/>
                  </a:lnTo>
                  <a:lnTo>
                    <a:pt x="2498929" y="200876"/>
                  </a:lnTo>
                  <a:lnTo>
                    <a:pt x="2498929" y="202260"/>
                  </a:lnTo>
                  <a:lnTo>
                    <a:pt x="2498929" y="200876"/>
                  </a:lnTo>
                  <a:lnTo>
                    <a:pt x="2498929" y="202260"/>
                  </a:lnTo>
                  <a:lnTo>
                    <a:pt x="2498929" y="200228"/>
                  </a:lnTo>
                  <a:lnTo>
                    <a:pt x="2498929" y="200876"/>
                  </a:lnTo>
                  <a:lnTo>
                    <a:pt x="2498980" y="200876"/>
                  </a:lnTo>
                  <a:lnTo>
                    <a:pt x="2498980" y="200228"/>
                  </a:lnTo>
                  <a:lnTo>
                    <a:pt x="2498980" y="200876"/>
                  </a:lnTo>
                  <a:lnTo>
                    <a:pt x="2499030" y="200876"/>
                  </a:lnTo>
                  <a:lnTo>
                    <a:pt x="2499030" y="202959"/>
                  </a:lnTo>
                  <a:lnTo>
                    <a:pt x="2499030" y="200876"/>
                  </a:lnTo>
                  <a:lnTo>
                    <a:pt x="2499132" y="200876"/>
                  </a:lnTo>
                  <a:lnTo>
                    <a:pt x="2499132" y="202260"/>
                  </a:lnTo>
                  <a:lnTo>
                    <a:pt x="2499132" y="200876"/>
                  </a:lnTo>
                  <a:lnTo>
                    <a:pt x="2499132" y="202260"/>
                  </a:lnTo>
                  <a:lnTo>
                    <a:pt x="2499132" y="200876"/>
                  </a:lnTo>
                  <a:lnTo>
                    <a:pt x="2499132" y="202959"/>
                  </a:lnTo>
                  <a:lnTo>
                    <a:pt x="2499132" y="202260"/>
                  </a:lnTo>
                  <a:lnTo>
                    <a:pt x="2499183" y="202260"/>
                  </a:lnTo>
                  <a:lnTo>
                    <a:pt x="2499183" y="202959"/>
                  </a:lnTo>
                  <a:lnTo>
                    <a:pt x="2499183" y="202260"/>
                  </a:lnTo>
                  <a:lnTo>
                    <a:pt x="2499234" y="202260"/>
                  </a:lnTo>
                  <a:lnTo>
                    <a:pt x="2499234" y="200228"/>
                  </a:lnTo>
                  <a:lnTo>
                    <a:pt x="2499272" y="200228"/>
                  </a:lnTo>
                  <a:lnTo>
                    <a:pt x="2499272" y="198831"/>
                  </a:lnTo>
                  <a:lnTo>
                    <a:pt x="2499373" y="198831"/>
                  </a:lnTo>
                  <a:lnTo>
                    <a:pt x="2499373" y="199530"/>
                  </a:lnTo>
                  <a:lnTo>
                    <a:pt x="2499373" y="198831"/>
                  </a:lnTo>
                  <a:lnTo>
                    <a:pt x="2499373" y="199530"/>
                  </a:lnTo>
                  <a:lnTo>
                    <a:pt x="2499373" y="198831"/>
                  </a:lnTo>
                  <a:lnTo>
                    <a:pt x="2499373" y="200228"/>
                  </a:lnTo>
                  <a:lnTo>
                    <a:pt x="2499424" y="200876"/>
                  </a:lnTo>
                  <a:lnTo>
                    <a:pt x="2499424" y="202260"/>
                  </a:lnTo>
                  <a:lnTo>
                    <a:pt x="2499424" y="200228"/>
                  </a:lnTo>
                  <a:lnTo>
                    <a:pt x="2499424" y="200876"/>
                  </a:lnTo>
                  <a:lnTo>
                    <a:pt x="2499475" y="200876"/>
                  </a:lnTo>
                  <a:lnTo>
                    <a:pt x="2499475" y="202260"/>
                  </a:lnTo>
                  <a:lnTo>
                    <a:pt x="2499475" y="200228"/>
                  </a:lnTo>
                  <a:lnTo>
                    <a:pt x="2499475" y="202260"/>
                  </a:lnTo>
                  <a:lnTo>
                    <a:pt x="2499475" y="200876"/>
                  </a:lnTo>
                  <a:lnTo>
                    <a:pt x="2499475" y="202260"/>
                  </a:lnTo>
                  <a:lnTo>
                    <a:pt x="2499576" y="202260"/>
                  </a:lnTo>
                  <a:lnTo>
                    <a:pt x="2499576" y="200876"/>
                  </a:lnTo>
                  <a:lnTo>
                    <a:pt x="2499576" y="202260"/>
                  </a:lnTo>
                  <a:lnTo>
                    <a:pt x="2499576" y="200876"/>
                  </a:lnTo>
                  <a:lnTo>
                    <a:pt x="2499576" y="202260"/>
                  </a:lnTo>
                  <a:lnTo>
                    <a:pt x="2499576" y="200876"/>
                  </a:lnTo>
                  <a:lnTo>
                    <a:pt x="2499576" y="202260"/>
                  </a:lnTo>
                  <a:lnTo>
                    <a:pt x="2499576" y="200876"/>
                  </a:lnTo>
                  <a:lnTo>
                    <a:pt x="2499576" y="202260"/>
                  </a:lnTo>
                  <a:lnTo>
                    <a:pt x="2499678" y="202260"/>
                  </a:lnTo>
                  <a:lnTo>
                    <a:pt x="2499678" y="200876"/>
                  </a:lnTo>
                  <a:lnTo>
                    <a:pt x="2499678" y="202260"/>
                  </a:lnTo>
                  <a:lnTo>
                    <a:pt x="2499678" y="200876"/>
                  </a:lnTo>
                  <a:lnTo>
                    <a:pt x="2499729" y="200876"/>
                  </a:lnTo>
                  <a:lnTo>
                    <a:pt x="2499729" y="199530"/>
                  </a:lnTo>
                  <a:lnTo>
                    <a:pt x="2499729" y="200228"/>
                  </a:lnTo>
                  <a:lnTo>
                    <a:pt x="2499729" y="199530"/>
                  </a:lnTo>
                  <a:lnTo>
                    <a:pt x="2499818" y="199530"/>
                  </a:lnTo>
                  <a:lnTo>
                    <a:pt x="2499818" y="197447"/>
                  </a:lnTo>
                  <a:lnTo>
                    <a:pt x="2499818" y="199530"/>
                  </a:lnTo>
                  <a:lnTo>
                    <a:pt x="2499818" y="198831"/>
                  </a:lnTo>
                  <a:lnTo>
                    <a:pt x="2499818" y="199530"/>
                  </a:lnTo>
                  <a:lnTo>
                    <a:pt x="2499869" y="199530"/>
                  </a:lnTo>
                  <a:lnTo>
                    <a:pt x="2499869" y="197447"/>
                  </a:lnTo>
                  <a:lnTo>
                    <a:pt x="2499869" y="200876"/>
                  </a:lnTo>
                  <a:lnTo>
                    <a:pt x="2499919" y="200228"/>
                  </a:lnTo>
                  <a:lnTo>
                    <a:pt x="2499919" y="200876"/>
                  </a:lnTo>
                  <a:lnTo>
                    <a:pt x="2499919" y="199530"/>
                  </a:lnTo>
                  <a:lnTo>
                    <a:pt x="2499919" y="200876"/>
                  </a:lnTo>
                  <a:lnTo>
                    <a:pt x="2499919" y="200228"/>
                  </a:lnTo>
                  <a:lnTo>
                    <a:pt x="2499970" y="200228"/>
                  </a:lnTo>
                  <a:lnTo>
                    <a:pt x="2499970" y="200876"/>
                  </a:lnTo>
                  <a:lnTo>
                    <a:pt x="2499970" y="200228"/>
                  </a:lnTo>
                  <a:lnTo>
                    <a:pt x="2499970" y="202260"/>
                  </a:lnTo>
                  <a:lnTo>
                    <a:pt x="2499970" y="200228"/>
                  </a:lnTo>
                  <a:lnTo>
                    <a:pt x="2500072" y="200228"/>
                  </a:lnTo>
                  <a:lnTo>
                    <a:pt x="2500072" y="200876"/>
                  </a:lnTo>
                  <a:lnTo>
                    <a:pt x="2500072" y="200228"/>
                  </a:lnTo>
                  <a:lnTo>
                    <a:pt x="2500072" y="200876"/>
                  </a:lnTo>
                  <a:lnTo>
                    <a:pt x="2500122" y="200876"/>
                  </a:lnTo>
                  <a:lnTo>
                    <a:pt x="2500122" y="202260"/>
                  </a:lnTo>
                  <a:lnTo>
                    <a:pt x="2500173" y="202260"/>
                  </a:lnTo>
                  <a:lnTo>
                    <a:pt x="2500173" y="200228"/>
                  </a:lnTo>
                  <a:lnTo>
                    <a:pt x="2500173" y="200876"/>
                  </a:lnTo>
                  <a:lnTo>
                    <a:pt x="2500275" y="200228"/>
                  </a:lnTo>
                  <a:lnTo>
                    <a:pt x="2500275" y="200876"/>
                  </a:lnTo>
                  <a:lnTo>
                    <a:pt x="2500275" y="198831"/>
                  </a:lnTo>
                  <a:lnTo>
                    <a:pt x="2500313" y="198831"/>
                  </a:lnTo>
                  <a:lnTo>
                    <a:pt x="2500313" y="197447"/>
                  </a:lnTo>
                  <a:lnTo>
                    <a:pt x="2500313" y="199530"/>
                  </a:lnTo>
                  <a:lnTo>
                    <a:pt x="2500313" y="197447"/>
                  </a:lnTo>
                  <a:lnTo>
                    <a:pt x="2500364" y="198831"/>
                  </a:lnTo>
                  <a:lnTo>
                    <a:pt x="2500364" y="197447"/>
                  </a:lnTo>
                  <a:lnTo>
                    <a:pt x="2500364" y="200228"/>
                  </a:lnTo>
                  <a:lnTo>
                    <a:pt x="2500364" y="199530"/>
                  </a:lnTo>
                  <a:lnTo>
                    <a:pt x="2500415" y="199530"/>
                  </a:lnTo>
                  <a:lnTo>
                    <a:pt x="2500415" y="198831"/>
                  </a:lnTo>
                  <a:lnTo>
                    <a:pt x="2500415" y="200228"/>
                  </a:lnTo>
                  <a:lnTo>
                    <a:pt x="2500415" y="199530"/>
                  </a:lnTo>
                  <a:lnTo>
                    <a:pt x="2500516" y="199530"/>
                  </a:lnTo>
                  <a:lnTo>
                    <a:pt x="2500516" y="200228"/>
                  </a:lnTo>
                  <a:lnTo>
                    <a:pt x="2500516" y="199530"/>
                  </a:lnTo>
                  <a:lnTo>
                    <a:pt x="2500516" y="200228"/>
                  </a:lnTo>
                  <a:lnTo>
                    <a:pt x="2500516" y="199530"/>
                  </a:lnTo>
                  <a:lnTo>
                    <a:pt x="2500516" y="200228"/>
                  </a:lnTo>
                  <a:lnTo>
                    <a:pt x="2500567" y="200228"/>
                  </a:lnTo>
                  <a:lnTo>
                    <a:pt x="2500567" y="199530"/>
                  </a:lnTo>
                  <a:lnTo>
                    <a:pt x="2500567" y="200228"/>
                  </a:lnTo>
                  <a:lnTo>
                    <a:pt x="2500618" y="200876"/>
                  </a:lnTo>
                  <a:lnTo>
                    <a:pt x="2500618" y="200228"/>
                  </a:lnTo>
                  <a:lnTo>
                    <a:pt x="2500618" y="200876"/>
                  </a:lnTo>
                  <a:lnTo>
                    <a:pt x="2500618" y="200228"/>
                  </a:lnTo>
                  <a:lnTo>
                    <a:pt x="2500618" y="200876"/>
                  </a:lnTo>
                  <a:lnTo>
                    <a:pt x="2500719" y="200876"/>
                  </a:lnTo>
                  <a:lnTo>
                    <a:pt x="2500719" y="200228"/>
                  </a:lnTo>
                  <a:lnTo>
                    <a:pt x="2500719" y="200876"/>
                  </a:lnTo>
                  <a:lnTo>
                    <a:pt x="2500719" y="200228"/>
                  </a:lnTo>
                  <a:lnTo>
                    <a:pt x="2500719" y="200876"/>
                  </a:lnTo>
                  <a:lnTo>
                    <a:pt x="2500719" y="199530"/>
                  </a:lnTo>
                  <a:lnTo>
                    <a:pt x="2500719" y="200228"/>
                  </a:lnTo>
                  <a:lnTo>
                    <a:pt x="2500770" y="200228"/>
                  </a:lnTo>
                  <a:lnTo>
                    <a:pt x="2500770" y="198831"/>
                  </a:lnTo>
                  <a:lnTo>
                    <a:pt x="2500770" y="199530"/>
                  </a:lnTo>
                  <a:lnTo>
                    <a:pt x="2500770" y="198831"/>
                  </a:lnTo>
                  <a:lnTo>
                    <a:pt x="2500821" y="198831"/>
                  </a:lnTo>
                  <a:lnTo>
                    <a:pt x="2500821" y="200228"/>
                  </a:lnTo>
                  <a:lnTo>
                    <a:pt x="2500821" y="198831"/>
                  </a:lnTo>
                  <a:lnTo>
                    <a:pt x="2500821" y="200876"/>
                  </a:lnTo>
                  <a:lnTo>
                    <a:pt x="2500859" y="200876"/>
                  </a:lnTo>
                  <a:lnTo>
                    <a:pt x="2500859" y="202260"/>
                  </a:lnTo>
                  <a:lnTo>
                    <a:pt x="2500859" y="200228"/>
                  </a:lnTo>
                  <a:lnTo>
                    <a:pt x="2500859" y="202260"/>
                  </a:lnTo>
                  <a:lnTo>
                    <a:pt x="2500961" y="202260"/>
                  </a:lnTo>
                  <a:lnTo>
                    <a:pt x="2500961" y="202959"/>
                  </a:lnTo>
                  <a:lnTo>
                    <a:pt x="2500961" y="200228"/>
                  </a:lnTo>
                  <a:lnTo>
                    <a:pt x="2500961" y="200876"/>
                  </a:lnTo>
                  <a:lnTo>
                    <a:pt x="2501012" y="202260"/>
                  </a:lnTo>
                  <a:lnTo>
                    <a:pt x="2501012" y="200228"/>
                  </a:lnTo>
                  <a:lnTo>
                    <a:pt x="2501012" y="200876"/>
                  </a:lnTo>
                  <a:lnTo>
                    <a:pt x="2501062" y="202260"/>
                  </a:lnTo>
                  <a:lnTo>
                    <a:pt x="2501062" y="200876"/>
                  </a:lnTo>
                  <a:lnTo>
                    <a:pt x="2501062" y="202260"/>
                  </a:lnTo>
                  <a:lnTo>
                    <a:pt x="2501062" y="200876"/>
                  </a:lnTo>
                  <a:lnTo>
                    <a:pt x="2501164" y="200876"/>
                  </a:lnTo>
                  <a:lnTo>
                    <a:pt x="2501164" y="202260"/>
                  </a:lnTo>
                  <a:lnTo>
                    <a:pt x="2501164" y="200876"/>
                  </a:lnTo>
                  <a:lnTo>
                    <a:pt x="2501215" y="200876"/>
                  </a:lnTo>
                  <a:lnTo>
                    <a:pt x="2501215" y="199530"/>
                  </a:lnTo>
                  <a:lnTo>
                    <a:pt x="2501215" y="200228"/>
                  </a:lnTo>
                  <a:lnTo>
                    <a:pt x="2501265" y="200228"/>
                  </a:lnTo>
                  <a:lnTo>
                    <a:pt x="2501265" y="198831"/>
                  </a:lnTo>
                  <a:lnTo>
                    <a:pt x="2501265" y="199530"/>
                  </a:lnTo>
                  <a:lnTo>
                    <a:pt x="2501265" y="198831"/>
                  </a:lnTo>
                  <a:lnTo>
                    <a:pt x="2501265" y="200876"/>
                  </a:lnTo>
                  <a:lnTo>
                    <a:pt x="2501265" y="200228"/>
                  </a:lnTo>
                  <a:lnTo>
                    <a:pt x="2501316" y="200228"/>
                  </a:lnTo>
                  <a:lnTo>
                    <a:pt x="2501316" y="199530"/>
                  </a:lnTo>
                  <a:lnTo>
                    <a:pt x="2501316" y="200228"/>
                  </a:lnTo>
                  <a:lnTo>
                    <a:pt x="2501316" y="199530"/>
                  </a:lnTo>
                  <a:lnTo>
                    <a:pt x="2501316" y="202260"/>
                  </a:lnTo>
                  <a:lnTo>
                    <a:pt x="2501405" y="202260"/>
                  </a:lnTo>
                  <a:lnTo>
                    <a:pt x="2501405" y="200876"/>
                  </a:lnTo>
                  <a:lnTo>
                    <a:pt x="2501405" y="202260"/>
                  </a:lnTo>
                  <a:lnTo>
                    <a:pt x="2501405" y="200228"/>
                  </a:lnTo>
                  <a:lnTo>
                    <a:pt x="2501405" y="202959"/>
                  </a:lnTo>
                  <a:lnTo>
                    <a:pt x="2501405" y="202260"/>
                  </a:lnTo>
                  <a:lnTo>
                    <a:pt x="2501456" y="202260"/>
                  </a:lnTo>
                  <a:lnTo>
                    <a:pt x="2501456" y="200876"/>
                  </a:lnTo>
                  <a:lnTo>
                    <a:pt x="2501456" y="202260"/>
                  </a:lnTo>
                  <a:lnTo>
                    <a:pt x="2501456" y="200876"/>
                  </a:lnTo>
                  <a:lnTo>
                    <a:pt x="2501507" y="200876"/>
                  </a:lnTo>
                  <a:lnTo>
                    <a:pt x="2501507" y="202260"/>
                  </a:lnTo>
                  <a:lnTo>
                    <a:pt x="2501507" y="200876"/>
                  </a:lnTo>
                  <a:lnTo>
                    <a:pt x="2501507" y="202260"/>
                  </a:lnTo>
                  <a:lnTo>
                    <a:pt x="2501659" y="202260"/>
                  </a:lnTo>
                  <a:lnTo>
                    <a:pt x="2501659" y="200876"/>
                  </a:lnTo>
                  <a:lnTo>
                    <a:pt x="2501659" y="202260"/>
                  </a:lnTo>
                  <a:lnTo>
                    <a:pt x="2501659" y="200876"/>
                  </a:lnTo>
                  <a:lnTo>
                    <a:pt x="2501659" y="202260"/>
                  </a:lnTo>
                  <a:lnTo>
                    <a:pt x="2501659" y="200228"/>
                  </a:lnTo>
                  <a:lnTo>
                    <a:pt x="2501659" y="200876"/>
                  </a:lnTo>
                  <a:lnTo>
                    <a:pt x="2501659" y="200228"/>
                  </a:lnTo>
                  <a:lnTo>
                    <a:pt x="2501710" y="200228"/>
                  </a:lnTo>
                  <a:lnTo>
                    <a:pt x="2501710" y="199530"/>
                  </a:lnTo>
                  <a:lnTo>
                    <a:pt x="2501710" y="200228"/>
                  </a:lnTo>
                  <a:lnTo>
                    <a:pt x="2501710" y="197447"/>
                  </a:lnTo>
                  <a:lnTo>
                    <a:pt x="2501761" y="198831"/>
                  </a:lnTo>
                  <a:lnTo>
                    <a:pt x="2501761" y="196799"/>
                  </a:lnTo>
                  <a:lnTo>
                    <a:pt x="2501761" y="198831"/>
                  </a:lnTo>
                  <a:lnTo>
                    <a:pt x="2501862" y="198831"/>
                  </a:lnTo>
                  <a:lnTo>
                    <a:pt x="2501862" y="197447"/>
                  </a:lnTo>
                  <a:lnTo>
                    <a:pt x="2501862" y="200876"/>
                  </a:lnTo>
                  <a:lnTo>
                    <a:pt x="2501862" y="200228"/>
                  </a:lnTo>
                  <a:lnTo>
                    <a:pt x="2501900" y="200228"/>
                  </a:lnTo>
                  <a:lnTo>
                    <a:pt x="2501900" y="199530"/>
                  </a:lnTo>
                  <a:lnTo>
                    <a:pt x="2501900" y="200876"/>
                  </a:lnTo>
                  <a:lnTo>
                    <a:pt x="2501900" y="200228"/>
                  </a:lnTo>
                  <a:lnTo>
                    <a:pt x="2501900" y="200876"/>
                  </a:lnTo>
                  <a:lnTo>
                    <a:pt x="2501951" y="200228"/>
                  </a:lnTo>
                  <a:lnTo>
                    <a:pt x="2501951" y="199530"/>
                  </a:lnTo>
                  <a:lnTo>
                    <a:pt x="2501951" y="200876"/>
                  </a:lnTo>
                  <a:lnTo>
                    <a:pt x="2501951" y="200228"/>
                  </a:lnTo>
                  <a:lnTo>
                    <a:pt x="2501951" y="200876"/>
                  </a:lnTo>
                  <a:lnTo>
                    <a:pt x="2502002" y="200876"/>
                  </a:lnTo>
                  <a:lnTo>
                    <a:pt x="2502002" y="202260"/>
                  </a:lnTo>
                  <a:lnTo>
                    <a:pt x="2502002" y="200876"/>
                  </a:lnTo>
                  <a:lnTo>
                    <a:pt x="2502002" y="202260"/>
                  </a:lnTo>
                  <a:lnTo>
                    <a:pt x="2502002" y="200876"/>
                  </a:lnTo>
                  <a:lnTo>
                    <a:pt x="2502002" y="202260"/>
                  </a:lnTo>
                  <a:lnTo>
                    <a:pt x="2502104" y="202260"/>
                  </a:lnTo>
                  <a:lnTo>
                    <a:pt x="2502104" y="200876"/>
                  </a:lnTo>
                  <a:lnTo>
                    <a:pt x="2502104" y="202260"/>
                  </a:lnTo>
                  <a:lnTo>
                    <a:pt x="2502104" y="200876"/>
                  </a:lnTo>
                  <a:lnTo>
                    <a:pt x="2502155" y="200876"/>
                  </a:lnTo>
                  <a:lnTo>
                    <a:pt x="2502155" y="200228"/>
                  </a:lnTo>
                  <a:lnTo>
                    <a:pt x="2502155" y="200876"/>
                  </a:lnTo>
                  <a:lnTo>
                    <a:pt x="2502155" y="200228"/>
                  </a:lnTo>
                  <a:lnTo>
                    <a:pt x="2502205" y="200228"/>
                  </a:lnTo>
                  <a:lnTo>
                    <a:pt x="2502205" y="198831"/>
                  </a:lnTo>
                  <a:lnTo>
                    <a:pt x="2502307" y="197447"/>
                  </a:lnTo>
                  <a:lnTo>
                    <a:pt x="2502307" y="196799"/>
                  </a:lnTo>
                  <a:lnTo>
                    <a:pt x="2502307" y="199530"/>
                  </a:lnTo>
                  <a:lnTo>
                    <a:pt x="2502307" y="197447"/>
                  </a:lnTo>
                  <a:lnTo>
                    <a:pt x="2502358" y="196799"/>
                  </a:lnTo>
                  <a:lnTo>
                    <a:pt x="2502358" y="196113"/>
                  </a:lnTo>
                  <a:lnTo>
                    <a:pt x="2502358" y="200228"/>
                  </a:lnTo>
                  <a:lnTo>
                    <a:pt x="2502358" y="197447"/>
                  </a:lnTo>
                  <a:lnTo>
                    <a:pt x="2502409" y="197447"/>
                  </a:lnTo>
                  <a:lnTo>
                    <a:pt x="2502409" y="200228"/>
                  </a:lnTo>
                  <a:lnTo>
                    <a:pt x="2502409" y="198831"/>
                  </a:lnTo>
                  <a:lnTo>
                    <a:pt x="2502409" y="199530"/>
                  </a:lnTo>
                  <a:lnTo>
                    <a:pt x="2502447" y="199530"/>
                  </a:lnTo>
                  <a:lnTo>
                    <a:pt x="2502447" y="200228"/>
                  </a:lnTo>
                  <a:lnTo>
                    <a:pt x="2502447" y="199530"/>
                  </a:lnTo>
                  <a:lnTo>
                    <a:pt x="2502447" y="200228"/>
                  </a:lnTo>
                  <a:lnTo>
                    <a:pt x="2502548" y="200228"/>
                  </a:lnTo>
                  <a:lnTo>
                    <a:pt x="2502548" y="200876"/>
                  </a:lnTo>
                  <a:lnTo>
                    <a:pt x="2502548" y="200228"/>
                  </a:lnTo>
                  <a:lnTo>
                    <a:pt x="2502548" y="200876"/>
                  </a:lnTo>
                  <a:lnTo>
                    <a:pt x="2502548" y="200228"/>
                  </a:lnTo>
                  <a:lnTo>
                    <a:pt x="2502599" y="200228"/>
                  </a:lnTo>
                  <a:lnTo>
                    <a:pt x="2502599" y="200876"/>
                  </a:lnTo>
                  <a:lnTo>
                    <a:pt x="2502599" y="200228"/>
                  </a:lnTo>
                  <a:lnTo>
                    <a:pt x="2502599" y="200876"/>
                  </a:lnTo>
                  <a:lnTo>
                    <a:pt x="2502650" y="200876"/>
                  </a:lnTo>
                  <a:lnTo>
                    <a:pt x="2502650" y="200228"/>
                  </a:lnTo>
                  <a:lnTo>
                    <a:pt x="2502650" y="200876"/>
                  </a:lnTo>
                  <a:lnTo>
                    <a:pt x="2502650" y="199530"/>
                  </a:lnTo>
                  <a:lnTo>
                    <a:pt x="2502650" y="200228"/>
                  </a:lnTo>
                  <a:lnTo>
                    <a:pt x="2502650" y="199530"/>
                  </a:lnTo>
                  <a:lnTo>
                    <a:pt x="2502751" y="199530"/>
                  </a:lnTo>
                  <a:lnTo>
                    <a:pt x="2502751" y="197447"/>
                  </a:lnTo>
                  <a:lnTo>
                    <a:pt x="2502802" y="197447"/>
                  </a:lnTo>
                  <a:lnTo>
                    <a:pt x="2502802" y="195415"/>
                  </a:lnTo>
                  <a:lnTo>
                    <a:pt x="2502802" y="196799"/>
                  </a:lnTo>
                  <a:lnTo>
                    <a:pt x="2502802" y="196113"/>
                  </a:lnTo>
                  <a:lnTo>
                    <a:pt x="2502853" y="196113"/>
                  </a:lnTo>
                  <a:lnTo>
                    <a:pt x="2502853" y="198831"/>
                  </a:lnTo>
                  <a:lnTo>
                    <a:pt x="2502853" y="197447"/>
                  </a:lnTo>
                  <a:lnTo>
                    <a:pt x="2502904" y="196799"/>
                  </a:lnTo>
                  <a:lnTo>
                    <a:pt x="2502904" y="198831"/>
                  </a:lnTo>
                  <a:lnTo>
                    <a:pt x="2502904" y="197447"/>
                  </a:lnTo>
                  <a:lnTo>
                    <a:pt x="2502904" y="198831"/>
                  </a:lnTo>
                  <a:lnTo>
                    <a:pt x="2502904" y="197447"/>
                  </a:lnTo>
                  <a:lnTo>
                    <a:pt x="2502993" y="197447"/>
                  </a:lnTo>
                  <a:lnTo>
                    <a:pt x="2502993" y="198831"/>
                  </a:lnTo>
                  <a:lnTo>
                    <a:pt x="2502993" y="197447"/>
                  </a:lnTo>
                  <a:lnTo>
                    <a:pt x="2502993" y="198831"/>
                  </a:lnTo>
                  <a:lnTo>
                    <a:pt x="2502993" y="197447"/>
                  </a:lnTo>
                  <a:lnTo>
                    <a:pt x="2502993" y="199530"/>
                  </a:lnTo>
                  <a:lnTo>
                    <a:pt x="2502993" y="198831"/>
                  </a:lnTo>
                  <a:lnTo>
                    <a:pt x="2503044" y="198831"/>
                  </a:lnTo>
                  <a:lnTo>
                    <a:pt x="2503044" y="200228"/>
                  </a:lnTo>
                  <a:lnTo>
                    <a:pt x="2503044" y="199530"/>
                  </a:lnTo>
                  <a:lnTo>
                    <a:pt x="2503044" y="200228"/>
                  </a:lnTo>
                  <a:lnTo>
                    <a:pt x="2503094" y="200228"/>
                  </a:lnTo>
                  <a:lnTo>
                    <a:pt x="2503094" y="200876"/>
                  </a:lnTo>
                  <a:lnTo>
                    <a:pt x="2503094" y="200228"/>
                  </a:lnTo>
                  <a:lnTo>
                    <a:pt x="2503094" y="200876"/>
                  </a:lnTo>
                  <a:lnTo>
                    <a:pt x="2503145" y="200228"/>
                  </a:lnTo>
                  <a:lnTo>
                    <a:pt x="2503145" y="200876"/>
                  </a:lnTo>
                  <a:lnTo>
                    <a:pt x="2503145" y="200228"/>
                  </a:lnTo>
                  <a:lnTo>
                    <a:pt x="2503145" y="200876"/>
                  </a:lnTo>
                  <a:lnTo>
                    <a:pt x="2503145" y="200228"/>
                  </a:lnTo>
                  <a:lnTo>
                    <a:pt x="2503145" y="200876"/>
                  </a:lnTo>
                  <a:lnTo>
                    <a:pt x="2503145" y="199530"/>
                  </a:lnTo>
                  <a:lnTo>
                    <a:pt x="2503247" y="199530"/>
                  </a:lnTo>
                  <a:lnTo>
                    <a:pt x="2503247" y="200228"/>
                  </a:lnTo>
                  <a:lnTo>
                    <a:pt x="2503247" y="197447"/>
                  </a:lnTo>
                  <a:lnTo>
                    <a:pt x="2503297" y="197447"/>
                  </a:lnTo>
                  <a:lnTo>
                    <a:pt x="2503297" y="196799"/>
                  </a:lnTo>
                  <a:lnTo>
                    <a:pt x="2503297" y="197447"/>
                  </a:lnTo>
                  <a:lnTo>
                    <a:pt x="2503297" y="196113"/>
                  </a:lnTo>
                  <a:lnTo>
                    <a:pt x="2503348" y="196113"/>
                  </a:lnTo>
                  <a:lnTo>
                    <a:pt x="2503348" y="198831"/>
                  </a:lnTo>
                  <a:lnTo>
                    <a:pt x="2503348" y="196799"/>
                  </a:lnTo>
                  <a:lnTo>
                    <a:pt x="2503450" y="196799"/>
                  </a:lnTo>
                  <a:lnTo>
                    <a:pt x="2503450" y="198831"/>
                  </a:lnTo>
                  <a:lnTo>
                    <a:pt x="2503450" y="197447"/>
                  </a:lnTo>
                  <a:lnTo>
                    <a:pt x="2503488" y="197447"/>
                  </a:lnTo>
                  <a:lnTo>
                    <a:pt x="2503488" y="198831"/>
                  </a:lnTo>
                  <a:lnTo>
                    <a:pt x="2503488" y="197447"/>
                  </a:lnTo>
                  <a:lnTo>
                    <a:pt x="2503488" y="198831"/>
                  </a:lnTo>
                  <a:lnTo>
                    <a:pt x="2503539" y="198831"/>
                  </a:lnTo>
                  <a:lnTo>
                    <a:pt x="2503539" y="199530"/>
                  </a:lnTo>
                  <a:lnTo>
                    <a:pt x="2503590" y="199530"/>
                  </a:lnTo>
                  <a:lnTo>
                    <a:pt x="2503590" y="200228"/>
                  </a:lnTo>
                  <a:lnTo>
                    <a:pt x="2503590" y="199530"/>
                  </a:lnTo>
                  <a:lnTo>
                    <a:pt x="2503590" y="200228"/>
                  </a:lnTo>
                  <a:lnTo>
                    <a:pt x="2503590" y="199530"/>
                  </a:lnTo>
                  <a:lnTo>
                    <a:pt x="2503691" y="199530"/>
                  </a:lnTo>
                  <a:lnTo>
                    <a:pt x="2503691" y="200228"/>
                  </a:lnTo>
                  <a:lnTo>
                    <a:pt x="2503691" y="199530"/>
                  </a:lnTo>
                  <a:lnTo>
                    <a:pt x="2503691" y="200228"/>
                  </a:lnTo>
                  <a:lnTo>
                    <a:pt x="2503691" y="198831"/>
                  </a:lnTo>
                  <a:lnTo>
                    <a:pt x="2503742" y="198831"/>
                  </a:lnTo>
                  <a:lnTo>
                    <a:pt x="2503742" y="199530"/>
                  </a:lnTo>
                  <a:lnTo>
                    <a:pt x="2503742" y="198831"/>
                  </a:lnTo>
                  <a:lnTo>
                    <a:pt x="2503742" y="199530"/>
                  </a:lnTo>
                  <a:lnTo>
                    <a:pt x="2503742" y="197447"/>
                  </a:lnTo>
                  <a:lnTo>
                    <a:pt x="2503793" y="198831"/>
                  </a:lnTo>
                  <a:lnTo>
                    <a:pt x="2503793" y="200228"/>
                  </a:lnTo>
                  <a:lnTo>
                    <a:pt x="2503793" y="197447"/>
                  </a:lnTo>
                  <a:lnTo>
                    <a:pt x="2503793" y="202260"/>
                  </a:lnTo>
                  <a:lnTo>
                    <a:pt x="2503894" y="202260"/>
                  </a:lnTo>
                  <a:lnTo>
                    <a:pt x="2503894" y="199530"/>
                  </a:lnTo>
                  <a:lnTo>
                    <a:pt x="2503894" y="200228"/>
                  </a:lnTo>
                  <a:lnTo>
                    <a:pt x="2503894" y="199530"/>
                  </a:lnTo>
                  <a:lnTo>
                    <a:pt x="2503894" y="202260"/>
                  </a:lnTo>
                  <a:lnTo>
                    <a:pt x="2503945" y="202260"/>
                  </a:lnTo>
                  <a:lnTo>
                    <a:pt x="2503945" y="200228"/>
                  </a:lnTo>
                  <a:lnTo>
                    <a:pt x="2503945" y="200876"/>
                  </a:lnTo>
                  <a:lnTo>
                    <a:pt x="2503996" y="200228"/>
                  </a:lnTo>
                  <a:lnTo>
                    <a:pt x="2503996" y="199530"/>
                  </a:lnTo>
                  <a:lnTo>
                    <a:pt x="2503996" y="200228"/>
                  </a:lnTo>
                  <a:lnTo>
                    <a:pt x="2503996" y="199530"/>
                  </a:lnTo>
                  <a:lnTo>
                    <a:pt x="2503996" y="200876"/>
                  </a:lnTo>
                  <a:lnTo>
                    <a:pt x="2503996" y="200228"/>
                  </a:lnTo>
                  <a:lnTo>
                    <a:pt x="2504136" y="200228"/>
                  </a:lnTo>
                  <a:lnTo>
                    <a:pt x="2504136" y="199530"/>
                  </a:lnTo>
                  <a:lnTo>
                    <a:pt x="2504136" y="200228"/>
                  </a:lnTo>
                  <a:lnTo>
                    <a:pt x="2504136" y="199530"/>
                  </a:lnTo>
                  <a:lnTo>
                    <a:pt x="2504136" y="200228"/>
                  </a:lnTo>
                  <a:lnTo>
                    <a:pt x="2504136" y="199530"/>
                  </a:lnTo>
                  <a:lnTo>
                    <a:pt x="2504136" y="200228"/>
                  </a:lnTo>
                  <a:lnTo>
                    <a:pt x="2504136" y="199530"/>
                  </a:lnTo>
                  <a:lnTo>
                    <a:pt x="2504187" y="199530"/>
                  </a:lnTo>
                  <a:lnTo>
                    <a:pt x="2504187" y="200228"/>
                  </a:lnTo>
                  <a:lnTo>
                    <a:pt x="2504187" y="198831"/>
                  </a:lnTo>
                  <a:lnTo>
                    <a:pt x="2504187" y="199530"/>
                  </a:lnTo>
                  <a:lnTo>
                    <a:pt x="2504187" y="198831"/>
                  </a:lnTo>
                  <a:lnTo>
                    <a:pt x="2504237" y="198831"/>
                  </a:lnTo>
                  <a:lnTo>
                    <a:pt x="2504237" y="197447"/>
                  </a:lnTo>
                  <a:lnTo>
                    <a:pt x="2504237" y="198831"/>
                  </a:lnTo>
                  <a:lnTo>
                    <a:pt x="2504237" y="197447"/>
                  </a:lnTo>
                  <a:lnTo>
                    <a:pt x="2504237" y="199530"/>
                  </a:lnTo>
                  <a:lnTo>
                    <a:pt x="2504339" y="199530"/>
                  </a:lnTo>
                  <a:lnTo>
                    <a:pt x="2504339" y="197447"/>
                  </a:lnTo>
                  <a:lnTo>
                    <a:pt x="2504339" y="200876"/>
                  </a:lnTo>
                  <a:lnTo>
                    <a:pt x="2504390" y="200876"/>
                  </a:lnTo>
                  <a:lnTo>
                    <a:pt x="2504390" y="199530"/>
                  </a:lnTo>
                  <a:lnTo>
                    <a:pt x="2504390" y="200876"/>
                  </a:lnTo>
                  <a:lnTo>
                    <a:pt x="2504440" y="200876"/>
                  </a:lnTo>
                  <a:lnTo>
                    <a:pt x="2504440" y="199530"/>
                  </a:lnTo>
                  <a:lnTo>
                    <a:pt x="2504440" y="200876"/>
                  </a:lnTo>
                  <a:lnTo>
                    <a:pt x="2504491" y="200228"/>
                  </a:lnTo>
                  <a:lnTo>
                    <a:pt x="2504491" y="200876"/>
                  </a:lnTo>
                  <a:lnTo>
                    <a:pt x="2504580" y="200876"/>
                  </a:lnTo>
                  <a:lnTo>
                    <a:pt x="2504580" y="200228"/>
                  </a:lnTo>
                  <a:lnTo>
                    <a:pt x="2504631" y="200228"/>
                  </a:lnTo>
                  <a:lnTo>
                    <a:pt x="2504631" y="199530"/>
                  </a:lnTo>
                  <a:lnTo>
                    <a:pt x="2504682" y="199530"/>
                  </a:lnTo>
                  <a:lnTo>
                    <a:pt x="2504682" y="197447"/>
                  </a:lnTo>
                  <a:lnTo>
                    <a:pt x="2504733" y="197447"/>
                  </a:lnTo>
                  <a:lnTo>
                    <a:pt x="2504733" y="196799"/>
                  </a:lnTo>
                  <a:lnTo>
                    <a:pt x="2504733" y="199530"/>
                  </a:lnTo>
                  <a:lnTo>
                    <a:pt x="2504733" y="197447"/>
                  </a:lnTo>
                  <a:lnTo>
                    <a:pt x="2504834" y="196799"/>
                  </a:lnTo>
                  <a:lnTo>
                    <a:pt x="2504834" y="200228"/>
                  </a:lnTo>
                  <a:lnTo>
                    <a:pt x="2504834" y="198831"/>
                  </a:lnTo>
                  <a:lnTo>
                    <a:pt x="2504834" y="199530"/>
                  </a:lnTo>
                  <a:lnTo>
                    <a:pt x="2504885" y="199530"/>
                  </a:lnTo>
                  <a:lnTo>
                    <a:pt x="2504885" y="200228"/>
                  </a:lnTo>
                  <a:lnTo>
                    <a:pt x="2504936" y="200228"/>
                  </a:lnTo>
                  <a:lnTo>
                    <a:pt x="2504936" y="200876"/>
                  </a:lnTo>
                  <a:lnTo>
                    <a:pt x="2504936" y="200228"/>
                  </a:lnTo>
                  <a:lnTo>
                    <a:pt x="2504936" y="200876"/>
                  </a:lnTo>
                  <a:lnTo>
                    <a:pt x="2504936" y="200228"/>
                  </a:lnTo>
                  <a:lnTo>
                    <a:pt x="2504936" y="200876"/>
                  </a:lnTo>
                  <a:lnTo>
                    <a:pt x="2504936" y="200228"/>
                  </a:lnTo>
                  <a:lnTo>
                    <a:pt x="2504936" y="200876"/>
                  </a:lnTo>
                  <a:lnTo>
                    <a:pt x="2505037" y="200876"/>
                  </a:lnTo>
                  <a:lnTo>
                    <a:pt x="2505037" y="202260"/>
                  </a:lnTo>
                  <a:lnTo>
                    <a:pt x="2505037" y="200876"/>
                  </a:lnTo>
                  <a:lnTo>
                    <a:pt x="2505037" y="202260"/>
                  </a:lnTo>
                  <a:lnTo>
                    <a:pt x="2505037" y="200876"/>
                  </a:lnTo>
                  <a:lnTo>
                    <a:pt x="2505037" y="202260"/>
                  </a:lnTo>
                  <a:lnTo>
                    <a:pt x="2505037" y="200876"/>
                  </a:lnTo>
                  <a:lnTo>
                    <a:pt x="2505075" y="200876"/>
                  </a:lnTo>
                  <a:lnTo>
                    <a:pt x="2505075" y="202260"/>
                  </a:lnTo>
                  <a:lnTo>
                    <a:pt x="2505075" y="200876"/>
                  </a:lnTo>
                  <a:lnTo>
                    <a:pt x="2505075" y="202260"/>
                  </a:lnTo>
                  <a:lnTo>
                    <a:pt x="2505075" y="200228"/>
                  </a:lnTo>
                  <a:lnTo>
                    <a:pt x="2505126" y="200228"/>
                  </a:lnTo>
                  <a:lnTo>
                    <a:pt x="2505126" y="200876"/>
                  </a:lnTo>
                  <a:lnTo>
                    <a:pt x="2505126" y="199530"/>
                  </a:lnTo>
                  <a:lnTo>
                    <a:pt x="2505177" y="199530"/>
                  </a:lnTo>
                  <a:lnTo>
                    <a:pt x="2505177" y="196799"/>
                  </a:lnTo>
                  <a:lnTo>
                    <a:pt x="2505279" y="196799"/>
                  </a:lnTo>
                  <a:lnTo>
                    <a:pt x="2505279" y="199530"/>
                  </a:lnTo>
                  <a:lnTo>
                    <a:pt x="2505279" y="196799"/>
                  </a:lnTo>
                  <a:lnTo>
                    <a:pt x="2505279" y="198831"/>
                  </a:lnTo>
                  <a:lnTo>
                    <a:pt x="2505330" y="199530"/>
                  </a:lnTo>
                  <a:lnTo>
                    <a:pt x="2505330" y="200876"/>
                  </a:lnTo>
                  <a:lnTo>
                    <a:pt x="2505330" y="198831"/>
                  </a:lnTo>
                  <a:lnTo>
                    <a:pt x="2505330" y="199530"/>
                  </a:lnTo>
                  <a:lnTo>
                    <a:pt x="2505330" y="198831"/>
                  </a:lnTo>
                  <a:lnTo>
                    <a:pt x="2505330" y="199530"/>
                  </a:lnTo>
                  <a:lnTo>
                    <a:pt x="2505380" y="200228"/>
                  </a:lnTo>
                  <a:lnTo>
                    <a:pt x="2505380" y="200876"/>
                  </a:lnTo>
                  <a:lnTo>
                    <a:pt x="2505380" y="198831"/>
                  </a:lnTo>
                  <a:lnTo>
                    <a:pt x="2505380" y="200876"/>
                  </a:lnTo>
                  <a:lnTo>
                    <a:pt x="2505380" y="200228"/>
                  </a:lnTo>
                  <a:lnTo>
                    <a:pt x="2505482" y="200228"/>
                  </a:lnTo>
                  <a:lnTo>
                    <a:pt x="2505482" y="200876"/>
                  </a:lnTo>
                  <a:lnTo>
                    <a:pt x="2505482" y="200228"/>
                  </a:lnTo>
                  <a:lnTo>
                    <a:pt x="2505482" y="200876"/>
                  </a:lnTo>
                  <a:lnTo>
                    <a:pt x="2505482" y="200228"/>
                  </a:lnTo>
                  <a:lnTo>
                    <a:pt x="2505482" y="200876"/>
                  </a:lnTo>
                  <a:lnTo>
                    <a:pt x="2505482" y="200228"/>
                  </a:lnTo>
                  <a:lnTo>
                    <a:pt x="2505482" y="200876"/>
                  </a:lnTo>
                  <a:lnTo>
                    <a:pt x="2505533" y="200876"/>
                  </a:lnTo>
                  <a:lnTo>
                    <a:pt x="2505533" y="202260"/>
                  </a:lnTo>
                  <a:lnTo>
                    <a:pt x="2505533" y="200876"/>
                  </a:lnTo>
                  <a:lnTo>
                    <a:pt x="2505533" y="202260"/>
                  </a:lnTo>
                  <a:lnTo>
                    <a:pt x="2505533" y="200876"/>
                  </a:lnTo>
                  <a:lnTo>
                    <a:pt x="2505533" y="202260"/>
                  </a:lnTo>
                  <a:lnTo>
                    <a:pt x="2505533" y="200876"/>
                  </a:lnTo>
                  <a:lnTo>
                    <a:pt x="2505584" y="200876"/>
                  </a:lnTo>
                  <a:lnTo>
                    <a:pt x="2505584" y="202260"/>
                  </a:lnTo>
                  <a:lnTo>
                    <a:pt x="2505584" y="200876"/>
                  </a:lnTo>
                  <a:lnTo>
                    <a:pt x="2505622" y="200876"/>
                  </a:lnTo>
                  <a:lnTo>
                    <a:pt x="2505622" y="199530"/>
                  </a:lnTo>
                  <a:lnTo>
                    <a:pt x="2505622" y="200228"/>
                  </a:lnTo>
                  <a:lnTo>
                    <a:pt x="2505622" y="199530"/>
                  </a:lnTo>
                  <a:lnTo>
                    <a:pt x="2505723" y="199530"/>
                  </a:lnTo>
                  <a:lnTo>
                    <a:pt x="2505723" y="196799"/>
                  </a:lnTo>
                  <a:lnTo>
                    <a:pt x="2505723" y="197447"/>
                  </a:lnTo>
                  <a:lnTo>
                    <a:pt x="2505774" y="197447"/>
                  </a:lnTo>
                  <a:lnTo>
                    <a:pt x="2505774" y="198831"/>
                  </a:lnTo>
                  <a:lnTo>
                    <a:pt x="2505774" y="196799"/>
                  </a:lnTo>
                  <a:lnTo>
                    <a:pt x="2505774" y="199530"/>
                  </a:lnTo>
                  <a:lnTo>
                    <a:pt x="2505825" y="200228"/>
                  </a:lnTo>
                  <a:lnTo>
                    <a:pt x="2505825" y="198831"/>
                  </a:lnTo>
                  <a:lnTo>
                    <a:pt x="2505825" y="200228"/>
                  </a:lnTo>
                  <a:lnTo>
                    <a:pt x="2505926" y="200228"/>
                  </a:lnTo>
                  <a:lnTo>
                    <a:pt x="2505926" y="200876"/>
                  </a:lnTo>
                  <a:lnTo>
                    <a:pt x="2505926" y="199530"/>
                  </a:lnTo>
                  <a:lnTo>
                    <a:pt x="2505926" y="200876"/>
                  </a:lnTo>
                  <a:lnTo>
                    <a:pt x="2505977" y="200876"/>
                  </a:lnTo>
                  <a:lnTo>
                    <a:pt x="2505977" y="200228"/>
                  </a:lnTo>
                  <a:lnTo>
                    <a:pt x="2505977" y="200876"/>
                  </a:lnTo>
                  <a:lnTo>
                    <a:pt x="2506028" y="200876"/>
                  </a:lnTo>
                  <a:lnTo>
                    <a:pt x="2506028" y="200228"/>
                  </a:lnTo>
                  <a:lnTo>
                    <a:pt x="2506028" y="200876"/>
                  </a:lnTo>
                  <a:lnTo>
                    <a:pt x="2506028" y="200228"/>
                  </a:lnTo>
                  <a:lnTo>
                    <a:pt x="2506028" y="202260"/>
                  </a:lnTo>
                  <a:lnTo>
                    <a:pt x="2506028" y="200876"/>
                  </a:lnTo>
                  <a:lnTo>
                    <a:pt x="2506079" y="200876"/>
                  </a:lnTo>
                  <a:lnTo>
                    <a:pt x="2506079" y="200228"/>
                  </a:lnTo>
                  <a:lnTo>
                    <a:pt x="2506079" y="200876"/>
                  </a:lnTo>
                  <a:lnTo>
                    <a:pt x="2506079" y="200228"/>
                  </a:lnTo>
                  <a:lnTo>
                    <a:pt x="2506168" y="200228"/>
                  </a:lnTo>
                  <a:lnTo>
                    <a:pt x="2506168" y="199530"/>
                  </a:lnTo>
                  <a:lnTo>
                    <a:pt x="2506168" y="200228"/>
                  </a:lnTo>
                  <a:lnTo>
                    <a:pt x="2506168" y="198831"/>
                  </a:lnTo>
                  <a:lnTo>
                    <a:pt x="2506168" y="199530"/>
                  </a:lnTo>
                  <a:lnTo>
                    <a:pt x="2506219" y="198831"/>
                  </a:lnTo>
                  <a:lnTo>
                    <a:pt x="2506219" y="199530"/>
                  </a:lnTo>
                  <a:lnTo>
                    <a:pt x="2506219" y="196113"/>
                  </a:lnTo>
                  <a:lnTo>
                    <a:pt x="2506219" y="196799"/>
                  </a:lnTo>
                  <a:lnTo>
                    <a:pt x="2506269" y="196799"/>
                  </a:lnTo>
                  <a:lnTo>
                    <a:pt x="2506269" y="197447"/>
                  </a:lnTo>
                  <a:lnTo>
                    <a:pt x="2506269" y="196113"/>
                  </a:lnTo>
                  <a:lnTo>
                    <a:pt x="2506269" y="198831"/>
                  </a:lnTo>
                  <a:lnTo>
                    <a:pt x="2506320" y="198831"/>
                  </a:lnTo>
                  <a:lnTo>
                    <a:pt x="2506320" y="196799"/>
                  </a:lnTo>
                  <a:lnTo>
                    <a:pt x="2506320" y="198831"/>
                  </a:lnTo>
                  <a:lnTo>
                    <a:pt x="2506422" y="198831"/>
                  </a:lnTo>
                  <a:lnTo>
                    <a:pt x="2506422" y="197447"/>
                  </a:lnTo>
                  <a:lnTo>
                    <a:pt x="2506422" y="199530"/>
                  </a:lnTo>
                  <a:lnTo>
                    <a:pt x="2506422" y="198831"/>
                  </a:lnTo>
                  <a:lnTo>
                    <a:pt x="2506472" y="198831"/>
                  </a:lnTo>
                  <a:lnTo>
                    <a:pt x="2506472" y="199530"/>
                  </a:lnTo>
                  <a:lnTo>
                    <a:pt x="2506523" y="198831"/>
                  </a:lnTo>
                  <a:lnTo>
                    <a:pt x="2506523" y="200228"/>
                  </a:lnTo>
                  <a:lnTo>
                    <a:pt x="2506523" y="199530"/>
                  </a:lnTo>
                  <a:lnTo>
                    <a:pt x="2506625" y="199530"/>
                  </a:lnTo>
                  <a:lnTo>
                    <a:pt x="2506625" y="200228"/>
                  </a:lnTo>
                  <a:lnTo>
                    <a:pt x="2506625" y="199530"/>
                  </a:lnTo>
                  <a:lnTo>
                    <a:pt x="2506625" y="200228"/>
                  </a:lnTo>
                  <a:lnTo>
                    <a:pt x="2506625" y="199530"/>
                  </a:lnTo>
                  <a:lnTo>
                    <a:pt x="2506625" y="200228"/>
                  </a:lnTo>
                  <a:lnTo>
                    <a:pt x="2506625" y="199530"/>
                  </a:lnTo>
                  <a:lnTo>
                    <a:pt x="2506663" y="199530"/>
                  </a:lnTo>
                  <a:lnTo>
                    <a:pt x="2506663" y="198831"/>
                  </a:lnTo>
                  <a:lnTo>
                    <a:pt x="2506663" y="199530"/>
                  </a:lnTo>
                  <a:lnTo>
                    <a:pt x="2506663" y="197447"/>
                  </a:lnTo>
                  <a:lnTo>
                    <a:pt x="2506663" y="198831"/>
                  </a:lnTo>
                  <a:lnTo>
                    <a:pt x="2506714" y="198831"/>
                  </a:lnTo>
                  <a:lnTo>
                    <a:pt x="2506714" y="196799"/>
                  </a:lnTo>
                  <a:lnTo>
                    <a:pt x="2506714" y="197447"/>
                  </a:lnTo>
                  <a:lnTo>
                    <a:pt x="2506714" y="196799"/>
                  </a:lnTo>
                  <a:lnTo>
                    <a:pt x="2506714" y="197447"/>
                  </a:lnTo>
                  <a:lnTo>
                    <a:pt x="2506765" y="197447"/>
                  </a:lnTo>
                  <a:lnTo>
                    <a:pt x="2506765" y="196799"/>
                  </a:lnTo>
                  <a:lnTo>
                    <a:pt x="2506765" y="199530"/>
                  </a:lnTo>
                  <a:lnTo>
                    <a:pt x="2506866" y="199530"/>
                  </a:lnTo>
                  <a:lnTo>
                    <a:pt x="2506866" y="197447"/>
                  </a:lnTo>
                  <a:lnTo>
                    <a:pt x="2506866" y="199530"/>
                  </a:lnTo>
                  <a:lnTo>
                    <a:pt x="2506917" y="198831"/>
                  </a:lnTo>
                  <a:lnTo>
                    <a:pt x="2506917" y="199530"/>
                  </a:lnTo>
                  <a:lnTo>
                    <a:pt x="2506917" y="198831"/>
                  </a:lnTo>
                  <a:lnTo>
                    <a:pt x="2506968" y="199530"/>
                  </a:lnTo>
                  <a:lnTo>
                    <a:pt x="2506968" y="198831"/>
                  </a:lnTo>
                  <a:lnTo>
                    <a:pt x="2506968" y="200228"/>
                  </a:lnTo>
                  <a:lnTo>
                    <a:pt x="2506968" y="199530"/>
                  </a:lnTo>
                  <a:lnTo>
                    <a:pt x="2507069" y="199530"/>
                  </a:lnTo>
                  <a:lnTo>
                    <a:pt x="2507069" y="200228"/>
                  </a:lnTo>
                  <a:lnTo>
                    <a:pt x="2507069" y="199530"/>
                  </a:lnTo>
                  <a:lnTo>
                    <a:pt x="2507069" y="200228"/>
                  </a:lnTo>
                  <a:lnTo>
                    <a:pt x="2507120" y="200228"/>
                  </a:lnTo>
                  <a:lnTo>
                    <a:pt x="2507171" y="199530"/>
                  </a:lnTo>
                  <a:lnTo>
                    <a:pt x="2507171" y="200228"/>
                  </a:lnTo>
                  <a:lnTo>
                    <a:pt x="2507171" y="199530"/>
                  </a:lnTo>
                  <a:lnTo>
                    <a:pt x="2507209" y="199530"/>
                  </a:lnTo>
                  <a:lnTo>
                    <a:pt x="2507209" y="197447"/>
                  </a:lnTo>
                  <a:lnTo>
                    <a:pt x="2507209" y="199530"/>
                  </a:lnTo>
                  <a:lnTo>
                    <a:pt x="2507209" y="198831"/>
                  </a:lnTo>
                  <a:lnTo>
                    <a:pt x="2507209" y="199530"/>
                  </a:lnTo>
                  <a:lnTo>
                    <a:pt x="2507311" y="199530"/>
                  </a:lnTo>
                  <a:lnTo>
                    <a:pt x="2507311" y="198831"/>
                  </a:lnTo>
                  <a:lnTo>
                    <a:pt x="2507311" y="200876"/>
                  </a:lnTo>
                  <a:lnTo>
                    <a:pt x="2507311" y="199530"/>
                  </a:lnTo>
                  <a:lnTo>
                    <a:pt x="2507362" y="199530"/>
                  </a:lnTo>
                  <a:lnTo>
                    <a:pt x="2507362" y="200876"/>
                  </a:lnTo>
                  <a:lnTo>
                    <a:pt x="2507362" y="200228"/>
                  </a:lnTo>
                  <a:lnTo>
                    <a:pt x="2507362" y="200876"/>
                  </a:lnTo>
                  <a:lnTo>
                    <a:pt x="2507362" y="199530"/>
                  </a:lnTo>
                  <a:lnTo>
                    <a:pt x="2507362" y="200228"/>
                  </a:lnTo>
                  <a:lnTo>
                    <a:pt x="2507412" y="200228"/>
                  </a:lnTo>
                  <a:lnTo>
                    <a:pt x="2507412" y="200876"/>
                  </a:lnTo>
                  <a:lnTo>
                    <a:pt x="2507412" y="200228"/>
                  </a:lnTo>
                  <a:lnTo>
                    <a:pt x="2507514" y="200228"/>
                  </a:lnTo>
                  <a:lnTo>
                    <a:pt x="2507514" y="199530"/>
                  </a:lnTo>
                  <a:lnTo>
                    <a:pt x="2507514" y="200228"/>
                  </a:lnTo>
                  <a:lnTo>
                    <a:pt x="2507514" y="199530"/>
                  </a:lnTo>
                  <a:lnTo>
                    <a:pt x="2507514" y="200228"/>
                  </a:lnTo>
                  <a:lnTo>
                    <a:pt x="2507514" y="199530"/>
                  </a:lnTo>
                  <a:lnTo>
                    <a:pt x="2507514" y="200228"/>
                  </a:lnTo>
                  <a:lnTo>
                    <a:pt x="2507565" y="200228"/>
                  </a:lnTo>
                  <a:lnTo>
                    <a:pt x="2507565" y="199530"/>
                  </a:lnTo>
                  <a:lnTo>
                    <a:pt x="2507565" y="200228"/>
                  </a:lnTo>
                  <a:lnTo>
                    <a:pt x="2507615" y="200228"/>
                  </a:lnTo>
                  <a:lnTo>
                    <a:pt x="2507615" y="199530"/>
                  </a:lnTo>
                  <a:lnTo>
                    <a:pt x="2507666" y="199530"/>
                  </a:lnTo>
                  <a:lnTo>
                    <a:pt x="2507666" y="196799"/>
                  </a:lnTo>
                  <a:lnTo>
                    <a:pt x="2507666" y="197447"/>
                  </a:lnTo>
                  <a:lnTo>
                    <a:pt x="2507755" y="197447"/>
                  </a:lnTo>
                  <a:lnTo>
                    <a:pt x="2507755" y="196799"/>
                  </a:lnTo>
                  <a:lnTo>
                    <a:pt x="2507755" y="197447"/>
                  </a:lnTo>
                  <a:lnTo>
                    <a:pt x="2507755" y="196113"/>
                  </a:lnTo>
                  <a:lnTo>
                    <a:pt x="2507755" y="197447"/>
                  </a:lnTo>
                  <a:lnTo>
                    <a:pt x="2507806" y="197447"/>
                  </a:lnTo>
                  <a:lnTo>
                    <a:pt x="2507806" y="196799"/>
                  </a:lnTo>
                  <a:lnTo>
                    <a:pt x="2507806" y="199530"/>
                  </a:lnTo>
                  <a:lnTo>
                    <a:pt x="2507806" y="197447"/>
                  </a:lnTo>
                  <a:lnTo>
                    <a:pt x="2507857" y="197447"/>
                  </a:lnTo>
                  <a:lnTo>
                    <a:pt x="2507857" y="200228"/>
                  </a:lnTo>
                  <a:lnTo>
                    <a:pt x="2507857" y="199530"/>
                  </a:lnTo>
                  <a:lnTo>
                    <a:pt x="2507908" y="199530"/>
                  </a:lnTo>
                  <a:lnTo>
                    <a:pt x="2507908" y="200228"/>
                  </a:lnTo>
                  <a:lnTo>
                    <a:pt x="2508009" y="200228"/>
                  </a:lnTo>
                  <a:lnTo>
                    <a:pt x="2508009" y="199530"/>
                  </a:lnTo>
                  <a:lnTo>
                    <a:pt x="2508009" y="200228"/>
                  </a:lnTo>
                  <a:lnTo>
                    <a:pt x="2508009" y="199530"/>
                  </a:lnTo>
                  <a:lnTo>
                    <a:pt x="2508009" y="200228"/>
                  </a:lnTo>
                  <a:lnTo>
                    <a:pt x="2508060" y="200228"/>
                  </a:lnTo>
                  <a:lnTo>
                    <a:pt x="2508060" y="199530"/>
                  </a:lnTo>
                  <a:lnTo>
                    <a:pt x="2508060" y="200228"/>
                  </a:lnTo>
                  <a:lnTo>
                    <a:pt x="2508111" y="200228"/>
                  </a:lnTo>
                  <a:lnTo>
                    <a:pt x="2508111" y="199530"/>
                  </a:lnTo>
                  <a:lnTo>
                    <a:pt x="2508111" y="200228"/>
                  </a:lnTo>
                  <a:lnTo>
                    <a:pt x="2508111" y="199530"/>
                  </a:lnTo>
                  <a:lnTo>
                    <a:pt x="2508212" y="199530"/>
                  </a:lnTo>
                  <a:lnTo>
                    <a:pt x="2508212" y="197447"/>
                  </a:lnTo>
                  <a:lnTo>
                    <a:pt x="2508212" y="198831"/>
                  </a:lnTo>
                  <a:lnTo>
                    <a:pt x="2508212" y="196799"/>
                  </a:lnTo>
                  <a:lnTo>
                    <a:pt x="2508250" y="196799"/>
                  </a:lnTo>
                  <a:lnTo>
                    <a:pt x="2508250" y="196113"/>
                  </a:lnTo>
                  <a:lnTo>
                    <a:pt x="2508250" y="198831"/>
                  </a:lnTo>
                  <a:lnTo>
                    <a:pt x="2508250" y="196113"/>
                  </a:lnTo>
                  <a:lnTo>
                    <a:pt x="2508301" y="196113"/>
                  </a:lnTo>
                  <a:lnTo>
                    <a:pt x="2508301" y="199530"/>
                  </a:lnTo>
                  <a:lnTo>
                    <a:pt x="2508301" y="197447"/>
                  </a:lnTo>
                  <a:lnTo>
                    <a:pt x="2508352" y="197447"/>
                  </a:lnTo>
                  <a:lnTo>
                    <a:pt x="2508352" y="199530"/>
                  </a:lnTo>
                  <a:lnTo>
                    <a:pt x="2508352" y="198831"/>
                  </a:lnTo>
                  <a:lnTo>
                    <a:pt x="2508352" y="199530"/>
                  </a:lnTo>
                  <a:lnTo>
                    <a:pt x="2508454" y="198831"/>
                  </a:lnTo>
                  <a:lnTo>
                    <a:pt x="2508454" y="200228"/>
                  </a:lnTo>
                  <a:lnTo>
                    <a:pt x="2508454" y="199530"/>
                  </a:lnTo>
                  <a:lnTo>
                    <a:pt x="2508505" y="199530"/>
                  </a:lnTo>
                  <a:lnTo>
                    <a:pt x="2508505" y="200228"/>
                  </a:lnTo>
                  <a:lnTo>
                    <a:pt x="2508505" y="199530"/>
                  </a:lnTo>
                  <a:lnTo>
                    <a:pt x="2508505" y="200228"/>
                  </a:lnTo>
                  <a:lnTo>
                    <a:pt x="2508555" y="200228"/>
                  </a:lnTo>
                  <a:lnTo>
                    <a:pt x="2508657" y="200876"/>
                  </a:lnTo>
                  <a:lnTo>
                    <a:pt x="2508657" y="199530"/>
                  </a:lnTo>
                  <a:lnTo>
                    <a:pt x="2508657" y="200228"/>
                  </a:lnTo>
                  <a:lnTo>
                    <a:pt x="2508657" y="198831"/>
                  </a:lnTo>
                  <a:lnTo>
                    <a:pt x="2508657" y="199530"/>
                  </a:lnTo>
                  <a:lnTo>
                    <a:pt x="2508708" y="199530"/>
                  </a:lnTo>
                  <a:lnTo>
                    <a:pt x="2508708" y="197447"/>
                  </a:lnTo>
                  <a:lnTo>
                    <a:pt x="2508708" y="198831"/>
                  </a:lnTo>
                  <a:lnTo>
                    <a:pt x="2508708" y="196799"/>
                  </a:lnTo>
                  <a:lnTo>
                    <a:pt x="2508759" y="196113"/>
                  </a:lnTo>
                  <a:lnTo>
                    <a:pt x="2508759" y="195415"/>
                  </a:lnTo>
                  <a:lnTo>
                    <a:pt x="2508759" y="197447"/>
                  </a:lnTo>
                  <a:lnTo>
                    <a:pt x="2508759" y="196113"/>
                  </a:lnTo>
                  <a:lnTo>
                    <a:pt x="2508797" y="196113"/>
                  </a:lnTo>
                  <a:lnTo>
                    <a:pt x="2508797" y="195415"/>
                  </a:lnTo>
                  <a:lnTo>
                    <a:pt x="2508797" y="199530"/>
                  </a:lnTo>
                  <a:lnTo>
                    <a:pt x="2508797" y="197447"/>
                  </a:lnTo>
                  <a:lnTo>
                    <a:pt x="2508898" y="196799"/>
                  </a:lnTo>
                  <a:lnTo>
                    <a:pt x="2508898" y="199530"/>
                  </a:lnTo>
                  <a:lnTo>
                    <a:pt x="2508898" y="198831"/>
                  </a:lnTo>
                  <a:lnTo>
                    <a:pt x="2508949" y="198831"/>
                  </a:lnTo>
                  <a:lnTo>
                    <a:pt x="2508949" y="199530"/>
                  </a:lnTo>
                  <a:lnTo>
                    <a:pt x="2508949" y="198831"/>
                  </a:lnTo>
                  <a:lnTo>
                    <a:pt x="2508949" y="199530"/>
                  </a:lnTo>
                  <a:lnTo>
                    <a:pt x="2509000" y="199530"/>
                  </a:lnTo>
                  <a:lnTo>
                    <a:pt x="2509000" y="200228"/>
                  </a:lnTo>
                  <a:lnTo>
                    <a:pt x="2509000" y="199530"/>
                  </a:lnTo>
                  <a:lnTo>
                    <a:pt x="2509000" y="200228"/>
                  </a:lnTo>
                  <a:lnTo>
                    <a:pt x="2509101" y="200876"/>
                  </a:lnTo>
                  <a:lnTo>
                    <a:pt x="2509101" y="200228"/>
                  </a:lnTo>
                  <a:lnTo>
                    <a:pt x="2509101" y="200876"/>
                  </a:lnTo>
                  <a:lnTo>
                    <a:pt x="2509101" y="200228"/>
                  </a:lnTo>
                  <a:lnTo>
                    <a:pt x="2509152" y="200228"/>
                  </a:lnTo>
                  <a:lnTo>
                    <a:pt x="2509152" y="200876"/>
                  </a:lnTo>
                  <a:lnTo>
                    <a:pt x="2509152" y="199530"/>
                  </a:lnTo>
                  <a:lnTo>
                    <a:pt x="2509203" y="199530"/>
                  </a:lnTo>
                  <a:lnTo>
                    <a:pt x="2509203" y="198831"/>
                  </a:lnTo>
                  <a:lnTo>
                    <a:pt x="2509203" y="199530"/>
                  </a:lnTo>
                  <a:lnTo>
                    <a:pt x="2509203" y="197447"/>
                  </a:lnTo>
                  <a:lnTo>
                    <a:pt x="2509254" y="197447"/>
                  </a:lnTo>
                  <a:lnTo>
                    <a:pt x="2509254" y="196799"/>
                  </a:lnTo>
                  <a:lnTo>
                    <a:pt x="2509254" y="198831"/>
                  </a:lnTo>
                  <a:lnTo>
                    <a:pt x="2509254" y="196113"/>
                  </a:lnTo>
                  <a:lnTo>
                    <a:pt x="2509343" y="196113"/>
                  </a:lnTo>
                  <a:lnTo>
                    <a:pt x="2509343" y="200228"/>
                  </a:lnTo>
                  <a:lnTo>
                    <a:pt x="2509343" y="197447"/>
                  </a:lnTo>
                  <a:lnTo>
                    <a:pt x="2509394" y="197447"/>
                  </a:lnTo>
                  <a:lnTo>
                    <a:pt x="2509394" y="199530"/>
                  </a:lnTo>
                  <a:lnTo>
                    <a:pt x="2509394" y="197447"/>
                  </a:lnTo>
                  <a:lnTo>
                    <a:pt x="2509444" y="197447"/>
                  </a:lnTo>
                  <a:lnTo>
                    <a:pt x="2509444" y="199530"/>
                  </a:lnTo>
                  <a:lnTo>
                    <a:pt x="2509444" y="198831"/>
                  </a:lnTo>
                  <a:lnTo>
                    <a:pt x="2509444" y="199530"/>
                  </a:lnTo>
                  <a:lnTo>
                    <a:pt x="2509444" y="197447"/>
                  </a:lnTo>
                  <a:lnTo>
                    <a:pt x="2509444" y="198831"/>
                  </a:lnTo>
                  <a:lnTo>
                    <a:pt x="2509495" y="198831"/>
                  </a:lnTo>
                  <a:lnTo>
                    <a:pt x="2509495" y="200228"/>
                  </a:lnTo>
                  <a:lnTo>
                    <a:pt x="2509647" y="200228"/>
                  </a:lnTo>
                  <a:lnTo>
                    <a:pt x="2509647" y="199530"/>
                  </a:lnTo>
                  <a:lnTo>
                    <a:pt x="2509698" y="199530"/>
                  </a:lnTo>
                  <a:lnTo>
                    <a:pt x="2509698" y="198831"/>
                  </a:lnTo>
                  <a:lnTo>
                    <a:pt x="2509698" y="199530"/>
                  </a:lnTo>
                  <a:lnTo>
                    <a:pt x="2509698" y="196799"/>
                  </a:lnTo>
                  <a:lnTo>
                    <a:pt x="2509800" y="196799"/>
                  </a:lnTo>
                  <a:lnTo>
                    <a:pt x="2509800" y="199530"/>
                  </a:lnTo>
                  <a:lnTo>
                    <a:pt x="2509800" y="196799"/>
                  </a:lnTo>
                  <a:lnTo>
                    <a:pt x="2509800" y="198831"/>
                  </a:lnTo>
                  <a:lnTo>
                    <a:pt x="2509838" y="199530"/>
                  </a:lnTo>
                  <a:lnTo>
                    <a:pt x="2509838" y="200876"/>
                  </a:lnTo>
                  <a:lnTo>
                    <a:pt x="2509838" y="199530"/>
                  </a:lnTo>
                  <a:lnTo>
                    <a:pt x="2509838" y="200228"/>
                  </a:lnTo>
                  <a:lnTo>
                    <a:pt x="2509838" y="199530"/>
                  </a:lnTo>
                  <a:lnTo>
                    <a:pt x="2509838" y="200228"/>
                  </a:lnTo>
                  <a:lnTo>
                    <a:pt x="2509889" y="200228"/>
                  </a:lnTo>
                  <a:lnTo>
                    <a:pt x="2509889" y="200876"/>
                  </a:lnTo>
                  <a:lnTo>
                    <a:pt x="2509889" y="200228"/>
                  </a:lnTo>
                  <a:lnTo>
                    <a:pt x="2509889" y="200876"/>
                  </a:lnTo>
                  <a:lnTo>
                    <a:pt x="2509889" y="199530"/>
                  </a:lnTo>
                  <a:lnTo>
                    <a:pt x="2509889" y="200228"/>
                  </a:lnTo>
                  <a:lnTo>
                    <a:pt x="2509940" y="200228"/>
                  </a:lnTo>
                  <a:lnTo>
                    <a:pt x="2509940" y="199530"/>
                  </a:lnTo>
                  <a:lnTo>
                    <a:pt x="2509940" y="200228"/>
                  </a:lnTo>
                  <a:lnTo>
                    <a:pt x="2510041" y="200228"/>
                  </a:lnTo>
                  <a:lnTo>
                    <a:pt x="2510041" y="200876"/>
                  </a:lnTo>
                  <a:lnTo>
                    <a:pt x="2510041" y="200228"/>
                  </a:lnTo>
                  <a:lnTo>
                    <a:pt x="2510041" y="200876"/>
                  </a:lnTo>
                  <a:lnTo>
                    <a:pt x="2510041" y="200228"/>
                  </a:lnTo>
                  <a:lnTo>
                    <a:pt x="2510041" y="200876"/>
                  </a:lnTo>
                  <a:lnTo>
                    <a:pt x="2510041" y="200228"/>
                  </a:lnTo>
                  <a:lnTo>
                    <a:pt x="2510041" y="200876"/>
                  </a:lnTo>
                  <a:lnTo>
                    <a:pt x="2510092" y="200876"/>
                  </a:lnTo>
                  <a:lnTo>
                    <a:pt x="2510092" y="200228"/>
                  </a:lnTo>
                  <a:lnTo>
                    <a:pt x="2510092" y="200876"/>
                  </a:lnTo>
                  <a:lnTo>
                    <a:pt x="2510092" y="200228"/>
                  </a:lnTo>
                  <a:lnTo>
                    <a:pt x="2510092" y="200876"/>
                  </a:lnTo>
                  <a:lnTo>
                    <a:pt x="2510092" y="200228"/>
                  </a:lnTo>
                  <a:lnTo>
                    <a:pt x="2510143" y="200228"/>
                  </a:lnTo>
                  <a:lnTo>
                    <a:pt x="2510143" y="199530"/>
                  </a:lnTo>
                  <a:lnTo>
                    <a:pt x="2510143" y="200228"/>
                  </a:lnTo>
                  <a:lnTo>
                    <a:pt x="2510143" y="198831"/>
                  </a:lnTo>
                  <a:lnTo>
                    <a:pt x="2510244" y="199530"/>
                  </a:lnTo>
                  <a:lnTo>
                    <a:pt x="2510244" y="196799"/>
                  </a:lnTo>
                  <a:lnTo>
                    <a:pt x="2510244" y="199530"/>
                  </a:lnTo>
                  <a:lnTo>
                    <a:pt x="2510295" y="199530"/>
                  </a:lnTo>
                  <a:lnTo>
                    <a:pt x="2510295" y="198831"/>
                  </a:lnTo>
                  <a:lnTo>
                    <a:pt x="2510295" y="202260"/>
                  </a:lnTo>
                  <a:lnTo>
                    <a:pt x="2510346" y="202260"/>
                  </a:lnTo>
                  <a:lnTo>
                    <a:pt x="2510346" y="200228"/>
                  </a:lnTo>
                  <a:lnTo>
                    <a:pt x="2510346" y="200876"/>
                  </a:lnTo>
                  <a:lnTo>
                    <a:pt x="2510384" y="200876"/>
                  </a:lnTo>
                  <a:lnTo>
                    <a:pt x="2510384" y="200228"/>
                  </a:lnTo>
                  <a:lnTo>
                    <a:pt x="2510486" y="200228"/>
                  </a:lnTo>
                  <a:lnTo>
                    <a:pt x="2510486" y="199530"/>
                  </a:lnTo>
                  <a:lnTo>
                    <a:pt x="2510486" y="200228"/>
                  </a:lnTo>
                  <a:lnTo>
                    <a:pt x="2510537" y="200228"/>
                  </a:lnTo>
                  <a:lnTo>
                    <a:pt x="2510537" y="200876"/>
                  </a:lnTo>
                  <a:lnTo>
                    <a:pt x="2510587" y="200876"/>
                  </a:lnTo>
                  <a:lnTo>
                    <a:pt x="2510587" y="199530"/>
                  </a:lnTo>
                  <a:lnTo>
                    <a:pt x="2510689" y="199530"/>
                  </a:lnTo>
                  <a:lnTo>
                    <a:pt x="2510689" y="200228"/>
                  </a:lnTo>
                  <a:lnTo>
                    <a:pt x="2510689" y="198831"/>
                  </a:lnTo>
                  <a:lnTo>
                    <a:pt x="2510689" y="199530"/>
                  </a:lnTo>
                  <a:lnTo>
                    <a:pt x="2510689" y="198831"/>
                  </a:lnTo>
                  <a:lnTo>
                    <a:pt x="2510740" y="198831"/>
                  </a:lnTo>
                  <a:lnTo>
                    <a:pt x="2510740" y="197447"/>
                  </a:lnTo>
                  <a:lnTo>
                    <a:pt x="2510740" y="199530"/>
                  </a:lnTo>
                  <a:lnTo>
                    <a:pt x="2510790" y="198831"/>
                  </a:lnTo>
                  <a:lnTo>
                    <a:pt x="2510790" y="197447"/>
                  </a:lnTo>
                  <a:lnTo>
                    <a:pt x="2510790" y="200876"/>
                  </a:lnTo>
                  <a:lnTo>
                    <a:pt x="2510790" y="200228"/>
                  </a:lnTo>
                  <a:lnTo>
                    <a:pt x="2510841" y="200228"/>
                  </a:lnTo>
                  <a:lnTo>
                    <a:pt x="2510841" y="200876"/>
                  </a:lnTo>
                  <a:lnTo>
                    <a:pt x="2510841" y="200228"/>
                  </a:lnTo>
                  <a:lnTo>
                    <a:pt x="2510841" y="200876"/>
                  </a:lnTo>
                  <a:lnTo>
                    <a:pt x="2510841" y="200228"/>
                  </a:lnTo>
                  <a:lnTo>
                    <a:pt x="2510930" y="200228"/>
                  </a:lnTo>
                  <a:lnTo>
                    <a:pt x="2510930" y="202260"/>
                  </a:lnTo>
                  <a:lnTo>
                    <a:pt x="2510930" y="200876"/>
                  </a:lnTo>
                  <a:lnTo>
                    <a:pt x="2510981" y="200876"/>
                  </a:lnTo>
                  <a:lnTo>
                    <a:pt x="2510981" y="202260"/>
                  </a:lnTo>
                  <a:lnTo>
                    <a:pt x="2510981" y="200876"/>
                  </a:lnTo>
                  <a:lnTo>
                    <a:pt x="2510981" y="202260"/>
                  </a:lnTo>
                  <a:lnTo>
                    <a:pt x="2510981" y="200876"/>
                  </a:lnTo>
                  <a:lnTo>
                    <a:pt x="2510981" y="202260"/>
                  </a:lnTo>
                  <a:lnTo>
                    <a:pt x="2510981" y="200876"/>
                  </a:lnTo>
                  <a:lnTo>
                    <a:pt x="2511032" y="200876"/>
                  </a:lnTo>
                  <a:lnTo>
                    <a:pt x="2511032" y="202260"/>
                  </a:lnTo>
                  <a:lnTo>
                    <a:pt x="2511032" y="200876"/>
                  </a:lnTo>
                  <a:lnTo>
                    <a:pt x="2511032" y="202260"/>
                  </a:lnTo>
                  <a:lnTo>
                    <a:pt x="2511083" y="200876"/>
                  </a:lnTo>
                  <a:lnTo>
                    <a:pt x="2511083" y="200228"/>
                  </a:lnTo>
                  <a:lnTo>
                    <a:pt x="2511083" y="200876"/>
                  </a:lnTo>
                  <a:lnTo>
                    <a:pt x="2511083" y="199530"/>
                  </a:lnTo>
                  <a:lnTo>
                    <a:pt x="2511184" y="200228"/>
                  </a:lnTo>
                  <a:lnTo>
                    <a:pt x="2511184" y="198831"/>
                  </a:lnTo>
                  <a:lnTo>
                    <a:pt x="2511235" y="198831"/>
                  </a:lnTo>
                  <a:lnTo>
                    <a:pt x="2511235" y="199530"/>
                  </a:lnTo>
                  <a:lnTo>
                    <a:pt x="2511286" y="199530"/>
                  </a:lnTo>
                  <a:lnTo>
                    <a:pt x="2511286" y="200876"/>
                  </a:lnTo>
                  <a:lnTo>
                    <a:pt x="2511286" y="200228"/>
                  </a:lnTo>
                  <a:lnTo>
                    <a:pt x="2511286" y="200876"/>
                  </a:lnTo>
                  <a:lnTo>
                    <a:pt x="2511387" y="202260"/>
                  </a:lnTo>
                  <a:lnTo>
                    <a:pt x="2511387" y="200876"/>
                  </a:lnTo>
                  <a:lnTo>
                    <a:pt x="2511425" y="200876"/>
                  </a:lnTo>
                  <a:lnTo>
                    <a:pt x="2511425" y="202260"/>
                  </a:lnTo>
                  <a:lnTo>
                    <a:pt x="2511425" y="200876"/>
                  </a:lnTo>
                  <a:lnTo>
                    <a:pt x="2511425" y="202260"/>
                  </a:lnTo>
                  <a:lnTo>
                    <a:pt x="2511476" y="202260"/>
                  </a:lnTo>
                  <a:lnTo>
                    <a:pt x="2511476" y="200876"/>
                  </a:lnTo>
                  <a:lnTo>
                    <a:pt x="2511476" y="202260"/>
                  </a:lnTo>
                  <a:lnTo>
                    <a:pt x="2511476" y="200876"/>
                  </a:lnTo>
                  <a:lnTo>
                    <a:pt x="2511476" y="202260"/>
                  </a:lnTo>
                  <a:lnTo>
                    <a:pt x="2511476" y="200876"/>
                  </a:lnTo>
                  <a:lnTo>
                    <a:pt x="2511476" y="202260"/>
                  </a:lnTo>
                  <a:lnTo>
                    <a:pt x="2511527" y="202260"/>
                  </a:lnTo>
                  <a:lnTo>
                    <a:pt x="2511527" y="200876"/>
                  </a:lnTo>
                  <a:lnTo>
                    <a:pt x="2511527" y="202260"/>
                  </a:lnTo>
                  <a:lnTo>
                    <a:pt x="2511527" y="200876"/>
                  </a:lnTo>
                  <a:lnTo>
                    <a:pt x="2511629" y="200876"/>
                  </a:lnTo>
                  <a:lnTo>
                    <a:pt x="2511629" y="199530"/>
                  </a:lnTo>
                  <a:lnTo>
                    <a:pt x="2511680" y="199530"/>
                  </a:lnTo>
                  <a:lnTo>
                    <a:pt x="2511680" y="198831"/>
                  </a:lnTo>
                  <a:lnTo>
                    <a:pt x="2511680" y="199530"/>
                  </a:lnTo>
                  <a:lnTo>
                    <a:pt x="2511680" y="198831"/>
                  </a:lnTo>
                  <a:lnTo>
                    <a:pt x="2511680" y="199530"/>
                  </a:lnTo>
                  <a:lnTo>
                    <a:pt x="2511730" y="199530"/>
                  </a:lnTo>
                  <a:lnTo>
                    <a:pt x="2511730" y="198831"/>
                  </a:lnTo>
                  <a:lnTo>
                    <a:pt x="2511730" y="199530"/>
                  </a:lnTo>
                  <a:lnTo>
                    <a:pt x="2511730" y="197447"/>
                  </a:lnTo>
                  <a:lnTo>
                    <a:pt x="2511730" y="200228"/>
                  </a:lnTo>
                  <a:lnTo>
                    <a:pt x="2511832" y="200876"/>
                  </a:lnTo>
                  <a:lnTo>
                    <a:pt x="2511832" y="200228"/>
                  </a:lnTo>
                  <a:lnTo>
                    <a:pt x="2511832" y="200876"/>
                  </a:lnTo>
                  <a:lnTo>
                    <a:pt x="2511832" y="200228"/>
                  </a:lnTo>
                  <a:lnTo>
                    <a:pt x="2511832" y="200876"/>
                  </a:lnTo>
                  <a:lnTo>
                    <a:pt x="2511832" y="199530"/>
                  </a:lnTo>
                  <a:lnTo>
                    <a:pt x="2511832" y="200876"/>
                  </a:lnTo>
                  <a:lnTo>
                    <a:pt x="2511883" y="200876"/>
                  </a:lnTo>
                  <a:lnTo>
                    <a:pt x="2511883" y="200228"/>
                  </a:lnTo>
                  <a:lnTo>
                    <a:pt x="2511883" y="200876"/>
                  </a:lnTo>
                  <a:lnTo>
                    <a:pt x="2511883" y="200228"/>
                  </a:lnTo>
                  <a:lnTo>
                    <a:pt x="2511883" y="200876"/>
                  </a:lnTo>
                  <a:lnTo>
                    <a:pt x="2511883" y="200228"/>
                  </a:lnTo>
                  <a:lnTo>
                    <a:pt x="2511883" y="200876"/>
                  </a:lnTo>
                  <a:lnTo>
                    <a:pt x="2511934" y="200228"/>
                  </a:lnTo>
                  <a:lnTo>
                    <a:pt x="2511934" y="200876"/>
                  </a:lnTo>
                  <a:lnTo>
                    <a:pt x="2511934" y="200228"/>
                  </a:lnTo>
                  <a:lnTo>
                    <a:pt x="2511934" y="202260"/>
                  </a:lnTo>
                  <a:lnTo>
                    <a:pt x="2511934" y="200876"/>
                  </a:lnTo>
                  <a:lnTo>
                    <a:pt x="2511934" y="202260"/>
                  </a:lnTo>
                  <a:lnTo>
                    <a:pt x="2511934" y="200876"/>
                  </a:lnTo>
                  <a:lnTo>
                    <a:pt x="2511934" y="202260"/>
                  </a:lnTo>
                  <a:lnTo>
                    <a:pt x="2511972" y="202260"/>
                  </a:lnTo>
                  <a:lnTo>
                    <a:pt x="2512073" y="202959"/>
                  </a:lnTo>
                  <a:lnTo>
                    <a:pt x="2512073" y="200876"/>
                  </a:lnTo>
                  <a:lnTo>
                    <a:pt x="2512073" y="202260"/>
                  </a:lnTo>
                  <a:lnTo>
                    <a:pt x="2512073" y="200876"/>
                  </a:lnTo>
                  <a:lnTo>
                    <a:pt x="2512073" y="202260"/>
                  </a:lnTo>
                  <a:lnTo>
                    <a:pt x="2512073" y="200228"/>
                  </a:lnTo>
                  <a:lnTo>
                    <a:pt x="2512124" y="200876"/>
                  </a:lnTo>
                  <a:lnTo>
                    <a:pt x="2512124" y="199530"/>
                  </a:lnTo>
                  <a:lnTo>
                    <a:pt x="2512124" y="200228"/>
                  </a:lnTo>
                  <a:lnTo>
                    <a:pt x="2512124" y="199530"/>
                  </a:lnTo>
                  <a:lnTo>
                    <a:pt x="2512175" y="198831"/>
                  </a:lnTo>
                  <a:lnTo>
                    <a:pt x="2512175" y="199530"/>
                  </a:lnTo>
                  <a:lnTo>
                    <a:pt x="2512175" y="198831"/>
                  </a:lnTo>
                  <a:lnTo>
                    <a:pt x="2512175" y="199530"/>
                  </a:lnTo>
                  <a:lnTo>
                    <a:pt x="2512276" y="199530"/>
                  </a:lnTo>
                  <a:lnTo>
                    <a:pt x="2512276" y="197447"/>
                  </a:lnTo>
                  <a:lnTo>
                    <a:pt x="2512276" y="200876"/>
                  </a:lnTo>
                  <a:lnTo>
                    <a:pt x="2512276" y="200228"/>
                  </a:lnTo>
                  <a:lnTo>
                    <a:pt x="2512327" y="200228"/>
                  </a:lnTo>
                  <a:lnTo>
                    <a:pt x="2512327" y="199530"/>
                  </a:lnTo>
                  <a:lnTo>
                    <a:pt x="2512327" y="200228"/>
                  </a:lnTo>
                  <a:lnTo>
                    <a:pt x="2512327" y="199530"/>
                  </a:lnTo>
                  <a:lnTo>
                    <a:pt x="2512327" y="200876"/>
                  </a:lnTo>
                  <a:lnTo>
                    <a:pt x="2512327" y="200228"/>
                  </a:lnTo>
                  <a:lnTo>
                    <a:pt x="2512378" y="200228"/>
                  </a:lnTo>
                  <a:lnTo>
                    <a:pt x="2512378" y="199530"/>
                  </a:lnTo>
                  <a:lnTo>
                    <a:pt x="2512378" y="200228"/>
                  </a:lnTo>
                  <a:lnTo>
                    <a:pt x="2512429" y="200228"/>
                  </a:lnTo>
                  <a:lnTo>
                    <a:pt x="2512429" y="200876"/>
                  </a:lnTo>
                  <a:lnTo>
                    <a:pt x="2512429" y="200228"/>
                  </a:lnTo>
                  <a:lnTo>
                    <a:pt x="2512429" y="200876"/>
                  </a:lnTo>
                  <a:lnTo>
                    <a:pt x="2512518" y="200876"/>
                  </a:lnTo>
                  <a:lnTo>
                    <a:pt x="2512518" y="200228"/>
                  </a:lnTo>
                  <a:lnTo>
                    <a:pt x="2512518" y="200876"/>
                  </a:lnTo>
                  <a:lnTo>
                    <a:pt x="2512518" y="200228"/>
                  </a:lnTo>
                  <a:lnTo>
                    <a:pt x="2512518" y="200876"/>
                  </a:lnTo>
                  <a:lnTo>
                    <a:pt x="2512518" y="200228"/>
                  </a:lnTo>
                  <a:lnTo>
                    <a:pt x="2512569" y="200228"/>
                  </a:lnTo>
                  <a:lnTo>
                    <a:pt x="2512569" y="200876"/>
                  </a:lnTo>
                  <a:lnTo>
                    <a:pt x="2512569" y="200228"/>
                  </a:lnTo>
                  <a:lnTo>
                    <a:pt x="2512569" y="200876"/>
                  </a:lnTo>
                  <a:lnTo>
                    <a:pt x="2512569" y="200228"/>
                  </a:lnTo>
                  <a:lnTo>
                    <a:pt x="2512569" y="200876"/>
                  </a:lnTo>
                  <a:lnTo>
                    <a:pt x="2512569" y="200228"/>
                  </a:lnTo>
                  <a:lnTo>
                    <a:pt x="2512569" y="200876"/>
                  </a:lnTo>
                  <a:lnTo>
                    <a:pt x="2512569" y="200228"/>
                  </a:lnTo>
                  <a:lnTo>
                    <a:pt x="2512569" y="200876"/>
                  </a:lnTo>
                  <a:lnTo>
                    <a:pt x="2512569" y="200228"/>
                  </a:lnTo>
                  <a:lnTo>
                    <a:pt x="2512619" y="200228"/>
                  </a:lnTo>
                  <a:lnTo>
                    <a:pt x="2512619" y="198831"/>
                  </a:lnTo>
                  <a:lnTo>
                    <a:pt x="2512619" y="199530"/>
                  </a:lnTo>
                  <a:lnTo>
                    <a:pt x="2512619" y="198831"/>
                  </a:lnTo>
                  <a:lnTo>
                    <a:pt x="2512619" y="200228"/>
                  </a:lnTo>
                  <a:lnTo>
                    <a:pt x="2512670" y="200228"/>
                  </a:lnTo>
                  <a:lnTo>
                    <a:pt x="2512670" y="200876"/>
                  </a:lnTo>
                  <a:lnTo>
                    <a:pt x="2512670" y="198831"/>
                  </a:lnTo>
                  <a:lnTo>
                    <a:pt x="2512670" y="202959"/>
                  </a:lnTo>
                  <a:lnTo>
                    <a:pt x="2512772" y="203594"/>
                  </a:lnTo>
                  <a:lnTo>
                    <a:pt x="2512772" y="200228"/>
                  </a:lnTo>
                  <a:lnTo>
                    <a:pt x="2512772" y="202959"/>
                  </a:lnTo>
                  <a:lnTo>
                    <a:pt x="2512822" y="202959"/>
                  </a:lnTo>
                  <a:lnTo>
                    <a:pt x="2512822" y="202260"/>
                  </a:lnTo>
                  <a:lnTo>
                    <a:pt x="2512822" y="202959"/>
                  </a:lnTo>
                  <a:lnTo>
                    <a:pt x="2512822" y="202260"/>
                  </a:lnTo>
                  <a:lnTo>
                    <a:pt x="2512873" y="202260"/>
                  </a:lnTo>
                  <a:lnTo>
                    <a:pt x="2512873" y="200876"/>
                  </a:lnTo>
                  <a:lnTo>
                    <a:pt x="2512873" y="202260"/>
                  </a:lnTo>
                  <a:lnTo>
                    <a:pt x="2512873" y="200876"/>
                  </a:lnTo>
                  <a:lnTo>
                    <a:pt x="2512873" y="202260"/>
                  </a:lnTo>
                  <a:lnTo>
                    <a:pt x="2512873" y="200876"/>
                  </a:lnTo>
                  <a:lnTo>
                    <a:pt x="2512873" y="202260"/>
                  </a:lnTo>
                  <a:lnTo>
                    <a:pt x="2512975" y="202260"/>
                  </a:lnTo>
                  <a:lnTo>
                    <a:pt x="2512975" y="202959"/>
                  </a:lnTo>
                  <a:lnTo>
                    <a:pt x="2512975" y="202260"/>
                  </a:lnTo>
                  <a:lnTo>
                    <a:pt x="2513013" y="202959"/>
                  </a:lnTo>
                  <a:lnTo>
                    <a:pt x="2513013" y="202260"/>
                  </a:lnTo>
                  <a:lnTo>
                    <a:pt x="2513013" y="202959"/>
                  </a:lnTo>
                  <a:lnTo>
                    <a:pt x="2513013" y="202260"/>
                  </a:lnTo>
                  <a:lnTo>
                    <a:pt x="2513013" y="202959"/>
                  </a:lnTo>
                  <a:lnTo>
                    <a:pt x="2513013" y="200876"/>
                  </a:lnTo>
                  <a:lnTo>
                    <a:pt x="2513064" y="200876"/>
                  </a:lnTo>
                  <a:lnTo>
                    <a:pt x="2513064" y="202260"/>
                  </a:lnTo>
                  <a:lnTo>
                    <a:pt x="2513064" y="200876"/>
                  </a:lnTo>
                  <a:lnTo>
                    <a:pt x="2513064" y="202260"/>
                  </a:lnTo>
                  <a:lnTo>
                    <a:pt x="2513064" y="200228"/>
                  </a:lnTo>
                  <a:lnTo>
                    <a:pt x="2513115" y="200228"/>
                  </a:lnTo>
                  <a:lnTo>
                    <a:pt x="2513115" y="198831"/>
                  </a:lnTo>
                  <a:lnTo>
                    <a:pt x="2513115" y="199530"/>
                  </a:lnTo>
                  <a:lnTo>
                    <a:pt x="2513216" y="199530"/>
                  </a:lnTo>
                  <a:lnTo>
                    <a:pt x="2513216" y="200228"/>
                  </a:lnTo>
                  <a:lnTo>
                    <a:pt x="2513216" y="198831"/>
                  </a:lnTo>
                  <a:lnTo>
                    <a:pt x="2513216" y="202260"/>
                  </a:lnTo>
                  <a:lnTo>
                    <a:pt x="2513267" y="202260"/>
                  </a:lnTo>
                  <a:lnTo>
                    <a:pt x="2513267" y="200228"/>
                  </a:lnTo>
                  <a:lnTo>
                    <a:pt x="2513267" y="202260"/>
                  </a:lnTo>
                  <a:lnTo>
                    <a:pt x="2513318" y="202260"/>
                  </a:lnTo>
                  <a:lnTo>
                    <a:pt x="2513318" y="200228"/>
                  </a:lnTo>
                  <a:lnTo>
                    <a:pt x="2513318" y="202260"/>
                  </a:lnTo>
                  <a:lnTo>
                    <a:pt x="2513318" y="200876"/>
                  </a:lnTo>
                  <a:lnTo>
                    <a:pt x="2513318" y="202260"/>
                  </a:lnTo>
                  <a:lnTo>
                    <a:pt x="2513318" y="200876"/>
                  </a:lnTo>
                  <a:lnTo>
                    <a:pt x="2513419" y="202260"/>
                  </a:lnTo>
                  <a:lnTo>
                    <a:pt x="2513419" y="200876"/>
                  </a:lnTo>
                  <a:lnTo>
                    <a:pt x="2513419" y="202959"/>
                  </a:lnTo>
                  <a:lnTo>
                    <a:pt x="2513470" y="202959"/>
                  </a:lnTo>
                  <a:lnTo>
                    <a:pt x="2513470" y="202260"/>
                  </a:lnTo>
                  <a:lnTo>
                    <a:pt x="2513470" y="202959"/>
                  </a:lnTo>
                  <a:lnTo>
                    <a:pt x="2513470" y="202260"/>
                  </a:lnTo>
                  <a:lnTo>
                    <a:pt x="2513470" y="202959"/>
                  </a:lnTo>
                  <a:lnTo>
                    <a:pt x="2513470" y="202260"/>
                  </a:lnTo>
                  <a:lnTo>
                    <a:pt x="2513521" y="202260"/>
                  </a:lnTo>
                  <a:lnTo>
                    <a:pt x="2513521" y="200876"/>
                  </a:lnTo>
                  <a:lnTo>
                    <a:pt x="2513521" y="202260"/>
                  </a:lnTo>
                  <a:lnTo>
                    <a:pt x="2513521" y="200228"/>
                  </a:lnTo>
                  <a:lnTo>
                    <a:pt x="2513521" y="200876"/>
                  </a:lnTo>
                  <a:lnTo>
                    <a:pt x="2513559" y="200876"/>
                  </a:lnTo>
                  <a:lnTo>
                    <a:pt x="2513559" y="200228"/>
                  </a:lnTo>
                  <a:lnTo>
                    <a:pt x="2513559" y="200876"/>
                  </a:lnTo>
                  <a:lnTo>
                    <a:pt x="2513559" y="200228"/>
                  </a:lnTo>
                  <a:lnTo>
                    <a:pt x="2513559" y="200876"/>
                  </a:lnTo>
                  <a:lnTo>
                    <a:pt x="2513559" y="200228"/>
                  </a:lnTo>
                  <a:lnTo>
                    <a:pt x="2513559" y="200876"/>
                  </a:lnTo>
                  <a:lnTo>
                    <a:pt x="2513559" y="199530"/>
                  </a:lnTo>
                  <a:lnTo>
                    <a:pt x="2513559" y="200228"/>
                  </a:lnTo>
                  <a:lnTo>
                    <a:pt x="2513559" y="199530"/>
                  </a:lnTo>
                  <a:lnTo>
                    <a:pt x="2513661" y="199530"/>
                  </a:lnTo>
                  <a:lnTo>
                    <a:pt x="2513661" y="198831"/>
                  </a:lnTo>
                  <a:lnTo>
                    <a:pt x="2513661" y="199530"/>
                  </a:lnTo>
                  <a:lnTo>
                    <a:pt x="2513661" y="197447"/>
                  </a:lnTo>
                  <a:lnTo>
                    <a:pt x="2513661" y="198831"/>
                  </a:lnTo>
                  <a:lnTo>
                    <a:pt x="2513712" y="199530"/>
                  </a:lnTo>
                  <a:lnTo>
                    <a:pt x="2513712" y="197447"/>
                  </a:lnTo>
                  <a:lnTo>
                    <a:pt x="2513712" y="200228"/>
                  </a:lnTo>
                  <a:lnTo>
                    <a:pt x="2513762" y="200228"/>
                  </a:lnTo>
                  <a:lnTo>
                    <a:pt x="2513762" y="198831"/>
                  </a:lnTo>
                  <a:lnTo>
                    <a:pt x="2513762" y="200228"/>
                  </a:lnTo>
                  <a:lnTo>
                    <a:pt x="2513864" y="200228"/>
                  </a:lnTo>
                  <a:lnTo>
                    <a:pt x="2513864" y="199530"/>
                  </a:lnTo>
                  <a:lnTo>
                    <a:pt x="2513864" y="200228"/>
                  </a:lnTo>
                  <a:lnTo>
                    <a:pt x="2513864" y="199530"/>
                  </a:lnTo>
                  <a:lnTo>
                    <a:pt x="2513864" y="200876"/>
                  </a:lnTo>
                  <a:lnTo>
                    <a:pt x="2513864" y="200228"/>
                  </a:lnTo>
                  <a:lnTo>
                    <a:pt x="2513864" y="200876"/>
                  </a:lnTo>
                  <a:lnTo>
                    <a:pt x="2513864" y="200228"/>
                  </a:lnTo>
                  <a:lnTo>
                    <a:pt x="2513915" y="200228"/>
                  </a:lnTo>
                  <a:lnTo>
                    <a:pt x="2513915" y="200876"/>
                  </a:lnTo>
                  <a:lnTo>
                    <a:pt x="2513965" y="202260"/>
                  </a:lnTo>
                  <a:lnTo>
                    <a:pt x="2514016" y="200876"/>
                  </a:lnTo>
                  <a:lnTo>
                    <a:pt x="2514016" y="202260"/>
                  </a:lnTo>
                  <a:lnTo>
                    <a:pt x="2514016" y="200876"/>
                  </a:lnTo>
                  <a:lnTo>
                    <a:pt x="2514016" y="202260"/>
                  </a:lnTo>
                  <a:lnTo>
                    <a:pt x="2514016" y="200876"/>
                  </a:lnTo>
                  <a:lnTo>
                    <a:pt x="2514105" y="200876"/>
                  </a:lnTo>
                  <a:lnTo>
                    <a:pt x="2514105" y="202260"/>
                  </a:lnTo>
                  <a:lnTo>
                    <a:pt x="2514105" y="200228"/>
                  </a:lnTo>
                  <a:lnTo>
                    <a:pt x="2514105" y="200876"/>
                  </a:lnTo>
                  <a:lnTo>
                    <a:pt x="2514105" y="200228"/>
                  </a:lnTo>
                  <a:lnTo>
                    <a:pt x="2514105" y="200876"/>
                  </a:lnTo>
                  <a:lnTo>
                    <a:pt x="2514105" y="199530"/>
                  </a:lnTo>
                  <a:lnTo>
                    <a:pt x="2514105" y="200228"/>
                  </a:lnTo>
                  <a:lnTo>
                    <a:pt x="2514105" y="199530"/>
                  </a:lnTo>
                  <a:lnTo>
                    <a:pt x="2514156" y="199530"/>
                  </a:lnTo>
                  <a:lnTo>
                    <a:pt x="2514156" y="198831"/>
                  </a:lnTo>
                  <a:lnTo>
                    <a:pt x="2514156" y="199530"/>
                  </a:lnTo>
                  <a:lnTo>
                    <a:pt x="2514156" y="198831"/>
                  </a:lnTo>
                  <a:lnTo>
                    <a:pt x="2514156" y="199530"/>
                  </a:lnTo>
                  <a:lnTo>
                    <a:pt x="2514156" y="198831"/>
                  </a:lnTo>
                  <a:lnTo>
                    <a:pt x="2514156" y="200228"/>
                  </a:lnTo>
                  <a:lnTo>
                    <a:pt x="2514156" y="199530"/>
                  </a:lnTo>
                  <a:lnTo>
                    <a:pt x="2514207" y="200228"/>
                  </a:lnTo>
                  <a:lnTo>
                    <a:pt x="2514207" y="197447"/>
                  </a:lnTo>
                  <a:lnTo>
                    <a:pt x="2514207" y="200228"/>
                  </a:lnTo>
                  <a:lnTo>
                    <a:pt x="2514258" y="200228"/>
                  </a:lnTo>
                  <a:lnTo>
                    <a:pt x="2514258" y="199530"/>
                  </a:lnTo>
                  <a:lnTo>
                    <a:pt x="2514258" y="200876"/>
                  </a:lnTo>
                  <a:lnTo>
                    <a:pt x="2514258" y="200228"/>
                  </a:lnTo>
                  <a:lnTo>
                    <a:pt x="2514359" y="200228"/>
                  </a:lnTo>
                  <a:lnTo>
                    <a:pt x="2514359" y="199530"/>
                  </a:lnTo>
                  <a:lnTo>
                    <a:pt x="2514359" y="200228"/>
                  </a:lnTo>
                  <a:lnTo>
                    <a:pt x="2514410" y="200228"/>
                  </a:lnTo>
                  <a:lnTo>
                    <a:pt x="2514410" y="200876"/>
                  </a:lnTo>
                  <a:lnTo>
                    <a:pt x="2514410" y="200228"/>
                  </a:lnTo>
                  <a:lnTo>
                    <a:pt x="2514410" y="202260"/>
                  </a:lnTo>
                  <a:lnTo>
                    <a:pt x="2514410" y="200876"/>
                  </a:lnTo>
                  <a:lnTo>
                    <a:pt x="2514461" y="200876"/>
                  </a:lnTo>
                  <a:lnTo>
                    <a:pt x="2514461" y="202260"/>
                  </a:lnTo>
                  <a:lnTo>
                    <a:pt x="2514461" y="200876"/>
                  </a:lnTo>
                  <a:lnTo>
                    <a:pt x="2514562" y="200876"/>
                  </a:lnTo>
                  <a:lnTo>
                    <a:pt x="2514562" y="202260"/>
                  </a:lnTo>
                  <a:lnTo>
                    <a:pt x="2514562" y="200228"/>
                  </a:lnTo>
                  <a:lnTo>
                    <a:pt x="2514600" y="200876"/>
                  </a:lnTo>
                  <a:lnTo>
                    <a:pt x="2514600" y="198831"/>
                  </a:lnTo>
                  <a:lnTo>
                    <a:pt x="2514651" y="198831"/>
                  </a:lnTo>
                  <a:lnTo>
                    <a:pt x="2514651" y="196799"/>
                  </a:lnTo>
                  <a:lnTo>
                    <a:pt x="2514651" y="199530"/>
                  </a:lnTo>
                  <a:lnTo>
                    <a:pt x="2514702" y="198831"/>
                  </a:lnTo>
                  <a:lnTo>
                    <a:pt x="2514702" y="196799"/>
                  </a:lnTo>
                  <a:lnTo>
                    <a:pt x="2514702" y="200228"/>
                  </a:lnTo>
                  <a:lnTo>
                    <a:pt x="2514804" y="200228"/>
                  </a:lnTo>
                  <a:lnTo>
                    <a:pt x="2514804" y="197447"/>
                  </a:lnTo>
                  <a:lnTo>
                    <a:pt x="2514804" y="200228"/>
                  </a:lnTo>
                  <a:lnTo>
                    <a:pt x="2514804" y="199530"/>
                  </a:lnTo>
                  <a:lnTo>
                    <a:pt x="2514855" y="199530"/>
                  </a:lnTo>
                  <a:lnTo>
                    <a:pt x="2514855" y="200228"/>
                  </a:lnTo>
                  <a:lnTo>
                    <a:pt x="2514905" y="200228"/>
                  </a:lnTo>
                  <a:lnTo>
                    <a:pt x="2514905" y="200876"/>
                  </a:lnTo>
                  <a:lnTo>
                    <a:pt x="2515007" y="200876"/>
                  </a:lnTo>
                  <a:lnTo>
                    <a:pt x="2515007" y="202260"/>
                  </a:lnTo>
                  <a:lnTo>
                    <a:pt x="2515007" y="200228"/>
                  </a:lnTo>
                  <a:lnTo>
                    <a:pt x="2515007" y="200876"/>
                  </a:lnTo>
                  <a:lnTo>
                    <a:pt x="2515058" y="200876"/>
                  </a:lnTo>
                  <a:lnTo>
                    <a:pt x="2515058" y="202260"/>
                  </a:lnTo>
                  <a:lnTo>
                    <a:pt x="2515058" y="200228"/>
                  </a:lnTo>
                  <a:lnTo>
                    <a:pt x="2515109" y="200228"/>
                  </a:lnTo>
                  <a:lnTo>
                    <a:pt x="2515109" y="199530"/>
                  </a:lnTo>
                  <a:lnTo>
                    <a:pt x="2515109" y="200228"/>
                  </a:lnTo>
                  <a:lnTo>
                    <a:pt x="2515109" y="199530"/>
                  </a:lnTo>
                  <a:lnTo>
                    <a:pt x="2515147" y="198831"/>
                  </a:lnTo>
                  <a:lnTo>
                    <a:pt x="2515147" y="197447"/>
                  </a:lnTo>
                  <a:lnTo>
                    <a:pt x="2515248" y="197447"/>
                  </a:lnTo>
                  <a:lnTo>
                    <a:pt x="2515248" y="196113"/>
                  </a:lnTo>
                  <a:lnTo>
                    <a:pt x="2515248" y="198831"/>
                  </a:lnTo>
                  <a:lnTo>
                    <a:pt x="2515299" y="198831"/>
                  </a:lnTo>
                  <a:lnTo>
                    <a:pt x="2515299" y="196799"/>
                  </a:lnTo>
                  <a:lnTo>
                    <a:pt x="2515299" y="199530"/>
                  </a:lnTo>
                  <a:lnTo>
                    <a:pt x="2515299" y="198831"/>
                  </a:lnTo>
                  <a:lnTo>
                    <a:pt x="2515350" y="198831"/>
                  </a:lnTo>
                  <a:lnTo>
                    <a:pt x="2515350" y="199530"/>
                  </a:lnTo>
                  <a:lnTo>
                    <a:pt x="2515350" y="198831"/>
                  </a:lnTo>
                  <a:lnTo>
                    <a:pt x="2515350" y="200228"/>
                  </a:lnTo>
                  <a:lnTo>
                    <a:pt x="2515350" y="199530"/>
                  </a:lnTo>
                  <a:lnTo>
                    <a:pt x="2515451" y="199530"/>
                  </a:lnTo>
                  <a:lnTo>
                    <a:pt x="2515451" y="198831"/>
                  </a:lnTo>
                  <a:lnTo>
                    <a:pt x="2515451" y="199530"/>
                  </a:lnTo>
                  <a:lnTo>
                    <a:pt x="2515451" y="198831"/>
                  </a:lnTo>
                  <a:lnTo>
                    <a:pt x="2515451" y="200228"/>
                  </a:lnTo>
                  <a:lnTo>
                    <a:pt x="2515502" y="200228"/>
                  </a:lnTo>
                  <a:lnTo>
                    <a:pt x="2515502" y="199530"/>
                  </a:lnTo>
                  <a:lnTo>
                    <a:pt x="2515502" y="200876"/>
                  </a:lnTo>
                  <a:lnTo>
                    <a:pt x="2515502" y="199530"/>
                  </a:lnTo>
                  <a:lnTo>
                    <a:pt x="2515553" y="199530"/>
                  </a:lnTo>
                  <a:lnTo>
                    <a:pt x="2515553" y="200228"/>
                  </a:lnTo>
                  <a:lnTo>
                    <a:pt x="2515553" y="199530"/>
                  </a:lnTo>
                  <a:lnTo>
                    <a:pt x="2515553" y="200228"/>
                  </a:lnTo>
                  <a:lnTo>
                    <a:pt x="2515553" y="199530"/>
                  </a:lnTo>
                  <a:lnTo>
                    <a:pt x="2515553" y="200228"/>
                  </a:lnTo>
                  <a:lnTo>
                    <a:pt x="2515604" y="199530"/>
                  </a:lnTo>
                  <a:lnTo>
                    <a:pt x="2515604" y="200228"/>
                  </a:lnTo>
                  <a:lnTo>
                    <a:pt x="2515604" y="199530"/>
                  </a:lnTo>
                  <a:lnTo>
                    <a:pt x="2515604" y="200228"/>
                  </a:lnTo>
                  <a:lnTo>
                    <a:pt x="2515604" y="197447"/>
                  </a:lnTo>
                  <a:lnTo>
                    <a:pt x="2515693" y="197447"/>
                  </a:lnTo>
                  <a:lnTo>
                    <a:pt x="2515693" y="200876"/>
                  </a:lnTo>
                  <a:lnTo>
                    <a:pt x="2515693" y="197447"/>
                  </a:lnTo>
                  <a:lnTo>
                    <a:pt x="2515693" y="198831"/>
                  </a:lnTo>
                  <a:lnTo>
                    <a:pt x="2515744" y="198831"/>
                  </a:lnTo>
                  <a:lnTo>
                    <a:pt x="2515744" y="202260"/>
                  </a:lnTo>
                  <a:lnTo>
                    <a:pt x="2515744" y="199530"/>
                  </a:lnTo>
                  <a:lnTo>
                    <a:pt x="2515794" y="199530"/>
                  </a:lnTo>
                  <a:lnTo>
                    <a:pt x="2515794" y="200876"/>
                  </a:lnTo>
                  <a:lnTo>
                    <a:pt x="2515794" y="200228"/>
                  </a:lnTo>
                  <a:lnTo>
                    <a:pt x="2515794" y="200876"/>
                  </a:lnTo>
                  <a:lnTo>
                    <a:pt x="2515794" y="200228"/>
                  </a:lnTo>
                  <a:lnTo>
                    <a:pt x="2515845" y="200876"/>
                  </a:lnTo>
                  <a:lnTo>
                    <a:pt x="2515845" y="200228"/>
                  </a:lnTo>
                  <a:lnTo>
                    <a:pt x="2515845" y="200876"/>
                  </a:lnTo>
                  <a:lnTo>
                    <a:pt x="2515845" y="200228"/>
                  </a:lnTo>
                  <a:lnTo>
                    <a:pt x="2515845" y="200876"/>
                  </a:lnTo>
                  <a:lnTo>
                    <a:pt x="2515845" y="200228"/>
                  </a:lnTo>
                  <a:lnTo>
                    <a:pt x="2515947" y="200228"/>
                  </a:lnTo>
                  <a:lnTo>
                    <a:pt x="2515947" y="200876"/>
                  </a:lnTo>
                  <a:lnTo>
                    <a:pt x="2515947" y="200228"/>
                  </a:lnTo>
                  <a:lnTo>
                    <a:pt x="2515947" y="200876"/>
                  </a:lnTo>
                  <a:lnTo>
                    <a:pt x="2515947" y="200228"/>
                  </a:lnTo>
                  <a:lnTo>
                    <a:pt x="2515947" y="200876"/>
                  </a:lnTo>
                  <a:lnTo>
                    <a:pt x="2515947" y="200228"/>
                  </a:lnTo>
                  <a:lnTo>
                    <a:pt x="2515947" y="200876"/>
                  </a:lnTo>
                  <a:lnTo>
                    <a:pt x="2515997" y="200876"/>
                  </a:lnTo>
                  <a:lnTo>
                    <a:pt x="2515997" y="200228"/>
                  </a:lnTo>
                  <a:lnTo>
                    <a:pt x="2515997" y="200876"/>
                  </a:lnTo>
                  <a:lnTo>
                    <a:pt x="2515997" y="200228"/>
                  </a:lnTo>
                  <a:lnTo>
                    <a:pt x="2515997" y="200876"/>
                  </a:lnTo>
                  <a:lnTo>
                    <a:pt x="2515997" y="200228"/>
                  </a:lnTo>
                  <a:lnTo>
                    <a:pt x="2515997" y="200876"/>
                  </a:lnTo>
                  <a:lnTo>
                    <a:pt x="2515997" y="200228"/>
                  </a:lnTo>
                  <a:lnTo>
                    <a:pt x="2516048" y="200228"/>
                  </a:lnTo>
                  <a:lnTo>
                    <a:pt x="2516048" y="200876"/>
                  </a:lnTo>
                  <a:lnTo>
                    <a:pt x="2516048" y="199530"/>
                  </a:lnTo>
                  <a:lnTo>
                    <a:pt x="2516048" y="200228"/>
                  </a:lnTo>
                  <a:lnTo>
                    <a:pt x="2516048" y="199530"/>
                  </a:lnTo>
                  <a:lnTo>
                    <a:pt x="2516150" y="199530"/>
                  </a:lnTo>
                  <a:lnTo>
                    <a:pt x="2516150" y="200228"/>
                  </a:lnTo>
                  <a:lnTo>
                    <a:pt x="2516150" y="198831"/>
                  </a:lnTo>
                  <a:lnTo>
                    <a:pt x="2516150" y="200228"/>
                  </a:lnTo>
                  <a:lnTo>
                    <a:pt x="2516188" y="200228"/>
                  </a:lnTo>
                  <a:lnTo>
                    <a:pt x="2516188" y="200876"/>
                  </a:lnTo>
                  <a:lnTo>
                    <a:pt x="2516188" y="199530"/>
                  </a:lnTo>
                  <a:lnTo>
                    <a:pt x="2516188" y="202959"/>
                  </a:lnTo>
                  <a:lnTo>
                    <a:pt x="2516188" y="202260"/>
                  </a:lnTo>
                  <a:lnTo>
                    <a:pt x="2516239" y="202260"/>
                  </a:lnTo>
                  <a:lnTo>
                    <a:pt x="2516239" y="200876"/>
                  </a:lnTo>
                  <a:lnTo>
                    <a:pt x="2516239" y="202260"/>
                  </a:lnTo>
                  <a:lnTo>
                    <a:pt x="2516239" y="200876"/>
                  </a:lnTo>
                  <a:lnTo>
                    <a:pt x="2516239" y="202959"/>
                  </a:lnTo>
                  <a:lnTo>
                    <a:pt x="2516239" y="202260"/>
                  </a:lnTo>
                  <a:lnTo>
                    <a:pt x="2516290" y="200876"/>
                  </a:lnTo>
                  <a:lnTo>
                    <a:pt x="2516290" y="202959"/>
                  </a:lnTo>
                  <a:lnTo>
                    <a:pt x="2516290" y="202260"/>
                  </a:lnTo>
                  <a:lnTo>
                    <a:pt x="2516290" y="202959"/>
                  </a:lnTo>
                  <a:lnTo>
                    <a:pt x="2516290" y="202260"/>
                  </a:lnTo>
                  <a:lnTo>
                    <a:pt x="2516391" y="202260"/>
                  </a:lnTo>
                  <a:lnTo>
                    <a:pt x="2516391" y="202959"/>
                  </a:lnTo>
                  <a:lnTo>
                    <a:pt x="2516391" y="200876"/>
                  </a:lnTo>
                  <a:lnTo>
                    <a:pt x="2516442" y="200876"/>
                  </a:lnTo>
                  <a:lnTo>
                    <a:pt x="2516442" y="202260"/>
                  </a:lnTo>
                  <a:lnTo>
                    <a:pt x="2516442" y="200876"/>
                  </a:lnTo>
                  <a:lnTo>
                    <a:pt x="2516493" y="200876"/>
                  </a:lnTo>
                  <a:lnTo>
                    <a:pt x="2516493" y="200228"/>
                  </a:lnTo>
                  <a:lnTo>
                    <a:pt x="2516493" y="200876"/>
                  </a:lnTo>
                  <a:lnTo>
                    <a:pt x="2516493" y="200228"/>
                  </a:lnTo>
                  <a:lnTo>
                    <a:pt x="2516594" y="200228"/>
                  </a:lnTo>
                  <a:lnTo>
                    <a:pt x="2516594" y="198831"/>
                  </a:lnTo>
                  <a:lnTo>
                    <a:pt x="2516594" y="199530"/>
                  </a:lnTo>
                  <a:lnTo>
                    <a:pt x="2516594" y="197447"/>
                  </a:lnTo>
                  <a:lnTo>
                    <a:pt x="2516594" y="198831"/>
                  </a:lnTo>
                  <a:lnTo>
                    <a:pt x="2516645" y="197447"/>
                  </a:lnTo>
                  <a:lnTo>
                    <a:pt x="2516645" y="198831"/>
                  </a:lnTo>
                  <a:lnTo>
                    <a:pt x="2516645" y="197447"/>
                  </a:lnTo>
                  <a:lnTo>
                    <a:pt x="2516645" y="200876"/>
                  </a:lnTo>
                  <a:lnTo>
                    <a:pt x="2516645" y="198831"/>
                  </a:lnTo>
                  <a:lnTo>
                    <a:pt x="2516645" y="199530"/>
                  </a:lnTo>
                  <a:lnTo>
                    <a:pt x="2516696" y="200228"/>
                  </a:lnTo>
                  <a:lnTo>
                    <a:pt x="2516696" y="202260"/>
                  </a:lnTo>
                  <a:lnTo>
                    <a:pt x="2516696" y="200876"/>
                  </a:lnTo>
                  <a:lnTo>
                    <a:pt x="2516734" y="202260"/>
                  </a:lnTo>
                  <a:lnTo>
                    <a:pt x="2516734" y="202959"/>
                  </a:lnTo>
                  <a:lnTo>
                    <a:pt x="2516734" y="200876"/>
                  </a:lnTo>
                  <a:lnTo>
                    <a:pt x="2516734" y="202260"/>
                  </a:lnTo>
                  <a:lnTo>
                    <a:pt x="2516836" y="202959"/>
                  </a:lnTo>
                  <a:lnTo>
                    <a:pt x="2516836" y="202260"/>
                  </a:lnTo>
                  <a:lnTo>
                    <a:pt x="2516836" y="202959"/>
                  </a:lnTo>
                  <a:lnTo>
                    <a:pt x="2516836" y="202260"/>
                  </a:lnTo>
                  <a:lnTo>
                    <a:pt x="2516836" y="202959"/>
                  </a:lnTo>
                  <a:lnTo>
                    <a:pt x="2516887" y="202959"/>
                  </a:lnTo>
                  <a:lnTo>
                    <a:pt x="2516887" y="203594"/>
                  </a:lnTo>
                  <a:lnTo>
                    <a:pt x="2516887" y="202260"/>
                  </a:lnTo>
                  <a:lnTo>
                    <a:pt x="2516887" y="202959"/>
                  </a:lnTo>
                  <a:lnTo>
                    <a:pt x="2517039" y="200876"/>
                  </a:lnTo>
                  <a:lnTo>
                    <a:pt x="2517039" y="202260"/>
                  </a:lnTo>
                  <a:lnTo>
                    <a:pt x="2517039" y="200228"/>
                  </a:lnTo>
                  <a:lnTo>
                    <a:pt x="2517039" y="200876"/>
                  </a:lnTo>
                  <a:lnTo>
                    <a:pt x="2517039" y="200228"/>
                  </a:lnTo>
                  <a:lnTo>
                    <a:pt x="2517039" y="200876"/>
                  </a:lnTo>
                  <a:lnTo>
                    <a:pt x="2517039" y="200228"/>
                  </a:lnTo>
                  <a:lnTo>
                    <a:pt x="2517090" y="200228"/>
                  </a:lnTo>
                  <a:lnTo>
                    <a:pt x="2517090" y="198831"/>
                  </a:lnTo>
                  <a:lnTo>
                    <a:pt x="2517090" y="200228"/>
                  </a:lnTo>
                  <a:lnTo>
                    <a:pt x="2517140" y="200228"/>
                  </a:lnTo>
                  <a:lnTo>
                    <a:pt x="2517140" y="199530"/>
                  </a:lnTo>
                  <a:lnTo>
                    <a:pt x="2517140" y="202260"/>
                  </a:lnTo>
                  <a:lnTo>
                    <a:pt x="2517191" y="200876"/>
                  </a:lnTo>
                  <a:lnTo>
                    <a:pt x="2517191" y="199530"/>
                  </a:lnTo>
                  <a:lnTo>
                    <a:pt x="2517191" y="202260"/>
                  </a:lnTo>
                  <a:lnTo>
                    <a:pt x="2517280" y="202260"/>
                  </a:lnTo>
                  <a:lnTo>
                    <a:pt x="2517280" y="202959"/>
                  </a:lnTo>
                  <a:lnTo>
                    <a:pt x="2517280" y="202260"/>
                  </a:lnTo>
                  <a:lnTo>
                    <a:pt x="2517331" y="202260"/>
                  </a:lnTo>
                  <a:lnTo>
                    <a:pt x="2517331" y="202959"/>
                  </a:lnTo>
                  <a:lnTo>
                    <a:pt x="2517331" y="202260"/>
                  </a:lnTo>
                  <a:lnTo>
                    <a:pt x="2517331" y="202959"/>
                  </a:lnTo>
                  <a:lnTo>
                    <a:pt x="2517331" y="202260"/>
                  </a:lnTo>
                  <a:lnTo>
                    <a:pt x="2517331" y="202959"/>
                  </a:lnTo>
                  <a:lnTo>
                    <a:pt x="2517382" y="202959"/>
                  </a:lnTo>
                  <a:lnTo>
                    <a:pt x="2517382" y="202260"/>
                  </a:lnTo>
                  <a:lnTo>
                    <a:pt x="2517382" y="202959"/>
                  </a:lnTo>
                  <a:lnTo>
                    <a:pt x="2517382" y="202260"/>
                  </a:lnTo>
                  <a:lnTo>
                    <a:pt x="2517382" y="202959"/>
                  </a:lnTo>
                  <a:lnTo>
                    <a:pt x="2517382" y="202260"/>
                  </a:lnTo>
                  <a:lnTo>
                    <a:pt x="2517433" y="202959"/>
                  </a:lnTo>
                  <a:lnTo>
                    <a:pt x="2517433" y="202260"/>
                  </a:lnTo>
                  <a:lnTo>
                    <a:pt x="2517433" y="202959"/>
                  </a:lnTo>
                  <a:lnTo>
                    <a:pt x="2517433" y="200876"/>
                  </a:lnTo>
                  <a:lnTo>
                    <a:pt x="2517534" y="200876"/>
                  </a:lnTo>
                  <a:lnTo>
                    <a:pt x="2517534" y="202260"/>
                  </a:lnTo>
                  <a:lnTo>
                    <a:pt x="2517534" y="198831"/>
                  </a:lnTo>
                  <a:lnTo>
                    <a:pt x="2517585" y="198831"/>
                  </a:lnTo>
                  <a:lnTo>
                    <a:pt x="2517585" y="199530"/>
                  </a:lnTo>
                  <a:lnTo>
                    <a:pt x="2517585" y="198831"/>
                  </a:lnTo>
                  <a:lnTo>
                    <a:pt x="2517585" y="199530"/>
                  </a:lnTo>
                  <a:lnTo>
                    <a:pt x="2517585" y="198831"/>
                  </a:lnTo>
                  <a:lnTo>
                    <a:pt x="2517585" y="199530"/>
                  </a:lnTo>
                  <a:lnTo>
                    <a:pt x="2517585" y="198831"/>
                  </a:lnTo>
                  <a:lnTo>
                    <a:pt x="2517585" y="199530"/>
                  </a:lnTo>
                  <a:lnTo>
                    <a:pt x="2517585" y="198831"/>
                  </a:lnTo>
                  <a:lnTo>
                    <a:pt x="2517636" y="198831"/>
                  </a:lnTo>
                  <a:lnTo>
                    <a:pt x="2517636" y="200876"/>
                  </a:lnTo>
                  <a:lnTo>
                    <a:pt x="2517636" y="200228"/>
                  </a:lnTo>
                  <a:lnTo>
                    <a:pt x="2517737" y="200228"/>
                  </a:lnTo>
                  <a:lnTo>
                    <a:pt x="2517737" y="202260"/>
                  </a:lnTo>
                  <a:lnTo>
                    <a:pt x="2517737" y="200876"/>
                  </a:lnTo>
                  <a:lnTo>
                    <a:pt x="2517775" y="200876"/>
                  </a:lnTo>
                  <a:lnTo>
                    <a:pt x="2517775" y="202260"/>
                  </a:lnTo>
                  <a:lnTo>
                    <a:pt x="2517775" y="200876"/>
                  </a:lnTo>
                  <a:lnTo>
                    <a:pt x="2517826" y="200228"/>
                  </a:lnTo>
                  <a:lnTo>
                    <a:pt x="2517826" y="202260"/>
                  </a:lnTo>
                  <a:lnTo>
                    <a:pt x="2517826" y="200876"/>
                  </a:lnTo>
                  <a:lnTo>
                    <a:pt x="2517826" y="202260"/>
                  </a:lnTo>
                  <a:lnTo>
                    <a:pt x="2517877" y="202260"/>
                  </a:lnTo>
                  <a:lnTo>
                    <a:pt x="2517877" y="200876"/>
                  </a:lnTo>
                  <a:lnTo>
                    <a:pt x="2517877" y="202260"/>
                  </a:lnTo>
                  <a:lnTo>
                    <a:pt x="2517877" y="200876"/>
                  </a:lnTo>
                  <a:lnTo>
                    <a:pt x="2517877" y="202260"/>
                  </a:lnTo>
                  <a:lnTo>
                    <a:pt x="2517979" y="200876"/>
                  </a:lnTo>
                  <a:lnTo>
                    <a:pt x="2517979" y="202260"/>
                  </a:lnTo>
                  <a:lnTo>
                    <a:pt x="2517979" y="200876"/>
                  </a:lnTo>
                  <a:lnTo>
                    <a:pt x="2517979" y="202260"/>
                  </a:lnTo>
                  <a:lnTo>
                    <a:pt x="2517979" y="200876"/>
                  </a:lnTo>
                  <a:lnTo>
                    <a:pt x="2517979" y="202260"/>
                  </a:lnTo>
                  <a:lnTo>
                    <a:pt x="2517979" y="200876"/>
                  </a:lnTo>
                  <a:lnTo>
                    <a:pt x="2517979" y="202260"/>
                  </a:lnTo>
                  <a:lnTo>
                    <a:pt x="2517979" y="200876"/>
                  </a:lnTo>
                  <a:lnTo>
                    <a:pt x="2518030" y="200876"/>
                  </a:lnTo>
                  <a:lnTo>
                    <a:pt x="2518030" y="200228"/>
                  </a:lnTo>
                  <a:lnTo>
                    <a:pt x="2518030" y="200876"/>
                  </a:lnTo>
                  <a:lnTo>
                    <a:pt x="2518030" y="198831"/>
                  </a:lnTo>
                  <a:lnTo>
                    <a:pt x="2518080" y="198831"/>
                  </a:lnTo>
                  <a:lnTo>
                    <a:pt x="2518080" y="197447"/>
                  </a:lnTo>
                  <a:lnTo>
                    <a:pt x="2518080" y="198831"/>
                  </a:lnTo>
                  <a:lnTo>
                    <a:pt x="2518080" y="196799"/>
                  </a:lnTo>
                  <a:lnTo>
                    <a:pt x="2518182" y="196799"/>
                  </a:lnTo>
                  <a:lnTo>
                    <a:pt x="2518182" y="199530"/>
                  </a:lnTo>
                  <a:lnTo>
                    <a:pt x="2518182" y="198831"/>
                  </a:lnTo>
                  <a:lnTo>
                    <a:pt x="2518233" y="198831"/>
                  </a:lnTo>
                  <a:lnTo>
                    <a:pt x="2518233" y="199530"/>
                  </a:lnTo>
                  <a:lnTo>
                    <a:pt x="2518284" y="199530"/>
                  </a:lnTo>
                  <a:lnTo>
                    <a:pt x="2518284" y="200228"/>
                  </a:lnTo>
                  <a:lnTo>
                    <a:pt x="2518284" y="199530"/>
                  </a:lnTo>
                  <a:lnTo>
                    <a:pt x="2518284" y="200228"/>
                  </a:lnTo>
                  <a:lnTo>
                    <a:pt x="2518284" y="199530"/>
                  </a:lnTo>
                  <a:lnTo>
                    <a:pt x="2518284" y="200228"/>
                  </a:lnTo>
                  <a:lnTo>
                    <a:pt x="2518284" y="199530"/>
                  </a:lnTo>
                  <a:lnTo>
                    <a:pt x="2518284" y="200228"/>
                  </a:lnTo>
                  <a:lnTo>
                    <a:pt x="2518322" y="200228"/>
                  </a:lnTo>
                  <a:lnTo>
                    <a:pt x="2518322" y="200876"/>
                  </a:lnTo>
                  <a:lnTo>
                    <a:pt x="2518322" y="200228"/>
                  </a:lnTo>
                  <a:lnTo>
                    <a:pt x="2518322" y="200876"/>
                  </a:lnTo>
                  <a:lnTo>
                    <a:pt x="2518322" y="200228"/>
                  </a:lnTo>
                  <a:lnTo>
                    <a:pt x="2518423" y="200228"/>
                  </a:lnTo>
                  <a:lnTo>
                    <a:pt x="2518423" y="200876"/>
                  </a:lnTo>
                  <a:lnTo>
                    <a:pt x="2518423" y="200228"/>
                  </a:lnTo>
                  <a:lnTo>
                    <a:pt x="2518474" y="200876"/>
                  </a:lnTo>
                  <a:lnTo>
                    <a:pt x="2518474" y="200228"/>
                  </a:lnTo>
                  <a:lnTo>
                    <a:pt x="2518474" y="200876"/>
                  </a:lnTo>
                  <a:lnTo>
                    <a:pt x="2518474" y="200228"/>
                  </a:lnTo>
                  <a:lnTo>
                    <a:pt x="2518474" y="200876"/>
                  </a:lnTo>
                  <a:lnTo>
                    <a:pt x="2518474" y="200228"/>
                  </a:lnTo>
                  <a:lnTo>
                    <a:pt x="2518525" y="200228"/>
                  </a:lnTo>
                  <a:lnTo>
                    <a:pt x="2518525" y="199530"/>
                  </a:lnTo>
                  <a:lnTo>
                    <a:pt x="2518525" y="200228"/>
                  </a:lnTo>
                  <a:lnTo>
                    <a:pt x="2518525" y="197447"/>
                  </a:lnTo>
                  <a:lnTo>
                    <a:pt x="2518525" y="198831"/>
                  </a:lnTo>
                  <a:lnTo>
                    <a:pt x="2518525" y="197447"/>
                  </a:lnTo>
                  <a:lnTo>
                    <a:pt x="2518626" y="196799"/>
                  </a:lnTo>
                  <a:lnTo>
                    <a:pt x="2518626" y="198831"/>
                  </a:lnTo>
                  <a:lnTo>
                    <a:pt x="2518626" y="196799"/>
                  </a:lnTo>
                  <a:lnTo>
                    <a:pt x="2518677" y="196799"/>
                  </a:lnTo>
                  <a:lnTo>
                    <a:pt x="2518677" y="200228"/>
                  </a:lnTo>
                  <a:lnTo>
                    <a:pt x="2518677" y="198831"/>
                  </a:lnTo>
                  <a:lnTo>
                    <a:pt x="2518728" y="198831"/>
                  </a:lnTo>
                  <a:lnTo>
                    <a:pt x="2518728" y="200228"/>
                  </a:lnTo>
                  <a:lnTo>
                    <a:pt x="2518728" y="199530"/>
                  </a:lnTo>
                  <a:lnTo>
                    <a:pt x="2518728" y="200228"/>
                  </a:lnTo>
                  <a:lnTo>
                    <a:pt x="2518779" y="200228"/>
                  </a:lnTo>
                  <a:lnTo>
                    <a:pt x="2518779" y="200876"/>
                  </a:lnTo>
                  <a:lnTo>
                    <a:pt x="2518779" y="199530"/>
                  </a:lnTo>
                  <a:lnTo>
                    <a:pt x="2518868" y="199530"/>
                  </a:lnTo>
                  <a:lnTo>
                    <a:pt x="2518868" y="200876"/>
                  </a:lnTo>
                  <a:lnTo>
                    <a:pt x="2518868" y="200228"/>
                  </a:lnTo>
                  <a:lnTo>
                    <a:pt x="2518868" y="200876"/>
                  </a:lnTo>
                  <a:lnTo>
                    <a:pt x="2518919" y="200876"/>
                  </a:lnTo>
                  <a:lnTo>
                    <a:pt x="2518919" y="200228"/>
                  </a:lnTo>
                  <a:lnTo>
                    <a:pt x="2518919" y="200876"/>
                  </a:lnTo>
                  <a:lnTo>
                    <a:pt x="2518969" y="200876"/>
                  </a:lnTo>
                  <a:lnTo>
                    <a:pt x="2518969" y="200228"/>
                  </a:lnTo>
                  <a:lnTo>
                    <a:pt x="2518969" y="200876"/>
                  </a:lnTo>
                  <a:lnTo>
                    <a:pt x="2518969" y="200228"/>
                  </a:lnTo>
                  <a:lnTo>
                    <a:pt x="2518969" y="200876"/>
                  </a:lnTo>
                  <a:lnTo>
                    <a:pt x="2518969" y="200228"/>
                  </a:lnTo>
                  <a:lnTo>
                    <a:pt x="2519020" y="200228"/>
                  </a:lnTo>
                  <a:lnTo>
                    <a:pt x="2519020" y="200876"/>
                  </a:lnTo>
                  <a:lnTo>
                    <a:pt x="2519020" y="200228"/>
                  </a:lnTo>
                  <a:lnTo>
                    <a:pt x="2519020" y="200876"/>
                  </a:lnTo>
                  <a:lnTo>
                    <a:pt x="2519020" y="198831"/>
                  </a:lnTo>
                  <a:lnTo>
                    <a:pt x="2519020" y="199530"/>
                  </a:lnTo>
                  <a:lnTo>
                    <a:pt x="2519020" y="197447"/>
                  </a:lnTo>
                  <a:lnTo>
                    <a:pt x="2519122" y="197447"/>
                  </a:lnTo>
                  <a:lnTo>
                    <a:pt x="2519122" y="200228"/>
                  </a:lnTo>
                  <a:lnTo>
                    <a:pt x="2519122" y="197447"/>
                  </a:lnTo>
                  <a:lnTo>
                    <a:pt x="2519122" y="198831"/>
                  </a:lnTo>
                  <a:lnTo>
                    <a:pt x="2519172" y="199530"/>
                  </a:lnTo>
                  <a:lnTo>
                    <a:pt x="2519172" y="200876"/>
                  </a:lnTo>
                  <a:lnTo>
                    <a:pt x="2519172" y="200228"/>
                  </a:lnTo>
                  <a:lnTo>
                    <a:pt x="2519172" y="200876"/>
                  </a:lnTo>
                  <a:lnTo>
                    <a:pt x="2519172" y="198831"/>
                  </a:lnTo>
                  <a:lnTo>
                    <a:pt x="2519172" y="200228"/>
                  </a:lnTo>
                  <a:lnTo>
                    <a:pt x="2519223" y="200228"/>
                  </a:lnTo>
                  <a:lnTo>
                    <a:pt x="2519223" y="199530"/>
                  </a:lnTo>
                  <a:lnTo>
                    <a:pt x="2519223" y="200228"/>
                  </a:lnTo>
                  <a:lnTo>
                    <a:pt x="2519223" y="199530"/>
                  </a:lnTo>
                  <a:lnTo>
                    <a:pt x="2519325" y="200228"/>
                  </a:lnTo>
                  <a:lnTo>
                    <a:pt x="2519325" y="199530"/>
                  </a:lnTo>
                  <a:lnTo>
                    <a:pt x="2519325" y="200228"/>
                  </a:lnTo>
                  <a:lnTo>
                    <a:pt x="2519325" y="199530"/>
                  </a:lnTo>
                  <a:lnTo>
                    <a:pt x="2519325" y="200228"/>
                  </a:lnTo>
                  <a:lnTo>
                    <a:pt x="2519363" y="200228"/>
                  </a:lnTo>
                  <a:lnTo>
                    <a:pt x="2519363" y="200876"/>
                  </a:lnTo>
                  <a:lnTo>
                    <a:pt x="2519414" y="200876"/>
                  </a:lnTo>
                  <a:lnTo>
                    <a:pt x="2519414" y="199530"/>
                  </a:lnTo>
                  <a:lnTo>
                    <a:pt x="2519414" y="200228"/>
                  </a:lnTo>
                  <a:lnTo>
                    <a:pt x="2519465" y="200228"/>
                  </a:lnTo>
                  <a:lnTo>
                    <a:pt x="2519465" y="199530"/>
                  </a:lnTo>
                  <a:lnTo>
                    <a:pt x="2519465" y="200228"/>
                  </a:lnTo>
                  <a:lnTo>
                    <a:pt x="2519465" y="198831"/>
                  </a:lnTo>
                  <a:lnTo>
                    <a:pt x="2519566" y="198831"/>
                  </a:lnTo>
                  <a:lnTo>
                    <a:pt x="2519566" y="196799"/>
                  </a:lnTo>
                  <a:lnTo>
                    <a:pt x="2519566" y="197447"/>
                  </a:lnTo>
                  <a:lnTo>
                    <a:pt x="2519566" y="196799"/>
                  </a:lnTo>
                  <a:lnTo>
                    <a:pt x="2519566" y="199530"/>
                  </a:lnTo>
                  <a:lnTo>
                    <a:pt x="2519617" y="199530"/>
                  </a:lnTo>
                  <a:lnTo>
                    <a:pt x="2519617" y="197447"/>
                  </a:lnTo>
                  <a:lnTo>
                    <a:pt x="2519617" y="200876"/>
                  </a:lnTo>
                  <a:lnTo>
                    <a:pt x="2519668" y="200876"/>
                  </a:lnTo>
                  <a:lnTo>
                    <a:pt x="2519668" y="199530"/>
                  </a:lnTo>
                  <a:lnTo>
                    <a:pt x="2519668" y="200228"/>
                  </a:lnTo>
                  <a:lnTo>
                    <a:pt x="2519668" y="199530"/>
                  </a:lnTo>
                  <a:lnTo>
                    <a:pt x="2519668" y="200876"/>
                  </a:lnTo>
                  <a:lnTo>
                    <a:pt x="2519769" y="200876"/>
                  </a:lnTo>
                  <a:lnTo>
                    <a:pt x="2519769" y="200228"/>
                  </a:lnTo>
                  <a:lnTo>
                    <a:pt x="2519769" y="200876"/>
                  </a:lnTo>
                  <a:lnTo>
                    <a:pt x="2519769" y="200228"/>
                  </a:lnTo>
                  <a:lnTo>
                    <a:pt x="2519769" y="200876"/>
                  </a:lnTo>
                  <a:lnTo>
                    <a:pt x="2519769" y="200228"/>
                  </a:lnTo>
                  <a:lnTo>
                    <a:pt x="2519769" y="200876"/>
                  </a:lnTo>
                  <a:lnTo>
                    <a:pt x="2519769" y="200228"/>
                  </a:lnTo>
                  <a:lnTo>
                    <a:pt x="2519769" y="200876"/>
                  </a:lnTo>
                  <a:lnTo>
                    <a:pt x="2519820" y="200876"/>
                  </a:lnTo>
                  <a:lnTo>
                    <a:pt x="2519820" y="200228"/>
                  </a:lnTo>
                  <a:lnTo>
                    <a:pt x="2519820" y="200876"/>
                  </a:lnTo>
                  <a:lnTo>
                    <a:pt x="2519820" y="200228"/>
                  </a:lnTo>
                  <a:lnTo>
                    <a:pt x="2519820" y="200876"/>
                  </a:lnTo>
                  <a:lnTo>
                    <a:pt x="2519820" y="200228"/>
                  </a:lnTo>
                  <a:lnTo>
                    <a:pt x="2519820" y="200876"/>
                  </a:lnTo>
                  <a:lnTo>
                    <a:pt x="2519820" y="200228"/>
                  </a:lnTo>
                  <a:lnTo>
                    <a:pt x="2519820" y="200876"/>
                  </a:lnTo>
                  <a:lnTo>
                    <a:pt x="2519871" y="200228"/>
                  </a:lnTo>
                  <a:lnTo>
                    <a:pt x="2519871" y="200876"/>
                  </a:lnTo>
                  <a:lnTo>
                    <a:pt x="2519871" y="200228"/>
                  </a:lnTo>
                  <a:lnTo>
                    <a:pt x="2519871" y="200876"/>
                  </a:lnTo>
                  <a:lnTo>
                    <a:pt x="2519871" y="200228"/>
                  </a:lnTo>
                  <a:lnTo>
                    <a:pt x="2519871" y="200876"/>
                  </a:lnTo>
                  <a:lnTo>
                    <a:pt x="2519871" y="200228"/>
                  </a:lnTo>
                  <a:lnTo>
                    <a:pt x="2519871" y="200876"/>
                  </a:lnTo>
                  <a:lnTo>
                    <a:pt x="2519871" y="200228"/>
                  </a:lnTo>
                  <a:lnTo>
                    <a:pt x="2519909" y="200228"/>
                  </a:lnTo>
                  <a:lnTo>
                    <a:pt x="2519909" y="200876"/>
                  </a:lnTo>
                  <a:lnTo>
                    <a:pt x="2519909" y="199530"/>
                  </a:lnTo>
                  <a:lnTo>
                    <a:pt x="2519909" y="200228"/>
                  </a:lnTo>
                  <a:lnTo>
                    <a:pt x="2520011" y="200228"/>
                  </a:lnTo>
                  <a:lnTo>
                    <a:pt x="2520011" y="199530"/>
                  </a:lnTo>
                  <a:lnTo>
                    <a:pt x="2520011" y="200228"/>
                  </a:lnTo>
                  <a:lnTo>
                    <a:pt x="2520011" y="198831"/>
                  </a:lnTo>
                  <a:lnTo>
                    <a:pt x="2520062" y="198831"/>
                  </a:lnTo>
                  <a:lnTo>
                    <a:pt x="2520062" y="196799"/>
                  </a:lnTo>
                  <a:lnTo>
                    <a:pt x="2520062" y="198831"/>
                  </a:lnTo>
                  <a:lnTo>
                    <a:pt x="2520112" y="198831"/>
                  </a:lnTo>
                  <a:lnTo>
                    <a:pt x="2520112" y="197447"/>
                  </a:lnTo>
                  <a:lnTo>
                    <a:pt x="2520112" y="200228"/>
                  </a:lnTo>
                  <a:lnTo>
                    <a:pt x="2520112" y="199530"/>
                  </a:lnTo>
                  <a:lnTo>
                    <a:pt x="2520214" y="199530"/>
                  </a:lnTo>
                  <a:lnTo>
                    <a:pt x="2520214" y="198831"/>
                  </a:lnTo>
                  <a:lnTo>
                    <a:pt x="2520214" y="200228"/>
                  </a:lnTo>
                  <a:lnTo>
                    <a:pt x="2520214" y="199530"/>
                  </a:lnTo>
                  <a:lnTo>
                    <a:pt x="2520265" y="199530"/>
                  </a:lnTo>
                  <a:lnTo>
                    <a:pt x="2520265" y="200228"/>
                  </a:lnTo>
                  <a:lnTo>
                    <a:pt x="2520315" y="199530"/>
                  </a:lnTo>
                  <a:lnTo>
                    <a:pt x="2520315" y="200876"/>
                  </a:lnTo>
                  <a:lnTo>
                    <a:pt x="2520315" y="200228"/>
                  </a:lnTo>
                  <a:lnTo>
                    <a:pt x="2520366" y="200228"/>
                  </a:lnTo>
                  <a:lnTo>
                    <a:pt x="2520366" y="200876"/>
                  </a:lnTo>
                  <a:lnTo>
                    <a:pt x="2520366" y="200228"/>
                  </a:lnTo>
                  <a:lnTo>
                    <a:pt x="2520366" y="200876"/>
                  </a:lnTo>
                  <a:lnTo>
                    <a:pt x="2520455" y="200228"/>
                  </a:lnTo>
                  <a:lnTo>
                    <a:pt x="2520455" y="200876"/>
                  </a:lnTo>
                  <a:lnTo>
                    <a:pt x="2520455" y="200228"/>
                  </a:lnTo>
                  <a:lnTo>
                    <a:pt x="2520455" y="200876"/>
                  </a:lnTo>
                  <a:lnTo>
                    <a:pt x="2520455" y="200228"/>
                  </a:lnTo>
                  <a:lnTo>
                    <a:pt x="2520506" y="200228"/>
                  </a:lnTo>
                  <a:lnTo>
                    <a:pt x="2520506" y="198831"/>
                  </a:lnTo>
                  <a:lnTo>
                    <a:pt x="2520506" y="199530"/>
                  </a:lnTo>
                  <a:lnTo>
                    <a:pt x="2520506" y="198831"/>
                  </a:lnTo>
                  <a:lnTo>
                    <a:pt x="2520506" y="199530"/>
                  </a:lnTo>
                  <a:lnTo>
                    <a:pt x="2520506" y="197447"/>
                  </a:lnTo>
                  <a:lnTo>
                    <a:pt x="2520557" y="197447"/>
                  </a:lnTo>
                  <a:lnTo>
                    <a:pt x="2520557" y="196799"/>
                  </a:lnTo>
                  <a:lnTo>
                    <a:pt x="2520557" y="197447"/>
                  </a:lnTo>
                  <a:lnTo>
                    <a:pt x="2520557" y="195415"/>
                  </a:lnTo>
                  <a:lnTo>
                    <a:pt x="2520557" y="196113"/>
                  </a:lnTo>
                  <a:lnTo>
                    <a:pt x="2520608" y="196799"/>
                  </a:lnTo>
                  <a:lnTo>
                    <a:pt x="2520608" y="197447"/>
                  </a:lnTo>
                  <a:lnTo>
                    <a:pt x="2520608" y="196799"/>
                  </a:lnTo>
                  <a:lnTo>
                    <a:pt x="2520608" y="197447"/>
                  </a:lnTo>
                  <a:lnTo>
                    <a:pt x="2520608" y="196113"/>
                  </a:lnTo>
                  <a:lnTo>
                    <a:pt x="2520608" y="198831"/>
                  </a:lnTo>
                  <a:lnTo>
                    <a:pt x="2520709" y="198831"/>
                  </a:lnTo>
                  <a:lnTo>
                    <a:pt x="2520709" y="197447"/>
                  </a:lnTo>
                  <a:lnTo>
                    <a:pt x="2520709" y="198831"/>
                  </a:lnTo>
                  <a:lnTo>
                    <a:pt x="2520760" y="198831"/>
                  </a:lnTo>
                  <a:lnTo>
                    <a:pt x="2520760" y="200228"/>
                  </a:lnTo>
                  <a:lnTo>
                    <a:pt x="2520760" y="198831"/>
                  </a:lnTo>
                  <a:lnTo>
                    <a:pt x="2520811" y="198831"/>
                  </a:lnTo>
                  <a:lnTo>
                    <a:pt x="2520811" y="200228"/>
                  </a:lnTo>
                  <a:lnTo>
                    <a:pt x="2520811" y="199530"/>
                  </a:lnTo>
                  <a:lnTo>
                    <a:pt x="2520811" y="200228"/>
                  </a:lnTo>
                  <a:lnTo>
                    <a:pt x="2520912" y="200228"/>
                  </a:lnTo>
                  <a:lnTo>
                    <a:pt x="2520912" y="199530"/>
                  </a:lnTo>
                  <a:lnTo>
                    <a:pt x="2520912" y="200876"/>
                  </a:lnTo>
                  <a:lnTo>
                    <a:pt x="2520912" y="200228"/>
                  </a:lnTo>
                  <a:lnTo>
                    <a:pt x="2520912" y="200876"/>
                  </a:lnTo>
                  <a:lnTo>
                    <a:pt x="2520950" y="200876"/>
                  </a:lnTo>
                  <a:lnTo>
                    <a:pt x="2520950" y="200228"/>
                  </a:lnTo>
                  <a:lnTo>
                    <a:pt x="2520950" y="200876"/>
                  </a:lnTo>
                  <a:lnTo>
                    <a:pt x="2520950" y="200228"/>
                  </a:lnTo>
                  <a:lnTo>
                    <a:pt x="2520950" y="200876"/>
                  </a:lnTo>
                  <a:lnTo>
                    <a:pt x="2520950" y="200228"/>
                  </a:lnTo>
                  <a:lnTo>
                    <a:pt x="2521001" y="200228"/>
                  </a:lnTo>
                  <a:lnTo>
                    <a:pt x="2521001" y="198831"/>
                  </a:lnTo>
                  <a:lnTo>
                    <a:pt x="2521001" y="199530"/>
                  </a:lnTo>
                  <a:lnTo>
                    <a:pt x="2521001" y="198831"/>
                  </a:lnTo>
                  <a:lnTo>
                    <a:pt x="2521001" y="199530"/>
                  </a:lnTo>
                  <a:lnTo>
                    <a:pt x="2521001" y="198831"/>
                  </a:lnTo>
                  <a:lnTo>
                    <a:pt x="2521052" y="198831"/>
                  </a:lnTo>
                  <a:lnTo>
                    <a:pt x="2521052" y="197447"/>
                  </a:lnTo>
                  <a:lnTo>
                    <a:pt x="2521052" y="198831"/>
                  </a:lnTo>
                  <a:lnTo>
                    <a:pt x="2521052" y="197447"/>
                  </a:lnTo>
                  <a:lnTo>
                    <a:pt x="2521154" y="197447"/>
                  </a:lnTo>
                  <a:lnTo>
                    <a:pt x="2521154" y="200228"/>
                  </a:lnTo>
                  <a:lnTo>
                    <a:pt x="2521154" y="198831"/>
                  </a:lnTo>
                  <a:lnTo>
                    <a:pt x="2521154" y="199530"/>
                  </a:lnTo>
                  <a:lnTo>
                    <a:pt x="2521154" y="198831"/>
                  </a:lnTo>
                  <a:lnTo>
                    <a:pt x="2521205" y="198831"/>
                  </a:lnTo>
                  <a:lnTo>
                    <a:pt x="2521205" y="199530"/>
                  </a:lnTo>
                  <a:lnTo>
                    <a:pt x="2521205" y="198831"/>
                  </a:lnTo>
                  <a:lnTo>
                    <a:pt x="2521255" y="198831"/>
                  </a:lnTo>
                  <a:lnTo>
                    <a:pt x="2521255" y="197447"/>
                  </a:lnTo>
                  <a:lnTo>
                    <a:pt x="2521255" y="199530"/>
                  </a:lnTo>
                  <a:lnTo>
                    <a:pt x="2521255" y="198831"/>
                  </a:lnTo>
                  <a:lnTo>
                    <a:pt x="2521255" y="199530"/>
                  </a:lnTo>
                  <a:lnTo>
                    <a:pt x="2521255" y="198831"/>
                  </a:lnTo>
                  <a:lnTo>
                    <a:pt x="2521255" y="199530"/>
                  </a:lnTo>
                  <a:lnTo>
                    <a:pt x="2521357" y="199530"/>
                  </a:lnTo>
                  <a:lnTo>
                    <a:pt x="2521357" y="200228"/>
                  </a:lnTo>
                  <a:lnTo>
                    <a:pt x="2521357" y="199530"/>
                  </a:lnTo>
                  <a:lnTo>
                    <a:pt x="2521357" y="200228"/>
                  </a:lnTo>
                  <a:lnTo>
                    <a:pt x="2521408" y="200228"/>
                  </a:lnTo>
                  <a:lnTo>
                    <a:pt x="2521408" y="200876"/>
                  </a:lnTo>
                  <a:lnTo>
                    <a:pt x="2521408" y="200228"/>
                  </a:lnTo>
                  <a:lnTo>
                    <a:pt x="2521408" y="200876"/>
                  </a:lnTo>
                  <a:lnTo>
                    <a:pt x="2521408" y="200228"/>
                  </a:lnTo>
                  <a:lnTo>
                    <a:pt x="2521459" y="200228"/>
                  </a:lnTo>
                  <a:lnTo>
                    <a:pt x="2521459" y="199530"/>
                  </a:lnTo>
                  <a:lnTo>
                    <a:pt x="2521497" y="199530"/>
                  </a:lnTo>
                  <a:lnTo>
                    <a:pt x="2521497" y="198831"/>
                  </a:lnTo>
                  <a:lnTo>
                    <a:pt x="2521497" y="199530"/>
                  </a:lnTo>
                  <a:lnTo>
                    <a:pt x="2521497" y="198831"/>
                  </a:lnTo>
                  <a:lnTo>
                    <a:pt x="2521497" y="199530"/>
                  </a:lnTo>
                  <a:lnTo>
                    <a:pt x="2521497" y="197447"/>
                  </a:lnTo>
                  <a:lnTo>
                    <a:pt x="2521497" y="200228"/>
                  </a:lnTo>
                  <a:lnTo>
                    <a:pt x="2521598" y="200228"/>
                  </a:lnTo>
                  <a:lnTo>
                    <a:pt x="2521598" y="198831"/>
                  </a:lnTo>
                  <a:lnTo>
                    <a:pt x="2521598" y="202959"/>
                  </a:lnTo>
                  <a:lnTo>
                    <a:pt x="2521649" y="202959"/>
                  </a:lnTo>
                  <a:lnTo>
                    <a:pt x="2521649" y="200228"/>
                  </a:lnTo>
                  <a:lnTo>
                    <a:pt x="2521649" y="202260"/>
                  </a:lnTo>
                  <a:lnTo>
                    <a:pt x="2521649" y="200876"/>
                  </a:lnTo>
                  <a:lnTo>
                    <a:pt x="2521649" y="202959"/>
                  </a:lnTo>
                  <a:lnTo>
                    <a:pt x="2521700" y="202260"/>
                  </a:lnTo>
                  <a:lnTo>
                    <a:pt x="2521700" y="200228"/>
                  </a:lnTo>
                  <a:lnTo>
                    <a:pt x="2521700" y="202260"/>
                  </a:lnTo>
                  <a:lnTo>
                    <a:pt x="2521801" y="202260"/>
                  </a:lnTo>
                  <a:lnTo>
                    <a:pt x="2521801" y="200876"/>
                  </a:lnTo>
                  <a:lnTo>
                    <a:pt x="2521852" y="200876"/>
                  </a:lnTo>
                  <a:lnTo>
                    <a:pt x="2521852" y="202260"/>
                  </a:lnTo>
                  <a:lnTo>
                    <a:pt x="2521852" y="200876"/>
                  </a:lnTo>
                  <a:lnTo>
                    <a:pt x="2521852" y="202260"/>
                  </a:lnTo>
                  <a:lnTo>
                    <a:pt x="2521852" y="200876"/>
                  </a:lnTo>
                  <a:lnTo>
                    <a:pt x="2521903" y="200876"/>
                  </a:lnTo>
                  <a:lnTo>
                    <a:pt x="2521903" y="200228"/>
                  </a:lnTo>
                  <a:lnTo>
                    <a:pt x="2521903" y="200876"/>
                  </a:lnTo>
                  <a:lnTo>
                    <a:pt x="2521903" y="200228"/>
                  </a:lnTo>
                  <a:lnTo>
                    <a:pt x="2521903" y="200876"/>
                  </a:lnTo>
                  <a:lnTo>
                    <a:pt x="2521903" y="199530"/>
                  </a:lnTo>
                  <a:lnTo>
                    <a:pt x="2521954" y="200228"/>
                  </a:lnTo>
                  <a:lnTo>
                    <a:pt x="2521954" y="198831"/>
                  </a:lnTo>
                  <a:lnTo>
                    <a:pt x="2522043" y="198831"/>
                  </a:lnTo>
                  <a:lnTo>
                    <a:pt x="2522043" y="200228"/>
                  </a:lnTo>
                  <a:lnTo>
                    <a:pt x="2522094" y="200228"/>
                  </a:lnTo>
                  <a:lnTo>
                    <a:pt x="2522094" y="202959"/>
                  </a:lnTo>
                  <a:lnTo>
                    <a:pt x="2522094" y="202260"/>
                  </a:lnTo>
                  <a:lnTo>
                    <a:pt x="2522094" y="202959"/>
                  </a:lnTo>
                  <a:lnTo>
                    <a:pt x="2522094" y="200876"/>
                  </a:lnTo>
                  <a:lnTo>
                    <a:pt x="2522144" y="200876"/>
                  </a:lnTo>
                  <a:lnTo>
                    <a:pt x="2522144" y="202959"/>
                  </a:lnTo>
                  <a:lnTo>
                    <a:pt x="2522144" y="202260"/>
                  </a:lnTo>
                  <a:lnTo>
                    <a:pt x="2522195" y="202260"/>
                  </a:lnTo>
                  <a:lnTo>
                    <a:pt x="2522195" y="202959"/>
                  </a:lnTo>
                  <a:lnTo>
                    <a:pt x="2522195" y="202260"/>
                  </a:lnTo>
                  <a:lnTo>
                    <a:pt x="2522195" y="202959"/>
                  </a:lnTo>
                  <a:lnTo>
                    <a:pt x="2522195" y="202260"/>
                  </a:lnTo>
                  <a:lnTo>
                    <a:pt x="2522195" y="202959"/>
                  </a:lnTo>
                  <a:lnTo>
                    <a:pt x="2522195" y="202260"/>
                  </a:lnTo>
                  <a:lnTo>
                    <a:pt x="2522195" y="202959"/>
                  </a:lnTo>
                  <a:lnTo>
                    <a:pt x="2522297" y="202260"/>
                  </a:lnTo>
                  <a:lnTo>
                    <a:pt x="2522297" y="202959"/>
                  </a:lnTo>
                  <a:lnTo>
                    <a:pt x="2522297" y="202260"/>
                  </a:lnTo>
                  <a:lnTo>
                    <a:pt x="2522297" y="202959"/>
                  </a:lnTo>
                  <a:lnTo>
                    <a:pt x="2522297" y="202260"/>
                  </a:lnTo>
                  <a:lnTo>
                    <a:pt x="2522297" y="202959"/>
                  </a:lnTo>
                  <a:lnTo>
                    <a:pt x="2522297" y="202260"/>
                  </a:lnTo>
                  <a:lnTo>
                    <a:pt x="2522297" y="202959"/>
                  </a:lnTo>
                  <a:lnTo>
                    <a:pt x="2522297" y="202260"/>
                  </a:lnTo>
                  <a:lnTo>
                    <a:pt x="2522347" y="202260"/>
                  </a:lnTo>
                  <a:lnTo>
                    <a:pt x="2522347" y="200876"/>
                  </a:lnTo>
                  <a:lnTo>
                    <a:pt x="2522347" y="202260"/>
                  </a:lnTo>
                  <a:lnTo>
                    <a:pt x="2522347" y="200876"/>
                  </a:lnTo>
                  <a:lnTo>
                    <a:pt x="2522347" y="202260"/>
                  </a:lnTo>
                  <a:lnTo>
                    <a:pt x="2522398" y="202260"/>
                  </a:lnTo>
                  <a:lnTo>
                    <a:pt x="2522398" y="199530"/>
                  </a:lnTo>
                  <a:lnTo>
                    <a:pt x="2522500" y="199530"/>
                  </a:lnTo>
                  <a:lnTo>
                    <a:pt x="2522500" y="196799"/>
                  </a:lnTo>
                  <a:lnTo>
                    <a:pt x="2522538" y="197447"/>
                  </a:lnTo>
                  <a:lnTo>
                    <a:pt x="2522538" y="199530"/>
                  </a:lnTo>
                  <a:lnTo>
                    <a:pt x="2522538" y="197447"/>
                  </a:lnTo>
                  <a:lnTo>
                    <a:pt x="2522538" y="200228"/>
                  </a:lnTo>
                  <a:lnTo>
                    <a:pt x="2522589" y="200228"/>
                  </a:lnTo>
                  <a:lnTo>
                    <a:pt x="2522589" y="199530"/>
                  </a:lnTo>
                  <a:lnTo>
                    <a:pt x="2522589" y="200228"/>
                  </a:lnTo>
                  <a:lnTo>
                    <a:pt x="2522589" y="199530"/>
                  </a:lnTo>
                  <a:lnTo>
                    <a:pt x="2522589" y="200228"/>
                  </a:lnTo>
                  <a:lnTo>
                    <a:pt x="2522640" y="200876"/>
                  </a:lnTo>
                  <a:lnTo>
                    <a:pt x="2522640" y="202260"/>
                  </a:lnTo>
                  <a:lnTo>
                    <a:pt x="2522640" y="200228"/>
                  </a:lnTo>
                  <a:lnTo>
                    <a:pt x="2522640" y="202260"/>
                  </a:lnTo>
                  <a:lnTo>
                    <a:pt x="2522741" y="200876"/>
                  </a:lnTo>
                  <a:lnTo>
                    <a:pt x="2522741" y="202260"/>
                  </a:lnTo>
                  <a:lnTo>
                    <a:pt x="2522741" y="200876"/>
                  </a:lnTo>
                  <a:lnTo>
                    <a:pt x="2522741" y="202260"/>
                  </a:lnTo>
                  <a:lnTo>
                    <a:pt x="2522741" y="200876"/>
                  </a:lnTo>
                  <a:lnTo>
                    <a:pt x="2522741" y="202260"/>
                  </a:lnTo>
                  <a:lnTo>
                    <a:pt x="2522792" y="202260"/>
                  </a:lnTo>
                  <a:lnTo>
                    <a:pt x="2522792" y="202959"/>
                  </a:lnTo>
                  <a:lnTo>
                    <a:pt x="2522792" y="202260"/>
                  </a:lnTo>
                  <a:lnTo>
                    <a:pt x="2522792" y="202959"/>
                  </a:lnTo>
                  <a:lnTo>
                    <a:pt x="2522792" y="202260"/>
                  </a:lnTo>
                  <a:lnTo>
                    <a:pt x="2522792" y="202959"/>
                  </a:lnTo>
                  <a:lnTo>
                    <a:pt x="2522792" y="202260"/>
                  </a:lnTo>
                  <a:lnTo>
                    <a:pt x="2522843" y="202260"/>
                  </a:lnTo>
                  <a:lnTo>
                    <a:pt x="2522843" y="200876"/>
                  </a:lnTo>
                  <a:lnTo>
                    <a:pt x="2522843" y="202260"/>
                  </a:lnTo>
                  <a:lnTo>
                    <a:pt x="2522843" y="200876"/>
                  </a:lnTo>
                  <a:lnTo>
                    <a:pt x="2522944" y="200876"/>
                  </a:lnTo>
                  <a:lnTo>
                    <a:pt x="2522944" y="200228"/>
                  </a:lnTo>
                  <a:lnTo>
                    <a:pt x="2522944" y="200876"/>
                  </a:lnTo>
                  <a:lnTo>
                    <a:pt x="2522944" y="199530"/>
                  </a:lnTo>
                  <a:lnTo>
                    <a:pt x="2522995" y="198831"/>
                  </a:lnTo>
                  <a:lnTo>
                    <a:pt x="2522995" y="197447"/>
                  </a:lnTo>
                  <a:lnTo>
                    <a:pt x="2522995" y="198831"/>
                  </a:lnTo>
                  <a:lnTo>
                    <a:pt x="2522995" y="197447"/>
                  </a:lnTo>
                  <a:lnTo>
                    <a:pt x="2522995" y="199530"/>
                  </a:lnTo>
                  <a:lnTo>
                    <a:pt x="2522995" y="198831"/>
                  </a:lnTo>
                  <a:lnTo>
                    <a:pt x="2523046" y="199530"/>
                  </a:lnTo>
                  <a:lnTo>
                    <a:pt x="2523046" y="198831"/>
                  </a:lnTo>
                  <a:lnTo>
                    <a:pt x="2523046" y="200876"/>
                  </a:lnTo>
                  <a:lnTo>
                    <a:pt x="2523046" y="200228"/>
                  </a:lnTo>
                  <a:lnTo>
                    <a:pt x="2523084" y="200228"/>
                  </a:lnTo>
                  <a:lnTo>
                    <a:pt x="2523084" y="199530"/>
                  </a:lnTo>
                  <a:lnTo>
                    <a:pt x="2523084" y="200228"/>
                  </a:lnTo>
                  <a:lnTo>
                    <a:pt x="2523084" y="199530"/>
                  </a:lnTo>
                  <a:lnTo>
                    <a:pt x="2523084" y="200228"/>
                  </a:lnTo>
                  <a:lnTo>
                    <a:pt x="2523186" y="200228"/>
                  </a:lnTo>
                  <a:lnTo>
                    <a:pt x="2523186" y="199530"/>
                  </a:lnTo>
                  <a:lnTo>
                    <a:pt x="2523186" y="200228"/>
                  </a:lnTo>
                  <a:lnTo>
                    <a:pt x="2523237" y="200228"/>
                  </a:lnTo>
                  <a:lnTo>
                    <a:pt x="2523237" y="200876"/>
                  </a:lnTo>
                  <a:lnTo>
                    <a:pt x="2523287" y="200876"/>
                  </a:lnTo>
                  <a:lnTo>
                    <a:pt x="2523287" y="202260"/>
                  </a:lnTo>
                  <a:lnTo>
                    <a:pt x="2523287" y="200876"/>
                  </a:lnTo>
                  <a:lnTo>
                    <a:pt x="2523287" y="202260"/>
                  </a:lnTo>
                  <a:lnTo>
                    <a:pt x="2523287" y="200876"/>
                  </a:lnTo>
                  <a:lnTo>
                    <a:pt x="2523287" y="202260"/>
                  </a:lnTo>
                  <a:lnTo>
                    <a:pt x="2523389" y="200876"/>
                  </a:lnTo>
                  <a:lnTo>
                    <a:pt x="2523389" y="202260"/>
                  </a:lnTo>
                  <a:lnTo>
                    <a:pt x="2523389" y="200876"/>
                  </a:lnTo>
                  <a:lnTo>
                    <a:pt x="2523389" y="202260"/>
                  </a:lnTo>
                  <a:lnTo>
                    <a:pt x="2523389" y="200876"/>
                  </a:lnTo>
                  <a:lnTo>
                    <a:pt x="2523440" y="200876"/>
                  </a:lnTo>
                  <a:lnTo>
                    <a:pt x="2523440" y="199530"/>
                  </a:lnTo>
                  <a:lnTo>
                    <a:pt x="2523440" y="200228"/>
                  </a:lnTo>
                  <a:lnTo>
                    <a:pt x="2523440" y="198831"/>
                  </a:lnTo>
                  <a:lnTo>
                    <a:pt x="2523440" y="199530"/>
                  </a:lnTo>
                  <a:lnTo>
                    <a:pt x="2523440" y="198831"/>
                  </a:lnTo>
                  <a:lnTo>
                    <a:pt x="2523490" y="197447"/>
                  </a:lnTo>
                  <a:lnTo>
                    <a:pt x="2523490" y="196799"/>
                  </a:lnTo>
                  <a:lnTo>
                    <a:pt x="2523490" y="198831"/>
                  </a:lnTo>
                  <a:lnTo>
                    <a:pt x="2523541" y="197447"/>
                  </a:lnTo>
                  <a:lnTo>
                    <a:pt x="2523541" y="200228"/>
                  </a:lnTo>
                  <a:lnTo>
                    <a:pt x="2523541" y="199530"/>
                  </a:lnTo>
                  <a:lnTo>
                    <a:pt x="2523541" y="200228"/>
                  </a:lnTo>
                  <a:lnTo>
                    <a:pt x="2523541" y="198831"/>
                  </a:lnTo>
                  <a:lnTo>
                    <a:pt x="2523630" y="198831"/>
                  </a:lnTo>
                  <a:lnTo>
                    <a:pt x="2523630" y="199530"/>
                  </a:lnTo>
                  <a:lnTo>
                    <a:pt x="2523630" y="198831"/>
                  </a:lnTo>
                  <a:lnTo>
                    <a:pt x="2523630" y="199530"/>
                  </a:lnTo>
                  <a:lnTo>
                    <a:pt x="2523681" y="199530"/>
                  </a:lnTo>
                  <a:lnTo>
                    <a:pt x="2523681" y="198831"/>
                  </a:lnTo>
                  <a:lnTo>
                    <a:pt x="2523681" y="199530"/>
                  </a:lnTo>
                  <a:lnTo>
                    <a:pt x="2523681" y="198831"/>
                  </a:lnTo>
                  <a:lnTo>
                    <a:pt x="2523681" y="200228"/>
                  </a:lnTo>
                  <a:lnTo>
                    <a:pt x="2523681" y="199530"/>
                  </a:lnTo>
                  <a:lnTo>
                    <a:pt x="2523732" y="199530"/>
                  </a:lnTo>
                  <a:lnTo>
                    <a:pt x="2523732" y="200228"/>
                  </a:lnTo>
                  <a:lnTo>
                    <a:pt x="2523732" y="199530"/>
                  </a:lnTo>
                  <a:lnTo>
                    <a:pt x="2523732" y="200876"/>
                  </a:lnTo>
                  <a:lnTo>
                    <a:pt x="2523732" y="200228"/>
                  </a:lnTo>
                  <a:lnTo>
                    <a:pt x="2523732" y="202260"/>
                  </a:lnTo>
                  <a:lnTo>
                    <a:pt x="2523783" y="202260"/>
                  </a:lnTo>
                  <a:lnTo>
                    <a:pt x="2523783" y="200876"/>
                  </a:lnTo>
                  <a:lnTo>
                    <a:pt x="2523783" y="202260"/>
                  </a:lnTo>
                  <a:lnTo>
                    <a:pt x="2523783" y="200876"/>
                  </a:lnTo>
                  <a:lnTo>
                    <a:pt x="2523884" y="200876"/>
                  </a:lnTo>
                  <a:lnTo>
                    <a:pt x="2523884" y="200228"/>
                  </a:lnTo>
                  <a:lnTo>
                    <a:pt x="2523884" y="200876"/>
                  </a:lnTo>
                  <a:lnTo>
                    <a:pt x="2523884" y="199530"/>
                  </a:lnTo>
                  <a:lnTo>
                    <a:pt x="2523935" y="199530"/>
                  </a:lnTo>
                  <a:lnTo>
                    <a:pt x="2523935" y="200228"/>
                  </a:lnTo>
                  <a:lnTo>
                    <a:pt x="2523935" y="199530"/>
                  </a:lnTo>
                  <a:lnTo>
                    <a:pt x="2523935" y="200228"/>
                  </a:lnTo>
                  <a:lnTo>
                    <a:pt x="2523935" y="197447"/>
                  </a:lnTo>
                  <a:lnTo>
                    <a:pt x="2523986" y="197447"/>
                  </a:lnTo>
                  <a:lnTo>
                    <a:pt x="2523986" y="196799"/>
                  </a:lnTo>
                  <a:lnTo>
                    <a:pt x="2523986" y="197447"/>
                  </a:lnTo>
                  <a:lnTo>
                    <a:pt x="2523986" y="196799"/>
                  </a:lnTo>
                  <a:lnTo>
                    <a:pt x="2523986" y="198831"/>
                  </a:lnTo>
                  <a:lnTo>
                    <a:pt x="2523986" y="197447"/>
                  </a:lnTo>
                  <a:lnTo>
                    <a:pt x="2523986" y="198831"/>
                  </a:lnTo>
                  <a:lnTo>
                    <a:pt x="2524087" y="197447"/>
                  </a:lnTo>
                  <a:lnTo>
                    <a:pt x="2524087" y="196799"/>
                  </a:lnTo>
                  <a:lnTo>
                    <a:pt x="2524087" y="199530"/>
                  </a:lnTo>
                  <a:lnTo>
                    <a:pt x="2524125" y="198831"/>
                  </a:lnTo>
                  <a:lnTo>
                    <a:pt x="2524125" y="197447"/>
                  </a:lnTo>
                  <a:lnTo>
                    <a:pt x="2524125" y="198831"/>
                  </a:lnTo>
                  <a:lnTo>
                    <a:pt x="2524176" y="198831"/>
                  </a:lnTo>
                  <a:lnTo>
                    <a:pt x="2524176" y="197447"/>
                  </a:lnTo>
                  <a:lnTo>
                    <a:pt x="2524176" y="198831"/>
                  </a:lnTo>
                  <a:lnTo>
                    <a:pt x="2524176" y="197447"/>
                  </a:lnTo>
                  <a:lnTo>
                    <a:pt x="2524176" y="198831"/>
                  </a:lnTo>
                  <a:lnTo>
                    <a:pt x="2524176" y="197447"/>
                  </a:lnTo>
                  <a:lnTo>
                    <a:pt x="2524176" y="198831"/>
                  </a:lnTo>
                  <a:lnTo>
                    <a:pt x="2524227" y="198831"/>
                  </a:lnTo>
                  <a:lnTo>
                    <a:pt x="2524227" y="199530"/>
                  </a:lnTo>
                  <a:lnTo>
                    <a:pt x="2524227" y="198831"/>
                  </a:lnTo>
                  <a:lnTo>
                    <a:pt x="2524227" y="199530"/>
                  </a:lnTo>
                  <a:lnTo>
                    <a:pt x="2524329" y="199530"/>
                  </a:lnTo>
                  <a:lnTo>
                    <a:pt x="2524329" y="200876"/>
                  </a:lnTo>
                  <a:lnTo>
                    <a:pt x="2524329" y="200228"/>
                  </a:lnTo>
                  <a:lnTo>
                    <a:pt x="2524329" y="200876"/>
                  </a:lnTo>
                  <a:lnTo>
                    <a:pt x="2524329" y="199530"/>
                  </a:lnTo>
                  <a:lnTo>
                    <a:pt x="2524380" y="199530"/>
                  </a:lnTo>
                  <a:lnTo>
                    <a:pt x="2524380" y="200228"/>
                  </a:lnTo>
                  <a:lnTo>
                    <a:pt x="2524380" y="198831"/>
                  </a:lnTo>
                  <a:lnTo>
                    <a:pt x="2524380" y="199530"/>
                  </a:lnTo>
                  <a:lnTo>
                    <a:pt x="2524380" y="198831"/>
                  </a:lnTo>
                  <a:lnTo>
                    <a:pt x="2524430" y="199530"/>
                  </a:lnTo>
                  <a:lnTo>
                    <a:pt x="2524430" y="198831"/>
                  </a:lnTo>
                  <a:lnTo>
                    <a:pt x="2524430" y="199530"/>
                  </a:lnTo>
                  <a:lnTo>
                    <a:pt x="2524430" y="197447"/>
                  </a:lnTo>
                  <a:lnTo>
                    <a:pt x="2524430" y="198831"/>
                  </a:lnTo>
                  <a:lnTo>
                    <a:pt x="2524430" y="197447"/>
                  </a:lnTo>
                  <a:lnTo>
                    <a:pt x="2524430" y="198831"/>
                  </a:lnTo>
                  <a:lnTo>
                    <a:pt x="2524430" y="196799"/>
                  </a:lnTo>
                  <a:lnTo>
                    <a:pt x="2524430" y="197447"/>
                  </a:lnTo>
                  <a:lnTo>
                    <a:pt x="2524532" y="197447"/>
                  </a:lnTo>
                  <a:lnTo>
                    <a:pt x="2524532" y="198831"/>
                  </a:lnTo>
                  <a:lnTo>
                    <a:pt x="2524532" y="196799"/>
                  </a:lnTo>
                  <a:lnTo>
                    <a:pt x="2524532" y="197447"/>
                  </a:lnTo>
                  <a:lnTo>
                    <a:pt x="2524583" y="198831"/>
                  </a:lnTo>
                  <a:lnTo>
                    <a:pt x="2524583" y="200228"/>
                  </a:lnTo>
                  <a:lnTo>
                    <a:pt x="2524583" y="198831"/>
                  </a:lnTo>
                  <a:lnTo>
                    <a:pt x="2524583" y="199530"/>
                  </a:lnTo>
                  <a:lnTo>
                    <a:pt x="2524583" y="198831"/>
                  </a:lnTo>
                  <a:lnTo>
                    <a:pt x="2524634" y="199530"/>
                  </a:lnTo>
                  <a:lnTo>
                    <a:pt x="2524634" y="200228"/>
                  </a:lnTo>
                  <a:lnTo>
                    <a:pt x="2524634" y="198831"/>
                  </a:lnTo>
                  <a:lnTo>
                    <a:pt x="2524634" y="199530"/>
                  </a:lnTo>
                  <a:lnTo>
                    <a:pt x="2524634" y="198831"/>
                  </a:lnTo>
                  <a:lnTo>
                    <a:pt x="2524634" y="199530"/>
                  </a:lnTo>
                  <a:lnTo>
                    <a:pt x="2524672" y="199530"/>
                  </a:lnTo>
                  <a:lnTo>
                    <a:pt x="2524672" y="200228"/>
                  </a:lnTo>
                  <a:lnTo>
                    <a:pt x="2524672" y="199530"/>
                  </a:lnTo>
                  <a:lnTo>
                    <a:pt x="2524672" y="200228"/>
                  </a:lnTo>
                  <a:lnTo>
                    <a:pt x="2524672" y="199530"/>
                  </a:lnTo>
                  <a:lnTo>
                    <a:pt x="2524773" y="200228"/>
                  </a:lnTo>
                  <a:lnTo>
                    <a:pt x="2524773" y="199530"/>
                  </a:lnTo>
                  <a:lnTo>
                    <a:pt x="2524773" y="200876"/>
                  </a:lnTo>
                  <a:lnTo>
                    <a:pt x="2524773" y="200228"/>
                  </a:lnTo>
                  <a:lnTo>
                    <a:pt x="2524824" y="200228"/>
                  </a:lnTo>
                  <a:lnTo>
                    <a:pt x="2524875" y="199530"/>
                  </a:lnTo>
                  <a:lnTo>
                    <a:pt x="2524875" y="200228"/>
                  </a:lnTo>
                  <a:lnTo>
                    <a:pt x="2524875" y="198831"/>
                  </a:lnTo>
                  <a:lnTo>
                    <a:pt x="2524976" y="198831"/>
                  </a:lnTo>
                  <a:lnTo>
                    <a:pt x="2524976" y="197447"/>
                  </a:lnTo>
                  <a:lnTo>
                    <a:pt x="2524976" y="198831"/>
                  </a:lnTo>
                  <a:lnTo>
                    <a:pt x="2524976" y="196799"/>
                  </a:lnTo>
                  <a:lnTo>
                    <a:pt x="2524976" y="197447"/>
                  </a:lnTo>
                  <a:lnTo>
                    <a:pt x="2525027" y="197447"/>
                  </a:lnTo>
                  <a:lnTo>
                    <a:pt x="2525027" y="199530"/>
                  </a:lnTo>
                  <a:lnTo>
                    <a:pt x="2525027" y="198831"/>
                  </a:lnTo>
                  <a:lnTo>
                    <a:pt x="2525027" y="199530"/>
                  </a:lnTo>
                  <a:lnTo>
                    <a:pt x="2525027" y="197447"/>
                  </a:lnTo>
                  <a:lnTo>
                    <a:pt x="2525027" y="200228"/>
                  </a:lnTo>
                  <a:lnTo>
                    <a:pt x="2525078" y="200228"/>
                  </a:lnTo>
                  <a:lnTo>
                    <a:pt x="2525078" y="200876"/>
                  </a:lnTo>
                  <a:lnTo>
                    <a:pt x="2525078" y="198831"/>
                  </a:lnTo>
                  <a:lnTo>
                    <a:pt x="2525078" y="200228"/>
                  </a:lnTo>
                  <a:lnTo>
                    <a:pt x="2525129" y="200228"/>
                  </a:lnTo>
                  <a:lnTo>
                    <a:pt x="2525129" y="199530"/>
                  </a:lnTo>
                  <a:lnTo>
                    <a:pt x="2525129" y="200228"/>
                  </a:lnTo>
                  <a:lnTo>
                    <a:pt x="2525129" y="199530"/>
                  </a:lnTo>
                  <a:lnTo>
                    <a:pt x="2525129" y="200228"/>
                  </a:lnTo>
                  <a:lnTo>
                    <a:pt x="2525218" y="200228"/>
                  </a:lnTo>
                  <a:lnTo>
                    <a:pt x="2525218" y="200876"/>
                  </a:lnTo>
                  <a:lnTo>
                    <a:pt x="2525218" y="200228"/>
                  </a:lnTo>
                  <a:lnTo>
                    <a:pt x="2525269" y="200228"/>
                  </a:lnTo>
                  <a:lnTo>
                    <a:pt x="2525269" y="200876"/>
                  </a:lnTo>
                  <a:lnTo>
                    <a:pt x="2525319" y="200876"/>
                  </a:lnTo>
                  <a:lnTo>
                    <a:pt x="2525319" y="200228"/>
                  </a:lnTo>
                  <a:lnTo>
                    <a:pt x="2525319" y="200876"/>
                  </a:lnTo>
                  <a:lnTo>
                    <a:pt x="2525319" y="199530"/>
                  </a:lnTo>
                  <a:lnTo>
                    <a:pt x="2525370" y="199530"/>
                  </a:lnTo>
                  <a:lnTo>
                    <a:pt x="2525370" y="198831"/>
                  </a:lnTo>
                  <a:lnTo>
                    <a:pt x="2525370" y="199530"/>
                  </a:lnTo>
                  <a:lnTo>
                    <a:pt x="2525370" y="198831"/>
                  </a:lnTo>
                  <a:lnTo>
                    <a:pt x="2525370" y="199530"/>
                  </a:lnTo>
                  <a:lnTo>
                    <a:pt x="2525370" y="197447"/>
                  </a:lnTo>
                  <a:lnTo>
                    <a:pt x="2525370" y="198831"/>
                  </a:lnTo>
                  <a:lnTo>
                    <a:pt x="2525370" y="197447"/>
                  </a:lnTo>
                  <a:lnTo>
                    <a:pt x="2525472" y="197447"/>
                  </a:lnTo>
                  <a:lnTo>
                    <a:pt x="2525472" y="198831"/>
                  </a:lnTo>
                  <a:lnTo>
                    <a:pt x="2525472" y="196113"/>
                  </a:lnTo>
                  <a:lnTo>
                    <a:pt x="2525472" y="196799"/>
                  </a:lnTo>
                  <a:lnTo>
                    <a:pt x="2525522" y="197447"/>
                  </a:lnTo>
                  <a:lnTo>
                    <a:pt x="2525522" y="198831"/>
                  </a:lnTo>
                  <a:lnTo>
                    <a:pt x="2525522" y="196113"/>
                  </a:lnTo>
                  <a:lnTo>
                    <a:pt x="2525522" y="198831"/>
                  </a:lnTo>
                  <a:lnTo>
                    <a:pt x="2525573" y="199530"/>
                  </a:lnTo>
                  <a:lnTo>
                    <a:pt x="2525573" y="200228"/>
                  </a:lnTo>
                  <a:lnTo>
                    <a:pt x="2525573" y="196799"/>
                  </a:lnTo>
                  <a:lnTo>
                    <a:pt x="2525573" y="198831"/>
                  </a:lnTo>
                  <a:lnTo>
                    <a:pt x="2525675" y="198831"/>
                  </a:lnTo>
                  <a:lnTo>
                    <a:pt x="2525675" y="199530"/>
                  </a:lnTo>
                  <a:lnTo>
                    <a:pt x="2525675" y="197447"/>
                  </a:lnTo>
                  <a:lnTo>
                    <a:pt x="2525675" y="199530"/>
                  </a:lnTo>
                  <a:lnTo>
                    <a:pt x="2525713" y="199530"/>
                  </a:lnTo>
                  <a:lnTo>
                    <a:pt x="2525713" y="200228"/>
                  </a:lnTo>
                  <a:lnTo>
                    <a:pt x="2525713" y="199530"/>
                  </a:lnTo>
                  <a:lnTo>
                    <a:pt x="2525713" y="200228"/>
                  </a:lnTo>
                  <a:lnTo>
                    <a:pt x="2525713" y="199530"/>
                  </a:lnTo>
                  <a:lnTo>
                    <a:pt x="2525713" y="200228"/>
                  </a:lnTo>
                  <a:lnTo>
                    <a:pt x="2525764" y="200228"/>
                  </a:lnTo>
                  <a:lnTo>
                    <a:pt x="2525764" y="200876"/>
                  </a:lnTo>
                  <a:lnTo>
                    <a:pt x="2525764" y="200228"/>
                  </a:lnTo>
                  <a:lnTo>
                    <a:pt x="2525764" y="200876"/>
                  </a:lnTo>
                  <a:lnTo>
                    <a:pt x="2525764" y="200228"/>
                  </a:lnTo>
                  <a:lnTo>
                    <a:pt x="2525815" y="200228"/>
                  </a:lnTo>
                  <a:lnTo>
                    <a:pt x="2525815" y="199530"/>
                  </a:lnTo>
                  <a:lnTo>
                    <a:pt x="2525916" y="199530"/>
                  </a:lnTo>
                  <a:lnTo>
                    <a:pt x="2525916" y="198831"/>
                  </a:lnTo>
                  <a:lnTo>
                    <a:pt x="2525916" y="199530"/>
                  </a:lnTo>
                  <a:lnTo>
                    <a:pt x="2525916" y="197447"/>
                  </a:lnTo>
                  <a:lnTo>
                    <a:pt x="2525967" y="197447"/>
                  </a:lnTo>
                  <a:lnTo>
                    <a:pt x="2525967" y="196113"/>
                  </a:lnTo>
                  <a:lnTo>
                    <a:pt x="2525967" y="196799"/>
                  </a:lnTo>
                  <a:lnTo>
                    <a:pt x="2525967" y="196113"/>
                  </a:lnTo>
                  <a:lnTo>
                    <a:pt x="2525967" y="196799"/>
                  </a:lnTo>
                  <a:lnTo>
                    <a:pt x="2525967" y="196113"/>
                  </a:lnTo>
                  <a:lnTo>
                    <a:pt x="2525967" y="196799"/>
                  </a:lnTo>
                  <a:lnTo>
                    <a:pt x="2526018" y="197447"/>
                  </a:lnTo>
                  <a:lnTo>
                    <a:pt x="2526018" y="196113"/>
                  </a:lnTo>
                  <a:lnTo>
                    <a:pt x="2526018" y="198831"/>
                  </a:lnTo>
                  <a:lnTo>
                    <a:pt x="2526018" y="197447"/>
                  </a:lnTo>
                  <a:lnTo>
                    <a:pt x="2526018" y="199530"/>
                  </a:lnTo>
                  <a:lnTo>
                    <a:pt x="2526119" y="199530"/>
                  </a:lnTo>
                  <a:lnTo>
                    <a:pt x="2526119" y="197447"/>
                  </a:lnTo>
                  <a:lnTo>
                    <a:pt x="2526119" y="199530"/>
                  </a:lnTo>
                  <a:lnTo>
                    <a:pt x="2526119" y="198831"/>
                  </a:lnTo>
                  <a:lnTo>
                    <a:pt x="2526170" y="198831"/>
                  </a:lnTo>
                  <a:lnTo>
                    <a:pt x="2526170" y="199530"/>
                  </a:lnTo>
                  <a:lnTo>
                    <a:pt x="2526170" y="198831"/>
                  </a:lnTo>
                  <a:lnTo>
                    <a:pt x="2526170" y="199530"/>
                  </a:lnTo>
                  <a:lnTo>
                    <a:pt x="2526221" y="199530"/>
                  </a:lnTo>
                  <a:lnTo>
                    <a:pt x="2526221" y="198831"/>
                  </a:lnTo>
                  <a:lnTo>
                    <a:pt x="2526221" y="200228"/>
                  </a:lnTo>
                  <a:lnTo>
                    <a:pt x="2526221" y="199530"/>
                  </a:lnTo>
                  <a:lnTo>
                    <a:pt x="2526221" y="200228"/>
                  </a:lnTo>
                  <a:lnTo>
                    <a:pt x="2526221" y="199530"/>
                  </a:lnTo>
                  <a:lnTo>
                    <a:pt x="2526221" y="200228"/>
                  </a:lnTo>
                  <a:lnTo>
                    <a:pt x="2526259" y="199530"/>
                  </a:lnTo>
                  <a:lnTo>
                    <a:pt x="2526259" y="200228"/>
                  </a:lnTo>
                  <a:lnTo>
                    <a:pt x="2526259" y="199530"/>
                  </a:lnTo>
                  <a:lnTo>
                    <a:pt x="2526259" y="200228"/>
                  </a:lnTo>
                  <a:lnTo>
                    <a:pt x="2526259" y="199530"/>
                  </a:lnTo>
                  <a:lnTo>
                    <a:pt x="2526361" y="199530"/>
                  </a:lnTo>
                  <a:lnTo>
                    <a:pt x="2526361" y="200228"/>
                  </a:lnTo>
                  <a:lnTo>
                    <a:pt x="2526361" y="199530"/>
                  </a:lnTo>
                  <a:lnTo>
                    <a:pt x="2526361" y="200228"/>
                  </a:lnTo>
                  <a:lnTo>
                    <a:pt x="2526361" y="198831"/>
                  </a:lnTo>
                  <a:lnTo>
                    <a:pt x="2526412" y="198831"/>
                  </a:lnTo>
                  <a:lnTo>
                    <a:pt x="2526412" y="199530"/>
                  </a:lnTo>
                  <a:lnTo>
                    <a:pt x="2526412" y="197447"/>
                  </a:lnTo>
                  <a:lnTo>
                    <a:pt x="2526462" y="197447"/>
                  </a:lnTo>
                  <a:lnTo>
                    <a:pt x="2526462" y="196799"/>
                  </a:lnTo>
                  <a:lnTo>
                    <a:pt x="2526462" y="197447"/>
                  </a:lnTo>
                  <a:lnTo>
                    <a:pt x="2526462" y="196113"/>
                  </a:lnTo>
                  <a:lnTo>
                    <a:pt x="2526462" y="196799"/>
                  </a:lnTo>
                  <a:lnTo>
                    <a:pt x="2526462" y="195415"/>
                  </a:lnTo>
                  <a:lnTo>
                    <a:pt x="2526462" y="196799"/>
                  </a:lnTo>
                  <a:lnTo>
                    <a:pt x="2526564" y="196799"/>
                  </a:lnTo>
                  <a:lnTo>
                    <a:pt x="2526564" y="195415"/>
                  </a:lnTo>
                  <a:lnTo>
                    <a:pt x="2526564" y="198831"/>
                  </a:lnTo>
                  <a:lnTo>
                    <a:pt x="2526615" y="197447"/>
                  </a:lnTo>
                  <a:lnTo>
                    <a:pt x="2526615" y="196113"/>
                  </a:lnTo>
                  <a:lnTo>
                    <a:pt x="2526615" y="198831"/>
                  </a:lnTo>
                  <a:lnTo>
                    <a:pt x="2526665" y="198831"/>
                  </a:lnTo>
                  <a:lnTo>
                    <a:pt x="2526665" y="196799"/>
                  </a:lnTo>
                  <a:lnTo>
                    <a:pt x="2526665" y="199530"/>
                  </a:lnTo>
                  <a:lnTo>
                    <a:pt x="2526716" y="199530"/>
                  </a:lnTo>
                  <a:lnTo>
                    <a:pt x="2526716" y="198831"/>
                  </a:lnTo>
                  <a:lnTo>
                    <a:pt x="2526716" y="199530"/>
                  </a:lnTo>
                  <a:lnTo>
                    <a:pt x="2526805" y="199530"/>
                  </a:lnTo>
                  <a:lnTo>
                    <a:pt x="2526805" y="200228"/>
                  </a:lnTo>
                  <a:lnTo>
                    <a:pt x="2526805" y="199530"/>
                  </a:lnTo>
                  <a:lnTo>
                    <a:pt x="2526805" y="200228"/>
                  </a:lnTo>
                  <a:lnTo>
                    <a:pt x="2526856" y="200228"/>
                  </a:lnTo>
                  <a:lnTo>
                    <a:pt x="2526856" y="199530"/>
                  </a:lnTo>
                  <a:lnTo>
                    <a:pt x="2526856" y="200228"/>
                  </a:lnTo>
                  <a:lnTo>
                    <a:pt x="2526856" y="199530"/>
                  </a:lnTo>
                  <a:lnTo>
                    <a:pt x="2526856" y="200228"/>
                  </a:lnTo>
                  <a:lnTo>
                    <a:pt x="2526856" y="199530"/>
                  </a:lnTo>
                  <a:lnTo>
                    <a:pt x="2526907" y="199530"/>
                  </a:lnTo>
                  <a:lnTo>
                    <a:pt x="2526907" y="197447"/>
                  </a:lnTo>
                  <a:lnTo>
                    <a:pt x="2526958" y="197447"/>
                  </a:lnTo>
                  <a:lnTo>
                    <a:pt x="2526958" y="196799"/>
                  </a:lnTo>
                  <a:lnTo>
                    <a:pt x="2526958" y="198831"/>
                  </a:lnTo>
                  <a:lnTo>
                    <a:pt x="2526958" y="196799"/>
                  </a:lnTo>
                  <a:lnTo>
                    <a:pt x="2527059" y="196799"/>
                  </a:lnTo>
                  <a:lnTo>
                    <a:pt x="2527059" y="199530"/>
                  </a:lnTo>
                  <a:lnTo>
                    <a:pt x="2527059" y="198831"/>
                  </a:lnTo>
                  <a:lnTo>
                    <a:pt x="2527110" y="199530"/>
                  </a:lnTo>
                  <a:lnTo>
                    <a:pt x="2527110" y="197447"/>
                  </a:lnTo>
                  <a:lnTo>
                    <a:pt x="2527110" y="198831"/>
                  </a:lnTo>
                  <a:lnTo>
                    <a:pt x="2527161" y="198831"/>
                  </a:lnTo>
                  <a:lnTo>
                    <a:pt x="2527161" y="197447"/>
                  </a:lnTo>
                  <a:lnTo>
                    <a:pt x="2527161" y="199530"/>
                  </a:lnTo>
                  <a:lnTo>
                    <a:pt x="2527161" y="198831"/>
                  </a:lnTo>
                  <a:lnTo>
                    <a:pt x="2527161" y="199530"/>
                  </a:lnTo>
                  <a:lnTo>
                    <a:pt x="2527161" y="198831"/>
                  </a:lnTo>
                  <a:lnTo>
                    <a:pt x="2527262" y="198831"/>
                  </a:lnTo>
                  <a:lnTo>
                    <a:pt x="2527262" y="199530"/>
                  </a:lnTo>
                  <a:lnTo>
                    <a:pt x="2527262" y="198831"/>
                  </a:lnTo>
                  <a:lnTo>
                    <a:pt x="2527262" y="199530"/>
                  </a:lnTo>
                  <a:lnTo>
                    <a:pt x="2527262" y="198831"/>
                  </a:lnTo>
                  <a:lnTo>
                    <a:pt x="2527262" y="199530"/>
                  </a:lnTo>
                  <a:lnTo>
                    <a:pt x="2527262" y="198831"/>
                  </a:lnTo>
                  <a:lnTo>
                    <a:pt x="2527300" y="198831"/>
                  </a:lnTo>
                  <a:lnTo>
                    <a:pt x="2527300" y="199530"/>
                  </a:lnTo>
                  <a:lnTo>
                    <a:pt x="2527351" y="199530"/>
                  </a:lnTo>
                  <a:lnTo>
                    <a:pt x="2527351" y="197447"/>
                  </a:lnTo>
                  <a:lnTo>
                    <a:pt x="2527351" y="199530"/>
                  </a:lnTo>
                  <a:lnTo>
                    <a:pt x="2527402" y="198831"/>
                  </a:lnTo>
                  <a:lnTo>
                    <a:pt x="2527402" y="199530"/>
                  </a:lnTo>
                  <a:lnTo>
                    <a:pt x="2527402" y="198831"/>
                  </a:lnTo>
                  <a:lnTo>
                    <a:pt x="2527402" y="199530"/>
                  </a:lnTo>
                  <a:lnTo>
                    <a:pt x="2527402" y="197447"/>
                  </a:lnTo>
                  <a:lnTo>
                    <a:pt x="2527402" y="200228"/>
                  </a:lnTo>
                  <a:lnTo>
                    <a:pt x="2527504" y="200228"/>
                  </a:lnTo>
                  <a:lnTo>
                    <a:pt x="2527504" y="197447"/>
                  </a:lnTo>
                  <a:lnTo>
                    <a:pt x="2527504" y="200876"/>
                  </a:lnTo>
                  <a:lnTo>
                    <a:pt x="2527555" y="200876"/>
                  </a:lnTo>
                  <a:lnTo>
                    <a:pt x="2527555" y="199530"/>
                  </a:lnTo>
                  <a:lnTo>
                    <a:pt x="2527555" y="200876"/>
                  </a:lnTo>
                  <a:lnTo>
                    <a:pt x="2527605" y="200876"/>
                  </a:lnTo>
                  <a:lnTo>
                    <a:pt x="2527605" y="200228"/>
                  </a:lnTo>
                  <a:lnTo>
                    <a:pt x="2527605" y="200876"/>
                  </a:lnTo>
                  <a:lnTo>
                    <a:pt x="2527605" y="200228"/>
                  </a:lnTo>
                  <a:lnTo>
                    <a:pt x="2527605" y="202260"/>
                  </a:lnTo>
                  <a:lnTo>
                    <a:pt x="2527605" y="200876"/>
                  </a:lnTo>
                  <a:lnTo>
                    <a:pt x="2527707" y="200876"/>
                  </a:lnTo>
                  <a:lnTo>
                    <a:pt x="2527707" y="200228"/>
                  </a:lnTo>
                  <a:lnTo>
                    <a:pt x="2527758" y="200228"/>
                  </a:lnTo>
                  <a:lnTo>
                    <a:pt x="2527758" y="200876"/>
                  </a:lnTo>
                  <a:lnTo>
                    <a:pt x="2527758" y="200228"/>
                  </a:lnTo>
                  <a:lnTo>
                    <a:pt x="2527758" y="200876"/>
                  </a:lnTo>
                  <a:lnTo>
                    <a:pt x="2527758" y="200228"/>
                  </a:lnTo>
                  <a:lnTo>
                    <a:pt x="2527758" y="200876"/>
                  </a:lnTo>
                  <a:lnTo>
                    <a:pt x="2527758" y="200228"/>
                  </a:lnTo>
                  <a:lnTo>
                    <a:pt x="2527758" y="200876"/>
                  </a:lnTo>
                  <a:lnTo>
                    <a:pt x="2527758" y="199530"/>
                  </a:lnTo>
                  <a:lnTo>
                    <a:pt x="2527758" y="200228"/>
                  </a:lnTo>
                  <a:lnTo>
                    <a:pt x="2527809" y="200228"/>
                  </a:lnTo>
                  <a:lnTo>
                    <a:pt x="2527809" y="199530"/>
                  </a:lnTo>
                  <a:lnTo>
                    <a:pt x="2527809" y="200228"/>
                  </a:lnTo>
                  <a:lnTo>
                    <a:pt x="2527809" y="199530"/>
                  </a:lnTo>
                  <a:lnTo>
                    <a:pt x="2527809" y="200228"/>
                  </a:lnTo>
                  <a:lnTo>
                    <a:pt x="2527809" y="199530"/>
                  </a:lnTo>
                  <a:lnTo>
                    <a:pt x="2527809" y="200228"/>
                  </a:lnTo>
                  <a:lnTo>
                    <a:pt x="2527847" y="200228"/>
                  </a:lnTo>
                  <a:lnTo>
                    <a:pt x="2527847" y="199530"/>
                  </a:lnTo>
                  <a:lnTo>
                    <a:pt x="2527847" y="200228"/>
                  </a:lnTo>
                  <a:lnTo>
                    <a:pt x="2527847" y="197447"/>
                  </a:lnTo>
                  <a:lnTo>
                    <a:pt x="2527948" y="197447"/>
                  </a:lnTo>
                  <a:lnTo>
                    <a:pt x="2527948" y="199530"/>
                  </a:lnTo>
                  <a:lnTo>
                    <a:pt x="2527948" y="198831"/>
                  </a:lnTo>
                  <a:lnTo>
                    <a:pt x="2527948" y="199530"/>
                  </a:lnTo>
                  <a:lnTo>
                    <a:pt x="2527948" y="198831"/>
                  </a:lnTo>
                  <a:lnTo>
                    <a:pt x="2527999" y="198831"/>
                  </a:lnTo>
                  <a:lnTo>
                    <a:pt x="2527999" y="197447"/>
                  </a:lnTo>
                  <a:lnTo>
                    <a:pt x="2527999" y="198831"/>
                  </a:lnTo>
                  <a:lnTo>
                    <a:pt x="2527999" y="197447"/>
                  </a:lnTo>
                  <a:lnTo>
                    <a:pt x="2527999" y="200876"/>
                  </a:lnTo>
                  <a:lnTo>
                    <a:pt x="2527999" y="199530"/>
                  </a:lnTo>
                  <a:lnTo>
                    <a:pt x="2528050" y="199530"/>
                  </a:lnTo>
                  <a:lnTo>
                    <a:pt x="2528050" y="202260"/>
                  </a:lnTo>
                  <a:lnTo>
                    <a:pt x="2528050" y="200876"/>
                  </a:lnTo>
                  <a:lnTo>
                    <a:pt x="2528151" y="200228"/>
                  </a:lnTo>
                  <a:lnTo>
                    <a:pt x="2528151" y="202260"/>
                  </a:lnTo>
                  <a:lnTo>
                    <a:pt x="2528151" y="200876"/>
                  </a:lnTo>
                  <a:lnTo>
                    <a:pt x="2528151" y="202260"/>
                  </a:lnTo>
                  <a:lnTo>
                    <a:pt x="2528151" y="200876"/>
                  </a:lnTo>
                  <a:lnTo>
                    <a:pt x="2528151" y="202260"/>
                  </a:lnTo>
                  <a:lnTo>
                    <a:pt x="2528202" y="202260"/>
                  </a:lnTo>
                  <a:lnTo>
                    <a:pt x="2528202" y="200876"/>
                  </a:lnTo>
                  <a:lnTo>
                    <a:pt x="2528202" y="202260"/>
                  </a:lnTo>
                  <a:lnTo>
                    <a:pt x="2528202" y="200876"/>
                  </a:lnTo>
                  <a:lnTo>
                    <a:pt x="2528253" y="200876"/>
                  </a:lnTo>
                  <a:lnTo>
                    <a:pt x="2528253" y="202260"/>
                  </a:lnTo>
                  <a:lnTo>
                    <a:pt x="2528253" y="200228"/>
                  </a:lnTo>
                  <a:lnTo>
                    <a:pt x="2528253" y="200876"/>
                  </a:lnTo>
                  <a:lnTo>
                    <a:pt x="2528253" y="200228"/>
                  </a:lnTo>
                  <a:lnTo>
                    <a:pt x="2528304" y="200228"/>
                  </a:lnTo>
                  <a:lnTo>
                    <a:pt x="2528304" y="199530"/>
                  </a:lnTo>
                  <a:lnTo>
                    <a:pt x="2528304" y="200228"/>
                  </a:lnTo>
                  <a:lnTo>
                    <a:pt x="2528304" y="198831"/>
                  </a:lnTo>
                  <a:lnTo>
                    <a:pt x="2528304" y="199530"/>
                  </a:lnTo>
                  <a:lnTo>
                    <a:pt x="2528304" y="198831"/>
                  </a:lnTo>
                  <a:lnTo>
                    <a:pt x="2528304" y="199530"/>
                  </a:lnTo>
                  <a:lnTo>
                    <a:pt x="2528393" y="199530"/>
                  </a:lnTo>
                  <a:lnTo>
                    <a:pt x="2528393" y="196799"/>
                  </a:lnTo>
                  <a:lnTo>
                    <a:pt x="2528393" y="197447"/>
                  </a:lnTo>
                  <a:lnTo>
                    <a:pt x="2528393" y="196799"/>
                  </a:lnTo>
                  <a:lnTo>
                    <a:pt x="2528444" y="196799"/>
                  </a:lnTo>
                  <a:lnTo>
                    <a:pt x="2528444" y="196113"/>
                  </a:lnTo>
                  <a:lnTo>
                    <a:pt x="2528444" y="198831"/>
                  </a:lnTo>
                  <a:lnTo>
                    <a:pt x="2528444" y="196113"/>
                  </a:lnTo>
                  <a:lnTo>
                    <a:pt x="2528444" y="196799"/>
                  </a:lnTo>
                  <a:lnTo>
                    <a:pt x="2528444" y="196113"/>
                  </a:lnTo>
                  <a:lnTo>
                    <a:pt x="2528494" y="196113"/>
                  </a:lnTo>
                  <a:lnTo>
                    <a:pt x="2528494" y="196799"/>
                  </a:lnTo>
                  <a:lnTo>
                    <a:pt x="2528494" y="196113"/>
                  </a:lnTo>
                  <a:lnTo>
                    <a:pt x="2528494" y="199530"/>
                  </a:lnTo>
                  <a:lnTo>
                    <a:pt x="2528494" y="197447"/>
                  </a:lnTo>
                  <a:lnTo>
                    <a:pt x="2528494" y="198831"/>
                  </a:lnTo>
                  <a:lnTo>
                    <a:pt x="2528545" y="198831"/>
                  </a:lnTo>
                  <a:lnTo>
                    <a:pt x="2528545" y="200228"/>
                  </a:lnTo>
                  <a:lnTo>
                    <a:pt x="2528545" y="199530"/>
                  </a:lnTo>
                  <a:lnTo>
                    <a:pt x="2528647" y="200228"/>
                  </a:lnTo>
                  <a:lnTo>
                    <a:pt x="2528647" y="199530"/>
                  </a:lnTo>
                  <a:lnTo>
                    <a:pt x="2528647" y="200876"/>
                  </a:lnTo>
                  <a:lnTo>
                    <a:pt x="2528697" y="200876"/>
                  </a:lnTo>
                  <a:lnTo>
                    <a:pt x="2528697" y="202260"/>
                  </a:lnTo>
                  <a:lnTo>
                    <a:pt x="2528697" y="200876"/>
                  </a:lnTo>
                  <a:lnTo>
                    <a:pt x="2528748" y="200876"/>
                  </a:lnTo>
                  <a:lnTo>
                    <a:pt x="2528748" y="200228"/>
                  </a:lnTo>
                  <a:lnTo>
                    <a:pt x="2528748" y="200876"/>
                  </a:lnTo>
                  <a:lnTo>
                    <a:pt x="2528748" y="200228"/>
                  </a:lnTo>
                  <a:lnTo>
                    <a:pt x="2528748" y="200876"/>
                  </a:lnTo>
                  <a:lnTo>
                    <a:pt x="2528850" y="200876"/>
                  </a:lnTo>
                  <a:lnTo>
                    <a:pt x="2528850" y="200228"/>
                  </a:lnTo>
                  <a:lnTo>
                    <a:pt x="2528850" y="200876"/>
                  </a:lnTo>
                  <a:lnTo>
                    <a:pt x="2528850" y="200228"/>
                  </a:lnTo>
                  <a:lnTo>
                    <a:pt x="2528850" y="200876"/>
                  </a:lnTo>
                  <a:lnTo>
                    <a:pt x="2528850" y="199530"/>
                  </a:lnTo>
                  <a:lnTo>
                    <a:pt x="2528888" y="199530"/>
                  </a:lnTo>
                  <a:lnTo>
                    <a:pt x="2528888" y="196799"/>
                  </a:lnTo>
                  <a:lnTo>
                    <a:pt x="2528939" y="196799"/>
                  </a:lnTo>
                  <a:lnTo>
                    <a:pt x="2528939" y="196113"/>
                  </a:lnTo>
                  <a:lnTo>
                    <a:pt x="2528939" y="197447"/>
                  </a:lnTo>
                  <a:lnTo>
                    <a:pt x="2528939" y="196113"/>
                  </a:lnTo>
                  <a:lnTo>
                    <a:pt x="2528939" y="196799"/>
                  </a:lnTo>
                  <a:lnTo>
                    <a:pt x="2528939" y="196113"/>
                  </a:lnTo>
                  <a:lnTo>
                    <a:pt x="2528990" y="196113"/>
                  </a:lnTo>
                  <a:lnTo>
                    <a:pt x="2528990" y="195415"/>
                  </a:lnTo>
                  <a:lnTo>
                    <a:pt x="2528990" y="198831"/>
                  </a:lnTo>
                  <a:lnTo>
                    <a:pt x="2528990" y="197447"/>
                  </a:lnTo>
                  <a:lnTo>
                    <a:pt x="2528990" y="198831"/>
                  </a:lnTo>
                  <a:lnTo>
                    <a:pt x="2528990" y="196799"/>
                  </a:lnTo>
                  <a:lnTo>
                    <a:pt x="2529091" y="197447"/>
                  </a:lnTo>
                  <a:lnTo>
                    <a:pt x="2529091" y="199530"/>
                  </a:lnTo>
                  <a:lnTo>
                    <a:pt x="2529091" y="197447"/>
                  </a:lnTo>
                  <a:lnTo>
                    <a:pt x="2529142" y="197447"/>
                  </a:lnTo>
                  <a:lnTo>
                    <a:pt x="2529142" y="199530"/>
                  </a:lnTo>
                  <a:lnTo>
                    <a:pt x="2529142" y="198831"/>
                  </a:lnTo>
                  <a:lnTo>
                    <a:pt x="2529142" y="199530"/>
                  </a:lnTo>
                  <a:lnTo>
                    <a:pt x="2529142" y="198831"/>
                  </a:lnTo>
                  <a:lnTo>
                    <a:pt x="2529142" y="199530"/>
                  </a:lnTo>
                  <a:lnTo>
                    <a:pt x="2529193" y="199530"/>
                  </a:lnTo>
                  <a:lnTo>
                    <a:pt x="2529193" y="200228"/>
                  </a:lnTo>
                  <a:lnTo>
                    <a:pt x="2529193" y="199530"/>
                  </a:lnTo>
                  <a:lnTo>
                    <a:pt x="2529193" y="200228"/>
                  </a:lnTo>
                  <a:lnTo>
                    <a:pt x="2529193" y="199530"/>
                  </a:lnTo>
                  <a:lnTo>
                    <a:pt x="2529193" y="200228"/>
                  </a:lnTo>
                  <a:lnTo>
                    <a:pt x="2529193" y="199530"/>
                  </a:lnTo>
                  <a:lnTo>
                    <a:pt x="2529294" y="199530"/>
                  </a:lnTo>
                  <a:lnTo>
                    <a:pt x="2529294" y="200228"/>
                  </a:lnTo>
                  <a:lnTo>
                    <a:pt x="2529294" y="199530"/>
                  </a:lnTo>
                  <a:lnTo>
                    <a:pt x="2529294" y="200228"/>
                  </a:lnTo>
                  <a:lnTo>
                    <a:pt x="2529345" y="200228"/>
                  </a:lnTo>
                  <a:lnTo>
                    <a:pt x="2529345" y="199530"/>
                  </a:lnTo>
                  <a:lnTo>
                    <a:pt x="2529345" y="200228"/>
                  </a:lnTo>
                  <a:lnTo>
                    <a:pt x="2529345" y="199530"/>
                  </a:lnTo>
                  <a:lnTo>
                    <a:pt x="2529345" y="200228"/>
                  </a:lnTo>
                  <a:lnTo>
                    <a:pt x="2529345" y="199530"/>
                  </a:lnTo>
                  <a:lnTo>
                    <a:pt x="2529396" y="199530"/>
                  </a:lnTo>
                  <a:lnTo>
                    <a:pt x="2529396" y="198831"/>
                  </a:lnTo>
                  <a:lnTo>
                    <a:pt x="2529396" y="199530"/>
                  </a:lnTo>
                  <a:lnTo>
                    <a:pt x="2529396" y="196113"/>
                  </a:lnTo>
                  <a:lnTo>
                    <a:pt x="2529434" y="196113"/>
                  </a:lnTo>
                  <a:lnTo>
                    <a:pt x="2529434" y="195415"/>
                  </a:lnTo>
                  <a:lnTo>
                    <a:pt x="2529434" y="197447"/>
                  </a:lnTo>
                  <a:lnTo>
                    <a:pt x="2529434" y="196113"/>
                  </a:lnTo>
                  <a:lnTo>
                    <a:pt x="2529536" y="195415"/>
                  </a:lnTo>
                  <a:lnTo>
                    <a:pt x="2529536" y="198831"/>
                  </a:lnTo>
                  <a:lnTo>
                    <a:pt x="2529536" y="196113"/>
                  </a:lnTo>
                  <a:lnTo>
                    <a:pt x="2529536" y="196799"/>
                  </a:lnTo>
                  <a:lnTo>
                    <a:pt x="2529587" y="196799"/>
                  </a:lnTo>
                  <a:lnTo>
                    <a:pt x="2529587" y="197447"/>
                  </a:lnTo>
                  <a:lnTo>
                    <a:pt x="2529587" y="196799"/>
                  </a:lnTo>
                  <a:lnTo>
                    <a:pt x="2529637" y="196799"/>
                  </a:lnTo>
                  <a:lnTo>
                    <a:pt x="2529637" y="198831"/>
                  </a:lnTo>
                  <a:lnTo>
                    <a:pt x="2529637" y="197447"/>
                  </a:lnTo>
                  <a:lnTo>
                    <a:pt x="2529739" y="197447"/>
                  </a:lnTo>
                  <a:lnTo>
                    <a:pt x="2529739" y="198831"/>
                  </a:lnTo>
                  <a:lnTo>
                    <a:pt x="2529790" y="199530"/>
                  </a:lnTo>
                  <a:lnTo>
                    <a:pt x="2529790" y="200228"/>
                  </a:lnTo>
                  <a:lnTo>
                    <a:pt x="2529790" y="199530"/>
                  </a:lnTo>
                  <a:lnTo>
                    <a:pt x="2529790" y="200228"/>
                  </a:lnTo>
                  <a:lnTo>
                    <a:pt x="2529840" y="200228"/>
                  </a:lnTo>
                  <a:lnTo>
                    <a:pt x="2529840" y="200876"/>
                  </a:lnTo>
                  <a:lnTo>
                    <a:pt x="2529840" y="200228"/>
                  </a:lnTo>
                  <a:lnTo>
                    <a:pt x="2529840" y="200876"/>
                  </a:lnTo>
                  <a:lnTo>
                    <a:pt x="2529840" y="199530"/>
                  </a:lnTo>
                  <a:lnTo>
                    <a:pt x="2529840" y="200228"/>
                  </a:lnTo>
                  <a:lnTo>
                    <a:pt x="2529840" y="198831"/>
                  </a:lnTo>
                  <a:lnTo>
                    <a:pt x="2529891" y="198831"/>
                  </a:lnTo>
                  <a:lnTo>
                    <a:pt x="2529891" y="199530"/>
                  </a:lnTo>
                  <a:lnTo>
                    <a:pt x="2529891" y="198831"/>
                  </a:lnTo>
                  <a:lnTo>
                    <a:pt x="2529891" y="199530"/>
                  </a:lnTo>
                  <a:lnTo>
                    <a:pt x="2529891" y="196799"/>
                  </a:lnTo>
                  <a:lnTo>
                    <a:pt x="2529891" y="197447"/>
                  </a:lnTo>
                  <a:lnTo>
                    <a:pt x="2529891" y="196799"/>
                  </a:lnTo>
                  <a:lnTo>
                    <a:pt x="2529980" y="196799"/>
                  </a:lnTo>
                  <a:lnTo>
                    <a:pt x="2529980" y="194716"/>
                  </a:lnTo>
                  <a:lnTo>
                    <a:pt x="2529980" y="196113"/>
                  </a:lnTo>
                  <a:lnTo>
                    <a:pt x="2529980" y="195415"/>
                  </a:lnTo>
                  <a:lnTo>
                    <a:pt x="2530031" y="195415"/>
                  </a:lnTo>
                  <a:lnTo>
                    <a:pt x="2530031" y="196113"/>
                  </a:lnTo>
                  <a:lnTo>
                    <a:pt x="2530031" y="195415"/>
                  </a:lnTo>
                  <a:lnTo>
                    <a:pt x="2530031" y="196799"/>
                  </a:lnTo>
                  <a:lnTo>
                    <a:pt x="2530031" y="196113"/>
                  </a:lnTo>
                  <a:lnTo>
                    <a:pt x="2530082" y="196113"/>
                  </a:lnTo>
                  <a:lnTo>
                    <a:pt x="2530082" y="196799"/>
                  </a:lnTo>
                  <a:lnTo>
                    <a:pt x="2530082" y="196113"/>
                  </a:lnTo>
                  <a:lnTo>
                    <a:pt x="2530082" y="196799"/>
                  </a:lnTo>
                  <a:lnTo>
                    <a:pt x="2530133" y="196113"/>
                  </a:lnTo>
                  <a:lnTo>
                    <a:pt x="2530133" y="196799"/>
                  </a:lnTo>
                  <a:lnTo>
                    <a:pt x="2530133" y="196113"/>
                  </a:lnTo>
                  <a:lnTo>
                    <a:pt x="2530133" y="196799"/>
                  </a:lnTo>
                  <a:lnTo>
                    <a:pt x="2530234" y="196799"/>
                  </a:lnTo>
                  <a:lnTo>
                    <a:pt x="2530234" y="197447"/>
                  </a:lnTo>
                  <a:lnTo>
                    <a:pt x="2530234" y="196799"/>
                  </a:lnTo>
                  <a:lnTo>
                    <a:pt x="2530234" y="197447"/>
                  </a:lnTo>
                  <a:lnTo>
                    <a:pt x="2530285" y="197447"/>
                  </a:lnTo>
                  <a:lnTo>
                    <a:pt x="2530285" y="198831"/>
                  </a:lnTo>
                  <a:lnTo>
                    <a:pt x="2530285" y="197447"/>
                  </a:lnTo>
                  <a:lnTo>
                    <a:pt x="2530285" y="198831"/>
                  </a:lnTo>
                  <a:lnTo>
                    <a:pt x="2530285" y="197447"/>
                  </a:lnTo>
                  <a:lnTo>
                    <a:pt x="2530285" y="199530"/>
                  </a:lnTo>
                  <a:lnTo>
                    <a:pt x="2530285" y="198831"/>
                  </a:lnTo>
                  <a:lnTo>
                    <a:pt x="2530336" y="198831"/>
                  </a:lnTo>
                  <a:lnTo>
                    <a:pt x="2530336" y="199530"/>
                  </a:lnTo>
                  <a:lnTo>
                    <a:pt x="2530336" y="198831"/>
                  </a:lnTo>
                  <a:lnTo>
                    <a:pt x="2530336" y="199530"/>
                  </a:lnTo>
                  <a:lnTo>
                    <a:pt x="2530336" y="198831"/>
                  </a:lnTo>
                  <a:lnTo>
                    <a:pt x="2530336" y="199530"/>
                  </a:lnTo>
                  <a:lnTo>
                    <a:pt x="2530336" y="198831"/>
                  </a:lnTo>
                  <a:lnTo>
                    <a:pt x="2530437" y="198831"/>
                  </a:lnTo>
                  <a:lnTo>
                    <a:pt x="2530437" y="197447"/>
                  </a:lnTo>
                  <a:lnTo>
                    <a:pt x="2530437" y="198831"/>
                  </a:lnTo>
                  <a:lnTo>
                    <a:pt x="2530437" y="196799"/>
                  </a:lnTo>
                  <a:lnTo>
                    <a:pt x="2530437" y="197447"/>
                  </a:lnTo>
                  <a:lnTo>
                    <a:pt x="2530437" y="196113"/>
                  </a:lnTo>
                  <a:lnTo>
                    <a:pt x="2530437" y="196799"/>
                  </a:lnTo>
                  <a:lnTo>
                    <a:pt x="2530475" y="196799"/>
                  </a:lnTo>
                  <a:lnTo>
                    <a:pt x="2530475" y="195415"/>
                  </a:lnTo>
                  <a:lnTo>
                    <a:pt x="2530475" y="196113"/>
                  </a:lnTo>
                  <a:lnTo>
                    <a:pt x="2530475" y="195415"/>
                  </a:lnTo>
                  <a:lnTo>
                    <a:pt x="2530475" y="196799"/>
                  </a:lnTo>
                  <a:lnTo>
                    <a:pt x="2530475" y="196113"/>
                  </a:lnTo>
                  <a:lnTo>
                    <a:pt x="2530475" y="196799"/>
                  </a:lnTo>
                  <a:lnTo>
                    <a:pt x="2530526" y="196799"/>
                  </a:lnTo>
                  <a:lnTo>
                    <a:pt x="2530526" y="195415"/>
                  </a:lnTo>
                  <a:lnTo>
                    <a:pt x="2530526" y="198831"/>
                  </a:lnTo>
                  <a:lnTo>
                    <a:pt x="2530526" y="197447"/>
                  </a:lnTo>
                  <a:lnTo>
                    <a:pt x="2530577" y="196799"/>
                  </a:lnTo>
                  <a:lnTo>
                    <a:pt x="2530577" y="196113"/>
                  </a:lnTo>
                  <a:lnTo>
                    <a:pt x="2530577" y="197447"/>
                  </a:lnTo>
                  <a:lnTo>
                    <a:pt x="2530577" y="196799"/>
                  </a:lnTo>
                  <a:lnTo>
                    <a:pt x="2530679" y="196799"/>
                  </a:lnTo>
                  <a:lnTo>
                    <a:pt x="2530679" y="197447"/>
                  </a:lnTo>
                  <a:lnTo>
                    <a:pt x="2530679" y="196799"/>
                  </a:lnTo>
                  <a:lnTo>
                    <a:pt x="2530679" y="197447"/>
                  </a:lnTo>
                  <a:lnTo>
                    <a:pt x="2530730" y="197447"/>
                  </a:lnTo>
                  <a:lnTo>
                    <a:pt x="2530730" y="198831"/>
                  </a:lnTo>
                  <a:lnTo>
                    <a:pt x="2530780" y="198831"/>
                  </a:lnTo>
                  <a:lnTo>
                    <a:pt x="2530780" y="199530"/>
                  </a:lnTo>
                  <a:lnTo>
                    <a:pt x="2530882" y="200228"/>
                  </a:lnTo>
                  <a:lnTo>
                    <a:pt x="2530882" y="198831"/>
                  </a:lnTo>
                  <a:lnTo>
                    <a:pt x="2530882" y="199530"/>
                  </a:lnTo>
                  <a:lnTo>
                    <a:pt x="2530933" y="198831"/>
                  </a:lnTo>
                  <a:lnTo>
                    <a:pt x="2530933" y="197447"/>
                  </a:lnTo>
                  <a:lnTo>
                    <a:pt x="2530933" y="198831"/>
                  </a:lnTo>
                  <a:lnTo>
                    <a:pt x="2530933" y="197447"/>
                  </a:lnTo>
                  <a:lnTo>
                    <a:pt x="2530984" y="196799"/>
                  </a:lnTo>
                  <a:lnTo>
                    <a:pt x="2530984" y="196113"/>
                  </a:lnTo>
                  <a:lnTo>
                    <a:pt x="2530984" y="197447"/>
                  </a:lnTo>
                  <a:lnTo>
                    <a:pt x="2530984" y="196799"/>
                  </a:lnTo>
                  <a:lnTo>
                    <a:pt x="2531022" y="196799"/>
                  </a:lnTo>
                  <a:lnTo>
                    <a:pt x="2531022" y="196113"/>
                  </a:lnTo>
                  <a:lnTo>
                    <a:pt x="2531022" y="199530"/>
                  </a:lnTo>
                  <a:lnTo>
                    <a:pt x="2531022" y="198831"/>
                  </a:lnTo>
                  <a:lnTo>
                    <a:pt x="2531022" y="199530"/>
                  </a:lnTo>
                  <a:lnTo>
                    <a:pt x="2531022" y="198831"/>
                  </a:lnTo>
                  <a:lnTo>
                    <a:pt x="2531123" y="198831"/>
                  </a:lnTo>
                  <a:lnTo>
                    <a:pt x="2531123" y="197447"/>
                  </a:lnTo>
                  <a:lnTo>
                    <a:pt x="2531123" y="198831"/>
                  </a:lnTo>
                  <a:lnTo>
                    <a:pt x="2531123" y="197447"/>
                  </a:lnTo>
                  <a:lnTo>
                    <a:pt x="2531123" y="198831"/>
                  </a:lnTo>
                  <a:lnTo>
                    <a:pt x="2531123" y="197447"/>
                  </a:lnTo>
                  <a:lnTo>
                    <a:pt x="2531123" y="199530"/>
                  </a:lnTo>
                  <a:lnTo>
                    <a:pt x="2531123" y="197447"/>
                  </a:lnTo>
                  <a:lnTo>
                    <a:pt x="2531174" y="197447"/>
                  </a:lnTo>
                  <a:lnTo>
                    <a:pt x="2531174" y="199530"/>
                  </a:lnTo>
                  <a:lnTo>
                    <a:pt x="2531174" y="198831"/>
                  </a:lnTo>
                  <a:lnTo>
                    <a:pt x="2531225" y="198831"/>
                  </a:lnTo>
                  <a:lnTo>
                    <a:pt x="2531225" y="199530"/>
                  </a:lnTo>
                  <a:lnTo>
                    <a:pt x="2531225" y="198831"/>
                  </a:lnTo>
                  <a:lnTo>
                    <a:pt x="2531326" y="198831"/>
                  </a:lnTo>
                  <a:lnTo>
                    <a:pt x="2531326" y="199530"/>
                  </a:lnTo>
                  <a:lnTo>
                    <a:pt x="2531326" y="198831"/>
                  </a:lnTo>
                  <a:lnTo>
                    <a:pt x="2531326" y="199530"/>
                  </a:lnTo>
                  <a:lnTo>
                    <a:pt x="2531326" y="198831"/>
                  </a:lnTo>
                  <a:lnTo>
                    <a:pt x="2531326" y="199530"/>
                  </a:lnTo>
                  <a:lnTo>
                    <a:pt x="2531377" y="199530"/>
                  </a:lnTo>
                  <a:lnTo>
                    <a:pt x="2531377" y="198831"/>
                  </a:lnTo>
                  <a:lnTo>
                    <a:pt x="2531377" y="199530"/>
                  </a:lnTo>
                  <a:lnTo>
                    <a:pt x="2531377" y="197447"/>
                  </a:lnTo>
                  <a:lnTo>
                    <a:pt x="2531428" y="197447"/>
                  </a:lnTo>
                  <a:lnTo>
                    <a:pt x="2531428" y="198831"/>
                  </a:lnTo>
                  <a:lnTo>
                    <a:pt x="2531428" y="196113"/>
                  </a:lnTo>
                  <a:lnTo>
                    <a:pt x="2531428" y="196799"/>
                  </a:lnTo>
                  <a:lnTo>
                    <a:pt x="2531479" y="196799"/>
                  </a:lnTo>
                  <a:lnTo>
                    <a:pt x="2531479" y="198831"/>
                  </a:lnTo>
                  <a:lnTo>
                    <a:pt x="2531479" y="196799"/>
                  </a:lnTo>
                  <a:lnTo>
                    <a:pt x="2531568" y="196799"/>
                  </a:lnTo>
                  <a:lnTo>
                    <a:pt x="2531568" y="200228"/>
                  </a:lnTo>
                  <a:lnTo>
                    <a:pt x="2531568" y="198831"/>
                  </a:lnTo>
                  <a:lnTo>
                    <a:pt x="2531619" y="198831"/>
                  </a:lnTo>
                  <a:lnTo>
                    <a:pt x="2531619" y="200228"/>
                  </a:lnTo>
                  <a:lnTo>
                    <a:pt x="2531619" y="198831"/>
                  </a:lnTo>
                  <a:lnTo>
                    <a:pt x="2531619" y="199530"/>
                  </a:lnTo>
                  <a:lnTo>
                    <a:pt x="2531619" y="198831"/>
                  </a:lnTo>
                  <a:lnTo>
                    <a:pt x="2531669" y="198831"/>
                  </a:lnTo>
                  <a:lnTo>
                    <a:pt x="2531669" y="199530"/>
                  </a:lnTo>
                  <a:lnTo>
                    <a:pt x="2531669" y="198831"/>
                  </a:lnTo>
                  <a:lnTo>
                    <a:pt x="2531669" y="199530"/>
                  </a:lnTo>
                  <a:lnTo>
                    <a:pt x="2531720" y="200228"/>
                  </a:lnTo>
                  <a:lnTo>
                    <a:pt x="2531720" y="199530"/>
                  </a:lnTo>
                  <a:lnTo>
                    <a:pt x="2531720" y="200228"/>
                  </a:lnTo>
                  <a:lnTo>
                    <a:pt x="2531720" y="199530"/>
                  </a:lnTo>
                  <a:lnTo>
                    <a:pt x="2531720" y="200228"/>
                  </a:lnTo>
                  <a:lnTo>
                    <a:pt x="2531822" y="200228"/>
                  </a:lnTo>
                  <a:lnTo>
                    <a:pt x="2531822" y="199530"/>
                  </a:lnTo>
                  <a:lnTo>
                    <a:pt x="2531822" y="200228"/>
                  </a:lnTo>
                  <a:lnTo>
                    <a:pt x="2531822" y="199530"/>
                  </a:lnTo>
                  <a:lnTo>
                    <a:pt x="2531872" y="199530"/>
                  </a:lnTo>
                  <a:lnTo>
                    <a:pt x="2531872" y="198831"/>
                  </a:lnTo>
                  <a:lnTo>
                    <a:pt x="2531872" y="199530"/>
                  </a:lnTo>
                  <a:lnTo>
                    <a:pt x="2531872" y="198831"/>
                  </a:lnTo>
                  <a:lnTo>
                    <a:pt x="2531923" y="197447"/>
                  </a:lnTo>
                  <a:lnTo>
                    <a:pt x="2531923" y="198831"/>
                  </a:lnTo>
                  <a:lnTo>
                    <a:pt x="2531923" y="196799"/>
                  </a:lnTo>
                  <a:lnTo>
                    <a:pt x="2531923" y="199530"/>
                  </a:lnTo>
                  <a:lnTo>
                    <a:pt x="2532025" y="199530"/>
                  </a:lnTo>
                  <a:lnTo>
                    <a:pt x="2532025" y="200228"/>
                  </a:lnTo>
                  <a:lnTo>
                    <a:pt x="2532025" y="196799"/>
                  </a:lnTo>
                  <a:lnTo>
                    <a:pt x="2532025" y="200876"/>
                  </a:lnTo>
                  <a:lnTo>
                    <a:pt x="2532063" y="200228"/>
                  </a:lnTo>
                  <a:lnTo>
                    <a:pt x="2532063" y="199530"/>
                  </a:lnTo>
                  <a:lnTo>
                    <a:pt x="2532063" y="200876"/>
                  </a:lnTo>
                  <a:lnTo>
                    <a:pt x="2532114" y="200876"/>
                  </a:lnTo>
                  <a:lnTo>
                    <a:pt x="2532114" y="199530"/>
                  </a:lnTo>
                  <a:lnTo>
                    <a:pt x="2532114" y="200228"/>
                  </a:lnTo>
                  <a:lnTo>
                    <a:pt x="2532114" y="199530"/>
                  </a:lnTo>
                  <a:lnTo>
                    <a:pt x="2532114" y="200876"/>
                  </a:lnTo>
                  <a:lnTo>
                    <a:pt x="2532114" y="200228"/>
                  </a:lnTo>
                  <a:lnTo>
                    <a:pt x="2532114" y="200876"/>
                  </a:lnTo>
                  <a:lnTo>
                    <a:pt x="2532165" y="200876"/>
                  </a:lnTo>
                  <a:lnTo>
                    <a:pt x="2532165" y="200228"/>
                  </a:lnTo>
                  <a:lnTo>
                    <a:pt x="2532165" y="200876"/>
                  </a:lnTo>
                  <a:lnTo>
                    <a:pt x="2532165" y="200228"/>
                  </a:lnTo>
                  <a:lnTo>
                    <a:pt x="2532165" y="202260"/>
                  </a:lnTo>
                  <a:lnTo>
                    <a:pt x="2532266" y="202260"/>
                  </a:lnTo>
                  <a:lnTo>
                    <a:pt x="2532266" y="200228"/>
                  </a:lnTo>
                  <a:lnTo>
                    <a:pt x="2532317" y="200228"/>
                  </a:lnTo>
                  <a:lnTo>
                    <a:pt x="2532317" y="199530"/>
                  </a:lnTo>
                  <a:lnTo>
                    <a:pt x="2532368" y="199530"/>
                  </a:lnTo>
                  <a:lnTo>
                    <a:pt x="2532368" y="198831"/>
                  </a:lnTo>
                  <a:lnTo>
                    <a:pt x="2532368" y="199530"/>
                  </a:lnTo>
                  <a:lnTo>
                    <a:pt x="2532368" y="197447"/>
                  </a:lnTo>
                  <a:lnTo>
                    <a:pt x="2532469" y="196799"/>
                  </a:lnTo>
                  <a:lnTo>
                    <a:pt x="2532469" y="197447"/>
                  </a:lnTo>
                  <a:lnTo>
                    <a:pt x="2532469" y="196113"/>
                  </a:lnTo>
                  <a:lnTo>
                    <a:pt x="2532469" y="196799"/>
                  </a:lnTo>
                  <a:lnTo>
                    <a:pt x="2532469" y="196113"/>
                  </a:lnTo>
                  <a:lnTo>
                    <a:pt x="2532469" y="196799"/>
                  </a:lnTo>
                  <a:lnTo>
                    <a:pt x="2532469" y="196113"/>
                  </a:lnTo>
                  <a:lnTo>
                    <a:pt x="2532469" y="199530"/>
                  </a:lnTo>
                  <a:lnTo>
                    <a:pt x="2532520" y="199530"/>
                  </a:lnTo>
                  <a:lnTo>
                    <a:pt x="2532520" y="196799"/>
                  </a:lnTo>
                  <a:lnTo>
                    <a:pt x="2532520" y="200228"/>
                  </a:lnTo>
                  <a:lnTo>
                    <a:pt x="2532520" y="199530"/>
                  </a:lnTo>
                  <a:lnTo>
                    <a:pt x="2532571" y="199530"/>
                  </a:lnTo>
                  <a:lnTo>
                    <a:pt x="2532571" y="198831"/>
                  </a:lnTo>
                  <a:lnTo>
                    <a:pt x="2532571" y="199530"/>
                  </a:lnTo>
                  <a:lnTo>
                    <a:pt x="2532571" y="198831"/>
                  </a:lnTo>
                  <a:lnTo>
                    <a:pt x="2532571" y="199530"/>
                  </a:lnTo>
                  <a:lnTo>
                    <a:pt x="2532609" y="199530"/>
                  </a:lnTo>
                  <a:lnTo>
                    <a:pt x="2532609" y="200228"/>
                  </a:lnTo>
                  <a:lnTo>
                    <a:pt x="2532609" y="199530"/>
                  </a:lnTo>
                  <a:lnTo>
                    <a:pt x="2532609" y="200228"/>
                  </a:lnTo>
                  <a:lnTo>
                    <a:pt x="2532609" y="199530"/>
                  </a:lnTo>
                  <a:lnTo>
                    <a:pt x="2532609" y="200228"/>
                  </a:lnTo>
                  <a:lnTo>
                    <a:pt x="2532711" y="200228"/>
                  </a:lnTo>
                  <a:lnTo>
                    <a:pt x="2532711" y="202260"/>
                  </a:lnTo>
                  <a:lnTo>
                    <a:pt x="2532711" y="200876"/>
                  </a:lnTo>
                  <a:lnTo>
                    <a:pt x="2532762" y="200876"/>
                  </a:lnTo>
                  <a:lnTo>
                    <a:pt x="2532762" y="202260"/>
                  </a:lnTo>
                  <a:lnTo>
                    <a:pt x="2532762" y="200876"/>
                  </a:lnTo>
                  <a:lnTo>
                    <a:pt x="2532762" y="202260"/>
                  </a:lnTo>
                  <a:lnTo>
                    <a:pt x="2532762" y="200876"/>
                  </a:lnTo>
                  <a:lnTo>
                    <a:pt x="2532812" y="200876"/>
                  </a:lnTo>
                  <a:lnTo>
                    <a:pt x="2532812" y="200228"/>
                  </a:lnTo>
                  <a:lnTo>
                    <a:pt x="2532914" y="200228"/>
                  </a:lnTo>
                  <a:lnTo>
                    <a:pt x="2532914" y="197447"/>
                  </a:lnTo>
                  <a:lnTo>
                    <a:pt x="2532914" y="198831"/>
                  </a:lnTo>
                  <a:lnTo>
                    <a:pt x="2532965" y="198831"/>
                  </a:lnTo>
                  <a:lnTo>
                    <a:pt x="2532965" y="197447"/>
                  </a:lnTo>
                  <a:lnTo>
                    <a:pt x="2532965" y="199530"/>
                  </a:lnTo>
                  <a:lnTo>
                    <a:pt x="2532965" y="197447"/>
                  </a:lnTo>
                  <a:lnTo>
                    <a:pt x="2533015" y="197447"/>
                  </a:lnTo>
                  <a:lnTo>
                    <a:pt x="2533015" y="196799"/>
                  </a:lnTo>
                  <a:lnTo>
                    <a:pt x="2533015" y="199530"/>
                  </a:lnTo>
                  <a:lnTo>
                    <a:pt x="2533015" y="197447"/>
                  </a:lnTo>
                  <a:lnTo>
                    <a:pt x="2533066" y="197447"/>
                  </a:lnTo>
                  <a:lnTo>
                    <a:pt x="2533066" y="199530"/>
                  </a:lnTo>
                  <a:lnTo>
                    <a:pt x="2533066" y="198831"/>
                  </a:lnTo>
                  <a:lnTo>
                    <a:pt x="2533066" y="199530"/>
                  </a:lnTo>
                  <a:lnTo>
                    <a:pt x="2533066" y="198831"/>
                  </a:lnTo>
                  <a:lnTo>
                    <a:pt x="2533155" y="198831"/>
                  </a:lnTo>
                  <a:lnTo>
                    <a:pt x="2533155" y="200228"/>
                  </a:lnTo>
                  <a:lnTo>
                    <a:pt x="2533155" y="199530"/>
                  </a:lnTo>
                  <a:lnTo>
                    <a:pt x="2533155" y="200228"/>
                  </a:lnTo>
                  <a:lnTo>
                    <a:pt x="2533206" y="200228"/>
                  </a:lnTo>
                  <a:lnTo>
                    <a:pt x="2533206" y="200876"/>
                  </a:lnTo>
                  <a:lnTo>
                    <a:pt x="2533206" y="200228"/>
                  </a:lnTo>
                  <a:lnTo>
                    <a:pt x="2533206" y="200876"/>
                  </a:lnTo>
                  <a:lnTo>
                    <a:pt x="2533257" y="200228"/>
                  </a:lnTo>
                  <a:lnTo>
                    <a:pt x="2533257" y="200876"/>
                  </a:lnTo>
                  <a:lnTo>
                    <a:pt x="2533257" y="199530"/>
                  </a:lnTo>
                  <a:lnTo>
                    <a:pt x="2533257" y="200228"/>
                  </a:lnTo>
                  <a:lnTo>
                    <a:pt x="2533308" y="199530"/>
                  </a:lnTo>
                  <a:lnTo>
                    <a:pt x="2533308" y="200228"/>
                  </a:lnTo>
                  <a:lnTo>
                    <a:pt x="2533308" y="199530"/>
                  </a:lnTo>
                  <a:lnTo>
                    <a:pt x="2533308" y="200228"/>
                  </a:lnTo>
                  <a:lnTo>
                    <a:pt x="2533308" y="199530"/>
                  </a:lnTo>
                  <a:lnTo>
                    <a:pt x="2533409" y="199530"/>
                  </a:lnTo>
                  <a:lnTo>
                    <a:pt x="2533409" y="200228"/>
                  </a:lnTo>
                  <a:lnTo>
                    <a:pt x="2533409" y="197447"/>
                  </a:lnTo>
                  <a:lnTo>
                    <a:pt x="2533409" y="199530"/>
                  </a:lnTo>
                  <a:lnTo>
                    <a:pt x="2533409" y="198831"/>
                  </a:lnTo>
                  <a:lnTo>
                    <a:pt x="2533460" y="199530"/>
                  </a:lnTo>
                  <a:lnTo>
                    <a:pt x="2533460" y="200228"/>
                  </a:lnTo>
                  <a:lnTo>
                    <a:pt x="2533460" y="199530"/>
                  </a:lnTo>
                  <a:lnTo>
                    <a:pt x="2533460" y="200228"/>
                  </a:lnTo>
                  <a:lnTo>
                    <a:pt x="2533460" y="198831"/>
                  </a:lnTo>
                  <a:lnTo>
                    <a:pt x="2533460" y="200228"/>
                  </a:lnTo>
                  <a:lnTo>
                    <a:pt x="2533511" y="200228"/>
                  </a:lnTo>
                  <a:lnTo>
                    <a:pt x="2533511" y="200876"/>
                  </a:lnTo>
                  <a:lnTo>
                    <a:pt x="2533511" y="199530"/>
                  </a:lnTo>
                  <a:lnTo>
                    <a:pt x="2533511" y="200228"/>
                  </a:lnTo>
                  <a:lnTo>
                    <a:pt x="2533511" y="199530"/>
                  </a:lnTo>
                  <a:lnTo>
                    <a:pt x="2533511" y="200228"/>
                  </a:lnTo>
                  <a:lnTo>
                    <a:pt x="2533612" y="200228"/>
                  </a:lnTo>
                  <a:lnTo>
                    <a:pt x="2533612" y="200876"/>
                  </a:lnTo>
                  <a:lnTo>
                    <a:pt x="2533612" y="200228"/>
                  </a:lnTo>
                  <a:lnTo>
                    <a:pt x="2533650" y="200876"/>
                  </a:lnTo>
                  <a:lnTo>
                    <a:pt x="2533650" y="200228"/>
                  </a:lnTo>
                  <a:lnTo>
                    <a:pt x="2533650" y="200876"/>
                  </a:lnTo>
                  <a:lnTo>
                    <a:pt x="2533701" y="200876"/>
                  </a:lnTo>
                  <a:lnTo>
                    <a:pt x="2533701" y="200228"/>
                  </a:lnTo>
                  <a:lnTo>
                    <a:pt x="2533701" y="200876"/>
                  </a:lnTo>
                  <a:lnTo>
                    <a:pt x="2533701" y="200228"/>
                  </a:lnTo>
                  <a:lnTo>
                    <a:pt x="2533701" y="200876"/>
                  </a:lnTo>
                  <a:lnTo>
                    <a:pt x="2533752" y="200228"/>
                  </a:lnTo>
                  <a:lnTo>
                    <a:pt x="2533752" y="200876"/>
                  </a:lnTo>
                  <a:lnTo>
                    <a:pt x="2533752" y="200228"/>
                  </a:lnTo>
                  <a:lnTo>
                    <a:pt x="2533752" y="200876"/>
                  </a:lnTo>
                  <a:lnTo>
                    <a:pt x="2533752" y="200228"/>
                  </a:lnTo>
                  <a:lnTo>
                    <a:pt x="2533752" y="200876"/>
                  </a:lnTo>
                  <a:lnTo>
                    <a:pt x="2533752" y="200228"/>
                  </a:lnTo>
                  <a:lnTo>
                    <a:pt x="2533752" y="200876"/>
                  </a:lnTo>
                  <a:lnTo>
                    <a:pt x="2533854" y="200876"/>
                  </a:lnTo>
                  <a:lnTo>
                    <a:pt x="2533854" y="199530"/>
                  </a:lnTo>
                  <a:lnTo>
                    <a:pt x="2533905" y="199530"/>
                  </a:lnTo>
                  <a:lnTo>
                    <a:pt x="2533905" y="198831"/>
                  </a:lnTo>
                  <a:lnTo>
                    <a:pt x="2533905" y="199530"/>
                  </a:lnTo>
                  <a:lnTo>
                    <a:pt x="2533905" y="198831"/>
                  </a:lnTo>
                  <a:lnTo>
                    <a:pt x="2533905" y="200228"/>
                  </a:lnTo>
                  <a:lnTo>
                    <a:pt x="2533955" y="200228"/>
                  </a:lnTo>
                  <a:lnTo>
                    <a:pt x="2533955" y="198831"/>
                  </a:lnTo>
                  <a:lnTo>
                    <a:pt x="2533955" y="200876"/>
                  </a:lnTo>
                  <a:lnTo>
                    <a:pt x="2534057" y="200876"/>
                  </a:lnTo>
                  <a:lnTo>
                    <a:pt x="2534057" y="199530"/>
                  </a:lnTo>
                  <a:lnTo>
                    <a:pt x="2534057" y="200228"/>
                  </a:lnTo>
                  <a:lnTo>
                    <a:pt x="2534057" y="199530"/>
                  </a:lnTo>
                  <a:lnTo>
                    <a:pt x="2534057" y="200228"/>
                  </a:lnTo>
                  <a:lnTo>
                    <a:pt x="2534057" y="199530"/>
                  </a:lnTo>
                  <a:lnTo>
                    <a:pt x="2534057" y="200876"/>
                  </a:lnTo>
                  <a:lnTo>
                    <a:pt x="2534057" y="200228"/>
                  </a:lnTo>
                  <a:lnTo>
                    <a:pt x="2534108" y="200228"/>
                  </a:lnTo>
                  <a:lnTo>
                    <a:pt x="2534108" y="202260"/>
                  </a:lnTo>
                  <a:lnTo>
                    <a:pt x="2534108" y="200876"/>
                  </a:lnTo>
                  <a:lnTo>
                    <a:pt x="2534159" y="200876"/>
                  </a:lnTo>
                  <a:lnTo>
                    <a:pt x="2534159" y="200228"/>
                  </a:lnTo>
                  <a:lnTo>
                    <a:pt x="2534159" y="200876"/>
                  </a:lnTo>
                  <a:lnTo>
                    <a:pt x="2534159" y="200228"/>
                  </a:lnTo>
                  <a:lnTo>
                    <a:pt x="2534159" y="200876"/>
                  </a:lnTo>
                  <a:lnTo>
                    <a:pt x="2534197" y="200876"/>
                  </a:lnTo>
                  <a:lnTo>
                    <a:pt x="2534197" y="200228"/>
                  </a:lnTo>
                  <a:lnTo>
                    <a:pt x="2534197" y="200876"/>
                  </a:lnTo>
                  <a:lnTo>
                    <a:pt x="2534298" y="200876"/>
                  </a:lnTo>
                  <a:lnTo>
                    <a:pt x="2534298" y="200228"/>
                  </a:lnTo>
                  <a:lnTo>
                    <a:pt x="2534298" y="200876"/>
                  </a:lnTo>
                  <a:lnTo>
                    <a:pt x="2534298" y="199530"/>
                  </a:lnTo>
                  <a:lnTo>
                    <a:pt x="2534349" y="200228"/>
                  </a:lnTo>
                  <a:lnTo>
                    <a:pt x="2534349" y="199530"/>
                  </a:lnTo>
                  <a:lnTo>
                    <a:pt x="2534349" y="200228"/>
                  </a:lnTo>
                  <a:lnTo>
                    <a:pt x="2534349" y="199530"/>
                  </a:lnTo>
                  <a:lnTo>
                    <a:pt x="2534349" y="200228"/>
                  </a:lnTo>
                  <a:lnTo>
                    <a:pt x="2534349" y="198831"/>
                  </a:lnTo>
                  <a:lnTo>
                    <a:pt x="2534349" y="199530"/>
                  </a:lnTo>
                  <a:lnTo>
                    <a:pt x="2534349" y="197447"/>
                  </a:lnTo>
                  <a:lnTo>
                    <a:pt x="2534349" y="198831"/>
                  </a:lnTo>
                  <a:lnTo>
                    <a:pt x="2534349" y="197447"/>
                  </a:lnTo>
                  <a:lnTo>
                    <a:pt x="2534400" y="197447"/>
                  </a:lnTo>
                  <a:lnTo>
                    <a:pt x="2534400" y="196799"/>
                  </a:lnTo>
                  <a:lnTo>
                    <a:pt x="2534400" y="197447"/>
                  </a:lnTo>
                  <a:lnTo>
                    <a:pt x="2534400" y="196799"/>
                  </a:lnTo>
                  <a:lnTo>
                    <a:pt x="2534400" y="197447"/>
                  </a:lnTo>
                  <a:lnTo>
                    <a:pt x="2534400" y="196799"/>
                  </a:lnTo>
                  <a:lnTo>
                    <a:pt x="2534501" y="197447"/>
                  </a:lnTo>
                  <a:lnTo>
                    <a:pt x="2534501" y="196799"/>
                  </a:lnTo>
                  <a:lnTo>
                    <a:pt x="2534501" y="198831"/>
                  </a:lnTo>
                  <a:lnTo>
                    <a:pt x="2534501" y="196799"/>
                  </a:lnTo>
                  <a:lnTo>
                    <a:pt x="2534501" y="199530"/>
                  </a:lnTo>
                  <a:lnTo>
                    <a:pt x="2534552" y="199530"/>
                  </a:lnTo>
                  <a:lnTo>
                    <a:pt x="2534552" y="198831"/>
                  </a:lnTo>
                  <a:lnTo>
                    <a:pt x="2534552" y="200228"/>
                  </a:lnTo>
                  <a:lnTo>
                    <a:pt x="2534552" y="199530"/>
                  </a:lnTo>
                  <a:lnTo>
                    <a:pt x="2534552" y="200228"/>
                  </a:lnTo>
                  <a:lnTo>
                    <a:pt x="2534552" y="199530"/>
                  </a:lnTo>
                  <a:lnTo>
                    <a:pt x="2534603" y="199530"/>
                  </a:lnTo>
                  <a:lnTo>
                    <a:pt x="2534603" y="200876"/>
                  </a:lnTo>
                  <a:lnTo>
                    <a:pt x="2534603" y="200228"/>
                  </a:lnTo>
                  <a:lnTo>
                    <a:pt x="2534654" y="200228"/>
                  </a:lnTo>
                  <a:lnTo>
                    <a:pt x="2534654" y="200876"/>
                  </a:lnTo>
                  <a:lnTo>
                    <a:pt x="2534654" y="200228"/>
                  </a:lnTo>
                  <a:lnTo>
                    <a:pt x="2534743" y="200228"/>
                  </a:lnTo>
                  <a:lnTo>
                    <a:pt x="2534743" y="200876"/>
                  </a:lnTo>
                  <a:lnTo>
                    <a:pt x="2534743" y="200228"/>
                  </a:lnTo>
                  <a:lnTo>
                    <a:pt x="2534743" y="200876"/>
                  </a:lnTo>
                  <a:lnTo>
                    <a:pt x="2534743" y="200228"/>
                  </a:lnTo>
                  <a:lnTo>
                    <a:pt x="2534743" y="200876"/>
                  </a:lnTo>
                  <a:lnTo>
                    <a:pt x="2534794" y="200876"/>
                  </a:lnTo>
                  <a:lnTo>
                    <a:pt x="2534794" y="200228"/>
                  </a:lnTo>
                  <a:lnTo>
                    <a:pt x="2534794" y="200876"/>
                  </a:lnTo>
                  <a:lnTo>
                    <a:pt x="2534794" y="200228"/>
                  </a:lnTo>
                  <a:lnTo>
                    <a:pt x="2534794" y="200876"/>
                  </a:lnTo>
                  <a:lnTo>
                    <a:pt x="2534794" y="200228"/>
                  </a:lnTo>
                  <a:lnTo>
                    <a:pt x="2534844" y="200228"/>
                  </a:lnTo>
                  <a:lnTo>
                    <a:pt x="2534844" y="199530"/>
                  </a:lnTo>
                  <a:lnTo>
                    <a:pt x="2534844" y="200228"/>
                  </a:lnTo>
                  <a:lnTo>
                    <a:pt x="2534844" y="198831"/>
                  </a:lnTo>
                  <a:lnTo>
                    <a:pt x="2534844" y="199530"/>
                  </a:lnTo>
                  <a:lnTo>
                    <a:pt x="2534844" y="198831"/>
                  </a:lnTo>
                  <a:lnTo>
                    <a:pt x="2534844" y="199530"/>
                  </a:lnTo>
                  <a:lnTo>
                    <a:pt x="2534895" y="198831"/>
                  </a:lnTo>
                  <a:lnTo>
                    <a:pt x="2534895" y="197447"/>
                  </a:lnTo>
                  <a:lnTo>
                    <a:pt x="2534895" y="199530"/>
                  </a:lnTo>
                  <a:lnTo>
                    <a:pt x="2534895" y="197447"/>
                  </a:lnTo>
                  <a:lnTo>
                    <a:pt x="2534997" y="197447"/>
                  </a:lnTo>
                  <a:lnTo>
                    <a:pt x="2534997" y="200228"/>
                  </a:lnTo>
                  <a:lnTo>
                    <a:pt x="2534997" y="199530"/>
                  </a:lnTo>
                  <a:lnTo>
                    <a:pt x="2535047" y="199530"/>
                  </a:lnTo>
                  <a:lnTo>
                    <a:pt x="2535047" y="200228"/>
                  </a:lnTo>
                  <a:lnTo>
                    <a:pt x="2535047" y="199530"/>
                  </a:lnTo>
                  <a:lnTo>
                    <a:pt x="2535098" y="199530"/>
                  </a:lnTo>
                  <a:lnTo>
                    <a:pt x="2535098" y="200876"/>
                  </a:lnTo>
                  <a:lnTo>
                    <a:pt x="2535098" y="200228"/>
                  </a:lnTo>
                  <a:lnTo>
                    <a:pt x="2535098" y="200876"/>
                  </a:lnTo>
                  <a:lnTo>
                    <a:pt x="2535200" y="200876"/>
                  </a:lnTo>
                  <a:lnTo>
                    <a:pt x="2535200" y="200228"/>
                  </a:lnTo>
                  <a:lnTo>
                    <a:pt x="2535200" y="200876"/>
                  </a:lnTo>
                  <a:lnTo>
                    <a:pt x="2535200" y="200228"/>
                  </a:lnTo>
                  <a:lnTo>
                    <a:pt x="2535200" y="200876"/>
                  </a:lnTo>
                  <a:lnTo>
                    <a:pt x="2535200" y="200228"/>
                  </a:lnTo>
                  <a:lnTo>
                    <a:pt x="2535238" y="200228"/>
                  </a:lnTo>
                  <a:lnTo>
                    <a:pt x="2535238" y="200876"/>
                  </a:lnTo>
                  <a:lnTo>
                    <a:pt x="2535238" y="200228"/>
                  </a:lnTo>
                  <a:lnTo>
                    <a:pt x="2535238" y="200876"/>
                  </a:lnTo>
                  <a:lnTo>
                    <a:pt x="2535238" y="200228"/>
                  </a:lnTo>
                  <a:lnTo>
                    <a:pt x="2535289" y="200228"/>
                  </a:lnTo>
                  <a:lnTo>
                    <a:pt x="2535289" y="200876"/>
                  </a:lnTo>
                  <a:lnTo>
                    <a:pt x="2535289" y="200228"/>
                  </a:lnTo>
                  <a:lnTo>
                    <a:pt x="2535340" y="200228"/>
                  </a:lnTo>
                  <a:lnTo>
                    <a:pt x="2535340" y="198831"/>
                  </a:lnTo>
                  <a:lnTo>
                    <a:pt x="2535441" y="198831"/>
                  </a:lnTo>
                  <a:lnTo>
                    <a:pt x="2535441" y="196799"/>
                  </a:lnTo>
                  <a:lnTo>
                    <a:pt x="2535441" y="198831"/>
                  </a:lnTo>
                  <a:lnTo>
                    <a:pt x="2535441" y="197447"/>
                  </a:lnTo>
                  <a:lnTo>
                    <a:pt x="2535441" y="198831"/>
                  </a:lnTo>
                  <a:lnTo>
                    <a:pt x="2535441" y="197447"/>
                  </a:lnTo>
                  <a:lnTo>
                    <a:pt x="2535492" y="197447"/>
                  </a:lnTo>
                  <a:lnTo>
                    <a:pt x="2535492" y="196799"/>
                  </a:lnTo>
                  <a:lnTo>
                    <a:pt x="2535492" y="200228"/>
                  </a:lnTo>
                  <a:lnTo>
                    <a:pt x="2535492" y="198831"/>
                  </a:lnTo>
                  <a:lnTo>
                    <a:pt x="2535543" y="198831"/>
                  </a:lnTo>
                  <a:lnTo>
                    <a:pt x="2535543" y="200228"/>
                  </a:lnTo>
                  <a:lnTo>
                    <a:pt x="2535543" y="199530"/>
                  </a:lnTo>
                  <a:lnTo>
                    <a:pt x="2535644" y="199530"/>
                  </a:lnTo>
                  <a:lnTo>
                    <a:pt x="2535644" y="200876"/>
                  </a:lnTo>
                  <a:lnTo>
                    <a:pt x="2535644" y="200228"/>
                  </a:lnTo>
                  <a:lnTo>
                    <a:pt x="2535644" y="200876"/>
                  </a:lnTo>
                  <a:lnTo>
                    <a:pt x="2535644" y="200228"/>
                  </a:lnTo>
                  <a:lnTo>
                    <a:pt x="2535695" y="200228"/>
                  </a:lnTo>
                  <a:lnTo>
                    <a:pt x="2535695" y="200876"/>
                  </a:lnTo>
                  <a:lnTo>
                    <a:pt x="2535695" y="200228"/>
                  </a:lnTo>
                  <a:lnTo>
                    <a:pt x="2535746" y="200228"/>
                  </a:lnTo>
                  <a:lnTo>
                    <a:pt x="2535746" y="200876"/>
                  </a:lnTo>
                  <a:lnTo>
                    <a:pt x="2535746" y="200228"/>
                  </a:lnTo>
                  <a:lnTo>
                    <a:pt x="2535746" y="200876"/>
                  </a:lnTo>
                  <a:lnTo>
                    <a:pt x="2535746" y="200228"/>
                  </a:lnTo>
                  <a:lnTo>
                    <a:pt x="2535746" y="200876"/>
                  </a:lnTo>
                  <a:lnTo>
                    <a:pt x="2535784" y="200876"/>
                  </a:lnTo>
                  <a:lnTo>
                    <a:pt x="2535784" y="199530"/>
                  </a:lnTo>
                  <a:lnTo>
                    <a:pt x="2535886" y="199530"/>
                  </a:lnTo>
                  <a:lnTo>
                    <a:pt x="2535886" y="200228"/>
                  </a:lnTo>
                  <a:lnTo>
                    <a:pt x="2535886" y="197447"/>
                  </a:lnTo>
                  <a:lnTo>
                    <a:pt x="2535937" y="198831"/>
                  </a:lnTo>
                  <a:lnTo>
                    <a:pt x="2535937" y="196799"/>
                  </a:lnTo>
                  <a:lnTo>
                    <a:pt x="2535937" y="197447"/>
                  </a:lnTo>
                  <a:lnTo>
                    <a:pt x="2535987" y="198831"/>
                  </a:lnTo>
                  <a:lnTo>
                    <a:pt x="2535987" y="199530"/>
                  </a:lnTo>
                  <a:lnTo>
                    <a:pt x="2535987" y="198831"/>
                  </a:lnTo>
                  <a:lnTo>
                    <a:pt x="2535987" y="199530"/>
                  </a:lnTo>
                  <a:lnTo>
                    <a:pt x="2536089" y="199530"/>
                  </a:lnTo>
                  <a:lnTo>
                    <a:pt x="2536089" y="198831"/>
                  </a:lnTo>
                  <a:lnTo>
                    <a:pt x="2536089" y="199530"/>
                  </a:lnTo>
                  <a:lnTo>
                    <a:pt x="2536140" y="199530"/>
                  </a:lnTo>
                  <a:lnTo>
                    <a:pt x="2536140" y="200228"/>
                  </a:lnTo>
                  <a:lnTo>
                    <a:pt x="2536140" y="199530"/>
                  </a:lnTo>
                  <a:lnTo>
                    <a:pt x="2536140" y="200228"/>
                  </a:lnTo>
                  <a:lnTo>
                    <a:pt x="2536140" y="199530"/>
                  </a:lnTo>
                  <a:lnTo>
                    <a:pt x="2536140" y="200228"/>
                  </a:lnTo>
                  <a:lnTo>
                    <a:pt x="2536190" y="200228"/>
                  </a:lnTo>
                  <a:lnTo>
                    <a:pt x="2536190" y="199530"/>
                  </a:lnTo>
                  <a:lnTo>
                    <a:pt x="2536190" y="200228"/>
                  </a:lnTo>
                  <a:lnTo>
                    <a:pt x="2536190" y="199530"/>
                  </a:lnTo>
                  <a:lnTo>
                    <a:pt x="2536190" y="200228"/>
                  </a:lnTo>
                  <a:lnTo>
                    <a:pt x="2536190" y="199530"/>
                  </a:lnTo>
                  <a:lnTo>
                    <a:pt x="2536241" y="200228"/>
                  </a:lnTo>
                  <a:lnTo>
                    <a:pt x="2536241" y="200876"/>
                  </a:lnTo>
                  <a:lnTo>
                    <a:pt x="2536241" y="199530"/>
                  </a:lnTo>
                  <a:lnTo>
                    <a:pt x="2536241" y="200228"/>
                  </a:lnTo>
                  <a:lnTo>
                    <a:pt x="2536330" y="200228"/>
                  </a:lnTo>
                  <a:lnTo>
                    <a:pt x="2536330" y="199530"/>
                  </a:lnTo>
                  <a:lnTo>
                    <a:pt x="2536330" y="200228"/>
                  </a:lnTo>
                  <a:lnTo>
                    <a:pt x="2536330" y="199530"/>
                  </a:lnTo>
                  <a:lnTo>
                    <a:pt x="2536330" y="200228"/>
                  </a:lnTo>
                  <a:lnTo>
                    <a:pt x="2536330" y="199530"/>
                  </a:lnTo>
                  <a:lnTo>
                    <a:pt x="2536330" y="200228"/>
                  </a:lnTo>
                  <a:lnTo>
                    <a:pt x="2536330" y="199530"/>
                  </a:lnTo>
                  <a:lnTo>
                    <a:pt x="2536330" y="200228"/>
                  </a:lnTo>
                  <a:lnTo>
                    <a:pt x="2536330" y="199530"/>
                  </a:lnTo>
                  <a:lnTo>
                    <a:pt x="2536381" y="199530"/>
                  </a:lnTo>
                  <a:lnTo>
                    <a:pt x="2536381" y="197447"/>
                  </a:lnTo>
                  <a:lnTo>
                    <a:pt x="2536381" y="200228"/>
                  </a:lnTo>
                  <a:lnTo>
                    <a:pt x="2536381" y="198831"/>
                  </a:lnTo>
                  <a:lnTo>
                    <a:pt x="2536432" y="197447"/>
                  </a:lnTo>
                  <a:lnTo>
                    <a:pt x="2536432" y="200876"/>
                  </a:lnTo>
                  <a:lnTo>
                    <a:pt x="2536432" y="200228"/>
                  </a:lnTo>
                  <a:lnTo>
                    <a:pt x="2536483" y="200228"/>
                  </a:lnTo>
                  <a:lnTo>
                    <a:pt x="2536483" y="199530"/>
                  </a:lnTo>
                  <a:lnTo>
                    <a:pt x="2536483" y="202260"/>
                  </a:lnTo>
                  <a:lnTo>
                    <a:pt x="2536483" y="200228"/>
                  </a:lnTo>
                  <a:lnTo>
                    <a:pt x="2536584" y="200228"/>
                  </a:lnTo>
                  <a:lnTo>
                    <a:pt x="2536584" y="200876"/>
                  </a:lnTo>
                  <a:lnTo>
                    <a:pt x="2536635" y="200876"/>
                  </a:lnTo>
                  <a:lnTo>
                    <a:pt x="2536635" y="202260"/>
                  </a:lnTo>
                  <a:lnTo>
                    <a:pt x="2536635" y="200228"/>
                  </a:lnTo>
                  <a:lnTo>
                    <a:pt x="2536635" y="200876"/>
                  </a:lnTo>
                  <a:lnTo>
                    <a:pt x="2536635" y="200228"/>
                  </a:lnTo>
                  <a:lnTo>
                    <a:pt x="2536635" y="200876"/>
                  </a:lnTo>
                  <a:lnTo>
                    <a:pt x="2536635" y="200228"/>
                  </a:lnTo>
                  <a:lnTo>
                    <a:pt x="2536635" y="200876"/>
                  </a:lnTo>
                  <a:lnTo>
                    <a:pt x="2536635" y="200228"/>
                  </a:lnTo>
                  <a:lnTo>
                    <a:pt x="2536686" y="200876"/>
                  </a:lnTo>
                  <a:lnTo>
                    <a:pt x="2536686" y="200228"/>
                  </a:lnTo>
                  <a:lnTo>
                    <a:pt x="2536686" y="202260"/>
                  </a:lnTo>
                  <a:lnTo>
                    <a:pt x="2536686" y="200876"/>
                  </a:lnTo>
                  <a:lnTo>
                    <a:pt x="2536787" y="200876"/>
                  </a:lnTo>
                  <a:lnTo>
                    <a:pt x="2536787" y="200228"/>
                  </a:lnTo>
                  <a:lnTo>
                    <a:pt x="2536787" y="200876"/>
                  </a:lnTo>
                  <a:lnTo>
                    <a:pt x="2536787" y="200228"/>
                  </a:lnTo>
                  <a:lnTo>
                    <a:pt x="2536787" y="200876"/>
                  </a:lnTo>
                  <a:lnTo>
                    <a:pt x="2536787" y="200228"/>
                  </a:lnTo>
                  <a:lnTo>
                    <a:pt x="2536787" y="200876"/>
                  </a:lnTo>
                  <a:lnTo>
                    <a:pt x="2536825" y="200876"/>
                  </a:lnTo>
                  <a:lnTo>
                    <a:pt x="2536825" y="198831"/>
                  </a:lnTo>
                  <a:lnTo>
                    <a:pt x="2536825" y="199530"/>
                  </a:lnTo>
                  <a:lnTo>
                    <a:pt x="2536876" y="198831"/>
                  </a:lnTo>
                  <a:lnTo>
                    <a:pt x="2536876" y="200876"/>
                  </a:lnTo>
                  <a:lnTo>
                    <a:pt x="2536876" y="199530"/>
                  </a:lnTo>
                  <a:lnTo>
                    <a:pt x="2536927" y="199530"/>
                  </a:lnTo>
                  <a:lnTo>
                    <a:pt x="2536927" y="202260"/>
                  </a:lnTo>
                  <a:lnTo>
                    <a:pt x="2536927" y="200228"/>
                  </a:lnTo>
                  <a:lnTo>
                    <a:pt x="2536927" y="200876"/>
                  </a:lnTo>
                  <a:lnTo>
                    <a:pt x="2537029" y="200876"/>
                  </a:lnTo>
                  <a:lnTo>
                    <a:pt x="2537029" y="202260"/>
                  </a:lnTo>
                  <a:lnTo>
                    <a:pt x="2537130" y="202260"/>
                  </a:lnTo>
                  <a:lnTo>
                    <a:pt x="2537130" y="200876"/>
                  </a:lnTo>
                  <a:lnTo>
                    <a:pt x="2537130" y="202260"/>
                  </a:lnTo>
                  <a:lnTo>
                    <a:pt x="2537232" y="202260"/>
                  </a:lnTo>
                  <a:lnTo>
                    <a:pt x="2537232" y="200876"/>
                  </a:lnTo>
                  <a:lnTo>
                    <a:pt x="2537232" y="202260"/>
                  </a:lnTo>
                  <a:lnTo>
                    <a:pt x="2537232" y="200876"/>
                  </a:lnTo>
                  <a:lnTo>
                    <a:pt x="2537232" y="202260"/>
                  </a:lnTo>
                  <a:lnTo>
                    <a:pt x="2537232" y="200228"/>
                  </a:lnTo>
                  <a:lnTo>
                    <a:pt x="2537232" y="200876"/>
                  </a:lnTo>
                  <a:lnTo>
                    <a:pt x="2537283" y="200876"/>
                  </a:lnTo>
                  <a:lnTo>
                    <a:pt x="2537283" y="200228"/>
                  </a:lnTo>
                  <a:lnTo>
                    <a:pt x="2537283" y="200876"/>
                  </a:lnTo>
                  <a:lnTo>
                    <a:pt x="2537283" y="200228"/>
                  </a:lnTo>
                  <a:lnTo>
                    <a:pt x="2537283" y="200876"/>
                  </a:lnTo>
                  <a:lnTo>
                    <a:pt x="2537283" y="199530"/>
                  </a:lnTo>
                  <a:lnTo>
                    <a:pt x="2537334" y="198831"/>
                  </a:lnTo>
                  <a:lnTo>
                    <a:pt x="2537334" y="197447"/>
                  </a:lnTo>
                  <a:lnTo>
                    <a:pt x="2537334" y="200228"/>
                  </a:lnTo>
                  <a:lnTo>
                    <a:pt x="2537372" y="200228"/>
                  </a:lnTo>
                  <a:lnTo>
                    <a:pt x="2537372" y="197447"/>
                  </a:lnTo>
                  <a:lnTo>
                    <a:pt x="2537372" y="202260"/>
                  </a:lnTo>
                  <a:lnTo>
                    <a:pt x="2537372" y="200876"/>
                  </a:lnTo>
                  <a:lnTo>
                    <a:pt x="2537473" y="200876"/>
                  </a:lnTo>
                  <a:lnTo>
                    <a:pt x="2537473" y="199530"/>
                  </a:lnTo>
                  <a:lnTo>
                    <a:pt x="2537473" y="202260"/>
                  </a:lnTo>
                  <a:lnTo>
                    <a:pt x="2537473" y="200876"/>
                  </a:lnTo>
                  <a:lnTo>
                    <a:pt x="2537524" y="200876"/>
                  </a:lnTo>
                  <a:lnTo>
                    <a:pt x="2537524" y="202260"/>
                  </a:lnTo>
                  <a:lnTo>
                    <a:pt x="2537524" y="200876"/>
                  </a:lnTo>
                  <a:lnTo>
                    <a:pt x="2537524" y="202260"/>
                  </a:lnTo>
                  <a:lnTo>
                    <a:pt x="2537575" y="200876"/>
                  </a:lnTo>
                  <a:lnTo>
                    <a:pt x="2537575" y="202260"/>
                  </a:lnTo>
                  <a:lnTo>
                    <a:pt x="2537575" y="200876"/>
                  </a:lnTo>
                  <a:lnTo>
                    <a:pt x="2537575" y="202260"/>
                  </a:lnTo>
                  <a:lnTo>
                    <a:pt x="2537575" y="200876"/>
                  </a:lnTo>
                  <a:lnTo>
                    <a:pt x="2537676" y="200876"/>
                  </a:lnTo>
                  <a:lnTo>
                    <a:pt x="2537676" y="202260"/>
                  </a:lnTo>
                  <a:lnTo>
                    <a:pt x="2537676" y="200876"/>
                  </a:lnTo>
                  <a:lnTo>
                    <a:pt x="2537676" y="202260"/>
                  </a:lnTo>
                  <a:lnTo>
                    <a:pt x="2537727" y="202260"/>
                  </a:lnTo>
                  <a:lnTo>
                    <a:pt x="2537727" y="200228"/>
                  </a:lnTo>
                  <a:lnTo>
                    <a:pt x="2537727" y="202260"/>
                  </a:lnTo>
                  <a:lnTo>
                    <a:pt x="2537727" y="200876"/>
                  </a:lnTo>
                  <a:lnTo>
                    <a:pt x="2537778" y="200876"/>
                  </a:lnTo>
                  <a:lnTo>
                    <a:pt x="2537778" y="199530"/>
                  </a:lnTo>
                  <a:lnTo>
                    <a:pt x="2537778" y="200228"/>
                  </a:lnTo>
                  <a:lnTo>
                    <a:pt x="2537778" y="199530"/>
                  </a:lnTo>
                  <a:lnTo>
                    <a:pt x="2537778" y="200228"/>
                  </a:lnTo>
                  <a:lnTo>
                    <a:pt x="2537778" y="199530"/>
                  </a:lnTo>
                  <a:lnTo>
                    <a:pt x="2537829" y="199530"/>
                  </a:lnTo>
                  <a:lnTo>
                    <a:pt x="2537829" y="197447"/>
                  </a:lnTo>
                  <a:lnTo>
                    <a:pt x="2537829" y="200228"/>
                  </a:lnTo>
                  <a:lnTo>
                    <a:pt x="2537829" y="198831"/>
                  </a:lnTo>
                  <a:lnTo>
                    <a:pt x="2537918" y="198831"/>
                  </a:lnTo>
                  <a:lnTo>
                    <a:pt x="2537918" y="197447"/>
                  </a:lnTo>
                  <a:lnTo>
                    <a:pt x="2537918" y="200876"/>
                  </a:lnTo>
                  <a:lnTo>
                    <a:pt x="2537918" y="199530"/>
                  </a:lnTo>
                  <a:lnTo>
                    <a:pt x="2537918" y="200228"/>
                  </a:lnTo>
                  <a:lnTo>
                    <a:pt x="2537918" y="199530"/>
                  </a:lnTo>
                  <a:lnTo>
                    <a:pt x="2537969" y="199530"/>
                  </a:lnTo>
                  <a:lnTo>
                    <a:pt x="2537969" y="202260"/>
                  </a:lnTo>
                  <a:lnTo>
                    <a:pt x="2537969" y="200228"/>
                  </a:lnTo>
                  <a:lnTo>
                    <a:pt x="2538019" y="200228"/>
                  </a:lnTo>
                  <a:lnTo>
                    <a:pt x="2538019" y="202260"/>
                  </a:lnTo>
                  <a:lnTo>
                    <a:pt x="2538019" y="200876"/>
                  </a:lnTo>
                  <a:lnTo>
                    <a:pt x="2538019" y="202260"/>
                  </a:lnTo>
                  <a:lnTo>
                    <a:pt x="2538019" y="200876"/>
                  </a:lnTo>
                  <a:lnTo>
                    <a:pt x="2538019" y="202260"/>
                  </a:lnTo>
                  <a:lnTo>
                    <a:pt x="2538019" y="200876"/>
                  </a:lnTo>
                  <a:lnTo>
                    <a:pt x="2538070" y="200876"/>
                  </a:lnTo>
                  <a:lnTo>
                    <a:pt x="2538070" y="202260"/>
                  </a:lnTo>
                  <a:lnTo>
                    <a:pt x="2538070" y="200876"/>
                  </a:lnTo>
                  <a:lnTo>
                    <a:pt x="2538070" y="202260"/>
                  </a:lnTo>
                  <a:lnTo>
                    <a:pt x="2538070" y="200876"/>
                  </a:lnTo>
                  <a:lnTo>
                    <a:pt x="2538070" y="202260"/>
                  </a:lnTo>
                  <a:lnTo>
                    <a:pt x="2538172" y="200876"/>
                  </a:lnTo>
                  <a:lnTo>
                    <a:pt x="2538172" y="202959"/>
                  </a:lnTo>
                  <a:lnTo>
                    <a:pt x="2538172" y="200876"/>
                  </a:lnTo>
                  <a:lnTo>
                    <a:pt x="2538222" y="200876"/>
                  </a:lnTo>
                  <a:lnTo>
                    <a:pt x="2538222" y="202260"/>
                  </a:lnTo>
                  <a:lnTo>
                    <a:pt x="2538222" y="200876"/>
                  </a:lnTo>
                  <a:lnTo>
                    <a:pt x="2538222" y="202260"/>
                  </a:lnTo>
                  <a:lnTo>
                    <a:pt x="2538222" y="200228"/>
                  </a:lnTo>
                  <a:lnTo>
                    <a:pt x="2538222" y="200876"/>
                  </a:lnTo>
                  <a:lnTo>
                    <a:pt x="2538273" y="200228"/>
                  </a:lnTo>
                  <a:lnTo>
                    <a:pt x="2538273" y="198831"/>
                  </a:lnTo>
                  <a:lnTo>
                    <a:pt x="2538273" y="199530"/>
                  </a:lnTo>
                  <a:lnTo>
                    <a:pt x="2538273" y="198831"/>
                  </a:lnTo>
                  <a:lnTo>
                    <a:pt x="2538273" y="199530"/>
                  </a:lnTo>
                  <a:lnTo>
                    <a:pt x="2538273" y="197447"/>
                  </a:lnTo>
                  <a:lnTo>
                    <a:pt x="2538273" y="198831"/>
                  </a:lnTo>
                  <a:lnTo>
                    <a:pt x="2538375" y="197447"/>
                  </a:lnTo>
                  <a:lnTo>
                    <a:pt x="2538375" y="196799"/>
                  </a:lnTo>
                  <a:lnTo>
                    <a:pt x="2538375" y="198831"/>
                  </a:lnTo>
                  <a:lnTo>
                    <a:pt x="2538375" y="196799"/>
                  </a:lnTo>
                  <a:lnTo>
                    <a:pt x="2538413" y="196799"/>
                  </a:lnTo>
                  <a:lnTo>
                    <a:pt x="2538413" y="199530"/>
                  </a:lnTo>
                  <a:lnTo>
                    <a:pt x="2538413" y="197447"/>
                  </a:lnTo>
                  <a:lnTo>
                    <a:pt x="2538464" y="197447"/>
                  </a:lnTo>
                  <a:lnTo>
                    <a:pt x="2538464" y="200228"/>
                  </a:lnTo>
                  <a:lnTo>
                    <a:pt x="2538464" y="199530"/>
                  </a:lnTo>
                  <a:lnTo>
                    <a:pt x="2538464" y="200228"/>
                  </a:lnTo>
                  <a:lnTo>
                    <a:pt x="2538464" y="199530"/>
                  </a:lnTo>
                  <a:lnTo>
                    <a:pt x="2538515" y="199530"/>
                  </a:lnTo>
                  <a:lnTo>
                    <a:pt x="2538515" y="200228"/>
                  </a:lnTo>
                  <a:lnTo>
                    <a:pt x="2538515" y="199530"/>
                  </a:lnTo>
                  <a:lnTo>
                    <a:pt x="2538515" y="200876"/>
                  </a:lnTo>
                  <a:lnTo>
                    <a:pt x="2538515" y="200228"/>
                  </a:lnTo>
                  <a:lnTo>
                    <a:pt x="2538616" y="200228"/>
                  </a:lnTo>
                  <a:lnTo>
                    <a:pt x="2538616" y="202260"/>
                  </a:lnTo>
                  <a:lnTo>
                    <a:pt x="2538667" y="202260"/>
                  </a:lnTo>
                  <a:lnTo>
                    <a:pt x="2538667" y="200876"/>
                  </a:lnTo>
                  <a:lnTo>
                    <a:pt x="2538667" y="202260"/>
                  </a:lnTo>
                  <a:lnTo>
                    <a:pt x="2538667" y="200876"/>
                  </a:lnTo>
                  <a:lnTo>
                    <a:pt x="2538667" y="202260"/>
                  </a:lnTo>
                  <a:lnTo>
                    <a:pt x="2538667" y="200876"/>
                  </a:lnTo>
                  <a:lnTo>
                    <a:pt x="2538718" y="200876"/>
                  </a:lnTo>
                  <a:lnTo>
                    <a:pt x="2538718" y="202260"/>
                  </a:lnTo>
                  <a:lnTo>
                    <a:pt x="2538718" y="200876"/>
                  </a:lnTo>
                  <a:lnTo>
                    <a:pt x="2538819" y="200876"/>
                  </a:lnTo>
                  <a:lnTo>
                    <a:pt x="2538819" y="200228"/>
                  </a:lnTo>
                  <a:lnTo>
                    <a:pt x="2538819" y="200876"/>
                  </a:lnTo>
                  <a:lnTo>
                    <a:pt x="2538819" y="197447"/>
                  </a:lnTo>
                  <a:lnTo>
                    <a:pt x="2538870" y="197447"/>
                  </a:lnTo>
                  <a:lnTo>
                    <a:pt x="2538870" y="196799"/>
                  </a:lnTo>
                  <a:lnTo>
                    <a:pt x="2538870" y="198831"/>
                  </a:lnTo>
                  <a:lnTo>
                    <a:pt x="2538870" y="196799"/>
                  </a:lnTo>
                  <a:lnTo>
                    <a:pt x="2538870" y="197447"/>
                  </a:lnTo>
                  <a:lnTo>
                    <a:pt x="2538870" y="196799"/>
                  </a:lnTo>
                  <a:lnTo>
                    <a:pt x="2538870" y="197447"/>
                  </a:lnTo>
                  <a:lnTo>
                    <a:pt x="2538921" y="196799"/>
                  </a:lnTo>
                  <a:lnTo>
                    <a:pt x="2538921" y="200228"/>
                  </a:lnTo>
                  <a:lnTo>
                    <a:pt x="2538921" y="197447"/>
                  </a:lnTo>
                  <a:lnTo>
                    <a:pt x="2538959" y="197447"/>
                  </a:lnTo>
                  <a:lnTo>
                    <a:pt x="2538959" y="199530"/>
                  </a:lnTo>
                  <a:lnTo>
                    <a:pt x="2538959" y="198831"/>
                  </a:lnTo>
                  <a:lnTo>
                    <a:pt x="2538959" y="199530"/>
                  </a:lnTo>
                  <a:lnTo>
                    <a:pt x="2538959" y="198831"/>
                  </a:lnTo>
                  <a:lnTo>
                    <a:pt x="2538959" y="199530"/>
                  </a:lnTo>
                  <a:lnTo>
                    <a:pt x="2539061" y="199530"/>
                  </a:lnTo>
                  <a:lnTo>
                    <a:pt x="2539061" y="198831"/>
                  </a:lnTo>
                  <a:lnTo>
                    <a:pt x="2539061" y="199530"/>
                  </a:lnTo>
                  <a:lnTo>
                    <a:pt x="2539112" y="199530"/>
                  </a:lnTo>
                  <a:lnTo>
                    <a:pt x="2539112" y="200876"/>
                  </a:lnTo>
                  <a:lnTo>
                    <a:pt x="2539162" y="200228"/>
                  </a:lnTo>
                  <a:lnTo>
                    <a:pt x="2539162" y="200876"/>
                  </a:lnTo>
                  <a:lnTo>
                    <a:pt x="2539162" y="200228"/>
                  </a:lnTo>
                  <a:lnTo>
                    <a:pt x="2539162" y="200876"/>
                  </a:lnTo>
                  <a:lnTo>
                    <a:pt x="2539162" y="200228"/>
                  </a:lnTo>
                  <a:lnTo>
                    <a:pt x="2539162" y="200876"/>
                  </a:lnTo>
                  <a:lnTo>
                    <a:pt x="2539162" y="200228"/>
                  </a:lnTo>
                  <a:lnTo>
                    <a:pt x="2539162" y="200876"/>
                  </a:lnTo>
                  <a:lnTo>
                    <a:pt x="2539264" y="200876"/>
                  </a:lnTo>
                  <a:lnTo>
                    <a:pt x="2539264" y="199530"/>
                  </a:lnTo>
                  <a:lnTo>
                    <a:pt x="2539315" y="199530"/>
                  </a:lnTo>
                  <a:lnTo>
                    <a:pt x="2539315" y="197447"/>
                  </a:lnTo>
                  <a:lnTo>
                    <a:pt x="2539315" y="198831"/>
                  </a:lnTo>
                  <a:lnTo>
                    <a:pt x="2539365" y="198831"/>
                  </a:lnTo>
                  <a:lnTo>
                    <a:pt x="2539365" y="197447"/>
                  </a:lnTo>
                  <a:lnTo>
                    <a:pt x="2539365" y="200228"/>
                  </a:lnTo>
                  <a:lnTo>
                    <a:pt x="2539416" y="200876"/>
                  </a:lnTo>
                  <a:lnTo>
                    <a:pt x="2539416" y="198831"/>
                  </a:lnTo>
                  <a:lnTo>
                    <a:pt x="2539416" y="200876"/>
                  </a:lnTo>
                  <a:lnTo>
                    <a:pt x="2539505" y="200876"/>
                  </a:lnTo>
                  <a:lnTo>
                    <a:pt x="2539505" y="199530"/>
                  </a:lnTo>
                  <a:lnTo>
                    <a:pt x="2539505" y="200876"/>
                  </a:lnTo>
                  <a:lnTo>
                    <a:pt x="2539505" y="200228"/>
                  </a:lnTo>
                  <a:lnTo>
                    <a:pt x="2539556" y="200228"/>
                  </a:lnTo>
                  <a:lnTo>
                    <a:pt x="2539556" y="199530"/>
                  </a:lnTo>
                  <a:lnTo>
                    <a:pt x="2539556" y="200228"/>
                  </a:lnTo>
                  <a:lnTo>
                    <a:pt x="2539607" y="200228"/>
                  </a:lnTo>
                  <a:lnTo>
                    <a:pt x="2539607" y="200876"/>
                  </a:lnTo>
                  <a:lnTo>
                    <a:pt x="2539607" y="200228"/>
                  </a:lnTo>
                  <a:lnTo>
                    <a:pt x="2539607" y="200876"/>
                  </a:lnTo>
                  <a:lnTo>
                    <a:pt x="2539607" y="200228"/>
                  </a:lnTo>
                  <a:lnTo>
                    <a:pt x="2539607" y="200876"/>
                  </a:lnTo>
                  <a:lnTo>
                    <a:pt x="2539658" y="200876"/>
                  </a:lnTo>
                  <a:lnTo>
                    <a:pt x="2539658" y="200228"/>
                  </a:lnTo>
                  <a:lnTo>
                    <a:pt x="2539658" y="200876"/>
                  </a:lnTo>
                  <a:lnTo>
                    <a:pt x="2539658" y="200228"/>
                  </a:lnTo>
                  <a:lnTo>
                    <a:pt x="2539658" y="200876"/>
                  </a:lnTo>
                  <a:lnTo>
                    <a:pt x="2539658" y="200228"/>
                  </a:lnTo>
                  <a:lnTo>
                    <a:pt x="2539658" y="200876"/>
                  </a:lnTo>
                  <a:lnTo>
                    <a:pt x="2539658" y="200228"/>
                  </a:lnTo>
                  <a:lnTo>
                    <a:pt x="2539658" y="200876"/>
                  </a:lnTo>
                  <a:lnTo>
                    <a:pt x="2539759" y="200876"/>
                  </a:lnTo>
                  <a:lnTo>
                    <a:pt x="2539759" y="199530"/>
                  </a:lnTo>
                  <a:lnTo>
                    <a:pt x="2539759" y="200228"/>
                  </a:lnTo>
                  <a:lnTo>
                    <a:pt x="2539759" y="199530"/>
                  </a:lnTo>
                  <a:lnTo>
                    <a:pt x="2539759" y="200228"/>
                  </a:lnTo>
                  <a:lnTo>
                    <a:pt x="2539759" y="199530"/>
                  </a:lnTo>
                  <a:lnTo>
                    <a:pt x="2539810" y="199530"/>
                  </a:lnTo>
                  <a:lnTo>
                    <a:pt x="2539810" y="197447"/>
                  </a:lnTo>
                  <a:lnTo>
                    <a:pt x="2539810" y="199530"/>
                  </a:lnTo>
                  <a:lnTo>
                    <a:pt x="2539861" y="199530"/>
                  </a:lnTo>
                  <a:lnTo>
                    <a:pt x="2539861" y="198831"/>
                  </a:lnTo>
                  <a:lnTo>
                    <a:pt x="2539861" y="200876"/>
                  </a:lnTo>
                  <a:lnTo>
                    <a:pt x="2539962" y="200876"/>
                  </a:lnTo>
                  <a:lnTo>
                    <a:pt x="2539962" y="200228"/>
                  </a:lnTo>
                  <a:lnTo>
                    <a:pt x="2539962" y="200876"/>
                  </a:lnTo>
                  <a:lnTo>
                    <a:pt x="2539962" y="200228"/>
                  </a:lnTo>
                  <a:lnTo>
                    <a:pt x="2539962" y="200876"/>
                  </a:lnTo>
                  <a:lnTo>
                    <a:pt x="2539962" y="200228"/>
                  </a:lnTo>
                  <a:lnTo>
                    <a:pt x="2539962" y="200876"/>
                  </a:lnTo>
                  <a:lnTo>
                    <a:pt x="2540000" y="200876"/>
                  </a:lnTo>
                  <a:lnTo>
                    <a:pt x="2540000" y="200228"/>
                  </a:lnTo>
                  <a:lnTo>
                    <a:pt x="2540000" y="200876"/>
                  </a:lnTo>
                  <a:lnTo>
                    <a:pt x="2540000" y="200228"/>
                  </a:lnTo>
                  <a:lnTo>
                    <a:pt x="2540051" y="200228"/>
                  </a:lnTo>
                  <a:lnTo>
                    <a:pt x="2540051" y="200876"/>
                  </a:lnTo>
                  <a:lnTo>
                    <a:pt x="2540051" y="200228"/>
                  </a:lnTo>
                  <a:lnTo>
                    <a:pt x="2540102" y="200228"/>
                  </a:lnTo>
                  <a:lnTo>
                    <a:pt x="2540102" y="200876"/>
                  </a:lnTo>
                  <a:lnTo>
                    <a:pt x="2540102" y="200228"/>
                  </a:lnTo>
                  <a:lnTo>
                    <a:pt x="2540102" y="200876"/>
                  </a:lnTo>
                  <a:lnTo>
                    <a:pt x="2540102" y="200228"/>
                  </a:lnTo>
                  <a:lnTo>
                    <a:pt x="2540204" y="200228"/>
                  </a:lnTo>
                  <a:lnTo>
                    <a:pt x="2540204" y="200876"/>
                  </a:lnTo>
                  <a:lnTo>
                    <a:pt x="2540204" y="199530"/>
                  </a:lnTo>
                  <a:lnTo>
                    <a:pt x="2540255" y="199530"/>
                  </a:lnTo>
                  <a:lnTo>
                    <a:pt x="2540255" y="198831"/>
                  </a:lnTo>
                  <a:lnTo>
                    <a:pt x="2540255" y="199530"/>
                  </a:lnTo>
                  <a:lnTo>
                    <a:pt x="2540255" y="197447"/>
                  </a:lnTo>
                  <a:lnTo>
                    <a:pt x="2540305" y="196799"/>
                  </a:lnTo>
                  <a:lnTo>
                    <a:pt x="2540305" y="197447"/>
                  </a:lnTo>
                  <a:lnTo>
                    <a:pt x="2540305" y="196113"/>
                  </a:lnTo>
                  <a:lnTo>
                    <a:pt x="2540305" y="197447"/>
                  </a:lnTo>
                  <a:lnTo>
                    <a:pt x="2540407" y="197447"/>
                  </a:lnTo>
                  <a:lnTo>
                    <a:pt x="2540407" y="196799"/>
                  </a:lnTo>
                  <a:lnTo>
                    <a:pt x="2540407" y="200228"/>
                  </a:lnTo>
                  <a:lnTo>
                    <a:pt x="2540407" y="199530"/>
                  </a:lnTo>
                  <a:lnTo>
                    <a:pt x="2540509" y="199530"/>
                  </a:lnTo>
                  <a:lnTo>
                    <a:pt x="2540509" y="200228"/>
                  </a:lnTo>
                  <a:lnTo>
                    <a:pt x="2540547" y="200228"/>
                  </a:lnTo>
                  <a:lnTo>
                    <a:pt x="2540547" y="199530"/>
                  </a:lnTo>
                  <a:lnTo>
                    <a:pt x="2540547" y="200876"/>
                  </a:lnTo>
                  <a:lnTo>
                    <a:pt x="2540547" y="200228"/>
                  </a:lnTo>
                  <a:lnTo>
                    <a:pt x="2540547" y="200876"/>
                  </a:lnTo>
                  <a:lnTo>
                    <a:pt x="2540547" y="200228"/>
                  </a:lnTo>
                  <a:lnTo>
                    <a:pt x="2540648" y="200876"/>
                  </a:lnTo>
                  <a:lnTo>
                    <a:pt x="2540648" y="200228"/>
                  </a:lnTo>
                  <a:lnTo>
                    <a:pt x="2540648" y="200876"/>
                  </a:lnTo>
                  <a:lnTo>
                    <a:pt x="2540648" y="200228"/>
                  </a:lnTo>
                  <a:lnTo>
                    <a:pt x="2540648" y="202260"/>
                  </a:lnTo>
                  <a:lnTo>
                    <a:pt x="2540648" y="200876"/>
                  </a:lnTo>
                  <a:lnTo>
                    <a:pt x="2540699" y="200876"/>
                  </a:lnTo>
                  <a:lnTo>
                    <a:pt x="2540699" y="200228"/>
                  </a:lnTo>
                  <a:lnTo>
                    <a:pt x="2540750" y="200228"/>
                  </a:lnTo>
                  <a:lnTo>
                    <a:pt x="2540750" y="198831"/>
                  </a:lnTo>
                  <a:lnTo>
                    <a:pt x="2540851" y="197447"/>
                  </a:lnTo>
                  <a:lnTo>
                    <a:pt x="2540851" y="196799"/>
                  </a:lnTo>
                  <a:lnTo>
                    <a:pt x="2540851" y="197447"/>
                  </a:lnTo>
                  <a:lnTo>
                    <a:pt x="2540851" y="196799"/>
                  </a:lnTo>
                  <a:lnTo>
                    <a:pt x="2540851" y="198831"/>
                  </a:lnTo>
                  <a:lnTo>
                    <a:pt x="2540902" y="198831"/>
                  </a:lnTo>
                  <a:lnTo>
                    <a:pt x="2540902" y="196799"/>
                  </a:lnTo>
                  <a:lnTo>
                    <a:pt x="2540902" y="200228"/>
                  </a:lnTo>
                  <a:lnTo>
                    <a:pt x="2540902" y="199530"/>
                  </a:lnTo>
                  <a:lnTo>
                    <a:pt x="2540953" y="199530"/>
                  </a:lnTo>
                  <a:lnTo>
                    <a:pt x="2540953" y="198831"/>
                  </a:lnTo>
                  <a:lnTo>
                    <a:pt x="2540953" y="199530"/>
                  </a:lnTo>
                  <a:lnTo>
                    <a:pt x="2541004" y="199530"/>
                  </a:lnTo>
                  <a:lnTo>
                    <a:pt x="2541004" y="198831"/>
                  </a:lnTo>
                  <a:lnTo>
                    <a:pt x="2541004" y="199530"/>
                  </a:lnTo>
                  <a:lnTo>
                    <a:pt x="2541004" y="198831"/>
                  </a:lnTo>
                  <a:lnTo>
                    <a:pt x="2541004" y="200228"/>
                  </a:lnTo>
                  <a:lnTo>
                    <a:pt x="2541004" y="199530"/>
                  </a:lnTo>
                  <a:lnTo>
                    <a:pt x="2541093" y="199530"/>
                  </a:lnTo>
                  <a:lnTo>
                    <a:pt x="2541093" y="200228"/>
                  </a:lnTo>
                  <a:lnTo>
                    <a:pt x="2541144" y="200228"/>
                  </a:lnTo>
                  <a:lnTo>
                    <a:pt x="2541144" y="202260"/>
                  </a:lnTo>
                  <a:lnTo>
                    <a:pt x="2541144" y="200228"/>
                  </a:lnTo>
                  <a:lnTo>
                    <a:pt x="2541144" y="200876"/>
                  </a:lnTo>
                  <a:lnTo>
                    <a:pt x="2541194" y="200876"/>
                  </a:lnTo>
                  <a:lnTo>
                    <a:pt x="2541194" y="200228"/>
                  </a:lnTo>
                  <a:lnTo>
                    <a:pt x="2541194" y="200876"/>
                  </a:lnTo>
                  <a:lnTo>
                    <a:pt x="2541194" y="199530"/>
                  </a:lnTo>
                  <a:lnTo>
                    <a:pt x="2541194" y="200876"/>
                  </a:lnTo>
                  <a:lnTo>
                    <a:pt x="2541194" y="199530"/>
                  </a:lnTo>
                  <a:lnTo>
                    <a:pt x="2541194" y="200228"/>
                  </a:lnTo>
                  <a:lnTo>
                    <a:pt x="2541245" y="200228"/>
                  </a:lnTo>
                  <a:lnTo>
                    <a:pt x="2541245" y="198831"/>
                  </a:lnTo>
                  <a:lnTo>
                    <a:pt x="2541245" y="199530"/>
                  </a:lnTo>
                  <a:lnTo>
                    <a:pt x="2541245" y="197447"/>
                  </a:lnTo>
                  <a:lnTo>
                    <a:pt x="2541245" y="198831"/>
                  </a:lnTo>
                  <a:lnTo>
                    <a:pt x="2541245" y="197447"/>
                  </a:lnTo>
                  <a:lnTo>
                    <a:pt x="2541347" y="197447"/>
                  </a:lnTo>
                  <a:lnTo>
                    <a:pt x="2541347" y="198831"/>
                  </a:lnTo>
                  <a:lnTo>
                    <a:pt x="2541347" y="197447"/>
                  </a:lnTo>
                  <a:lnTo>
                    <a:pt x="2541347" y="198831"/>
                  </a:lnTo>
                  <a:lnTo>
                    <a:pt x="2541347" y="197447"/>
                  </a:lnTo>
                  <a:lnTo>
                    <a:pt x="2541347" y="198831"/>
                  </a:lnTo>
                  <a:lnTo>
                    <a:pt x="2541347" y="197447"/>
                  </a:lnTo>
                  <a:lnTo>
                    <a:pt x="2541347" y="198831"/>
                  </a:lnTo>
                  <a:lnTo>
                    <a:pt x="2541347" y="197447"/>
                  </a:lnTo>
                  <a:lnTo>
                    <a:pt x="2541397" y="197447"/>
                  </a:lnTo>
                  <a:lnTo>
                    <a:pt x="2541397" y="200228"/>
                  </a:lnTo>
                  <a:lnTo>
                    <a:pt x="2541397" y="198831"/>
                  </a:lnTo>
                  <a:lnTo>
                    <a:pt x="2541397" y="199530"/>
                  </a:lnTo>
                  <a:lnTo>
                    <a:pt x="2541448" y="199530"/>
                  </a:lnTo>
                  <a:lnTo>
                    <a:pt x="2541448" y="198831"/>
                  </a:lnTo>
                  <a:lnTo>
                    <a:pt x="2541448" y="199530"/>
                  </a:lnTo>
                  <a:lnTo>
                    <a:pt x="2541448" y="198831"/>
                  </a:lnTo>
                  <a:lnTo>
                    <a:pt x="2541448" y="199530"/>
                  </a:lnTo>
                  <a:lnTo>
                    <a:pt x="2541550" y="199530"/>
                  </a:lnTo>
                  <a:lnTo>
                    <a:pt x="2541550" y="200228"/>
                  </a:lnTo>
                  <a:lnTo>
                    <a:pt x="2541550" y="199530"/>
                  </a:lnTo>
                  <a:lnTo>
                    <a:pt x="2541550" y="200228"/>
                  </a:lnTo>
                  <a:lnTo>
                    <a:pt x="2541550" y="199530"/>
                  </a:lnTo>
                  <a:lnTo>
                    <a:pt x="2541550" y="200228"/>
                  </a:lnTo>
                  <a:lnTo>
                    <a:pt x="2541588" y="200228"/>
                  </a:lnTo>
                  <a:lnTo>
                    <a:pt x="2541588" y="200876"/>
                  </a:lnTo>
                  <a:lnTo>
                    <a:pt x="2541588" y="200228"/>
                  </a:lnTo>
                  <a:lnTo>
                    <a:pt x="2541639" y="200228"/>
                  </a:lnTo>
                  <a:lnTo>
                    <a:pt x="2541639" y="200876"/>
                  </a:lnTo>
                  <a:lnTo>
                    <a:pt x="2541639" y="200228"/>
                  </a:lnTo>
                  <a:lnTo>
                    <a:pt x="2541639" y="200876"/>
                  </a:lnTo>
                  <a:lnTo>
                    <a:pt x="2541639" y="200228"/>
                  </a:lnTo>
                  <a:lnTo>
                    <a:pt x="2541639" y="200876"/>
                  </a:lnTo>
                  <a:lnTo>
                    <a:pt x="2541639" y="200228"/>
                  </a:lnTo>
                  <a:lnTo>
                    <a:pt x="2541639" y="200876"/>
                  </a:lnTo>
                  <a:lnTo>
                    <a:pt x="2541639" y="200228"/>
                  </a:lnTo>
                  <a:lnTo>
                    <a:pt x="2541639" y="200876"/>
                  </a:lnTo>
                  <a:lnTo>
                    <a:pt x="2541690" y="200876"/>
                  </a:lnTo>
                  <a:lnTo>
                    <a:pt x="2541690" y="199530"/>
                  </a:lnTo>
                  <a:lnTo>
                    <a:pt x="2541690" y="200228"/>
                  </a:lnTo>
                  <a:lnTo>
                    <a:pt x="2541690" y="199530"/>
                  </a:lnTo>
                  <a:lnTo>
                    <a:pt x="2541690" y="200228"/>
                  </a:lnTo>
                  <a:lnTo>
                    <a:pt x="2541690" y="199530"/>
                  </a:lnTo>
                  <a:lnTo>
                    <a:pt x="2541690" y="200228"/>
                  </a:lnTo>
                  <a:lnTo>
                    <a:pt x="2541690" y="199530"/>
                  </a:lnTo>
                  <a:lnTo>
                    <a:pt x="2541690" y="200228"/>
                  </a:lnTo>
                  <a:lnTo>
                    <a:pt x="2541690" y="198831"/>
                  </a:lnTo>
                  <a:lnTo>
                    <a:pt x="2541791" y="198831"/>
                  </a:lnTo>
                  <a:lnTo>
                    <a:pt x="2541791" y="199530"/>
                  </a:lnTo>
                  <a:lnTo>
                    <a:pt x="2541791" y="197447"/>
                  </a:lnTo>
                  <a:lnTo>
                    <a:pt x="2541791" y="198831"/>
                  </a:lnTo>
                  <a:lnTo>
                    <a:pt x="2541791" y="197447"/>
                  </a:lnTo>
                  <a:lnTo>
                    <a:pt x="2541791" y="198831"/>
                  </a:lnTo>
                  <a:lnTo>
                    <a:pt x="2541791" y="196799"/>
                  </a:lnTo>
                  <a:lnTo>
                    <a:pt x="2541842" y="197447"/>
                  </a:lnTo>
                  <a:lnTo>
                    <a:pt x="2541842" y="198831"/>
                  </a:lnTo>
                  <a:lnTo>
                    <a:pt x="2541842" y="196799"/>
                  </a:lnTo>
                  <a:lnTo>
                    <a:pt x="2541893" y="196799"/>
                  </a:lnTo>
                  <a:lnTo>
                    <a:pt x="2541893" y="199530"/>
                  </a:lnTo>
                  <a:lnTo>
                    <a:pt x="2541893" y="197447"/>
                  </a:lnTo>
                  <a:lnTo>
                    <a:pt x="2541994" y="198831"/>
                  </a:lnTo>
                  <a:lnTo>
                    <a:pt x="2541994" y="199530"/>
                  </a:lnTo>
                  <a:lnTo>
                    <a:pt x="2541994" y="198831"/>
                  </a:lnTo>
                  <a:lnTo>
                    <a:pt x="2542045" y="198831"/>
                  </a:lnTo>
                  <a:lnTo>
                    <a:pt x="2542045" y="199530"/>
                  </a:lnTo>
                  <a:lnTo>
                    <a:pt x="2542045" y="198831"/>
                  </a:lnTo>
                  <a:lnTo>
                    <a:pt x="2542045" y="199530"/>
                  </a:lnTo>
                  <a:lnTo>
                    <a:pt x="2542096" y="199530"/>
                  </a:lnTo>
                  <a:lnTo>
                    <a:pt x="2542096" y="200228"/>
                  </a:lnTo>
                  <a:lnTo>
                    <a:pt x="2542096" y="199530"/>
                  </a:lnTo>
                  <a:lnTo>
                    <a:pt x="2542096" y="200228"/>
                  </a:lnTo>
                  <a:lnTo>
                    <a:pt x="2542096" y="199530"/>
                  </a:lnTo>
                  <a:lnTo>
                    <a:pt x="2542096" y="200228"/>
                  </a:lnTo>
                  <a:lnTo>
                    <a:pt x="2542134" y="200228"/>
                  </a:lnTo>
                  <a:lnTo>
                    <a:pt x="2542134" y="199530"/>
                  </a:lnTo>
                  <a:lnTo>
                    <a:pt x="2542134" y="200876"/>
                  </a:lnTo>
                  <a:lnTo>
                    <a:pt x="2542134" y="200228"/>
                  </a:lnTo>
                  <a:lnTo>
                    <a:pt x="2542236" y="199530"/>
                  </a:lnTo>
                  <a:lnTo>
                    <a:pt x="2542236" y="198831"/>
                  </a:lnTo>
                  <a:lnTo>
                    <a:pt x="2542236" y="199530"/>
                  </a:lnTo>
                  <a:lnTo>
                    <a:pt x="2542236" y="198831"/>
                  </a:lnTo>
                  <a:lnTo>
                    <a:pt x="2542236" y="199530"/>
                  </a:lnTo>
                  <a:lnTo>
                    <a:pt x="2542236" y="198831"/>
                  </a:lnTo>
                  <a:lnTo>
                    <a:pt x="2542287" y="197447"/>
                  </a:lnTo>
                  <a:lnTo>
                    <a:pt x="2542287" y="198831"/>
                  </a:lnTo>
                  <a:lnTo>
                    <a:pt x="2542337" y="198831"/>
                  </a:lnTo>
                  <a:lnTo>
                    <a:pt x="2542337" y="197447"/>
                  </a:lnTo>
                  <a:lnTo>
                    <a:pt x="2542337" y="199530"/>
                  </a:lnTo>
                  <a:lnTo>
                    <a:pt x="2542337" y="198831"/>
                  </a:lnTo>
                  <a:lnTo>
                    <a:pt x="2542337" y="200876"/>
                  </a:lnTo>
                  <a:lnTo>
                    <a:pt x="2542337" y="200228"/>
                  </a:lnTo>
                  <a:lnTo>
                    <a:pt x="2542439" y="200228"/>
                  </a:lnTo>
                  <a:lnTo>
                    <a:pt x="2542439" y="199530"/>
                  </a:lnTo>
                  <a:lnTo>
                    <a:pt x="2542439" y="200228"/>
                  </a:lnTo>
                  <a:lnTo>
                    <a:pt x="2542439" y="199530"/>
                  </a:lnTo>
                  <a:lnTo>
                    <a:pt x="2542439" y="200228"/>
                  </a:lnTo>
                  <a:lnTo>
                    <a:pt x="2542490" y="200228"/>
                  </a:lnTo>
                  <a:lnTo>
                    <a:pt x="2542490" y="199530"/>
                  </a:lnTo>
                  <a:lnTo>
                    <a:pt x="2542490" y="200228"/>
                  </a:lnTo>
                  <a:lnTo>
                    <a:pt x="2542540" y="200228"/>
                  </a:lnTo>
                  <a:lnTo>
                    <a:pt x="2542540" y="200876"/>
                  </a:lnTo>
                  <a:lnTo>
                    <a:pt x="2542540" y="200228"/>
                  </a:lnTo>
                  <a:lnTo>
                    <a:pt x="2542540" y="200876"/>
                  </a:lnTo>
                  <a:lnTo>
                    <a:pt x="2542540" y="200228"/>
                  </a:lnTo>
                  <a:lnTo>
                    <a:pt x="2542540" y="200876"/>
                  </a:lnTo>
                  <a:lnTo>
                    <a:pt x="2542540" y="200228"/>
                  </a:lnTo>
                  <a:lnTo>
                    <a:pt x="2542591" y="200228"/>
                  </a:lnTo>
                  <a:lnTo>
                    <a:pt x="2542591" y="202260"/>
                  </a:lnTo>
                  <a:lnTo>
                    <a:pt x="2542591" y="200228"/>
                  </a:lnTo>
                  <a:lnTo>
                    <a:pt x="2542591" y="200876"/>
                  </a:lnTo>
                  <a:lnTo>
                    <a:pt x="2542591" y="200228"/>
                  </a:lnTo>
                  <a:lnTo>
                    <a:pt x="2542591" y="200876"/>
                  </a:lnTo>
                  <a:lnTo>
                    <a:pt x="2542591" y="200228"/>
                  </a:lnTo>
                  <a:lnTo>
                    <a:pt x="2542591" y="200876"/>
                  </a:lnTo>
                  <a:lnTo>
                    <a:pt x="2542680" y="200228"/>
                  </a:lnTo>
                  <a:lnTo>
                    <a:pt x="2542680" y="200876"/>
                  </a:lnTo>
                  <a:lnTo>
                    <a:pt x="2542680" y="200228"/>
                  </a:lnTo>
                  <a:lnTo>
                    <a:pt x="2542680" y="200876"/>
                  </a:lnTo>
                  <a:lnTo>
                    <a:pt x="2542680" y="199530"/>
                  </a:lnTo>
                  <a:lnTo>
                    <a:pt x="2542731" y="199530"/>
                  </a:lnTo>
                  <a:lnTo>
                    <a:pt x="2542731" y="200228"/>
                  </a:lnTo>
                  <a:lnTo>
                    <a:pt x="2542731" y="199530"/>
                  </a:lnTo>
                  <a:lnTo>
                    <a:pt x="2542731" y="200228"/>
                  </a:lnTo>
                  <a:lnTo>
                    <a:pt x="2542731" y="198831"/>
                  </a:lnTo>
                  <a:lnTo>
                    <a:pt x="2542782" y="197447"/>
                  </a:lnTo>
                  <a:lnTo>
                    <a:pt x="2542782" y="198831"/>
                  </a:lnTo>
                  <a:lnTo>
                    <a:pt x="2542782" y="197447"/>
                  </a:lnTo>
                  <a:lnTo>
                    <a:pt x="2542782" y="200228"/>
                  </a:lnTo>
                  <a:lnTo>
                    <a:pt x="2542782" y="198831"/>
                  </a:lnTo>
                  <a:lnTo>
                    <a:pt x="2542833" y="199530"/>
                  </a:lnTo>
                  <a:lnTo>
                    <a:pt x="2542833" y="198831"/>
                  </a:lnTo>
                  <a:lnTo>
                    <a:pt x="2542833" y="202260"/>
                  </a:lnTo>
                  <a:lnTo>
                    <a:pt x="2542833" y="200228"/>
                  </a:lnTo>
                  <a:lnTo>
                    <a:pt x="2542833" y="200876"/>
                  </a:lnTo>
                  <a:lnTo>
                    <a:pt x="2542833" y="200228"/>
                  </a:lnTo>
                  <a:lnTo>
                    <a:pt x="2542833" y="200876"/>
                  </a:lnTo>
                  <a:lnTo>
                    <a:pt x="2542833" y="200228"/>
                  </a:lnTo>
                  <a:lnTo>
                    <a:pt x="2542934" y="200228"/>
                  </a:lnTo>
                  <a:lnTo>
                    <a:pt x="2542934" y="202260"/>
                  </a:lnTo>
                  <a:lnTo>
                    <a:pt x="2542934" y="200228"/>
                  </a:lnTo>
                  <a:lnTo>
                    <a:pt x="2542985" y="200228"/>
                  </a:lnTo>
                  <a:lnTo>
                    <a:pt x="2542985" y="200876"/>
                  </a:lnTo>
                  <a:lnTo>
                    <a:pt x="2542985" y="200228"/>
                  </a:lnTo>
                  <a:lnTo>
                    <a:pt x="2542985" y="202260"/>
                  </a:lnTo>
                  <a:lnTo>
                    <a:pt x="2542985" y="200876"/>
                  </a:lnTo>
                  <a:lnTo>
                    <a:pt x="2543036" y="202260"/>
                  </a:lnTo>
                  <a:lnTo>
                    <a:pt x="2543036" y="200876"/>
                  </a:lnTo>
                  <a:lnTo>
                    <a:pt x="2543036" y="202260"/>
                  </a:lnTo>
                  <a:lnTo>
                    <a:pt x="2543036" y="200876"/>
                  </a:lnTo>
                  <a:lnTo>
                    <a:pt x="2543036" y="202260"/>
                  </a:lnTo>
                  <a:lnTo>
                    <a:pt x="2543137" y="200876"/>
                  </a:lnTo>
                  <a:lnTo>
                    <a:pt x="2543137" y="200228"/>
                  </a:lnTo>
                  <a:lnTo>
                    <a:pt x="2543137" y="200876"/>
                  </a:lnTo>
                  <a:lnTo>
                    <a:pt x="2543175" y="200876"/>
                  </a:lnTo>
                  <a:lnTo>
                    <a:pt x="2543175" y="200228"/>
                  </a:lnTo>
                  <a:lnTo>
                    <a:pt x="2543175" y="200876"/>
                  </a:lnTo>
                  <a:lnTo>
                    <a:pt x="2543175" y="199530"/>
                  </a:lnTo>
                  <a:lnTo>
                    <a:pt x="2543175" y="200228"/>
                  </a:lnTo>
                  <a:lnTo>
                    <a:pt x="2543175" y="199530"/>
                  </a:lnTo>
                  <a:lnTo>
                    <a:pt x="2543226" y="199530"/>
                  </a:lnTo>
                  <a:lnTo>
                    <a:pt x="2543226" y="197447"/>
                  </a:lnTo>
                  <a:lnTo>
                    <a:pt x="2543226" y="198831"/>
                  </a:lnTo>
                  <a:lnTo>
                    <a:pt x="2543226" y="197447"/>
                  </a:lnTo>
                  <a:lnTo>
                    <a:pt x="2543277" y="197447"/>
                  </a:lnTo>
                  <a:lnTo>
                    <a:pt x="2543277" y="200228"/>
                  </a:lnTo>
                  <a:lnTo>
                    <a:pt x="2543277" y="199530"/>
                  </a:lnTo>
                  <a:lnTo>
                    <a:pt x="2543277" y="200228"/>
                  </a:lnTo>
                  <a:lnTo>
                    <a:pt x="2543277" y="197447"/>
                  </a:lnTo>
                  <a:lnTo>
                    <a:pt x="2543277" y="199530"/>
                  </a:lnTo>
                  <a:lnTo>
                    <a:pt x="2543379" y="199530"/>
                  </a:lnTo>
                  <a:lnTo>
                    <a:pt x="2543379" y="202260"/>
                  </a:lnTo>
                  <a:lnTo>
                    <a:pt x="2543379" y="199530"/>
                  </a:lnTo>
                  <a:lnTo>
                    <a:pt x="2543379" y="200228"/>
                  </a:lnTo>
                  <a:lnTo>
                    <a:pt x="2543430" y="200876"/>
                  </a:lnTo>
                  <a:lnTo>
                    <a:pt x="2543430" y="202260"/>
                  </a:lnTo>
                  <a:lnTo>
                    <a:pt x="2543430" y="200228"/>
                  </a:lnTo>
                  <a:lnTo>
                    <a:pt x="2543430" y="200876"/>
                  </a:lnTo>
                  <a:lnTo>
                    <a:pt x="2543430" y="200228"/>
                  </a:lnTo>
                  <a:lnTo>
                    <a:pt x="2543430" y="200876"/>
                  </a:lnTo>
                  <a:lnTo>
                    <a:pt x="2543430" y="200228"/>
                  </a:lnTo>
                  <a:lnTo>
                    <a:pt x="2543430" y="200876"/>
                  </a:lnTo>
                  <a:lnTo>
                    <a:pt x="2543480" y="200876"/>
                  </a:lnTo>
                  <a:lnTo>
                    <a:pt x="2543480" y="202260"/>
                  </a:lnTo>
                  <a:lnTo>
                    <a:pt x="2543480" y="200228"/>
                  </a:lnTo>
                  <a:lnTo>
                    <a:pt x="2543480" y="202260"/>
                  </a:lnTo>
                  <a:lnTo>
                    <a:pt x="2543582" y="202260"/>
                  </a:lnTo>
                  <a:lnTo>
                    <a:pt x="2543582" y="200876"/>
                  </a:lnTo>
                  <a:lnTo>
                    <a:pt x="2543582" y="202260"/>
                  </a:lnTo>
                  <a:lnTo>
                    <a:pt x="2543633" y="202260"/>
                  </a:lnTo>
                  <a:lnTo>
                    <a:pt x="2543633" y="200228"/>
                  </a:lnTo>
                  <a:lnTo>
                    <a:pt x="2543684" y="200228"/>
                  </a:lnTo>
                  <a:lnTo>
                    <a:pt x="2543684" y="200876"/>
                  </a:lnTo>
                  <a:lnTo>
                    <a:pt x="2543684" y="199530"/>
                  </a:lnTo>
                  <a:lnTo>
                    <a:pt x="2543684" y="200228"/>
                  </a:lnTo>
                  <a:lnTo>
                    <a:pt x="2543684" y="199530"/>
                  </a:lnTo>
                  <a:lnTo>
                    <a:pt x="2543722" y="199530"/>
                  </a:lnTo>
                  <a:lnTo>
                    <a:pt x="2543722" y="196799"/>
                  </a:lnTo>
                  <a:lnTo>
                    <a:pt x="2543722" y="199530"/>
                  </a:lnTo>
                  <a:lnTo>
                    <a:pt x="2543823" y="199530"/>
                  </a:lnTo>
                  <a:lnTo>
                    <a:pt x="2543823" y="197447"/>
                  </a:lnTo>
                  <a:lnTo>
                    <a:pt x="2543823" y="200876"/>
                  </a:lnTo>
                  <a:lnTo>
                    <a:pt x="2543874" y="200228"/>
                  </a:lnTo>
                  <a:lnTo>
                    <a:pt x="2543874" y="199530"/>
                  </a:lnTo>
                  <a:lnTo>
                    <a:pt x="2543874" y="200876"/>
                  </a:lnTo>
                  <a:lnTo>
                    <a:pt x="2543925" y="200876"/>
                  </a:lnTo>
                  <a:lnTo>
                    <a:pt x="2543925" y="200228"/>
                  </a:lnTo>
                  <a:lnTo>
                    <a:pt x="2543925" y="200876"/>
                  </a:lnTo>
                  <a:lnTo>
                    <a:pt x="2543925" y="200228"/>
                  </a:lnTo>
                  <a:lnTo>
                    <a:pt x="2544026" y="200228"/>
                  </a:lnTo>
                  <a:lnTo>
                    <a:pt x="2544026" y="200876"/>
                  </a:lnTo>
                  <a:lnTo>
                    <a:pt x="2544026" y="200228"/>
                  </a:lnTo>
                  <a:lnTo>
                    <a:pt x="2544026" y="200876"/>
                  </a:lnTo>
                  <a:lnTo>
                    <a:pt x="2544026" y="200228"/>
                  </a:lnTo>
                  <a:lnTo>
                    <a:pt x="2544026" y="202260"/>
                  </a:lnTo>
                  <a:lnTo>
                    <a:pt x="2544026" y="200876"/>
                  </a:lnTo>
                  <a:lnTo>
                    <a:pt x="2544077" y="200876"/>
                  </a:lnTo>
                  <a:lnTo>
                    <a:pt x="2544077" y="202260"/>
                  </a:lnTo>
                  <a:lnTo>
                    <a:pt x="2544077" y="200228"/>
                  </a:lnTo>
                  <a:lnTo>
                    <a:pt x="2544128" y="200876"/>
                  </a:lnTo>
                  <a:lnTo>
                    <a:pt x="2544128" y="200228"/>
                  </a:lnTo>
                  <a:lnTo>
                    <a:pt x="2544128" y="202260"/>
                  </a:lnTo>
                  <a:lnTo>
                    <a:pt x="2544128" y="200228"/>
                  </a:lnTo>
                  <a:lnTo>
                    <a:pt x="2544128" y="200876"/>
                  </a:lnTo>
                  <a:lnTo>
                    <a:pt x="2544179" y="200228"/>
                  </a:lnTo>
                  <a:lnTo>
                    <a:pt x="2544179" y="198831"/>
                  </a:lnTo>
                  <a:lnTo>
                    <a:pt x="2544268" y="197447"/>
                  </a:lnTo>
                  <a:lnTo>
                    <a:pt x="2544268" y="196113"/>
                  </a:lnTo>
                  <a:lnTo>
                    <a:pt x="2544319" y="196113"/>
                  </a:lnTo>
                  <a:lnTo>
                    <a:pt x="2544319" y="195415"/>
                  </a:lnTo>
                  <a:lnTo>
                    <a:pt x="2544319" y="197447"/>
                  </a:lnTo>
                  <a:lnTo>
                    <a:pt x="2544319" y="195415"/>
                  </a:lnTo>
                  <a:lnTo>
                    <a:pt x="2544319" y="196113"/>
                  </a:lnTo>
                  <a:lnTo>
                    <a:pt x="2544319" y="195415"/>
                  </a:lnTo>
                  <a:lnTo>
                    <a:pt x="2544369" y="195415"/>
                  </a:lnTo>
                  <a:lnTo>
                    <a:pt x="2544369" y="197447"/>
                  </a:lnTo>
                  <a:lnTo>
                    <a:pt x="2544369" y="196799"/>
                  </a:lnTo>
                  <a:lnTo>
                    <a:pt x="2544369" y="197447"/>
                  </a:lnTo>
                  <a:lnTo>
                    <a:pt x="2544369" y="196799"/>
                  </a:lnTo>
                  <a:lnTo>
                    <a:pt x="2544369" y="197447"/>
                  </a:lnTo>
                  <a:lnTo>
                    <a:pt x="2544420" y="197447"/>
                  </a:lnTo>
                  <a:lnTo>
                    <a:pt x="2544420" y="198831"/>
                  </a:lnTo>
                  <a:lnTo>
                    <a:pt x="2544420" y="197447"/>
                  </a:lnTo>
                  <a:lnTo>
                    <a:pt x="2544420" y="198831"/>
                  </a:lnTo>
                  <a:lnTo>
                    <a:pt x="2544420" y="197447"/>
                  </a:lnTo>
                  <a:lnTo>
                    <a:pt x="2544420" y="198831"/>
                  </a:lnTo>
                  <a:lnTo>
                    <a:pt x="2544420" y="197447"/>
                  </a:lnTo>
                  <a:lnTo>
                    <a:pt x="2544420" y="198831"/>
                  </a:lnTo>
                  <a:lnTo>
                    <a:pt x="2544522" y="198831"/>
                  </a:lnTo>
                  <a:lnTo>
                    <a:pt x="2544522" y="199530"/>
                  </a:lnTo>
                  <a:lnTo>
                    <a:pt x="2544522" y="198831"/>
                  </a:lnTo>
                  <a:lnTo>
                    <a:pt x="2544522" y="200228"/>
                  </a:lnTo>
                  <a:lnTo>
                    <a:pt x="2544572" y="200228"/>
                  </a:lnTo>
                  <a:lnTo>
                    <a:pt x="2544572" y="200876"/>
                  </a:lnTo>
                  <a:lnTo>
                    <a:pt x="2544572" y="200228"/>
                  </a:lnTo>
                  <a:lnTo>
                    <a:pt x="2544572" y="200876"/>
                  </a:lnTo>
                  <a:lnTo>
                    <a:pt x="2544572" y="200228"/>
                  </a:lnTo>
                  <a:lnTo>
                    <a:pt x="2544572" y="200876"/>
                  </a:lnTo>
                  <a:lnTo>
                    <a:pt x="2544572" y="200228"/>
                  </a:lnTo>
                  <a:lnTo>
                    <a:pt x="2544623" y="200228"/>
                  </a:lnTo>
                  <a:lnTo>
                    <a:pt x="2544623" y="200876"/>
                  </a:lnTo>
                  <a:lnTo>
                    <a:pt x="2544725" y="200876"/>
                  </a:lnTo>
                  <a:lnTo>
                    <a:pt x="2544725" y="200228"/>
                  </a:lnTo>
                  <a:lnTo>
                    <a:pt x="2544725" y="200876"/>
                  </a:lnTo>
                  <a:lnTo>
                    <a:pt x="2544725" y="199530"/>
                  </a:lnTo>
                  <a:lnTo>
                    <a:pt x="2544763" y="199530"/>
                  </a:lnTo>
                  <a:lnTo>
                    <a:pt x="2544763" y="196799"/>
                  </a:lnTo>
                  <a:lnTo>
                    <a:pt x="2544814" y="196113"/>
                  </a:lnTo>
                  <a:lnTo>
                    <a:pt x="2544814" y="197447"/>
                  </a:lnTo>
                  <a:lnTo>
                    <a:pt x="2544814" y="196799"/>
                  </a:lnTo>
                  <a:lnTo>
                    <a:pt x="2544814" y="197447"/>
                  </a:lnTo>
                  <a:lnTo>
                    <a:pt x="2544814" y="196113"/>
                  </a:lnTo>
                  <a:lnTo>
                    <a:pt x="2544814" y="196799"/>
                  </a:lnTo>
                  <a:lnTo>
                    <a:pt x="2544865" y="196799"/>
                  </a:lnTo>
                  <a:lnTo>
                    <a:pt x="2544865" y="197447"/>
                  </a:lnTo>
                  <a:lnTo>
                    <a:pt x="2544865" y="196799"/>
                  </a:lnTo>
                  <a:lnTo>
                    <a:pt x="2544865" y="197447"/>
                  </a:lnTo>
                  <a:lnTo>
                    <a:pt x="2544865" y="196799"/>
                  </a:lnTo>
                  <a:lnTo>
                    <a:pt x="2544865" y="197447"/>
                  </a:lnTo>
                  <a:lnTo>
                    <a:pt x="2544865" y="196799"/>
                  </a:lnTo>
                  <a:lnTo>
                    <a:pt x="2544865" y="197447"/>
                  </a:lnTo>
                  <a:lnTo>
                    <a:pt x="2544865" y="196799"/>
                  </a:lnTo>
                  <a:lnTo>
                    <a:pt x="2544865" y="197447"/>
                  </a:lnTo>
                  <a:lnTo>
                    <a:pt x="2544966" y="197447"/>
                  </a:lnTo>
                  <a:lnTo>
                    <a:pt x="2544966" y="198831"/>
                  </a:lnTo>
                  <a:lnTo>
                    <a:pt x="2544966" y="197447"/>
                  </a:lnTo>
                  <a:lnTo>
                    <a:pt x="2544966" y="198831"/>
                  </a:lnTo>
                  <a:lnTo>
                    <a:pt x="2544966" y="196799"/>
                  </a:lnTo>
                  <a:lnTo>
                    <a:pt x="2544966" y="198831"/>
                  </a:lnTo>
                  <a:lnTo>
                    <a:pt x="2544966" y="197447"/>
                  </a:lnTo>
                  <a:lnTo>
                    <a:pt x="2545017" y="198831"/>
                  </a:lnTo>
                  <a:lnTo>
                    <a:pt x="2545017" y="197447"/>
                  </a:lnTo>
                  <a:lnTo>
                    <a:pt x="2545017" y="198831"/>
                  </a:lnTo>
                  <a:lnTo>
                    <a:pt x="2545017" y="197447"/>
                  </a:lnTo>
                  <a:lnTo>
                    <a:pt x="2545017" y="199530"/>
                  </a:lnTo>
                  <a:lnTo>
                    <a:pt x="2545068" y="199530"/>
                  </a:lnTo>
                  <a:lnTo>
                    <a:pt x="2545068" y="198831"/>
                  </a:lnTo>
                  <a:lnTo>
                    <a:pt x="2545068" y="199530"/>
                  </a:lnTo>
                  <a:lnTo>
                    <a:pt x="2545068" y="198831"/>
                  </a:lnTo>
                  <a:lnTo>
                    <a:pt x="2545068" y="199530"/>
                  </a:lnTo>
                  <a:lnTo>
                    <a:pt x="2545169" y="199530"/>
                  </a:lnTo>
                  <a:lnTo>
                    <a:pt x="2545169" y="200228"/>
                  </a:lnTo>
                  <a:lnTo>
                    <a:pt x="2545169" y="199530"/>
                  </a:lnTo>
                  <a:lnTo>
                    <a:pt x="2545169" y="200228"/>
                  </a:lnTo>
                  <a:lnTo>
                    <a:pt x="2545220" y="200228"/>
                  </a:lnTo>
                  <a:lnTo>
                    <a:pt x="2545220" y="199530"/>
                  </a:lnTo>
                  <a:lnTo>
                    <a:pt x="2545220" y="200228"/>
                  </a:lnTo>
                  <a:lnTo>
                    <a:pt x="2545220" y="199530"/>
                  </a:lnTo>
                  <a:lnTo>
                    <a:pt x="2545271" y="199530"/>
                  </a:lnTo>
                  <a:lnTo>
                    <a:pt x="2545271" y="197447"/>
                  </a:lnTo>
                  <a:lnTo>
                    <a:pt x="2545271" y="200228"/>
                  </a:lnTo>
                  <a:lnTo>
                    <a:pt x="2545271" y="199530"/>
                  </a:lnTo>
                  <a:lnTo>
                    <a:pt x="2545309" y="198831"/>
                  </a:lnTo>
                  <a:lnTo>
                    <a:pt x="2545309" y="197447"/>
                  </a:lnTo>
                  <a:lnTo>
                    <a:pt x="2545309" y="202260"/>
                  </a:lnTo>
                  <a:lnTo>
                    <a:pt x="2545309" y="199530"/>
                  </a:lnTo>
                  <a:lnTo>
                    <a:pt x="2545411" y="199530"/>
                  </a:lnTo>
                  <a:lnTo>
                    <a:pt x="2545411" y="200876"/>
                  </a:lnTo>
                  <a:lnTo>
                    <a:pt x="2545411" y="199530"/>
                  </a:lnTo>
                  <a:lnTo>
                    <a:pt x="2545462" y="199530"/>
                  </a:lnTo>
                  <a:lnTo>
                    <a:pt x="2545462" y="200876"/>
                  </a:lnTo>
                  <a:lnTo>
                    <a:pt x="2545462" y="200228"/>
                  </a:lnTo>
                  <a:lnTo>
                    <a:pt x="2545462" y="200876"/>
                  </a:lnTo>
                  <a:lnTo>
                    <a:pt x="2545462" y="199530"/>
                  </a:lnTo>
                  <a:lnTo>
                    <a:pt x="2545512" y="199530"/>
                  </a:lnTo>
                  <a:lnTo>
                    <a:pt x="2545512" y="200876"/>
                  </a:lnTo>
                  <a:lnTo>
                    <a:pt x="2545512" y="200228"/>
                  </a:lnTo>
                  <a:lnTo>
                    <a:pt x="2545614" y="200228"/>
                  </a:lnTo>
                  <a:lnTo>
                    <a:pt x="2545614" y="199530"/>
                  </a:lnTo>
                  <a:lnTo>
                    <a:pt x="2545665" y="199530"/>
                  </a:lnTo>
                  <a:lnTo>
                    <a:pt x="2545665" y="200228"/>
                  </a:lnTo>
                  <a:lnTo>
                    <a:pt x="2545665" y="199530"/>
                  </a:lnTo>
                  <a:lnTo>
                    <a:pt x="2545665" y="200228"/>
                  </a:lnTo>
                  <a:lnTo>
                    <a:pt x="2545665" y="199530"/>
                  </a:lnTo>
                  <a:lnTo>
                    <a:pt x="2545665" y="200228"/>
                  </a:lnTo>
                  <a:lnTo>
                    <a:pt x="2545665" y="199530"/>
                  </a:lnTo>
                  <a:lnTo>
                    <a:pt x="2545665" y="200228"/>
                  </a:lnTo>
                  <a:lnTo>
                    <a:pt x="2545665" y="199530"/>
                  </a:lnTo>
                  <a:lnTo>
                    <a:pt x="2545665" y="200228"/>
                  </a:lnTo>
                  <a:lnTo>
                    <a:pt x="2545665" y="199530"/>
                  </a:lnTo>
                  <a:lnTo>
                    <a:pt x="2545715" y="199530"/>
                  </a:lnTo>
                  <a:lnTo>
                    <a:pt x="2545715" y="198831"/>
                  </a:lnTo>
                  <a:lnTo>
                    <a:pt x="2545715" y="199530"/>
                  </a:lnTo>
                  <a:lnTo>
                    <a:pt x="2545715" y="198831"/>
                  </a:lnTo>
                  <a:lnTo>
                    <a:pt x="2545715" y="199530"/>
                  </a:lnTo>
                  <a:lnTo>
                    <a:pt x="2545715" y="196799"/>
                  </a:lnTo>
                  <a:lnTo>
                    <a:pt x="2545766" y="197447"/>
                  </a:lnTo>
                  <a:lnTo>
                    <a:pt x="2545766" y="199530"/>
                  </a:lnTo>
                  <a:lnTo>
                    <a:pt x="2545766" y="198831"/>
                  </a:lnTo>
                  <a:lnTo>
                    <a:pt x="2545855" y="198831"/>
                  </a:lnTo>
                  <a:lnTo>
                    <a:pt x="2545855" y="202260"/>
                  </a:lnTo>
                  <a:lnTo>
                    <a:pt x="2545855" y="200228"/>
                  </a:lnTo>
                  <a:lnTo>
                    <a:pt x="2545855" y="200876"/>
                  </a:lnTo>
                  <a:lnTo>
                    <a:pt x="2545906" y="200228"/>
                  </a:lnTo>
                  <a:lnTo>
                    <a:pt x="2545906" y="200876"/>
                  </a:lnTo>
                  <a:lnTo>
                    <a:pt x="2545906" y="200228"/>
                  </a:lnTo>
                  <a:lnTo>
                    <a:pt x="2545906" y="200876"/>
                  </a:lnTo>
                  <a:lnTo>
                    <a:pt x="2545906" y="200228"/>
                  </a:lnTo>
                  <a:lnTo>
                    <a:pt x="2545906" y="200876"/>
                  </a:lnTo>
                  <a:lnTo>
                    <a:pt x="2545957" y="200876"/>
                  </a:lnTo>
                  <a:lnTo>
                    <a:pt x="2545957" y="202260"/>
                  </a:lnTo>
                  <a:lnTo>
                    <a:pt x="2545957" y="200228"/>
                  </a:lnTo>
                  <a:lnTo>
                    <a:pt x="2545957" y="200876"/>
                  </a:lnTo>
                  <a:lnTo>
                    <a:pt x="2546008" y="200876"/>
                  </a:lnTo>
                  <a:lnTo>
                    <a:pt x="2546008" y="200228"/>
                  </a:lnTo>
                  <a:lnTo>
                    <a:pt x="2546008" y="200876"/>
                  </a:lnTo>
                  <a:lnTo>
                    <a:pt x="2546109" y="200876"/>
                  </a:lnTo>
                  <a:lnTo>
                    <a:pt x="2546109" y="200228"/>
                  </a:lnTo>
                  <a:lnTo>
                    <a:pt x="2546109" y="200876"/>
                  </a:lnTo>
                  <a:lnTo>
                    <a:pt x="2546109" y="200228"/>
                  </a:lnTo>
                  <a:lnTo>
                    <a:pt x="2546109" y="200876"/>
                  </a:lnTo>
                  <a:lnTo>
                    <a:pt x="2546109" y="200228"/>
                  </a:lnTo>
                  <a:lnTo>
                    <a:pt x="2546160" y="200228"/>
                  </a:lnTo>
                  <a:lnTo>
                    <a:pt x="2546160" y="199530"/>
                  </a:lnTo>
                  <a:lnTo>
                    <a:pt x="2546160" y="200228"/>
                  </a:lnTo>
                  <a:lnTo>
                    <a:pt x="2546160" y="198831"/>
                  </a:lnTo>
                  <a:lnTo>
                    <a:pt x="2546160" y="199530"/>
                  </a:lnTo>
                  <a:lnTo>
                    <a:pt x="2546211" y="199530"/>
                  </a:lnTo>
                  <a:lnTo>
                    <a:pt x="2546211" y="197447"/>
                  </a:lnTo>
                  <a:lnTo>
                    <a:pt x="2546211" y="198831"/>
                  </a:lnTo>
                  <a:lnTo>
                    <a:pt x="2546211" y="196799"/>
                  </a:lnTo>
                  <a:lnTo>
                    <a:pt x="2546312" y="196799"/>
                  </a:lnTo>
                  <a:lnTo>
                    <a:pt x="2546312" y="196113"/>
                  </a:lnTo>
                  <a:lnTo>
                    <a:pt x="2546312" y="198831"/>
                  </a:lnTo>
                  <a:lnTo>
                    <a:pt x="2546312" y="196799"/>
                  </a:lnTo>
                  <a:lnTo>
                    <a:pt x="2546312" y="197447"/>
                  </a:lnTo>
                  <a:lnTo>
                    <a:pt x="2546350" y="198831"/>
                  </a:lnTo>
                  <a:lnTo>
                    <a:pt x="2546350" y="200228"/>
                  </a:lnTo>
                  <a:lnTo>
                    <a:pt x="2546350" y="198831"/>
                  </a:lnTo>
                  <a:lnTo>
                    <a:pt x="2546350" y="200228"/>
                  </a:lnTo>
                  <a:lnTo>
                    <a:pt x="2546401" y="199530"/>
                  </a:lnTo>
                  <a:lnTo>
                    <a:pt x="2546401" y="200228"/>
                  </a:lnTo>
                  <a:lnTo>
                    <a:pt x="2546452" y="200228"/>
                  </a:lnTo>
                  <a:lnTo>
                    <a:pt x="2546452" y="200876"/>
                  </a:lnTo>
                  <a:lnTo>
                    <a:pt x="2546452" y="200228"/>
                  </a:lnTo>
                  <a:lnTo>
                    <a:pt x="2546452" y="200876"/>
                  </a:lnTo>
                  <a:lnTo>
                    <a:pt x="2546452" y="200228"/>
                  </a:lnTo>
                  <a:lnTo>
                    <a:pt x="2546452" y="200876"/>
                  </a:lnTo>
                  <a:lnTo>
                    <a:pt x="2546452" y="200228"/>
                  </a:lnTo>
                  <a:lnTo>
                    <a:pt x="2546452" y="200876"/>
                  </a:lnTo>
                  <a:lnTo>
                    <a:pt x="2546554" y="200876"/>
                  </a:lnTo>
                  <a:lnTo>
                    <a:pt x="2546554" y="202260"/>
                  </a:lnTo>
                  <a:lnTo>
                    <a:pt x="2546554" y="200876"/>
                  </a:lnTo>
                  <a:lnTo>
                    <a:pt x="2546605" y="202260"/>
                  </a:lnTo>
                  <a:lnTo>
                    <a:pt x="2546605" y="200228"/>
                  </a:lnTo>
                  <a:lnTo>
                    <a:pt x="2546605" y="202260"/>
                  </a:lnTo>
                  <a:lnTo>
                    <a:pt x="2546605" y="200876"/>
                  </a:lnTo>
                  <a:lnTo>
                    <a:pt x="2546655" y="200876"/>
                  </a:lnTo>
                  <a:lnTo>
                    <a:pt x="2546655" y="199530"/>
                  </a:lnTo>
                  <a:lnTo>
                    <a:pt x="2546655" y="200228"/>
                  </a:lnTo>
                  <a:lnTo>
                    <a:pt x="2546655" y="199530"/>
                  </a:lnTo>
                  <a:lnTo>
                    <a:pt x="2546655" y="200228"/>
                  </a:lnTo>
                  <a:lnTo>
                    <a:pt x="2546655" y="199530"/>
                  </a:lnTo>
                  <a:lnTo>
                    <a:pt x="2546757" y="198831"/>
                  </a:lnTo>
                  <a:lnTo>
                    <a:pt x="2546757" y="199530"/>
                  </a:lnTo>
                  <a:lnTo>
                    <a:pt x="2546757" y="197447"/>
                  </a:lnTo>
                  <a:lnTo>
                    <a:pt x="2546757" y="199530"/>
                  </a:lnTo>
                  <a:lnTo>
                    <a:pt x="2546808" y="199530"/>
                  </a:lnTo>
                  <a:lnTo>
                    <a:pt x="2546808" y="196799"/>
                  </a:lnTo>
                  <a:lnTo>
                    <a:pt x="2546808" y="200876"/>
                  </a:lnTo>
                  <a:lnTo>
                    <a:pt x="2546859" y="200228"/>
                  </a:lnTo>
                  <a:lnTo>
                    <a:pt x="2546859" y="198831"/>
                  </a:lnTo>
                  <a:lnTo>
                    <a:pt x="2546859" y="200228"/>
                  </a:lnTo>
                  <a:lnTo>
                    <a:pt x="2546897" y="200228"/>
                  </a:lnTo>
                  <a:lnTo>
                    <a:pt x="2546897" y="199530"/>
                  </a:lnTo>
                  <a:lnTo>
                    <a:pt x="2546897" y="200876"/>
                  </a:lnTo>
                  <a:lnTo>
                    <a:pt x="2546897" y="200228"/>
                  </a:lnTo>
                  <a:lnTo>
                    <a:pt x="2546998" y="200228"/>
                  </a:lnTo>
                  <a:lnTo>
                    <a:pt x="2546998" y="200876"/>
                  </a:lnTo>
                  <a:lnTo>
                    <a:pt x="2546998" y="200228"/>
                  </a:lnTo>
                  <a:lnTo>
                    <a:pt x="2546998" y="200876"/>
                  </a:lnTo>
                  <a:lnTo>
                    <a:pt x="2546998" y="200228"/>
                  </a:lnTo>
                  <a:lnTo>
                    <a:pt x="2547049" y="200228"/>
                  </a:lnTo>
                  <a:lnTo>
                    <a:pt x="2547049" y="200876"/>
                  </a:lnTo>
                  <a:lnTo>
                    <a:pt x="2547100" y="200876"/>
                  </a:lnTo>
                  <a:lnTo>
                    <a:pt x="2547100" y="200228"/>
                  </a:lnTo>
                  <a:lnTo>
                    <a:pt x="2547100" y="200876"/>
                  </a:lnTo>
                  <a:lnTo>
                    <a:pt x="2547100" y="200228"/>
                  </a:lnTo>
                  <a:lnTo>
                    <a:pt x="2547201" y="200228"/>
                  </a:lnTo>
                  <a:lnTo>
                    <a:pt x="2547201" y="200876"/>
                  </a:lnTo>
                  <a:lnTo>
                    <a:pt x="2547201" y="199530"/>
                  </a:lnTo>
                  <a:lnTo>
                    <a:pt x="2547201" y="200228"/>
                  </a:lnTo>
                  <a:lnTo>
                    <a:pt x="2547201" y="199530"/>
                  </a:lnTo>
                  <a:lnTo>
                    <a:pt x="2547201" y="200228"/>
                  </a:lnTo>
                  <a:lnTo>
                    <a:pt x="2547201" y="199530"/>
                  </a:lnTo>
                  <a:lnTo>
                    <a:pt x="2547252" y="198831"/>
                  </a:lnTo>
                  <a:lnTo>
                    <a:pt x="2547252" y="196799"/>
                  </a:lnTo>
                  <a:lnTo>
                    <a:pt x="2547252" y="199530"/>
                  </a:lnTo>
                  <a:lnTo>
                    <a:pt x="2547252" y="198831"/>
                  </a:lnTo>
                  <a:lnTo>
                    <a:pt x="2547303" y="197447"/>
                  </a:lnTo>
                  <a:lnTo>
                    <a:pt x="2547303" y="196799"/>
                  </a:lnTo>
                  <a:lnTo>
                    <a:pt x="2547303" y="200876"/>
                  </a:lnTo>
                  <a:lnTo>
                    <a:pt x="2547303" y="199530"/>
                  </a:lnTo>
                  <a:lnTo>
                    <a:pt x="2547354" y="199530"/>
                  </a:lnTo>
                  <a:lnTo>
                    <a:pt x="2547354" y="198831"/>
                  </a:lnTo>
                  <a:lnTo>
                    <a:pt x="2547354" y="200876"/>
                  </a:lnTo>
                  <a:lnTo>
                    <a:pt x="2547354" y="199530"/>
                  </a:lnTo>
                  <a:lnTo>
                    <a:pt x="2547443" y="199530"/>
                  </a:lnTo>
                  <a:lnTo>
                    <a:pt x="2547443" y="200876"/>
                  </a:lnTo>
                  <a:lnTo>
                    <a:pt x="2547443" y="200228"/>
                  </a:lnTo>
                  <a:lnTo>
                    <a:pt x="2547443" y="200876"/>
                  </a:lnTo>
                  <a:lnTo>
                    <a:pt x="2547494" y="200228"/>
                  </a:lnTo>
                  <a:lnTo>
                    <a:pt x="2547494" y="200876"/>
                  </a:lnTo>
                  <a:lnTo>
                    <a:pt x="2547494" y="200228"/>
                  </a:lnTo>
                  <a:lnTo>
                    <a:pt x="2547494" y="200876"/>
                  </a:lnTo>
                  <a:lnTo>
                    <a:pt x="2547494" y="200228"/>
                  </a:lnTo>
                  <a:lnTo>
                    <a:pt x="2547494" y="200876"/>
                  </a:lnTo>
                  <a:lnTo>
                    <a:pt x="2547494" y="200228"/>
                  </a:lnTo>
                  <a:lnTo>
                    <a:pt x="2547544" y="200228"/>
                  </a:lnTo>
                  <a:lnTo>
                    <a:pt x="2547544" y="202260"/>
                  </a:lnTo>
                  <a:lnTo>
                    <a:pt x="2547544" y="200228"/>
                  </a:lnTo>
                  <a:lnTo>
                    <a:pt x="2547544" y="200876"/>
                  </a:lnTo>
                  <a:lnTo>
                    <a:pt x="2547595" y="200876"/>
                  </a:lnTo>
                  <a:lnTo>
                    <a:pt x="2547595" y="200228"/>
                  </a:lnTo>
                  <a:lnTo>
                    <a:pt x="2547697" y="199530"/>
                  </a:lnTo>
                  <a:lnTo>
                    <a:pt x="2547697" y="200228"/>
                  </a:lnTo>
                  <a:lnTo>
                    <a:pt x="2547697" y="197447"/>
                  </a:lnTo>
                  <a:lnTo>
                    <a:pt x="2547747" y="197447"/>
                  </a:lnTo>
                  <a:lnTo>
                    <a:pt x="2547747" y="198831"/>
                  </a:lnTo>
                  <a:lnTo>
                    <a:pt x="2547747" y="196799"/>
                  </a:lnTo>
                  <a:lnTo>
                    <a:pt x="2547798" y="197447"/>
                  </a:lnTo>
                  <a:lnTo>
                    <a:pt x="2547798" y="200228"/>
                  </a:lnTo>
                  <a:lnTo>
                    <a:pt x="2547798" y="198831"/>
                  </a:lnTo>
                  <a:lnTo>
                    <a:pt x="2547900" y="198831"/>
                  </a:lnTo>
                  <a:lnTo>
                    <a:pt x="2547900" y="200228"/>
                  </a:lnTo>
                  <a:lnTo>
                    <a:pt x="2547900" y="198831"/>
                  </a:lnTo>
                  <a:lnTo>
                    <a:pt x="2547900" y="199530"/>
                  </a:lnTo>
                  <a:lnTo>
                    <a:pt x="2547938" y="200228"/>
                  </a:lnTo>
                  <a:lnTo>
                    <a:pt x="2547938" y="199530"/>
                  </a:lnTo>
                  <a:lnTo>
                    <a:pt x="2547938" y="200228"/>
                  </a:lnTo>
                  <a:lnTo>
                    <a:pt x="2547938" y="199530"/>
                  </a:lnTo>
                  <a:lnTo>
                    <a:pt x="2547938" y="200228"/>
                  </a:lnTo>
                  <a:lnTo>
                    <a:pt x="2547989" y="200228"/>
                  </a:lnTo>
                  <a:lnTo>
                    <a:pt x="2547989" y="199530"/>
                  </a:lnTo>
                  <a:lnTo>
                    <a:pt x="2547989" y="200228"/>
                  </a:lnTo>
                  <a:lnTo>
                    <a:pt x="2547989" y="199530"/>
                  </a:lnTo>
                  <a:lnTo>
                    <a:pt x="2547989" y="200228"/>
                  </a:lnTo>
                  <a:lnTo>
                    <a:pt x="2547989" y="199530"/>
                  </a:lnTo>
                  <a:lnTo>
                    <a:pt x="2547989" y="200228"/>
                  </a:lnTo>
                  <a:lnTo>
                    <a:pt x="2547989" y="199530"/>
                  </a:lnTo>
                  <a:lnTo>
                    <a:pt x="2547989" y="200228"/>
                  </a:lnTo>
                  <a:lnTo>
                    <a:pt x="2548040" y="199530"/>
                  </a:lnTo>
                  <a:lnTo>
                    <a:pt x="2548040" y="200228"/>
                  </a:lnTo>
                  <a:lnTo>
                    <a:pt x="2548040" y="199530"/>
                  </a:lnTo>
                  <a:lnTo>
                    <a:pt x="2548040" y="200228"/>
                  </a:lnTo>
                  <a:lnTo>
                    <a:pt x="2548040" y="199530"/>
                  </a:lnTo>
                  <a:lnTo>
                    <a:pt x="2548040" y="200228"/>
                  </a:lnTo>
                  <a:lnTo>
                    <a:pt x="2548141" y="199530"/>
                  </a:lnTo>
                  <a:lnTo>
                    <a:pt x="2548141" y="200228"/>
                  </a:lnTo>
                  <a:lnTo>
                    <a:pt x="2548141" y="199530"/>
                  </a:lnTo>
                  <a:lnTo>
                    <a:pt x="2548141" y="200228"/>
                  </a:lnTo>
                  <a:lnTo>
                    <a:pt x="2548141" y="199530"/>
                  </a:lnTo>
                  <a:lnTo>
                    <a:pt x="2548141" y="200228"/>
                  </a:lnTo>
                  <a:lnTo>
                    <a:pt x="2548141" y="199530"/>
                  </a:lnTo>
                  <a:lnTo>
                    <a:pt x="2548141" y="200228"/>
                  </a:lnTo>
                  <a:lnTo>
                    <a:pt x="2548141" y="199530"/>
                  </a:lnTo>
                  <a:lnTo>
                    <a:pt x="2548141" y="200228"/>
                  </a:lnTo>
                  <a:lnTo>
                    <a:pt x="2548141" y="199530"/>
                  </a:lnTo>
                  <a:lnTo>
                    <a:pt x="2548141" y="200228"/>
                  </a:lnTo>
                  <a:lnTo>
                    <a:pt x="2548141" y="198831"/>
                  </a:lnTo>
                  <a:lnTo>
                    <a:pt x="2548192" y="198831"/>
                  </a:lnTo>
                  <a:lnTo>
                    <a:pt x="2548192" y="196799"/>
                  </a:lnTo>
                  <a:lnTo>
                    <a:pt x="2548192" y="197447"/>
                  </a:lnTo>
                  <a:lnTo>
                    <a:pt x="2548243" y="197447"/>
                  </a:lnTo>
                  <a:lnTo>
                    <a:pt x="2548243" y="198831"/>
                  </a:lnTo>
                  <a:lnTo>
                    <a:pt x="2548344" y="198831"/>
                  </a:lnTo>
                  <a:lnTo>
                    <a:pt x="2548344" y="200228"/>
                  </a:lnTo>
                  <a:lnTo>
                    <a:pt x="2548344" y="198831"/>
                  </a:lnTo>
                  <a:lnTo>
                    <a:pt x="2548344" y="199530"/>
                  </a:lnTo>
                  <a:lnTo>
                    <a:pt x="2548395" y="199530"/>
                  </a:lnTo>
                  <a:lnTo>
                    <a:pt x="2548395" y="198831"/>
                  </a:lnTo>
                  <a:lnTo>
                    <a:pt x="2548395" y="200228"/>
                  </a:lnTo>
                  <a:lnTo>
                    <a:pt x="2548446" y="199530"/>
                  </a:lnTo>
                  <a:lnTo>
                    <a:pt x="2548446" y="200228"/>
                  </a:lnTo>
                  <a:lnTo>
                    <a:pt x="2548446" y="199530"/>
                  </a:lnTo>
                  <a:lnTo>
                    <a:pt x="2548446" y="200228"/>
                  </a:lnTo>
                  <a:lnTo>
                    <a:pt x="2548446" y="199530"/>
                  </a:lnTo>
                  <a:lnTo>
                    <a:pt x="2548446" y="200228"/>
                  </a:lnTo>
                  <a:lnTo>
                    <a:pt x="2548446" y="199530"/>
                  </a:lnTo>
                  <a:lnTo>
                    <a:pt x="2548446" y="200228"/>
                  </a:lnTo>
                  <a:lnTo>
                    <a:pt x="2548484" y="200228"/>
                  </a:lnTo>
                  <a:lnTo>
                    <a:pt x="2548484" y="200876"/>
                  </a:lnTo>
                  <a:lnTo>
                    <a:pt x="2548484" y="200228"/>
                  </a:lnTo>
                  <a:lnTo>
                    <a:pt x="2548484" y="200876"/>
                  </a:lnTo>
                  <a:lnTo>
                    <a:pt x="2548484" y="200228"/>
                  </a:lnTo>
                  <a:lnTo>
                    <a:pt x="2548484" y="200876"/>
                  </a:lnTo>
                  <a:lnTo>
                    <a:pt x="2548484" y="200228"/>
                  </a:lnTo>
                  <a:lnTo>
                    <a:pt x="2548484" y="200876"/>
                  </a:lnTo>
                  <a:lnTo>
                    <a:pt x="2548586" y="200228"/>
                  </a:lnTo>
                  <a:lnTo>
                    <a:pt x="2548586" y="200876"/>
                  </a:lnTo>
                  <a:lnTo>
                    <a:pt x="2548586" y="200228"/>
                  </a:lnTo>
                  <a:lnTo>
                    <a:pt x="2548586" y="200876"/>
                  </a:lnTo>
                  <a:lnTo>
                    <a:pt x="2548586" y="200228"/>
                  </a:lnTo>
                  <a:lnTo>
                    <a:pt x="2548586" y="200876"/>
                  </a:lnTo>
                  <a:lnTo>
                    <a:pt x="2548637" y="200228"/>
                  </a:lnTo>
                  <a:lnTo>
                    <a:pt x="2548637" y="199530"/>
                  </a:lnTo>
                  <a:lnTo>
                    <a:pt x="2548637" y="200228"/>
                  </a:lnTo>
                  <a:lnTo>
                    <a:pt x="2548637" y="199530"/>
                  </a:lnTo>
                  <a:lnTo>
                    <a:pt x="2548687" y="198831"/>
                  </a:lnTo>
                  <a:lnTo>
                    <a:pt x="2548687" y="196799"/>
                  </a:lnTo>
                  <a:lnTo>
                    <a:pt x="2548789" y="196799"/>
                  </a:lnTo>
                  <a:lnTo>
                    <a:pt x="2548789" y="199530"/>
                  </a:lnTo>
                  <a:lnTo>
                    <a:pt x="2548789" y="197447"/>
                  </a:lnTo>
                  <a:lnTo>
                    <a:pt x="2548789" y="199530"/>
                  </a:lnTo>
                  <a:lnTo>
                    <a:pt x="2548840" y="199530"/>
                  </a:lnTo>
                  <a:lnTo>
                    <a:pt x="2548840" y="200876"/>
                  </a:lnTo>
                  <a:lnTo>
                    <a:pt x="2548840" y="199530"/>
                  </a:lnTo>
                  <a:lnTo>
                    <a:pt x="2548840" y="200876"/>
                  </a:lnTo>
                  <a:lnTo>
                    <a:pt x="2548890" y="200876"/>
                  </a:lnTo>
                  <a:lnTo>
                    <a:pt x="2548890" y="199530"/>
                  </a:lnTo>
                  <a:lnTo>
                    <a:pt x="2548890" y="200876"/>
                  </a:lnTo>
                  <a:lnTo>
                    <a:pt x="2548941" y="200876"/>
                  </a:lnTo>
                  <a:lnTo>
                    <a:pt x="2548941" y="200228"/>
                  </a:lnTo>
                  <a:lnTo>
                    <a:pt x="2548941" y="200876"/>
                  </a:lnTo>
                  <a:lnTo>
                    <a:pt x="2548941" y="199530"/>
                  </a:lnTo>
                  <a:lnTo>
                    <a:pt x="2548941" y="200876"/>
                  </a:lnTo>
                  <a:lnTo>
                    <a:pt x="2549030" y="200876"/>
                  </a:lnTo>
                  <a:lnTo>
                    <a:pt x="2549030" y="199530"/>
                  </a:lnTo>
                  <a:lnTo>
                    <a:pt x="2549030" y="200876"/>
                  </a:lnTo>
                  <a:lnTo>
                    <a:pt x="2549030" y="200228"/>
                  </a:lnTo>
                  <a:lnTo>
                    <a:pt x="2549081" y="200228"/>
                  </a:lnTo>
                  <a:lnTo>
                    <a:pt x="2549081" y="200876"/>
                  </a:lnTo>
                  <a:lnTo>
                    <a:pt x="2549081" y="200228"/>
                  </a:lnTo>
                  <a:lnTo>
                    <a:pt x="2549081" y="200876"/>
                  </a:lnTo>
                  <a:lnTo>
                    <a:pt x="2549081" y="200228"/>
                  </a:lnTo>
                  <a:lnTo>
                    <a:pt x="2549132" y="200228"/>
                  </a:lnTo>
                  <a:lnTo>
                    <a:pt x="2549132" y="198831"/>
                  </a:lnTo>
                  <a:lnTo>
                    <a:pt x="2549183" y="198831"/>
                  </a:lnTo>
                  <a:lnTo>
                    <a:pt x="2549183" y="196799"/>
                  </a:lnTo>
                  <a:lnTo>
                    <a:pt x="2549183" y="197447"/>
                  </a:lnTo>
                  <a:lnTo>
                    <a:pt x="2549284" y="197447"/>
                  </a:lnTo>
                  <a:lnTo>
                    <a:pt x="2549284" y="198831"/>
                  </a:lnTo>
                  <a:lnTo>
                    <a:pt x="2549284" y="196799"/>
                  </a:lnTo>
                  <a:lnTo>
                    <a:pt x="2549284" y="199530"/>
                  </a:lnTo>
                  <a:lnTo>
                    <a:pt x="2549335" y="200228"/>
                  </a:lnTo>
                  <a:lnTo>
                    <a:pt x="2549335" y="198831"/>
                  </a:lnTo>
                  <a:lnTo>
                    <a:pt x="2549335" y="199530"/>
                  </a:lnTo>
                  <a:lnTo>
                    <a:pt x="2549386" y="199530"/>
                  </a:lnTo>
                  <a:lnTo>
                    <a:pt x="2549386" y="200228"/>
                  </a:lnTo>
                  <a:lnTo>
                    <a:pt x="2549386" y="199530"/>
                  </a:lnTo>
                  <a:lnTo>
                    <a:pt x="2549386" y="200228"/>
                  </a:lnTo>
                  <a:lnTo>
                    <a:pt x="2549386" y="199530"/>
                  </a:lnTo>
                  <a:lnTo>
                    <a:pt x="2549487" y="199530"/>
                  </a:lnTo>
                  <a:lnTo>
                    <a:pt x="2549487" y="200228"/>
                  </a:lnTo>
                  <a:lnTo>
                    <a:pt x="2549487" y="199530"/>
                  </a:lnTo>
                  <a:lnTo>
                    <a:pt x="2549487" y="200228"/>
                  </a:lnTo>
                  <a:lnTo>
                    <a:pt x="2549525" y="200228"/>
                  </a:lnTo>
                  <a:lnTo>
                    <a:pt x="2549525" y="200876"/>
                  </a:lnTo>
                  <a:lnTo>
                    <a:pt x="2549525" y="200228"/>
                  </a:lnTo>
                  <a:lnTo>
                    <a:pt x="2549525" y="200876"/>
                  </a:lnTo>
                  <a:lnTo>
                    <a:pt x="2549576" y="200876"/>
                  </a:lnTo>
                  <a:lnTo>
                    <a:pt x="2549576" y="200228"/>
                  </a:lnTo>
                  <a:lnTo>
                    <a:pt x="2549576" y="200876"/>
                  </a:lnTo>
                  <a:lnTo>
                    <a:pt x="2549576" y="200228"/>
                  </a:lnTo>
                  <a:lnTo>
                    <a:pt x="2549576" y="200876"/>
                  </a:lnTo>
                  <a:lnTo>
                    <a:pt x="2549576" y="200228"/>
                  </a:lnTo>
                  <a:lnTo>
                    <a:pt x="2549576" y="200876"/>
                  </a:lnTo>
                  <a:lnTo>
                    <a:pt x="2549576" y="200228"/>
                  </a:lnTo>
                  <a:lnTo>
                    <a:pt x="2549627" y="200228"/>
                  </a:lnTo>
                  <a:lnTo>
                    <a:pt x="2549627" y="199530"/>
                  </a:lnTo>
                  <a:lnTo>
                    <a:pt x="2549627" y="200228"/>
                  </a:lnTo>
                  <a:lnTo>
                    <a:pt x="2549627" y="197447"/>
                  </a:lnTo>
                  <a:lnTo>
                    <a:pt x="2549627" y="198831"/>
                  </a:lnTo>
                  <a:lnTo>
                    <a:pt x="2549729" y="198831"/>
                  </a:lnTo>
                  <a:lnTo>
                    <a:pt x="2549729" y="196799"/>
                  </a:lnTo>
                  <a:lnTo>
                    <a:pt x="2549729" y="199530"/>
                  </a:lnTo>
                  <a:lnTo>
                    <a:pt x="2549780" y="198831"/>
                  </a:lnTo>
                  <a:lnTo>
                    <a:pt x="2549780" y="197447"/>
                  </a:lnTo>
                  <a:lnTo>
                    <a:pt x="2549780" y="200228"/>
                  </a:lnTo>
                  <a:lnTo>
                    <a:pt x="2549830" y="199530"/>
                  </a:lnTo>
                  <a:lnTo>
                    <a:pt x="2549830" y="198831"/>
                  </a:lnTo>
                  <a:lnTo>
                    <a:pt x="2549830" y="200228"/>
                  </a:lnTo>
                  <a:lnTo>
                    <a:pt x="2549932" y="200228"/>
                  </a:lnTo>
                  <a:lnTo>
                    <a:pt x="2549932" y="199530"/>
                  </a:lnTo>
                  <a:lnTo>
                    <a:pt x="2549932" y="200228"/>
                  </a:lnTo>
                  <a:lnTo>
                    <a:pt x="2549983" y="200228"/>
                  </a:lnTo>
                  <a:lnTo>
                    <a:pt x="2549983" y="200876"/>
                  </a:lnTo>
                  <a:lnTo>
                    <a:pt x="2549983" y="200228"/>
                  </a:lnTo>
                  <a:lnTo>
                    <a:pt x="2550034" y="200228"/>
                  </a:lnTo>
                  <a:lnTo>
                    <a:pt x="2550034" y="200876"/>
                  </a:lnTo>
                  <a:lnTo>
                    <a:pt x="2550034" y="200228"/>
                  </a:lnTo>
                  <a:lnTo>
                    <a:pt x="2550034" y="200876"/>
                  </a:lnTo>
                  <a:lnTo>
                    <a:pt x="2550034" y="200228"/>
                  </a:lnTo>
                  <a:lnTo>
                    <a:pt x="2550072" y="200228"/>
                  </a:lnTo>
                  <a:lnTo>
                    <a:pt x="2550072" y="200876"/>
                  </a:lnTo>
                  <a:lnTo>
                    <a:pt x="2550072" y="200228"/>
                  </a:lnTo>
                  <a:lnTo>
                    <a:pt x="2550173" y="200228"/>
                  </a:lnTo>
                  <a:lnTo>
                    <a:pt x="2550173" y="199530"/>
                  </a:lnTo>
                  <a:lnTo>
                    <a:pt x="2550173" y="200228"/>
                  </a:lnTo>
                  <a:lnTo>
                    <a:pt x="2550173" y="198831"/>
                  </a:lnTo>
                  <a:lnTo>
                    <a:pt x="2550173" y="199530"/>
                  </a:lnTo>
                  <a:lnTo>
                    <a:pt x="2550173" y="197447"/>
                  </a:lnTo>
                  <a:lnTo>
                    <a:pt x="2550173" y="198831"/>
                  </a:lnTo>
                  <a:lnTo>
                    <a:pt x="2550173" y="197447"/>
                  </a:lnTo>
                  <a:lnTo>
                    <a:pt x="2550224" y="197447"/>
                  </a:lnTo>
                  <a:lnTo>
                    <a:pt x="2550224" y="196799"/>
                  </a:lnTo>
                  <a:lnTo>
                    <a:pt x="2550224" y="198831"/>
                  </a:lnTo>
                  <a:lnTo>
                    <a:pt x="2550275" y="197447"/>
                  </a:lnTo>
                  <a:lnTo>
                    <a:pt x="2550275" y="196113"/>
                  </a:lnTo>
                  <a:lnTo>
                    <a:pt x="2550275" y="199530"/>
                  </a:lnTo>
                  <a:lnTo>
                    <a:pt x="2550275" y="198831"/>
                  </a:lnTo>
                  <a:lnTo>
                    <a:pt x="2550275" y="199530"/>
                  </a:lnTo>
                  <a:lnTo>
                    <a:pt x="2550376" y="199530"/>
                  </a:lnTo>
                  <a:lnTo>
                    <a:pt x="2550376" y="197447"/>
                  </a:lnTo>
                  <a:lnTo>
                    <a:pt x="2550376" y="199530"/>
                  </a:lnTo>
                  <a:lnTo>
                    <a:pt x="2550427" y="199530"/>
                  </a:lnTo>
                  <a:lnTo>
                    <a:pt x="2550427" y="198831"/>
                  </a:lnTo>
                  <a:lnTo>
                    <a:pt x="2550427" y="200228"/>
                  </a:lnTo>
                  <a:lnTo>
                    <a:pt x="2550478" y="199530"/>
                  </a:lnTo>
                  <a:lnTo>
                    <a:pt x="2550478" y="200876"/>
                  </a:lnTo>
                  <a:lnTo>
                    <a:pt x="2550478" y="200228"/>
                  </a:lnTo>
                  <a:lnTo>
                    <a:pt x="2550478" y="200876"/>
                  </a:lnTo>
                  <a:lnTo>
                    <a:pt x="2550478" y="200228"/>
                  </a:lnTo>
                  <a:lnTo>
                    <a:pt x="2550529" y="200876"/>
                  </a:lnTo>
                  <a:lnTo>
                    <a:pt x="2550529" y="200228"/>
                  </a:lnTo>
                  <a:lnTo>
                    <a:pt x="2550529" y="200876"/>
                  </a:lnTo>
                  <a:lnTo>
                    <a:pt x="2550618" y="200228"/>
                  </a:lnTo>
                  <a:lnTo>
                    <a:pt x="2550618" y="200876"/>
                  </a:lnTo>
                  <a:lnTo>
                    <a:pt x="2550618" y="200228"/>
                  </a:lnTo>
                  <a:lnTo>
                    <a:pt x="2550618" y="200876"/>
                  </a:lnTo>
                  <a:lnTo>
                    <a:pt x="2550618" y="200228"/>
                  </a:lnTo>
                  <a:lnTo>
                    <a:pt x="2550669" y="200228"/>
                  </a:lnTo>
                  <a:lnTo>
                    <a:pt x="2550669" y="198831"/>
                  </a:lnTo>
                  <a:lnTo>
                    <a:pt x="2550669" y="199530"/>
                  </a:lnTo>
                  <a:lnTo>
                    <a:pt x="2550669" y="197447"/>
                  </a:lnTo>
                  <a:lnTo>
                    <a:pt x="2550719" y="197447"/>
                  </a:lnTo>
                  <a:lnTo>
                    <a:pt x="2550719" y="198831"/>
                  </a:lnTo>
                  <a:lnTo>
                    <a:pt x="2550719" y="196113"/>
                  </a:lnTo>
                  <a:lnTo>
                    <a:pt x="2550719" y="197447"/>
                  </a:lnTo>
                  <a:lnTo>
                    <a:pt x="2550719" y="196799"/>
                  </a:lnTo>
                  <a:lnTo>
                    <a:pt x="2550719" y="197447"/>
                  </a:lnTo>
                  <a:lnTo>
                    <a:pt x="2550770" y="197447"/>
                  </a:lnTo>
                  <a:lnTo>
                    <a:pt x="2550770" y="196799"/>
                  </a:lnTo>
                  <a:lnTo>
                    <a:pt x="2550770" y="198831"/>
                  </a:lnTo>
                  <a:lnTo>
                    <a:pt x="2550872" y="197447"/>
                  </a:lnTo>
                  <a:lnTo>
                    <a:pt x="2550872" y="198831"/>
                  </a:lnTo>
                  <a:lnTo>
                    <a:pt x="2550872" y="197447"/>
                  </a:lnTo>
                  <a:lnTo>
                    <a:pt x="2550872" y="198831"/>
                  </a:lnTo>
                  <a:lnTo>
                    <a:pt x="2550872" y="197447"/>
                  </a:lnTo>
                  <a:lnTo>
                    <a:pt x="2550872" y="199530"/>
                  </a:lnTo>
                  <a:lnTo>
                    <a:pt x="2550872" y="198831"/>
                  </a:lnTo>
                  <a:lnTo>
                    <a:pt x="2550922" y="198831"/>
                  </a:lnTo>
                  <a:lnTo>
                    <a:pt x="2550922" y="199530"/>
                  </a:lnTo>
                  <a:lnTo>
                    <a:pt x="2550922" y="198831"/>
                  </a:lnTo>
                  <a:lnTo>
                    <a:pt x="2550922" y="199530"/>
                  </a:lnTo>
                  <a:lnTo>
                    <a:pt x="2550922" y="198831"/>
                  </a:lnTo>
                  <a:lnTo>
                    <a:pt x="2550973" y="198831"/>
                  </a:lnTo>
                  <a:lnTo>
                    <a:pt x="2550973" y="200228"/>
                  </a:lnTo>
                  <a:lnTo>
                    <a:pt x="2550973" y="199530"/>
                  </a:lnTo>
                  <a:lnTo>
                    <a:pt x="2551075" y="199530"/>
                  </a:lnTo>
                  <a:lnTo>
                    <a:pt x="2551075" y="200228"/>
                  </a:lnTo>
                  <a:lnTo>
                    <a:pt x="2551113" y="200228"/>
                  </a:lnTo>
                  <a:lnTo>
                    <a:pt x="2551113" y="199530"/>
                  </a:lnTo>
                  <a:lnTo>
                    <a:pt x="2551113" y="200228"/>
                  </a:lnTo>
                  <a:lnTo>
                    <a:pt x="2551113" y="199530"/>
                  </a:lnTo>
                  <a:lnTo>
                    <a:pt x="2551113" y="200228"/>
                  </a:lnTo>
                  <a:lnTo>
                    <a:pt x="2551113" y="199530"/>
                  </a:lnTo>
                  <a:lnTo>
                    <a:pt x="2551164" y="199530"/>
                  </a:lnTo>
                  <a:lnTo>
                    <a:pt x="2551164" y="197447"/>
                  </a:lnTo>
                  <a:lnTo>
                    <a:pt x="2551164" y="198831"/>
                  </a:lnTo>
                  <a:lnTo>
                    <a:pt x="2551215" y="198831"/>
                  </a:lnTo>
                  <a:lnTo>
                    <a:pt x="2551215" y="200228"/>
                  </a:lnTo>
                  <a:lnTo>
                    <a:pt x="2551215" y="197447"/>
                  </a:lnTo>
                  <a:lnTo>
                    <a:pt x="2551215" y="200228"/>
                  </a:lnTo>
                  <a:lnTo>
                    <a:pt x="2551316" y="200228"/>
                  </a:lnTo>
                  <a:lnTo>
                    <a:pt x="2551316" y="200876"/>
                  </a:lnTo>
                  <a:lnTo>
                    <a:pt x="2551316" y="199530"/>
                  </a:lnTo>
                  <a:lnTo>
                    <a:pt x="2551316" y="200228"/>
                  </a:lnTo>
                  <a:lnTo>
                    <a:pt x="2551316" y="199530"/>
                  </a:lnTo>
                  <a:lnTo>
                    <a:pt x="2551316" y="200876"/>
                  </a:lnTo>
                  <a:lnTo>
                    <a:pt x="2551367" y="200228"/>
                  </a:lnTo>
                  <a:lnTo>
                    <a:pt x="2551367" y="200876"/>
                  </a:lnTo>
                  <a:lnTo>
                    <a:pt x="2551367" y="199530"/>
                  </a:lnTo>
                  <a:lnTo>
                    <a:pt x="2551367" y="200228"/>
                  </a:lnTo>
                  <a:lnTo>
                    <a:pt x="2551367" y="199530"/>
                  </a:lnTo>
                  <a:lnTo>
                    <a:pt x="2551418" y="199530"/>
                  </a:lnTo>
                  <a:lnTo>
                    <a:pt x="2551418" y="200876"/>
                  </a:lnTo>
                  <a:lnTo>
                    <a:pt x="2551418" y="200228"/>
                  </a:lnTo>
                  <a:lnTo>
                    <a:pt x="2551418" y="200876"/>
                  </a:lnTo>
                  <a:lnTo>
                    <a:pt x="2551519" y="200228"/>
                  </a:lnTo>
                  <a:lnTo>
                    <a:pt x="2551519" y="200876"/>
                  </a:lnTo>
                  <a:lnTo>
                    <a:pt x="2551519" y="200228"/>
                  </a:lnTo>
                  <a:lnTo>
                    <a:pt x="2551570" y="200876"/>
                  </a:lnTo>
                  <a:lnTo>
                    <a:pt x="2551570" y="200228"/>
                  </a:lnTo>
                  <a:lnTo>
                    <a:pt x="2551570" y="200876"/>
                  </a:lnTo>
                  <a:lnTo>
                    <a:pt x="2551570" y="200228"/>
                  </a:lnTo>
                  <a:lnTo>
                    <a:pt x="2551570" y="200876"/>
                  </a:lnTo>
                  <a:lnTo>
                    <a:pt x="2551570" y="200228"/>
                  </a:lnTo>
                  <a:lnTo>
                    <a:pt x="2551570" y="200876"/>
                  </a:lnTo>
                  <a:lnTo>
                    <a:pt x="2551570" y="200228"/>
                  </a:lnTo>
                  <a:lnTo>
                    <a:pt x="2551621" y="200228"/>
                  </a:lnTo>
                  <a:lnTo>
                    <a:pt x="2551621" y="199530"/>
                  </a:lnTo>
                  <a:lnTo>
                    <a:pt x="2551621" y="200228"/>
                  </a:lnTo>
                  <a:lnTo>
                    <a:pt x="2551621" y="198831"/>
                  </a:lnTo>
                  <a:lnTo>
                    <a:pt x="2551621" y="199530"/>
                  </a:lnTo>
                  <a:lnTo>
                    <a:pt x="2551659" y="199530"/>
                  </a:lnTo>
                  <a:lnTo>
                    <a:pt x="2551659" y="197447"/>
                  </a:lnTo>
                  <a:lnTo>
                    <a:pt x="2551659" y="198831"/>
                  </a:lnTo>
                  <a:lnTo>
                    <a:pt x="2551659" y="197447"/>
                  </a:lnTo>
                  <a:lnTo>
                    <a:pt x="2551659" y="200876"/>
                  </a:lnTo>
                  <a:lnTo>
                    <a:pt x="2551659" y="200228"/>
                  </a:lnTo>
                  <a:lnTo>
                    <a:pt x="2551761" y="200876"/>
                  </a:lnTo>
                  <a:lnTo>
                    <a:pt x="2551761" y="198831"/>
                  </a:lnTo>
                  <a:lnTo>
                    <a:pt x="2551761" y="199530"/>
                  </a:lnTo>
                  <a:lnTo>
                    <a:pt x="2551761" y="198831"/>
                  </a:lnTo>
                  <a:lnTo>
                    <a:pt x="2551761" y="202260"/>
                  </a:lnTo>
                  <a:lnTo>
                    <a:pt x="2551761" y="200876"/>
                  </a:lnTo>
                  <a:lnTo>
                    <a:pt x="2551761" y="202260"/>
                  </a:lnTo>
                  <a:lnTo>
                    <a:pt x="2551812" y="200876"/>
                  </a:lnTo>
                  <a:lnTo>
                    <a:pt x="2551812" y="200228"/>
                  </a:lnTo>
                  <a:lnTo>
                    <a:pt x="2551812" y="202959"/>
                  </a:lnTo>
                  <a:lnTo>
                    <a:pt x="2551812" y="202260"/>
                  </a:lnTo>
                  <a:lnTo>
                    <a:pt x="2551862" y="202260"/>
                  </a:lnTo>
                  <a:lnTo>
                    <a:pt x="2551862" y="200228"/>
                  </a:lnTo>
                  <a:lnTo>
                    <a:pt x="2551862" y="202260"/>
                  </a:lnTo>
                  <a:lnTo>
                    <a:pt x="2551862" y="200876"/>
                  </a:lnTo>
                  <a:lnTo>
                    <a:pt x="2551964" y="200876"/>
                  </a:lnTo>
                  <a:lnTo>
                    <a:pt x="2551964" y="202260"/>
                  </a:lnTo>
                  <a:lnTo>
                    <a:pt x="2551964" y="200876"/>
                  </a:lnTo>
                  <a:lnTo>
                    <a:pt x="2551964" y="202260"/>
                  </a:lnTo>
                  <a:lnTo>
                    <a:pt x="2552015" y="200876"/>
                  </a:lnTo>
                  <a:lnTo>
                    <a:pt x="2552015" y="202260"/>
                  </a:lnTo>
                  <a:lnTo>
                    <a:pt x="2552015" y="200876"/>
                  </a:lnTo>
                  <a:lnTo>
                    <a:pt x="2552015" y="202260"/>
                  </a:lnTo>
                  <a:lnTo>
                    <a:pt x="2552015" y="200228"/>
                  </a:lnTo>
                  <a:lnTo>
                    <a:pt x="2552065" y="200228"/>
                  </a:lnTo>
                  <a:lnTo>
                    <a:pt x="2552065" y="200876"/>
                  </a:lnTo>
                  <a:lnTo>
                    <a:pt x="2552065" y="199530"/>
                  </a:lnTo>
                  <a:lnTo>
                    <a:pt x="2552065" y="200228"/>
                  </a:lnTo>
                  <a:lnTo>
                    <a:pt x="2552065" y="199530"/>
                  </a:lnTo>
                  <a:lnTo>
                    <a:pt x="2552116" y="199530"/>
                  </a:lnTo>
                  <a:lnTo>
                    <a:pt x="2552116" y="200228"/>
                  </a:lnTo>
                  <a:lnTo>
                    <a:pt x="2552116" y="198831"/>
                  </a:lnTo>
                  <a:lnTo>
                    <a:pt x="2552116" y="199530"/>
                  </a:lnTo>
                  <a:lnTo>
                    <a:pt x="2552116" y="197447"/>
                  </a:lnTo>
                  <a:lnTo>
                    <a:pt x="2552205" y="197447"/>
                  </a:lnTo>
                  <a:lnTo>
                    <a:pt x="2552205" y="200228"/>
                  </a:lnTo>
                  <a:lnTo>
                    <a:pt x="2552205" y="198831"/>
                  </a:lnTo>
                  <a:lnTo>
                    <a:pt x="2552256" y="198831"/>
                  </a:lnTo>
                  <a:lnTo>
                    <a:pt x="2552256" y="200876"/>
                  </a:lnTo>
                  <a:lnTo>
                    <a:pt x="2552256" y="199530"/>
                  </a:lnTo>
                  <a:lnTo>
                    <a:pt x="2552256" y="200228"/>
                  </a:lnTo>
                  <a:lnTo>
                    <a:pt x="2552307" y="200228"/>
                  </a:lnTo>
                  <a:lnTo>
                    <a:pt x="2552307" y="202260"/>
                  </a:lnTo>
                  <a:lnTo>
                    <a:pt x="2552307" y="200228"/>
                  </a:lnTo>
                  <a:lnTo>
                    <a:pt x="2552358" y="200876"/>
                  </a:lnTo>
                  <a:lnTo>
                    <a:pt x="2552358" y="202260"/>
                  </a:lnTo>
                  <a:lnTo>
                    <a:pt x="2552358" y="200876"/>
                  </a:lnTo>
                  <a:lnTo>
                    <a:pt x="2552358" y="202260"/>
                  </a:lnTo>
                  <a:lnTo>
                    <a:pt x="2552358" y="200876"/>
                  </a:lnTo>
                  <a:lnTo>
                    <a:pt x="2552358" y="202260"/>
                  </a:lnTo>
                  <a:lnTo>
                    <a:pt x="2552358" y="200876"/>
                  </a:lnTo>
                  <a:lnTo>
                    <a:pt x="2552358" y="202260"/>
                  </a:lnTo>
                  <a:lnTo>
                    <a:pt x="2552358" y="200876"/>
                  </a:lnTo>
                  <a:lnTo>
                    <a:pt x="2552459" y="202260"/>
                  </a:lnTo>
                  <a:lnTo>
                    <a:pt x="2552459" y="200876"/>
                  </a:lnTo>
                  <a:lnTo>
                    <a:pt x="2552459" y="202260"/>
                  </a:lnTo>
                  <a:lnTo>
                    <a:pt x="2552510" y="202260"/>
                  </a:lnTo>
                  <a:lnTo>
                    <a:pt x="2552510" y="200876"/>
                  </a:lnTo>
                  <a:lnTo>
                    <a:pt x="2552510" y="202260"/>
                  </a:lnTo>
                  <a:lnTo>
                    <a:pt x="2552510" y="200876"/>
                  </a:lnTo>
                  <a:lnTo>
                    <a:pt x="2552561" y="200876"/>
                  </a:lnTo>
                  <a:lnTo>
                    <a:pt x="2552561" y="202260"/>
                  </a:lnTo>
                  <a:lnTo>
                    <a:pt x="2552561" y="200228"/>
                  </a:lnTo>
                  <a:lnTo>
                    <a:pt x="2552561" y="200876"/>
                  </a:lnTo>
                  <a:lnTo>
                    <a:pt x="2552561" y="199530"/>
                  </a:lnTo>
                  <a:lnTo>
                    <a:pt x="2552561" y="200228"/>
                  </a:lnTo>
                  <a:lnTo>
                    <a:pt x="2552662" y="200228"/>
                  </a:lnTo>
                  <a:lnTo>
                    <a:pt x="2552662" y="198831"/>
                  </a:lnTo>
                  <a:lnTo>
                    <a:pt x="2552662" y="199530"/>
                  </a:lnTo>
                  <a:lnTo>
                    <a:pt x="2552662" y="197447"/>
                  </a:lnTo>
                  <a:lnTo>
                    <a:pt x="2552662" y="198831"/>
                  </a:lnTo>
                  <a:lnTo>
                    <a:pt x="2552662" y="196799"/>
                  </a:lnTo>
                  <a:lnTo>
                    <a:pt x="2552700" y="197447"/>
                  </a:lnTo>
                  <a:lnTo>
                    <a:pt x="2552700" y="199530"/>
                  </a:lnTo>
                  <a:lnTo>
                    <a:pt x="2552700" y="197447"/>
                  </a:lnTo>
                  <a:lnTo>
                    <a:pt x="2552700" y="199530"/>
                  </a:lnTo>
                  <a:lnTo>
                    <a:pt x="2552751" y="199530"/>
                  </a:lnTo>
                  <a:lnTo>
                    <a:pt x="2552751" y="200876"/>
                  </a:lnTo>
                  <a:lnTo>
                    <a:pt x="2552751" y="198831"/>
                  </a:lnTo>
                  <a:lnTo>
                    <a:pt x="2552751" y="200228"/>
                  </a:lnTo>
                  <a:lnTo>
                    <a:pt x="2552802" y="200228"/>
                  </a:lnTo>
                  <a:lnTo>
                    <a:pt x="2552802" y="200876"/>
                  </a:lnTo>
                  <a:lnTo>
                    <a:pt x="2552802" y="200228"/>
                  </a:lnTo>
                  <a:lnTo>
                    <a:pt x="2552904" y="200228"/>
                  </a:lnTo>
                  <a:lnTo>
                    <a:pt x="2552904" y="202260"/>
                  </a:lnTo>
                  <a:lnTo>
                    <a:pt x="2552904" y="200876"/>
                  </a:lnTo>
                  <a:lnTo>
                    <a:pt x="2552904" y="202260"/>
                  </a:lnTo>
                  <a:lnTo>
                    <a:pt x="2552904" y="200876"/>
                  </a:lnTo>
                  <a:lnTo>
                    <a:pt x="2552904" y="202260"/>
                  </a:lnTo>
                  <a:lnTo>
                    <a:pt x="2552955" y="202260"/>
                  </a:lnTo>
                  <a:lnTo>
                    <a:pt x="2552955" y="200876"/>
                  </a:lnTo>
                  <a:lnTo>
                    <a:pt x="2552955" y="202959"/>
                  </a:lnTo>
                  <a:lnTo>
                    <a:pt x="2552955" y="202260"/>
                  </a:lnTo>
                  <a:lnTo>
                    <a:pt x="2553005" y="202260"/>
                  </a:lnTo>
                  <a:lnTo>
                    <a:pt x="2553005" y="200876"/>
                  </a:lnTo>
                  <a:lnTo>
                    <a:pt x="2553005" y="202260"/>
                  </a:lnTo>
                  <a:lnTo>
                    <a:pt x="2553005" y="200876"/>
                  </a:lnTo>
                  <a:lnTo>
                    <a:pt x="2553005" y="202260"/>
                  </a:lnTo>
                  <a:lnTo>
                    <a:pt x="2553005" y="200876"/>
                  </a:lnTo>
                  <a:lnTo>
                    <a:pt x="2553005" y="202260"/>
                  </a:lnTo>
                  <a:lnTo>
                    <a:pt x="2553005" y="200876"/>
                  </a:lnTo>
                  <a:lnTo>
                    <a:pt x="2553005" y="202260"/>
                  </a:lnTo>
                  <a:lnTo>
                    <a:pt x="2553005" y="200876"/>
                  </a:lnTo>
                  <a:lnTo>
                    <a:pt x="2553005" y="202260"/>
                  </a:lnTo>
                  <a:lnTo>
                    <a:pt x="2553005" y="200876"/>
                  </a:lnTo>
                  <a:lnTo>
                    <a:pt x="2553107" y="200876"/>
                  </a:lnTo>
                  <a:lnTo>
                    <a:pt x="2553107" y="199530"/>
                  </a:lnTo>
                  <a:lnTo>
                    <a:pt x="2553107" y="200228"/>
                  </a:lnTo>
                  <a:lnTo>
                    <a:pt x="2553107" y="198831"/>
                  </a:lnTo>
                  <a:lnTo>
                    <a:pt x="2553158" y="198831"/>
                  </a:lnTo>
                  <a:lnTo>
                    <a:pt x="2553158" y="197447"/>
                  </a:lnTo>
                  <a:lnTo>
                    <a:pt x="2553158" y="198831"/>
                  </a:lnTo>
                  <a:lnTo>
                    <a:pt x="2553158" y="197447"/>
                  </a:lnTo>
                  <a:lnTo>
                    <a:pt x="2553158" y="198831"/>
                  </a:lnTo>
                  <a:lnTo>
                    <a:pt x="2553158" y="196113"/>
                  </a:lnTo>
                  <a:lnTo>
                    <a:pt x="2553209" y="196113"/>
                  </a:lnTo>
                  <a:lnTo>
                    <a:pt x="2553209" y="197447"/>
                  </a:lnTo>
                  <a:lnTo>
                    <a:pt x="2553209" y="196113"/>
                  </a:lnTo>
                  <a:lnTo>
                    <a:pt x="2553247" y="196113"/>
                  </a:lnTo>
                  <a:lnTo>
                    <a:pt x="2553247" y="199530"/>
                  </a:lnTo>
                  <a:lnTo>
                    <a:pt x="2553247" y="196799"/>
                  </a:lnTo>
                  <a:lnTo>
                    <a:pt x="2553348" y="197447"/>
                  </a:lnTo>
                  <a:lnTo>
                    <a:pt x="2553348" y="199530"/>
                  </a:lnTo>
                  <a:lnTo>
                    <a:pt x="2553348" y="198831"/>
                  </a:lnTo>
                  <a:lnTo>
                    <a:pt x="2553399" y="198831"/>
                  </a:lnTo>
                  <a:lnTo>
                    <a:pt x="2553399" y="199530"/>
                  </a:lnTo>
                  <a:lnTo>
                    <a:pt x="2553399" y="198831"/>
                  </a:lnTo>
                  <a:lnTo>
                    <a:pt x="2553399" y="200228"/>
                  </a:lnTo>
                  <a:lnTo>
                    <a:pt x="2553450" y="200228"/>
                  </a:lnTo>
                  <a:lnTo>
                    <a:pt x="2553450" y="200876"/>
                  </a:lnTo>
                  <a:lnTo>
                    <a:pt x="2553551" y="200876"/>
                  </a:lnTo>
                  <a:lnTo>
                    <a:pt x="2553551" y="200228"/>
                  </a:lnTo>
                  <a:lnTo>
                    <a:pt x="2553551" y="200876"/>
                  </a:lnTo>
                  <a:lnTo>
                    <a:pt x="2553551" y="200228"/>
                  </a:lnTo>
                  <a:lnTo>
                    <a:pt x="2553551" y="200876"/>
                  </a:lnTo>
                  <a:lnTo>
                    <a:pt x="2553551" y="200228"/>
                  </a:lnTo>
                  <a:lnTo>
                    <a:pt x="2553551" y="200876"/>
                  </a:lnTo>
                  <a:lnTo>
                    <a:pt x="2553602" y="200876"/>
                  </a:lnTo>
                  <a:lnTo>
                    <a:pt x="2553602" y="200228"/>
                  </a:lnTo>
                  <a:lnTo>
                    <a:pt x="2553602" y="200876"/>
                  </a:lnTo>
                  <a:lnTo>
                    <a:pt x="2553602" y="200228"/>
                  </a:lnTo>
                  <a:lnTo>
                    <a:pt x="2553602" y="200876"/>
                  </a:lnTo>
                  <a:lnTo>
                    <a:pt x="2553602" y="199530"/>
                  </a:lnTo>
                  <a:lnTo>
                    <a:pt x="2553653" y="199530"/>
                  </a:lnTo>
                  <a:lnTo>
                    <a:pt x="2553653" y="196799"/>
                  </a:lnTo>
                  <a:lnTo>
                    <a:pt x="2553704" y="196113"/>
                  </a:lnTo>
                  <a:lnTo>
                    <a:pt x="2553704" y="198831"/>
                  </a:lnTo>
                  <a:lnTo>
                    <a:pt x="2553704" y="196113"/>
                  </a:lnTo>
                  <a:lnTo>
                    <a:pt x="2553793" y="196113"/>
                  </a:lnTo>
                  <a:lnTo>
                    <a:pt x="2553793" y="199530"/>
                  </a:lnTo>
                  <a:lnTo>
                    <a:pt x="2553793" y="196113"/>
                  </a:lnTo>
                  <a:lnTo>
                    <a:pt x="2553793" y="196799"/>
                  </a:lnTo>
                  <a:lnTo>
                    <a:pt x="2553844" y="196799"/>
                  </a:lnTo>
                  <a:lnTo>
                    <a:pt x="2553844" y="198831"/>
                  </a:lnTo>
                  <a:lnTo>
                    <a:pt x="2553844" y="196799"/>
                  </a:lnTo>
                  <a:lnTo>
                    <a:pt x="2553844" y="197447"/>
                  </a:lnTo>
                  <a:lnTo>
                    <a:pt x="2553894" y="197447"/>
                  </a:lnTo>
                  <a:lnTo>
                    <a:pt x="2553894" y="198831"/>
                  </a:lnTo>
                  <a:lnTo>
                    <a:pt x="2553894" y="197447"/>
                  </a:lnTo>
                  <a:lnTo>
                    <a:pt x="2553894" y="198831"/>
                  </a:lnTo>
                  <a:lnTo>
                    <a:pt x="2553894" y="197447"/>
                  </a:lnTo>
                  <a:lnTo>
                    <a:pt x="2553894" y="198831"/>
                  </a:lnTo>
                  <a:lnTo>
                    <a:pt x="2553945" y="199530"/>
                  </a:lnTo>
                  <a:lnTo>
                    <a:pt x="2553945" y="198831"/>
                  </a:lnTo>
                  <a:lnTo>
                    <a:pt x="2553945" y="200228"/>
                  </a:lnTo>
                  <a:lnTo>
                    <a:pt x="2553945" y="199530"/>
                  </a:lnTo>
                  <a:lnTo>
                    <a:pt x="2553945" y="200228"/>
                  </a:lnTo>
                  <a:lnTo>
                    <a:pt x="2554047" y="200228"/>
                  </a:lnTo>
                  <a:lnTo>
                    <a:pt x="2554047" y="199530"/>
                  </a:lnTo>
                  <a:lnTo>
                    <a:pt x="2554047" y="200228"/>
                  </a:lnTo>
                  <a:lnTo>
                    <a:pt x="2554047" y="199530"/>
                  </a:lnTo>
                  <a:lnTo>
                    <a:pt x="2554047" y="200228"/>
                  </a:lnTo>
                  <a:lnTo>
                    <a:pt x="2554047" y="199530"/>
                  </a:lnTo>
                  <a:lnTo>
                    <a:pt x="2554097" y="199530"/>
                  </a:lnTo>
                  <a:lnTo>
                    <a:pt x="2554097" y="200228"/>
                  </a:lnTo>
                  <a:lnTo>
                    <a:pt x="2554097" y="198831"/>
                  </a:lnTo>
                  <a:lnTo>
                    <a:pt x="2554097" y="200228"/>
                  </a:lnTo>
                  <a:lnTo>
                    <a:pt x="2554097" y="199530"/>
                  </a:lnTo>
                  <a:lnTo>
                    <a:pt x="2554148" y="199530"/>
                  </a:lnTo>
                  <a:lnTo>
                    <a:pt x="2554148" y="197447"/>
                  </a:lnTo>
                  <a:lnTo>
                    <a:pt x="2554148" y="198831"/>
                  </a:lnTo>
                  <a:lnTo>
                    <a:pt x="2554148" y="196799"/>
                  </a:lnTo>
                  <a:lnTo>
                    <a:pt x="2554148" y="198831"/>
                  </a:lnTo>
                  <a:lnTo>
                    <a:pt x="2554250" y="199530"/>
                  </a:lnTo>
                  <a:lnTo>
                    <a:pt x="2554250" y="200228"/>
                  </a:lnTo>
                  <a:lnTo>
                    <a:pt x="2554250" y="197447"/>
                  </a:lnTo>
                  <a:lnTo>
                    <a:pt x="2554250" y="202260"/>
                  </a:lnTo>
                  <a:lnTo>
                    <a:pt x="2554288" y="200876"/>
                  </a:lnTo>
                  <a:lnTo>
                    <a:pt x="2554288" y="198831"/>
                  </a:lnTo>
                  <a:lnTo>
                    <a:pt x="2554288" y="200228"/>
                  </a:lnTo>
                  <a:lnTo>
                    <a:pt x="2554339" y="200228"/>
                  </a:lnTo>
                  <a:lnTo>
                    <a:pt x="2554339" y="198831"/>
                  </a:lnTo>
                  <a:lnTo>
                    <a:pt x="2554339" y="199530"/>
                  </a:lnTo>
                  <a:lnTo>
                    <a:pt x="2554390" y="200228"/>
                  </a:lnTo>
                  <a:lnTo>
                    <a:pt x="2554390" y="198831"/>
                  </a:lnTo>
                  <a:lnTo>
                    <a:pt x="2554390" y="200228"/>
                  </a:lnTo>
                  <a:lnTo>
                    <a:pt x="2554390" y="199530"/>
                  </a:lnTo>
                  <a:lnTo>
                    <a:pt x="2554491" y="199530"/>
                  </a:lnTo>
                  <a:lnTo>
                    <a:pt x="2554491" y="200228"/>
                  </a:lnTo>
                  <a:lnTo>
                    <a:pt x="2554542" y="200228"/>
                  </a:lnTo>
                  <a:lnTo>
                    <a:pt x="2554542" y="200876"/>
                  </a:lnTo>
                  <a:lnTo>
                    <a:pt x="2554542" y="200228"/>
                  </a:lnTo>
                  <a:lnTo>
                    <a:pt x="2554542" y="200876"/>
                  </a:lnTo>
                  <a:lnTo>
                    <a:pt x="2554542" y="200228"/>
                  </a:lnTo>
                  <a:lnTo>
                    <a:pt x="2554593" y="199530"/>
                  </a:lnTo>
                  <a:lnTo>
                    <a:pt x="2554593" y="200228"/>
                  </a:lnTo>
                  <a:lnTo>
                    <a:pt x="2554593" y="199530"/>
                  </a:lnTo>
                  <a:lnTo>
                    <a:pt x="2554593" y="200228"/>
                  </a:lnTo>
                  <a:lnTo>
                    <a:pt x="2554593" y="199530"/>
                  </a:lnTo>
                  <a:lnTo>
                    <a:pt x="2554593" y="200228"/>
                  </a:lnTo>
                  <a:lnTo>
                    <a:pt x="2554593" y="199530"/>
                  </a:lnTo>
                  <a:lnTo>
                    <a:pt x="2554593" y="200228"/>
                  </a:lnTo>
                  <a:lnTo>
                    <a:pt x="2554593" y="199530"/>
                  </a:lnTo>
                  <a:lnTo>
                    <a:pt x="2554694" y="198831"/>
                  </a:lnTo>
                  <a:lnTo>
                    <a:pt x="2554694" y="197447"/>
                  </a:lnTo>
                  <a:lnTo>
                    <a:pt x="2554694" y="200228"/>
                  </a:lnTo>
                  <a:lnTo>
                    <a:pt x="2554745" y="199530"/>
                  </a:lnTo>
                  <a:lnTo>
                    <a:pt x="2554745" y="198831"/>
                  </a:lnTo>
                  <a:lnTo>
                    <a:pt x="2554745" y="200876"/>
                  </a:lnTo>
                  <a:lnTo>
                    <a:pt x="2554745" y="200228"/>
                  </a:lnTo>
                  <a:lnTo>
                    <a:pt x="2554796" y="200228"/>
                  </a:lnTo>
                  <a:lnTo>
                    <a:pt x="2554796" y="199530"/>
                  </a:lnTo>
                  <a:lnTo>
                    <a:pt x="2554796" y="200228"/>
                  </a:lnTo>
                  <a:lnTo>
                    <a:pt x="2554796" y="199530"/>
                  </a:lnTo>
                  <a:lnTo>
                    <a:pt x="2554796" y="200228"/>
                  </a:lnTo>
                  <a:lnTo>
                    <a:pt x="2554796" y="199530"/>
                  </a:lnTo>
                  <a:lnTo>
                    <a:pt x="2554796" y="200228"/>
                  </a:lnTo>
                  <a:lnTo>
                    <a:pt x="2554796" y="199530"/>
                  </a:lnTo>
                  <a:lnTo>
                    <a:pt x="2554796" y="200876"/>
                  </a:lnTo>
                  <a:lnTo>
                    <a:pt x="2554796" y="200228"/>
                  </a:lnTo>
                  <a:lnTo>
                    <a:pt x="2554796" y="200876"/>
                  </a:lnTo>
                  <a:lnTo>
                    <a:pt x="2554834" y="200876"/>
                  </a:lnTo>
                  <a:lnTo>
                    <a:pt x="2554834" y="200228"/>
                  </a:lnTo>
                  <a:lnTo>
                    <a:pt x="2554834" y="202260"/>
                  </a:lnTo>
                  <a:lnTo>
                    <a:pt x="2554834" y="200228"/>
                  </a:lnTo>
                  <a:lnTo>
                    <a:pt x="2554936" y="200876"/>
                  </a:lnTo>
                  <a:lnTo>
                    <a:pt x="2554936" y="200228"/>
                  </a:lnTo>
                  <a:lnTo>
                    <a:pt x="2554936" y="200876"/>
                  </a:lnTo>
                  <a:lnTo>
                    <a:pt x="2554936" y="200228"/>
                  </a:lnTo>
                  <a:lnTo>
                    <a:pt x="2554936" y="200876"/>
                  </a:lnTo>
                  <a:lnTo>
                    <a:pt x="2554987" y="200876"/>
                  </a:lnTo>
                  <a:lnTo>
                    <a:pt x="2554987" y="200228"/>
                  </a:lnTo>
                  <a:lnTo>
                    <a:pt x="2554987" y="200876"/>
                  </a:lnTo>
                  <a:lnTo>
                    <a:pt x="2554987" y="200228"/>
                  </a:lnTo>
                  <a:lnTo>
                    <a:pt x="2555037" y="200228"/>
                  </a:lnTo>
                  <a:lnTo>
                    <a:pt x="2555037" y="199530"/>
                  </a:lnTo>
                  <a:lnTo>
                    <a:pt x="2555037" y="200228"/>
                  </a:lnTo>
                  <a:lnTo>
                    <a:pt x="2555037" y="199530"/>
                  </a:lnTo>
                  <a:lnTo>
                    <a:pt x="2555037" y="200228"/>
                  </a:lnTo>
                  <a:lnTo>
                    <a:pt x="2555037" y="199530"/>
                  </a:lnTo>
                  <a:lnTo>
                    <a:pt x="2555139" y="199530"/>
                  </a:lnTo>
                  <a:lnTo>
                    <a:pt x="2555139" y="200228"/>
                  </a:lnTo>
                  <a:lnTo>
                    <a:pt x="2555139" y="197447"/>
                  </a:lnTo>
                  <a:lnTo>
                    <a:pt x="2555190" y="197447"/>
                  </a:lnTo>
                  <a:lnTo>
                    <a:pt x="2555190" y="196799"/>
                  </a:lnTo>
                  <a:lnTo>
                    <a:pt x="2555190" y="197447"/>
                  </a:lnTo>
                  <a:lnTo>
                    <a:pt x="2555190" y="196799"/>
                  </a:lnTo>
                  <a:lnTo>
                    <a:pt x="2555190" y="198831"/>
                  </a:lnTo>
                  <a:lnTo>
                    <a:pt x="2555190" y="197447"/>
                  </a:lnTo>
                  <a:lnTo>
                    <a:pt x="2555240" y="197447"/>
                  </a:lnTo>
                  <a:lnTo>
                    <a:pt x="2555240" y="196799"/>
                  </a:lnTo>
                  <a:lnTo>
                    <a:pt x="2555240" y="200228"/>
                  </a:lnTo>
                  <a:lnTo>
                    <a:pt x="2555240" y="199530"/>
                  </a:lnTo>
                  <a:lnTo>
                    <a:pt x="2555291" y="199530"/>
                  </a:lnTo>
                  <a:lnTo>
                    <a:pt x="2555291" y="198831"/>
                  </a:lnTo>
                  <a:lnTo>
                    <a:pt x="2555291" y="200228"/>
                  </a:lnTo>
                  <a:lnTo>
                    <a:pt x="2555291" y="199530"/>
                  </a:lnTo>
                  <a:lnTo>
                    <a:pt x="2555291" y="200228"/>
                  </a:lnTo>
                  <a:lnTo>
                    <a:pt x="2555380" y="200228"/>
                  </a:lnTo>
                  <a:lnTo>
                    <a:pt x="2555380" y="199530"/>
                  </a:lnTo>
                  <a:lnTo>
                    <a:pt x="2555380" y="200228"/>
                  </a:lnTo>
                  <a:lnTo>
                    <a:pt x="2555431" y="200228"/>
                  </a:lnTo>
                  <a:lnTo>
                    <a:pt x="2555431" y="200876"/>
                  </a:lnTo>
                  <a:lnTo>
                    <a:pt x="2555431" y="200228"/>
                  </a:lnTo>
                  <a:lnTo>
                    <a:pt x="2555431" y="200876"/>
                  </a:lnTo>
                  <a:lnTo>
                    <a:pt x="2555482" y="200876"/>
                  </a:lnTo>
                  <a:lnTo>
                    <a:pt x="2555482" y="200228"/>
                  </a:lnTo>
                  <a:lnTo>
                    <a:pt x="2555482" y="200876"/>
                  </a:lnTo>
                  <a:lnTo>
                    <a:pt x="2555482" y="200228"/>
                  </a:lnTo>
                  <a:lnTo>
                    <a:pt x="2555482" y="200876"/>
                  </a:lnTo>
                  <a:lnTo>
                    <a:pt x="2555482" y="200228"/>
                  </a:lnTo>
                  <a:lnTo>
                    <a:pt x="2555482" y="200876"/>
                  </a:lnTo>
                  <a:lnTo>
                    <a:pt x="2555533" y="200876"/>
                  </a:lnTo>
                  <a:lnTo>
                    <a:pt x="2555533" y="200228"/>
                  </a:lnTo>
                  <a:lnTo>
                    <a:pt x="2555533" y="200876"/>
                  </a:lnTo>
                  <a:lnTo>
                    <a:pt x="2555533" y="200228"/>
                  </a:lnTo>
                  <a:lnTo>
                    <a:pt x="2555533" y="200876"/>
                  </a:lnTo>
                  <a:lnTo>
                    <a:pt x="2555533" y="200228"/>
                  </a:lnTo>
                  <a:lnTo>
                    <a:pt x="2555533" y="200876"/>
                  </a:lnTo>
                  <a:lnTo>
                    <a:pt x="2555533" y="200228"/>
                  </a:lnTo>
                  <a:lnTo>
                    <a:pt x="2555634" y="200228"/>
                  </a:lnTo>
                  <a:lnTo>
                    <a:pt x="2555634" y="200876"/>
                  </a:lnTo>
                  <a:lnTo>
                    <a:pt x="2555634" y="199530"/>
                  </a:lnTo>
                  <a:lnTo>
                    <a:pt x="2555634" y="200228"/>
                  </a:lnTo>
                  <a:lnTo>
                    <a:pt x="2555634" y="197447"/>
                  </a:lnTo>
                  <a:lnTo>
                    <a:pt x="2555685" y="198831"/>
                  </a:lnTo>
                  <a:lnTo>
                    <a:pt x="2555685" y="200876"/>
                  </a:lnTo>
                  <a:lnTo>
                    <a:pt x="2555685" y="198831"/>
                  </a:lnTo>
                  <a:lnTo>
                    <a:pt x="2555685" y="200228"/>
                  </a:lnTo>
                  <a:lnTo>
                    <a:pt x="2555736" y="200876"/>
                  </a:lnTo>
                  <a:lnTo>
                    <a:pt x="2555736" y="202260"/>
                  </a:lnTo>
                  <a:lnTo>
                    <a:pt x="2555736" y="199530"/>
                  </a:lnTo>
                  <a:lnTo>
                    <a:pt x="2555736" y="200876"/>
                  </a:lnTo>
                  <a:lnTo>
                    <a:pt x="2555837" y="200876"/>
                  </a:lnTo>
                  <a:lnTo>
                    <a:pt x="2555837" y="200228"/>
                  </a:lnTo>
                  <a:lnTo>
                    <a:pt x="2555837" y="200876"/>
                  </a:lnTo>
                  <a:lnTo>
                    <a:pt x="2555837" y="200228"/>
                  </a:lnTo>
                  <a:lnTo>
                    <a:pt x="2555837" y="200876"/>
                  </a:lnTo>
                  <a:lnTo>
                    <a:pt x="2555875" y="200876"/>
                  </a:lnTo>
                  <a:lnTo>
                    <a:pt x="2555875" y="202260"/>
                  </a:lnTo>
                  <a:lnTo>
                    <a:pt x="2555875" y="200876"/>
                  </a:lnTo>
                  <a:lnTo>
                    <a:pt x="2555875" y="202260"/>
                  </a:lnTo>
                  <a:lnTo>
                    <a:pt x="2555875" y="200876"/>
                  </a:lnTo>
                  <a:lnTo>
                    <a:pt x="2555875" y="202260"/>
                  </a:lnTo>
                  <a:lnTo>
                    <a:pt x="2555926" y="202260"/>
                  </a:lnTo>
                  <a:lnTo>
                    <a:pt x="2555926" y="200876"/>
                  </a:lnTo>
                  <a:lnTo>
                    <a:pt x="2555977" y="202260"/>
                  </a:lnTo>
                  <a:lnTo>
                    <a:pt x="2555977" y="200876"/>
                  </a:lnTo>
                  <a:lnTo>
                    <a:pt x="2555977" y="202260"/>
                  </a:lnTo>
                  <a:lnTo>
                    <a:pt x="2555977" y="200876"/>
                  </a:lnTo>
                  <a:lnTo>
                    <a:pt x="2555977" y="202260"/>
                  </a:lnTo>
                  <a:lnTo>
                    <a:pt x="2555977" y="200876"/>
                  </a:lnTo>
                  <a:lnTo>
                    <a:pt x="2556079" y="200876"/>
                  </a:lnTo>
                  <a:lnTo>
                    <a:pt x="2556079" y="200228"/>
                  </a:lnTo>
                  <a:lnTo>
                    <a:pt x="2556079" y="200876"/>
                  </a:lnTo>
                  <a:lnTo>
                    <a:pt x="2556079" y="199530"/>
                  </a:lnTo>
                  <a:lnTo>
                    <a:pt x="2556079" y="200228"/>
                  </a:lnTo>
                  <a:lnTo>
                    <a:pt x="2556079" y="199530"/>
                  </a:lnTo>
                  <a:lnTo>
                    <a:pt x="2556130" y="199530"/>
                  </a:lnTo>
                  <a:lnTo>
                    <a:pt x="2556130" y="196799"/>
                  </a:lnTo>
                  <a:lnTo>
                    <a:pt x="2556180" y="196799"/>
                  </a:lnTo>
                  <a:lnTo>
                    <a:pt x="2556180" y="198831"/>
                  </a:lnTo>
                  <a:lnTo>
                    <a:pt x="2556180" y="197447"/>
                  </a:lnTo>
                  <a:lnTo>
                    <a:pt x="2556180" y="198831"/>
                  </a:lnTo>
                  <a:lnTo>
                    <a:pt x="2556282" y="197447"/>
                  </a:lnTo>
                  <a:lnTo>
                    <a:pt x="2556282" y="200876"/>
                  </a:lnTo>
                  <a:lnTo>
                    <a:pt x="2556282" y="198831"/>
                  </a:lnTo>
                  <a:lnTo>
                    <a:pt x="2556282" y="200228"/>
                  </a:lnTo>
                  <a:lnTo>
                    <a:pt x="2556333" y="200228"/>
                  </a:lnTo>
                  <a:lnTo>
                    <a:pt x="2556333" y="199530"/>
                  </a:lnTo>
                  <a:lnTo>
                    <a:pt x="2556333" y="200228"/>
                  </a:lnTo>
                  <a:lnTo>
                    <a:pt x="2556384" y="200228"/>
                  </a:lnTo>
                  <a:lnTo>
                    <a:pt x="2556384" y="200876"/>
                  </a:lnTo>
                  <a:lnTo>
                    <a:pt x="2556384" y="200228"/>
                  </a:lnTo>
                  <a:lnTo>
                    <a:pt x="2556384" y="202260"/>
                  </a:lnTo>
                  <a:lnTo>
                    <a:pt x="2556422" y="200876"/>
                  </a:lnTo>
                  <a:lnTo>
                    <a:pt x="2556422" y="202260"/>
                  </a:lnTo>
                  <a:lnTo>
                    <a:pt x="2556422" y="200876"/>
                  </a:lnTo>
                  <a:lnTo>
                    <a:pt x="2556422" y="202260"/>
                  </a:lnTo>
                  <a:lnTo>
                    <a:pt x="2556422" y="200876"/>
                  </a:lnTo>
                  <a:lnTo>
                    <a:pt x="2556422" y="202260"/>
                  </a:lnTo>
                  <a:lnTo>
                    <a:pt x="2556422" y="200876"/>
                  </a:lnTo>
                  <a:lnTo>
                    <a:pt x="2556422" y="202260"/>
                  </a:lnTo>
                  <a:lnTo>
                    <a:pt x="2556523" y="202260"/>
                  </a:lnTo>
                  <a:lnTo>
                    <a:pt x="2556523" y="200876"/>
                  </a:lnTo>
                  <a:lnTo>
                    <a:pt x="2556523" y="202260"/>
                  </a:lnTo>
                  <a:lnTo>
                    <a:pt x="2556523" y="200876"/>
                  </a:lnTo>
                  <a:lnTo>
                    <a:pt x="2556523" y="202260"/>
                  </a:lnTo>
                  <a:lnTo>
                    <a:pt x="2556523" y="200876"/>
                  </a:lnTo>
                  <a:lnTo>
                    <a:pt x="2556574" y="200876"/>
                  </a:lnTo>
                  <a:lnTo>
                    <a:pt x="2556574" y="200228"/>
                  </a:lnTo>
                  <a:lnTo>
                    <a:pt x="2556574" y="200876"/>
                  </a:lnTo>
                  <a:lnTo>
                    <a:pt x="2556574" y="199530"/>
                  </a:lnTo>
                  <a:lnTo>
                    <a:pt x="2556625" y="200228"/>
                  </a:lnTo>
                  <a:lnTo>
                    <a:pt x="2556625" y="198831"/>
                  </a:lnTo>
                  <a:lnTo>
                    <a:pt x="2556625" y="200228"/>
                  </a:lnTo>
                  <a:lnTo>
                    <a:pt x="2556625" y="199530"/>
                  </a:lnTo>
                  <a:lnTo>
                    <a:pt x="2556726" y="199530"/>
                  </a:lnTo>
                  <a:lnTo>
                    <a:pt x="2556726" y="197447"/>
                  </a:lnTo>
                  <a:lnTo>
                    <a:pt x="2556726" y="202260"/>
                  </a:lnTo>
                  <a:lnTo>
                    <a:pt x="2556726" y="200228"/>
                  </a:lnTo>
                  <a:lnTo>
                    <a:pt x="2556777" y="200228"/>
                  </a:lnTo>
                  <a:lnTo>
                    <a:pt x="2556777" y="199530"/>
                  </a:lnTo>
                  <a:lnTo>
                    <a:pt x="2556777" y="200228"/>
                  </a:lnTo>
                  <a:lnTo>
                    <a:pt x="2556828" y="200228"/>
                  </a:lnTo>
                  <a:lnTo>
                    <a:pt x="2556828" y="199530"/>
                  </a:lnTo>
                  <a:lnTo>
                    <a:pt x="2556828" y="200228"/>
                  </a:lnTo>
                  <a:lnTo>
                    <a:pt x="2556879" y="200228"/>
                  </a:lnTo>
                  <a:lnTo>
                    <a:pt x="2556879" y="200876"/>
                  </a:lnTo>
                  <a:lnTo>
                    <a:pt x="2556879" y="200228"/>
                  </a:lnTo>
                  <a:lnTo>
                    <a:pt x="2556879" y="200876"/>
                  </a:lnTo>
                  <a:lnTo>
                    <a:pt x="2556968" y="200876"/>
                  </a:lnTo>
                  <a:lnTo>
                    <a:pt x="2556968" y="200228"/>
                  </a:lnTo>
                  <a:lnTo>
                    <a:pt x="2556968" y="200876"/>
                  </a:lnTo>
                  <a:lnTo>
                    <a:pt x="2556968" y="200228"/>
                  </a:lnTo>
                  <a:lnTo>
                    <a:pt x="2556968" y="200876"/>
                  </a:lnTo>
                  <a:lnTo>
                    <a:pt x="2557019" y="200876"/>
                  </a:lnTo>
                  <a:lnTo>
                    <a:pt x="2557019" y="200228"/>
                  </a:lnTo>
                  <a:lnTo>
                    <a:pt x="2557019" y="200876"/>
                  </a:lnTo>
                  <a:lnTo>
                    <a:pt x="2557019" y="200228"/>
                  </a:lnTo>
                  <a:lnTo>
                    <a:pt x="2557019" y="202260"/>
                  </a:lnTo>
                  <a:lnTo>
                    <a:pt x="2557019" y="200228"/>
                  </a:lnTo>
                  <a:lnTo>
                    <a:pt x="2557069" y="200228"/>
                  </a:lnTo>
                  <a:lnTo>
                    <a:pt x="2557069" y="199530"/>
                  </a:lnTo>
                  <a:lnTo>
                    <a:pt x="2557069" y="200228"/>
                  </a:lnTo>
                  <a:lnTo>
                    <a:pt x="2557069" y="198831"/>
                  </a:lnTo>
                  <a:lnTo>
                    <a:pt x="2557120" y="198831"/>
                  </a:lnTo>
                  <a:lnTo>
                    <a:pt x="2557120" y="200228"/>
                  </a:lnTo>
                  <a:lnTo>
                    <a:pt x="2557120" y="198831"/>
                  </a:lnTo>
                  <a:lnTo>
                    <a:pt x="2557222" y="198831"/>
                  </a:lnTo>
                  <a:lnTo>
                    <a:pt x="2557222" y="202260"/>
                  </a:lnTo>
                  <a:lnTo>
                    <a:pt x="2557222" y="200876"/>
                  </a:lnTo>
                  <a:lnTo>
                    <a:pt x="2557222" y="202260"/>
                  </a:lnTo>
                  <a:lnTo>
                    <a:pt x="2557222" y="200228"/>
                  </a:lnTo>
                  <a:lnTo>
                    <a:pt x="2557272" y="200228"/>
                  </a:lnTo>
                  <a:lnTo>
                    <a:pt x="2557272" y="202260"/>
                  </a:lnTo>
                  <a:lnTo>
                    <a:pt x="2557272" y="200228"/>
                  </a:lnTo>
                  <a:lnTo>
                    <a:pt x="2557272" y="200876"/>
                  </a:lnTo>
                  <a:lnTo>
                    <a:pt x="2557323" y="200876"/>
                  </a:lnTo>
                  <a:lnTo>
                    <a:pt x="2557323" y="202260"/>
                  </a:lnTo>
                  <a:lnTo>
                    <a:pt x="2557323" y="200876"/>
                  </a:lnTo>
                  <a:lnTo>
                    <a:pt x="2557323" y="202260"/>
                  </a:lnTo>
                  <a:lnTo>
                    <a:pt x="2557323" y="200876"/>
                  </a:lnTo>
                  <a:lnTo>
                    <a:pt x="2557323" y="202260"/>
                  </a:lnTo>
                  <a:lnTo>
                    <a:pt x="2557323" y="200876"/>
                  </a:lnTo>
                  <a:lnTo>
                    <a:pt x="2557425" y="200876"/>
                  </a:lnTo>
                  <a:lnTo>
                    <a:pt x="2557425" y="202260"/>
                  </a:lnTo>
                  <a:lnTo>
                    <a:pt x="2557425" y="200876"/>
                  </a:lnTo>
                  <a:lnTo>
                    <a:pt x="2557425" y="202260"/>
                  </a:lnTo>
                  <a:lnTo>
                    <a:pt x="2557425" y="200876"/>
                  </a:lnTo>
                  <a:lnTo>
                    <a:pt x="2557463" y="200876"/>
                  </a:lnTo>
                  <a:lnTo>
                    <a:pt x="2557463" y="202260"/>
                  </a:lnTo>
                  <a:lnTo>
                    <a:pt x="2557514" y="202260"/>
                  </a:lnTo>
                  <a:lnTo>
                    <a:pt x="2557514" y="200228"/>
                  </a:lnTo>
                  <a:lnTo>
                    <a:pt x="2557514" y="200876"/>
                  </a:lnTo>
                  <a:lnTo>
                    <a:pt x="2557514" y="200228"/>
                  </a:lnTo>
                  <a:lnTo>
                    <a:pt x="2557565" y="200228"/>
                  </a:lnTo>
                  <a:lnTo>
                    <a:pt x="2557565" y="199530"/>
                  </a:lnTo>
                  <a:lnTo>
                    <a:pt x="2557565" y="200228"/>
                  </a:lnTo>
                  <a:lnTo>
                    <a:pt x="2557565" y="198831"/>
                  </a:lnTo>
                  <a:lnTo>
                    <a:pt x="2557565" y="199530"/>
                  </a:lnTo>
                  <a:lnTo>
                    <a:pt x="2557666" y="198831"/>
                  </a:lnTo>
                  <a:lnTo>
                    <a:pt x="2557666" y="200228"/>
                  </a:lnTo>
                  <a:lnTo>
                    <a:pt x="2557666" y="199530"/>
                  </a:lnTo>
                  <a:lnTo>
                    <a:pt x="2557717" y="199530"/>
                  </a:lnTo>
                  <a:lnTo>
                    <a:pt x="2557717" y="200876"/>
                  </a:lnTo>
                  <a:lnTo>
                    <a:pt x="2557717" y="200228"/>
                  </a:lnTo>
                  <a:lnTo>
                    <a:pt x="2557717" y="200876"/>
                  </a:lnTo>
                  <a:lnTo>
                    <a:pt x="2557717" y="200228"/>
                  </a:lnTo>
                  <a:lnTo>
                    <a:pt x="2557717" y="200876"/>
                  </a:lnTo>
                  <a:lnTo>
                    <a:pt x="2557768" y="200876"/>
                  </a:lnTo>
                  <a:lnTo>
                    <a:pt x="2557768" y="202260"/>
                  </a:lnTo>
                  <a:lnTo>
                    <a:pt x="2557768" y="200876"/>
                  </a:lnTo>
                  <a:lnTo>
                    <a:pt x="2557869" y="200876"/>
                  </a:lnTo>
                  <a:lnTo>
                    <a:pt x="2557869" y="202260"/>
                  </a:lnTo>
                  <a:lnTo>
                    <a:pt x="2557869" y="200876"/>
                  </a:lnTo>
                  <a:lnTo>
                    <a:pt x="2557920" y="200876"/>
                  </a:lnTo>
                  <a:lnTo>
                    <a:pt x="2557920" y="202260"/>
                  </a:lnTo>
                  <a:lnTo>
                    <a:pt x="2557920" y="200876"/>
                  </a:lnTo>
                  <a:lnTo>
                    <a:pt x="2557920" y="202260"/>
                  </a:lnTo>
                  <a:lnTo>
                    <a:pt x="2557971" y="202260"/>
                  </a:lnTo>
                  <a:lnTo>
                    <a:pt x="2557971" y="200876"/>
                  </a:lnTo>
                  <a:lnTo>
                    <a:pt x="2557971" y="202260"/>
                  </a:lnTo>
                  <a:lnTo>
                    <a:pt x="2557971" y="200876"/>
                  </a:lnTo>
                  <a:lnTo>
                    <a:pt x="2557971" y="202260"/>
                  </a:lnTo>
                  <a:lnTo>
                    <a:pt x="2557971" y="200876"/>
                  </a:lnTo>
                  <a:lnTo>
                    <a:pt x="2558009" y="200228"/>
                  </a:lnTo>
                  <a:lnTo>
                    <a:pt x="2558009" y="199530"/>
                  </a:lnTo>
                  <a:lnTo>
                    <a:pt x="2558009" y="200228"/>
                  </a:lnTo>
                  <a:lnTo>
                    <a:pt x="2558009" y="199530"/>
                  </a:lnTo>
                  <a:lnTo>
                    <a:pt x="2558111" y="199530"/>
                  </a:lnTo>
                  <a:lnTo>
                    <a:pt x="2558111" y="197447"/>
                  </a:lnTo>
                  <a:lnTo>
                    <a:pt x="2558111" y="198831"/>
                  </a:lnTo>
                  <a:lnTo>
                    <a:pt x="2558111" y="197447"/>
                  </a:lnTo>
                  <a:lnTo>
                    <a:pt x="2558111" y="199530"/>
                  </a:lnTo>
                  <a:lnTo>
                    <a:pt x="2558162" y="199530"/>
                  </a:lnTo>
                  <a:lnTo>
                    <a:pt x="2558162" y="197447"/>
                  </a:lnTo>
                  <a:lnTo>
                    <a:pt x="2558162" y="200876"/>
                  </a:lnTo>
                  <a:lnTo>
                    <a:pt x="2558212" y="200228"/>
                  </a:lnTo>
                  <a:lnTo>
                    <a:pt x="2558212" y="199530"/>
                  </a:lnTo>
                  <a:lnTo>
                    <a:pt x="2558212" y="200228"/>
                  </a:lnTo>
                  <a:lnTo>
                    <a:pt x="2558212" y="199530"/>
                  </a:lnTo>
                  <a:lnTo>
                    <a:pt x="2558212" y="200876"/>
                  </a:lnTo>
                  <a:lnTo>
                    <a:pt x="2558314" y="200876"/>
                  </a:lnTo>
                  <a:lnTo>
                    <a:pt x="2558314" y="200228"/>
                  </a:lnTo>
                  <a:lnTo>
                    <a:pt x="2558314" y="202260"/>
                  </a:lnTo>
                  <a:lnTo>
                    <a:pt x="2558365" y="202260"/>
                  </a:lnTo>
                  <a:lnTo>
                    <a:pt x="2558365" y="200228"/>
                  </a:lnTo>
                  <a:lnTo>
                    <a:pt x="2558365" y="202260"/>
                  </a:lnTo>
                  <a:lnTo>
                    <a:pt x="2558365" y="200876"/>
                  </a:lnTo>
                  <a:lnTo>
                    <a:pt x="2558365" y="202260"/>
                  </a:lnTo>
                  <a:lnTo>
                    <a:pt x="2558365" y="200876"/>
                  </a:lnTo>
                  <a:lnTo>
                    <a:pt x="2558365" y="202260"/>
                  </a:lnTo>
                  <a:lnTo>
                    <a:pt x="2558415" y="202260"/>
                  </a:lnTo>
                  <a:lnTo>
                    <a:pt x="2558415" y="202959"/>
                  </a:lnTo>
                  <a:lnTo>
                    <a:pt x="2558415" y="200876"/>
                  </a:lnTo>
                  <a:lnTo>
                    <a:pt x="2558415" y="202260"/>
                  </a:lnTo>
                  <a:lnTo>
                    <a:pt x="2558466" y="202260"/>
                  </a:lnTo>
                  <a:lnTo>
                    <a:pt x="2558466" y="200876"/>
                  </a:lnTo>
                  <a:lnTo>
                    <a:pt x="2558466" y="202260"/>
                  </a:lnTo>
                  <a:lnTo>
                    <a:pt x="2558466" y="200876"/>
                  </a:lnTo>
                  <a:lnTo>
                    <a:pt x="2558466" y="202260"/>
                  </a:lnTo>
                  <a:lnTo>
                    <a:pt x="2558466" y="200228"/>
                  </a:lnTo>
                  <a:lnTo>
                    <a:pt x="2558466" y="200876"/>
                  </a:lnTo>
                  <a:lnTo>
                    <a:pt x="2558555" y="202260"/>
                  </a:lnTo>
                  <a:lnTo>
                    <a:pt x="2558555" y="199530"/>
                  </a:lnTo>
                  <a:lnTo>
                    <a:pt x="2558606" y="199530"/>
                  </a:lnTo>
                  <a:lnTo>
                    <a:pt x="2558606" y="197447"/>
                  </a:lnTo>
                  <a:lnTo>
                    <a:pt x="2558606" y="199530"/>
                  </a:lnTo>
                  <a:lnTo>
                    <a:pt x="2558657" y="198831"/>
                  </a:lnTo>
                  <a:lnTo>
                    <a:pt x="2558657" y="199530"/>
                  </a:lnTo>
                  <a:lnTo>
                    <a:pt x="2558657" y="198831"/>
                  </a:lnTo>
                  <a:lnTo>
                    <a:pt x="2558657" y="199530"/>
                  </a:lnTo>
                  <a:lnTo>
                    <a:pt x="2558657" y="197447"/>
                  </a:lnTo>
                  <a:lnTo>
                    <a:pt x="2558657" y="200228"/>
                  </a:lnTo>
                  <a:lnTo>
                    <a:pt x="2558657" y="199530"/>
                  </a:lnTo>
                  <a:lnTo>
                    <a:pt x="2558657" y="200228"/>
                  </a:lnTo>
                  <a:lnTo>
                    <a:pt x="2558708" y="199530"/>
                  </a:lnTo>
                  <a:lnTo>
                    <a:pt x="2558708" y="200228"/>
                  </a:lnTo>
                  <a:lnTo>
                    <a:pt x="2558708" y="199530"/>
                  </a:lnTo>
                  <a:lnTo>
                    <a:pt x="2558708" y="200228"/>
                  </a:lnTo>
                  <a:lnTo>
                    <a:pt x="2558809" y="200876"/>
                  </a:lnTo>
                  <a:lnTo>
                    <a:pt x="2558809" y="199530"/>
                  </a:lnTo>
                  <a:lnTo>
                    <a:pt x="2558809" y="200876"/>
                  </a:lnTo>
                  <a:lnTo>
                    <a:pt x="2558809" y="200228"/>
                  </a:lnTo>
                  <a:lnTo>
                    <a:pt x="2558860" y="200228"/>
                  </a:lnTo>
                  <a:lnTo>
                    <a:pt x="2558860" y="200876"/>
                  </a:lnTo>
                  <a:lnTo>
                    <a:pt x="2558860" y="200228"/>
                  </a:lnTo>
                  <a:lnTo>
                    <a:pt x="2558860" y="200876"/>
                  </a:lnTo>
                  <a:lnTo>
                    <a:pt x="2558860" y="200228"/>
                  </a:lnTo>
                  <a:lnTo>
                    <a:pt x="2558860" y="200876"/>
                  </a:lnTo>
                  <a:lnTo>
                    <a:pt x="2558911" y="200876"/>
                  </a:lnTo>
                  <a:lnTo>
                    <a:pt x="2558911" y="200228"/>
                  </a:lnTo>
                  <a:lnTo>
                    <a:pt x="2558911" y="200876"/>
                  </a:lnTo>
                  <a:lnTo>
                    <a:pt x="2559012" y="202260"/>
                  </a:lnTo>
                  <a:lnTo>
                    <a:pt x="2559012" y="200876"/>
                  </a:lnTo>
                  <a:lnTo>
                    <a:pt x="2559012" y="202260"/>
                  </a:lnTo>
                  <a:lnTo>
                    <a:pt x="2559012" y="200876"/>
                  </a:lnTo>
                  <a:lnTo>
                    <a:pt x="2559012" y="202260"/>
                  </a:lnTo>
                  <a:lnTo>
                    <a:pt x="2559012" y="200876"/>
                  </a:lnTo>
                  <a:lnTo>
                    <a:pt x="2559050" y="200228"/>
                  </a:lnTo>
                  <a:lnTo>
                    <a:pt x="2559050" y="198831"/>
                  </a:lnTo>
                  <a:lnTo>
                    <a:pt x="2559101" y="198831"/>
                  </a:lnTo>
                  <a:lnTo>
                    <a:pt x="2559101" y="196799"/>
                  </a:lnTo>
                  <a:lnTo>
                    <a:pt x="2559152" y="197447"/>
                  </a:lnTo>
                  <a:lnTo>
                    <a:pt x="2559152" y="196113"/>
                  </a:lnTo>
                  <a:lnTo>
                    <a:pt x="2559152" y="199530"/>
                  </a:lnTo>
                  <a:lnTo>
                    <a:pt x="2559254" y="199530"/>
                  </a:lnTo>
                  <a:lnTo>
                    <a:pt x="2559254" y="198831"/>
                  </a:lnTo>
                  <a:lnTo>
                    <a:pt x="2559254" y="199530"/>
                  </a:lnTo>
                  <a:lnTo>
                    <a:pt x="2559254" y="198831"/>
                  </a:lnTo>
                  <a:lnTo>
                    <a:pt x="2559254" y="200228"/>
                  </a:lnTo>
                  <a:lnTo>
                    <a:pt x="2559254" y="199530"/>
                  </a:lnTo>
                  <a:lnTo>
                    <a:pt x="2559305" y="199530"/>
                  </a:lnTo>
                  <a:lnTo>
                    <a:pt x="2559305" y="198831"/>
                  </a:lnTo>
                  <a:lnTo>
                    <a:pt x="2559305" y="200228"/>
                  </a:lnTo>
                  <a:lnTo>
                    <a:pt x="2559305" y="199530"/>
                  </a:lnTo>
                  <a:lnTo>
                    <a:pt x="2559305" y="200228"/>
                  </a:lnTo>
                  <a:lnTo>
                    <a:pt x="2559305" y="199530"/>
                  </a:lnTo>
                  <a:lnTo>
                    <a:pt x="2559355" y="200228"/>
                  </a:lnTo>
                  <a:lnTo>
                    <a:pt x="2559355" y="199530"/>
                  </a:lnTo>
                  <a:lnTo>
                    <a:pt x="2559355" y="200228"/>
                  </a:lnTo>
                  <a:lnTo>
                    <a:pt x="2559457" y="200228"/>
                  </a:lnTo>
                  <a:lnTo>
                    <a:pt x="2559457" y="200876"/>
                  </a:lnTo>
                  <a:lnTo>
                    <a:pt x="2559457" y="200228"/>
                  </a:lnTo>
                  <a:lnTo>
                    <a:pt x="2559457" y="200876"/>
                  </a:lnTo>
                  <a:lnTo>
                    <a:pt x="2559508" y="200228"/>
                  </a:lnTo>
                  <a:lnTo>
                    <a:pt x="2559508" y="200876"/>
                  </a:lnTo>
                  <a:lnTo>
                    <a:pt x="2559508" y="200228"/>
                  </a:lnTo>
                  <a:lnTo>
                    <a:pt x="2559559" y="200228"/>
                  </a:lnTo>
                  <a:lnTo>
                    <a:pt x="2559559" y="199530"/>
                  </a:lnTo>
                  <a:lnTo>
                    <a:pt x="2559559" y="200228"/>
                  </a:lnTo>
                  <a:lnTo>
                    <a:pt x="2559559" y="198831"/>
                  </a:lnTo>
                  <a:lnTo>
                    <a:pt x="2559559" y="199530"/>
                  </a:lnTo>
                  <a:lnTo>
                    <a:pt x="2559597" y="199530"/>
                  </a:lnTo>
                  <a:lnTo>
                    <a:pt x="2559597" y="197447"/>
                  </a:lnTo>
                  <a:lnTo>
                    <a:pt x="2559597" y="198831"/>
                  </a:lnTo>
                  <a:lnTo>
                    <a:pt x="2559698" y="197447"/>
                  </a:lnTo>
                  <a:lnTo>
                    <a:pt x="2559698" y="196113"/>
                  </a:lnTo>
                  <a:lnTo>
                    <a:pt x="2559698" y="199530"/>
                  </a:lnTo>
                  <a:lnTo>
                    <a:pt x="2559698" y="198831"/>
                  </a:lnTo>
                  <a:lnTo>
                    <a:pt x="2559749" y="198831"/>
                  </a:lnTo>
                  <a:lnTo>
                    <a:pt x="2559749" y="197447"/>
                  </a:lnTo>
                  <a:lnTo>
                    <a:pt x="2559749" y="199530"/>
                  </a:lnTo>
                  <a:lnTo>
                    <a:pt x="2559749" y="198831"/>
                  </a:lnTo>
                  <a:lnTo>
                    <a:pt x="2559800" y="198831"/>
                  </a:lnTo>
                  <a:lnTo>
                    <a:pt x="2559800" y="197447"/>
                  </a:lnTo>
                  <a:lnTo>
                    <a:pt x="2559800" y="198831"/>
                  </a:lnTo>
                  <a:lnTo>
                    <a:pt x="2559800" y="197447"/>
                  </a:lnTo>
                  <a:lnTo>
                    <a:pt x="2559800" y="198831"/>
                  </a:lnTo>
                  <a:lnTo>
                    <a:pt x="2559800" y="197447"/>
                  </a:lnTo>
                  <a:lnTo>
                    <a:pt x="2559800" y="198831"/>
                  </a:lnTo>
                  <a:lnTo>
                    <a:pt x="2559901" y="199530"/>
                  </a:lnTo>
                  <a:lnTo>
                    <a:pt x="2559901" y="198831"/>
                  </a:lnTo>
                  <a:lnTo>
                    <a:pt x="2559901" y="199530"/>
                  </a:lnTo>
                  <a:lnTo>
                    <a:pt x="2559901" y="198831"/>
                  </a:lnTo>
                  <a:lnTo>
                    <a:pt x="2559901" y="199530"/>
                  </a:lnTo>
                  <a:lnTo>
                    <a:pt x="2559901" y="198831"/>
                  </a:lnTo>
                  <a:lnTo>
                    <a:pt x="2559901" y="199530"/>
                  </a:lnTo>
                  <a:lnTo>
                    <a:pt x="2559901" y="198831"/>
                  </a:lnTo>
                  <a:lnTo>
                    <a:pt x="2559952" y="199530"/>
                  </a:lnTo>
                  <a:lnTo>
                    <a:pt x="2559952" y="200228"/>
                  </a:lnTo>
                  <a:lnTo>
                    <a:pt x="2560003" y="200228"/>
                  </a:lnTo>
                  <a:lnTo>
                    <a:pt x="2560003" y="200876"/>
                  </a:lnTo>
                  <a:lnTo>
                    <a:pt x="2560003" y="200228"/>
                  </a:lnTo>
                  <a:lnTo>
                    <a:pt x="2560054" y="199530"/>
                  </a:lnTo>
                  <a:lnTo>
                    <a:pt x="2560054" y="200228"/>
                  </a:lnTo>
                  <a:lnTo>
                    <a:pt x="2560054" y="198831"/>
                  </a:lnTo>
                  <a:lnTo>
                    <a:pt x="2560054" y="199530"/>
                  </a:lnTo>
                  <a:lnTo>
                    <a:pt x="2560054" y="198831"/>
                  </a:lnTo>
                  <a:lnTo>
                    <a:pt x="2560143" y="198831"/>
                  </a:lnTo>
                  <a:lnTo>
                    <a:pt x="2560143" y="199530"/>
                  </a:lnTo>
                  <a:lnTo>
                    <a:pt x="2560143" y="198831"/>
                  </a:lnTo>
                  <a:lnTo>
                    <a:pt x="2560143" y="199530"/>
                  </a:lnTo>
                  <a:lnTo>
                    <a:pt x="2560143" y="198831"/>
                  </a:lnTo>
                  <a:lnTo>
                    <a:pt x="2560194" y="198831"/>
                  </a:lnTo>
                  <a:lnTo>
                    <a:pt x="2560194" y="200876"/>
                  </a:lnTo>
                  <a:lnTo>
                    <a:pt x="2560194" y="200228"/>
                  </a:lnTo>
                  <a:lnTo>
                    <a:pt x="2560244" y="200228"/>
                  </a:lnTo>
                  <a:lnTo>
                    <a:pt x="2560244" y="202260"/>
                  </a:lnTo>
                  <a:lnTo>
                    <a:pt x="2560244" y="200876"/>
                  </a:lnTo>
                  <a:lnTo>
                    <a:pt x="2560244" y="202260"/>
                  </a:lnTo>
                  <a:lnTo>
                    <a:pt x="2560244" y="200228"/>
                  </a:lnTo>
                  <a:lnTo>
                    <a:pt x="2560295" y="200228"/>
                  </a:lnTo>
                  <a:lnTo>
                    <a:pt x="2560295" y="200876"/>
                  </a:lnTo>
                  <a:lnTo>
                    <a:pt x="2560295" y="200228"/>
                  </a:lnTo>
                  <a:lnTo>
                    <a:pt x="2560397" y="200228"/>
                  </a:lnTo>
                  <a:lnTo>
                    <a:pt x="2560397" y="200876"/>
                  </a:lnTo>
                  <a:lnTo>
                    <a:pt x="2560397" y="200228"/>
                  </a:lnTo>
                  <a:lnTo>
                    <a:pt x="2560397" y="200876"/>
                  </a:lnTo>
                  <a:lnTo>
                    <a:pt x="2560447" y="200876"/>
                  </a:lnTo>
                  <a:lnTo>
                    <a:pt x="2560447" y="200228"/>
                  </a:lnTo>
                  <a:lnTo>
                    <a:pt x="2560447" y="200876"/>
                  </a:lnTo>
                  <a:lnTo>
                    <a:pt x="2560447" y="200228"/>
                  </a:lnTo>
                  <a:lnTo>
                    <a:pt x="2560447" y="202260"/>
                  </a:lnTo>
                  <a:lnTo>
                    <a:pt x="2560447" y="200876"/>
                  </a:lnTo>
                  <a:lnTo>
                    <a:pt x="2560498" y="200876"/>
                  </a:lnTo>
                  <a:lnTo>
                    <a:pt x="2560498" y="200228"/>
                  </a:lnTo>
                  <a:lnTo>
                    <a:pt x="2560498" y="200876"/>
                  </a:lnTo>
                  <a:lnTo>
                    <a:pt x="2560498" y="200228"/>
                  </a:lnTo>
                  <a:lnTo>
                    <a:pt x="2560498" y="200876"/>
                  </a:lnTo>
                  <a:lnTo>
                    <a:pt x="2560498" y="199530"/>
                  </a:lnTo>
                  <a:lnTo>
                    <a:pt x="2560600" y="199530"/>
                  </a:lnTo>
                  <a:lnTo>
                    <a:pt x="2560600" y="198831"/>
                  </a:lnTo>
                  <a:lnTo>
                    <a:pt x="2560600" y="199530"/>
                  </a:lnTo>
                  <a:lnTo>
                    <a:pt x="2560600" y="198831"/>
                  </a:lnTo>
                  <a:lnTo>
                    <a:pt x="2560600" y="199530"/>
                  </a:lnTo>
                  <a:lnTo>
                    <a:pt x="2560600" y="198831"/>
                  </a:lnTo>
                  <a:lnTo>
                    <a:pt x="2560600" y="200228"/>
                  </a:lnTo>
                  <a:lnTo>
                    <a:pt x="2560638" y="200228"/>
                  </a:lnTo>
                  <a:lnTo>
                    <a:pt x="2560638" y="200876"/>
                  </a:lnTo>
                  <a:lnTo>
                    <a:pt x="2560638" y="199530"/>
                  </a:lnTo>
                  <a:lnTo>
                    <a:pt x="2560638" y="202260"/>
                  </a:lnTo>
                  <a:lnTo>
                    <a:pt x="2560689" y="202959"/>
                  </a:lnTo>
                  <a:lnTo>
                    <a:pt x="2560689" y="200876"/>
                  </a:lnTo>
                  <a:lnTo>
                    <a:pt x="2560689" y="202959"/>
                  </a:lnTo>
                  <a:lnTo>
                    <a:pt x="2560740" y="202959"/>
                  </a:lnTo>
                  <a:lnTo>
                    <a:pt x="2560740" y="202260"/>
                  </a:lnTo>
                  <a:lnTo>
                    <a:pt x="2560841" y="202260"/>
                  </a:lnTo>
                  <a:lnTo>
                    <a:pt x="2560841" y="200876"/>
                  </a:lnTo>
                  <a:lnTo>
                    <a:pt x="2560841" y="202260"/>
                  </a:lnTo>
                  <a:lnTo>
                    <a:pt x="2560841" y="200876"/>
                  </a:lnTo>
                  <a:lnTo>
                    <a:pt x="2560841" y="202260"/>
                  </a:lnTo>
                  <a:lnTo>
                    <a:pt x="2560892" y="202260"/>
                  </a:lnTo>
                  <a:lnTo>
                    <a:pt x="2560892" y="200876"/>
                  </a:lnTo>
                  <a:lnTo>
                    <a:pt x="2560892" y="202260"/>
                  </a:lnTo>
                  <a:lnTo>
                    <a:pt x="2560892" y="200876"/>
                  </a:lnTo>
                  <a:lnTo>
                    <a:pt x="2560892" y="202260"/>
                  </a:lnTo>
                  <a:lnTo>
                    <a:pt x="2560892" y="200876"/>
                  </a:lnTo>
                  <a:lnTo>
                    <a:pt x="2560892" y="202260"/>
                  </a:lnTo>
                  <a:lnTo>
                    <a:pt x="2560943" y="202260"/>
                  </a:lnTo>
                  <a:lnTo>
                    <a:pt x="2560943" y="200228"/>
                  </a:lnTo>
                  <a:lnTo>
                    <a:pt x="2561044" y="200228"/>
                  </a:lnTo>
                  <a:lnTo>
                    <a:pt x="2561044" y="198831"/>
                  </a:lnTo>
                  <a:lnTo>
                    <a:pt x="2561044" y="199530"/>
                  </a:lnTo>
                  <a:lnTo>
                    <a:pt x="2561044" y="198831"/>
                  </a:lnTo>
                  <a:lnTo>
                    <a:pt x="2561095" y="198831"/>
                  </a:lnTo>
                  <a:lnTo>
                    <a:pt x="2561095" y="197447"/>
                  </a:lnTo>
                  <a:lnTo>
                    <a:pt x="2561095" y="198831"/>
                  </a:lnTo>
                  <a:lnTo>
                    <a:pt x="2561095" y="197447"/>
                  </a:lnTo>
                  <a:lnTo>
                    <a:pt x="2561095" y="199530"/>
                  </a:lnTo>
                  <a:lnTo>
                    <a:pt x="2561095" y="198831"/>
                  </a:lnTo>
                  <a:lnTo>
                    <a:pt x="2561146" y="198831"/>
                  </a:lnTo>
                  <a:lnTo>
                    <a:pt x="2561146" y="197447"/>
                  </a:lnTo>
                  <a:lnTo>
                    <a:pt x="2561146" y="200876"/>
                  </a:lnTo>
                  <a:lnTo>
                    <a:pt x="2561146" y="200228"/>
                  </a:lnTo>
                  <a:lnTo>
                    <a:pt x="2561184" y="199530"/>
                  </a:lnTo>
                  <a:lnTo>
                    <a:pt x="2561184" y="200228"/>
                  </a:lnTo>
                  <a:lnTo>
                    <a:pt x="2561184" y="199530"/>
                  </a:lnTo>
                  <a:lnTo>
                    <a:pt x="2561184" y="202260"/>
                  </a:lnTo>
                  <a:lnTo>
                    <a:pt x="2561184" y="200876"/>
                  </a:lnTo>
                  <a:lnTo>
                    <a:pt x="2561286" y="200876"/>
                  </a:lnTo>
                  <a:lnTo>
                    <a:pt x="2561286" y="202260"/>
                  </a:lnTo>
                  <a:lnTo>
                    <a:pt x="2561286" y="200876"/>
                  </a:lnTo>
                  <a:lnTo>
                    <a:pt x="2561286" y="202260"/>
                  </a:lnTo>
                  <a:lnTo>
                    <a:pt x="2561387" y="202260"/>
                  </a:lnTo>
                  <a:lnTo>
                    <a:pt x="2561387" y="202959"/>
                  </a:lnTo>
                  <a:lnTo>
                    <a:pt x="2561387" y="202260"/>
                  </a:lnTo>
                  <a:lnTo>
                    <a:pt x="2561489" y="202260"/>
                  </a:lnTo>
                  <a:lnTo>
                    <a:pt x="2561489" y="200876"/>
                  </a:lnTo>
                  <a:lnTo>
                    <a:pt x="2561489" y="202260"/>
                  </a:lnTo>
                  <a:lnTo>
                    <a:pt x="2561489" y="200876"/>
                  </a:lnTo>
                  <a:lnTo>
                    <a:pt x="2561540" y="200228"/>
                  </a:lnTo>
                  <a:lnTo>
                    <a:pt x="2561540" y="198831"/>
                  </a:lnTo>
                  <a:lnTo>
                    <a:pt x="2561540" y="199530"/>
                  </a:lnTo>
                  <a:lnTo>
                    <a:pt x="2561540" y="198831"/>
                  </a:lnTo>
                  <a:lnTo>
                    <a:pt x="2561540" y="199530"/>
                  </a:lnTo>
                  <a:lnTo>
                    <a:pt x="2561540" y="198831"/>
                  </a:lnTo>
                  <a:lnTo>
                    <a:pt x="2561540" y="199530"/>
                  </a:lnTo>
                  <a:lnTo>
                    <a:pt x="2561540" y="198831"/>
                  </a:lnTo>
                  <a:lnTo>
                    <a:pt x="2561590" y="197447"/>
                  </a:lnTo>
                  <a:lnTo>
                    <a:pt x="2561590" y="200228"/>
                  </a:lnTo>
                  <a:lnTo>
                    <a:pt x="2561590" y="199530"/>
                  </a:lnTo>
                  <a:lnTo>
                    <a:pt x="2561590" y="200228"/>
                  </a:lnTo>
                  <a:lnTo>
                    <a:pt x="2561590" y="198831"/>
                  </a:lnTo>
                  <a:lnTo>
                    <a:pt x="2561641" y="198831"/>
                  </a:lnTo>
                  <a:lnTo>
                    <a:pt x="2561641" y="202260"/>
                  </a:lnTo>
                  <a:lnTo>
                    <a:pt x="2561641" y="200228"/>
                  </a:lnTo>
                  <a:lnTo>
                    <a:pt x="2561730" y="200228"/>
                  </a:lnTo>
                  <a:lnTo>
                    <a:pt x="2561730" y="202260"/>
                  </a:lnTo>
                  <a:lnTo>
                    <a:pt x="2561730" y="200228"/>
                  </a:lnTo>
                  <a:lnTo>
                    <a:pt x="2561781" y="200876"/>
                  </a:lnTo>
                  <a:lnTo>
                    <a:pt x="2561781" y="202260"/>
                  </a:lnTo>
                  <a:lnTo>
                    <a:pt x="2561781" y="200876"/>
                  </a:lnTo>
                  <a:lnTo>
                    <a:pt x="2561781" y="202260"/>
                  </a:lnTo>
                  <a:lnTo>
                    <a:pt x="2561781" y="200876"/>
                  </a:lnTo>
                  <a:lnTo>
                    <a:pt x="2561832" y="200876"/>
                  </a:lnTo>
                  <a:lnTo>
                    <a:pt x="2561832" y="202260"/>
                  </a:lnTo>
                  <a:lnTo>
                    <a:pt x="2561832" y="200876"/>
                  </a:lnTo>
                  <a:lnTo>
                    <a:pt x="2561832" y="202260"/>
                  </a:lnTo>
                  <a:lnTo>
                    <a:pt x="2561883" y="202260"/>
                  </a:lnTo>
                  <a:lnTo>
                    <a:pt x="2561883" y="202959"/>
                  </a:lnTo>
                  <a:lnTo>
                    <a:pt x="2561883" y="202260"/>
                  </a:lnTo>
                  <a:lnTo>
                    <a:pt x="2561883" y="202959"/>
                  </a:lnTo>
                  <a:lnTo>
                    <a:pt x="2561883" y="202260"/>
                  </a:lnTo>
                  <a:lnTo>
                    <a:pt x="2561984" y="202260"/>
                  </a:lnTo>
                  <a:lnTo>
                    <a:pt x="2561984" y="200876"/>
                  </a:lnTo>
                  <a:lnTo>
                    <a:pt x="2561984" y="202260"/>
                  </a:lnTo>
                  <a:lnTo>
                    <a:pt x="2561984" y="200876"/>
                  </a:lnTo>
                  <a:lnTo>
                    <a:pt x="2562035" y="200228"/>
                  </a:lnTo>
                  <a:lnTo>
                    <a:pt x="2562035" y="199530"/>
                  </a:lnTo>
                  <a:lnTo>
                    <a:pt x="2562035" y="200228"/>
                  </a:lnTo>
                  <a:lnTo>
                    <a:pt x="2562035" y="199530"/>
                  </a:lnTo>
                  <a:lnTo>
                    <a:pt x="2562035" y="200228"/>
                  </a:lnTo>
                  <a:lnTo>
                    <a:pt x="2562035" y="198831"/>
                  </a:lnTo>
                  <a:lnTo>
                    <a:pt x="2562035" y="199530"/>
                  </a:lnTo>
                  <a:lnTo>
                    <a:pt x="2562035" y="197447"/>
                  </a:lnTo>
                  <a:lnTo>
                    <a:pt x="2562086" y="197447"/>
                  </a:lnTo>
                  <a:lnTo>
                    <a:pt x="2562086" y="196799"/>
                  </a:lnTo>
                  <a:lnTo>
                    <a:pt x="2562086" y="198831"/>
                  </a:lnTo>
                  <a:lnTo>
                    <a:pt x="2562086" y="197447"/>
                  </a:lnTo>
                  <a:lnTo>
                    <a:pt x="2562187" y="197447"/>
                  </a:lnTo>
                  <a:lnTo>
                    <a:pt x="2562187" y="200228"/>
                  </a:lnTo>
                  <a:lnTo>
                    <a:pt x="2562187" y="199530"/>
                  </a:lnTo>
                  <a:lnTo>
                    <a:pt x="2562187" y="200228"/>
                  </a:lnTo>
                  <a:lnTo>
                    <a:pt x="2562187" y="199530"/>
                  </a:lnTo>
                  <a:lnTo>
                    <a:pt x="2562225" y="199530"/>
                  </a:lnTo>
                  <a:lnTo>
                    <a:pt x="2562225" y="200228"/>
                  </a:lnTo>
                  <a:lnTo>
                    <a:pt x="2562276" y="200228"/>
                  </a:lnTo>
                  <a:lnTo>
                    <a:pt x="2562276" y="200876"/>
                  </a:lnTo>
                  <a:lnTo>
                    <a:pt x="2562276" y="200228"/>
                  </a:lnTo>
                  <a:lnTo>
                    <a:pt x="2562276" y="200876"/>
                  </a:lnTo>
                  <a:lnTo>
                    <a:pt x="2562276" y="200228"/>
                  </a:lnTo>
                  <a:lnTo>
                    <a:pt x="2562276" y="200876"/>
                  </a:lnTo>
                  <a:lnTo>
                    <a:pt x="2562327" y="200876"/>
                  </a:lnTo>
                  <a:lnTo>
                    <a:pt x="2562327" y="202959"/>
                  </a:lnTo>
                  <a:lnTo>
                    <a:pt x="2562327" y="202260"/>
                  </a:lnTo>
                  <a:lnTo>
                    <a:pt x="2562327" y="202959"/>
                  </a:lnTo>
                  <a:lnTo>
                    <a:pt x="2562327" y="202260"/>
                  </a:lnTo>
                  <a:lnTo>
                    <a:pt x="2562429" y="202260"/>
                  </a:lnTo>
                  <a:lnTo>
                    <a:pt x="2562429" y="202959"/>
                  </a:lnTo>
                  <a:lnTo>
                    <a:pt x="2562429" y="200876"/>
                  </a:lnTo>
                  <a:lnTo>
                    <a:pt x="2562429" y="202260"/>
                  </a:lnTo>
                  <a:lnTo>
                    <a:pt x="2562429" y="200876"/>
                  </a:lnTo>
                  <a:lnTo>
                    <a:pt x="2562429" y="202260"/>
                  </a:lnTo>
                  <a:lnTo>
                    <a:pt x="2562480" y="202260"/>
                  </a:lnTo>
                  <a:lnTo>
                    <a:pt x="2562480" y="199530"/>
                  </a:lnTo>
                  <a:lnTo>
                    <a:pt x="2562530" y="200228"/>
                  </a:lnTo>
                  <a:lnTo>
                    <a:pt x="2562530" y="198831"/>
                  </a:lnTo>
                  <a:lnTo>
                    <a:pt x="2562530" y="199530"/>
                  </a:lnTo>
                  <a:lnTo>
                    <a:pt x="2562530" y="198831"/>
                  </a:lnTo>
                  <a:lnTo>
                    <a:pt x="2562632" y="198831"/>
                  </a:lnTo>
                  <a:lnTo>
                    <a:pt x="2562632" y="197447"/>
                  </a:lnTo>
                  <a:lnTo>
                    <a:pt x="2562632" y="198831"/>
                  </a:lnTo>
                  <a:lnTo>
                    <a:pt x="2562632" y="197447"/>
                  </a:lnTo>
                  <a:lnTo>
                    <a:pt x="2562632" y="200228"/>
                  </a:lnTo>
                  <a:lnTo>
                    <a:pt x="2562632" y="197447"/>
                  </a:lnTo>
                  <a:lnTo>
                    <a:pt x="2562632" y="198831"/>
                  </a:lnTo>
                  <a:lnTo>
                    <a:pt x="2562632" y="197447"/>
                  </a:lnTo>
                  <a:lnTo>
                    <a:pt x="2562683" y="198831"/>
                  </a:lnTo>
                  <a:lnTo>
                    <a:pt x="2562683" y="200228"/>
                  </a:lnTo>
                  <a:lnTo>
                    <a:pt x="2562683" y="198831"/>
                  </a:lnTo>
                  <a:lnTo>
                    <a:pt x="2562683" y="199530"/>
                  </a:lnTo>
                  <a:lnTo>
                    <a:pt x="2562734" y="199530"/>
                  </a:lnTo>
                  <a:lnTo>
                    <a:pt x="2562734" y="200228"/>
                  </a:lnTo>
                  <a:lnTo>
                    <a:pt x="2562734" y="199530"/>
                  </a:lnTo>
                  <a:lnTo>
                    <a:pt x="2562772" y="199530"/>
                  </a:lnTo>
                  <a:lnTo>
                    <a:pt x="2562772" y="200228"/>
                  </a:lnTo>
                  <a:lnTo>
                    <a:pt x="2562772" y="199530"/>
                  </a:lnTo>
                  <a:lnTo>
                    <a:pt x="2562772" y="200228"/>
                  </a:lnTo>
                  <a:lnTo>
                    <a:pt x="2562772" y="199530"/>
                  </a:lnTo>
                  <a:lnTo>
                    <a:pt x="2562772" y="200228"/>
                  </a:lnTo>
                  <a:lnTo>
                    <a:pt x="2562772" y="199530"/>
                  </a:lnTo>
                  <a:lnTo>
                    <a:pt x="2562772" y="200228"/>
                  </a:lnTo>
                  <a:lnTo>
                    <a:pt x="2562873" y="200228"/>
                  </a:lnTo>
                  <a:lnTo>
                    <a:pt x="2562873" y="200876"/>
                  </a:lnTo>
                  <a:lnTo>
                    <a:pt x="2562924" y="200876"/>
                  </a:lnTo>
                  <a:lnTo>
                    <a:pt x="2562924" y="200228"/>
                  </a:lnTo>
                  <a:lnTo>
                    <a:pt x="2562924" y="200876"/>
                  </a:lnTo>
                  <a:lnTo>
                    <a:pt x="2562924" y="200228"/>
                  </a:lnTo>
                  <a:lnTo>
                    <a:pt x="2562975" y="200228"/>
                  </a:lnTo>
                  <a:lnTo>
                    <a:pt x="2562975" y="200876"/>
                  </a:lnTo>
                  <a:lnTo>
                    <a:pt x="2562975" y="200228"/>
                  </a:lnTo>
                  <a:lnTo>
                    <a:pt x="2563076" y="199530"/>
                  </a:lnTo>
                  <a:lnTo>
                    <a:pt x="2563076" y="198831"/>
                  </a:lnTo>
                  <a:lnTo>
                    <a:pt x="2563076" y="199530"/>
                  </a:lnTo>
                  <a:lnTo>
                    <a:pt x="2563076" y="198831"/>
                  </a:lnTo>
                  <a:lnTo>
                    <a:pt x="2563076" y="199530"/>
                  </a:lnTo>
                  <a:lnTo>
                    <a:pt x="2563076" y="198831"/>
                  </a:lnTo>
                  <a:lnTo>
                    <a:pt x="2563076" y="199530"/>
                  </a:lnTo>
                  <a:lnTo>
                    <a:pt x="2563127" y="199530"/>
                  </a:lnTo>
                  <a:lnTo>
                    <a:pt x="2563127" y="200228"/>
                  </a:lnTo>
                  <a:lnTo>
                    <a:pt x="2563127" y="198831"/>
                  </a:lnTo>
                  <a:lnTo>
                    <a:pt x="2563127" y="202260"/>
                  </a:lnTo>
                  <a:lnTo>
                    <a:pt x="2563178" y="202260"/>
                  </a:lnTo>
                  <a:lnTo>
                    <a:pt x="2563178" y="200228"/>
                  </a:lnTo>
                  <a:lnTo>
                    <a:pt x="2563178" y="200876"/>
                  </a:lnTo>
                  <a:lnTo>
                    <a:pt x="2563178" y="200228"/>
                  </a:lnTo>
                  <a:lnTo>
                    <a:pt x="2563178" y="200876"/>
                  </a:lnTo>
                  <a:lnTo>
                    <a:pt x="2563178" y="200228"/>
                  </a:lnTo>
                  <a:lnTo>
                    <a:pt x="2563229" y="200228"/>
                  </a:lnTo>
                  <a:lnTo>
                    <a:pt x="2563229" y="200876"/>
                  </a:lnTo>
                  <a:lnTo>
                    <a:pt x="2563229" y="200228"/>
                  </a:lnTo>
                  <a:lnTo>
                    <a:pt x="2563229" y="200876"/>
                  </a:lnTo>
                  <a:lnTo>
                    <a:pt x="2563229" y="200228"/>
                  </a:lnTo>
                  <a:lnTo>
                    <a:pt x="2563229" y="200876"/>
                  </a:lnTo>
                  <a:lnTo>
                    <a:pt x="2563229" y="200228"/>
                  </a:lnTo>
                  <a:lnTo>
                    <a:pt x="2563229" y="200876"/>
                  </a:lnTo>
                  <a:lnTo>
                    <a:pt x="2563318" y="200876"/>
                  </a:lnTo>
                  <a:lnTo>
                    <a:pt x="2563318" y="200228"/>
                  </a:lnTo>
                  <a:lnTo>
                    <a:pt x="2563318" y="200876"/>
                  </a:lnTo>
                  <a:lnTo>
                    <a:pt x="2563369" y="200876"/>
                  </a:lnTo>
                  <a:lnTo>
                    <a:pt x="2563369" y="202260"/>
                  </a:lnTo>
                  <a:lnTo>
                    <a:pt x="2563369" y="200876"/>
                  </a:lnTo>
                  <a:lnTo>
                    <a:pt x="2563369" y="202260"/>
                  </a:lnTo>
                  <a:lnTo>
                    <a:pt x="2563369" y="200876"/>
                  </a:lnTo>
                  <a:lnTo>
                    <a:pt x="2563369" y="202260"/>
                  </a:lnTo>
                  <a:lnTo>
                    <a:pt x="2563369" y="200876"/>
                  </a:lnTo>
                  <a:lnTo>
                    <a:pt x="2563419" y="200876"/>
                  </a:lnTo>
                  <a:lnTo>
                    <a:pt x="2563419" y="200228"/>
                  </a:lnTo>
                  <a:lnTo>
                    <a:pt x="2563419" y="200876"/>
                  </a:lnTo>
                  <a:lnTo>
                    <a:pt x="2563470" y="200876"/>
                  </a:lnTo>
                  <a:lnTo>
                    <a:pt x="2563470" y="199530"/>
                  </a:lnTo>
                  <a:lnTo>
                    <a:pt x="2563572" y="199530"/>
                  </a:lnTo>
                  <a:lnTo>
                    <a:pt x="2563572" y="197447"/>
                  </a:lnTo>
                  <a:lnTo>
                    <a:pt x="2563572" y="200876"/>
                  </a:lnTo>
                  <a:lnTo>
                    <a:pt x="2563622" y="200876"/>
                  </a:lnTo>
                  <a:lnTo>
                    <a:pt x="2563622" y="199530"/>
                  </a:lnTo>
                  <a:lnTo>
                    <a:pt x="2563622" y="202959"/>
                  </a:lnTo>
                  <a:lnTo>
                    <a:pt x="2563622" y="202260"/>
                  </a:lnTo>
                  <a:lnTo>
                    <a:pt x="2563673" y="202260"/>
                  </a:lnTo>
                  <a:lnTo>
                    <a:pt x="2563673" y="200228"/>
                  </a:lnTo>
                  <a:lnTo>
                    <a:pt x="2563673" y="202260"/>
                  </a:lnTo>
                  <a:lnTo>
                    <a:pt x="2563673" y="200876"/>
                  </a:lnTo>
                  <a:lnTo>
                    <a:pt x="2563673" y="202260"/>
                  </a:lnTo>
                  <a:lnTo>
                    <a:pt x="2563673" y="200876"/>
                  </a:lnTo>
                  <a:lnTo>
                    <a:pt x="2563775" y="200876"/>
                  </a:lnTo>
                  <a:lnTo>
                    <a:pt x="2563775" y="202260"/>
                  </a:lnTo>
                  <a:lnTo>
                    <a:pt x="2563775" y="200876"/>
                  </a:lnTo>
                  <a:lnTo>
                    <a:pt x="2563813" y="202260"/>
                  </a:lnTo>
                  <a:lnTo>
                    <a:pt x="2563813" y="200876"/>
                  </a:lnTo>
                  <a:lnTo>
                    <a:pt x="2563813" y="202260"/>
                  </a:lnTo>
                  <a:lnTo>
                    <a:pt x="2563813" y="200876"/>
                  </a:lnTo>
                  <a:lnTo>
                    <a:pt x="2563813" y="202260"/>
                  </a:lnTo>
                  <a:lnTo>
                    <a:pt x="2563813" y="200876"/>
                  </a:lnTo>
                  <a:lnTo>
                    <a:pt x="2563813" y="202260"/>
                  </a:lnTo>
                  <a:lnTo>
                    <a:pt x="2563864" y="202260"/>
                  </a:lnTo>
                  <a:lnTo>
                    <a:pt x="2563864" y="200876"/>
                  </a:lnTo>
                  <a:lnTo>
                    <a:pt x="2563864" y="202260"/>
                  </a:lnTo>
                  <a:lnTo>
                    <a:pt x="2563864" y="200876"/>
                  </a:lnTo>
                  <a:lnTo>
                    <a:pt x="2563915" y="200876"/>
                  </a:lnTo>
                  <a:lnTo>
                    <a:pt x="2563915" y="199530"/>
                  </a:lnTo>
                  <a:lnTo>
                    <a:pt x="2563915" y="200228"/>
                  </a:lnTo>
                  <a:lnTo>
                    <a:pt x="2563915" y="199530"/>
                  </a:lnTo>
                  <a:lnTo>
                    <a:pt x="2564016" y="199530"/>
                  </a:lnTo>
                  <a:lnTo>
                    <a:pt x="2564016" y="198831"/>
                  </a:lnTo>
                  <a:lnTo>
                    <a:pt x="2564016" y="199530"/>
                  </a:lnTo>
                  <a:lnTo>
                    <a:pt x="2564067" y="198831"/>
                  </a:lnTo>
                  <a:lnTo>
                    <a:pt x="2564067" y="197447"/>
                  </a:lnTo>
                  <a:lnTo>
                    <a:pt x="2564067" y="200228"/>
                  </a:lnTo>
                  <a:lnTo>
                    <a:pt x="2564067" y="198831"/>
                  </a:lnTo>
                  <a:lnTo>
                    <a:pt x="2564118" y="198831"/>
                  </a:lnTo>
                  <a:lnTo>
                    <a:pt x="2564118" y="200876"/>
                  </a:lnTo>
                  <a:lnTo>
                    <a:pt x="2564118" y="199530"/>
                  </a:lnTo>
                  <a:lnTo>
                    <a:pt x="2564219" y="199530"/>
                  </a:lnTo>
                  <a:lnTo>
                    <a:pt x="2564219" y="200876"/>
                  </a:lnTo>
                  <a:lnTo>
                    <a:pt x="2564219" y="200228"/>
                  </a:lnTo>
                  <a:lnTo>
                    <a:pt x="2564270" y="200876"/>
                  </a:lnTo>
                  <a:lnTo>
                    <a:pt x="2564270" y="202260"/>
                  </a:lnTo>
                  <a:lnTo>
                    <a:pt x="2564270" y="200876"/>
                  </a:lnTo>
                  <a:lnTo>
                    <a:pt x="2564270" y="202260"/>
                  </a:lnTo>
                  <a:lnTo>
                    <a:pt x="2564270" y="200876"/>
                  </a:lnTo>
                  <a:lnTo>
                    <a:pt x="2564321" y="200876"/>
                  </a:lnTo>
                  <a:lnTo>
                    <a:pt x="2564321" y="202260"/>
                  </a:lnTo>
                  <a:lnTo>
                    <a:pt x="2564321" y="200876"/>
                  </a:lnTo>
                  <a:lnTo>
                    <a:pt x="2564321" y="202260"/>
                  </a:lnTo>
                  <a:lnTo>
                    <a:pt x="2564359" y="202260"/>
                  </a:lnTo>
                  <a:lnTo>
                    <a:pt x="2564359" y="200876"/>
                  </a:lnTo>
                  <a:lnTo>
                    <a:pt x="2564359" y="202260"/>
                  </a:lnTo>
                  <a:lnTo>
                    <a:pt x="2564359" y="200876"/>
                  </a:lnTo>
                  <a:lnTo>
                    <a:pt x="2564461" y="200876"/>
                  </a:lnTo>
                  <a:lnTo>
                    <a:pt x="2564461" y="200228"/>
                  </a:lnTo>
                  <a:lnTo>
                    <a:pt x="2564461" y="200876"/>
                  </a:lnTo>
                  <a:lnTo>
                    <a:pt x="2564461" y="200228"/>
                  </a:lnTo>
                  <a:lnTo>
                    <a:pt x="2564512" y="200228"/>
                  </a:lnTo>
                  <a:lnTo>
                    <a:pt x="2564512" y="199530"/>
                  </a:lnTo>
                  <a:lnTo>
                    <a:pt x="2564512" y="200228"/>
                  </a:lnTo>
                  <a:lnTo>
                    <a:pt x="2564512" y="197447"/>
                  </a:lnTo>
                  <a:lnTo>
                    <a:pt x="2564562" y="197447"/>
                  </a:lnTo>
                  <a:lnTo>
                    <a:pt x="2564562" y="200228"/>
                  </a:lnTo>
                  <a:lnTo>
                    <a:pt x="2564562" y="198831"/>
                  </a:lnTo>
                  <a:lnTo>
                    <a:pt x="2564562" y="199530"/>
                  </a:lnTo>
                  <a:lnTo>
                    <a:pt x="2564664" y="199530"/>
                  </a:lnTo>
                  <a:lnTo>
                    <a:pt x="2564664" y="202260"/>
                  </a:lnTo>
                  <a:lnTo>
                    <a:pt x="2564664" y="199530"/>
                  </a:lnTo>
                  <a:lnTo>
                    <a:pt x="2564664" y="200876"/>
                  </a:lnTo>
                  <a:lnTo>
                    <a:pt x="2564715" y="200876"/>
                  </a:lnTo>
                  <a:lnTo>
                    <a:pt x="2564715" y="200228"/>
                  </a:lnTo>
                  <a:lnTo>
                    <a:pt x="2564715" y="200876"/>
                  </a:lnTo>
                  <a:lnTo>
                    <a:pt x="2564765" y="200876"/>
                  </a:lnTo>
                  <a:lnTo>
                    <a:pt x="2564765" y="200228"/>
                  </a:lnTo>
                  <a:lnTo>
                    <a:pt x="2564765" y="200876"/>
                  </a:lnTo>
                  <a:lnTo>
                    <a:pt x="2564765" y="200228"/>
                  </a:lnTo>
                  <a:lnTo>
                    <a:pt x="2564765" y="202260"/>
                  </a:lnTo>
                  <a:lnTo>
                    <a:pt x="2564816" y="202260"/>
                  </a:lnTo>
                  <a:lnTo>
                    <a:pt x="2564816" y="200876"/>
                  </a:lnTo>
                  <a:lnTo>
                    <a:pt x="2564816" y="202260"/>
                  </a:lnTo>
                  <a:lnTo>
                    <a:pt x="2564816" y="200876"/>
                  </a:lnTo>
                  <a:lnTo>
                    <a:pt x="2564816" y="202260"/>
                  </a:lnTo>
                  <a:lnTo>
                    <a:pt x="2564905" y="202260"/>
                  </a:lnTo>
                  <a:lnTo>
                    <a:pt x="2564905" y="200228"/>
                  </a:lnTo>
                  <a:lnTo>
                    <a:pt x="2564905" y="200876"/>
                  </a:lnTo>
                  <a:lnTo>
                    <a:pt x="2564905" y="200228"/>
                  </a:lnTo>
                  <a:lnTo>
                    <a:pt x="2564905" y="200876"/>
                  </a:lnTo>
                  <a:lnTo>
                    <a:pt x="2564956" y="200876"/>
                  </a:lnTo>
                  <a:lnTo>
                    <a:pt x="2564956" y="199530"/>
                  </a:lnTo>
                  <a:lnTo>
                    <a:pt x="2564956" y="200228"/>
                  </a:lnTo>
                  <a:lnTo>
                    <a:pt x="2564956" y="199530"/>
                  </a:lnTo>
                  <a:lnTo>
                    <a:pt x="2564956" y="200228"/>
                  </a:lnTo>
                  <a:lnTo>
                    <a:pt x="2565007" y="200228"/>
                  </a:lnTo>
                  <a:lnTo>
                    <a:pt x="2565007" y="198831"/>
                  </a:lnTo>
                  <a:lnTo>
                    <a:pt x="2565007" y="199530"/>
                  </a:lnTo>
                  <a:lnTo>
                    <a:pt x="2565007" y="198831"/>
                  </a:lnTo>
                  <a:lnTo>
                    <a:pt x="2565007" y="199530"/>
                  </a:lnTo>
                  <a:lnTo>
                    <a:pt x="2565007" y="197447"/>
                  </a:lnTo>
                  <a:lnTo>
                    <a:pt x="2565058" y="197447"/>
                  </a:lnTo>
                  <a:lnTo>
                    <a:pt x="2565058" y="198831"/>
                  </a:lnTo>
                  <a:lnTo>
                    <a:pt x="2565058" y="196799"/>
                  </a:lnTo>
                  <a:lnTo>
                    <a:pt x="2565058" y="198831"/>
                  </a:lnTo>
                  <a:lnTo>
                    <a:pt x="2565159" y="198831"/>
                  </a:lnTo>
                  <a:lnTo>
                    <a:pt x="2565159" y="199530"/>
                  </a:lnTo>
                  <a:lnTo>
                    <a:pt x="2565159" y="197447"/>
                  </a:lnTo>
                  <a:lnTo>
                    <a:pt x="2565159" y="199530"/>
                  </a:lnTo>
                  <a:lnTo>
                    <a:pt x="2565210" y="199530"/>
                  </a:lnTo>
                  <a:lnTo>
                    <a:pt x="2565210" y="200228"/>
                  </a:lnTo>
                  <a:lnTo>
                    <a:pt x="2565210" y="199530"/>
                  </a:lnTo>
                  <a:lnTo>
                    <a:pt x="2565210" y="200228"/>
                  </a:lnTo>
                  <a:lnTo>
                    <a:pt x="2565210" y="199530"/>
                  </a:lnTo>
                  <a:lnTo>
                    <a:pt x="2565210" y="200228"/>
                  </a:lnTo>
                  <a:lnTo>
                    <a:pt x="2565210" y="199530"/>
                  </a:lnTo>
                  <a:lnTo>
                    <a:pt x="2565210" y="200228"/>
                  </a:lnTo>
                  <a:lnTo>
                    <a:pt x="2565210" y="199530"/>
                  </a:lnTo>
                  <a:lnTo>
                    <a:pt x="2565210" y="200228"/>
                  </a:lnTo>
                  <a:lnTo>
                    <a:pt x="2565261" y="199530"/>
                  </a:lnTo>
                  <a:lnTo>
                    <a:pt x="2565261" y="200876"/>
                  </a:lnTo>
                  <a:lnTo>
                    <a:pt x="2565261" y="200228"/>
                  </a:lnTo>
                  <a:lnTo>
                    <a:pt x="2565261" y="200876"/>
                  </a:lnTo>
                  <a:lnTo>
                    <a:pt x="2565261" y="200228"/>
                  </a:lnTo>
                  <a:lnTo>
                    <a:pt x="2565261" y="200876"/>
                  </a:lnTo>
                  <a:lnTo>
                    <a:pt x="2565400" y="200876"/>
                  </a:lnTo>
                  <a:lnTo>
                    <a:pt x="2565400" y="202260"/>
                  </a:lnTo>
                  <a:lnTo>
                    <a:pt x="2565400" y="200876"/>
                  </a:lnTo>
                  <a:lnTo>
                    <a:pt x="2565400" y="202260"/>
                  </a:lnTo>
                  <a:lnTo>
                    <a:pt x="2565400" y="200876"/>
                  </a:lnTo>
                  <a:lnTo>
                    <a:pt x="2565451" y="200876"/>
                  </a:lnTo>
                  <a:lnTo>
                    <a:pt x="2565451" y="200228"/>
                  </a:lnTo>
                  <a:lnTo>
                    <a:pt x="2565451" y="200876"/>
                  </a:lnTo>
                  <a:lnTo>
                    <a:pt x="2565451" y="199530"/>
                  </a:lnTo>
                  <a:lnTo>
                    <a:pt x="2565502" y="199530"/>
                  </a:lnTo>
                  <a:lnTo>
                    <a:pt x="2565502" y="198831"/>
                  </a:lnTo>
                  <a:lnTo>
                    <a:pt x="2565502" y="200228"/>
                  </a:lnTo>
                  <a:lnTo>
                    <a:pt x="2565502" y="197447"/>
                  </a:lnTo>
                  <a:lnTo>
                    <a:pt x="2565502" y="198831"/>
                  </a:lnTo>
                  <a:lnTo>
                    <a:pt x="2565604" y="198831"/>
                  </a:lnTo>
                  <a:lnTo>
                    <a:pt x="2565604" y="196799"/>
                  </a:lnTo>
                  <a:lnTo>
                    <a:pt x="2565604" y="200228"/>
                  </a:lnTo>
                  <a:lnTo>
                    <a:pt x="2565655" y="199530"/>
                  </a:lnTo>
                  <a:lnTo>
                    <a:pt x="2565655" y="197447"/>
                  </a:lnTo>
                  <a:lnTo>
                    <a:pt x="2565655" y="199530"/>
                  </a:lnTo>
                  <a:lnTo>
                    <a:pt x="2565705" y="199530"/>
                  </a:lnTo>
                  <a:lnTo>
                    <a:pt x="2565705" y="198831"/>
                  </a:lnTo>
                  <a:lnTo>
                    <a:pt x="2565705" y="200228"/>
                  </a:lnTo>
                  <a:lnTo>
                    <a:pt x="2565807" y="200228"/>
                  </a:lnTo>
                  <a:lnTo>
                    <a:pt x="2565807" y="199530"/>
                  </a:lnTo>
                  <a:lnTo>
                    <a:pt x="2565807" y="200228"/>
                  </a:lnTo>
                  <a:lnTo>
                    <a:pt x="2565858" y="200228"/>
                  </a:lnTo>
                  <a:lnTo>
                    <a:pt x="2565858" y="199530"/>
                  </a:lnTo>
                  <a:lnTo>
                    <a:pt x="2565858" y="200228"/>
                  </a:lnTo>
                  <a:lnTo>
                    <a:pt x="2565858" y="199530"/>
                  </a:lnTo>
                  <a:lnTo>
                    <a:pt x="2565858" y="200228"/>
                  </a:lnTo>
                  <a:lnTo>
                    <a:pt x="2565909" y="200228"/>
                  </a:lnTo>
                  <a:lnTo>
                    <a:pt x="2565909" y="199530"/>
                  </a:lnTo>
                  <a:lnTo>
                    <a:pt x="2565947" y="200228"/>
                  </a:lnTo>
                  <a:lnTo>
                    <a:pt x="2565947" y="199530"/>
                  </a:lnTo>
                  <a:lnTo>
                    <a:pt x="2565947" y="200228"/>
                  </a:lnTo>
                  <a:lnTo>
                    <a:pt x="2565947" y="199530"/>
                  </a:lnTo>
                  <a:lnTo>
                    <a:pt x="2566048" y="199530"/>
                  </a:lnTo>
                  <a:lnTo>
                    <a:pt x="2566048" y="200228"/>
                  </a:lnTo>
                  <a:lnTo>
                    <a:pt x="2566048" y="199530"/>
                  </a:lnTo>
                  <a:lnTo>
                    <a:pt x="2566048" y="200228"/>
                  </a:lnTo>
                  <a:lnTo>
                    <a:pt x="2566048" y="198831"/>
                  </a:lnTo>
                  <a:lnTo>
                    <a:pt x="2566099" y="198831"/>
                  </a:lnTo>
                  <a:lnTo>
                    <a:pt x="2566099" y="200876"/>
                  </a:lnTo>
                  <a:lnTo>
                    <a:pt x="2566099" y="200228"/>
                  </a:lnTo>
                  <a:lnTo>
                    <a:pt x="2566150" y="200228"/>
                  </a:lnTo>
                  <a:lnTo>
                    <a:pt x="2566150" y="200876"/>
                  </a:lnTo>
                  <a:lnTo>
                    <a:pt x="2566150" y="200228"/>
                  </a:lnTo>
                  <a:lnTo>
                    <a:pt x="2566150" y="200876"/>
                  </a:lnTo>
                  <a:lnTo>
                    <a:pt x="2566150" y="200228"/>
                  </a:lnTo>
                  <a:lnTo>
                    <a:pt x="2566150" y="200876"/>
                  </a:lnTo>
                  <a:lnTo>
                    <a:pt x="2566251" y="200876"/>
                  </a:lnTo>
                  <a:lnTo>
                    <a:pt x="2566251" y="202260"/>
                  </a:lnTo>
                  <a:lnTo>
                    <a:pt x="2566251" y="200228"/>
                  </a:lnTo>
                  <a:lnTo>
                    <a:pt x="2566251" y="200876"/>
                  </a:lnTo>
                  <a:lnTo>
                    <a:pt x="2566302" y="202260"/>
                  </a:lnTo>
                  <a:lnTo>
                    <a:pt x="2566302" y="200876"/>
                  </a:lnTo>
                  <a:lnTo>
                    <a:pt x="2566302" y="202260"/>
                  </a:lnTo>
                  <a:lnTo>
                    <a:pt x="2566302" y="200876"/>
                  </a:lnTo>
                  <a:lnTo>
                    <a:pt x="2566353" y="202260"/>
                  </a:lnTo>
                  <a:lnTo>
                    <a:pt x="2566353" y="200228"/>
                  </a:lnTo>
                  <a:lnTo>
                    <a:pt x="2566353" y="202260"/>
                  </a:lnTo>
                  <a:lnTo>
                    <a:pt x="2566404" y="202260"/>
                  </a:lnTo>
                  <a:lnTo>
                    <a:pt x="2566404" y="200228"/>
                  </a:lnTo>
                  <a:lnTo>
                    <a:pt x="2566404" y="200876"/>
                  </a:lnTo>
                  <a:lnTo>
                    <a:pt x="2566404" y="200228"/>
                  </a:lnTo>
                  <a:lnTo>
                    <a:pt x="2566493" y="200228"/>
                  </a:lnTo>
                  <a:lnTo>
                    <a:pt x="2566493" y="198831"/>
                  </a:lnTo>
                  <a:lnTo>
                    <a:pt x="2566544" y="198831"/>
                  </a:lnTo>
                  <a:lnTo>
                    <a:pt x="2566544" y="200228"/>
                  </a:lnTo>
                  <a:lnTo>
                    <a:pt x="2566544" y="199530"/>
                  </a:lnTo>
                  <a:lnTo>
                    <a:pt x="2566544" y="200228"/>
                  </a:lnTo>
                  <a:lnTo>
                    <a:pt x="2566544" y="198831"/>
                  </a:lnTo>
                  <a:lnTo>
                    <a:pt x="2566544" y="199530"/>
                  </a:lnTo>
                  <a:lnTo>
                    <a:pt x="2566594" y="200228"/>
                  </a:lnTo>
                  <a:lnTo>
                    <a:pt x="2566594" y="200876"/>
                  </a:lnTo>
                  <a:lnTo>
                    <a:pt x="2566594" y="200228"/>
                  </a:lnTo>
                  <a:lnTo>
                    <a:pt x="2566594" y="200876"/>
                  </a:lnTo>
                  <a:lnTo>
                    <a:pt x="2566594" y="200228"/>
                  </a:lnTo>
                  <a:lnTo>
                    <a:pt x="2566594" y="200876"/>
                  </a:lnTo>
                  <a:lnTo>
                    <a:pt x="2566645" y="200876"/>
                  </a:lnTo>
                  <a:lnTo>
                    <a:pt x="2566645" y="202260"/>
                  </a:lnTo>
                  <a:lnTo>
                    <a:pt x="2566645" y="200876"/>
                  </a:lnTo>
                  <a:lnTo>
                    <a:pt x="2566645" y="202260"/>
                  </a:lnTo>
                  <a:lnTo>
                    <a:pt x="2566645" y="200876"/>
                  </a:lnTo>
                  <a:lnTo>
                    <a:pt x="2566645" y="202260"/>
                  </a:lnTo>
                  <a:lnTo>
                    <a:pt x="2566747" y="202260"/>
                  </a:lnTo>
                  <a:lnTo>
                    <a:pt x="2566747" y="200876"/>
                  </a:lnTo>
                  <a:lnTo>
                    <a:pt x="2566797" y="200876"/>
                  </a:lnTo>
                  <a:lnTo>
                    <a:pt x="2566797" y="202260"/>
                  </a:lnTo>
                  <a:lnTo>
                    <a:pt x="2566797" y="200876"/>
                  </a:lnTo>
                  <a:lnTo>
                    <a:pt x="2566797" y="202260"/>
                  </a:lnTo>
                  <a:lnTo>
                    <a:pt x="2566797" y="200228"/>
                  </a:lnTo>
                  <a:lnTo>
                    <a:pt x="2566848" y="200876"/>
                  </a:lnTo>
                  <a:lnTo>
                    <a:pt x="2566848" y="200228"/>
                  </a:lnTo>
                  <a:lnTo>
                    <a:pt x="2566848" y="200876"/>
                  </a:lnTo>
                  <a:lnTo>
                    <a:pt x="2566848" y="200228"/>
                  </a:lnTo>
                  <a:lnTo>
                    <a:pt x="2566950" y="200876"/>
                  </a:lnTo>
                  <a:lnTo>
                    <a:pt x="2566950" y="200228"/>
                  </a:lnTo>
                  <a:lnTo>
                    <a:pt x="2566950" y="200876"/>
                  </a:lnTo>
                  <a:lnTo>
                    <a:pt x="2566950" y="199530"/>
                  </a:lnTo>
                  <a:lnTo>
                    <a:pt x="2566988" y="199530"/>
                  </a:lnTo>
                  <a:lnTo>
                    <a:pt x="2566988" y="198831"/>
                  </a:lnTo>
                  <a:lnTo>
                    <a:pt x="2566988" y="199530"/>
                  </a:lnTo>
                  <a:lnTo>
                    <a:pt x="2566988" y="198831"/>
                  </a:lnTo>
                  <a:lnTo>
                    <a:pt x="2566988" y="199530"/>
                  </a:lnTo>
                  <a:lnTo>
                    <a:pt x="2566988" y="198831"/>
                  </a:lnTo>
                  <a:lnTo>
                    <a:pt x="2566988" y="199530"/>
                  </a:lnTo>
                  <a:lnTo>
                    <a:pt x="2567039" y="199530"/>
                  </a:lnTo>
                  <a:lnTo>
                    <a:pt x="2567039" y="198831"/>
                  </a:lnTo>
                  <a:lnTo>
                    <a:pt x="2567039" y="200228"/>
                  </a:lnTo>
                  <a:lnTo>
                    <a:pt x="2567090" y="200228"/>
                  </a:lnTo>
                  <a:lnTo>
                    <a:pt x="2567090" y="199530"/>
                  </a:lnTo>
                  <a:lnTo>
                    <a:pt x="2567090" y="200876"/>
                  </a:lnTo>
                  <a:lnTo>
                    <a:pt x="2567191" y="200876"/>
                  </a:lnTo>
                  <a:lnTo>
                    <a:pt x="2567191" y="200228"/>
                  </a:lnTo>
                  <a:lnTo>
                    <a:pt x="2567191" y="200876"/>
                  </a:lnTo>
                  <a:lnTo>
                    <a:pt x="2567242" y="200876"/>
                  </a:lnTo>
                  <a:lnTo>
                    <a:pt x="2567242" y="202260"/>
                  </a:lnTo>
                  <a:lnTo>
                    <a:pt x="2567242" y="200876"/>
                  </a:lnTo>
                  <a:lnTo>
                    <a:pt x="2567293" y="202260"/>
                  </a:lnTo>
                  <a:lnTo>
                    <a:pt x="2567293" y="200876"/>
                  </a:lnTo>
                  <a:lnTo>
                    <a:pt x="2567293" y="202260"/>
                  </a:lnTo>
                  <a:lnTo>
                    <a:pt x="2567293" y="200876"/>
                  </a:lnTo>
                  <a:lnTo>
                    <a:pt x="2567394" y="200876"/>
                  </a:lnTo>
                  <a:lnTo>
                    <a:pt x="2567394" y="200228"/>
                  </a:lnTo>
                  <a:lnTo>
                    <a:pt x="2567394" y="202260"/>
                  </a:lnTo>
                  <a:lnTo>
                    <a:pt x="2567394" y="200876"/>
                  </a:lnTo>
                  <a:lnTo>
                    <a:pt x="2567445" y="200876"/>
                  </a:lnTo>
                  <a:lnTo>
                    <a:pt x="2567445" y="199530"/>
                  </a:lnTo>
                  <a:lnTo>
                    <a:pt x="2567496" y="199530"/>
                  </a:lnTo>
                  <a:lnTo>
                    <a:pt x="2567496" y="198831"/>
                  </a:lnTo>
                  <a:lnTo>
                    <a:pt x="2567496" y="200228"/>
                  </a:lnTo>
                  <a:lnTo>
                    <a:pt x="2567496" y="198831"/>
                  </a:lnTo>
                  <a:lnTo>
                    <a:pt x="2567534" y="198831"/>
                  </a:lnTo>
                  <a:lnTo>
                    <a:pt x="2567534" y="197447"/>
                  </a:lnTo>
                  <a:lnTo>
                    <a:pt x="2567534" y="202260"/>
                  </a:lnTo>
                  <a:lnTo>
                    <a:pt x="2567534" y="199530"/>
                  </a:lnTo>
                  <a:lnTo>
                    <a:pt x="2567636" y="199530"/>
                  </a:lnTo>
                  <a:lnTo>
                    <a:pt x="2567636" y="200876"/>
                  </a:lnTo>
                  <a:lnTo>
                    <a:pt x="2567636" y="200228"/>
                  </a:lnTo>
                  <a:lnTo>
                    <a:pt x="2567687" y="200876"/>
                  </a:lnTo>
                  <a:lnTo>
                    <a:pt x="2567687" y="202260"/>
                  </a:lnTo>
                  <a:lnTo>
                    <a:pt x="2567687" y="200876"/>
                  </a:lnTo>
                  <a:lnTo>
                    <a:pt x="2567737" y="202260"/>
                  </a:lnTo>
                  <a:lnTo>
                    <a:pt x="2567737" y="200876"/>
                  </a:lnTo>
                  <a:lnTo>
                    <a:pt x="2567737" y="202260"/>
                  </a:lnTo>
                  <a:lnTo>
                    <a:pt x="2567737" y="200876"/>
                  </a:lnTo>
                  <a:lnTo>
                    <a:pt x="2567737" y="202260"/>
                  </a:lnTo>
                  <a:lnTo>
                    <a:pt x="2567839" y="202260"/>
                  </a:lnTo>
                  <a:lnTo>
                    <a:pt x="2567839" y="200876"/>
                  </a:lnTo>
                  <a:lnTo>
                    <a:pt x="2567839" y="202260"/>
                  </a:lnTo>
                  <a:lnTo>
                    <a:pt x="2567839" y="200876"/>
                  </a:lnTo>
                  <a:lnTo>
                    <a:pt x="2567839" y="202260"/>
                  </a:lnTo>
                  <a:lnTo>
                    <a:pt x="2567839" y="200876"/>
                  </a:lnTo>
                  <a:lnTo>
                    <a:pt x="2567890" y="200876"/>
                  </a:lnTo>
                  <a:lnTo>
                    <a:pt x="2567890" y="200228"/>
                  </a:lnTo>
                  <a:lnTo>
                    <a:pt x="2567890" y="200876"/>
                  </a:lnTo>
                  <a:lnTo>
                    <a:pt x="2567890" y="199530"/>
                  </a:lnTo>
                  <a:lnTo>
                    <a:pt x="2567940" y="200228"/>
                  </a:lnTo>
                  <a:lnTo>
                    <a:pt x="2567940" y="198831"/>
                  </a:lnTo>
                  <a:lnTo>
                    <a:pt x="2567991" y="197447"/>
                  </a:lnTo>
                  <a:lnTo>
                    <a:pt x="2567991" y="196799"/>
                  </a:lnTo>
                  <a:lnTo>
                    <a:pt x="2567991" y="199530"/>
                  </a:lnTo>
                  <a:lnTo>
                    <a:pt x="2567991" y="197447"/>
                  </a:lnTo>
                  <a:lnTo>
                    <a:pt x="2568080" y="197447"/>
                  </a:lnTo>
                  <a:lnTo>
                    <a:pt x="2568080" y="200228"/>
                  </a:lnTo>
                  <a:lnTo>
                    <a:pt x="2568080" y="199530"/>
                  </a:lnTo>
                  <a:lnTo>
                    <a:pt x="2568080" y="200228"/>
                  </a:lnTo>
                  <a:lnTo>
                    <a:pt x="2568080" y="198831"/>
                  </a:lnTo>
                  <a:lnTo>
                    <a:pt x="2568131" y="199530"/>
                  </a:lnTo>
                  <a:lnTo>
                    <a:pt x="2568131" y="200876"/>
                  </a:lnTo>
                  <a:lnTo>
                    <a:pt x="2568131" y="200228"/>
                  </a:lnTo>
                  <a:lnTo>
                    <a:pt x="2568182" y="200228"/>
                  </a:lnTo>
                  <a:lnTo>
                    <a:pt x="2568182" y="202260"/>
                  </a:lnTo>
                  <a:lnTo>
                    <a:pt x="2568182" y="200228"/>
                  </a:lnTo>
                  <a:lnTo>
                    <a:pt x="2568233" y="200228"/>
                  </a:lnTo>
                  <a:lnTo>
                    <a:pt x="2568233" y="200876"/>
                  </a:lnTo>
                  <a:lnTo>
                    <a:pt x="2568334" y="200876"/>
                  </a:lnTo>
                  <a:lnTo>
                    <a:pt x="2568334" y="202260"/>
                  </a:lnTo>
                  <a:lnTo>
                    <a:pt x="2568334" y="200876"/>
                  </a:lnTo>
                  <a:lnTo>
                    <a:pt x="2568334" y="202260"/>
                  </a:lnTo>
                  <a:lnTo>
                    <a:pt x="2568334" y="200876"/>
                  </a:lnTo>
                  <a:lnTo>
                    <a:pt x="2568334" y="202260"/>
                  </a:lnTo>
                  <a:lnTo>
                    <a:pt x="2568385" y="202260"/>
                  </a:lnTo>
                  <a:lnTo>
                    <a:pt x="2568385" y="200228"/>
                  </a:lnTo>
                  <a:lnTo>
                    <a:pt x="2568385" y="200876"/>
                  </a:lnTo>
                  <a:lnTo>
                    <a:pt x="2568385" y="200228"/>
                  </a:lnTo>
                  <a:lnTo>
                    <a:pt x="2568385" y="200876"/>
                  </a:lnTo>
                  <a:lnTo>
                    <a:pt x="2568436" y="200876"/>
                  </a:lnTo>
                  <a:lnTo>
                    <a:pt x="2568436" y="197447"/>
                  </a:lnTo>
                  <a:lnTo>
                    <a:pt x="2568537" y="197447"/>
                  </a:lnTo>
                  <a:lnTo>
                    <a:pt x="2568537" y="196799"/>
                  </a:lnTo>
                  <a:lnTo>
                    <a:pt x="2568537" y="199530"/>
                  </a:lnTo>
                  <a:lnTo>
                    <a:pt x="2568537" y="196799"/>
                  </a:lnTo>
                  <a:lnTo>
                    <a:pt x="2568575" y="197447"/>
                  </a:lnTo>
                  <a:lnTo>
                    <a:pt x="2568575" y="200228"/>
                  </a:lnTo>
                  <a:lnTo>
                    <a:pt x="2568575" y="197447"/>
                  </a:lnTo>
                  <a:lnTo>
                    <a:pt x="2568575" y="198831"/>
                  </a:lnTo>
                  <a:lnTo>
                    <a:pt x="2568626" y="198831"/>
                  </a:lnTo>
                  <a:lnTo>
                    <a:pt x="2568626" y="200228"/>
                  </a:lnTo>
                  <a:lnTo>
                    <a:pt x="2568626" y="199530"/>
                  </a:lnTo>
                  <a:lnTo>
                    <a:pt x="2568626" y="200228"/>
                  </a:lnTo>
                  <a:lnTo>
                    <a:pt x="2568626" y="198831"/>
                  </a:lnTo>
                  <a:lnTo>
                    <a:pt x="2568626" y="200228"/>
                  </a:lnTo>
                  <a:lnTo>
                    <a:pt x="2568677" y="200228"/>
                  </a:lnTo>
                  <a:lnTo>
                    <a:pt x="2568677" y="199530"/>
                  </a:lnTo>
                  <a:lnTo>
                    <a:pt x="2568677" y="200228"/>
                  </a:lnTo>
                  <a:lnTo>
                    <a:pt x="2568677" y="199530"/>
                  </a:lnTo>
                  <a:lnTo>
                    <a:pt x="2568677" y="200228"/>
                  </a:lnTo>
                  <a:lnTo>
                    <a:pt x="2568779" y="200228"/>
                  </a:lnTo>
                  <a:lnTo>
                    <a:pt x="2568779" y="200876"/>
                  </a:lnTo>
                  <a:lnTo>
                    <a:pt x="2568779" y="200228"/>
                  </a:lnTo>
                  <a:lnTo>
                    <a:pt x="2568779" y="200876"/>
                  </a:lnTo>
                  <a:lnTo>
                    <a:pt x="2568779" y="200228"/>
                  </a:lnTo>
                  <a:lnTo>
                    <a:pt x="2568830" y="200228"/>
                  </a:lnTo>
                  <a:lnTo>
                    <a:pt x="2568830" y="200876"/>
                  </a:lnTo>
                  <a:lnTo>
                    <a:pt x="2568830" y="200228"/>
                  </a:lnTo>
                  <a:lnTo>
                    <a:pt x="2568830" y="200876"/>
                  </a:lnTo>
                  <a:lnTo>
                    <a:pt x="2568830" y="200228"/>
                  </a:lnTo>
                  <a:lnTo>
                    <a:pt x="2568830" y="200876"/>
                  </a:lnTo>
                  <a:lnTo>
                    <a:pt x="2568830" y="200228"/>
                  </a:lnTo>
                  <a:lnTo>
                    <a:pt x="2568830" y="200876"/>
                  </a:lnTo>
                  <a:lnTo>
                    <a:pt x="2568830" y="200228"/>
                  </a:lnTo>
                  <a:lnTo>
                    <a:pt x="2568880" y="200228"/>
                  </a:lnTo>
                  <a:lnTo>
                    <a:pt x="2568880" y="200876"/>
                  </a:lnTo>
                  <a:lnTo>
                    <a:pt x="2568880" y="200228"/>
                  </a:lnTo>
                  <a:lnTo>
                    <a:pt x="2568880" y="200876"/>
                  </a:lnTo>
                  <a:lnTo>
                    <a:pt x="2568880" y="200228"/>
                  </a:lnTo>
                  <a:lnTo>
                    <a:pt x="2568982" y="200228"/>
                  </a:lnTo>
                  <a:lnTo>
                    <a:pt x="2568982" y="198831"/>
                  </a:lnTo>
                  <a:lnTo>
                    <a:pt x="2568982" y="199530"/>
                  </a:lnTo>
                  <a:lnTo>
                    <a:pt x="2568982" y="198831"/>
                  </a:lnTo>
                  <a:lnTo>
                    <a:pt x="2568982" y="200228"/>
                  </a:lnTo>
                  <a:lnTo>
                    <a:pt x="2569033" y="199530"/>
                  </a:lnTo>
                  <a:lnTo>
                    <a:pt x="2569033" y="200228"/>
                  </a:lnTo>
                  <a:lnTo>
                    <a:pt x="2569033" y="197447"/>
                  </a:lnTo>
                  <a:lnTo>
                    <a:pt x="2569033" y="202260"/>
                  </a:lnTo>
                  <a:lnTo>
                    <a:pt x="2569084" y="202260"/>
                  </a:lnTo>
                  <a:lnTo>
                    <a:pt x="2569084" y="199530"/>
                  </a:lnTo>
                  <a:lnTo>
                    <a:pt x="2569084" y="202959"/>
                  </a:lnTo>
                  <a:lnTo>
                    <a:pt x="2569122" y="202260"/>
                  </a:lnTo>
                  <a:lnTo>
                    <a:pt x="2569122" y="200876"/>
                  </a:lnTo>
                  <a:lnTo>
                    <a:pt x="2569122" y="202260"/>
                  </a:lnTo>
                  <a:lnTo>
                    <a:pt x="2569122" y="200228"/>
                  </a:lnTo>
                  <a:lnTo>
                    <a:pt x="2569122" y="202260"/>
                  </a:lnTo>
                  <a:lnTo>
                    <a:pt x="2569122" y="200876"/>
                  </a:lnTo>
                  <a:lnTo>
                    <a:pt x="2569223" y="200876"/>
                  </a:lnTo>
                  <a:lnTo>
                    <a:pt x="2569223" y="200228"/>
                  </a:lnTo>
                  <a:lnTo>
                    <a:pt x="2569223" y="200876"/>
                  </a:lnTo>
                  <a:lnTo>
                    <a:pt x="2569223" y="200228"/>
                  </a:lnTo>
                  <a:lnTo>
                    <a:pt x="2569223" y="200876"/>
                  </a:lnTo>
                  <a:lnTo>
                    <a:pt x="2569274" y="200876"/>
                  </a:lnTo>
                  <a:lnTo>
                    <a:pt x="2569274" y="200228"/>
                  </a:lnTo>
                  <a:lnTo>
                    <a:pt x="2569274" y="202260"/>
                  </a:lnTo>
                  <a:lnTo>
                    <a:pt x="2569325" y="200876"/>
                  </a:lnTo>
                  <a:lnTo>
                    <a:pt x="2569325" y="202260"/>
                  </a:lnTo>
                  <a:lnTo>
                    <a:pt x="2569325" y="200228"/>
                  </a:lnTo>
                  <a:lnTo>
                    <a:pt x="2569325" y="200876"/>
                  </a:lnTo>
                  <a:lnTo>
                    <a:pt x="2569426" y="200876"/>
                  </a:lnTo>
                  <a:lnTo>
                    <a:pt x="2569426" y="200228"/>
                  </a:lnTo>
                  <a:lnTo>
                    <a:pt x="2569426" y="200876"/>
                  </a:lnTo>
                  <a:lnTo>
                    <a:pt x="2569426" y="199530"/>
                  </a:lnTo>
                  <a:lnTo>
                    <a:pt x="2569426" y="200228"/>
                  </a:lnTo>
                  <a:lnTo>
                    <a:pt x="2569477" y="199530"/>
                  </a:lnTo>
                  <a:lnTo>
                    <a:pt x="2569477" y="198831"/>
                  </a:lnTo>
                  <a:lnTo>
                    <a:pt x="2569477" y="199530"/>
                  </a:lnTo>
                  <a:lnTo>
                    <a:pt x="2569477" y="198831"/>
                  </a:lnTo>
                  <a:lnTo>
                    <a:pt x="2569477" y="200228"/>
                  </a:lnTo>
                  <a:lnTo>
                    <a:pt x="2569477" y="199530"/>
                  </a:lnTo>
                  <a:lnTo>
                    <a:pt x="2569528" y="199530"/>
                  </a:lnTo>
                  <a:lnTo>
                    <a:pt x="2569528" y="198831"/>
                  </a:lnTo>
                  <a:lnTo>
                    <a:pt x="2569528" y="202260"/>
                  </a:lnTo>
                  <a:lnTo>
                    <a:pt x="2569528" y="200876"/>
                  </a:lnTo>
                  <a:lnTo>
                    <a:pt x="2569579" y="200228"/>
                  </a:lnTo>
                  <a:lnTo>
                    <a:pt x="2569579" y="202260"/>
                  </a:lnTo>
                  <a:lnTo>
                    <a:pt x="2569579" y="200876"/>
                  </a:lnTo>
                  <a:lnTo>
                    <a:pt x="2569579" y="202260"/>
                  </a:lnTo>
                  <a:lnTo>
                    <a:pt x="2569579" y="200876"/>
                  </a:lnTo>
                  <a:lnTo>
                    <a:pt x="2569579" y="202260"/>
                  </a:lnTo>
                  <a:lnTo>
                    <a:pt x="2569668" y="200876"/>
                  </a:lnTo>
                  <a:lnTo>
                    <a:pt x="2569668" y="202260"/>
                  </a:lnTo>
                  <a:lnTo>
                    <a:pt x="2569668" y="200876"/>
                  </a:lnTo>
                  <a:lnTo>
                    <a:pt x="2569668" y="202260"/>
                  </a:lnTo>
                  <a:lnTo>
                    <a:pt x="2569719" y="202260"/>
                  </a:lnTo>
                  <a:lnTo>
                    <a:pt x="2569719" y="200228"/>
                  </a:lnTo>
                  <a:lnTo>
                    <a:pt x="2569719" y="202260"/>
                  </a:lnTo>
                  <a:lnTo>
                    <a:pt x="2569719" y="200876"/>
                  </a:lnTo>
                  <a:lnTo>
                    <a:pt x="2569719" y="202260"/>
                  </a:lnTo>
                  <a:lnTo>
                    <a:pt x="2569769" y="200876"/>
                  </a:lnTo>
                  <a:lnTo>
                    <a:pt x="2569769" y="202260"/>
                  </a:lnTo>
                  <a:lnTo>
                    <a:pt x="2569769" y="200228"/>
                  </a:lnTo>
                  <a:lnTo>
                    <a:pt x="2569769" y="200876"/>
                  </a:lnTo>
                  <a:lnTo>
                    <a:pt x="2569820" y="200876"/>
                  </a:lnTo>
                  <a:lnTo>
                    <a:pt x="2569820" y="200228"/>
                  </a:lnTo>
                  <a:lnTo>
                    <a:pt x="2569820" y="200876"/>
                  </a:lnTo>
                  <a:lnTo>
                    <a:pt x="2569820" y="199530"/>
                  </a:lnTo>
                  <a:lnTo>
                    <a:pt x="2569820" y="200228"/>
                  </a:lnTo>
                  <a:lnTo>
                    <a:pt x="2569922" y="199530"/>
                  </a:lnTo>
                  <a:lnTo>
                    <a:pt x="2569922" y="200228"/>
                  </a:lnTo>
                  <a:lnTo>
                    <a:pt x="2569922" y="199530"/>
                  </a:lnTo>
                  <a:lnTo>
                    <a:pt x="2569922" y="200228"/>
                  </a:lnTo>
                  <a:lnTo>
                    <a:pt x="2569922" y="197447"/>
                  </a:lnTo>
                  <a:lnTo>
                    <a:pt x="2569972" y="197447"/>
                  </a:lnTo>
                  <a:lnTo>
                    <a:pt x="2569972" y="196799"/>
                  </a:lnTo>
                  <a:lnTo>
                    <a:pt x="2569972" y="199530"/>
                  </a:lnTo>
                  <a:lnTo>
                    <a:pt x="2569972" y="198831"/>
                  </a:lnTo>
                  <a:lnTo>
                    <a:pt x="2570023" y="198831"/>
                  </a:lnTo>
                  <a:lnTo>
                    <a:pt x="2570023" y="200876"/>
                  </a:lnTo>
                  <a:lnTo>
                    <a:pt x="2570023" y="199530"/>
                  </a:lnTo>
                  <a:lnTo>
                    <a:pt x="2570023" y="200228"/>
                  </a:lnTo>
                  <a:lnTo>
                    <a:pt x="2570125" y="199530"/>
                  </a:lnTo>
                  <a:lnTo>
                    <a:pt x="2570125" y="202260"/>
                  </a:lnTo>
                  <a:lnTo>
                    <a:pt x="2570125" y="200876"/>
                  </a:lnTo>
                  <a:lnTo>
                    <a:pt x="2570125" y="202260"/>
                  </a:lnTo>
                  <a:lnTo>
                    <a:pt x="2570125" y="200228"/>
                  </a:lnTo>
                  <a:lnTo>
                    <a:pt x="2570125" y="200876"/>
                  </a:lnTo>
                  <a:lnTo>
                    <a:pt x="2570163" y="200876"/>
                  </a:lnTo>
                  <a:lnTo>
                    <a:pt x="2570163" y="202260"/>
                  </a:lnTo>
                  <a:lnTo>
                    <a:pt x="2570163" y="200876"/>
                  </a:lnTo>
                  <a:lnTo>
                    <a:pt x="2570214" y="200876"/>
                  </a:lnTo>
                  <a:lnTo>
                    <a:pt x="2570214" y="202260"/>
                  </a:lnTo>
                  <a:lnTo>
                    <a:pt x="2570214" y="200876"/>
                  </a:lnTo>
                  <a:lnTo>
                    <a:pt x="2570214" y="202260"/>
                  </a:lnTo>
                  <a:lnTo>
                    <a:pt x="2570265" y="202260"/>
                  </a:lnTo>
                  <a:lnTo>
                    <a:pt x="2570265" y="200876"/>
                  </a:lnTo>
                  <a:lnTo>
                    <a:pt x="2570265" y="202260"/>
                  </a:lnTo>
                  <a:lnTo>
                    <a:pt x="2570265" y="200876"/>
                  </a:lnTo>
                  <a:lnTo>
                    <a:pt x="2570265" y="202260"/>
                  </a:lnTo>
                  <a:lnTo>
                    <a:pt x="2570265" y="200876"/>
                  </a:lnTo>
                  <a:lnTo>
                    <a:pt x="2570366" y="202260"/>
                  </a:lnTo>
                  <a:lnTo>
                    <a:pt x="2570366" y="200876"/>
                  </a:lnTo>
                  <a:lnTo>
                    <a:pt x="2570366" y="202260"/>
                  </a:lnTo>
                  <a:lnTo>
                    <a:pt x="2570366" y="200228"/>
                  </a:lnTo>
                  <a:lnTo>
                    <a:pt x="2570366" y="200876"/>
                  </a:lnTo>
                  <a:lnTo>
                    <a:pt x="2570366" y="200228"/>
                  </a:lnTo>
                  <a:lnTo>
                    <a:pt x="2570417" y="200228"/>
                  </a:lnTo>
                  <a:lnTo>
                    <a:pt x="2570417" y="197447"/>
                  </a:lnTo>
                  <a:lnTo>
                    <a:pt x="2570417" y="198831"/>
                  </a:lnTo>
                  <a:lnTo>
                    <a:pt x="2570417" y="197447"/>
                  </a:lnTo>
                  <a:lnTo>
                    <a:pt x="2570468" y="197447"/>
                  </a:lnTo>
                  <a:lnTo>
                    <a:pt x="2570468" y="199530"/>
                  </a:lnTo>
                  <a:lnTo>
                    <a:pt x="2570468" y="196799"/>
                  </a:lnTo>
                  <a:lnTo>
                    <a:pt x="2570468" y="200228"/>
                  </a:lnTo>
                  <a:lnTo>
                    <a:pt x="2570569" y="200228"/>
                  </a:lnTo>
                  <a:lnTo>
                    <a:pt x="2570569" y="199530"/>
                  </a:lnTo>
                  <a:lnTo>
                    <a:pt x="2570569" y="200228"/>
                  </a:lnTo>
                  <a:lnTo>
                    <a:pt x="2570569" y="199530"/>
                  </a:lnTo>
                  <a:lnTo>
                    <a:pt x="2570569" y="200876"/>
                  </a:lnTo>
                  <a:lnTo>
                    <a:pt x="2570620" y="200876"/>
                  </a:lnTo>
                  <a:lnTo>
                    <a:pt x="2570620" y="199530"/>
                  </a:lnTo>
                  <a:lnTo>
                    <a:pt x="2570620" y="200228"/>
                  </a:lnTo>
                  <a:lnTo>
                    <a:pt x="2570620" y="199530"/>
                  </a:lnTo>
                  <a:lnTo>
                    <a:pt x="2570620" y="200876"/>
                  </a:lnTo>
                  <a:lnTo>
                    <a:pt x="2570671" y="200876"/>
                  </a:lnTo>
                  <a:lnTo>
                    <a:pt x="2570671" y="200228"/>
                  </a:lnTo>
                  <a:lnTo>
                    <a:pt x="2570671" y="200876"/>
                  </a:lnTo>
                  <a:lnTo>
                    <a:pt x="2570671" y="200228"/>
                  </a:lnTo>
                  <a:lnTo>
                    <a:pt x="2570671" y="200876"/>
                  </a:lnTo>
                  <a:lnTo>
                    <a:pt x="2570671" y="200228"/>
                  </a:lnTo>
                  <a:lnTo>
                    <a:pt x="2570671" y="200876"/>
                  </a:lnTo>
                  <a:lnTo>
                    <a:pt x="2570709" y="200876"/>
                  </a:lnTo>
                  <a:lnTo>
                    <a:pt x="2570709" y="202260"/>
                  </a:lnTo>
                  <a:lnTo>
                    <a:pt x="2570811" y="202260"/>
                  </a:lnTo>
                  <a:lnTo>
                    <a:pt x="2570811" y="200876"/>
                  </a:lnTo>
                  <a:lnTo>
                    <a:pt x="2570811" y="202260"/>
                  </a:lnTo>
                  <a:lnTo>
                    <a:pt x="2570811" y="200876"/>
                  </a:lnTo>
                  <a:lnTo>
                    <a:pt x="2570811" y="202260"/>
                  </a:lnTo>
                  <a:lnTo>
                    <a:pt x="2570811" y="200876"/>
                  </a:lnTo>
                  <a:lnTo>
                    <a:pt x="2570811" y="202260"/>
                  </a:lnTo>
                  <a:lnTo>
                    <a:pt x="2570811" y="200876"/>
                  </a:lnTo>
                  <a:lnTo>
                    <a:pt x="2570862" y="202260"/>
                  </a:lnTo>
                  <a:lnTo>
                    <a:pt x="2570862" y="199530"/>
                  </a:lnTo>
                  <a:lnTo>
                    <a:pt x="2570862" y="200228"/>
                  </a:lnTo>
                  <a:lnTo>
                    <a:pt x="2570862" y="199530"/>
                  </a:lnTo>
                  <a:lnTo>
                    <a:pt x="2570912" y="199530"/>
                  </a:lnTo>
                  <a:lnTo>
                    <a:pt x="2570912" y="196799"/>
                  </a:lnTo>
                  <a:lnTo>
                    <a:pt x="2571014" y="196799"/>
                  </a:lnTo>
                  <a:lnTo>
                    <a:pt x="2571014" y="198831"/>
                  </a:lnTo>
                  <a:lnTo>
                    <a:pt x="2571014" y="196799"/>
                  </a:lnTo>
                  <a:lnTo>
                    <a:pt x="2571014" y="199530"/>
                  </a:lnTo>
                  <a:lnTo>
                    <a:pt x="2571065" y="199530"/>
                  </a:lnTo>
                  <a:lnTo>
                    <a:pt x="2571065" y="200228"/>
                  </a:lnTo>
                  <a:lnTo>
                    <a:pt x="2571065" y="198831"/>
                  </a:lnTo>
                  <a:lnTo>
                    <a:pt x="2571065" y="200228"/>
                  </a:lnTo>
                  <a:lnTo>
                    <a:pt x="2571115" y="200228"/>
                  </a:lnTo>
                  <a:lnTo>
                    <a:pt x="2571115" y="199530"/>
                  </a:lnTo>
                  <a:lnTo>
                    <a:pt x="2571115" y="200228"/>
                  </a:lnTo>
                  <a:lnTo>
                    <a:pt x="2571115" y="199530"/>
                  </a:lnTo>
                  <a:lnTo>
                    <a:pt x="2571115" y="200228"/>
                  </a:lnTo>
                  <a:lnTo>
                    <a:pt x="2571115" y="198831"/>
                  </a:lnTo>
                  <a:lnTo>
                    <a:pt x="2571115" y="200228"/>
                  </a:lnTo>
                  <a:lnTo>
                    <a:pt x="2571166" y="200228"/>
                  </a:lnTo>
                  <a:lnTo>
                    <a:pt x="2571166" y="199530"/>
                  </a:lnTo>
                  <a:lnTo>
                    <a:pt x="2571166" y="200228"/>
                  </a:lnTo>
                  <a:lnTo>
                    <a:pt x="2571166" y="199530"/>
                  </a:lnTo>
                  <a:lnTo>
                    <a:pt x="2571166" y="200876"/>
                  </a:lnTo>
                  <a:lnTo>
                    <a:pt x="2571255" y="200228"/>
                  </a:lnTo>
                  <a:lnTo>
                    <a:pt x="2571255" y="202260"/>
                  </a:lnTo>
                  <a:lnTo>
                    <a:pt x="2571255" y="200876"/>
                  </a:lnTo>
                  <a:lnTo>
                    <a:pt x="2571306" y="200876"/>
                  </a:lnTo>
                  <a:lnTo>
                    <a:pt x="2571306" y="202260"/>
                  </a:lnTo>
                  <a:lnTo>
                    <a:pt x="2571306" y="200876"/>
                  </a:lnTo>
                  <a:lnTo>
                    <a:pt x="2571306" y="202260"/>
                  </a:lnTo>
                  <a:lnTo>
                    <a:pt x="2571306" y="200876"/>
                  </a:lnTo>
                  <a:lnTo>
                    <a:pt x="2571306" y="202260"/>
                  </a:lnTo>
                  <a:lnTo>
                    <a:pt x="2571357" y="200876"/>
                  </a:lnTo>
                  <a:lnTo>
                    <a:pt x="2571357" y="198831"/>
                  </a:lnTo>
                  <a:lnTo>
                    <a:pt x="2571408" y="198831"/>
                  </a:lnTo>
                  <a:lnTo>
                    <a:pt x="2571408" y="196799"/>
                  </a:lnTo>
                  <a:lnTo>
                    <a:pt x="2571408" y="198831"/>
                  </a:lnTo>
                  <a:lnTo>
                    <a:pt x="2571509" y="198831"/>
                  </a:lnTo>
                  <a:lnTo>
                    <a:pt x="2571509" y="196113"/>
                  </a:lnTo>
                  <a:lnTo>
                    <a:pt x="2571509" y="196799"/>
                  </a:lnTo>
                  <a:lnTo>
                    <a:pt x="2571509" y="196113"/>
                  </a:lnTo>
                  <a:lnTo>
                    <a:pt x="2571509" y="200228"/>
                  </a:lnTo>
                  <a:lnTo>
                    <a:pt x="2571560" y="200228"/>
                  </a:lnTo>
                  <a:lnTo>
                    <a:pt x="2571560" y="197447"/>
                  </a:lnTo>
                  <a:lnTo>
                    <a:pt x="2571560" y="198831"/>
                  </a:lnTo>
                  <a:lnTo>
                    <a:pt x="2571560" y="197447"/>
                  </a:lnTo>
                  <a:lnTo>
                    <a:pt x="2571560" y="199530"/>
                  </a:lnTo>
                  <a:lnTo>
                    <a:pt x="2571560" y="198831"/>
                  </a:lnTo>
                  <a:lnTo>
                    <a:pt x="2571560" y="199530"/>
                  </a:lnTo>
                  <a:lnTo>
                    <a:pt x="2571611" y="199530"/>
                  </a:lnTo>
                  <a:lnTo>
                    <a:pt x="2571611" y="197447"/>
                  </a:lnTo>
                  <a:lnTo>
                    <a:pt x="2571611" y="199530"/>
                  </a:lnTo>
                  <a:lnTo>
                    <a:pt x="2571712" y="199530"/>
                  </a:lnTo>
                  <a:lnTo>
                    <a:pt x="2571712" y="198831"/>
                  </a:lnTo>
                  <a:lnTo>
                    <a:pt x="2571712" y="199530"/>
                  </a:lnTo>
                  <a:lnTo>
                    <a:pt x="2571750" y="199530"/>
                  </a:lnTo>
                  <a:lnTo>
                    <a:pt x="2571750" y="200876"/>
                  </a:lnTo>
                  <a:lnTo>
                    <a:pt x="2571750" y="200228"/>
                  </a:lnTo>
                  <a:lnTo>
                    <a:pt x="2571801" y="200228"/>
                  </a:lnTo>
                  <a:lnTo>
                    <a:pt x="2571801" y="199530"/>
                  </a:lnTo>
                  <a:lnTo>
                    <a:pt x="2571801" y="200876"/>
                  </a:lnTo>
                  <a:lnTo>
                    <a:pt x="2571801" y="199530"/>
                  </a:lnTo>
                  <a:lnTo>
                    <a:pt x="2571852" y="200228"/>
                  </a:lnTo>
                  <a:lnTo>
                    <a:pt x="2571852" y="198831"/>
                  </a:lnTo>
                  <a:lnTo>
                    <a:pt x="2571852" y="199530"/>
                  </a:lnTo>
                  <a:lnTo>
                    <a:pt x="2571852" y="198831"/>
                  </a:lnTo>
                  <a:lnTo>
                    <a:pt x="2571954" y="198831"/>
                  </a:lnTo>
                  <a:lnTo>
                    <a:pt x="2571954" y="196799"/>
                  </a:lnTo>
                  <a:lnTo>
                    <a:pt x="2571954" y="197447"/>
                  </a:lnTo>
                  <a:lnTo>
                    <a:pt x="2571954" y="196799"/>
                  </a:lnTo>
                  <a:lnTo>
                    <a:pt x="2571954" y="199530"/>
                  </a:lnTo>
                  <a:lnTo>
                    <a:pt x="2572005" y="199530"/>
                  </a:lnTo>
                  <a:lnTo>
                    <a:pt x="2572005" y="197447"/>
                  </a:lnTo>
                  <a:lnTo>
                    <a:pt x="2572005" y="202260"/>
                  </a:lnTo>
                  <a:lnTo>
                    <a:pt x="2572005" y="199530"/>
                  </a:lnTo>
                  <a:lnTo>
                    <a:pt x="2572055" y="199530"/>
                  </a:lnTo>
                  <a:lnTo>
                    <a:pt x="2572055" y="200876"/>
                  </a:lnTo>
                  <a:lnTo>
                    <a:pt x="2572055" y="199530"/>
                  </a:lnTo>
                  <a:lnTo>
                    <a:pt x="2572157" y="199530"/>
                  </a:lnTo>
                  <a:lnTo>
                    <a:pt x="2572157" y="200228"/>
                  </a:lnTo>
                  <a:lnTo>
                    <a:pt x="2572157" y="199530"/>
                  </a:lnTo>
                  <a:lnTo>
                    <a:pt x="2572157" y="200228"/>
                  </a:lnTo>
                  <a:lnTo>
                    <a:pt x="2572157" y="199530"/>
                  </a:lnTo>
                  <a:lnTo>
                    <a:pt x="2572157" y="200228"/>
                  </a:lnTo>
                  <a:lnTo>
                    <a:pt x="2572208" y="200228"/>
                  </a:lnTo>
                  <a:lnTo>
                    <a:pt x="2572208" y="199530"/>
                  </a:lnTo>
                  <a:lnTo>
                    <a:pt x="2572208" y="200876"/>
                  </a:lnTo>
                  <a:lnTo>
                    <a:pt x="2572208" y="200228"/>
                  </a:lnTo>
                  <a:lnTo>
                    <a:pt x="2572259" y="200228"/>
                  </a:lnTo>
                  <a:lnTo>
                    <a:pt x="2572259" y="200876"/>
                  </a:lnTo>
                  <a:lnTo>
                    <a:pt x="2572259" y="200228"/>
                  </a:lnTo>
                  <a:lnTo>
                    <a:pt x="2572259" y="200876"/>
                  </a:lnTo>
                  <a:lnTo>
                    <a:pt x="2572259" y="200228"/>
                  </a:lnTo>
                  <a:lnTo>
                    <a:pt x="2572259" y="200876"/>
                  </a:lnTo>
                  <a:lnTo>
                    <a:pt x="2572297" y="200876"/>
                  </a:lnTo>
                  <a:lnTo>
                    <a:pt x="2572297" y="199530"/>
                  </a:lnTo>
                  <a:lnTo>
                    <a:pt x="2572398" y="199530"/>
                  </a:lnTo>
                  <a:lnTo>
                    <a:pt x="2572398" y="200228"/>
                  </a:lnTo>
                  <a:lnTo>
                    <a:pt x="2572398" y="199530"/>
                  </a:lnTo>
                  <a:lnTo>
                    <a:pt x="2572398" y="200228"/>
                  </a:lnTo>
                  <a:lnTo>
                    <a:pt x="2572398" y="197447"/>
                  </a:lnTo>
                  <a:lnTo>
                    <a:pt x="2572449" y="197447"/>
                  </a:lnTo>
                  <a:lnTo>
                    <a:pt x="2572449" y="198831"/>
                  </a:lnTo>
                  <a:lnTo>
                    <a:pt x="2572449" y="197447"/>
                  </a:lnTo>
                  <a:lnTo>
                    <a:pt x="2572449" y="200228"/>
                  </a:lnTo>
                  <a:lnTo>
                    <a:pt x="2572449" y="198831"/>
                  </a:lnTo>
                  <a:lnTo>
                    <a:pt x="2572500" y="199530"/>
                  </a:lnTo>
                  <a:lnTo>
                    <a:pt x="2572500" y="202260"/>
                  </a:lnTo>
                  <a:lnTo>
                    <a:pt x="2572500" y="199530"/>
                  </a:lnTo>
                  <a:lnTo>
                    <a:pt x="2572601" y="200228"/>
                  </a:lnTo>
                  <a:lnTo>
                    <a:pt x="2572601" y="202260"/>
                  </a:lnTo>
                  <a:lnTo>
                    <a:pt x="2572601" y="200228"/>
                  </a:lnTo>
                  <a:lnTo>
                    <a:pt x="2572652" y="200228"/>
                  </a:lnTo>
                  <a:lnTo>
                    <a:pt x="2572652" y="200876"/>
                  </a:lnTo>
                  <a:lnTo>
                    <a:pt x="2572652" y="200228"/>
                  </a:lnTo>
                  <a:lnTo>
                    <a:pt x="2572652" y="200876"/>
                  </a:lnTo>
                  <a:lnTo>
                    <a:pt x="2572652" y="200228"/>
                  </a:lnTo>
                  <a:lnTo>
                    <a:pt x="2572652" y="200876"/>
                  </a:lnTo>
                  <a:lnTo>
                    <a:pt x="2572703" y="200876"/>
                  </a:lnTo>
                  <a:lnTo>
                    <a:pt x="2572703" y="202260"/>
                  </a:lnTo>
                  <a:lnTo>
                    <a:pt x="2572703" y="200876"/>
                  </a:lnTo>
                  <a:lnTo>
                    <a:pt x="2572703" y="202260"/>
                  </a:lnTo>
                  <a:lnTo>
                    <a:pt x="2572703" y="200876"/>
                  </a:lnTo>
                  <a:lnTo>
                    <a:pt x="2572754" y="200876"/>
                  </a:lnTo>
                  <a:lnTo>
                    <a:pt x="2572754" y="200228"/>
                  </a:lnTo>
                  <a:lnTo>
                    <a:pt x="2572754" y="200876"/>
                  </a:lnTo>
                  <a:lnTo>
                    <a:pt x="2572843" y="200876"/>
                  </a:lnTo>
                  <a:lnTo>
                    <a:pt x="2572843" y="198831"/>
                  </a:lnTo>
                  <a:lnTo>
                    <a:pt x="2572894" y="198831"/>
                  </a:lnTo>
                  <a:lnTo>
                    <a:pt x="2572894" y="196799"/>
                  </a:lnTo>
                  <a:lnTo>
                    <a:pt x="2572894" y="197447"/>
                  </a:lnTo>
                  <a:lnTo>
                    <a:pt x="2572944" y="197447"/>
                  </a:lnTo>
                  <a:lnTo>
                    <a:pt x="2572944" y="199530"/>
                  </a:lnTo>
                  <a:lnTo>
                    <a:pt x="2572944" y="198831"/>
                  </a:lnTo>
                  <a:lnTo>
                    <a:pt x="2572944" y="199530"/>
                  </a:lnTo>
                  <a:lnTo>
                    <a:pt x="2572944" y="197447"/>
                  </a:lnTo>
                  <a:lnTo>
                    <a:pt x="2572944" y="199530"/>
                  </a:lnTo>
                  <a:lnTo>
                    <a:pt x="2572995" y="199530"/>
                  </a:lnTo>
                  <a:lnTo>
                    <a:pt x="2572995" y="200876"/>
                  </a:lnTo>
                  <a:lnTo>
                    <a:pt x="2572995" y="199530"/>
                  </a:lnTo>
                  <a:lnTo>
                    <a:pt x="2572995" y="200228"/>
                  </a:lnTo>
                  <a:lnTo>
                    <a:pt x="2573097" y="200228"/>
                  </a:lnTo>
                  <a:lnTo>
                    <a:pt x="2573097" y="200876"/>
                  </a:lnTo>
                  <a:lnTo>
                    <a:pt x="2573097" y="199530"/>
                  </a:lnTo>
                  <a:lnTo>
                    <a:pt x="2573097" y="200228"/>
                  </a:lnTo>
                  <a:lnTo>
                    <a:pt x="2573097" y="199530"/>
                  </a:lnTo>
                  <a:lnTo>
                    <a:pt x="2573097" y="200228"/>
                  </a:lnTo>
                  <a:lnTo>
                    <a:pt x="2573147" y="200228"/>
                  </a:lnTo>
                  <a:lnTo>
                    <a:pt x="2573147" y="200876"/>
                  </a:lnTo>
                  <a:lnTo>
                    <a:pt x="2573147" y="200228"/>
                  </a:lnTo>
                  <a:lnTo>
                    <a:pt x="2573147" y="200876"/>
                  </a:lnTo>
                  <a:lnTo>
                    <a:pt x="2573198" y="200876"/>
                  </a:lnTo>
                  <a:lnTo>
                    <a:pt x="2573198" y="202260"/>
                  </a:lnTo>
                  <a:lnTo>
                    <a:pt x="2573198" y="200876"/>
                  </a:lnTo>
                  <a:lnTo>
                    <a:pt x="2573300" y="200876"/>
                  </a:lnTo>
                  <a:lnTo>
                    <a:pt x="2573300" y="202260"/>
                  </a:lnTo>
                  <a:lnTo>
                    <a:pt x="2573300" y="200228"/>
                  </a:lnTo>
                  <a:lnTo>
                    <a:pt x="2573300" y="200876"/>
                  </a:lnTo>
                  <a:lnTo>
                    <a:pt x="2573300" y="200228"/>
                  </a:lnTo>
                  <a:lnTo>
                    <a:pt x="2573300" y="200876"/>
                  </a:lnTo>
                  <a:lnTo>
                    <a:pt x="2573300" y="200228"/>
                  </a:lnTo>
                  <a:lnTo>
                    <a:pt x="2573338" y="200228"/>
                  </a:lnTo>
                  <a:lnTo>
                    <a:pt x="2573338" y="198831"/>
                  </a:lnTo>
                  <a:lnTo>
                    <a:pt x="2573389" y="198831"/>
                  </a:lnTo>
                  <a:lnTo>
                    <a:pt x="2573389" y="197447"/>
                  </a:lnTo>
                  <a:lnTo>
                    <a:pt x="2573389" y="199530"/>
                  </a:lnTo>
                  <a:lnTo>
                    <a:pt x="2573440" y="199530"/>
                  </a:lnTo>
                  <a:lnTo>
                    <a:pt x="2573440" y="197447"/>
                  </a:lnTo>
                  <a:lnTo>
                    <a:pt x="2573440" y="200876"/>
                  </a:lnTo>
                  <a:lnTo>
                    <a:pt x="2573541" y="200228"/>
                  </a:lnTo>
                  <a:lnTo>
                    <a:pt x="2573541" y="198831"/>
                  </a:lnTo>
                  <a:lnTo>
                    <a:pt x="2573541" y="199530"/>
                  </a:lnTo>
                  <a:lnTo>
                    <a:pt x="2573541" y="198831"/>
                  </a:lnTo>
                  <a:lnTo>
                    <a:pt x="2573541" y="200228"/>
                  </a:lnTo>
                  <a:lnTo>
                    <a:pt x="2573592" y="200228"/>
                  </a:lnTo>
                  <a:lnTo>
                    <a:pt x="2573592" y="199530"/>
                  </a:lnTo>
                  <a:lnTo>
                    <a:pt x="2573592" y="200228"/>
                  </a:lnTo>
                  <a:lnTo>
                    <a:pt x="2573643" y="200228"/>
                  </a:lnTo>
                  <a:lnTo>
                    <a:pt x="2573643" y="200876"/>
                  </a:lnTo>
                  <a:lnTo>
                    <a:pt x="2573643" y="200228"/>
                  </a:lnTo>
                  <a:lnTo>
                    <a:pt x="2573643" y="202260"/>
                  </a:lnTo>
                  <a:lnTo>
                    <a:pt x="2573744" y="200876"/>
                  </a:lnTo>
                  <a:lnTo>
                    <a:pt x="2573744" y="202260"/>
                  </a:lnTo>
                  <a:lnTo>
                    <a:pt x="2573744" y="200876"/>
                  </a:lnTo>
                  <a:lnTo>
                    <a:pt x="2573744" y="202260"/>
                  </a:lnTo>
                  <a:lnTo>
                    <a:pt x="2573744" y="200876"/>
                  </a:lnTo>
                  <a:lnTo>
                    <a:pt x="2573744" y="202260"/>
                  </a:lnTo>
                  <a:lnTo>
                    <a:pt x="2573795" y="202260"/>
                  </a:lnTo>
                  <a:lnTo>
                    <a:pt x="2573795" y="200228"/>
                  </a:lnTo>
                  <a:lnTo>
                    <a:pt x="2573795" y="200876"/>
                  </a:lnTo>
                  <a:lnTo>
                    <a:pt x="2573846" y="200228"/>
                  </a:lnTo>
                  <a:lnTo>
                    <a:pt x="2573846" y="197447"/>
                  </a:lnTo>
                  <a:lnTo>
                    <a:pt x="2573884" y="197447"/>
                  </a:lnTo>
                  <a:lnTo>
                    <a:pt x="2573884" y="196799"/>
                  </a:lnTo>
                  <a:lnTo>
                    <a:pt x="2573884" y="197447"/>
                  </a:lnTo>
                  <a:lnTo>
                    <a:pt x="2573884" y="196113"/>
                  </a:lnTo>
                  <a:lnTo>
                    <a:pt x="2573884" y="198831"/>
                  </a:lnTo>
                  <a:lnTo>
                    <a:pt x="2573986" y="199530"/>
                  </a:lnTo>
                  <a:lnTo>
                    <a:pt x="2573986" y="196799"/>
                  </a:lnTo>
                  <a:lnTo>
                    <a:pt x="2573986" y="199530"/>
                  </a:lnTo>
                  <a:lnTo>
                    <a:pt x="2574037" y="199530"/>
                  </a:lnTo>
                  <a:lnTo>
                    <a:pt x="2574037" y="197447"/>
                  </a:lnTo>
                  <a:lnTo>
                    <a:pt x="2574037" y="200228"/>
                  </a:lnTo>
                  <a:lnTo>
                    <a:pt x="2574037" y="199530"/>
                  </a:lnTo>
                  <a:lnTo>
                    <a:pt x="2574087" y="199530"/>
                  </a:lnTo>
                  <a:lnTo>
                    <a:pt x="2574087" y="198831"/>
                  </a:lnTo>
                  <a:lnTo>
                    <a:pt x="2574087" y="200228"/>
                  </a:lnTo>
                  <a:lnTo>
                    <a:pt x="2574087" y="199530"/>
                  </a:lnTo>
                  <a:lnTo>
                    <a:pt x="2574189" y="199530"/>
                  </a:lnTo>
                  <a:lnTo>
                    <a:pt x="2574189" y="200228"/>
                  </a:lnTo>
                  <a:lnTo>
                    <a:pt x="2574189" y="199530"/>
                  </a:lnTo>
                  <a:lnTo>
                    <a:pt x="2574189" y="200876"/>
                  </a:lnTo>
                  <a:lnTo>
                    <a:pt x="2574189" y="200228"/>
                  </a:lnTo>
                  <a:lnTo>
                    <a:pt x="2574189" y="200876"/>
                  </a:lnTo>
                  <a:lnTo>
                    <a:pt x="2574240" y="200876"/>
                  </a:lnTo>
                  <a:lnTo>
                    <a:pt x="2574240" y="200228"/>
                  </a:lnTo>
                  <a:lnTo>
                    <a:pt x="2574240" y="200876"/>
                  </a:lnTo>
                  <a:lnTo>
                    <a:pt x="2574240" y="200228"/>
                  </a:lnTo>
                  <a:lnTo>
                    <a:pt x="2574240" y="200876"/>
                  </a:lnTo>
                  <a:lnTo>
                    <a:pt x="2574240" y="200228"/>
                  </a:lnTo>
                  <a:lnTo>
                    <a:pt x="2574240" y="200876"/>
                  </a:lnTo>
                  <a:lnTo>
                    <a:pt x="2574290" y="200876"/>
                  </a:lnTo>
                  <a:lnTo>
                    <a:pt x="2574290" y="200228"/>
                  </a:lnTo>
                  <a:lnTo>
                    <a:pt x="2574290" y="200876"/>
                  </a:lnTo>
                  <a:lnTo>
                    <a:pt x="2574341" y="200228"/>
                  </a:lnTo>
                  <a:lnTo>
                    <a:pt x="2574341" y="199530"/>
                  </a:lnTo>
                  <a:lnTo>
                    <a:pt x="2574341" y="200228"/>
                  </a:lnTo>
                  <a:lnTo>
                    <a:pt x="2574341" y="199530"/>
                  </a:lnTo>
                  <a:lnTo>
                    <a:pt x="2574341" y="200228"/>
                  </a:lnTo>
                  <a:lnTo>
                    <a:pt x="2574341" y="198831"/>
                  </a:lnTo>
                  <a:lnTo>
                    <a:pt x="2574430" y="198831"/>
                  </a:lnTo>
                  <a:lnTo>
                    <a:pt x="2574430" y="197447"/>
                  </a:lnTo>
                  <a:lnTo>
                    <a:pt x="2574430" y="198831"/>
                  </a:lnTo>
                  <a:lnTo>
                    <a:pt x="2574430" y="197447"/>
                  </a:lnTo>
                  <a:lnTo>
                    <a:pt x="2574481" y="197447"/>
                  </a:lnTo>
                  <a:lnTo>
                    <a:pt x="2574481" y="196799"/>
                  </a:lnTo>
                  <a:lnTo>
                    <a:pt x="2574481" y="198831"/>
                  </a:lnTo>
                  <a:lnTo>
                    <a:pt x="2574532" y="198831"/>
                  </a:lnTo>
                  <a:lnTo>
                    <a:pt x="2574532" y="196799"/>
                  </a:lnTo>
                  <a:lnTo>
                    <a:pt x="2574532" y="198831"/>
                  </a:lnTo>
                  <a:lnTo>
                    <a:pt x="2574532" y="197447"/>
                  </a:lnTo>
                  <a:lnTo>
                    <a:pt x="2574532" y="199530"/>
                  </a:lnTo>
                  <a:lnTo>
                    <a:pt x="2574532" y="198831"/>
                  </a:lnTo>
                  <a:lnTo>
                    <a:pt x="2574583" y="198831"/>
                  </a:lnTo>
                  <a:lnTo>
                    <a:pt x="2574583" y="197447"/>
                  </a:lnTo>
                  <a:lnTo>
                    <a:pt x="2574583" y="199530"/>
                  </a:lnTo>
                  <a:lnTo>
                    <a:pt x="2574583" y="198831"/>
                  </a:lnTo>
                  <a:lnTo>
                    <a:pt x="2574583" y="199530"/>
                  </a:lnTo>
                  <a:lnTo>
                    <a:pt x="2574735" y="199530"/>
                  </a:lnTo>
                  <a:lnTo>
                    <a:pt x="2574735" y="200228"/>
                  </a:lnTo>
                  <a:lnTo>
                    <a:pt x="2574735" y="199530"/>
                  </a:lnTo>
                  <a:lnTo>
                    <a:pt x="2574735" y="200228"/>
                  </a:lnTo>
                  <a:lnTo>
                    <a:pt x="2574786" y="200228"/>
                  </a:lnTo>
                  <a:lnTo>
                    <a:pt x="2574786" y="199530"/>
                  </a:lnTo>
                  <a:lnTo>
                    <a:pt x="2574786" y="200876"/>
                  </a:lnTo>
                  <a:lnTo>
                    <a:pt x="2574786" y="199530"/>
                  </a:lnTo>
                  <a:lnTo>
                    <a:pt x="2574786" y="200228"/>
                  </a:lnTo>
                  <a:lnTo>
                    <a:pt x="2574786" y="199530"/>
                  </a:lnTo>
                  <a:lnTo>
                    <a:pt x="2574887" y="199530"/>
                  </a:lnTo>
                  <a:lnTo>
                    <a:pt x="2574887" y="198831"/>
                  </a:lnTo>
                  <a:lnTo>
                    <a:pt x="2574925" y="198831"/>
                  </a:lnTo>
                  <a:lnTo>
                    <a:pt x="2574925" y="197447"/>
                  </a:lnTo>
                  <a:lnTo>
                    <a:pt x="2574925" y="198831"/>
                  </a:lnTo>
                  <a:lnTo>
                    <a:pt x="2574925" y="197447"/>
                  </a:lnTo>
                  <a:lnTo>
                    <a:pt x="2574925" y="198831"/>
                  </a:lnTo>
                  <a:lnTo>
                    <a:pt x="2574976" y="198831"/>
                  </a:lnTo>
                  <a:lnTo>
                    <a:pt x="2574976" y="197447"/>
                  </a:lnTo>
                  <a:lnTo>
                    <a:pt x="2574976" y="200228"/>
                  </a:lnTo>
                  <a:lnTo>
                    <a:pt x="2574976" y="198831"/>
                  </a:lnTo>
                  <a:lnTo>
                    <a:pt x="2575027" y="199530"/>
                  </a:lnTo>
                  <a:lnTo>
                    <a:pt x="2575027" y="200228"/>
                  </a:lnTo>
                  <a:lnTo>
                    <a:pt x="2575027" y="199530"/>
                  </a:lnTo>
                  <a:lnTo>
                    <a:pt x="2575129" y="200228"/>
                  </a:lnTo>
                  <a:lnTo>
                    <a:pt x="2575129" y="199530"/>
                  </a:lnTo>
                  <a:lnTo>
                    <a:pt x="2575129" y="200228"/>
                  </a:lnTo>
                  <a:lnTo>
                    <a:pt x="2575180" y="200228"/>
                  </a:lnTo>
                  <a:lnTo>
                    <a:pt x="2575180" y="200876"/>
                  </a:lnTo>
                  <a:lnTo>
                    <a:pt x="2575180" y="200228"/>
                  </a:lnTo>
                  <a:lnTo>
                    <a:pt x="2575180" y="200876"/>
                  </a:lnTo>
                  <a:lnTo>
                    <a:pt x="2575180" y="200228"/>
                  </a:lnTo>
                  <a:lnTo>
                    <a:pt x="2575230" y="199530"/>
                  </a:lnTo>
                  <a:lnTo>
                    <a:pt x="2575230" y="200228"/>
                  </a:lnTo>
                  <a:lnTo>
                    <a:pt x="2575230" y="199530"/>
                  </a:lnTo>
                  <a:lnTo>
                    <a:pt x="2575230" y="200228"/>
                  </a:lnTo>
                  <a:lnTo>
                    <a:pt x="2575230" y="199530"/>
                  </a:lnTo>
                  <a:lnTo>
                    <a:pt x="2575230" y="200228"/>
                  </a:lnTo>
                  <a:lnTo>
                    <a:pt x="2575332" y="200228"/>
                  </a:lnTo>
                  <a:lnTo>
                    <a:pt x="2575332" y="199530"/>
                  </a:lnTo>
                  <a:lnTo>
                    <a:pt x="2575332" y="200876"/>
                  </a:lnTo>
                  <a:lnTo>
                    <a:pt x="2575332" y="199530"/>
                  </a:lnTo>
                  <a:lnTo>
                    <a:pt x="2575332" y="200228"/>
                  </a:lnTo>
                  <a:lnTo>
                    <a:pt x="2575383" y="199530"/>
                  </a:lnTo>
                  <a:lnTo>
                    <a:pt x="2575383" y="198831"/>
                  </a:lnTo>
                  <a:lnTo>
                    <a:pt x="2575434" y="198831"/>
                  </a:lnTo>
                  <a:lnTo>
                    <a:pt x="2575434" y="199530"/>
                  </a:lnTo>
                  <a:lnTo>
                    <a:pt x="2575434" y="198831"/>
                  </a:lnTo>
                  <a:lnTo>
                    <a:pt x="2575472" y="198831"/>
                  </a:lnTo>
                  <a:lnTo>
                    <a:pt x="2575472" y="200228"/>
                  </a:lnTo>
                  <a:lnTo>
                    <a:pt x="2575472" y="199530"/>
                  </a:lnTo>
                  <a:lnTo>
                    <a:pt x="2575472" y="200228"/>
                  </a:lnTo>
                  <a:lnTo>
                    <a:pt x="2575573" y="200228"/>
                  </a:lnTo>
                  <a:lnTo>
                    <a:pt x="2575573" y="200876"/>
                  </a:lnTo>
                  <a:lnTo>
                    <a:pt x="2575573" y="200228"/>
                  </a:lnTo>
                  <a:lnTo>
                    <a:pt x="2575573" y="200876"/>
                  </a:lnTo>
                  <a:lnTo>
                    <a:pt x="2575573" y="200228"/>
                  </a:lnTo>
                  <a:lnTo>
                    <a:pt x="2575624" y="200228"/>
                  </a:lnTo>
                  <a:lnTo>
                    <a:pt x="2575624" y="199530"/>
                  </a:lnTo>
                  <a:lnTo>
                    <a:pt x="2575624" y="200876"/>
                  </a:lnTo>
                  <a:lnTo>
                    <a:pt x="2575624" y="200228"/>
                  </a:lnTo>
                  <a:lnTo>
                    <a:pt x="2575624" y="200876"/>
                  </a:lnTo>
                  <a:lnTo>
                    <a:pt x="2575624" y="200228"/>
                  </a:lnTo>
                  <a:lnTo>
                    <a:pt x="2575624" y="200876"/>
                  </a:lnTo>
                  <a:lnTo>
                    <a:pt x="2575675" y="200876"/>
                  </a:lnTo>
                  <a:lnTo>
                    <a:pt x="2575675" y="200228"/>
                  </a:lnTo>
                  <a:lnTo>
                    <a:pt x="2575675" y="200876"/>
                  </a:lnTo>
                  <a:lnTo>
                    <a:pt x="2575675" y="200228"/>
                  </a:lnTo>
                  <a:lnTo>
                    <a:pt x="2575675" y="200876"/>
                  </a:lnTo>
                  <a:lnTo>
                    <a:pt x="2575675" y="199530"/>
                  </a:lnTo>
                  <a:lnTo>
                    <a:pt x="2575675" y="200228"/>
                  </a:lnTo>
                  <a:lnTo>
                    <a:pt x="2575776" y="200228"/>
                  </a:lnTo>
                  <a:lnTo>
                    <a:pt x="2575776" y="199530"/>
                  </a:lnTo>
                  <a:lnTo>
                    <a:pt x="2575776" y="200228"/>
                  </a:lnTo>
                  <a:lnTo>
                    <a:pt x="2575776" y="199530"/>
                  </a:lnTo>
                  <a:lnTo>
                    <a:pt x="2575827" y="199530"/>
                  </a:lnTo>
                  <a:lnTo>
                    <a:pt x="2575827" y="200228"/>
                  </a:lnTo>
                  <a:lnTo>
                    <a:pt x="2575827" y="198831"/>
                  </a:lnTo>
                  <a:lnTo>
                    <a:pt x="2575827" y="199530"/>
                  </a:lnTo>
                  <a:lnTo>
                    <a:pt x="2575827" y="198831"/>
                  </a:lnTo>
                  <a:lnTo>
                    <a:pt x="2575878" y="198831"/>
                  </a:lnTo>
                  <a:lnTo>
                    <a:pt x="2575878" y="196799"/>
                  </a:lnTo>
                  <a:lnTo>
                    <a:pt x="2575878" y="197447"/>
                  </a:lnTo>
                  <a:lnTo>
                    <a:pt x="2575878" y="196799"/>
                  </a:lnTo>
                  <a:lnTo>
                    <a:pt x="2575878" y="197447"/>
                  </a:lnTo>
                  <a:lnTo>
                    <a:pt x="2575929" y="197447"/>
                  </a:lnTo>
                  <a:lnTo>
                    <a:pt x="2575929" y="198831"/>
                  </a:lnTo>
                  <a:lnTo>
                    <a:pt x="2575929" y="196799"/>
                  </a:lnTo>
                  <a:lnTo>
                    <a:pt x="2575929" y="198831"/>
                  </a:lnTo>
                  <a:lnTo>
                    <a:pt x="2576018" y="199530"/>
                  </a:lnTo>
                  <a:lnTo>
                    <a:pt x="2576018" y="200228"/>
                  </a:lnTo>
                  <a:lnTo>
                    <a:pt x="2576018" y="198831"/>
                  </a:lnTo>
                  <a:lnTo>
                    <a:pt x="2576018" y="200228"/>
                  </a:lnTo>
                  <a:lnTo>
                    <a:pt x="2576069" y="200228"/>
                  </a:lnTo>
                  <a:lnTo>
                    <a:pt x="2576069" y="199530"/>
                  </a:lnTo>
                  <a:lnTo>
                    <a:pt x="2576069" y="200876"/>
                  </a:lnTo>
                  <a:lnTo>
                    <a:pt x="2576069" y="200228"/>
                  </a:lnTo>
                  <a:lnTo>
                    <a:pt x="2576069" y="200876"/>
                  </a:lnTo>
                  <a:lnTo>
                    <a:pt x="2576119" y="200876"/>
                  </a:lnTo>
                  <a:lnTo>
                    <a:pt x="2576119" y="200228"/>
                  </a:lnTo>
                  <a:lnTo>
                    <a:pt x="2576119" y="200876"/>
                  </a:lnTo>
                  <a:lnTo>
                    <a:pt x="2576170" y="200876"/>
                  </a:lnTo>
                  <a:lnTo>
                    <a:pt x="2576170" y="200228"/>
                  </a:lnTo>
                  <a:lnTo>
                    <a:pt x="2576170" y="200876"/>
                  </a:lnTo>
                  <a:lnTo>
                    <a:pt x="2576170" y="200228"/>
                  </a:lnTo>
                  <a:lnTo>
                    <a:pt x="2576170" y="200876"/>
                  </a:lnTo>
                  <a:lnTo>
                    <a:pt x="2576272" y="200876"/>
                  </a:lnTo>
                  <a:lnTo>
                    <a:pt x="2576272" y="200228"/>
                  </a:lnTo>
                  <a:lnTo>
                    <a:pt x="2576272" y="200876"/>
                  </a:lnTo>
                  <a:lnTo>
                    <a:pt x="2576272" y="200228"/>
                  </a:lnTo>
                  <a:lnTo>
                    <a:pt x="2576272" y="200876"/>
                  </a:lnTo>
                  <a:lnTo>
                    <a:pt x="2576272" y="200228"/>
                  </a:lnTo>
                  <a:lnTo>
                    <a:pt x="2576322" y="200228"/>
                  </a:lnTo>
                  <a:lnTo>
                    <a:pt x="2576322" y="198831"/>
                  </a:lnTo>
                  <a:lnTo>
                    <a:pt x="2576373" y="198831"/>
                  </a:lnTo>
                  <a:lnTo>
                    <a:pt x="2576373" y="199530"/>
                  </a:lnTo>
                  <a:lnTo>
                    <a:pt x="2576373" y="196799"/>
                  </a:lnTo>
                  <a:lnTo>
                    <a:pt x="2576373" y="197447"/>
                  </a:lnTo>
                  <a:lnTo>
                    <a:pt x="2576475" y="197447"/>
                  </a:lnTo>
                  <a:lnTo>
                    <a:pt x="2576475" y="198831"/>
                  </a:lnTo>
                  <a:lnTo>
                    <a:pt x="2576475" y="197447"/>
                  </a:lnTo>
                  <a:lnTo>
                    <a:pt x="2576475" y="199530"/>
                  </a:lnTo>
                  <a:lnTo>
                    <a:pt x="2576513" y="199530"/>
                  </a:lnTo>
                  <a:lnTo>
                    <a:pt x="2576513" y="198831"/>
                  </a:lnTo>
                  <a:lnTo>
                    <a:pt x="2576513" y="200228"/>
                  </a:lnTo>
                  <a:lnTo>
                    <a:pt x="2576513" y="199530"/>
                  </a:lnTo>
                  <a:lnTo>
                    <a:pt x="2576564" y="199530"/>
                  </a:lnTo>
                  <a:lnTo>
                    <a:pt x="2576564" y="200228"/>
                  </a:lnTo>
                  <a:lnTo>
                    <a:pt x="2576564" y="199530"/>
                  </a:lnTo>
                  <a:lnTo>
                    <a:pt x="2576564" y="200228"/>
                  </a:lnTo>
                  <a:lnTo>
                    <a:pt x="2576615" y="200228"/>
                  </a:lnTo>
                  <a:lnTo>
                    <a:pt x="2576615" y="199530"/>
                  </a:lnTo>
                  <a:lnTo>
                    <a:pt x="2576615" y="200228"/>
                  </a:lnTo>
                  <a:lnTo>
                    <a:pt x="2576615" y="199530"/>
                  </a:lnTo>
                  <a:lnTo>
                    <a:pt x="2576615" y="200228"/>
                  </a:lnTo>
                  <a:lnTo>
                    <a:pt x="2576716" y="200228"/>
                  </a:lnTo>
                  <a:lnTo>
                    <a:pt x="2576716" y="200876"/>
                  </a:lnTo>
                  <a:lnTo>
                    <a:pt x="2576716" y="200228"/>
                  </a:lnTo>
                  <a:lnTo>
                    <a:pt x="2576716" y="200876"/>
                  </a:lnTo>
                  <a:lnTo>
                    <a:pt x="2576716" y="200228"/>
                  </a:lnTo>
                  <a:lnTo>
                    <a:pt x="2576767" y="200876"/>
                  </a:lnTo>
                  <a:lnTo>
                    <a:pt x="2576767" y="200228"/>
                  </a:lnTo>
                  <a:lnTo>
                    <a:pt x="2576767" y="200876"/>
                  </a:lnTo>
                  <a:lnTo>
                    <a:pt x="2576767" y="200228"/>
                  </a:lnTo>
                  <a:lnTo>
                    <a:pt x="2576818" y="200228"/>
                  </a:lnTo>
                  <a:lnTo>
                    <a:pt x="2576818" y="200876"/>
                  </a:lnTo>
                  <a:lnTo>
                    <a:pt x="2576818" y="199530"/>
                  </a:lnTo>
                  <a:lnTo>
                    <a:pt x="2576818" y="200228"/>
                  </a:lnTo>
                  <a:lnTo>
                    <a:pt x="2576818" y="198831"/>
                  </a:lnTo>
                  <a:lnTo>
                    <a:pt x="2576919" y="198831"/>
                  </a:lnTo>
                  <a:lnTo>
                    <a:pt x="2576919" y="196113"/>
                  </a:lnTo>
                  <a:lnTo>
                    <a:pt x="2576919" y="197447"/>
                  </a:lnTo>
                  <a:lnTo>
                    <a:pt x="2576970" y="197447"/>
                  </a:lnTo>
                  <a:lnTo>
                    <a:pt x="2576970" y="196113"/>
                  </a:lnTo>
                  <a:lnTo>
                    <a:pt x="2576970" y="197447"/>
                  </a:lnTo>
                  <a:lnTo>
                    <a:pt x="2576970" y="196799"/>
                  </a:lnTo>
                  <a:lnTo>
                    <a:pt x="2576970" y="199530"/>
                  </a:lnTo>
                  <a:lnTo>
                    <a:pt x="2576970" y="198831"/>
                  </a:lnTo>
                  <a:lnTo>
                    <a:pt x="2577021" y="198831"/>
                  </a:lnTo>
                  <a:lnTo>
                    <a:pt x="2577021" y="197447"/>
                  </a:lnTo>
                  <a:lnTo>
                    <a:pt x="2577021" y="200228"/>
                  </a:lnTo>
                  <a:lnTo>
                    <a:pt x="2577059" y="199530"/>
                  </a:lnTo>
                  <a:lnTo>
                    <a:pt x="2577059" y="198831"/>
                  </a:lnTo>
                  <a:lnTo>
                    <a:pt x="2577059" y="200228"/>
                  </a:lnTo>
                  <a:lnTo>
                    <a:pt x="2577059" y="199530"/>
                  </a:lnTo>
                  <a:lnTo>
                    <a:pt x="2577059" y="200228"/>
                  </a:lnTo>
                  <a:lnTo>
                    <a:pt x="2577059" y="199530"/>
                  </a:lnTo>
                  <a:lnTo>
                    <a:pt x="2577161" y="199530"/>
                  </a:lnTo>
                  <a:lnTo>
                    <a:pt x="2577161" y="200228"/>
                  </a:lnTo>
                  <a:lnTo>
                    <a:pt x="2577161" y="199530"/>
                  </a:lnTo>
                  <a:lnTo>
                    <a:pt x="2577161" y="200228"/>
                  </a:lnTo>
                  <a:lnTo>
                    <a:pt x="2577212" y="200228"/>
                  </a:lnTo>
                  <a:lnTo>
                    <a:pt x="2577212" y="200876"/>
                  </a:lnTo>
                  <a:lnTo>
                    <a:pt x="2577212" y="200228"/>
                  </a:lnTo>
                  <a:lnTo>
                    <a:pt x="2577212" y="200876"/>
                  </a:lnTo>
                  <a:lnTo>
                    <a:pt x="2577212" y="200228"/>
                  </a:lnTo>
                  <a:lnTo>
                    <a:pt x="2577262" y="200228"/>
                  </a:lnTo>
                  <a:lnTo>
                    <a:pt x="2577262" y="200876"/>
                  </a:lnTo>
                  <a:lnTo>
                    <a:pt x="2577262" y="200228"/>
                  </a:lnTo>
                  <a:lnTo>
                    <a:pt x="2577262" y="200876"/>
                  </a:lnTo>
                  <a:lnTo>
                    <a:pt x="2577262" y="200228"/>
                  </a:lnTo>
                  <a:lnTo>
                    <a:pt x="2577262" y="200876"/>
                  </a:lnTo>
                  <a:lnTo>
                    <a:pt x="2577262" y="200228"/>
                  </a:lnTo>
                  <a:lnTo>
                    <a:pt x="2577364" y="200228"/>
                  </a:lnTo>
                  <a:lnTo>
                    <a:pt x="2577364" y="198831"/>
                  </a:lnTo>
                  <a:lnTo>
                    <a:pt x="2577364" y="199530"/>
                  </a:lnTo>
                  <a:lnTo>
                    <a:pt x="2577364" y="198831"/>
                  </a:lnTo>
                  <a:lnTo>
                    <a:pt x="2577415" y="198831"/>
                  </a:lnTo>
                  <a:lnTo>
                    <a:pt x="2577415" y="196799"/>
                  </a:lnTo>
                  <a:lnTo>
                    <a:pt x="2577415" y="197447"/>
                  </a:lnTo>
                  <a:lnTo>
                    <a:pt x="2577415" y="196799"/>
                  </a:lnTo>
                  <a:lnTo>
                    <a:pt x="2577415" y="197447"/>
                  </a:lnTo>
                  <a:lnTo>
                    <a:pt x="2577465" y="196799"/>
                  </a:lnTo>
                  <a:lnTo>
                    <a:pt x="2577465" y="197447"/>
                  </a:lnTo>
                  <a:lnTo>
                    <a:pt x="2577465" y="196799"/>
                  </a:lnTo>
                  <a:lnTo>
                    <a:pt x="2577465" y="199530"/>
                  </a:lnTo>
                  <a:lnTo>
                    <a:pt x="2577465" y="197447"/>
                  </a:lnTo>
                  <a:lnTo>
                    <a:pt x="2577516" y="198831"/>
                  </a:lnTo>
                  <a:lnTo>
                    <a:pt x="2577516" y="197447"/>
                  </a:lnTo>
                  <a:lnTo>
                    <a:pt x="2577516" y="198831"/>
                  </a:lnTo>
                  <a:lnTo>
                    <a:pt x="2577516" y="197447"/>
                  </a:lnTo>
                  <a:lnTo>
                    <a:pt x="2577516" y="199530"/>
                  </a:lnTo>
                  <a:lnTo>
                    <a:pt x="2577516" y="198831"/>
                  </a:lnTo>
                  <a:lnTo>
                    <a:pt x="2577516" y="199530"/>
                  </a:lnTo>
                  <a:lnTo>
                    <a:pt x="2577516" y="198831"/>
                  </a:lnTo>
                  <a:lnTo>
                    <a:pt x="2577605" y="198831"/>
                  </a:lnTo>
                  <a:lnTo>
                    <a:pt x="2577605" y="199530"/>
                  </a:lnTo>
                  <a:lnTo>
                    <a:pt x="2577605" y="198831"/>
                  </a:lnTo>
                  <a:lnTo>
                    <a:pt x="2577605" y="199530"/>
                  </a:lnTo>
                  <a:lnTo>
                    <a:pt x="2577605" y="198831"/>
                  </a:lnTo>
                  <a:lnTo>
                    <a:pt x="2577656" y="198831"/>
                  </a:lnTo>
                  <a:lnTo>
                    <a:pt x="2577656" y="199530"/>
                  </a:lnTo>
                  <a:lnTo>
                    <a:pt x="2577707" y="199530"/>
                  </a:lnTo>
                  <a:lnTo>
                    <a:pt x="2577707" y="200228"/>
                  </a:lnTo>
                  <a:lnTo>
                    <a:pt x="2577707" y="199530"/>
                  </a:lnTo>
                  <a:lnTo>
                    <a:pt x="2577707" y="200228"/>
                  </a:lnTo>
                  <a:lnTo>
                    <a:pt x="2577707" y="199530"/>
                  </a:lnTo>
                  <a:lnTo>
                    <a:pt x="2577758" y="200228"/>
                  </a:lnTo>
                  <a:lnTo>
                    <a:pt x="2577758" y="199530"/>
                  </a:lnTo>
                  <a:lnTo>
                    <a:pt x="2577758" y="200228"/>
                  </a:lnTo>
                  <a:lnTo>
                    <a:pt x="2577758" y="199530"/>
                  </a:lnTo>
                  <a:lnTo>
                    <a:pt x="2577758" y="200228"/>
                  </a:lnTo>
                  <a:lnTo>
                    <a:pt x="2577758" y="199530"/>
                  </a:lnTo>
                  <a:lnTo>
                    <a:pt x="2577758" y="200228"/>
                  </a:lnTo>
                  <a:lnTo>
                    <a:pt x="2577758" y="199530"/>
                  </a:lnTo>
                  <a:lnTo>
                    <a:pt x="2577758" y="200228"/>
                  </a:lnTo>
                  <a:lnTo>
                    <a:pt x="2577758" y="199530"/>
                  </a:lnTo>
                  <a:lnTo>
                    <a:pt x="2577859" y="199530"/>
                  </a:lnTo>
                  <a:lnTo>
                    <a:pt x="2577859" y="197447"/>
                  </a:lnTo>
                  <a:lnTo>
                    <a:pt x="2577910" y="196799"/>
                  </a:lnTo>
                  <a:lnTo>
                    <a:pt x="2577910" y="200228"/>
                  </a:lnTo>
                  <a:lnTo>
                    <a:pt x="2577910" y="196799"/>
                  </a:lnTo>
                  <a:lnTo>
                    <a:pt x="2577910" y="197447"/>
                  </a:lnTo>
                  <a:lnTo>
                    <a:pt x="2577910" y="196799"/>
                  </a:lnTo>
                  <a:lnTo>
                    <a:pt x="2577910" y="197447"/>
                  </a:lnTo>
                  <a:lnTo>
                    <a:pt x="2577961" y="198831"/>
                  </a:lnTo>
                  <a:lnTo>
                    <a:pt x="2577961" y="200876"/>
                  </a:lnTo>
                  <a:lnTo>
                    <a:pt x="2577961" y="199530"/>
                  </a:lnTo>
                  <a:lnTo>
                    <a:pt x="2577961" y="200228"/>
                  </a:lnTo>
                  <a:lnTo>
                    <a:pt x="2578062" y="200228"/>
                  </a:lnTo>
                  <a:lnTo>
                    <a:pt x="2578062" y="200876"/>
                  </a:lnTo>
                  <a:lnTo>
                    <a:pt x="2578062" y="200228"/>
                  </a:lnTo>
                  <a:lnTo>
                    <a:pt x="2578062" y="200876"/>
                  </a:lnTo>
                  <a:lnTo>
                    <a:pt x="2578100" y="200228"/>
                  </a:lnTo>
                  <a:lnTo>
                    <a:pt x="2578100" y="200876"/>
                  </a:lnTo>
                  <a:lnTo>
                    <a:pt x="2578100" y="200228"/>
                  </a:lnTo>
                  <a:lnTo>
                    <a:pt x="2578100" y="200876"/>
                  </a:lnTo>
                  <a:lnTo>
                    <a:pt x="2578151" y="200228"/>
                  </a:lnTo>
                  <a:lnTo>
                    <a:pt x="2578151" y="200876"/>
                  </a:lnTo>
                  <a:lnTo>
                    <a:pt x="2578151" y="200228"/>
                  </a:lnTo>
                  <a:lnTo>
                    <a:pt x="2578151" y="200876"/>
                  </a:lnTo>
                  <a:lnTo>
                    <a:pt x="2578151" y="200228"/>
                  </a:lnTo>
                  <a:lnTo>
                    <a:pt x="2578202" y="200228"/>
                  </a:lnTo>
                  <a:lnTo>
                    <a:pt x="2578202" y="200876"/>
                  </a:lnTo>
                  <a:lnTo>
                    <a:pt x="2578202" y="200228"/>
                  </a:lnTo>
                  <a:lnTo>
                    <a:pt x="2578202" y="200876"/>
                  </a:lnTo>
                  <a:lnTo>
                    <a:pt x="2578202" y="200228"/>
                  </a:lnTo>
                  <a:lnTo>
                    <a:pt x="2578202" y="200876"/>
                  </a:lnTo>
                  <a:lnTo>
                    <a:pt x="2578304" y="200876"/>
                  </a:lnTo>
                  <a:lnTo>
                    <a:pt x="2578304" y="200228"/>
                  </a:lnTo>
                  <a:lnTo>
                    <a:pt x="2578355" y="199530"/>
                  </a:lnTo>
                  <a:lnTo>
                    <a:pt x="2578355" y="200228"/>
                  </a:lnTo>
                  <a:lnTo>
                    <a:pt x="2578355" y="198831"/>
                  </a:lnTo>
                  <a:lnTo>
                    <a:pt x="2578405" y="198831"/>
                  </a:lnTo>
                  <a:lnTo>
                    <a:pt x="2578405" y="199530"/>
                  </a:lnTo>
                  <a:lnTo>
                    <a:pt x="2578405" y="198831"/>
                  </a:lnTo>
                  <a:lnTo>
                    <a:pt x="2578405" y="199530"/>
                  </a:lnTo>
                  <a:lnTo>
                    <a:pt x="2578405" y="198831"/>
                  </a:lnTo>
                  <a:lnTo>
                    <a:pt x="2578405" y="200876"/>
                  </a:lnTo>
                  <a:lnTo>
                    <a:pt x="2578507" y="202260"/>
                  </a:lnTo>
                  <a:lnTo>
                    <a:pt x="2578507" y="200228"/>
                  </a:lnTo>
                  <a:lnTo>
                    <a:pt x="2578507" y="200876"/>
                  </a:lnTo>
                  <a:lnTo>
                    <a:pt x="2578507" y="200228"/>
                  </a:lnTo>
                  <a:lnTo>
                    <a:pt x="2578507" y="202260"/>
                  </a:lnTo>
                  <a:lnTo>
                    <a:pt x="2578558" y="202260"/>
                  </a:lnTo>
                  <a:lnTo>
                    <a:pt x="2578558" y="200876"/>
                  </a:lnTo>
                  <a:lnTo>
                    <a:pt x="2578558" y="202260"/>
                  </a:lnTo>
                  <a:lnTo>
                    <a:pt x="2578558" y="200876"/>
                  </a:lnTo>
                  <a:lnTo>
                    <a:pt x="2578609" y="200876"/>
                  </a:lnTo>
                  <a:lnTo>
                    <a:pt x="2578609" y="202260"/>
                  </a:lnTo>
                  <a:lnTo>
                    <a:pt x="2578609" y="200876"/>
                  </a:lnTo>
                  <a:lnTo>
                    <a:pt x="2578609" y="202260"/>
                  </a:lnTo>
                  <a:lnTo>
                    <a:pt x="2578609" y="200228"/>
                  </a:lnTo>
                  <a:lnTo>
                    <a:pt x="2578609" y="200876"/>
                  </a:lnTo>
                  <a:lnTo>
                    <a:pt x="2578647" y="200228"/>
                  </a:lnTo>
                  <a:lnTo>
                    <a:pt x="2578647" y="200876"/>
                  </a:lnTo>
                  <a:lnTo>
                    <a:pt x="2578647" y="200228"/>
                  </a:lnTo>
                  <a:lnTo>
                    <a:pt x="2578647" y="202260"/>
                  </a:lnTo>
                  <a:lnTo>
                    <a:pt x="2578647" y="200228"/>
                  </a:lnTo>
                  <a:lnTo>
                    <a:pt x="2578647" y="200876"/>
                  </a:lnTo>
                  <a:lnTo>
                    <a:pt x="2578748" y="200876"/>
                  </a:lnTo>
                  <a:lnTo>
                    <a:pt x="2578748" y="200228"/>
                  </a:lnTo>
                  <a:lnTo>
                    <a:pt x="2578748" y="202260"/>
                  </a:lnTo>
                  <a:lnTo>
                    <a:pt x="2578748" y="200228"/>
                  </a:lnTo>
                  <a:lnTo>
                    <a:pt x="2578799" y="200228"/>
                  </a:lnTo>
                  <a:lnTo>
                    <a:pt x="2578799" y="199530"/>
                  </a:lnTo>
                  <a:lnTo>
                    <a:pt x="2578799" y="200228"/>
                  </a:lnTo>
                  <a:lnTo>
                    <a:pt x="2578799" y="198831"/>
                  </a:lnTo>
                  <a:lnTo>
                    <a:pt x="2578799" y="199530"/>
                  </a:lnTo>
                  <a:lnTo>
                    <a:pt x="2578799" y="198831"/>
                  </a:lnTo>
                  <a:lnTo>
                    <a:pt x="2578850" y="198831"/>
                  </a:lnTo>
                  <a:lnTo>
                    <a:pt x="2578850" y="196799"/>
                  </a:lnTo>
                  <a:lnTo>
                    <a:pt x="2578850" y="197447"/>
                  </a:lnTo>
                  <a:lnTo>
                    <a:pt x="2578850" y="196799"/>
                  </a:lnTo>
                  <a:lnTo>
                    <a:pt x="2578850" y="197447"/>
                  </a:lnTo>
                  <a:lnTo>
                    <a:pt x="2578850" y="196799"/>
                  </a:lnTo>
                  <a:lnTo>
                    <a:pt x="2578850" y="197447"/>
                  </a:lnTo>
                  <a:lnTo>
                    <a:pt x="2578951" y="197447"/>
                  </a:lnTo>
                  <a:lnTo>
                    <a:pt x="2578951" y="198831"/>
                  </a:lnTo>
                  <a:lnTo>
                    <a:pt x="2578951" y="197447"/>
                  </a:lnTo>
                  <a:lnTo>
                    <a:pt x="2578951" y="199530"/>
                  </a:lnTo>
                  <a:lnTo>
                    <a:pt x="2579002" y="200228"/>
                  </a:lnTo>
                  <a:lnTo>
                    <a:pt x="2579002" y="199530"/>
                  </a:lnTo>
                  <a:lnTo>
                    <a:pt x="2579002" y="200876"/>
                  </a:lnTo>
                  <a:lnTo>
                    <a:pt x="2579002" y="200228"/>
                  </a:lnTo>
                  <a:lnTo>
                    <a:pt x="2579053" y="200228"/>
                  </a:lnTo>
                  <a:lnTo>
                    <a:pt x="2579053" y="199530"/>
                  </a:lnTo>
                  <a:lnTo>
                    <a:pt x="2579053" y="200876"/>
                  </a:lnTo>
                  <a:lnTo>
                    <a:pt x="2579104" y="200876"/>
                  </a:lnTo>
                  <a:lnTo>
                    <a:pt x="2579104" y="200228"/>
                  </a:lnTo>
                  <a:lnTo>
                    <a:pt x="2579104" y="200876"/>
                  </a:lnTo>
                  <a:lnTo>
                    <a:pt x="2579104" y="200228"/>
                  </a:lnTo>
                  <a:lnTo>
                    <a:pt x="2579104" y="200876"/>
                  </a:lnTo>
                  <a:lnTo>
                    <a:pt x="2579193" y="200876"/>
                  </a:lnTo>
                  <a:lnTo>
                    <a:pt x="2579193" y="202260"/>
                  </a:lnTo>
                  <a:lnTo>
                    <a:pt x="2579193" y="200876"/>
                  </a:lnTo>
                  <a:lnTo>
                    <a:pt x="2579193" y="202260"/>
                  </a:lnTo>
                  <a:lnTo>
                    <a:pt x="2579244" y="202260"/>
                  </a:lnTo>
                  <a:lnTo>
                    <a:pt x="2579244" y="200228"/>
                  </a:lnTo>
                  <a:lnTo>
                    <a:pt x="2579244" y="202260"/>
                  </a:lnTo>
                  <a:lnTo>
                    <a:pt x="2579244" y="200228"/>
                  </a:lnTo>
                  <a:lnTo>
                    <a:pt x="2579294" y="200228"/>
                  </a:lnTo>
                  <a:lnTo>
                    <a:pt x="2579294" y="198831"/>
                  </a:lnTo>
                  <a:lnTo>
                    <a:pt x="2579345" y="198831"/>
                  </a:lnTo>
                  <a:lnTo>
                    <a:pt x="2579345" y="196799"/>
                  </a:lnTo>
                  <a:lnTo>
                    <a:pt x="2579345" y="198831"/>
                  </a:lnTo>
                  <a:lnTo>
                    <a:pt x="2579447" y="199530"/>
                  </a:lnTo>
                  <a:lnTo>
                    <a:pt x="2579447" y="196799"/>
                  </a:lnTo>
                  <a:lnTo>
                    <a:pt x="2579447" y="200228"/>
                  </a:lnTo>
                  <a:lnTo>
                    <a:pt x="2579497" y="200228"/>
                  </a:lnTo>
                  <a:lnTo>
                    <a:pt x="2579497" y="198831"/>
                  </a:lnTo>
                  <a:lnTo>
                    <a:pt x="2579497" y="200228"/>
                  </a:lnTo>
                  <a:lnTo>
                    <a:pt x="2579497" y="199530"/>
                  </a:lnTo>
                  <a:lnTo>
                    <a:pt x="2579548" y="199530"/>
                  </a:lnTo>
                  <a:lnTo>
                    <a:pt x="2579548" y="198831"/>
                  </a:lnTo>
                  <a:lnTo>
                    <a:pt x="2579548" y="200228"/>
                  </a:lnTo>
                  <a:lnTo>
                    <a:pt x="2579650" y="200228"/>
                  </a:lnTo>
                  <a:lnTo>
                    <a:pt x="2579650" y="200876"/>
                  </a:lnTo>
                  <a:lnTo>
                    <a:pt x="2579650" y="200228"/>
                  </a:lnTo>
                  <a:lnTo>
                    <a:pt x="2579650" y="200876"/>
                  </a:lnTo>
                  <a:lnTo>
                    <a:pt x="2579650" y="200228"/>
                  </a:lnTo>
                  <a:lnTo>
                    <a:pt x="2579688" y="200228"/>
                  </a:lnTo>
                  <a:lnTo>
                    <a:pt x="2579688" y="202260"/>
                  </a:lnTo>
                  <a:lnTo>
                    <a:pt x="2579688" y="200876"/>
                  </a:lnTo>
                  <a:lnTo>
                    <a:pt x="2579739" y="200876"/>
                  </a:lnTo>
                  <a:lnTo>
                    <a:pt x="2579739" y="202260"/>
                  </a:lnTo>
                  <a:lnTo>
                    <a:pt x="2579739" y="200228"/>
                  </a:lnTo>
                  <a:lnTo>
                    <a:pt x="2579790" y="200228"/>
                  </a:lnTo>
                  <a:lnTo>
                    <a:pt x="2579790" y="197447"/>
                  </a:lnTo>
                  <a:lnTo>
                    <a:pt x="2579891" y="198831"/>
                  </a:lnTo>
                  <a:lnTo>
                    <a:pt x="2579891" y="197447"/>
                  </a:lnTo>
                  <a:lnTo>
                    <a:pt x="2579891" y="198831"/>
                  </a:lnTo>
                  <a:lnTo>
                    <a:pt x="2579891" y="196113"/>
                  </a:lnTo>
                  <a:lnTo>
                    <a:pt x="2579891" y="199530"/>
                  </a:lnTo>
                  <a:lnTo>
                    <a:pt x="2579942" y="199530"/>
                  </a:lnTo>
                  <a:lnTo>
                    <a:pt x="2579942" y="196799"/>
                  </a:lnTo>
                  <a:lnTo>
                    <a:pt x="2579942" y="200228"/>
                  </a:lnTo>
                  <a:lnTo>
                    <a:pt x="2579993" y="200228"/>
                  </a:lnTo>
                  <a:lnTo>
                    <a:pt x="2579993" y="198831"/>
                  </a:lnTo>
                  <a:lnTo>
                    <a:pt x="2579993" y="200228"/>
                  </a:lnTo>
                  <a:lnTo>
                    <a:pt x="2580094" y="200228"/>
                  </a:lnTo>
                  <a:lnTo>
                    <a:pt x="2580094" y="199530"/>
                  </a:lnTo>
                  <a:lnTo>
                    <a:pt x="2580094" y="200228"/>
                  </a:lnTo>
                  <a:lnTo>
                    <a:pt x="2580094" y="199530"/>
                  </a:lnTo>
                  <a:lnTo>
                    <a:pt x="2580094" y="200228"/>
                  </a:lnTo>
                  <a:lnTo>
                    <a:pt x="2580145" y="200228"/>
                  </a:lnTo>
                  <a:lnTo>
                    <a:pt x="2580145" y="199530"/>
                  </a:lnTo>
                  <a:lnTo>
                    <a:pt x="2580145" y="200228"/>
                  </a:lnTo>
                  <a:lnTo>
                    <a:pt x="2580196" y="200228"/>
                  </a:lnTo>
                  <a:lnTo>
                    <a:pt x="2580196" y="202260"/>
                  </a:lnTo>
                  <a:lnTo>
                    <a:pt x="2580196" y="200876"/>
                  </a:lnTo>
                  <a:lnTo>
                    <a:pt x="2580196" y="202260"/>
                  </a:lnTo>
                  <a:lnTo>
                    <a:pt x="2580196" y="200228"/>
                  </a:lnTo>
                  <a:lnTo>
                    <a:pt x="2580196" y="200876"/>
                  </a:lnTo>
                  <a:lnTo>
                    <a:pt x="2580234" y="200876"/>
                  </a:lnTo>
                  <a:lnTo>
                    <a:pt x="2580234" y="200228"/>
                  </a:lnTo>
                  <a:lnTo>
                    <a:pt x="2580234" y="200876"/>
                  </a:lnTo>
                  <a:lnTo>
                    <a:pt x="2580234" y="199530"/>
                  </a:lnTo>
                  <a:lnTo>
                    <a:pt x="2580336" y="199530"/>
                  </a:lnTo>
                  <a:lnTo>
                    <a:pt x="2580336" y="200228"/>
                  </a:lnTo>
                  <a:lnTo>
                    <a:pt x="2580336" y="199530"/>
                  </a:lnTo>
                  <a:lnTo>
                    <a:pt x="2580336" y="200228"/>
                  </a:lnTo>
                  <a:lnTo>
                    <a:pt x="2580336" y="197447"/>
                  </a:lnTo>
                  <a:lnTo>
                    <a:pt x="2580387" y="197447"/>
                  </a:lnTo>
                  <a:lnTo>
                    <a:pt x="2580387" y="196799"/>
                  </a:lnTo>
                  <a:lnTo>
                    <a:pt x="2580387" y="199530"/>
                  </a:lnTo>
                  <a:lnTo>
                    <a:pt x="2580387" y="197447"/>
                  </a:lnTo>
                  <a:lnTo>
                    <a:pt x="2580437" y="197447"/>
                  </a:lnTo>
                  <a:lnTo>
                    <a:pt x="2580437" y="196799"/>
                  </a:lnTo>
                  <a:lnTo>
                    <a:pt x="2580437" y="200228"/>
                  </a:lnTo>
                  <a:lnTo>
                    <a:pt x="2580437" y="198831"/>
                  </a:lnTo>
                  <a:lnTo>
                    <a:pt x="2580539" y="198831"/>
                  </a:lnTo>
                  <a:lnTo>
                    <a:pt x="2580539" y="200228"/>
                  </a:lnTo>
                  <a:lnTo>
                    <a:pt x="2580539" y="198831"/>
                  </a:lnTo>
                  <a:lnTo>
                    <a:pt x="2580590" y="198831"/>
                  </a:lnTo>
                  <a:lnTo>
                    <a:pt x="2580590" y="199530"/>
                  </a:lnTo>
                  <a:lnTo>
                    <a:pt x="2580590" y="198831"/>
                  </a:lnTo>
                  <a:lnTo>
                    <a:pt x="2580590" y="199530"/>
                  </a:lnTo>
                  <a:lnTo>
                    <a:pt x="2580640" y="199530"/>
                  </a:lnTo>
                  <a:lnTo>
                    <a:pt x="2580640" y="200228"/>
                  </a:lnTo>
                  <a:lnTo>
                    <a:pt x="2580640" y="199530"/>
                  </a:lnTo>
                  <a:lnTo>
                    <a:pt x="2580640" y="200228"/>
                  </a:lnTo>
                  <a:lnTo>
                    <a:pt x="2580691" y="200228"/>
                  </a:lnTo>
                  <a:lnTo>
                    <a:pt x="2580691" y="200876"/>
                  </a:lnTo>
                  <a:lnTo>
                    <a:pt x="2580691" y="200228"/>
                  </a:lnTo>
                  <a:lnTo>
                    <a:pt x="2580691" y="200876"/>
                  </a:lnTo>
                  <a:lnTo>
                    <a:pt x="2580691" y="200228"/>
                  </a:lnTo>
                  <a:lnTo>
                    <a:pt x="2580691" y="200876"/>
                  </a:lnTo>
                  <a:lnTo>
                    <a:pt x="2580780" y="200228"/>
                  </a:lnTo>
                  <a:lnTo>
                    <a:pt x="2580780" y="200876"/>
                  </a:lnTo>
                  <a:lnTo>
                    <a:pt x="2580780" y="199530"/>
                  </a:lnTo>
                  <a:lnTo>
                    <a:pt x="2580831" y="199530"/>
                  </a:lnTo>
                  <a:lnTo>
                    <a:pt x="2580831" y="197447"/>
                  </a:lnTo>
                  <a:lnTo>
                    <a:pt x="2580882" y="197447"/>
                  </a:lnTo>
                  <a:lnTo>
                    <a:pt x="2580882" y="200228"/>
                  </a:lnTo>
                  <a:lnTo>
                    <a:pt x="2580882" y="197447"/>
                  </a:lnTo>
                  <a:lnTo>
                    <a:pt x="2580933" y="198831"/>
                  </a:lnTo>
                  <a:lnTo>
                    <a:pt x="2580933" y="202260"/>
                  </a:lnTo>
                  <a:lnTo>
                    <a:pt x="2580933" y="199530"/>
                  </a:lnTo>
                  <a:lnTo>
                    <a:pt x="2580933" y="200228"/>
                  </a:lnTo>
                  <a:lnTo>
                    <a:pt x="2581034" y="200228"/>
                  </a:lnTo>
                  <a:lnTo>
                    <a:pt x="2581034" y="200876"/>
                  </a:lnTo>
                  <a:lnTo>
                    <a:pt x="2581034" y="200228"/>
                  </a:lnTo>
                  <a:lnTo>
                    <a:pt x="2581034" y="200876"/>
                  </a:lnTo>
                  <a:lnTo>
                    <a:pt x="2581034" y="200228"/>
                  </a:lnTo>
                  <a:lnTo>
                    <a:pt x="2581085" y="200228"/>
                  </a:lnTo>
                  <a:lnTo>
                    <a:pt x="2581085" y="200876"/>
                  </a:lnTo>
                  <a:lnTo>
                    <a:pt x="2581085" y="200228"/>
                  </a:lnTo>
                  <a:lnTo>
                    <a:pt x="2581085" y="200876"/>
                  </a:lnTo>
                  <a:lnTo>
                    <a:pt x="2581085" y="200228"/>
                  </a:lnTo>
                  <a:lnTo>
                    <a:pt x="2581085" y="202260"/>
                  </a:lnTo>
                  <a:lnTo>
                    <a:pt x="2581085" y="200876"/>
                  </a:lnTo>
                  <a:lnTo>
                    <a:pt x="2581136" y="202260"/>
                  </a:lnTo>
                  <a:lnTo>
                    <a:pt x="2581136" y="200876"/>
                  </a:lnTo>
                  <a:lnTo>
                    <a:pt x="2581136" y="202260"/>
                  </a:lnTo>
                  <a:lnTo>
                    <a:pt x="2581136" y="200876"/>
                  </a:lnTo>
                  <a:lnTo>
                    <a:pt x="2581136" y="202260"/>
                  </a:lnTo>
                  <a:lnTo>
                    <a:pt x="2581136" y="200876"/>
                  </a:lnTo>
                  <a:lnTo>
                    <a:pt x="2581237" y="200876"/>
                  </a:lnTo>
                  <a:lnTo>
                    <a:pt x="2581237" y="202260"/>
                  </a:lnTo>
                  <a:lnTo>
                    <a:pt x="2581237" y="200876"/>
                  </a:lnTo>
                  <a:lnTo>
                    <a:pt x="2581275" y="200876"/>
                  </a:lnTo>
                  <a:lnTo>
                    <a:pt x="2581275" y="199530"/>
                  </a:lnTo>
                  <a:lnTo>
                    <a:pt x="2581326" y="199530"/>
                  </a:lnTo>
                  <a:lnTo>
                    <a:pt x="2581326" y="197447"/>
                  </a:lnTo>
                  <a:lnTo>
                    <a:pt x="2581326" y="200876"/>
                  </a:lnTo>
                  <a:lnTo>
                    <a:pt x="2581377" y="200876"/>
                  </a:lnTo>
                  <a:lnTo>
                    <a:pt x="2581377" y="198831"/>
                  </a:lnTo>
                  <a:lnTo>
                    <a:pt x="2581377" y="202959"/>
                  </a:lnTo>
                  <a:lnTo>
                    <a:pt x="2581479" y="202959"/>
                  </a:lnTo>
                  <a:lnTo>
                    <a:pt x="2581479" y="200228"/>
                  </a:lnTo>
                  <a:lnTo>
                    <a:pt x="2581479" y="202260"/>
                  </a:lnTo>
                  <a:lnTo>
                    <a:pt x="2581530" y="202260"/>
                  </a:lnTo>
                  <a:lnTo>
                    <a:pt x="2581530" y="200876"/>
                  </a:lnTo>
                  <a:lnTo>
                    <a:pt x="2581530" y="202260"/>
                  </a:lnTo>
                  <a:lnTo>
                    <a:pt x="2581530" y="200876"/>
                  </a:lnTo>
                  <a:lnTo>
                    <a:pt x="2581580" y="200876"/>
                  </a:lnTo>
                  <a:lnTo>
                    <a:pt x="2581580" y="202260"/>
                  </a:lnTo>
                  <a:lnTo>
                    <a:pt x="2581580" y="200876"/>
                  </a:lnTo>
                  <a:lnTo>
                    <a:pt x="2581580" y="202260"/>
                  </a:lnTo>
                  <a:lnTo>
                    <a:pt x="2581682" y="202260"/>
                  </a:lnTo>
                  <a:lnTo>
                    <a:pt x="2581682" y="200876"/>
                  </a:lnTo>
                  <a:lnTo>
                    <a:pt x="2581682" y="202260"/>
                  </a:lnTo>
                  <a:lnTo>
                    <a:pt x="2581682" y="200876"/>
                  </a:lnTo>
                  <a:lnTo>
                    <a:pt x="2581682" y="202260"/>
                  </a:lnTo>
                  <a:lnTo>
                    <a:pt x="2581682" y="200876"/>
                  </a:lnTo>
                  <a:lnTo>
                    <a:pt x="2581682" y="202260"/>
                  </a:lnTo>
                  <a:lnTo>
                    <a:pt x="2581682" y="200876"/>
                  </a:lnTo>
                  <a:lnTo>
                    <a:pt x="2581682" y="202260"/>
                  </a:lnTo>
                  <a:lnTo>
                    <a:pt x="2581682" y="200876"/>
                  </a:lnTo>
                  <a:lnTo>
                    <a:pt x="2581682" y="202260"/>
                  </a:lnTo>
                  <a:lnTo>
                    <a:pt x="2581682" y="200876"/>
                  </a:lnTo>
                  <a:lnTo>
                    <a:pt x="2581682" y="202260"/>
                  </a:lnTo>
                  <a:lnTo>
                    <a:pt x="2581733" y="202260"/>
                  </a:lnTo>
                  <a:lnTo>
                    <a:pt x="2581733" y="200228"/>
                  </a:lnTo>
                  <a:lnTo>
                    <a:pt x="2581733" y="200876"/>
                  </a:lnTo>
                  <a:lnTo>
                    <a:pt x="2581733" y="200228"/>
                  </a:lnTo>
                  <a:lnTo>
                    <a:pt x="2581733" y="200876"/>
                  </a:lnTo>
                  <a:lnTo>
                    <a:pt x="2581733" y="199530"/>
                  </a:lnTo>
                  <a:lnTo>
                    <a:pt x="2581784" y="200228"/>
                  </a:lnTo>
                  <a:lnTo>
                    <a:pt x="2581784" y="199530"/>
                  </a:lnTo>
                  <a:lnTo>
                    <a:pt x="2581784" y="200228"/>
                  </a:lnTo>
                  <a:lnTo>
                    <a:pt x="2581784" y="198831"/>
                  </a:lnTo>
                  <a:lnTo>
                    <a:pt x="2581822" y="198831"/>
                  </a:lnTo>
                  <a:lnTo>
                    <a:pt x="2581822" y="196799"/>
                  </a:lnTo>
                  <a:lnTo>
                    <a:pt x="2581822" y="200228"/>
                  </a:lnTo>
                  <a:lnTo>
                    <a:pt x="2581822" y="199530"/>
                  </a:lnTo>
                  <a:lnTo>
                    <a:pt x="2581923" y="199530"/>
                  </a:lnTo>
                  <a:lnTo>
                    <a:pt x="2581923" y="197447"/>
                  </a:lnTo>
                  <a:lnTo>
                    <a:pt x="2581923" y="200876"/>
                  </a:lnTo>
                  <a:lnTo>
                    <a:pt x="2581923" y="200228"/>
                  </a:lnTo>
                  <a:lnTo>
                    <a:pt x="2581923" y="200876"/>
                  </a:lnTo>
                  <a:lnTo>
                    <a:pt x="2581923" y="200228"/>
                  </a:lnTo>
                  <a:lnTo>
                    <a:pt x="2581974" y="199530"/>
                  </a:lnTo>
                  <a:lnTo>
                    <a:pt x="2581974" y="200228"/>
                  </a:lnTo>
                  <a:lnTo>
                    <a:pt x="2581974" y="199530"/>
                  </a:lnTo>
                  <a:lnTo>
                    <a:pt x="2581974" y="200876"/>
                  </a:lnTo>
                  <a:lnTo>
                    <a:pt x="2582025" y="200228"/>
                  </a:lnTo>
                  <a:lnTo>
                    <a:pt x="2582025" y="200876"/>
                  </a:lnTo>
                  <a:lnTo>
                    <a:pt x="2582126" y="200876"/>
                  </a:lnTo>
                  <a:lnTo>
                    <a:pt x="2582126" y="202959"/>
                  </a:lnTo>
                  <a:lnTo>
                    <a:pt x="2582126" y="202260"/>
                  </a:lnTo>
                  <a:lnTo>
                    <a:pt x="2582177" y="202959"/>
                  </a:lnTo>
                  <a:lnTo>
                    <a:pt x="2582177" y="202260"/>
                  </a:lnTo>
                  <a:lnTo>
                    <a:pt x="2582177" y="202959"/>
                  </a:lnTo>
                  <a:lnTo>
                    <a:pt x="2582177" y="202260"/>
                  </a:lnTo>
                  <a:lnTo>
                    <a:pt x="2582228" y="200876"/>
                  </a:lnTo>
                  <a:lnTo>
                    <a:pt x="2582228" y="202260"/>
                  </a:lnTo>
                  <a:lnTo>
                    <a:pt x="2582228" y="200876"/>
                  </a:lnTo>
                  <a:lnTo>
                    <a:pt x="2582228" y="202260"/>
                  </a:lnTo>
                  <a:lnTo>
                    <a:pt x="2582228" y="200228"/>
                  </a:lnTo>
                  <a:lnTo>
                    <a:pt x="2582279" y="200228"/>
                  </a:lnTo>
                  <a:lnTo>
                    <a:pt x="2582279" y="198831"/>
                  </a:lnTo>
                  <a:lnTo>
                    <a:pt x="2582368" y="198831"/>
                  </a:lnTo>
                  <a:lnTo>
                    <a:pt x="2582368" y="197447"/>
                  </a:lnTo>
                  <a:lnTo>
                    <a:pt x="2582368" y="200228"/>
                  </a:lnTo>
                  <a:lnTo>
                    <a:pt x="2582368" y="198831"/>
                  </a:lnTo>
                  <a:lnTo>
                    <a:pt x="2582419" y="198831"/>
                  </a:lnTo>
                  <a:lnTo>
                    <a:pt x="2582419" y="200876"/>
                  </a:lnTo>
                  <a:lnTo>
                    <a:pt x="2582419" y="199530"/>
                  </a:lnTo>
                  <a:lnTo>
                    <a:pt x="2582419" y="200228"/>
                  </a:lnTo>
                  <a:lnTo>
                    <a:pt x="2582419" y="199530"/>
                  </a:lnTo>
                  <a:lnTo>
                    <a:pt x="2582419" y="200228"/>
                  </a:lnTo>
                  <a:lnTo>
                    <a:pt x="2582469" y="200228"/>
                  </a:lnTo>
                  <a:lnTo>
                    <a:pt x="2582469" y="200876"/>
                  </a:lnTo>
                  <a:lnTo>
                    <a:pt x="2582469" y="200228"/>
                  </a:lnTo>
                  <a:lnTo>
                    <a:pt x="2582469" y="200876"/>
                  </a:lnTo>
                  <a:lnTo>
                    <a:pt x="2582520" y="200876"/>
                  </a:lnTo>
                  <a:lnTo>
                    <a:pt x="2582520" y="200228"/>
                  </a:lnTo>
                  <a:lnTo>
                    <a:pt x="2582520" y="200876"/>
                  </a:lnTo>
                  <a:lnTo>
                    <a:pt x="2582622" y="200876"/>
                  </a:lnTo>
                  <a:lnTo>
                    <a:pt x="2582622" y="202260"/>
                  </a:lnTo>
                  <a:lnTo>
                    <a:pt x="2582622" y="200876"/>
                  </a:lnTo>
                  <a:lnTo>
                    <a:pt x="2582622" y="202260"/>
                  </a:lnTo>
                  <a:lnTo>
                    <a:pt x="2582672" y="200876"/>
                  </a:lnTo>
                  <a:lnTo>
                    <a:pt x="2582672" y="202260"/>
                  </a:lnTo>
                  <a:lnTo>
                    <a:pt x="2582672" y="200876"/>
                  </a:lnTo>
                  <a:lnTo>
                    <a:pt x="2582672" y="202959"/>
                  </a:lnTo>
                  <a:lnTo>
                    <a:pt x="2582672" y="202260"/>
                  </a:lnTo>
                  <a:lnTo>
                    <a:pt x="2582723" y="202260"/>
                  </a:lnTo>
                  <a:lnTo>
                    <a:pt x="2582723" y="200228"/>
                  </a:lnTo>
                  <a:lnTo>
                    <a:pt x="2582723" y="200876"/>
                  </a:lnTo>
                  <a:lnTo>
                    <a:pt x="2582723" y="199530"/>
                  </a:lnTo>
                  <a:lnTo>
                    <a:pt x="2582723" y="200228"/>
                  </a:lnTo>
                  <a:lnTo>
                    <a:pt x="2582723" y="199530"/>
                  </a:lnTo>
                  <a:lnTo>
                    <a:pt x="2582825" y="199530"/>
                  </a:lnTo>
                  <a:lnTo>
                    <a:pt x="2582825" y="198831"/>
                  </a:lnTo>
                  <a:lnTo>
                    <a:pt x="2582863" y="197447"/>
                  </a:lnTo>
                  <a:lnTo>
                    <a:pt x="2582863" y="198831"/>
                  </a:lnTo>
                  <a:lnTo>
                    <a:pt x="2582863" y="196799"/>
                  </a:lnTo>
                  <a:lnTo>
                    <a:pt x="2582914" y="196799"/>
                  </a:lnTo>
                  <a:lnTo>
                    <a:pt x="2582914" y="199530"/>
                  </a:lnTo>
                  <a:lnTo>
                    <a:pt x="2582914" y="197447"/>
                  </a:lnTo>
                  <a:lnTo>
                    <a:pt x="2582965" y="198831"/>
                  </a:lnTo>
                  <a:lnTo>
                    <a:pt x="2582965" y="200228"/>
                  </a:lnTo>
                  <a:lnTo>
                    <a:pt x="2582965" y="199530"/>
                  </a:lnTo>
                  <a:lnTo>
                    <a:pt x="2582965" y="200228"/>
                  </a:lnTo>
                  <a:lnTo>
                    <a:pt x="2582965" y="199530"/>
                  </a:lnTo>
                  <a:lnTo>
                    <a:pt x="2583066" y="199530"/>
                  </a:lnTo>
                  <a:lnTo>
                    <a:pt x="2583066" y="200876"/>
                  </a:lnTo>
                  <a:lnTo>
                    <a:pt x="2583117" y="200876"/>
                  </a:lnTo>
                  <a:lnTo>
                    <a:pt x="2583117" y="202260"/>
                  </a:lnTo>
                  <a:lnTo>
                    <a:pt x="2583117" y="200876"/>
                  </a:lnTo>
                  <a:lnTo>
                    <a:pt x="2583117" y="202260"/>
                  </a:lnTo>
                  <a:lnTo>
                    <a:pt x="2583117" y="200876"/>
                  </a:lnTo>
                  <a:lnTo>
                    <a:pt x="2583117" y="202260"/>
                  </a:lnTo>
                  <a:lnTo>
                    <a:pt x="2583168" y="200876"/>
                  </a:lnTo>
                  <a:lnTo>
                    <a:pt x="2583168" y="202260"/>
                  </a:lnTo>
                  <a:lnTo>
                    <a:pt x="2583168" y="200876"/>
                  </a:lnTo>
                  <a:lnTo>
                    <a:pt x="2583168" y="202260"/>
                  </a:lnTo>
                  <a:lnTo>
                    <a:pt x="2583168" y="200876"/>
                  </a:lnTo>
                  <a:lnTo>
                    <a:pt x="2583269" y="200876"/>
                  </a:lnTo>
                  <a:lnTo>
                    <a:pt x="2583269" y="200228"/>
                  </a:lnTo>
                  <a:lnTo>
                    <a:pt x="2583320" y="199530"/>
                  </a:lnTo>
                  <a:lnTo>
                    <a:pt x="2583320" y="198831"/>
                  </a:lnTo>
                  <a:lnTo>
                    <a:pt x="2583371" y="198831"/>
                  </a:lnTo>
                  <a:lnTo>
                    <a:pt x="2583371" y="199530"/>
                  </a:lnTo>
                  <a:lnTo>
                    <a:pt x="2583371" y="197447"/>
                  </a:lnTo>
                  <a:lnTo>
                    <a:pt x="2583371" y="199530"/>
                  </a:lnTo>
                  <a:lnTo>
                    <a:pt x="2583409" y="199530"/>
                  </a:lnTo>
                  <a:lnTo>
                    <a:pt x="2583409" y="200228"/>
                  </a:lnTo>
                  <a:lnTo>
                    <a:pt x="2583409" y="198831"/>
                  </a:lnTo>
                  <a:lnTo>
                    <a:pt x="2583409" y="199530"/>
                  </a:lnTo>
                  <a:lnTo>
                    <a:pt x="2583511" y="199530"/>
                  </a:lnTo>
                  <a:lnTo>
                    <a:pt x="2583511" y="200228"/>
                  </a:lnTo>
                  <a:lnTo>
                    <a:pt x="2583562" y="199530"/>
                  </a:lnTo>
                  <a:lnTo>
                    <a:pt x="2583562" y="200228"/>
                  </a:lnTo>
                  <a:lnTo>
                    <a:pt x="2583562" y="199530"/>
                  </a:lnTo>
                  <a:lnTo>
                    <a:pt x="2583562" y="200228"/>
                  </a:lnTo>
                  <a:lnTo>
                    <a:pt x="2583562" y="199530"/>
                  </a:lnTo>
                  <a:lnTo>
                    <a:pt x="2583562" y="200228"/>
                  </a:lnTo>
                  <a:lnTo>
                    <a:pt x="2583562" y="199530"/>
                  </a:lnTo>
                  <a:lnTo>
                    <a:pt x="2583562" y="200228"/>
                  </a:lnTo>
                  <a:lnTo>
                    <a:pt x="2583612" y="200228"/>
                  </a:lnTo>
                  <a:lnTo>
                    <a:pt x="2583612" y="200876"/>
                  </a:lnTo>
                  <a:lnTo>
                    <a:pt x="2583612" y="200228"/>
                  </a:lnTo>
                  <a:lnTo>
                    <a:pt x="2583714" y="200228"/>
                  </a:lnTo>
                  <a:lnTo>
                    <a:pt x="2583714" y="199530"/>
                  </a:lnTo>
                  <a:lnTo>
                    <a:pt x="2583714" y="200876"/>
                  </a:lnTo>
                  <a:lnTo>
                    <a:pt x="2583714" y="200228"/>
                  </a:lnTo>
                  <a:lnTo>
                    <a:pt x="2583714" y="200876"/>
                  </a:lnTo>
                  <a:lnTo>
                    <a:pt x="2583765" y="200228"/>
                  </a:lnTo>
                  <a:lnTo>
                    <a:pt x="2583765" y="199530"/>
                  </a:lnTo>
                  <a:lnTo>
                    <a:pt x="2583765" y="200228"/>
                  </a:lnTo>
                  <a:lnTo>
                    <a:pt x="2583765" y="199530"/>
                  </a:lnTo>
                  <a:lnTo>
                    <a:pt x="2583765" y="200228"/>
                  </a:lnTo>
                  <a:lnTo>
                    <a:pt x="2583765" y="199530"/>
                  </a:lnTo>
                  <a:lnTo>
                    <a:pt x="2583815" y="199530"/>
                  </a:lnTo>
                  <a:lnTo>
                    <a:pt x="2583815" y="198831"/>
                  </a:lnTo>
                  <a:lnTo>
                    <a:pt x="2583815" y="199530"/>
                  </a:lnTo>
                  <a:lnTo>
                    <a:pt x="2583815" y="198831"/>
                  </a:lnTo>
                  <a:lnTo>
                    <a:pt x="2583815" y="199530"/>
                  </a:lnTo>
                  <a:lnTo>
                    <a:pt x="2583815" y="198831"/>
                  </a:lnTo>
                  <a:lnTo>
                    <a:pt x="2583815" y="199530"/>
                  </a:lnTo>
                  <a:lnTo>
                    <a:pt x="2583866" y="199530"/>
                  </a:lnTo>
                  <a:lnTo>
                    <a:pt x="2583866" y="197447"/>
                  </a:lnTo>
                  <a:lnTo>
                    <a:pt x="2583866" y="200876"/>
                  </a:lnTo>
                  <a:lnTo>
                    <a:pt x="2583955" y="200876"/>
                  </a:lnTo>
                  <a:lnTo>
                    <a:pt x="2583955" y="198831"/>
                  </a:lnTo>
                  <a:lnTo>
                    <a:pt x="2583955" y="200876"/>
                  </a:lnTo>
                  <a:lnTo>
                    <a:pt x="2583955" y="200228"/>
                  </a:lnTo>
                  <a:lnTo>
                    <a:pt x="2583955" y="200876"/>
                  </a:lnTo>
                  <a:lnTo>
                    <a:pt x="2583955" y="200228"/>
                  </a:lnTo>
                  <a:lnTo>
                    <a:pt x="2584006" y="200876"/>
                  </a:lnTo>
                  <a:lnTo>
                    <a:pt x="2584006" y="200228"/>
                  </a:lnTo>
                  <a:lnTo>
                    <a:pt x="2584006" y="200876"/>
                  </a:lnTo>
                  <a:lnTo>
                    <a:pt x="2584006" y="200228"/>
                  </a:lnTo>
                  <a:lnTo>
                    <a:pt x="2584006" y="200876"/>
                  </a:lnTo>
                  <a:lnTo>
                    <a:pt x="2584006" y="200228"/>
                  </a:lnTo>
                  <a:lnTo>
                    <a:pt x="2584006" y="200876"/>
                  </a:lnTo>
                  <a:lnTo>
                    <a:pt x="2584057" y="200876"/>
                  </a:lnTo>
                  <a:lnTo>
                    <a:pt x="2584057" y="200228"/>
                  </a:lnTo>
                  <a:lnTo>
                    <a:pt x="2584057" y="200876"/>
                  </a:lnTo>
                  <a:lnTo>
                    <a:pt x="2584057" y="200228"/>
                  </a:lnTo>
                  <a:lnTo>
                    <a:pt x="2584057" y="200876"/>
                  </a:lnTo>
                  <a:lnTo>
                    <a:pt x="2584108" y="200876"/>
                  </a:lnTo>
                  <a:lnTo>
                    <a:pt x="2584108" y="202260"/>
                  </a:lnTo>
                  <a:lnTo>
                    <a:pt x="2584108" y="200228"/>
                  </a:lnTo>
                  <a:lnTo>
                    <a:pt x="2584108" y="202260"/>
                  </a:lnTo>
                  <a:lnTo>
                    <a:pt x="2584209" y="200876"/>
                  </a:lnTo>
                  <a:lnTo>
                    <a:pt x="2584209" y="200228"/>
                  </a:lnTo>
                  <a:lnTo>
                    <a:pt x="2584260" y="200228"/>
                  </a:lnTo>
                  <a:lnTo>
                    <a:pt x="2584260" y="200876"/>
                  </a:lnTo>
                  <a:lnTo>
                    <a:pt x="2584260" y="199530"/>
                  </a:lnTo>
                  <a:lnTo>
                    <a:pt x="2584260" y="200228"/>
                  </a:lnTo>
                  <a:lnTo>
                    <a:pt x="2584260" y="199530"/>
                  </a:lnTo>
                  <a:lnTo>
                    <a:pt x="2584311" y="199530"/>
                  </a:lnTo>
                  <a:lnTo>
                    <a:pt x="2584311" y="200876"/>
                  </a:lnTo>
                  <a:lnTo>
                    <a:pt x="2584311" y="200228"/>
                  </a:lnTo>
                  <a:lnTo>
                    <a:pt x="2584412" y="199530"/>
                  </a:lnTo>
                  <a:lnTo>
                    <a:pt x="2584412" y="202260"/>
                  </a:lnTo>
                  <a:lnTo>
                    <a:pt x="2584412" y="200876"/>
                  </a:lnTo>
                  <a:lnTo>
                    <a:pt x="2584450" y="200876"/>
                  </a:lnTo>
                  <a:lnTo>
                    <a:pt x="2584450" y="202260"/>
                  </a:lnTo>
                  <a:lnTo>
                    <a:pt x="2584552" y="202260"/>
                  </a:lnTo>
                  <a:lnTo>
                    <a:pt x="2584552" y="200876"/>
                  </a:lnTo>
                  <a:lnTo>
                    <a:pt x="2584654" y="200876"/>
                  </a:lnTo>
                  <a:lnTo>
                    <a:pt x="2584654" y="202260"/>
                  </a:lnTo>
                  <a:lnTo>
                    <a:pt x="2584654" y="200228"/>
                  </a:lnTo>
                  <a:lnTo>
                    <a:pt x="2584654" y="200876"/>
                  </a:lnTo>
                  <a:lnTo>
                    <a:pt x="2584654" y="200228"/>
                  </a:lnTo>
                  <a:lnTo>
                    <a:pt x="2584654" y="200876"/>
                  </a:lnTo>
                  <a:lnTo>
                    <a:pt x="2584654" y="200228"/>
                  </a:lnTo>
                  <a:lnTo>
                    <a:pt x="2584705" y="200876"/>
                  </a:lnTo>
                  <a:lnTo>
                    <a:pt x="2584705" y="200228"/>
                  </a:lnTo>
                  <a:lnTo>
                    <a:pt x="2584705" y="200876"/>
                  </a:lnTo>
                  <a:lnTo>
                    <a:pt x="2584705" y="199530"/>
                  </a:lnTo>
                  <a:lnTo>
                    <a:pt x="2584705" y="200228"/>
                  </a:lnTo>
                  <a:lnTo>
                    <a:pt x="2584755" y="200228"/>
                  </a:lnTo>
                  <a:lnTo>
                    <a:pt x="2584755" y="197447"/>
                  </a:lnTo>
                  <a:lnTo>
                    <a:pt x="2584857" y="197447"/>
                  </a:lnTo>
                  <a:lnTo>
                    <a:pt x="2584857" y="198831"/>
                  </a:lnTo>
                  <a:lnTo>
                    <a:pt x="2584857" y="196799"/>
                  </a:lnTo>
                  <a:lnTo>
                    <a:pt x="2584857" y="198831"/>
                  </a:lnTo>
                  <a:lnTo>
                    <a:pt x="2584908" y="198831"/>
                  </a:lnTo>
                  <a:lnTo>
                    <a:pt x="2584908" y="197447"/>
                  </a:lnTo>
                  <a:lnTo>
                    <a:pt x="2584908" y="199530"/>
                  </a:lnTo>
                  <a:lnTo>
                    <a:pt x="2584908" y="198831"/>
                  </a:lnTo>
                  <a:lnTo>
                    <a:pt x="2584959" y="198831"/>
                  </a:lnTo>
                  <a:lnTo>
                    <a:pt x="2584959" y="200228"/>
                  </a:lnTo>
                  <a:lnTo>
                    <a:pt x="2584997" y="200228"/>
                  </a:lnTo>
                  <a:lnTo>
                    <a:pt x="2584997" y="200876"/>
                  </a:lnTo>
                  <a:lnTo>
                    <a:pt x="2584997" y="200228"/>
                  </a:lnTo>
                  <a:lnTo>
                    <a:pt x="2585098" y="200876"/>
                  </a:lnTo>
                  <a:lnTo>
                    <a:pt x="2585098" y="202260"/>
                  </a:lnTo>
                  <a:lnTo>
                    <a:pt x="2585098" y="200876"/>
                  </a:lnTo>
                  <a:lnTo>
                    <a:pt x="2585098" y="202260"/>
                  </a:lnTo>
                  <a:lnTo>
                    <a:pt x="2585149" y="200876"/>
                  </a:lnTo>
                  <a:lnTo>
                    <a:pt x="2585149" y="202260"/>
                  </a:lnTo>
                  <a:lnTo>
                    <a:pt x="2585149" y="200876"/>
                  </a:lnTo>
                  <a:lnTo>
                    <a:pt x="2585149" y="202260"/>
                  </a:lnTo>
                  <a:lnTo>
                    <a:pt x="2585149" y="200876"/>
                  </a:lnTo>
                  <a:lnTo>
                    <a:pt x="2585200" y="200876"/>
                  </a:lnTo>
                  <a:lnTo>
                    <a:pt x="2585200" y="200228"/>
                  </a:lnTo>
                  <a:lnTo>
                    <a:pt x="2585200" y="200876"/>
                  </a:lnTo>
                  <a:lnTo>
                    <a:pt x="2585200" y="200228"/>
                  </a:lnTo>
                  <a:lnTo>
                    <a:pt x="2585200" y="200876"/>
                  </a:lnTo>
                  <a:lnTo>
                    <a:pt x="2585200" y="200228"/>
                  </a:lnTo>
                  <a:lnTo>
                    <a:pt x="2585301" y="200228"/>
                  </a:lnTo>
                  <a:lnTo>
                    <a:pt x="2585301" y="198831"/>
                  </a:lnTo>
                  <a:lnTo>
                    <a:pt x="2585301" y="199530"/>
                  </a:lnTo>
                  <a:lnTo>
                    <a:pt x="2585301" y="198831"/>
                  </a:lnTo>
                  <a:lnTo>
                    <a:pt x="2585352" y="198831"/>
                  </a:lnTo>
                  <a:lnTo>
                    <a:pt x="2585352" y="199530"/>
                  </a:lnTo>
                  <a:lnTo>
                    <a:pt x="2585352" y="198831"/>
                  </a:lnTo>
                  <a:lnTo>
                    <a:pt x="2585352" y="199530"/>
                  </a:lnTo>
                  <a:lnTo>
                    <a:pt x="2585352" y="198831"/>
                  </a:lnTo>
                  <a:lnTo>
                    <a:pt x="2585352" y="200228"/>
                  </a:lnTo>
                  <a:lnTo>
                    <a:pt x="2585403" y="200876"/>
                  </a:lnTo>
                  <a:lnTo>
                    <a:pt x="2585403" y="200228"/>
                  </a:lnTo>
                  <a:lnTo>
                    <a:pt x="2585403" y="200876"/>
                  </a:lnTo>
                  <a:lnTo>
                    <a:pt x="2585403" y="199530"/>
                  </a:lnTo>
                  <a:lnTo>
                    <a:pt x="2585403" y="200228"/>
                  </a:lnTo>
                  <a:lnTo>
                    <a:pt x="2585403" y="199530"/>
                  </a:lnTo>
                  <a:lnTo>
                    <a:pt x="2585403" y="200228"/>
                  </a:lnTo>
                  <a:lnTo>
                    <a:pt x="2585454" y="200228"/>
                  </a:lnTo>
                  <a:lnTo>
                    <a:pt x="2585454" y="200876"/>
                  </a:lnTo>
                  <a:lnTo>
                    <a:pt x="2585454" y="200228"/>
                  </a:lnTo>
                  <a:lnTo>
                    <a:pt x="2585454" y="200876"/>
                  </a:lnTo>
                  <a:lnTo>
                    <a:pt x="2585454" y="200228"/>
                  </a:lnTo>
                  <a:lnTo>
                    <a:pt x="2585454" y="200876"/>
                  </a:lnTo>
                  <a:lnTo>
                    <a:pt x="2585543" y="200876"/>
                  </a:lnTo>
                  <a:lnTo>
                    <a:pt x="2585543" y="200228"/>
                  </a:lnTo>
                  <a:lnTo>
                    <a:pt x="2585543" y="200876"/>
                  </a:lnTo>
                  <a:lnTo>
                    <a:pt x="2585594" y="200876"/>
                  </a:lnTo>
                  <a:lnTo>
                    <a:pt x="2585594" y="202260"/>
                  </a:lnTo>
                  <a:lnTo>
                    <a:pt x="2585594" y="200876"/>
                  </a:lnTo>
                  <a:lnTo>
                    <a:pt x="2585594" y="202260"/>
                  </a:lnTo>
                  <a:lnTo>
                    <a:pt x="2585594" y="200876"/>
                  </a:lnTo>
                  <a:lnTo>
                    <a:pt x="2585644" y="202260"/>
                  </a:lnTo>
                  <a:lnTo>
                    <a:pt x="2585644" y="200876"/>
                  </a:lnTo>
                  <a:lnTo>
                    <a:pt x="2585644" y="202260"/>
                  </a:lnTo>
                  <a:lnTo>
                    <a:pt x="2585644" y="200876"/>
                  </a:lnTo>
                  <a:lnTo>
                    <a:pt x="2585695" y="200876"/>
                  </a:lnTo>
                  <a:lnTo>
                    <a:pt x="2585695" y="199530"/>
                  </a:lnTo>
                  <a:lnTo>
                    <a:pt x="2585695" y="200228"/>
                  </a:lnTo>
                  <a:lnTo>
                    <a:pt x="2585695" y="199530"/>
                  </a:lnTo>
                  <a:lnTo>
                    <a:pt x="2585695" y="200228"/>
                  </a:lnTo>
                  <a:lnTo>
                    <a:pt x="2585695" y="199530"/>
                  </a:lnTo>
                  <a:lnTo>
                    <a:pt x="2585797" y="199530"/>
                  </a:lnTo>
                  <a:lnTo>
                    <a:pt x="2585797" y="197447"/>
                  </a:lnTo>
                  <a:lnTo>
                    <a:pt x="2585797" y="198831"/>
                  </a:lnTo>
                  <a:lnTo>
                    <a:pt x="2585847" y="198831"/>
                  </a:lnTo>
                  <a:lnTo>
                    <a:pt x="2585847" y="199530"/>
                  </a:lnTo>
                  <a:lnTo>
                    <a:pt x="2585847" y="197447"/>
                  </a:lnTo>
                  <a:lnTo>
                    <a:pt x="2585847" y="198831"/>
                  </a:lnTo>
                  <a:lnTo>
                    <a:pt x="2585847" y="197447"/>
                  </a:lnTo>
                  <a:lnTo>
                    <a:pt x="2585847" y="200228"/>
                  </a:lnTo>
                  <a:lnTo>
                    <a:pt x="2585898" y="200228"/>
                  </a:lnTo>
                  <a:lnTo>
                    <a:pt x="2585898" y="199530"/>
                  </a:lnTo>
                  <a:lnTo>
                    <a:pt x="2585898" y="200228"/>
                  </a:lnTo>
                  <a:lnTo>
                    <a:pt x="2586000" y="200228"/>
                  </a:lnTo>
                  <a:lnTo>
                    <a:pt x="2586000" y="200876"/>
                  </a:lnTo>
                  <a:lnTo>
                    <a:pt x="2586000" y="200228"/>
                  </a:lnTo>
                  <a:lnTo>
                    <a:pt x="2586000" y="200876"/>
                  </a:lnTo>
                  <a:lnTo>
                    <a:pt x="2586000" y="200228"/>
                  </a:lnTo>
                  <a:lnTo>
                    <a:pt x="2586000" y="200876"/>
                  </a:lnTo>
                  <a:lnTo>
                    <a:pt x="2586000" y="200228"/>
                  </a:lnTo>
                  <a:lnTo>
                    <a:pt x="2586000" y="200876"/>
                  </a:lnTo>
                  <a:lnTo>
                    <a:pt x="2586038" y="200876"/>
                  </a:lnTo>
                  <a:lnTo>
                    <a:pt x="2586038" y="202260"/>
                  </a:lnTo>
                  <a:lnTo>
                    <a:pt x="2586038" y="200876"/>
                  </a:lnTo>
                  <a:lnTo>
                    <a:pt x="2586089" y="200876"/>
                  </a:lnTo>
                  <a:lnTo>
                    <a:pt x="2586089" y="202260"/>
                  </a:lnTo>
                  <a:lnTo>
                    <a:pt x="2586089" y="200876"/>
                  </a:lnTo>
                  <a:lnTo>
                    <a:pt x="2586089" y="202260"/>
                  </a:lnTo>
                  <a:lnTo>
                    <a:pt x="2586140" y="200876"/>
                  </a:lnTo>
                  <a:lnTo>
                    <a:pt x="2586140" y="202260"/>
                  </a:lnTo>
                  <a:lnTo>
                    <a:pt x="2586140" y="200876"/>
                  </a:lnTo>
                  <a:lnTo>
                    <a:pt x="2586140" y="202260"/>
                  </a:lnTo>
                  <a:lnTo>
                    <a:pt x="2586140" y="200876"/>
                  </a:lnTo>
                  <a:lnTo>
                    <a:pt x="2586241" y="200876"/>
                  </a:lnTo>
                  <a:lnTo>
                    <a:pt x="2586241" y="200228"/>
                  </a:lnTo>
                  <a:lnTo>
                    <a:pt x="2586241" y="200876"/>
                  </a:lnTo>
                  <a:lnTo>
                    <a:pt x="2586241" y="199530"/>
                  </a:lnTo>
                  <a:lnTo>
                    <a:pt x="2586241" y="200228"/>
                  </a:lnTo>
                  <a:lnTo>
                    <a:pt x="2586241" y="199530"/>
                  </a:lnTo>
                  <a:lnTo>
                    <a:pt x="2586292" y="198831"/>
                  </a:lnTo>
                  <a:lnTo>
                    <a:pt x="2586292" y="199530"/>
                  </a:lnTo>
                  <a:lnTo>
                    <a:pt x="2586292" y="198831"/>
                  </a:lnTo>
                  <a:lnTo>
                    <a:pt x="2586343" y="198831"/>
                  </a:lnTo>
                  <a:lnTo>
                    <a:pt x="2586343" y="200876"/>
                  </a:lnTo>
                  <a:lnTo>
                    <a:pt x="2586343" y="199530"/>
                  </a:lnTo>
                  <a:lnTo>
                    <a:pt x="2586444" y="199530"/>
                  </a:lnTo>
                  <a:lnTo>
                    <a:pt x="2586444" y="200876"/>
                  </a:lnTo>
                  <a:lnTo>
                    <a:pt x="2586444" y="200228"/>
                  </a:lnTo>
                  <a:lnTo>
                    <a:pt x="2586444" y="200876"/>
                  </a:lnTo>
                  <a:lnTo>
                    <a:pt x="2586444" y="200228"/>
                  </a:lnTo>
                  <a:lnTo>
                    <a:pt x="2586495" y="200228"/>
                  </a:lnTo>
                  <a:lnTo>
                    <a:pt x="2586495" y="200876"/>
                  </a:lnTo>
                  <a:lnTo>
                    <a:pt x="2586495" y="200228"/>
                  </a:lnTo>
                  <a:lnTo>
                    <a:pt x="2586546" y="200228"/>
                  </a:lnTo>
                  <a:lnTo>
                    <a:pt x="2586546" y="200876"/>
                  </a:lnTo>
                  <a:lnTo>
                    <a:pt x="2586546" y="200228"/>
                  </a:lnTo>
                  <a:lnTo>
                    <a:pt x="2586546" y="200876"/>
                  </a:lnTo>
                  <a:lnTo>
                    <a:pt x="2586546" y="200228"/>
                  </a:lnTo>
                  <a:lnTo>
                    <a:pt x="2586546" y="200876"/>
                  </a:lnTo>
                  <a:lnTo>
                    <a:pt x="2586546" y="200228"/>
                  </a:lnTo>
                  <a:lnTo>
                    <a:pt x="2586584" y="200228"/>
                  </a:lnTo>
                  <a:lnTo>
                    <a:pt x="2586584" y="202260"/>
                  </a:lnTo>
                  <a:lnTo>
                    <a:pt x="2586584" y="200876"/>
                  </a:lnTo>
                  <a:lnTo>
                    <a:pt x="2586584" y="202260"/>
                  </a:lnTo>
                  <a:lnTo>
                    <a:pt x="2586584" y="200876"/>
                  </a:lnTo>
                  <a:lnTo>
                    <a:pt x="2586584" y="202260"/>
                  </a:lnTo>
                  <a:lnTo>
                    <a:pt x="2586584" y="200876"/>
                  </a:lnTo>
                  <a:lnTo>
                    <a:pt x="2586686" y="200876"/>
                  </a:lnTo>
                  <a:lnTo>
                    <a:pt x="2586686" y="200228"/>
                  </a:lnTo>
                  <a:lnTo>
                    <a:pt x="2586686" y="200876"/>
                  </a:lnTo>
                  <a:lnTo>
                    <a:pt x="2586686" y="200228"/>
                  </a:lnTo>
                  <a:lnTo>
                    <a:pt x="2586737" y="200228"/>
                  </a:lnTo>
                  <a:lnTo>
                    <a:pt x="2586737" y="198831"/>
                  </a:lnTo>
                  <a:lnTo>
                    <a:pt x="2586787" y="199530"/>
                  </a:lnTo>
                  <a:lnTo>
                    <a:pt x="2586787" y="200228"/>
                  </a:lnTo>
                  <a:lnTo>
                    <a:pt x="2586787" y="198831"/>
                  </a:lnTo>
                  <a:lnTo>
                    <a:pt x="2586787" y="200228"/>
                  </a:lnTo>
                  <a:lnTo>
                    <a:pt x="2586889" y="200876"/>
                  </a:lnTo>
                  <a:lnTo>
                    <a:pt x="2586889" y="202959"/>
                  </a:lnTo>
                  <a:lnTo>
                    <a:pt x="2586889" y="200228"/>
                  </a:lnTo>
                  <a:lnTo>
                    <a:pt x="2586889" y="202260"/>
                  </a:lnTo>
                  <a:lnTo>
                    <a:pt x="2586940" y="202959"/>
                  </a:lnTo>
                  <a:lnTo>
                    <a:pt x="2586940" y="202260"/>
                  </a:lnTo>
                  <a:lnTo>
                    <a:pt x="2586940" y="202959"/>
                  </a:lnTo>
                  <a:lnTo>
                    <a:pt x="2586940" y="200876"/>
                  </a:lnTo>
                  <a:lnTo>
                    <a:pt x="2586940" y="202260"/>
                  </a:lnTo>
                  <a:lnTo>
                    <a:pt x="2586990" y="202260"/>
                  </a:lnTo>
                  <a:lnTo>
                    <a:pt x="2586990" y="200876"/>
                  </a:lnTo>
                  <a:lnTo>
                    <a:pt x="2586990" y="202260"/>
                  </a:lnTo>
                  <a:lnTo>
                    <a:pt x="2586990" y="200876"/>
                  </a:lnTo>
                  <a:lnTo>
                    <a:pt x="2586990" y="202260"/>
                  </a:lnTo>
                  <a:lnTo>
                    <a:pt x="2586990" y="200876"/>
                  </a:lnTo>
                  <a:lnTo>
                    <a:pt x="2587041" y="200876"/>
                  </a:lnTo>
                  <a:lnTo>
                    <a:pt x="2587041" y="202260"/>
                  </a:lnTo>
                  <a:lnTo>
                    <a:pt x="2587041" y="200876"/>
                  </a:lnTo>
                  <a:lnTo>
                    <a:pt x="2587041" y="202260"/>
                  </a:lnTo>
                  <a:lnTo>
                    <a:pt x="2587130" y="202260"/>
                  </a:lnTo>
                  <a:lnTo>
                    <a:pt x="2587130" y="202959"/>
                  </a:lnTo>
                  <a:lnTo>
                    <a:pt x="2587130" y="200876"/>
                  </a:lnTo>
                  <a:lnTo>
                    <a:pt x="2587130" y="202260"/>
                  </a:lnTo>
                  <a:lnTo>
                    <a:pt x="2587181" y="202260"/>
                  </a:lnTo>
                  <a:lnTo>
                    <a:pt x="2587181" y="200228"/>
                  </a:lnTo>
                  <a:lnTo>
                    <a:pt x="2587181" y="200876"/>
                  </a:lnTo>
                  <a:lnTo>
                    <a:pt x="2587181" y="200228"/>
                  </a:lnTo>
                  <a:lnTo>
                    <a:pt x="2587232" y="200228"/>
                  </a:lnTo>
                  <a:lnTo>
                    <a:pt x="2587232" y="199530"/>
                  </a:lnTo>
                  <a:lnTo>
                    <a:pt x="2587232" y="200876"/>
                  </a:lnTo>
                  <a:lnTo>
                    <a:pt x="2587283" y="200228"/>
                  </a:lnTo>
                  <a:lnTo>
                    <a:pt x="2587283" y="199530"/>
                  </a:lnTo>
                  <a:lnTo>
                    <a:pt x="2587283" y="202959"/>
                  </a:lnTo>
                  <a:lnTo>
                    <a:pt x="2587283" y="200876"/>
                  </a:lnTo>
                  <a:lnTo>
                    <a:pt x="2587384" y="200876"/>
                  </a:lnTo>
                  <a:lnTo>
                    <a:pt x="2587384" y="202959"/>
                  </a:lnTo>
                  <a:lnTo>
                    <a:pt x="2587384" y="202260"/>
                  </a:lnTo>
                  <a:lnTo>
                    <a:pt x="2587435" y="202260"/>
                  </a:lnTo>
                  <a:lnTo>
                    <a:pt x="2587435" y="202959"/>
                  </a:lnTo>
                  <a:lnTo>
                    <a:pt x="2587435" y="202260"/>
                  </a:lnTo>
                  <a:lnTo>
                    <a:pt x="2587435" y="202959"/>
                  </a:lnTo>
                  <a:lnTo>
                    <a:pt x="2587435" y="202260"/>
                  </a:lnTo>
                  <a:lnTo>
                    <a:pt x="2587435" y="202959"/>
                  </a:lnTo>
                  <a:lnTo>
                    <a:pt x="2587486" y="202260"/>
                  </a:lnTo>
                  <a:lnTo>
                    <a:pt x="2587486" y="202959"/>
                  </a:lnTo>
                  <a:lnTo>
                    <a:pt x="2587486" y="202260"/>
                  </a:lnTo>
                  <a:lnTo>
                    <a:pt x="2587486" y="202959"/>
                  </a:lnTo>
                  <a:lnTo>
                    <a:pt x="2587486" y="200876"/>
                  </a:lnTo>
                  <a:lnTo>
                    <a:pt x="2587587" y="200876"/>
                  </a:lnTo>
                  <a:lnTo>
                    <a:pt x="2587587" y="202959"/>
                  </a:lnTo>
                  <a:lnTo>
                    <a:pt x="2587587" y="200876"/>
                  </a:lnTo>
                  <a:lnTo>
                    <a:pt x="2587625" y="202260"/>
                  </a:lnTo>
                  <a:lnTo>
                    <a:pt x="2587625" y="200876"/>
                  </a:lnTo>
                  <a:lnTo>
                    <a:pt x="2587625" y="202260"/>
                  </a:lnTo>
                  <a:lnTo>
                    <a:pt x="2587625" y="200876"/>
                  </a:lnTo>
                  <a:lnTo>
                    <a:pt x="2587625" y="202260"/>
                  </a:lnTo>
                  <a:lnTo>
                    <a:pt x="2587625" y="200228"/>
                  </a:lnTo>
                  <a:lnTo>
                    <a:pt x="2587676" y="200228"/>
                  </a:lnTo>
                  <a:lnTo>
                    <a:pt x="2587676" y="199530"/>
                  </a:lnTo>
                  <a:lnTo>
                    <a:pt x="2587676" y="200228"/>
                  </a:lnTo>
                  <a:lnTo>
                    <a:pt x="2587676" y="197447"/>
                  </a:lnTo>
                  <a:lnTo>
                    <a:pt x="2587727" y="197447"/>
                  </a:lnTo>
                  <a:lnTo>
                    <a:pt x="2587727" y="199530"/>
                  </a:lnTo>
                  <a:lnTo>
                    <a:pt x="2587727" y="198831"/>
                  </a:lnTo>
                  <a:lnTo>
                    <a:pt x="2587829" y="198831"/>
                  </a:lnTo>
                  <a:lnTo>
                    <a:pt x="2587829" y="197447"/>
                  </a:lnTo>
                  <a:lnTo>
                    <a:pt x="2587829" y="200876"/>
                  </a:lnTo>
                  <a:lnTo>
                    <a:pt x="2587829" y="199530"/>
                  </a:lnTo>
                  <a:lnTo>
                    <a:pt x="2587880" y="199530"/>
                  </a:lnTo>
                  <a:lnTo>
                    <a:pt x="2587880" y="200876"/>
                  </a:lnTo>
                  <a:lnTo>
                    <a:pt x="2587880" y="200228"/>
                  </a:lnTo>
                  <a:lnTo>
                    <a:pt x="2587930" y="200228"/>
                  </a:lnTo>
                  <a:lnTo>
                    <a:pt x="2587930" y="202260"/>
                  </a:lnTo>
                  <a:lnTo>
                    <a:pt x="2587930" y="200876"/>
                  </a:lnTo>
                  <a:lnTo>
                    <a:pt x="2588032" y="200876"/>
                  </a:lnTo>
                  <a:lnTo>
                    <a:pt x="2588032" y="202260"/>
                  </a:lnTo>
                  <a:lnTo>
                    <a:pt x="2588134" y="202260"/>
                  </a:lnTo>
                  <a:lnTo>
                    <a:pt x="2588134" y="200876"/>
                  </a:lnTo>
                  <a:lnTo>
                    <a:pt x="2588172" y="200876"/>
                  </a:lnTo>
                  <a:lnTo>
                    <a:pt x="2588172" y="198831"/>
                  </a:lnTo>
                  <a:lnTo>
                    <a:pt x="2588273" y="198831"/>
                  </a:lnTo>
                  <a:lnTo>
                    <a:pt x="2588273" y="200228"/>
                  </a:lnTo>
                  <a:lnTo>
                    <a:pt x="2588273" y="198831"/>
                  </a:lnTo>
                  <a:lnTo>
                    <a:pt x="2588273" y="200876"/>
                  </a:lnTo>
                  <a:lnTo>
                    <a:pt x="2588324" y="202260"/>
                  </a:lnTo>
                  <a:lnTo>
                    <a:pt x="2588324" y="199530"/>
                  </a:lnTo>
                  <a:lnTo>
                    <a:pt x="2588324" y="200876"/>
                  </a:lnTo>
                  <a:lnTo>
                    <a:pt x="2588375" y="200876"/>
                  </a:lnTo>
                  <a:lnTo>
                    <a:pt x="2588375" y="200228"/>
                  </a:lnTo>
                  <a:lnTo>
                    <a:pt x="2588375" y="202260"/>
                  </a:lnTo>
                  <a:lnTo>
                    <a:pt x="2588476" y="202260"/>
                  </a:lnTo>
                  <a:lnTo>
                    <a:pt x="2588476" y="200876"/>
                  </a:lnTo>
                  <a:lnTo>
                    <a:pt x="2588476" y="202260"/>
                  </a:lnTo>
                  <a:lnTo>
                    <a:pt x="2588476" y="200876"/>
                  </a:lnTo>
                  <a:lnTo>
                    <a:pt x="2588476" y="202260"/>
                  </a:lnTo>
                  <a:lnTo>
                    <a:pt x="2588527" y="202260"/>
                  </a:lnTo>
                  <a:lnTo>
                    <a:pt x="2588527" y="200876"/>
                  </a:lnTo>
                  <a:lnTo>
                    <a:pt x="2588527" y="202959"/>
                  </a:lnTo>
                  <a:lnTo>
                    <a:pt x="2588527" y="202260"/>
                  </a:lnTo>
                  <a:lnTo>
                    <a:pt x="2588578" y="202260"/>
                  </a:lnTo>
                  <a:lnTo>
                    <a:pt x="2588578" y="200876"/>
                  </a:lnTo>
                  <a:lnTo>
                    <a:pt x="2588578" y="202260"/>
                  </a:lnTo>
                  <a:lnTo>
                    <a:pt x="2588578" y="200876"/>
                  </a:lnTo>
                  <a:lnTo>
                    <a:pt x="2588578" y="202260"/>
                  </a:lnTo>
                  <a:lnTo>
                    <a:pt x="2588578" y="200876"/>
                  </a:lnTo>
                  <a:lnTo>
                    <a:pt x="2588629" y="202260"/>
                  </a:lnTo>
                  <a:lnTo>
                    <a:pt x="2588629" y="199530"/>
                  </a:lnTo>
                  <a:lnTo>
                    <a:pt x="2588629" y="200228"/>
                  </a:lnTo>
                  <a:lnTo>
                    <a:pt x="2588629" y="199530"/>
                  </a:lnTo>
                  <a:lnTo>
                    <a:pt x="2588629" y="200228"/>
                  </a:lnTo>
                  <a:lnTo>
                    <a:pt x="2588718" y="200228"/>
                  </a:lnTo>
                  <a:lnTo>
                    <a:pt x="2588718" y="196799"/>
                  </a:lnTo>
                  <a:lnTo>
                    <a:pt x="2588718" y="197447"/>
                  </a:lnTo>
                  <a:lnTo>
                    <a:pt x="2588769" y="198831"/>
                  </a:lnTo>
                  <a:lnTo>
                    <a:pt x="2588769" y="200228"/>
                  </a:lnTo>
                  <a:lnTo>
                    <a:pt x="2588769" y="196799"/>
                  </a:lnTo>
                  <a:lnTo>
                    <a:pt x="2588769" y="200228"/>
                  </a:lnTo>
                  <a:lnTo>
                    <a:pt x="2588819" y="200228"/>
                  </a:lnTo>
                  <a:lnTo>
                    <a:pt x="2588819" y="198831"/>
                  </a:lnTo>
                  <a:lnTo>
                    <a:pt x="2588819" y="200876"/>
                  </a:lnTo>
                  <a:lnTo>
                    <a:pt x="2588870" y="200876"/>
                  </a:lnTo>
                  <a:lnTo>
                    <a:pt x="2588870" y="199530"/>
                  </a:lnTo>
                  <a:lnTo>
                    <a:pt x="2588870" y="200876"/>
                  </a:lnTo>
                  <a:lnTo>
                    <a:pt x="2588870" y="200228"/>
                  </a:lnTo>
                  <a:lnTo>
                    <a:pt x="2588870" y="200876"/>
                  </a:lnTo>
                  <a:lnTo>
                    <a:pt x="2588870" y="200228"/>
                  </a:lnTo>
                  <a:lnTo>
                    <a:pt x="2588972" y="200228"/>
                  </a:lnTo>
                  <a:lnTo>
                    <a:pt x="2588972" y="200876"/>
                  </a:lnTo>
                  <a:lnTo>
                    <a:pt x="2589022" y="200876"/>
                  </a:lnTo>
                  <a:lnTo>
                    <a:pt x="2589022" y="200228"/>
                  </a:lnTo>
                  <a:lnTo>
                    <a:pt x="2589022" y="200876"/>
                  </a:lnTo>
                  <a:lnTo>
                    <a:pt x="2589073" y="202260"/>
                  </a:lnTo>
                  <a:lnTo>
                    <a:pt x="2589073" y="200876"/>
                  </a:lnTo>
                  <a:lnTo>
                    <a:pt x="2589073" y="202260"/>
                  </a:lnTo>
                  <a:lnTo>
                    <a:pt x="2589073" y="200876"/>
                  </a:lnTo>
                  <a:lnTo>
                    <a:pt x="2589073" y="202260"/>
                  </a:lnTo>
                  <a:lnTo>
                    <a:pt x="2589073" y="200876"/>
                  </a:lnTo>
                  <a:lnTo>
                    <a:pt x="2589175" y="200876"/>
                  </a:lnTo>
                  <a:lnTo>
                    <a:pt x="2589175" y="199530"/>
                  </a:lnTo>
                  <a:lnTo>
                    <a:pt x="2589213" y="199530"/>
                  </a:lnTo>
                  <a:lnTo>
                    <a:pt x="2589213" y="197447"/>
                  </a:lnTo>
                  <a:lnTo>
                    <a:pt x="2589213" y="198831"/>
                  </a:lnTo>
                  <a:lnTo>
                    <a:pt x="2589213" y="196799"/>
                  </a:lnTo>
                  <a:lnTo>
                    <a:pt x="2589264" y="197447"/>
                  </a:lnTo>
                  <a:lnTo>
                    <a:pt x="2589264" y="196799"/>
                  </a:lnTo>
                  <a:lnTo>
                    <a:pt x="2589264" y="197447"/>
                  </a:lnTo>
                  <a:lnTo>
                    <a:pt x="2589264" y="196113"/>
                  </a:lnTo>
                  <a:lnTo>
                    <a:pt x="2589264" y="197447"/>
                  </a:lnTo>
                  <a:lnTo>
                    <a:pt x="2589315" y="198831"/>
                  </a:lnTo>
                  <a:lnTo>
                    <a:pt x="2589315" y="199530"/>
                  </a:lnTo>
                  <a:lnTo>
                    <a:pt x="2589315" y="196799"/>
                  </a:lnTo>
                  <a:lnTo>
                    <a:pt x="2589315" y="197447"/>
                  </a:lnTo>
                  <a:lnTo>
                    <a:pt x="2589315" y="196799"/>
                  </a:lnTo>
                  <a:lnTo>
                    <a:pt x="2589315" y="199530"/>
                  </a:lnTo>
                  <a:lnTo>
                    <a:pt x="2589315" y="198831"/>
                  </a:lnTo>
                  <a:lnTo>
                    <a:pt x="2589416" y="199530"/>
                  </a:lnTo>
                  <a:lnTo>
                    <a:pt x="2589416" y="197447"/>
                  </a:lnTo>
                  <a:lnTo>
                    <a:pt x="2589416" y="199530"/>
                  </a:lnTo>
                  <a:lnTo>
                    <a:pt x="2589416" y="198831"/>
                  </a:lnTo>
                  <a:lnTo>
                    <a:pt x="2589467" y="198831"/>
                  </a:lnTo>
                  <a:lnTo>
                    <a:pt x="2589467" y="199530"/>
                  </a:lnTo>
                  <a:lnTo>
                    <a:pt x="2589467" y="198831"/>
                  </a:lnTo>
                  <a:lnTo>
                    <a:pt x="2589467" y="199530"/>
                  </a:lnTo>
                  <a:lnTo>
                    <a:pt x="2589467" y="198831"/>
                  </a:lnTo>
                  <a:lnTo>
                    <a:pt x="2589467" y="200228"/>
                  </a:lnTo>
                  <a:lnTo>
                    <a:pt x="2589467" y="199530"/>
                  </a:lnTo>
                  <a:lnTo>
                    <a:pt x="2589518" y="199530"/>
                  </a:lnTo>
                  <a:lnTo>
                    <a:pt x="2589518" y="200228"/>
                  </a:lnTo>
                  <a:lnTo>
                    <a:pt x="2589518" y="199530"/>
                  </a:lnTo>
                  <a:lnTo>
                    <a:pt x="2589518" y="200228"/>
                  </a:lnTo>
                  <a:lnTo>
                    <a:pt x="2589518" y="199530"/>
                  </a:lnTo>
                  <a:lnTo>
                    <a:pt x="2589619" y="199530"/>
                  </a:lnTo>
                  <a:lnTo>
                    <a:pt x="2589619" y="200228"/>
                  </a:lnTo>
                  <a:lnTo>
                    <a:pt x="2589619" y="199530"/>
                  </a:lnTo>
                  <a:lnTo>
                    <a:pt x="2589619" y="200228"/>
                  </a:lnTo>
                  <a:lnTo>
                    <a:pt x="2589670" y="200228"/>
                  </a:lnTo>
                  <a:lnTo>
                    <a:pt x="2589670" y="199530"/>
                  </a:lnTo>
                  <a:lnTo>
                    <a:pt x="2589670" y="200228"/>
                  </a:lnTo>
                  <a:lnTo>
                    <a:pt x="2589670" y="198831"/>
                  </a:lnTo>
                  <a:lnTo>
                    <a:pt x="2589670" y="199530"/>
                  </a:lnTo>
                  <a:lnTo>
                    <a:pt x="2589670" y="198831"/>
                  </a:lnTo>
                  <a:lnTo>
                    <a:pt x="2589721" y="198831"/>
                  </a:lnTo>
                  <a:lnTo>
                    <a:pt x="2589721" y="197447"/>
                  </a:lnTo>
                  <a:lnTo>
                    <a:pt x="2589721" y="198831"/>
                  </a:lnTo>
                  <a:lnTo>
                    <a:pt x="2589721" y="196799"/>
                  </a:lnTo>
                  <a:lnTo>
                    <a:pt x="2589721" y="197447"/>
                  </a:lnTo>
                  <a:lnTo>
                    <a:pt x="2589721" y="196799"/>
                  </a:lnTo>
                  <a:lnTo>
                    <a:pt x="2589721" y="197447"/>
                  </a:lnTo>
                  <a:lnTo>
                    <a:pt x="2589759" y="197447"/>
                  </a:lnTo>
                  <a:lnTo>
                    <a:pt x="2589759" y="196799"/>
                  </a:lnTo>
                  <a:lnTo>
                    <a:pt x="2589759" y="198831"/>
                  </a:lnTo>
                  <a:lnTo>
                    <a:pt x="2589861" y="199530"/>
                  </a:lnTo>
                  <a:lnTo>
                    <a:pt x="2589861" y="197447"/>
                  </a:lnTo>
                  <a:lnTo>
                    <a:pt x="2589861" y="198831"/>
                  </a:lnTo>
                  <a:lnTo>
                    <a:pt x="2589912" y="198831"/>
                  </a:lnTo>
                  <a:lnTo>
                    <a:pt x="2589912" y="199530"/>
                  </a:lnTo>
                  <a:lnTo>
                    <a:pt x="2589912" y="198831"/>
                  </a:lnTo>
                  <a:lnTo>
                    <a:pt x="2589912" y="199530"/>
                  </a:lnTo>
                  <a:lnTo>
                    <a:pt x="2589912" y="198831"/>
                  </a:lnTo>
                  <a:lnTo>
                    <a:pt x="2589912" y="199530"/>
                  </a:lnTo>
                  <a:lnTo>
                    <a:pt x="2589912" y="198831"/>
                  </a:lnTo>
                  <a:lnTo>
                    <a:pt x="2589912" y="199530"/>
                  </a:lnTo>
                  <a:lnTo>
                    <a:pt x="2589962" y="199530"/>
                  </a:lnTo>
                  <a:lnTo>
                    <a:pt x="2589962" y="198831"/>
                  </a:lnTo>
                  <a:lnTo>
                    <a:pt x="2589962" y="199530"/>
                  </a:lnTo>
                  <a:lnTo>
                    <a:pt x="2589962" y="198831"/>
                  </a:lnTo>
                  <a:lnTo>
                    <a:pt x="2589962" y="199530"/>
                  </a:lnTo>
                  <a:lnTo>
                    <a:pt x="2589962" y="198831"/>
                  </a:lnTo>
                  <a:lnTo>
                    <a:pt x="2589962" y="199530"/>
                  </a:lnTo>
                  <a:lnTo>
                    <a:pt x="2590064" y="199530"/>
                  </a:lnTo>
                  <a:lnTo>
                    <a:pt x="2590064" y="200228"/>
                  </a:lnTo>
                  <a:lnTo>
                    <a:pt x="2590064" y="199530"/>
                  </a:lnTo>
                  <a:lnTo>
                    <a:pt x="2590064" y="200228"/>
                  </a:lnTo>
                  <a:lnTo>
                    <a:pt x="2590115" y="200228"/>
                  </a:lnTo>
                  <a:lnTo>
                    <a:pt x="2590115" y="200876"/>
                  </a:lnTo>
                  <a:lnTo>
                    <a:pt x="2590115" y="200228"/>
                  </a:lnTo>
                  <a:lnTo>
                    <a:pt x="2590115" y="200876"/>
                  </a:lnTo>
                  <a:lnTo>
                    <a:pt x="2590115" y="200228"/>
                  </a:lnTo>
                  <a:lnTo>
                    <a:pt x="2590165" y="200228"/>
                  </a:lnTo>
                  <a:lnTo>
                    <a:pt x="2590165" y="199530"/>
                  </a:lnTo>
                  <a:lnTo>
                    <a:pt x="2590216" y="199530"/>
                  </a:lnTo>
                  <a:lnTo>
                    <a:pt x="2590216" y="198831"/>
                  </a:lnTo>
                  <a:lnTo>
                    <a:pt x="2590216" y="199530"/>
                  </a:lnTo>
                  <a:lnTo>
                    <a:pt x="2590216" y="196799"/>
                  </a:lnTo>
                  <a:lnTo>
                    <a:pt x="2590216" y="197447"/>
                  </a:lnTo>
                  <a:lnTo>
                    <a:pt x="2590305" y="198831"/>
                  </a:lnTo>
                  <a:lnTo>
                    <a:pt x="2590305" y="199530"/>
                  </a:lnTo>
                  <a:lnTo>
                    <a:pt x="2590305" y="196799"/>
                  </a:lnTo>
                  <a:lnTo>
                    <a:pt x="2590305" y="200228"/>
                  </a:lnTo>
                  <a:lnTo>
                    <a:pt x="2590356" y="200228"/>
                  </a:lnTo>
                  <a:lnTo>
                    <a:pt x="2590356" y="198831"/>
                  </a:lnTo>
                  <a:lnTo>
                    <a:pt x="2590356" y="199530"/>
                  </a:lnTo>
                  <a:lnTo>
                    <a:pt x="2590407" y="199530"/>
                  </a:lnTo>
                  <a:lnTo>
                    <a:pt x="2590407" y="198831"/>
                  </a:lnTo>
                  <a:lnTo>
                    <a:pt x="2590407" y="199530"/>
                  </a:lnTo>
                  <a:lnTo>
                    <a:pt x="2590407" y="198831"/>
                  </a:lnTo>
                  <a:lnTo>
                    <a:pt x="2590407" y="200228"/>
                  </a:lnTo>
                  <a:lnTo>
                    <a:pt x="2590458" y="199530"/>
                  </a:lnTo>
                  <a:lnTo>
                    <a:pt x="2590458" y="198831"/>
                  </a:lnTo>
                  <a:lnTo>
                    <a:pt x="2590458" y="200228"/>
                  </a:lnTo>
                  <a:lnTo>
                    <a:pt x="2590559" y="200228"/>
                  </a:lnTo>
                  <a:lnTo>
                    <a:pt x="2590559" y="199530"/>
                  </a:lnTo>
                  <a:lnTo>
                    <a:pt x="2590559" y="200228"/>
                  </a:lnTo>
                  <a:lnTo>
                    <a:pt x="2590559" y="199530"/>
                  </a:lnTo>
                  <a:lnTo>
                    <a:pt x="2590559" y="200228"/>
                  </a:lnTo>
                  <a:lnTo>
                    <a:pt x="2590610" y="200228"/>
                  </a:lnTo>
                  <a:lnTo>
                    <a:pt x="2590610" y="199530"/>
                  </a:lnTo>
                  <a:lnTo>
                    <a:pt x="2590610" y="200228"/>
                  </a:lnTo>
                  <a:lnTo>
                    <a:pt x="2590610" y="199530"/>
                  </a:lnTo>
                  <a:lnTo>
                    <a:pt x="2590610" y="200228"/>
                  </a:lnTo>
                  <a:lnTo>
                    <a:pt x="2590610" y="199530"/>
                  </a:lnTo>
                  <a:lnTo>
                    <a:pt x="2590661" y="199530"/>
                  </a:lnTo>
                  <a:lnTo>
                    <a:pt x="2590661" y="197447"/>
                  </a:lnTo>
                  <a:lnTo>
                    <a:pt x="2590661" y="198831"/>
                  </a:lnTo>
                  <a:lnTo>
                    <a:pt x="2590762" y="197447"/>
                  </a:lnTo>
                  <a:lnTo>
                    <a:pt x="2590762" y="196113"/>
                  </a:lnTo>
                  <a:lnTo>
                    <a:pt x="2590762" y="198831"/>
                  </a:lnTo>
                  <a:lnTo>
                    <a:pt x="2590800" y="198831"/>
                  </a:lnTo>
                  <a:lnTo>
                    <a:pt x="2590800" y="196799"/>
                  </a:lnTo>
                  <a:lnTo>
                    <a:pt x="2590800" y="199530"/>
                  </a:lnTo>
                  <a:lnTo>
                    <a:pt x="2590851" y="199530"/>
                  </a:lnTo>
                  <a:lnTo>
                    <a:pt x="2590851" y="200228"/>
                  </a:lnTo>
                  <a:lnTo>
                    <a:pt x="2590851" y="198831"/>
                  </a:lnTo>
                  <a:lnTo>
                    <a:pt x="2590851" y="199530"/>
                  </a:lnTo>
                  <a:lnTo>
                    <a:pt x="2590902" y="199530"/>
                  </a:lnTo>
                  <a:lnTo>
                    <a:pt x="2590902" y="198831"/>
                  </a:lnTo>
                  <a:lnTo>
                    <a:pt x="2590902" y="199530"/>
                  </a:lnTo>
                  <a:lnTo>
                    <a:pt x="2591004" y="199530"/>
                  </a:lnTo>
                  <a:lnTo>
                    <a:pt x="2591004" y="198831"/>
                  </a:lnTo>
                  <a:lnTo>
                    <a:pt x="2591004" y="200228"/>
                  </a:lnTo>
                  <a:lnTo>
                    <a:pt x="2591004" y="199530"/>
                  </a:lnTo>
                  <a:lnTo>
                    <a:pt x="2591004" y="200228"/>
                  </a:lnTo>
                  <a:lnTo>
                    <a:pt x="2591055" y="200228"/>
                  </a:lnTo>
                  <a:lnTo>
                    <a:pt x="2591055" y="199530"/>
                  </a:lnTo>
                  <a:lnTo>
                    <a:pt x="2591055" y="200228"/>
                  </a:lnTo>
                  <a:lnTo>
                    <a:pt x="2591055" y="199530"/>
                  </a:lnTo>
                  <a:lnTo>
                    <a:pt x="2591055" y="200228"/>
                  </a:lnTo>
                  <a:lnTo>
                    <a:pt x="2591105" y="200228"/>
                  </a:lnTo>
                  <a:lnTo>
                    <a:pt x="2591105" y="199530"/>
                  </a:lnTo>
                  <a:lnTo>
                    <a:pt x="2591105" y="200876"/>
                  </a:lnTo>
                  <a:lnTo>
                    <a:pt x="2591105" y="200228"/>
                  </a:lnTo>
                  <a:lnTo>
                    <a:pt x="2591105" y="200876"/>
                  </a:lnTo>
                  <a:lnTo>
                    <a:pt x="2591105" y="200228"/>
                  </a:lnTo>
                  <a:lnTo>
                    <a:pt x="2591105" y="200876"/>
                  </a:lnTo>
                  <a:lnTo>
                    <a:pt x="2591105" y="200228"/>
                  </a:lnTo>
                  <a:lnTo>
                    <a:pt x="2591207" y="200228"/>
                  </a:lnTo>
                  <a:lnTo>
                    <a:pt x="2591207" y="200876"/>
                  </a:lnTo>
                  <a:lnTo>
                    <a:pt x="2591207" y="199530"/>
                  </a:lnTo>
                  <a:lnTo>
                    <a:pt x="2591258" y="199530"/>
                  </a:lnTo>
                  <a:lnTo>
                    <a:pt x="2591258" y="196113"/>
                  </a:lnTo>
                  <a:lnTo>
                    <a:pt x="2591258" y="200228"/>
                  </a:lnTo>
                  <a:lnTo>
                    <a:pt x="2591258" y="199530"/>
                  </a:lnTo>
                  <a:lnTo>
                    <a:pt x="2591309" y="198831"/>
                  </a:lnTo>
                  <a:lnTo>
                    <a:pt x="2591309" y="197447"/>
                  </a:lnTo>
                  <a:lnTo>
                    <a:pt x="2591309" y="200876"/>
                  </a:lnTo>
                  <a:lnTo>
                    <a:pt x="2591309" y="199530"/>
                  </a:lnTo>
                  <a:lnTo>
                    <a:pt x="2591347" y="199530"/>
                  </a:lnTo>
                  <a:lnTo>
                    <a:pt x="2591347" y="198831"/>
                  </a:lnTo>
                  <a:lnTo>
                    <a:pt x="2591347" y="200228"/>
                  </a:lnTo>
                  <a:lnTo>
                    <a:pt x="2591448" y="200228"/>
                  </a:lnTo>
                  <a:lnTo>
                    <a:pt x="2591448" y="199530"/>
                  </a:lnTo>
                  <a:lnTo>
                    <a:pt x="2591448" y="200876"/>
                  </a:lnTo>
                  <a:lnTo>
                    <a:pt x="2591448" y="200228"/>
                  </a:lnTo>
                  <a:lnTo>
                    <a:pt x="2591499" y="200228"/>
                  </a:lnTo>
                  <a:lnTo>
                    <a:pt x="2591499" y="200876"/>
                  </a:lnTo>
                  <a:lnTo>
                    <a:pt x="2591499" y="200228"/>
                  </a:lnTo>
                  <a:lnTo>
                    <a:pt x="2591550" y="200228"/>
                  </a:lnTo>
                  <a:lnTo>
                    <a:pt x="2591550" y="200876"/>
                  </a:lnTo>
                  <a:lnTo>
                    <a:pt x="2591550" y="200228"/>
                  </a:lnTo>
                  <a:lnTo>
                    <a:pt x="2591550" y="200876"/>
                  </a:lnTo>
                  <a:lnTo>
                    <a:pt x="2591550" y="200228"/>
                  </a:lnTo>
                  <a:lnTo>
                    <a:pt x="2591651" y="200228"/>
                  </a:lnTo>
                  <a:lnTo>
                    <a:pt x="2591651" y="199530"/>
                  </a:lnTo>
                  <a:lnTo>
                    <a:pt x="2591702" y="199530"/>
                  </a:lnTo>
                  <a:lnTo>
                    <a:pt x="2591702" y="197447"/>
                  </a:lnTo>
                  <a:lnTo>
                    <a:pt x="2591753" y="197447"/>
                  </a:lnTo>
                  <a:lnTo>
                    <a:pt x="2591753" y="198831"/>
                  </a:lnTo>
                  <a:lnTo>
                    <a:pt x="2591753" y="196113"/>
                  </a:lnTo>
                  <a:lnTo>
                    <a:pt x="2591753" y="196799"/>
                  </a:lnTo>
                  <a:lnTo>
                    <a:pt x="2591753" y="196113"/>
                  </a:lnTo>
                  <a:lnTo>
                    <a:pt x="2591753" y="197447"/>
                  </a:lnTo>
                  <a:lnTo>
                    <a:pt x="2591804" y="197447"/>
                  </a:lnTo>
                  <a:lnTo>
                    <a:pt x="2591804" y="196113"/>
                  </a:lnTo>
                  <a:lnTo>
                    <a:pt x="2591804" y="199530"/>
                  </a:lnTo>
                  <a:lnTo>
                    <a:pt x="2591893" y="198831"/>
                  </a:lnTo>
                  <a:lnTo>
                    <a:pt x="2591893" y="197447"/>
                  </a:lnTo>
                  <a:lnTo>
                    <a:pt x="2591893" y="199530"/>
                  </a:lnTo>
                  <a:lnTo>
                    <a:pt x="2591944" y="199530"/>
                  </a:lnTo>
                  <a:lnTo>
                    <a:pt x="2591944" y="198831"/>
                  </a:lnTo>
                  <a:lnTo>
                    <a:pt x="2591944" y="199530"/>
                  </a:lnTo>
                  <a:lnTo>
                    <a:pt x="2591944" y="198831"/>
                  </a:lnTo>
                  <a:lnTo>
                    <a:pt x="2591944" y="200228"/>
                  </a:lnTo>
                  <a:lnTo>
                    <a:pt x="2591944" y="199530"/>
                  </a:lnTo>
                  <a:lnTo>
                    <a:pt x="2591994" y="199530"/>
                  </a:lnTo>
                  <a:lnTo>
                    <a:pt x="2591994" y="200228"/>
                  </a:lnTo>
                  <a:lnTo>
                    <a:pt x="2591994" y="199530"/>
                  </a:lnTo>
                  <a:lnTo>
                    <a:pt x="2591994" y="200228"/>
                  </a:lnTo>
                  <a:lnTo>
                    <a:pt x="2592045" y="200876"/>
                  </a:lnTo>
                  <a:lnTo>
                    <a:pt x="2592045" y="200228"/>
                  </a:lnTo>
                  <a:lnTo>
                    <a:pt x="2592147" y="200228"/>
                  </a:lnTo>
                  <a:lnTo>
                    <a:pt x="2592147" y="200876"/>
                  </a:lnTo>
                  <a:lnTo>
                    <a:pt x="2592147" y="200228"/>
                  </a:lnTo>
                  <a:lnTo>
                    <a:pt x="2592147" y="200876"/>
                  </a:lnTo>
                  <a:lnTo>
                    <a:pt x="2592197" y="200876"/>
                  </a:lnTo>
                  <a:lnTo>
                    <a:pt x="2592197" y="199530"/>
                  </a:lnTo>
                  <a:lnTo>
                    <a:pt x="2592197" y="200228"/>
                  </a:lnTo>
                  <a:lnTo>
                    <a:pt x="2592197" y="198831"/>
                  </a:lnTo>
                  <a:lnTo>
                    <a:pt x="2592248" y="198831"/>
                  </a:lnTo>
                  <a:lnTo>
                    <a:pt x="2592248" y="196799"/>
                  </a:lnTo>
                  <a:lnTo>
                    <a:pt x="2592248" y="198831"/>
                  </a:lnTo>
                  <a:lnTo>
                    <a:pt x="2592248" y="197447"/>
                  </a:lnTo>
                  <a:lnTo>
                    <a:pt x="2592350" y="197447"/>
                  </a:lnTo>
                  <a:lnTo>
                    <a:pt x="2592350" y="196799"/>
                  </a:lnTo>
                  <a:lnTo>
                    <a:pt x="2592350" y="199530"/>
                  </a:lnTo>
                  <a:lnTo>
                    <a:pt x="2592350" y="198831"/>
                  </a:lnTo>
                  <a:lnTo>
                    <a:pt x="2592388" y="198831"/>
                  </a:lnTo>
                  <a:lnTo>
                    <a:pt x="2592388" y="196799"/>
                  </a:lnTo>
                  <a:lnTo>
                    <a:pt x="2592388" y="199530"/>
                  </a:lnTo>
                  <a:lnTo>
                    <a:pt x="2592388" y="198831"/>
                  </a:lnTo>
                  <a:lnTo>
                    <a:pt x="2592388" y="199530"/>
                  </a:lnTo>
                  <a:lnTo>
                    <a:pt x="2592439" y="199530"/>
                  </a:lnTo>
                  <a:lnTo>
                    <a:pt x="2592439" y="198831"/>
                  </a:lnTo>
                  <a:lnTo>
                    <a:pt x="2592439" y="199530"/>
                  </a:lnTo>
                  <a:lnTo>
                    <a:pt x="2592439" y="198831"/>
                  </a:lnTo>
                  <a:lnTo>
                    <a:pt x="2592439" y="199530"/>
                  </a:lnTo>
                  <a:lnTo>
                    <a:pt x="2592490" y="199530"/>
                  </a:lnTo>
                  <a:lnTo>
                    <a:pt x="2592490" y="200228"/>
                  </a:lnTo>
                  <a:lnTo>
                    <a:pt x="2592490" y="199530"/>
                  </a:lnTo>
                  <a:lnTo>
                    <a:pt x="2592490" y="200228"/>
                  </a:lnTo>
                  <a:lnTo>
                    <a:pt x="2592591" y="200228"/>
                  </a:lnTo>
                  <a:lnTo>
                    <a:pt x="2592591" y="200876"/>
                  </a:lnTo>
                  <a:lnTo>
                    <a:pt x="2592591" y="200228"/>
                  </a:lnTo>
                  <a:lnTo>
                    <a:pt x="2592591" y="200876"/>
                  </a:lnTo>
                  <a:lnTo>
                    <a:pt x="2592591" y="200228"/>
                  </a:lnTo>
                  <a:lnTo>
                    <a:pt x="2592642" y="200228"/>
                  </a:lnTo>
                  <a:lnTo>
                    <a:pt x="2592642" y="200876"/>
                  </a:lnTo>
                  <a:lnTo>
                    <a:pt x="2592642" y="200228"/>
                  </a:lnTo>
                  <a:lnTo>
                    <a:pt x="2592693" y="200228"/>
                  </a:lnTo>
                  <a:lnTo>
                    <a:pt x="2592693" y="199530"/>
                  </a:lnTo>
                  <a:lnTo>
                    <a:pt x="2592693" y="200228"/>
                  </a:lnTo>
                  <a:lnTo>
                    <a:pt x="2592693" y="199530"/>
                  </a:lnTo>
                  <a:lnTo>
                    <a:pt x="2592693" y="200228"/>
                  </a:lnTo>
                  <a:lnTo>
                    <a:pt x="2592693" y="198831"/>
                  </a:lnTo>
                  <a:lnTo>
                    <a:pt x="2592693" y="199530"/>
                  </a:lnTo>
                  <a:lnTo>
                    <a:pt x="2592693" y="198831"/>
                  </a:lnTo>
                  <a:lnTo>
                    <a:pt x="2592794" y="198831"/>
                  </a:lnTo>
                  <a:lnTo>
                    <a:pt x="2592794" y="200876"/>
                  </a:lnTo>
                  <a:lnTo>
                    <a:pt x="2592794" y="198831"/>
                  </a:lnTo>
                  <a:lnTo>
                    <a:pt x="2592794" y="200228"/>
                  </a:lnTo>
                  <a:lnTo>
                    <a:pt x="2592845" y="200876"/>
                  </a:lnTo>
                  <a:lnTo>
                    <a:pt x="2592845" y="202260"/>
                  </a:lnTo>
                  <a:lnTo>
                    <a:pt x="2592845" y="200228"/>
                  </a:lnTo>
                  <a:lnTo>
                    <a:pt x="2592845" y="200876"/>
                  </a:lnTo>
                  <a:lnTo>
                    <a:pt x="2592896" y="202260"/>
                  </a:lnTo>
                  <a:lnTo>
                    <a:pt x="2592896" y="202959"/>
                  </a:lnTo>
                  <a:lnTo>
                    <a:pt x="2592896" y="200876"/>
                  </a:lnTo>
                  <a:lnTo>
                    <a:pt x="2592934" y="200876"/>
                  </a:lnTo>
                  <a:lnTo>
                    <a:pt x="2592934" y="202260"/>
                  </a:lnTo>
                  <a:lnTo>
                    <a:pt x="2592934" y="200876"/>
                  </a:lnTo>
                  <a:lnTo>
                    <a:pt x="2593036" y="200876"/>
                  </a:lnTo>
                  <a:lnTo>
                    <a:pt x="2593036" y="202260"/>
                  </a:lnTo>
                  <a:lnTo>
                    <a:pt x="2593036" y="200876"/>
                  </a:lnTo>
                  <a:lnTo>
                    <a:pt x="2593036" y="202260"/>
                  </a:lnTo>
                  <a:lnTo>
                    <a:pt x="2593036" y="200876"/>
                  </a:lnTo>
                  <a:lnTo>
                    <a:pt x="2593087" y="200876"/>
                  </a:lnTo>
                  <a:lnTo>
                    <a:pt x="2593087" y="200228"/>
                  </a:lnTo>
                  <a:lnTo>
                    <a:pt x="2593087" y="200876"/>
                  </a:lnTo>
                  <a:lnTo>
                    <a:pt x="2593137" y="200876"/>
                  </a:lnTo>
                  <a:lnTo>
                    <a:pt x="2593137" y="200228"/>
                  </a:lnTo>
                  <a:lnTo>
                    <a:pt x="2593137" y="200876"/>
                  </a:lnTo>
                  <a:lnTo>
                    <a:pt x="2593137" y="199530"/>
                  </a:lnTo>
                  <a:lnTo>
                    <a:pt x="2593239" y="200228"/>
                  </a:lnTo>
                  <a:lnTo>
                    <a:pt x="2593239" y="200876"/>
                  </a:lnTo>
                  <a:lnTo>
                    <a:pt x="2593239" y="197447"/>
                  </a:lnTo>
                  <a:lnTo>
                    <a:pt x="2593239" y="200876"/>
                  </a:lnTo>
                  <a:lnTo>
                    <a:pt x="2593290" y="200876"/>
                  </a:lnTo>
                  <a:lnTo>
                    <a:pt x="2593290" y="198831"/>
                  </a:lnTo>
                  <a:lnTo>
                    <a:pt x="2593290" y="202260"/>
                  </a:lnTo>
                  <a:lnTo>
                    <a:pt x="2593340" y="202959"/>
                  </a:lnTo>
                  <a:lnTo>
                    <a:pt x="2593340" y="200876"/>
                  </a:lnTo>
                  <a:lnTo>
                    <a:pt x="2593340" y="202959"/>
                  </a:lnTo>
                  <a:lnTo>
                    <a:pt x="2593340" y="202260"/>
                  </a:lnTo>
                  <a:lnTo>
                    <a:pt x="2593391" y="202260"/>
                  </a:lnTo>
                  <a:lnTo>
                    <a:pt x="2593391" y="200876"/>
                  </a:lnTo>
                  <a:lnTo>
                    <a:pt x="2593391" y="202260"/>
                  </a:lnTo>
                  <a:lnTo>
                    <a:pt x="2593391" y="200876"/>
                  </a:lnTo>
                  <a:lnTo>
                    <a:pt x="2593391" y="202260"/>
                  </a:lnTo>
                  <a:lnTo>
                    <a:pt x="2593480" y="202260"/>
                  </a:lnTo>
                  <a:lnTo>
                    <a:pt x="2593480" y="200876"/>
                  </a:lnTo>
                  <a:lnTo>
                    <a:pt x="2593480" y="202260"/>
                  </a:lnTo>
                  <a:lnTo>
                    <a:pt x="2593531" y="202260"/>
                  </a:lnTo>
                  <a:lnTo>
                    <a:pt x="2593582" y="200876"/>
                  </a:lnTo>
                  <a:lnTo>
                    <a:pt x="2593582" y="202260"/>
                  </a:lnTo>
                  <a:lnTo>
                    <a:pt x="2593582" y="200228"/>
                  </a:lnTo>
                  <a:lnTo>
                    <a:pt x="2593633" y="200228"/>
                  </a:lnTo>
                  <a:lnTo>
                    <a:pt x="2593633" y="199530"/>
                  </a:lnTo>
                  <a:lnTo>
                    <a:pt x="2593633" y="200228"/>
                  </a:lnTo>
                  <a:lnTo>
                    <a:pt x="2593633" y="199530"/>
                  </a:lnTo>
                  <a:lnTo>
                    <a:pt x="2593633" y="200228"/>
                  </a:lnTo>
                  <a:lnTo>
                    <a:pt x="2593734" y="199530"/>
                  </a:lnTo>
                  <a:lnTo>
                    <a:pt x="2593734" y="198831"/>
                  </a:lnTo>
                  <a:lnTo>
                    <a:pt x="2593734" y="200228"/>
                  </a:lnTo>
                  <a:lnTo>
                    <a:pt x="2593734" y="199530"/>
                  </a:lnTo>
                  <a:lnTo>
                    <a:pt x="2593734" y="200228"/>
                  </a:lnTo>
                  <a:lnTo>
                    <a:pt x="2593734" y="199530"/>
                  </a:lnTo>
                  <a:lnTo>
                    <a:pt x="2593785" y="198831"/>
                  </a:lnTo>
                  <a:lnTo>
                    <a:pt x="2593785" y="200876"/>
                  </a:lnTo>
                  <a:lnTo>
                    <a:pt x="2593785" y="200228"/>
                  </a:lnTo>
                  <a:lnTo>
                    <a:pt x="2593785" y="200876"/>
                  </a:lnTo>
                  <a:lnTo>
                    <a:pt x="2593785" y="200228"/>
                  </a:lnTo>
                  <a:lnTo>
                    <a:pt x="2593836" y="200876"/>
                  </a:lnTo>
                  <a:lnTo>
                    <a:pt x="2593836" y="202260"/>
                  </a:lnTo>
                  <a:lnTo>
                    <a:pt x="2593836" y="200876"/>
                  </a:lnTo>
                  <a:lnTo>
                    <a:pt x="2593836" y="202260"/>
                  </a:lnTo>
                  <a:lnTo>
                    <a:pt x="2593836" y="200876"/>
                  </a:lnTo>
                  <a:lnTo>
                    <a:pt x="2593836" y="202260"/>
                  </a:lnTo>
                  <a:lnTo>
                    <a:pt x="2593937" y="202260"/>
                  </a:lnTo>
                  <a:lnTo>
                    <a:pt x="2593937" y="202959"/>
                  </a:lnTo>
                  <a:lnTo>
                    <a:pt x="2593937" y="202260"/>
                  </a:lnTo>
                  <a:lnTo>
                    <a:pt x="2593937" y="202959"/>
                  </a:lnTo>
                  <a:lnTo>
                    <a:pt x="2593975" y="202959"/>
                  </a:lnTo>
                  <a:lnTo>
                    <a:pt x="2593975" y="202260"/>
                  </a:lnTo>
                  <a:lnTo>
                    <a:pt x="2593975" y="202959"/>
                  </a:lnTo>
                  <a:lnTo>
                    <a:pt x="2593975" y="202260"/>
                  </a:lnTo>
                  <a:lnTo>
                    <a:pt x="2593975" y="202959"/>
                  </a:lnTo>
                  <a:lnTo>
                    <a:pt x="2593975" y="202260"/>
                  </a:lnTo>
                  <a:lnTo>
                    <a:pt x="2593975" y="202959"/>
                  </a:lnTo>
                  <a:lnTo>
                    <a:pt x="2594026" y="202959"/>
                  </a:lnTo>
                  <a:lnTo>
                    <a:pt x="2594026" y="202260"/>
                  </a:lnTo>
                  <a:lnTo>
                    <a:pt x="2594026" y="202959"/>
                  </a:lnTo>
                  <a:lnTo>
                    <a:pt x="2594026" y="202260"/>
                  </a:lnTo>
                  <a:lnTo>
                    <a:pt x="2594026" y="202959"/>
                  </a:lnTo>
                  <a:lnTo>
                    <a:pt x="2594026" y="202260"/>
                  </a:lnTo>
                  <a:lnTo>
                    <a:pt x="2594077" y="202260"/>
                  </a:lnTo>
                  <a:lnTo>
                    <a:pt x="2594077" y="200876"/>
                  </a:lnTo>
                  <a:lnTo>
                    <a:pt x="2594077" y="202260"/>
                  </a:lnTo>
                  <a:lnTo>
                    <a:pt x="2594077" y="200876"/>
                  </a:lnTo>
                  <a:lnTo>
                    <a:pt x="2594077" y="202260"/>
                  </a:lnTo>
                  <a:lnTo>
                    <a:pt x="2594077" y="200228"/>
                  </a:lnTo>
                  <a:lnTo>
                    <a:pt x="2594179" y="200228"/>
                  </a:lnTo>
                  <a:lnTo>
                    <a:pt x="2594179" y="199530"/>
                  </a:lnTo>
                  <a:lnTo>
                    <a:pt x="2594179" y="200228"/>
                  </a:lnTo>
                  <a:lnTo>
                    <a:pt x="2594179" y="199530"/>
                  </a:lnTo>
                  <a:lnTo>
                    <a:pt x="2594179" y="200876"/>
                  </a:lnTo>
                  <a:lnTo>
                    <a:pt x="2594230" y="200876"/>
                  </a:lnTo>
                  <a:lnTo>
                    <a:pt x="2594230" y="199530"/>
                  </a:lnTo>
                  <a:lnTo>
                    <a:pt x="2594230" y="202260"/>
                  </a:lnTo>
                  <a:lnTo>
                    <a:pt x="2594280" y="202260"/>
                  </a:lnTo>
                  <a:lnTo>
                    <a:pt x="2594280" y="200876"/>
                  </a:lnTo>
                  <a:lnTo>
                    <a:pt x="2594280" y="202260"/>
                  </a:lnTo>
                  <a:lnTo>
                    <a:pt x="2594280" y="200876"/>
                  </a:lnTo>
                  <a:lnTo>
                    <a:pt x="2594280" y="202260"/>
                  </a:lnTo>
                  <a:lnTo>
                    <a:pt x="2594280" y="200876"/>
                  </a:lnTo>
                  <a:lnTo>
                    <a:pt x="2594280" y="202260"/>
                  </a:lnTo>
                  <a:lnTo>
                    <a:pt x="2594382" y="202260"/>
                  </a:lnTo>
                  <a:lnTo>
                    <a:pt x="2594382" y="200876"/>
                  </a:lnTo>
                  <a:lnTo>
                    <a:pt x="2594382" y="202959"/>
                  </a:lnTo>
                  <a:lnTo>
                    <a:pt x="2594382" y="202260"/>
                  </a:lnTo>
                  <a:lnTo>
                    <a:pt x="2594433" y="202260"/>
                  </a:lnTo>
                  <a:lnTo>
                    <a:pt x="2594433" y="200876"/>
                  </a:lnTo>
                  <a:lnTo>
                    <a:pt x="2594433" y="202959"/>
                  </a:lnTo>
                  <a:lnTo>
                    <a:pt x="2594433" y="202260"/>
                  </a:lnTo>
                  <a:lnTo>
                    <a:pt x="2594433" y="202959"/>
                  </a:lnTo>
                  <a:lnTo>
                    <a:pt x="2594433" y="202260"/>
                  </a:lnTo>
                  <a:lnTo>
                    <a:pt x="2594433" y="202959"/>
                  </a:lnTo>
                  <a:lnTo>
                    <a:pt x="2594484" y="202260"/>
                  </a:lnTo>
                  <a:lnTo>
                    <a:pt x="2594484" y="202959"/>
                  </a:lnTo>
                  <a:lnTo>
                    <a:pt x="2594484" y="202260"/>
                  </a:lnTo>
                  <a:lnTo>
                    <a:pt x="2594484" y="202959"/>
                  </a:lnTo>
                  <a:lnTo>
                    <a:pt x="2594484" y="202260"/>
                  </a:lnTo>
                  <a:lnTo>
                    <a:pt x="2594484" y="202959"/>
                  </a:lnTo>
                  <a:lnTo>
                    <a:pt x="2594484" y="202260"/>
                  </a:lnTo>
                  <a:lnTo>
                    <a:pt x="2594484" y="202959"/>
                  </a:lnTo>
                  <a:lnTo>
                    <a:pt x="2594484" y="202260"/>
                  </a:lnTo>
                  <a:lnTo>
                    <a:pt x="2594484" y="202959"/>
                  </a:lnTo>
                  <a:lnTo>
                    <a:pt x="2594522" y="202260"/>
                  </a:lnTo>
                  <a:lnTo>
                    <a:pt x="2594522" y="202959"/>
                  </a:lnTo>
                  <a:lnTo>
                    <a:pt x="2594522" y="202260"/>
                  </a:lnTo>
                  <a:lnTo>
                    <a:pt x="2594623" y="200876"/>
                  </a:lnTo>
                  <a:lnTo>
                    <a:pt x="2594623" y="202260"/>
                  </a:lnTo>
                  <a:lnTo>
                    <a:pt x="2594623" y="200876"/>
                  </a:lnTo>
                  <a:lnTo>
                    <a:pt x="2594623" y="202260"/>
                  </a:lnTo>
                  <a:lnTo>
                    <a:pt x="2594623" y="199530"/>
                  </a:lnTo>
                  <a:lnTo>
                    <a:pt x="2594623" y="200228"/>
                  </a:lnTo>
                  <a:lnTo>
                    <a:pt x="2594623" y="199530"/>
                  </a:lnTo>
                  <a:lnTo>
                    <a:pt x="2594674" y="199530"/>
                  </a:lnTo>
                  <a:lnTo>
                    <a:pt x="2594674" y="197447"/>
                  </a:lnTo>
                  <a:lnTo>
                    <a:pt x="2594674" y="199530"/>
                  </a:lnTo>
                  <a:lnTo>
                    <a:pt x="2594725" y="199530"/>
                  </a:lnTo>
                  <a:lnTo>
                    <a:pt x="2594725" y="197447"/>
                  </a:lnTo>
                  <a:lnTo>
                    <a:pt x="2594725" y="200876"/>
                  </a:lnTo>
                  <a:lnTo>
                    <a:pt x="2594725" y="199530"/>
                  </a:lnTo>
                  <a:lnTo>
                    <a:pt x="2594826" y="200228"/>
                  </a:lnTo>
                  <a:lnTo>
                    <a:pt x="2594826" y="199530"/>
                  </a:lnTo>
                  <a:lnTo>
                    <a:pt x="2594826" y="200876"/>
                  </a:lnTo>
                  <a:lnTo>
                    <a:pt x="2594877" y="200876"/>
                  </a:lnTo>
                  <a:lnTo>
                    <a:pt x="2594877" y="202260"/>
                  </a:lnTo>
                  <a:lnTo>
                    <a:pt x="2594877" y="200876"/>
                  </a:lnTo>
                  <a:lnTo>
                    <a:pt x="2594928" y="200876"/>
                  </a:lnTo>
                  <a:lnTo>
                    <a:pt x="2594928" y="202959"/>
                  </a:lnTo>
                  <a:lnTo>
                    <a:pt x="2594928" y="200876"/>
                  </a:lnTo>
                  <a:lnTo>
                    <a:pt x="2594979" y="200876"/>
                  </a:lnTo>
                  <a:lnTo>
                    <a:pt x="2594979" y="202959"/>
                  </a:lnTo>
                  <a:lnTo>
                    <a:pt x="2594979" y="202260"/>
                  </a:lnTo>
                  <a:lnTo>
                    <a:pt x="2595068" y="202260"/>
                  </a:lnTo>
                  <a:lnTo>
                    <a:pt x="2595068" y="200876"/>
                  </a:lnTo>
                  <a:lnTo>
                    <a:pt x="2595119" y="200876"/>
                  </a:lnTo>
                  <a:lnTo>
                    <a:pt x="2595119" y="199530"/>
                  </a:lnTo>
                  <a:lnTo>
                    <a:pt x="2595169" y="199530"/>
                  </a:lnTo>
                  <a:lnTo>
                    <a:pt x="2595169" y="200228"/>
                  </a:lnTo>
                  <a:lnTo>
                    <a:pt x="2595169" y="198831"/>
                  </a:lnTo>
                  <a:lnTo>
                    <a:pt x="2595169" y="199530"/>
                  </a:lnTo>
                  <a:lnTo>
                    <a:pt x="2595220" y="200228"/>
                  </a:lnTo>
                  <a:lnTo>
                    <a:pt x="2595220" y="202260"/>
                  </a:lnTo>
                  <a:lnTo>
                    <a:pt x="2595220" y="200228"/>
                  </a:lnTo>
                  <a:lnTo>
                    <a:pt x="2595322" y="200876"/>
                  </a:lnTo>
                  <a:lnTo>
                    <a:pt x="2595322" y="200228"/>
                  </a:lnTo>
                  <a:lnTo>
                    <a:pt x="2595322" y="200876"/>
                  </a:lnTo>
                  <a:lnTo>
                    <a:pt x="2595372" y="200876"/>
                  </a:lnTo>
                  <a:lnTo>
                    <a:pt x="2595372" y="200228"/>
                  </a:lnTo>
                  <a:lnTo>
                    <a:pt x="2595372" y="200876"/>
                  </a:lnTo>
                  <a:lnTo>
                    <a:pt x="2595423" y="200876"/>
                  </a:lnTo>
                  <a:lnTo>
                    <a:pt x="2595423" y="202260"/>
                  </a:lnTo>
                  <a:lnTo>
                    <a:pt x="2595423" y="200876"/>
                  </a:lnTo>
                  <a:lnTo>
                    <a:pt x="2595423" y="202260"/>
                  </a:lnTo>
                  <a:lnTo>
                    <a:pt x="2595423" y="200876"/>
                  </a:lnTo>
                  <a:lnTo>
                    <a:pt x="2595423" y="202260"/>
                  </a:lnTo>
                  <a:lnTo>
                    <a:pt x="2595525" y="202260"/>
                  </a:lnTo>
                  <a:lnTo>
                    <a:pt x="2595525" y="200228"/>
                  </a:lnTo>
                  <a:lnTo>
                    <a:pt x="2595525" y="200876"/>
                  </a:lnTo>
                  <a:lnTo>
                    <a:pt x="2595563" y="200876"/>
                  </a:lnTo>
                  <a:lnTo>
                    <a:pt x="2595563" y="200228"/>
                  </a:lnTo>
                  <a:lnTo>
                    <a:pt x="2595563" y="200876"/>
                  </a:lnTo>
                  <a:lnTo>
                    <a:pt x="2595563" y="200228"/>
                  </a:lnTo>
                  <a:lnTo>
                    <a:pt x="2595563" y="200876"/>
                  </a:lnTo>
                  <a:lnTo>
                    <a:pt x="2595563" y="199530"/>
                  </a:lnTo>
                  <a:lnTo>
                    <a:pt x="2595563" y="200228"/>
                  </a:lnTo>
                  <a:lnTo>
                    <a:pt x="2595614" y="200228"/>
                  </a:lnTo>
                  <a:lnTo>
                    <a:pt x="2595614" y="197447"/>
                  </a:lnTo>
                  <a:lnTo>
                    <a:pt x="2595614" y="198831"/>
                  </a:lnTo>
                  <a:lnTo>
                    <a:pt x="2595665" y="198831"/>
                  </a:lnTo>
                  <a:lnTo>
                    <a:pt x="2595665" y="199530"/>
                  </a:lnTo>
                  <a:lnTo>
                    <a:pt x="2595665" y="198831"/>
                  </a:lnTo>
                  <a:lnTo>
                    <a:pt x="2595665" y="200876"/>
                  </a:lnTo>
                  <a:lnTo>
                    <a:pt x="2595766" y="200876"/>
                  </a:lnTo>
                  <a:lnTo>
                    <a:pt x="2595766" y="199530"/>
                  </a:lnTo>
                  <a:lnTo>
                    <a:pt x="2595766" y="200876"/>
                  </a:lnTo>
                  <a:lnTo>
                    <a:pt x="2595817" y="200876"/>
                  </a:lnTo>
                  <a:lnTo>
                    <a:pt x="2595817" y="202260"/>
                  </a:lnTo>
                  <a:lnTo>
                    <a:pt x="2595817" y="200876"/>
                  </a:lnTo>
                  <a:lnTo>
                    <a:pt x="2595817" y="202260"/>
                  </a:lnTo>
                  <a:lnTo>
                    <a:pt x="2595817" y="200228"/>
                  </a:lnTo>
                  <a:lnTo>
                    <a:pt x="2595817" y="202260"/>
                  </a:lnTo>
                  <a:lnTo>
                    <a:pt x="2595817" y="200876"/>
                  </a:lnTo>
                  <a:lnTo>
                    <a:pt x="2595868" y="200876"/>
                  </a:lnTo>
                  <a:lnTo>
                    <a:pt x="2595868" y="200228"/>
                  </a:lnTo>
                  <a:lnTo>
                    <a:pt x="2595868" y="200876"/>
                  </a:lnTo>
                  <a:lnTo>
                    <a:pt x="2595868" y="200228"/>
                  </a:lnTo>
                  <a:lnTo>
                    <a:pt x="2595868" y="202260"/>
                  </a:lnTo>
                  <a:lnTo>
                    <a:pt x="2595969" y="200876"/>
                  </a:lnTo>
                  <a:lnTo>
                    <a:pt x="2595969" y="202260"/>
                  </a:lnTo>
                  <a:lnTo>
                    <a:pt x="2596020" y="202260"/>
                  </a:lnTo>
                  <a:lnTo>
                    <a:pt x="2596020" y="200876"/>
                  </a:lnTo>
                  <a:lnTo>
                    <a:pt x="2596071" y="200876"/>
                  </a:lnTo>
                  <a:lnTo>
                    <a:pt x="2596071" y="200228"/>
                  </a:lnTo>
                  <a:lnTo>
                    <a:pt x="2596071" y="200876"/>
                  </a:lnTo>
                  <a:lnTo>
                    <a:pt x="2596071" y="199530"/>
                  </a:lnTo>
                  <a:lnTo>
                    <a:pt x="2596109" y="199530"/>
                  </a:lnTo>
                  <a:lnTo>
                    <a:pt x="2596109" y="200228"/>
                  </a:lnTo>
                  <a:lnTo>
                    <a:pt x="2596109" y="198831"/>
                  </a:lnTo>
                  <a:lnTo>
                    <a:pt x="2596109" y="199530"/>
                  </a:lnTo>
                  <a:lnTo>
                    <a:pt x="2596109" y="198831"/>
                  </a:lnTo>
                  <a:lnTo>
                    <a:pt x="2596109" y="202260"/>
                  </a:lnTo>
                  <a:lnTo>
                    <a:pt x="2596109" y="200228"/>
                  </a:lnTo>
                  <a:lnTo>
                    <a:pt x="2596211" y="199530"/>
                  </a:lnTo>
                  <a:lnTo>
                    <a:pt x="2596211" y="202959"/>
                  </a:lnTo>
                  <a:lnTo>
                    <a:pt x="2596211" y="200876"/>
                  </a:lnTo>
                  <a:lnTo>
                    <a:pt x="2596262" y="200876"/>
                  </a:lnTo>
                  <a:lnTo>
                    <a:pt x="2596262" y="200228"/>
                  </a:lnTo>
                  <a:lnTo>
                    <a:pt x="2596262" y="202260"/>
                  </a:lnTo>
                  <a:lnTo>
                    <a:pt x="2596262" y="200876"/>
                  </a:lnTo>
                  <a:lnTo>
                    <a:pt x="2596262" y="202260"/>
                  </a:lnTo>
                  <a:lnTo>
                    <a:pt x="2596312" y="202260"/>
                  </a:lnTo>
                  <a:lnTo>
                    <a:pt x="2596312" y="202959"/>
                  </a:lnTo>
                  <a:lnTo>
                    <a:pt x="2596312" y="200876"/>
                  </a:lnTo>
                  <a:lnTo>
                    <a:pt x="2596312" y="202260"/>
                  </a:lnTo>
                  <a:lnTo>
                    <a:pt x="2596312" y="200876"/>
                  </a:lnTo>
                  <a:lnTo>
                    <a:pt x="2596312" y="202260"/>
                  </a:lnTo>
                  <a:lnTo>
                    <a:pt x="2596465" y="202260"/>
                  </a:lnTo>
                  <a:lnTo>
                    <a:pt x="2596465" y="202959"/>
                  </a:lnTo>
                  <a:lnTo>
                    <a:pt x="2596465" y="200876"/>
                  </a:lnTo>
                  <a:lnTo>
                    <a:pt x="2596465" y="202260"/>
                  </a:lnTo>
                  <a:lnTo>
                    <a:pt x="2596465" y="200876"/>
                  </a:lnTo>
                  <a:lnTo>
                    <a:pt x="2596465" y="202260"/>
                  </a:lnTo>
                  <a:lnTo>
                    <a:pt x="2596465" y="200876"/>
                  </a:lnTo>
                  <a:lnTo>
                    <a:pt x="2596515" y="200876"/>
                  </a:lnTo>
                  <a:lnTo>
                    <a:pt x="2596515" y="200228"/>
                  </a:lnTo>
                  <a:lnTo>
                    <a:pt x="2596515" y="200876"/>
                  </a:lnTo>
                  <a:lnTo>
                    <a:pt x="2596515" y="200228"/>
                  </a:lnTo>
                  <a:lnTo>
                    <a:pt x="2596515" y="200876"/>
                  </a:lnTo>
                  <a:lnTo>
                    <a:pt x="2596566" y="200876"/>
                  </a:lnTo>
                  <a:lnTo>
                    <a:pt x="2596566" y="198831"/>
                  </a:lnTo>
                  <a:lnTo>
                    <a:pt x="2596566" y="199530"/>
                  </a:lnTo>
                  <a:lnTo>
                    <a:pt x="2596566" y="198831"/>
                  </a:lnTo>
                  <a:lnTo>
                    <a:pt x="2596655" y="197447"/>
                  </a:lnTo>
                  <a:lnTo>
                    <a:pt x="2596655" y="196799"/>
                  </a:lnTo>
                  <a:lnTo>
                    <a:pt x="2596655" y="199530"/>
                  </a:lnTo>
                  <a:lnTo>
                    <a:pt x="2596655" y="198831"/>
                  </a:lnTo>
                  <a:lnTo>
                    <a:pt x="2596706" y="198831"/>
                  </a:lnTo>
                  <a:lnTo>
                    <a:pt x="2596706" y="197447"/>
                  </a:lnTo>
                  <a:lnTo>
                    <a:pt x="2596706" y="200876"/>
                  </a:lnTo>
                  <a:lnTo>
                    <a:pt x="2596706" y="198831"/>
                  </a:lnTo>
                  <a:lnTo>
                    <a:pt x="2596757" y="198831"/>
                  </a:lnTo>
                  <a:lnTo>
                    <a:pt x="2596757" y="200876"/>
                  </a:lnTo>
                  <a:lnTo>
                    <a:pt x="2596757" y="199530"/>
                  </a:lnTo>
                  <a:lnTo>
                    <a:pt x="2596757" y="200228"/>
                  </a:lnTo>
                  <a:lnTo>
                    <a:pt x="2596808" y="199530"/>
                  </a:lnTo>
                  <a:lnTo>
                    <a:pt x="2596808" y="200876"/>
                  </a:lnTo>
                  <a:lnTo>
                    <a:pt x="2596808" y="200228"/>
                  </a:lnTo>
                  <a:lnTo>
                    <a:pt x="2596808" y="200876"/>
                  </a:lnTo>
                  <a:lnTo>
                    <a:pt x="2596909" y="200876"/>
                  </a:lnTo>
                  <a:lnTo>
                    <a:pt x="2596909" y="200228"/>
                  </a:lnTo>
                  <a:lnTo>
                    <a:pt x="2596909" y="202260"/>
                  </a:lnTo>
                  <a:lnTo>
                    <a:pt x="2596960" y="202260"/>
                  </a:lnTo>
                  <a:lnTo>
                    <a:pt x="2596960" y="200876"/>
                  </a:lnTo>
                  <a:lnTo>
                    <a:pt x="2596960" y="202260"/>
                  </a:lnTo>
                  <a:lnTo>
                    <a:pt x="2596960" y="200876"/>
                  </a:lnTo>
                  <a:lnTo>
                    <a:pt x="2596960" y="202260"/>
                  </a:lnTo>
                  <a:lnTo>
                    <a:pt x="2596960" y="200876"/>
                  </a:lnTo>
                  <a:lnTo>
                    <a:pt x="2596960" y="202260"/>
                  </a:lnTo>
                  <a:lnTo>
                    <a:pt x="2596960" y="200876"/>
                  </a:lnTo>
                  <a:lnTo>
                    <a:pt x="2597011" y="200876"/>
                  </a:lnTo>
                  <a:lnTo>
                    <a:pt x="2597011" y="199530"/>
                  </a:lnTo>
                  <a:lnTo>
                    <a:pt x="2597011" y="200876"/>
                  </a:lnTo>
                  <a:lnTo>
                    <a:pt x="2597011" y="200228"/>
                  </a:lnTo>
                  <a:lnTo>
                    <a:pt x="2597112" y="200228"/>
                  </a:lnTo>
                  <a:lnTo>
                    <a:pt x="2597112" y="198831"/>
                  </a:lnTo>
                  <a:lnTo>
                    <a:pt x="2597150" y="197447"/>
                  </a:lnTo>
                  <a:lnTo>
                    <a:pt x="2597150" y="196799"/>
                  </a:lnTo>
                  <a:lnTo>
                    <a:pt x="2597150" y="198831"/>
                  </a:lnTo>
                  <a:lnTo>
                    <a:pt x="2597150" y="197447"/>
                  </a:lnTo>
                  <a:lnTo>
                    <a:pt x="2597150" y="198831"/>
                  </a:lnTo>
                  <a:lnTo>
                    <a:pt x="2597150" y="196799"/>
                  </a:lnTo>
                  <a:lnTo>
                    <a:pt x="2597201" y="196799"/>
                  </a:lnTo>
                  <a:lnTo>
                    <a:pt x="2597201" y="200228"/>
                  </a:lnTo>
                  <a:lnTo>
                    <a:pt x="2597201" y="198831"/>
                  </a:lnTo>
                  <a:lnTo>
                    <a:pt x="2597201" y="199530"/>
                  </a:lnTo>
                  <a:lnTo>
                    <a:pt x="2597201" y="198831"/>
                  </a:lnTo>
                  <a:lnTo>
                    <a:pt x="2597252" y="198831"/>
                  </a:lnTo>
                  <a:lnTo>
                    <a:pt x="2597252" y="200228"/>
                  </a:lnTo>
                  <a:lnTo>
                    <a:pt x="2597252" y="199530"/>
                  </a:lnTo>
                  <a:lnTo>
                    <a:pt x="2597354" y="199530"/>
                  </a:lnTo>
                  <a:lnTo>
                    <a:pt x="2597354" y="200228"/>
                  </a:lnTo>
                  <a:lnTo>
                    <a:pt x="2597354" y="199530"/>
                  </a:lnTo>
                  <a:lnTo>
                    <a:pt x="2597354" y="200228"/>
                  </a:lnTo>
                  <a:lnTo>
                    <a:pt x="2597405" y="200228"/>
                  </a:lnTo>
                  <a:lnTo>
                    <a:pt x="2597405" y="200876"/>
                  </a:lnTo>
                  <a:lnTo>
                    <a:pt x="2597405" y="200228"/>
                  </a:lnTo>
                  <a:lnTo>
                    <a:pt x="2597405" y="200876"/>
                  </a:lnTo>
                  <a:lnTo>
                    <a:pt x="2597405" y="200228"/>
                  </a:lnTo>
                  <a:lnTo>
                    <a:pt x="2597405" y="200876"/>
                  </a:lnTo>
                  <a:lnTo>
                    <a:pt x="2597405" y="200228"/>
                  </a:lnTo>
                  <a:lnTo>
                    <a:pt x="2597405" y="200876"/>
                  </a:lnTo>
                  <a:lnTo>
                    <a:pt x="2597455" y="200876"/>
                  </a:lnTo>
                  <a:lnTo>
                    <a:pt x="2597455" y="200228"/>
                  </a:lnTo>
                  <a:lnTo>
                    <a:pt x="2597455" y="200876"/>
                  </a:lnTo>
                  <a:lnTo>
                    <a:pt x="2597557" y="200228"/>
                  </a:lnTo>
                  <a:lnTo>
                    <a:pt x="2597557" y="199530"/>
                  </a:lnTo>
                  <a:lnTo>
                    <a:pt x="2597557" y="200228"/>
                  </a:lnTo>
                  <a:lnTo>
                    <a:pt x="2597608" y="200228"/>
                  </a:lnTo>
                  <a:lnTo>
                    <a:pt x="2597608" y="197447"/>
                  </a:lnTo>
                  <a:lnTo>
                    <a:pt x="2597659" y="196799"/>
                  </a:lnTo>
                  <a:lnTo>
                    <a:pt x="2597659" y="195415"/>
                  </a:lnTo>
                  <a:lnTo>
                    <a:pt x="2597659" y="196799"/>
                  </a:lnTo>
                  <a:lnTo>
                    <a:pt x="2597697" y="196799"/>
                  </a:lnTo>
                  <a:lnTo>
                    <a:pt x="2597697" y="195415"/>
                  </a:lnTo>
                  <a:lnTo>
                    <a:pt x="2597697" y="198831"/>
                  </a:lnTo>
                  <a:lnTo>
                    <a:pt x="2597697" y="197447"/>
                  </a:lnTo>
                  <a:lnTo>
                    <a:pt x="2597798" y="197447"/>
                  </a:lnTo>
                  <a:lnTo>
                    <a:pt x="2597798" y="196799"/>
                  </a:lnTo>
                  <a:lnTo>
                    <a:pt x="2597798" y="197447"/>
                  </a:lnTo>
                  <a:lnTo>
                    <a:pt x="2597798" y="196799"/>
                  </a:lnTo>
                  <a:lnTo>
                    <a:pt x="2597798" y="198831"/>
                  </a:lnTo>
                  <a:lnTo>
                    <a:pt x="2597849" y="198831"/>
                  </a:lnTo>
                  <a:lnTo>
                    <a:pt x="2597849" y="197447"/>
                  </a:lnTo>
                  <a:lnTo>
                    <a:pt x="2597849" y="199530"/>
                  </a:lnTo>
                  <a:lnTo>
                    <a:pt x="2597900" y="199530"/>
                  </a:lnTo>
                  <a:lnTo>
                    <a:pt x="2597900" y="200228"/>
                  </a:lnTo>
                  <a:lnTo>
                    <a:pt x="2598001" y="200228"/>
                  </a:lnTo>
                  <a:lnTo>
                    <a:pt x="2598001" y="200876"/>
                  </a:lnTo>
                  <a:lnTo>
                    <a:pt x="2598001" y="200228"/>
                  </a:lnTo>
                  <a:lnTo>
                    <a:pt x="2598001" y="200876"/>
                  </a:lnTo>
                  <a:lnTo>
                    <a:pt x="2598052" y="200876"/>
                  </a:lnTo>
                  <a:lnTo>
                    <a:pt x="2598052" y="200228"/>
                  </a:lnTo>
                  <a:lnTo>
                    <a:pt x="2598052" y="200876"/>
                  </a:lnTo>
                  <a:lnTo>
                    <a:pt x="2598052" y="200228"/>
                  </a:lnTo>
                  <a:lnTo>
                    <a:pt x="2598052" y="200876"/>
                  </a:lnTo>
                  <a:lnTo>
                    <a:pt x="2598052" y="200228"/>
                  </a:lnTo>
                  <a:lnTo>
                    <a:pt x="2598052" y="200876"/>
                  </a:lnTo>
                  <a:lnTo>
                    <a:pt x="2598052" y="200228"/>
                  </a:lnTo>
                  <a:lnTo>
                    <a:pt x="2598103" y="200228"/>
                  </a:lnTo>
                  <a:lnTo>
                    <a:pt x="2598103" y="199530"/>
                  </a:lnTo>
                  <a:lnTo>
                    <a:pt x="2598103" y="200228"/>
                  </a:lnTo>
                  <a:lnTo>
                    <a:pt x="2598103" y="198831"/>
                  </a:lnTo>
                  <a:lnTo>
                    <a:pt x="2598154" y="198831"/>
                  </a:lnTo>
                  <a:lnTo>
                    <a:pt x="2598154" y="196799"/>
                  </a:lnTo>
                  <a:lnTo>
                    <a:pt x="2598154" y="198831"/>
                  </a:lnTo>
                  <a:lnTo>
                    <a:pt x="2598243" y="198831"/>
                  </a:lnTo>
                  <a:lnTo>
                    <a:pt x="2598243" y="195415"/>
                  </a:lnTo>
                  <a:lnTo>
                    <a:pt x="2598243" y="198831"/>
                  </a:lnTo>
                  <a:lnTo>
                    <a:pt x="2598294" y="198831"/>
                  </a:lnTo>
                  <a:lnTo>
                    <a:pt x="2598294" y="196113"/>
                  </a:lnTo>
                  <a:lnTo>
                    <a:pt x="2598294" y="198831"/>
                  </a:lnTo>
                  <a:lnTo>
                    <a:pt x="2598294" y="197447"/>
                  </a:lnTo>
                  <a:lnTo>
                    <a:pt x="2598344" y="197447"/>
                  </a:lnTo>
                  <a:lnTo>
                    <a:pt x="2598344" y="198831"/>
                  </a:lnTo>
                  <a:lnTo>
                    <a:pt x="2598344" y="197447"/>
                  </a:lnTo>
                  <a:lnTo>
                    <a:pt x="2598344" y="198831"/>
                  </a:lnTo>
                  <a:lnTo>
                    <a:pt x="2598344" y="197447"/>
                  </a:lnTo>
                  <a:lnTo>
                    <a:pt x="2598344" y="198831"/>
                  </a:lnTo>
                  <a:lnTo>
                    <a:pt x="2598395" y="198831"/>
                  </a:lnTo>
                  <a:lnTo>
                    <a:pt x="2598395" y="197447"/>
                  </a:lnTo>
                  <a:lnTo>
                    <a:pt x="2598395" y="199530"/>
                  </a:lnTo>
                  <a:lnTo>
                    <a:pt x="2598395" y="198831"/>
                  </a:lnTo>
                  <a:lnTo>
                    <a:pt x="2598395" y="199530"/>
                  </a:lnTo>
                  <a:lnTo>
                    <a:pt x="2598497" y="199530"/>
                  </a:lnTo>
                  <a:lnTo>
                    <a:pt x="2598497" y="198831"/>
                  </a:lnTo>
                  <a:lnTo>
                    <a:pt x="2598497" y="200228"/>
                  </a:lnTo>
                  <a:lnTo>
                    <a:pt x="2598497" y="199530"/>
                  </a:lnTo>
                  <a:lnTo>
                    <a:pt x="2598497" y="200228"/>
                  </a:lnTo>
                  <a:lnTo>
                    <a:pt x="2598547" y="199530"/>
                  </a:lnTo>
                  <a:lnTo>
                    <a:pt x="2598547" y="200228"/>
                  </a:lnTo>
                  <a:lnTo>
                    <a:pt x="2598547" y="199530"/>
                  </a:lnTo>
                  <a:lnTo>
                    <a:pt x="2598547" y="200228"/>
                  </a:lnTo>
                  <a:lnTo>
                    <a:pt x="2598547" y="199530"/>
                  </a:lnTo>
                  <a:lnTo>
                    <a:pt x="2598598" y="200228"/>
                  </a:lnTo>
                  <a:lnTo>
                    <a:pt x="2598598" y="199530"/>
                  </a:lnTo>
                  <a:lnTo>
                    <a:pt x="2598598" y="200228"/>
                  </a:lnTo>
                  <a:lnTo>
                    <a:pt x="2598598" y="199530"/>
                  </a:lnTo>
                  <a:lnTo>
                    <a:pt x="2598598" y="200228"/>
                  </a:lnTo>
                  <a:lnTo>
                    <a:pt x="2598598" y="198831"/>
                  </a:lnTo>
                  <a:lnTo>
                    <a:pt x="2598700" y="198831"/>
                  </a:lnTo>
                  <a:lnTo>
                    <a:pt x="2598700" y="196799"/>
                  </a:lnTo>
                  <a:lnTo>
                    <a:pt x="2598700" y="200228"/>
                  </a:lnTo>
                  <a:lnTo>
                    <a:pt x="2598700" y="198831"/>
                  </a:lnTo>
                  <a:lnTo>
                    <a:pt x="2598738" y="198831"/>
                  </a:lnTo>
                  <a:lnTo>
                    <a:pt x="2598738" y="197447"/>
                  </a:lnTo>
                  <a:lnTo>
                    <a:pt x="2598738" y="200228"/>
                  </a:lnTo>
                  <a:lnTo>
                    <a:pt x="2598738" y="198831"/>
                  </a:lnTo>
                  <a:lnTo>
                    <a:pt x="2598789" y="198831"/>
                  </a:lnTo>
                  <a:lnTo>
                    <a:pt x="2598789" y="200228"/>
                  </a:lnTo>
                  <a:lnTo>
                    <a:pt x="2598789" y="199530"/>
                  </a:lnTo>
                  <a:lnTo>
                    <a:pt x="2598840" y="199530"/>
                  </a:lnTo>
                  <a:lnTo>
                    <a:pt x="2598840" y="198831"/>
                  </a:lnTo>
                  <a:lnTo>
                    <a:pt x="2598840" y="199530"/>
                  </a:lnTo>
                  <a:lnTo>
                    <a:pt x="2598840" y="198831"/>
                  </a:lnTo>
                  <a:lnTo>
                    <a:pt x="2598840" y="200228"/>
                  </a:lnTo>
                  <a:lnTo>
                    <a:pt x="2598840" y="199530"/>
                  </a:lnTo>
                  <a:lnTo>
                    <a:pt x="2598941" y="199530"/>
                  </a:lnTo>
                  <a:lnTo>
                    <a:pt x="2598941" y="200228"/>
                  </a:lnTo>
                  <a:lnTo>
                    <a:pt x="2598941" y="199530"/>
                  </a:lnTo>
                  <a:lnTo>
                    <a:pt x="2598992" y="199530"/>
                  </a:lnTo>
                  <a:lnTo>
                    <a:pt x="2598992" y="200876"/>
                  </a:lnTo>
                  <a:lnTo>
                    <a:pt x="2599043" y="200228"/>
                  </a:lnTo>
                  <a:lnTo>
                    <a:pt x="2599043" y="199530"/>
                  </a:lnTo>
                  <a:lnTo>
                    <a:pt x="2599043" y="200228"/>
                  </a:lnTo>
                  <a:lnTo>
                    <a:pt x="2599144" y="199530"/>
                  </a:lnTo>
                  <a:lnTo>
                    <a:pt x="2599144" y="198831"/>
                  </a:lnTo>
                  <a:lnTo>
                    <a:pt x="2599144" y="199530"/>
                  </a:lnTo>
                  <a:lnTo>
                    <a:pt x="2599144" y="198831"/>
                  </a:lnTo>
                  <a:lnTo>
                    <a:pt x="2599195" y="198831"/>
                  </a:lnTo>
                  <a:lnTo>
                    <a:pt x="2599195" y="197447"/>
                  </a:lnTo>
                  <a:lnTo>
                    <a:pt x="2599195" y="200228"/>
                  </a:lnTo>
                  <a:lnTo>
                    <a:pt x="2599195" y="199530"/>
                  </a:lnTo>
                  <a:lnTo>
                    <a:pt x="2599246" y="200228"/>
                  </a:lnTo>
                  <a:lnTo>
                    <a:pt x="2599246" y="199530"/>
                  </a:lnTo>
                  <a:lnTo>
                    <a:pt x="2599246" y="202260"/>
                  </a:lnTo>
                  <a:lnTo>
                    <a:pt x="2599246" y="200228"/>
                  </a:lnTo>
                  <a:lnTo>
                    <a:pt x="2599284" y="200228"/>
                  </a:lnTo>
                  <a:lnTo>
                    <a:pt x="2599284" y="202260"/>
                  </a:lnTo>
                  <a:lnTo>
                    <a:pt x="2599284" y="200228"/>
                  </a:lnTo>
                  <a:lnTo>
                    <a:pt x="2599284" y="200876"/>
                  </a:lnTo>
                  <a:lnTo>
                    <a:pt x="2599386" y="200876"/>
                  </a:lnTo>
                  <a:lnTo>
                    <a:pt x="2599386" y="200228"/>
                  </a:lnTo>
                  <a:lnTo>
                    <a:pt x="2599386" y="200876"/>
                  </a:lnTo>
                  <a:lnTo>
                    <a:pt x="2599437" y="200876"/>
                  </a:lnTo>
                  <a:lnTo>
                    <a:pt x="2599437" y="200228"/>
                  </a:lnTo>
                  <a:lnTo>
                    <a:pt x="2599437" y="200876"/>
                  </a:lnTo>
                  <a:lnTo>
                    <a:pt x="2599437" y="200228"/>
                  </a:lnTo>
                  <a:lnTo>
                    <a:pt x="2599437" y="200876"/>
                  </a:lnTo>
                  <a:lnTo>
                    <a:pt x="2599487" y="200876"/>
                  </a:lnTo>
                  <a:lnTo>
                    <a:pt x="2599487" y="199530"/>
                  </a:lnTo>
                  <a:lnTo>
                    <a:pt x="2599487" y="200228"/>
                  </a:lnTo>
                  <a:lnTo>
                    <a:pt x="2599589" y="200228"/>
                  </a:lnTo>
                  <a:lnTo>
                    <a:pt x="2599589" y="199530"/>
                  </a:lnTo>
                  <a:lnTo>
                    <a:pt x="2599589" y="200228"/>
                  </a:lnTo>
                  <a:lnTo>
                    <a:pt x="2599589" y="198831"/>
                  </a:lnTo>
                  <a:lnTo>
                    <a:pt x="2599589" y="199530"/>
                  </a:lnTo>
                  <a:lnTo>
                    <a:pt x="2599589" y="198831"/>
                  </a:lnTo>
                  <a:lnTo>
                    <a:pt x="2599640" y="198831"/>
                  </a:lnTo>
                  <a:lnTo>
                    <a:pt x="2599640" y="199530"/>
                  </a:lnTo>
                  <a:lnTo>
                    <a:pt x="2599640" y="196799"/>
                  </a:lnTo>
                  <a:lnTo>
                    <a:pt x="2599640" y="197447"/>
                  </a:lnTo>
                  <a:lnTo>
                    <a:pt x="2599640" y="196799"/>
                  </a:lnTo>
                  <a:lnTo>
                    <a:pt x="2599640" y="197447"/>
                  </a:lnTo>
                  <a:lnTo>
                    <a:pt x="2599690" y="197447"/>
                  </a:lnTo>
                  <a:lnTo>
                    <a:pt x="2599690" y="199530"/>
                  </a:lnTo>
                  <a:lnTo>
                    <a:pt x="2599690" y="197447"/>
                  </a:lnTo>
                  <a:lnTo>
                    <a:pt x="2599690" y="200228"/>
                  </a:lnTo>
                  <a:lnTo>
                    <a:pt x="2599741" y="200228"/>
                  </a:lnTo>
                  <a:lnTo>
                    <a:pt x="2599741" y="199530"/>
                  </a:lnTo>
                  <a:lnTo>
                    <a:pt x="2599741" y="200876"/>
                  </a:lnTo>
                  <a:lnTo>
                    <a:pt x="2599830" y="200876"/>
                  </a:lnTo>
                  <a:lnTo>
                    <a:pt x="2599830" y="202260"/>
                  </a:lnTo>
                  <a:lnTo>
                    <a:pt x="2599881" y="202260"/>
                  </a:lnTo>
                  <a:lnTo>
                    <a:pt x="2599881" y="200876"/>
                  </a:lnTo>
                  <a:lnTo>
                    <a:pt x="2599881" y="202260"/>
                  </a:lnTo>
                  <a:lnTo>
                    <a:pt x="2599881" y="200876"/>
                  </a:lnTo>
                  <a:lnTo>
                    <a:pt x="2599881" y="202260"/>
                  </a:lnTo>
                  <a:lnTo>
                    <a:pt x="2599881" y="200876"/>
                  </a:lnTo>
                  <a:lnTo>
                    <a:pt x="2599932" y="200876"/>
                  </a:lnTo>
                  <a:lnTo>
                    <a:pt x="2599932" y="202260"/>
                  </a:lnTo>
                  <a:lnTo>
                    <a:pt x="2599983" y="202260"/>
                  </a:lnTo>
                  <a:lnTo>
                    <a:pt x="2599983" y="200876"/>
                  </a:lnTo>
                  <a:lnTo>
                    <a:pt x="2599983" y="202260"/>
                  </a:lnTo>
                  <a:lnTo>
                    <a:pt x="2599983" y="200228"/>
                  </a:lnTo>
                  <a:lnTo>
                    <a:pt x="2599983" y="200876"/>
                  </a:lnTo>
                  <a:lnTo>
                    <a:pt x="2600084" y="200876"/>
                  </a:lnTo>
                  <a:lnTo>
                    <a:pt x="2600084" y="200228"/>
                  </a:lnTo>
                  <a:lnTo>
                    <a:pt x="2600084" y="200876"/>
                  </a:lnTo>
                  <a:lnTo>
                    <a:pt x="2600084" y="199530"/>
                  </a:lnTo>
                  <a:lnTo>
                    <a:pt x="2600084" y="200228"/>
                  </a:lnTo>
                  <a:lnTo>
                    <a:pt x="2600084" y="199530"/>
                  </a:lnTo>
                  <a:lnTo>
                    <a:pt x="2600084" y="200228"/>
                  </a:lnTo>
                  <a:lnTo>
                    <a:pt x="2600084" y="199530"/>
                  </a:lnTo>
                  <a:lnTo>
                    <a:pt x="2600135" y="198831"/>
                  </a:lnTo>
                  <a:lnTo>
                    <a:pt x="2600135" y="199530"/>
                  </a:lnTo>
                  <a:lnTo>
                    <a:pt x="2600135" y="196799"/>
                  </a:lnTo>
                  <a:lnTo>
                    <a:pt x="2600135" y="199530"/>
                  </a:lnTo>
                  <a:lnTo>
                    <a:pt x="2600186" y="199530"/>
                  </a:lnTo>
                  <a:lnTo>
                    <a:pt x="2600186" y="196799"/>
                  </a:lnTo>
                  <a:lnTo>
                    <a:pt x="2600186" y="200876"/>
                  </a:lnTo>
                  <a:lnTo>
                    <a:pt x="2600186" y="200228"/>
                  </a:lnTo>
                  <a:lnTo>
                    <a:pt x="2600287" y="200228"/>
                  </a:lnTo>
                  <a:lnTo>
                    <a:pt x="2600287" y="198831"/>
                  </a:lnTo>
                  <a:lnTo>
                    <a:pt x="2600287" y="200876"/>
                  </a:lnTo>
                  <a:lnTo>
                    <a:pt x="2600287" y="200228"/>
                  </a:lnTo>
                  <a:lnTo>
                    <a:pt x="2600325" y="200228"/>
                  </a:lnTo>
                  <a:lnTo>
                    <a:pt x="2600325" y="200876"/>
                  </a:lnTo>
                  <a:lnTo>
                    <a:pt x="2600325" y="200228"/>
                  </a:lnTo>
                  <a:lnTo>
                    <a:pt x="2600325" y="200876"/>
                  </a:lnTo>
                  <a:lnTo>
                    <a:pt x="2600376" y="200876"/>
                  </a:lnTo>
                  <a:lnTo>
                    <a:pt x="2600376" y="202260"/>
                  </a:lnTo>
                  <a:lnTo>
                    <a:pt x="2600376" y="200876"/>
                  </a:lnTo>
                  <a:lnTo>
                    <a:pt x="2600376" y="202260"/>
                  </a:lnTo>
                  <a:lnTo>
                    <a:pt x="2600427" y="202260"/>
                  </a:lnTo>
                  <a:lnTo>
                    <a:pt x="2600427" y="200876"/>
                  </a:lnTo>
                  <a:lnTo>
                    <a:pt x="2600529" y="202260"/>
                  </a:lnTo>
                  <a:lnTo>
                    <a:pt x="2600529" y="200876"/>
                  </a:lnTo>
                  <a:lnTo>
                    <a:pt x="2600580" y="200228"/>
                  </a:lnTo>
                  <a:lnTo>
                    <a:pt x="2600580" y="199530"/>
                  </a:lnTo>
                  <a:lnTo>
                    <a:pt x="2600580" y="200228"/>
                  </a:lnTo>
                  <a:lnTo>
                    <a:pt x="2600580" y="198831"/>
                  </a:lnTo>
                  <a:lnTo>
                    <a:pt x="2600630" y="198831"/>
                  </a:lnTo>
                  <a:lnTo>
                    <a:pt x="2600630" y="197447"/>
                  </a:lnTo>
                  <a:lnTo>
                    <a:pt x="2600630" y="200228"/>
                  </a:lnTo>
                  <a:lnTo>
                    <a:pt x="2600630" y="197447"/>
                  </a:lnTo>
                  <a:lnTo>
                    <a:pt x="2600732" y="197447"/>
                  </a:lnTo>
                  <a:lnTo>
                    <a:pt x="2600732" y="200876"/>
                  </a:lnTo>
                  <a:lnTo>
                    <a:pt x="2600732" y="199530"/>
                  </a:lnTo>
                  <a:lnTo>
                    <a:pt x="2600732" y="200228"/>
                  </a:lnTo>
                  <a:lnTo>
                    <a:pt x="2600732" y="199530"/>
                  </a:lnTo>
                  <a:lnTo>
                    <a:pt x="2600783" y="199530"/>
                  </a:lnTo>
                  <a:lnTo>
                    <a:pt x="2600783" y="202260"/>
                  </a:lnTo>
                  <a:lnTo>
                    <a:pt x="2600783" y="200228"/>
                  </a:lnTo>
                  <a:lnTo>
                    <a:pt x="2600783" y="200876"/>
                  </a:lnTo>
                  <a:lnTo>
                    <a:pt x="2600783" y="200228"/>
                  </a:lnTo>
                  <a:lnTo>
                    <a:pt x="2600783" y="200876"/>
                  </a:lnTo>
                  <a:lnTo>
                    <a:pt x="2600783" y="200228"/>
                  </a:lnTo>
                  <a:lnTo>
                    <a:pt x="2600834" y="200228"/>
                  </a:lnTo>
                  <a:lnTo>
                    <a:pt x="2600834" y="200876"/>
                  </a:lnTo>
                  <a:lnTo>
                    <a:pt x="2600872" y="200876"/>
                  </a:lnTo>
                  <a:lnTo>
                    <a:pt x="2600872" y="202260"/>
                  </a:lnTo>
                  <a:lnTo>
                    <a:pt x="2600872" y="200876"/>
                  </a:lnTo>
                  <a:lnTo>
                    <a:pt x="2600872" y="202260"/>
                  </a:lnTo>
                  <a:lnTo>
                    <a:pt x="2600872" y="200876"/>
                  </a:lnTo>
                  <a:lnTo>
                    <a:pt x="2600973" y="200876"/>
                  </a:lnTo>
                  <a:lnTo>
                    <a:pt x="2600973" y="202260"/>
                  </a:lnTo>
                  <a:lnTo>
                    <a:pt x="2600973" y="200228"/>
                  </a:lnTo>
                  <a:lnTo>
                    <a:pt x="2600973" y="200876"/>
                  </a:lnTo>
                  <a:lnTo>
                    <a:pt x="2601024" y="200876"/>
                  </a:lnTo>
                  <a:lnTo>
                    <a:pt x="2601024" y="200228"/>
                  </a:lnTo>
                  <a:lnTo>
                    <a:pt x="2601024" y="200876"/>
                  </a:lnTo>
                  <a:lnTo>
                    <a:pt x="2601024" y="200228"/>
                  </a:lnTo>
                  <a:lnTo>
                    <a:pt x="2601075" y="200228"/>
                  </a:lnTo>
                  <a:lnTo>
                    <a:pt x="2601075" y="199530"/>
                  </a:lnTo>
                  <a:lnTo>
                    <a:pt x="2601075" y="200228"/>
                  </a:lnTo>
                  <a:lnTo>
                    <a:pt x="2601075" y="199530"/>
                  </a:lnTo>
                  <a:lnTo>
                    <a:pt x="2601075" y="200228"/>
                  </a:lnTo>
                  <a:lnTo>
                    <a:pt x="2601075" y="199530"/>
                  </a:lnTo>
                  <a:lnTo>
                    <a:pt x="2601075" y="200228"/>
                  </a:lnTo>
                  <a:lnTo>
                    <a:pt x="2601075" y="199530"/>
                  </a:lnTo>
                  <a:lnTo>
                    <a:pt x="2601176" y="199530"/>
                  </a:lnTo>
                  <a:lnTo>
                    <a:pt x="2601176" y="200876"/>
                  </a:lnTo>
                  <a:lnTo>
                    <a:pt x="2601176" y="200228"/>
                  </a:lnTo>
                  <a:lnTo>
                    <a:pt x="2601176" y="200876"/>
                  </a:lnTo>
                  <a:lnTo>
                    <a:pt x="2601227" y="200876"/>
                  </a:lnTo>
                  <a:lnTo>
                    <a:pt x="2601227" y="200228"/>
                  </a:lnTo>
                  <a:lnTo>
                    <a:pt x="2601227" y="200876"/>
                  </a:lnTo>
                  <a:lnTo>
                    <a:pt x="2601227" y="200228"/>
                  </a:lnTo>
                  <a:lnTo>
                    <a:pt x="2601227" y="200876"/>
                  </a:lnTo>
                  <a:lnTo>
                    <a:pt x="2601278" y="200876"/>
                  </a:lnTo>
                  <a:lnTo>
                    <a:pt x="2601278" y="200228"/>
                  </a:lnTo>
                  <a:lnTo>
                    <a:pt x="2601278" y="200876"/>
                  </a:lnTo>
                  <a:lnTo>
                    <a:pt x="2601278" y="200228"/>
                  </a:lnTo>
                  <a:lnTo>
                    <a:pt x="2601329" y="200228"/>
                  </a:lnTo>
                  <a:lnTo>
                    <a:pt x="2601329" y="200876"/>
                  </a:lnTo>
                  <a:lnTo>
                    <a:pt x="2601329" y="200228"/>
                  </a:lnTo>
                  <a:lnTo>
                    <a:pt x="2601329" y="200876"/>
                  </a:lnTo>
                  <a:lnTo>
                    <a:pt x="2601418" y="200876"/>
                  </a:lnTo>
                  <a:lnTo>
                    <a:pt x="2601418" y="200228"/>
                  </a:lnTo>
                  <a:lnTo>
                    <a:pt x="2601418" y="200876"/>
                  </a:lnTo>
                  <a:lnTo>
                    <a:pt x="2601469" y="200876"/>
                  </a:lnTo>
                  <a:lnTo>
                    <a:pt x="2601469" y="200228"/>
                  </a:lnTo>
                  <a:lnTo>
                    <a:pt x="2601469" y="200876"/>
                  </a:lnTo>
                  <a:lnTo>
                    <a:pt x="2601469" y="200228"/>
                  </a:lnTo>
                  <a:lnTo>
                    <a:pt x="2601469" y="200876"/>
                  </a:lnTo>
                  <a:lnTo>
                    <a:pt x="2601519" y="200876"/>
                  </a:lnTo>
                  <a:lnTo>
                    <a:pt x="2601519" y="198831"/>
                  </a:lnTo>
                  <a:lnTo>
                    <a:pt x="2601519" y="199530"/>
                  </a:lnTo>
                  <a:lnTo>
                    <a:pt x="2601519" y="198831"/>
                  </a:lnTo>
                  <a:lnTo>
                    <a:pt x="2601570" y="199530"/>
                  </a:lnTo>
                  <a:lnTo>
                    <a:pt x="2601570" y="198831"/>
                  </a:lnTo>
                  <a:lnTo>
                    <a:pt x="2601570" y="200228"/>
                  </a:lnTo>
                  <a:lnTo>
                    <a:pt x="2601570" y="198831"/>
                  </a:lnTo>
                  <a:lnTo>
                    <a:pt x="2601672" y="198831"/>
                  </a:lnTo>
                  <a:lnTo>
                    <a:pt x="2601672" y="202260"/>
                  </a:lnTo>
                  <a:lnTo>
                    <a:pt x="2601672" y="200876"/>
                  </a:lnTo>
                  <a:lnTo>
                    <a:pt x="2601672" y="202260"/>
                  </a:lnTo>
                  <a:lnTo>
                    <a:pt x="2601672" y="200228"/>
                  </a:lnTo>
                  <a:lnTo>
                    <a:pt x="2601722" y="200228"/>
                  </a:lnTo>
                  <a:lnTo>
                    <a:pt x="2601722" y="202260"/>
                  </a:lnTo>
                  <a:lnTo>
                    <a:pt x="2601722" y="200876"/>
                  </a:lnTo>
                  <a:lnTo>
                    <a:pt x="2601773" y="200876"/>
                  </a:lnTo>
                  <a:lnTo>
                    <a:pt x="2601773" y="200228"/>
                  </a:lnTo>
                  <a:lnTo>
                    <a:pt x="2601773" y="202260"/>
                  </a:lnTo>
                  <a:lnTo>
                    <a:pt x="2601773" y="200876"/>
                  </a:lnTo>
                  <a:lnTo>
                    <a:pt x="2601875" y="200876"/>
                  </a:lnTo>
                  <a:lnTo>
                    <a:pt x="2601875" y="202260"/>
                  </a:lnTo>
                  <a:lnTo>
                    <a:pt x="2601913" y="202260"/>
                  </a:lnTo>
                  <a:lnTo>
                    <a:pt x="2601913" y="202959"/>
                  </a:lnTo>
                  <a:lnTo>
                    <a:pt x="2601913" y="200876"/>
                  </a:lnTo>
                  <a:lnTo>
                    <a:pt x="2601913" y="202260"/>
                  </a:lnTo>
                  <a:lnTo>
                    <a:pt x="2601964" y="202260"/>
                  </a:lnTo>
                  <a:lnTo>
                    <a:pt x="2601964" y="200876"/>
                  </a:lnTo>
                  <a:lnTo>
                    <a:pt x="2602015" y="200876"/>
                  </a:lnTo>
                  <a:lnTo>
                    <a:pt x="2602015" y="199530"/>
                  </a:lnTo>
                  <a:lnTo>
                    <a:pt x="2602015" y="200228"/>
                  </a:lnTo>
                  <a:lnTo>
                    <a:pt x="2602015" y="199530"/>
                  </a:lnTo>
                  <a:lnTo>
                    <a:pt x="2602015" y="200228"/>
                  </a:lnTo>
                  <a:lnTo>
                    <a:pt x="2602015" y="199530"/>
                  </a:lnTo>
                  <a:lnTo>
                    <a:pt x="2602015" y="200228"/>
                  </a:lnTo>
                  <a:lnTo>
                    <a:pt x="2602015" y="199530"/>
                  </a:lnTo>
                  <a:lnTo>
                    <a:pt x="2602116" y="199530"/>
                  </a:lnTo>
                  <a:lnTo>
                    <a:pt x="2602116" y="202260"/>
                  </a:lnTo>
                  <a:lnTo>
                    <a:pt x="2602116" y="199530"/>
                  </a:lnTo>
                  <a:lnTo>
                    <a:pt x="2602116" y="202260"/>
                  </a:lnTo>
                  <a:lnTo>
                    <a:pt x="2602167" y="202959"/>
                  </a:lnTo>
                  <a:lnTo>
                    <a:pt x="2602167" y="200876"/>
                  </a:lnTo>
                  <a:lnTo>
                    <a:pt x="2602167" y="202959"/>
                  </a:lnTo>
                  <a:lnTo>
                    <a:pt x="2602218" y="202959"/>
                  </a:lnTo>
                  <a:lnTo>
                    <a:pt x="2602218" y="203594"/>
                  </a:lnTo>
                  <a:lnTo>
                    <a:pt x="2602218" y="202260"/>
                  </a:lnTo>
                  <a:lnTo>
                    <a:pt x="2602218" y="202959"/>
                  </a:lnTo>
                  <a:lnTo>
                    <a:pt x="2602319" y="202959"/>
                  </a:lnTo>
                  <a:lnTo>
                    <a:pt x="2602319" y="202260"/>
                  </a:lnTo>
                  <a:lnTo>
                    <a:pt x="2602319" y="202959"/>
                  </a:lnTo>
                  <a:lnTo>
                    <a:pt x="2602370" y="202959"/>
                  </a:lnTo>
                  <a:lnTo>
                    <a:pt x="2602370" y="202260"/>
                  </a:lnTo>
                  <a:lnTo>
                    <a:pt x="2602370" y="202959"/>
                  </a:lnTo>
                  <a:lnTo>
                    <a:pt x="2602370" y="202260"/>
                  </a:lnTo>
                  <a:lnTo>
                    <a:pt x="2602421" y="202959"/>
                  </a:lnTo>
                  <a:lnTo>
                    <a:pt x="2602421" y="200876"/>
                  </a:lnTo>
                  <a:lnTo>
                    <a:pt x="2602459" y="200876"/>
                  </a:lnTo>
                  <a:lnTo>
                    <a:pt x="2602459" y="200228"/>
                  </a:lnTo>
                  <a:lnTo>
                    <a:pt x="2602459" y="200876"/>
                  </a:lnTo>
                  <a:lnTo>
                    <a:pt x="2602459" y="199530"/>
                  </a:lnTo>
                  <a:lnTo>
                    <a:pt x="2602561" y="199530"/>
                  </a:lnTo>
                  <a:lnTo>
                    <a:pt x="2602561" y="197447"/>
                  </a:lnTo>
                  <a:lnTo>
                    <a:pt x="2602612" y="197447"/>
                  </a:lnTo>
                  <a:lnTo>
                    <a:pt x="2602612" y="198831"/>
                  </a:lnTo>
                  <a:lnTo>
                    <a:pt x="2602612" y="197447"/>
                  </a:lnTo>
                  <a:lnTo>
                    <a:pt x="2602612" y="198831"/>
                  </a:lnTo>
                  <a:lnTo>
                    <a:pt x="2602612" y="196799"/>
                  </a:lnTo>
                  <a:lnTo>
                    <a:pt x="2602662" y="197447"/>
                  </a:lnTo>
                  <a:lnTo>
                    <a:pt x="2602662" y="199530"/>
                  </a:lnTo>
                  <a:lnTo>
                    <a:pt x="2602662" y="198831"/>
                  </a:lnTo>
                  <a:lnTo>
                    <a:pt x="2602662" y="199530"/>
                  </a:lnTo>
                  <a:lnTo>
                    <a:pt x="2602764" y="199530"/>
                  </a:lnTo>
                  <a:lnTo>
                    <a:pt x="2602764" y="200228"/>
                  </a:lnTo>
                  <a:lnTo>
                    <a:pt x="2602764" y="199530"/>
                  </a:lnTo>
                  <a:lnTo>
                    <a:pt x="2602764" y="200228"/>
                  </a:lnTo>
                  <a:lnTo>
                    <a:pt x="2602815" y="200228"/>
                  </a:lnTo>
                  <a:lnTo>
                    <a:pt x="2602815" y="200876"/>
                  </a:lnTo>
                  <a:lnTo>
                    <a:pt x="2602815" y="200228"/>
                  </a:lnTo>
                  <a:lnTo>
                    <a:pt x="2602815" y="200876"/>
                  </a:lnTo>
                  <a:lnTo>
                    <a:pt x="2602815" y="200228"/>
                  </a:lnTo>
                  <a:lnTo>
                    <a:pt x="2602815" y="202260"/>
                  </a:lnTo>
                  <a:lnTo>
                    <a:pt x="2602815" y="200876"/>
                  </a:lnTo>
                  <a:lnTo>
                    <a:pt x="2602865" y="200876"/>
                  </a:lnTo>
                  <a:lnTo>
                    <a:pt x="2602865" y="202959"/>
                  </a:lnTo>
                  <a:lnTo>
                    <a:pt x="2602916" y="202959"/>
                  </a:lnTo>
                  <a:lnTo>
                    <a:pt x="2602916" y="200876"/>
                  </a:lnTo>
                  <a:lnTo>
                    <a:pt x="2603005" y="200876"/>
                  </a:lnTo>
                  <a:lnTo>
                    <a:pt x="2603005" y="202260"/>
                  </a:lnTo>
                  <a:lnTo>
                    <a:pt x="2603005" y="199530"/>
                  </a:lnTo>
                  <a:lnTo>
                    <a:pt x="2603056" y="199530"/>
                  </a:lnTo>
                  <a:lnTo>
                    <a:pt x="2603056" y="197447"/>
                  </a:lnTo>
                  <a:lnTo>
                    <a:pt x="2603056" y="200228"/>
                  </a:lnTo>
                  <a:lnTo>
                    <a:pt x="2603107" y="200228"/>
                  </a:lnTo>
                  <a:lnTo>
                    <a:pt x="2603107" y="197447"/>
                  </a:lnTo>
                  <a:lnTo>
                    <a:pt x="2603107" y="202260"/>
                  </a:lnTo>
                  <a:lnTo>
                    <a:pt x="2603158" y="202260"/>
                  </a:lnTo>
                  <a:lnTo>
                    <a:pt x="2603158" y="199530"/>
                  </a:lnTo>
                  <a:lnTo>
                    <a:pt x="2603158" y="200876"/>
                  </a:lnTo>
                  <a:lnTo>
                    <a:pt x="2603259" y="200876"/>
                  </a:lnTo>
                  <a:lnTo>
                    <a:pt x="2603259" y="200228"/>
                  </a:lnTo>
                  <a:lnTo>
                    <a:pt x="2603259" y="200876"/>
                  </a:lnTo>
                  <a:lnTo>
                    <a:pt x="2603259" y="200228"/>
                  </a:lnTo>
                  <a:lnTo>
                    <a:pt x="2603259" y="200876"/>
                  </a:lnTo>
                  <a:lnTo>
                    <a:pt x="2603259" y="200228"/>
                  </a:lnTo>
                  <a:lnTo>
                    <a:pt x="2603310" y="200876"/>
                  </a:lnTo>
                  <a:lnTo>
                    <a:pt x="2603310" y="200228"/>
                  </a:lnTo>
                  <a:lnTo>
                    <a:pt x="2603310" y="200876"/>
                  </a:lnTo>
                  <a:lnTo>
                    <a:pt x="2603361" y="200876"/>
                  </a:lnTo>
                  <a:lnTo>
                    <a:pt x="2603361" y="202260"/>
                  </a:lnTo>
                  <a:lnTo>
                    <a:pt x="2603361" y="200876"/>
                  </a:lnTo>
                  <a:lnTo>
                    <a:pt x="2603462" y="200876"/>
                  </a:lnTo>
                  <a:lnTo>
                    <a:pt x="2603462" y="202260"/>
                  </a:lnTo>
                  <a:lnTo>
                    <a:pt x="2603462" y="200876"/>
                  </a:lnTo>
                  <a:lnTo>
                    <a:pt x="2603462" y="202260"/>
                  </a:lnTo>
                  <a:lnTo>
                    <a:pt x="2603462" y="200876"/>
                  </a:lnTo>
                  <a:lnTo>
                    <a:pt x="2603500" y="200228"/>
                  </a:lnTo>
                  <a:lnTo>
                    <a:pt x="2603500" y="200876"/>
                  </a:lnTo>
                  <a:lnTo>
                    <a:pt x="2603500" y="199530"/>
                  </a:lnTo>
                  <a:lnTo>
                    <a:pt x="2603551" y="198831"/>
                  </a:lnTo>
                  <a:lnTo>
                    <a:pt x="2603551" y="196799"/>
                  </a:lnTo>
                  <a:lnTo>
                    <a:pt x="2603602" y="197447"/>
                  </a:lnTo>
                  <a:lnTo>
                    <a:pt x="2603602" y="196799"/>
                  </a:lnTo>
                  <a:lnTo>
                    <a:pt x="2603602" y="197447"/>
                  </a:lnTo>
                  <a:lnTo>
                    <a:pt x="2603602" y="196799"/>
                  </a:lnTo>
                  <a:lnTo>
                    <a:pt x="2603602" y="197447"/>
                  </a:lnTo>
                  <a:lnTo>
                    <a:pt x="2603704" y="198831"/>
                  </a:lnTo>
                  <a:lnTo>
                    <a:pt x="2603704" y="200228"/>
                  </a:lnTo>
                  <a:lnTo>
                    <a:pt x="2603704" y="198831"/>
                  </a:lnTo>
                  <a:lnTo>
                    <a:pt x="2603704" y="199530"/>
                  </a:lnTo>
                  <a:lnTo>
                    <a:pt x="2603755" y="199530"/>
                  </a:lnTo>
                  <a:lnTo>
                    <a:pt x="2603755" y="198831"/>
                  </a:lnTo>
                  <a:lnTo>
                    <a:pt x="2603755" y="200228"/>
                  </a:lnTo>
                  <a:lnTo>
                    <a:pt x="2603805" y="200228"/>
                  </a:lnTo>
                  <a:lnTo>
                    <a:pt x="2603805" y="199530"/>
                  </a:lnTo>
                  <a:lnTo>
                    <a:pt x="2603805" y="200876"/>
                  </a:lnTo>
                  <a:lnTo>
                    <a:pt x="2603805" y="200228"/>
                  </a:lnTo>
                  <a:lnTo>
                    <a:pt x="2603805" y="200876"/>
                  </a:lnTo>
                  <a:lnTo>
                    <a:pt x="2603805" y="200228"/>
                  </a:lnTo>
                  <a:lnTo>
                    <a:pt x="2603907" y="200228"/>
                  </a:lnTo>
                  <a:lnTo>
                    <a:pt x="2603907" y="200876"/>
                  </a:lnTo>
                  <a:lnTo>
                    <a:pt x="2603907" y="200228"/>
                  </a:lnTo>
                  <a:lnTo>
                    <a:pt x="2603907" y="200876"/>
                  </a:lnTo>
                  <a:lnTo>
                    <a:pt x="2603907" y="200228"/>
                  </a:lnTo>
                  <a:lnTo>
                    <a:pt x="2603907" y="202260"/>
                  </a:lnTo>
                  <a:lnTo>
                    <a:pt x="2603907" y="200876"/>
                  </a:lnTo>
                  <a:lnTo>
                    <a:pt x="2603958" y="200876"/>
                  </a:lnTo>
                  <a:lnTo>
                    <a:pt x="2603958" y="202260"/>
                  </a:lnTo>
                  <a:lnTo>
                    <a:pt x="2603958" y="200876"/>
                  </a:lnTo>
                  <a:lnTo>
                    <a:pt x="2603958" y="202260"/>
                  </a:lnTo>
                  <a:lnTo>
                    <a:pt x="2603958" y="200876"/>
                  </a:lnTo>
                  <a:lnTo>
                    <a:pt x="2604009" y="200876"/>
                  </a:lnTo>
                  <a:lnTo>
                    <a:pt x="2604009" y="198831"/>
                  </a:lnTo>
                  <a:lnTo>
                    <a:pt x="2604047" y="198831"/>
                  </a:lnTo>
                  <a:lnTo>
                    <a:pt x="2604047" y="199530"/>
                  </a:lnTo>
                  <a:lnTo>
                    <a:pt x="2604047" y="197447"/>
                  </a:lnTo>
                  <a:lnTo>
                    <a:pt x="2604047" y="198831"/>
                  </a:lnTo>
                  <a:lnTo>
                    <a:pt x="2604047" y="197447"/>
                  </a:lnTo>
                  <a:lnTo>
                    <a:pt x="2604047" y="198831"/>
                  </a:lnTo>
                  <a:lnTo>
                    <a:pt x="2604148" y="198831"/>
                  </a:lnTo>
                  <a:lnTo>
                    <a:pt x="2604148" y="197447"/>
                  </a:lnTo>
                  <a:lnTo>
                    <a:pt x="2604148" y="198831"/>
                  </a:lnTo>
                  <a:lnTo>
                    <a:pt x="2604148" y="196799"/>
                  </a:lnTo>
                  <a:lnTo>
                    <a:pt x="2604148" y="199530"/>
                  </a:lnTo>
                  <a:lnTo>
                    <a:pt x="2604148" y="198831"/>
                  </a:lnTo>
                  <a:lnTo>
                    <a:pt x="2604199" y="199530"/>
                  </a:lnTo>
                  <a:lnTo>
                    <a:pt x="2604199" y="198831"/>
                  </a:lnTo>
                  <a:lnTo>
                    <a:pt x="2604199" y="199530"/>
                  </a:lnTo>
                  <a:lnTo>
                    <a:pt x="2604250" y="198831"/>
                  </a:lnTo>
                  <a:lnTo>
                    <a:pt x="2604250" y="199530"/>
                  </a:lnTo>
                  <a:lnTo>
                    <a:pt x="2604250" y="198831"/>
                  </a:lnTo>
                  <a:lnTo>
                    <a:pt x="2604250" y="199530"/>
                  </a:lnTo>
                  <a:lnTo>
                    <a:pt x="2604351" y="198831"/>
                  </a:lnTo>
                  <a:lnTo>
                    <a:pt x="2604351" y="200228"/>
                  </a:lnTo>
                  <a:lnTo>
                    <a:pt x="2604351" y="199530"/>
                  </a:lnTo>
                  <a:lnTo>
                    <a:pt x="2604402" y="200228"/>
                  </a:lnTo>
                  <a:lnTo>
                    <a:pt x="2604402" y="199530"/>
                  </a:lnTo>
                  <a:lnTo>
                    <a:pt x="2604402" y="200228"/>
                  </a:lnTo>
                  <a:lnTo>
                    <a:pt x="2604504" y="200228"/>
                  </a:lnTo>
                  <a:lnTo>
                    <a:pt x="2604504" y="198831"/>
                  </a:lnTo>
                  <a:lnTo>
                    <a:pt x="2604504" y="199530"/>
                  </a:lnTo>
                  <a:lnTo>
                    <a:pt x="2604504" y="198831"/>
                  </a:lnTo>
                  <a:lnTo>
                    <a:pt x="2604593" y="198831"/>
                  </a:lnTo>
                  <a:lnTo>
                    <a:pt x="2604593" y="197447"/>
                  </a:lnTo>
                  <a:lnTo>
                    <a:pt x="2604593" y="199530"/>
                  </a:lnTo>
                  <a:lnTo>
                    <a:pt x="2604644" y="199530"/>
                  </a:lnTo>
                  <a:lnTo>
                    <a:pt x="2604644" y="197447"/>
                  </a:lnTo>
                  <a:lnTo>
                    <a:pt x="2604644" y="200876"/>
                  </a:lnTo>
                  <a:lnTo>
                    <a:pt x="2604644" y="200228"/>
                  </a:lnTo>
                  <a:lnTo>
                    <a:pt x="2604694" y="200228"/>
                  </a:lnTo>
                  <a:lnTo>
                    <a:pt x="2604694" y="199530"/>
                  </a:lnTo>
                  <a:lnTo>
                    <a:pt x="2604694" y="200228"/>
                  </a:lnTo>
                  <a:lnTo>
                    <a:pt x="2604745" y="200228"/>
                  </a:lnTo>
                  <a:lnTo>
                    <a:pt x="2604745" y="199530"/>
                  </a:lnTo>
                  <a:lnTo>
                    <a:pt x="2604745" y="200228"/>
                  </a:lnTo>
                  <a:lnTo>
                    <a:pt x="2604745" y="199530"/>
                  </a:lnTo>
                  <a:lnTo>
                    <a:pt x="2604745" y="200228"/>
                  </a:lnTo>
                  <a:lnTo>
                    <a:pt x="2604847" y="200228"/>
                  </a:lnTo>
                  <a:lnTo>
                    <a:pt x="2604847" y="200876"/>
                  </a:lnTo>
                  <a:lnTo>
                    <a:pt x="2604847" y="200228"/>
                  </a:lnTo>
                  <a:lnTo>
                    <a:pt x="2604847" y="200876"/>
                  </a:lnTo>
                  <a:lnTo>
                    <a:pt x="2604847" y="200228"/>
                  </a:lnTo>
                  <a:lnTo>
                    <a:pt x="2604897" y="200876"/>
                  </a:lnTo>
                  <a:lnTo>
                    <a:pt x="2604897" y="200228"/>
                  </a:lnTo>
                  <a:lnTo>
                    <a:pt x="2604948" y="200876"/>
                  </a:lnTo>
                  <a:lnTo>
                    <a:pt x="2604948" y="200228"/>
                  </a:lnTo>
                  <a:lnTo>
                    <a:pt x="2604948" y="200876"/>
                  </a:lnTo>
                  <a:lnTo>
                    <a:pt x="2604948" y="200228"/>
                  </a:lnTo>
                  <a:lnTo>
                    <a:pt x="2605050" y="200228"/>
                  </a:lnTo>
                  <a:lnTo>
                    <a:pt x="2605050" y="199530"/>
                  </a:lnTo>
                  <a:lnTo>
                    <a:pt x="2605050" y="200228"/>
                  </a:lnTo>
                  <a:lnTo>
                    <a:pt x="2605050" y="198831"/>
                  </a:lnTo>
                  <a:lnTo>
                    <a:pt x="2605050" y="199530"/>
                  </a:lnTo>
                  <a:lnTo>
                    <a:pt x="2605050" y="198831"/>
                  </a:lnTo>
                  <a:lnTo>
                    <a:pt x="2605088" y="198831"/>
                  </a:lnTo>
                  <a:lnTo>
                    <a:pt x="2605088" y="200228"/>
                  </a:lnTo>
                  <a:lnTo>
                    <a:pt x="2605088" y="199530"/>
                  </a:lnTo>
                  <a:lnTo>
                    <a:pt x="2605088" y="200228"/>
                  </a:lnTo>
                  <a:lnTo>
                    <a:pt x="2605088" y="199530"/>
                  </a:lnTo>
                  <a:lnTo>
                    <a:pt x="2605088" y="200228"/>
                  </a:lnTo>
                  <a:lnTo>
                    <a:pt x="2605088" y="198831"/>
                  </a:lnTo>
                  <a:lnTo>
                    <a:pt x="2605088" y="199530"/>
                  </a:lnTo>
                  <a:lnTo>
                    <a:pt x="2605139" y="199530"/>
                  </a:lnTo>
                  <a:lnTo>
                    <a:pt x="2605139" y="200876"/>
                  </a:lnTo>
                  <a:lnTo>
                    <a:pt x="2605139" y="200228"/>
                  </a:lnTo>
                  <a:lnTo>
                    <a:pt x="2605139" y="200876"/>
                  </a:lnTo>
                  <a:lnTo>
                    <a:pt x="2605139" y="200228"/>
                  </a:lnTo>
                  <a:lnTo>
                    <a:pt x="2605139" y="200876"/>
                  </a:lnTo>
                  <a:lnTo>
                    <a:pt x="2605190" y="200876"/>
                  </a:lnTo>
                  <a:lnTo>
                    <a:pt x="2605190" y="202260"/>
                  </a:lnTo>
                  <a:lnTo>
                    <a:pt x="2605190" y="200876"/>
                  </a:lnTo>
                  <a:lnTo>
                    <a:pt x="2605291" y="200876"/>
                  </a:lnTo>
                  <a:lnTo>
                    <a:pt x="2605291" y="202260"/>
                  </a:lnTo>
                  <a:lnTo>
                    <a:pt x="2605291" y="200876"/>
                  </a:lnTo>
                  <a:lnTo>
                    <a:pt x="2605291" y="202260"/>
                  </a:lnTo>
                  <a:lnTo>
                    <a:pt x="2605291" y="200228"/>
                  </a:lnTo>
                  <a:lnTo>
                    <a:pt x="2605291" y="200876"/>
                  </a:lnTo>
                  <a:lnTo>
                    <a:pt x="2605342" y="200876"/>
                  </a:lnTo>
                  <a:lnTo>
                    <a:pt x="2605342" y="202260"/>
                  </a:lnTo>
                  <a:lnTo>
                    <a:pt x="2605342" y="200876"/>
                  </a:lnTo>
                  <a:lnTo>
                    <a:pt x="2605393" y="200876"/>
                  </a:lnTo>
                  <a:lnTo>
                    <a:pt x="2605393" y="200228"/>
                  </a:lnTo>
                  <a:lnTo>
                    <a:pt x="2605393" y="200876"/>
                  </a:lnTo>
                  <a:lnTo>
                    <a:pt x="2605393" y="200228"/>
                  </a:lnTo>
                  <a:lnTo>
                    <a:pt x="2605393" y="200876"/>
                  </a:lnTo>
                  <a:lnTo>
                    <a:pt x="2605494" y="200876"/>
                  </a:lnTo>
                  <a:lnTo>
                    <a:pt x="2605494" y="199530"/>
                  </a:lnTo>
                  <a:lnTo>
                    <a:pt x="2605494" y="200228"/>
                  </a:lnTo>
                  <a:lnTo>
                    <a:pt x="2605494" y="199530"/>
                  </a:lnTo>
                  <a:lnTo>
                    <a:pt x="2605545" y="199530"/>
                  </a:lnTo>
                  <a:lnTo>
                    <a:pt x="2605545" y="197447"/>
                  </a:lnTo>
                  <a:lnTo>
                    <a:pt x="2605545" y="198831"/>
                  </a:lnTo>
                  <a:lnTo>
                    <a:pt x="2605545" y="196799"/>
                  </a:lnTo>
                  <a:lnTo>
                    <a:pt x="2605545" y="197447"/>
                  </a:lnTo>
                  <a:lnTo>
                    <a:pt x="2605596" y="198831"/>
                  </a:lnTo>
                  <a:lnTo>
                    <a:pt x="2605596" y="199530"/>
                  </a:lnTo>
                  <a:lnTo>
                    <a:pt x="2605596" y="197447"/>
                  </a:lnTo>
                  <a:lnTo>
                    <a:pt x="2605596" y="200228"/>
                  </a:lnTo>
                  <a:lnTo>
                    <a:pt x="2605634" y="200876"/>
                  </a:lnTo>
                  <a:lnTo>
                    <a:pt x="2605634" y="199530"/>
                  </a:lnTo>
                  <a:lnTo>
                    <a:pt x="2605634" y="200228"/>
                  </a:lnTo>
                  <a:lnTo>
                    <a:pt x="2605634" y="199530"/>
                  </a:lnTo>
                  <a:lnTo>
                    <a:pt x="2605634" y="200876"/>
                  </a:lnTo>
                  <a:lnTo>
                    <a:pt x="2605736" y="200876"/>
                  </a:lnTo>
                  <a:lnTo>
                    <a:pt x="2605736" y="200228"/>
                  </a:lnTo>
                  <a:lnTo>
                    <a:pt x="2605736" y="200876"/>
                  </a:lnTo>
                  <a:lnTo>
                    <a:pt x="2605736" y="200228"/>
                  </a:lnTo>
                  <a:lnTo>
                    <a:pt x="2605736" y="202260"/>
                  </a:lnTo>
                  <a:lnTo>
                    <a:pt x="2605787" y="202260"/>
                  </a:lnTo>
                  <a:lnTo>
                    <a:pt x="2605787" y="200228"/>
                  </a:lnTo>
                  <a:lnTo>
                    <a:pt x="2605787" y="200876"/>
                  </a:lnTo>
                  <a:lnTo>
                    <a:pt x="2605787" y="200228"/>
                  </a:lnTo>
                  <a:lnTo>
                    <a:pt x="2605787" y="200876"/>
                  </a:lnTo>
                  <a:lnTo>
                    <a:pt x="2605787" y="200228"/>
                  </a:lnTo>
                  <a:lnTo>
                    <a:pt x="2605787" y="202260"/>
                  </a:lnTo>
                  <a:lnTo>
                    <a:pt x="2605837" y="202260"/>
                  </a:lnTo>
                  <a:lnTo>
                    <a:pt x="2605837" y="200876"/>
                  </a:lnTo>
                  <a:lnTo>
                    <a:pt x="2605837" y="202260"/>
                  </a:lnTo>
                  <a:lnTo>
                    <a:pt x="2605837" y="200876"/>
                  </a:lnTo>
                  <a:lnTo>
                    <a:pt x="2605837" y="202260"/>
                  </a:lnTo>
                  <a:lnTo>
                    <a:pt x="2605939" y="202260"/>
                  </a:lnTo>
                  <a:lnTo>
                    <a:pt x="2605939" y="200876"/>
                  </a:lnTo>
                  <a:lnTo>
                    <a:pt x="2605939" y="202260"/>
                  </a:lnTo>
                  <a:lnTo>
                    <a:pt x="2605939" y="200876"/>
                  </a:lnTo>
                  <a:lnTo>
                    <a:pt x="2605939" y="202260"/>
                  </a:lnTo>
                  <a:lnTo>
                    <a:pt x="2605939" y="200876"/>
                  </a:lnTo>
                  <a:lnTo>
                    <a:pt x="2605990" y="200876"/>
                  </a:lnTo>
                  <a:lnTo>
                    <a:pt x="2605990" y="199530"/>
                  </a:lnTo>
                  <a:lnTo>
                    <a:pt x="2605990" y="200228"/>
                  </a:lnTo>
                  <a:lnTo>
                    <a:pt x="2605990" y="199530"/>
                  </a:lnTo>
                  <a:lnTo>
                    <a:pt x="2605990" y="200228"/>
                  </a:lnTo>
                  <a:lnTo>
                    <a:pt x="2605990" y="199530"/>
                  </a:lnTo>
                  <a:lnTo>
                    <a:pt x="2606040" y="199530"/>
                  </a:lnTo>
                  <a:lnTo>
                    <a:pt x="2606040" y="197447"/>
                  </a:lnTo>
                  <a:lnTo>
                    <a:pt x="2606040" y="199530"/>
                  </a:lnTo>
                  <a:lnTo>
                    <a:pt x="2606091" y="199530"/>
                  </a:lnTo>
                  <a:lnTo>
                    <a:pt x="2606091" y="197447"/>
                  </a:lnTo>
                  <a:lnTo>
                    <a:pt x="2606091" y="200876"/>
                  </a:lnTo>
                  <a:lnTo>
                    <a:pt x="2606091" y="200228"/>
                  </a:lnTo>
                  <a:lnTo>
                    <a:pt x="2606091" y="200876"/>
                  </a:lnTo>
                  <a:lnTo>
                    <a:pt x="2606091" y="200228"/>
                  </a:lnTo>
                  <a:lnTo>
                    <a:pt x="2606180" y="200228"/>
                  </a:lnTo>
                  <a:lnTo>
                    <a:pt x="2606180" y="200876"/>
                  </a:lnTo>
                  <a:lnTo>
                    <a:pt x="2606180" y="200228"/>
                  </a:lnTo>
                  <a:lnTo>
                    <a:pt x="2606180" y="200876"/>
                  </a:lnTo>
                  <a:lnTo>
                    <a:pt x="2606231" y="200876"/>
                  </a:lnTo>
                  <a:lnTo>
                    <a:pt x="2606231" y="202260"/>
                  </a:lnTo>
                  <a:lnTo>
                    <a:pt x="2606231" y="200876"/>
                  </a:lnTo>
                  <a:lnTo>
                    <a:pt x="2606282" y="200876"/>
                  </a:lnTo>
                  <a:lnTo>
                    <a:pt x="2606282" y="202260"/>
                  </a:lnTo>
                  <a:lnTo>
                    <a:pt x="2606282" y="200876"/>
                  </a:lnTo>
                  <a:lnTo>
                    <a:pt x="2606282" y="202260"/>
                  </a:lnTo>
                  <a:lnTo>
                    <a:pt x="2606434" y="202260"/>
                  </a:lnTo>
                  <a:lnTo>
                    <a:pt x="2606434" y="200228"/>
                  </a:lnTo>
                  <a:lnTo>
                    <a:pt x="2606434" y="200876"/>
                  </a:lnTo>
                  <a:lnTo>
                    <a:pt x="2606485" y="200876"/>
                  </a:lnTo>
                  <a:lnTo>
                    <a:pt x="2606485" y="199530"/>
                  </a:lnTo>
                  <a:lnTo>
                    <a:pt x="2606485" y="200228"/>
                  </a:lnTo>
                  <a:lnTo>
                    <a:pt x="2606485" y="198831"/>
                  </a:lnTo>
                  <a:lnTo>
                    <a:pt x="2606536" y="198831"/>
                  </a:lnTo>
                  <a:lnTo>
                    <a:pt x="2606536" y="200228"/>
                  </a:lnTo>
                  <a:lnTo>
                    <a:pt x="2606536" y="198831"/>
                  </a:lnTo>
                  <a:lnTo>
                    <a:pt x="2606536" y="199530"/>
                  </a:lnTo>
                  <a:lnTo>
                    <a:pt x="2606637" y="199530"/>
                  </a:lnTo>
                  <a:lnTo>
                    <a:pt x="2606637" y="202260"/>
                  </a:lnTo>
                  <a:lnTo>
                    <a:pt x="2606637" y="200228"/>
                  </a:lnTo>
                  <a:lnTo>
                    <a:pt x="2606637" y="200876"/>
                  </a:lnTo>
                  <a:lnTo>
                    <a:pt x="2606637" y="200228"/>
                  </a:lnTo>
                  <a:lnTo>
                    <a:pt x="2606675" y="200876"/>
                  </a:lnTo>
                  <a:lnTo>
                    <a:pt x="2606675" y="202260"/>
                  </a:lnTo>
                  <a:lnTo>
                    <a:pt x="2606675" y="200876"/>
                  </a:lnTo>
                  <a:lnTo>
                    <a:pt x="2606675" y="202260"/>
                  </a:lnTo>
                  <a:lnTo>
                    <a:pt x="2606726" y="200876"/>
                  </a:lnTo>
                  <a:lnTo>
                    <a:pt x="2606726" y="202260"/>
                  </a:lnTo>
                  <a:lnTo>
                    <a:pt x="2606726" y="200876"/>
                  </a:lnTo>
                  <a:lnTo>
                    <a:pt x="2606777" y="200876"/>
                  </a:lnTo>
                  <a:lnTo>
                    <a:pt x="2606777" y="202260"/>
                  </a:lnTo>
                  <a:lnTo>
                    <a:pt x="2606777" y="200876"/>
                  </a:lnTo>
                  <a:lnTo>
                    <a:pt x="2606777" y="202959"/>
                  </a:lnTo>
                  <a:lnTo>
                    <a:pt x="2606777" y="202260"/>
                  </a:lnTo>
                  <a:lnTo>
                    <a:pt x="2606879" y="202260"/>
                  </a:lnTo>
                  <a:lnTo>
                    <a:pt x="2606879" y="200876"/>
                  </a:lnTo>
                  <a:lnTo>
                    <a:pt x="2606879" y="202260"/>
                  </a:lnTo>
                  <a:lnTo>
                    <a:pt x="2606879" y="200876"/>
                  </a:lnTo>
                  <a:lnTo>
                    <a:pt x="2606879" y="202260"/>
                  </a:lnTo>
                  <a:lnTo>
                    <a:pt x="2606879" y="200876"/>
                  </a:lnTo>
                  <a:lnTo>
                    <a:pt x="2606879" y="202260"/>
                  </a:lnTo>
                  <a:lnTo>
                    <a:pt x="2606930" y="202260"/>
                  </a:lnTo>
                  <a:lnTo>
                    <a:pt x="2606930" y="200228"/>
                  </a:lnTo>
                  <a:lnTo>
                    <a:pt x="2606930" y="200876"/>
                  </a:lnTo>
                  <a:lnTo>
                    <a:pt x="2606930" y="200228"/>
                  </a:lnTo>
                  <a:lnTo>
                    <a:pt x="2606980" y="200228"/>
                  </a:lnTo>
                  <a:lnTo>
                    <a:pt x="2606980" y="198831"/>
                  </a:lnTo>
                  <a:lnTo>
                    <a:pt x="2606980" y="200228"/>
                  </a:lnTo>
                  <a:lnTo>
                    <a:pt x="2607082" y="200228"/>
                  </a:lnTo>
                  <a:lnTo>
                    <a:pt x="2607082" y="197447"/>
                  </a:lnTo>
                  <a:lnTo>
                    <a:pt x="2607082" y="202260"/>
                  </a:lnTo>
                  <a:lnTo>
                    <a:pt x="2607082" y="200876"/>
                  </a:lnTo>
                  <a:lnTo>
                    <a:pt x="2607133" y="200876"/>
                  </a:lnTo>
                  <a:lnTo>
                    <a:pt x="2607133" y="200228"/>
                  </a:lnTo>
                  <a:lnTo>
                    <a:pt x="2607133" y="202260"/>
                  </a:lnTo>
                  <a:lnTo>
                    <a:pt x="2607133" y="200876"/>
                  </a:lnTo>
                  <a:lnTo>
                    <a:pt x="2607184" y="200876"/>
                  </a:lnTo>
                  <a:lnTo>
                    <a:pt x="2607184" y="200228"/>
                  </a:lnTo>
                  <a:lnTo>
                    <a:pt x="2607184" y="200876"/>
                  </a:lnTo>
                  <a:lnTo>
                    <a:pt x="2607184" y="200228"/>
                  </a:lnTo>
                  <a:lnTo>
                    <a:pt x="2607184" y="202260"/>
                  </a:lnTo>
                  <a:lnTo>
                    <a:pt x="2607184" y="200876"/>
                  </a:lnTo>
                  <a:lnTo>
                    <a:pt x="2607222" y="200876"/>
                  </a:lnTo>
                  <a:lnTo>
                    <a:pt x="2607222" y="202260"/>
                  </a:lnTo>
                  <a:lnTo>
                    <a:pt x="2607222" y="200876"/>
                  </a:lnTo>
                  <a:lnTo>
                    <a:pt x="2607222" y="202260"/>
                  </a:lnTo>
                  <a:lnTo>
                    <a:pt x="2607222" y="200876"/>
                  </a:lnTo>
                  <a:lnTo>
                    <a:pt x="2607323" y="200876"/>
                  </a:lnTo>
                  <a:lnTo>
                    <a:pt x="2607323" y="200228"/>
                  </a:lnTo>
                  <a:lnTo>
                    <a:pt x="2607323" y="200876"/>
                  </a:lnTo>
                  <a:lnTo>
                    <a:pt x="2607374" y="200876"/>
                  </a:lnTo>
                  <a:lnTo>
                    <a:pt x="2607374" y="200228"/>
                  </a:lnTo>
                  <a:lnTo>
                    <a:pt x="2607374" y="200876"/>
                  </a:lnTo>
                  <a:lnTo>
                    <a:pt x="2607374" y="200228"/>
                  </a:lnTo>
                  <a:lnTo>
                    <a:pt x="2607374" y="200876"/>
                  </a:lnTo>
                  <a:lnTo>
                    <a:pt x="2607374" y="199530"/>
                  </a:lnTo>
                  <a:lnTo>
                    <a:pt x="2607425" y="199530"/>
                  </a:lnTo>
                  <a:lnTo>
                    <a:pt x="2607425" y="197447"/>
                  </a:lnTo>
                  <a:lnTo>
                    <a:pt x="2607425" y="198831"/>
                  </a:lnTo>
                  <a:lnTo>
                    <a:pt x="2607526" y="198831"/>
                  </a:lnTo>
                  <a:lnTo>
                    <a:pt x="2607526" y="197447"/>
                  </a:lnTo>
                  <a:lnTo>
                    <a:pt x="2607526" y="200228"/>
                  </a:lnTo>
                  <a:lnTo>
                    <a:pt x="2607526" y="198831"/>
                  </a:lnTo>
                  <a:lnTo>
                    <a:pt x="2607526" y="199530"/>
                  </a:lnTo>
                  <a:lnTo>
                    <a:pt x="2607526" y="198831"/>
                  </a:lnTo>
                  <a:lnTo>
                    <a:pt x="2607577" y="198831"/>
                  </a:lnTo>
                  <a:lnTo>
                    <a:pt x="2607577" y="200876"/>
                  </a:lnTo>
                  <a:lnTo>
                    <a:pt x="2607577" y="200228"/>
                  </a:lnTo>
                  <a:lnTo>
                    <a:pt x="2607628" y="200228"/>
                  </a:lnTo>
                  <a:lnTo>
                    <a:pt x="2607628" y="202260"/>
                  </a:lnTo>
                  <a:lnTo>
                    <a:pt x="2607628" y="200228"/>
                  </a:lnTo>
                  <a:lnTo>
                    <a:pt x="2607679" y="200228"/>
                  </a:lnTo>
                  <a:lnTo>
                    <a:pt x="2607679" y="202260"/>
                  </a:lnTo>
                  <a:lnTo>
                    <a:pt x="2607768" y="202260"/>
                  </a:lnTo>
                  <a:lnTo>
                    <a:pt x="2607768" y="200876"/>
                  </a:lnTo>
                  <a:lnTo>
                    <a:pt x="2607768" y="202959"/>
                  </a:lnTo>
                  <a:lnTo>
                    <a:pt x="2607768" y="202260"/>
                  </a:lnTo>
                  <a:lnTo>
                    <a:pt x="2607819" y="202260"/>
                  </a:lnTo>
                  <a:lnTo>
                    <a:pt x="2607819" y="200876"/>
                  </a:lnTo>
                  <a:lnTo>
                    <a:pt x="2607819" y="202260"/>
                  </a:lnTo>
                  <a:lnTo>
                    <a:pt x="2607819" y="200876"/>
                  </a:lnTo>
                  <a:lnTo>
                    <a:pt x="2607869" y="200876"/>
                  </a:lnTo>
                  <a:lnTo>
                    <a:pt x="2607869" y="200228"/>
                  </a:lnTo>
                  <a:lnTo>
                    <a:pt x="2607920" y="200228"/>
                  </a:lnTo>
                  <a:lnTo>
                    <a:pt x="2607920" y="199530"/>
                  </a:lnTo>
                  <a:lnTo>
                    <a:pt x="2607920" y="200228"/>
                  </a:lnTo>
                  <a:lnTo>
                    <a:pt x="2607920" y="198831"/>
                  </a:lnTo>
                  <a:lnTo>
                    <a:pt x="2607920" y="200228"/>
                  </a:lnTo>
                  <a:lnTo>
                    <a:pt x="2608022" y="200228"/>
                  </a:lnTo>
                  <a:lnTo>
                    <a:pt x="2608022" y="199530"/>
                  </a:lnTo>
                  <a:lnTo>
                    <a:pt x="2608022" y="200228"/>
                  </a:lnTo>
                  <a:lnTo>
                    <a:pt x="2608022" y="199530"/>
                  </a:lnTo>
                  <a:lnTo>
                    <a:pt x="2608022" y="202260"/>
                  </a:lnTo>
                  <a:lnTo>
                    <a:pt x="2608072" y="200876"/>
                  </a:lnTo>
                  <a:lnTo>
                    <a:pt x="2608072" y="202260"/>
                  </a:lnTo>
                  <a:lnTo>
                    <a:pt x="2608072" y="200876"/>
                  </a:lnTo>
                  <a:lnTo>
                    <a:pt x="2608072" y="202260"/>
                  </a:lnTo>
                  <a:lnTo>
                    <a:pt x="2608123" y="202260"/>
                  </a:lnTo>
                  <a:lnTo>
                    <a:pt x="2608123" y="200876"/>
                  </a:lnTo>
                  <a:lnTo>
                    <a:pt x="2608123" y="202260"/>
                  </a:lnTo>
                  <a:lnTo>
                    <a:pt x="2608123" y="200876"/>
                  </a:lnTo>
                  <a:lnTo>
                    <a:pt x="2608123" y="202260"/>
                  </a:lnTo>
                  <a:lnTo>
                    <a:pt x="2608225" y="202260"/>
                  </a:lnTo>
                  <a:lnTo>
                    <a:pt x="2608225" y="200876"/>
                  </a:lnTo>
                  <a:lnTo>
                    <a:pt x="2608225" y="202959"/>
                  </a:lnTo>
                  <a:lnTo>
                    <a:pt x="2608263" y="202260"/>
                  </a:lnTo>
                  <a:lnTo>
                    <a:pt x="2608314" y="202260"/>
                  </a:lnTo>
                  <a:lnTo>
                    <a:pt x="2608314" y="200876"/>
                  </a:lnTo>
                  <a:lnTo>
                    <a:pt x="2608314" y="202260"/>
                  </a:lnTo>
                  <a:lnTo>
                    <a:pt x="2608314" y="200876"/>
                  </a:lnTo>
                  <a:lnTo>
                    <a:pt x="2608365" y="200876"/>
                  </a:lnTo>
                  <a:lnTo>
                    <a:pt x="2608365" y="199530"/>
                  </a:lnTo>
                  <a:lnTo>
                    <a:pt x="2608365" y="200228"/>
                  </a:lnTo>
                  <a:lnTo>
                    <a:pt x="2608365" y="198831"/>
                  </a:lnTo>
                  <a:lnTo>
                    <a:pt x="2608466" y="198831"/>
                  </a:lnTo>
                  <a:lnTo>
                    <a:pt x="2608466" y="197447"/>
                  </a:lnTo>
                  <a:lnTo>
                    <a:pt x="2608466" y="198831"/>
                  </a:lnTo>
                  <a:lnTo>
                    <a:pt x="2608466" y="197447"/>
                  </a:lnTo>
                  <a:lnTo>
                    <a:pt x="2608466" y="199530"/>
                  </a:lnTo>
                  <a:lnTo>
                    <a:pt x="2608517" y="199530"/>
                  </a:lnTo>
                  <a:lnTo>
                    <a:pt x="2608517" y="197447"/>
                  </a:lnTo>
                  <a:lnTo>
                    <a:pt x="2608517" y="200876"/>
                  </a:lnTo>
                  <a:lnTo>
                    <a:pt x="2608517" y="200228"/>
                  </a:lnTo>
                  <a:lnTo>
                    <a:pt x="2608568" y="200228"/>
                  </a:lnTo>
                  <a:lnTo>
                    <a:pt x="2608568" y="199530"/>
                  </a:lnTo>
                  <a:lnTo>
                    <a:pt x="2608568" y="200876"/>
                  </a:lnTo>
                  <a:lnTo>
                    <a:pt x="2608568" y="200228"/>
                  </a:lnTo>
                  <a:lnTo>
                    <a:pt x="2608669" y="200228"/>
                  </a:lnTo>
                  <a:lnTo>
                    <a:pt x="2608669" y="200876"/>
                  </a:lnTo>
                  <a:lnTo>
                    <a:pt x="2608669" y="200228"/>
                  </a:lnTo>
                  <a:lnTo>
                    <a:pt x="2608669" y="200876"/>
                  </a:lnTo>
                  <a:lnTo>
                    <a:pt x="2608669" y="200228"/>
                  </a:lnTo>
                  <a:lnTo>
                    <a:pt x="2608669" y="200876"/>
                  </a:lnTo>
                  <a:lnTo>
                    <a:pt x="2608669" y="200228"/>
                  </a:lnTo>
                  <a:lnTo>
                    <a:pt x="2608720" y="200228"/>
                  </a:lnTo>
                  <a:lnTo>
                    <a:pt x="2608720" y="202260"/>
                  </a:lnTo>
                  <a:lnTo>
                    <a:pt x="2608720" y="200876"/>
                  </a:lnTo>
                  <a:lnTo>
                    <a:pt x="2608771" y="200876"/>
                  </a:lnTo>
                  <a:lnTo>
                    <a:pt x="2608771" y="202260"/>
                  </a:lnTo>
                  <a:lnTo>
                    <a:pt x="2608771" y="200876"/>
                  </a:lnTo>
                  <a:lnTo>
                    <a:pt x="2608771" y="202260"/>
                  </a:lnTo>
                  <a:lnTo>
                    <a:pt x="2608771" y="200876"/>
                  </a:lnTo>
                  <a:lnTo>
                    <a:pt x="2608809" y="200876"/>
                  </a:lnTo>
                  <a:lnTo>
                    <a:pt x="2608809" y="200228"/>
                  </a:lnTo>
                  <a:lnTo>
                    <a:pt x="2608809" y="200876"/>
                  </a:lnTo>
                  <a:lnTo>
                    <a:pt x="2608809" y="200228"/>
                  </a:lnTo>
                  <a:lnTo>
                    <a:pt x="2608911" y="200228"/>
                  </a:lnTo>
                  <a:lnTo>
                    <a:pt x="2608911" y="198831"/>
                  </a:lnTo>
                  <a:lnTo>
                    <a:pt x="2608962" y="198831"/>
                  </a:lnTo>
                  <a:lnTo>
                    <a:pt x="2608962" y="197447"/>
                  </a:lnTo>
                  <a:lnTo>
                    <a:pt x="2608962" y="199530"/>
                  </a:lnTo>
                  <a:lnTo>
                    <a:pt x="2608962" y="198831"/>
                  </a:lnTo>
                  <a:lnTo>
                    <a:pt x="2608962" y="199530"/>
                  </a:lnTo>
                  <a:lnTo>
                    <a:pt x="2608962" y="198831"/>
                  </a:lnTo>
                  <a:lnTo>
                    <a:pt x="2609012" y="197447"/>
                  </a:lnTo>
                  <a:lnTo>
                    <a:pt x="2609012" y="200876"/>
                  </a:lnTo>
                  <a:lnTo>
                    <a:pt x="2609012" y="198831"/>
                  </a:lnTo>
                  <a:lnTo>
                    <a:pt x="2609114" y="198831"/>
                  </a:lnTo>
                  <a:lnTo>
                    <a:pt x="2609114" y="200876"/>
                  </a:lnTo>
                  <a:lnTo>
                    <a:pt x="2609114" y="199530"/>
                  </a:lnTo>
                  <a:lnTo>
                    <a:pt x="2609114" y="200228"/>
                  </a:lnTo>
                  <a:lnTo>
                    <a:pt x="2609114" y="199530"/>
                  </a:lnTo>
                  <a:lnTo>
                    <a:pt x="2609165" y="199530"/>
                  </a:lnTo>
                  <a:lnTo>
                    <a:pt x="2609165" y="200876"/>
                  </a:lnTo>
                  <a:lnTo>
                    <a:pt x="2609215" y="200876"/>
                  </a:lnTo>
                  <a:lnTo>
                    <a:pt x="2609215" y="200228"/>
                  </a:lnTo>
                  <a:lnTo>
                    <a:pt x="2609215" y="202260"/>
                  </a:lnTo>
                  <a:lnTo>
                    <a:pt x="2609215" y="200876"/>
                  </a:lnTo>
                  <a:lnTo>
                    <a:pt x="2609215" y="202260"/>
                  </a:lnTo>
                  <a:lnTo>
                    <a:pt x="2609215" y="200876"/>
                  </a:lnTo>
                  <a:lnTo>
                    <a:pt x="2609266" y="200876"/>
                  </a:lnTo>
                  <a:lnTo>
                    <a:pt x="2609266" y="200228"/>
                  </a:lnTo>
                  <a:lnTo>
                    <a:pt x="2609266" y="200876"/>
                  </a:lnTo>
                  <a:lnTo>
                    <a:pt x="2609266" y="200228"/>
                  </a:lnTo>
                  <a:lnTo>
                    <a:pt x="2609266" y="200876"/>
                  </a:lnTo>
                  <a:lnTo>
                    <a:pt x="2609266" y="200228"/>
                  </a:lnTo>
                  <a:lnTo>
                    <a:pt x="2609266" y="202260"/>
                  </a:lnTo>
                  <a:lnTo>
                    <a:pt x="2609266" y="200876"/>
                  </a:lnTo>
                  <a:lnTo>
                    <a:pt x="2609355" y="200876"/>
                  </a:lnTo>
                  <a:lnTo>
                    <a:pt x="2609355" y="200228"/>
                  </a:lnTo>
                  <a:lnTo>
                    <a:pt x="2609355" y="200876"/>
                  </a:lnTo>
                  <a:lnTo>
                    <a:pt x="2609355" y="199530"/>
                  </a:lnTo>
                  <a:lnTo>
                    <a:pt x="2609406" y="199530"/>
                  </a:lnTo>
                  <a:lnTo>
                    <a:pt x="2609406" y="196799"/>
                  </a:lnTo>
                  <a:lnTo>
                    <a:pt x="2609406" y="197447"/>
                  </a:lnTo>
                  <a:lnTo>
                    <a:pt x="2609457" y="197447"/>
                  </a:lnTo>
                  <a:lnTo>
                    <a:pt x="2609457" y="196113"/>
                  </a:lnTo>
                  <a:lnTo>
                    <a:pt x="2609457" y="196799"/>
                  </a:lnTo>
                  <a:lnTo>
                    <a:pt x="2609508" y="196799"/>
                  </a:lnTo>
                  <a:lnTo>
                    <a:pt x="2609508" y="196113"/>
                  </a:lnTo>
                  <a:lnTo>
                    <a:pt x="2609508" y="198831"/>
                  </a:lnTo>
                  <a:lnTo>
                    <a:pt x="2609609" y="198831"/>
                  </a:lnTo>
                  <a:lnTo>
                    <a:pt x="2609609" y="196799"/>
                  </a:lnTo>
                  <a:lnTo>
                    <a:pt x="2609609" y="199530"/>
                  </a:lnTo>
                  <a:lnTo>
                    <a:pt x="2609609" y="198831"/>
                  </a:lnTo>
                  <a:lnTo>
                    <a:pt x="2609660" y="198831"/>
                  </a:lnTo>
                  <a:lnTo>
                    <a:pt x="2609660" y="197447"/>
                  </a:lnTo>
                  <a:lnTo>
                    <a:pt x="2609660" y="199530"/>
                  </a:lnTo>
                  <a:lnTo>
                    <a:pt x="2609711" y="199530"/>
                  </a:lnTo>
                  <a:lnTo>
                    <a:pt x="2609711" y="200228"/>
                  </a:lnTo>
                  <a:lnTo>
                    <a:pt x="2609711" y="199530"/>
                  </a:lnTo>
                  <a:lnTo>
                    <a:pt x="2609711" y="200228"/>
                  </a:lnTo>
                  <a:lnTo>
                    <a:pt x="2609812" y="200228"/>
                  </a:lnTo>
                  <a:lnTo>
                    <a:pt x="2609812" y="200876"/>
                  </a:lnTo>
                  <a:lnTo>
                    <a:pt x="2609812" y="199530"/>
                  </a:lnTo>
                  <a:lnTo>
                    <a:pt x="2609812" y="200876"/>
                  </a:lnTo>
                  <a:lnTo>
                    <a:pt x="2609850" y="202260"/>
                  </a:lnTo>
                  <a:lnTo>
                    <a:pt x="2609850" y="200228"/>
                  </a:lnTo>
                  <a:lnTo>
                    <a:pt x="2609850" y="200876"/>
                  </a:lnTo>
                  <a:lnTo>
                    <a:pt x="2609850" y="200228"/>
                  </a:lnTo>
                  <a:lnTo>
                    <a:pt x="2609901" y="199530"/>
                  </a:lnTo>
                  <a:lnTo>
                    <a:pt x="2609901" y="200228"/>
                  </a:lnTo>
                  <a:lnTo>
                    <a:pt x="2609901" y="198831"/>
                  </a:lnTo>
                  <a:lnTo>
                    <a:pt x="2609952" y="197447"/>
                  </a:lnTo>
                  <a:lnTo>
                    <a:pt x="2609952" y="195415"/>
                  </a:lnTo>
                  <a:lnTo>
                    <a:pt x="2609952" y="196113"/>
                  </a:lnTo>
                  <a:lnTo>
                    <a:pt x="2610054" y="196113"/>
                  </a:lnTo>
                  <a:lnTo>
                    <a:pt x="2610054" y="194716"/>
                  </a:lnTo>
                  <a:lnTo>
                    <a:pt x="2610054" y="196799"/>
                  </a:lnTo>
                  <a:lnTo>
                    <a:pt x="2610105" y="196799"/>
                  </a:lnTo>
                  <a:lnTo>
                    <a:pt x="2610105" y="195415"/>
                  </a:lnTo>
                  <a:lnTo>
                    <a:pt x="2610105" y="196799"/>
                  </a:lnTo>
                  <a:lnTo>
                    <a:pt x="2610155" y="196799"/>
                  </a:lnTo>
                  <a:lnTo>
                    <a:pt x="2610155" y="196113"/>
                  </a:lnTo>
                  <a:lnTo>
                    <a:pt x="2610155" y="196799"/>
                  </a:lnTo>
                  <a:lnTo>
                    <a:pt x="2610155" y="196113"/>
                  </a:lnTo>
                  <a:lnTo>
                    <a:pt x="2610155" y="197447"/>
                  </a:lnTo>
                  <a:lnTo>
                    <a:pt x="2610257" y="197447"/>
                  </a:lnTo>
                  <a:lnTo>
                    <a:pt x="2610257" y="198831"/>
                  </a:lnTo>
                  <a:lnTo>
                    <a:pt x="2610308" y="198831"/>
                  </a:lnTo>
                  <a:lnTo>
                    <a:pt x="2610308" y="199530"/>
                  </a:lnTo>
                  <a:lnTo>
                    <a:pt x="2610308" y="198831"/>
                  </a:lnTo>
                  <a:lnTo>
                    <a:pt x="2610359" y="199530"/>
                  </a:lnTo>
                  <a:lnTo>
                    <a:pt x="2610359" y="198831"/>
                  </a:lnTo>
                  <a:lnTo>
                    <a:pt x="2610359" y="199530"/>
                  </a:lnTo>
                  <a:lnTo>
                    <a:pt x="2610397" y="199530"/>
                  </a:lnTo>
                  <a:lnTo>
                    <a:pt x="2610397" y="198831"/>
                  </a:lnTo>
                  <a:lnTo>
                    <a:pt x="2610397" y="199530"/>
                  </a:lnTo>
                  <a:lnTo>
                    <a:pt x="2610397" y="197447"/>
                  </a:lnTo>
                  <a:lnTo>
                    <a:pt x="2610498" y="197447"/>
                  </a:lnTo>
                  <a:lnTo>
                    <a:pt x="2610498" y="196799"/>
                  </a:lnTo>
                  <a:lnTo>
                    <a:pt x="2610498" y="198831"/>
                  </a:lnTo>
                  <a:lnTo>
                    <a:pt x="2610498" y="197447"/>
                  </a:lnTo>
                  <a:lnTo>
                    <a:pt x="2610498" y="198831"/>
                  </a:lnTo>
                  <a:lnTo>
                    <a:pt x="2610498" y="197447"/>
                  </a:lnTo>
                  <a:lnTo>
                    <a:pt x="2610549" y="197447"/>
                  </a:lnTo>
                  <a:lnTo>
                    <a:pt x="2610549" y="196799"/>
                  </a:lnTo>
                  <a:lnTo>
                    <a:pt x="2610549" y="199530"/>
                  </a:lnTo>
                  <a:lnTo>
                    <a:pt x="2610549" y="198831"/>
                  </a:lnTo>
                  <a:lnTo>
                    <a:pt x="2610600" y="198831"/>
                  </a:lnTo>
                  <a:lnTo>
                    <a:pt x="2610600" y="199530"/>
                  </a:lnTo>
                  <a:lnTo>
                    <a:pt x="2610600" y="198831"/>
                  </a:lnTo>
                  <a:lnTo>
                    <a:pt x="2610701" y="198831"/>
                  </a:lnTo>
                  <a:lnTo>
                    <a:pt x="2610701" y="199530"/>
                  </a:lnTo>
                  <a:lnTo>
                    <a:pt x="2610701" y="198831"/>
                  </a:lnTo>
                  <a:lnTo>
                    <a:pt x="2610752" y="198831"/>
                  </a:lnTo>
                  <a:lnTo>
                    <a:pt x="2610752" y="199530"/>
                  </a:lnTo>
                  <a:lnTo>
                    <a:pt x="2610752" y="198831"/>
                  </a:lnTo>
                  <a:lnTo>
                    <a:pt x="2610752" y="199530"/>
                  </a:lnTo>
                  <a:lnTo>
                    <a:pt x="2610803" y="198831"/>
                  </a:lnTo>
                  <a:lnTo>
                    <a:pt x="2610803" y="199530"/>
                  </a:lnTo>
                  <a:lnTo>
                    <a:pt x="2610803" y="198831"/>
                  </a:lnTo>
                  <a:lnTo>
                    <a:pt x="2610803" y="200228"/>
                  </a:lnTo>
                  <a:lnTo>
                    <a:pt x="2610803" y="199530"/>
                  </a:lnTo>
                  <a:lnTo>
                    <a:pt x="2610854" y="199530"/>
                  </a:lnTo>
                  <a:lnTo>
                    <a:pt x="2610854" y="200228"/>
                  </a:lnTo>
                  <a:lnTo>
                    <a:pt x="2610854" y="198831"/>
                  </a:lnTo>
                  <a:lnTo>
                    <a:pt x="2610854" y="200228"/>
                  </a:lnTo>
                  <a:lnTo>
                    <a:pt x="2610854" y="199530"/>
                  </a:lnTo>
                  <a:lnTo>
                    <a:pt x="2610943" y="199530"/>
                  </a:lnTo>
                  <a:lnTo>
                    <a:pt x="2610943" y="198831"/>
                  </a:lnTo>
                  <a:lnTo>
                    <a:pt x="2610943" y="199530"/>
                  </a:lnTo>
                  <a:lnTo>
                    <a:pt x="2610943" y="198831"/>
                  </a:lnTo>
                  <a:lnTo>
                    <a:pt x="2610994" y="198831"/>
                  </a:lnTo>
                  <a:lnTo>
                    <a:pt x="2610994" y="196799"/>
                  </a:lnTo>
                  <a:lnTo>
                    <a:pt x="2610994" y="199530"/>
                  </a:lnTo>
                  <a:lnTo>
                    <a:pt x="2610994" y="197447"/>
                  </a:lnTo>
                  <a:lnTo>
                    <a:pt x="2611044" y="197447"/>
                  </a:lnTo>
                  <a:lnTo>
                    <a:pt x="2611044" y="200228"/>
                  </a:lnTo>
                  <a:lnTo>
                    <a:pt x="2611044" y="199530"/>
                  </a:lnTo>
                  <a:lnTo>
                    <a:pt x="2611044" y="200228"/>
                  </a:lnTo>
                  <a:lnTo>
                    <a:pt x="2611044" y="199530"/>
                  </a:lnTo>
                  <a:lnTo>
                    <a:pt x="2611095" y="199530"/>
                  </a:lnTo>
                  <a:lnTo>
                    <a:pt x="2611095" y="198831"/>
                  </a:lnTo>
                  <a:lnTo>
                    <a:pt x="2611095" y="200228"/>
                  </a:lnTo>
                  <a:lnTo>
                    <a:pt x="2611095" y="199530"/>
                  </a:lnTo>
                  <a:lnTo>
                    <a:pt x="2611197" y="199530"/>
                  </a:lnTo>
                  <a:lnTo>
                    <a:pt x="2611197" y="200228"/>
                  </a:lnTo>
                  <a:lnTo>
                    <a:pt x="2611197" y="199530"/>
                  </a:lnTo>
                  <a:lnTo>
                    <a:pt x="2611197" y="200228"/>
                  </a:lnTo>
                  <a:lnTo>
                    <a:pt x="2611197" y="199530"/>
                  </a:lnTo>
                  <a:lnTo>
                    <a:pt x="2611197" y="200228"/>
                  </a:lnTo>
                  <a:lnTo>
                    <a:pt x="2611197" y="199530"/>
                  </a:lnTo>
                  <a:lnTo>
                    <a:pt x="2611197" y="200228"/>
                  </a:lnTo>
                  <a:lnTo>
                    <a:pt x="2611197" y="199530"/>
                  </a:lnTo>
                  <a:lnTo>
                    <a:pt x="2611197" y="200228"/>
                  </a:lnTo>
                  <a:lnTo>
                    <a:pt x="2611247" y="200228"/>
                  </a:lnTo>
                  <a:lnTo>
                    <a:pt x="2611247" y="199530"/>
                  </a:lnTo>
                  <a:lnTo>
                    <a:pt x="2611247" y="200228"/>
                  </a:lnTo>
                  <a:lnTo>
                    <a:pt x="2611247" y="199530"/>
                  </a:lnTo>
                  <a:lnTo>
                    <a:pt x="2611247" y="200228"/>
                  </a:lnTo>
                  <a:lnTo>
                    <a:pt x="2611247" y="199530"/>
                  </a:lnTo>
                  <a:lnTo>
                    <a:pt x="2611247" y="200228"/>
                  </a:lnTo>
                  <a:lnTo>
                    <a:pt x="2611298" y="199530"/>
                  </a:lnTo>
                  <a:lnTo>
                    <a:pt x="2611298" y="200228"/>
                  </a:lnTo>
                  <a:lnTo>
                    <a:pt x="2611298" y="199530"/>
                  </a:lnTo>
                  <a:lnTo>
                    <a:pt x="2611298" y="200228"/>
                  </a:lnTo>
                  <a:lnTo>
                    <a:pt x="2611298" y="199530"/>
                  </a:lnTo>
                  <a:lnTo>
                    <a:pt x="2611298" y="200228"/>
                  </a:lnTo>
                  <a:lnTo>
                    <a:pt x="2611298" y="199530"/>
                  </a:lnTo>
                  <a:lnTo>
                    <a:pt x="2611298" y="200228"/>
                  </a:lnTo>
                  <a:lnTo>
                    <a:pt x="2611298" y="199530"/>
                  </a:lnTo>
                  <a:lnTo>
                    <a:pt x="2611400" y="199530"/>
                  </a:lnTo>
                  <a:lnTo>
                    <a:pt x="2611400" y="197447"/>
                  </a:lnTo>
                  <a:lnTo>
                    <a:pt x="2611438" y="197447"/>
                  </a:lnTo>
                  <a:lnTo>
                    <a:pt x="2611438" y="196799"/>
                  </a:lnTo>
                  <a:lnTo>
                    <a:pt x="2611438" y="197447"/>
                  </a:lnTo>
                  <a:lnTo>
                    <a:pt x="2611438" y="196113"/>
                  </a:lnTo>
                  <a:lnTo>
                    <a:pt x="2611438" y="196799"/>
                  </a:lnTo>
                  <a:lnTo>
                    <a:pt x="2611489" y="197447"/>
                  </a:lnTo>
                  <a:lnTo>
                    <a:pt x="2611489" y="198831"/>
                  </a:lnTo>
                  <a:lnTo>
                    <a:pt x="2611489" y="197447"/>
                  </a:lnTo>
                  <a:lnTo>
                    <a:pt x="2611489" y="198831"/>
                  </a:lnTo>
                  <a:lnTo>
                    <a:pt x="2611489" y="197447"/>
                  </a:lnTo>
                  <a:lnTo>
                    <a:pt x="2611489" y="199530"/>
                  </a:lnTo>
                  <a:lnTo>
                    <a:pt x="2611540" y="200228"/>
                  </a:lnTo>
                  <a:lnTo>
                    <a:pt x="2611540" y="199530"/>
                  </a:lnTo>
                  <a:lnTo>
                    <a:pt x="2611540" y="200876"/>
                  </a:lnTo>
                  <a:lnTo>
                    <a:pt x="2611641" y="200876"/>
                  </a:lnTo>
                  <a:lnTo>
                    <a:pt x="2611641" y="199530"/>
                  </a:lnTo>
                  <a:lnTo>
                    <a:pt x="2611641" y="200876"/>
                  </a:lnTo>
                  <a:lnTo>
                    <a:pt x="2611641" y="200228"/>
                  </a:lnTo>
                  <a:lnTo>
                    <a:pt x="2611641" y="200876"/>
                  </a:lnTo>
                  <a:lnTo>
                    <a:pt x="2611692" y="200876"/>
                  </a:lnTo>
                  <a:lnTo>
                    <a:pt x="2611692" y="200228"/>
                  </a:lnTo>
                  <a:lnTo>
                    <a:pt x="2611692" y="200876"/>
                  </a:lnTo>
                  <a:lnTo>
                    <a:pt x="2611692" y="200228"/>
                  </a:lnTo>
                  <a:lnTo>
                    <a:pt x="2611692" y="200876"/>
                  </a:lnTo>
                  <a:lnTo>
                    <a:pt x="2611692" y="200228"/>
                  </a:lnTo>
                  <a:lnTo>
                    <a:pt x="2611743" y="200228"/>
                  </a:lnTo>
                  <a:lnTo>
                    <a:pt x="2611743" y="200876"/>
                  </a:lnTo>
                  <a:lnTo>
                    <a:pt x="2611743" y="200228"/>
                  </a:lnTo>
                  <a:lnTo>
                    <a:pt x="2611743" y="200876"/>
                  </a:lnTo>
                  <a:lnTo>
                    <a:pt x="2611743" y="200228"/>
                  </a:lnTo>
                  <a:lnTo>
                    <a:pt x="2611743" y="200876"/>
                  </a:lnTo>
                  <a:lnTo>
                    <a:pt x="2611743" y="200228"/>
                  </a:lnTo>
                  <a:lnTo>
                    <a:pt x="2611844" y="200228"/>
                  </a:lnTo>
                  <a:lnTo>
                    <a:pt x="2611844" y="199530"/>
                  </a:lnTo>
                  <a:lnTo>
                    <a:pt x="2611895" y="200228"/>
                  </a:lnTo>
                  <a:lnTo>
                    <a:pt x="2611895" y="198831"/>
                  </a:lnTo>
                  <a:lnTo>
                    <a:pt x="2611895" y="199530"/>
                  </a:lnTo>
                  <a:lnTo>
                    <a:pt x="2611895" y="198831"/>
                  </a:lnTo>
                  <a:lnTo>
                    <a:pt x="2611946" y="198831"/>
                  </a:lnTo>
                  <a:lnTo>
                    <a:pt x="2611946" y="196113"/>
                  </a:lnTo>
                  <a:lnTo>
                    <a:pt x="2611946" y="197447"/>
                  </a:lnTo>
                  <a:lnTo>
                    <a:pt x="2611984" y="197447"/>
                  </a:lnTo>
                  <a:lnTo>
                    <a:pt x="2611984" y="198831"/>
                  </a:lnTo>
                  <a:lnTo>
                    <a:pt x="2611984" y="196799"/>
                  </a:lnTo>
                  <a:lnTo>
                    <a:pt x="2611984" y="199530"/>
                  </a:lnTo>
                  <a:lnTo>
                    <a:pt x="2612086" y="199530"/>
                  </a:lnTo>
                  <a:lnTo>
                    <a:pt x="2612086" y="197447"/>
                  </a:lnTo>
                  <a:lnTo>
                    <a:pt x="2612086" y="199530"/>
                  </a:lnTo>
                  <a:lnTo>
                    <a:pt x="2612137" y="199530"/>
                  </a:lnTo>
                  <a:lnTo>
                    <a:pt x="2612137" y="198831"/>
                  </a:lnTo>
                  <a:lnTo>
                    <a:pt x="2612137" y="199530"/>
                  </a:lnTo>
                  <a:lnTo>
                    <a:pt x="2612137" y="198831"/>
                  </a:lnTo>
                  <a:lnTo>
                    <a:pt x="2612137" y="200228"/>
                  </a:lnTo>
                  <a:lnTo>
                    <a:pt x="2612187" y="200228"/>
                  </a:lnTo>
                  <a:lnTo>
                    <a:pt x="2612187" y="200876"/>
                  </a:lnTo>
                  <a:lnTo>
                    <a:pt x="2612289" y="200876"/>
                  </a:lnTo>
                  <a:lnTo>
                    <a:pt x="2612289" y="200228"/>
                  </a:lnTo>
                  <a:lnTo>
                    <a:pt x="2612289" y="200876"/>
                  </a:lnTo>
                  <a:lnTo>
                    <a:pt x="2612289" y="200228"/>
                  </a:lnTo>
                  <a:lnTo>
                    <a:pt x="2612289" y="200876"/>
                  </a:lnTo>
                  <a:lnTo>
                    <a:pt x="2612289" y="200228"/>
                  </a:lnTo>
                  <a:lnTo>
                    <a:pt x="2612289" y="200876"/>
                  </a:lnTo>
                  <a:lnTo>
                    <a:pt x="2612340" y="200876"/>
                  </a:lnTo>
                  <a:lnTo>
                    <a:pt x="2612340" y="200228"/>
                  </a:lnTo>
                  <a:lnTo>
                    <a:pt x="2612340" y="200876"/>
                  </a:lnTo>
                  <a:lnTo>
                    <a:pt x="2612340" y="200228"/>
                  </a:lnTo>
                  <a:lnTo>
                    <a:pt x="2612390" y="199530"/>
                  </a:lnTo>
                  <a:lnTo>
                    <a:pt x="2612390" y="200228"/>
                  </a:lnTo>
                  <a:lnTo>
                    <a:pt x="2612390" y="197447"/>
                  </a:lnTo>
                  <a:lnTo>
                    <a:pt x="2612441" y="197447"/>
                  </a:lnTo>
                  <a:lnTo>
                    <a:pt x="2612441" y="196799"/>
                  </a:lnTo>
                  <a:lnTo>
                    <a:pt x="2612441" y="197447"/>
                  </a:lnTo>
                  <a:lnTo>
                    <a:pt x="2612441" y="195415"/>
                  </a:lnTo>
                  <a:lnTo>
                    <a:pt x="2612441" y="196113"/>
                  </a:lnTo>
                  <a:lnTo>
                    <a:pt x="2612530" y="196799"/>
                  </a:lnTo>
                  <a:lnTo>
                    <a:pt x="2612530" y="196113"/>
                  </a:lnTo>
                  <a:lnTo>
                    <a:pt x="2612530" y="196799"/>
                  </a:lnTo>
                  <a:lnTo>
                    <a:pt x="2612530" y="195415"/>
                  </a:lnTo>
                  <a:lnTo>
                    <a:pt x="2612530" y="198831"/>
                  </a:lnTo>
                  <a:lnTo>
                    <a:pt x="2612581" y="198831"/>
                  </a:lnTo>
                  <a:lnTo>
                    <a:pt x="2612581" y="196799"/>
                  </a:lnTo>
                  <a:lnTo>
                    <a:pt x="2612581" y="197447"/>
                  </a:lnTo>
                  <a:lnTo>
                    <a:pt x="2612581" y="196799"/>
                  </a:lnTo>
                  <a:lnTo>
                    <a:pt x="2612581" y="199530"/>
                  </a:lnTo>
                  <a:lnTo>
                    <a:pt x="2612632" y="199530"/>
                  </a:lnTo>
                  <a:lnTo>
                    <a:pt x="2612632" y="198831"/>
                  </a:lnTo>
                  <a:lnTo>
                    <a:pt x="2612632" y="199530"/>
                  </a:lnTo>
                  <a:lnTo>
                    <a:pt x="2612632" y="198831"/>
                  </a:lnTo>
                  <a:lnTo>
                    <a:pt x="2612683" y="198831"/>
                  </a:lnTo>
                  <a:lnTo>
                    <a:pt x="2612683" y="200228"/>
                  </a:lnTo>
                  <a:lnTo>
                    <a:pt x="2612683" y="199530"/>
                  </a:lnTo>
                  <a:lnTo>
                    <a:pt x="2612683" y="200228"/>
                  </a:lnTo>
                  <a:lnTo>
                    <a:pt x="2612784" y="200228"/>
                  </a:lnTo>
                  <a:lnTo>
                    <a:pt x="2612784" y="199530"/>
                  </a:lnTo>
                  <a:lnTo>
                    <a:pt x="2612784" y="200876"/>
                  </a:lnTo>
                  <a:lnTo>
                    <a:pt x="2612784" y="200228"/>
                  </a:lnTo>
                  <a:lnTo>
                    <a:pt x="2612835" y="200228"/>
                  </a:lnTo>
                  <a:lnTo>
                    <a:pt x="2612835" y="200876"/>
                  </a:lnTo>
                  <a:lnTo>
                    <a:pt x="2612835" y="200228"/>
                  </a:lnTo>
                  <a:lnTo>
                    <a:pt x="2612835" y="200876"/>
                  </a:lnTo>
                  <a:lnTo>
                    <a:pt x="2612835" y="200228"/>
                  </a:lnTo>
                  <a:lnTo>
                    <a:pt x="2612835" y="200876"/>
                  </a:lnTo>
                  <a:lnTo>
                    <a:pt x="2612835" y="200228"/>
                  </a:lnTo>
                  <a:lnTo>
                    <a:pt x="2612835" y="200876"/>
                  </a:lnTo>
                  <a:lnTo>
                    <a:pt x="2612835" y="200228"/>
                  </a:lnTo>
                  <a:lnTo>
                    <a:pt x="2612886" y="200228"/>
                  </a:lnTo>
                  <a:lnTo>
                    <a:pt x="2612886" y="198831"/>
                  </a:lnTo>
                  <a:lnTo>
                    <a:pt x="2612886" y="199530"/>
                  </a:lnTo>
                  <a:lnTo>
                    <a:pt x="2612886" y="197447"/>
                  </a:lnTo>
                  <a:lnTo>
                    <a:pt x="2612987" y="197447"/>
                  </a:lnTo>
                  <a:lnTo>
                    <a:pt x="2612987" y="198831"/>
                  </a:lnTo>
                  <a:lnTo>
                    <a:pt x="2612987" y="197447"/>
                  </a:lnTo>
                  <a:lnTo>
                    <a:pt x="2612987" y="198831"/>
                  </a:lnTo>
                  <a:lnTo>
                    <a:pt x="2612987" y="197447"/>
                  </a:lnTo>
                  <a:lnTo>
                    <a:pt x="2613025" y="196799"/>
                  </a:lnTo>
                  <a:lnTo>
                    <a:pt x="2613025" y="199530"/>
                  </a:lnTo>
                  <a:lnTo>
                    <a:pt x="2613025" y="197447"/>
                  </a:lnTo>
                  <a:lnTo>
                    <a:pt x="2613076" y="198831"/>
                  </a:lnTo>
                  <a:lnTo>
                    <a:pt x="2613076" y="197447"/>
                  </a:lnTo>
                  <a:lnTo>
                    <a:pt x="2613076" y="198831"/>
                  </a:lnTo>
                  <a:lnTo>
                    <a:pt x="2613076" y="197447"/>
                  </a:lnTo>
                  <a:lnTo>
                    <a:pt x="2613127" y="198831"/>
                  </a:lnTo>
                  <a:lnTo>
                    <a:pt x="2613127" y="197447"/>
                  </a:lnTo>
                  <a:lnTo>
                    <a:pt x="2613127" y="199530"/>
                  </a:lnTo>
                  <a:lnTo>
                    <a:pt x="2613127" y="198831"/>
                  </a:lnTo>
                  <a:lnTo>
                    <a:pt x="2613229" y="198831"/>
                  </a:lnTo>
                  <a:lnTo>
                    <a:pt x="2613229" y="199530"/>
                  </a:lnTo>
                  <a:lnTo>
                    <a:pt x="2613229" y="198831"/>
                  </a:lnTo>
                  <a:lnTo>
                    <a:pt x="2613229" y="199530"/>
                  </a:lnTo>
                  <a:lnTo>
                    <a:pt x="2613330" y="199530"/>
                  </a:lnTo>
                  <a:lnTo>
                    <a:pt x="2613330" y="200228"/>
                  </a:lnTo>
                  <a:lnTo>
                    <a:pt x="2613330" y="199530"/>
                  </a:lnTo>
                  <a:lnTo>
                    <a:pt x="2613432" y="199530"/>
                  </a:lnTo>
                  <a:lnTo>
                    <a:pt x="2613432" y="198831"/>
                  </a:lnTo>
                  <a:lnTo>
                    <a:pt x="2613432" y="199530"/>
                  </a:lnTo>
                  <a:lnTo>
                    <a:pt x="2613432" y="197447"/>
                  </a:lnTo>
                  <a:lnTo>
                    <a:pt x="2613483" y="197447"/>
                  </a:lnTo>
                  <a:lnTo>
                    <a:pt x="2613483" y="196799"/>
                  </a:lnTo>
                  <a:lnTo>
                    <a:pt x="2613483" y="199530"/>
                  </a:lnTo>
                  <a:lnTo>
                    <a:pt x="2613483" y="198831"/>
                  </a:lnTo>
                  <a:lnTo>
                    <a:pt x="2613483" y="199530"/>
                  </a:lnTo>
                  <a:lnTo>
                    <a:pt x="2613483" y="198831"/>
                  </a:lnTo>
                  <a:lnTo>
                    <a:pt x="2613483" y="199530"/>
                  </a:lnTo>
                  <a:lnTo>
                    <a:pt x="2613483" y="196799"/>
                  </a:lnTo>
                  <a:lnTo>
                    <a:pt x="2613534" y="197447"/>
                  </a:lnTo>
                  <a:lnTo>
                    <a:pt x="2613534" y="200876"/>
                  </a:lnTo>
                  <a:lnTo>
                    <a:pt x="2613534" y="198831"/>
                  </a:lnTo>
                  <a:lnTo>
                    <a:pt x="2613572" y="199530"/>
                  </a:lnTo>
                  <a:lnTo>
                    <a:pt x="2613572" y="200876"/>
                  </a:lnTo>
                  <a:lnTo>
                    <a:pt x="2613572" y="199530"/>
                  </a:lnTo>
                  <a:lnTo>
                    <a:pt x="2613572" y="200228"/>
                  </a:lnTo>
                  <a:lnTo>
                    <a:pt x="2613673" y="200228"/>
                  </a:lnTo>
                  <a:lnTo>
                    <a:pt x="2613673" y="199530"/>
                  </a:lnTo>
                  <a:lnTo>
                    <a:pt x="2613673" y="200228"/>
                  </a:lnTo>
                  <a:lnTo>
                    <a:pt x="2613673" y="199530"/>
                  </a:lnTo>
                  <a:lnTo>
                    <a:pt x="2613673" y="200228"/>
                  </a:lnTo>
                  <a:lnTo>
                    <a:pt x="2613673" y="199530"/>
                  </a:lnTo>
                  <a:lnTo>
                    <a:pt x="2613673" y="200228"/>
                  </a:lnTo>
                  <a:lnTo>
                    <a:pt x="2613775" y="200228"/>
                  </a:lnTo>
                  <a:lnTo>
                    <a:pt x="2613775" y="200876"/>
                  </a:lnTo>
                  <a:lnTo>
                    <a:pt x="2613775" y="200228"/>
                  </a:lnTo>
                  <a:lnTo>
                    <a:pt x="2613876" y="200228"/>
                  </a:lnTo>
                  <a:lnTo>
                    <a:pt x="2613876" y="199530"/>
                  </a:lnTo>
                  <a:lnTo>
                    <a:pt x="2613876" y="200228"/>
                  </a:lnTo>
                  <a:lnTo>
                    <a:pt x="2613876" y="199530"/>
                  </a:lnTo>
                  <a:lnTo>
                    <a:pt x="2613927" y="199530"/>
                  </a:lnTo>
                  <a:lnTo>
                    <a:pt x="2613927" y="197447"/>
                  </a:lnTo>
                  <a:lnTo>
                    <a:pt x="2613927" y="198831"/>
                  </a:lnTo>
                  <a:lnTo>
                    <a:pt x="2613927" y="197447"/>
                  </a:lnTo>
                  <a:lnTo>
                    <a:pt x="2613927" y="198831"/>
                  </a:lnTo>
                  <a:lnTo>
                    <a:pt x="2613927" y="197447"/>
                  </a:lnTo>
                  <a:lnTo>
                    <a:pt x="2613978" y="197447"/>
                  </a:lnTo>
                  <a:lnTo>
                    <a:pt x="2613978" y="200228"/>
                  </a:lnTo>
                  <a:lnTo>
                    <a:pt x="2613978" y="199530"/>
                  </a:lnTo>
                  <a:lnTo>
                    <a:pt x="2613978" y="200228"/>
                  </a:lnTo>
                  <a:lnTo>
                    <a:pt x="2613978" y="197447"/>
                  </a:lnTo>
                  <a:lnTo>
                    <a:pt x="2613978" y="200228"/>
                  </a:lnTo>
                  <a:lnTo>
                    <a:pt x="2614029" y="200876"/>
                  </a:lnTo>
                  <a:lnTo>
                    <a:pt x="2614029" y="202260"/>
                  </a:lnTo>
                  <a:lnTo>
                    <a:pt x="2614029" y="198831"/>
                  </a:lnTo>
                  <a:lnTo>
                    <a:pt x="2614029" y="200876"/>
                  </a:lnTo>
                  <a:lnTo>
                    <a:pt x="2614118" y="200876"/>
                  </a:lnTo>
                  <a:lnTo>
                    <a:pt x="2614118" y="199530"/>
                  </a:lnTo>
                  <a:lnTo>
                    <a:pt x="2614118" y="200876"/>
                  </a:lnTo>
                  <a:lnTo>
                    <a:pt x="2614169" y="200876"/>
                  </a:lnTo>
                  <a:lnTo>
                    <a:pt x="2614169" y="202260"/>
                  </a:lnTo>
                  <a:lnTo>
                    <a:pt x="2614169" y="200228"/>
                  </a:lnTo>
                  <a:lnTo>
                    <a:pt x="2614169" y="202260"/>
                  </a:lnTo>
                  <a:lnTo>
                    <a:pt x="2614169" y="200876"/>
                  </a:lnTo>
                  <a:lnTo>
                    <a:pt x="2614219" y="200876"/>
                  </a:lnTo>
                  <a:lnTo>
                    <a:pt x="2614219" y="202260"/>
                  </a:lnTo>
                  <a:lnTo>
                    <a:pt x="2614219" y="200876"/>
                  </a:lnTo>
                  <a:lnTo>
                    <a:pt x="2614270" y="200876"/>
                  </a:lnTo>
                  <a:lnTo>
                    <a:pt x="2614270" y="200228"/>
                  </a:lnTo>
                  <a:lnTo>
                    <a:pt x="2614270" y="200876"/>
                  </a:lnTo>
                  <a:lnTo>
                    <a:pt x="2614270" y="200228"/>
                  </a:lnTo>
                  <a:lnTo>
                    <a:pt x="2614372" y="200228"/>
                  </a:lnTo>
                  <a:lnTo>
                    <a:pt x="2614372" y="197447"/>
                  </a:lnTo>
                  <a:lnTo>
                    <a:pt x="2614422" y="197447"/>
                  </a:lnTo>
                  <a:lnTo>
                    <a:pt x="2614422" y="196799"/>
                  </a:lnTo>
                  <a:lnTo>
                    <a:pt x="2614422" y="198831"/>
                  </a:lnTo>
                  <a:lnTo>
                    <a:pt x="2614473" y="198831"/>
                  </a:lnTo>
                  <a:lnTo>
                    <a:pt x="2614473" y="199530"/>
                  </a:lnTo>
                  <a:lnTo>
                    <a:pt x="2614473" y="196799"/>
                  </a:lnTo>
                  <a:lnTo>
                    <a:pt x="2614473" y="200228"/>
                  </a:lnTo>
                  <a:lnTo>
                    <a:pt x="2614575" y="200228"/>
                  </a:lnTo>
                  <a:lnTo>
                    <a:pt x="2614575" y="198831"/>
                  </a:lnTo>
                  <a:lnTo>
                    <a:pt x="2614575" y="200228"/>
                  </a:lnTo>
                  <a:lnTo>
                    <a:pt x="2614613" y="200228"/>
                  </a:lnTo>
                  <a:lnTo>
                    <a:pt x="2614613" y="199530"/>
                  </a:lnTo>
                  <a:lnTo>
                    <a:pt x="2614613" y="200876"/>
                  </a:lnTo>
                  <a:lnTo>
                    <a:pt x="2614613" y="200228"/>
                  </a:lnTo>
                  <a:lnTo>
                    <a:pt x="2614613" y="200876"/>
                  </a:lnTo>
                  <a:lnTo>
                    <a:pt x="2614664" y="200876"/>
                  </a:lnTo>
                  <a:lnTo>
                    <a:pt x="2614664" y="200228"/>
                  </a:lnTo>
                  <a:lnTo>
                    <a:pt x="2614664" y="200876"/>
                  </a:lnTo>
                  <a:lnTo>
                    <a:pt x="2614664" y="200228"/>
                  </a:lnTo>
                  <a:lnTo>
                    <a:pt x="2614715" y="200876"/>
                  </a:lnTo>
                  <a:lnTo>
                    <a:pt x="2614715" y="202260"/>
                  </a:lnTo>
                  <a:lnTo>
                    <a:pt x="2614715" y="200876"/>
                  </a:lnTo>
                  <a:lnTo>
                    <a:pt x="2614816" y="200876"/>
                  </a:lnTo>
                  <a:lnTo>
                    <a:pt x="2614816" y="200228"/>
                  </a:lnTo>
                  <a:lnTo>
                    <a:pt x="2614816" y="200876"/>
                  </a:lnTo>
                  <a:lnTo>
                    <a:pt x="2614816" y="200228"/>
                  </a:lnTo>
                  <a:lnTo>
                    <a:pt x="2614867" y="199530"/>
                  </a:lnTo>
                  <a:lnTo>
                    <a:pt x="2614867" y="197447"/>
                  </a:lnTo>
                  <a:lnTo>
                    <a:pt x="2614918" y="197447"/>
                  </a:lnTo>
                  <a:lnTo>
                    <a:pt x="2614918" y="200228"/>
                  </a:lnTo>
                  <a:lnTo>
                    <a:pt x="2614918" y="197447"/>
                  </a:lnTo>
                  <a:lnTo>
                    <a:pt x="2615019" y="197447"/>
                  </a:lnTo>
                  <a:lnTo>
                    <a:pt x="2615019" y="200876"/>
                  </a:lnTo>
                  <a:lnTo>
                    <a:pt x="2615019" y="199530"/>
                  </a:lnTo>
                  <a:lnTo>
                    <a:pt x="2615070" y="199530"/>
                  </a:lnTo>
                  <a:lnTo>
                    <a:pt x="2615070" y="200876"/>
                  </a:lnTo>
                  <a:lnTo>
                    <a:pt x="2615070" y="200228"/>
                  </a:lnTo>
                  <a:lnTo>
                    <a:pt x="2615070" y="200876"/>
                  </a:lnTo>
                  <a:lnTo>
                    <a:pt x="2615070" y="200228"/>
                  </a:lnTo>
                  <a:lnTo>
                    <a:pt x="2615121" y="199530"/>
                  </a:lnTo>
                  <a:lnTo>
                    <a:pt x="2615121" y="200876"/>
                  </a:lnTo>
                  <a:lnTo>
                    <a:pt x="2615121" y="200228"/>
                  </a:lnTo>
                  <a:lnTo>
                    <a:pt x="2615121" y="200876"/>
                  </a:lnTo>
                  <a:lnTo>
                    <a:pt x="2615121" y="200228"/>
                  </a:lnTo>
                  <a:lnTo>
                    <a:pt x="2615159" y="200228"/>
                  </a:lnTo>
                  <a:lnTo>
                    <a:pt x="2615159" y="200876"/>
                  </a:lnTo>
                  <a:lnTo>
                    <a:pt x="2615159" y="200228"/>
                  </a:lnTo>
                  <a:lnTo>
                    <a:pt x="2615159" y="200876"/>
                  </a:lnTo>
                  <a:lnTo>
                    <a:pt x="2615159" y="200228"/>
                  </a:lnTo>
                  <a:lnTo>
                    <a:pt x="2615159" y="200876"/>
                  </a:lnTo>
                  <a:lnTo>
                    <a:pt x="2615159" y="200228"/>
                  </a:lnTo>
                  <a:lnTo>
                    <a:pt x="2615159" y="200876"/>
                  </a:lnTo>
                  <a:lnTo>
                    <a:pt x="2615159" y="200228"/>
                  </a:lnTo>
                  <a:lnTo>
                    <a:pt x="2615159" y="200876"/>
                  </a:lnTo>
                  <a:lnTo>
                    <a:pt x="2615261" y="202260"/>
                  </a:lnTo>
                  <a:lnTo>
                    <a:pt x="2615261" y="200876"/>
                  </a:lnTo>
                  <a:lnTo>
                    <a:pt x="2615312" y="200876"/>
                  </a:lnTo>
                  <a:lnTo>
                    <a:pt x="2615312" y="199530"/>
                  </a:lnTo>
                  <a:lnTo>
                    <a:pt x="2615312" y="200228"/>
                  </a:lnTo>
                  <a:lnTo>
                    <a:pt x="2615362" y="200228"/>
                  </a:lnTo>
                  <a:lnTo>
                    <a:pt x="2615362" y="197447"/>
                  </a:lnTo>
                  <a:lnTo>
                    <a:pt x="2615362" y="198831"/>
                  </a:lnTo>
                  <a:lnTo>
                    <a:pt x="2615362" y="196799"/>
                  </a:lnTo>
                  <a:lnTo>
                    <a:pt x="2615464" y="196799"/>
                  </a:lnTo>
                  <a:lnTo>
                    <a:pt x="2615464" y="196113"/>
                  </a:lnTo>
                  <a:lnTo>
                    <a:pt x="2615464" y="196799"/>
                  </a:lnTo>
                  <a:lnTo>
                    <a:pt x="2615464" y="196113"/>
                  </a:lnTo>
                  <a:lnTo>
                    <a:pt x="2615464" y="198831"/>
                  </a:lnTo>
                  <a:lnTo>
                    <a:pt x="2615464" y="196799"/>
                  </a:lnTo>
                  <a:lnTo>
                    <a:pt x="2615515" y="196799"/>
                  </a:lnTo>
                  <a:lnTo>
                    <a:pt x="2615515" y="200228"/>
                  </a:lnTo>
                  <a:lnTo>
                    <a:pt x="2615515" y="198831"/>
                  </a:lnTo>
                  <a:lnTo>
                    <a:pt x="2615515" y="199530"/>
                  </a:lnTo>
                  <a:lnTo>
                    <a:pt x="2615515" y="198831"/>
                  </a:lnTo>
                  <a:lnTo>
                    <a:pt x="2615565" y="198831"/>
                  </a:lnTo>
                  <a:lnTo>
                    <a:pt x="2615565" y="200228"/>
                  </a:lnTo>
                  <a:lnTo>
                    <a:pt x="2615565" y="198831"/>
                  </a:lnTo>
                  <a:lnTo>
                    <a:pt x="2615565" y="200228"/>
                  </a:lnTo>
                  <a:lnTo>
                    <a:pt x="2615616" y="200228"/>
                  </a:lnTo>
                  <a:lnTo>
                    <a:pt x="2615616" y="200876"/>
                  </a:lnTo>
                  <a:lnTo>
                    <a:pt x="2615616" y="200228"/>
                  </a:lnTo>
                  <a:lnTo>
                    <a:pt x="2615705" y="200228"/>
                  </a:lnTo>
                  <a:lnTo>
                    <a:pt x="2615705" y="200876"/>
                  </a:lnTo>
                  <a:lnTo>
                    <a:pt x="2615705" y="200228"/>
                  </a:lnTo>
                  <a:lnTo>
                    <a:pt x="2615705" y="200876"/>
                  </a:lnTo>
                  <a:lnTo>
                    <a:pt x="2615705" y="200228"/>
                  </a:lnTo>
                  <a:lnTo>
                    <a:pt x="2615705" y="200876"/>
                  </a:lnTo>
                  <a:lnTo>
                    <a:pt x="2615756" y="200876"/>
                  </a:lnTo>
                  <a:lnTo>
                    <a:pt x="2615756" y="202260"/>
                  </a:lnTo>
                  <a:lnTo>
                    <a:pt x="2615756" y="200876"/>
                  </a:lnTo>
                  <a:lnTo>
                    <a:pt x="2615807" y="200876"/>
                  </a:lnTo>
                  <a:lnTo>
                    <a:pt x="2615807" y="200228"/>
                  </a:lnTo>
                  <a:lnTo>
                    <a:pt x="2615807" y="200876"/>
                  </a:lnTo>
                  <a:lnTo>
                    <a:pt x="2615807" y="200228"/>
                  </a:lnTo>
                  <a:lnTo>
                    <a:pt x="2615807" y="200876"/>
                  </a:lnTo>
                  <a:lnTo>
                    <a:pt x="2615807" y="200228"/>
                  </a:lnTo>
                  <a:lnTo>
                    <a:pt x="2615807" y="200876"/>
                  </a:lnTo>
                  <a:lnTo>
                    <a:pt x="2615807" y="199530"/>
                  </a:lnTo>
                  <a:lnTo>
                    <a:pt x="2615807" y="200228"/>
                  </a:lnTo>
                  <a:lnTo>
                    <a:pt x="2615807" y="199530"/>
                  </a:lnTo>
                  <a:lnTo>
                    <a:pt x="2615858" y="199530"/>
                  </a:lnTo>
                  <a:lnTo>
                    <a:pt x="2615858" y="196799"/>
                  </a:lnTo>
                  <a:lnTo>
                    <a:pt x="2615959" y="196799"/>
                  </a:lnTo>
                  <a:lnTo>
                    <a:pt x="2615959" y="199530"/>
                  </a:lnTo>
                  <a:lnTo>
                    <a:pt x="2615959" y="196799"/>
                  </a:lnTo>
                  <a:lnTo>
                    <a:pt x="2615959" y="198831"/>
                  </a:lnTo>
                  <a:lnTo>
                    <a:pt x="2616010" y="199530"/>
                  </a:lnTo>
                  <a:lnTo>
                    <a:pt x="2616010" y="200876"/>
                  </a:lnTo>
                  <a:lnTo>
                    <a:pt x="2616010" y="199530"/>
                  </a:lnTo>
                  <a:lnTo>
                    <a:pt x="2616010" y="200228"/>
                  </a:lnTo>
                  <a:lnTo>
                    <a:pt x="2616010" y="197447"/>
                  </a:lnTo>
                  <a:lnTo>
                    <a:pt x="2616010" y="199530"/>
                  </a:lnTo>
                  <a:lnTo>
                    <a:pt x="2616061" y="199530"/>
                  </a:lnTo>
                  <a:lnTo>
                    <a:pt x="2616061" y="198831"/>
                  </a:lnTo>
                  <a:lnTo>
                    <a:pt x="2616061" y="199530"/>
                  </a:lnTo>
                  <a:lnTo>
                    <a:pt x="2616162" y="199530"/>
                  </a:lnTo>
                  <a:lnTo>
                    <a:pt x="2616162" y="200228"/>
                  </a:lnTo>
                  <a:lnTo>
                    <a:pt x="2616162" y="198831"/>
                  </a:lnTo>
                  <a:lnTo>
                    <a:pt x="2616162" y="199530"/>
                  </a:lnTo>
                  <a:lnTo>
                    <a:pt x="2616162" y="198831"/>
                  </a:lnTo>
                  <a:lnTo>
                    <a:pt x="2616162" y="200228"/>
                  </a:lnTo>
                  <a:lnTo>
                    <a:pt x="2616200" y="200228"/>
                  </a:lnTo>
                  <a:lnTo>
                    <a:pt x="2616200" y="199530"/>
                  </a:lnTo>
                  <a:lnTo>
                    <a:pt x="2616200" y="200228"/>
                  </a:lnTo>
                  <a:lnTo>
                    <a:pt x="2616251" y="200228"/>
                  </a:lnTo>
                  <a:lnTo>
                    <a:pt x="2616251" y="199530"/>
                  </a:lnTo>
                  <a:lnTo>
                    <a:pt x="2616251" y="200228"/>
                  </a:lnTo>
                  <a:lnTo>
                    <a:pt x="2616302" y="200228"/>
                  </a:lnTo>
                  <a:lnTo>
                    <a:pt x="2616302" y="199530"/>
                  </a:lnTo>
                  <a:lnTo>
                    <a:pt x="2616302" y="200228"/>
                  </a:lnTo>
                  <a:lnTo>
                    <a:pt x="2616302" y="199530"/>
                  </a:lnTo>
                  <a:lnTo>
                    <a:pt x="2616302" y="200228"/>
                  </a:lnTo>
                  <a:lnTo>
                    <a:pt x="2616302" y="198831"/>
                  </a:lnTo>
                  <a:lnTo>
                    <a:pt x="2616302" y="199530"/>
                  </a:lnTo>
                  <a:lnTo>
                    <a:pt x="2616302" y="198831"/>
                  </a:lnTo>
                  <a:lnTo>
                    <a:pt x="2616302" y="199530"/>
                  </a:lnTo>
                  <a:lnTo>
                    <a:pt x="2616404" y="198831"/>
                  </a:lnTo>
                  <a:lnTo>
                    <a:pt x="2616404" y="199530"/>
                  </a:lnTo>
                  <a:lnTo>
                    <a:pt x="2616404" y="197447"/>
                  </a:lnTo>
                  <a:lnTo>
                    <a:pt x="2616404" y="199530"/>
                  </a:lnTo>
                  <a:lnTo>
                    <a:pt x="2616455" y="199530"/>
                  </a:lnTo>
                  <a:lnTo>
                    <a:pt x="2616455" y="197447"/>
                  </a:lnTo>
                  <a:lnTo>
                    <a:pt x="2616455" y="200876"/>
                  </a:lnTo>
                  <a:lnTo>
                    <a:pt x="2616505" y="200876"/>
                  </a:lnTo>
                  <a:lnTo>
                    <a:pt x="2616505" y="198831"/>
                  </a:lnTo>
                  <a:lnTo>
                    <a:pt x="2616505" y="199530"/>
                  </a:lnTo>
                  <a:lnTo>
                    <a:pt x="2616505" y="198831"/>
                  </a:lnTo>
                  <a:lnTo>
                    <a:pt x="2616505" y="200876"/>
                  </a:lnTo>
                  <a:lnTo>
                    <a:pt x="2616607" y="200876"/>
                  </a:lnTo>
                  <a:lnTo>
                    <a:pt x="2616607" y="199530"/>
                  </a:lnTo>
                  <a:lnTo>
                    <a:pt x="2616607" y="200876"/>
                  </a:lnTo>
                  <a:lnTo>
                    <a:pt x="2616607" y="200228"/>
                  </a:lnTo>
                  <a:lnTo>
                    <a:pt x="2616658" y="200876"/>
                  </a:lnTo>
                  <a:lnTo>
                    <a:pt x="2616658" y="200228"/>
                  </a:lnTo>
                  <a:lnTo>
                    <a:pt x="2616658" y="200876"/>
                  </a:lnTo>
                  <a:lnTo>
                    <a:pt x="2616658" y="200228"/>
                  </a:lnTo>
                  <a:lnTo>
                    <a:pt x="2616658" y="200876"/>
                  </a:lnTo>
                  <a:lnTo>
                    <a:pt x="2616658" y="200228"/>
                  </a:lnTo>
                  <a:lnTo>
                    <a:pt x="2616709" y="200228"/>
                  </a:lnTo>
                  <a:lnTo>
                    <a:pt x="2616709" y="200876"/>
                  </a:lnTo>
                  <a:lnTo>
                    <a:pt x="2616747" y="200876"/>
                  </a:lnTo>
                  <a:lnTo>
                    <a:pt x="2616747" y="200228"/>
                  </a:lnTo>
                  <a:lnTo>
                    <a:pt x="2616747" y="200876"/>
                  </a:lnTo>
                  <a:lnTo>
                    <a:pt x="2616747" y="200228"/>
                  </a:lnTo>
                  <a:lnTo>
                    <a:pt x="2616747" y="200876"/>
                  </a:lnTo>
                  <a:lnTo>
                    <a:pt x="2616747" y="200228"/>
                  </a:lnTo>
                  <a:lnTo>
                    <a:pt x="2616848" y="200228"/>
                  </a:lnTo>
                  <a:lnTo>
                    <a:pt x="2616848" y="198831"/>
                  </a:lnTo>
                  <a:lnTo>
                    <a:pt x="2616899" y="198831"/>
                  </a:lnTo>
                  <a:lnTo>
                    <a:pt x="2616899" y="197447"/>
                  </a:lnTo>
                  <a:lnTo>
                    <a:pt x="2616899" y="200228"/>
                  </a:lnTo>
                  <a:lnTo>
                    <a:pt x="2616899" y="199530"/>
                  </a:lnTo>
                  <a:lnTo>
                    <a:pt x="2616950" y="198831"/>
                  </a:lnTo>
                  <a:lnTo>
                    <a:pt x="2616950" y="197447"/>
                  </a:lnTo>
                  <a:lnTo>
                    <a:pt x="2616950" y="202260"/>
                  </a:lnTo>
                  <a:lnTo>
                    <a:pt x="2616950" y="200228"/>
                  </a:lnTo>
                  <a:lnTo>
                    <a:pt x="2617051" y="200228"/>
                  </a:lnTo>
                  <a:lnTo>
                    <a:pt x="2617051" y="202260"/>
                  </a:lnTo>
                  <a:lnTo>
                    <a:pt x="2617051" y="200228"/>
                  </a:lnTo>
                  <a:lnTo>
                    <a:pt x="2617102" y="200228"/>
                  </a:lnTo>
                  <a:lnTo>
                    <a:pt x="2617102" y="200876"/>
                  </a:lnTo>
                  <a:lnTo>
                    <a:pt x="2617102" y="200228"/>
                  </a:lnTo>
                  <a:lnTo>
                    <a:pt x="2617102" y="200876"/>
                  </a:lnTo>
                  <a:lnTo>
                    <a:pt x="2617102" y="200228"/>
                  </a:lnTo>
                  <a:lnTo>
                    <a:pt x="2617102" y="200876"/>
                  </a:lnTo>
                  <a:lnTo>
                    <a:pt x="2617102" y="200228"/>
                  </a:lnTo>
                  <a:lnTo>
                    <a:pt x="2617153" y="200876"/>
                  </a:lnTo>
                  <a:lnTo>
                    <a:pt x="2617153" y="200228"/>
                  </a:lnTo>
                  <a:lnTo>
                    <a:pt x="2617153" y="200876"/>
                  </a:lnTo>
                  <a:lnTo>
                    <a:pt x="2617204" y="200876"/>
                  </a:lnTo>
                  <a:lnTo>
                    <a:pt x="2617204" y="200228"/>
                  </a:lnTo>
                  <a:lnTo>
                    <a:pt x="2617204" y="200876"/>
                  </a:lnTo>
                  <a:lnTo>
                    <a:pt x="2617204" y="200228"/>
                  </a:lnTo>
                  <a:lnTo>
                    <a:pt x="2617204" y="200876"/>
                  </a:lnTo>
                  <a:lnTo>
                    <a:pt x="2617204" y="200228"/>
                  </a:lnTo>
                  <a:lnTo>
                    <a:pt x="2617204" y="200876"/>
                  </a:lnTo>
                  <a:lnTo>
                    <a:pt x="2617204" y="200228"/>
                  </a:lnTo>
                  <a:lnTo>
                    <a:pt x="2617204" y="200876"/>
                  </a:lnTo>
                  <a:lnTo>
                    <a:pt x="2617293" y="200876"/>
                  </a:lnTo>
                  <a:lnTo>
                    <a:pt x="2617293" y="199530"/>
                  </a:lnTo>
                  <a:lnTo>
                    <a:pt x="2617293" y="200228"/>
                  </a:lnTo>
                  <a:lnTo>
                    <a:pt x="2617293" y="199530"/>
                  </a:lnTo>
                  <a:lnTo>
                    <a:pt x="2617344" y="199530"/>
                  </a:lnTo>
                  <a:lnTo>
                    <a:pt x="2617344" y="198831"/>
                  </a:lnTo>
                  <a:lnTo>
                    <a:pt x="2617344" y="199530"/>
                  </a:lnTo>
                  <a:lnTo>
                    <a:pt x="2617344" y="196799"/>
                  </a:lnTo>
                  <a:lnTo>
                    <a:pt x="2617344" y="197447"/>
                  </a:lnTo>
                  <a:lnTo>
                    <a:pt x="2617344" y="196799"/>
                  </a:lnTo>
                  <a:lnTo>
                    <a:pt x="2617394" y="196799"/>
                  </a:lnTo>
                  <a:lnTo>
                    <a:pt x="2617394" y="199530"/>
                  </a:lnTo>
                  <a:lnTo>
                    <a:pt x="2617394" y="196799"/>
                  </a:lnTo>
                  <a:lnTo>
                    <a:pt x="2617445" y="196799"/>
                  </a:lnTo>
                  <a:lnTo>
                    <a:pt x="2617445" y="200228"/>
                  </a:lnTo>
                  <a:lnTo>
                    <a:pt x="2617445" y="198831"/>
                  </a:lnTo>
                  <a:lnTo>
                    <a:pt x="2617445" y="199530"/>
                  </a:lnTo>
                  <a:lnTo>
                    <a:pt x="2617547" y="199530"/>
                  </a:lnTo>
                  <a:lnTo>
                    <a:pt x="2617547" y="200876"/>
                  </a:lnTo>
                  <a:lnTo>
                    <a:pt x="2617547" y="199530"/>
                  </a:lnTo>
                  <a:lnTo>
                    <a:pt x="2617547" y="200228"/>
                  </a:lnTo>
                  <a:lnTo>
                    <a:pt x="2617597" y="200228"/>
                  </a:lnTo>
                  <a:lnTo>
                    <a:pt x="2617597" y="200876"/>
                  </a:lnTo>
                  <a:lnTo>
                    <a:pt x="2617597" y="200228"/>
                  </a:lnTo>
                  <a:lnTo>
                    <a:pt x="2617597" y="200876"/>
                  </a:lnTo>
                  <a:lnTo>
                    <a:pt x="2617648" y="200876"/>
                  </a:lnTo>
                  <a:lnTo>
                    <a:pt x="2617648" y="200228"/>
                  </a:lnTo>
                  <a:lnTo>
                    <a:pt x="2617648" y="200876"/>
                  </a:lnTo>
                  <a:lnTo>
                    <a:pt x="2617648" y="200228"/>
                  </a:lnTo>
                  <a:lnTo>
                    <a:pt x="2617648" y="200876"/>
                  </a:lnTo>
                  <a:lnTo>
                    <a:pt x="2617648" y="200228"/>
                  </a:lnTo>
                  <a:lnTo>
                    <a:pt x="2617648" y="202260"/>
                  </a:lnTo>
                  <a:lnTo>
                    <a:pt x="2617750" y="202260"/>
                  </a:lnTo>
                  <a:lnTo>
                    <a:pt x="2617750" y="200876"/>
                  </a:lnTo>
                  <a:lnTo>
                    <a:pt x="2617750" y="202260"/>
                  </a:lnTo>
                  <a:lnTo>
                    <a:pt x="2617750" y="200876"/>
                  </a:lnTo>
                  <a:lnTo>
                    <a:pt x="2617788" y="200876"/>
                  </a:lnTo>
                  <a:lnTo>
                    <a:pt x="2617788" y="200228"/>
                  </a:lnTo>
                  <a:lnTo>
                    <a:pt x="2617788" y="200876"/>
                  </a:lnTo>
                  <a:lnTo>
                    <a:pt x="2617788" y="199530"/>
                  </a:lnTo>
                  <a:lnTo>
                    <a:pt x="2617788" y="200228"/>
                  </a:lnTo>
                  <a:lnTo>
                    <a:pt x="2617839" y="199530"/>
                  </a:lnTo>
                  <a:lnTo>
                    <a:pt x="2617839" y="196799"/>
                  </a:lnTo>
                  <a:lnTo>
                    <a:pt x="2617890" y="196799"/>
                  </a:lnTo>
                  <a:lnTo>
                    <a:pt x="2617890" y="199530"/>
                  </a:lnTo>
                  <a:lnTo>
                    <a:pt x="2617890" y="197447"/>
                  </a:lnTo>
                  <a:lnTo>
                    <a:pt x="2617890" y="199530"/>
                  </a:lnTo>
                  <a:lnTo>
                    <a:pt x="2617991" y="200228"/>
                  </a:lnTo>
                  <a:lnTo>
                    <a:pt x="2617991" y="200876"/>
                  </a:lnTo>
                  <a:lnTo>
                    <a:pt x="2617991" y="198831"/>
                  </a:lnTo>
                  <a:lnTo>
                    <a:pt x="2617991" y="200228"/>
                  </a:lnTo>
                  <a:lnTo>
                    <a:pt x="2618042" y="200228"/>
                  </a:lnTo>
                  <a:lnTo>
                    <a:pt x="2618042" y="200876"/>
                  </a:lnTo>
                  <a:lnTo>
                    <a:pt x="2618042" y="199530"/>
                  </a:lnTo>
                  <a:lnTo>
                    <a:pt x="2618042" y="200228"/>
                  </a:lnTo>
                  <a:lnTo>
                    <a:pt x="2618042" y="198831"/>
                  </a:lnTo>
                  <a:lnTo>
                    <a:pt x="2618042" y="200228"/>
                  </a:lnTo>
                  <a:lnTo>
                    <a:pt x="2618093" y="200228"/>
                  </a:lnTo>
                  <a:lnTo>
                    <a:pt x="2618093" y="200876"/>
                  </a:lnTo>
                  <a:lnTo>
                    <a:pt x="2618093" y="200228"/>
                  </a:lnTo>
                  <a:lnTo>
                    <a:pt x="2618194" y="200876"/>
                  </a:lnTo>
                  <a:lnTo>
                    <a:pt x="2618194" y="200228"/>
                  </a:lnTo>
                  <a:lnTo>
                    <a:pt x="2618194" y="200876"/>
                  </a:lnTo>
                  <a:lnTo>
                    <a:pt x="2618194" y="200228"/>
                  </a:lnTo>
                  <a:lnTo>
                    <a:pt x="2618194" y="200876"/>
                  </a:lnTo>
                  <a:lnTo>
                    <a:pt x="2618245" y="200876"/>
                  </a:lnTo>
                  <a:lnTo>
                    <a:pt x="2618245" y="200228"/>
                  </a:lnTo>
                  <a:lnTo>
                    <a:pt x="2618245" y="200876"/>
                  </a:lnTo>
                  <a:lnTo>
                    <a:pt x="2618245" y="200228"/>
                  </a:lnTo>
                  <a:lnTo>
                    <a:pt x="2618296" y="200876"/>
                  </a:lnTo>
                  <a:lnTo>
                    <a:pt x="2618296" y="199530"/>
                  </a:lnTo>
                  <a:lnTo>
                    <a:pt x="2618296" y="200228"/>
                  </a:lnTo>
                  <a:lnTo>
                    <a:pt x="2618296" y="198831"/>
                  </a:lnTo>
                  <a:lnTo>
                    <a:pt x="2618334" y="198831"/>
                  </a:lnTo>
                  <a:lnTo>
                    <a:pt x="2618334" y="196799"/>
                  </a:lnTo>
                  <a:lnTo>
                    <a:pt x="2618436" y="196799"/>
                  </a:lnTo>
                  <a:lnTo>
                    <a:pt x="2618436" y="198831"/>
                  </a:lnTo>
                  <a:lnTo>
                    <a:pt x="2618436" y="196799"/>
                  </a:lnTo>
                  <a:lnTo>
                    <a:pt x="2618436" y="199530"/>
                  </a:lnTo>
                  <a:lnTo>
                    <a:pt x="2618487" y="200228"/>
                  </a:lnTo>
                  <a:lnTo>
                    <a:pt x="2618487" y="198831"/>
                  </a:lnTo>
                  <a:lnTo>
                    <a:pt x="2618487" y="199530"/>
                  </a:lnTo>
                  <a:lnTo>
                    <a:pt x="2618537" y="199530"/>
                  </a:lnTo>
                  <a:lnTo>
                    <a:pt x="2618537" y="198831"/>
                  </a:lnTo>
                  <a:lnTo>
                    <a:pt x="2618537" y="199530"/>
                  </a:lnTo>
                  <a:lnTo>
                    <a:pt x="2618537" y="198831"/>
                  </a:lnTo>
                  <a:lnTo>
                    <a:pt x="2618537" y="199530"/>
                  </a:lnTo>
                  <a:lnTo>
                    <a:pt x="2618639" y="199530"/>
                  </a:lnTo>
                  <a:lnTo>
                    <a:pt x="2618639" y="200228"/>
                  </a:lnTo>
                  <a:lnTo>
                    <a:pt x="2618690" y="200228"/>
                  </a:lnTo>
                  <a:lnTo>
                    <a:pt x="2618690" y="200876"/>
                  </a:lnTo>
                  <a:lnTo>
                    <a:pt x="2618690" y="200228"/>
                  </a:lnTo>
                  <a:lnTo>
                    <a:pt x="2618690" y="200876"/>
                  </a:lnTo>
                  <a:lnTo>
                    <a:pt x="2618690" y="200228"/>
                  </a:lnTo>
                  <a:lnTo>
                    <a:pt x="2618690" y="200876"/>
                  </a:lnTo>
                  <a:lnTo>
                    <a:pt x="2618740" y="200876"/>
                  </a:lnTo>
                  <a:lnTo>
                    <a:pt x="2618740" y="200228"/>
                  </a:lnTo>
                  <a:lnTo>
                    <a:pt x="2618740" y="200876"/>
                  </a:lnTo>
                  <a:lnTo>
                    <a:pt x="2618740" y="200228"/>
                  </a:lnTo>
                  <a:lnTo>
                    <a:pt x="2618740" y="200876"/>
                  </a:lnTo>
                  <a:lnTo>
                    <a:pt x="2618740" y="200228"/>
                  </a:lnTo>
                  <a:lnTo>
                    <a:pt x="2618740" y="200876"/>
                  </a:lnTo>
                  <a:lnTo>
                    <a:pt x="2618791" y="200876"/>
                  </a:lnTo>
                  <a:lnTo>
                    <a:pt x="2618791" y="199530"/>
                  </a:lnTo>
                  <a:lnTo>
                    <a:pt x="2618791" y="200228"/>
                  </a:lnTo>
                  <a:lnTo>
                    <a:pt x="2618791" y="199530"/>
                  </a:lnTo>
                  <a:lnTo>
                    <a:pt x="2618791" y="200228"/>
                  </a:lnTo>
                  <a:lnTo>
                    <a:pt x="2618791" y="198831"/>
                  </a:lnTo>
                  <a:lnTo>
                    <a:pt x="2618880" y="197447"/>
                  </a:lnTo>
                  <a:lnTo>
                    <a:pt x="2618880" y="196113"/>
                  </a:lnTo>
                  <a:lnTo>
                    <a:pt x="2618931" y="196799"/>
                  </a:lnTo>
                  <a:lnTo>
                    <a:pt x="2618931" y="197447"/>
                  </a:lnTo>
                  <a:lnTo>
                    <a:pt x="2618931" y="196113"/>
                  </a:lnTo>
                  <a:lnTo>
                    <a:pt x="2618931" y="196799"/>
                  </a:lnTo>
                  <a:lnTo>
                    <a:pt x="2618982" y="197447"/>
                  </a:lnTo>
                  <a:lnTo>
                    <a:pt x="2618982" y="198831"/>
                  </a:lnTo>
                  <a:lnTo>
                    <a:pt x="2618982" y="196799"/>
                  </a:lnTo>
                  <a:lnTo>
                    <a:pt x="2618982" y="197447"/>
                  </a:lnTo>
                  <a:lnTo>
                    <a:pt x="2619033" y="197447"/>
                  </a:lnTo>
                  <a:lnTo>
                    <a:pt x="2619033" y="196799"/>
                  </a:lnTo>
                  <a:lnTo>
                    <a:pt x="2619033" y="198831"/>
                  </a:lnTo>
                  <a:lnTo>
                    <a:pt x="2619134" y="197447"/>
                  </a:lnTo>
                  <a:lnTo>
                    <a:pt x="2619134" y="199530"/>
                  </a:lnTo>
                  <a:lnTo>
                    <a:pt x="2619134" y="198831"/>
                  </a:lnTo>
                  <a:lnTo>
                    <a:pt x="2619185" y="198831"/>
                  </a:lnTo>
                  <a:lnTo>
                    <a:pt x="2619185" y="199530"/>
                  </a:lnTo>
                  <a:lnTo>
                    <a:pt x="2619185" y="198831"/>
                  </a:lnTo>
                  <a:lnTo>
                    <a:pt x="2619185" y="200228"/>
                  </a:lnTo>
                  <a:lnTo>
                    <a:pt x="2619236" y="200228"/>
                  </a:lnTo>
                  <a:lnTo>
                    <a:pt x="2619236" y="199530"/>
                  </a:lnTo>
                  <a:lnTo>
                    <a:pt x="2619236" y="200228"/>
                  </a:lnTo>
                  <a:lnTo>
                    <a:pt x="2619337" y="200228"/>
                  </a:lnTo>
                  <a:lnTo>
                    <a:pt x="2619337" y="199530"/>
                  </a:lnTo>
                  <a:lnTo>
                    <a:pt x="2619337" y="200228"/>
                  </a:lnTo>
                  <a:lnTo>
                    <a:pt x="2619337" y="198831"/>
                  </a:lnTo>
                  <a:lnTo>
                    <a:pt x="2619337" y="199530"/>
                  </a:lnTo>
                  <a:lnTo>
                    <a:pt x="2619337" y="198831"/>
                  </a:lnTo>
                  <a:lnTo>
                    <a:pt x="2619375" y="199530"/>
                  </a:lnTo>
                  <a:lnTo>
                    <a:pt x="2619375" y="197447"/>
                  </a:lnTo>
                  <a:lnTo>
                    <a:pt x="2619375" y="198831"/>
                  </a:lnTo>
                  <a:lnTo>
                    <a:pt x="2619375" y="197447"/>
                  </a:lnTo>
                  <a:lnTo>
                    <a:pt x="2619375" y="198831"/>
                  </a:lnTo>
                  <a:lnTo>
                    <a:pt x="2619426" y="198831"/>
                  </a:lnTo>
                  <a:lnTo>
                    <a:pt x="2619426" y="197447"/>
                  </a:lnTo>
                  <a:lnTo>
                    <a:pt x="2619426" y="200228"/>
                  </a:lnTo>
                  <a:lnTo>
                    <a:pt x="2619426" y="199530"/>
                  </a:lnTo>
                  <a:lnTo>
                    <a:pt x="2619477" y="199530"/>
                  </a:lnTo>
                  <a:lnTo>
                    <a:pt x="2619477" y="198831"/>
                  </a:lnTo>
                  <a:lnTo>
                    <a:pt x="2619477" y="200228"/>
                  </a:lnTo>
                  <a:lnTo>
                    <a:pt x="2619477" y="199530"/>
                  </a:lnTo>
                  <a:lnTo>
                    <a:pt x="2619579" y="198831"/>
                  </a:lnTo>
                  <a:lnTo>
                    <a:pt x="2619579" y="199530"/>
                  </a:lnTo>
                  <a:lnTo>
                    <a:pt x="2619579" y="198831"/>
                  </a:lnTo>
                  <a:lnTo>
                    <a:pt x="2619579" y="199530"/>
                  </a:lnTo>
                  <a:lnTo>
                    <a:pt x="2619630" y="199530"/>
                  </a:lnTo>
                  <a:lnTo>
                    <a:pt x="2619630" y="200228"/>
                  </a:lnTo>
                  <a:lnTo>
                    <a:pt x="2619630" y="199530"/>
                  </a:lnTo>
                  <a:lnTo>
                    <a:pt x="2619630" y="200228"/>
                  </a:lnTo>
                  <a:lnTo>
                    <a:pt x="2619680" y="200228"/>
                  </a:lnTo>
                  <a:lnTo>
                    <a:pt x="2619680" y="199530"/>
                  </a:lnTo>
                  <a:lnTo>
                    <a:pt x="2619680" y="200228"/>
                  </a:lnTo>
                  <a:lnTo>
                    <a:pt x="2619782" y="200228"/>
                  </a:lnTo>
                  <a:lnTo>
                    <a:pt x="2619782" y="200876"/>
                  </a:lnTo>
                  <a:lnTo>
                    <a:pt x="2619782" y="200228"/>
                  </a:lnTo>
                  <a:lnTo>
                    <a:pt x="2619833" y="200228"/>
                  </a:lnTo>
                  <a:lnTo>
                    <a:pt x="2619833" y="199530"/>
                  </a:lnTo>
                  <a:lnTo>
                    <a:pt x="2619833" y="200228"/>
                  </a:lnTo>
                  <a:lnTo>
                    <a:pt x="2619833" y="198831"/>
                  </a:lnTo>
                  <a:lnTo>
                    <a:pt x="2619884" y="198831"/>
                  </a:lnTo>
                  <a:lnTo>
                    <a:pt x="2619884" y="197447"/>
                  </a:lnTo>
                  <a:lnTo>
                    <a:pt x="2619884" y="198831"/>
                  </a:lnTo>
                  <a:lnTo>
                    <a:pt x="2619884" y="196799"/>
                  </a:lnTo>
                  <a:lnTo>
                    <a:pt x="2619884" y="197447"/>
                  </a:lnTo>
                  <a:lnTo>
                    <a:pt x="2619884" y="196113"/>
                  </a:lnTo>
                  <a:lnTo>
                    <a:pt x="2619922" y="196113"/>
                  </a:lnTo>
                  <a:lnTo>
                    <a:pt x="2619922" y="197447"/>
                  </a:lnTo>
                  <a:lnTo>
                    <a:pt x="2619922" y="196113"/>
                  </a:lnTo>
                  <a:lnTo>
                    <a:pt x="2619922" y="196799"/>
                  </a:lnTo>
                  <a:lnTo>
                    <a:pt x="2620023" y="197447"/>
                  </a:lnTo>
                  <a:lnTo>
                    <a:pt x="2620023" y="199530"/>
                  </a:lnTo>
                  <a:lnTo>
                    <a:pt x="2620023" y="197447"/>
                  </a:lnTo>
                  <a:lnTo>
                    <a:pt x="2620023" y="198831"/>
                  </a:lnTo>
                  <a:lnTo>
                    <a:pt x="2620074" y="198831"/>
                  </a:lnTo>
                  <a:lnTo>
                    <a:pt x="2620074" y="199530"/>
                  </a:lnTo>
                  <a:lnTo>
                    <a:pt x="2620074" y="198831"/>
                  </a:lnTo>
                  <a:lnTo>
                    <a:pt x="2620074" y="199530"/>
                  </a:lnTo>
                  <a:lnTo>
                    <a:pt x="2620074" y="198831"/>
                  </a:lnTo>
                  <a:lnTo>
                    <a:pt x="2620125" y="198831"/>
                  </a:lnTo>
                  <a:lnTo>
                    <a:pt x="2620125" y="199530"/>
                  </a:lnTo>
                  <a:lnTo>
                    <a:pt x="2620125" y="198831"/>
                  </a:lnTo>
                  <a:lnTo>
                    <a:pt x="2620125" y="199530"/>
                  </a:lnTo>
                  <a:lnTo>
                    <a:pt x="2620125" y="198831"/>
                  </a:lnTo>
                  <a:lnTo>
                    <a:pt x="2620125" y="199530"/>
                  </a:lnTo>
                  <a:lnTo>
                    <a:pt x="2620226" y="199530"/>
                  </a:lnTo>
                  <a:lnTo>
                    <a:pt x="2620226" y="200228"/>
                  </a:lnTo>
                  <a:lnTo>
                    <a:pt x="2620226" y="199530"/>
                  </a:lnTo>
                  <a:lnTo>
                    <a:pt x="2620226" y="200228"/>
                  </a:lnTo>
                  <a:lnTo>
                    <a:pt x="2620226" y="199530"/>
                  </a:lnTo>
                  <a:lnTo>
                    <a:pt x="2620226" y="200228"/>
                  </a:lnTo>
                  <a:lnTo>
                    <a:pt x="2620277" y="200228"/>
                  </a:lnTo>
                  <a:lnTo>
                    <a:pt x="2620277" y="199530"/>
                  </a:lnTo>
                  <a:lnTo>
                    <a:pt x="2620277" y="200228"/>
                  </a:lnTo>
                  <a:lnTo>
                    <a:pt x="2620277" y="199530"/>
                  </a:lnTo>
                  <a:lnTo>
                    <a:pt x="2620277" y="200228"/>
                  </a:lnTo>
                  <a:lnTo>
                    <a:pt x="2620328" y="199530"/>
                  </a:lnTo>
                  <a:lnTo>
                    <a:pt x="2620328" y="200228"/>
                  </a:lnTo>
                  <a:lnTo>
                    <a:pt x="2620328" y="198831"/>
                  </a:lnTo>
                  <a:lnTo>
                    <a:pt x="2620328" y="199530"/>
                  </a:lnTo>
                  <a:lnTo>
                    <a:pt x="2620328" y="197447"/>
                  </a:lnTo>
                  <a:lnTo>
                    <a:pt x="2620328" y="199530"/>
                  </a:lnTo>
                  <a:lnTo>
                    <a:pt x="2620379" y="199530"/>
                  </a:lnTo>
                  <a:lnTo>
                    <a:pt x="2620379" y="196113"/>
                  </a:lnTo>
                  <a:lnTo>
                    <a:pt x="2620379" y="197447"/>
                  </a:lnTo>
                  <a:lnTo>
                    <a:pt x="2620468" y="197447"/>
                  </a:lnTo>
                  <a:lnTo>
                    <a:pt x="2620468" y="196799"/>
                  </a:lnTo>
                  <a:lnTo>
                    <a:pt x="2620468" y="197447"/>
                  </a:lnTo>
                  <a:lnTo>
                    <a:pt x="2620468" y="196799"/>
                  </a:lnTo>
                  <a:lnTo>
                    <a:pt x="2620468" y="199530"/>
                  </a:lnTo>
                  <a:lnTo>
                    <a:pt x="2620519" y="199530"/>
                  </a:lnTo>
                  <a:lnTo>
                    <a:pt x="2620519" y="197447"/>
                  </a:lnTo>
                  <a:lnTo>
                    <a:pt x="2620519" y="199530"/>
                  </a:lnTo>
                  <a:lnTo>
                    <a:pt x="2620569" y="199530"/>
                  </a:lnTo>
                  <a:lnTo>
                    <a:pt x="2620569" y="198831"/>
                  </a:lnTo>
                  <a:lnTo>
                    <a:pt x="2620569" y="199530"/>
                  </a:lnTo>
                  <a:lnTo>
                    <a:pt x="2620569" y="197447"/>
                  </a:lnTo>
                  <a:lnTo>
                    <a:pt x="2620569" y="199530"/>
                  </a:lnTo>
                  <a:lnTo>
                    <a:pt x="2620569" y="198831"/>
                  </a:lnTo>
                  <a:lnTo>
                    <a:pt x="2620569" y="199530"/>
                  </a:lnTo>
                  <a:lnTo>
                    <a:pt x="2620620" y="199530"/>
                  </a:lnTo>
                  <a:lnTo>
                    <a:pt x="2620620" y="200228"/>
                  </a:lnTo>
                  <a:lnTo>
                    <a:pt x="2620620" y="199530"/>
                  </a:lnTo>
                  <a:lnTo>
                    <a:pt x="2620722" y="199530"/>
                  </a:lnTo>
                  <a:lnTo>
                    <a:pt x="2620722" y="200228"/>
                  </a:lnTo>
                  <a:lnTo>
                    <a:pt x="2620722" y="199530"/>
                  </a:lnTo>
                  <a:lnTo>
                    <a:pt x="2620722" y="200228"/>
                  </a:lnTo>
                  <a:lnTo>
                    <a:pt x="2620772" y="200228"/>
                  </a:lnTo>
                  <a:lnTo>
                    <a:pt x="2620772" y="200876"/>
                  </a:lnTo>
                  <a:lnTo>
                    <a:pt x="2620772" y="199530"/>
                  </a:lnTo>
                  <a:lnTo>
                    <a:pt x="2620772" y="200228"/>
                  </a:lnTo>
                  <a:lnTo>
                    <a:pt x="2620823" y="200228"/>
                  </a:lnTo>
                  <a:lnTo>
                    <a:pt x="2620823" y="199530"/>
                  </a:lnTo>
                  <a:lnTo>
                    <a:pt x="2620823" y="200228"/>
                  </a:lnTo>
                  <a:lnTo>
                    <a:pt x="2620823" y="199530"/>
                  </a:lnTo>
                  <a:lnTo>
                    <a:pt x="2620925" y="198831"/>
                  </a:lnTo>
                  <a:lnTo>
                    <a:pt x="2620925" y="197447"/>
                  </a:lnTo>
                  <a:lnTo>
                    <a:pt x="2620925" y="199530"/>
                  </a:lnTo>
                  <a:lnTo>
                    <a:pt x="2620925" y="198831"/>
                  </a:lnTo>
                  <a:lnTo>
                    <a:pt x="2620963" y="198831"/>
                  </a:lnTo>
                  <a:lnTo>
                    <a:pt x="2620963" y="197447"/>
                  </a:lnTo>
                  <a:lnTo>
                    <a:pt x="2620963" y="200876"/>
                  </a:lnTo>
                  <a:lnTo>
                    <a:pt x="2620963" y="199530"/>
                  </a:lnTo>
                  <a:lnTo>
                    <a:pt x="2621014" y="199530"/>
                  </a:lnTo>
                  <a:lnTo>
                    <a:pt x="2621014" y="200228"/>
                  </a:lnTo>
                  <a:lnTo>
                    <a:pt x="2621065" y="200228"/>
                  </a:lnTo>
                  <a:lnTo>
                    <a:pt x="2621065" y="199530"/>
                  </a:lnTo>
                  <a:lnTo>
                    <a:pt x="2621065" y="200228"/>
                  </a:lnTo>
                  <a:lnTo>
                    <a:pt x="2621166" y="200228"/>
                  </a:lnTo>
                  <a:lnTo>
                    <a:pt x="2621166" y="199530"/>
                  </a:lnTo>
                  <a:lnTo>
                    <a:pt x="2621166" y="200876"/>
                  </a:lnTo>
                  <a:lnTo>
                    <a:pt x="2621217" y="200876"/>
                  </a:lnTo>
                  <a:lnTo>
                    <a:pt x="2621217" y="200228"/>
                  </a:lnTo>
                  <a:lnTo>
                    <a:pt x="2621217" y="200876"/>
                  </a:lnTo>
                  <a:lnTo>
                    <a:pt x="2621217" y="200228"/>
                  </a:lnTo>
                  <a:lnTo>
                    <a:pt x="2621217" y="200876"/>
                  </a:lnTo>
                  <a:lnTo>
                    <a:pt x="2621268" y="200876"/>
                  </a:lnTo>
                  <a:lnTo>
                    <a:pt x="2621268" y="200228"/>
                  </a:lnTo>
                  <a:lnTo>
                    <a:pt x="2621268" y="200876"/>
                  </a:lnTo>
                  <a:lnTo>
                    <a:pt x="2621268" y="199530"/>
                  </a:lnTo>
                  <a:lnTo>
                    <a:pt x="2621268" y="200228"/>
                  </a:lnTo>
                  <a:lnTo>
                    <a:pt x="2621369" y="200228"/>
                  </a:lnTo>
                  <a:lnTo>
                    <a:pt x="2621369" y="198831"/>
                  </a:lnTo>
                  <a:lnTo>
                    <a:pt x="2621369" y="199530"/>
                  </a:lnTo>
                  <a:lnTo>
                    <a:pt x="2621369" y="197447"/>
                  </a:lnTo>
                  <a:lnTo>
                    <a:pt x="2621420" y="197447"/>
                  </a:lnTo>
                  <a:lnTo>
                    <a:pt x="2621420" y="198831"/>
                  </a:lnTo>
                  <a:lnTo>
                    <a:pt x="2621420" y="196113"/>
                  </a:lnTo>
                  <a:lnTo>
                    <a:pt x="2621420" y="197447"/>
                  </a:lnTo>
                  <a:lnTo>
                    <a:pt x="2621471" y="197447"/>
                  </a:lnTo>
                  <a:lnTo>
                    <a:pt x="2621471" y="196799"/>
                  </a:lnTo>
                  <a:lnTo>
                    <a:pt x="2621471" y="199530"/>
                  </a:lnTo>
                  <a:lnTo>
                    <a:pt x="2621471" y="198831"/>
                  </a:lnTo>
                  <a:lnTo>
                    <a:pt x="2621509" y="199530"/>
                  </a:lnTo>
                  <a:lnTo>
                    <a:pt x="2621509" y="198831"/>
                  </a:lnTo>
                  <a:lnTo>
                    <a:pt x="2621509" y="199530"/>
                  </a:lnTo>
                  <a:lnTo>
                    <a:pt x="2621509" y="198831"/>
                  </a:lnTo>
                  <a:lnTo>
                    <a:pt x="2621509" y="199530"/>
                  </a:lnTo>
                  <a:lnTo>
                    <a:pt x="2621509" y="198831"/>
                  </a:lnTo>
                  <a:lnTo>
                    <a:pt x="2621509" y="200228"/>
                  </a:lnTo>
                  <a:lnTo>
                    <a:pt x="2621611" y="200228"/>
                  </a:lnTo>
                  <a:lnTo>
                    <a:pt x="2621611" y="198831"/>
                  </a:lnTo>
                  <a:lnTo>
                    <a:pt x="2621611" y="200876"/>
                  </a:lnTo>
                  <a:lnTo>
                    <a:pt x="2621611" y="200228"/>
                  </a:lnTo>
                  <a:lnTo>
                    <a:pt x="2621662" y="200228"/>
                  </a:lnTo>
                  <a:lnTo>
                    <a:pt x="2621662" y="200876"/>
                  </a:lnTo>
                  <a:lnTo>
                    <a:pt x="2621712" y="200876"/>
                  </a:lnTo>
                  <a:lnTo>
                    <a:pt x="2621814" y="202260"/>
                  </a:lnTo>
                  <a:lnTo>
                    <a:pt x="2621814" y="200228"/>
                  </a:lnTo>
                  <a:lnTo>
                    <a:pt x="2621814" y="200876"/>
                  </a:lnTo>
                  <a:lnTo>
                    <a:pt x="2621865" y="200228"/>
                  </a:lnTo>
                  <a:lnTo>
                    <a:pt x="2621865" y="198831"/>
                  </a:lnTo>
                  <a:lnTo>
                    <a:pt x="2621915" y="198831"/>
                  </a:lnTo>
                  <a:lnTo>
                    <a:pt x="2621915" y="199530"/>
                  </a:lnTo>
                  <a:lnTo>
                    <a:pt x="2621915" y="197447"/>
                  </a:lnTo>
                  <a:lnTo>
                    <a:pt x="2621915" y="198831"/>
                  </a:lnTo>
                  <a:lnTo>
                    <a:pt x="2621915" y="197447"/>
                  </a:lnTo>
                  <a:lnTo>
                    <a:pt x="2621966" y="197447"/>
                  </a:lnTo>
                  <a:lnTo>
                    <a:pt x="2621966" y="200876"/>
                  </a:lnTo>
                  <a:lnTo>
                    <a:pt x="2621966" y="199530"/>
                  </a:lnTo>
                  <a:lnTo>
                    <a:pt x="2622055" y="200228"/>
                  </a:lnTo>
                  <a:lnTo>
                    <a:pt x="2622055" y="200876"/>
                  </a:lnTo>
                  <a:lnTo>
                    <a:pt x="2622055" y="199530"/>
                  </a:lnTo>
                  <a:lnTo>
                    <a:pt x="2622055" y="200228"/>
                  </a:lnTo>
                  <a:lnTo>
                    <a:pt x="2622106" y="200228"/>
                  </a:lnTo>
                  <a:lnTo>
                    <a:pt x="2622106" y="199530"/>
                  </a:lnTo>
                  <a:lnTo>
                    <a:pt x="2622106" y="200228"/>
                  </a:lnTo>
                  <a:lnTo>
                    <a:pt x="2622157" y="200876"/>
                  </a:lnTo>
                  <a:lnTo>
                    <a:pt x="2622157" y="199530"/>
                  </a:lnTo>
                  <a:lnTo>
                    <a:pt x="2622157" y="200876"/>
                  </a:lnTo>
                  <a:lnTo>
                    <a:pt x="2622208" y="200876"/>
                  </a:lnTo>
                  <a:lnTo>
                    <a:pt x="2622208" y="200228"/>
                  </a:lnTo>
                  <a:lnTo>
                    <a:pt x="2622208" y="202260"/>
                  </a:lnTo>
                  <a:lnTo>
                    <a:pt x="2622208" y="200876"/>
                  </a:lnTo>
                  <a:lnTo>
                    <a:pt x="2622309" y="200876"/>
                  </a:lnTo>
                  <a:lnTo>
                    <a:pt x="2622309" y="200228"/>
                  </a:lnTo>
                  <a:lnTo>
                    <a:pt x="2622309" y="200876"/>
                  </a:lnTo>
                  <a:lnTo>
                    <a:pt x="2622309" y="199530"/>
                  </a:lnTo>
                  <a:lnTo>
                    <a:pt x="2622360" y="199530"/>
                  </a:lnTo>
                  <a:lnTo>
                    <a:pt x="2622360" y="200228"/>
                  </a:lnTo>
                  <a:lnTo>
                    <a:pt x="2622360" y="199530"/>
                  </a:lnTo>
                  <a:lnTo>
                    <a:pt x="2622360" y="200228"/>
                  </a:lnTo>
                  <a:lnTo>
                    <a:pt x="2622411" y="200876"/>
                  </a:lnTo>
                  <a:lnTo>
                    <a:pt x="2622411" y="200228"/>
                  </a:lnTo>
                  <a:lnTo>
                    <a:pt x="2622411" y="202959"/>
                  </a:lnTo>
                  <a:lnTo>
                    <a:pt x="2622411" y="202260"/>
                  </a:lnTo>
                  <a:lnTo>
                    <a:pt x="2622512" y="202260"/>
                  </a:lnTo>
                  <a:lnTo>
                    <a:pt x="2622512" y="203594"/>
                  </a:lnTo>
                  <a:lnTo>
                    <a:pt x="2622512" y="202959"/>
                  </a:lnTo>
                  <a:lnTo>
                    <a:pt x="2622601" y="202959"/>
                  </a:lnTo>
                  <a:lnTo>
                    <a:pt x="2622601" y="202260"/>
                  </a:lnTo>
                  <a:lnTo>
                    <a:pt x="2622601" y="203594"/>
                  </a:lnTo>
                  <a:lnTo>
                    <a:pt x="2622601" y="202959"/>
                  </a:lnTo>
                  <a:lnTo>
                    <a:pt x="2622652" y="202959"/>
                  </a:lnTo>
                  <a:lnTo>
                    <a:pt x="2622652" y="202260"/>
                  </a:lnTo>
                  <a:lnTo>
                    <a:pt x="2622652" y="202959"/>
                  </a:lnTo>
                  <a:lnTo>
                    <a:pt x="2622652" y="202260"/>
                  </a:lnTo>
                  <a:lnTo>
                    <a:pt x="2622754" y="202959"/>
                  </a:lnTo>
                  <a:lnTo>
                    <a:pt x="2622754" y="200876"/>
                  </a:lnTo>
                  <a:lnTo>
                    <a:pt x="2622754" y="202260"/>
                  </a:lnTo>
                  <a:lnTo>
                    <a:pt x="2622754" y="200876"/>
                  </a:lnTo>
                  <a:lnTo>
                    <a:pt x="2622754" y="202260"/>
                  </a:lnTo>
                  <a:lnTo>
                    <a:pt x="2622805" y="200876"/>
                  </a:lnTo>
                  <a:lnTo>
                    <a:pt x="2622805" y="198831"/>
                  </a:lnTo>
                  <a:lnTo>
                    <a:pt x="2622805" y="199530"/>
                  </a:lnTo>
                  <a:lnTo>
                    <a:pt x="2622805" y="198831"/>
                  </a:lnTo>
                  <a:lnTo>
                    <a:pt x="2622805" y="199530"/>
                  </a:lnTo>
                  <a:lnTo>
                    <a:pt x="2622855" y="199530"/>
                  </a:lnTo>
                  <a:lnTo>
                    <a:pt x="2622855" y="202260"/>
                  </a:lnTo>
                  <a:lnTo>
                    <a:pt x="2622855" y="199530"/>
                  </a:lnTo>
                  <a:lnTo>
                    <a:pt x="2622855" y="200876"/>
                  </a:lnTo>
                  <a:lnTo>
                    <a:pt x="2622957" y="200876"/>
                  </a:lnTo>
                  <a:lnTo>
                    <a:pt x="2622957" y="202959"/>
                  </a:lnTo>
                  <a:lnTo>
                    <a:pt x="2622957" y="200876"/>
                  </a:lnTo>
                  <a:lnTo>
                    <a:pt x="2622957" y="202260"/>
                  </a:lnTo>
                  <a:lnTo>
                    <a:pt x="2622957" y="200876"/>
                  </a:lnTo>
                  <a:lnTo>
                    <a:pt x="2622957" y="202959"/>
                  </a:lnTo>
                  <a:lnTo>
                    <a:pt x="2623008" y="203594"/>
                  </a:lnTo>
                  <a:lnTo>
                    <a:pt x="2623008" y="202260"/>
                  </a:lnTo>
                  <a:lnTo>
                    <a:pt x="2623008" y="203594"/>
                  </a:lnTo>
                  <a:lnTo>
                    <a:pt x="2623059" y="203594"/>
                  </a:lnTo>
                  <a:lnTo>
                    <a:pt x="2623059" y="202959"/>
                  </a:lnTo>
                  <a:lnTo>
                    <a:pt x="2623059" y="203594"/>
                  </a:lnTo>
                  <a:lnTo>
                    <a:pt x="2623059" y="202959"/>
                  </a:lnTo>
                  <a:lnTo>
                    <a:pt x="2623059" y="203594"/>
                  </a:lnTo>
                  <a:lnTo>
                    <a:pt x="2623059" y="202959"/>
                  </a:lnTo>
                  <a:lnTo>
                    <a:pt x="2623198" y="202959"/>
                  </a:lnTo>
                  <a:lnTo>
                    <a:pt x="2623198" y="202260"/>
                  </a:lnTo>
                  <a:lnTo>
                    <a:pt x="2623198" y="202959"/>
                  </a:lnTo>
                  <a:lnTo>
                    <a:pt x="2623198" y="202260"/>
                  </a:lnTo>
                  <a:lnTo>
                    <a:pt x="2623198" y="202959"/>
                  </a:lnTo>
                  <a:lnTo>
                    <a:pt x="2623198" y="202260"/>
                  </a:lnTo>
                  <a:lnTo>
                    <a:pt x="2623198" y="202959"/>
                  </a:lnTo>
                  <a:lnTo>
                    <a:pt x="2623198" y="202260"/>
                  </a:lnTo>
                  <a:lnTo>
                    <a:pt x="2623249" y="200876"/>
                  </a:lnTo>
                  <a:lnTo>
                    <a:pt x="2623249" y="200228"/>
                  </a:lnTo>
                  <a:lnTo>
                    <a:pt x="2623249" y="200876"/>
                  </a:lnTo>
                  <a:lnTo>
                    <a:pt x="2623249" y="199530"/>
                  </a:lnTo>
                  <a:lnTo>
                    <a:pt x="2623300" y="199530"/>
                  </a:lnTo>
                  <a:lnTo>
                    <a:pt x="2623300" y="197447"/>
                  </a:lnTo>
                  <a:lnTo>
                    <a:pt x="2623300" y="198831"/>
                  </a:lnTo>
                  <a:lnTo>
                    <a:pt x="2623300" y="197447"/>
                  </a:lnTo>
                  <a:lnTo>
                    <a:pt x="2623300" y="200228"/>
                  </a:lnTo>
                  <a:lnTo>
                    <a:pt x="2623401" y="200876"/>
                  </a:lnTo>
                  <a:lnTo>
                    <a:pt x="2623401" y="198831"/>
                  </a:lnTo>
                  <a:lnTo>
                    <a:pt x="2623401" y="202260"/>
                  </a:lnTo>
                  <a:lnTo>
                    <a:pt x="2623452" y="202260"/>
                  </a:lnTo>
                  <a:lnTo>
                    <a:pt x="2623452" y="199530"/>
                  </a:lnTo>
                  <a:lnTo>
                    <a:pt x="2623452" y="202260"/>
                  </a:lnTo>
                  <a:lnTo>
                    <a:pt x="2623503" y="202260"/>
                  </a:lnTo>
                  <a:lnTo>
                    <a:pt x="2623503" y="200876"/>
                  </a:lnTo>
                  <a:lnTo>
                    <a:pt x="2623503" y="202959"/>
                  </a:lnTo>
                  <a:lnTo>
                    <a:pt x="2623503" y="202260"/>
                  </a:lnTo>
                  <a:lnTo>
                    <a:pt x="2623503" y="202959"/>
                  </a:lnTo>
                  <a:lnTo>
                    <a:pt x="2623554" y="202260"/>
                  </a:lnTo>
                  <a:lnTo>
                    <a:pt x="2623554" y="202959"/>
                  </a:lnTo>
                  <a:lnTo>
                    <a:pt x="2623554" y="202260"/>
                  </a:lnTo>
                  <a:lnTo>
                    <a:pt x="2623554" y="202959"/>
                  </a:lnTo>
                  <a:lnTo>
                    <a:pt x="2623554" y="202260"/>
                  </a:lnTo>
                  <a:lnTo>
                    <a:pt x="2623643" y="202260"/>
                  </a:lnTo>
                  <a:lnTo>
                    <a:pt x="2623643" y="202959"/>
                  </a:lnTo>
                  <a:lnTo>
                    <a:pt x="2623694" y="202959"/>
                  </a:lnTo>
                  <a:lnTo>
                    <a:pt x="2623694" y="202260"/>
                  </a:lnTo>
                  <a:lnTo>
                    <a:pt x="2623694" y="202959"/>
                  </a:lnTo>
                  <a:lnTo>
                    <a:pt x="2623694" y="202260"/>
                  </a:lnTo>
                  <a:lnTo>
                    <a:pt x="2623744" y="202260"/>
                  </a:lnTo>
                  <a:lnTo>
                    <a:pt x="2623744" y="200876"/>
                  </a:lnTo>
                  <a:lnTo>
                    <a:pt x="2623744" y="202260"/>
                  </a:lnTo>
                  <a:lnTo>
                    <a:pt x="2623744" y="199530"/>
                  </a:lnTo>
                  <a:lnTo>
                    <a:pt x="2623795" y="199530"/>
                  </a:lnTo>
                  <a:lnTo>
                    <a:pt x="2623795" y="197447"/>
                  </a:lnTo>
                  <a:lnTo>
                    <a:pt x="2623795" y="199530"/>
                  </a:lnTo>
                  <a:lnTo>
                    <a:pt x="2623897" y="199530"/>
                  </a:lnTo>
                  <a:lnTo>
                    <a:pt x="2623897" y="198831"/>
                  </a:lnTo>
                  <a:lnTo>
                    <a:pt x="2623897" y="199530"/>
                  </a:lnTo>
                  <a:lnTo>
                    <a:pt x="2623897" y="197447"/>
                  </a:lnTo>
                  <a:lnTo>
                    <a:pt x="2623897" y="200228"/>
                  </a:lnTo>
                  <a:lnTo>
                    <a:pt x="2623947" y="200228"/>
                  </a:lnTo>
                  <a:lnTo>
                    <a:pt x="2623947" y="199530"/>
                  </a:lnTo>
                  <a:lnTo>
                    <a:pt x="2623947" y="200876"/>
                  </a:lnTo>
                  <a:lnTo>
                    <a:pt x="2623947" y="200228"/>
                  </a:lnTo>
                  <a:lnTo>
                    <a:pt x="2623947" y="200876"/>
                  </a:lnTo>
                  <a:lnTo>
                    <a:pt x="2623998" y="200876"/>
                  </a:lnTo>
                  <a:lnTo>
                    <a:pt x="2623998" y="200228"/>
                  </a:lnTo>
                  <a:lnTo>
                    <a:pt x="2623998" y="200876"/>
                  </a:lnTo>
                  <a:lnTo>
                    <a:pt x="2624100" y="200876"/>
                  </a:lnTo>
                  <a:lnTo>
                    <a:pt x="2624100" y="202260"/>
                  </a:lnTo>
                  <a:lnTo>
                    <a:pt x="2624100" y="200876"/>
                  </a:lnTo>
                  <a:lnTo>
                    <a:pt x="2624100" y="202260"/>
                  </a:lnTo>
                  <a:lnTo>
                    <a:pt x="2624100" y="200876"/>
                  </a:lnTo>
                  <a:lnTo>
                    <a:pt x="2624138" y="200876"/>
                  </a:lnTo>
                  <a:lnTo>
                    <a:pt x="2624138" y="202959"/>
                  </a:lnTo>
                  <a:lnTo>
                    <a:pt x="2624138" y="202260"/>
                  </a:lnTo>
                  <a:lnTo>
                    <a:pt x="2624189" y="202260"/>
                  </a:lnTo>
                  <a:lnTo>
                    <a:pt x="2624189" y="202959"/>
                  </a:lnTo>
                  <a:lnTo>
                    <a:pt x="2624189" y="200876"/>
                  </a:lnTo>
                  <a:lnTo>
                    <a:pt x="2624240" y="200876"/>
                  </a:lnTo>
                  <a:lnTo>
                    <a:pt x="2624240" y="200228"/>
                  </a:lnTo>
                  <a:lnTo>
                    <a:pt x="2624240" y="200876"/>
                  </a:lnTo>
                  <a:lnTo>
                    <a:pt x="2624240" y="199530"/>
                  </a:lnTo>
                  <a:lnTo>
                    <a:pt x="2624240" y="200228"/>
                  </a:lnTo>
                  <a:lnTo>
                    <a:pt x="2624240" y="199530"/>
                  </a:lnTo>
                  <a:lnTo>
                    <a:pt x="2624240" y="200228"/>
                  </a:lnTo>
                  <a:lnTo>
                    <a:pt x="2624240" y="199530"/>
                  </a:lnTo>
                  <a:lnTo>
                    <a:pt x="2624240" y="200228"/>
                  </a:lnTo>
                  <a:lnTo>
                    <a:pt x="2624341" y="199530"/>
                  </a:lnTo>
                  <a:lnTo>
                    <a:pt x="2624341" y="197447"/>
                  </a:lnTo>
                  <a:lnTo>
                    <a:pt x="2624392" y="197447"/>
                  </a:lnTo>
                  <a:lnTo>
                    <a:pt x="2624392" y="199530"/>
                  </a:lnTo>
                  <a:lnTo>
                    <a:pt x="2624443" y="199530"/>
                  </a:lnTo>
                  <a:lnTo>
                    <a:pt x="2624443" y="200228"/>
                  </a:lnTo>
                  <a:lnTo>
                    <a:pt x="2624443" y="198831"/>
                  </a:lnTo>
                  <a:lnTo>
                    <a:pt x="2624443" y="200228"/>
                  </a:lnTo>
                  <a:lnTo>
                    <a:pt x="2624443" y="199530"/>
                  </a:lnTo>
                  <a:lnTo>
                    <a:pt x="2624544" y="199530"/>
                  </a:lnTo>
                  <a:lnTo>
                    <a:pt x="2624544" y="198831"/>
                  </a:lnTo>
                  <a:lnTo>
                    <a:pt x="2624544" y="199530"/>
                  </a:lnTo>
                  <a:lnTo>
                    <a:pt x="2624595" y="199530"/>
                  </a:lnTo>
                  <a:lnTo>
                    <a:pt x="2624595" y="200228"/>
                  </a:lnTo>
                  <a:lnTo>
                    <a:pt x="2624595" y="199530"/>
                  </a:lnTo>
                  <a:lnTo>
                    <a:pt x="2624595" y="200876"/>
                  </a:lnTo>
                  <a:lnTo>
                    <a:pt x="2624595" y="200228"/>
                  </a:lnTo>
                  <a:lnTo>
                    <a:pt x="2624595" y="200876"/>
                  </a:lnTo>
                  <a:lnTo>
                    <a:pt x="2624646" y="200228"/>
                  </a:lnTo>
                  <a:lnTo>
                    <a:pt x="2624646" y="202260"/>
                  </a:lnTo>
                  <a:lnTo>
                    <a:pt x="2624646" y="200876"/>
                  </a:lnTo>
                  <a:lnTo>
                    <a:pt x="2624646" y="202260"/>
                  </a:lnTo>
                  <a:lnTo>
                    <a:pt x="2624646" y="200876"/>
                  </a:lnTo>
                  <a:lnTo>
                    <a:pt x="2624646" y="202260"/>
                  </a:lnTo>
                  <a:lnTo>
                    <a:pt x="2624646" y="200876"/>
                  </a:lnTo>
                  <a:lnTo>
                    <a:pt x="2624646" y="202260"/>
                  </a:lnTo>
                  <a:lnTo>
                    <a:pt x="2624684" y="202260"/>
                  </a:lnTo>
                  <a:lnTo>
                    <a:pt x="2624684" y="200876"/>
                  </a:lnTo>
                  <a:lnTo>
                    <a:pt x="2624684" y="202260"/>
                  </a:lnTo>
                  <a:lnTo>
                    <a:pt x="2624684" y="200876"/>
                  </a:lnTo>
                  <a:lnTo>
                    <a:pt x="2624684" y="202260"/>
                  </a:lnTo>
                  <a:lnTo>
                    <a:pt x="2624684" y="200876"/>
                  </a:lnTo>
                  <a:lnTo>
                    <a:pt x="2624786" y="200876"/>
                  </a:lnTo>
                  <a:lnTo>
                    <a:pt x="2624786" y="200228"/>
                  </a:lnTo>
                  <a:lnTo>
                    <a:pt x="2624786" y="200876"/>
                  </a:lnTo>
                  <a:lnTo>
                    <a:pt x="2624786" y="199530"/>
                  </a:lnTo>
                  <a:lnTo>
                    <a:pt x="2624837" y="199530"/>
                  </a:lnTo>
                  <a:lnTo>
                    <a:pt x="2624837" y="200228"/>
                  </a:lnTo>
                  <a:lnTo>
                    <a:pt x="2624837" y="196799"/>
                  </a:lnTo>
                  <a:lnTo>
                    <a:pt x="2624837" y="199530"/>
                  </a:lnTo>
                  <a:lnTo>
                    <a:pt x="2624887" y="199530"/>
                  </a:lnTo>
                  <a:lnTo>
                    <a:pt x="2624887" y="196113"/>
                  </a:lnTo>
                  <a:lnTo>
                    <a:pt x="2624887" y="199530"/>
                  </a:lnTo>
                  <a:lnTo>
                    <a:pt x="2624989" y="199530"/>
                  </a:lnTo>
                  <a:lnTo>
                    <a:pt x="2624989" y="197447"/>
                  </a:lnTo>
                  <a:lnTo>
                    <a:pt x="2624989" y="198831"/>
                  </a:lnTo>
                  <a:lnTo>
                    <a:pt x="2625040" y="198831"/>
                  </a:lnTo>
                  <a:lnTo>
                    <a:pt x="2625040" y="197447"/>
                  </a:lnTo>
                  <a:lnTo>
                    <a:pt x="2625040" y="198831"/>
                  </a:lnTo>
                  <a:lnTo>
                    <a:pt x="2625040" y="197447"/>
                  </a:lnTo>
                  <a:lnTo>
                    <a:pt x="2625040" y="199530"/>
                  </a:lnTo>
                  <a:lnTo>
                    <a:pt x="2625040" y="198831"/>
                  </a:lnTo>
                  <a:lnTo>
                    <a:pt x="2625090" y="198831"/>
                  </a:lnTo>
                  <a:lnTo>
                    <a:pt x="2625090" y="199530"/>
                  </a:lnTo>
                  <a:lnTo>
                    <a:pt x="2625090" y="198831"/>
                  </a:lnTo>
                  <a:lnTo>
                    <a:pt x="2625090" y="199530"/>
                  </a:lnTo>
                  <a:lnTo>
                    <a:pt x="2625141" y="199530"/>
                  </a:lnTo>
                  <a:lnTo>
                    <a:pt x="2625141" y="200876"/>
                  </a:lnTo>
                  <a:lnTo>
                    <a:pt x="2625230" y="200876"/>
                  </a:lnTo>
                  <a:lnTo>
                    <a:pt x="2625230" y="200228"/>
                  </a:lnTo>
                  <a:lnTo>
                    <a:pt x="2625230" y="200876"/>
                  </a:lnTo>
                  <a:lnTo>
                    <a:pt x="2625230" y="200228"/>
                  </a:lnTo>
                  <a:lnTo>
                    <a:pt x="2625281" y="200228"/>
                  </a:lnTo>
                  <a:lnTo>
                    <a:pt x="2625281" y="199530"/>
                  </a:lnTo>
                  <a:lnTo>
                    <a:pt x="2625281" y="200228"/>
                  </a:lnTo>
                  <a:lnTo>
                    <a:pt x="2625281" y="199530"/>
                  </a:lnTo>
                  <a:lnTo>
                    <a:pt x="2625281" y="200228"/>
                  </a:lnTo>
                  <a:lnTo>
                    <a:pt x="2625281" y="199530"/>
                  </a:lnTo>
                  <a:lnTo>
                    <a:pt x="2625281" y="200228"/>
                  </a:lnTo>
                  <a:lnTo>
                    <a:pt x="2625281" y="198831"/>
                  </a:lnTo>
                  <a:lnTo>
                    <a:pt x="2625332" y="198831"/>
                  </a:lnTo>
                  <a:lnTo>
                    <a:pt x="2625332" y="197447"/>
                  </a:lnTo>
                  <a:lnTo>
                    <a:pt x="2625332" y="199530"/>
                  </a:lnTo>
                  <a:lnTo>
                    <a:pt x="2625383" y="199530"/>
                  </a:lnTo>
                  <a:lnTo>
                    <a:pt x="2625383" y="197447"/>
                  </a:lnTo>
                  <a:lnTo>
                    <a:pt x="2625383" y="198831"/>
                  </a:lnTo>
                  <a:lnTo>
                    <a:pt x="2625383" y="197447"/>
                  </a:lnTo>
                  <a:lnTo>
                    <a:pt x="2625383" y="202260"/>
                  </a:lnTo>
                  <a:lnTo>
                    <a:pt x="2625383" y="200228"/>
                  </a:lnTo>
                  <a:lnTo>
                    <a:pt x="2625484" y="199530"/>
                  </a:lnTo>
                  <a:lnTo>
                    <a:pt x="2625484" y="198831"/>
                  </a:lnTo>
                  <a:lnTo>
                    <a:pt x="2625484" y="200876"/>
                  </a:lnTo>
                  <a:lnTo>
                    <a:pt x="2625484" y="200228"/>
                  </a:lnTo>
                  <a:lnTo>
                    <a:pt x="2625484" y="200876"/>
                  </a:lnTo>
                  <a:lnTo>
                    <a:pt x="2625484" y="199530"/>
                  </a:lnTo>
                  <a:lnTo>
                    <a:pt x="2625535" y="199530"/>
                  </a:lnTo>
                  <a:lnTo>
                    <a:pt x="2625535" y="200228"/>
                  </a:lnTo>
                  <a:lnTo>
                    <a:pt x="2625535" y="199530"/>
                  </a:lnTo>
                  <a:lnTo>
                    <a:pt x="2625535" y="200228"/>
                  </a:lnTo>
                  <a:lnTo>
                    <a:pt x="2625535" y="199530"/>
                  </a:lnTo>
                  <a:lnTo>
                    <a:pt x="2625535" y="200228"/>
                  </a:lnTo>
                  <a:lnTo>
                    <a:pt x="2625535" y="199530"/>
                  </a:lnTo>
                  <a:lnTo>
                    <a:pt x="2625586" y="200228"/>
                  </a:lnTo>
                  <a:lnTo>
                    <a:pt x="2625586" y="199530"/>
                  </a:lnTo>
                  <a:lnTo>
                    <a:pt x="2625586" y="200876"/>
                  </a:lnTo>
                  <a:lnTo>
                    <a:pt x="2625586" y="200228"/>
                  </a:lnTo>
                  <a:lnTo>
                    <a:pt x="2625687" y="200228"/>
                  </a:lnTo>
                  <a:lnTo>
                    <a:pt x="2625687" y="200876"/>
                  </a:lnTo>
                  <a:lnTo>
                    <a:pt x="2625687" y="200228"/>
                  </a:lnTo>
                  <a:lnTo>
                    <a:pt x="2625687" y="200876"/>
                  </a:lnTo>
                  <a:lnTo>
                    <a:pt x="2625725" y="200876"/>
                  </a:lnTo>
                  <a:lnTo>
                    <a:pt x="2625725" y="200228"/>
                  </a:lnTo>
                  <a:lnTo>
                    <a:pt x="2625725" y="200876"/>
                  </a:lnTo>
                  <a:lnTo>
                    <a:pt x="2625725" y="200228"/>
                  </a:lnTo>
                  <a:lnTo>
                    <a:pt x="2625776" y="200228"/>
                  </a:lnTo>
                  <a:lnTo>
                    <a:pt x="2625776" y="199530"/>
                  </a:lnTo>
                  <a:lnTo>
                    <a:pt x="2625776" y="200228"/>
                  </a:lnTo>
                  <a:lnTo>
                    <a:pt x="2625776" y="198831"/>
                  </a:lnTo>
                  <a:lnTo>
                    <a:pt x="2625776" y="199530"/>
                  </a:lnTo>
                  <a:lnTo>
                    <a:pt x="2625827" y="199530"/>
                  </a:lnTo>
                  <a:lnTo>
                    <a:pt x="2625827" y="200876"/>
                  </a:lnTo>
                  <a:lnTo>
                    <a:pt x="2625827" y="199530"/>
                  </a:lnTo>
                  <a:lnTo>
                    <a:pt x="2625827" y="200228"/>
                  </a:lnTo>
                  <a:lnTo>
                    <a:pt x="2625929" y="200876"/>
                  </a:lnTo>
                  <a:lnTo>
                    <a:pt x="2625929" y="202959"/>
                  </a:lnTo>
                  <a:lnTo>
                    <a:pt x="2625929" y="202260"/>
                  </a:lnTo>
                  <a:lnTo>
                    <a:pt x="2625929" y="202959"/>
                  </a:lnTo>
                  <a:lnTo>
                    <a:pt x="2625929" y="200876"/>
                  </a:lnTo>
                  <a:lnTo>
                    <a:pt x="2625929" y="202959"/>
                  </a:lnTo>
                  <a:lnTo>
                    <a:pt x="2625980" y="202959"/>
                  </a:lnTo>
                  <a:lnTo>
                    <a:pt x="2625980" y="200876"/>
                  </a:lnTo>
                  <a:lnTo>
                    <a:pt x="2625980" y="202260"/>
                  </a:lnTo>
                  <a:lnTo>
                    <a:pt x="2626030" y="202260"/>
                  </a:lnTo>
                  <a:lnTo>
                    <a:pt x="2626132" y="202959"/>
                  </a:lnTo>
                  <a:lnTo>
                    <a:pt x="2626132" y="200876"/>
                  </a:lnTo>
                  <a:lnTo>
                    <a:pt x="2626132" y="202260"/>
                  </a:lnTo>
                  <a:lnTo>
                    <a:pt x="2626183" y="202260"/>
                  </a:lnTo>
                  <a:lnTo>
                    <a:pt x="2626183" y="200876"/>
                  </a:lnTo>
                  <a:lnTo>
                    <a:pt x="2626183" y="202260"/>
                  </a:lnTo>
                  <a:lnTo>
                    <a:pt x="2626183" y="200228"/>
                  </a:lnTo>
                  <a:lnTo>
                    <a:pt x="2626183" y="200876"/>
                  </a:lnTo>
                  <a:lnTo>
                    <a:pt x="2626183" y="200228"/>
                  </a:lnTo>
                  <a:lnTo>
                    <a:pt x="2626234" y="200228"/>
                  </a:lnTo>
                  <a:lnTo>
                    <a:pt x="2626234" y="199530"/>
                  </a:lnTo>
                  <a:lnTo>
                    <a:pt x="2626234" y="200228"/>
                  </a:lnTo>
                  <a:lnTo>
                    <a:pt x="2626234" y="198831"/>
                  </a:lnTo>
                  <a:lnTo>
                    <a:pt x="2626272" y="199530"/>
                  </a:lnTo>
                  <a:lnTo>
                    <a:pt x="2626272" y="198831"/>
                  </a:lnTo>
                  <a:lnTo>
                    <a:pt x="2626272" y="199530"/>
                  </a:lnTo>
                  <a:lnTo>
                    <a:pt x="2626272" y="198831"/>
                  </a:lnTo>
                  <a:lnTo>
                    <a:pt x="2626272" y="200228"/>
                  </a:lnTo>
                  <a:lnTo>
                    <a:pt x="2626272" y="199530"/>
                  </a:lnTo>
                  <a:lnTo>
                    <a:pt x="2626373" y="199530"/>
                  </a:lnTo>
                  <a:lnTo>
                    <a:pt x="2626373" y="200228"/>
                  </a:lnTo>
                  <a:lnTo>
                    <a:pt x="2626373" y="199530"/>
                  </a:lnTo>
                  <a:lnTo>
                    <a:pt x="2626373" y="200228"/>
                  </a:lnTo>
                  <a:lnTo>
                    <a:pt x="2626373" y="199530"/>
                  </a:lnTo>
                  <a:lnTo>
                    <a:pt x="2626373" y="202260"/>
                  </a:lnTo>
                  <a:lnTo>
                    <a:pt x="2626424" y="202260"/>
                  </a:lnTo>
                  <a:lnTo>
                    <a:pt x="2626424" y="200876"/>
                  </a:lnTo>
                  <a:lnTo>
                    <a:pt x="2626424" y="202959"/>
                  </a:lnTo>
                  <a:lnTo>
                    <a:pt x="2626424" y="200876"/>
                  </a:lnTo>
                  <a:lnTo>
                    <a:pt x="2626475" y="200876"/>
                  </a:lnTo>
                  <a:lnTo>
                    <a:pt x="2626475" y="202260"/>
                  </a:lnTo>
                  <a:lnTo>
                    <a:pt x="2626475" y="200876"/>
                  </a:lnTo>
                  <a:lnTo>
                    <a:pt x="2626475" y="202959"/>
                  </a:lnTo>
                  <a:lnTo>
                    <a:pt x="2626576" y="202959"/>
                  </a:lnTo>
                  <a:lnTo>
                    <a:pt x="2626576" y="202260"/>
                  </a:lnTo>
                  <a:lnTo>
                    <a:pt x="2626576" y="202959"/>
                  </a:lnTo>
                  <a:lnTo>
                    <a:pt x="2626576" y="202260"/>
                  </a:lnTo>
                  <a:lnTo>
                    <a:pt x="2626576" y="202959"/>
                  </a:lnTo>
                  <a:lnTo>
                    <a:pt x="2626576" y="202260"/>
                  </a:lnTo>
                  <a:lnTo>
                    <a:pt x="2626576" y="202959"/>
                  </a:lnTo>
                  <a:lnTo>
                    <a:pt x="2626627" y="202959"/>
                  </a:lnTo>
                  <a:lnTo>
                    <a:pt x="2626627" y="202260"/>
                  </a:lnTo>
                  <a:lnTo>
                    <a:pt x="2626627" y="202959"/>
                  </a:lnTo>
                  <a:lnTo>
                    <a:pt x="2626627" y="202260"/>
                  </a:lnTo>
                  <a:lnTo>
                    <a:pt x="2626627" y="202959"/>
                  </a:lnTo>
                  <a:lnTo>
                    <a:pt x="2626627" y="202260"/>
                  </a:lnTo>
                  <a:lnTo>
                    <a:pt x="2626627" y="202959"/>
                  </a:lnTo>
                  <a:lnTo>
                    <a:pt x="2626678" y="202959"/>
                  </a:lnTo>
                  <a:lnTo>
                    <a:pt x="2626678" y="200876"/>
                  </a:lnTo>
                  <a:lnTo>
                    <a:pt x="2626678" y="202260"/>
                  </a:lnTo>
                  <a:lnTo>
                    <a:pt x="2626678" y="200228"/>
                  </a:lnTo>
                  <a:lnTo>
                    <a:pt x="2626729" y="200228"/>
                  </a:lnTo>
                  <a:lnTo>
                    <a:pt x="2626729" y="200876"/>
                  </a:lnTo>
                  <a:lnTo>
                    <a:pt x="2626729" y="198831"/>
                  </a:lnTo>
                  <a:lnTo>
                    <a:pt x="2626818" y="198831"/>
                  </a:lnTo>
                  <a:lnTo>
                    <a:pt x="2626818" y="200876"/>
                  </a:lnTo>
                  <a:lnTo>
                    <a:pt x="2626818" y="198831"/>
                  </a:lnTo>
                  <a:lnTo>
                    <a:pt x="2626818" y="200228"/>
                  </a:lnTo>
                  <a:lnTo>
                    <a:pt x="2626869" y="200876"/>
                  </a:lnTo>
                  <a:lnTo>
                    <a:pt x="2626869" y="202260"/>
                  </a:lnTo>
                  <a:lnTo>
                    <a:pt x="2626869" y="200228"/>
                  </a:lnTo>
                  <a:lnTo>
                    <a:pt x="2626869" y="202260"/>
                  </a:lnTo>
                  <a:lnTo>
                    <a:pt x="2626919" y="202260"/>
                  </a:lnTo>
                  <a:lnTo>
                    <a:pt x="2626919" y="200876"/>
                  </a:lnTo>
                  <a:lnTo>
                    <a:pt x="2626919" y="202260"/>
                  </a:lnTo>
                  <a:lnTo>
                    <a:pt x="2626919" y="200876"/>
                  </a:lnTo>
                  <a:lnTo>
                    <a:pt x="2626919" y="202260"/>
                  </a:lnTo>
                  <a:lnTo>
                    <a:pt x="2626970" y="202260"/>
                  </a:lnTo>
                  <a:lnTo>
                    <a:pt x="2626970" y="202959"/>
                  </a:lnTo>
                  <a:lnTo>
                    <a:pt x="2626970" y="202260"/>
                  </a:lnTo>
                  <a:lnTo>
                    <a:pt x="2626970" y="202959"/>
                  </a:lnTo>
                  <a:lnTo>
                    <a:pt x="2627072" y="202959"/>
                  </a:lnTo>
                  <a:lnTo>
                    <a:pt x="2627072" y="203594"/>
                  </a:lnTo>
                  <a:lnTo>
                    <a:pt x="2627072" y="202959"/>
                  </a:lnTo>
                  <a:lnTo>
                    <a:pt x="2627072" y="203594"/>
                  </a:lnTo>
                  <a:lnTo>
                    <a:pt x="2627072" y="202959"/>
                  </a:lnTo>
                  <a:lnTo>
                    <a:pt x="2627072" y="203594"/>
                  </a:lnTo>
                  <a:lnTo>
                    <a:pt x="2627072" y="202959"/>
                  </a:lnTo>
                  <a:lnTo>
                    <a:pt x="2627122" y="202959"/>
                  </a:lnTo>
                  <a:lnTo>
                    <a:pt x="2627122" y="202260"/>
                  </a:lnTo>
                  <a:lnTo>
                    <a:pt x="2627122" y="202959"/>
                  </a:lnTo>
                  <a:lnTo>
                    <a:pt x="2627122" y="202260"/>
                  </a:lnTo>
                  <a:lnTo>
                    <a:pt x="2627122" y="202959"/>
                  </a:lnTo>
                  <a:lnTo>
                    <a:pt x="2627173" y="202959"/>
                  </a:lnTo>
                  <a:lnTo>
                    <a:pt x="2627173" y="200228"/>
                  </a:lnTo>
                  <a:lnTo>
                    <a:pt x="2627173" y="200876"/>
                  </a:lnTo>
                  <a:lnTo>
                    <a:pt x="2627173" y="200228"/>
                  </a:lnTo>
                  <a:lnTo>
                    <a:pt x="2627275" y="200228"/>
                  </a:lnTo>
                  <a:lnTo>
                    <a:pt x="2627275" y="199530"/>
                  </a:lnTo>
                  <a:lnTo>
                    <a:pt x="2627275" y="200228"/>
                  </a:lnTo>
                  <a:lnTo>
                    <a:pt x="2627275" y="197447"/>
                  </a:lnTo>
                  <a:lnTo>
                    <a:pt x="2627313" y="196799"/>
                  </a:lnTo>
                  <a:lnTo>
                    <a:pt x="2627313" y="199530"/>
                  </a:lnTo>
                  <a:lnTo>
                    <a:pt x="2627313" y="198831"/>
                  </a:lnTo>
                  <a:lnTo>
                    <a:pt x="2627313" y="199530"/>
                  </a:lnTo>
                  <a:lnTo>
                    <a:pt x="2627364" y="200228"/>
                  </a:lnTo>
                  <a:lnTo>
                    <a:pt x="2627364" y="200876"/>
                  </a:lnTo>
                  <a:lnTo>
                    <a:pt x="2627364" y="200228"/>
                  </a:lnTo>
                  <a:lnTo>
                    <a:pt x="2627364" y="200876"/>
                  </a:lnTo>
                  <a:lnTo>
                    <a:pt x="2627415" y="200876"/>
                  </a:lnTo>
                  <a:lnTo>
                    <a:pt x="2627415" y="200228"/>
                  </a:lnTo>
                  <a:lnTo>
                    <a:pt x="2627415" y="200876"/>
                  </a:lnTo>
                  <a:lnTo>
                    <a:pt x="2627516" y="200876"/>
                  </a:lnTo>
                  <a:lnTo>
                    <a:pt x="2627516" y="202959"/>
                  </a:lnTo>
                  <a:lnTo>
                    <a:pt x="2627516" y="202260"/>
                  </a:lnTo>
                  <a:lnTo>
                    <a:pt x="2627567" y="202260"/>
                  </a:lnTo>
                  <a:lnTo>
                    <a:pt x="2627567" y="202959"/>
                  </a:lnTo>
                  <a:lnTo>
                    <a:pt x="2627567" y="202260"/>
                  </a:lnTo>
                  <a:lnTo>
                    <a:pt x="2627567" y="202959"/>
                  </a:lnTo>
                  <a:lnTo>
                    <a:pt x="2627567" y="202260"/>
                  </a:lnTo>
                  <a:lnTo>
                    <a:pt x="2627618" y="202260"/>
                  </a:lnTo>
                  <a:lnTo>
                    <a:pt x="2627618" y="202959"/>
                  </a:lnTo>
                  <a:lnTo>
                    <a:pt x="2627618" y="202260"/>
                  </a:lnTo>
                  <a:lnTo>
                    <a:pt x="2627618" y="202959"/>
                  </a:lnTo>
                  <a:lnTo>
                    <a:pt x="2627618" y="202260"/>
                  </a:lnTo>
                  <a:lnTo>
                    <a:pt x="2627719" y="202260"/>
                  </a:lnTo>
                  <a:lnTo>
                    <a:pt x="2627719" y="200228"/>
                  </a:lnTo>
                  <a:lnTo>
                    <a:pt x="2627770" y="200228"/>
                  </a:lnTo>
                  <a:lnTo>
                    <a:pt x="2627770" y="198831"/>
                  </a:lnTo>
                  <a:lnTo>
                    <a:pt x="2627821" y="198831"/>
                  </a:lnTo>
                  <a:lnTo>
                    <a:pt x="2627821" y="199530"/>
                  </a:lnTo>
                  <a:lnTo>
                    <a:pt x="2627821" y="196799"/>
                  </a:lnTo>
                  <a:lnTo>
                    <a:pt x="2627821" y="200228"/>
                  </a:lnTo>
                  <a:lnTo>
                    <a:pt x="2627859" y="200228"/>
                  </a:lnTo>
                  <a:lnTo>
                    <a:pt x="2627859" y="198831"/>
                  </a:lnTo>
                  <a:lnTo>
                    <a:pt x="2627859" y="199530"/>
                  </a:lnTo>
                  <a:lnTo>
                    <a:pt x="2627859" y="198831"/>
                  </a:lnTo>
                  <a:lnTo>
                    <a:pt x="2627859" y="200228"/>
                  </a:lnTo>
                  <a:lnTo>
                    <a:pt x="2627961" y="200228"/>
                  </a:lnTo>
                  <a:lnTo>
                    <a:pt x="2627961" y="199530"/>
                  </a:lnTo>
                  <a:lnTo>
                    <a:pt x="2627961" y="200228"/>
                  </a:lnTo>
                  <a:lnTo>
                    <a:pt x="2627961" y="199530"/>
                  </a:lnTo>
                  <a:lnTo>
                    <a:pt x="2628012" y="200228"/>
                  </a:lnTo>
                  <a:lnTo>
                    <a:pt x="2628012" y="200876"/>
                  </a:lnTo>
                  <a:lnTo>
                    <a:pt x="2628062" y="200228"/>
                  </a:lnTo>
                  <a:lnTo>
                    <a:pt x="2628062" y="202260"/>
                  </a:lnTo>
                  <a:lnTo>
                    <a:pt x="2628062" y="200876"/>
                  </a:lnTo>
                  <a:lnTo>
                    <a:pt x="2628062" y="202260"/>
                  </a:lnTo>
                  <a:lnTo>
                    <a:pt x="2628062" y="200876"/>
                  </a:lnTo>
                  <a:lnTo>
                    <a:pt x="2628164" y="200228"/>
                  </a:lnTo>
                  <a:lnTo>
                    <a:pt x="2628164" y="202260"/>
                  </a:lnTo>
                  <a:lnTo>
                    <a:pt x="2628164" y="200876"/>
                  </a:lnTo>
                  <a:lnTo>
                    <a:pt x="2628215" y="200228"/>
                  </a:lnTo>
                  <a:lnTo>
                    <a:pt x="2628215" y="200876"/>
                  </a:lnTo>
                  <a:lnTo>
                    <a:pt x="2628215" y="200228"/>
                  </a:lnTo>
                  <a:lnTo>
                    <a:pt x="2628215" y="200876"/>
                  </a:lnTo>
                  <a:lnTo>
                    <a:pt x="2628215" y="199530"/>
                  </a:lnTo>
                  <a:lnTo>
                    <a:pt x="2628215" y="200228"/>
                  </a:lnTo>
                  <a:lnTo>
                    <a:pt x="2628215" y="199530"/>
                  </a:lnTo>
                  <a:lnTo>
                    <a:pt x="2628265" y="199530"/>
                  </a:lnTo>
                  <a:lnTo>
                    <a:pt x="2628265" y="200876"/>
                  </a:lnTo>
                  <a:lnTo>
                    <a:pt x="2628316" y="200228"/>
                  </a:lnTo>
                  <a:lnTo>
                    <a:pt x="2628316" y="199530"/>
                  </a:lnTo>
                  <a:lnTo>
                    <a:pt x="2628316" y="202959"/>
                  </a:lnTo>
                  <a:lnTo>
                    <a:pt x="2628316" y="200876"/>
                  </a:lnTo>
                  <a:lnTo>
                    <a:pt x="2628405" y="200228"/>
                  </a:lnTo>
                  <a:lnTo>
                    <a:pt x="2628405" y="202260"/>
                  </a:lnTo>
                  <a:lnTo>
                    <a:pt x="2628405" y="200876"/>
                  </a:lnTo>
                  <a:lnTo>
                    <a:pt x="2628456" y="200876"/>
                  </a:lnTo>
                  <a:lnTo>
                    <a:pt x="2628456" y="202260"/>
                  </a:lnTo>
                  <a:lnTo>
                    <a:pt x="2628456" y="200876"/>
                  </a:lnTo>
                  <a:lnTo>
                    <a:pt x="2628456" y="202260"/>
                  </a:lnTo>
                  <a:lnTo>
                    <a:pt x="2628456" y="200876"/>
                  </a:lnTo>
                  <a:lnTo>
                    <a:pt x="2628456" y="202260"/>
                  </a:lnTo>
                  <a:lnTo>
                    <a:pt x="2628456" y="200876"/>
                  </a:lnTo>
                  <a:lnTo>
                    <a:pt x="2628507" y="200876"/>
                  </a:lnTo>
                  <a:lnTo>
                    <a:pt x="2628507" y="202260"/>
                  </a:lnTo>
                  <a:lnTo>
                    <a:pt x="2628507" y="200876"/>
                  </a:lnTo>
                  <a:lnTo>
                    <a:pt x="2628507" y="202260"/>
                  </a:lnTo>
                  <a:lnTo>
                    <a:pt x="2628558" y="202260"/>
                  </a:lnTo>
                  <a:lnTo>
                    <a:pt x="2628558" y="200876"/>
                  </a:lnTo>
                  <a:lnTo>
                    <a:pt x="2628558" y="202260"/>
                  </a:lnTo>
                  <a:lnTo>
                    <a:pt x="2628558" y="200876"/>
                  </a:lnTo>
                  <a:lnTo>
                    <a:pt x="2628659" y="200876"/>
                  </a:lnTo>
                  <a:lnTo>
                    <a:pt x="2628659" y="202260"/>
                  </a:lnTo>
                  <a:lnTo>
                    <a:pt x="2628659" y="200228"/>
                  </a:lnTo>
                  <a:lnTo>
                    <a:pt x="2628659" y="200876"/>
                  </a:lnTo>
                  <a:lnTo>
                    <a:pt x="2628659" y="200228"/>
                  </a:lnTo>
                  <a:lnTo>
                    <a:pt x="2628659" y="200876"/>
                  </a:lnTo>
                  <a:lnTo>
                    <a:pt x="2628659" y="200228"/>
                  </a:lnTo>
                  <a:lnTo>
                    <a:pt x="2628710" y="200228"/>
                  </a:lnTo>
                  <a:lnTo>
                    <a:pt x="2628710" y="198831"/>
                  </a:lnTo>
                  <a:lnTo>
                    <a:pt x="2628710" y="199530"/>
                  </a:lnTo>
                  <a:lnTo>
                    <a:pt x="2628761" y="198831"/>
                  </a:lnTo>
                  <a:lnTo>
                    <a:pt x="2628761" y="199530"/>
                  </a:lnTo>
                  <a:lnTo>
                    <a:pt x="2628761" y="198831"/>
                  </a:lnTo>
                  <a:lnTo>
                    <a:pt x="2628761" y="200876"/>
                  </a:lnTo>
                  <a:lnTo>
                    <a:pt x="2628761" y="199530"/>
                  </a:lnTo>
                  <a:lnTo>
                    <a:pt x="2628862" y="198831"/>
                  </a:lnTo>
                  <a:lnTo>
                    <a:pt x="2628862" y="202959"/>
                  </a:lnTo>
                  <a:lnTo>
                    <a:pt x="2628862" y="200228"/>
                  </a:lnTo>
                  <a:lnTo>
                    <a:pt x="2628900" y="200228"/>
                  </a:lnTo>
                  <a:lnTo>
                    <a:pt x="2628900" y="202260"/>
                  </a:lnTo>
                  <a:lnTo>
                    <a:pt x="2628900" y="200876"/>
                  </a:lnTo>
                  <a:lnTo>
                    <a:pt x="2628900" y="202260"/>
                  </a:lnTo>
                  <a:lnTo>
                    <a:pt x="2628900" y="200228"/>
                  </a:lnTo>
                  <a:lnTo>
                    <a:pt x="2628951" y="200228"/>
                  </a:lnTo>
                  <a:lnTo>
                    <a:pt x="2628951" y="202260"/>
                  </a:lnTo>
                  <a:lnTo>
                    <a:pt x="2628951" y="200228"/>
                  </a:lnTo>
                  <a:lnTo>
                    <a:pt x="2628951" y="202260"/>
                  </a:lnTo>
                  <a:lnTo>
                    <a:pt x="2629002" y="202260"/>
                  </a:lnTo>
                  <a:lnTo>
                    <a:pt x="2629002" y="200876"/>
                  </a:lnTo>
                  <a:lnTo>
                    <a:pt x="2629002" y="202260"/>
                  </a:lnTo>
                  <a:lnTo>
                    <a:pt x="2629002" y="200876"/>
                  </a:lnTo>
                  <a:lnTo>
                    <a:pt x="2629002" y="202260"/>
                  </a:lnTo>
                  <a:lnTo>
                    <a:pt x="2629002" y="200876"/>
                  </a:lnTo>
                  <a:lnTo>
                    <a:pt x="2629104" y="200876"/>
                  </a:lnTo>
                  <a:lnTo>
                    <a:pt x="2629104" y="202260"/>
                  </a:lnTo>
                  <a:lnTo>
                    <a:pt x="2629104" y="200228"/>
                  </a:lnTo>
                  <a:lnTo>
                    <a:pt x="2629155" y="200228"/>
                  </a:lnTo>
                  <a:lnTo>
                    <a:pt x="2629155" y="200876"/>
                  </a:lnTo>
                  <a:lnTo>
                    <a:pt x="2629155" y="199530"/>
                  </a:lnTo>
                  <a:lnTo>
                    <a:pt x="2629205" y="199530"/>
                  </a:lnTo>
                  <a:lnTo>
                    <a:pt x="2629205" y="198831"/>
                  </a:lnTo>
                  <a:lnTo>
                    <a:pt x="2629205" y="199530"/>
                  </a:lnTo>
                  <a:lnTo>
                    <a:pt x="2629205" y="196799"/>
                  </a:lnTo>
                  <a:lnTo>
                    <a:pt x="2629307" y="196799"/>
                  </a:lnTo>
                  <a:lnTo>
                    <a:pt x="2629307" y="199530"/>
                  </a:lnTo>
                  <a:lnTo>
                    <a:pt x="2629307" y="196799"/>
                  </a:lnTo>
                  <a:lnTo>
                    <a:pt x="2629358" y="197447"/>
                  </a:lnTo>
                  <a:lnTo>
                    <a:pt x="2629358" y="200228"/>
                  </a:lnTo>
                  <a:lnTo>
                    <a:pt x="2629358" y="198831"/>
                  </a:lnTo>
                  <a:lnTo>
                    <a:pt x="2629409" y="198831"/>
                  </a:lnTo>
                  <a:lnTo>
                    <a:pt x="2629409" y="200228"/>
                  </a:lnTo>
                  <a:lnTo>
                    <a:pt x="2629447" y="200228"/>
                  </a:lnTo>
                  <a:lnTo>
                    <a:pt x="2629447" y="200876"/>
                  </a:lnTo>
                  <a:lnTo>
                    <a:pt x="2629548" y="200876"/>
                  </a:lnTo>
                  <a:lnTo>
                    <a:pt x="2629548" y="202260"/>
                  </a:lnTo>
                  <a:lnTo>
                    <a:pt x="2629548" y="200876"/>
                  </a:lnTo>
                  <a:lnTo>
                    <a:pt x="2629548" y="202260"/>
                  </a:lnTo>
                  <a:lnTo>
                    <a:pt x="2629599" y="202260"/>
                  </a:lnTo>
                  <a:lnTo>
                    <a:pt x="2629599" y="200876"/>
                  </a:lnTo>
                  <a:lnTo>
                    <a:pt x="2629599" y="202260"/>
                  </a:lnTo>
                  <a:lnTo>
                    <a:pt x="2629599" y="200876"/>
                  </a:lnTo>
                  <a:lnTo>
                    <a:pt x="2629599" y="202260"/>
                  </a:lnTo>
                  <a:lnTo>
                    <a:pt x="2629599" y="200876"/>
                  </a:lnTo>
                  <a:lnTo>
                    <a:pt x="2629650" y="200876"/>
                  </a:lnTo>
                  <a:lnTo>
                    <a:pt x="2629650" y="200228"/>
                  </a:lnTo>
                  <a:lnTo>
                    <a:pt x="2629650" y="200876"/>
                  </a:lnTo>
                  <a:lnTo>
                    <a:pt x="2629650" y="200228"/>
                  </a:lnTo>
                  <a:lnTo>
                    <a:pt x="2629650" y="200876"/>
                  </a:lnTo>
                  <a:lnTo>
                    <a:pt x="2629650" y="200228"/>
                  </a:lnTo>
                  <a:lnTo>
                    <a:pt x="2629650" y="200876"/>
                  </a:lnTo>
                  <a:lnTo>
                    <a:pt x="2629650" y="199530"/>
                  </a:lnTo>
                  <a:lnTo>
                    <a:pt x="2629650" y="200228"/>
                  </a:lnTo>
                  <a:lnTo>
                    <a:pt x="2629751" y="200228"/>
                  </a:lnTo>
                  <a:lnTo>
                    <a:pt x="2629751" y="199530"/>
                  </a:lnTo>
                  <a:lnTo>
                    <a:pt x="2629751" y="200228"/>
                  </a:lnTo>
                  <a:lnTo>
                    <a:pt x="2629751" y="198831"/>
                  </a:lnTo>
                  <a:lnTo>
                    <a:pt x="2629751" y="199530"/>
                  </a:lnTo>
                  <a:lnTo>
                    <a:pt x="2629751" y="198831"/>
                  </a:lnTo>
                  <a:lnTo>
                    <a:pt x="2629751" y="199530"/>
                  </a:lnTo>
                  <a:lnTo>
                    <a:pt x="2629802" y="199530"/>
                  </a:lnTo>
                  <a:lnTo>
                    <a:pt x="2629802" y="200228"/>
                  </a:lnTo>
                  <a:lnTo>
                    <a:pt x="2629802" y="197447"/>
                  </a:lnTo>
                  <a:lnTo>
                    <a:pt x="2629802" y="202260"/>
                  </a:lnTo>
                  <a:lnTo>
                    <a:pt x="2629853" y="202260"/>
                  </a:lnTo>
                  <a:lnTo>
                    <a:pt x="2629853" y="198831"/>
                  </a:lnTo>
                  <a:lnTo>
                    <a:pt x="2629853" y="200228"/>
                  </a:lnTo>
                  <a:lnTo>
                    <a:pt x="2629904" y="200228"/>
                  </a:lnTo>
                  <a:lnTo>
                    <a:pt x="2629904" y="200876"/>
                  </a:lnTo>
                  <a:lnTo>
                    <a:pt x="2629904" y="200228"/>
                  </a:lnTo>
                  <a:lnTo>
                    <a:pt x="2629904" y="200876"/>
                  </a:lnTo>
                  <a:lnTo>
                    <a:pt x="2629904" y="200228"/>
                  </a:lnTo>
                  <a:lnTo>
                    <a:pt x="2629904" y="200876"/>
                  </a:lnTo>
                  <a:lnTo>
                    <a:pt x="2629904" y="200228"/>
                  </a:lnTo>
                  <a:lnTo>
                    <a:pt x="2629904" y="200876"/>
                  </a:lnTo>
                  <a:lnTo>
                    <a:pt x="2629993" y="200876"/>
                  </a:lnTo>
                  <a:lnTo>
                    <a:pt x="2629993" y="202260"/>
                  </a:lnTo>
                  <a:lnTo>
                    <a:pt x="2629993" y="200876"/>
                  </a:lnTo>
                  <a:lnTo>
                    <a:pt x="2630044" y="200876"/>
                  </a:lnTo>
                  <a:lnTo>
                    <a:pt x="2630044" y="202260"/>
                  </a:lnTo>
                  <a:lnTo>
                    <a:pt x="2630044" y="200876"/>
                  </a:lnTo>
                  <a:lnTo>
                    <a:pt x="2630094" y="200876"/>
                  </a:lnTo>
                  <a:lnTo>
                    <a:pt x="2630094" y="202260"/>
                  </a:lnTo>
                  <a:lnTo>
                    <a:pt x="2630094" y="200228"/>
                  </a:lnTo>
                  <a:lnTo>
                    <a:pt x="2630094" y="202260"/>
                  </a:lnTo>
                  <a:lnTo>
                    <a:pt x="2630094" y="200876"/>
                  </a:lnTo>
                  <a:lnTo>
                    <a:pt x="2630145" y="200876"/>
                  </a:lnTo>
                  <a:lnTo>
                    <a:pt x="2630145" y="200228"/>
                  </a:lnTo>
                  <a:lnTo>
                    <a:pt x="2630145" y="200876"/>
                  </a:lnTo>
                  <a:lnTo>
                    <a:pt x="2630145" y="199530"/>
                  </a:lnTo>
                  <a:lnTo>
                    <a:pt x="2630145" y="200228"/>
                  </a:lnTo>
                  <a:lnTo>
                    <a:pt x="2630247" y="200228"/>
                  </a:lnTo>
                  <a:lnTo>
                    <a:pt x="2630247" y="198831"/>
                  </a:lnTo>
                  <a:lnTo>
                    <a:pt x="2630247" y="200228"/>
                  </a:lnTo>
                  <a:lnTo>
                    <a:pt x="2630247" y="199530"/>
                  </a:lnTo>
                  <a:lnTo>
                    <a:pt x="2630247" y="200228"/>
                  </a:lnTo>
                  <a:lnTo>
                    <a:pt x="2630247" y="199530"/>
                  </a:lnTo>
                  <a:lnTo>
                    <a:pt x="2630247" y="200228"/>
                  </a:lnTo>
                  <a:lnTo>
                    <a:pt x="2630247" y="199530"/>
                  </a:lnTo>
                  <a:lnTo>
                    <a:pt x="2630247" y="200228"/>
                  </a:lnTo>
                  <a:lnTo>
                    <a:pt x="2630297" y="199530"/>
                  </a:lnTo>
                  <a:lnTo>
                    <a:pt x="2630297" y="200876"/>
                  </a:lnTo>
                  <a:lnTo>
                    <a:pt x="2630348" y="200228"/>
                  </a:lnTo>
                  <a:lnTo>
                    <a:pt x="2630348" y="202260"/>
                  </a:lnTo>
                  <a:lnTo>
                    <a:pt x="2630348" y="200876"/>
                  </a:lnTo>
                  <a:lnTo>
                    <a:pt x="2630450" y="200876"/>
                  </a:lnTo>
                  <a:lnTo>
                    <a:pt x="2630450" y="202260"/>
                  </a:lnTo>
                  <a:lnTo>
                    <a:pt x="2630488" y="202260"/>
                  </a:lnTo>
                  <a:lnTo>
                    <a:pt x="2630488" y="200876"/>
                  </a:lnTo>
                  <a:lnTo>
                    <a:pt x="2630488" y="202260"/>
                  </a:lnTo>
                  <a:lnTo>
                    <a:pt x="2630539" y="200876"/>
                  </a:lnTo>
                  <a:lnTo>
                    <a:pt x="2630539" y="202260"/>
                  </a:lnTo>
                  <a:lnTo>
                    <a:pt x="2630539" y="200876"/>
                  </a:lnTo>
                  <a:lnTo>
                    <a:pt x="2630539" y="202260"/>
                  </a:lnTo>
                  <a:lnTo>
                    <a:pt x="2630539" y="200876"/>
                  </a:lnTo>
                  <a:lnTo>
                    <a:pt x="2630590" y="202260"/>
                  </a:lnTo>
                  <a:lnTo>
                    <a:pt x="2630590" y="200228"/>
                  </a:lnTo>
                  <a:lnTo>
                    <a:pt x="2630590" y="200876"/>
                  </a:lnTo>
                  <a:lnTo>
                    <a:pt x="2630590" y="200228"/>
                  </a:lnTo>
                  <a:lnTo>
                    <a:pt x="2630691" y="200228"/>
                  </a:lnTo>
                  <a:lnTo>
                    <a:pt x="2630691" y="199530"/>
                  </a:lnTo>
                  <a:lnTo>
                    <a:pt x="2630691" y="200228"/>
                  </a:lnTo>
                  <a:lnTo>
                    <a:pt x="2630691" y="198831"/>
                  </a:lnTo>
                  <a:lnTo>
                    <a:pt x="2630691" y="200228"/>
                  </a:lnTo>
                  <a:lnTo>
                    <a:pt x="2630742" y="200228"/>
                  </a:lnTo>
                  <a:lnTo>
                    <a:pt x="2630742" y="198831"/>
                  </a:lnTo>
                  <a:lnTo>
                    <a:pt x="2630742" y="200228"/>
                  </a:lnTo>
                  <a:lnTo>
                    <a:pt x="2630793" y="200876"/>
                  </a:lnTo>
                  <a:lnTo>
                    <a:pt x="2630793" y="202260"/>
                  </a:lnTo>
                  <a:lnTo>
                    <a:pt x="2630793" y="200228"/>
                  </a:lnTo>
                  <a:lnTo>
                    <a:pt x="2630793" y="202260"/>
                  </a:lnTo>
                  <a:lnTo>
                    <a:pt x="2630793" y="200228"/>
                  </a:lnTo>
                  <a:lnTo>
                    <a:pt x="2630793" y="200876"/>
                  </a:lnTo>
                  <a:lnTo>
                    <a:pt x="2630793" y="200228"/>
                  </a:lnTo>
                  <a:lnTo>
                    <a:pt x="2630894" y="200228"/>
                  </a:lnTo>
                  <a:lnTo>
                    <a:pt x="2630894" y="202260"/>
                  </a:lnTo>
                  <a:lnTo>
                    <a:pt x="2630894" y="200876"/>
                  </a:lnTo>
                  <a:lnTo>
                    <a:pt x="2630945" y="200876"/>
                  </a:lnTo>
                  <a:lnTo>
                    <a:pt x="2630945" y="202260"/>
                  </a:lnTo>
                  <a:lnTo>
                    <a:pt x="2630945" y="200876"/>
                  </a:lnTo>
                  <a:lnTo>
                    <a:pt x="2630945" y="202260"/>
                  </a:lnTo>
                  <a:lnTo>
                    <a:pt x="2630945" y="200876"/>
                  </a:lnTo>
                  <a:lnTo>
                    <a:pt x="2630996" y="200876"/>
                  </a:lnTo>
                  <a:lnTo>
                    <a:pt x="2630996" y="202260"/>
                  </a:lnTo>
                  <a:lnTo>
                    <a:pt x="2630996" y="200876"/>
                  </a:lnTo>
                  <a:lnTo>
                    <a:pt x="2630996" y="202260"/>
                  </a:lnTo>
                  <a:lnTo>
                    <a:pt x="2630996" y="200876"/>
                  </a:lnTo>
                  <a:lnTo>
                    <a:pt x="2631034" y="200228"/>
                  </a:lnTo>
                  <a:lnTo>
                    <a:pt x="2631034" y="200876"/>
                  </a:lnTo>
                  <a:lnTo>
                    <a:pt x="2631034" y="200228"/>
                  </a:lnTo>
                  <a:lnTo>
                    <a:pt x="2631034" y="200876"/>
                  </a:lnTo>
                  <a:lnTo>
                    <a:pt x="2631034" y="200228"/>
                  </a:lnTo>
                  <a:lnTo>
                    <a:pt x="2631136" y="200228"/>
                  </a:lnTo>
                  <a:lnTo>
                    <a:pt x="2631136" y="199530"/>
                  </a:lnTo>
                  <a:lnTo>
                    <a:pt x="2631187" y="199530"/>
                  </a:lnTo>
                  <a:lnTo>
                    <a:pt x="2631187" y="197447"/>
                  </a:lnTo>
                  <a:lnTo>
                    <a:pt x="2631187" y="200228"/>
                  </a:lnTo>
                  <a:lnTo>
                    <a:pt x="2631187" y="199530"/>
                  </a:lnTo>
                  <a:lnTo>
                    <a:pt x="2631187" y="200228"/>
                  </a:lnTo>
                  <a:lnTo>
                    <a:pt x="2631187" y="198831"/>
                  </a:lnTo>
                  <a:lnTo>
                    <a:pt x="2631237" y="198831"/>
                  </a:lnTo>
                  <a:lnTo>
                    <a:pt x="2631237" y="200876"/>
                  </a:lnTo>
                  <a:lnTo>
                    <a:pt x="2631237" y="200228"/>
                  </a:lnTo>
                  <a:lnTo>
                    <a:pt x="2631339" y="200228"/>
                  </a:lnTo>
                  <a:lnTo>
                    <a:pt x="2631339" y="200876"/>
                  </a:lnTo>
                  <a:lnTo>
                    <a:pt x="2631339" y="200228"/>
                  </a:lnTo>
                  <a:lnTo>
                    <a:pt x="2631339" y="200876"/>
                  </a:lnTo>
                  <a:lnTo>
                    <a:pt x="2631339" y="200228"/>
                  </a:lnTo>
                  <a:lnTo>
                    <a:pt x="2631339" y="202260"/>
                  </a:lnTo>
                  <a:lnTo>
                    <a:pt x="2631339" y="200876"/>
                  </a:lnTo>
                  <a:lnTo>
                    <a:pt x="2631390" y="200876"/>
                  </a:lnTo>
                  <a:lnTo>
                    <a:pt x="2631390" y="202260"/>
                  </a:lnTo>
                  <a:lnTo>
                    <a:pt x="2631390" y="200876"/>
                  </a:lnTo>
                  <a:lnTo>
                    <a:pt x="2631390" y="202260"/>
                  </a:lnTo>
                  <a:lnTo>
                    <a:pt x="2631580" y="202260"/>
                  </a:lnTo>
                  <a:lnTo>
                    <a:pt x="2631580" y="200228"/>
                  </a:lnTo>
                  <a:lnTo>
                    <a:pt x="2631580" y="200876"/>
                  </a:lnTo>
                  <a:lnTo>
                    <a:pt x="2631631" y="200876"/>
                  </a:lnTo>
                  <a:lnTo>
                    <a:pt x="2631631" y="199530"/>
                  </a:lnTo>
                  <a:lnTo>
                    <a:pt x="2631631" y="200228"/>
                  </a:lnTo>
                  <a:lnTo>
                    <a:pt x="2631631" y="199530"/>
                  </a:lnTo>
                  <a:lnTo>
                    <a:pt x="2631682" y="199530"/>
                  </a:lnTo>
                  <a:lnTo>
                    <a:pt x="2631682" y="200876"/>
                  </a:lnTo>
                  <a:lnTo>
                    <a:pt x="2631682" y="199530"/>
                  </a:lnTo>
                  <a:lnTo>
                    <a:pt x="2631682" y="200228"/>
                  </a:lnTo>
                  <a:lnTo>
                    <a:pt x="2631733" y="200876"/>
                  </a:lnTo>
                  <a:lnTo>
                    <a:pt x="2631733" y="202959"/>
                  </a:lnTo>
                  <a:lnTo>
                    <a:pt x="2631733" y="200228"/>
                  </a:lnTo>
                  <a:lnTo>
                    <a:pt x="2631733" y="202260"/>
                  </a:lnTo>
                  <a:lnTo>
                    <a:pt x="2631834" y="202260"/>
                  </a:lnTo>
                  <a:lnTo>
                    <a:pt x="2631834" y="200876"/>
                  </a:lnTo>
                  <a:lnTo>
                    <a:pt x="2631834" y="202260"/>
                  </a:lnTo>
                  <a:lnTo>
                    <a:pt x="2631834" y="200876"/>
                  </a:lnTo>
                  <a:lnTo>
                    <a:pt x="2631834" y="202260"/>
                  </a:lnTo>
                  <a:lnTo>
                    <a:pt x="2631885" y="202260"/>
                  </a:lnTo>
                  <a:lnTo>
                    <a:pt x="2631885" y="202959"/>
                  </a:lnTo>
                  <a:lnTo>
                    <a:pt x="2631936" y="202959"/>
                  </a:lnTo>
                  <a:lnTo>
                    <a:pt x="2631936" y="202260"/>
                  </a:lnTo>
                  <a:lnTo>
                    <a:pt x="2631936" y="202959"/>
                  </a:lnTo>
                  <a:lnTo>
                    <a:pt x="2631936" y="202260"/>
                  </a:lnTo>
                  <a:lnTo>
                    <a:pt x="2632037" y="202260"/>
                  </a:lnTo>
                  <a:lnTo>
                    <a:pt x="2632037" y="200876"/>
                  </a:lnTo>
                  <a:lnTo>
                    <a:pt x="2632037" y="202260"/>
                  </a:lnTo>
                  <a:lnTo>
                    <a:pt x="2632037" y="200876"/>
                  </a:lnTo>
                  <a:lnTo>
                    <a:pt x="2632037" y="202260"/>
                  </a:lnTo>
                  <a:lnTo>
                    <a:pt x="2632037" y="200876"/>
                  </a:lnTo>
                  <a:lnTo>
                    <a:pt x="2632075" y="200876"/>
                  </a:lnTo>
                  <a:lnTo>
                    <a:pt x="2632075" y="200228"/>
                  </a:lnTo>
                  <a:lnTo>
                    <a:pt x="2632075" y="200876"/>
                  </a:lnTo>
                  <a:lnTo>
                    <a:pt x="2632075" y="200228"/>
                  </a:lnTo>
                  <a:lnTo>
                    <a:pt x="2632126" y="200228"/>
                  </a:lnTo>
                  <a:lnTo>
                    <a:pt x="2632126" y="198831"/>
                  </a:lnTo>
                  <a:lnTo>
                    <a:pt x="2632126" y="199530"/>
                  </a:lnTo>
                  <a:lnTo>
                    <a:pt x="2632177" y="200228"/>
                  </a:lnTo>
                  <a:lnTo>
                    <a:pt x="2632177" y="199530"/>
                  </a:lnTo>
                  <a:lnTo>
                    <a:pt x="2632177" y="200228"/>
                  </a:lnTo>
                  <a:lnTo>
                    <a:pt x="2632177" y="198831"/>
                  </a:lnTo>
                  <a:lnTo>
                    <a:pt x="2632177" y="202260"/>
                  </a:lnTo>
                  <a:lnTo>
                    <a:pt x="2632177" y="200876"/>
                  </a:lnTo>
                  <a:lnTo>
                    <a:pt x="2632279" y="200876"/>
                  </a:lnTo>
                  <a:lnTo>
                    <a:pt x="2632279" y="199530"/>
                  </a:lnTo>
                  <a:lnTo>
                    <a:pt x="2632279" y="200876"/>
                  </a:lnTo>
                  <a:lnTo>
                    <a:pt x="2632279" y="200228"/>
                  </a:lnTo>
                  <a:lnTo>
                    <a:pt x="2632279" y="200876"/>
                  </a:lnTo>
                  <a:lnTo>
                    <a:pt x="2632330" y="200876"/>
                  </a:lnTo>
                  <a:lnTo>
                    <a:pt x="2632330" y="200228"/>
                  </a:lnTo>
                  <a:lnTo>
                    <a:pt x="2632330" y="202260"/>
                  </a:lnTo>
                  <a:lnTo>
                    <a:pt x="2632330" y="200876"/>
                  </a:lnTo>
                  <a:lnTo>
                    <a:pt x="2632380" y="200876"/>
                  </a:lnTo>
                  <a:lnTo>
                    <a:pt x="2632380" y="202260"/>
                  </a:lnTo>
                  <a:lnTo>
                    <a:pt x="2632380" y="200876"/>
                  </a:lnTo>
                  <a:lnTo>
                    <a:pt x="2632380" y="202260"/>
                  </a:lnTo>
                  <a:lnTo>
                    <a:pt x="2632380" y="200876"/>
                  </a:lnTo>
                  <a:lnTo>
                    <a:pt x="2632380" y="202260"/>
                  </a:lnTo>
                  <a:lnTo>
                    <a:pt x="2632380" y="200876"/>
                  </a:lnTo>
                  <a:lnTo>
                    <a:pt x="2632482" y="202260"/>
                  </a:lnTo>
                  <a:lnTo>
                    <a:pt x="2632482" y="200876"/>
                  </a:lnTo>
                  <a:lnTo>
                    <a:pt x="2632482" y="202260"/>
                  </a:lnTo>
                  <a:lnTo>
                    <a:pt x="2632533" y="202260"/>
                  </a:lnTo>
                  <a:lnTo>
                    <a:pt x="2632533" y="200228"/>
                  </a:lnTo>
                  <a:lnTo>
                    <a:pt x="2632533" y="202260"/>
                  </a:lnTo>
                  <a:lnTo>
                    <a:pt x="2632533" y="200228"/>
                  </a:lnTo>
                  <a:lnTo>
                    <a:pt x="2632584" y="200228"/>
                  </a:lnTo>
                  <a:lnTo>
                    <a:pt x="2632584" y="199530"/>
                  </a:lnTo>
                  <a:lnTo>
                    <a:pt x="2632584" y="200228"/>
                  </a:lnTo>
                  <a:lnTo>
                    <a:pt x="2632584" y="199530"/>
                  </a:lnTo>
                  <a:lnTo>
                    <a:pt x="2632584" y="200228"/>
                  </a:lnTo>
                  <a:lnTo>
                    <a:pt x="2632584" y="199530"/>
                  </a:lnTo>
                  <a:lnTo>
                    <a:pt x="2632622" y="199530"/>
                  </a:lnTo>
                  <a:lnTo>
                    <a:pt x="2632622" y="196799"/>
                  </a:lnTo>
                  <a:lnTo>
                    <a:pt x="2632622" y="199530"/>
                  </a:lnTo>
                  <a:lnTo>
                    <a:pt x="2632622" y="198831"/>
                  </a:lnTo>
                  <a:lnTo>
                    <a:pt x="2632723" y="198831"/>
                  </a:lnTo>
                  <a:lnTo>
                    <a:pt x="2632723" y="197447"/>
                  </a:lnTo>
                  <a:lnTo>
                    <a:pt x="2632723" y="198831"/>
                  </a:lnTo>
                  <a:lnTo>
                    <a:pt x="2632723" y="197447"/>
                  </a:lnTo>
                  <a:lnTo>
                    <a:pt x="2632723" y="199530"/>
                  </a:lnTo>
                  <a:lnTo>
                    <a:pt x="2632774" y="199530"/>
                  </a:lnTo>
                  <a:lnTo>
                    <a:pt x="2632774" y="200228"/>
                  </a:lnTo>
                  <a:lnTo>
                    <a:pt x="2632774" y="199530"/>
                  </a:lnTo>
                  <a:lnTo>
                    <a:pt x="2632774" y="200228"/>
                  </a:lnTo>
                  <a:lnTo>
                    <a:pt x="2632825" y="200228"/>
                  </a:lnTo>
                  <a:lnTo>
                    <a:pt x="2632825" y="199530"/>
                  </a:lnTo>
                  <a:lnTo>
                    <a:pt x="2632825" y="200876"/>
                  </a:lnTo>
                  <a:lnTo>
                    <a:pt x="2632825" y="200228"/>
                  </a:lnTo>
                  <a:lnTo>
                    <a:pt x="2632926" y="200228"/>
                  </a:lnTo>
                  <a:lnTo>
                    <a:pt x="2632926" y="200876"/>
                  </a:lnTo>
                  <a:lnTo>
                    <a:pt x="2632926" y="200228"/>
                  </a:lnTo>
                  <a:lnTo>
                    <a:pt x="2632926" y="200876"/>
                  </a:lnTo>
                  <a:lnTo>
                    <a:pt x="2632926" y="200228"/>
                  </a:lnTo>
                  <a:lnTo>
                    <a:pt x="2632926" y="200876"/>
                  </a:lnTo>
                  <a:lnTo>
                    <a:pt x="2632977" y="200876"/>
                  </a:lnTo>
                  <a:lnTo>
                    <a:pt x="2632977" y="202260"/>
                  </a:lnTo>
                  <a:lnTo>
                    <a:pt x="2632977" y="200876"/>
                  </a:lnTo>
                  <a:lnTo>
                    <a:pt x="2632977" y="202260"/>
                  </a:lnTo>
                  <a:lnTo>
                    <a:pt x="2632977" y="200228"/>
                  </a:lnTo>
                  <a:lnTo>
                    <a:pt x="2632977" y="200876"/>
                  </a:lnTo>
                  <a:lnTo>
                    <a:pt x="2632977" y="200228"/>
                  </a:lnTo>
                  <a:lnTo>
                    <a:pt x="2632977" y="200876"/>
                  </a:lnTo>
                  <a:lnTo>
                    <a:pt x="2633028" y="200876"/>
                  </a:lnTo>
                  <a:lnTo>
                    <a:pt x="2633028" y="200228"/>
                  </a:lnTo>
                  <a:lnTo>
                    <a:pt x="2633028" y="200876"/>
                  </a:lnTo>
                  <a:lnTo>
                    <a:pt x="2633028" y="200228"/>
                  </a:lnTo>
                  <a:lnTo>
                    <a:pt x="2633079" y="200228"/>
                  </a:lnTo>
                  <a:lnTo>
                    <a:pt x="2633079" y="199530"/>
                  </a:lnTo>
                  <a:lnTo>
                    <a:pt x="2633079" y="200228"/>
                  </a:lnTo>
                  <a:lnTo>
                    <a:pt x="2633079" y="198831"/>
                  </a:lnTo>
                  <a:lnTo>
                    <a:pt x="2633079" y="199530"/>
                  </a:lnTo>
                  <a:lnTo>
                    <a:pt x="2633079" y="198831"/>
                  </a:lnTo>
                  <a:lnTo>
                    <a:pt x="2633079" y="199530"/>
                  </a:lnTo>
                  <a:lnTo>
                    <a:pt x="2633079" y="198831"/>
                  </a:lnTo>
                  <a:lnTo>
                    <a:pt x="2633168" y="198831"/>
                  </a:lnTo>
                  <a:lnTo>
                    <a:pt x="2633168" y="196799"/>
                  </a:lnTo>
                  <a:lnTo>
                    <a:pt x="2633168" y="197447"/>
                  </a:lnTo>
                  <a:lnTo>
                    <a:pt x="2633168" y="196113"/>
                  </a:lnTo>
                  <a:lnTo>
                    <a:pt x="2633168" y="196799"/>
                  </a:lnTo>
                  <a:lnTo>
                    <a:pt x="2633168" y="195415"/>
                  </a:lnTo>
                  <a:lnTo>
                    <a:pt x="2633219" y="194716"/>
                  </a:lnTo>
                  <a:lnTo>
                    <a:pt x="2633219" y="196113"/>
                  </a:lnTo>
                  <a:lnTo>
                    <a:pt x="2633219" y="194716"/>
                  </a:lnTo>
                  <a:lnTo>
                    <a:pt x="2633219" y="195415"/>
                  </a:lnTo>
                  <a:lnTo>
                    <a:pt x="2633269" y="195415"/>
                  </a:lnTo>
                  <a:lnTo>
                    <a:pt x="2633269" y="196799"/>
                  </a:lnTo>
                  <a:lnTo>
                    <a:pt x="2633269" y="196113"/>
                  </a:lnTo>
                  <a:lnTo>
                    <a:pt x="2633269" y="197447"/>
                  </a:lnTo>
                  <a:lnTo>
                    <a:pt x="2633320" y="197447"/>
                  </a:lnTo>
                  <a:lnTo>
                    <a:pt x="2633320" y="198831"/>
                  </a:lnTo>
                  <a:lnTo>
                    <a:pt x="2633320" y="196799"/>
                  </a:lnTo>
                  <a:lnTo>
                    <a:pt x="2633320" y="198831"/>
                  </a:lnTo>
                  <a:lnTo>
                    <a:pt x="2633422" y="198831"/>
                  </a:lnTo>
                  <a:lnTo>
                    <a:pt x="2633422" y="199530"/>
                  </a:lnTo>
                  <a:lnTo>
                    <a:pt x="2633422" y="198831"/>
                  </a:lnTo>
                  <a:lnTo>
                    <a:pt x="2633422" y="199530"/>
                  </a:lnTo>
                  <a:lnTo>
                    <a:pt x="2633422" y="198831"/>
                  </a:lnTo>
                  <a:lnTo>
                    <a:pt x="2633422" y="199530"/>
                  </a:lnTo>
                  <a:lnTo>
                    <a:pt x="2633472" y="199530"/>
                  </a:lnTo>
                  <a:lnTo>
                    <a:pt x="2633472" y="200228"/>
                  </a:lnTo>
                  <a:lnTo>
                    <a:pt x="2633472" y="199530"/>
                  </a:lnTo>
                  <a:lnTo>
                    <a:pt x="2633472" y="200228"/>
                  </a:lnTo>
                  <a:lnTo>
                    <a:pt x="2633472" y="199530"/>
                  </a:lnTo>
                  <a:lnTo>
                    <a:pt x="2633472" y="200228"/>
                  </a:lnTo>
                  <a:lnTo>
                    <a:pt x="2633472" y="199530"/>
                  </a:lnTo>
                  <a:lnTo>
                    <a:pt x="2633472" y="200228"/>
                  </a:lnTo>
                  <a:lnTo>
                    <a:pt x="2633625" y="200228"/>
                  </a:lnTo>
                  <a:lnTo>
                    <a:pt x="2633625" y="199530"/>
                  </a:lnTo>
                  <a:lnTo>
                    <a:pt x="2633663" y="199530"/>
                  </a:lnTo>
                  <a:lnTo>
                    <a:pt x="2633663" y="196113"/>
                  </a:lnTo>
                  <a:lnTo>
                    <a:pt x="2633714" y="196113"/>
                  </a:lnTo>
                  <a:lnTo>
                    <a:pt x="2633714" y="196799"/>
                  </a:lnTo>
                  <a:lnTo>
                    <a:pt x="2633714" y="195415"/>
                  </a:lnTo>
                  <a:lnTo>
                    <a:pt x="2633714" y="196113"/>
                  </a:lnTo>
                  <a:lnTo>
                    <a:pt x="2633765" y="196113"/>
                  </a:lnTo>
                  <a:lnTo>
                    <a:pt x="2633765" y="197447"/>
                  </a:lnTo>
                  <a:lnTo>
                    <a:pt x="2633765" y="196113"/>
                  </a:lnTo>
                  <a:lnTo>
                    <a:pt x="2633765" y="197447"/>
                  </a:lnTo>
                  <a:lnTo>
                    <a:pt x="2633866" y="197447"/>
                  </a:lnTo>
                  <a:lnTo>
                    <a:pt x="2633866" y="196799"/>
                  </a:lnTo>
                  <a:lnTo>
                    <a:pt x="2633866" y="197447"/>
                  </a:lnTo>
                  <a:lnTo>
                    <a:pt x="2633866" y="196799"/>
                  </a:lnTo>
                  <a:lnTo>
                    <a:pt x="2633917" y="196799"/>
                  </a:lnTo>
                  <a:lnTo>
                    <a:pt x="2633917" y="196113"/>
                  </a:lnTo>
                  <a:lnTo>
                    <a:pt x="2633917" y="198831"/>
                  </a:lnTo>
                  <a:lnTo>
                    <a:pt x="2633968" y="198831"/>
                  </a:lnTo>
                  <a:lnTo>
                    <a:pt x="2633968" y="197447"/>
                  </a:lnTo>
                  <a:lnTo>
                    <a:pt x="2633968" y="198831"/>
                  </a:lnTo>
                  <a:lnTo>
                    <a:pt x="2634069" y="198831"/>
                  </a:lnTo>
                  <a:lnTo>
                    <a:pt x="2634069" y="200228"/>
                  </a:lnTo>
                  <a:lnTo>
                    <a:pt x="2634069" y="199530"/>
                  </a:lnTo>
                  <a:lnTo>
                    <a:pt x="2634069" y="200228"/>
                  </a:lnTo>
                  <a:lnTo>
                    <a:pt x="2634069" y="199530"/>
                  </a:lnTo>
                  <a:lnTo>
                    <a:pt x="2634069" y="200228"/>
                  </a:lnTo>
                  <a:lnTo>
                    <a:pt x="2634120" y="200228"/>
                  </a:lnTo>
                  <a:lnTo>
                    <a:pt x="2634120" y="198831"/>
                  </a:lnTo>
                  <a:lnTo>
                    <a:pt x="2634120" y="199530"/>
                  </a:lnTo>
                  <a:lnTo>
                    <a:pt x="2634120" y="198831"/>
                  </a:lnTo>
                  <a:lnTo>
                    <a:pt x="2634171" y="197447"/>
                  </a:lnTo>
                  <a:lnTo>
                    <a:pt x="2634171" y="198831"/>
                  </a:lnTo>
                  <a:lnTo>
                    <a:pt x="2634171" y="196113"/>
                  </a:lnTo>
                  <a:lnTo>
                    <a:pt x="2634209" y="196113"/>
                  </a:lnTo>
                  <a:lnTo>
                    <a:pt x="2634209" y="197447"/>
                  </a:lnTo>
                  <a:lnTo>
                    <a:pt x="2634209" y="196113"/>
                  </a:lnTo>
                  <a:lnTo>
                    <a:pt x="2634209" y="196799"/>
                  </a:lnTo>
                  <a:lnTo>
                    <a:pt x="2634311" y="196799"/>
                  </a:lnTo>
                  <a:lnTo>
                    <a:pt x="2634311" y="198831"/>
                  </a:lnTo>
                  <a:lnTo>
                    <a:pt x="2634311" y="197447"/>
                  </a:lnTo>
                  <a:lnTo>
                    <a:pt x="2634311" y="198831"/>
                  </a:lnTo>
                  <a:lnTo>
                    <a:pt x="2634311" y="196799"/>
                  </a:lnTo>
                  <a:lnTo>
                    <a:pt x="2634311" y="197447"/>
                  </a:lnTo>
                  <a:lnTo>
                    <a:pt x="2634362" y="198831"/>
                  </a:lnTo>
                  <a:lnTo>
                    <a:pt x="2634362" y="196799"/>
                  </a:lnTo>
                  <a:lnTo>
                    <a:pt x="2634362" y="197447"/>
                  </a:lnTo>
                  <a:lnTo>
                    <a:pt x="2634412" y="197447"/>
                  </a:lnTo>
                  <a:lnTo>
                    <a:pt x="2634412" y="198831"/>
                  </a:lnTo>
                  <a:lnTo>
                    <a:pt x="2634514" y="197447"/>
                  </a:lnTo>
                  <a:lnTo>
                    <a:pt x="2634514" y="198831"/>
                  </a:lnTo>
                  <a:lnTo>
                    <a:pt x="2634514" y="197447"/>
                  </a:lnTo>
                  <a:lnTo>
                    <a:pt x="2634514" y="199530"/>
                  </a:lnTo>
                  <a:lnTo>
                    <a:pt x="2634565" y="199530"/>
                  </a:lnTo>
                  <a:lnTo>
                    <a:pt x="2634565" y="200228"/>
                  </a:lnTo>
                  <a:lnTo>
                    <a:pt x="2634565" y="199530"/>
                  </a:lnTo>
                  <a:lnTo>
                    <a:pt x="2634615" y="199530"/>
                  </a:lnTo>
                  <a:lnTo>
                    <a:pt x="2634615" y="200228"/>
                  </a:lnTo>
                  <a:lnTo>
                    <a:pt x="2634615" y="198831"/>
                  </a:lnTo>
                  <a:lnTo>
                    <a:pt x="2634666" y="198831"/>
                  </a:lnTo>
                  <a:lnTo>
                    <a:pt x="2634666" y="196799"/>
                  </a:lnTo>
                  <a:lnTo>
                    <a:pt x="2634666" y="197447"/>
                  </a:lnTo>
                  <a:lnTo>
                    <a:pt x="2634666" y="196799"/>
                  </a:lnTo>
                  <a:lnTo>
                    <a:pt x="2634755" y="196113"/>
                  </a:lnTo>
                  <a:lnTo>
                    <a:pt x="2634755" y="195415"/>
                  </a:lnTo>
                  <a:lnTo>
                    <a:pt x="2634755" y="198831"/>
                  </a:lnTo>
                  <a:lnTo>
                    <a:pt x="2634755" y="196113"/>
                  </a:lnTo>
                  <a:lnTo>
                    <a:pt x="2634806" y="196113"/>
                  </a:lnTo>
                  <a:lnTo>
                    <a:pt x="2634806" y="198831"/>
                  </a:lnTo>
                  <a:lnTo>
                    <a:pt x="2634806" y="196799"/>
                  </a:lnTo>
                  <a:lnTo>
                    <a:pt x="2634857" y="196799"/>
                  </a:lnTo>
                  <a:lnTo>
                    <a:pt x="2634857" y="198831"/>
                  </a:lnTo>
                  <a:lnTo>
                    <a:pt x="2634857" y="196799"/>
                  </a:lnTo>
                  <a:lnTo>
                    <a:pt x="2634857" y="197447"/>
                  </a:lnTo>
                  <a:lnTo>
                    <a:pt x="2634857" y="196799"/>
                  </a:lnTo>
                  <a:lnTo>
                    <a:pt x="2634908" y="196799"/>
                  </a:lnTo>
                  <a:lnTo>
                    <a:pt x="2634908" y="198831"/>
                  </a:lnTo>
                  <a:lnTo>
                    <a:pt x="2634908" y="197447"/>
                  </a:lnTo>
                  <a:lnTo>
                    <a:pt x="2634908" y="198831"/>
                  </a:lnTo>
                  <a:lnTo>
                    <a:pt x="2635009" y="198831"/>
                  </a:lnTo>
                  <a:lnTo>
                    <a:pt x="2635009" y="199530"/>
                  </a:lnTo>
                  <a:lnTo>
                    <a:pt x="2635111" y="199530"/>
                  </a:lnTo>
                  <a:lnTo>
                    <a:pt x="2635111" y="197447"/>
                  </a:lnTo>
                  <a:lnTo>
                    <a:pt x="2635212" y="197447"/>
                  </a:lnTo>
                  <a:lnTo>
                    <a:pt x="2635212" y="196799"/>
                  </a:lnTo>
                  <a:lnTo>
                    <a:pt x="2635212" y="197447"/>
                  </a:lnTo>
                  <a:lnTo>
                    <a:pt x="2635212" y="196799"/>
                  </a:lnTo>
                  <a:lnTo>
                    <a:pt x="2635212" y="197447"/>
                  </a:lnTo>
                  <a:lnTo>
                    <a:pt x="2635212" y="196113"/>
                  </a:lnTo>
                  <a:lnTo>
                    <a:pt x="2635250" y="196113"/>
                  </a:lnTo>
                  <a:lnTo>
                    <a:pt x="2635250" y="195415"/>
                  </a:lnTo>
                  <a:lnTo>
                    <a:pt x="2635250" y="197447"/>
                  </a:lnTo>
                  <a:lnTo>
                    <a:pt x="2635250" y="196799"/>
                  </a:lnTo>
                  <a:lnTo>
                    <a:pt x="2635250" y="197447"/>
                  </a:lnTo>
                  <a:lnTo>
                    <a:pt x="2635250" y="196113"/>
                  </a:lnTo>
                  <a:lnTo>
                    <a:pt x="2635301" y="196113"/>
                  </a:lnTo>
                  <a:lnTo>
                    <a:pt x="2635301" y="199530"/>
                  </a:lnTo>
                  <a:lnTo>
                    <a:pt x="2635301" y="197447"/>
                  </a:lnTo>
                  <a:lnTo>
                    <a:pt x="2635352" y="197447"/>
                  </a:lnTo>
                  <a:lnTo>
                    <a:pt x="2635352" y="199530"/>
                  </a:lnTo>
                  <a:lnTo>
                    <a:pt x="2635352" y="197447"/>
                  </a:lnTo>
                  <a:lnTo>
                    <a:pt x="2635352" y="198831"/>
                  </a:lnTo>
                  <a:lnTo>
                    <a:pt x="2635454" y="198831"/>
                  </a:lnTo>
                  <a:lnTo>
                    <a:pt x="2635454" y="199530"/>
                  </a:lnTo>
                  <a:lnTo>
                    <a:pt x="2635454" y="198831"/>
                  </a:lnTo>
                  <a:lnTo>
                    <a:pt x="2635454" y="199530"/>
                  </a:lnTo>
                  <a:lnTo>
                    <a:pt x="2635454" y="198831"/>
                  </a:lnTo>
                  <a:lnTo>
                    <a:pt x="2635454" y="199530"/>
                  </a:lnTo>
                  <a:lnTo>
                    <a:pt x="2635454" y="198831"/>
                  </a:lnTo>
                  <a:lnTo>
                    <a:pt x="2635454" y="199530"/>
                  </a:lnTo>
                  <a:lnTo>
                    <a:pt x="2635505" y="199530"/>
                  </a:lnTo>
                  <a:lnTo>
                    <a:pt x="2635505" y="200228"/>
                  </a:lnTo>
                  <a:lnTo>
                    <a:pt x="2635505" y="199530"/>
                  </a:lnTo>
                  <a:lnTo>
                    <a:pt x="2635505" y="200228"/>
                  </a:lnTo>
                  <a:lnTo>
                    <a:pt x="2635505" y="199530"/>
                  </a:lnTo>
                  <a:lnTo>
                    <a:pt x="2635555" y="200228"/>
                  </a:lnTo>
                  <a:lnTo>
                    <a:pt x="2635555" y="199530"/>
                  </a:lnTo>
                  <a:lnTo>
                    <a:pt x="2635555" y="200228"/>
                  </a:lnTo>
                  <a:lnTo>
                    <a:pt x="2635555" y="199530"/>
                  </a:lnTo>
                  <a:lnTo>
                    <a:pt x="2635657" y="200228"/>
                  </a:lnTo>
                  <a:lnTo>
                    <a:pt x="2635657" y="197447"/>
                  </a:lnTo>
                  <a:lnTo>
                    <a:pt x="2635708" y="197447"/>
                  </a:lnTo>
                  <a:lnTo>
                    <a:pt x="2635708" y="198831"/>
                  </a:lnTo>
                  <a:lnTo>
                    <a:pt x="2635708" y="196799"/>
                  </a:lnTo>
                  <a:lnTo>
                    <a:pt x="2635708" y="197447"/>
                  </a:lnTo>
                  <a:lnTo>
                    <a:pt x="2635759" y="197447"/>
                  </a:lnTo>
                  <a:lnTo>
                    <a:pt x="2635759" y="198831"/>
                  </a:lnTo>
                  <a:lnTo>
                    <a:pt x="2635759" y="196799"/>
                  </a:lnTo>
                  <a:lnTo>
                    <a:pt x="2635759" y="198831"/>
                  </a:lnTo>
                  <a:lnTo>
                    <a:pt x="2635797" y="199530"/>
                  </a:lnTo>
                  <a:lnTo>
                    <a:pt x="2635797" y="198831"/>
                  </a:lnTo>
                  <a:lnTo>
                    <a:pt x="2635797" y="200228"/>
                  </a:lnTo>
                  <a:lnTo>
                    <a:pt x="2635898" y="200228"/>
                  </a:lnTo>
                  <a:lnTo>
                    <a:pt x="2635898" y="198831"/>
                  </a:lnTo>
                  <a:lnTo>
                    <a:pt x="2635898" y="199530"/>
                  </a:lnTo>
                  <a:lnTo>
                    <a:pt x="2635898" y="198831"/>
                  </a:lnTo>
                  <a:lnTo>
                    <a:pt x="2635898" y="199530"/>
                  </a:lnTo>
                  <a:lnTo>
                    <a:pt x="2635949" y="199530"/>
                  </a:lnTo>
                  <a:lnTo>
                    <a:pt x="2635949" y="200228"/>
                  </a:lnTo>
                  <a:lnTo>
                    <a:pt x="2635949" y="199530"/>
                  </a:lnTo>
                  <a:lnTo>
                    <a:pt x="2635949" y="200228"/>
                  </a:lnTo>
                  <a:lnTo>
                    <a:pt x="2636000" y="200228"/>
                  </a:lnTo>
                  <a:lnTo>
                    <a:pt x="2636000" y="200876"/>
                  </a:lnTo>
                  <a:lnTo>
                    <a:pt x="2636000" y="199530"/>
                  </a:lnTo>
                  <a:lnTo>
                    <a:pt x="2636000" y="200228"/>
                  </a:lnTo>
                  <a:lnTo>
                    <a:pt x="2636101" y="200228"/>
                  </a:lnTo>
                  <a:lnTo>
                    <a:pt x="2636101" y="199530"/>
                  </a:lnTo>
                  <a:lnTo>
                    <a:pt x="2636101" y="200228"/>
                  </a:lnTo>
                  <a:lnTo>
                    <a:pt x="2636101" y="199530"/>
                  </a:lnTo>
                  <a:lnTo>
                    <a:pt x="2636101" y="200228"/>
                  </a:lnTo>
                  <a:lnTo>
                    <a:pt x="2636101" y="198831"/>
                  </a:lnTo>
                  <a:lnTo>
                    <a:pt x="2636101" y="199530"/>
                  </a:lnTo>
                  <a:lnTo>
                    <a:pt x="2636101" y="198831"/>
                  </a:lnTo>
                  <a:lnTo>
                    <a:pt x="2636152" y="199530"/>
                  </a:lnTo>
                  <a:lnTo>
                    <a:pt x="2636152" y="198831"/>
                  </a:lnTo>
                  <a:lnTo>
                    <a:pt x="2636203" y="198831"/>
                  </a:lnTo>
                  <a:lnTo>
                    <a:pt x="2636203" y="197447"/>
                  </a:lnTo>
                  <a:lnTo>
                    <a:pt x="2636203" y="198831"/>
                  </a:lnTo>
                  <a:lnTo>
                    <a:pt x="2636203" y="196113"/>
                  </a:lnTo>
                  <a:lnTo>
                    <a:pt x="2636203" y="196799"/>
                  </a:lnTo>
                  <a:lnTo>
                    <a:pt x="2636254" y="197447"/>
                  </a:lnTo>
                  <a:lnTo>
                    <a:pt x="2636254" y="198831"/>
                  </a:lnTo>
                  <a:lnTo>
                    <a:pt x="2636254" y="196113"/>
                  </a:lnTo>
                  <a:lnTo>
                    <a:pt x="2636254" y="198831"/>
                  </a:lnTo>
                  <a:lnTo>
                    <a:pt x="2636343" y="198831"/>
                  </a:lnTo>
                  <a:lnTo>
                    <a:pt x="2636343" y="199530"/>
                  </a:lnTo>
                  <a:lnTo>
                    <a:pt x="2636343" y="197447"/>
                  </a:lnTo>
                  <a:lnTo>
                    <a:pt x="2636343" y="198831"/>
                  </a:lnTo>
                  <a:lnTo>
                    <a:pt x="2636394" y="199530"/>
                  </a:lnTo>
                  <a:lnTo>
                    <a:pt x="2636394" y="200228"/>
                  </a:lnTo>
                  <a:lnTo>
                    <a:pt x="2636394" y="198831"/>
                  </a:lnTo>
                  <a:lnTo>
                    <a:pt x="2636394" y="200228"/>
                  </a:lnTo>
                  <a:lnTo>
                    <a:pt x="2636394" y="199530"/>
                  </a:lnTo>
                  <a:lnTo>
                    <a:pt x="2636444" y="199530"/>
                  </a:lnTo>
                  <a:lnTo>
                    <a:pt x="2636444" y="200228"/>
                  </a:lnTo>
                  <a:lnTo>
                    <a:pt x="2636444" y="199530"/>
                  </a:lnTo>
                  <a:lnTo>
                    <a:pt x="2636444" y="200228"/>
                  </a:lnTo>
                  <a:lnTo>
                    <a:pt x="2636495" y="200228"/>
                  </a:lnTo>
                  <a:lnTo>
                    <a:pt x="2636495" y="200876"/>
                  </a:lnTo>
                  <a:lnTo>
                    <a:pt x="2636495" y="200228"/>
                  </a:lnTo>
                  <a:lnTo>
                    <a:pt x="2636495" y="200876"/>
                  </a:lnTo>
                  <a:lnTo>
                    <a:pt x="2636495" y="200228"/>
                  </a:lnTo>
                  <a:lnTo>
                    <a:pt x="2636597" y="200228"/>
                  </a:lnTo>
                  <a:lnTo>
                    <a:pt x="2636597" y="199530"/>
                  </a:lnTo>
                  <a:lnTo>
                    <a:pt x="2636597" y="200228"/>
                  </a:lnTo>
                  <a:lnTo>
                    <a:pt x="2636597" y="199530"/>
                  </a:lnTo>
                  <a:lnTo>
                    <a:pt x="2636647" y="199530"/>
                  </a:lnTo>
                  <a:lnTo>
                    <a:pt x="2636647" y="198831"/>
                  </a:lnTo>
                  <a:lnTo>
                    <a:pt x="2636647" y="199530"/>
                  </a:lnTo>
                  <a:lnTo>
                    <a:pt x="2636647" y="197447"/>
                  </a:lnTo>
                  <a:lnTo>
                    <a:pt x="2636647" y="198831"/>
                  </a:lnTo>
                  <a:lnTo>
                    <a:pt x="2636698" y="197447"/>
                  </a:lnTo>
                  <a:lnTo>
                    <a:pt x="2636698" y="196799"/>
                  </a:lnTo>
                  <a:lnTo>
                    <a:pt x="2636698" y="198831"/>
                  </a:lnTo>
                  <a:lnTo>
                    <a:pt x="2636698" y="197447"/>
                  </a:lnTo>
                  <a:lnTo>
                    <a:pt x="2636800" y="197447"/>
                  </a:lnTo>
                  <a:lnTo>
                    <a:pt x="2636800" y="196799"/>
                  </a:lnTo>
                  <a:lnTo>
                    <a:pt x="2636800" y="200228"/>
                  </a:lnTo>
                  <a:lnTo>
                    <a:pt x="2636800" y="199530"/>
                  </a:lnTo>
                  <a:lnTo>
                    <a:pt x="2636800" y="200228"/>
                  </a:lnTo>
                  <a:lnTo>
                    <a:pt x="2636800" y="199530"/>
                  </a:lnTo>
                  <a:lnTo>
                    <a:pt x="2636838" y="199530"/>
                  </a:lnTo>
                  <a:lnTo>
                    <a:pt x="2636838" y="197447"/>
                  </a:lnTo>
                  <a:lnTo>
                    <a:pt x="2636838" y="198831"/>
                  </a:lnTo>
                  <a:lnTo>
                    <a:pt x="2636838" y="197447"/>
                  </a:lnTo>
                  <a:lnTo>
                    <a:pt x="2636838" y="199530"/>
                  </a:lnTo>
                  <a:lnTo>
                    <a:pt x="2636838" y="198831"/>
                  </a:lnTo>
                  <a:lnTo>
                    <a:pt x="2636889" y="198831"/>
                  </a:lnTo>
                  <a:lnTo>
                    <a:pt x="2636889" y="200228"/>
                  </a:lnTo>
                  <a:lnTo>
                    <a:pt x="2636940" y="199530"/>
                  </a:lnTo>
                  <a:lnTo>
                    <a:pt x="2636940" y="200228"/>
                  </a:lnTo>
                  <a:lnTo>
                    <a:pt x="2636940" y="199530"/>
                  </a:lnTo>
                  <a:lnTo>
                    <a:pt x="2636940" y="200228"/>
                  </a:lnTo>
                  <a:lnTo>
                    <a:pt x="2636940" y="199530"/>
                  </a:lnTo>
                  <a:lnTo>
                    <a:pt x="2637041" y="199530"/>
                  </a:lnTo>
                  <a:lnTo>
                    <a:pt x="2637041" y="200228"/>
                  </a:lnTo>
                  <a:lnTo>
                    <a:pt x="2637041" y="199530"/>
                  </a:lnTo>
                  <a:lnTo>
                    <a:pt x="2637041" y="200228"/>
                  </a:lnTo>
                  <a:lnTo>
                    <a:pt x="2637041" y="199530"/>
                  </a:lnTo>
                  <a:lnTo>
                    <a:pt x="2637041" y="200228"/>
                  </a:lnTo>
                  <a:lnTo>
                    <a:pt x="2637092" y="200228"/>
                  </a:lnTo>
                  <a:lnTo>
                    <a:pt x="2637092" y="199530"/>
                  </a:lnTo>
                  <a:lnTo>
                    <a:pt x="2637092" y="200228"/>
                  </a:lnTo>
                  <a:lnTo>
                    <a:pt x="2637092" y="199530"/>
                  </a:lnTo>
                  <a:lnTo>
                    <a:pt x="2637143" y="199530"/>
                  </a:lnTo>
                  <a:lnTo>
                    <a:pt x="2637143" y="198831"/>
                  </a:lnTo>
                  <a:lnTo>
                    <a:pt x="2637143" y="199530"/>
                  </a:lnTo>
                  <a:lnTo>
                    <a:pt x="2637143" y="198831"/>
                  </a:lnTo>
                  <a:lnTo>
                    <a:pt x="2637244" y="199530"/>
                  </a:lnTo>
                  <a:lnTo>
                    <a:pt x="2637244" y="200876"/>
                  </a:lnTo>
                  <a:lnTo>
                    <a:pt x="2637244" y="198831"/>
                  </a:lnTo>
                  <a:lnTo>
                    <a:pt x="2637244" y="200876"/>
                  </a:lnTo>
                  <a:lnTo>
                    <a:pt x="2637295" y="200876"/>
                  </a:lnTo>
                  <a:lnTo>
                    <a:pt x="2637295" y="202260"/>
                  </a:lnTo>
                  <a:lnTo>
                    <a:pt x="2637295" y="200228"/>
                  </a:lnTo>
                  <a:lnTo>
                    <a:pt x="2637295" y="200876"/>
                  </a:lnTo>
                  <a:lnTo>
                    <a:pt x="2637346" y="202260"/>
                  </a:lnTo>
                  <a:lnTo>
                    <a:pt x="2637346" y="200876"/>
                  </a:lnTo>
                  <a:lnTo>
                    <a:pt x="2637346" y="202260"/>
                  </a:lnTo>
                  <a:lnTo>
                    <a:pt x="2637346" y="200876"/>
                  </a:lnTo>
                  <a:lnTo>
                    <a:pt x="2637346" y="202260"/>
                  </a:lnTo>
                  <a:lnTo>
                    <a:pt x="2637384" y="202260"/>
                  </a:lnTo>
                  <a:lnTo>
                    <a:pt x="2637384" y="200876"/>
                  </a:lnTo>
                  <a:lnTo>
                    <a:pt x="2637384" y="202260"/>
                  </a:lnTo>
                  <a:lnTo>
                    <a:pt x="2637384" y="200876"/>
                  </a:lnTo>
                  <a:lnTo>
                    <a:pt x="2637384" y="202260"/>
                  </a:lnTo>
                  <a:lnTo>
                    <a:pt x="2637537" y="202260"/>
                  </a:lnTo>
                  <a:lnTo>
                    <a:pt x="2637537" y="200228"/>
                  </a:lnTo>
                  <a:lnTo>
                    <a:pt x="2637537" y="200876"/>
                  </a:lnTo>
                  <a:lnTo>
                    <a:pt x="2637587" y="200876"/>
                  </a:lnTo>
                  <a:lnTo>
                    <a:pt x="2637587" y="199530"/>
                  </a:lnTo>
                  <a:lnTo>
                    <a:pt x="2637689" y="200228"/>
                  </a:lnTo>
                  <a:lnTo>
                    <a:pt x="2637689" y="200876"/>
                  </a:lnTo>
                  <a:lnTo>
                    <a:pt x="2637689" y="200228"/>
                  </a:lnTo>
                  <a:lnTo>
                    <a:pt x="2637689" y="202260"/>
                  </a:lnTo>
                  <a:lnTo>
                    <a:pt x="2637689" y="200876"/>
                  </a:lnTo>
                  <a:lnTo>
                    <a:pt x="2637740" y="200876"/>
                  </a:lnTo>
                  <a:lnTo>
                    <a:pt x="2637740" y="203594"/>
                  </a:lnTo>
                  <a:lnTo>
                    <a:pt x="2637740" y="202260"/>
                  </a:lnTo>
                  <a:lnTo>
                    <a:pt x="2637740" y="202959"/>
                  </a:lnTo>
                  <a:lnTo>
                    <a:pt x="2637790" y="202959"/>
                  </a:lnTo>
                  <a:lnTo>
                    <a:pt x="2637790" y="203594"/>
                  </a:lnTo>
                  <a:lnTo>
                    <a:pt x="2637790" y="202959"/>
                  </a:lnTo>
                  <a:lnTo>
                    <a:pt x="2637790" y="203594"/>
                  </a:lnTo>
                  <a:lnTo>
                    <a:pt x="2637841" y="203594"/>
                  </a:lnTo>
                  <a:lnTo>
                    <a:pt x="2637841" y="202959"/>
                  </a:lnTo>
                  <a:lnTo>
                    <a:pt x="2637841" y="203594"/>
                  </a:lnTo>
                  <a:lnTo>
                    <a:pt x="2637930" y="203594"/>
                  </a:lnTo>
                  <a:lnTo>
                    <a:pt x="2637930" y="202959"/>
                  </a:lnTo>
                  <a:lnTo>
                    <a:pt x="2637930" y="203594"/>
                  </a:lnTo>
                  <a:lnTo>
                    <a:pt x="2637930" y="202959"/>
                  </a:lnTo>
                  <a:lnTo>
                    <a:pt x="2637930" y="203594"/>
                  </a:lnTo>
                  <a:lnTo>
                    <a:pt x="2637930" y="202959"/>
                  </a:lnTo>
                  <a:lnTo>
                    <a:pt x="2637930" y="203594"/>
                  </a:lnTo>
                  <a:lnTo>
                    <a:pt x="2637981" y="203594"/>
                  </a:lnTo>
                  <a:lnTo>
                    <a:pt x="2637981" y="200876"/>
                  </a:lnTo>
                  <a:lnTo>
                    <a:pt x="2637981" y="202260"/>
                  </a:lnTo>
                  <a:lnTo>
                    <a:pt x="2638032" y="202260"/>
                  </a:lnTo>
                  <a:lnTo>
                    <a:pt x="2638032" y="200228"/>
                  </a:lnTo>
                  <a:lnTo>
                    <a:pt x="2638032" y="200876"/>
                  </a:lnTo>
                  <a:lnTo>
                    <a:pt x="2638032" y="200228"/>
                  </a:lnTo>
                  <a:lnTo>
                    <a:pt x="2638083" y="200228"/>
                  </a:lnTo>
                  <a:lnTo>
                    <a:pt x="2638083" y="197447"/>
                  </a:lnTo>
                  <a:lnTo>
                    <a:pt x="2638083" y="200228"/>
                  </a:lnTo>
                  <a:lnTo>
                    <a:pt x="2638184" y="200876"/>
                  </a:lnTo>
                  <a:lnTo>
                    <a:pt x="2638184" y="199530"/>
                  </a:lnTo>
                  <a:lnTo>
                    <a:pt x="2638184" y="202959"/>
                  </a:lnTo>
                  <a:lnTo>
                    <a:pt x="2638235" y="202260"/>
                  </a:lnTo>
                  <a:lnTo>
                    <a:pt x="2638235" y="200876"/>
                  </a:lnTo>
                  <a:lnTo>
                    <a:pt x="2638235" y="202260"/>
                  </a:lnTo>
                  <a:lnTo>
                    <a:pt x="2638286" y="202260"/>
                  </a:lnTo>
                  <a:lnTo>
                    <a:pt x="2638286" y="200876"/>
                  </a:lnTo>
                  <a:lnTo>
                    <a:pt x="2638286" y="202959"/>
                  </a:lnTo>
                  <a:lnTo>
                    <a:pt x="2638387" y="202959"/>
                  </a:lnTo>
                  <a:lnTo>
                    <a:pt x="2638387" y="203594"/>
                  </a:lnTo>
                  <a:lnTo>
                    <a:pt x="2638387" y="202959"/>
                  </a:lnTo>
                  <a:lnTo>
                    <a:pt x="2638425" y="202959"/>
                  </a:lnTo>
                  <a:lnTo>
                    <a:pt x="2638425" y="203594"/>
                  </a:lnTo>
                  <a:lnTo>
                    <a:pt x="2638425" y="202959"/>
                  </a:lnTo>
                  <a:lnTo>
                    <a:pt x="2638476" y="203594"/>
                  </a:lnTo>
                  <a:lnTo>
                    <a:pt x="2638476" y="202260"/>
                  </a:lnTo>
                  <a:lnTo>
                    <a:pt x="2638476" y="202959"/>
                  </a:lnTo>
                  <a:lnTo>
                    <a:pt x="2638476" y="202260"/>
                  </a:lnTo>
                  <a:lnTo>
                    <a:pt x="2638527" y="202260"/>
                  </a:lnTo>
                  <a:lnTo>
                    <a:pt x="2638527" y="200228"/>
                  </a:lnTo>
                  <a:lnTo>
                    <a:pt x="2638527" y="200876"/>
                  </a:lnTo>
                  <a:lnTo>
                    <a:pt x="2638527" y="199530"/>
                  </a:lnTo>
                  <a:lnTo>
                    <a:pt x="2638629" y="199530"/>
                  </a:lnTo>
                  <a:lnTo>
                    <a:pt x="2638629" y="198831"/>
                  </a:lnTo>
                  <a:lnTo>
                    <a:pt x="2638629" y="200876"/>
                  </a:lnTo>
                  <a:lnTo>
                    <a:pt x="2638629" y="200228"/>
                  </a:lnTo>
                  <a:lnTo>
                    <a:pt x="2638680" y="199530"/>
                  </a:lnTo>
                  <a:lnTo>
                    <a:pt x="2638680" y="197447"/>
                  </a:lnTo>
                  <a:lnTo>
                    <a:pt x="2638680" y="200876"/>
                  </a:lnTo>
                  <a:lnTo>
                    <a:pt x="2638730" y="200228"/>
                  </a:lnTo>
                  <a:lnTo>
                    <a:pt x="2638730" y="199530"/>
                  </a:lnTo>
                  <a:lnTo>
                    <a:pt x="2638730" y="200876"/>
                  </a:lnTo>
                  <a:lnTo>
                    <a:pt x="2638832" y="200876"/>
                  </a:lnTo>
                  <a:lnTo>
                    <a:pt x="2638832" y="200228"/>
                  </a:lnTo>
                  <a:lnTo>
                    <a:pt x="2638832" y="202260"/>
                  </a:lnTo>
                  <a:lnTo>
                    <a:pt x="2638832" y="200876"/>
                  </a:lnTo>
                  <a:lnTo>
                    <a:pt x="2638832" y="202260"/>
                  </a:lnTo>
                  <a:lnTo>
                    <a:pt x="2638832" y="200876"/>
                  </a:lnTo>
                  <a:lnTo>
                    <a:pt x="2638883" y="200876"/>
                  </a:lnTo>
                  <a:lnTo>
                    <a:pt x="2638883" y="202959"/>
                  </a:lnTo>
                  <a:lnTo>
                    <a:pt x="2638883" y="202260"/>
                  </a:lnTo>
                  <a:lnTo>
                    <a:pt x="2638934" y="202260"/>
                  </a:lnTo>
                  <a:lnTo>
                    <a:pt x="2638934" y="202959"/>
                  </a:lnTo>
                  <a:lnTo>
                    <a:pt x="2638934" y="202260"/>
                  </a:lnTo>
                  <a:lnTo>
                    <a:pt x="2638972" y="202260"/>
                  </a:lnTo>
                  <a:lnTo>
                    <a:pt x="2638972" y="200876"/>
                  </a:lnTo>
                  <a:lnTo>
                    <a:pt x="2639073" y="200876"/>
                  </a:lnTo>
                  <a:lnTo>
                    <a:pt x="2639073" y="200228"/>
                  </a:lnTo>
                  <a:lnTo>
                    <a:pt x="2639073" y="200876"/>
                  </a:lnTo>
                  <a:lnTo>
                    <a:pt x="2639073" y="199530"/>
                  </a:lnTo>
                  <a:lnTo>
                    <a:pt x="2639073" y="200228"/>
                  </a:lnTo>
                  <a:lnTo>
                    <a:pt x="2639124" y="200228"/>
                  </a:lnTo>
                  <a:lnTo>
                    <a:pt x="2639124" y="196799"/>
                  </a:lnTo>
                  <a:lnTo>
                    <a:pt x="2639124" y="200228"/>
                  </a:lnTo>
                  <a:lnTo>
                    <a:pt x="2639175" y="199530"/>
                  </a:lnTo>
                  <a:lnTo>
                    <a:pt x="2639175" y="196799"/>
                  </a:lnTo>
                  <a:lnTo>
                    <a:pt x="2639175" y="197447"/>
                  </a:lnTo>
                  <a:lnTo>
                    <a:pt x="2639175" y="196799"/>
                  </a:lnTo>
                  <a:lnTo>
                    <a:pt x="2639175" y="200228"/>
                  </a:lnTo>
                  <a:lnTo>
                    <a:pt x="2639175" y="199530"/>
                  </a:lnTo>
                  <a:lnTo>
                    <a:pt x="2639276" y="199530"/>
                  </a:lnTo>
                  <a:lnTo>
                    <a:pt x="2639276" y="198831"/>
                  </a:lnTo>
                  <a:lnTo>
                    <a:pt x="2639276" y="200228"/>
                  </a:lnTo>
                  <a:lnTo>
                    <a:pt x="2639276" y="199530"/>
                  </a:lnTo>
                  <a:lnTo>
                    <a:pt x="2639327" y="199530"/>
                  </a:lnTo>
                  <a:lnTo>
                    <a:pt x="2639327" y="200876"/>
                  </a:lnTo>
                  <a:lnTo>
                    <a:pt x="2639327" y="200228"/>
                  </a:lnTo>
                  <a:lnTo>
                    <a:pt x="2639327" y="200876"/>
                  </a:lnTo>
                  <a:lnTo>
                    <a:pt x="2639327" y="200228"/>
                  </a:lnTo>
                  <a:lnTo>
                    <a:pt x="2639378" y="200876"/>
                  </a:lnTo>
                  <a:lnTo>
                    <a:pt x="2639378" y="200228"/>
                  </a:lnTo>
                  <a:lnTo>
                    <a:pt x="2639378" y="200876"/>
                  </a:lnTo>
                  <a:lnTo>
                    <a:pt x="2639378" y="200228"/>
                  </a:lnTo>
                  <a:lnTo>
                    <a:pt x="2639378" y="202260"/>
                  </a:lnTo>
                  <a:lnTo>
                    <a:pt x="2639429" y="200876"/>
                  </a:lnTo>
                  <a:lnTo>
                    <a:pt x="2639429" y="202260"/>
                  </a:lnTo>
                  <a:lnTo>
                    <a:pt x="2639429" y="200876"/>
                  </a:lnTo>
                  <a:lnTo>
                    <a:pt x="2639429" y="202260"/>
                  </a:lnTo>
                  <a:lnTo>
                    <a:pt x="2639429" y="200876"/>
                  </a:lnTo>
                  <a:lnTo>
                    <a:pt x="2639429" y="202260"/>
                  </a:lnTo>
                  <a:lnTo>
                    <a:pt x="2639518" y="202260"/>
                  </a:lnTo>
                  <a:lnTo>
                    <a:pt x="2639518" y="200876"/>
                  </a:lnTo>
                  <a:lnTo>
                    <a:pt x="2639518" y="202260"/>
                  </a:lnTo>
                  <a:lnTo>
                    <a:pt x="2639518" y="200876"/>
                  </a:lnTo>
                  <a:lnTo>
                    <a:pt x="2639569" y="200876"/>
                  </a:lnTo>
                  <a:lnTo>
                    <a:pt x="2639569" y="199530"/>
                  </a:lnTo>
                  <a:lnTo>
                    <a:pt x="2639619" y="199530"/>
                  </a:lnTo>
                  <a:lnTo>
                    <a:pt x="2639619" y="198831"/>
                  </a:lnTo>
                  <a:lnTo>
                    <a:pt x="2639619" y="199530"/>
                  </a:lnTo>
                  <a:lnTo>
                    <a:pt x="2639619" y="198831"/>
                  </a:lnTo>
                  <a:lnTo>
                    <a:pt x="2639670" y="198831"/>
                  </a:lnTo>
                  <a:lnTo>
                    <a:pt x="2639670" y="197447"/>
                  </a:lnTo>
                  <a:lnTo>
                    <a:pt x="2639670" y="200876"/>
                  </a:lnTo>
                  <a:lnTo>
                    <a:pt x="2639670" y="199530"/>
                  </a:lnTo>
                  <a:lnTo>
                    <a:pt x="2639772" y="198831"/>
                  </a:lnTo>
                  <a:lnTo>
                    <a:pt x="2639772" y="200876"/>
                  </a:lnTo>
                  <a:lnTo>
                    <a:pt x="2639772" y="198831"/>
                  </a:lnTo>
                  <a:lnTo>
                    <a:pt x="2639772" y="199530"/>
                  </a:lnTo>
                  <a:lnTo>
                    <a:pt x="2639822" y="199530"/>
                  </a:lnTo>
                  <a:lnTo>
                    <a:pt x="2639822" y="200876"/>
                  </a:lnTo>
                  <a:lnTo>
                    <a:pt x="2639822" y="200228"/>
                  </a:lnTo>
                  <a:lnTo>
                    <a:pt x="2639873" y="200228"/>
                  </a:lnTo>
                  <a:lnTo>
                    <a:pt x="2639873" y="200876"/>
                  </a:lnTo>
                  <a:lnTo>
                    <a:pt x="2639873" y="199530"/>
                  </a:lnTo>
                  <a:lnTo>
                    <a:pt x="2639975" y="200228"/>
                  </a:lnTo>
                  <a:lnTo>
                    <a:pt x="2640013" y="200228"/>
                  </a:lnTo>
                  <a:lnTo>
                    <a:pt x="2640013" y="200876"/>
                  </a:lnTo>
                  <a:lnTo>
                    <a:pt x="2640013" y="200228"/>
                  </a:lnTo>
                  <a:lnTo>
                    <a:pt x="2640013" y="200876"/>
                  </a:lnTo>
                  <a:lnTo>
                    <a:pt x="2640013" y="200228"/>
                  </a:lnTo>
                  <a:lnTo>
                    <a:pt x="2640064" y="200228"/>
                  </a:lnTo>
                  <a:lnTo>
                    <a:pt x="2640064" y="199530"/>
                  </a:lnTo>
                  <a:lnTo>
                    <a:pt x="2640064" y="200228"/>
                  </a:lnTo>
                  <a:lnTo>
                    <a:pt x="2640064" y="199530"/>
                  </a:lnTo>
                  <a:lnTo>
                    <a:pt x="2640064" y="200876"/>
                  </a:lnTo>
                  <a:lnTo>
                    <a:pt x="2640064" y="200228"/>
                  </a:lnTo>
                  <a:lnTo>
                    <a:pt x="2640064" y="200876"/>
                  </a:lnTo>
                  <a:lnTo>
                    <a:pt x="2640115" y="200876"/>
                  </a:lnTo>
                  <a:lnTo>
                    <a:pt x="2640115" y="199530"/>
                  </a:lnTo>
                  <a:lnTo>
                    <a:pt x="2640115" y="202959"/>
                  </a:lnTo>
                  <a:lnTo>
                    <a:pt x="2640115" y="202260"/>
                  </a:lnTo>
                  <a:lnTo>
                    <a:pt x="2640216" y="202260"/>
                  </a:lnTo>
                  <a:lnTo>
                    <a:pt x="2640216" y="202959"/>
                  </a:lnTo>
                  <a:lnTo>
                    <a:pt x="2640216" y="202260"/>
                  </a:lnTo>
                  <a:lnTo>
                    <a:pt x="2640216" y="202959"/>
                  </a:lnTo>
                  <a:lnTo>
                    <a:pt x="2640267" y="202959"/>
                  </a:lnTo>
                  <a:lnTo>
                    <a:pt x="2640267" y="202260"/>
                  </a:lnTo>
                  <a:lnTo>
                    <a:pt x="2640318" y="202260"/>
                  </a:lnTo>
                  <a:lnTo>
                    <a:pt x="2640318" y="202959"/>
                  </a:lnTo>
                  <a:lnTo>
                    <a:pt x="2640318" y="202260"/>
                  </a:lnTo>
                  <a:lnTo>
                    <a:pt x="2640318" y="202959"/>
                  </a:lnTo>
                  <a:lnTo>
                    <a:pt x="2640318" y="202260"/>
                  </a:lnTo>
                  <a:lnTo>
                    <a:pt x="2640419" y="202260"/>
                  </a:lnTo>
                  <a:lnTo>
                    <a:pt x="2640419" y="200876"/>
                  </a:lnTo>
                  <a:lnTo>
                    <a:pt x="2640470" y="200876"/>
                  </a:lnTo>
                  <a:lnTo>
                    <a:pt x="2640470" y="202260"/>
                  </a:lnTo>
                  <a:lnTo>
                    <a:pt x="2640470" y="200228"/>
                  </a:lnTo>
                  <a:lnTo>
                    <a:pt x="2640470" y="200876"/>
                  </a:lnTo>
                  <a:lnTo>
                    <a:pt x="2640470" y="200228"/>
                  </a:lnTo>
                  <a:lnTo>
                    <a:pt x="2640470" y="200876"/>
                  </a:lnTo>
                  <a:lnTo>
                    <a:pt x="2640521" y="200876"/>
                  </a:lnTo>
                  <a:lnTo>
                    <a:pt x="2640521" y="199530"/>
                  </a:lnTo>
                  <a:lnTo>
                    <a:pt x="2640521" y="200228"/>
                  </a:lnTo>
                  <a:lnTo>
                    <a:pt x="2640521" y="199530"/>
                  </a:lnTo>
                  <a:lnTo>
                    <a:pt x="2640559" y="199530"/>
                  </a:lnTo>
                  <a:lnTo>
                    <a:pt x="2640559" y="198831"/>
                  </a:lnTo>
                  <a:lnTo>
                    <a:pt x="2640559" y="200228"/>
                  </a:lnTo>
                  <a:lnTo>
                    <a:pt x="2640559" y="199530"/>
                  </a:lnTo>
                  <a:lnTo>
                    <a:pt x="2640559" y="200228"/>
                  </a:lnTo>
                  <a:lnTo>
                    <a:pt x="2640559" y="199530"/>
                  </a:lnTo>
                  <a:lnTo>
                    <a:pt x="2640661" y="199530"/>
                  </a:lnTo>
                  <a:lnTo>
                    <a:pt x="2640661" y="202260"/>
                  </a:lnTo>
                  <a:lnTo>
                    <a:pt x="2640661" y="200876"/>
                  </a:lnTo>
                  <a:lnTo>
                    <a:pt x="2640712" y="200876"/>
                  </a:lnTo>
                  <a:lnTo>
                    <a:pt x="2640712" y="202260"/>
                  </a:lnTo>
                  <a:lnTo>
                    <a:pt x="2640712" y="200876"/>
                  </a:lnTo>
                  <a:lnTo>
                    <a:pt x="2640762" y="202260"/>
                  </a:lnTo>
                  <a:lnTo>
                    <a:pt x="2640762" y="202959"/>
                  </a:lnTo>
                  <a:lnTo>
                    <a:pt x="2640762" y="202260"/>
                  </a:lnTo>
                  <a:lnTo>
                    <a:pt x="2640762" y="202959"/>
                  </a:lnTo>
                  <a:lnTo>
                    <a:pt x="2640762" y="202260"/>
                  </a:lnTo>
                  <a:lnTo>
                    <a:pt x="2640762" y="202959"/>
                  </a:lnTo>
                  <a:lnTo>
                    <a:pt x="2640762" y="202260"/>
                  </a:lnTo>
                  <a:lnTo>
                    <a:pt x="2640864" y="202260"/>
                  </a:lnTo>
                  <a:lnTo>
                    <a:pt x="2640864" y="202959"/>
                  </a:lnTo>
                  <a:lnTo>
                    <a:pt x="2640864" y="202260"/>
                  </a:lnTo>
                  <a:lnTo>
                    <a:pt x="2640864" y="202959"/>
                  </a:lnTo>
                  <a:lnTo>
                    <a:pt x="2640864" y="202260"/>
                  </a:lnTo>
                  <a:lnTo>
                    <a:pt x="2640864" y="202959"/>
                  </a:lnTo>
                  <a:lnTo>
                    <a:pt x="2640864" y="202260"/>
                  </a:lnTo>
                  <a:lnTo>
                    <a:pt x="2640864" y="202959"/>
                  </a:lnTo>
                  <a:lnTo>
                    <a:pt x="2640864" y="202260"/>
                  </a:lnTo>
                  <a:lnTo>
                    <a:pt x="2640915" y="202959"/>
                  </a:lnTo>
                  <a:lnTo>
                    <a:pt x="2640915" y="200876"/>
                  </a:lnTo>
                  <a:lnTo>
                    <a:pt x="2640915" y="202260"/>
                  </a:lnTo>
                  <a:lnTo>
                    <a:pt x="2640915" y="200876"/>
                  </a:lnTo>
                  <a:lnTo>
                    <a:pt x="2640915" y="202260"/>
                  </a:lnTo>
                  <a:lnTo>
                    <a:pt x="2640915" y="200876"/>
                  </a:lnTo>
                  <a:lnTo>
                    <a:pt x="2640965" y="202260"/>
                  </a:lnTo>
                  <a:lnTo>
                    <a:pt x="2640965" y="200228"/>
                  </a:lnTo>
                  <a:lnTo>
                    <a:pt x="2640965" y="200876"/>
                  </a:lnTo>
                  <a:lnTo>
                    <a:pt x="2640965" y="200228"/>
                  </a:lnTo>
                  <a:lnTo>
                    <a:pt x="2641016" y="200228"/>
                  </a:lnTo>
                  <a:lnTo>
                    <a:pt x="2641016" y="198831"/>
                  </a:lnTo>
                  <a:lnTo>
                    <a:pt x="2641016" y="199530"/>
                  </a:lnTo>
                  <a:lnTo>
                    <a:pt x="2641016" y="198831"/>
                  </a:lnTo>
                  <a:lnTo>
                    <a:pt x="2641105" y="199530"/>
                  </a:lnTo>
                  <a:lnTo>
                    <a:pt x="2641105" y="200228"/>
                  </a:lnTo>
                  <a:lnTo>
                    <a:pt x="2641105" y="198831"/>
                  </a:lnTo>
                  <a:lnTo>
                    <a:pt x="2641105" y="202260"/>
                  </a:lnTo>
                  <a:lnTo>
                    <a:pt x="2641156" y="202260"/>
                  </a:lnTo>
                  <a:lnTo>
                    <a:pt x="2641156" y="199530"/>
                  </a:lnTo>
                  <a:lnTo>
                    <a:pt x="2641156" y="200228"/>
                  </a:lnTo>
                  <a:lnTo>
                    <a:pt x="2641156" y="199530"/>
                  </a:lnTo>
                  <a:lnTo>
                    <a:pt x="2641156" y="202260"/>
                  </a:lnTo>
                  <a:lnTo>
                    <a:pt x="2641207" y="202260"/>
                  </a:lnTo>
                  <a:lnTo>
                    <a:pt x="2641207" y="200228"/>
                  </a:lnTo>
                  <a:lnTo>
                    <a:pt x="2641207" y="202260"/>
                  </a:lnTo>
                  <a:lnTo>
                    <a:pt x="2641258" y="202260"/>
                  </a:lnTo>
                  <a:lnTo>
                    <a:pt x="2641258" y="202959"/>
                  </a:lnTo>
                  <a:lnTo>
                    <a:pt x="2641258" y="202260"/>
                  </a:lnTo>
                  <a:lnTo>
                    <a:pt x="2641258" y="202959"/>
                  </a:lnTo>
                  <a:lnTo>
                    <a:pt x="2641359" y="202959"/>
                  </a:lnTo>
                  <a:lnTo>
                    <a:pt x="2641359" y="202260"/>
                  </a:lnTo>
                  <a:lnTo>
                    <a:pt x="2641359" y="202959"/>
                  </a:lnTo>
                  <a:lnTo>
                    <a:pt x="2641359" y="202260"/>
                  </a:lnTo>
                  <a:lnTo>
                    <a:pt x="2641359" y="202959"/>
                  </a:lnTo>
                  <a:lnTo>
                    <a:pt x="2641359" y="202260"/>
                  </a:lnTo>
                  <a:lnTo>
                    <a:pt x="2641359" y="202959"/>
                  </a:lnTo>
                  <a:lnTo>
                    <a:pt x="2641359" y="202260"/>
                  </a:lnTo>
                  <a:lnTo>
                    <a:pt x="2641410" y="202260"/>
                  </a:lnTo>
                  <a:lnTo>
                    <a:pt x="2641410" y="200876"/>
                  </a:lnTo>
                  <a:lnTo>
                    <a:pt x="2641410" y="202260"/>
                  </a:lnTo>
                  <a:lnTo>
                    <a:pt x="2641410" y="200228"/>
                  </a:lnTo>
                  <a:lnTo>
                    <a:pt x="2641410" y="200876"/>
                  </a:lnTo>
                  <a:lnTo>
                    <a:pt x="2641461" y="200876"/>
                  </a:lnTo>
                  <a:lnTo>
                    <a:pt x="2641461" y="200228"/>
                  </a:lnTo>
                  <a:lnTo>
                    <a:pt x="2641461" y="200876"/>
                  </a:lnTo>
                  <a:lnTo>
                    <a:pt x="2641461" y="200228"/>
                  </a:lnTo>
                  <a:lnTo>
                    <a:pt x="2641461" y="200876"/>
                  </a:lnTo>
                  <a:lnTo>
                    <a:pt x="2641461" y="199530"/>
                  </a:lnTo>
                  <a:lnTo>
                    <a:pt x="2641562" y="199530"/>
                  </a:lnTo>
                  <a:lnTo>
                    <a:pt x="2641562" y="198831"/>
                  </a:lnTo>
                  <a:lnTo>
                    <a:pt x="2641562" y="200876"/>
                  </a:lnTo>
                  <a:lnTo>
                    <a:pt x="2641562" y="200228"/>
                  </a:lnTo>
                  <a:lnTo>
                    <a:pt x="2641600" y="200228"/>
                  </a:lnTo>
                  <a:lnTo>
                    <a:pt x="2641600" y="199530"/>
                  </a:lnTo>
                  <a:lnTo>
                    <a:pt x="2641600" y="202959"/>
                  </a:lnTo>
                  <a:lnTo>
                    <a:pt x="2641600" y="200228"/>
                  </a:lnTo>
                  <a:lnTo>
                    <a:pt x="2641651" y="200228"/>
                  </a:lnTo>
                  <a:lnTo>
                    <a:pt x="2641651" y="202260"/>
                  </a:lnTo>
                  <a:lnTo>
                    <a:pt x="2641651" y="200876"/>
                  </a:lnTo>
                  <a:lnTo>
                    <a:pt x="2641702" y="200876"/>
                  </a:lnTo>
                  <a:lnTo>
                    <a:pt x="2641702" y="202260"/>
                  </a:lnTo>
                  <a:lnTo>
                    <a:pt x="2641804" y="202260"/>
                  </a:lnTo>
                  <a:lnTo>
                    <a:pt x="2641804" y="202959"/>
                  </a:lnTo>
                  <a:lnTo>
                    <a:pt x="2641855" y="202959"/>
                  </a:lnTo>
                  <a:lnTo>
                    <a:pt x="2641855" y="200876"/>
                  </a:lnTo>
                  <a:lnTo>
                    <a:pt x="2641905" y="200876"/>
                  </a:lnTo>
                  <a:lnTo>
                    <a:pt x="2641905" y="200228"/>
                  </a:lnTo>
                  <a:lnTo>
                    <a:pt x="2642007" y="200228"/>
                  </a:lnTo>
                  <a:lnTo>
                    <a:pt x="2642007" y="197447"/>
                  </a:lnTo>
                  <a:lnTo>
                    <a:pt x="2642058" y="197447"/>
                  </a:lnTo>
                  <a:lnTo>
                    <a:pt x="2642058" y="199530"/>
                  </a:lnTo>
                  <a:lnTo>
                    <a:pt x="2642058" y="197447"/>
                  </a:lnTo>
                  <a:lnTo>
                    <a:pt x="2642108" y="197447"/>
                  </a:lnTo>
                  <a:lnTo>
                    <a:pt x="2642108" y="202260"/>
                  </a:lnTo>
                  <a:lnTo>
                    <a:pt x="2642108" y="199530"/>
                  </a:lnTo>
                  <a:lnTo>
                    <a:pt x="2642147" y="200228"/>
                  </a:lnTo>
                  <a:lnTo>
                    <a:pt x="2642147" y="200876"/>
                  </a:lnTo>
                  <a:lnTo>
                    <a:pt x="2642147" y="200228"/>
                  </a:lnTo>
                  <a:lnTo>
                    <a:pt x="2642147" y="200876"/>
                  </a:lnTo>
                  <a:lnTo>
                    <a:pt x="2642299" y="200876"/>
                  </a:lnTo>
                  <a:lnTo>
                    <a:pt x="2642299" y="202260"/>
                  </a:lnTo>
                  <a:lnTo>
                    <a:pt x="2642299" y="200876"/>
                  </a:lnTo>
                  <a:lnTo>
                    <a:pt x="2642299" y="202260"/>
                  </a:lnTo>
                  <a:lnTo>
                    <a:pt x="2642299" y="200876"/>
                  </a:lnTo>
                  <a:lnTo>
                    <a:pt x="2642299" y="202260"/>
                  </a:lnTo>
                  <a:lnTo>
                    <a:pt x="2642350" y="202260"/>
                  </a:lnTo>
                  <a:lnTo>
                    <a:pt x="2642350" y="200876"/>
                  </a:lnTo>
                  <a:lnTo>
                    <a:pt x="2642451" y="200876"/>
                  </a:lnTo>
                  <a:lnTo>
                    <a:pt x="2642451" y="200228"/>
                  </a:lnTo>
                  <a:lnTo>
                    <a:pt x="2642451" y="200876"/>
                  </a:lnTo>
                  <a:lnTo>
                    <a:pt x="2642451" y="200228"/>
                  </a:lnTo>
                  <a:lnTo>
                    <a:pt x="2642451" y="200876"/>
                  </a:lnTo>
                  <a:lnTo>
                    <a:pt x="2642451" y="199530"/>
                  </a:lnTo>
                  <a:lnTo>
                    <a:pt x="2642451" y="200228"/>
                  </a:lnTo>
                  <a:lnTo>
                    <a:pt x="2642451" y="199530"/>
                  </a:lnTo>
                  <a:lnTo>
                    <a:pt x="2642502" y="199530"/>
                  </a:lnTo>
                  <a:lnTo>
                    <a:pt x="2642502" y="200228"/>
                  </a:lnTo>
                  <a:lnTo>
                    <a:pt x="2642502" y="197447"/>
                  </a:lnTo>
                  <a:lnTo>
                    <a:pt x="2642502" y="198831"/>
                  </a:lnTo>
                  <a:lnTo>
                    <a:pt x="2642553" y="198831"/>
                  </a:lnTo>
                  <a:lnTo>
                    <a:pt x="2642553" y="196799"/>
                  </a:lnTo>
                  <a:lnTo>
                    <a:pt x="2642553" y="200228"/>
                  </a:lnTo>
                  <a:lnTo>
                    <a:pt x="2642604" y="200228"/>
                  </a:lnTo>
                  <a:lnTo>
                    <a:pt x="2642604" y="198831"/>
                  </a:lnTo>
                  <a:lnTo>
                    <a:pt x="2642604" y="200228"/>
                  </a:lnTo>
                  <a:lnTo>
                    <a:pt x="2642693" y="200228"/>
                  </a:lnTo>
                  <a:lnTo>
                    <a:pt x="2642693" y="198831"/>
                  </a:lnTo>
                  <a:lnTo>
                    <a:pt x="2642693" y="200228"/>
                  </a:lnTo>
                  <a:lnTo>
                    <a:pt x="2642744" y="200228"/>
                  </a:lnTo>
                  <a:lnTo>
                    <a:pt x="2642744" y="199530"/>
                  </a:lnTo>
                  <a:lnTo>
                    <a:pt x="2642744" y="200228"/>
                  </a:lnTo>
                  <a:lnTo>
                    <a:pt x="2642744" y="199530"/>
                  </a:lnTo>
                  <a:lnTo>
                    <a:pt x="2642744" y="200228"/>
                  </a:lnTo>
                  <a:lnTo>
                    <a:pt x="2642744" y="199530"/>
                  </a:lnTo>
                  <a:lnTo>
                    <a:pt x="2642744" y="200228"/>
                  </a:lnTo>
                  <a:lnTo>
                    <a:pt x="2642794" y="200228"/>
                  </a:lnTo>
                  <a:lnTo>
                    <a:pt x="2642794" y="199530"/>
                  </a:lnTo>
                  <a:lnTo>
                    <a:pt x="2642794" y="200228"/>
                  </a:lnTo>
                  <a:lnTo>
                    <a:pt x="2642794" y="199530"/>
                  </a:lnTo>
                  <a:lnTo>
                    <a:pt x="2642794" y="200228"/>
                  </a:lnTo>
                  <a:lnTo>
                    <a:pt x="2642845" y="200228"/>
                  </a:lnTo>
                  <a:lnTo>
                    <a:pt x="2642845" y="199530"/>
                  </a:lnTo>
                  <a:lnTo>
                    <a:pt x="2642845" y="200228"/>
                  </a:lnTo>
                  <a:lnTo>
                    <a:pt x="2642845" y="199530"/>
                  </a:lnTo>
                  <a:lnTo>
                    <a:pt x="2642845" y="200228"/>
                  </a:lnTo>
                  <a:lnTo>
                    <a:pt x="2642845" y="199530"/>
                  </a:lnTo>
                  <a:lnTo>
                    <a:pt x="2642845" y="200228"/>
                  </a:lnTo>
                  <a:lnTo>
                    <a:pt x="2642845" y="199530"/>
                  </a:lnTo>
                  <a:lnTo>
                    <a:pt x="2642845" y="200228"/>
                  </a:lnTo>
                  <a:lnTo>
                    <a:pt x="2642845" y="199530"/>
                  </a:lnTo>
                  <a:lnTo>
                    <a:pt x="2642947" y="200228"/>
                  </a:lnTo>
                  <a:lnTo>
                    <a:pt x="2642947" y="199530"/>
                  </a:lnTo>
                  <a:lnTo>
                    <a:pt x="2642947" y="200228"/>
                  </a:lnTo>
                  <a:lnTo>
                    <a:pt x="2642947" y="199530"/>
                  </a:lnTo>
                  <a:lnTo>
                    <a:pt x="2642947" y="200228"/>
                  </a:lnTo>
                  <a:lnTo>
                    <a:pt x="2642947" y="197447"/>
                  </a:lnTo>
                  <a:lnTo>
                    <a:pt x="2642997" y="197447"/>
                  </a:lnTo>
                  <a:lnTo>
                    <a:pt x="2642997" y="196799"/>
                  </a:lnTo>
                  <a:lnTo>
                    <a:pt x="2642997" y="197447"/>
                  </a:lnTo>
                  <a:lnTo>
                    <a:pt x="2643048" y="197447"/>
                  </a:lnTo>
                  <a:lnTo>
                    <a:pt x="2643048" y="196113"/>
                  </a:lnTo>
                  <a:lnTo>
                    <a:pt x="2643048" y="199530"/>
                  </a:lnTo>
                  <a:lnTo>
                    <a:pt x="2643150" y="200228"/>
                  </a:lnTo>
                  <a:lnTo>
                    <a:pt x="2643150" y="197447"/>
                  </a:lnTo>
                  <a:lnTo>
                    <a:pt x="2643150" y="200228"/>
                  </a:lnTo>
                  <a:lnTo>
                    <a:pt x="2643150" y="199530"/>
                  </a:lnTo>
                  <a:lnTo>
                    <a:pt x="2643188" y="199530"/>
                  </a:lnTo>
                  <a:lnTo>
                    <a:pt x="2643188" y="197447"/>
                  </a:lnTo>
                  <a:lnTo>
                    <a:pt x="2643188" y="200228"/>
                  </a:lnTo>
                  <a:lnTo>
                    <a:pt x="2643239" y="199530"/>
                  </a:lnTo>
                  <a:lnTo>
                    <a:pt x="2643239" y="200228"/>
                  </a:lnTo>
                  <a:lnTo>
                    <a:pt x="2643239" y="199530"/>
                  </a:lnTo>
                  <a:lnTo>
                    <a:pt x="2643239" y="200228"/>
                  </a:lnTo>
                  <a:lnTo>
                    <a:pt x="2643290" y="200228"/>
                  </a:lnTo>
                  <a:lnTo>
                    <a:pt x="2643290" y="199530"/>
                  </a:lnTo>
                  <a:lnTo>
                    <a:pt x="2643290" y="200228"/>
                  </a:lnTo>
                  <a:lnTo>
                    <a:pt x="2643391" y="199530"/>
                  </a:lnTo>
                  <a:lnTo>
                    <a:pt x="2643391" y="200228"/>
                  </a:lnTo>
                  <a:lnTo>
                    <a:pt x="2643391" y="199530"/>
                  </a:lnTo>
                  <a:lnTo>
                    <a:pt x="2643391" y="200876"/>
                  </a:lnTo>
                  <a:lnTo>
                    <a:pt x="2643391" y="199530"/>
                  </a:lnTo>
                  <a:lnTo>
                    <a:pt x="2643442" y="199530"/>
                  </a:lnTo>
                  <a:lnTo>
                    <a:pt x="2643442" y="200228"/>
                  </a:lnTo>
                  <a:lnTo>
                    <a:pt x="2643442" y="199530"/>
                  </a:lnTo>
                  <a:lnTo>
                    <a:pt x="2643442" y="200228"/>
                  </a:lnTo>
                  <a:lnTo>
                    <a:pt x="2643442" y="199530"/>
                  </a:lnTo>
                  <a:lnTo>
                    <a:pt x="2643442" y="200228"/>
                  </a:lnTo>
                  <a:lnTo>
                    <a:pt x="2643442" y="198831"/>
                  </a:lnTo>
                  <a:lnTo>
                    <a:pt x="2643442" y="199530"/>
                  </a:lnTo>
                  <a:lnTo>
                    <a:pt x="2643442" y="198831"/>
                  </a:lnTo>
                  <a:lnTo>
                    <a:pt x="2643493" y="199530"/>
                  </a:lnTo>
                  <a:lnTo>
                    <a:pt x="2643493" y="196799"/>
                  </a:lnTo>
                  <a:lnTo>
                    <a:pt x="2643493" y="198831"/>
                  </a:lnTo>
                  <a:lnTo>
                    <a:pt x="2643594" y="198831"/>
                  </a:lnTo>
                  <a:lnTo>
                    <a:pt x="2643594" y="196799"/>
                  </a:lnTo>
                  <a:lnTo>
                    <a:pt x="2643594" y="200228"/>
                  </a:lnTo>
                  <a:lnTo>
                    <a:pt x="2643594" y="199530"/>
                  </a:lnTo>
                  <a:lnTo>
                    <a:pt x="2643645" y="199530"/>
                  </a:lnTo>
                  <a:lnTo>
                    <a:pt x="2643645" y="198831"/>
                  </a:lnTo>
                  <a:lnTo>
                    <a:pt x="2643645" y="199530"/>
                  </a:lnTo>
                  <a:lnTo>
                    <a:pt x="2643645" y="198831"/>
                  </a:lnTo>
                  <a:lnTo>
                    <a:pt x="2643645" y="199530"/>
                  </a:lnTo>
                  <a:lnTo>
                    <a:pt x="2643696" y="199530"/>
                  </a:lnTo>
                  <a:lnTo>
                    <a:pt x="2643696" y="200228"/>
                  </a:lnTo>
                  <a:lnTo>
                    <a:pt x="2643696" y="199530"/>
                  </a:lnTo>
                  <a:lnTo>
                    <a:pt x="2643734" y="199530"/>
                  </a:lnTo>
                  <a:lnTo>
                    <a:pt x="2643734" y="200228"/>
                  </a:lnTo>
                  <a:lnTo>
                    <a:pt x="2643734" y="199530"/>
                  </a:lnTo>
                  <a:lnTo>
                    <a:pt x="2643836" y="199530"/>
                  </a:lnTo>
                  <a:lnTo>
                    <a:pt x="2643836" y="200228"/>
                  </a:lnTo>
                  <a:lnTo>
                    <a:pt x="2643836" y="199530"/>
                  </a:lnTo>
                  <a:lnTo>
                    <a:pt x="2643836" y="200228"/>
                  </a:lnTo>
                  <a:lnTo>
                    <a:pt x="2643836" y="199530"/>
                  </a:lnTo>
                  <a:lnTo>
                    <a:pt x="2643836" y="200228"/>
                  </a:lnTo>
                  <a:lnTo>
                    <a:pt x="2643836" y="199530"/>
                  </a:lnTo>
                  <a:lnTo>
                    <a:pt x="2643836" y="200228"/>
                  </a:lnTo>
                  <a:lnTo>
                    <a:pt x="2643887" y="200228"/>
                  </a:lnTo>
                  <a:lnTo>
                    <a:pt x="2643887" y="198831"/>
                  </a:lnTo>
                  <a:lnTo>
                    <a:pt x="2643887" y="199530"/>
                  </a:lnTo>
                  <a:lnTo>
                    <a:pt x="2643887" y="198831"/>
                  </a:lnTo>
                  <a:lnTo>
                    <a:pt x="2643937" y="199530"/>
                  </a:lnTo>
                  <a:lnTo>
                    <a:pt x="2643937" y="197447"/>
                  </a:lnTo>
                  <a:lnTo>
                    <a:pt x="2644039" y="197447"/>
                  </a:lnTo>
                  <a:lnTo>
                    <a:pt x="2644039" y="195415"/>
                  </a:lnTo>
                  <a:lnTo>
                    <a:pt x="2644039" y="196113"/>
                  </a:lnTo>
                  <a:lnTo>
                    <a:pt x="2644039" y="194716"/>
                  </a:lnTo>
                  <a:lnTo>
                    <a:pt x="2644090" y="193383"/>
                  </a:lnTo>
                  <a:lnTo>
                    <a:pt x="2644090" y="196113"/>
                  </a:lnTo>
                  <a:lnTo>
                    <a:pt x="2644090" y="195415"/>
                  </a:lnTo>
                  <a:lnTo>
                    <a:pt x="2644090" y="196113"/>
                  </a:lnTo>
                  <a:lnTo>
                    <a:pt x="2644090" y="194716"/>
                  </a:lnTo>
                  <a:lnTo>
                    <a:pt x="2644140" y="194716"/>
                  </a:lnTo>
                  <a:lnTo>
                    <a:pt x="2644140" y="197447"/>
                  </a:lnTo>
                  <a:lnTo>
                    <a:pt x="2644140" y="196799"/>
                  </a:lnTo>
                  <a:lnTo>
                    <a:pt x="2644140" y="197447"/>
                  </a:lnTo>
                  <a:lnTo>
                    <a:pt x="2644140" y="196113"/>
                  </a:lnTo>
                  <a:lnTo>
                    <a:pt x="2644191" y="196113"/>
                  </a:lnTo>
                  <a:lnTo>
                    <a:pt x="2644191" y="197447"/>
                  </a:lnTo>
                  <a:lnTo>
                    <a:pt x="2644191" y="196799"/>
                  </a:lnTo>
                  <a:lnTo>
                    <a:pt x="2644191" y="197447"/>
                  </a:lnTo>
                  <a:lnTo>
                    <a:pt x="2644191" y="196799"/>
                  </a:lnTo>
                  <a:lnTo>
                    <a:pt x="2644191" y="197447"/>
                  </a:lnTo>
                  <a:lnTo>
                    <a:pt x="2644191" y="196799"/>
                  </a:lnTo>
                  <a:lnTo>
                    <a:pt x="2644280" y="196799"/>
                  </a:lnTo>
                  <a:lnTo>
                    <a:pt x="2644280" y="197447"/>
                  </a:lnTo>
                  <a:lnTo>
                    <a:pt x="2644280" y="196799"/>
                  </a:lnTo>
                  <a:lnTo>
                    <a:pt x="2644280" y="197447"/>
                  </a:lnTo>
                  <a:lnTo>
                    <a:pt x="2644331" y="197447"/>
                  </a:lnTo>
                  <a:lnTo>
                    <a:pt x="2644331" y="200228"/>
                  </a:lnTo>
                  <a:lnTo>
                    <a:pt x="2644331" y="199530"/>
                  </a:lnTo>
                  <a:lnTo>
                    <a:pt x="2644433" y="199530"/>
                  </a:lnTo>
                  <a:lnTo>
                    <a:pt x="2644433" y="198831"/>
                  </a:lnTo>
                  <a:lnTo>
                    <a:pt x="2644433" y="199530"/>
                  </a:lnTo>
                  <a:lnTo>
                    <a:pt x="2644433" y="197447"/>
                  </a:lnTo>
                  <a:lnTo>
                    <a:pt x="2644534" y="197447"/>
                  </a:lnTo>
                  <a:lnTo>
                    <a:pt x="2644534" y="198831"/>
                  </a:lnTo>
                  <a:lnTo>
                    <a:pt x="2644534" y="195415"/>
                  </a:lnTo>
                  <a:lnTo>
                    <a:pt x="2644585" y="196113"/>
                  </a:lnTo>
                  <a:lnTo>
                    <a:pt x="2644585" y="195415"/>
                  </a:lnTo>
                  <a:lnTo>
                    <a:pt x="2644636" y="196113"/>
                  </a:lnTo>
                  <a:lnTo>
                    <a:pt x="2644636" y="197447"/>
                  </a:lnTo>
                  <a:lnTo>
                    <a:pt x="2644636" y="196113"/>
                  </a:lnTo>
                  <a:lnTo>
                    <a:pt x="2644636" y="196799"/>
                  </a:lnTo>
                  <a:lnTo>
                    <a:pt x="2644636" y="196113"/>
                  </a:lnTo>
                  <a:lnTo>
                    <a:pt x="2644636" y="196799"/>
                  </a:lnTo>
                  <a:lnTo>
                    <a:pt x="2644636" y="196113"/>
                  </a:lnTo>
                  <a:lnTo>
                    <a:pt x="2644737" y="196799"/>
                  </a:lnTo>
                  <a:lnTo>
                    <a:pt x="2644737" y="197447"/>
                  </a:lnTo>
                  <a:lnTo>
                    <a:pt x="2644737" y="196799"/>
                  </a:lnTo>
                  <a:lnTo>
                    <a:pt x="2644737" y="197447"/>
                  </a:lnTo>
                  <a:lnTo>
                    <a:pt x="2644737" y="196799"/>
                  </a:lnTo>
                  <a:lnTo>
                    <a:pt x="2644737" y="197447"/>
                  </a:lnTo>
                  <a:lnTo>
                    <a:pt x="2644776" y="196799"/>
                  </a:lnTo>
                  <a:lnTo>
                    <a:pt x="2644776" y="197447"/>
                  </a:lnTo>
                  <a:lnTo>
                    <a:pt x="2644776" y="196799"/>
                  </a:lnTo>
                  <a:lnTo>
                    <a:pt x="2644776" y="197447"/>
                  </a:lnTo>
                  <a:lnTo>
                    <a:pt x="2644776" y="196799"/>
                  </a:lnTo>
                  <a:lnTo>
                    <a:pt x="2644776" y="197447"/>
                  </a:lnTo>
                  <a:lnTo>
                    <a:pt x="2644776" y="196799"/>
                  </a:lnTo>
                  <a:lnTo>
                    <a:pt x="2644826" y="197447"/>
                  </a:lnTo>
                  <a:lnTo>
                    <a:pt x="2644826" y="199530"/>
                  </a:lnTo>
                  <a:lnTo>
                    <a:pt x="2644826" y="198831"/>
                  </a:lnTo>
                  <a:lnTo>
                    <a:pt x="2644826" y="199530"/>
                  </a:lnTo>
                  <a:lnTo>
                    <a:pt x="2644877" y="199530"/>
                  </a:lnTo>
                  <a:lnTo>
                    <a:pt x="2644877" y="198831"/>
                  </a:lnTo>
                  <a:lnTo>
                    <a:pt x="2644877" y="199530"/>
                  </a:lnTo>
                  <a:lnTo>
                    <a:pt x="2644877" y="198831"/>
                  </a:lnTo>
                  <a:lnTo>
                    <a:pt x="2644877" y="199530"/>
                  </a:lnTo>
                  <a:lnTo>
                    <a:pt x="2644979" y="199530"/>
                  </a:lnTo>
                  <a:lnTo>
                    <a:pt x="2644979" y="197447"/>
                  </a:lnTo>
                  <a:lnTo>
                    <a:pt x="2645030" y="197447"/>
                  </a:lnTo>
                  <a:lnTo>
                    <a:pt x="2645030" y="196799"/>
                  </a:lnTo>
                  <a:lnTo>
                    <a:pt x="2645030" y="197447"/>
                  </a:lnTo>
                  <a:lnTo>
                    <a:pt x="2645030" y="195415"/>
                  </a:lnTo>
                  <a:lnTo>
                    <a:pt x="2645080" y="195415"/>
                  </a:lnTo>
                  <a:lnTo>
                    <a:pt x="2645080" y="194716"/>
                  </a:lnTo>
                  <a:lnTo>
                    <a:pt x="2645080" y="196113"/>
                  </a:lnTo>
                  <a:lnTo>
                    <a:pt x="2645080" y="195415"/>
                  </a:lnTo>
                  <a:lnTo>
                    <a:pt x="2645080" y="196799"/>
                  </a:lnTo>
                  <a:lnTo>
                    <a:pt x="2645080" y="195415"/>
                  </a:lnTo>
                  <a:lnTo>
                    <a:pt x="2645182" y="195415"/>
                  </a:lnTo>
                  <a:lnTo>
                    <a:pt x="2645182" y="197447"/>
                  </a:lnTo>
                  <a:lnTo>
                    <a:pt x="2645182" y="196113"/>
                  </a:lnTo>
                  <a:lnTo>
                    <a:pt x="2645233" y="196113"/>
                  </a:lnTo>
                  <a:lnTo>
                    <a:pt x="2645233" y="196799"/>
                  </a:lnTo>
                  <a:lnTo>
                    <a:pt x="2645283" y="196799"/>
                  </a:lnTo>
                  <a:lnTo>
                    <a:pt x="2645283" y="197447"/>
                  </a:lnTo>
                  <a:lnTo>
                    <a:pt x="2645283" y="196799"/>
                  </a:lnTo>
                  <a:lnTo>
                    <a:pt x="2645283" y="197447"/>
                  </a:lnTo>
                  <a:lnTo>
                    <a:pt x="2645283" y="196799"/>
                  </a:lnTo>
                  <a:lnTo>
                    <a:pt x="2645283" y="197447"/>
                  </a:lnTo>
                  <a:lnTo>
                    <a:pt x="2645322" y="197447"/>
                  </a:lnTo>
                  <a:lnTo>
                    <a:pt x="2645322" y="198831"/>
                  </a:lnTo>
                  <a:lnTo>
                    <a:pt x="2645322" y="197447"/>
                  </a:lnTo>
                  <a:lnTo>
                    <a:pt x="2645322" y="199530"/>
                  </a:lnTo>
                  <a:lnTo>
                    <a:pt x="2645423" y="199530"/>
                  </a:lnTo>
                  <a:lnTo>
                    <a:pt x="2645423" y="198831"/>
                  </a:lnTo>
                  <a:lnTo>
                    <a:pt x="2645423" y="199530"/>
                  </a:lnTo>
                  <a:lnTo>
                    <a:pt x="2645474" y="199530"/>
                  </a:lnTo>
                  <a:lnTo>
                    <a:pt x="2645474" y="198831"/>
                  </a:lnTo>
                  <a:lnTo>
                    <a:pt x="2645474" y="199530"/>
                  </a:lnTo>
                  <a:lnTo>
                    <a:pt x="2645474" y="197447"/>
                  </a:lnTo>
                  <a:lnTo>
                    <a:pt x="2645474" y="198831"/>
                  </a:lnTo>
                  <a:lnTo>
                    <a:pt x="2645474" y="197447"/>
                  </a:lnTo>
                  <a:lnTo>
                    <a:pt x="2645525" y="197447"/>
                  </a:lnTo>
                  <a:lnTo>
                    <a:pt x="2645525" y="196113"/>
                  </a:lnTo>
                  <a:lnTo>
                    <a:pt x="2645626" y="195415"/>
                  </a:lnTo>
                  <a:lnTo>
                    <a:pt x="2645626" y="196799"/>
                  </a:lnTo>
                  <a:lnTo>
                    <a:pt x="2645626" y="195415"/>
                  </a:lnTo>
                  <a:lnTo>
                    <a:pt x="2645626" y="196113"/>
                  </a:lnTo>
                  <a:lnTo>
                    <a:pt x="2645626" y="195415"/>
                  </a:lnTo>
                  <a:lnTo>
                    <a:pt x="2645677" y="194716"/>
                  </a:lnTo>
                  <a:lnTo>
                    <a:pt x="2645677" y="196799"/>
                  </a:lnTo>
                  <a:lnTo>
                    <a:pt x="2645677" y="195415"/>
                  </a:lnTo>
                  <a:lnTo>
                    <a:pt x="2645728" y="195415"/>
                  </a:lnTo>
                  <a:lnTo>
                    <a:pt x="2645728" y="197447"/>
                  </a:lnTo>
                  <a:lnTo>
                    <a:pt x="2645728" y="196113"/>
                  </a:lnTo>
                  <a:lnTo>
                    <a:pt x="2645779" y="196113"/>
                  </a:lnTo>
                  <a:lnTo>
                    <a:pt x="2645779" y="196799"/>
                  </a:lnTo>
                  <a:lnTo>
                    <a:pt x="2645779" y="196113"/>
                  </a:lnTo>
                  <a:lnTo>
                    <a:pt x="2645779" y="197447"/>
                  </a:lnTo>
                  <a:lnTo>
                    <a:pt x="2645779" y="196799"/>
                  </a:lnTo>
                  <a:lnTo>
                    <a:pt x="2645868" y="196799"/>
                  </a:lnTo>
                  <a:lnTo>
                    <a:pt x="2645868" y="198831"/>
                  </a:lnTo>
                  <a:lnTo>
                    <a:pt x="2645868" y="197447"/>
                  </a:lnTo>
                  <a:lnTo>
                    <a:pt x="2645868" y="198831"/>
                  </a:lnTo>
                  <a:lnTo>
                    <a:pt x="2645919" y="199530"/>
                  </a:lnTo>
                  <a:lnTo>
                    <a:pt x="2645919" y="198831"/>
                  </a:lnTo>
                  <a:lnTo>
                    <a:pt x="2645919" y="199530"/>
                  </a:lnTo>
                  <a:lnTo>
                    <a:pt x="2645919" y="197447"/>
                  </a:lnTo>
                  <a:lnTo>
                    <a:pt x="2645919" y="198831"/>
                  </a:lnTo>
                  <a:lnTo>
                    <a:pt x="2645919" y="197447"/>
                  </a:lnTo>
                  <a:lnTo>
                    <a:pt x="2645969" y="198831"/>
                  </a:lnTo>
                  <a:lnTo>
                    <a:pt x="2645969" y="197447"/>
                  </a:lnTo>
                  <a:lnTo>
                    <a:pt x="2645969" y="198831"/>
                  </a:lnTo>
                  <a:lnTo>
                    <a:pt x="2645969" y="197447"/>
                  </a:lnTo>
                  <a:lnTo>
                    <a:pt x="2646020" y="197447"/>
                  </a:lnTo>
                  <a:lnTo>
                    <a:pt x="2646020" y="198831"/>
                  </a:lnTo>
                  <a:lnTo>
                    <a:pt x="2646020" y="196113"/>
                  </a:lnTo>
                  <a:lnTo>
                    <a:pt x="2646020" y="196799"/>
                  </a:lnTo>
                  <a:lnTo>
                    <a:pt x="2646020" y="196113"/>
                  </a:lnTo>
                  <a:lnTo>
                    <a:pt x="2646020" y="196799"/>
                  </a:lnTo>
                  <a:lnTo>
                    <a:pt x="2646122" y="197447"/>
                  </a:lnTo>
                  <a:lnTo>
                    <a:pt x="2646122" y="198831"/>
                  </a:lnTo>
                  <a:lnTo>
                    <a:pt x="2646122" y="196799"/>
                  </a:lnTo>
                  <a:lnTo>
                    <a:pt x="2646122" y="197447"/>
                  </a:lnTo>
                  <a:lnTo>
                    <a:pt x="2646172" y="198831"/>
                  </a:lnTo>
                  <a:lnTo>
                    <a:pt x="2646172" y="199530"/>
                  </a:lnTo>
                  <a:lnTo>
                    <a:pt x="2646172" y="196799"/>
                  </a:lnTo>
                  <a:lnTo>
                    <a:pt x="2646172" y="198831"/>
                  </a:lnTo>
                  <a:lnTo>
                    <a:pt x="2646223" y="198831"/>
                  </a:lnTo>
                  <a:lnTo>
                    <a:pt x="2646223" y="199530"/>
                  </a:lnTo>
                  <a:lnTo>
                    <a:pt x="2646223" y="197447"/>
                  </a:lnTo>
                  <a:lnTo>
                    <a:pt x="2646223" y="198831"/>
                  </a:lnTo>
                  <a:lnTo>
                    <a:pt x="2646325" y="198831"/>
                  </a:lnTo>
                  <a:lnTo>
                    <a:pt x="2646325" y="199530"/>
                  </a:lnTo>
                  <a:lnTo>
                    <a:pt x="2646325" y="198831"/>
                  </a:lnTo>
                  <a:lnTo>
                    <a:pt x="2646325" y="199530"/>
                  </a:lnTo>
                  <a:lnTo>
                    <a:pt x="2646363" y="199530"/>
                  </a:lnTo>
                  <a:lnTo>
                    <a:pt x="2646363" y="198831"/>
                  </a:lnTo>
                  <a:lnTo>
                    <a:pt x="2646363" y="199530"/>
                  </a:lnTo>
                  <a:lnTo>
                    <a:pt x="2646363" y="198831"/>
                  </a:lnTo>
                  <a:lnTo>
                    <a:pt x="2646363" y="199530"/>
                  </a:lnTo>
                  <a:lnTo>
                    <a:pt x="2646363" y="198831"/>
                  </a:lnTo>
                  <a:lnTo>
                    <a:pt x="2646363" y="199530"/>
                  </a:lnTo>
                  <a:lnTo>
                    <a:pt x="2646414" y="199530"/>
                  </a:lnTo>
                  <a:lnTo>
                    <a:pt x="2646414" y="198831"/>
                  </a:lnTo>
                  <a:lnTo>
                    <a:pt x="2646414" y="199530"/>
                  </a:lnTo>
                  <a:lnTo>
                    <a:pt x="2646465" y="199530"/>
                  </a:lnTo>
                  <a:lnTo>
                    <a:pt x="2646465" y="198831"/>
                  </a:lnTo>
                  <a:lnTo>
                    <a:pt x="2646465" y="199530"/>
                  </a:lnTo>
                  <a:lnTo>
                    <a:pt x="2646465" y="197447"/>
                  </a:lnTo>
                  <a:lnTo>
                    <a:pt x="2646465" y="199530"/>
                  </a:lnTo>
                  <a:lnTo>
                    <a:pt x="2646465" y="198831"/>
                  </a:lnTo>
                  <a:lnTo>
                    <a:pt x="2646566" y="198831"/>
                  </a:lnTo>
                  <a:lnTo>
                    <a:pt x="2646566" y="196799"/>
                  </a:lnTo>
                  <a:lnTo>
                    <a:pt x="2646566" y="199530"/>
                  </a:lnTo>
                  <a:lnTo>
                    <a:pt x="2646617" y="199530"/>
                  </a:lnTo>
                  <a:lnTo>
                    <a:pt x="2646617" y="197447"/>
                  </a:lnTo>
                  <a:lnTo>
                    <a:pt x="2646617" y="198831"/>
                  </a:lnTo>
                  <a:lnTo>
                    <a:pt x="2646617" y="197447"/>
                  </a:lnTo>
                  <a:lnTo>
                    <a:pt x="2646617" y="200228"/>
                  </a:lnTo>
                  <a:lnTo>
                    <a:pt x="2646668" y="200228"/>
                  </a:lnTo>
                  <a:lnTo>
                    <a:pt x="2646668" y="198831"/>
                  </a:lnTo>
                  <a:lnTo>
                    <a:pt x="2646668" y="199530"/>
                  </a:lnTo>
                  <a:lnTo>
                    <a:pt x="2646668" y="198831"/>
                  </a:lnTo>
                  <a:lnTo>
                    <a:pt x="2646668" y="200228"/>
                  </a:lnTo>
                  <a:lnTo>
                    <a:pt x="2646769" y="200228"/>
                  </a:lnTo>
                  <a:lnTo>
                    <a:pt x="2646769" y="199530"/>
                  </a:lnTo>
                  <a:lnTo>
                    <a:pt x="2646769" y="200228"/>
                  </a:lnTo>
                  <a:lnTo>
                    <a:pt x="2646769" y="199530"/>
                  </a:lnTo>
                  <a:lnTo>
                    <a:pt x="2646769" y="200228"/>
                  </a:lnTo>
                  <a:lnTo>
                    <a:pt x="2646769" y="199530"/>
                  </a:lnTo>
                  <a:lnTo>
                    <a:pt x="2646820" y="199530"/>
                  </a:lnTo>
                  <a:lnTo>
                    <a:pt x="2646820" y="200228"/>
                  </a:lnTo>
                  <a:lnTo>
                    <a:pt x="2646820" y="199530"/>
                  </a:lnTo>
                  <a:lnTo>
                    <a:pt x="2646871" y="200228"/>
                  </a:lnTo>
                  <a:lnTo>
                    <a:pt x="2646871" y="199530"/>
                  </a:lnTo>
                  <a:lnTo>
                    <a:pt x="2646871" y="200228"/>
                  </a:lnTo>
                  <a:lnTo>
                    <a:pt x="2646871" y="199530"/>
                  </a:lnTo>
                  <a:lnTo>
                    <a:pt x="2646909" y="199530"/>
                  </a:lnTo>
                  <a:lnTo>
                    <a:pt x="2646909" y="198831"/>
                  </a:lnTo>
                  <a:lnTo>
                    <a:pt x="2646909" y="199530"/>
                  </a:lnTo>
                  <a:lnTo>
                    <a:pt x="2646909" y="197447"/>
                  </a:lnTo>
                  <a:lnTo>
                    <a:pt x="2646909" y="198831"/>
                  </a:lnTo>
                  <a:lnTo>
                    <a:pt x="2646909" y="197447"/>
                  </a:lnTo>
                  <a:lnTo>
                    <a:pt x="2646909" y="198831"/>
                  </a:lnTo>
                  <a:lnTo>
                    <a:pt x="2647011" y="198831"/>
                  </a:lnTo>
                  <a:lnTo>
                    <a:pt x="2647011" y="197447"/>
                  </a:lnTo>
                  <a:lnTo>
                    <a:pt x="2647011" y="198831"/>
                  </a:lnTo>
                  <a:lnTo>
                    <a:pt x="2647011" y="196799"/>
                  </a:lnTo>
                  <a:lnTo>
                    <a:pt x="2647011" y="197447"/>
                  </a:lnTo>
                  <a:lnTo>
                    <a:pt x="2647062" y="197447"/>
                  </a:lnTo>
                  <a:lnTo>
                    <a:pt x="2647062" y="196113"/>
                  </a:lnTo>
                  <a:lnTo>
                    <a:pt x="2647062" y="198831"/>
                  </a:lnTo>
                  <a:lnTo>
                    <a:pt x="2647062" y="197447"/>
                  </a:lnTo>
                  <a:lnTo>
                    <a:pt x="2647112" y="196799"/>
                  </a:lnTo>
                  <a:lnTo>
                    <a:pt x="2647112" y="200228"/>
                  </a:lnTo>
                  <a:lnTo>
                    <a:pt x="2647112" y="198831"/>
                  </a:lnTo>
                  <a:lnTo>
                    <a:pt x="2647214" y="198831"/>
                  </a:lnTo>
                  <a:lnTo>
                    <a:pt x="2647214" y="200228"/>
                  </a:lnTo>
                  <a:lnTo>
                    <a:pt x="2647214" y="199530"/>
                  </a:lnTo>
                  <a:lnTo>
                    <a:pt x="2647265" y="199530"/>
                  </a:lnTo>
                  <a:lnTo>
                    <a:pt x="2647265" y="200228"/>
                  </a:lnTo>
                  <a:lnTo>
                    <a:pt x="2647265" y="199530"/>
                  </a:lnTo>
                  <a:lnTo>
                    <a:pt x="2647265" y="200228"/>
                  </a:lnTo>
                  <a:lnTo>
                    <a:pt x="2647265" y="199530"/>
                  </a:lnTo>
                  <a:lnTo>
                    <a:pt x="2647265" y="200876"/>
                  </a:lnTo>
                  <a:lnTo>
                    <a:pt x="2647265" y="200228"/>
                  </a:lnTo>
                  <a:lnTo>
                    <a:pt x="2647315" y="200228"/>
                  </a:lnTo>
                  <a:lnTo>
                    <a:pt x="2647315" y="200876"/>
                  </a:lnTo>
                  <a:lnTo>
                    <a:pt x="2647315" y="200228"/>
                  </a:lnTo>
                  <a:lnTo>
                    <a:pt x="2647315" y="200876"/>
                  </a:lnTo>
                  <a:lnTo>
                    <a:pt x="2647366" y="200876"/>
                  </a:lnTo>
                  <a:lnTo>
                    <a:pt x="2647366" y="200228"/>
                  </a:lnTo>
                  <a:lnTo>
                    <a:pt x="2647366" y="200876"/>
                  </a:lnTo>
                  <a:lnTo>
                    <a:pt x="2647366" y="200228"/>
                  </a:lnTo>
                  <a:lnTo>
                    <a:pt x="2647455" y="200228"/>
                  </a:lnTo>
                  <a:lnTo>
                    <a:pt x="2647455" y="199530"/>
                  </a:lnTo>
                  <a:lnTo>
                    <a:pt x="2647455" y="200228"/>
                  </a:lnTo>
                  <a:lnTo>
                    <a:pt x="2647455" y="199530"/>
                  </a:lnTo>
                  <a:lnTo>
                    <a:pt x="2647455" y="200228"/>
                  </a:lnTo>
                  <a:lnTo>
                    <a:pt x="2647455" y="198831"/>
                  </a:lnTo>
                  <a:lnTo>
                    <a:pt x="2647506" y="199530"/>
                  </a:lnTo>
                  <a:lnTo>
                    <a:pt x="2647506" y="198831"/>
                  </a:lnTo>
                  <a:lnTo>
                    <a:pt x="2647506" y="199530"/>
                  </a:lnTo>
                  <a:lnTo>
                    <a:pt x="2647506" y="196799"/>
                  </a:lnTo>
                  <a:lnTo>
                    <a:pt x="2647557" y="196799"/>
                  </a:lnTo>
                  <a:lnTo>
                    <a:pt x="2647557" y="199530"/>
                  </a:lnTo>
                  <a:lnTo>
                    <a:pt x="2647557" y="197447"/>
                  </a:lnTo>
                  <a:lnTo>
                    <a:pt x="2647608" y="197447"/>
                  </a:lnTo>
                  <a:lnTo>
                    <a:pt x="2647608" y="200876"/>
                  </a:lnTo>
                  <a:lnTo>
                    <a:pt x="2647608" y="198831"/>
                  </a:lnTo>
                  <a:lnTo>
                    <a:pt x="2647709" y="198831"/>
                  </a:lnTo>
                  <a:lnTo>
                    <a:pt x="2647709" y="199530"/>
                  </a:lnTo>
                  <a:lnTo>
                    <a:pt x="2647760" y="199530"/>
                  </a:lnTo>
                  <a:lnTo>
                    <a:pt x="2647760" y="200876"/>
                  </a:lnTo>
                  <a:lnTo>
                    <a:pt x="2647811" y="200876"/>
                  </a:lnTo>
                  <a:lnTo>
                    <a:pt x="2647811" y="200228"/>
                  </a:lnTo>
                  <a:lnTo>
                    <a:pt x="2647811" y="200876"/>
                  </a:lnTo>
                  <a:lnTo>
                    <a:pt x="2647811" y="200228"/>
                  </a:lnTo>
                  <a:lnTo>
                    <a:pt x="2647811" y="200876"/>
                  </a:lnTo>
                  <a:lnTo>
                    <a:pt x="2647912" y="200876"/>
                  </a:lnTo>
                  <a:lnTo>
                    <a:pt x="2647912" y="200228"/>
                  </a:lnTo>
                  <a:lnTo>
                    <a:pt x="2647912" y="200876"/>
                  </a:lnTo>
                  <a:lnTo>
                    <a:pt x="2647912" y="200228"/>
                  </a:lnTo>
                  <a:lnTo>
                    <a:pt x="2647951" y="200228"/>
                  </a:lnTo>
                  <a:lnTo>
                    <a:pt x="2647951" y="199530"/>
                  </a:lnTo>
                  <a:lnTo>
                    <a:pt x="2647951" y="200228"/>
                  </a:lnTo>
                  <a:lnTo>
                    <a:pt x="2647951" y="199530"/>
                  </a:lnTo>
                  <a:lnTo>
                    <a:pt x="2648001" y="199530"/>
                  </a:lnTo>
                  <a:lnTo>
                    <a:pt x="2648001" y="196799"/>
                  </a:lnTo>
                  <a:lnTo>
                    <a:pt x="2648052" y="196113"/>
                  </a:lnTo>
                  <a:lnTo>
                    <a:pt x="2648052" y="198831"/>
                  </a:lnTo>
                  <a:lnTo>
                    <a:pt x="2648052" y="196113"/>
                  </a:lnTo>
                  <a:lnTo>
                    <a:pt x="2648052" y="197447"/>
                  </a:lnTo>
                  <a:lnTo>
                    <a:pt x="2648154" y="197447"/>
                  </a:lnTo>
                  <a:lnTo>
                    <a:pt x="2648154" y="199530"/>
                  </a:lnTo>
                  <a:lnTo>
                    <a:pt x="2648154" y="198831"/>
                  </a:lnTo>
                  <a:lnTo>
                    <a:pt x="2648154" y="199530"/>
                  </a:lnTo>
                  <a:lnTo>
                    <a:pt x="2648154" y="197447"/>
                  </a:lnTo>
                  <a:lnTo>
                    <a:pt x="2648154" y="199530"/>
                  </a:lnTo>
                  <a:lnTo>
                    <a:pt x="2648205" y="199530"/>
                  </a:lnTo>
                  <a:lnTo>
                    <a:pt x="2648205" y="200228"/>
                  </a:lnTo>
                  <a:lnTo>
                    <a:pt x="2648205" y="199530"/>
                  </a:lnTo>
                  <a:lnTo>
                    <a:pt x="2648205" y="200228"/>
                  </a:lnTo>
                  <a:lnTo>
                    <a:pt x="2648205" y="199530"/>
                  </a:lnTo>
                  <a:lnTo>
                    <a:pt x="2648205" y="200228"/>
                  </a:lnTo>
                  <a:lnTo>
                    <a:pt x="2648205" y="199530"/>
                  </a:lnTo>
                  <a:lnTo>
                    <a:pt x="2648255" y="200228"/>
                  </a:lnTo>
                  <a:lnTo>
                    <a:pt x="2648255" y="200876"/>
                  </a:lnTo>
                  <a:lnTo>
                    <a:pt x="2648255" y="200228"/>
                  </a:lnTo>
                  <a:lnTo>
                    <a:pt x="2648255" y="200876"/>
                  </a:lnTo>
                  <a:lnTo>
                    <a:pt x="2648357" y="200876"/>
                  </a:lnTo>
                  <a:lnTo>
                    <a:pt x="2648357" y="199530"/>
                  </a:lnTo>
                  <a:lnTo>
                    <a:pt x="2648357" y="200876"/>
                  </a:lnTo>
                  <a:lnTo>
                    <a:pt x="2648357" y="200228"/>
                  </a:lnTo>
                  <a:lnTo>
                    <a:pt x="2648357" y="200876"/>
                  </a:lnTo>
                  <a:lnTo>
                    <a:pt x="2648357" y="200228"/>
                  </a:lnTo>
                  <a:lnTo>
                    <a:pt x="2648357" y="200876"/>
                  </a:lnTo>
                  <a:lnTo>
                    <a:pt x="2648408" y="200876"/>
                  </a:lnTo>
                  <a:lnTo>
                    <a:pt x="2648408" y="200228"/>
                  </a:lnTo>
                  <a:lnTo>
                    <a:pt x="2648408" y="200876"/>
                  </a:lnTo>
                  <a:lnTo>
                    <a:pt x="2648408" y="200228"/>
                  </a:lnTo>
                  <a:lnTo>
                    <a:pt x="2648458" y="200228"/>
                  </a:lnTo>
                  <a:lnTo>
                    <a:pt x="2648458" y="199530"/>
                  </a:lnTo>
                  <a:lnTo>
                    <a:pt x="2648458" y="200228"/>
                  </a:lnTo>
                  <a:lnTo>
                    <a:pt x="2648458" y="199530"/>
                  </a:lnTo>
                  <a:lnTo>
                    <a:pt x="2648458" y="200228"/>
                  </a:lnTo>
                  <a:lnTo>
                    <a:pt x="2648458" y="199530"/>
                  </a:lnTo>
                  <a:lnTo>
                    <a:pt x="2648497" y="198831"/>
                  </a:lnTo>
                  <a:lnTo>
                    <a:pt x="2648497" y="199530"/>
                  </a:lnTo>
                  <a:lnTo>
                    <a:pt x="2648497" y="196799"/>
                  </a:lnTo>
                  <a:lnTo>
                    <a:pt x="2648598" y="196799"/>
                  </a:lnTo>
                  <a:lnTo>
                    <a:pt x="2648598" y="197447"/>
                  </a:lnTo>
                  <a:lnTo>
                    <a:pt x="2648598" y="195415"/>
                  </a:lnTo>
                  <a:lnTo>
                    <a:pt x="2648598" y="197447"/>
                  </a:lnTo>
                  <a:lnTo>
                    <a:pt x="2648649" y="198831"/>
                  </a:lnTo>
                  <a:lnTo>
                    <a:pt x="2648649" y="200228"/>
                  </a:lnTo>
                  <a:lnTo>
                    <a:pt x="2648649" y="196799"/>
                  </a:lnTo>
                  <a:lnTo>
                    <a:pt x="2648649" y="198831"/>
                  </a:lnTo>
                  <a:lnTo>
                    <a:pt x="2648700" y="198831"/>
                  </a:lnTo>
                  <a:lnTo>
                    <a:pt x="2648700" y="197447"/>
                  </a:lnTo>
                  <a:lnTo>
                    <a:pt x="2648700" y="198831"/>
                  </a:lnTo>
                  <a:lnTo>
                    <a:pt x="2648801" y="198831"/>
                  </a:lnTo>
                  <a:lnTo>
                    <a:pt x="2648801" y="199530"/>
                  </a:lnTo>
                  <a:lnTo>
                    <a:pt x="2648852" y="199530"/>
                  </a:lnTo>
                  <a:lnTo>
                    <a:pt x="2648852" y="198831"/>
                  </a:lnTo>
                  <a:lnTo>
                    <a:pt x="2648852" y="200228"/>
                  </a:lnTo>
                  <a:lnTo>
                    <a:pt x="2648903" y="200228"/>
                  </a:lnTo>
                  <a:lnTo>
                    <a:pt x="2648903" y="199530"/>
                  </a:lnTo>
                  <a:lnTo>
                    <a:pt x="2648954" y="199530"/>
                  </a:lnTo>
                  <a:lnTo>
                    <a:pt x="2648954" y="200228"/>
                  </a:lnTo>
                  <a:lnTo>
                    <a:pt x="2648954" y="199530"/>
                  </a:lnTo>
                  <a:lnTo>
                    <a:pt x="2648954" y="200228"/>
                  </a:lnTo>
                  <a:lnTo>
                    <a:pt x="2648954" y="198831"/>
                  </a:lnTo>
                  <a:lnTo>
                    <a:pt x="2649043" y="198831"/>
                  </a:lnTo>
                  <a:lnTo>
                    <a:pt x="2649043" y="197447"/>
                  </a:lnTo>
                  <a:lnTo>
                    <a:pt x="2649043" y="199530"/>
                  </a:lnTo>
                  <a:lnTo>
                    <a:pt x="2649094" y="199530"/>
                  </a:lnTo>
                  <a:lnTo>
                    <a:pt x="2649094" y="197447"/>
                  </a:lnTo>
                  <a:lnTo>
                    <a:pt x="2649094" y="200228"/>
                  </a:lnTo>
                  <a:lnTo>
                    <a:pt x="2649094" y="199530"/>
                  </a:lnTo>
                  <a:lnTo>
                    <a:pt x="2649094" y="200228"/>
                  </a:lnTo>
                  <a:lnTo>
                    <a:pt x="2649144" y="200228"/>
                  </a:lnTo>
                  <a:lnTo>
                    <a:pt x="2649144" y="199530"/>
                  </a:lnTo>
                  <a:lnTo>
                    <a:pt x="2649144" y="200228"/>
                  </a:lnTo>
                  <a:lnTo>
                    <a:pt x="2649144" y="199530"/>
                  </a:lnTo>
                  <a:lnTo>
                    <a:pt x="2649195" y="199530"/>
                  </a:lnTo>
                  <a:lnTo>
                    <a:pt x="2649195" y="200876"/>
                  </a:lnTo>
                  <a:lnTo>
                    <a:pt x="2649195" y="199530"/>
                  </a:lnTo>
                  <a:lnTo>
                    <a:pt x="2649297" y="200228"/>
                  </a:lnTo>
                  <a:lnTo>
                    <a:pt x="2649297" y="199530"/>
                  </a:lnTo>
                  <a:lnTo>
                    <a:pt x="2649297" y="200876"/>
                  </a:lnTo>
                  <a:lnTo>
                    <a:pt x="2649297" y="200228"/>
                  </a:lnTo>
                  <a:lnTo>
                    <a:pt x="2649347" y="200228"/>
                  </a:lnTo>
                  <a:lnTo>
                    <a:pt x="2649398" y="200876"/>
                  </a:lnTo>
                  <a:lnTo>
                    <a:pt x="2649398" y="200228"/>
                  </a:lnTo>
                  <a:lnTo>
                    <a:pt x="2649398" y="200876"/>
                  </a:lnTo>
                  <a:lnTo>
                    <a:pt x="2649398" y="199530"/>
                  </a:lnTo>
                  <a:lnTo>
                    <a:pt x="2649500" y="199530"/>
                  </a:lnTo>
                  <a:lnTo>
                    <a:pt x="2649500" y="200228"/>
                  </a:lnTo>
                  <a:lnTo>
                    <a:pt x="2649500" y="198831"/>
                  </a:lnTo>
                  <a:lnTo>
                    <a:pt x="2649538" y="198831"/>
                  </a:lnTo>
                  <a:lnTo>
                    <a:pt x="2649538" y="199530"/>
                  </a:lnTo>
                  <a:lnTo>
                    <a:pt x="2649538" y="198831"/>
                  </a:lnTo>
                  <a:lnTo>
                    <a:pt x="2649538" y="200228"/>
                  </a:lnTo>
                  <a:lnTo>
                    <a:pt x="2649538" y="199530"/>
                  </a:lnTo>
                  <a:lnTo>
                    <a:pt x="2649589" y="198831"/>
                  </a:lnTo>
                  <a:lnTo>
                    <a:pt x="2649589" y="197447"/>
                  </a:lnTo>
                  <a:lnTo>
                    <a:pt x="2649589" y="200876"/>
                  </a:lnTo>
                  <a:lnTo>
                    <a:pt x="2649589" y="200228"/>
                  </a:lnTo>
                  <a:lnTo>
                    <a:pt x="2649640" y="200228"/>
                  </a:lnTo>
                  <a:lnTo>
                    <a:pt x="2649640" y="200876"/>
                  </a:lnTo>
                  <a:lnTo>
                    <a:pt x="2649640" y="200228"/>
                  </a:lnTo>
                  <a:lnTo>
                    <a:pt x="2649741" y="200876"/>
                  </a:lnTo>
                  <a:lnTo>
                    <a:pt x="2649741" y="200228"/>
                  </a:lnTo>
                  <a:lnTo>
                    <a:pt x="2649741" y="200876"/>
                  </a:lnTo>
                  <a:lnTo>
                    <a:pt x="2649741" y="200228"/>
                  </a:lnTo>
                  <a:lnTo>
                    <a:pt x="2649741" y="200876"/>
                  </a:lnTo>
                  <a:lnTo>
                    <a:pt x="2649792" y="200228"/>
                  </a:lnTo>
                  <a:lnTo>
                    <a:pt x="2649792" y="200876"/>
                  </a:lnTo>
                  <a:lnTo>
                    <a:pt x="2649792" y="200228"/>
                  </a:lnTo>
                  <a:lnTo>
                    <a:pt x="2649792" y="200876"/>
                  </a:lnTo>
                  <a:lnTo>
                    <a:pt x="2649792" y="200228"/>
                  </a:lnTo>
                  <a:lnTo>
                    <a:pt x="2649792" y="200876"/>
                  </a:lnTo>
                  <a:lnTo>
                    <a:pt x="2649792" y="200228"/>
                  </a:lnTo>
                  <a:lnTo>
                    <a:pt x="2649792" y="202260"/>
                  </a:lnTo>
                  <a:lnTo>
                    <a:pt x="2649792" y="200228"/>
                  </a:lnTo>
                  <a:lnTo>
                    <a:pt x="2649843" y="200228"/>
                  </a:lnTo>
                  <a:lnTo>
                    <a:pt x="2649843" y="200876"/>
                  </a:lnTo>
                  <a:lnTo>
                    <a:pt x="2649843" y="200228"/>
                  </a:lnTo>
                  <a:lnTo>
                    <a:pt x="2649843" y="200876"/>
                  </a:lnTo>
                  <a:lnTo>
                    <a:pt x="2649944" y="200876"/>
                  </a:lnTo>
                  <a:lnTo>
                    <a:pt x="2649944" y="200228"/>
                  </a:lnTo>
                  <a:lnTo>
                    <a:pt x="2649944" y="200876"/>
                  </a:lnTo>
                  <a:lnTo>
                    <a:pt x="2649944" y="199530"/>
                  </a:lnTo>
                  <a:lnTo>
                    <a:pt x="2649944" y="200228"/>
                  </a:lnTo>
                  <a:lnTo>
                    <a:pt x="2649944" y="199530"/>
                  </a:lnTo>
                  <a:lnTo>
                    <a:pt x="2649944" y="200228"/>
                  </a:lnTo>
                  <a:lnTo>
                    <a:pt x="2649944" y="199530"/>
                  </a:lnTo>
                  <a:lnTo>
                    <a:pt x="2649944" y="200228"/>
                  </a:lnTo>
                  <a:lnTo>
                    <a:pt x="2649995" y="199530"/>
                  </a:lnTo>
                  <a:lnTo>
                    <a:pt x="2649995" y="198831"/>
                  </a:lnTo>
                  <a:lnTo>
                    <a:pt x="2649995" y="199530"/>
                  </a:lnTo>
                  <a:lnTo>
                    <a:pt x="2649995" y="197447"/>
                  </a:lnTo>
                  <a:lnTo>
                    <a:pt x="2650046" y="197447"/>
                  </a:lnTo>
                  <a:lnTo>
                    <a:pt x="2650046" y="196113"/>
                  </a:lnTo>
                  <a:lnTo>
                    <a:pt x="2650046" y="198831"/>
                  </a:lnTo>
                  <a:lnTo>
                    <a:pt x="2650046" y="197447"/>
                  </a:lnTo>
                  <a:lnTo>
                    <a:pt x="2650084" y="196799"/>
                  </a:lnTo>
                  <a:lnTo>
                    <a:pt x="2650084" y="200228"/>
                  </a:lnTo>
                  <a:lnTo>
                    <a:pt x="2650084" y="198831"/>
                  </a:lnTo>
                  <a:lnTo>
                    <a:pt x="2650084" y="199530"/>
                  </a:lnTo>
                  <a:lnTo>
                    <a:pt x="2650084" y="198831"/>
                  </a:lnTo>
                  <a:lnTo>
                    <a:pt x="2650186" y="198831"/>
                  </a:lnTo>
                  <a:lnTo>
                    <a:pt x="2650186" y="200228"/>
                  </a:lnTo>
                  <a:lnTo>
                    <a:pt x="2650186" y="199530"/>
                  </a:lnTo>
                  <a:lnTo>
                    <a:pt x="2650186" y="200228"/>
                  </a:lnTo>
                  <a:lnTo>
                    <a:pt x="2650237" y="200228"/>
                  </a:lnTo>
                  <a:lnTo>
                    <a:pt x="2650237" y="200876"/>
                  </a:lnTo>
                  <a:lnTo>
                    <a:pt x="2650237" y="200228"/>
                  </a:lnTo>
                  <a:lnTo>
                    <a:pt x="2650287" y="200228"/>
                  </a:lnTo>
                  <a:lnTo>
                    <a:pt x="2650287" y="200876"/>
                  </a:lnTo>
                  <a:lnTo>
                    <a:pt x="2650287" y="200228"/>
                  </a:lnTo>
                  <a:lnTo>
                    <a:pt x="2650287" y="200876"/>
                  </a:lnTo>
                  <a:lnTo>
                    <a:pt x="2650287" y="200228"/>
                  </a:lnTo>
                  <a:lnTo>
                    <a:pt x="2650287" y="200876"/>
                  </a:lnTo>
                  <a:lnTo>
                    <a:pt x="2650389" y="200876"/>
                  </a:lnTo>
                  <a:lnTo>
                    <a:pt x="2650389" y="200228"/>
                  </a:lnTo>
                  <a:lnTo>
                    <a:pt x="2650389" y="200876"/>
                  </a:lnTo>
                  <a:lnTo>
                    <a:pt x="2650389" y="200228"/>
                  </a:lnTo>
                  <a:lnTo>
                    <a:pt x="2650389" y="200876"/>
                  </a:lnTo>
                  <a:lnTo>
                    <a:pt x="2650389" y="200228"/>
                  </a:lnTo>
                  <a:lnTo>
                    <a:pt x="2650389" y="200876"/>
                  </a:lnTo>
                  <a:lnTo>
                    <a:pt x="2650440" y="200876"/>
                  </a:lnTo>
                  <a:lnTo>
                    <a:pt x="2650440" y="200228"/>
                  </a:lnTo>
                  <a:lnTo>
                    <a:pt x="2650440" y="200876"/>
                  </a:lnTo>
                  <a:lnTo>
                    <a:pt x="2650440" y="200228"/>
                  </a:lnTo>
                  <a:lnTo>
                    <a:pt x="2650440" y="200876"/>
                  </a:lnTo>
                  <a:lnTo>
                    <a:pt x="2650440" y="200228"/>
                  </a:lnTo>
                  <a:lnTo>
                    <a:pt x="2650490" y="200228"/>
                  </a:lnTo>
                  <a:lnTo>
                    <a:pt x="2650490" y="197447"/>
                  </a:lnTo>
                  <a:lnTo>
                    <a:pt x="2650541" y="197447"/>
                  </a:lnTo>
                  <a:lnTo>
                    <a:pt x="2650541" y="196799"/>
                  </a:lnTo>
                  <a:lnTo>
                    <a:pt x="2650541" y="199530"/>
                  </a:lnTo>
                  <a:lnTo>
                    <a:pt x="2650541" y="196799"/>
                  </a:lnTo>
                  <a:lnTo>
                    <a:pt x="2650541" y="197447"/>
                  </a:lnTo>
                  <a:lnTo>
                    <a:pt x="2650630" y="197447"/>
                  </a:lnTo>
                  <a:lnTo>
                    <a:pt x="2650630" y="200876"/>
                  </a:lnTo>
                  <a:lnTo>
                    <a:pt x="2650630" y="198831"/>
                  </a:lnTo>
                  <a:lnTo>
                    <a:pt x="2650630" y="199530"/>
                  </a:lnTo>
                  <a:lnTo>
                    <a:pt x="2650681" y="199530"/>
                  </a:lnTo>
                  <a:lnTo>
                    <a:pt x="2650681" y="200876"/>
                  </a:lnTo>
                  <a:lnTo>
                    <a:pt x="2650681" y="199530"/>
                  </a:lnTo>
                  <a:lnTo>
                    <a:pt x="2650681" y="200228"/>
                  </a:lnTo>
                  <a:lnTo>
                    <a:pt x="2650732" y="200228"/>
                  </a:lnTo>
                  <a:lnTo>
                    <a:pt x="2650732" y="200876"/>
                  </a:lnTo>
                  <a:lnTo>
                    <a:pt x="2650732" y="200228"/>
                  </a:lnTo>
                  <a:lnTo>
                    <a:pt x="2650732" y="200876"/>
                  </a:lnTo>
                  <a:lnTo>
                    <a:pt x="2650732" y="200228"/>
                  </a:lnTo>
                  <a:lnTo>
                    <a:pt x="2650783" y="200228"/>
                  </a:lnTo>
                  <a:lnTo>
                    <a:pt x="2650783" y="200876"/>
                  </a:lnTo>
                  <a:lnTo>
                    <a:pt x="2650783" y="200228"/>
                  </a:lnTo>
                  <a:lnTo>
                    <a:pt x="2650783" y="200876"/>
                  </a:lnTo>
                  <a:lnTo>
                    <a:pt x="2650783" y="200228"/>
                  </a:lnTo>
                  <a:lnTo>
                    <a:pt x="2650783" y="200876"/>
                  </a:lnTo>
                  <a:lnTo>
                    <a:pt x="2650935" y="200876"/>
                  </a:lnTo>
                  <a:lnTo>
                    <a:pt x="2650935" y="200228"/>
                  </a:lnTo>
                  <a:lnTo>
                    <a:pt x="2650935" y="200876"/>
                  </a:lnTo>
                  <a:lnTo>
                    <a:pt x="2650935" y="198831"/>
                  </a:lnTo>
                  <a:lnTo>
                    <a:pt x="2650986" y="198831"/>
                  </a:lnTo>
                  <a:lnTo>
                    <a:pt x="2650986" y="199530"/>
                  </a:lnTo>
                  <a:lnTo>
                    <a:pt x="2650986" y="196799"/>
                  </a:lnTo>
                  <a:lnTo>
                    <a:pt x="2651087" y="196799"/>
                  </a:lnTo>
                  <a:lnTo>
                    <a:pt x="2651087" y="198831"/>
                  </a:lnTo>
                  <a:lnTo>
                    <a:pt x="2651087" y="196113"/>
                  </a:lnTo>
                  <a:lnTo>
                    <a:pt x="2651087" y="196799"/>
                  </a:lnTo>
                  <a:lnTo>
                    <a:pt x="2651126" y="197447"/>
                  </a:lnTo>
                  <a:lnTo>
                    <a:pt x="2651126" y="200228"/>
                  </a:lnTo>
                  <a:lnTo>
                    <a:pt x="2651126" y="198831"/>
                  </a:lnTo>
                  <a:lnTo>
                    <a:pt x="2651126" y="199530"/>
                  </a:lnTo>
                  <a:lnTo>
                    <a:pt x="2651176" y="199530"/>
                  </a:lnTo>
                  <a:lnTo>
                    <a:pt x="2651176" y="200228"/>
                  </a:lnTo>
                  <a:lnTo>
                    <a:pt x="2651176" y="199530"/>
                  </a:lnTo>
                  <a:lnTo>
                    <a:pt x="2651227" y="199530"/>
                  </a:lnTo>
                  <a:lnTo>
                    <a:pt x="2651227" y="200228"/>
                  </a:lnTo>
                  <a:lnTo>
                    <a:pt x="2651227" y="199530"/>
                  </a:lnTo>
                  <a:lnTo>
                    <a:pt x="2651227" y="200228"/>
                  </a:lnTo>
                  <a:lnTo>
                    <a:pt x="2651329" y="200228"/>
                  </a:lnTo>
                  <a:lnTo>
                    <a:pt x="2651329" y="200876"/>
                  </a:lnTo>
                  <a:lnTo>
                    <a:pt x="2651329" y="200228"/>
                  </a:lnTo>
                  <a:lnTo>
                    <a:pt x="2651329" y="200876"/>
                  </a:lnTo>
                  <a:lnTo>
                    <a:pt x="2651329" y="200228"/>
                  </a:lnTo>
                  <a:lnTo>
                    <a:pt x="2651329" y="202260"/>
                  </a:lnTo>
                  <a:lnTo>
                    <a:pt x="2651380" y="202260"/>
                  </a:lnTo>
                  <a:lnTo>
                    <a:pt x="2651380" y="200876"/>
                  </a:lnTo>
                  <a:lnTo>
                    <a:pt x="2651380" y="202260"/>
                  </a:lnTo>
                  <a:lnTo>
                    <a:pt x="2651380" y="200876"/>
                  </a:lnTo>
                  <a:lnTo>
                    <a:pt x="2651380" y="202260"/>
                  </a:lnTo>
                  <a:lnTo>
                    <a:pt x="2651380" y="200876"/>
                  </a:lnTo>
                  <a:lnTo>
                    <a:pt x="2651380" y="202260"/>
                  </a:lnTo>
                  <a:lnTo>
                    <a:pt x="2651380" y="200876"/>
                  </a:lnTo>
                  <a:lnTo>
                    <a:pt x="2651430" y="200876"/>
                  </a:lnTo>
                  <a:lnTo>
                    <a:pt x="2651430" y="199530"/>
                  </a:lnTo>
                  <a:lnTo>
                    <a:pt x="2651430" y="200228"/>
                  </a:lnTo>
                  <a:lnTo>
                    <a:pt x="2651430" y="199530"/>
                  </a:lnTo>
                  <a:lnTo>
                    <a:pt x="2651532" y="199530"/>
                  </a:lnTo>
                  <a:lnTo>
                    <a:pt x="2651532" y="197447"/>
                  </a:lnTo>
                  <a:lnTo>
                    <a:pt x="2651532" y="200228"/>
                  </a:lnTo>
                  <a:lnTo>
                    <a:pt x="2651583" y="199530"/>
                  </a:lnTo>
                  <a:lnTo>
                    <a:pt x="2651583" y="198831"/>
                  </a:lnTo>
                  <a:lnTo>
                    <a:pt x="2651583" y="199530"/>
                  </a:lnTo>
                  <a:lnTo>
                    <a:pt x="2651583" y="196799"/>
                  </a:lnTo>
                  <a:lnTo>
                    <a:pt x="2651583" y="200876"/>
                  </a:lnTo>
                  <a:lnTo>
                    <a:pt x="2651583" y="200228"/>
                  </a:lnTo>
                  <a:lnTo>
                    <a:pt x="2651633" y="200228"/>
                  </a:lnTo>
                  <a:lnTo>
                    <a:pt x="2651633" y="199530"/>
                  </a:lnTo>
                  <a:lnTo>
                    <a:pt x="2651633" y="200228"/>
                  </a:lnTo>
                  <a:lnTo>
                    <a:pt x="2651633" y="199530"/>
                  </a:lnTo>
                  <a:lnTo>
                    <a:pt x="2651633" y="200876"/>
                  </a:lnTo>
                  <a:lnTo>
                    <a:pt x="2651633" y="200228"/>
                  </a:lnTo>
                  <a:lnTo>
                    <a:pt x="2651672" y="200228"/>
                  </a:lnTo>
                  <a:lnTo>
                    <a:pt x="2651672" y="199530"/>
                  </a:lnTo>
                  <a:lnTo>
                    <a:pt x="2651672" y="200228"/>
                  </a:lnTo>
                  <a:lnTo>
                    <a:pt x="2651672" y="199530"/>
                  </a:lnTo>
                  <a:lnTo>
                    <a:pt x="2651672" y="200228"/>
                  </a:lnTo>
                  <a:lnTo>
                    <a:pt x="2651672" y="199530"/>
                  </a:lnTo>
                  <a:lnTo>
                    <a:pt x="2651672" y="200228"/>
                  </a:lnTo>
                  <a:lnTo>
                    <a:pt x="2651672" y="199530"/>
                  </a:lnTo>
                  <a:lnTo>
                    <a:pt x="2651672" y="200228"/>
                  </a:lnTo>
                  <a:lnTo>
                    <a:pt x="2651773" y="200228"/>
                  </a:lnTo>
                  <a:lnTo>
                    <a:pt x="2651773" y="198831"/>
                  </a:lnTo>
                  <a:lnTo>
                    <a:pt x="2651773" y="200228"/>
                  </a:lnTo>
                  <a:lnTo>
                    <a:pt x="2651824" y="200228"/>
                  </a:lnTo>
                  <a:lnTo>
                    <a:pt x="2651824" y="200876"/>
                  </a:lnTo>
                  <a:lnTo>
                    <a:pt x="2651824" y="200228"/>
                  </a:lnTo>
                  <a:lnTo>
                    <a:pt x="2651824" y="200876"/>
                  </a:lnTo>
                  <a:lnTo>
                    <a:pt x="2651824" y="200228"/>
                  </a:lnTo>
                  <a:lnTo>
                    <a:pt x="2651875" y="200228"/>
                  </a:lnTo>
                  <a:lnTo>
                    <a:pt x="2651875" y="200876"/>
                  </a:lnTo>
                  <a:lnTo>
                    <a:pt x="2651875" y="200228"/>
                  </a:lnTo>
                  <a:lnTo>
                    <a:pt x="2651875" y="200876"/>
                  </a:lnTo>
                  <a:lnTo>
                    <a:pt x="2651976" y="200228"/>
                  </a:lnTo>
                  <a:lnTo>
                    <a:pt x="2651976" y="200876"/>
                  </a:lnTo>
                  <a:lnTo>
                    <a:pt x="2651976" y="199530"/>
                  </a:lnTo>
                  <a:lnTo>
                    <a:pt x="2651976" y="200228"/>
                  </a:lnTo>
                  <a:lnTo>
                    <a:pt x="2651976" y="197447"/>
                  </a:lnTo>
                  <a:lnTo>
                    <a:pt x="2651976" y="198831"/>
                  </a:lnTo>
                  <a:lnTo>
                    <a:pt x="2652027" y="199530"/>
                  </a:lnTo>
                  <a:lnTo>
                    <a:pt x="2652027" y="200228"/>
                  </a:lnTo>
                  <a:lnTo>
                    <a:pt x="2652027" y="199530"/>
                  </a:lnTo>
                  <a:lnTo>
                    <a:pt x="2652027" y="200228"/>
                  </a:lnTo>
                  <a:lnTo>
                    <a:pt x="2652078" y="200228"/>
                  </a:lnTo>
                  <a:lnTo>
                    <a:pt x="2652078" y="202260"/>
                  </a:lnTo>
                  <a:lnTo>
                    <a:pt x="2652078" y="200876"/>
                  </a:lnTo>
                  <a:lnTo>
                    <a:pt x="2652078" y="202260"/>
                  </a:lnTo>
                  <a:lnTo>
                    <a:pt x="2652078" y="200876"/>
                  </a:lnTo>
                  <a:lnTo>
                    <a:pt x="2652078" y="202260"/>
                  </a:lnTo>
                  <a:lnTo>
                    <a:pt x="2652129" y="202260"/>
                  </a:lnTo>
                  <a:lnTo>
                    <a:pt x="2652129" y="202959"/>
                  </a:lnTo>
                  <a:lnTo>
                    <a:pt x="2652129" y="202260"/>
                  </a:lnTo>
                  <a:lnTo>
                    <a:pt x="2652129" y="202959"/>
                  </a:lnTo>
                  <a:lnTo>
                    <a:pt x="2652129" y="202260"/>
                  </a:lnTo>
                  <a:lnTo>
                    <a:pt x="2652129" y="202959"/>
                  </a:lnTo>
                  <a:lnTo>
                    <a:pt x="2652218" y="202959"/>
                  </a:lnTo>
                  <a:lnTo>
                    <a:pt x="2652218" y="202260"/>
                  </a:lnTo>
                  <a:lnTo>
                    <a:pt x="2652218" y="202959"/>
                  </a:lnTo>
                  <a:lnTo>
                    <a:pt x="2652218" y="202260"/>
                  </a:lnTo>
                  <a:lnTo>
                    <a:pt x="2652218" y="202959"/>
                  </a:lnTo>
                  <a:lnTo>
                    <a:pt x="2652218" y="202260"/>
                  </a:lnTo>
                  <a:lnTo>
                    <a:pt x="2652218" y="202959"/>
                  </a:lnTo>
                  <a:lnTo>
                    <a:pt x="2652218" y="202260"/>
                  </a:lnTo>
                  <a:lnTo>
                    <a:pt x="2652218" y="202959"/>
                  </a:lnTo>
                  <a:lnTo>
                    <a:pt x="2652218" y="202260"/>
                  </a:lnTo>
                  <a:lnTo>
                    <a:pt x="2652319" y="202260"/>
                  </a:lnTo>
                  <a:lnTo>
                    <a:pt x="2652319" y="200876"/>
                  </a:lnTo>
                  <a:lnTo>
                    <a:pt x="2652319" y="202260"/>
                  </a:lnTo>
                  <a:lnTo>
                    <a:pt x="2652319" y="200876"/>
                  </a:lnTo>
                  <a:lnTo>
                    <a:pt x="2652319" y="202260"/>
                  </a:lnTo>
                  <a:lnTo>
                    <a:pt x="2652319" y="200876"/>
                  </a:lnTo>
                  <a:lnTo>
                    <a:pt x="2652370" y="200876"/>
                  </a:lnTo>
                  <a:lnTo>
                    <a:pt x="2652370" y="199530"/>
                  </a:lnTo>
                  <a:lnTo>
                    <a:pt x="2652370" y="200228"/>
                  </a:lnTo>
                  <a:lnTo>
                    <a:pt x="2652472" y="199530"/>
                  </a:lnTo>
                  <a:lnTo>
                    <a:pt x="2652472" y="198831"/>
                  </a:lnTo>
                  <a:lnTo>
                    <a:pt x="2652472" y="199530"/>
                  </a:lnTo>
                  <a:lnTo>
                    <a:pt x="2652472" y="197447"/>
                  </a:lnTo>
                  <a:lnTo>
                    <a:pt x="2652472" y="198831"/>
                  </a:lnTo>
                  <a:lnTo>
                    <a:pt x="2652522" y="198831"/>
                  </a:lnTo>
                  <a:lnTo>
                    <a:pt x="2652522" y="200228"/>
                  </a:lnTo>
                  <a:lnTo>
                    <a:pt x="2652522" y="199530"/>
                  </a:lnTo>
                  <a:lnTo>
                    <a:pt x="2652522" y="200228"/>
                  </a:lnTo>
                  <a:lnTo>
                    <a:pt x="2652522" y="199530"/>
                  </a:lnTo>
                  <a:lnTo>
                    <a:pt x="2652522" y="200228"/>
                  </a:lnTo>
                  <a:lnTo>
                    <a:pt x="2652522" y="199530"/>
                  </a:lnTo>
                  <a:lnTo>
                    <a:pt x="2652522" y="200876"/>
                  </a:lnTo>
                  <a:lnTo>
                    <a:pt x="2652573" y="200876"/>
                  </a:lnTo>
                  <a:lnTo>
                    <a:pt x="2652573" y="202260"/>
                  </a:lnTo>
                  <a:lnTo>
                    <a:pt x="2652573" y="200228"/>
                  </a:lnTo>
                  <a:lnTo>
                    <a:pt x="2652573" y="202260"/>
                  </a:lnTo>
                  <a:lnTo>
                    <a:pt x="2652675" y="202260"/>
                  </a:lnTo>
                  <a:lnTo>
                    <a:pt x="2652675" y="200876"/>
                  </a:lnTo>
                  <a:lnTo>
                    <a:pt x="2652713" y="200876"/>
                  </a:lnTo>
                  <a:lnTo>
                    <a:pt x="2652713" y="202260"/>
                  </a:lnTo>
                  <a:lnTo>
                    <a:pt x="2652713" y="200876"/>
                  </a:lnTo>
                  <a:lnTo>
                    <a:pt x="2652713" y="202260"/>
                  </a:lnTo>
                  <a:lnTo>
                    <a:pt x="2652764" y="202260"/>
                  </a:lnTo>
                  <a:lnTo>
                    <a:pt x="2652764" y="200876"/>
                  </a:lnTo>
                  <a:lnTo>
                    <a:pt x="2652764" y="202260"/>
                  </a:lnTo>
                  <a:lnTo>
                    <a:pt x="2652764" y="200876"/>
                  </a:lnTo>
                  <a:lnTo>
                    <a:pt x="2652764" y="202959"/>
                  </a:lnTo>
                  <a:lnTo>
                    <a:pt x="2652764" y="202260"/>
                  </a:lnTo>
                  <a:lnTo>
                    <a:pt x="2652815" y="202260"/>
                  </a:lnTo>
                  <a:lnTo>
                    <a:pt x="2652815" y="200876"/>
                  </a:lnTo>
                  <a:lnTo>
                    <a:pt x="2652815" y="202260"/>
                  </a:lnTo>
                  <a:lnTo>
                    <a:pt x="2652815" y="200876"/>
                  </a:lnTo>
                  <a:lnTo>
                    <a:pt x="2652815" y="202260"/>
                  </a:lnTo>
                  <a:lnTo>
                    <a:pt x="2652815" y="200876"/>
                  </a:lnTo>
                  <a:lnTo>
                    <a:pt x="2652815" y="202260"/>
                  </a:lnTo>
                  <a:lnTo>
                    <a:pt x="2652916" y="202260"/>
                  </a:lnTo>
                  <a:lnTo>
                    <a:pt x="2652916" y="198831"/>
                  </a:lnTo>
                  <a:lnTo>
                    <a:pt x="2652916" y="199530"/>
                  </a:lnTo>
                  <a:lnTo>
                    <a:pt x="2652967" y="199530"/>
                  </a:lnTo>
                  <a:lnTo>
                    <a:pt x="2652967" y="197447"/>
                  </a:lnTo>
                  <a:lnTo>
                    <a:pt x="2652967" y="198831"/>
                  </a:lnTo>
                  <a:lnTo>
                    <a:pt x="2653018" y="197447"/>
                  </a:lnTo>
                  <a:lnTo>
                    <a:pt x="2653018" y="200228"/>
                  </a:lnTo>
                  <a:lnTo>
                    <a:pt x="2653018" y="199530"/>
                  </a:lnTo>
                  <a:lnTo>
                    <a:pt x="2653119" y="199530"/>
                  </a:lnTo>
                  <a:lnTo>
                    <a:pt x="2653119" y="200228"/>
                  </a:lnTo>
                  <a:lnTo>
                    <a:pt x="2653119" y="199530"/>
                  </a:lnTo>
                  <a:lnTo>
                    <a:pt x="2653119" y="200876"/>
                  </a:lnTo>
                  <a:lnTo>
                    <a:pt x="2653119" y="200228"/>
                  </a:lnTo>
                  <a:lnTo>
                    <a:pt x="2653119" y="200876"/>
                  </a:lnTo>
                  <a:lnTo>
                    <a:pt x="2653170" y="200876"/>
                  </a:lnTo>
                  <a:lnTo>
                    <a:pt x="2653170" y="202260"/>
                  </a:lnTo>
                  <a:lnTo>
                    <a:pt x="2653221" y="202260"/>
                  </a:lnTo>
                  <a:lnTo>
                    <a:pt x="2653221" y="200876"/>
                  </a:lnTo>
                  <a:lnTo>
                    <a:pt x="2653221" y="202260"/>
                  </a:lnTo>
                  <a:lnTo>
                    <a:pt x="2653221" y="200876"/>
                  </a:lnTo>
                  <a:lnTo>
                    <a:pt x="2653221" y="202260"/>
                  </a:lnTo>
                  <a:lnTo>
                    <a:pt x="2653221" y="200876"/>
                  </a:lnTo>
                  <a:lnTo>
                    <a:pt x="2653221" y="202260"/>
                  </a:lnTo>
                  <a:lnTo>
                    <a:pt x="2653221" y="200876"/>
                  </a:lnTo>
                  <a:lnTo>
                    <a:pt x="2653221" y="202260"/>
                  </a:lnTo>
                  <a:lnTo>
                    <a:pt x="2653259" y="202260"/>
                  </a:lnTo>
                  <a:lnTo>
                    <a:pt x="2653259" y="202959"/>
                  </a:lnTo>
                  <a:lnTo>
                    <a:pt x="2653259" y="202260"/>
                  </a:lnTo>
                  <a:lnTo>
                    <a:pt x="2653259" y="202959"/>
                  </a:lnTo>
                  <a:lnTo>
                    <a:pt x="2653259" y="202260"/>
                  </a:lnTo>
                  <a:lnTo>
                    <a:pt x="2653259" y="202959"/>
                  </a:lnTo>
                  <a:lnTo>
                    <a:pt x="2653259" y="202260"/>
                  </a:lnTo>
                  <a:lnTo>
                    <a:pt x="2653361" y="202260"/>
                  </a:lnTo>
                  <a:lnTo>
                    <a:pt x="2653361" y="200876"/>
                  </a:lnTo>
                  <a:lnTo>
                    <a:pt x="2653412" y="200876"/>
                  </a:lnTo>
                  <a:lnTo>
                    <a:pt x="2653412" y="198831"/>
                  </a:lnTo>
                  <a:lnTo>
                    <a:pt x="2653412" y="199530"/>
                  </a:lnTo>
                  <a:lnTo>
                    <a:pt x="2653412" y="198831"/>
                  </a:lnTo>
                  <a:lnTo>
                    <a:pt x="2653462" y="198831"/>
                  </a:lnTo>
                  <a:lnTo>
                    <a:pt x="2653462" y="199530"/>
                  </a:lnTo>
                  <a:lnTo>
                    <a:pt x="2653462" y="198831"/>
                  </a:lnTo>
                  <a:lnTo>
                    <a:pt x="2653462" y="199530"/>
                  </a:lnTo>
                  <a:lnTo>
                    <a:pt x="2653564" y="199530"/>
                  </a:lnTo>
                  <a:lnTo>
                    <a:pt x="2653564" y="198831"/>
                  </a:lnTo>
                  <a:lnTo>
                    <a:pt x="2653564" y="200876"/>
                  </a:lnTo>
                  <a:lnTo>
                    <a:pt x="2653564" y="200228"/>
                  </a:lnTo>
                  <a:lnTo>
                    <a:pt x="2653615" y="200228"/>
                  </a:lnTo>
                  <a:lnTo>
                    <a:pt x="2653615" y="200876"/>
                  </a:lnTo>
                  <a:lnTo>
                    <a:pt x="2653615" y="200228"/>
                  </a:lnTo>
                  <a:lnTo>
                    <a:pt x="2653615" y="200876"/>
                  </a:lnTo>
                  <a:lnTo>
                    <a:pt x="2653615" y="200228"/>
                  </a:lnTo>
                  <a:lnTo>
                    <a:pt x="2653665" y="200228"/>
                  </a:lnTo>
                  <a:lnTo>
                    <a:pt x="2653665" y="200876"/>
                  </a:lnTo>
                  <a:lnTo>
                    <a:pt x="2653665" y="200228"/>
                  </a:lnTo>
                  <a:lnTo>
                    <a:pt x="2653716" y="200876"/>
                  </a:lnTo>
                  <a:lnTo>
                    <a:pt x="2653716" y="200228"/>
                  </a:lnTo>
                  <a:lnTo>
                    <a:pt x="2653716" y="200876"/>
                  </a:lnTo>
                  <a:lnTo>
                    <a:pt x="2653716" y="200228"/>
                  </a:lnTo>
                  <a:lnTo>
                    <a:pt x="2653716" y="200876"/>
                  </a:lnTo>
                  <a:lnTo>
                    <a:pt x="2653805" y="200876"/>
                  </a:lnTo>
                  <a:lnTo>
                    <a:pt x="2653805" y="202260"/>
                  </a:lnTo>
                  <a:lnTo>
                    <a:pt x="2653805" y="200876"/>
                  </a:lnTo>
                  <a:lnTo>
                    <a:pt x="2653805" y="202260"/>
                  </a:lnTo>
                  <a:lnTo>
                    <a:pt x="2653805" y="200876"/>
                  </a:lnTo>
                  <a:lnTo>
                    <a:pt x="2653805" y="202260"/>
                  </a:lnTo>
                  <a:lnTo>
                    <a:pt x="2653805" y="200876"/>
                  </a:lnTo>
                  <a:lnTo>
                    <a:pt x="2653805" y="202260"/>
                  </a:lnTo>
                  <a:lnTo>
                    <a:pt x="2653856" y="200876"/>
                  </a:lnTo>
                  <a:lnTo>
                    <a:pt x="2653856" y="200228"/>
                  </a:lnTo>
                  <a:lnTo>
                    <a:pt x="2653907" y="200228"/>
                  </a:lnTo>
                  <a:lnTo>
                    <a:pt x="2653907" y="198831"/>
                  </a:lnTo>
                  <a:lnTo>
                    <a:pt x="2653958" y="198831"/>
                  </a:lnTo>
                  <a:lnTo>
                    <a:pt x="2653958" y="197447"/>
                  </a:lnTo>
                  <a:lnTo>
                    <a:pt x="2653958" y="198831"/>
                  </a:lnTo>
                  <a:lnTo>
                    <a:pt x="2654059" y="198831"/>
                  </a:lnTo>
                  <a:lnTo>
                    <a:pt x="2654059" y="197447"/>
                  </a:lnTo>
                  <a:lnTo>
                    <a:pt x="2654059" y="200228"/>
                  </a:lnTo>
                  <a:lnTo>
                    <a:pt x="2654059" y="199530"/>
                  </a:lnTo>
                  <a:lnTo>
                    <a:pt x="2654110" y="199530"/>
                  </a:lnTo>
                  <a:lnTo>
                    <a:pt x="2654110" y="198831"/>
                  </a:lnTo>
                  <a:lnTo>
                    <a:pt x="2654110" y="200228"/>
                  </a:lnTo>
                  <a:lnTo>
                    <a:pt x="2654110" y="199530"/>
                  </a:lnTo>
                  <a:lnTo>
                    <a:pt x="2654110" y="200228"/>
                  </a:lnTo>
                  <a:lnTo>
                    <a:pt x="2654110" y="199530"/>
                  </a:lnTo>
                  <a:lnTo>
                    <a:pt x="2654161" y="199530"/>
                  </a:lnTo>
                  <a:lnTo>
                    <a:pt x="2654161" y="200228"/>
                  </a:lnTo>
                  <a:lnTo>
                    <a:pt x="2654161" y="199530"/>
                  </a:lnTo>
                  <a:lnTo>
                    <a:pt x="2654161" y="200228"/>
                  </a:lnTo>
                  <a:lnTo>
                    <a:pt x="2654161" y="199530"/>
                  </a:lnTo>
                  <a:lnTo>
                    <a:pt x="2654262" y="200228"/>
                  </a:lnTo>
                  <a:lnTo>
                    <a:pt x="2654262" y="200876"/>
                  </a:lnTo>
                  <a:lnTo>
                    <a:pt x="2654262" y="200228"/>
                  </a:lnTo>
                  <a:lnTo>
                    <a:pt x="2654262" y="200876"/>
                  </a:lnTo>
                  <a:lnTo>
                    <a:pt x="2654301" y="200876"/>
                  </a:lnTo>
                  <a:lnTo>
                    <a:pt x="2654301" y="202260"/>
                  </a:lnTo>
                  <a:lnTo>
                    <a:pt x="2654301" y="200876"/>
                  </a:lnTo>
                  <a:lnTo>
                    <a:pt x="2654301" y="202260"/>
                  </a:lnTo>
                  <a:lnTo>
                    <a:pt x="2654301" y="200876"/>
                  </a:lnTo>
                  <a:lnTo>
                    <a:pt x="2654301" y="202260"/>
                  </a:lnTo>
                  <a:lnTo>
                    <a:pt x="2654301" y="200876"/>
                  </a:lnTo>
                  <a:lnTo>
                    <a:pt x="2654351" y="200876"/>
                  </a:lnTo>
                  <a:lnTo>
                    <a:pt x="2654351" y="200228"/>
                  </a:lnTo>
                  <a:lnTo>
                    <a:pt x="2654402" y="200228"/>
                  </a:lnTo>
                  <a:lnTo>
                    <a:pt x="2654402" y="197447"/>
                  </a:lnTo>
                  <a:lnTo>
                    <a:pt x="2654504" y="197447"/>
                  </a:lnTo>
                  <a:lnTo>
                    <a:pt x="2654504" y="196799"/>
                  </a:lnTo>
                  <a:lnTo>
                    <a:pt x="2654504" y="199530"/>
                  </a:lnTo>
                  <a:lnTo>
                    <a:pt x="2654504" y="196799"/>
                  </a:lnTo>
                  <a:lnTo>
                    <a:pt x="2654555" y="196799"/>
                  </a:lnTo>
                  <a:lnTo>
                    <a:pt x="2654555" y="199530"/>
                  </a:lnTo>
                  <a:lnTo>
                    <a:pt x="2654555" y="197447"/>
                  </a:lnTo>
                  <a:lnTo>
                    <a:pt x="2654605" y="198831"/>
                  </a:lnTo>
                  <a:lnTo>
                    <a:pt x="2654605" y="199530"/>
                  </a:lnTo>
                  <a:lnTo>
                    <a:pt x="2654605" y="198831"/>
                  </a:lnTo>
                  <a:lnTo>
                    <a:pt x="2654605" y="199530"/>
                  </a:lnTo>
                  <a:lnTo>
                    <a:pt x="2654605" y="197447"/>
                  </a:lnTo>
                  <a:lnTo>
                    <a:pt x="2654707" y="198831"/>
                  </a:lnTo>
                  <a:lnTo>
                    <a:pt x="2654707" y="199530"/>
                  </a:lnTo>
                  <a:lnTo>
                    <a:pt x="2654707" y="198831"/>
                  </a:lnTo>
                  <a:lnTo>
                    <a:pt x="2654707" y="199530"/>
                  </a:lnTo>
                  <a:lnTo>
                    <a:pt x="2654758" y="199530"/>
                  </a:lnTo>
                  <a:lnTo>
                    <a:pt x="2654758" y="200228"/>
                  </a:lnTo>
                  <a:lnTo>
                    <a:pt x="2654758" y="199530"/>
                  </a:lnTo>
                  <a:lnTo>
                    <a:pt x="2654758" y="200228"/>
                  </a:lnTo>
                  <a:lnTo>
                    <a:pt x="2654758" y="199530"/>
                  </a:lnTo>
                  <a:lnTo>
                    <a:pt x="2654758" y="200228"/>
                  </a:lnTo>
                  <a:lnTo>
                    <a:pt x="2654758" y="199530"/>
                  </a:lnTo>
                  <a:lnTo>
                    <a:pt x="2654758" y="200228"/>
                  </a:lnTo>
                  <a:lnTo>
                    <a:pt x="2654758" y="199530"/>
                  </a:lnTo>
                  <a:lnTo>
                    <a:pt x="2654758" y="200228"/>
                  </a:lnTo>
                  <a:lnTo>
                    <a:pt x="2654808" y="200228"/>
                  </a:lnTo>
                  <a:lnTo>
                    <a:pt x="2654808" y="200876"/>
                  </a:lnTo>
                  <a:lnTo>
                    <a:pt x="2654808" y="200228"/>
                  </a:lnTo>
                  <a:lnTo>
                    <a:pt x="2654847" y="200228"/>
                  </a:lnTo>
                  <a:lnTo>
                    <a:pt x="2654847" y="199530"/>
                  </a:lnTo>
                  <a:lnTo>
                    <a:pt x="2654847" y="200228"/>
                  </a:lnTo>
                  <a:lnTo>
                    <a:pt x="2654847" y="199530"/>
                  </a:lnTo>
                  <a:lnTo>
                    <a:pt x="2654847" y="200228"/>
                  </a:lnTo>
                  <a:lnTo>
                    <a:pt x="2654847" y="199530"/>
                  </a:lnTo>
                  <a:lnTo>
                    <a:pt x="2654847" y="200228"/>
                  </a:lnTo>
                  <a:lnTo>
                    <a:pt x="2654847" y="199530"/>
                  </a:lnTo>
                  <a:lnTo>
                    <a:pt x="2654948" y="199530"/>
                  </a:lnTo>
                  <a:lnTo>
                    <a:pt x="2654948" y="197447"/>
                  </a:lnTo>
                  <a:lnTo>
                    <a:pt x="2654948" y="198831"/>
                  </a:lnTo>
                  <a:lnTo>
                    <a:pt x="2654999" y="198831"/>
                  </a:lnTo>
                  <a:lnTo>
                    <a:pt x="2654999" y="199530"/>
                  </a:lnTo>
                  <a:lnTo>
                    <a:pt x="2654999" y="198831"/>
                  </a:lnTo>
                  <a:lnTo>
                    <a:pt x="2654999" y="199530"/>
                  </a:lnTo>
                  <a:lnTo>
                    <a:pt x="2654999" y="197447"/>
                  </a:lnTo>
                  <a:lnTo>
                    <a:pt x="2654999" y="200876"/>
                  </a:lnTo>
                  <a:lnTo>
                    <a:pt x="2655050" y="200876"/>
                  </a:lnTo>
                  <a:lnTo>
                    <a:pt x="2655050" y="200228"/>
                  </a:lnTo>
                  <a:lnTo>
                    <a:pt x="2655050" y="200876"/>
                  </a:lnTo>
                  <a:lnTo>
                    <a:pt x="2655050" y="199530"/>
                  </a:lnTo>
                  <a:lnTo>
                    <a:pt x="2655050" y="200876"/>
                  </a:lnTo>
                  <a:lnTo>
                    <a:pt x="2655151" y="200876"/>
                  </a:lnTo>
                  <a:lnTo>
                    <a:pt x="2655151" y="199530"/>
                  </a:lnTo>
                  <a:lnTo>
                    <a:pt x="2655151" y="200876"/>
                  </a:lnTo>
                  <a:lnTo>
                    <a:pt x="2655202" y="200228"/>
                  </a:lnTo>
                  <a:lnTo>
                    <a:pt x="2655202" y="200876"/>
                  </a:lnTo>
                  <a:lnTo>
                    <a:pt x="2655202" y="200228"/>
                  </a:lnTo>
                  <a:lnTo>
                    <a:pt x="2655202" y="200876"/>
                  </a:lnTo>
                  <a:lnTo>
                    <a:pt x="2655202" y="200228"/>
                  </a:lnTo>
                  <a:lnTo>
                    <a:pt x="2655202" y="200876"/>
                  </a:lnTo>
                  <a:lnTo>
                    <a:pt x="2655202" y="200228"/>
                  </a:lnTo>
                  <a:lnTo>
                    <a:pt x="2655202" y="200876"/>
                  </a:lnTo>
                  <a:lnTo>
                    <a:pt x="2655253" y="200876"/>
                  </a:lnTo>
                  <a:lnTo>
                    <a:pt x="2655253" y="200228"/>
                  </a:lnTo>
                  <a:lnTo>
                    <a:pt x="2655253" y="202260"/>
                  </a:lnTo>
                  <a:lnTo>
                    <a:pt x="2655253" y="200876"/>
                  </a:lnTo>
                  <a:lnTo>
                    <a:pt x="2655304" y="200876"/>
                  </a:lnTo>
                  <a:lnTo>
                    <a:pt x="2655304" y="200228"/>
                  </a:lnTo>
                  <a:lnTo>
                    <a:pt x="2655304" y="200876"/>
                  </a:lnTo>
                  <a:lnTo>
                    <a:pt x="2655304" y="200228"/>
                  </a:lnTo>
                  <a:lnTo>
                    <a:pt x="2655393" y="200228"/>
                  </a:lnTo>
                  <a:lnTo>
                    <a:pt x="2655393" y="198831"/>
                  </a:lnTo>
                  <a:lnTo>
                    <a:pt x="2655393" y="199530"/>
                  </a:lnTo>
                  <a:lnTo>
                    <a:pt x="2655393" y="198831"/>
                  </a:lnTo>
                  <a:lnTo>
                    <a:pt x="2655393" y="199530"/>
                  </a:lnTo>
                  <a:lnTo>
                    <a:pt x="2655444" y="199530"/>
                  </a:lnTo>
                  <a:lnTo>
                    <a:pt x="2655444" y="198831"/>
                  </a:lnTo>
                  <a:lnTo>
                    <a:pt x="2655444" y="200228"/>
                  </a:lnTo>
                  <a:lnTo>
                    <a:pt x="2655494" y="200228"/>
                  </a:lnTo>
                  <a:lnTo>
                    <a:pt x="2655494" y="199530"/>
                  </a:lnTo>
                  <a:lnTo>
                    <a:pt x="2655494" y="202260"/>
                  </a:lnTo>
                  <a:lnTo>
                    <a:pt x="2655494" y="200876"/>
                  </a:lnTo>
                  <a:lnTo>
                    <a:pt x="2655545" y="200876"/>
                  </a:lnTo>
                  <a:lnTo>
                    <a:pt x="2655545" y="202260"/>
                  </a:lnTo>
                  <a:lnTo>
                    <a:pt x="2655545" y="200876"/>
                  </a:lnTo>
                  <a:lnTo>
                    <a:pt x="2655647" y="200876"/>
                  </a:lnTo>
                  <a:lnTo>
                    <a:pt x="2655647" y="202260"/>
                  </a:lnTo>
                  <a:lnTo>
                    <a:pt x="2655697" y="202260"/>
                  </a:lnTo>
                  <a:lnTo>
                    <a:pt x="2655697" y="200876"/>
                  </a:lnTo>
                  <a:lnTo>
                    <a:pt x="2655697" y="202260"/>
                  </a:lnTo>
                  <a:lnTo>
                    <a:pt x="2655697" y="200876"/>
                  </a:lnTo>
                  <a:lnTo>
                    <a:pt x="2655748" y="202260"/>
                  </a:lnTo>
                  <a:lnTo>
                    <a:pt x="2655748" y="200876"/>
                  </a:lnTo>
                  <a:lnTo>
                    <a:pt x="2655748" y="202260"/>
                  </a:lnTo>
                  <a:lnTo>
                    <a:pt x="2655748" y="200876"/>
                  </a:lnTo>
                  <a:lnTo>
                    <a:pt x="2655850" y="200876"/>
                  </a:lnTo>
                  <a:lnTo>
                    <a:pt x="2655850" y="200228"/>
                  </a:lnTo>
                  <a:lnTo>
                    <a:pt x="2655888" y="200228"/>
                  </a:lnTo>
                  <a:lnTo>
                    <a:pt x="2655888" y="198831"/>
                  </a:lnTo>
                  <a:lnTo>
                    <a:pt x="2655939" y="198831"/>
                  </a:lnTo>
                  <a:lnTo>
                    <a:pt x="2655939" y="200228"/>
                  </a:lnTo>
                  <a:lnTo>
                    <a:pt x="2655939" y="198831"/>
                  </a:lnTo>
                  <a:lnTo>
                    <a:pt x="2655939" y="200228"/>
                  </a:lnTo>
                  <a:lnTo>
                    <a:pt x="2655990" y="200228"/>
                  </a:lnTo>
                  <a:lnTo>
                    <a:pt x="2655990" y="202260"/>
                  </a:lnTo>
                  <a:lnTo>
                    <a:pt x="2655990" y="200228"/>
                  </a:lnTo>
                  <a:lnTo>
                    <a:pt x="2655990" y="200876"/>
                  </a:lnTo>
                  <a:lnTo>
                    <a:pt x="2656091" y="202260"/>
                  </a:lnTo>
                  <a:lnTo>
                    <a:pt x="2656091" y="200876"/>
                  </a:lnTo>
                  <a:lnTo>
                    <a:pt x="2656142" y="200876"/>
                  </a:lnTo>
                  <a:lnTo>
                    <a:pt x="2656142" y="202260"/>
                  </a:lnTo>
                  <a:lnTo>
                    <a:pt x="2656142" y="200876"/>
                  </a:lnTo>
                  <a:lnTo>
                    <a:pt x="2656142" y="202959"/>
                  </a:lnTo>
                  <a:lnTo>
                    <a:pt x="2656193" y="202959"/>
                  </a:lnTo>
                  <a:lnTo>
                    <a:pt x="2656193" y="202260"/>
                  </a:lnTo>
                  <a:lnTo>
                    <a:pt x="2656193" y="202959"/>
                  </a:lnTo>
                  <a:lnTo>
                    <a:pt x="2656193" y="202260"/>
                  </a:lnTo>
                  <a:lnTo>
                    <a:pt x="2656294" y="202260"/>
                  </a:lnTo>
                  <a:lnTo>
                    <a:pt x="2656294" y="200876"/>
                  </a:lnTo>
                  <a:lnTo>
                    <a:pt x="2656294" y="202260"/>
                  </a:lnTo>
                  <a:lnTo>
                    <a:pt x="2656294" y="200876"/>
                  </a:lnTo>
                  <a:lnTo>
                    <a:pt x="2656345" y="200876"/>
                  </a:lnTo>
                  <a:lnTo>
                    <a:pt x="2656345" y="202260"/>
                  </a:lnTo>
                  <a:lnTo>
                    <a:pt x="2656345" y="200876"/>
                  </a:lnTo>
                  <a:lnTo>
                    <a:pt x="2656345" y="202260"/>
                  </a:lnTo>
                  <a:lnTo>
                    <a:pt x="2656345" y="199530"/>
                  </a:lnTo>
                  <a:lnTo>
                    <a:pt x="2656396" y="199530"/>
                  </a:lnTo>
                  <a:lnTo>
                    <a:pt x="2656396" y="197447"/>
                  </a:lnTo>
                  <a:lnTo>
                    <a:pt x="2656396" y="200228"/>
                  </a:lnTo>
                  <a:lnTo>
                    <a:pt x="2656434" y="199530"/>
                  </a:lnTo>
                  <a:lnTo>
                    <a:pt x="2656434" y="197447"/>
                  </a:lnTo>
                  <a:lnTo>
                    <a:pt x="2656434" y="202260"/>
                  </a:lnTo>
                  <a:lnTo>
                    <a:pt x="2656434" y="200876"/>
                  </a:lnTo>
                  <a:lnTo>
                    <a:pt x="2656536" y="200228"/>
                  </a:lnTo>
                  <a:lnTo>
                    <a:pt x="2656536" y="199530"/>
                  </a:lnTo>
                  <a:lnTo>
                    <a:pt x="2656536" y="202260"/>
                  </a:lnTo>
                  <a:lnTo>
                    <a:pt x="2656536" y="200876"/>
                  </a:lnTo>
                  <a:lnTo>
                    <a:pt x="2656587" y="200876"/>
                  </a:lnTo>
                  <a:lnTo>
                    <a:pt x="2656587" y="202260"/>
                  </a:lnTo>
                  <a:lnTo>
                    <a:pt x="2656587" y="200876"/>
                  </a:lnTo>
                  <a:lnTo>
                    <a:pt x="2656587" y="202260"/>
                  </a:lnTo>
                  <a:lnTo>
                    <a:pt x="2656637" y="202260"/>
                  </a:lnTo>
                  <a:lnTo>
                    <a:pt x="2656637" y="200876"/>
                  </a:lnTo>
                  <a:lnTo>
                    <a:pt x="2656637" y="202260"/>
                  </a:lnTo>
                  <a:lnTo>
                    <a:pt x="2656739" y="202959"/>
                  </a:lnTo>
                  <a:lnTo>
                    <a:pt x="2656739" y="202260"/>
                  </a:lnTo>
                  <a:lnTo>
                    <a:pt x="2656739" y="202959"/>
                  </a:lnTo>
                  <a:lnTo>
                    <a:pt x="2656739" y="202260"/>
                  </a:lnTo>
                  <a:lnTo>
                    <a:pt x="2656790" y="202260"/>
                  </a:lnTo>
                  <a:lnTo>
                    <a:pt x="2656790" y="200876"/>
                  </a:lnTo>
                  <a:lnTo>
                    <a:pt x="2656790" y="202260"/>
                  </a:lnTo>
                  <a:lnTo>
                    <a:pt x="2656790" y="200876"/>
                  </a:lnTo>
                  <a:lnTo>
                    <a:pt x="2656790" y="202260"/>
                  </a:lnTo>
                  <a:lnTo>
                    <a:pt x="2656790" y="200876"/>
                  </a:lnTo>
                  <a:lnTo>
                    <a:pt x="2656840" y="200876"/>
                  </a:lnTo>
                  <a:lnTo>
                    <a:pt x="2656840" y="200228"/>
                  </a:lnTo>
                  <a:lnTo>
                    <a:pt x="2656840" y="200876"/>
                  </a:lnTo>
                  <a:lnTo>
                    <a:pt x="2656840" y="199530"/>
                  </a:lnTo>
                  <a:lnTo>
                    <a:pt x="2656840" y="200228"/>
                  </a:lnTo>
                  <a:lnTo>
                    <a:pt x="2656840" y="198831"/>
                  </a:lnTo>
                  <a:lnTo>
                    <a:pt x="2656891" y="198831"/>
                  </a:lnTo>
                  <a:lnTo>
                    <a:pt x="2656891" y="197447"/>
                  </a:lnTo>
                  <a:lnTo>
                    <a:pt x="2656891" y="198831"/>
                  </a:lnTo>
                  <a:lnTo>
                    <a:pt x="2656891" y="197447"/>
                  </a:lnTo>
                  <a:lnTo>
                    <a:pt x="2656891" y="199530"/>
                  </a:lnTo>
                  <a:lnTo>
                    <a:pt x="2656891" y="198831"/>
                  </a:lnTo>
                  <a:lnTo>
                    <a:pt x="2656891" y="200228"/>
                  </a:lnTo>
                  <a:lnTo>
                    <a:pt x="2656980" y="199530"/>
                  </a:lnTo>
                  <a:lnTo>
                    <a:pt x="2656980" y="198831"/>
                  </a:lnTo>
                  <a:lnTo>
                    <a:pt x="2656980" y="202260"/>
                  </a:lnTo>
                  <a:lnTo>
                    <a:pt x="2656980" y="199530"/>
                  </a:lnTo>
                  <a:lnTo>
                    <a:pt x="2657031" y="200228"/>
                  </a:lnTo>
                  <a:lnTo>
                    <a:pt x="2657031" y="200876"/>
                  </a:lnTo>
                  <a:lnTo>
                    <a:pt x="2657031" y="200228"/>
                  </a:lnTo>
                  <a:lnTo>
                    <a:pt x="2657031" y="202260"/>
                  </a:lnTo>
                  <a:lnTo>
                    <a:pt x="2657031" y="200876"/>
                  </a:lnTo>
                  <a:lnTo>
                    <a:pt x="2657031" y="202260"/>
                  </a:lnTo>
                  <a:lnTo>
                    <a:pt x="2657031" y="200228"/>
                  </a:lnTo>
                  <a:lnTo>
                    <a:pt x="2657082" y="200228"/>
                  </a:lnTo>
                  <a:lnTo>
                    <a:pt x="2657082" y="202260"/>
                  </a:lnTo>
                  <a:lnTo>
                    <a:pt x="2657082" y="200876"/>
                  </a:lnTo>
                  <a:lnTo>
                    <a:pt x="2657082" y="202260"/>
                  </a:lnTo>
                  <a:lnTo>
                    <a:pt x="2657082" y="200876"/>
                  </a:lnTo>
                  <a:lnTo>
                    <a:pt x="2657133" y="200876"/>
                  </a:lnTo>
                  <a:lnTo>
                    <a:pt x="2657133" y="202959"/>
                  </a:lnTo>
                  <a:lnTo>
                    <a:pt x="2657133" y="202260"/>
                  </a:lnTo>
                  <a:lnTo>
                    <a:pt x="2657133" y="202959"/>
                  </a:lnTo>
                  <a:lnTo>
                    <a:pt x="2657133" y="202260"/>
                  </a:lnTo>
                  <a:lnTo>
                    <a:pt x="2657133" y="202959"/>
                  </a:lnTo>
                  <a:lnTo>
                    <a:pt x="2657234" y="202260"/>
                  </a:lnTo>
                  <a:lnTo>
                    <a:pt x="2657234" y="202959"/>
                  </a:lnTo>
                  <a:lnTo>
                    <a:pt x="2657234" y="202260"/>
                  </a:lnTo>
                  <a:lnTo>
                    <a:pt x="2657234" y="202959"/>
                  </a:lnTo>
                  <a:lnTo>
                    <a:pt x="2657234" y="202260"/>
                  </a:lnTo>
                  <a:lnTo>
                    <a:pt x="2657234" y="202959"/>
                  </a:lnTo>
                  <a:lnTo>
                    <a:pt x="2657285" y="202959"/>
                  </a:lnTo>
                  <a:lnTo>
                    <a:pt x="2657285" y="200876"/>
                  </a:lnTo>
                  <a:lnTo>
                    <a:pt x="2657285" y="202260"/>
                  </a:lnTo>
                  <a:lnTo>
                    <a:pt x="2657285" y="200228"/>
                  </a:lnTo>
                  <a:lnTo>
                    <a:pt x="2657336" y="200228"/>
                  </a:lnTo>
                  <a:lnTo>
                    <a:pt x="2657336" y="200876"/>
                  </a:lnTo>
                  <a:lnTo>
                    <a:pt x="2657336" y="198831"/>
                  </a:lnTo>
                  <a:lnTo>
                    <a:pt x="2657437" y="198831"/>
                  </a:lnTo>
                  <a:lnTo>
                    <a:pt x="2657437" y="200228"/>
                  </a:lnTo>
                  <a:lnTo>
                    <a:pt x="2657437" y="198831"/>
                  </a:lnTo>
                  <a:lnTo>
                    <a:pt x="2657437" y="199530"/>
                  </a:lnTo>
                  <a:lnTo>
                    <a:pt x="2657437" y="198831"/>
                  </a:lnTo>
                  <a:lnTo>
                    <a:pt x="2657437" y="200876"/>
                  </a:lnTo>
                  <a:lnTo>
                    <a:pt x="2657476" y="202260"/>
                  </a:lnTo>
                  <a:lnTo>
                    <a:pt x="2657476" y="200228"/>
                  </a:lnTo>
                  <a:lnTo>
                    <a:pt x="2657476" y="200876"/>
                  </a:lnTo>
                  <a:lnTo>
                    <a:pt x="2657526" y="200876"/>
                  </a:lnTo>
                  <a:lnTo>
                    <a:pt x="2657526" y="199530"/>
                  </a:lnTo>
                  <a:lnTo>
                    <a:pt x="2657526" y="200876"/>
                  </a:lnTo>
                  <a:lnTo>
                    <a:pt x="2657577" y="200876"/>
                  </a:lnTo>
                  <a:lnTo>
                    <a:pt x="2657577" y="200228"/>
                  </a:lnTo>
                  <a:lnTo>
                    <a:pt x="2657577" y="200876"/>
                  </a:lnTo>
                  <a:lnTo>
                    <a:pt x="2657577" y="200228"/>
                  </a:lnTo>
                  <a:lnTo>
                    <a:pt x="2657679" y="200228"/>
                  </a:lnTo>
                  <a:lnTo>
                    <a:pt x="2657679" y="202260"/>
                  </a:lnTo>
                  <a:lnTo>
                    <a:pt x="2657679" y="200876"/>
                  </a:lnTo>
                  <a:lnTo>
                    <a:pt x="2657679" y="202260"/>
                  </a:lnTo>
                  <a:lnTo>
                    <a:pt x="2657679" y="200876"/>
                  </a:lnTo>
                  <a:lnTo>
                    <a:pt x="2657679" y="202260"/>
                  </a:lnTo>
                  <a:lnTo>
                    <a:pt x="2657730" y="202260"/>
                  </a:lnTo>
                  <a:lnTo>
                    <a:pt x="2657730" y="200228"/>
                  </a:lnTo>
                  <a:lnTo>
                    <a:pt x="2657780" y="200228"/>
                  </a:lnTo>
                  <a:lnTo>
                    <a:pt x="2657780" y="199530"/>
                  </a:lnTo>
                  <a:lnTo>
                    <a:pt x="2657882" y="199530"/>
                  </a:lnTo>
                  <a:lnTo>
                    <a:pt x="2657882" y="198831"/>
                  </a:lnTo>
                  <a:lnTo>
                    <a:pt x="2657882" y="200228"/>
                  </a:lnTo>
                  <a:lnTo>
                    <a:pt x="2657933" y="199530"/>
                  </a:lnTo>
                  <a:lnTo>
                    <a:pt x="2657933" y="198831"/>
                  </a:lnTo>
                  <a:lnTo>
                    <a:pt x="2657933" y="202260"/>
                  </a:lnTo>
                  <a:lnTo>
                    <a:pt x="2657933" y="200876"/>
                  </a:lnTo>
                  <a:lnTo>
                    <a:pt x="2657983" y="200876"/>
                  </a:lnTo>
                  <a:lnTo>
                    <a:pt x="2657983" y="200228"/>
                  </a:lnTo>
                  <a:lnTo>
                    <a:pt x="2657983" y="202959"/>
                  </a:lnTo>
                  <a:lnTo>
                    <a:pt x="2657983" y="200228"/>
                  </a:lnTo>
                  <a:lnTo>
                    <a:pt x="2658022" y="200228"/>
                  </a:lnTo>
                  <a:lnTo>
                    <a:pt x="2658022" y="202260"/>
                  </a:lnTo>
                  <a:lnTo>
                    <a:pt x="2658022" y="200876"/>
                  </a:lnTo>
                  <a:lnTo>
                    <a:pt x="2658022" y="202260"/>
                  </a:lnTo>
                  <a:lnTo>
                    <a:pt x="2658022" y="200876"/>
                  </a:lnTo>
                  <a:lnTo>
                    <a:pt x="2658123" y="200876"/>
                  </a:lnTo>
                  <a:lnTo>
                    <a:pt x="2658123" y="202260"/>
                  </a:lnTo>
                  <a:lnTo>
                    <a:pt x="2658123" y="200876"/>
                  </a:lnTo>
                  <a:lnTo>
                    <a:pt x="2658123" y="202260"/>
                  </a:lnTo>
                  <a:lnTo>
                    <a:pt x="2658174" y="202260"/>
                  </a:lnTo>
                  <a:lnTo>
                    <a:pt x="2658174" y="200876"/>
                  </a:lnTo>
                  <a:lnTo>
                    <a:pt x="2658174" y="202260"/>
                  </a:lnTo>
                  <a:lnTo>
                    <a:pt x="2658174" y="200876"/>
                  </a:lnTo>
                  <a:lnTo>
                    <a:pt x="2658225" y="200876"/>
                  </a:lnTo>
                  <a:lnTo>
                    <a:pt x="2658225" y="202260"/>
                  </a:lnTo>
                  <a:lnTo>
                    <a:pt x="2658225" y="200876"/>
                  </a:lnTo>
                  <a:lnTo>
                    <a:pt x="2658326" y="200876"/>
                  </a:lnTo>
                  <a:lnTo>
                    <a:pt x="2658326" y="198831"/>
                  </a:lnTo>
                  <a:lnTo>
                    <a:pt x="2658377" y="198831"/>
                  </a:lnTo>
                  <a:lnTo>
                    <a:pt x="2658377" y="200228"/>
                  </a:lnTo>
                  <a:lnTo>
                    <a:pt x="2658377" y="198831"/>
                  </a:lnTo>
                  <a:lnTo>
                    <a:pt x="2658428" y="198831"/>
                  </a:lnTo>
                  <a:lnTo>
                    <a:pt x="2658428" y="202959"/>
                  </a:lnTo>
                  <a:lnTo>
                    <a:pt x="2658428" y="200228"/>
                  </a:lnTo>
                  <a:lnTo>
                    <a:pt x="2658428" y="200876"/>
                  </a:lnTo>
                  <a:lnTo>
                    <a:pt x="2658479" y="202260"/>
                  </a:lnTo>
                  <a:lnTo>
                    <a:pt x="2658479" y="202959"/>
                  </a:lnTo>
                  <a:lnTo>
                    <a:pt x="2658479" y="200228"/>
                  </a:lnTo>
                  <a:lnTo>
                    <a:pt x="2658479" y="202260"/>
                  </a:lnTo>
                  <a:lnTo>
                    <a:pt x="2658568" y="202260"/>
                  </a:lnTo>
                  <a:lnTo>
                    <a:pt x="2658568" y="200876"/>
                  </a:lnTo>
                  <a:lnTo>
                    <a:pt x="2658568" y="202260"/>
                  </a:lnTo>
                  <a:lnTo>
                    <a:pt x="2658619" y="202260"/>
                  </a:lnTo>
                  <a:lnTo>
                    <a:pt x="2658619" y="202959"/>
                  </a:lnTo>
                  <a:lnTo>
                    <a:pt x="2658619" y="202260"/>
                  </a:lnTo>
                  <a:lnTo>
                    <a:pt x="2658669" y="202959"/>
                  </a:lnTo>
                  <a:lnTo>
                    <a:pt x="2658669" y="200876"/>
                  </a:lnTo>
                  <a:lnTo>
                    <a:pt x="2658669" y="202260"/>
                  </a:lnTo>
                  <a:lnTo>
                    <a:pt x="2658669" y="200876"/>
                  </a:lnTo>
                  <a:lnTo>
                    <a:pt x="2658669" y="202260"/>
                  </a:lnTo>
                  <a:lnTo>
                    <a:pt x="2658720" y="200876"/>
                  </a:lnTo>
                  <a:lnTo>
                    <a:pt x="2658720" y="199530"/>
                  </a:lnTo>
                  <a:lnTo>
                    <a:pt x="2658720" y="200228"/>
                  </a:lnTo>
                  <a:lnTo>
                    <a:pt x="2658720" y="199530"/>
                  </a:lnTo>
                  <a:lnTo>
                    <a:pt x="2658822" y="199530"/>
                  </a:lnTo>
                  <a:lnTo>
                    <a:pt x="2658822" y="197447"/>
                  </a:lnTo>
                  <a:lnTo>
                    <a:pt x="2658822" y="199530"/>
                  </a:lnTo>
                  <a:lnTo>
                    <a:pt x="2658872" y="200228"/>
                  </a:lnTo>
                  <a:lnTo>
                    <a:pt x="2658872" y="198831"/>
                  </a:lnTo>
                  <a:lnTo>
                    <a:pt x="2658872" y="202260"/>
                  </a:lnTo>
                  <a:lnTo>
                    <a:pt x="2658923" y="202260"/>
                  </a:lnTo>
                  <a:lnTo>
                    <a:pt x="2658923" y="200228"/>
                  </a:lnTo>
                  <a:lnTo>
                    <a:pt x="2658923" y="202959"/>
                  </a:lnTo>
                  <a:lnTo>
                    <a:pt x="2659025" y="202959"/>
                  </a:lnTo>
                  <a:lnTo>
                    <a:pt x="2659025" y="200228"/>
                  </a:lnTo>
                  <a:lnTo>
                    <a:pt x="2659025" y="202260"/>
                  </a:lnTo>
                  <a:lnTo>
                    <a:pt x="2659025" y="200876"/>
                  </a:lnTo>
                  <a:lnTo>
                    <a:pt x="2659063" y="202260"/>
                  </a:lnTo>
                  <a:lnTo>
                    <a:pt x="2659063" y="200876"/>
                  </a:lnTo>
                  <a:lnTo>
                    <a:pt x="2659063" y="202260"/>
                  </a:lnTo>
                  <a:lnTo>
                    <a:pt x="2659063" y="200876"/>
                  </a:lnTo>
                  <a:lnTo>
                    <a:pt x="2659063" y="202260"/>
                  </a:lnTo>
                  <a:lnTo>
                    <a:pt x="2659063" y="200876"/>
                  </a:lnTo>
                  <a:lnTo>
                    <a:pt x="2659063" y="202260"/>
                  </a:lnTo>
                  <a:lnTo>
                    <a:pt x="2659114" y="202260"/>
                  </a:lnTo>
                  <a:lnTo>
                    <a:pt x="2659114" y="202959"/>
                  </a:lnTo>
                  <a:lnTo>
                    <a:pt x="2659114" y="202260"/>
                  </a:lnTo>
                  <a:lnTo>
                    <a:pt x="2659165" y="202260"/>
                  </a:lnTo>
                  <a:lnTo>
                    <a:pt x="2659165" y="200228"/>
                  </a:lnTo>
                  <a:lnTo>
                    <a:pt x="2659266" y="200228"/>
                  </a:lnTo>
                  <a:lnTo>
                    <a:pt x="2659266" y="200876"/>
                  </a:lnTo>
                  <a:lnTo>
                    <a:pt x="2659266" y="200228"/>
                  </a:lnTo>
                  <a:lnTo>
                    <a:pt x="2659266" y="200876"/>
                  </a:lnTo>
                  <a:lnTo>
                    <a:pt x="2659266" y="198831"/>
                  </a:lnTo>
                  <a:lnTo>
                    <a:pt x="2659317" y="198831"/>
                  </a:lnTo>
                  <a:lnTo>
                    <a:pt x="2659317" y="197447"/>
                  </a:lnTo>
                  <a:lnTo>
                    <a:pt x="2659317" y="199530"/>
                  </a:lnTo>
                  <a:lnTo>
                    <a:pt x="2659368" y="199530"/>
                  </a:lnTo>
                  <a:lnTo>
                    <a:pt x="2659368" y="197447"/>
                  </a:lnTo>
                  <a:lnTo>
                    <a:pt x="2659368" y="200876"/>
                  </a:lnTo>
                  <a:lnTo>
                    <a:pt x="2659368" y="200228"/>
                  </a:lnTo>
                  <a:lnTo>
                    <a:pt x="2659469" y="200228"/>
                  </a:lnTo>
                  <a:lnTo>
                    <a:pt x="2659469" y="198831"/>
                  </a:lnTo>
                  <a:lnTo>
                    <a:pt x="2659469" y="200876"/>
                  </a:lnTo>
                  <a:lnTo>
                    <a:pt x="2659469" y="200228"/>
                  </a:lnTo>
                  <a:lnTo>
                    <a:pt x="2659469" y="200876"/>
                  </a:lnTo>
                  <a:lnTo>
                    <a:pt x="2659469" y="200228"/>
                  </a:lnTo>
                  <a:lnTo>
                    <a:pt x="2659520" y="200228"/>
                  </a:lnTo>
                  <a:lnTo>
                    <a:pt x="2659520" y="199530"/>
                  </a:lnTo>
                  <a:lnTo>
                    <a:pt x="2659520" y="200228"/>
                  </a:lnTo>
                  <a:lnTo>
                    <a:pt x="2659520" y="199530"/>
                  </a:lnTo>
                  <a:lnTo>
                    <a:pt x="2659520" y="200876"/>
                  </a:lnTo>
                  <a:lnTo>
                    <a:pt x="2659520" y="200228"/>
                  </a:lnTo>
                  <a:lnTo>
                    <a:pt x="2659571" y="200228"/>
                  </a:lnTo>
                  <a:lnTo>
                    <a:pt x="2659571" y="200876"/>
                  </a:lnTo>
                  <a:lnTo>
                    <a:pt x="2659609" y="200876"/>
                  </a:lnTo>
                  <a:lnTo>
                    <a:pt x="2659609" y="202260"/>
                  </a:lnTo>
                  <a:lnTo>
                    <a:pt x="2659609" y="200876"/>
                  </a:lnTo>
                  <a:lnTo>
                    <a:pt x="2659609" y="202260"/>
                  </a:lnTo>
                  <a:lnTo>
                    <a:pt x="2659609" y="200876"/>
                  </a:lnTo>
                  <a:lnTo>
                    <a:pt x="2659711" y="200876"/>
                  </a:lnTo>
                  <a:lnTo>
                    <a:pt x="2659711" y="202260"/>
                  </a:lnTo>
                  <a:lnTo>
                    <a:pt x="2659711" y="200228"/>
                  </a:lnTo>
                  <a:lnTo>
                    <a:pt x="2659711" y="200876"/>
                  </a:lnTo>
                  <a:lnTo>
                    <a:pt x="2659711" y="200228"/>
                  </a:lnTo>
                  <a:lnTo>
                    <a:pt x="2659711" y="200876"/>
                  </a:lnTo>
                  <a:lnTo>
                    <a:pt x="2659711" y="200228"/>
                  </a:lnTo>
                  <a:lnTo>
                    <a:pt x="2659711" y="200876"/>
                  </a:lnTo>
                  <a:lnTo>
                    <a:pt x="2659762" y="200228"/>
                  </a:lnTo>
                  <a:lnTo>
                    <a:pt x="2659762" y="197447"/>
                  </a:lnTo>
                  <a:lnTo>
                    <a:pt x="2659812" y="197447"/>
                  </a:lnTo>
                  <a:lnTo>
                    <a:pt x="2659812" y="196799"/>
                  </a:lnTo>
                  <a:lnTo>
                    <a:pt x="2659812" y="197447"/>
                  </a:lnTo>
                  <a:lnTo>
                    <a:pt x="2659812" y="196113"/>
                  </a:lnTo>
                  <a:lnTo>
                    <a:pt x="2659812" y="196799"/>
                  </a:lnTo>
                  <a:lnTo>
                    <a:pt x="2659812" y="196113"/>
                  </a:lnTo>
                  <a:lnTo>
                    <a:pt x="2659812" y="197447"/>
                  </a:lnTo>
                  <a:lnTo>
                    <a:pt x="2659914" y="197447"/>
                  </a:lnTo>
                  <a:lnTo>
                    <a:pt x="2659914" y="196113"/>
                  </a:lnTo>
                  <a:lnTo>
                    <a:pt x="2659914" y="199530"/>
                  </a:lnTo>
                  <a:lnTo>
                    <a:pt x="2659914" y="198831"/>
                  </a:lnTo>
                  <a:lnTo>
                    <a:pt x="2659965" y="198831"/>
                  </a:lnTo>
                  <a:lnTo>
                    <a:pt x="2659965" y="197447"/>
                  </a:lnTo>
                  <a:lnTo>
                    <a:pt x="2659965" y="198831"/>
                  </a:lnTo>
                  <a:lnTo>
                    <a:pt x="2659965" y="197447"/>
                  </a:lnTo>
                  <a:lnTo>
                    <a:pt x="2659965" y="199530"/>
                  </a:lnTo>
                  <a:lnTo>
                    <a:pt x="2660015" y="198831"/>
                  </a:lnTo>
                  <a:lnTo>
                    <a:pt x="2660015" y="197447"/>
                  </a:lnTo>
                  <a:lnTo>
                    <a:pt x="2660015" y="199530"/>
                  </a:lnTo>
                  <a:lnTo>
                    <a:pt x="2660066" y="199530"/>
                  </a:lnTo>
                  <a:lnTo>
                    <a:pt x="2660066" y="200228"/>
                  </a:lnTo>
                  <a:lnTo>
                    <a:pt x="2660066" y="199530"/>
                  </a:lnTo>
                  <a:lnTo>
                    <a:pt x="2660066" y="200228"/>
                  </a:lnTo>
                  <a:lnTo>
                    <a:pt x="2660066" y="199530"/>
                  </a:lnTo>
                  <a:lnTo>
                    <a:pt x="2660066" y="200228"/>
                  </a:lnTo>
                  <a:lnTo>
                    <a:pt x="2660155" y="200228"/>
                  </a:lnTo>
                  <a:lnTo>
                    <a:pt x="2660155" y="200876"/>
                  </a:lnTo>
                  <a:lnTo>
                    <a:pt x="2660155" y="200228"/>
                  </a:lnTo>
                  <a:lnTo>
                    <a:pt x="2660155" y="200876"/>
                  </a:lnTo>
                  <a:lnTo>
                    <a:pt x="2660155" y="200228"/>
                  </a:lnTo>
                  <a:lnTo>
                    <a:pt x="2660155" y="200876"/>
                  </a:lnTo>
                  <a:lnTo>
                    <a:pt x="2660155" y="200228"/>
                  </a:lnTo>
                  <a:lnTo>
                    <a:pt x="2660155" y="200876"/>
                  </a:lnTo>
                  <a:lnTo>
                    <a:pt x="2660206" y="200876"/>
                  </a:lnTo>
                  <a:lnTo>
                    <a:pt x="2660206" y="200228"/>
                  </a:lnTo>
                  <a:lnTo>
                    <a:pt x="2660206" y="200876"/>
                  </a:lnTo>
                  <a:lnTo>
                    <a:pt x="2660206" y="200228"/>
                  </a:lnTo>
                  <a:lnTo>
                    <a:pt x="2660257" y="200228"/>
                  </a:lnTo>
                  <a:lnTo>
                    <a:pt x="2660257" y="199530"/>
                  </a:lnTo>
                  <a:lnTo>
                    <a:pt x="2660257" y="200228"/>
                  </a:lnTo>
                  <a:lnTo>
                    <a:pt x="2660257" y="199530"/>
                  </a:lnTo>
                  <a:lnTo>
                    <a:pt x="2660257" y="200228"/>
                  </a:lnTo>
                  <a:lnTo>
                    <a:pt x="2660257" y="197447"/>
                  </a:lnTo>
                  <a:lnTo>
                    <a:pt x="2660308" y="197447"/>
                  </a:lnTo>
                  <a:lnTo>
                    <a:pt x="2660308" y="196113"/>
                  </a:lnTo>
                  <a:lnTo>
                    <a:pt x="2660308" y="196799"/>
                  </a:lnTo>
                  <a:lnTo>
                    <a:pt x="2660409" y="196799"/>
                  </a:lnTo>
                  <a:lnTo>
                    <a:pt x="2660409" y="195415"/>
                  </a:lnTo>
                  <a:lnTo>
                    <a:pt x="2660409" y="197447"/>
                  </a:lnTo>
                  <a:lnTo>
                    <a:pt x="2660409" y="196799"/>
                  </a:lnTo>
                  <a:lnTo>
                    <a:pt x="2660460" y="196799"/>
                  </a:lnTo>
                  <a:lnTo>
                    <a:pt x="2660460" y="197447"/>
                  </a:lnTo>
                  <a:lnTo>
                    <a:pt x="2660460" y="196113"/>
                  </a:lnTo>
                  <a:lnTo>
                    <a:pt x="2660460" y="196799"/>
                  </a:lnTo>
                  <a:lnTo>
                    <a:pt x="2660511" y="196799"/>
                  </a:lnTo>
                  <a:lnTo>
                    <a:pt x="2660511" y="197447"/>
                  </a:lnTo>
                  <a:lnTo>
                    <a:pt x="2660511" y="196799"/>
                  </a:lnTo>
                  <a:lnTo>
                    <a:pt x="2660511" y="197447"/>
                  </a:lnTo>
                  <a:lnTo>
                    <a:pt x="2660612" y="197447"/>
                  </a:lnTo>
                  <a:lnTo>
                    <a:pt x="2660612" y="198831"/>
                  </a:lnTo>
                  <a:lnTo>
                    <a:pt x="2660612" y="197447"/>
                  </a:lnTo>
                  <a:lnTo>
                    <a:pt x="2660612" y="198831"/>
                  </a:lnTo>
                  <a:lnTo>
                    <a:pt x="2660612" y="197447"/>
                  </a:lnTo>
                  <a:lnTo>
                    <a:pt x="2660612" y="198831"/>
                  </a:lnTo>
                  <a:lnTo>
                    <a:pt x="2660651" y="198831"/>
                  </a:lnTo>
                  <a:lnTo>
                    <a:pt x="2660651" y="197447"/>
                  </a:lnTo>
                  <a:lnTo>
                    <a:pt x="2660651" y="199530"/>
                  </a:lnTo>
                  <a:lnTo>
                    <a:pt x="2660651" y="198831"/>
                  </a:lnTo>
                  <a:lnTo>
                    <a:pt x="2660651" y="199530"/>
                  </a:lnTo>
                  <a:lnTo>
                    <a:pt x="2660701" y="199530"/>
                  </a:lnTo>
                  <a:lnTo>
                    <a:pt x="2660701" y="200228"/>
                  </a:lnTo>
                  <a:lnTo>
                    <a:pt x="2660701" y="198831"/>
                  </a:lnTo>
                  <a:lnTo>
                    <a:pt x="2660752" y="198831"/>
                  </a:lnTo>
                  <a:lnTo>
                    <a:pt x="2660752" y="197447"/>
                  </a:lnTo>
                  <a:lnTo>
                    <a:pt x="2660752" y="198831"/>
                  </a:lnTo>
                  <a:lnTo>
                    <a:pt x="2660752" y="197447"/>
                  </a:lnTo>
                  <a:lnTo>
                    <a:pt x="2660854" y="197447"/>
                  </a:lnTo>
                  <a:lnTo>
                    <a:pt x="2660854" y="196799"/>
                  </a:lnTo>
                  <a:lnTo>
                    <a:pt x="2660854" y="197447"/>
                  </a:lnTo>
                  <a:lnTo>
                    <a:pt x="2660905" y="197447"/>
                  </a:lnTo>
                  <a:lnTo>
                    <a:pt x="2660905" y="196113"/>
                  </a:lnTo>
                  <a:lnTo>
                    <a:pt x="2660905" y="199530"/>
                  </a:lnTo>
                  <a:lnTo>
                    <a:pt x="2660905" y="198831"/>
                  </a:lnTo>
                  <a:lnTo>
                    <a:pt x="2660905" y="199530"/>
                  </a:lnTo>
                  <a:lnTo>
                    <a:pt x="2660955" y="198831"/>
                  </a:lnTo>
                  <a:lnTo>
                    <a:pt x="2660955" y="196113"/>
                  </a:lnTo>
                  <a:lnTo>
                    <a:pt x="2660955" y="198831"/>
                  </a:lnTo>
                  <a:lnTo>
                    <a:pt x="2661057" y="198831"/>
                  </a:lnTo>
                  <a:lnTo>
                    <a:pt x="2661057" y="196799"/>
                  </a:lnTo>
                  <a:lnTo>
                    <a:pt x="2661057" y="198831"/>
                  </a:lnTo>
                  <a:lnTo>
                    <a:pt x="2661108" y="198831"/>
                  </a:lnTo>
                  <a:lnTo>
                    <a:pt x="2661108" y="197447"/>
                  </a:lnTo>
                  <a:lnTo>
                    <a:pt x="2661108" y="199530"/>
                  </a:lnTo>
                  <a:lnTo>
                    <a:pt x="2661108" y="198831"/>
                  </a:lnTo>
                  <a:lnTo>
                    <a:pt x="2661108" y="199530"/>
                  </a:lnTo>
                  <a:lnTo>
                    <a:pt x="2661108" y="198831"/>
                  </a:lnTo>
                  <a:lnTo>
                    <a:pt x="2661158" y="198831"/>
                  </a:lnTo>
                  <a:lnTo>
                    <a:pt x="2661158" y="199530"/>
                  </a:lnTo>
                  <a:lnTo>
                    <a:pt x="2661158" y="198831"/>
                  </a:lnTo>
                  <a:lnTo>
                    <a:pt x="2661158" y="199530"/>
                  </a:lnTo>
                  <a:lnTo>
                    <a:pt x="2661197" y="199530"/>
                  </a:lnTo>
                  <a:lnTo>
                    <a:pt x="2661197" y="198831"/>
                  </a:lnTo>
                  <a:lnTo>
                    <a:pt x="2661197" y="199530"/>
                  </a:lnTo>
                  <a:lnTo>
                    <a:pt x="2661298" y="199530"/>
                  </a:lnTo>
                  <a:lnTo>
                    <a:pt x="2661298" y="198831"/>
                  </a:lnTo>
                  <a:lnTo>
                    <a:pt x="2661298" y="199530"/>
                  </a:lnTo>
                  <a:lnTo>
                    <a:pt x="2661298" y="198831"/>
                  </a:lnTo>
                  <a:lnTo>
                    <a:pt x="2661349" y="198831"/>
                  </a:lnTo>
                  <a:lnTo>
                    <a:pt x="2661349" y="200228"/>
                  </a:lnTo>
                  <a:lnTo>
                    <a:pt x="2661349" y="198831"/>
                  </a:lnTo>
                  <a:lnTo>
                    <a:pt x="2661400" y="198831"/>
                  </a:lnTo>
                  <a:lnTo>
                    <a:pt x="2661400" y="200876"/>
                  </a:lnTo>
                  <a:lnTo>
                    <a:pt x="2661400" y="199530"/>
                  </a:lnTo>
                  <a:lnTo>
                    <a:pt x="2661400" y="200228"/>
                  </a:lnTo>
                  <a:lnTo>
                    <a:pt x="2661400" y="199530"/>
                  </a:lnTo>
                  <a:lnTo>
                    <a:pt x="2661501" y="200228"/>
                  </a:lnTo>
                  <a:lnTo>
                    <a:pt x="2661501" y="200876"/>
                  </a:lnTo>
                  <a:lnTo>
                    <a:pt x="2661501" y="200228"/>
                  </a:lnTo>
                  <a:lnTo>
                    <a:pt x="2661603" y="200228"/>
                  </a:lnTo>
                  <a:lnTo>
                    <a:pt x="2661603" y="199530"/>
                  </a:lnTo>
                  <a:lnTo>
                    <a:pt x="2661603" y="200228"/>
                  </a:lnTo>
                  <a:lnTo>
                    <a:pt x="2661654" y="200228"/>
                  </a:lnTo>
                  <a:lnTo>
                    <a:pt x="2661654" y="199530"/>
                  </a:lnTo>
                  <a:lnTo>
                    <a:pt x="2661654" y="200228"/>
                  </a:lnTo>
                  <a:lnTo>
                    <a:pt x="2661654" y="198831"/>
                  </a:lnTo>
                  <a:lnTo>
                    <a:pt x="2661743" y="198831"/>
                  </a:lnTo>
                  <a:lnTo>
                    <a:pt x="2661743" y="199530"/>
                  </a:lnTo>
                  <a:lnTo>
                    <a:pt x="2661743" y="198831"/>
                  </a:lnTo>
                  <a:lnTo>
                    <a:pt x="2661743" y="199530"/>
                  </a:lnTo>
                  <a:lnTo>
                    <a:pt x="2661743" y="197447"/>
                  </a:lnTo>
                  <a:lnTo>
                    <a:pt x="2661794" y="197447"/>
                  </a:lnTo>
                  <a:lnTo>
                    <a:pt x="2661794" y="196799"/>
                  </a:lnTo>
                  <a:lnTo>
                    <a:pt x="2661844" y="196799"/>
                  </a:lnTo>
                  <a:lnTo>
                    <a:pt x="2661844" y="198831"/>
                  </a:lnTo>
                  <a:lnTo>
                    <a:pt x="2661844" y="196799"/>
                  </a:lnTo>
                  <a:lnTo>
                    <a:pt x="2661844" y="197447"/>
                  </a:lnTo>
                  <a:lnTo>
                    <a:pt x="2661895" y="197447"/>
                  </a:lnTo>
                  <a:lnTo>
                    <a:pt x="2661895" y="199530"/>
                  </a:lnTo>
                  <a:lnTo>
                    <a:pt x="2661895" y="198831"/>
                  </a:lnTo>
                  <a:lnTo>
                    <a:pt x="2661895" y="199530"/>
                  </a:lnTo>
                  <a:lnTo>
                    <a:pt x="2661895" y="198831"/>
                  </a:lnTo>
                  <a:lnTo>
                    <a:pt x="2661895" y="199530"/>
                  </a:lnTo>
                  <a:lnTo>
                    <a:pt x="2661997" y="199530"/>
                  </a:lnTo>
                  <a:lnTo>
                    <a:pt x="2661997" y="200228"/>
                  </a:lnTo>
                  <a:lnTo>
                    <a:pt x="2661997" y="199530"/>
                  </a:lnTo>
                  <a:lnTo>
                    <a:pt x="2661997" y="200228"/>
                  </a:lnTo>
                  <a:lnTo>
                    <a:pt x="2662047" y="200228"/>
                  </a:lnTo>
                  <a:lnTo>
                    <a:pt x="2662047" y="199530"/>
                  </a:lnTo>
                  <a:lnTo>
                    <a:pt x="2662047" y="200228"/>
                  </a:lnTo>
                  <a:lnTo>
                    <a:pt x="2662047" y="199530"/>
                  </a:lnTo>
                  <a:lnTo>
                    <a:pt x="2662047" y="200876"/>
                  </a:lnTo>
                  <a:lnTo>
                    <a:pt x="2662047" y="200228"/>
                  </a:lnTo>
                  <a:lnTo>
                    <a:pt x="2662098" y="200228"/>
                  </a:lnTo>
                  <a:lnTo>
                    <a:pt x="2662098" y="200876"/>
                  </a:lnTo>
                  <a:lnTo>
                    <a:pt x="2662098" y="200228"/>
                  </a:lnTo>
                  <a:lnTo>
                    <a:pt x="2662200" y="200228"/>
                  </a:lnTo>
                  <a:lnTo>
                    <a:pt x="2662200" y="199530"/>
                  </a:lnTo>
                  <a:lnTo>
                    <a:pt x="2662200" y="200228"/>
                  </a:lnTo>
                  <a:lnTo>
                    <a:pt x="2662200" y="199530"/>
                  </a:lnTo>
                  <a:lnTo>
                    <a:pt x="2662200" y="200228"/>
                  </a:lnTo>
                  <a:lnTo>
                    <a:pt x="2662200" y="199530"/>
                  </a:lnTo>
                  <a:lnTo>
                    <a:pt x="2662200" y="200228"/>
                  </a:lnTo>
                  <a:lnTo>
                    <a:pt x="2662238" y="200228"/>
                  </a:lnTo>
                  <a:lnTo>
                    <a:pt x="2662238" y="199530"/>
                  </a:lnTo>
                  <a:lnTo>
                    <a:pt x="2662238" y="200228"/>
                  </a:lnTo>
                  <a:lnTo>
                    <a:pt x="2662238" y="198831"/>
                  </a:lnTo>
                  <a:lnTo>
                    <a:pt x="2662289" y="198831"/>
                  </a:lnTo>
                  <a:lnTo>
                    <a:pt x="2662289" y="196799"/>
                  </a:lnTo>
                  <a:lnTo>
                    <a:pt x="2662289" y="197447"/>
                  </a:lnTo>
                  <a:lnTo>
                    <a:pt x="2662289" y="196113"/>
                  </a:lnTo>
                  <a:lnTo>
                    <a:pt x="2662340" y="196799"/>
                  </a:lnTo>
                  <a:lnTo>
                    <a:pt x="2662340" y="198831"/>
                  </a:lnTo>
                  <a:lnTo>
                    <a:pt x="2662340" y="196113"/>
                  </a:lnTo>
                  <a:lnTo>
                    <a:pt x="2662340" y="196799"/>
                  </a:lnTo>
                  <a:lnTo>
                    <a:pt x="2662441" y="197447"/>
                  </a:lnTo>
                  <a:lnTo>
                    <a:pt x="2662441" y="199530"/>
                  </a:lnTo>
                  <a:lnTo>
                    <a:pt x="2662441" y="198831"/>
                  </a:lnTo>
                  <a:lnTo>
                    <a:pt x="2662441" y="199530"/>
                  </a:lnTo>
                  <a:lnTo>
                    <a:pt x="2662441" y="196799"/>
                  </a:lnTo>
                  <a:lnTo>
                    <a:pt x="2662441" y="199530"/>
                  </a:lnTo>
                  <a:lnTo>
                    <a:pt x="2662492" y="199530"/>
                  </a:lnTo>
                  <a:lnTo>
                    <a:pt x="2662492" y="200228"/>
                  </a:lnTo>
                  <a:lnTo>
                    <a:pt x="2662492" y="198831"/>
                  </a:lnTo>
                  <a:lnTo>
                    <a:pt x="2662492" y="200228"/>
                  </a:lnTo>
                  <a:lnTo>
                    <a:pt x="2662543" y="200228"/>
                  </a:lnTo>
                  <a:lnTo>
                    <a:pt x="2662543" y="199530"/>
                  </a:lnTo>
                  <a:lnTo>
                    <a:pt x="2662543" y="200228"/>
                  </a:lnTo>
                  <a:lnTo>
                    <a:pt x="2662543" y="199530"/>
                  </a:lnTo>
                  <a:lnTo>
                    <a:pt x="2662543" y="200228"/>
                  </a:lnTo>
                  <a:lnTo>
                    <a:pt x="2662543" y="199530"/>
                  </a:lnTo>
                  <a:lnTo>
                    <a:pt x="2662543" y="200228"/>
                  </a:lnTo>
                  <a:lnTo>
                    <a:pt x="2662644" y="200228"/>
                  </a:lnTo>
                  <a:lnTo>
                    <a:pt x="2662644" y="199530"/>
                  </a:lnTo>
                  <a:lnTo>
                    <a:pt x="2662644" y="200228"/>
                  </a:lnTo>
                  <a:lnTo>
                    <a:pt x="2662746" y="200228"/>
                  </a:lnTo>
                  <a:lnTo>
                    <a:pt x="2662746" y="199530"/>
                  </a:lnTo>
                  <a:lnTo>
                    <a:pt x="2662746" y="200228"/>
                  </a:lnTo>
                  <a:lnTo>
                    <a:pt x="2662746" y="198831"/>
                  </a:lnTo>
                  <a:lnTo>
                    <a:pt x="2662784" y="198831"/>
                  </a:lnTo>
                  <a:lnTo>
                    <a:pt x="2662784" y="197447"/>
                  </a:lnTo>
                  <a:lnTo>
                    <a:pt x="2662784" y="198831"/>
                  </a:lnTo>
                  <a:lnTo>
                    <a:pt x="2662784" y="195415"/>
                  </a:lnTo>
                  <a:lnTo>
                    <a:pt x="2662784" y="196113"/>
                  </a:lnTo>
                  <a:lnTo>
                    <a:pt x="2662886" y="196113"/>
                  </a:lnTo>
                  <a:lnTo>
                    <a:pt x="2662886" y="198831"/>
                  </a:lnTo>
                  <a:lnTo>
                    <a:pt x="2662886" y="195415"/>
                  </a:lnTo>
                  <a:lnTo>
                    <a:pt x="2662886" y="199530"/>
                  </a:lnTo>
                  <a:lnTo>
                    <a:pt x="2662937" y="198831"/>
                  </a:lnTo>
                  <a:lnTo>
                    <a:pt x="2662937" y="196799"/>
                  </a:lnTo>
                  <a:lnTo>
                    <a:pt x="2662937" y="199530"/>
                  </a:lnTo>
                  <a:lnTo>
                    <a:pt x="2662987" y="199530"/>
                  </a:lnTo>
                  <a:lnTo>
                    <a:pt x="2662987" y="200228"/>
                  </a:lnTo>
                  <a:lnTo>
                    <a:pt x="2662987" y="197447"/>
                  </a:lnTo>
                  <a:lnTo>
                    <a:pt x="2662987" y="199530"/>
                  </a:lnTo>
                  <a:lnTo>
                    <a:pt x="2663089" y="199530"/>
                  </a:lnTo>
                  <a:lnTo>
                    <a:pt x="2663089" y="198831"/>
                  </a:lnTo>
                  <a:lnTo>
                    <a:pt x="2663089" y="199530"/>
                  </a:lnTo>
                  <a:lnTo>
                    <a:pt x="2663089" y="198831"/>
                  </a:lnTo>
                  <a:lnTo>
                    <a:pt x="2663089" y="200228"/>
                  </a:lnTo>
                  <a:lnTo>
                    <a:pt x="2663140" y="200228"/>
                  </a:lnTo>
                  <a:lnTo>
                    <a:pt x="2663140" y="199530"/>
                  </a:lnTo>
                  <a:lnTo>
                    <a:pt x="2663140" y="200228"/>
                  </a:lnTo>
                  <a:lnTo>
                    <a:pt x="2663140" y="199530"/>
                  </a:lnTo>
                  <a:lnTo>
                    <a:pt x="2663140" y="200228"/>
                  </a:lnTo>
                  <a:lnTo>
                    <a:pt x="2663140" y="199530"/>
                  </a:lnTo>
                  <a:lnTo>
                    <a:pt x="2663190" y="199530"/>
                  </a:lnTo>
                  <a:lnTo>
                    <a:pt x="2663190" y="200876"/>
                  </a:lnTo>
                  <a:lnTo>
                    <a:pt x="2663190" y="200228"/>
                  </a:lnTo>
                  <a:lnTo>
                    <a:pt x="2663190" y="200876"/>
                  </a:lnTo>
                  <a:lnTo>
                    <a:pt x="2663190" y="200228"/>
                  </a:lnTo>
                  <a:lnTo>
                    <a:pt x="2663190" y="200876"/>
                  </a:lnTo>
                  <a:lnTo>
                    <a:pt x="2663190" y="200228"/>
                  </a:lnTo>
                  <a:lnTo>
                    <a:pt x="2663241" y="200228"/>
                  </a:lnTo>
                  <a:lnTo>
                    <a:pt x="2663241" y="199530"/>
                  </a:lnTo>
                  <a:lnTo>
                    <a:pt x="2663241" y="200228"/>
                  </a:lnTo>
                  <a:lnTo>
                    <a:pt x="2663241" y="197447"/>
                  </a:lnTo>
                  <a:lnTo>
                    <a:pt x="2663330" y="197447"/>
                  </a:lnTo>
                  <a:lnTo>
                    <a:pt x="2663330" y="199530"/>
                  </a:lnTo>
                  <a:lnTo>
                    <a:pt x="2663330" y="198831"/>
                  </a:lnTo>
                  <a:lnTo>
                    <a:pt x="2663381" y="197447"/>
                  </a:lnTo>
                  <a:lnTo>
                    <a:pt x="2663381" y="196799"/>
                  </a:lnTo>
                  <a:lnTo>
                    <a:pt x="2663381" y="200228"/>
                  </a:lnTo>
                  <a:lnTo>
                    <a:pt x="2663381" y="198831"/>
                  </a:lnTo>
                  <a:lnTo>
                    <a:pt x="2663432" y="197447"/>
                  </a:lnTo>
                  <a:lnTo>
                    <a:pt x="2663432" y="198831"/>
                  </a:lnTo>
                  <a:lnTo>
                    <a:pt x="2663432" y="197447"/>
                  </a:lnTo>
                  <a:lnTo>
                    <a:pt x="2663432" y="200228"/>
                  </a:lnTo>
                  <a:lnTo>
                    <a:pt x="2663432" y="199530"/>
                  </a:lnTo>
                  <a:lnTo>
                    <a:pt x="2663483" y="199530"/>
                  </a:lnTo>
                  <a:lnTo>
                    <a:pt x="2663483" y="198831"/>
                  </a:lnTo>
                  <a:lnTo>
                    <a:pt x="2663483" y="199530"/>
                  </a:lnTo>
                  <a:lnTo>
                    <a:pt x="2663584" y="199530"/>
                  </a:lnTo>
                  <a:lnTo>
                    <a:pt x="2663584" y="198831"/>
                  </a:lnTo>
                  <a:lnTo>
                    <a:pt x="2663584" y="199530"/>
                  </a:lnTo>
                  <a:lnTo>
                    <a:pt x="2663584" y="198831"/>
                  </a:lnTo>
                  <a:lnTo>
                    <a:pt x="2663584" y="199530"/>
                  </a:lnTo>
                  <a:lnTo>
                    <a:pt x="2663584" y="198831"/>
                  </a:lnTo>
                  <a:lnTo>
                    <a:pt x="2663584" y="200228"/>
                  </a:lnTo>
                  <a:lnTo>
                    <a:pt x="2663584" y="199530"/>
                  </a:lnTo>
                  <a:lnTo>
                    <a:pt x="2663635" y="199530"/>
                  </a:lnTo>
                  <a:lnTo>
                    <a:pt x="2663635" y="200228"/>
                  </a:lnTo>
                  <a:lnTo>
                    <a:pt x="2663635" y="199530"/>
                  </a:lnTo>
                  <a:lnTo>
                    <a:pt x="2663635" y="200228"/>
                  </a:lnTo>
                  <a:lnTo>
                    <a:pt x="2663635" y="199530"/>
                  </a:lnTo>
                  <a:lnTo>
                    <a:pt x="2663635" y="200228"/>
                  </a:lnTo>
                  <a:lnTo>
                    <a:pt x="2663635" y="199530"/>
                  </a:lnTo>
                  <a:lnTo>
                    <a:pt x="2663635" y="200228"/>
                  </a:lnTo>
                  <a:lnTo>
                    <a:pt x="2663635" y="199530"/>
                  </a:lnTo>
                  <a:lnTo>
                    <a:pt x="2663635" y="200228"/>
                  </a:lnTo>
                  <a:lnTo>
                    <a:pt x="2663686" y="200228"/>
                  </a:lnTo>
                  <a:lnTo>
                    <a:pt x="2663686" y="199530"/>
                  </a:lnTo>
                  <a:lnTo>
                    <a:pt x="2663686" y="200228"/>
                  </a:lnTo>
                  <a:lnTo>
                    <a:pt x="2663686" y="199530"/>
                  </a:lnTo>
                  <a:lnTo>
                    <a:pt x="2663686" y="200228"/>
                  </a:lnTo>
                  <a:lnTo>
                    <a:pt x="2663686" y="199530"/>
                  </a:lnTo>
                  <a:lnTo>
                    <a:pt x="2663686" y="200228"/>
                  </a:lnTo>
                  <a:lnTo>
                    <a:pt x="2663686" y="199530"/>
                  </a:lnTo>
                  <a:lnTo>
                    <a:pt x="2663787" y="199530"/>
                  </a:lnTo>
                  <a:lnTo>
                    <a:pt x="2663787" y="197447"/>
                  </a:lnTo>
                  <a:lnTo>
                    <a:pt x="2663787" y="198831"/>
                  </a:lnTo>
                  <a:lnTo>
                    <a:pt x="2663826" y="198831"/>
                  </a:lnTo>
                  <a:lnTo>
                    <a:pt x="2663826" y="197447"/>
                  </a:lnTo>
                  <a:lnTo>
                    <a:pt x="2663826" y="199530"/>
                  </a:lnTo>
                  <a:lnTo>
                    <a:pt x="2663876" y="200228"/>
                  </a:lnTo>
                  <a:lnTo>
                    <a:pt x="2663876" y="200876"/>
                  </a:lnTo>
                  <a:lnTo>
                    <a:pt x="2663876" y="200228"/>
                  </a:lnTo>
                  <a:lnTo>
                    <a:pt x="2663876" y="202260"/>
                  </a:lnTo>
                  <a:lnTo>
                    <a:pt x="2663876" y="200876"/>
                  </a:lnTo>
                  <a:lnTo>
                    <a:pt x="2663927" y="200876"/>
                  </a:lnTo>
                  <a:lnTo>
                    <a:pt x="2663927" y="202260"/>
                  </a:lnTo>
                  <a:lnTo>
                    <a:pt x="2663927" y="200228"/>
                  </a:lnTo>
                  <a:lnTo>
                    <a:pt x="2663927" y="202260"/>
                  </a:lnTo>
                  <a:lnTo>
                    <a:pt x="2663927" y="200876"/>
                  </a:lnTo>
                  <a:lnTo>
                    <a:pt x="2664029" y="202260"/>
                  </a:lnTo>
                  <a:lnTo>
                    <a:pt x="2664029" y="200876"/>
                  </a:lnTo>
                  <a:lnTo>
                    <a:pt x="2664029" y="202260"/>
                  </a:lnTo>
                  <a:lnTo>
                    <a:pt x="2664029" y="200228"/>
                  </a:lnTo>
                  <a:lnTo>
                    <a:pt x="2664029" y="200876"/>
                  </a:lnTo>
                  <a:lnTo>
                    <a:pt x="2664080" y="200876"/>
                  </a:lnTo>
                  <a:lnTo>
                    <a:pt x="2664080" y="200228"/>
                  </a:lnTo>
                  <a:lnTo>
                    <a:pt x="2664080" y="200876"/>
                  </a:lnTo>
                  <a:lnTo>
                    <a:pt x="2664080" y="200228"/>
                  </a:lnTo>
                  <a:lnTo>
                    <a:pt x="2664080" y="200876"/>
                  </a:lnTo>
                  <a:lnTo>
                    <a:pt x="2664130" y="200228"/>
                  </a:lnTo>
                  <a:lnTo>
                    <a:pt x="2664130" y="200876"/>
                  </a:lnTo>
                  <a:lnTo>
                    <a:pt x="2664130" y="200228"/>
                  </a:lnTo>
                  <a:lnTo>
                    <a:pt x="2664130" y="200876"/>
                  </a:lnTo>
                  <a:lnTo>
                    <a:pt x="2664130" y="199530"/>
                  </a:lnTo>
                  <a:lnTo>
                    <a:pt x="2664232" y="199530"/>
                  </a:lnTo>
                  <a:lnTo>
                    <a:pt x="2664232" y="200228"/>
                  </a:lnTo>
                  <a:lnTo>
                    <a:pt x="2664232" y="199530"/>
                  </a:lnTo>
                  <a:lnTo>
                    <a:pt x="2664283" y="198831"/>
                  </a:lnTo>
                  <a:lnTo>
                    <a:pt x="2664283" y="196799"/>
                  </a:lnTo>
                  <a:lnTo>
                    <a:pt x="2664283" y="197447"/>
                  </a:lnTo>
                  <a:lnTo>
                    <a:pt x="2664283" y="196113"/>
                  </a:lnTo>
                  <a:lnTo>
                    <a:pt x="2664333" y="196799"/>
                  </a:lnTo>
                  <a:lnTo>
                    <a:pt x="2664333" y="197447"/>
                  </a:lnTo>
                  <a:lnTo>
                    <a:pt x="2664333" y="196799"/>
                  </a:lnTo>
                  <a:lnTo>
                    <a:pt x="2664333" y="197447"/>
                  </a:lnTo>
                  <a:lnTo>
                    <a:pt x="2664372" y="197447"/>
                  </a:lnTo>
                  <a:lnTo>
                    <a:pt x="2664372" y="199530"/>
                  </a:lnTo>
                  <a:lnTo>
                    <a:pt x="2664372" y="197447"/>
                  </a:lnTo>
                  <a:lnTo>
                    <a:pt x="2664372" y="199530"/>
                  </a:lnTo>
                  <a:lnTo>
                    <a:pt x="2664473" y="199530"/>
                  </a:lnTo>
                  <a:lnTo>
                    <a:pt x="2664473" y="200228"/>
                  </a:lnTo>
                  <a:lnTo>
                    <a:pt x="2664524" y="200228"/>
                  </a:lnTo>
                  <a:lnTo>
                    <a:pt x="2664524" y="200876"/>
                  </a:lnTo>
                  <a:lnTo>
                    <a:pt x="2664524" y="199530"/>
                  </a:lnTo>
                  <a:lnTo>
                    <a:pt x="2664524" y="200228"/>
                  </a:lnTo>
                  <a:lnTo>
                    <a:pt x="2664575" y="200228"/>
                  </a:lnTo>
                  <a:lnTo>
                    <a:pt x="2664575" y="200876"/>
                  </a:lnTo>
                  <a:lnTo>
                    <a:pt x="2664575" y="200228"/>
                  </a:lnTo>
                  <a:lnTo>
                    <a:pt x="2664575" y="200876"/>
                  </a:lnTo>
                  <a:lnTo>
                    <a:pt x="2664676" y="200876"/>
                  </a:lnTo>
                  <a:lnTo>
                    <a:pt x="2664676" y="200228"/>
                  </a:lnTo>
                  <a:lnTo>
                    <a:pt x="2664727" y="200228"/>
                  </a:lnTo>
                  <a:lnTo>
                    <a:pt x="2664727" y="198831"/>
                  </a:lnTo>
                  <a:lnTo>
                    <a:pt x="2664727" y="199530"/>
                  </a:lnTo>
                  <a:lnTo>
                    <a:pt x="2664727" y="198831"/>
                  </a:lnTo>
                  <a:lnTo>
                    <a:pt x="2664727" y="199530"/>
                  </a:lnTo>
                  <a:lnTo>
                    <a:pt x="2664727" y="198831"/>
                  </a:lnTo>
                  <a:lnTo>
                    <a:pt x="2664778" y="198831"/>
                  </a:lnTo>
                  <a:lnTo>
                    <a:pt x="2664778" y="194716"/>
                  </a:lnTo>
                  <a:lnTo>
                    <a:pt x="2664829" y="194716"/>
                  </a:lnTo>
                  <a:lnTo>
                    <a:pt x="2664829" y="196799"/>
                  </a:lnTo>
                  <a:lnTo>
                    <a:pt x="2664829" y="195415"/>
                  </a:lnTo>
                  <a:lnTo>
                    <a:pt x="2664829" y="196113"/>
                  </a:lnTo>
                  <a:lnTo>
                    <a:pt x="2664829" y="195415"/>
                  </a:lnTo>
                  <a:lnTo>
                    <a:pt x="2664829" y="196113"/>
                  </a:lnTo>
                  <a:lnTo>
                    <a:pt x="2664918" y="196113"/>
                  </a:lnTo>
                  <a:lnTo>
                    <a:pt x="2664918" y="198831"/>
                  </a:lnTo>
                  <a:lnTo>
                    <a:pt x="2664918" y="197447"/>
                  </a:lnTo>
                  <a:lnTo>
                    <a:pt x="2664918" y="198831"/>
                  </a:lnTo>
                  <a:lnTo>
                    <a:pt x="2664918" y="197447"/>
                  </a:lnTo>
                  <a:lnTo>
                    <a:pt x="2664918" y="198831"/>
                  </a:lnTo>
                  <a:lnTo>
                    <a:pt x="2664918" y="197447"/>
                  </a:lnTo>
                  <a:lnTo>
                    <a:pt x="2664969" y="197447"/>
                  </a:lnTo>
                  <a:lnTo>
                    <a:pt x="2664969" y="198831"/>
                  </a:lnTo>
                  <a:lnTo>
                    <a:pt x="2664969" y="197447"/>
                  </a:lnTo>
                  <a:lnTo>
                    <a:pt x="2664969" y="198831"/>
                  </a:lnTo>
                  <a:lnTo>
                    <a:pt x="2664969" y="197447"/>
                  </a:lnTo>
                  <a:lnTo>
                    <a:pt x="2664969" y="199530"/>
                  </a:lnTo>
                  <a:lnTo>
                    <a:pt x="2664969" y="198831"/>
                  </a:lnTo>
                  <a:lnTo>
                    <a:pt x="2665019" y="198831"/>
                  </a:lnTo>
                  <a:lnTo>
                    <a:pt x="2665019" y="199530"/>
                  </a:lnTo>
                  <a:lnTo>
                    <a:pt x="2665019" y="198831"/>
                  </a:lnTo>
                  <a:lnTo>
                    <a:pt x="2665019" y="199530"/>
                  </a:lnTo>
                  <a:lnTo>
                    <a:pt x="2665070" y="199530"/>
                  </a:lnTo>
                  <a:lnTo>
                    <a:pt x="2665070" y="200228"/>
                  </a:lnTo>
                  <a:lnTo>
                    <a:pt x="2665172" y="200228"/>
                  </a:lnTo>
                  <a:lnTo>
                    <a:pt x="2665172" y="200876"/>
                  </a:lnTo>
                  <a:lnTo>
                    <a:pt x="2665172" y="200228"/>
                  </a:lnTo>
                  <a:lnTo>
                    <a:pt x="2665172" y="200876"/>
                  </a:lnTo>
                  <a:lnTo>
                    <a:pt x="2665172" y="200228"/>
                  </a:lnTo>
                  <a:lnTo>
                    <a:pt x="2665172" y="200876"/>
                  </a:lnTo>
                  <a:lnTo>
                    <a:pt x="2665172" y="200228"/>
                  </a:lnTo>
                  <a:lnTo>
                    <a:pt x="2665172" y="200876"/>
                  </a:lnTo>
                  <a:lnTo>
                    <a:pt x="2665172" y="200228"/>
                  </a:lnTo>
                  <a:lnTo>
                    <a:pt x="2665222" y="200228"/>
                  </a:lnTo>
                  <a:lnTo>
                    <a:pt x="2665222" y="199530"/>
                  </a:lnTo>
                  <a:lnTo>
                    <a:pt x="2665222" y="200228"/>
                  </a:lnTo>
                  <a:lnTo>
                    <a:pt x="2665222" y="199530"/>
                  </a:lnTo>
                  <a:lnTo>
                    <a:pt x="2665273" y="199530"/>
                  </a:lnTo>
                  <a:lnTo>
                    <a:pt x="2665273" y="196799"/>
                  </a:lnTo>
                  <a:lnTo>
                    <a:pt x="2665273" y="197447"/>
                  </a:lnTo>
                  <a:lnTo>
                    <a:pt x="2665375" y="198831"/>
                  </a:lnTo>
                  <a:lnTo>
                    <a:pt x="2665375" y="196799"/>
                  </a:lnTo>
                  <a:lnTo>
                    <a:pt x="2665375" y="197447"/>
                  </a:lnTo>
                  <a:lnTo>
                    <a:pt x="2665375" y="196799"/>
                  </a:lnTo>
                  <a:lnTo>
                    <a:pt x="2665375" y="199530"/>
                  </a:lnTo>
                  <a:lnTo>
                    <a:pt x="2665413" y="199530"/>
                  </a:lnTo>
                  <a:lnTo>
                    <a:pt x="2665413" y="198831"/>
                  </a:lnTo>
                  <a:lnTo>
                    <a:pt x="2665413" y="199530"/>
                  </a:lnTo>
                  <a:lnTo>
                    <a:pt x="2665464" y="199530"/>
                  </a:lnTo>
                  <a:lnTo>
                    <a:pt x="2665464" y="198831"/>
                  </a:lnTo>
                  <a:lnTo>
                    <a:pt x="2665464" y="199530"/>
                  </a:lnTo>
                  <a:lnTo>
                    <a:pt x="2665464" y="198831"/>
                  </a:lnTo>
                  <a:lnTo>
                    <a:pt x="2665464" y="199530"/>
                  </a:lnTo>
                  <a:lnTo>
                    <a:pt x="2665464" y="198831"/>
                  </a:lnTo>
                  <a:lnTo>
                    <a:pt x="2665464" y="199530"/>
                  </a:lnTo>
                  <a:lnTo>
                    <a:pt x="2665515" y="199530"/>
                  </a:lnTo>
                  <a:lnTo>
                    <a:pt x="2665515" y="198831"/>
                  </a:lnTo>
                  <a:lnTo>
                    <a:pt x="2665515" y="199530"/>
                  </a:lnTo>
                  <a:lnTo>
                    <a:pt x="2665515" y="198831"/>
                  </a:lnTo>
                  <a:lnTo>
                    <a:pt x="2665515" y="199530"/>
                  </a:lnTo>
                  <a:lnTo>
                    <a:pt x="2665515" y="198831"/>
                  </a:lnTo>
                  <a:lnTo>
                    <a:pt x="2665515" y="199530"/>
                  </a:lnTo>
                  <a:lnTo>
                    <a:pt x="2665515" y="198831"/>
                  </a:lnTo>
                  <a:lnTo>
                    <a:pt x="2665515" y="199530"/>
                  </a:lnTo>
                  <a:lnTo>
                    <a:pt x="2665515" y="198831"/>
                  </a:lnTo>
                  <a:lnTo>
                    <a:pt x="2665515" y="199530"/>
                  </a:lnTo>
                  <a:lnTo>
                    <a:pt x="2665616" y="199530"/>
                  </a:lnTo>
                  <a:lnTo>
                    <a:pt x="2665616" y="200228"/>
                  </a:lnTo>
                  <a:lnTo>
                    <a:pt x="2665616" y="199530"/>
                  </a:lnTo>
                  <a:lnTo>
                    <a:pt x="2665616" y="200876"/>
                  </a:lnTo>
                  <a:lnTo>
                    <a:pt x="2665616" y="200228"/>
                  </a:lnTo>
                  <a:lnTo>
                    <a:pt x="2665667" y="200228"/>
                  </a:lnTo>
                  <a:lnTo>
                    <a:pt x="2665667" y="200876"/>
                  </a:lnTo>
                  <a:lnTo>
                    <a:pt x="2665667" y="199530"/>
                  </a:lnTo>
                  <a:lnTo>
                    <a:pt x="2665667" y="200228"/>
                  </a:lnTo>
                  <a:lnTo>
                    <a:pt x="2665718" y="200228"/>
                  </a:lnTo>
                  <a:lnTo>
                    <a:pt x="2665718" y="198831"/>
                  </a:lnTo>
                  <a:lnTo>
                    <a:pt x="2665819" y="198831"/>
                  </a:lnTo>
                  <a:lnTo>
                    <a:pt x="2665819" y="196113"/>
                  </a:lnTo>
                  <a:lnTo>
                    <a:pt x="2665819" y="197447"/>
                  </a:lnTo>
                  <a:lnTo>
                    <a:pt x="2665819" y="196113"/>
                  </a:lnTo>
                  <a:lnTo>
                    <a:pt x="2665819" y="196799"/>
                  </a:lnTo>
                  <a:lnTo>
                    <a:pt x="2665870" y="196799"/>
                  </a:lnTo>
                  <a:lnTo>
                    <a:pt x="2665870" y="196113"/>
                  </a:lnTo>
                  <a:lnTo>
                    <a:pt x="2665870" y="197447"/>
                  </a:lnTo>
                  <a:lnTo>
                    <a:pt x="2665921" y="198831"/>
                  </a:lnTo>
                  <a:lnTo>
                    <a:pt x="2665921" y="197447"/>
                  </a:lnTo>
                  <a:lnTo>
                    <a:pt x="2665921" y="198831"/>
                  </a:lnTo>
                  <a:lnTo>
                    <a:pt x="2665921" y="197447"/>
                  </a:lnTo>
                  <a:lnTo>
                    <a:pt x="2665921" y="198831"/>
                  </a:lnTo>
                  <a:lnTo>
                    <a:pt x="2665959" y="198831"/>
                  </a:lnTo>
                  <a:lnTo>
                    <a:pt x="2665959" y="197447"/>
                  </a:lnTo>
                  <a:lnTo>
                    <a:pt x="2665959" y="198831"/>
                  </a:lnTo>
                  <a:lnTo>
                    <a:pt x="2665959" y="197447"/>
                  </a:lnTo>
                  <a:lnTo>
                    <a:pt x="2665959" y="198831"/>
                  </a:lnTo>
                  <a:lnTo>
                    <a:pt x="2665959" y="197447"/>
                  </a:lnTo>
                  <a:lnTo>
                    <a:pt x="2665959" y="198831"/>
                  </a:lnTo>
                  <a:lnTo>
                    <a:pt x="2666061" y="198831"/>
                  </a:lnTo>
                  <a:lnTo>
                    <a:pt x="2666061" y="197447"/>
                  </a:lnTo>
                  <a:lnTo>
                    <a:pt x="2666061" y="199530"/>
                  </a:lnTo>
                  <a:lnTo>
                    <a:pt x="2666061" y="198831"/>
                  </a:lnTo>
                  <a:lnTo>
                    <a:pt x="2666061" y="199530"/>
                  </a:lnTo>
                  <a:lnTo>
                    <a:pt x="2666112" y="199530"/>
                  </a:lnTo>
                  <a:lnTo>
                    <a:pt x="2666112" y="200228"/>
                  </a:lnTo>
                  <a:lnTo>
                    <a:pt x="2666162" y="199530"/>
                  </a:lnTo>
                  <a:lnTo>
                    <a:pt x="2666162" y="200228"/>
                  </a:lnTo>
                  <a:lnTo>
                    <a:pt x="2666162" y="199530"/>
                  </a:lnTo>
                  <a:lnTo>
                    <a:pt x="2666162" y="200228"/>
                  </a:lnTo>
                  <a:lnTo>
                    <a:pt x="2666162" y="199530"/>
                  </a:lnTo>
                  <a:lnTo>
                    <a:pt x="2666264" y="199530"/>
                  </a:lnTo>
                  <a:lnTo>
                    <a:pt x="2666264" y="198831"/>
                  </a:lnTo>
                  <a:lnTo>
                    <a:pt x="2666315" y="198831"/>
                  </a:lnTo>
                  <a:lnTo>
                    <a:pt x="2666315" y="196113"/>
                  </a:lnTo>
                  <a:lnTo>
                    <a:pt x="2666365" y="196113"/>
                  </a:lnTo>
                  <a:lnTo>
                    <a:pt x="2666365" y="196799"/>
                  </a:lnTo>
                  <a:lnTo>
                    <a:pt x="2666365" y="195415"/>
                  </a:lnTo>
                  <a:lnTo>
                    <a:pt x="2666365" y="196113"/>
                  </a:lnTo>
                  <a:lnTo>
                    <a:pt x="2666416" y="196799"/>
                  </a:lnTo>
                  <a:lnTo>
                    <a:pt x="2666416" y="198831"/>
                  </a:lnTo>
                  <a:lnTo>
                    <a:pt x="2666416" y="196113"/>
                  </a:lnTo>
                  <a:lnTo>
                    <a:pt x="2666416" y="197447"/>
                  </a:lnTo>
                  <a:lnTo>
                    <a:pt x="2666505" y="197447"/>
                  </a:lnTo>
                  <a:lnTo>
                    <a:pt x="2666505" y="196799"/>
                  </a:lnTo>
                  <a:lnTo>
                    <a:pt x="2666505" y="197447"/>
                  </a:lnTo>
                  <a:lnTo>
                    <a:pt x="2666556" y="197447"/>
                  </a:lnTo>
                  <a:lnTo>
                    <a:pt x="2666556" y="196799"/>
                  </a:lnTo>
                  <a:lnTo>
                    <a:pt x="2666556" y="198831"/>
                  </a:lnTo>
                  <a:lnTo>
                    <a:pt x="2666607" y="198831"/>
                  </a:lnTo>
                  <a:lnTo>
                    <a:pt x="2666607" y="199530"/>
                  </a:lnTo>
                  <a:lnTo>
                    <a:pt x="2666607" y="198831"/>
                  </a:lnTo>
                  <a:lnTo>
                    <a:pt x="2666607" y="199530"/>
                  </a:lnTo>
                  <a:lnTo>
                    <a:pt x="2666658" y="199530"/>
                  </a:lnTo>
                  <a:lnTo>
                    <a:pt x="2666658" y="200228"/>
                  </a:lnTo>
                  <a:lnTo>
                    <a:pt x="2666658" y="199530"/>
                  </a:lnTo>
                  <a:lnTo>
                    <a:pt x="2666658" y="200228"/>
                  </a:lnTo>
                  <a:lnTo>
                    <a:pt x="2666658" y="198831"/>
                  </a:lnTo>
                  <a:lnTo>
                    <a:pt x="2666759" y="198831"/>
                  </a:lnTo>
                  <a:lnTo>
                    <a:pt x="2666759" y="199530"/>
                  </a:lnTo>
                  <a:lnTo>
                    <a:pt x="2666759" y="198831"/>
                  </a:lnTo>
                  <a:lnTo>
                    <a:pt x="2666759" y="199530"/>
                  </a:lnTo>
                  <a:lnTo>
                    <a:pt x="2666759" y="197447"/>
                  </a:lnTo>
                  <a:lnTo>
                    <a:pt x="2666759" y="198831"/>
                  </a:lnTo>
                  <a:lnTo>
                    <a:pt x="2666810" y="197447"/>
                  </a:lnTo>
                  <a:lnTo>
                    <a:pt x="2666810" y="196799"/>
                  </a:lnTo>
                  <a:lnTo>
                    <a:pt x="2666810" y="198831"/>
                  </a:lnTo>
                  <a:lnTo>
                    <a:pt x="2666810" y="197447"/>
                  </a:lnTo>
                  <a:lnTo>
                    <a:pt x="2666810" y="198831"/>
                  </a:lnTo>
                  <a:lnTo>
                    <a:pt x="2666861" y="197447"/>
                  </a:lnTo>
                  <a:lnTo>
                    <a:pt x="2666861" y="199530"/>
                  </a:lnTo>
                  <a:lnTo>
                    <a:pt x="2666962" y="199530"/>
                  </a:lnTo>
                  <a:lnTo>
                    <a:pt x="2666962" y="198831"/>
                  </a:lnTo>
                  <a:lnTo>
                    <a:pt x="2666962" y="199530"/>
                  </a:lnTo>
                  <a:lnTo>
                    <a:pt x="2666962" y="198831"/>
                  </a:lnTo>
                  <a:lnTo>
                    <a:pt x="2666962" y="199530"/>
                  </a:lnTo>
                  <a:lnTo>
                    <a:pt x="2667001" y="199530"/>
                  </a:lnTo>
                  <a:lnTo>
                    <a:pt x="2667001" y="198831"/>
                  </a:lnTo>
                  <a:lnTo>
                    <a:pt x="2667001" y="199530"/>
                  </a:lnTo>
                  <a:lnTo>
                    <a:pt x="2667001" y="198831"/>
                  </a:lnTo>
                  <a:lnTo>
                    <a:pt x="2667001" y="199530"/>
                  </a:lnTo>
                  <a:lnTo>
                    <a:pt x="2667051" y="199530"/>
                  </a:lnTo>
                  <a:lnTo>
                    <a:pt x="2667051" y="200228"/>
                  </a:lnTo>
                  <a:lnTo>
                    <a:pt x="2667051" y="199530"/>
                  </a:lnTo>
                  <a:lnTo>
                    <a:pt x="2667051" y="200228"/>
                  </a:lnTo>
                  <a:lnTo>
                    <a:pt x="2667102" y="200228"/>
                  </a:lnTo>
                  <a:lnTo>
                    <a:pt x="2667102" y="199530"/>
                  </a:lnTo>
                  <a:lnTo>
                    <a:pt x="2667102" y="200228"/>
                  </a:lnTo>
                  <a:lnTo>
                    <a:pt x="2667102" y="199530"/>
                  </a:lnTo>
                  <a:lnTo>
                    <a:pt x="2667204" y="199530"/>
                  </a:lnTo>
                  <a:lnTo>
                    <a:pt x="2667204" y="200228"/>
                  </a:lnTo>
                  <a:lnTo>
                    <a:pt x="2667204" y="199530"/>
                  </a:lnTo>
                  <a:lnTo>
                    <a:pt x="2667204" y="200228"/>
                  </a:lnTo>
                  <a:lnTo>
                    <a:pt x="2667204" y="199530"/>
                  </a:lnTo>
                  <a:lnTo>
                    <a:pt x="2667204" y="200228"/>
                  </a:lnTo>
                  <a:lnTo>
                    <a:pt x="2667204" y="199530"/>
                  </a:lnTo>
                  <a:lnTo>
                    <a:pt x="2667255" y="199530"/>
                  </a:lnTo>
                  <a:lnTo>
                    <a:pt x="2667255" y="200228"/>
                  </a:lnTo>
                  <a:lnTo>
                    <a:pt x="2667255" y="197447"/>
                  </a:lnTo>
                  <a:lnTo>
                    <a:pt x="2667305" y="197447"/>
                  </a:lnTo>
                  <a:lnTo>
                    <a:pt x="2667305" y="200228"/>
                  </a:lnTo>
                  <a:lnTo>
                    <a:pt x="2667305" y="198831"/>
                  </a:lnTo>
                  <a:lnTo>
                    <a:pt x="2667305" y="199530"/>
                  </a:lnTo>
                  <a:lnTo>
                    <a:pt x="2667407" y="199530"/>
                  </a:lnTo>
                  <a:lnTo>
                    <a:pt x="2667407" y="202260"/>
                  </a:lnTo>
                  <a:lnTo>
                    <a:pt x="2667407" y="200228"/>
                  </a:lnTo>
                  <a:lnTo>
                    <a:pt x="2667407" y="200876"/>
                  </a:lnTo>
                  <a:lnTo>
                    <a:pt x="2667458" y="200876"/>
                  </a:lnTo>
                  <a:lnTo>
                    <a:pt x="2667458" y="202260"/>
                  </a:lnTo>
                  <a:lnTo>
                    <a:pt x="2667458" y="200228"/>
                  </a:lnTo>
                  <a:lnTo>
                    <a:pt x="2667508" y="200228"/>
                  </a:lnTo>
                  <a:lnTo>
                    <a:pt x="2667508" y="202260"/>
                  </a:lnTo>
                  <a:lnTo>
                    <a:pt x="2667508" y="200876"/>
                  </a:lnTo>
                  <a:lnTo>
                    <a:pt x="2667508" y="202260"/>
                  </a:lnTo>
                  <a:lnTo>
                    <a:pt x="2667508" y="200228"/>
                  </a:lnTo>
                  <a:lnTo>
                    <a:pt x="2667508" y="200876"/>
                  </a:lnTo>
                  <a:lnTo>
                    <a:pt x="2667508" y="200228"/>
                  </a:lnTo>
                  <a:lnTo>
                    <a:pt x="2667508" y="200876"/>
                  </a:lnTo>
                  <a:lnTo>
                    <a:pt x="2667508" y="200228"/>
                  </a:lnTo>
                  <a:lnTo>
                    <a:pt x="2667508" y="200876"/>
                  </a:lnTo>
                  <a:lnTo>
                    <a:pt x="2667547" y="200876"/>
                  </a:lnTo>
                  <a:lnTo>
                    <a:pt x="2667547" y="200228"/>
                  </a:lnTo>
                  <a:lnTo>
                    <a:pt x="2667547" y="200876"/>
                  </a:lnTo>
                  <a:lnTo>
                    <a:pt x="2667547" y="200228"/>
                  </a:lnTo>
                  <a:lnTo>
                    <a:pt x="2667547" y="200876"/>
                  </a:lnTo>
                  <a:lnTo>
                    <a:pt x="2667648" y="200876"/>
                  </a:lnTo>
                  <a:lnTo>
                    <a:pt x="2667648" y="200228"/>
                  </a:lnTo>
                  <a:lnTo>
                    <a:pt x="2667648" y="200876"/>
                  </a:lnTo>
                  <a:lnTo>
                    <a:pt x="2667648" y="199530"/>
                  </a:lnTo>
                  <a:lnTo>
                    <a:pt x="2667648" y="200228"/>
                  </a:lnTo>
                  <a:lnTo>
                    <a:pt x="2667648" y="199530"/>
                  </a:lnTo>
                  <a:lnTo>
                    <a:pt x="2667648" y="200228"/>
                  </a:lnTo>
                  <a:lnTo>
                    <a:pt x="2667699" y="200228"/>
                  </a:lnTo>
                  <a:lnTo>
                    <a:pt x="2667699" y="198831"/>
                  </a:lnTo>
                  <a:lnTo>
                    <a:pt x="2667699" y="199530"/>
                  </a:lnTo>
                  <a:lnTo>
                    <a:pt x="2667699" y="198831"/>
                  </a:lnTo>
                  <a:lnTo>
                    <a:pt x="2667750" y="198831"/>
                  </a:lnTo>
                  <a:lnTo>
                    <a:pt x="2667750" y="197447"/>
                  </a:lnTo>
                  <a:lnTo>
                    <a:pt x="2667750" y="198831"/>
                  </a:lnTo>
                  <a:lnTo>
                    <a:pt x="2667750" y="196799"/>
                  </a:lnTo>
                  <a:lnTo>
                    <a:pt x="2667750" y="198831"/>
                  </a:lnTo>
                  <a:lnTo>
                    <a:pt x="2667750" y="197447"/>
                  </a:lnTo>
                  <a:lnTo>
                    <a:pt x="2667851" y="198831"/>
                  </a:lnTo>
                  <a:lnTo>
                    <a:pt x="2667851" y="200228"/>
                  </a:lnTo>
                  <a:lnTo>
                    <a:pt x="2667851" y="196799"/>
                  </a:lnTo>
                  <a:lnTo>
                    <a:pt x="2667851" y="200876"/>
                  </a:lnTo>
                  <a:lnTo>
                    <a:pt x="2667902" y="200876"/>
                  </a:lnTo>
                  <a:lnTo>
                    <a:pt x="2667902" y="199530"/>
                  </a:lnTo>
                  <a:lnTo>
                    <a:pt x="2667902" y="200228"/>
                  </a:lnTo>
                  <a:lnTo>
                    <a:pt x="2667953" y="200228"/>
                  </a:lnTo>
                  <a:lnTo>
                    <a:pt x="2667953" y="199530"/>
                  </a:lnTo>
                  <a:lnTo>
                    <a:pt x="2667953" y="200228"/>
                  </a:lnTo>
                  <a:lnTo>
                    <a:pt x="2667953" y="199530"/>
                  </a:lnTo>
                  <a:lnTo>
                    <a:pt x="2667953" y="200876"/>
                  </a:lnTo>
                  <a:lnTo>
                    <a:pt x="2668004" y="200876"/>
                  </a:lnTo>
                  <a:lnTo>
                    <a:pt x="2668004" y="202260"/>
                  </a:lnTo>
                  <a:lnTo>
                    <a:pt x="2668004" y="200876"/>
                  </a:lnTo>
                  <a:lnTo>
                    <a:pt x="2668004" y="202260"/>
                  </a:lnTo>
                  <a:lnTo>
                    <a:pt x="2668004" y="200876"/>
                  </a:lnTo>
                  <a:lnTo>
                    <a:pt x="2668004" y="202260"/>
                  </a:lnTo>
                  <a:lnTo>
                    <a:pt x="2668093" y="202260"/>
                  </a:lnTo>
                  <a:lnTo>
                    <a:pt x="2668093" y="200876"/>
                  </a:lnTo>
                  <a:lnTo>
                    <a:pt x="2668093" y="202260"/>
                  </a:lnTo>
                  <a:lnTo>
                    <a:pt x="2668093" y="200876"/>
                  </a:lnTo>
                  <a:lnTo>
                    <a:pt x="2668144" y="200876"/>
                  </a:lnTo>
                  <a:lnTo>
                    <a:pt x="2668144" y="200228"/>
                  </a:lnTo>
                  <a:lnTo>
                    <a:pt x="2668144" y="200876"/>
                  </a:lnTo>
                  <a:lnTo>
                    <a:pt x="2668144" y="200228"/>
                  </a:lnTo>
                  <a:lnTo>
                    <a:pt x="2668194" y="200228"/>
                  </a:lnTo>
                  <a:lnTo>
                    <a:pt x="2668194" y="198831"/>
                  </a:lnTo>
                  <a:lnTo>
                    <a:pt x="2668194" y="199530"/>
                  </a:lnTo>
                  <a:lnTo>
                    <a:pt x="2668194" y="198831"/>
                  </a:lnTo>
                  <a:lnTo>
                    <a:pt x="2668245" y="198831"/>
                  </a:lnTo>
                  <a:lnTo>
                    <a:pt x="2668245" y="197447"/>
                  </a:lnTo>
                  <a:lnTo>
                    <a:pt x="2668245" y="200228"/>
                  </a:lnTo>
                  <a:lnTo>
                    <a:pt x="2668245" y="199530"/>
                  </a:lnTo>
                  <a:lnTo>
                    <a:pt x="2668347" y="198831"/>
                  </a:lnTo>
                  <a:lnTo>
                    <a:pt x="2668347" y="197447"/>
                  </a:lnTo>
                  <a:lnTo>
                    <a:pt x="2668347" y="198831"/>
                  </a:lnTo>
                  <a:lnTo>
                    <a:pt x="2668347" y="197447"/>
                  </a:lnTo>
                  <a:lnTo>
                    <a:pt x="2668347" y="200876"/>
                  </a:lnTo>
                  <a:lnTo>
                    <a:pt x="2668347" y="200228"/>
                  </a:lnTo>
                  <a:lnTo>
                    <a:pt x="2668397" y="200228"/>
                  </a:lnTo>
                  <a:lnTo>
                    <a:pt x="2668397" y="198831"/>
                  </a:lnTo>
                  <a:lnTo>
                    <a:pt x="2668397" y="200876"/>
                  </a:lnTo>
                  <a:lnTo>
                    <a:pt x="2668397" y="200228"/>
                  </a:lnTo>
                  <a:lnTo>
                    <a:pt x="2668397" y="200876"/>
                  </a:lnTo>
                  <a:lnTo>
                    <a:pt x="2668397" y="200228"/>
                  </a:lnTo>
                  <a:lnTo>
                    <a:pt x="2668448" y="200228"/>
                  </a:lnTo>
                  <a:lnTo>
                    <a:pt x="2668448" y="199530"/>
                  </a:lnTo>
                  <a:lnTo>
                    <a:pt x="2668448" y="200876"/>
                  </a:lnTo>
                  <a:lnTo>
                    <a:pt x="2668448" y="200228"/>
                  </a:lnTo>
                  <a:lnTo>
                    <a:pt x="2668550" y="200228"/>
                  </a:lnTo>
                  <a:lnTo>
                    <a:pt x="2668550" y="202260"/>
                  </a:lnTo>
                  <a:lnTo>
                    <a:pt x="2668588" y="202260"/>
                  </a:lnTo>
                  <a:lnTo>
                    <a:pt x="2668588" y="200876"/>
                  </a:lnTo>
                  <a:lnTo>
                    <a:pt x="2668588" y="202260"/>
                  </a:lnTo>
                  <a:lnTo>
                    <a:pt x="2668588" y="200876"/>
                  </a:lnTo>
                  <a:lnTo>
                    <a:pt x="2668639" y="200876"/>
                  </a:lnTo>
                  <a:lnTo>
                    <a:pt x="2668639" y="200228"/>
                  </a:lnTo>
                  <a:lnTo>
                    <a:pt x="2668639" y="200876"/>
                  </a:lnTo>
                  <a:lnTo>
                    <a:pt x="2668639" y="200228"/>
                  </a:lnTo>
                  <a:lnTo>
                    <a:pt x="2668690" y="200228"/>
                  </a:lnTo>
                  <a:lnTo>
                    <a:pt x="2668690" y="198831"/>
                  </a:lnTo>
                  <a:lnTo>
                    <a:pt x="2668690" y="199530"/>
                  </a:lnTo>
                  <a:lnTo>
                    <a:pt x="2668690" y="198831"/>
                  </a:lnTo>
                  <a:lnTo>
                    <a:pt x="2668791" y="197447"/>
                  </a:lnTo>
                  <a:lnTo>
                    <a:pt x="2668791" y="198831"/>
                  </a:lnTo>
                  <a:lnTo>
                    <a:pt x="2668791" y="196799"/>
                  </a:lnTo>
                  <a:lnTo>
                    <a:pt x="2668791" y="198831"/>
                  </a:lnTo>
                  <a:lnTo>
                    <a:pt x="2668842" y="198831"/>
                  </a:lnTo>
                  <a:lnTo>
                    <a:pt x="2668842" y="197447"/>
                  </a:lnTo>
                  <a:lnTo>
                    <a:pt x="2668842" y="199530"/>
                  </a:lnTo>
                  <a:lnTo>
                    <a:pt x="2668893" y="199530"/>
                  </a:lnTo>
                  <a:lnTo>
                    <a:pt x="2668893" y="198831"/>
                  </a:lnTo>
                  <a:lnTo>
                    <a:pt x="2668893" y="199530"/>
                  </a:lnTo>
                  <a:lnTo>
                    <a:pt x="2668893" y="198831"/>
                  </a:lnTo>
                  <a:lnTo>
                    <a:pt x="2668893" y="199530"/>
                  </a:lnTo>
                  <a:lnTo>
                    <a:pt x="2668994" y="199530"/>
                  </a:lnTo>
                  <a:lnTo>
                    <a:pt x="2668994" y="198831"/>
                  </a:lnTo>
                  <a:lnTo>
                    <a:pt x="2668994" y="199530"/>
                  </a:lnTo>
                  <a:lnTo>
                    <a:pt x="2668994" y="198831"/>
                  </a:lnTo>
                  <a:lnTo>
                    <a:pt x="2668994" y="200228"/>
                  </a:lnTo>
                  <a:lnTo>
                    <a:pt x="2669045" y="200228"/>
                  </a:lnTo>
                  <a:lnTo>
                    <a:pt x="2669045" y="202260"/>
                  </a:lnTo>
                  <a:lnTo>
                    <a:pt x="2669045" y="200876"/>
                  </a:lnTo>
                  <a:lnTo>
                    <a:pt x="2669045" y="202260"/>
                  </a:lnTo>
                  <a:lnTo>
                    <a:pt x="2669096" y="202260"/>
                  </a:lnTo>
                  <a:lnTo>
                    <a:pt x="2669096" y="200876"/>
                  </a:lnTo>
                  <a:lnTo>
                    <a:pt x="2669096" y="202260"/>
                  </a:lnTo>
                  <a:lnTo>
                    <a:pt x="2669096" y="200876"/>
                  </a:lnTo>
                  <a:lnTo>
                    <a:pt x="2669096" y="202260"/>
                  </a:lnTo>
                  <a:lnTo>
                    <a:pt x="2669096" y="200876"/>
                  </a:lnTo>
                  <a:lnTo>
                    <a:pt x="2669134" y="200876"/>
                  </a:lnTo>
                  <a:lnTo>
                    <a:pt x="2669134" y="200228"/>
                  </a:lnTo>
                  <a:lnTo>
                    <a:pt x="2669134" y="200876"/>
                  </a:lnTo>
                  <a:lnTo>
                    <a:pt x="2669134" y="200228"/>
                  </a:lnTo>
                  <a:lnTo>
                    <a:pt x="2669236" y="199530"/>
                  </a:lnTo>
                  <a:lnTo>
                    <a:pt x="2669236" y="200228"/>
                  </a:lnTo>
                  <a:lnTo>
                    <a:pt x="2669236" y="199530"/>
                  </a:lnTo>
                  <a:lnTo>
                    <a:pt x="2669236" y="200228"/>
                  </a:lnTo>
                  <a:lnTo>
                    <a:pt x="2669236" y="199530"/>
                  </a:lnTo>
                  <a:lnTo>
                    <a:pt x="2669287" y="198831"/>
                  </a:lnTo>
                  <a:lnTo>
                    <a:pt x="2669287" y="199530"/>
                  </a:lnTo>
                  <a:lnTo>
                    <a:pt x="2669287" y="197447"/>
                  </a:lnTo>
                  <a:lnTo>
                    <a:pt x="2669287" y="198831"/>
                  </a:lnTo>
                  <a:lnTo>
                    <a:pt x="2669337" y="198831"/>
                  </a:lnTo>
                  <a:lnTo>
                    <a:pt x="2669337" y="196113"/>
                  </a:lnTo>
                  <a:lnTo>
                    <a:pt x="2669337" y="199530"/>
                  </a:lnTo>
                  <a:lnTo>
                    <a:pt x="2669337" y="198831"/>
                  </a:lnTo>
                  <a:lnTo>
                    <a:pt x="2669439" y="198831"/>
                  </a:lnTo>
                  <a:lnTo>
                    <a:pt x="2669439" y="197447"/>
                  </a:lnTo>
                  <a:lnTo>
                    <a:pt x="2669439" y="198831"/>
                  </a:lnTo>
                  <a:lnTo>
                    <a:pt x="2669490" y="198831"/>
                  </a:lnTo>
                  <a:lnTo>
                    <a:pt x="2669490" y="197447"/>
                  </a:lnTo>
                  <a:lnTo>
                    <a:pt x="2669490" y="198831"/>
                  </a:lnTo>
                  <a:lnTo>
                    <a:pt x="2669490" y="197447"/>
                  </a:lnTo>
                  <a:lnTo>
                    <a:pt x="2669490" y="199530"/>
                  </a:lnTo>
                  <a:lnTo>
                    <a:pt x="2669490" y="198831"/>
                  </a:lnTo>
                  <a:lnTo>
                    <a:pt x="2669540" y="198831"/>
                  </a:lnTo>
                  <a:lnTo>
                    <a:pt x="2669540" y="200228"/>
                  </a:lnTo>
                  <a:lnTo>
                    <a:pt x="2669540" y="199530"/>
                  </a:lnTo>
                  <a:lnTo>
                    <a:pt x="2669591" y="200228"/>
                  </a:lnTo>
                  <a:lnTo>
                    <a:pt x="2669591" y="199530"/>
                  </a:lnTo>
                  <a:lnTo>
                    <a:pt x="2669591" y="200228"/>
                  </a:lnTo>
                  <a:lnTo>
                    <a:pt x="2669591" y="199530"/>
                  </a:lnTo>
                  <a:lnTo>
                    <a:pt x="2669591" y="200228"/>
                  </a:lnTo>
                  <a:lnTo>
                    <a:pt x="2669680" y="200228"/>
                  </a:lnTo>
                  <a:lnTo>
                    <a:pt x="2669680" y="199530"/>
                  </a:lnTo>
                  <a:lnTo>
                    <a:pt x="2669680" y="200228"/>
                  </a:lnTo>
                  <a:lnTo>
                    <a:pt x="2669731" y="200228"/>
                  </a:lnTo>
                  <a:lnTo>
                    <a:pt x="2669731" y="199530"/>
                  </a:lnTo>
                  <a:lnTo>
                    <a:pt x="2669731" y="200228"/>
                  </a:lnTo>
                  <a:lnTo>
                    <a:pt x="2669731" y="199530"/>
                  </a:lnTo>
                  <a:lnTo>
                    <a:pt x="2669731" y="200228"/>
                  </a:lnTo>
                  <a:lnTo>
                    <a:pt x="2669731" y="199530"/>
                  </a:lnTo>
                  <a:lnTo>
                    <a:pt x="2669782" y="199530"/>
                  </a:lnTo>
                  <a:lnTo>
                    <a:pt x="2669782" y="198831"/>
                  </a:lnTo>
                  <a:lnTo>
                    <a:pt x="2669782" y="200228"/>
                  </a:lnTo>
                  <a:lnTo>
                    <a:pt x="2669782" y="199530"/>
                  </a:lnTo>
                  <a:lnTo>
                    <a:pt x="2669782" y="200228"/>
                  </a:lnTo>
                  <a:lnTo>
                    <a:pt x="2669782" y="198831"/>
                  </a:lnTo>
                  <a:lnTo>
                    <a:pt x="2669833" y="197447"/>
                  </a:lnTo>
                  <a:lnTo>
                    <a:pt x="2669833" y="200228"/>
                  </a:lnTo>
                  <a:lnTo>
                    <a:pt x="2669833" y="199530"/>
                  </a:lnTo>
                  <a:lnTo>
                    <a:pt x="2669833" y="200228"/>
                  </a:lnTo>
                  <a:lnTo>
                    <a:pt x="2669833" y="199530"/>
                  </a:lnTo>
                  <a:lnTo>
                    <a:pt x="2669934" y="198831"/>
                  </a:lnTo>
                  <a:lnTo>
                    <a:pt x="2669934" y="200228"/>
                  </a:lnTo>
                  <a:lnTo>
                    <a:pt x="2669934" y="199530"/>
                  </a:lnTo>
                  <a:lnTo>
                    <a:pt x="2669934" y="200228"/>
                  </a:lnTo>
                  <a:lnTo>
                    <a:pt x="2669934" y="199530"/>
                  </a:lnTo>
                  <a:lnTo>
                    <a:pt x="2669985" y="200228"/>
                  </a:lnTo>
                  <a:lnTo>
                    <a:pt x="2669985" y="199530"/>
                  </a:lnTo>
                  <a:lnTo>
                    <a:pt x="2669985" y="200876"/>
                  </a:lnTo>
                  <a:lnTo>
                    <a:pt x="2669985" y="200228"/>
                  </a:lnTo>
                  <a:lnTo>
                    <a:pt x="2669985" y="200876"/>
                  </a:lnTo>
                  <a:lnTo>
                    <a:pt x="2670036" y="200876"/>
                  </a:lnTo>
                  <a:lnTo>
                    <a:pt x="2670036" y="200228"/>
                  </a:lnTo>
                  <a:lnTo>
                    <a:pt x="2670036" y="200876"/>
                  </a:lnTo>
                  <a:lnTo>
                    <a:pt x="2670036" y="200228"/>
                  </a:lnTo>
                  <a:lnTo>
                    <a:pt x="2670036" y="200876"/>
                  </a:lnTo>
                  <a:lnTo>
                    <a:pt x="2670036" y="200228"/>
                  </a:lnTo>
                  <a:lnTo>
                    <a:pt x="2670036" y="200876"/>
                  </a:lnTo>
                  <a:lnTo>
                    <a:pt x="2670137" y="200876"/>
                  </a:lnTo>
                  <a:lnTo>
                    <a:pt x="2670137" y="200228"/>
                  </a:lnTo>
                  <a:lnTo>
                    <a:pt x="2670137" y="200876"/>
                  </a:lnTo>
                  <a:lnTo>
                    <a:pt x="2670137" y="200228"/>
                  </a:lnTo>
                  <a:lnTo>
                    <a:pt x="2670137" y="200876"/>
                  </a:lnTo>
                  <a:lnTo>
                    <a:pt x="2670137" y="200228"/>
                  </a:lnTo>
                  <a:lnTo>
                    <a:pt x="2670137" y="200876"/>
                  </a:lnTo>
                  <a:lnTo>
                    <a:pt x="2670137" y="200228"/>
                  </a:lnTo>
                  <a:lnTo>
                    <a:pt x="2670176" y="200228"/>
                  </a:lnTo>
                  <a:lnTo>
                    <a:pt x="2670176" y="200876"/>
                  </a:lnTo>
                  <a:lnTo>
                    <a:pt x="2670176" y="200228"/>
                  </a:lnTo>
                  <a:lnTo>
                    <a:pt x="2670226" y="199530"/>
                  </a:lnTo>
                  <a:lnTo>
                    <a:pt x="2670226" y="198831"/>
                  </a:lnTo>
                  <a:lnTo>
                    <a:pt x="2670226" y="199530"/>
                  </a:lnTo>
                  <a:lnTo>
                    <a:pt x="2670226" y="198831"/>
                  </a:lnTo>
                  <a:lnTo>
                    <a:pt x="2670226" y="199530"/>
                  </a:lnTo>
                  <a:lnTo>
                    <a:pt x="2670226" y="197447"/>
                  </a:lnTo>
                  <a:lnTo>
                    <a:pt x="2670277" y="197447"/>
                  </a:lnTo>
                  <a:lnTo>
                    <a:pt x="2670277" y="199530"/>
                  </a:lnTo>
                  <a:lnTo>
                    <a:pt x="2670277" y="197447"/>
                  </a:lnTo>
                  <a:lnTo>
                    <a:pt x="2670277" y="198831"/>
                  </a:lnTo>
                  <a:lnTo>
                    <a:pt x="2670379" y="198831"/>
                  </a:lnTo>
                  <a:lnTo>
                    <a:pt x="2670379" y="200228"/>
                  </a:lnTo>
                  <a:lnTo>
                    <a:pt x="2670379" y="199530"/>
                  </a:lnTo>
                  <a:lnTo>
                    <a:pt x="2670430" y="199530"/>
                  </a:lnTo>
                  <a:lnTo>
                    <a:pt x="2670430" y="200876"/>
                  </a:lnTo>
                  <a:lnTo>
                    <a:pt x="2670430" y="200228"/>
                  </a:lnTo>
                  <a:lnTo>
                    <a:pt x="2670430" y="200876"/>
                  </a:lnTo>
                  <a:lnTo>
                    <a:pt x="2670430" y="200228"/>
                  </a:lnTo>
                  <a:lnTo>
                    <a:pt x="2670430" y="200876"/>
                  </a:lnTo>
                  <a:lnTo>
                    <a:pt x="2670430" y="200228"/>
                  </a:lnTo>
                  <a:lnTo>
                    <a:pt x="2670480" y="200228"/>
                  </a:lnTo>
                  <a:lnTo>
                    <a:pt x="2670480" y="200876"/>
                  </a:lnTo>
                  <a:lnTo>
                    <a:pt x="2670480" y="200228"/>
                  </a:lnTo>
                  <a:lnTo>
                    <a:pt x="2670480" y="200876"/>
                  </a:lnTo>
                  <a:lnTo>
                    <a:pt x="2670582" y="200228"/>
                  </a:lnTo>
                  <a:lnTo>
                    <a:pt x="2670582" y="200876"/>
                  </a:lnTo>
                  <a:lnTo>
                    <a:pt x="2670582" y="199530"/>
                  </a:lnTo>
                  <a:lnTo>
                    <a:pt x="2670582" y="200228"/>
                  </a:lnTo>
                  <a:lnTo>
                    <a:pt x="2670633" y="200228"/>
                  </a:lnTo>
                  <a:lnTo>
                    <a:pt x="2670633" y="200876"/>
                  </a:lnTo>
                  <a:lnTo>
                    <a:pt x="2670633" y="199530"/>
                  </a:lnTo>
                  <a:lnTo>
                    <a:pt x="2670633" y="200228"/>
                  </a:lnTo>
                  <a:lnTo>
                    <a:pt x="2670683" y="199530"/>
                  </a:lnTo>
                  <a:lnTo>
                    <a:pt x="2670683" y="198831"/>
                  </a:lnTo>
                  <a:lnTo>
                    <a:pt x="2670722" y="199530"/>
                  </a:lnTo>
                  <a:lnTo>
                    <a:pt x="2670722" y="197447"/>
                  </a:lnTo>
                  <a:lnTo>
                    <a:pt x="2670823" y="198831"/>
                  </a:lnTo>
                  <a:lnTo>
                    <a:pt x="2670823" y="197447"/>
                  </a:lnTo>
                  <a:lnTo>
                    <a:pt x="2670823" y="200228"/>
                  </a:lnTo>
                  <a:lnTo>
                    <a:pt x="2670874" y="200228"/>
                  </a:lnTo>
                  <a:lnTo>
                    <a:pt x="2670874" y="199530"/>
                  </a:lnTo>
                  <a:lnTo>
                    <a:pt x="2670874" y="200228"/>
                  </a:lnTo>
                  <a:lnTo>
                    <a:pt x="2670874" y="199530"/>
                  </a:lnTo>
                  <a:lnTo>
                    <a:pt x="2670874" y="200228"/>
                  </a:lnTo>
                  <a:lnTo>
                    <a:pt x="2670925" y="200228"/>
                  </a:lnTo>
                  <a:lnTo>
                    <a:pt x="2670925" y="202260"/>
                  </a:lnTo>
                  <a:lnTo>
                    <a:pt x="2671026" y="200876"/>
                  </a:lnTo>
                  <a:lnTo>
                    <a:pt x="2671026" y="200228"/>
                  </a:lnTo>
                  <a:lnTo>
                    <a:pt x="2671026" y="200876"/>
                  </a:lnTo>
                  <a:lnTo>
                    <a:pt x="2671077" y="200876"/>
                  </a:lnTo>
                  <a:lnTo>
                    <a:pt x="2671077" y="202260"/>
                  </a:lnTo>
                  <a:lnTo>
                    <a:pt x="2671077" y="200876"/>
                  </a:lnTo>
                  <a:lnTo>
                    <a:pt x="2671128" y="200876"/>
                  </a:lnTo>
                  <a:lnTo>
                    <a:pt x="2671128" y="200228"/>
                  </a:lnTo>
                  <a:lnTo>
                    <a:pt x="2671128" y="200876"/>
                  </a:lnTo>
                  <a:lnTo>
                    <a:pt x="2671128" y="200228"/>
                  </a:lnTo>
                  <a:lnTo>
                    <a:pt x="2671128" y="200876"/>
                  </a:lnTo>
                  <a:lnTo>
                    <a:pt x="2671179" y="200228"/>
                  </a:lnTo>
                  <a:lnTo>
                    <a:pt x="2671179" y="198831"/>
                  </a:lnTo>
                  <a:lnTo>
                    <a:pt x="2671268" y="198831"/>
                  </a:lnTo>
                  <a:lnTo>
                    <a:pt x="2671268" y="196799"/>
                  </a:lnTo>
                  <a:lnTo>
                    <a:pt x="2671268" y="198831"/>
                  </a:lnTo>
                  <a:lnTo>
                    <a:pt x="2671319" y="198831"/>
                  </a:lnTo>
                  <a:lnTo>
                    <a:pt x="2671319" y="199530"/>
                  </a:lnTo>
                  <a:lnTo>
                    <a:pt x="2671319" y="196799"/>
                  </a:lnTo>
                  <a:lnTo>
                    <a:pt x="2671319" y="200228"/>
                  </a:lnTo>
                  <a:lnTo>
                    <a:pt x="2671369" y="200228"/>
                  </a:lnTo>
                  <a:lnTo>
                    <a:pt x="2671369" y="198831"/>
                  </a:lnTo>
                  <a:lnTo>
                    <a:pt x="2671369" y="200228"/>
                  </a:lnTo>
                  <a:lnTo>
                    <a:pt x="2671420" y="200228"/>
                  </a:lnTo>
                  <a:lnTo>
                    <a:pt x="2671420" y="200876"/>
                  </a:lnTo>
                  <a:lnTo>
                    <a:pt x="2671420" y="200228"/>
                  </a:lnTo>
                  <a:lnTo>
                    <a:pt x="2671522" y="200228"/>
                  </a:lnTo>
                  <a:lnTo>
                    <a:pt x="2671522" y="200876"/>
                  </a:lnTo>
                  <a:lnTo>
                    <a:pt x="2671522" y="200228"/>
                  </a:lnTo>
                  <a:lnTo>
                    <a:pt x="2671522" y="200876"/>
                  </a:lnTo>
                  <a:lnTo>
                    <a:pt x="2671623" y="200876"/>
                  </a:lnTo>
                  <a:lnTo>
                    <a:pt x="2671623" y="200228"/>
                  </a:lnTo>
                  <a:lnTo>
                    <a:pt x="2671623" y="200876"/>
                  </a:lnTo>
                  <a:lnTo>
                    <a:pt x="2671623" y="200228"/>
                  </a:lnTo>
                  <a:lnTo>
                    <a:pt x="2671623" y="200876"/>
                  </a:lnTo>
                  <a:lnTo>
                    <a:pt x="2671725" y="200876"/>
                  </a:lnTo>
                  <a:lnTo>
                    <a:pt x="2671725" y="199530"/>
                  </a:lnTo>
                  <a:lnTo>
                    <a:pt x="2671725" y="200228"/>
                  </a:lnTo>
                  <a:lnTo>
                    <a:pt x="2671725" y="198831"/>
                  </a:lnTo>
                  <a:lnTo>
                    <a:pt x="2671763" y="198831"/>
                  </a:lnTo>
                  <a:lnTo>
                    <a:pt x="2671763" y="196799"/>
                  </a:lnTo>
                  <a:lnTo>
                    <a:pt x="2671763" y="197447"/>
                  </a:lnTo>
                  <a:lnTo>
                    <a:pt x="2671814" y="197447"/>
                  </a:lnTo>
                  <a:lnTo>
                    <a:pt x="2671814" y="198831"/>
                  </a:lnTo>
                  <a:lnTo>
                    <a:pt x="2671814" y="196113"/>
                  </a:lnTo>
                  <a:lnTo>
                    <a:pt x="2671814" y="198831"/>
                  </a:lnTo>
                  <a:lnTo>
                    <a:pt x="2671814" y="197447"/>
                  </a:lnTo>
                  <a:lnTo>
                    <a:pt x="2671865" y="197447"/>
                  </a:lnTo>
                  <a:lnTo>
                    <a:pt x="2671865" y="199530"/>
                  </a:lnTo>
                  <a:lnTo>
                    <a:pt x="2671865" y="198831"/>
                  </a:lnTo>
                  <a:lnTo>
                    <a:pt x="2671865" y="200228"/>
                  </a:lnTo>
                  <a:lnTo>
                    <a:pt x="2671966" y="199530"/>
                  </a:lnTo>
                  <a:lnTo>
                    <a:pt x="2671966" y="200228"/>
                  </a:lnTo>
                  <a:lnTo>
                    <a:pt x="2672017" y="200228"/>
                  </a:lnTo>
                  <a:lnTo>
                    <a:pt x="2672017" y="199530"/>
                  </a:lnTo>
                  <a:lnTo>
                    <a:pt x="2672017" y="200228"/>
                  </a:lnTo>
                  <a:lnTo>
                    <a:pt x="2672017" y="199530"/>
                  </a:lnTo>
                  <a:lnTo>
                    <a:pt x="2672017" y="200228"/>
                  </a:lnTo>
                  <a:lnTo>
                    <a:pt x="2672068" y="200228"/>
                  </a:lnTo>
                  <a:lnTo>
                    <a:pt x="2672068" y="200876"/>
                  </a:lnTo>
                  <a:lnTo>
                    <a:pt x="2672068" y="200228"/>
                  </a:lnTo>
                  <a:lnTo>
                    <a:pt x="2672068" y="200876"/>
                  </a:lnTo>
                  <a:lnTo>
                    <a:pt x="2672068" y="200228"/>
                  </a:lnTo>
                  <a:lnTo>
                    <a:pt x="2672068" y="200876"/>
                  </a:lnTo>
                  <a:lnTo>
                    <a:pt x="2672068" y="200228"/>
                  </a:lnTo>
                  <a:lnTo>
                    <a:pt x="2672068" y="200876"/>
                  </a:lnTo>
                  <a:lnTo>
                    <a:pt x="2672169" y="200876"/>
                  </a:lnTo>
                  <a:lnTo>
                    <a:pt x="2672169" y="200228"/>
                  </a:lnTo>
                  <a:lnTo>
                    <a:pt x="2672220" y="200228"/>
                  </a:lnTo>
                  <a:lnTo>
                    <a:pt x="2672220" y="200876"/>
                  </a:lnTo>
                  <a:lnTo>
                    <a:pt x="2672220" y="199530"/>
                  </a:lnTo>
                  <a:lnTo>
                    <a:pt x="2672220" y="200228"/>
                  </a:lnTo>
                  <a:lnTo>
                    <a:pt x="2672220" y="199530"/>
                  </a:lnTo>
                  <a:lnTo>
                    <a:pt x="2672220" y="200228"/>
                  </a:lnTo>
                  <a:lnTo>
                    <a:pt x="2672220" y="198831"/>
                  </a:lnTo>
                  <a:lnTo>
                    <a:pt x="2672271" y="198831"/>
                  </a:lnTo>
                  <a:lnTo>
                    <a:pt x="2672271" y="196799"/>
                  </a:lnTo>
                  <a:lnTo>
                    <a:pt x="2672271" y="198831"/>
                  </a:lnTo>
                  <a:lnTo>
                    <a:pt x="2672309" y="197447"/>
                  </a:lnTo>
                  <a:lnTo>
                    <a:pt x="2672309" y="196113"/>
                  </a:lnTo>
                  <a:lnTo>
                    <a:pt x="2672309" y="200228"/>
                  </a:lnTo>
                  <a:lnTo>
                    <a:pt x="2672309" y="199530"/>
                  </a:lnTo>
                  <a:lnTo>
                    <a:pt x="2672411" y="199530"/>
                  </a:lnTo>
                  <a:lnTo>
                    <a:pt x="2672411" y="197447"/>
                  </a:lnTo>
                  <a:lnTo>
                    <a:pt x="2672411" y="200228"/>
                  </a:lnTo>
                  <a:lnTo>
                    <a:pt x="2672411" y="198831"/>
                  </a:lnTo>
                  <a:lnTo>
                    <a:pt x="2672411" y="199530"/>
                  </a:lnTo>
                  <a:lnTo>
                    <a:pt x="2672411" y="198831"/>
                  </a:lnTo>
                  <a:lnTo>
                    <a:pt x="2672411" y="199530"/>
                  </a:lnTo>
                  <a:lnTo>
                    <a:pt x="2672462" y="199530"/>
                  </a:lnTo>
                  <a:lnTo>
                    <a:pt x="2672462" y="198831"/>
                  </a:lnTo>
                  <a:lnTo>
                    <a:pt x="2672462" y="199530"/>
                  </a:lnTo>
                  <a:lnTo>
                    <a:pt x="2672462" y="198831"/>
                  </a:lnTo>
                  <a:lnTo>
                    <a:pt x="2672512" y="198831"/>
                  </a:lnTo>
                  <a:lnTo>
                    <a:pt x="2672512" y="199530"/>
                  </a:lnTo>
                  <a:lnTo>
                    <a:pt x="2672512" y="198831"/>
                  </a:lnTo>
                  <a:lnTo>
                    <a:pt x="2672512" y="199530"/>
                  </a:lnTo>
                  <a:lnTo>
                    <a:pt x="2672512" y="198831"/>
                  </a:lnTo>
                  <a:lnTo>
                    <a:pt x="2672512" y="200228"/>
                  </a:lnTo>
                  <a:lnTo>
                    <a:pt x="2672512" y="199530"/>
                  </a:lnTo>
                  <a:lnTo>
                    <a:pt x="2672512" y="200228"/>
                  </a:lnTo>
                  <a:lnTo>
                    <a:pt x="2672614" y="200228"/>
                  </a:lnTo>
                  <a:lnTo>
                    <a:pt x="2672614" y="199530"/>
                  </a:lnTo>
                  <a:lnTo>
                    <a:pt x="2672614" y="200228"/>
                  </a:lnTo>
                  <a:lnTo>
                    <a:pt x="2672665" y="200228"/>
                  </a:lnTo>
                  <a:lnTo>
                    <a:pt x="2672665" y="200876"/>
                  </a:lnTo>
                  <a:lnTo>
                    <a:pt x="2672665" y="200228"/>
                  </a:lnTo>
                  <a:lnTo>
                    <a:pt x="2672665" y="200876"/>
                  </a:lnTo>
                  <a:lnTo>
                    <a:pt x="2672665" y="200228"/>
                  </a:lnTo>
                  <a:lnTo>
                    <a:pt x="2672715" y="200228"/>
                  </a:lnTo>
                  <a:lnTo>
                    <a:pt x="2672715" y="199530"/>
                  </a:lnTo>
                  <a:lnTo>
                    <a:pt x="2672715" y="200228"/>
                  </a:lnTo>
                  <a:lnTo>
                    <a:pt x="2672715" y="198831"/>
                  </a:lnTo>
                  <a:lnTo>
                    <a:pt x="2672766" y="198831"/>
                  </a:lnTo>
                  <a:lnTo>
                    <a:pt x="2672766" y="199530"/>
                  </a:lnTo>
                  <a:lnTo>
                    <a:pt x="2672766" y="197447"/>
                  </a:lnTo>
                  <a:lnTo>
                    <a:pt x="2672855" y="198831"/>
                  </a:lnTo>
                  <a:lnTo>
                    <a:pt x="2672855" y="200876"/>
                  </a:lnTo>
                  <a:lnTo>
                    <a:pt x="2672855" y="199530"/>
                  </a:lnTo>
                  <a:lnTo>
                    <a:pt x="2672855" y="200228"/>
                  </a:lnTo>
                  <a:lnTo>
                    <a:pt x="2672855" y="199530"/>
                  </a:lnTo>
                  <a:lnTo>
                    <a:pt x="2672855" y="200228"/>
                  </a:lnTo>
                  <a:lnTo>
                    <a:pt x="2672906" y="200228"/>
                  </a:lnTo>
                  <a:lnTo>
                    <a:pt x="2672906" y="202260"/>
                  </a:lnTo>
                  <a:lnTo>
                    <a:pt x="2672906" y="200228"/>
                  </a:lnTo>
                  <a:lnTo>
                    <a:pt x="2672906" y="200876"/>
                  </a:lnTo>
                  <a:lnTo>
                    <a:pt x="2672957" y="200876"/>
                  </a:lnTo>
                  <a:lnTo>
                    <a:pt x="2672957" y="200228"/>
                  </a:lnTo>
                  <a:lnTo>
                    <a:pt x="2673008" y="200228"/>
                  </a:lnTo>
                  <a:lnTo>
                    <a:pt x="2673008" y="202260"/>
                  </a:lnTo>
                  <a:lnTo>
                    <a:pt x="2673008" y="200876"/>
                  </a:lnTo>
                  <a:lnTo>
                    <a:pt x="2673109" y="200876"/>
                  </a:lnTo>
                  <a:lnTo>
                    <a:pt x="2673109" y="202260"/>
                  </a:lnTo>
                  <a:lnTo>
                    <a:pt x="2673109" y="200876"/>
                  </a:lnTo>
                  <a:lnTo>
                    <a:pt x="2673109" y="202260"/>
                  </a:lnTo>
                  <a:lnTo>
                    <a:pt x="2673160" y="202260"/>
                  </a:lnTo>
                  <a:lnTo>
                    <a:pt x="2673160" y="199530"/>
                  </a:lnTo>
                  <a:lnTo>
                    <a:pt x="2673211" y="200228"/>
                  </a:lnTo>
                  <a:lnTo>
                    <a:pt x="2673211" y="198831"/>
                  </a:lnTo>
                  <a:lnTo>
                    <a:pt x="2673211" y="199530"/>
                  </a:lnTo>
                  <a:lnTo>
                    <a:pt x="2673211" y="197447"/>
                  </a:lnTo>
                  <a:lnTo>
                    <a:pt x="2673211" y="199530"/>
                  </a:lnTo>
                  <a:lnTo>
                    <a:pt x="2673312" y="200228"/>
                  </a:lnTo>
                  <a:lnTo>
                    <a:pt x="2673312" y="199530"/>
                  </a:lnTo>
                  <a:lnTo>
                    <a:pt x="2673312" y="202260"/>
                  </a:lnTo>
                  <a:lnTo>
                    <a:pt x="2673351" y="202260"/>
                  </a:lnTo>
                  <a:lnTo>
                    <a:pt x="2673351" y="200876"/>
                  </a:lnTo>
                  <a:lnTo>
                    <a:pt x="2673351" y="202260"/>
                  </a:lnTo>
                  <a:lnTo>
                    <a:pt x="2673351" y="200876"/>
                  </a:lnTo>
                  <a:lnTo>
                    <a:pt x="2673351" y="202959"/>
                  </a:lnTo>
                  <a:lnTo>
                    <a:pt x="2673351" y="202260"/>
                  </a:lnTo>
                  <a:lnTo>
                    <a:pt x="2673401" y="202260"/>
                  </a:lnTo>
                  <a:lnTo>
                    <a:pt x="2673401" y="200876"/>
                  </a:lnTo>
                  <a:lnTo>
                    <a:pt x="2673401" y="202260"/>
                  </a:lnTo>
                  <a:lnTo>
                    <a:pt x="2673452" y="202260"/>
                  </a:lnTo>
                  <a:lnTo>
                    <a:pt x="2673452" y="200876"/>
                  </a:lnTo>
                  <a:lnTo>
                    <a:pt x="2673452" y="202260"/>
                  </a:lnTo>
                  <a:lnTo>
                    <a:pt x="2673452" y="200876"/>
                  </a:lnTo>
                  <a:lnTo>
                    <a:pt x="2673554" y="200876"/>
                  </a:lnTo>
                  <a:lnTo>
                    <a:pt x="2673554" y="202260"/>
                  </a:lnTo>
                  <a:lnTo>
                    <a:pt x="2673554" y="200876"/>
                  </a:lnTo>
                  <a:lnTo>
                    <a:pt x="2673605" y="200876"/>
                  </a:lnTo>
                  <a:lnTo>
                    <a:pt x="2673605" y="202260"/>
                  </a:lnTo>
                  <a:lnTo>
                    <a:pt x="2673605" y="200228"/>
                  </a:lnTo>
                  <a:lnTo>
                    <a:pt x="2673655" y="200228"/>
                  </a:lnTo>
                  <a:lnTo>
                    <a:pt x="2673655" y="199530"/>
                  </a:lnTo>
                  <a:lnTo>
                    <a:pt x="2673655" y="200228"/>
                  </a:lnTo>
                  <a:lnTo>
                    <a:pt x="2673655" y="198831"/>
                  </a:lnTo>
                  <a:lnTo>
                    <a:pt x="2673757" y="198831"/>
                  </a:lnTo>
                  <a:lnTo>
                    <a:pt x="2673757" y="196113"/>
                  </a:lnTo>
                  <a:lnTo>
                    <a:pt x="2673757" y="196799"/>
                  </a:lnTo>
                  <a:lnTo>
                    <a:pt x="2673808" y="196113"/>
                  </a:lnTo>
                  <a:lnTo>
                    <a:pt x="2673808" y="194716"/>
                  </a:lnTo>
                  <a:lnTo>
                    <a:pt x="2673808" y="196799"/>
                  </a:lnTo>
                  <a:lnTo>
                    <a:pt x="2673858" y="196799"/>
                  </a:lnTo>
                  <a:lnTo>
                    <a:pt x="2673858" y="194716"/>
                  </a:lnTo>
                  <a:lnTo>
                    <a:pt x="2673858" y="197447"/>
                  </a:lnTo>
                  <a:lnTo>
                    <a:pt x="2673897" y="196799"/>
                  </a:lnTo>
                  <a:lnTo>
                    <a:pt x="2673897" y="196113"/>
                  </a:lnTo>
                  <a:lnTo>
                    <a:pt x="2673897" y="198831"/>
                  </a:lnTo>
                  <a:lnTo>
                    <a:pt x="2673998" y="197447"/>
                  </a:lnTo>
                  <a:lnTo>
                    <a:pt x="2673998" y="198831"/>
                  </a:lnTo>
                  <a:lnTo>
                    <a:pt x="2673998" y="197447"/>
                  </a:lnTo>
                  <a:lnTo>
                    <a:pt x="2673998" y="199530"/>
                  </a:lnTo>
                  <a:lnTo>
                    <a:pt x="2673998" y="198831"/>
                  </a:lnTo>
                  <a:lnTo>
                    <a:pt x="2673998" y="199530"/>
                  </a:lnTo>
                  <a:lnTo>
                    <a:pt x="2674049" y="199530"/>
                  </a:lnTo>
                  <a:lnTo>
                    <a:pt x="2674049" y="200228"/>
                  </a:lnTo>
                  <a:lnTo>
                    <a:pt x="2674049" y="199530"/>
                  </a:lnTo>
                  <a:lnTo>
                    <a:pt x="2674049" y="200876"/>
                  </a:lnTo>
                  <a:lnTo>
                    <a:pt x="2674201" y="200876"/>
                  </a:lnTo>
                  <a:lnTo>
                    <a:pt x="2674201" y="200228"/>
                  </a:lnTo>
                  <a:lnTo>
                    <a:pt x="2674201" y="200876"/>
                  </a:lnTo>
                  <a:lnTo>
                    <a:pt x="2674201" y="200228"/>
                  </a:lnTo>
                  <a:lnTo>
                    <a:pt x="2674201" y="200876"/>
                  </a:lnTo>
                  <a:lnTo>
                    <a:pt x="2674201" y="200228"/>
                  </a:lnTo>
                  <a:lnTo>
                    <a:pt x="2674252" y="200228"/>
                  </a:lnTo>
                  <a:lnTo>
                    <a:pt x="2674252" y="199530"/>
                  </a:lnTo>
                  <a:lnTo>
                    <a:pt x="2674252" y="200228"/>
                  </a:lnTo>
                  <a:lnTo>
                    <a:pt x="2674252" y="197447"/>
                  </a:lnTo>
                  <a:lnTo>
                    <a:pt x="2674303" y="197447"/>
                  </a:lnTo>
                  <a:lnTo>
                    <a:pt x="2674303" y="195415"/>
                  </a:lnTo>
                  <a:lnTo>
                    <a:pt x="2674303" y="196113"/>
                  </a:lnTo>
                  <a:lnTo>
                    <a:pt x="2674303" y="195415"/>
                  </a:lnTo>
                  <a:lnTo>
                    <a:pt x="2674354" y="194716"/>
                  </a:lnTo>
                  <a:lnTo>
                    <a:pt x="2674354" y="192684"/>
                  </a:lnTo>
                  <a:lnTo>
                    <a:pt x="2674354" y="193383"/>
                  </a:lnTo>
                  <a:lnTo>
                    <a:pt x="2674354" y="192684"/>
                  </a:lnTo>
                  <a:lnTo>
                    <a:pt x="2674354" y="194716"/>
                  </a:lnTo>
                  <a:lnTo>
                    <a:pt x="2674354" y="193383"/>
                  </a:lnTo>
                  <a:lnTo>
                    <a:pt x="2674443" y="192684"/>
                  </a:lnTo>
                  <a:lnTo>
                    <a:pt x="2674443" y="193383"/>
                  </a:lnTo>
                  <a:lnTo>
                    <a:pt x="2674443" y="192684"/>
                  </a:lnTo>
                  <a:lnTo>
                    <a:pt x="2674443" y="195415"/>
                  </a:lnTo>
                  <a:lnTo>
                    <a:pt x="2674443" y="194716"/>
                  </a:lnTo>
                  <a:lnTo>
                    <a:pt x="2674494" y="194716"/>
                  </a:lnTo>
                  <a:lnTo>
                    <a:pt x="2674494" y="193383"/>
                  </a:lnTo>
                  <a:lnTo>
                    <a:pt x="2674494" y="196113"/>
                  </a:lnTo>
                  <a:lnTo>
                    <a:pt x="2674544" y="196113"/>
                  </a:lnTo>
                  <a:lnTo>
                    <a:pt x="2674544" y="198831"/>
                  </a:lnTo>
                  <a:lnTo>
                    <a:pt x="2674595" y="198831"/>
                  </a:lnTo>
                  <a:lnTo>
                    <a:pt x="2674595" y="197447"/>
                  </a:lnTo>
                  <a:lnTo>
                    <a:pt x="2674595" y="199530"/>
                  </a:lnTo>
                  <a:lnTo>
                    <a:pt x="2674595" y="198831"/>
                  </a:lnTo>
                  <a:lnTo>
                    <a:pt x="2674595" y="199530"/>
                  </a:lnTo>
                  <a:lnTo>
                    <a:pt x="2674697" y="199530"/>
                  </a:lnTo>
                  <a:lnTo>
                    <a:pt x="2674697" y="200876"/>
                  </a:lnTo>
                  <a:lnTo>
                    <a:pt x="2674747" y="200876"/>
                  </a:lnTo>
                  <a:lnTo>
                    <a:pt x="2674747" y="200228"/>
                  </a:lnTo>
                  <a:lnTo>
                    <a:pt x="2674747" y="200876"/>
                  </a:lnTo>
                  <a:lnTo>
                    <a:pt x="2674747" y="200228"/>
                  </a:lnTo>
                  <a:lnTo>
                    <a:pt x="2674747" y="200876"/>
                  </a:lnTo>
                  <a:lnTo>
                    <a:pt x="2674747" y="200228"/>
                  </a:lnTo>
                  <a:lnTo>
                    <a:pt x="2674747" y="202260"/>
                  </a:lnTo>
                  <a:lnTo>
                    <a:pt x="2674747" y="200228"/>
                  </a:lnTo>
                  <a:lnTo>
                    <a:pt x="2674798" y="199530"/>
                  </a:lnTo>
                  <a:lnTo>
                    <a:pt x="2674798" y="200228"/>
                  </a:lnTo>
                  <a:lnTo>
                    <a:pt x="2674798" y="199530"/>
                  </a:lnTo>
                  <a:lnTo>
                    <a:pt x="2674798" y="200228"/>
                  </a:lnTo>
                  <a:lnTo>
                    <a:pt x="2674798" y="197447"/>
                  </a:lnTo>
                  <a:lnTo>
                    <a:pt x="2674900" y="197447"/>
                  </a:lnTo>
                  <a:lnTo>
                    <a:pt x="2674900" y="196113"/>
                  </a:lnTo>
                  <a:lnTo>
                    <a:pt x="2674900" y="197447"/>
                  </a:lnTo>
                  <a:lnTo>
                    <a:pt x="2674900" y="196113"/>
                  </a:lnTo>
                  <a:lnTo>
                    <a:pt x="2674938" y="196113"/>
                  </a:lnTo>
                  <a:lnTo>
                    <a:pt x="2674938" y="195415"/>
                  </a:lnTo>
                  <a:lnTo>
                    <a:pt x="2674938" y="197447"/>
                  </a:lnTo>
                  <a:lnTo>
                    <a:pt x="2674938" y="196799"/>
                  </a:lnTo>
                  <a:lnTo>
                    <a:pt x="2674938" y="197447"/>
                  </a:lnTo>
                  <a:lnTo>
                    <a:pt x="2674938" y="196113"/>
                  </a:lnTo>
                  <a:lnTo>
                    <a:pt x="2674989" y="196113"/>
                  </a:lnTo>
                  <a:lnTo>
                    <a:pt x="2674989" y="197447"/>
                  </a:lnTo>
                  <a:lnTo>
                    <a:pt x="2674989" y="196799"/>
                  </a:lnTo>
                  <a:lnTo>
                    <a:pt x="2674989" y="197447"/>
                  </a:lnTo>
                  <a:lnTo>
                    <a:pt x="2674989" y="196799"/>
                  </a:lnTo>
                  <a:lnTo>
                    <a:pt x="2675040" y="196799"/>
                  </a:lnTo>
                  <a:lnTo>
                    <a:pt x="2675040" y="198831"/>
                  </a:lnTo>
                  <a:lnTo>
                    <a:pt x="2675141" y="199530"/>
                  </a:lnTo>
                  <a:lnTo>
                    <a:pt x="2675141" y="200228"/>
                  </a:lnTo>
                  <a:lnTo>
                    <a:pt x="2675141" y="199530"/>
                  </a:lnTo>
                  <a:lnTo>
                    <a:pt x="2675192" y="199530"/>
                  </a:lnTo>
                  <a:lnTo>
                    <a:pt x="2675192" y="200876"/>
                  </a:lnTo>
                  <a:lnTo>
                    <a:pt x="2675192" y="200228"/>
                  </a:lnTo>
                  <a:lnTo>
                    <a:pt x="2675192" y="200876"/>
                  </a:lnTo>
                  <a:lnTo>
                    <a:pt x="2675243" y="202260"/>
                  </a:lnTo>
                  <a:lnTo>
                    <a:pt x="2675243" y="200228"/>
                  </a:lnTo>
                  <a:lnTo>
                    <a:pt x="2675243" y="200876"/>
                  </a:lnTo>
                  <a:lnTo>
                    <a:pt x="2675243" y="200228"/>
                  </a:lnTo>
                  <a:lnTo>
                    <a:pt x="2675243" y="200876"/>
                  </a:lnTo>
                  <a:lnTo>
                    <a:pt x="2675243" y="200228"/>
                  </a:lnTo>
                  <a:lnTo>
                    <a:pt x="2675243" y="200876"/>
                  </a:lnTo>
                  <a:lnTo>
                    <a:pt x="2675243" y="200228"/>
                  </a:lnTo>
                  <a:lnTo>
                    <a:pt x="2675344" y="200876"/>
                  </a:lnTo>
                  <a:lnTo>
                    <a:pt x="2675344" y="199530"/>
                  </a:lnTo>
                  <a:lnTo>
                    <a:pt x="2675344" y="200228"/>
                  </a:lnTo>
                  <a:lnTo>
                    <a:pt x="2675395" y="200228"/>
                  </a:lnTo>
                  <a:lnTo>
                    <a:pt x="2675395" y="200876"/>
                  </a:lnTo>
                  <a:lnTo>
                    <a:pt x="2675395" y="198831"/>
                  </a:lnTo>
                  <a:lnTo>
                    <a:pt x="2675395" y="199530"/>
                  </a:lnTo>
                  <a:lnTo>
                    <a:pt x="2675395" y="198831"/>
                  </a:lnTo>
                  <a:lnTo>
                    <a:pt x="2675395" y="200228"/>
                  </a:lnTo>
                  <a:lnTo>
                    <a:pt x="2675446" y="200876"/>
                  </a:lnTo>
                  <a:lnTo>
                    <a:pt x="2675446" y="199530"/>
                  </a:lnTo>
                  <a:lnTo>
                    <a:pt x="2675446" y="200228"/>
                  </a:lnTo>
                  <a:lnTo>
                    <a:pt x="2675484" y="200228"/>
                  </a:lnTo>
                  <a:lnTo>
                    <a:pt x="2675484" y="199530"/>
                  </a:lnTo>
                  <a:lnTo>
                    <a:pt x="2675484" y="200228"/>
                  </a:lnTo>
                  <a:lnTo>
                    <a:pt x="2675484" y="199530"/>
                  </a:lnTo>
                  <a:lnTo>
                    <a:pt x="2675484" y="200228"/>
                  </a:lnTo>
                  <a:lnTo>
                    <a:pt x="2675484" y="199530"/>
                  </a:lnTo>
                  <a:lnTo>
                    <a:pt x="2675484" y="200228"/>
                  </a:lnTo>
                  <a:lnTo>
                    <a:pt x="2675586" y="200228"/>
                  </a:lnTo>
                  <a:lnTo>
                    <a:pt x="2675586" y="199530"/>
                  </a:lnTo>
                  <a:lnTo>
                    <a:pt x="2675586" y="200228"/>
                  </a:lnTo>
                  <a:lnTo>
                    <a:pt x="2675586" y="199530"/>
                  </a:lnTo>
                  <a:lnTo>
                    <a:pt x="2675637" y="199530"/>
                  </a:lnTo>
                  <a:lnTo>
                    <a:pt x="2675637" y="200876"/>
                  </a:lnTo>
                  <a:lnTo>
                    <a:pt x="2675687" y="200228"/>
                  </a:lnTo>
                  <a:lnTo>
                    <a:pt x="2675687" y="200876"/>
                  </a:lnTo>
                  <a:lnTo>
                    <a:pt x="2675789" y="200876"/>
                  </a:lnTo>
                  <a:lnTo>
                    <a:pt x="2675789" y="200228"/>
                  </a:lnTo>
                  <a:lnTo>
                    <a:pt x="2675789" y="200876"/>
                  </a:lnTo>
                  <a:lnTo>
                    <a:pt x="2675789" y="200228"/>
                  </a:lnTo>
                  <a:lnTo>
                    <a:pt x="2675840" y="200228"/>
                  </a:lnTo>
                  <a:lnTo>
                    <a:pt x="2675840" y="199530"/>
                  </a:lnTo>
                  <a:lnTo>
                    <a:pt x="2675840" y="202260"/>
                  </a:lnTo>
                  <a:lnTo>
                    <a:pt x="2675840" y="200876"/>
                  </a:lnTo>
                  <a:lnTo>
                    <a:pt x="2675890" y="200876"/>
                  </a:lnTo>
                  <a:lnTo>
                    <a:pt x="2675890" y="199530"/>
                  </a:lnTo>
                  <a:lnTo>
                    <a:pt x="2675890" y="202959"/>
                  </a:lnTo>
                  <a:lnTo>
                    <a:pt x="2675890" y="202260"/>
                  </a:lnTo>
                  <a:lnTo>
                    <a:pt x="2675941" y="202260"/>
                  </a:lnTo>
                  <a:lnTo>
                    <a:pt x="2675941" y="203594"/>
                  </a:lnTo>
                  <a:lnTo>
                    <a:pt x="2675941" y="202959"/>
                  </a:lnTo>
                  <a:lnTo>
                    <a:pt x="2676030" y="202959"/>
                  </a:lnTo>
                  <a:lnTo>
                    <a:pt x="2676030" y="203594"/>
                  </a:lnTo>
                  <a:lnTo>
                    <a:pt x="2676030" y="202959"/>
                  </a:lnTo>
                  <a:lnTo>
                    <a:pt x="2676081" y="202959"/>
                  </a:lnTo>
                  <a:lnTo>
                    <a:pt x="2676081" y="202260"/>
                  </a:lnTo>
                  <a:lnTo>
                    <a:pt x="2676132" y="202260"/>
                  </a:lnTo>
                  <a:lnTo>
                    <a:pt x="2676132" y="202959"/>
                  </a:lnTo>
                  <a:lnTo>
                    <a:pt x="2676132" y="200876"/>
                  </a:lnTo>
                  <a:lnTo>
                    <a:pt x="2676183" y="200876"/>
                  </a:lnTo>
                  <a:lnTo>
                    <a:pt x="2676183" y="202260"/>
                  </a:lnTo>
                  <a:lnTo>
                    <a:pt x="2676183" y="200876"/>
                  </a:lnTo>
                  <a:lnTo>
                    <a:pt x="2676183" y="202260"/>
                  </a:lnTo>
                  <a:lnTo>
                    <a:pt x="2676183" y="200876"/>
                  </a:lnTo>
                  <a:lnTo>
                    <a:pt x="2676284" y="200876"/>
                  </a:lnTo>
                  <a:lnTo>
                    <a:pt x="2676284" y="198831"/>
                  </a:lnTo>
                  <a:lnTo>
                    <a:pt x="2676335" y="198831"/>
                  </a:lnTo>
                  <a:lnTo>
                    <a:pt x="2676335" y="197447"/>
                  </a:lnTo>
                  <a:lnTo>
                    <a:pt x="2676335" y="199530"/>
                  </a:lnTo>
                  <a:lnTo>
                    <a:pt x="2676335" y="198831"/>
                  </a:lnTo>
                  <a:lnTo>
                    <a:pt x="2676335" y="200228"/>
                  </a:lnTo>
                  <a:lnTo>
                    <a:pt x="2676386" y="200228"/>
                  </a:lnTo>
                  <a:lnTo>
                    <a:pt x="2676386" y="198831"/>
                  </a:lnTo>
                  <a:lnTo>
                    <a:pt x="2676386" y="202260"/>
                  </a:lnTo>
                  <a:lnTo>
                    <a:pt x="2676386" y="200876"/>
                  </a:lnTo>
                  <a:lnTo>
                    <a:pt x="2676487" y="200876"/>
                  </a:lnTo>
                  <a:lnTo>
                    <a:pt x="2676487" y="200228"/>
                  </a:lnTo>
                  <a:lnTo>
                    <a:pt x="2676487" y="202959"/>
                  </a:lnTo>
                  <a:lnTo>
                    <a:pt x="2676526" y="202959"/>
                  </a:lnTo>
                  <a:lnTo>
                    <a:pt x="2676526" y="200876"/>
                  </a:lnTo>
                  <a:lnTo>
                    <a:pt x="2676526" y="202959"/>
                  </a:lnTo>
                  <a:lnTo>
                    <a:pt x="2676526" y="202260"/>
                  </a:lnTo>
                  <a:lnTo>
                    <a:pt x="2676576" y="202260"/>
                  </a:lnTo>
                  <a:lnTo>
                    <a:pt x="2676576" y="202959"/>
                  </a:lnTo>
                  <a:lnTo>
                    <a:pt x="2676576" y="202260"/>
                  </a:lnTo>
                  <a:lnTo>
                    <a:pt x="2676576" y="202959"/>
                  </a:lnTo>
                  <a:lnTo>
                    <a:pt x="2676627" y="202959"/>
                  </a:lnTo>
                  <a:lnTo>
                    <a:pt x="2676627" y="202260"/>
                  </a:lnTo>
                  <a:lnTo>
                    <a:pt x="2676627" y="202959"/>
                  </a:lnTo>
                  <a:lnTo>
                    <a:pt x="2676627" y="202260"/>
                  </a:lnTo>
                  <a:lnTo>
                    <a:pt x="2676627" y="203594"/>
                  </a:lnTo>
                  <a:lnTo>
                    <a:pt x="2676627" y="202260"/>
                  </a:lnTo>
                  <a:lnTo>
                    <a:pt x="2676729" y="202260"/>
                  </a:lnTo>
                  <a:lnTo>
                    <a:pt x="2676729" y="202959"/>
                  </a:lnTo>
                  <a:lnTo>
                    <a:pt x="2676729" y="200876"/>
                  </a:lnTo>
                  <a:lnTo>
                    <a:pt x="2676729" y="202260"/>
                  </a:lnTo>
                  <a:lnTo>
                    <a:pt x="2676780" y="202260"/>
                  </a:lnTo>
                  <a:lnTo>
                    <a:pt x="2676780" y="203594"/>
                  </a:lnTo>
                  <a:lnTo>
                    <a:pt x="2676780" y="202260"/>
                  </a:lnTo>
                  <a:lnTo>
                    <a:pt x="2676830" y="202260"/>
                  </a:lnTo>
                  <a:lnTo>
                    <a:pt x="2676830" y="204990"/>
                  </a:lnTo>
                  <a:lnTo>
                    <a:pt x="2676830" y="203594"/>
                  </a:lnTo>
                  <a:lnTo>
                    <a:pt x="2676830" y="204292"/>
                  </a:lnTo>
                  <a:lnTo>
                    <a:pt x="2676932" y="204292"/>
                  </a:lnTo>
                  <a:lnTo>
                    <a:pt x="2676932" y="203594"/>
                  </a:lnTo>
                  <a:lnTo>
                    <a:pt x="2676932" y="204990"/>
                  </a:lnTo>
                  <a:lnTo>
                    <a:pt x="2676983" y="204292"/>
                  </a:lnTo>
                  <a:lnTo>
                    <a:pt x="2676983" y="204990"/>
                  </a:lnTo>
                  <a:lnTo>
                    <a:pt x="2676983" y="204292"/>
                  </a:lnTo>
                  <a:lnTo>
                    <a:pt x="2676983" y="204990"/>
                  </a:lnTo>
                  <a:lnTo>
                    <a:pt x="2677033" y="204990"/>
                  </a:lnTo>
                  <a:lnTo>
                    <a:pt x="2677033" y="204292"/>
                  </a:lnTo>
                  <a:lnTo>
                    <a:pt x="2677072" y="204292"/>
                  </a:lnTo>
                  <a:lnTo>
                    <a:pt x="2677072" y="204990"/>
                  </a:lnTo>
                  <a:lnTo>
                    <a:pt x="2677072" y="203594"/>
                  </a:lnTo>
                  <a:lnTo>
                    <a:pt x="2677173" y="203594"/>
                  </a:lnTo>
                  <a:lnTo>
                    <a:pt x="2677173" y="204292"/>
                  </a:lnTo>
                  <a:lnTo>
                    <a:pt x="2677173" y="202959"/>
                  </a:lnTo>
                  <a:lnTo>
                    <a:pt x="2677173" y="203594"/>
                  </a:lnTo>
                  <a:lnTo>
                    <a:pt x="2677173" y="202959"/>
                  </a:lnTo>
                  <a:lnTo>
                    <a:pt x="2677173" y="204292"/>
                  </a:lnTo>
                  <a:lnTo>
                    <a:pt x="2677224" y="204990"/>
                  </a:lnTo>
                  <a:lnTo>
                    <a:pt x="2677224" y="206324"/>
                  </a:lnTo>
                  <a:lnTo>
                    <a:pt x="2677224" y="204292"/>
                  </a:lnTo>
                  <a:lnTo>
                    <a:pt x="2677224" y="204990"/>
                  </a:lnTo>
                  <a:lnTo>
                    <a:pt x="2677224" y="203594"/>
                  </a:lnTo>
                  <a:lnTo>
                    <a:pt x="2677224" y="207022"/>
                  </a:lnTo>
                  <a:lnTo>
                    <a:pt x="2677275" y="207022"/>
                  </a:lnTo>
                  <a:lnTo>
                    <a:pt x="2677275" y="206324"/>
                  </a:lnTo>
                  <a:lnTo>
                    <a:pt x="2677275" y="207721"/>
                  </a:lnTo>
                  <a:lnTo>
                    <a:pt x="2677376" y="207721"/>
                  </a:lnTo>
                  <a:lnTo>
                    <a:pt x="2677376" y="207022"/>
                  </a:lnTo>
                  <a:lnTo>
                    <a:pt x="2677376" y="207721"/>
                  </a:lnTo>
                  <a:lnTo>
                    <a:pt x="2677376" y="207022"/>
                  </a:lnTo>
                  <a:lnTo>
                    <a:pt x="2677376" y="207721"/>
                  </a:lnTo>
                  <a:lnTo>
                    <a:pt x="2677376" y="207022"/>
                  </a:lnTo>
                  <a:lnTo>
                    <a:pt x="2677427" y="207022"/>
                  </a:lnTo>
                  <a:lnTo>
                    <a:pt x="2677427" y="207721"/>
                  </a:lnTo>
                  <a:lnTo>
                    <a:pt x="2677427" y="207022"/>
                  </a:lnTo>
                  <a:lnTo>
                    <a:pt x="2677427" y="207721"/>
                  </a:lnTo>
                  <a:lnTo>
                    <a:pt x="2677427" y="206324"/>
                  </a:lnTo>
                  <a:lnTo>
                    <a:pt x="2677478" y="206324"/>
                  </a:lnTo>
                  <a:lnTo>
                    <a:pt x="2677478" y="207022"/>
                  </a:lnTo>
                  <a:lnTo>
                    <a:pt x="2677478" y="206324"/>
                  </a:lnTo>
                  <a:lnTo>
                    <a:pt x="2677478" y="207022"/>
                  </a:lnTo>
                  <a:lnTo>
                    <a:pt x="2677478" y="206324"/>
                  </a:lnTo>
                  <a:lnTo>
                    <a:pt x="2677478" y="207022"/>
                  </a:lnTo>
                  <a:lnTo>
                    <a:pt x="2677478" y="206324"/>
                  </a:lnTo>
                  <a:lnTo>
                    <a:pt x="2677529" y="206324"/>
                  </a:lnTo>
                  <a:lnTo>
                    <a:pt x="2677529" y="204292"/>
                  </a:lnTo>
                  <a:lnTo>
                    <a:pt x="2677529" y="204990"/>
                  </a:lnTo>
                  <a:lnTo>
                    <a:pt x="2677529" y="203594"/>
                  </a:lnTo>
                  <a:lnTo>
                    <a:pt x="2677618" y="203594"/>
                  </a:lnTo>
                  <a:lnTo>
                    <a:pt x="2677618" y="202260"/>
                  </a:lnTo>
                  <a:lnTo>
                    <a:pt x="2677669" y="202260"/>
                  </a:lnTo>
                  <a:lnTo>
                    <a:pt x="2677669" y="200876"/>
                  </a:lnTo>
                  <a:lnTo>
                    <a:pt x="2677669" y="202260"/>
                  </a:lnTo>
                  <a:lnTo>
                    <a:pt x="2677669" y="199530"/>
                  </a:lnTo>
                  <a:lnTo>
                    <a:pt x="2677669" y="200876"/>
                  </a:lnTo>
                  <a:lnTo>
                    <a:pt x="2677719" y="202260"/>
                  </a:lnTo>
                  <a:lnTo>
                    <a:pt x="2677719" y="202959"/>
                  </a:lnTo>
                  <a:lnTo>
                    <a:pt x="2677719" y="199530"/>
                  </a:lnTo>
                  <a:lnTo>
                    <a:pt x="2677719" y="203594"/>
                  </a:lnTo>
                  <a:lnTo>
                    <a:pt x="2677770" y="204292"/>
                  </a:lnTo>
                  <a:lnTo>
                    <a:pt x="2677770" y="202260"/>
                  </a:lnTo>
                  <a:lnTo>
                    <a:pt x="2677770" y="204292"/>
                  </a:lnTo>
                  <a:lnTo>
                    <a:pt x="2677872" y="204292"/>
                  </a:lnTo>
                  <a:lnTo>
                    <a:pt x="2677872" y="203594"/>
                  </a:lnTo>
                  <a:lnTo>
                    <a:pt x="2677872" y="204292"/>
                  </a:lnTo>
                  <a:lnTo>
                    <a:pt x="2677872" y="203594"/>
                  </a:lnTo>
                  <a:lnTo>
                    <a:pt x="2677872" y="204990"/>
                  </a:lnTo>
                  <a:lnTo>
                    <a:pt x="2677922" y="204990"/>
                  </a:lnTo>
                  <a:lnTo>
                    <a:pt x="2677922" y="204292"/>
                  </a:lnTo>
                  <a:lnTo>
                    <a:pt x="2677922" y="204990"/>
                  </a:lnTo>
                  <a:lnTo>
                    <a:pt x="2677973" y="204990"/>
                  </a:lnTo>
                  <a:lnTo>
                    <a:pt x="2677973" y="206324"/>
                  </a:lnTo>
                  <a:lnTo>
                    <a:pt x="2677973" y="204990"/>
                  </a:lnTo>
                  <a:lnTo>
                    <a:pt x="2678075" y="204292"/>
                  </a:lnTo>
                  <a:lnTo>
                    <a:pt x="2678075" y="204990"/>
                  </a:lnTo>
                  <a:lnTo>
                    <a:pt x="2678075" y="204292"/>
                  </a:lnTo>
                  <a:lnTo>
                    <a:pt x="2678075" y="204990"/>
                  </a:lnTo>
                  <a:lnTo>
                    <a:pt x="2678075" y="203594"/>
                  </a:lnTo>
                  <a:lnTo>
                    <a:pt x="2678075" y="204292"/>
                  </a:lnTo>
                  <a:lnTo>
                    <a:pt x="2678075" y="203594"/>
                  </a:lnTo>
                  <a:lnTo>
                    <a:pt x="2678113" y="203594"/>
                  </a:lnTo>
                  <a:lnTo>
                    <a:pt x="2678113" y="202260"/>
                  </a:lnTo>
                  <a:lnTo>
                    <a:pt x="2678164" y="202260"/>
                  </a:lnTo>
                  <a:lnTo>
                    <a:pt x="2678164" y="200228"/>
                  </a:lnTo>
                  <a:lnTo>
                    <a:pt x="2678164" y="200876"/>
                  </a:lnTo>
                  <a:lnTo>
                    <a:pt x="2678164" y="199530"/>
                  </a:lnTo>
                  <a:lnTo>
                    <a:pt x="2678164" y="200228"/>
                  </a:lnTo>
                  <a:lnTo>
                    <a:pt x="2678215" y="200228"/>
                  </a:lnTo>
                  <a:lnTo>
                    <a:pt x="2678215" y="197447"/>
                  </a:lnTo>
                  <a:lnTo>
                    <a:pt x="2678215" y="199530"/>
                  </a:lnTo>
                  <a:lnTo>
                    <a:pt x="2678316" y="200228"/>
                  </a:lnTo>
                  <a:lnTo>
                    <a:pt x="2678316" y="199530"/>
                  </a:lnTo>
                  <a:lnTo>
                    <a:pt x="2678316" y="200228"/>
                  </a:lnTo>
                  <a:lnTo>
                    <a:pt x="2678367" y="200876"/>
                  </a:lnTo>
                  <a:lnTo>
                    <a:pt x="2678367" y="200228"/>
                  </a:lnTo>
                  <a:lnTo>
                    <a:pt x="2678367" y="202260"/>
                  </a:lnTo>
                  <a:lnTo>
                    <a:pt x="2678418" y="202260"/>
                  </a:lnTo>
                  <a:lnTo>
                    <a:pt x="2678418" y="200876"/>
                  </a:lnTo>
                  <a:lnTo>
                    <a:pt x="2678418" y="203594"/>
                  </a:lnTo>
                  <a:lnTo>
                    <a:pt x="2678418" y="202959"/>
                  </a:lnTo>
                  <a:lnTo>
                    <a:pt x="2678418" y="203594"/>
                  </a:lnTo>
                  <a:lnTo>
                    <a:pt x="2678519" y="202959"/>
                  </a:lnTo>
                  <a:lnTo>
                    <a:pt x="2678519" y="203594"/>
                  </a:lnTo>
                  <a:lnTo>
                    <a:pt x="2678519" y="202959"/>
                  </a:lnTo>
                  <a:lnTo>
                    <a:pt x="2678519" y="203594"/>
                  </a:lnTo>
                  <a:lnTo>
                    <a:pt x="2678570" y="203594"/>
                  </a:lnTo>
                  <a:lnTo>
                    <a:pt x="2678570" y="202959"/>
                  </a:lnTo>
                  <a:lnTo>
                    <a:pt x="2678570" y="203594"/>
                  </a:lnTo>
                  <a:lnTo>
                    <a:pt x="2678570" y="202959"/>
                  </a:lnTo>
                  <a:lnTo>
                    <a:pt x="2678570" y="203594"/>
                  </a:lnTo>
                  <a:lnTo>
                    <a:pt x="2678570" y="202959"/>
                  </a:lnTo>
                  <a:lnTo>
                    <a:pt x="2678570" y="203594"/>
                  </a:lnTo>
                  <a:lnTo>
                    <a:pt x="2678570" y="202959"/>
                  </a:lnTo>
                  <a:lnTo>
                    <a:pt x="2678570" y="203594"/>
                  </a:lnTo>
                  <a:lnTo>
                    <a:pt x="2678621" y="203594"/>
                  </a:lnTo>
                  <a:lnTo>
                    <a:pt x="2678621" y="202260"/>
                  </a:lnTo>
                  <a:lnTo>
                    <a:pt x="2678659" y="202260"/>
                  </a:lnTo>
                  <a:lnTo>
                    <a:pt x="2678659" y="200228"/>
                  </a:lnTo>
                  <a:lnTo>
                    <a:pt x="2678659" y="202260"/>
                  </a:lnTo>
                  <a:lnTo>
                    <a:pt x="2678761" y="202260"/>
                  </a:lnTo>
                  <a:lnTo>
                    <a:pt x="2678761" y="199530"/>
                  </a:lnTo>
                  <a:lnTo>
                    <a:pt x="2678761" y="202959"/>
                  </a:lnTo>
                  <a:lnTo>
                    <a:pt x="2678761" y="202260"/>
                  </a:lnTo>
                  <a:lnTo>
                    <a:pt x="2678761" y="202959"/>
                  </a:lnTo>
                  <a:lnTo>
                    <a:pt x="2678761" y="202260"/>
                  </a:lnTo>
                  <a:lnTo>
                    <a:pt x="2678812" y="202260"/>
                  </a:lnTo>
                  <a:lnTo>
                    <a:pt x="2678812" y="199530"/>
                  </a:lnTo>
                  <a:lnTo>
                    <a:pt x="2678812" y="202260"/>
                  </a:lnTo>
                  <a:lnTo>
                    <a:pt x="2678812" y="200876"/>
                  </a:lnTo>
                  <a:lnTo>
                    <a:pt x="2678862" y="200876"/>
                  </a:lnTo>
                  <a:lnTo>
                    <a:pt x="2678862" y="202260"/>
                  </a:lnTo>
                  <a:lnTo>
                    <a:pt x="2678964" y="200876"/>
                  </a:lnTo>
                  <a:lnTo>
                    <a:pt x="2678964" y="202260"/>
                  </a:lnTo>
                  <a:lnTo>
                    <a:pt x="2678964" y="200876"/>
                  </a:lnTo>
                  <a:lnTo>
                    <a:pt x="2678964" y="202959"/>
                  </a:lnTo>
                  <a:lnTo>
                    <a:pt x="2678964" y="202260"/>
                  </a:lnTo>
                  <a:lnTo>
                    <a:pt x="2679015" y="202959"/>
                  </a:lnTo>
                  <a:lnTo>
                    <a:pt x="2679015" y="202260"/>
                  </a:lnTo>
                  <a:lnTo>
                    <a:pt x="2679015" y="202959"/>
                  </a:lnTo>
                  <a:lnTo>
                    <a:pt x="2679015" y="202260"/>
                  </a:lnTo>
                  <a:lnTo>
                    <a:pt x="2679015" y="202959"/>
                  </a:lnTo>
                  <a:lnTo>
                    <a:pt x="2679015" y="202260"/>
                  </a:lnTo>
                  <a:lnTo>
                    <a:pt x="2679015" y="202959"/>
                  </a:lnTo>
                  <a:lnTo>
                    <a:pt x="2679065" y="202959"/>
                  </a:lnTo>
                  <a:lnTo>
                    <a:pt x="2679065" y="203594"/>
                  </a:lnTo>
                  <a:lnTo>
                    <a:pt x="2679065" y="202959"/>
                  </a:lnTo>
                  <a:lnTo>
                    <a:pt x="2679065" y="203594"/>
                  </a:lnTo>
                  <a:lnTo>
                    <a:pt x="2679065" y="202959"/>
                  </a:lnTo>
                  <a:lnTo>
                    <a:pt x="2679065" y="203594"/>
                  </a:lnTo>
                  <a:lnTo>
                    <a:pt x="2679116" y="202959"/>
                  </a:lnTo>
                  <a:lnTo>
                    <a:pt x="2679116" y="203594"/>
                  </a:lnTo>
                  <a:lnTo>
                    <a:pt x="2679116" y="202959"/>
                  </a:lnTo>
                  <a:lnTo>
                    <a:pt x="2679116" y="203594"/>
                  </a:lnTo>
                  <a:lnTo>
                    <a:pt x="2679116" y="202959"/>
                  </a:lnTo>
                  <a:lnTo>
                    <a:pt x="2679116" y="203594"/>
                  </a:lnTo>
                  <a:lnTo>
                    <a:pt x="2679116" y="202959"/>
                  </a:lnTo>
                  <a:lnTo>
                    <a:pt x="2679205" y="202260"/>
                  </a:lnTo>
                  <a:lnTo>
                    <a:pt x="2679205" y="203594"/>
                  </a:lnTo>
                  <a:lnTo>
                    <a:pt x="2679205" y="202260"/>
                  </a:lnTo>
                  <a:lnTo>
                    <a:pt x="2679256" y="202260"/>
                  </a:lnTo>
                  <a:lnTo>
                    <a:pt x="2679256" y="204292"/>
                  </a:lnTo>
                  <a:lnTo>
                    <a:pt x="2679256" y="202959"/>
                  </a:lnTo>
                  <a:lnTo>
                    <a:pt x="2679307" y="203594"/>
                  </a:lnTo>
                  <a:lnTo>
                    <a:pt x="2679307" y="202959"/>
                  </a:lnTo>
                  <a:lnTo>
                    <a:pt x="2679307" y="204292"/>
                  </a:lnTo>
                  <a:lnTo>
                    <a:pt x="2679307" y="203594"/>
                  </a:lnTo>
                  <a:lnTo>
                    <a:pt x="2679459" y="203594"/>
                  </a:lnTo>
                  <a:lnTo>
                    <a:pt x="2679459" y="202959"/>
                  </a:lnTo>
                  <a:lnTo>
                    <a:pt x="2679510" y="202959"/>
                  </a:lnTo>
                  <a:lnTo>
                    <a:pt x="2679510" y="200876"/>
                  </a:lnTo>
                  <a:lnTo>
                    <a:pt x="2679510" y="202260"/>
                  </a:lnTo>
                  <a:lnTo>
                    <a:pt x="2679561" y="202260"/>
                  </a:lnTo>
                  <a:lnTo>
                    <a:pt x="2679561" y="200876"/>
                  </a:lnTo>
                  <a:lnTo>
                    <a:pt x="2679561" y="202260"/>
                  </a:lnTo>
                  <a:lnTo>
                    <a:pt x="2679561" y="200876"/>
                  </a:lnTo>
                  <a:lnTo>
                    <a:pt x="2679561" y="202260"/>
                  </a:lnTo>
                  <a:lnTo>
                    <a:pt x="2679561" y="200876"/>
                  </a:lnTo>
                  <a:lnTo>
                    <a:pt x="2679561" y="202260"/>
                  </a:lnTo>
                  <a:lnTo>
                    <a:pt x="2679561" y="200876"/>
                  </a:lnTo>
                  <a:lnTo>
                    <a:pt x="2679662" y="202260"/>
                  </a:lnTo>
                  <a:lnTo>
                    <a:pt x="2679662" y="199530"/>
                  </a:lnTo>
                  <a:lnTo>
                    <a:pt x="2679662" y="200228"/>
                  </a:lnTo>
                  <a:lnTo>
                    <a:pt x="2679701" y="200876"/>
                  </a:lnTo>
                  <a:lnTo>
                    <a:pt x="2679701" y="202260"/>
                  </a:lnTo>
                  <a:lnTo>
                    <a:pt x="2679701" y="200876"/>
                  </a:lnTo>
                  <a:lnTo>
                    <a:pt x="2679701" y="202260"/>
                  </a:lnTo>
                  <a:lnTo>
                    <a:pt x="2679701" y="200876"/>
                  </a:lnTo>
                  <a:lnTo>
                    <a:pt x="2679701" y="202959"/>
                  </a:lnTo>
                  <a:lnTo>
                    <a:pt x="2679751" y="202959"/>
                  </a:lnTo>
                  <a:lnTo>
                    <a:pt x="2679751" y="203594"/>
                  </a:lnTo>
                  <a:lnTo>
                    <a:pt x="2679751" y="202260"/>
                  </a:lnTo>
                  <a:lnTo>
                    <a:pt x="2679751" y="203594"/>
                  </a:lnTo>
                  <a:lnTo>
                    <a:pt x="2679802" y="203594"/>
                  </a:lnTo>
                  <a:lnTo>
                    <a:pt x="2679802" y="202959"/>
                  </a:lnTo>
                  <a:lnTo>
                    <a:pt x="2679802" y="204292"/>
                  </a:lnTo>
                  <a:lnTo>
                    <a:pt x="2679904" y="204292"/>
                  </a:lnTo>
                  <a:lnTo>
                    <a:pt x="2679904" y="203594"/>
                  </a:lnTo>
                  <a:lnTo>
                    <a:pt x="2679904" y="204292"/>
                  </a:lnTo>
                  <a:lnTo>
                    <a:pt x="2679904" y="203594"/>
                  </a:lnTo>
                  <a:lnTo>
                    <a:pt x="2679955" y="202959"/>
                  </a:lnTo>
                  <a:lnTo>
                    <a:pt x="2679955" y="203594"/>
                  </a:lnTo>
                  <a:lnTo>
                    <a:pt x="2679955" y="202959"/>
                  </a:lnTo>
                  <a:lnTo>
                    <a:pt x="2679955" y="203594"/>
                  </a:lnTo>
                  <a:lnTo>
                    <a:pt x="2679955" y="202959"/>
                  </a:lnTo>
                  <a:lnTo>
                    <a:pt x="2679955" y="203594"/>
                  </a:lnTo>
                  <a:lnTo>
                    <a:pt x="2679955" y="202959"/>
                  </a:lnTo>
                  <a:lnTo>
                    <a:pt x="2679955" y="203594"/>
                  </a:lnTo>
                  <a:lnTo>
                    <a:pt x="2679955" y="202959"/>
                  </a:lnTo>
                  <a:lnTo>
                    <a:pt x="2680005" y="202959"/>
                  </a:lnTo>
                  <a:lnTo>
                    <a:pt x="2680005" y="202260"/>
                  </a:lnTo>
                  <a:lnTo>
                    <a:pt x="2680107" y="202260"/>
                  </a:lnTo>
                  <a:lnTo>
                    <a:pt x="2680107" y="200228"/>
                  </a:lnTo>
                  <a:lnTo>
                    <a:pt x="2680158" y="200228"/>
                  </a:lnTo>
                  <a:lnTo>
                    <a:pt x="2680158" y="198831"/>
                  </a:lnTo>
                  <a:lnTo>
                    <a:pt x="2680158" y="200228"/>
                  </a:lnTo>
                  <a:lnTo>
                    <a:pt x="2680208" y="200228"/>
                  </a:lnTo>
                  <a:lnTo>
                    <a:pt x="2680208" y="198831"/>
                  </a:lnTo>
                  <a:lnTo>
                    <a:pt x="2680208" y="202260"/>
                  </a:lnTo>
                  <a:lnTo>
                    <a:pt x="2680208" y="200876"/>
                  </a:lnTo>
                  <a:lnTo>
                    <a:pt x="2680247" y="200876"/>
                  </a:lnTo>
                  <a:lnTo>
                    <a:pt x="2680247" y="200228"/>
                  </a:lnTo>
                  <a:lnTo>
                    <a:pt x="2680247" y="202959"/>
                  </a:lnTo>
                  <a:lnTo>
                    <a:pt x="2680247" y="202260"/>
                  </a:lnTo>
                  <a:lnTo>
                    <a:pt x="2680247" y="202959"/>
                  </a:lnTo>
                  <a:lnTo>
                    <a:pt x="2680247" y="202260"/>
                  </a:lnTo>
                  <a:lnTo>
                    <a:pt x="2680348" y="202260"/>
                  </a:lnTo>
                  <a:lnTo>
                    <a:pt x="2680348" y="203594"/>
                  </a:lnTo>
                  <a:lnTo>
                    <a:pt x="2680348" y="202959"/>
                  </a:lnTo>
                  <a:lnTo>
                    <a:pt x="2680348" y="203594"/>
                  </a:lnTo>
                  <a:lnTo>
                    <a:pt x="2680399" y="203594"/>
                  </a:lnTo>
                  <a:lnTo>
                    <a:pt x="2680399" y="204292"/>
                  </a:lnTo>
                  <a:lnTo>
                    <a:pt x="2680399" y="202959"/>
                  </a:lnTo>
                  <a:lnTo>
                    <a:pt x="2680399" y="203594"/>
                  </a:lnTo>
                  <a:lnTo>
                    <a:pt x="2680450" y="203594"/>
                  </a:lnTo>
                  <a:lnTo>
                    <a:pt x="2680450" y="204292"/>
                  </a:lnTo>
                  <a:lnTo>
                    <a:pt x="2680450" y="202959"/>
                  </a:lnTo>
                  <a:lnTo>
                    <a:pt x="2680551" y="202959"/>
                  </a:lnTo>
                  <a:lnTo>
                    <a:pt x="2680551" y="202260"/>
                  </a:lnTo>
                  <a:lnTo>
                    <a:pt x="2680551" y="203594"/>
                  </a:lnTo>
                  <a:lnTo>
                    <a:pt x="2680551" y="202260"/>
                  </a:lnTo>
                  <a:lnTo>
                    <a:pt x="2680602" y="202260"/>
                  </a:lnTo>
                  <a:lnTo>
                    <a:pt x="2680602" y="200876"/>
                  </a:lnTo>
                  <a:lnTo>
                    <a:pt x="2680602" y="202260"/>
                  </a:lnTo>
                  <a:lnTo>
                    <a:pt x="2680602" y="199530"/>
                  </a:lnTo>
                  <a:lnTo>
                    <a:pt x="2680653" y="199530"/>
                  </a:lnTo>
                  <a:lnTo>
                    <a:pt x="2680653" y="200228"/>
                  </a:lnTo>
                  <a:lnTo>
                    <a:pt x="2680653" y="197447"/>
                  </a:lnTo>
                  <a:lnTo>
                    <a:pt x="2680653" y="200228"/>
                  </a:lnTo>
                  <a:lnTo>
                    <a:pt x="2680653" y="199530"/>
                  </a:lnTo>
                  <a:lnTo>
                    <a:pt x="2680704" y="198831"/>
                  </a:lnTo>
                  <a:lnTo>
                    <a:pt x="2680704" y="197447"/>
                  </a:lnTo>
                  <a:lnTo>
                    <a:pt x="2680704" y="198831"/>
                  </a:lnTo>
                  <a:lnTo>
                    <a:pt x="2680704" y="197447"/>
                  </a:lnTo>
                  <a:lnTo>
                    <a:pt x="2680704" y="200876"/>
                  </a:lnTo>
                  <a:lnTo>
                    <a:pt x="2680704" y="200228"/>
                  </a:lnTo>
                  <a:lnTo>
                    <a:pt x="2680793" y="200228"/>
                  </a:lnTo>
                  <a:lnTo>
                    <a:pt x="2680793" y="199530"/>
                  </a:lnTo>
                  <a:lnTo>
                    <a:pt x="2680793" y="202260"/>
                  </a:lnTo>
                  <a:lnTo>
                    <a:pt x="2680844" y="200876"/>
                  </a:lnTo>
                  <a:lnTo>
                    <a:pt x="2680844" y="202260"/>
                  </a:lnTo>
                  <a:lnTo>
                    <a:pt x="2680844" y="200876"/>
                  </a:lnTo>
                  <a:lnTo>
                    <a:pt x="2680844" y="202260"/>
                  </a:lnTo>
                  <a:lnTo>
                    <a:pt x="2680844" y="200876"/>
                  </a:lnTo>
                  <a:lnTo>
                    <a:pt x="2680844" y="202959"/>
                  </a:lnTo>
                  <a:lnTo>
                    <a:pt x="2680844" y="202260"/>
                  </a:lnTo>
                  <a:lnTo>
                    <a:pt x="2680894" y="202260"/>
                  </a:lnTo>
                  <a:lnTo>
                    <a:pt x="2680894" y="202959"/>
                  </a:lnTo>
                  <a:lnTo>
                    <a:pt x="2680894" y="202260"/>
                  </a:lnTo>
                  <a:lnTo>
                    <a:pt x="2680894" y="203594"/>
                  </a:lnTo>
                  <a:lnTo>
                    <a:pt x="2680894" y="202959"/>
                  </a:lnTo>
                  <a:lnTo>
                    <a:pt x="2680945" y="202260"/>
                  </a:lnTo>
                  <a:lnTo>
                    <a:pt x="2680945" y="203594"/>
                  </a:lnTo>
                  <a:lnTo>
                    <a:pt x="2680945" y="202959"/>
                  </a:lnTo>
                  <a:lnTo>
                    <a:pt x="2681097" y="202959"/>
                  </a:lnTo>
                  <a:lnTo>
                    <a:pt x="2681097" y="200228"/>
                  </a:lnTo>
                  <a:lnTo>
                    <a:pt x="2681148" y="200228"/>
                  </a:lnTo>
                  <a:lnTo>
                    <a:pt x="2681148" y="199530"/>
                  </a:lnTo>
                  <a:lnTo>
                    <a:pt x="2681148" y="200228"/>
                  </a:lnTo>
                  <a:lnTo>
                    <a:pt x="2681148" y="198831"/>
                  </a:lnTo>
                  <a:lnTo>
                    <a:pt x="2681250" y="198831"/>
                  </a:lnTo>
                  <a:lnTo>
                    <a:pt x="2681250" y="202260"/>
                  </a:lnTo>
                  <a:lnTo>
                    <a:pt x="2681250" y="199530"/>
                  </a:lnTo>
                  <a:lnTo>
                    <a:pt x="2681250" y="200228"/>
                  </a:lnTo>
                  <a:lnTo>
                    <a:pt x="2681250" y="199530"/>
                  </a:lnTo>
                  <a:lnTo>
                    <a:pt x="2681250" y="200228"/>
                  </a:lnTo>
                  <a:lnTo>
                    <a:pt x="2681250" y="199530"/>
                  </a:lnTo>
                  <a:lnTo>
                    <a:pt x="2681288" y="200228"/>
                  </a:lnTo>
                  <a:lnTo>
                    <a:pt x="2681288" y="202260"/>
                  </a:lnTo>
                  <a:lnTo>
                    <a:pt x="2681288" y="200228"/>
                  </a:lnTo>
                  <a:lnTo>
                    <a:pt x="2681288" y="200876"/>
                  </a:lnTo>
                  <a:lnTo>
                    <a:pt x="2681339" y="200876"/>
                  </a:lnTo>
                  <a:lnTo>
                    <a:pt x="2681339" y="200228"/>
                  </a:lnTo>
                  <a:lnTo>
                    <a:pt x="2681339" y="200876"/>
                  </a:lnTo>
                  <a:lnTo>
                    <a:pt x="2681390" y="200876"/>
                  </a:lnTo>
                  <a:lnTo>
                    <a:pt x="2681390" y="200228"/>
                  </a:lnTo>
                  <a:lnTo>
                    <a:pt x="2681390" y="202260"/>
                  </a:lnTo>
                  <a:lnTo>
                    <a:pt x="2681390" y="200876"/>
                  </a:lnTo>
                  <a:lnTo>
                    <a:pt x="2681390" y="202260"/>
                  </a:lnTo>
                  <a:lnTo>
                    <a:pt x="2681390" y="200876"/>
                  </a:lnTo>
                  <a:lnTo>
                    <a:pt x="2681491" y="200876"/>
                  </a:lnTo>
                  <a:lnTo>
                    <a:pt x="2681491" y="202260"/>
                  </a:lnTo>
                  <a:lnTo>
                    <a:pt x="2681491" y="200876"/>
                  </a:lnTo>
                  <a:lnTo>
                    <a:pt x="2681491" y="202959"/>
                  </a:lnTo>
                  <a:lnTo>
                    <a:pt x="2681491" y="202260"/>
                  </a:lnTo>
                  <a:lnTo>
                    <a:pt x="2681491" y="202959"/>
                  </a:lnTo>
                  <a:lnTo>
                    <a:pt x="2681542" y="202959"/>
                  </a:lnTo>
                  <a:lnTo>
                    <a:pt x="2681542" y="200876"/>
                  </a:lnTo>
                  <a:lnTo>
                    <a:pt x="2681593" y="200876"/>
                  </a:lnTo>
                  <a:lnTo>
                    <a:pt x="2681593" y="199530"/>
                  </a:lnTo>
                  <a:lnTo>
                    <a:pt x="2681593" y="202260"/>
                  </a:lnTo>
                  <a:lnTo>
                    <a:pt x="2681694" y="200876"/>
                  </a:lnTo>
                  <a:lnTo>
                    <a:pt x="2681694" y="200228"/>
                  </a:lnTo>
                  <a:lnTo>
                    <a:pt x="2681694" y="202959"/>
                  </a:lnTo>
                  <a:lnTo>
                    <a:pt x="2681745" y="202959"/>
                  </a:lnTo>
                  <a:lnTo>
                    <a:pt x="2681745" y="202260"/>
                  </a:lnTo>
                  <a:lnTo>
                    <a:pt x="2681745" y="203594"/>
                  </a:lnTo>
                  <a:lnTo>
                    <a:pt x="2681745" y="202959"/>
                  </a:lnTo>
                  <a:lnTo>
                    <a:pt x="2681745" y="204292"/>
                  </a:lnTo>
                  <a:lnTo>
                    <a:pt x="2681796" y="203594"/>
                  </a:lnTo>
                  <a:lnTo>
                    <a:pt x="2681796" y="202959"/>
                  </a:lnTo>
                  <a:lnTo>
                    <a:pt x="2681834" y="202959"/>
                  </a:lnTo>
                  <a:lnTo>
                    <a:pt x="2681834" y="202260"/>
                  </a:lnTo>
                  <a:lnTo>
                    <a:pt x="2681834" y="202959"/>
                  </a:lnTo>
                  <a:lnTo>
                    <a:pt x="2681834" y="202260"/>
                  </a:lnTo>
                  <a:lnTo>
                    <a:pt x="2681834" y="202959"/>
                  </a:lnTo>
                  <a:lnTo>
                    <a:pt x="2681834" y="202260"/>
                  </a:lnTo>
                  <a:lnTo>
                    <a:pt x="2681834" y="202959"/>
                  </a:lnTo>
                  <a:lnTo>
                    <a:pt x="2681834" y="202260"/>
                  </a:lnTo>
                  <a:lnTo>
                    <a:pt x="2681936" y="202260"/>
                  </a:lnTo>
                  <a:lnTo>
                    <a:pt x="2681936" y="202959"/>
                  </a:lnTo>
                  <a:lnTo>
                    <a:pt x="2681936" y="202260"/>
                  </a:lnTo>
                  <a:lnTo>
                    <a:pt x="2681936" y="202959"/>
                  </a:lnTo>
                  <a:lnTo>
                    <a:pt x="2681936" y="202260"/>
                  </a:lnTo>
                  <a:lnTo>
                    <a:pt x="2681936" y="202959"/>
                  </a:lnTo>
                  <a:lnTo>
                    <a:pt x="2681936" y="202260"/>
                  </a:lnTo>
                  <a:lnTo>
                    <a:pt x="2681936" y="202959"/>
                  </a:lnTo>
                  <a:lnTo>
                    <a:pt x="2681936" y="202260"/>
                  </a:lnTo>
                  <a:lnTo>
                    <a:pt x="2681987" y="202260"/>
                  </a:lnTo>
                  <a:lnTo>
                    <a:pt x="2681987" y="202959"/>
                  </a:lnTo>
                  <a:lnTo>
                    <a:pt x="2681987" y="202260"/>
                  </a:lnTo>
                  <a:lnTo>
                    <a:pt x="2682037" y="202260"/>
                  </a:lnTo>
                  <a:lnTo>
                    <a:pt x="2682037" y="200228"/>
                  </a:lnTo>
                  <a:lnTo>
                    <a:pt x="2682037" y="200876"/>
                  </a:lnTo>
                  <a:lnTo>
                    <a:pt x="2682037" y="200228"/>
                  </a:lnTo>
                  <a:lnTo>
                    <a:pt x="2682037" y="200876"/>
                  </a:lnTo>
                  <a:lnTo>
                    <a:pt x="2682037" y="200228"/>
                  </a:lnTo>
                  <a:lnTo>
                    <a:pt x="2682139" y="199530"/>
                  </a:lnTo>
                  <a:lnTo>
                    <a:pt x="2682139" y="200228"/>
                  </a:lnTo>
                  <a:lnTo>
                    <a:pt x="2682139" y="199530"/>
                  </a:lnTo>
                  <a:lnTo>
                    <a:pt x="2682139" y="200876"/>
                  </a:lnTo>
                  <a:lnTo>
                    <a:pt x="2682139" y="200228"/>
                  </a:lnTo>
                  <a:lnTo>
                    <a:pt x="2682190" y="200228"/>
                  </a:lnTo>
                  <a:lnTo>
                    <a:pt x="2682190" y="202959"/>
                  </a:lnTo>
                  <a:lnTo>
                    <a:pt x="2682190" y="202260"/>
                  </a:lnTo>
                  <a:lnTo>
                    <a:pt x="2682190" y="202959"/>
                  </a:lnTo>
                  <a:lnTo>
                    <a:pt x="2682190" y="202260"/>
                  </a:lnTo>
                  <a:lnTo>
                    <a:pt x="2682240" y="200876"/>
                  </a:lnTo>
                  <a:lnTo>
                    <a:pt x="2682240" y="203594"/>
                  </a:lnTo>
                  <a:lnTo>
                    <a:pt x="2682240" y="202959"/>
                  </a:lnTo>
                  <a:lnTo>
                    <a:pt x="2682291" y="202959"/>
                  </a:lnTo>
                  <a:lnTo>
                    <a:pt x="2682291" y="203594"/>
                  </a:lnTo>
                  <a:lnTo>
                    <a:pt x="2682291" y="202959"/>
                  </a:lnTo>
                  <a:lnTo>
                    <a:pt x="2682291" y="203594"/>
                  </a:lnTo>
                  <a:lnTo>
                    <a:pt x="2682291" y="202959"/>
                  </a:lnTo>
                  <a:lnTo>
                    <a:pt x="2682431" y="202959"/>
                  </a:lnTo>
                  <a:lnTo>
                    <a:pt x="2682431" y="202260"/>
                  </a:lnTo>
                  <a:lnTo>
                    <a:pt x="2682431" y="202959"/>
                  </a:lnTo>
                  <a:lnTo>
                    <a:pt x="2682431" y="202260"/>
                  </a:lnTo>
                  <a:lnTo>
                    <a:pt x="2682431" y="202959"/>
                  </a:lnTo>
                  <a:lnTo>
                    <a:pt x="2682431" y="202260"/>
                  </a:lnTo>
                  <a:lnTo>
                    <a:pt x="2682431" y="202959"/>
                  </a:lnTo>
                  <a:lnTo>
                    <a:pt x="2682431" y="202260"/>
                  </a:lnTo>
                  <a:lnTo>
                    <a:pt x="2682482" y="202260"/>
                  </a:lnTo>
                  <a:lnTo>
                    <a:pt x="2682482" y="200876"/>
                  </a:lnTo>
                  <a:lnTo>
                    <a:pt x="2682482" y="202260"/>
                  </a:lnTo>
                  <a:lnTo>
                    <a:pt x="2682482" y="200876"/>
                  </a:lnTo>
                  <a:lnTo>
                    <a:pt x="2682482" y="202260"/>
                  </a:lnTo>
                  <a:lnTo>
                    <a:pt x="2682482" y="200876"/>
                  </a:lnTo>
                  <a:lnTo>
                    <a:pt x="2682482" y="202260"/>
                  </a:lnTo>
                  <a:lnTo>
                    <a:pt x="2682482" y="200876"/>
                  </a:lnTo>
                  <a:lnTo>
                    <a:pt x="2682482" y="202260"/>
                  </a:lnTo>
                  <a:lnTo>
                    <a:pt x="2682482" y="200876"/>
                  </a:lnTo>
                  <a:lnTo>
                    <a:pt x="2682533" y="200876"/>
                  </a:lnTo>
                  <a:lnTo>
                    <a:pt x="2682533" y="199530"/>
                  </a:lnTo>
                  <a:lnTo>
                    <a:pt x="2682533" y="200228"/>
                  </a:lnTo>
                  <a:lnTo>
                    <a:pt x="2682533" y="197447"/>
                  </a:lnTo>
                  <a:lnTo>
                    <a:pt x="2682634" y="198831"/>
                  </a:lnTo>
                  <a:lnTo>
                    <a:pt x="2682634" y="199530"/>
                  </a:lnTo>
                  <a:lnTo>
                    <a:pt x="2682634" y="198831"/>
                  </a:lnTo>
                  <a:lnTo>
                    <a:pt x="2682634" y="200876"/>
                  </a:lnTo>
                  <a:lnTo>
                    <a:pt x="2682685" y="200876"/>
                  </a:lnTo>
                  <a:lnTo>
                    <a:pt x="2682685" y="200228"/>
                  </a:lnTo>
                  <a:lnTo>
                    <a:pt x="2682685" y="202260"/>
                  </a:lnTo>
                  <a:lnTo>
                    <a:pt x="2682736" y="202959"/>
                  </a:lnTo>
                  <a:lnTo>
                    <a:pt x="2682736" y="200876"/>
                  </a:lnTo>
                  <a:lnTo>
                    <a:pt x="2682736" y="202959"/>
                  </a:lnTo>
                  <a:lnTo>
                    <a:pt x="2682837" y="202959"/>
                  </a:lnTo>
                  <a:lnTo>
                    <a:pt x="2682837" y="203594"/>
                  </a:lnTo>
                  <a:lnTo>
                    <a:pt x="2682837" y="202260"/>
                  </a:lnTo>
                  <a:lnTo>
                    <a:pt x="2682837" y="202959"/>
                  </a:lnTo>
                  <a:lnTo>
                    <a:pt x="2682876" y="202959"/>
                  </a:lnTo>
                  <a:lnTo>
                    <a:pt x="2682876" y="202260"/>
                  </a:lnTo>
                  <a:lnTo>
                    <a:pt x="2682876" y="202959"/>
                  </a:lnTo>
                  <a:lnTo>
                    <a:pt x="2682876" y="202260"/>
                  </a:lnTo>
                  <a:lnTo>
                    <a:pt x="2682876" y="202959"/>
                  </a:lnTo>
                  <a:lnTo>
                    <a:pt x="2682926" y="202959"/>
                  </a:lnTo>
                  <a:lnTo>
                    <a:pt x="2682926" y="203594"/>
                  </a:lnTo>
                  <a:lnTo>
                    <a:pt x="2682926" y="202260"/>
                  </a:lnTo>
                  <a:lnTo>
                    <a:pt x="2682926" y="202959"/>
                  </a:lnTo>
                  <a:lnTo>
                    <a:pt x="2682926" y="202260"/>
                  </a:lnTo>
                  <a:lnTo>
                    <a:pt x="2682926" y="202959"/>
                  </a:lnTo>
                  <a:lnTo>
                    <a:pt x="2682926" y="202260"/>
                  </a:lnTo>
                  <a:lnTo>
                    <a:pt x="2682977" y="202260"/>
                  </a:lnTo>
                  <a:lnTo>
                    <a:pt x="2682977" y="202959"/>
                  </a:lnTo>
                  <a:lnTo>
                    <a:pt x="2682977" y="200228"/>
                  </a:lnTo>
                  <a:lnTo>
                    <a:pt x="2682977" y="200876"/>
                  </a:lnTo>
                  <a:lnTo>
                    <a:pt x="2683079" y="200228"/>
                  </a:lnTo>
                  <a:lnTo>
                    <a:pt x="2683079" y="198831"/>
                  </a:lnTo>
                  <a:lnTo>
                    <a:pt x="2683079" y="199530"/>
                  </a:lnTo>
                  <a:lnTo>
                    <a:pt x="2683130" y="199530"/>
                  </a:lnTo>
                  <a:lnTo>
                    <a:pt x="2683130" y="198831"/>
                  </a:lnTo>
                  <a:lnTo>
                    <a:pt x="2683130" y="200876"/>
                  </a:lnTo>
                  <a:lnTo>
                    <a:pt x="2683180" y="202260"/>
                  </a:lnTo>
                  <a:lnTo>
                    <a:pt x="2683180" y="199530"/>
                  </a:lnTo>
                  <a:lnTo>
                    <a:pt x="2683180" y="202260"/>
                  </a:lnTo>
                  <a:lnTo>
                    <a:pt x="2683282" y="202260"/>
                  </a:lnTo>
                  <a:lnTo>
                    <a:pt x="2683282" y="200228"/>
                  </a:lnTo>
                  <a:lnTo>
                    <a:pt x="2683282" y="202260"/>
                  </a:lnTo>
                  <a:lnTo>
                    <a:pt x="2683282" y="200876"/>
                  </a:lnTo>
                  <a:lnTo>
                    <a:pt x="2683333" y="200876"/>
                  </a:lnTo>
                  <a:lnTo>
                    <a:pt x="2683333" y="200228"/>
                  </a:lnTo>
                  <a:lnTo>
                    <a:pt x="2683333" y="202260"/>
                  </a:lnTo>
                  <a:lnTo>
                    <a:pt x="2683333" y="200876"/>
                  </a:lnTo>
                  <a:lnTo>
                    <a:pt x="2683333" y="202260"/>
                  </a:lnTo>
                  <a:lnTo>
                    <a:pt x="2683383" y="200876"/>
                  </a:lnTo>
                  <a:lnTo>
                    <a:pt x="2683383" y="202260"/>
                  </a:lnTo>
                  <a:lnTo>
                    <a:pt x="2683383" y="200876"/>
                  </a:lnTo>
                  <a:lnTo>
                    <a:pt x="2683383" y="202959"/>
                  </a:lnTo>
                  <a:lnTo>
                    <a:pt x="2683383" y="202260"/>
                  </a:lnTo>
                  <a:lnTo>
                    <a:pt x="2683383" y="202959"/>
                  </a:lnTo>
                  <a:lnTo>
                    <a:pt x="2683383" y="202260"/>
                  </a:lnTo>
                  <a:lnTo>
                    <a:pt x="2683422" y="202260"/>
                  </a:lnTo>
                  <a:lnTo>
                    <a:pt x="2683422" y="202959"/>
                  </a:lnTo>
                  <a:lnTo>
                    <a:pt x="2683422" y="202260"/>
                  </a:lnTo>
                  <a:lnTo>
                    <a:pt x="2683422" y="202959"/>
                  </a:lnTo>
                  <a:lnTo>
                    <a:pt x="2683422" y="202260"/>
                  </a:lnTo>
                  <a:lnTo>
                    <a:pt x="2683523" y="202260"/>
                  </a:lnTo>
                  <a:lnTo>
                    <a:pt x="2683523" y="199530"/>
                  </a:lnTo>
                  <a:lnTo>
                    <a:pt x="2683574" y="199530"/>
                  </a:lnTo>
                  <a:lnTo>
                    <a:pt x="2683574" y="196799"/>
                  </a:lnTo>
                  <a:lnTo>
                    <a:pt x="2683574" y="197447"/>
                  </a:lnTo>
                  <a:lnTo>
                    <a:pt x="2683625" y="197447"/>
                  </a:lnTo>
                  <a:lnTo>
                    <a:pt x="2683625" y="199530"/>
                  </a:lnTo>
                  <a:lnTo>
                    <a:pt x="2683625" y="198831"/>
                  </a:lnTo>
                  <a:lnTo>
                    <a:pt x="2683625" y="199530"/>
                  </a:lnTo>
                  <a:lnTo>
                    <a:pt x="2683726" y="199530"/>
                  </a:lnTo>
                  <a:lnTo>
                    <a:pt x="2683726" y="198831"/>
                  </a:lnTo>
                  <a:lnTo>
                    <a:pt x="2683726" y="200228"/>
                  </a:lnTo>
                  <a:lnTo>
                    <a:pt x="2683777" y="200228"/>
                  </a:lnTo>
                  <a:lnTo>
                    <a:pt x="2683777" y="199530"/>
                  </a:lnTo>
                  <a:lnTo>
                    <a:pt x="2683777" y="200228"/>
                  </a:lnTo>
                  <a:lnTo>
                    <a:pt x="2683777" y="199530"/>
                  </a:lnTo>
                  <a:lnTo>
                    <a:pt x="2683777" y="200228"/>
                  </a:lnTo>
                  <a:lnTo>
                    <a:pt x="2683828" y="200228"/>
                  </a:lnTo>
                  <a:lnTo>
                    <a:pt x="2683828" y="199530"/>
                  </a:lnTo>
                  <a:lnTo>
                    <a:pt x="2683828" y="200876"/>
                  </a:lnTo>
                  <a:lnTo>
                    <a:pt x="2683828" y="200228"/>
                  </a:lnTo>
                  <a:lnTo>
                    <a:pt x="2683879" y="200228"/>
                  </a:lnTo>
                  <a:lnTo>
                    <a:pt x="2683879" y="202260"/>
                  </a:lnTo>
                  <a:lnTo>
                    <a:pt x="2683879" y="200876"/>
                  </a:lnTo>
                  <a:lnTo>
                    <a:pt x="2683879" y="202260"/>
                  </a:lnTo>
                  <a:lnTo>
                    <a:pt x="2683968" y="200876"/>
                  </a:lnTo>
                  <a:lnTo>
                    <a:pt x="2683968" y="202260"/>
                  </a:lnTo>
                  <a:lnTo>
                    <a:pt x="2683968" y="200876"/>
                  </a:lnTo>
                  <a:lnTo>
                    <a:pt x="2683968" y="202260"/>
                  </a:lnTo>
                  <a:lnTo>
                    <a:pt x="2683968" y="200876"/>
                  </a:lnTo>
                  <a:lnTo>
                    <a:pt x="2684019" y="202260"/>
                  </a:lnTo>
                  <a:lnTo>
                    <a:pt x="2684019" y="199530"/>
                  </a:lnTo>
                  <a:lnTo>
                    <a:pt x="2684069" y="198831"/>
                  </a:lnTo>
                  <a:lnTo>
                    <a:pt x="2684069" y="199530"/>
                  </a:lnTo>
                  <a:lnTo>
                    <a:pt x="2684069" y="196799"/>
                  </a:lnTo>
                  <a:lnTo>
                    <a:pt x="2684069" y="198831"/>
                  </a:lnTo>
                  <a:lnTo>
                    <a:pt x="2684120" y="198831"/>
                  </a:lnTo>
                  <a:lnTo>
                    <a:pt x="2684120" y="199530"/>
                  </a:lnTo>
                  <a:lnTo>
                    <a:pt x="2684120" y="196799"/>
                  </a:lnTo>
                  <a:lnTo>
                    <a:pt x="2684120" y="200228"/>
                  </a:lnTo>
                  <a:lnTo>
                    <a:pt x="2684120" y="199530"/>
                  </a:lnTo>
                  <a:lnTo>
                    <a:pt x="2684222" y="199530"/>
                  </a:lnTo>
                  <a:lnTo>
                    <a:pt x="2684222" y="197447"/>
                  </a:lnTo>
                  <a:lnTo>
                    <a:pt x="2684222" y="199530"/>
                  </a:lnTo>
                  <a:lnTo>
                    <a:pt x="2684272" y="199530"/>
                  </a:lnTo>
                  <a:lnTo>
                    <a:pt x="2684272" y="197447"/>
                  </a:lnTo>
                  <a:lnTo>
                    <a:pt x="2684272" y="199530"/>
                  </a:lnTo>
                  <a:lnTo>
                    <a:pt x="2684323" y="199530"/>
                  </a:lnTo>
                  <a:lnTo>
                    <a:pt x="2684323" y="198831"/>
                  </a:lnTo>
                  <a:lnTo>
                    <a:pt x="2684323" y="200228"/>
                  </a:lnTo>
                  <a:lnTo>
                    <a:pt x="2684323" y="199530"/>
                  </a:lnTo>
                  <a:lnTo>
                    <a:pt x="2684323" y="200228"/>
                  </a:lnTo>
                  <a:lnTo>
                    <a:pt x="2684425" y="200228"/>
                  </a:lnTo>
                  <a:lnTo>
                    <a:pt x="2684425" y="199530"/>
                  </a:lnTo>
                  <a:lnTo>
                    <a:pt x="2684425" y="200876"/>
                  </a:lnTo>
                  <a:lnTo>
                    <a:pt x="2684425" y="200228"/>
                  </a:lnTo>
                  <a:lnTo>
                    <a:pt x="2684463" y="200228"/>
                  </a:lnTo>
                  <a:lnTo>
                    <a:pt x="2684463" y="200876"/>
                  </a:lnTo>
                  <a:lnTo>
                    <a:pt x="2684463" y="200228"/>
                  </a:lnTo>
                  <a:lnTo>
                    <a:pt x="2684463" y="200876"/>
                  </a:lnTo>
                  <a:lnTo>
                    <a:pt x="2684463" y="199530"/>
                  </a:lnTo>
                  <a:lnTo>
                    <a:pt x="2684514" y="200228"/>
                  </a:lnTo>
                  <a:lnTo>
                    <a:pt x="2684514" y="198831"/>
                  </a:lnTo>
                  <a:lnTo>
                    <a:pt x="2684565" y="197447"/>
                  </a:lnTo>
                  <a:lnTo>
                    <a:pt x="2684565" y="199530"/>
                  </a:lnTo>
                  <a:lnTo>
                    <a:pt x="2684565" y="198831"/>
                  </a:lnTo>
                  <a:lnTo>
                    <a:pt x="2684565" y="199530"/>
                  </a:lnTo>
                  <a:lnTo>
                    <a:pt x="2684666" y="199530"/>
                  </a:lnTo>
                  <a:lnTo>
                    <a:pt x="2684666" y="198831"/>
                  </a:lnTo>
                  <a:lnTo>
                    <a:pt x="2684666" y="200876"/>
                  </a:lnTo>
                  <a:lnTo>
                    <a:pt x="2684666" y="200228"/>
                  </a:lnTo>
                  <a:lnTo>
                    <a:pt x="2684717" y="200228"/>
                  </a:lnTo>
                  <a:lnTo>
                    <a:pt x="2684717" y="202260"/>
                  </a:lnTo>
                  <a:lnTo>
                    <a:pt x="2684717" y="200228"/>
                  </a:lnTo>
                  <a:lnTo>
                    <a:pt x="2684768" y="200228"/>
                  </a:lnTo>
                  <a:lnTo>
                    <a:pt x="2684768" y="200876"/>
                  </a:lnTo>
                  <a:lnTo>
                    <a:pt x="2684768" y="200228"/>
                  </a:lnTo>
                  <a:lnTo>
                    <a:pt x="2684869" y="200228"/>
                  </a:lnTo>
                  <a:lnTo>
                    <a:pt x="2684869" y="200876"/>
                  </a:lnTo>
                  <a:lnTo>
                    <a:pt x="2684869" y="200228"/>
                  </a:lnTo>
                  <a:lnTo>
                    <a:pt x="2684869" y="200876"/>
                  </a:lnTo>
                  <a:lnTo>
                    <a:pt x="2684869" y="200228"/>
                  </a:lnTo>
                  <a:lnTo>
                    <a:pt x="2684869" y="200876"/>
                  </a:lnTo>
                  <a:lnTo>
                    <a:pt x="2684920" y="200876"/>
                  </a:lnTo>
                  <a:lnTo>
                    <a:pt x="2684920" y="202260"/>
                  </a:lnTo>
                  <a:lnTo>
                    <a:pt x="2684920" y="200876"/>
                  </a:lnTo>
                  <a:lnTo>
                    <a:pt x="2684920" y="202260"/>
                  </a:lnTo>
                  <a:lnTo>
                    <a:pt x="2684920" y="200876"/>
                  </a:lnTo>
                  <a:lnTo>
                    <a:pt x="2684971" y="200876"/>
                  </a:lnTo>
                  <a:lnTo>
                    <a:pt x="2684971" y="200228"/>
                  </a:lnTo>
                  <a:lnTo>
                    <a:pt x="2684971" y="200876"/>
                  </a:lnTo>
                  <a:lnTo>
                    <a:pt x="2684971" y="200228"/>
                  </a:lnTo>
                  <a:lnTo>
                    <a:pt x="2684971" y="200876"/>
                  </a:lnTo>
                  <a:lnTo>
                    <a:pt x="2684971" y="200228"/>
                  </a:lnTo>
                  <a:lnTo>
                    <a:pt x="2684971" y="200876"/>
                  </a:lnTo>
                  <a:lnTo>
                    <a:pt x="2684971" y="200228"/>
                  </a:lnTo>
                  <a:lnTo>
                    <a:pt x="2684971" y="200876"/>
                  </a:lnTo>
                  <a:lnTo>
                    <a:pt x="2684971" y="199530"/>
                  </a:lnTo>
                  <a:lnTo>
                    <a:pt x="2685009" y="199530"/>
                  </a:lnTo>
                  <a:lnTo>
                    <a:pt x="2685111" y="198831"/>
                  </a:lnTo>
                  <a:lnTo>
                    <a:pt x="2685111" y="200228"/>
                  </a:lnTo>
                  <a:lnTo>
                    <a:pt x="2685111" y="199530"/>
                  </a:lnTo>
                  <a:lnTo>
                    <a:pt x="2685162" y="199530"/>
                  </a:lnTo>
                  <a:lnTo>
                    <a:pt x="2685162" y="200876"/>
                  </a:lnTo>
                  <a:lnTo>
                    <a:pt x="2685162" y="200228"/>
                  </a:lnTo>
                  <a:lnTo>
                    <a:pt x="2685162" y="200876"/>
                  </a:lnTo>
                  <a:lnTo>
                    <a:pt x="2685162" y="200228"/>
                  </a:lnTo>
                  <a:lnTo>
                    <a:pt x="2685212" y="200876"/>
                  </a:lnTo>
                  <a:lnTo>
                    <a:pt x="2685212" y="202260"/>
                  </a:lnTo>
                  <a:lnTo>
                    <a:pt x="2685212" y="200228"/>
                  </a:lnTo>
                  <a:lnTo>
                    <a:pt x="2685212" y="200876"/>
                  </a:lnTo>
                  <a:lnTo>
                    <a:pt x="2685314" y="200876"/>
                  </a:lnTo>
                  <a:lnTo>
                    <a:pt x="2685314" y="200228"/>
                  </a:lnTo>
                  <a:lnTo>
                    <a:pt x="2685314" y="200876"/>
                  </a:lnTo>
                  <a:lnTo>
                    <a:pt x="2685365" y="200876"/>
                  </a:lnTo>
                  <a:lnTo>
                    <a:pt x="2685365" y="200228"/>
                  </a:lnTo>
                  <a:lnTo>
                    <a:pt x="2685365" y="202260"/>
                  </a:lnTo>
                  <a:lnTo>
                    <a:pt x="2685415" y="202260"/>
                  </a:lnTo>
                  <a:lnTo>
                    <a:pt x="2685415" y="200876"/>
                  </a:lnTo>
                  <a:lnTo>
                    <a:pt x="2685415" y="202260"/>
                  </a:lnTo>
                  <a:lnTo>
                    <a:pt x="2685415" y="200876"/>
                  </a:lnTo>
                  <a:lnTo>
                    <a:pt x="2685415" y="202260"/>
                  </a:lnTo>
                  <a:lnTo>
                    <a:pt x="2685415" y="200876"/>
                  </a:lnTo>
                  <a:lnTo>
                    <a:pt x="2685415" y="202260"/>
                  </a:lnTo>
                  <a:lnTo>
                    <a:pt x="2685415" y="200876"/>
                  </a:lnTo>
                  <a:lnTo>
                    <a:pt x="2685415" y="202260"/>
                  </a:lnTo>
                  <a:lnTo>
                    <a:pt x="2685415" y="200876"/>
                  </a:lnTo>
                  <a:lnTo>
                    <a:pt x="2685415" y="202260"/>
                  </a:lnTo>
                  <a:lnTo>
                    <a:pt x="2685415" y="200876"/>
                  </a:lnTo>
                  <a:lnTo>
                    <a:pt x="2685466" y="200876"/>
                  </a:lnTo>
                  <a:lnTo>
                    <a:pt x="2685466" y="199530"/>
                  </a:lnTo>
                  <a:lnTo>
                    <a:pt x="2685466" y="200228"/>
                  </a:lnTo>
                  <a:lnTo>
                    <a:pt x="2685466" y="199530"/>
                  </a:lnTo>
                  <a:lnTo>
                    <a:pt x="2685555" y="198831"/>
                  </a:lnTo>
                  <a:lnTo>
                    <a:pt x="2685555" y="197447"/>
                  </a:lnTo>
                  <a:lnTo>
                    <a:pt x="2685555" y="198831"/>
                  </a:lnTo>
                  <a:lnTo>
                    <a:pt x="2685555" y="197447"/>
                  </a:lnTo>
                  <a:lnTo>
                    <a:pt x="2685606" y="197447"/>
                  </a:lnTo>
                  <a:lnTo>
                    <a:pt x="2685606" y="199530"/>
                  </a:lnTo>
                  <a:lnTo>
                    <a:pt x="2685606" y="197447"/>
                  </a:lnTo>
                  <a:lnTo>
                    <a:pt x="2685606" y="198831"/>
                  </a:lnTo>
                  <a:lnTo>
                    <a:pt x="2685657" y="199530"/>
                  </a:lnTo>
                  <a:lnTo>
                    <a:pt x="2685657" y="200876"/>
                  </a:lnTo>
                  <a:lnTo>
                    <a:pt x="2685657" y="199530"/>
                  </a:lnTo>
                  <a:lnTo>
                    <a:pt x="2685657" y="200228"/>
                  </a:lnTo>
                  <a:lnTo>
                    <a:pt x="2685657" y="199530"/>
                  </a:lnTo>
                  <a:lnTo>
                    <a:pt x="2685708" y="200228"/>
                  </a:lnTo>
                  <a:lnTo>
                    <a:pt x="2685708" y="200876"/>
                  </a:lnTo>
                  <a:lnTo>
                    <a:pt x="2685708" y="199530"/>
                  </a:lnTo>
                  <a:lnTo>
                    <a:pt x="2685708" y="200228"/>
                  </a:lnTo>
                  <a:lnTo>
                    <a:pt x="2685809" y="200876"/>
                  </a:lnTo>
                  <a:lnTo>
                    <a:pt x="2685809" y="200228"/>
                  </a:lnTo>
                  <a:lnTo>
                    <a:pt x="2685809" y="200876"/>
                  </a:lnTo>
                  <a:lnTo>
                    <a:pt x="2685809" y="200228"/>
                  </a:lnTo>
                  <a:lnTo>
                    <a:pt x="2685809" y="202260"/>
                  </a:lnTo>
                  <a:lnTo>
                    <a:pt x="2685809" y="200876"/>
                  </a:lnTo>
                  <a:lnTo>
                    <a:pt x="2685809" y="202260"/>
                  </a:lnTo>
                  <a:lnTo>
                    <a:pt x="2685860" y="200876"/>
                  </a:lnTo>
                  <a:lnTo>
                    <a:pt x="2685860" y="202959"/>
                  </a:lnTo>
                  <a:lnTo>
                    <a:pt x="2685860" y="202260"/>
                  </a:lnTo>
                  <a:lnTo>
                    <a:pt x="2685860" y="202959"/>
                  </a:lnTo>
                  <a:lnTo>
                    <a:pt x="2685860" y="202260"/>
                  </a:lnTo>
                  <a:lnTo>
                    <a:pt x="2685911" y="202260"/>
                  </a:lnTo>
                  <a:lnTo>
                    <a:pt x="2685911" y="200876"/>
                  </a:lnTo>
                  <a:lnTo>
                    <a:pt x="2685911" y="202260"/>
                  </a:lnTo>
                  <a:lnTo>
                    <a:pt x="2685911" y="200228"/>
                  </a:lnTo>
                  <a:lnTo>
                    <a:pt x="2686012" y="200228"/>
                  </a:lnTo>
                  <a:lnTo>
                    <a:pt x="2686012" y="199530"/>
                  </a:lnTo>
                  <a:lnTo>
                    <a:pt x="2686012" y="200228"/>
                  </a:lnTo>
                  <a:lnTo>
                    <a:pt x="2686012" y="199530"/>
                  </a:lnTo>
                  <a:lnTo>
                    <a:pt x="2686012" y="200228"/>
                  </a:lnTo>
                  <a:lnTo>
                    <a:pt x="2686012" y="199530"/>
                  </a:lnTo>
                  <a:lnTo>
                    <a:pt x="2686051" y="199530"/>
                  </a:lnTo>
                  <a:lnTo>
                    <a:pt x="2686051" y="198831"/>
                  </a:lnTo>
                  <a:lnTo>
                    <a:pt x="2686051" y="199530"/>
                  </a:lnTo>
                  <a:lnTo>
                    <a:pt x="2686051" y="198831"/>
                  </a:lnTo>
                  <a:lnTo>
                    <a:pt x="2686051" y="199530"/>
                  </a:lnTo>
                  <a:lnTo>
                    <a:pt x="2686051" y="197447"/>
                  </a:lnTo>
                  <a:lnTo>
                    <a:pt x="2686051" y="198831"/>
                  </a:lnTo>
                  <a:lnTo>
                    <a:pt x="2686101" y="198831"/>
                  </a:lnTo>
                  <a:lnTo>
                    <a:pt x="2686101" y="199530"/>
                  </a:lnTo>
                  <a:lnTo>
                    <a:pt x="2686101" y="198831"/>
                  </a:lnTo>
                  <a:lnTo>
                    <a:pt x="2686101" y="199530"/>
                  </a:lnTo>
                  <a:lnTo>
                    <a:pt x="2686101" y="198831"/>
                  </a:lnTo>
                  <a:lnTo>
                    <a:pt x="2686101" y="200228"/>
                  </a:lnTo>
                  <a:lnTo>
                    <a:pt x="2686152" y="200228"/>
                  </a:lnTo>
                  <a:lnTo>
                    <a:pt x="2686152" y="199530"/>
                  </a:lnTo>
                  <a:lnTo>
                    <a:pt x="2686152" y="200228"/>
                  </a:lnTo>
                  <a:lnTo>
                    <a:pt x="2686152" y="199530"/>
                  </a:lnTo>
                  <a:lnTo>
                    <a:pt x="2686152" y="200228"/>
                  </a:lnTo>
                  <a:lnTo>
                    <a:pt x="2686254" y="200228"/>
                  </a:lnTo>
                  <a:lnTo>
                    <a:pt x="2686254" y="199530"/>
                  </a:lnTo>
                  <a:lnTo>
                    <a:pt x="2686254" y="200876"/>
                  </a:lnTo>
                  <a:lnTo>
                    <a:pt x="2686254" y="200228"/>
                  </a:lnTo>
                  <a:lnTo>
                    <a:pt x="2686305" y="200228"/>
                  </a:lnTo>
                  <a:lnTo>
                    <a:pt x="2686305" y="202260"/>
                  </a:lnTo>
                  <a:lnTo>
                    <a:pt x="2686305" y="200876"/>
                  </a:lnTo>
                  <a:lnTo>
                    <a:pt x="2686355" y="200876"/>
                  </a:lnTo>
                  <a:lnTo>
                    <a:pt x="2686355" y="202260"/>
                  </a:lnTo>
                  <a:lnTo>
                    <a:pt x="2686355" y="200876"/>
                  </a:lnTo>
                  <a:lnTo>
                    <a:pt x="2686355" y="202260"/>
                  </a:lnTo>
                  <a:lnTo>
                    <a:pt x="2686457" y="202260"/>
                  </a:lnTo>
                  <a:lnTo>
                    <a:pt x="2686457" y="200876"/>
                  </a:lnTo>
                  <a:lnTo>
                    <a:pt x="2686457" y="202260"/>
                  </a:lnTo>
                  <a:lnTo>
                    <a:pt x="2686457" y="200876"/>
                  </a:lnTo>
                  <a:lnTo>
                    <a:pt x="2686457" y="202260"/>
                  </a:lnTo>
                  <a:lnTo>
                    <a:pt x="2686457" y="200228"/>
                  </a:lnTo>
                  <a:lnTo>
                    <a:pt x="2686508" y="200228"/>
                  </a:lnTo>
                  <a:lnTo>
                    <a:pt x="2686508" y="199530"/>
                  </a:lnTo>
                  <a:lnTo>
                    <a:pt x="2686508" y="200228"/>
                  </a:lnTo>
                  <a:lnTo>
                    <a:pt x="2686508" y="198831"/>
                  </a:lnTo>
                  <a:lnTo>
                    <a:pt x="2686558" y="198831"/>
                  </a:lnTo>
                  <a:lnTo>
                    <a:pt x="2686558" y="196799"/>
                  </a:lnTo>
                  <a:lnTo>
                    <a:pt x="2686558" y="197447"/>
                  </a:lnTo>
                  <a:lnTo>
                    <a:pt x="2686597" y="198831"/>
                  </a:lnTo>
                  <a:lnTo>
                    <a:pt x="2686597" y="199530"/>
                  </a:lnTo>
                  <a:lnTo>
                    <a:pt x="2686597" y="197447"/>
                  </a:lnTo>
                  <a:lnTo>
                    <a:pt x="2686597" y="200228"/>
                  </a:lnTo>
                  <a:lnTo>
                    <a:pt x="2686597" y="199530"/>
                  </a:lnTo>
                  <a:lnTo>
                    <a:pt x="2686698" y="199530"/>
                  </a:lnTo>
                  <a:lnTo>
                    <a:pt x="2686698" y="198831"/>
                  </a:lnTo>
                  <a:lnTo>
                    <a:pt x="2686698" y="200228"/>
                  </a:lnTo>
                  <a:lnTo>
                    <a:pt x="2686698" y="199530"/>
                  </a:lnTo>
                  <a:lnTo>
                    <a:pt x="2686749" y="199530"/>
                  </a:lnTo>
                  <a:lnTo>
                    <a:pt x="2686749" y="200228"/>
                  </a:lnTo>
                  <a:lnTo>
                    <a:pt x="2686749" y="199530"/>
                  </a:lnTo>
                  <a:lnTo>
                    <a:pt x="2686749" y="200876"/>
                  </a:lnTo>
                  <a:lnTo>
                    <a:pt x="2686749" y="200228"/>
                  </a:lnTo>
                  <a:lnTo>
                    <a:pt x="2686749" y="200876"/>
                  </a:lnTo>
                  <a:lnTo>
                    <a:pt x="2686749" y="200228"/>
                  </a:lnTo>
                  <a:lnTo>
                    <a:pt x="2686749" y="200876"/>
                  </a:lnTo>
                  <a:lnTo>
                    <a:pt x="2686800" y="200228"/>
                  </a:lnTo>
                  <a:lnTo>
                    <a:pt x="2686800" y="200876"/>
                  </a:lnTo>
                  <a:lnTo>
                    <a:pt x="2686800" y="200228"/>
                  </a:lnTo>
                  <a:lnTo>
                    <a:pt x="2686800" y="202260"/>
                  </a:lnTo>
                  <a:lnTo>
                    <a:pt x="2686800" y="200876"/>
                  </a:lnTo>
                  <a:lnTo>
                    <a:pt x="2686800" y="202260"/>
                  </a:lnTo>
                  <a:lnTo>
                    <a:pt x="2686901" y="200876"/>
                  </a:lnTo>
                  <a:lnTo>
                    <a:pt x="2686901" y="202260"/>
                  </a:lnTo>
                  <a:lnTo>
                    <a:pt x="2686901" y="200876"/>
                  </a:lnTo>
                  <a:lnTo>
                    <a:pt x="2686901" y="202260"/>
                  </a:lnTo>
                  <a:lnTo>
                    <a:pt x="2686901" y="200876"/>
                  </a:lnTo>
                  <a:lnTo>
                    <a:pt x="2686901" y="202260"/>
                  </a:lnTo>
                  <a:lnTo>
                    <a:pt x="2686952" y="200876"/>
                  </a:lnTo>
                  <a:lnTo>
                    <a:pt x="2686952" y="202260"/>
                  </a:lnTo>
                  <a:lnTo>
                    <a:pt x="2686952" y="200228"/>
                  </a:lnTo>
                  <a:lnTo>
                    <a:pt x="2686952" y="200876"/>
                  </a:lnTo>
                  <a:lnTo>
                    <a:pt x="2686952" y="200228"/>
                  </a:lnTo>
                  <a:lnTo>
                    <a:pt x="2686952" y="200876"/>
                  </a:lnTo>
                  <a:lnTo>
                    <a:pt x="2686952" y="200228"/>
                  </a:lnTo>
                  <a:lnTo>
                    <a:pt x="2687003" y="200876"/>
                  </a:lnTo>
                  <a:lnTo>
                    <a:pt x="2687003" y="198831"/>
                  </a:lnTo>
                  <a:lnTo>
                    <a:pt x="2687003" y="199530"/>
                  </a:lnTo>
                  <a:lnTo>
                    <a:pt x="2687003" y="198831"/>
                  </a:lnTo>
                  <a:lnTo>
                    <a:pt x="2687054" y="198831"/>
                  </a:lnTo>
                  <a:lnTo>
                    <a:pt x="2687054" y="199530"/>
                  </a:lnTo>
                  <a:lnTo>
                    <a:pt x="2687054" y="197447"/>
                  </a:lnTo>
                  <a:lnTo>
                    <a:pt x="2687054" y="199530"/>
                  </a:lnTo>
                  <a:lnTo>
                    <a:pt x="2687054" y="198831"/>
                  </a:lnTo>
                  <a:lnTo>
                    <a:pt x="2687143" y="198831"/>
                  </a:lnTo>
                  <a:lnTo>
                    <a:pt x="2687143" y="197447"/>
                  </a:lnTo>
                  <a:lnTo>
                    <a:pt x="2687143" y="200876"/>
                  </a:lnTo>
                  <a:lnTo>
                    <a:pt x="2687143" y="198831"/>
                  </a:lnTo>
                  <a:lnTo>
                    <a:pt x="2687194" y="198831"/>
                  </a:lnTo>
                  <a:lnTo>
                    <a:pt x="2687194" y="200228"/>
                  </a:lnTo>
                  <a:lnTo>
                    <a:pt x="2687194" y="198831"/>
                  </a:lnTo>
                  <a:lnTo>
                    <a:pt x="2687244" y="198831"/>
                  </a:lnTo>
                  <a:lnTo>
                    <a:pt x="2687244" y="199530"/>
                  </a:lnTo>
                  <a:lnTo>
                    <a:pt x="2687295" y="200228"/>
                  </a:lnTo>
                  <a:lnTo>
                    <a:pt x="2687397" y="200228"/>
                  </a:lnTo>
                  <a:lnTo>
                    <a:pt x="2687397" y="200876"/>
                  </a:lnTo>
                  <a:lnTo>
                    <a:pt x="2687397" y="200228"/>
                  </a:lnTo>
                  <a:lnTo>
                    <a:pt x="2687397" y="200876"/>
                  </a:lnTo>
                  <a:lnTo>
                    <a:pt x="2687397" y="200228"/>
                  </a:lnTo>
                  <a:lnTo>
                    <a:pt x="2687397" y="200876"/>
                  </a:lnTo>
                  <a:lnTo>
                    <a:pt x="2687397" y="200228"/>
                  </a:lnTo>
                  <a:lnTo>
                    <a:pt x="2687447" y="200228"/>
                  </a:lnTo>
                  <a:lnTo>
                    <a:pt x="2687447" y="199530"/>
                  </a:lnTo>
                  <a:lnTo>
                    <a:pt x="2687447" y="200228"/>
                  </a:lnTo>
                  <a:lnTo>
                    <a:pt x="2687447" y="199530"/>
                  </a:lnTo>
                  <a:lnTo>
                    <a:pt x="2687498" y="199530"/>
                  </a:lnTo>
                  <a:lnTo>
                    <a:pt x="2687498" y="198831"/>
                  </a:lnTo>
                  <a:lnTo>
                    <a:pt x="2687600" y="199530"/>
                  </a:lnTo>
                  <a:lnTo>
                    <a:pt x="2687600" y="200228"/>
                  </a:lnTo>
                  <a:lnTo>
                    <a:pt x="2687600" y="198831"/>
                  </a:lnTo>
                  <a:lnTo>
                    <a:pt x="2687600" y="199530"/>
                  </a:lnTo>
                  <a:lnTo>
                    <a:pt x="2687600" y="198831"/>
                  </a:lnTo>
                  <a:lnTo>
                    <a:pt x="2687600" y="199530"/>
                  </a:lnTo>
                  <a:lnTo>
                    <a:pt x="2687638" y="199530"/>
                  </a:lnTo>
                  <a:lnTo>
                    <a:pt x="2687638" y="200876"/>
                  </a:lnTo>
                  <a:lnTo>
                    <a:pt x="2687638" y="200228"/>
                  </a:lnTo>
                  <a:lnTo>
                    <a:pt x="2687638" y="200876"/>
                  </a:lnTo>
                  <a:lnTo>
                    <a:pt x="2687689" y="200876"/>
                  </a:lnTo>
                  <a:lnTo>
                    <a:pt x="2687689" y="200228"/>
                  </a:lnTo>
                  <a:lnTo>
                    <a:pt x="2687740" y="200876"/>
                  </a:lnTo>
                  <a:lnTo>
                    <a:pt x="2687740" y="200228"/>
                  </a:lnTo>
                  <a:lnTo>
                    <a:pt x="2687740" y="202260"/>
                  </a:lnTo>
                  <a:lnTo>
                    <a:pt x="2687841" y="200876"/>
                  </a:lnTo>
                  <a:lnTo>
                    <a:pt x="2687841" y="202260"/>
                  </a:lnTo>
                  <a:lnTo>
                    <a:pt x="2687841" y="200876"/>
                  </a:lnTo>
                  <a:lnTo>
                    <a:pt x="2687841" y="202260"/>
                  </a:lnTo>
                  <a:lnTo>
                    <a:pt x="2687841" y="200876"/>
                  </a:lnTo>
                  <a:lnTo>
                    <a:pt x="2687841" y="202260"/>
                  </a:lnTo>
                  <a:lnTo>
                    <a:pt x="2687841" y="200876"/>
                  </a:lnTo>
                  <a:lnTo>
                    <a:pt x="2687841" y="202260"/>
                  </a:lnTo>
                  <a:lnTo>
                    <a:pt x="2687892" y="200876"/>
                  </a:lnTo>
                  <a:lnTo>
                    <a:pt x="2687892" y="200228"/>
                  </a:lnTo>
                  <a:lnTo>
                    <a:pt x="2687892" y="200876"/>
                  </a:lnTo>
                  <a:lnTo>
                    <a:pt x="2687892" y="200228"/>
                  </a:lnTo>
                  <a:lnTo>
                    <a:pt x="2687892" y="200876"/>
                  </a:lnTo>
                  <a:lnTo>
                    <a:pt x="2687943" y="200228"/>
                  </a:lnTo>
                  <a:lnTo>
                    <a:pt x="2687943" y="199530"/>
                  </a:lnTo>
                  <a:lnTo>
                    <a:pt x="2687943" y="200228"/>
                  </a:lnTo>
                  <a:lnTo>
                    <a:pt x="2687943" y="199530"/>
                  </a:lnTo>
                  <a:lnTo>
                    <a:pt x="2687943" y="200228"/>
                  </a:lnTo>
                  <a:lnTo>
                    <a:pt x="2687943" y="199530"/>
                  </a:lnTo>
                  <a:lnTo>
                    <a:pt x="2688044" y="198831"/>
                  </a:lnTo>
                  <a:lnTo>
                    <a:pt x="2688044" y="199530"/>
                  </a:lnTo>
                  <a:lnTo>
                    <a:pt x="2688044" y="198831"/>
                  </a:lnTo>
                  <a:lnTo>
                    <a:pt x="2688044" y="199530"/>
                  </a:lnTo>
                  <a:lnTo>
                    <a:pt x="2688044" y="198831"/>
                  </a:lnTo>
                  <a:lnTo>
                    <a:pt x="2688095" y="199530"/>
                  </a:lnTo>
                  <a:lnTo>
                    <a:pt x="2688095" y="200228"/>
                  </a:lnTo>
                  <a:lnTo>
                    <a:pt x="2688095" y="199530"/>
                  </a:lnTo>
                  <a:lnTo>
                    <a:pt x="2688095" y="200228"/>
                  </a:lnTo>
                  <a:lnTo>
                    <a:pt x="2688095" y="199530"/>
                  </a:lnTo>
                  <a:lnTo>
                    <a:pt x="2688095" y="200876"/>
                  </a:lnTo>
                  <a:lnTo>
                    <a:pt x="2688146" y="200876"/>
                  </a:lnTo>
                  <a:lnTo>
                    <a:pt x="2688146" y="200228"/>
                  </a:lnTo>
                  <a:lnTo>
                    <a:pt x="2688146" y="200876"/>
                  </a:lnTo>
                  <a:lnTo>
                    <a:pt x="2688184" y="202260"/>
                  </a:lnTo>
                  <a:lnTo>
                    <a:pt x="2688184" y="200876"/>
                  </a:lnTo>
                  <a:lnTo>
                    <a:pt x="2688286" y="200876"/>
                  </a:lnTo>
                  <a:lnTo>
                    <a:pt x="2688286" y="202260"/>
                  </a:lnTo>
                  <a:lnTo>
                    <a:pt x="2688286" y="200876"/>
                  </a:lnTo>
                  <a:lnTo>
                    <a:pt x="2688286" y="202260"/>
                  </a:lnTo>
                  <a:lnTo>
                    <a:pt x="2688286" y="200876"/>
                  </a:lnTo>
                  <a:lnTo>
                    <a:pt x="2688286" y="202260"/>
                  </a:lnTo>
                  <a:lnTo>
                    <a:pt x="2688286" y="200876"/>
                  </a:lnTo>
                  <a:lnTo>
                    <a:pt x="2688286" y="202260"/>
                  </a:lnTo>
                  <a:lnTo>
                    <a:pt x="2688286" y="200876"/>
                  </a:lnTo>
                  <a:lnTo>
                    <a:pt x="2688286" y="202260"/>
                  </a:lnTo>
                  <a:lnTo>
                    <a:pt x="2688337" y="200876"/>
                  </a:lnTo>
                  <a:lnTo>
                    <a:pt x="2688337" y="202260"/>
                  </a:lnTo>
                  <a:lnTo>
                    <a:pt x="2688337" y="200876"/>
                  </a:lnTo>
                  <a:lnTo>
                    <a:pt x="2688387" y="200876"/>
                  </a:lnTo>
                  <a:lnTo>
                    <a:pt x="2688387" y="200228"/>
                  </a:lnTo>
                  <a:lnTo>
                    <a:pt x="2688387" y="200876"/>
                  </a:lnTo>
                  <a:lnTo>
                    <a:pt x="2688387" y="200228"/>
                  </a:lnTo>
                  <a:lnTo>
                    <a:pt x="2688489" y="200228"/>
                  </a:lnTo>
                  <a:lnTo>
                    <a:pt x="2688489" y="199530"/>
                  </a:lnTo>
                  <a:lnTo>
                    <a:pt x="2688489" y="200228"/>
                  </a:lnTo>
                  <a:lnTo>
                    <a:pt x="2688489" y="198831"/>
                  </a:lnTo>
                  <a:lnTo>
                    <a:pt x="2688540" y="198831"/>
                  </a:lnTo>
                  <a:lnTo>
                    <a:pt x="2688540" y="197447"/>
                  </a:lnTo>
                  <a:lnTo>
                    <a:pt x="2688540" y="200228"/>
                  </a:lnTo>
                  <a:lnTo>
                    <a:pt x="2688540" y="199530"/>
                  </a:lnTo>
                  <a:lnTo>
                    <a:pt x="2688590" y="199530"/>
                  </a:lnTo>
                  <a:lnTo>
                    <a:pt x="2688590" y="198831"/>
                  </a:lnTo>
                  <a:lnTo>
                    <a:pt x="2688590" y="200876"/>
                  </a:lnTo>
                  <a:lnTo>
                    <a:pt x="2688590" y="200228"/>
                  </a:lnTo>
                  <a:lnTo>
                    <a:pt x="2688641" y="199530"/>
                  </a:lnTo>
                  <a:lnTo>
                    <a:pt x="2688641" y="202260"/>
                  </a:lnTo>
                  <a:lnTo>
                    <a:pt x="2688641" y="200228"/>
                  </a:lnTo>
                  <a:lnTo>
                    <a:pt x="2688730" y="200228"/>
                  </a:lnTo>
                  <a:lnTo>
                    <a:pt x="2688730" y="202260"/>
                  </a:lnTo>
                  <a:lnTo>
                    <a:pt x="2688730" y="200876"/>
                  </a:lnTo>
                  <a:lnTo>
                    <a:pt x="2688730" y="202260"/>
                  </a:lnTo>
                  <a:lnTo>
                    <a:pt x="2688781" y="200876"/>
                  </a:lnTo>
                  <a:lnTo>
                    <a:pt x="2688781" y="202260"/>
                  </a:lnTo>
                  <a:lnTo>
                    <a:pt x="2688781" y="200876"/>
                  </a:lnTo>
                  <a:lnTo>
                    <a:pt x="2688781" y="202260"/>
                  </a:lnTo>
                  <a:lnTo>
                    <a:pt x="2688832" y="200876"/>
                  </a:lnTo>
                  <a:lnTo>
                    <a:pt x="2688832" y="202260"/>
                  </a:lnTo>
                  <a:lnTo>
                    <a:pt x="2688832" y="200876"/>
                  </a:lnTo>
                  <a:lnTo>
                    <a:pt x="2688832" y="202260"/>
                  </a:lnTo>
                  <a:lnTo>
                    <a:pt x="2688883" y="200876"/>
                  </a:lnTo>
                  <a:lnTo>
                    <a:pt x="2688883" y="200228"/>
                  </a:lnTo>
                  <a:lnTo>
                    <a:pt x="2688883" y="200876"/>
                  </a:lnTo>
                  <a:lnTo>
                    <a:pt x="2688883" y="200228"/>
                  </a:lnTo>
                  <a:lnTo>
                    <a:pt x="2688883" y="200876"/>
                  </a:lnTo>
                  <a:lnTo>
                    <a:pt x="2688883" y="200228"/>
                  </a:lnTo>
                  <a:lnTo>
                    <a:pt x="2688984" y="200228"/>
                  </a:lnTo>
                  <a:lnTo>
                    <a:pt x="2688984" y="197447"/>
                  </a:lnTo>
                  <a:lnTo>
                    <a:pt x="2689035" y="197447"/>
                  </a:lnTo>
                  <a:lnTo>
                    <a:pt x="2689035" y="198831"/>
                  </a:lnTo>
                  <a:lnTo>
                    <a:pt x="2689035" y="197447"/>
                  </a:lnTo>
                  <a:lnTo>
                    <a:pt x="2689035" y="200228"/>
                  </a:lnTo>
                  <a:lnTo>
                    <a:pt x="2689035" y="197447"/>
                  </a:lnTo>
                  <a:lnTo>
                    <a:pt x="2689086" y="197447"/>
                  </a:lnTo>
                  <a:lnTo>
                    <a:pt x="2689086" y="200876"/>
                  </a:lnTo>
                  <a:lnTo>
                    <a:pt x="2689086" y="199530"/>
                  </a:lnTo>
                  <a:lnTo>
                    <a:pt x="2689187" y="199530"/>
                  </a:lnTo>
                  <a:lnTo>
                    <a:pt x="2689187" y="200876"/>
                  </a:lnTo>
                  <a:lnTo>
                    <a:pt x="2689187" y="200228"/>
                  </a:lnTo>
                  <a:lnTo>
                    <a:pt x="2689187" y="200876"/>
                  </a:lnTo>
                  <a:lnTo>
                    <a:pt x="2689187" y="200228"/>
                  </a:lnTo>
                  <a:lnTo>
                    <a:pt x="2689187" y="200876"/>
                  </a:lnTo>
                  <a:lnTo>
                    <a:pt x="2689187" y="200228"/>
                  </a:lnTo>
                  <a:lnTo>
                    <a:pt x="2689226" y="200228"/>
                  </a:lnTo>
                  <a:lnTo>
                    <a:pt x="2689226" y="200876"/>
                  </a:lnTo>
                  <a:lnTo>
                    <a:pt x="2689276" y="200228"/>
                  </a:lnTo>
                  <a:lnTo>
                    <a:pt x="2689276" y="202260"/>
                  </a:lnTo>
                  <a:lnTo>
                    <a:pt x="2689276" y="200876"/>
                  </a:lnTo>
                  <a:lnTo>
                    <a:pt x="2689276" y="202260"/>
                  </a:lnTo>
                  <a:lnTo>
                    <a:pt x="2689276" y="200876"/>
                  </a:lnTo>
                  <a:lnTo>
                    <a:pt x="2689327" y="202260"/>
                  </a:lnTo>
                  <a:lnTo>
                    <a:pt x="2689327" y="200228"/>
                  </a:lnTo>
                  <a:lnTo>
                    <a:pt x="2689327" y="200876"/>
                  </a:lnTo>
                  <a:lnTo>
                    <a:pt x="2689429" y="200876"/>
                  </a:lnTo>
                  <a:lnTo>
                    <a:pt x="2689429" y="200228"/>
                  </a:lnTo>
                  <a:lnTo>
                    <a:pt x="2689480" y="200228"/>
                  </a:lnTo>
                  <a:lnTo>
                    <a:pt x="2689480" y="197447"/>
                  </a:lnTo>
                  <a:lnTo>
                    <a:pt x="2689480" y="198831"/>
                  </a:lnTo>
                  <a:lnTo>
                    <a:pt x="2689530" y="198831"/>
                  </a:lnTo>
                  <a:lnTo>
                    <a:pt x="2689530" y="196799"/>
                  </a:lnTo>
                  <a:lnTo>
                    <a:pt x="2689530" y="198831"/>
                  </a:lnTo>
                  <a:lnTo>
                    <a:pt x="2689530" y="197447"/>
                  </a:lnTo>
                  <a:lnTo>
                    <a:pt x="2689632" y="196799"/>
                  </a:lnTo>
                  <a:lnTo>
                    <a:pt x="2689632" y="196113"/>
                  </a:lnTo>
                  <a:lnTo>
                    <a:pt x="2689632" y="199530"/>
                  </a:lnTo>
                  <a:lnTo>
                    <a:pt x="2689632" y="197447"/>
                  </a:lnTo>
                  <a:lnTo>
                    <a:pt x="2689683" y="197447"/>
                  </a:lnTo>
                  <a:lnTo>
                    <a:pt x="2689683" y="199530"/>
                  </a:lnTo>
                  <a:lnTo>
                    <a:pt x="2689733" y="199530"/>
                  </a:lnTo>
                  <a:lnTo>
                    <a:pt x="2689733" y="200228"/>
                  </a:lnTo>
                  <a:lnTo>
                    <a:pt x="2689733" y="199530"/>
                  </a:lnTo>
                  <a:lnTo>
                    <a:pt x="2689733" y="200228"/>
                  </a:lnTo>
                  <a:lnTo>
                    <a:pt x="2689772" y="200228"/>
                  </a:lnTo>
                  <a:lnTo>
                    <a:pt x="2689772" y="200876"/>
                  </a:lnTo>
                  <a:lnTo>
                    <a:pt x="2689772" y="200228"/>
                  </a:lnTo>
                  <a:lnTo>
                    <a:pt x="2689772" y="200876"/>
                  </a:lnTo>
                  <a:lnTo>
                    <a:pt x="2689772" y="200228"/>
                  </a:lnTo>
                  <a:lnTo>
                    <a:pt x="2689873" y="200228"/>
                  </a:lnTo>
                  <a:lnTo>
                    <a:pt x="2689873" y="200876"/>
                  </a:lnTo>
                  <a:lnTo>
                    <a:pt x="2689873" y="200228"/>
                  </a:lnTo>
                  <a:lnTo>
                    <a:pt x="2689873" y="200876"/>
                  </a:lnTo>
                  <a:lnTo>
                    <a:pt x="2689924" y="200876"/>
                  </a:lnTo>
                  <a:lnTo>
                    <a:pt x="2689924" y="200228"/>
                  </a:lnTo>
                  <a:lnTo>
                    <a:pt x="2689924" y="200876"/>
                  </a:lnTo>
                  <a:lnTo>
                    <a:pt x="2689924" y="200228"/>
                  </a:lnTo>
                  <a:lnTo>
                    <a:pt x="2689975" y="200228"/>
                  </a:lnTo>
                  <a:lnTo>
                    <a:pt x="2689975" y="199530"/>
                  </a:lnTo>
                  <a:lnTo>
                    <a:pt x="2689975" y="200228"/>
                  </a:lnTo>
                  <a:lnTo>
                    <a:pt x="2689975" y="198831"/>
                  </a:lnTo>
                  <a:lnTo>
                    <a:pt x="2689975" y="199530"/>
                  </a:lnTo>
                  <a:lnTo>
                    <a:pt x="2689975" y="198831"/>
                  </a:lnTo>
                  <a:lnTo>
                    <a:pt x="2689975" y="199530"/>
                  </a:lnTo>
                  <a:lnTo>
                    <a:pt x="2689975" y="197447"/>
                  </a:lnTo>
                  <a:lnTo>
                    <a:pt x="2690076" y="196799"/>
                  </a:lnTo>
                  <a:lnTo>
                    <a:pt x="2690076" y="198831"/>
                  </a:lnTo>
                  <a:lnTo>
                    <a:pt x="2690076" y="196113"/>
                  </a:lnTo>
                  <a:lnTo>
                    <a:pt x="2690076" y="196799"/>
                  </a:lnTo>
                  <a:lnTo>
                    <a:pt x="2690076" y="196113"/>
                  </a:lnTo>
                  <a:lnTo>
                    <a:pt x="2690127" y="196799"/>
                  </a:lnTo>
                  <a:lnTo>
                    <a:pt x="2690127" y="199530"/>
                  </a:lnTo>
                  <a:lnTo>
                    <a:pt x="2690127" y="197447"/>
                  </a:lnTo>
                  <a:lnTo>
                    <a:pt x="2690127" y="198831"/>
                  </a:lnTo>
                  <a:lnTo>
                    <a:pt x="2690127" y="197447"/>
                  </a:lnTo>
                  <a:lnTo>
                    <a:pt x="2690178" y="198831"/>
                  </a:lnTo>
                  <a:lnTo>
                    <a:pt x="2690178" y="199530"/>
                  </a:lnTo>
                  <a:lnTo>
                    <a:pt x="2690178" y="198831"/>
                  </a:lnTo>
                  <a:lnTo>
                    <a:pt x="2690229" y="199530"/>
                  </a:lnTo>
                  <a:lnTo>
                    <a:pt x="2690229" y="198831"/>
                  </a:lnTo>
                  <a:lnTo>
                    <a:pt x="2690229" y="199530"/>
                  </a:lnTo>
                  <a:lnTo>
                    <a:pt x="2690229" y="198831"/>
                  </a:lnTo>
                  <a:lnTo>
                    <a:pt x="2690229" y="199530"/>
                  </a:lnTo>
                  <a:lnTo>
                    <a:pt x="2690229" y="198831"/>
                  </a:lnTo>
                  <a:lnTo>
                    <a:pt x="2690229" y="199530"/>
                  </a:lnTo>
                  <a:lnTo>
                    <a:pt x="2690229" y="198831"/>
                  </a:lnTo>
                  <a:lnTo>
                    <a:pt x="2690229" y="199530"/>
                  </a:lnTo>
                  <a:lnTo>
                    <a:pt x="2690318" y="199530"/>
                  </a:lnTo>
                  <a:lnTo>
                    <a:pt x="2690318" y="200228"/>
                  </a:lnTo>
                  <a:lnTo>
                    <a:pt x="2690318" y="199530"/>
                  </a:lnTo>
                  <a:lnTo>
                    <a:pt x="2690318" y="200228"/>
                  </a:lnTo>
                  <a:lnTo>
                    <a:pt x="2690318" y="199530"/>
                  </a:lnTo>
                  <a:lnTo>
                    <a:pt x="2690318" y="200228"/>
                  </a:lnTo>
                  <a:lnTo>
                    <a:pt x="2690369" y="199530"/>
                  </a:lnTo>
                  <a:lnTo>
                    <a:pt x="2690369" y="200228"/>
                  </a:lnTo>
                  <a:lnTo>
                    <a:pt x="2690369" y="199530"/>
                  </a:lnTo>
                  <a:lnTo>
                    <a:pt x="2690369" y="200228"/>
                  </a:lnTo>
                  <a:lnTo>
                    <a:pt x="2690369" y="199530"/>
                  </a:lnTo>
                  <a:lnTo>
                    <a:pt x="2690369" y="200228"/>
                  </a:lnTo>
                  <a:lnTo>
                    <a:pt x="2690419" y="200228"/>
                  </a:lnTo>
                  <a:lnTo>
                    <a:pt x="2690419" y="200876"/>
                  </a:lnTo>
                  <a:lnTo>
                    <a:pt x="2690419" y="199530"/>
                  </a:lnTo>
                  <a:lnTo>
                    <a:pt x="2690419" y="200228"/>
                  </a:lnTo>
                  <a:lnTo>
                    <a:pt x="2690419" y="199530"/>
                  </a:lnTo>
                  <a:lnTo>
                    <a:pt x="2690470" y="200228"/>
                  </a:lnTo>
                  <a:lnTo>
                    <a:pt x="2690470" y="198831"/>
                  </a:lnTo>
                  <a:lnTo>
                    <a:pt x="2690470" y="199530"/>
                  </a:lnTo>
                  <a:lnTo>
                    <a:pt x="2690470" y="198831"/>
                  </a:lnTo>
                  <a:lnTo>
                    <a:pt x="2690572" y="198831"/>
                  </a:lnTo>
                  <a:lnTo>
                    <a:pt x="2690572" y="199530"/>
                  </a:lnTo>
                  <a:lnTo>
                    <a:pt x="2690572" y="198831"/>
                  </a:lnTo>
                  <a:lnTo>
                    <a:pt x="2690572" y="200876"/>
                  </a:lnTo>
                  <a:lnTo>
                    <a:pt x="2690572" y="200228"/>
                  </a:lnTo>
                  <a:lnTo>
                    <a:pt x="2690622" y="200228"/>
                  </a:lnTo>
                  <a:lnTo>
                    <a:pt x="2690622" y="199530"/>
                  </a:lnTo>
                  <a:lnTo>
                    <a:pt x="2690622" y="200228"/>
                  </a:lnTo>
                  <a:lnTo>
                    <a:pt x="2690622" y="199530"/>
                  </a:lnTo>
                  <a:lnTo>
                    <a:pt x="2690622" y="200228"/>
                  </a:lnTo>
                  <a:lnTo>
                    <a:pt x="2690622" y="199530"/>
                  </a:lnTo>
                  <a:lnTo>
                    <a:pt x="2690622" y="200228"/>
                  </a:lnTo>
                  <a:lnTo>
                    <a:pt x="2690673" y="200228"/>
                  </a:lnTo>
                  <a:lnTo>
                    <a:pt x="2690673" y="200876"/>
                  </a:lnTo>
                  <a:lnTo>
                    <a:pt x="2690673" y="200228"/>
                  </a:lnTo>
                  <a:lnTo>
                    <a:pt x="2690775" y="200228"/>
                  </a:lnTo>
                  <a:lnTo>
                    <a:pt x="2690775" y="200876"/>
                  </a:lnTo>
                  <a:lnTo>
                    <a:pt x="2690775" y="200228"/>
                  </a:lnTo>
                  <a:lnTo>
                    <a:pt x="2690775" y="200876"/>
                  </a:lnTo>
                  <a:lnTo>
                    <a:pt x="2690775" y="200228"/>
                  </a:lnTo>
                  <a:lnTo>
                    <a:pt x="2690775" y="200876"/>
                  </a:lnTo>
                  <a:lnTo>
                    <a:pt x="2690775" y="200228"/>
                  </a:lnTo>
                  <a:lnTo>
                    <a:pt x="2690813" y="200228"/>
                  </a:lnTo>
                  <a:lnTo>
                    <a:pt x="2690813" y="200876"/>
                  </a:lnTo>
                  <a:lnTo>
                    <a:pt x="2690813" y="200228"/>
                  </a:lnTo>
                  <a:lnTo>
                    <a:pt x="2690813" y="200876"/>
                  </a:lnTo>
                  <a:lnTo>
                    <a:pt x="2690864" y="200876"/>
                  </a:lnTo>
                  <a:lnTo>
                    <a:pt x="2690864" y="200228"/>
                  </a:lnTo>
                  <a:lnTo>
                    <a:pt x="2690864" y="200876"/>
                  </a:lnTo>
                  <a:lnTo>
                    <a:pt x="2690864" y="200228"/>
                  </a:lnTo>
                  <a:lnTo>
                    <a:pt x="2690864" y="200876"/>
                  </a:lnTo>
                  <a:lnTo>
                    <a:pt x="2690864" y="200228"/>
                  </a:lnTo>
                  <a:lnTo>
                    <a:pt x="2690864" y="200876"/>
                  </a:lnTo>
                  <a:lnTo>
                    <a:pt x="2690915" y="200876"/>
                  </a:lnTo>
                  <a:lnTo>
                    <a:pt x="2690915" y="200228"/>
                  </a:lnTo>
                  <a:lnTo>
                    <a:pt x="2690915" y="200876"/>
                  </a:lnTo>
                  <a:lnTo>
                    <a:pt x="2690915" y="199530"/>
                  </a:lnTo>
                  <a:lnTo>
                    <a:pt x="2690915" y="200228"/>
                  </a:lnTo>
                  <a:lnTo>
                    <a:pt x="2690915" y="199530"/>
                  </a:lnTo>
                  <a:lnTo>
                    <a:pt x="2691016" y="198831"/>
                  </a:lnTo>
                  <a:lnTo>
                    <a:pt x="2691016" y="200228"/>
                  </a:lnTo>
                  <a:lnTo>
                    <a:pt x="2691016" y="199530"/>
                  </a:lnTo>
                  <a:lnTo>
                    <a:pt x="2691067" y="200228"/>
                  </a:lnTo>
                  <a:lnTo>
                    <a:pt x="2691067" y="199530"/>
                  </a:lnTo>
                  <a:lnTo>
                    <a:pt x="2691067" y="202260"/>
                  </a:lnTo>
                  <a:lnTo>
                    <a:pt x="2691067" y="200876"/>
                  </a:lnTo>
                  <a:lnTo>
                    <a:pt x="2691118" y="200228"/>
                  </a:lnTo>
                  <a:lnTo>
                    <a:pt x="2691118" y="202260"/>
                  </a:lnTo>
                  <a:lnTo>
                    <a:pt x="2691118" y="200876"/>
                  </a:lnTo>
                  <a:lnTo>
                    <a:pt x="2691118" y="202260"/>
                  </a:lnTo>
                  <a:lnTo>
                    <a:pt x="2691118" y="200876"/>
                  </a:lnTo>
                  <a:lnTo>
                    <a:pt x="2691118" y="202260"/>
                  </a:lnTo>
                  <a:lnTo>
                    <a:pt x="2691118" y="200876"/>
                  </a:lnTo>
                  <a:lnTo>
                    <a:pt x="2691118" y="202260"/>
                  </a:lnTo>
                  <a:lnTo>
                    <a:pt x="2691219" y="202260"/>
                  </a:lnTo>
                  <a:lnTo>
                    <a:pt x="2691219" y="202959"/>
                  </a:lnTo>
                  <a:lnTo>
                    <a:pt x="2691219" y="202260"/>
                  </a:lnTo>
                  <a:lnTo>
                    <a:pt x="2691270" y="202260"/>
                  </a:lnTo>
                  <a:lnTo>
                    <a:pt x="2691270" y="202959"/>
                  </a:lnTo>
                  <a:lnTo>
                    <a:pt x="2691270" y="200876"/>
                  </a:lnTo>
                  <a:lnTo>
                    <a:pt x="2691270" y="202260"/>
                  </a:lnTo>
                  <a:lnTo>
                    <a:pt x="2691321" y="202260"/>
                  </a:lnTo>
                  <a:lnTo>
                    <a:pt x="2691321" y="200228"/>
                  </a:lnTo>
                  <a:lnTo>
                    <a:pt x="2691321" y="200876"/>
                  </a:lnTo>
                  <a:lnTo>
                    <a:pt x="2691321" y="200228"/>
                  </a:lnTo>
                  <a:lnTo>
                    <a:pt x="2691321" y="200876"/>
                  </a:lnTo>
                  <a:lnTo>
                    <a:pt x="2691321" y="200228"/>
                  </a:lnTo>
                  <a:lnTo>
                    <a:pt x="2691359" y="200876"/>
                  </a:lnTo>
                  <a:lnTo>
                    <a:pt x="2691359" y="199530"/>
                  </a:lnTo>
                  <a:lnTo>
                    <a:pt x="2691461" y="199530"/>
                  </a:lnTo>
                  <a:lnTo>
                    <a:pt x="2691461" y="198831"/>
                  </a:lnTo>
                  <a:lnTo>
                    <a:pt x="2691461" y="199530"/>
                  </a:lnTo>
                  <a:lnTo>
                    <a:pt x="2691461" y="198831"/>
                  </a:lnTo>
                  <a:lnTo>
                    <a:pt x="2691461" y="199530"/>
                  </a:lnTo>
                  <a:lnTo>
                    <a:pt x="2691461" y="198831"/>
                  </a:lnTo>
                  <a:lnTo>
                    <a:pt x="2691461" y="199530"/>
                  </a:lnTo>
                  <a:lnTo>
                    <a:pt x="2691461" y="196799"/>
                  </a:lnTo>
                  <a:lnTo>
                    <a:pt x="2691512" y="196799"/>
                  </a:lnTo>
                  <a:lnTo>
                    <a:pt x="2691512" y="200228"/>
                  </a:lnTo>
                  <a:lnTo>
                    <a:pt x="2691512" y="197447"/>
                  </a:lnTo>
                  <a:lnTo>
                    <a:pt x="2691512" y="198831"/>
                  </a:lnTo>
                  <a:lnTo>
                    <a:pt x="2691512" y="197447"/>
                  </a:lnTo>
                  <a:lnTo>
                    <a:pt x="2691512" y="198831"/>
                  </a:lnTo>
                  <a:lnTo>
                    <a:pt x="2691562" y="199530"/>
                  </a:lnTo>
                  <a:lnTo>
                    <a:pt x="2691562" y="200876"/>
                  </a:lnTo>
                  <a:lnTo>
                    <a:pt x="2691562" y="199530"/>
                  </a:lnTo>
                  <a:lnTo>
                    <a:pt x="2691562" y="200228"/>
                  </a:lnTo>
                  <a:lnTo>
                    <a:pt x="2691664" y="200228"/>
                  </a:lnTo>
                  <a:lnTo>
                    <a:pt x="2691664" y="202260"/>
                  </a:lnTo>
                  <a:lnTo>
                    <a:pt x="2691664" y="200228"/>
                  </a:lnTo>
                  <a:lnTo>
                    <a:pt x="2691664" y="202260"/>
                  </a:lnTo>
                  <a:lnTo>
                    <a:pt x="2691715" y="202260"/>
                  </a:lnTo>
                  <a:lnTo>
                    <a:pt x="2691715" y="200876"/>
                  </a:lnTo>
                  <a:lnTo>
                    <a:pt x="2691715" y="202260"/>
                  </a:lnTo>
                  <a:lnTo>
                    <a:pt x="2691715" y="200876"/>
                  </a:lnTo>
                  <a:lnTo>
                    <a:pt x="2691765" y="200876"/>
                  </a:lnTo>
                  <a:lnTo>
                    <a:pt x="2691765" y="202260"/>
                  </a:lnTo>
                  <a:lnTo>
                    <a:pt x="2691765" y="200876"/>
                  </a:lnTo>
                  <a:lnTo>
                    <a:pt x="2691765" y="202260"/>
                  </a:lnTo>
                  <a:lnTo>
                    <a:pt x="2691765" y="200876"/>
                  </a:lnTo>
                  <a:lnTo>
                    <a:pt x="2691765" y="202260"/>
                  </a:lnTo>
                  <a:lnTo>
                    <a:pt x="2691765" y="200876"/>
                  </a:lnTo>
                  <a:lnTo>
                    <a:pt x="2691765" y="202260"/>
                  </a:lnTo>
                  <a:lnTo>
                    <a:pt x="2691765" y="200876"/>
                  </a:lnTo>
                  <a:lnTo>
                    <a:pt x="2691765" y="202260"/>
                  </a:lnTo>
                  <a:lnTo>
                    <a:pt x="2691816" y="202260"/>
                  </a:lnTo>
                  <a:lnTo>
                    <a:pt x="2691816" y="200876"/>
                  </a:lnTo>
                  <a:lnTo>
                    <a:pt x="2691816" y="202260"/>
                  </a:lnTo>
                  <a:lnTo>
                    <a:pt x="2691816" y="200876"/>
                  </a:lnTo>
                  <a:lnTo>
                    <a:pt x="2691816" y="202260"/>
                  </a:lnTo>
                  <a:lnTo>
                    <a:pt x="2691816" y="200876"/>
                  </a:lnTo>
                  <a:lnTo>
                    <a:pt x="2691816" y="202260"/>
                  </a:lnTo>
                  <a:lnTo>
                    <a:pt x="2691816" y="200876"/>
                  </a:lnTo>
                  <a:lnTo>
                    <a:pt x="2691905" y="200876"/>
                  </a:lnTo>
                  <a:lnTo>
                    <a:pt x="2691905" y="200228"/>
                  </a:lnTo>
                  <a:lnTo>
                    <a:pt x="2691956" y="199530"/>
                  </a:lnTo>
                  <a:lnTo>
                    <a:pt x="2691956" y="196799"/>
                  </a:lnTo>
                  <a:lnTo>
                    <a:pt x="2691956" y="199530"/>
                  </a:lnTo>
                  <a:lnTo>
                    <a:pt x="2692007" y="200228"/>
                  </a:lnTo>
                  <a:lnTo>
                    <a:pt x="2692007" y="197447"/>
                  </a:lnTo>
                  <a:lnTo>
                    <a:pt x="2692007" y="200876"/>
                  </a:lnTo>
                  <a:lnTo>
                    <a:pt x="2692058" y="200228"/>
                  </a:lnTo>
                  <a:lnTo>
                    <a:pt x="2692058" y="200876"/>
                  </a:lnTo>
                  <a:lnTo>
                    <a:pt x="2692058" y="199530"/>
                  </a:lnTo>
                  <a:lnTo>
                    <a:pt x="2692058" y="200876"/>
                  </a:lnTo>
                  <a:lnTo>
                    <a:pt x="2692058" y="200228"/>
                  </a:lnTo>
                  <a:lnTo>
                    <a:pt x="2692058" y="200876"/>
                  </a:lnTo>
                  <a:lnTo>
                    <a:pt x="2692159" y="200876"/>
                  </a:lnTo>
                  <a:lnTo>
                    <a:pt x="2692159" y="199530"/>
                  </a:lnTo>
                  <a:lnTo>
                    <a:pt x="2692159" y="202260"/>
                  </a:lnTo>
                  <a:lnTo>
                    <a:pt x="2692159" y="200876"/>
                  </a:lnTo>
                  <a:lnTo>
                    <a:pt x="2692159" y="202260"/>
                  </a:lnTo>
                  <a:lnTo>
                    <a:pt x="2692210" y="200876"/>
                  </a:lnTo>
                  <a:lnTo>
                    <a:pt x="2692210" y="202260"/>
                  </a:lnTo>
                  <a:lnTo>
                    <a:pt x="2692210" y="200876"/>
                  </a:lnTo>
                  <a:lnTo>
                    <a:pt x="2692210" y="202260"/>
                  </a:lnTo>
                  <a:lnTo>
                    <a:pt x="2692210" y="200876"/>
                  </a:lnTo>
                  <a:lnTo>
                    <a:pt x="2692261" y="200876"/>
                  </a:lnTo>
                  <a:lnTo>
                    <a:pt x="2692261" y="200228"/>
                  </a:lnTo>
                  <a:lnTo>
                    <a:pt x="2692261" y="202260"/>
                  </a:lnTo>
                  <a:lnTo>
                    <a:pt x="2692261" y="200876"/>
                  </a:lnTo>
                  <a:lnTo>
                    <a:pt x="2692362" y="200876"/>
                  </a:lnTo>
                  <a:lnTo>
                    <a:pt x="2692362" y="202260"/>
                  </a:lnTo>
                  <a:lnTo>
                    <a:pt x="2692362" y="200876"/>
                  </a:lnTo>
                  <a:lnTo>
                    <a:pt x="2692401" y="200876"/>
                  </a:lnTo>
                  <a:lnTo>
                    <a:pt x="2692401" y="199530"/>
                  </a:lnTo>
                  <a:lnTo>
                    <a:pt x="2692401" y="200228"/>
                  </a:lnTo>
                  <a:lnTo>
                    <a:pt x="2692401" y="199530"/>
                  </a:lnTo>
                  <a:lnTo>
                    <a:pt x="2692401" y="200228"/>
                  </a:lnTo>
                  <a:lnTo>
                    <a:pt x="2692401" y="199530"/>
                  </a:lnTo>
                  <a:lnTo>
                    <a:pt x="2692451" y="199530"/>
                  </a:lnTo>
                  <a:lnTo>
                    <a:pt x="2692451" y="198831"/>
                  </a:lnTo>
                  <a:lnTo>
                    <a:pt x="2692451" y="199530"/>
                  </a:lnTo>
                  <a:lnTo>
                    <a:pt x="2692451" y="196799"/>
                  </a:lnTo>
                  <a:lnTo>
                    <a:pt x="2692451" y="198831"/>
                  </a:lnTo>
                  <a:lnTo>
                    <a:pt x="2692502" y="198831"/>
                  </a:lnTo>
                  <a:lnTo>
                    <a:pt x="2692502" y="196799"/>
                  </a:lnTo>
                  <a:lnTo>
                    <a:pt x="2692502" y="200228"/>
                  </a:lnTo>
                  <a:lnTo>
                    <a:pt x="2692502" y="199530"/>
                  </a:lnTo>
                  <a:lnTo>
                    <a:pt x="2692604" y="199530"/>
                  </a:lnTo>
                  <a:lnTo>
                    <a:pt x="2692604" y="198831"/>
                  </a:lnTo>
                  <a:lnTo>
                    <a:pt x="2692604" y="200876"/>
                  </a:lnTo>
                  <a:lnTo>
                    <a:pt x="2692604" y="200228"/>
                  </a:lnTo>
                  <a:lnTo>
                    <a:pt x="2692655" y="200228"/>
                  </a:lnTo>
                  <a:lnTo>
                    <a:pt x="2692655" y="199530"/>
                  </a:lnTo>
                  <a:lnTo>
                    <a:pt x="2692655" y="200228"/>
                  </a:lnTo>
                  <a:lnTo>
                    <a:pt x="2692655" y="199530"/>
                  </a:lnTo>
                  <a:lnTo>
                    <a:pt x="2692655" y="200228"/>
                  </a:lnTo>
                  <a:lnTo>
                    <a:pt x="2692705" y="200228"/>
                  </a:lnTo>
                  <a:lnTo>
                    <a:pt x="2692705" y="200876"/>
                  </a:lnTo>
                  <a:lnTo>
                    <a:pt x="2692807" y="200876"/>
                  </a:lnTo>
                  <a:lnTo>
                    <a:pt x="2692807" y="202260"/>
                  </a:lnTo>
                  <a:lnTo>
                    <a:pt x="2692807" y="200876"/>
                  </a:lnTo>
                  <a:lnTo>
                    <a:pt x="2692807" y="202260"/>
                  </a:lnTo>
                  <a:lnTo>
                    <a:pt x="2692807" y="200876"/>
                  </a:lnTo>
                  <a:lnTo>
                    <a:pt x="2692807" y="202260"/>
                  </a:lnTo>
                  <a:lnTo>
                    <a:pt x="2692858" y="202260"/>
                  </a:lnTo>
                  <a:lnTo>
                    <a:pt x="2692858" y="200876"/>
                  </a:lnTo>
                  <a:lnTo>
                    <a:pt x="2692858" y="202260"/>
                  </a:lnTo>
                  <a:lnTo>
                    <a:pt x="2692858" y="200228"/>
                  </a:lnTo>
                  <a:lnTo>
                    <a:pt x="2692908" y="200228"/>
                  </a:lnTo>
                  <a:lnTo>
                    <a:pt x="2692908" y="200876"/>
                  </a:lnTo>
                  <a:lnTo>
                    <a:pt x="2692908" y="199530"/>
                  </a:lnTo>
                  <a:lnTo>
                    <a:pt x="2692908" y="200228"/>
                  </a:lnTo>
                  <a:lnTo>
                    <a:pt x="2692908" y="198831"/>
                  </a:lnTo>
                  <a:lnTo>
                    <a:pt x="2692947" y="198831"/>
                  </a:lnTo>
                  <a:lnTo>
                    <a:pt x="2692947" y="197447"/>
                  </a:lnTo>
                  <a:lnTo>
                    <a:pt x="2692947" y="198831"/>
                  </a:lnTo>
                  <a:lnTo>
                    <a:pt x="2692947" y="197447"/>
                  </a:lnTo>
                  <a:lnTo>
                    <a:pt x="2693048" y="196799"/>
                  </a:lnTo>
                  <a:lnTo>
                    <a:pt x="2693048" y="200228"/>
                  </a:lnTo>
                  <a:lnTo>
                    <a:pt x="2693048" y="198831"/>
                  </a:lnTo>
                  <a:lnTo>
                    <a:pt x="2693099" y="198831"/>
                  </a:lnTo>
                  <a:lnTo>
                    <a:pt x="2693099" y="200228"/>
                  </a:lnTo>
                  <a:lnTo>
                    <a:pt x="2693099" y="198831"/>
                  </a:lnTo>
                  <a:lnTo>
                    <a:pt x="2693150" y="198831"/>
                  </a:lnTo>
                  <a:lnTo>
                    <a:pt x="2693150" y="200228"/>
                  </a:lnTo>
                  <a:lnTo>
                    <a:pt x="2693150" y="199530"/>
                  </a:lnTo>
                  <a:lnTo>
                    <a:pt x="2693251" y="199530"/>
                  </a:lnTo>
                  <a:lnTo>
                    <a:pt x="2693251" y="200228"/>
                  </a:lnTo>
                  <a:lnTo>
                    <a:pt x="2693251" y="199530"/>
                  </a:lnTo>
                  <a:lnTo>
                    <a:pt x="2693251" y="200228"/>
                  </a:lnTo>
                  <a:lnTo>
                    <a:pt x="2693251" y="199530"/>
                  </a:lnTo>
                  <a:lnTo>
                    <a:pt x="2693251" y="200228"/>
                  </a:lnTo>
                  <a:lnTo>
                    <a:pt x="2693251" y="199530"/>
                  </a:lnTo>
                  <a:lnTo>
                    <a:pt x="2693251" y="200228"/>
                  </a:lnTo>
                  <a:lnTo>
                    <a:pt x="2693251" y="199530"/>
                  </a:lnTo>
                  <a:lnTo>
                    <a:pt x="2693302" y="200228"/>
                  </a:lnTo>
                  <a:lnTo>
                    <a:pt x="2693353" y="200228"/>
                  </a:lnTo>
                  <a:lnTo>
                    <a:pt x="2693353" y="199530"/>
                  </a:lnTo>
                  <a:lnTo>
                    <a:pt x="2693404" y="199530"/>
                  </a:lnTo>
                  <a:lnTo>
                    <a:pt x="2693404" y="197447"/>
                  </a:lnTo>
                  <a:lnTo>
                    <a:pt x="2693493" y="198831"/>
                  </a:lnTo>
                  <a:lnTo>
                    <a:pt x="2693493" y="199530"/>
                  </a:lnTo>
                  <a:lnTo>
                    <a:pt x="2693493" y="198831"/>
                  </a:lnTo>
                  <a:lnTo>
                    <a:pt x="2693493" y="199530"/>
                  </a:lnTo>
                  <a:lnTo>
                    <a:pt x="2693493" y="197447"/>
                  </a:lnTo>
                  <a:lnTo>
                    <a:pt x="2693493" y="199530"/>
                  </a:lnTo>
                  <a:lnTo>
                    <a:pt x="2693544" y="200228"/>
                  </a:lnTo>
                  <a:lnTo>
                    <a:pt x="2693544" y="200876"/>
                  </a:lnTo>
                  <a:lnTo>
                    <a:pt x="2693544" y="200228"/>
                  </a:lnTo>
                  <a:lnTo>
                    <a:pt x="2693544" y="200876"/>
                  </a:lnTo>
                  <a:lnTo>
                    <a:pt x="2693544" y="199530"/>
                  </a:lnTo>
                  <a:lnTo>
                    <a:pt x="2693544" y="200228"/>
                  </a:lnTo>
                  <a:lnTo>
                    <a:pt x="2693594" y="200228"/>
                  </a:lnTo>
                  <a:lnTo>
                    <a:pt x="2693594" y="200876"/>
                  </a:lnTo>
                  <a:lnTo>
                    <a:pt x="2693594" y="200228"/>
                  </a:lnTo>
                  <a:lnTo>
                    <a:pt x="2693594" y="200876"/>
                  </a:lnTo>
                  <a:lnTo>
                    <a:pt x="2693594" y="200228"/>
                  </a:lnTo>
                  <a:lnTo>
                    <a:pt x="2693747" y="200228"/>
                  </a:lnTo>
                  <a:lnTo>
                    <a:pt x="2693747" y="200876"/>
                  </a:lnTo>
                  <a:lnTo>
                    <a:pt x="2693747" y="200228"/>
                  </a:lnTo>
                  <a:lnTo>
                    <a:pt x="2693747" y="200876"/>
                  </a:lnTo>
                  <a:lnTo>
                    <a:pt x="2693747" y="200228"/>
                  </a:lnTo>
                  <a:lnTo>
                    <a:pt x="2693747" y="200876"/>
                  </a:lnTo>
                  <a:lnTo>
                    <a:pt x="2693747" y="200228"/>
                  </a:lnTo>
                  <a:lnTo>
                    <a:pt x="2693747" y="200876"/>
                  </a:lnTo>
                  <a:lnTo>
                    <a:pt x="2693747" y="200228"/>
                  </a:lnTo>
                  <a:lnTo>
                    <a:pt x="2693797" y="200876"/>
                  </a:lnTo>
                  <a:lnTo>
                    <a:pt x="2693797" y="200228"/>
                  </a:lnTo>
                  <a:lnTo>
                    <a:pt x="2693797" y="200876"/>
                  </a:lnTo>
                  <a:lnTo>
                    <a:pt x="2693797" y="200228"/>
                  </a:lnTo>
                  <a:lnTo>
                    <a:pt x="2693797" y="200876"/>
                  </a:lnTo>
                  <a:lnTo>
                    <a:pt x="2693797" y="200228"/>
                  </a:lnTo>
                  <a:lnTo>
                    <a:pt x="2693797" y="200876"/>
                  </a:lnTo>
                  <a:lnTo>
                    <a:pt x="2693797" y="200228"/>
                  </a:lnTo>
                  <a:lnTo>
                    <a:pt x="2693797" y="200876"/>
                  </a:lnTo>
                  <a:lnTo>
                    <a:pt x="2693848" y="200876"/>
                  </a:lnTo>
                  <a:lnTo>
                    <a:pt x="2693848" y="200228"/>
                  </a:lnTo>
                  <a:lnTo>
                    <a:pt x="2693848" y="200876"/>
                  </a:lnTo>
                  <a:lnTo>
                    <a:pt x="2693848" y="199530"/>
                  </a:lnTo>
                  <a:lnTo>
                    <a:pt x="2693848" y="200228"/>
                  </a:lnTo>
                  <a:lnTo>
                    <a:pt x="2693848" y="198831"/>
                  </a:lnTo>
                  <a:lnTo>
                    <a:pt x="2693950" y="198831"/>
                  </a:lnTo>
                  <a:lnTo>
                    <a:pt x="2693950" y="199530"/>
                  </a:lnTo>
                  <a:lnTo>
                    <a:pt x="2693950" y="196799"/>
                  </a:lnTo>
                  <a:lnTo>
                    <a:pt x="2693988" y="197447"/>
                  </a:lnTo>
                  <a:lnTo>
                    <a:pt x="2693988" y="199530"/>
                  </a:lnTo>
                  <a:lnTo>
                    <a:pt x="2693988" y="197447"/>
                  </a:lnTo>
                  <a:lnTo>
                    <a:pt x="2693988" y="200228"/>
                  </a:lnTo>
                  <a:lnTo>
                    <a:pt x="2694039" y="200228"/>
                  </a:lnTo>
                  <a:lnTo>
                    <a:pt x="2694039" y="200876"/>
                  </a:lnTo>
                  <a:lnTo>
                    <a:pt x="2694039" y="199530"/>
                  </a:lnTo>
                  <a:lnTo>
                    <a:pt x="2694039" y="200876"/>
                  </a:lnTo>
                  <a:lnTo>
                    <a:pt x="2694090" y="200876"/>
                  </a:lnTo>
                  <a:lnTo>
                    <a:pt x="2694090" y="200228"/>
                  </a:lnTo>
                  <a:lnTo>
                    <a:pt x="2694090" y="200876"/>
                  </a:lnTo>
                  <a:lnTo>
                    <a:pt x="2694090" y="200228"/>
                  </a:lnTo>
                  <a:lnTo>
                    <a:pt x="2694090" y="200876"/>
                  </a:lnTo>
                  <a:lnTo>
                    <a:pt x="2694191" y="200876"/>
                  </a:lnTo>
                  <a:lnTo>
                    <a:pt x="2694191" y="200228"/>
                  </a:lnTo>
                  <a:lnTo>
                    <a:pt x="2694191" y="200876"/>
                  </a:lnTo>
                  <a:lnTo>
                    <a:pt x="2694191" y="200228"/>
                  </a:lnTo>
                  <a:lnTo>
                    <a:pt x="2694191" y="200876"/>
                  </a:lnTo>
                  <a:lnTo>
                    <a:pt x="2694191" y="200228"/>
                  </a:lnTo>
                  <a:lnTo>
                    <a:pt x="2694242" y="200228"/>
                  </a:lnTo>
                  <a:lnTo>
                    <a:pt x="2694242" y="200876"/>
                  </a:lnTo>
                  <a:lnTo>
                    <a:pt x="2694242" y="200228"/>
                  </a:lnTo>
                  <a:lnTo>
                    <a:pt x="2694242" y="200876"/>
                  </a:lnTo>
                  <a:lnTo>
                    <a:pt x="2694242" y="200228"/>
                  </a:lnTo>
                  <a:lnTo>
                    <a:pt x="2694242" y="200876"/>
                  </a:lnTo>
                  <a:lnTo>
                    <a:pt x="2694242" y="200228"/>
                  </a:lnTo>
                  <a:lnTo>
                    <a:pt x="2694242" y="200876"/>
                  </a:lnTo>
                  <a:lnTo>
                    <a:pt x="2694293" y="200876"/>
                  </a:lnTo>
                  <a:lnTo>
                    <a:pt x="2694293" y="200228"/>
                  </a:lnTo>
                  <a:lnTo>
                    <a:pt x="2694293" y="200876"/>
                  </a:lnTo>
                  <a:lnTo>
                    <a:pt x="2694293" y="199530"/>
                  </a:lnTo>
                  <a:lnTo>
                    <a:pt x="2694293" y="200228"/>
                  </a:lnTo>
                  <a:lnTo>
                    <a:pt x="2694293" y="199530"/>
                  </a:lnTo>
                  <a:lnTo>
                    <a:pt x="2694394" y="200228"/>
                  </a:lnTo>
                  <a:lnTo>
                    <a:pt x="2694394" y="199530"/>
                  </a:lnTo>
                  <a:lnTo>
                    <a:pt x="2694394" y="200228"/>
                  </a:lnTo>
                  <a:lnTo>
                    <a:pt x="2694394" y="198831"/>
                  </a:lnTo>
                  <a:lnTo>
                    <a:pt x="2694394" y="199530"/>
                  </a:lnTo>
                  <a:lnTo>
                    <a:pt x="2694394" y="197447"/>
                  </a:lnTo>
                  <a:lnTo>
                    <a:pt x="2694445" y="197447"/>
                  </a:lnTo>
                  <a:lnTo>
                    <a:pt x="2694445" y="196799"/>
                  </a:lnTo>
                  <a:lnTo>
                    <a:pt x="2694445" y="197447"/>
                  </a:lnTo>
                  <a:lnTo>
                    <a:pt x="2694445" y="196113"/>
                  </a:lnTo>
                  <a:lnTo>
                    <a:pt x="2694445" y="197447"/>
                  </a:lnTo>
                  <a:lnTo>
                    <a:pt x="2694496" y="197447"/>
                  </a:lnTo>
                  <a:lnTo>
                    <a:pt x="2694496" y="198831"/>
                  </a:lnTo>
                  <a:lnTo>
                    <a:pt x="2694496" y="196113"/>
                  </a:lnTo>
                  <a:lnTo>
                    <a:pt x="2694496" y="200228"/>
                  </a:lnTo>
                  <a:lnTo>
                    <a:pt x="2694496" y="199530"/>
                  </a:lnTo>
                  <a:lnTo>
                    <a:pt x="2694534" y="199530"/>
                  </a:lnTo>
                  <a:lnTo>
                    <a:pt x="2694534" y="198831"/>
                  </a:lnTo>
                  <a:lnTo>
                    <a:pt x="2694534" y="200228"/>
                  </a:lnTo>
                  <a:lnTo>
                    <a:pt x="2694636" y="200228"/>
                  </a:lnTo>
                  <a:lnTo>
                    <a:pt x="2694636" y="199530"/>
                  </a:lnTo>
                  <a:lnTo>
                    <a:pt x="2694636" y="200228"/>
                  </a:lnTo>
                  <a:lnTo>
                    <a:pt x="2694687" y="200228"/>
                  </a:lnTo>
                  <a:lnTo>
                    <a:pt x="2694687" y="199530"/>
                  </a:lnTo>
                  <a:lnTo>
                    <a:pt x="2694687" y="200228"/>
                  </a:lnTo>
                  <a:lnTo>
                    <a:pt x="2694687" y="199530"/>
                  </a:lnTo>
                  <a:lnTo>
                    <a:pt x="2694687" y="200876"/>
                  </a:lnTo>
                  <a:lnTo>
                    <a:pt x="2694687" y="200228"/>
                  </a:lnTo>
                  <a:lnTo>
                    <a:pt x="2694737" y="200228"/>
                  </a:lnTo>
                  <a:lnTo>
                    <a:pt x="2694737" y="200876"/>
                  </a:lnTo>
                  <a:lnTo>
                    <a:pt x="2694737" y="200228"/>
                  </a:lnTo>
                  <a:lnTo>
                    <a:pt x="2694737" y="200876"/>
                  </a:lnTo>
                  <a:lnTo>
                    <a:pt x="2694839" y="200876"/>
                  </a:lnTo>
                  <a:lnTo>
                    <a:pt x="2694839" y="200228"/>
                  </a:lnTo>
                  <a:lnTo>
                    <a:pt x="2694839" y="200876"/>
                  </a:lnTo>
                  <a:lnTo>
                    <a:pt x="2694839" y="200228"/>
                  </a:lnTo>
                  <a:lnTo>
                    <a:pt x="2694839" y="200876"/>
                  </a:lnTo>
                  <a:lnTo>
                    <a:pt x="2694839" y="200228"/>
                  </a:lnTo>
                  <a:lnTo>
                    <a:pt x="2694890" y="200228"/>
                  </a:lnTo>
                  <a:lnTo>
                    <a:pt x="2694890" y="198831"/>
                  </a:lnTo>
                  <a:lnTo>
                    <a:pt x="2694890" y="199530"/>
                  </a:lnTo>
                  <a:lnTo>
                    <a:pt x="2694890" y="197447"/>
                  </a:lnTo>
                  <a:lnTo>
                    <a:pt x="2694940" y="197447"/>
                  </a:lnTo>
                  <a:lnTo>
                    <a:pt x="2694940" y="196799"/>
                  </a:lnTo>
                  <a:lnTo>
                    <a:pt x="2694940" y="199530"/>
                  </a:lnTo>
                  <a:lnTo>
                    <a:pt x="2694991" y="198831"/>
                  </a:lnTo>
                  <a:lnTo>
                    <a:pt x="2694991" y="196113"/>
                  </a:lnTo>
                  <a:lnTo>
                    <a:pt x="2694991" y="200228"/>
                  </a:lnTo>
                  <a:lnTo>
                    <a:pt x="2694991" y="198831"/>
                  </a:lnTo>
                  <a:lnTo>
                    <a:pt x="2695080" y="198831"/>
                  </a:lnTo>
                  <a:lnTo>
                    <a:pt x="2695080" y="197447"/>
                  </a:lnTo>
                  <a:lnTo>
                    <a:pt x="2695080" y="199530"/>
                  </a:lnTo>
                  <a:lnTo>
                    <a:pt x="2695131" y="198831"/>
                  </a:lnTo>
                  <a:lnTo>
                    <a:pt x="2695131" y="199530"/>
                  </a:lnTo>
                  <a:lnTo>
                    <a:pt x="2695131" y="198831"/>
                  </a:lnTo>
                  <a:lnTo>
                    <a:pt x="2695131" y="199530"/>
                  </a:lnTo>
                  <a:lnTo>
                    <a:pt x="2695131" y="198831"/>
                  </a:lnTo>
                  <a:lnTo>
                    <a:pt x="2695131" y="199530"/>
                  </a:lnTo>
                  <a:lnTo>
                    <a:pt x="2695182" y="200228"/>
                  </a:lnTo>
                  <a:lnTo>
                    <a:pt x="2695182" y="199530"/>
                  </a:lnTo>
                  <a:lnTo>
                    <a:pt x="2695182" y="200876"/>
                  </a:lnTo>
                  <a:lnTo>
                    <a:pt x="2695182" y="200228"/>
                  </a:lnTo>
                  <a:lnTo>
                    <a:pt x="2695233" y="200876"/>
                  </a:lnTo>
                  <a:lnTo>
                    <a:pt x="2695233" y="200228"/>
                  </a:lnTo>
                  <a:lnTo>
                    <a:pt x="2695233" y="200876"/>
                  </a:lnTo>
                  <a:lnTo>
                    <a:pt x="2695233" y="200228"/>
                  </a:lnTo>
                  <a:lnTo>
                    <a:pt x="2695233" y="200876"/>
                  </a:lnTo>
                  <a:lnTo>
                    <a:pt x="2695233" y="200228"/>
                  </a:lnTo>
                  <a:lnTo>
                    <a:pt x="2695334" y="200228"/>
                  </a:lnTo>
                  <a:lnTo>
                    <a:pt x="2695334" y="200876"/>
                  </a:lnTo>
                  <a:lnTo>
                    <a:pt x="2695334" y="200228"/>
                  </a:lnTo>
                  <a:lnTo>
                    <a:pt x="2695385" y="199530"/>
                  </a:lnTo>
                  <a:lnTo>
                    <a:pt x="2695385" y="197447"/>
                  </a:lnTo>
                  <a:lnTo>
                    <a:pt x="2695385" y="198831"/>
                  </a:lnTo>
                  <a:lnTo>
                    <a:pt x="2695385" y="197447"/>
                  </a:lnTo>
                  <a:lnTo>
                    <a:pt x="2695436" y="197447"/>
                  </a:lnTo>
                  <a:lnTo>
                    <a:pt x="2695436" y="196799"/>
                  </a:lnTo>
                  <a:lnTo>
                    <a:pt x="2695436" y="198831"/>
                  </a:lnTo>
                  <a:lnTo>
                    <a:pt x="2695537" y="198831"/>
                  </a:lnTo>
                  <a:lnTo>
                    <a:pt x="2695537" y="196113"/>
                  </a:lnTo>
                  <a:lnTo>
                    <a:pt x="2695537" y="200228"/>
                  </a:lnTo>
                  <a:lnTo>
                    <a:pt x="2695537" y="198831"/>
                  </a:lnTo>
                  <a:lnTo>
                    <a:pt x="2695576" y="198831"/>
                  </a:lnTo>
                  <a:lnTo>
                    <a:pt x="2695576" y="196799"/>
                  </a:lnTo>
                  <a:lnTo>
                    <a:pt x="2695576" y="199530"/>
                  </a:lnTo>
                  <a:lnTo>
                    <a:pt x="2695576" y="198831"/>
                  </a:lnTo>
                  <a:lnTo>
                    <a:pt x="2695576" y="199530"/>
                  </a:lnTo>
                  <a:lnTo>
                    <a:pt x="2695576" y="198831"/>
                  </a:lnTo>
                  <a:lnTo>
                    <a:pt x="2695626" y="198831"/>
                  </a:lnTo>
                  <a:lnTo>
                    <a:pt x="2695626" y="199530"/>
                  </a:lnTo>
                  <a:lnTo>
                    <a:pt x="2695626" y="198831"/>
                  </a:lnTo>
                  <a:lnTo>
                    <a:pt x="2695677" y="198831"/>
                  </a:lnTo>
                  <a:lnTo>
                    <a:pt x="2695677" y="200228"/>
                  </a:lnTo>
                  <a:lnTo>
                    <a:pt x="2695677" y="199530"/>
                  </a:lnTo>
                  <a:lnTo>
                    <a:pt x="2695779" y="200228"/>
                  </a:lnTo>
                  <a:lnTo>
                    <a:pt x="2695830" y="200228"/>
                  </a:lnTo>
                  <a:lnTo>
                    <a:pt x="2695830" y="199530"/>
                  </a:lnTo>
                  <a:lnTo>
                    <a:pt x="2695880" y="199530"/>
                  </a:lnTo>
                  <a:lnTo>
                    <a:pt x="2695880" y="198831"/>
                  </a:lnTo>
                  <a:lnTo>
                    <a:pt x="2695880" y="199530"/>
                  </a:lnTo>
                  <a:lnTo>
                    <a:pt x="2695880" y="198831"/>
                  </a:lnTo>
                  <a:lnTo>
                    <a:pt x="2695880" y="199530"/>
                  </a:lnTo>
                  <a:lnTo>
                    <a:pt x="2695880" y="197447"/>
                  </a:lnTo>
                  <a:lnTo>
                    <a:pt x="2695880" y="198831"/>
                  </a:lnTo>
                  <a:lnTo>
                    <a:pt x="2695880" y="197447"/>
                  </a:lnTo>
                  <a:lnTo>
                    <a:pt x="2695982" y="196799"/>
                  </a:lnTo>
                  <a:lnTo>
                    <a:pt x="2695982" y="196113"/>
                  </a:lnTo>
                  <a:lnTo>
                    <a:pt x="2695982" y="197447"/>
                  </a:lnTo>
                  <a:lnTo>
                    <a:pt x="2695982" y="196113"/>
                  </a:lnTo>
                  <a:lnTo>
                    <a:pt x="2695982" y="196799"/>
                  </a:lnTo>
                  <a:lnTo>
                    <a:pt x="2695982" y="196113"/>
                  </a:lnTo>
                  <a:lnTo>
                    <a:pt x="2696033" y="196113"/>
                  </a:lnTo>
                  <a:lnTo>
                    <a:pt x="2696033" y="198831"/>
                  </a:lnTo>
                  <a:lnTo>
                    <a:pt x="2696033" y="196799"/>
                  </a:lnTo>
                  <a:lnTo>
                    <a:pt x="2696083" y="196113"/>
                  </a:lnTo>
                  <a:lnTo>
                    <a:pt x="2696083" y="198831"/>
                  </a:lnTo>
                  <a:lnTo>
                    <a:pt x="2696083" y="197447"/>
                  </a:lnTo>
                  <a:lnTo>
                    <a:pt x="2696122" y="197447"/>
                  </a:lnTo>
                  <a:lnTo>
                    <a:pt x="2696122" y="198831"/>
                  </a:lnTo>
                  <a:lnTo>
                    <a:pt x="2696122" y="197447"/>
                  </a:lnTo>
                  <a:lnTo>
                    <a:pt x="2696122" y="198831"/>
                  </a:lnTo>
                  <a:lnTo>
                    <a:pt x="2696223" y="199530"/>
                  </a:lnTo>
                  <a:lnTo>
                    <a:pt x="2696223" y="198831"/>
                  </a:lnTo>
                  <a:lnTo>
                    <a:pt x="2696223" y="199530"/>
                  </a:lnTo>
                  <a:lnTo>
                    <a:pt x="2696223" y="198831"/>
                  </a:lnTo>
                  <a:lnTo>
                    <a:pt x="2696223" y="199530"/>
                  </a:lnTo>
                  <a:lnTo>
                    <a:pt x="2696274" y="199530"/>
                  </a:lnTo>
                  <a:lnTo>
                    <a:pt x="2696274" y="200228"/>
                  </a:lnTo>
                  <a:lnTo>
                    <a:pt x="2696274" y="198831"/>
                  </a:lnTo>
                  <a:lnTo>
                    <a:pt x="2696274" y="199530"/>
                  </a:lnTo>
                  <a:lnTo>
                    <a:pt x="2696325" y="199530"/>
                  </a:lnTo>
                  <a:lnTo>
                    <a:pt x="2696325" y="198831"/>
                  </a:lnTo>
                  <a:lnTo>
                    <a:pt x="2696325" y="199530"/>
                  </a:lnTo>
                  <a:lnTo>
                    <a:pt x="2696325" y="198831"/>
                  </a:lnTo>
                  <a:lnTo>
                    <a:pt x="2696325" y="199530"/>
                  </a:lnTo>
                  <a:lnTo>
                    <a:pt x="2696426" y="199530"/>
                  </a:lnTo>
                  <a:lnTo>
                    <a:pt x="2696426" y="197447"/>
                  </a:lnTo>
                  <a:lnTo>
                    <a:pt x="2696426" y="198831"/>
                  </a:lnTo>
                  <a:lnTo>
                    <a:pt x="2696426" y="196799"/>
                  </a:lnTo>
                  <a:lnTo>
                    <a:pt x="2696426" y="197447"/>
                  </a:lnTo>
                  <a:lnTo>
                    <a:pt x="2696426" y="196799"/>
                  </a:lnTo>
                  <a:lnTo>
                    <a:pt x="2696477" y="196799"/>
                  </a:lnTo>
                  <a:lnTo>
                    <a:pt x="2696477" y="199530"/>
                  </a:lnTo>
                  <a:lnTo>
                    <a:pt x="2696477" y="196799"/>
                  </a:lnTo>
                  <a:lnTo>
                    <a:pt x="2696477" y="197447"/>
                  </a:lnTo>
                  <a:lnTo>
                    <a:pt x="2696528" y="198831"/>
                  </a:lnTo>
                  <a:lnTo>
                    <a:pt x="2696528" y="200228"/>
                  </a:lnTo>
                  <a:lnTo>
                    <a:pt x="2696528" y="198831"/>
                  </a:lnTo>
                  <a:lnTo>
                    <a:pt x="2696528" y="199530"/>
                  </a:lnTo>
                  <a:lnTo>
                    <a:pt x="2696579" y="199530"/>
                  </a:lnTo>
                  <a:lnTo>
                    <a:pt x="2696579" y="200228"/>
                  </a:lnTo>
                  <a:lnTo>
                    <a:pt x="2696579" y="198831"/>
                  </a:lnTo>
                  <a:lnTo>
                    <a:pt x="2696579" y="199530"/>
                  </a:lnTo>
                  <a:lnTo>
                    <a:pt x="2696579" y="198831"/>
                  </a:lnTo>
                  <a:lnTo>
                    <a:pt x="2696579" y="199530"/>
                  </a:lnTo>
                  <a:lnTo>
                    <a:pt x="2696668" y="199530"/>
                  </a:lnTo>
                  <a:lnTo>
                    <a:pt x="2696668" y="200228"/>
                  </a:lnTo>
                  <a:lnTo>
                    <a:pt x="2696668" y="199530"/>
                  </a:lnTo>
                  <a:lnTo>
                    <a:pt x="2696668" y="200228"/>
                  </a:lnTo>
                  <a:lnTo>
                    <a:pt x="2696719" y="200228"/>
                  </a:lnTo>
                  <a:lnTo>
                    <a:pt x="2696719" y="200876"/>
                  </a:lnTo>
                  <a:lnTo>
                    <a:pt x="2696769" y="200228"/>
                  </a:lnTo>
                  <a:lnTo>
                    <a:pt x="2696769" y="200876"/>
                  </a:lnTo>
                  <a:lnTo>
                    <a:pt x="2696769" y="199530"/>
                  </a:lnTo>
                  <a:lnTo>
                    <a:pt x="2696820" y="200228"/>
                  </a:lnTo>
                  <a:lnTo>
                    <a:pt x="2696820" y="199530"/>
                  </a:lnTo>
                  <a:lnTo>
                    <a:pt x="2696922" y="199530"/>
                  </a:lnTo>
                  <a:lnTo>
                    <a:pt x="2696922" y="198831"/>
                  </a:lnTo>
                  <a:lnTo>
                    <a:pt x="2696922" y="199530"/>
                  </a:lnTo>
                  <a:lnTo>
                    <a:pt x="2696972" y="200228"/>
                  </a:lnTo>
                  <a:lnTo>
                    <a:pt x="2696972" y="197447"/>
                  </a:lnTo>
                  <a:lnTo>
                    <a:pt x="2696972" y="202260"/>
                  </a:lnTo>
                  <a:lnTo>
                    <a:pt x="2696972" y="200876"/>
                  </a:lnTo>
                  <a:lnTo>
                    <a:pt x="2697023" y="200876"/>
                  </a:lnTo>
                  <a:lnTo>
                    <a:pt x="2697023" y="199530"/>
                  </a:lnTo>
                  <a:lnTo>
                    <a:pt x="2697023" y="202260"/>
                  </a:lnTo>
                  <a:lnTo>
                    <a:pt x="2697023" y="200876"/>
                  </a:lnTo>
                  <a:lnTo>
                    <a:pt x="2697125" y="200876"/>
                  </a:lnTo>
                  <a:lnTo>
                    <a:pt x="2697125" y="200228"/>
                  </a:lnTo>
                  <a:lnTo>
                    <a:pt x="2697125" y="200876"/>
                  </a:lnTo>
                  <a:lnTo>
                    <a:pt x="2697125" y="200228"/>
                  </a:lnTo>
                  <a:lnTo>
                    <a:pt x="2697125" y="200876"/>
                  </a:lnTo>
                  <a:lnTo>
                    <a:pt x="2697163" y="200876"/>
                  </a:lnTo>
                  <a:lnTo>
                    <a:pt x="2697163" y="200228"/>
                  </a:lnTo>
                  <a:lnTo>
                    <a:pt x="2697163" y="200876"/>
                  </a:lnTo>
                  <a:lnTo>
                    <a:pt x="2697163" y="200228"/>
                  </a:lnTo>
                  <a:lnTo>
                    <a:pt x="2697163" y="200876"/>
                  </a:lnTo>
                  <a:lnTo>
                    <a:pt x="2697214" y="200876"/>
                  </a:lnTo>
                  <a:lnTo>
                    <a:pt x="2697214" y="200228"/>
                  </a:lnTo>
                  <a:lnTo>
                    <a:pt x="2697265" y="200228"/>
                  </a:lnTo>
                  <a:lnTo>
                    <a:pt x="2697265" y="199530"/>
                  </a:lnTo>
                  <a:lnTo>
                    <a:pt x="2697366" y="199530"/>
                  </a:lnTo>
                  <a:lnTo>
                    <a:pt x="2697366" y="197447"/>
                  </a:lnTo>
                  <a:lnTo>
                    <a:pt x="2697417" y="197447"/>
                  </a:lnTo>
                  <a:lnTo>
                    <a:pt x="2697417" y="196799"/>
                  </a:lnTo>
                  <a:lnTo>
                    <a:pt x="2697417" y="199530"/>
                  </a:lnTo>
                  <a:lnTo>
                    <a:pt x="2697417" y="198831"/>
                  </a:lnTo>
                  <a:lnTo>
                    <a:pt x="2697468" y="198831"/>
                  </a:lnTo>
                  <a:lnTo>
                    <a:pt x="2697468" y="197447"/>
                  </a:lnTo>
                  <a:lnTo>
                    <a:pt x="2697468" y="200876"/>
                  </a:lnTo>
                  <a:lnTo>
                    <a:pt x="2697468" y="199530"/>
                  </a:lnTo>
                  <a:lnTo>
                    <a:pt x="2697569" y="199530"/>
                  </a:lnTo>
                  <a:lnTo>
                    <a:pt x="2697569" y="198831"/>
                  </a:lnTo>
                  <a:lnTo>
                    <a:pt x="2697569" y="200876"/>
                  </a:lnTo>
                  <a:lnTo>
                    <a:pt x="2697569" y="200228"/>
                  </a:lnTo>
                  <a:lnTo>
                    <a:pt x="2697569" y="200876"/>
                  </a:lnTo>
                  <a:lnTo>
                    <a:pt x="2697569" y="200228"/>
                  </a:lnTo>
                  <a:lnTo>
                    <a:pt x="2697620" y="200228"/>
                  </a:lnTo>
                  <a:lnTo>
                    <a:pt x="2697620" y="200876"/>
                  </a:lnTo>
                  <a:lnTo>
                    <a:pt x="2697671" y="200876"/>
                  </a:lnTo>
                  <a:lnTo>
                    <a:pt x="2697671" y="202260"/>
                  </a:lnTo>
                  <a:lnTo>
                    <a:pt x="2697671" y="200876"/>
                  </a:lnTo>
                  <a:lnTo>
                    <a:pt x="2697671" y="202260"/>
                  </a:lnTo>
                  <a:lnTo>
                    <a:pt x="2697671" y="200876"/>
                  </a:lnTo>
                  <a:lnTo>
                    <a:pt x="2697671" y="202260"/>
                  </a:lnTo>
                  <a:lnTo>
                    <a:pt x="2697709" y="200876"/>
                  </a:lnTo>
                  <a:lnTo>
                    <a:pt x="2697709" y="202260"/>
                  </a:lnTo>
                  <a:lnTo>
                    <a:pt x="2697709" y="200228"/>
                  </a:lnTo>
                  <a:lnTo>
                    <a:pt x="2697709" y="200876"/>
                  </a:lnTo>
                  <a:lnTo>
                    <a:pt x="2697709" y="200228"/>
                  </a:lnTo>
                  <a:lnTo>
                    <a:pt x="2697811" y="200876"/>
                  </a:lnTo>
                  <a:lnTo>
                    <a:pt x="2697811" y="199530"/>
                  </a:lnTo>
                  <a:lnTo>
                    <a:pt x="2697811" y="200228"/>
                  </a:lnTo>
                  <a:lnTo>
                    <a:pt x="2697811" y="199530"/>
                  </a:lnTo>
                  <a:lnTo>
                    <a:pt x="2697811" y="200228"/>
                  </a:lnTo>
                  <a:lnTo>
                    <a:pt x="2697862" y="199530"/>
                  </a:lnTo>
                  <a:lnTo>
                    <a:pt x="2697862" y="196799"/>
                  </a:lnTo>
                  <a:lnTo>
                    <a:pt x="2697912" y="196799"/>
                  </a:lnTo>
                  <a:lnTo>
                    <a:pt x="2697912" y="199530"/>
                  </a:lnTo>
                  <a:lnTo>
                    <a:pt x="2697912" y="197447"/>
                  </a:lnTo>
                  <a:lnTo>
                    <a:pt x="2697912" y="198831"/>
                  </a:lnTo>
                  <a:lnTo>
                    <a:pt x="2698014" y="199530"/>
                  </a:lnTo>
                  <a:lnTo>
                    <a:pt x="2698014" y="202260"/>
                  </a:lnTo>
                  <a:lnTo>
                    <a:pt x="2698014" y="199530"/>
                  </a:lnTo>
                  <a:lnTo>
                    <a:pt x="2698014" y="200228"/>
                  </a:lnTo>
                  <a:lnTo>
                    <a:pt x="2698014" y="199530"/>
                  </a:lnTo>
                  <a:lnTo>
                    <a:pt x="2698014" y="200228"/>
                  </a:lnTo>
                  <a:lnTo>
                    <a:pt x="2698014" y="199530"/>
                  </a:lnTo>
                  <a:lnTo>
                    <a:pt x="2698014" y="200228"/>
                  </a:lnTo>
                  <a:lnTo>
                    <a:pt x="2698065" y="200228"/>
                  </a:lnTo>
                  <a:lnTo>
                    <a:pt x="2698065" y="200876"/>
                  </a:lnTo>
                  <a:lnTo>
                    <a:pt x="2698065" y="199530"/>
                  </a:lnTo>
                  <a:lnTo>
                    <a:pt x="2698065" y="200228"/>
                  </a:lnTo>
                  <a:lnTo>
                    <a:pt x="2698065" y="199530"/>
                  </a:lnTo>
                  <a:lnTo>
                    <a:pt x="2698065" y="200228"/>
                  </a:lnTo>
                  <a:lnTo>
                    <a:pt x="2698115" y="200876"/>
                  </a:lnTo>
                  <a:lnTo>
                    <a:pt x="2698115" y="200228"/>
                  </a:lnTo>
                  <a:lnTo>
                    <a:pt x="2698115" y="200876"/>
                  </a:lnTo>
                  <a:lnTo>
                    <a:pt x="2698166" y="200876"/>
                  </a:lnTo>
                  <a:lnTo>
                    <a:pt x="2698166" y="202260"/>
                  </a:lnTo>
                  <a:lnTo>
                    <a:pt x="2698255" y="202260"/>
                  </a:lnTo>
                  <a:lnTo>
                    <a:pt x="2698255" y="200876"/>
                  </a:lnTo>
                  <a:lnTo>
                    <a:pt x="2698255" y="202260"/>
                  </a:lnTo>
                  <a:lnTo>
                    <a:pt x="2698255" y="200228"/>
                  </a:lnTo>
                  <a:lnTo>
                    <a:pt x="2698306" y="200228"/>
                  </a:lnTo>
                  <a:lnTo>
                    <a:pt x="2698306" y="199530"/>
                  </a:lnTo>
                  <a:lnTo>
                    <a:pt x="2698306" y="200228"/>
                  </a:lnTo>
                  <a:lnTo>
                    <a:pt x="2698306" y="199530"/>
                  </a:lnTo>
                  <a:lnTo>
                    <a:pt x="2698306" y="200228"/>
                  </a:lnTo>
                  <a:lnTo>
                    <a:pt x="2698306" y="199530"/>
                  </a:lnTo>
                  <a:lnTo>
                    <a:pt x="2698357" y="199530"/>
                  </a:lnTo>
                  <a:lnTo>
                    <a:pt x="2698357" y="197447"/>
                  </a:lnTo>
                  <a:lnTo>
                    <a:pt x="2698357" y="198831"/>
                  </a:lnTo>
                  <a:lnTo>
                    <a:pt x="2698357" y="196113"/>
                  </a:lnTo>
                  <a:lnTo>
                    <a:pt x="2698408" y="196113"/>
                  </a:lnTo>
                  <a:lnTo>
                    <a:pt x="2698408" y="197447"/>
                  </a:lnTo>
                  <a:lnTo>
                    <a:pt x="2698408" y="196799"/>
                  </a:lnTo>
                  <a:lnTo>
                    <a:pt x="2698509" y="196113"/>
                  </a:lnTo>
                  <a:lnTo>
                    <a:pt x="2698509" y="199530"/>
                  </a:lnTo>
                  <a:lnTo>
                    <a:pt x="2698509" y="197447"/>
                  </a:lnTo>
                  <a:lnTo>
                    <a:pt x="2698509" y="198831"/>
                  </a:lnTo>
                  <a:lnTo>
                    <a:pt x="2698560" y="198831"/>
                  </a:lnTo>
                  <a:lnTo>
                    <a:pt x="2698560" y="199530"/>
                  </a:lnTo>
                  <a:lnTo>
                    <a:pt x="2698560" y="198831"/>
                  </a:lnTo>
                  <a:lnTo>
                    <a:pt x="2698560" y="199530"/>
                  </a:lnTo>
                  <a:lnTo>
                    <a:pt x="2698560" y="198831"/>
                  </a:lnTo>
                  <a:lnTo>
                    <a:pt x="2698560" y="200228"/>
                  </a:lnTo>
                  <a:lnTo>
                    <a:pt x="2698611" y="199530"/>
                  </a:lnTo>
                  <a:lnTo>
                    <a:pt x="2698611" y="200228"/>
                  </a:lnTo>
                  <a:lnTo>
                    <a:pt x="2698611" y="199530"/>
                  </a:lnTo>
                  <a:lnTo>
                    <a:pt x="2698611" y="200876"/>
                  </a:lnTo>
                  <a:lnTo>
                    <a:pt x="2698611" y="200228"/>
                  </a:lnTo>
                  <a:lnTo>
                    <a:pt x="2698712" y="200228"/>
                  </a:lnTo>
                  <a:lnTo>
                    <a:pt x="2698712" y="200876"/>
                  </a:lnTo>
                  <a:lnTo>
                    <a:pt x="2698712" y="200228"/>
                  </a:lnTo>
                  <a:lnTo>
                    <a:pt x="2698712" y="200876"/>
                  </a:lnTo>
                  <a:lnTo>
                    <a:pt x="2698712" y="200228"/>
                  </a:lnTo>
                  <a:lnTo>
                    <a:pt x="2698712" y="200876"/>
                  </a:lnTo>
                  <a:lnTo>
                    <a:pt x="2698751" y="200876"/>
                  </a:lnTo>
                  <a:lnTo>
                    <a:pt x="2698751" y="200228"/>
                  </a:lnTo>
                  <a:lnTo>
                    <a:pt x="2698801" y="200228"/>
                  </a:lnTo>
                  <a:lnTo>
                    <a:pt x="2698801" y="199530"/>
                  </a:lnTo>
                  <a:lnTo>
                    <a:pt x="2698852" y="199530"/>
                  </a:lnTo>
                  <a:lnTo>
                    <a:pt x="2698852" y="196799"/>
                  </a:lnTo>
                  <a:lnTo>
                    <a:pt x="2698954" y="196799"/>
                  </a:lnTo>
                  <a:lnTo>
                    <a:pt x="2698954" y="199530"/>
                  </a:lnTo>
                  <a:lnTo>
                    <a:pt x="2698954" y="196113"/>
                  </a:lnTo>
                  <a:lnTo>
                    <a:pt x="2698954" y="197447"/>
                  </a:lnTo>
                  <a:lnTo>
                    <a:pt x="2699005" y="198831"/>
                  </a:lnTo>
                  <a:lnTo>
                    <a:pt x="2699005" y="196799"/>
                  </a:lnTo>
                  <a:lnTo>
                    <a:pt x="2699005" y="198831"/>
                  </a:lnTo>
                  <a:lnTo>
                    <a:pt x="2699055" y="198831"/>
                  </a:lnTo>
                  <a:lnTo>
                    <a:pt x="2699055" y="197447"/>
                  </a:lnTo>
                  <a:lnTo>
                    <a:pt x="2699055" y="198831"/>
                  </a:lnTo>
                  <a:lnTo>
                    <a:pt x="2699055" y="197447"/>
                  </a:lnTo>
                  <a:lnTo>
                    <a:pt x="2699055" y="198831"/>
                  </a:lnTo>
                  <a:lnTo>
                    <a:pt x="2699055" y="197447"/>
                  </a:lnTo>
                  <a:lnTo>
                    <a:pt x="2699055" y="199530"/>
                  </a:lnTo>
                  <a:lnTo>
                    <a:pt x="2699157" y="199530"/>
                  </a:lnTo>
                  <a:lnTo>
                    <a:pt x="2699157" y="198831"/>
                  </a:lnTo>
                  <a:lnTo>
                    <a:pt x="2699157" y="199530"/>
                  </a:lnTo>
                  <a:lnTo>
                    <a:pt x="2699157" y="198831"/>
                  </a:lnTo>
                  <a:lnTo>
                    <a:pt x="2699157" y="199530"/>
                  </a:lnTo>
                  <a:lnTo>
                    <a:pt x="2699157" y="198831"/>
                  </a:lnTo>
                  <a:lnTo>
                    <a:pt x="2699157" y="199530"/>
                  </a:lnTo>
                  <a:lnTo>
                    <a:pt x="2699208" y="199530"/>
                  </a:lnTo>
                  <a:lnTo>
                    <a:pt x="2699208" y="200228"/>
                  </a:lnTo>
                  <a:lnTo>
                    <a:pt x="2699258" y="200228"/>
                  </a:lnTo>
                  <a:lnTo>
                    <a:pt x="2699258" y="199530"/>
                  </a:lnTo>
                  <a:lnTo>
                    <a:pt x="2699258" y="200876"/>
                  </a:lnTo>
                  <a:lnTo>
                    <a:pt x="2699258" y="199530"/>
                  </a:lnTo>
                  <a:lnTo>
                    <a:pt x="2699258" y="200228"/>
                  </a:lnTo>
                  <a:lnTo>
                    <a:pt x="2699258" y="199530"/>
                  </a:lnTo>
                  <a:lnTo>
                    <a:pt x="2699258" y="200228"/>
                  </a:lnTo>
                  <a:lnTo>
                    <a:pt x="2699297" y="200228"/>
                  </a:lnTo>
                  <a:lnTo>
                    <a:pt x="2699297" y="199530"/>
                  </a:lnTo>
                  <a:lnTo>
                    <a:pt x="2699297" y="200228"/>
                  </a:lnTo>
                  <a:lnTo>
                    <a:pt x="2699297" y="199530"/>
                  </a:lnTo>
                  <a:lnTo>
                    <a:pt x="2699398" y="199530"/>
                  </a:lnTo>
                  <a:lnTo>
                    <a:pt x="2699398" y="197447"/>
                  </a:lnTo>
                  <a:lnTo>
                    <a:pt x="2699398" y="198831"/>
                  </a:lnTo>
                  <a:lnTo>
                    <a:pt x="2699398" y="196799"/>
                  </a:lnTo>
                  <a:lnTo>
                    <a:pt x="2699398" y="199530"/>
                  </a:lnTo>
                  <a:lnTo>
                    <a:pt x="2699449" y="199530"/>
                  </a:lnTo>
                  <a:lnTo>
                    <a:pt x="2699449" y="197447"/>
                  </a:lnTo>
                  <a:lnTo>
                    <a:pt x="2699449" y="200876"/>
                  </a:lnTo>
                  <a:lnTo>
                    <a:pt x="2699449" y="200228"/>
                  </a:lnTo>
                  <a:lnTo>
                    <a:pt x="2699500" y="200228"/>
                  </a:lnTo>
                  <a:lnTo>
                    <a:pt x="2699500" y="198831"/>
                  </a:lnTo>
                  <a:lnTo>
                    <a:pt x="2699500" y="200876"/>
                  </a:lnTo>
                  <a:lnTo>
                    <a:pt x="2699500" y="199530"/>
                  </a:lnTo>
                  <a:lnTo>
                    <a:pt x="2699500" y="200228"/>
                  </a:lnTo>
                  <a:lnTo>
                    <a:pt x="2699601" y="199530"/>
                  </a:lnTo>
                  <a:lnTo>
                    <a:pt x="2699601" y="198831"/>
                  </a:lnTo>
                  <a:lnTo>
                    <a:pt x="2699601" y="200228"/>
                  </a:lnTo>
                  <a:lnTo>
                    <a:pt x="2699652" y="200228"/>
                  </a:lnTo>
                  <a:lnTo>
                    <a:pt x="2699652" y="199530"/>
                  </a:lnTo>
                  <a:lnTo>
                    <a:pt x="2699652" y="200228"/>
                  </a:lnTo>
                  <a:lnTo>
                    <a:pt x="2699652" y="199530"/>
                  </a:lnTo>
                  <a:lnTo>
                    <a:pt x="2699703" y="200228"/>
                  </a:lnTo>
                  <a:lnTo>
                    <a:pt x="2699703" y="199530"/>
                  </a:lnTo>
                  <a:lnTo>
                    <a:pt x="2699754" y="200228"/>
                  </a:lnTo>
                  <a:lnTo>
                    <a:pt x="2699754" y="199530"/>
                  </a:lnTo>
                  <a:lnTo>
                    <a:pt x="2699754" y="200228"/>
                  </a:lnTo>
                  <a:lnTo>
                    <a:pt x="2699754" y="199530"/>
                  </a:lnTo>
                  <a:lnTo>
                    <a:pt x="2699843" y="199530"/>
                  </a:lnTo>
                  <a:lnTo>
                    <a:pt x="2699843" y="200228"/>
                  </a:lnTo>
                  <a:lnTo>
                    <a:pt x="2699843" y="198831"/>
                  </a:lnTo>
                  <a:lnTo>
                    <a:pt x="2699843" y="199530"/>
                  </a:lnTo>
                  <a:lnTo>
                    <a:pt x="2699843" y="198831"/>
                  </a:lnTo>
                  <a:lnTo>
                    <a:pt x="2699894" y="198831"/>
                  </a:lnTo>
                  <a:lnTo>
                    <a:pt x="2699894" y="197447"/>
                  </a:lnTo>
                  <a:lnTo>
                    <a:pt x="2699894" y="199530"/>
                  </a:lnTo>
                  <a:lnTo>
                    <a:pt x="2699894" y="198831"/>
                  </a:lnTo>
                  <a:lnTo>
                    <a:pt x="2699944" y="198831"/>
                  </a:lnTo>
                  <a:lnTo>
                    <a:pt x="2699944" y="197447"/>
                  </a:lnTo>
                  <a:lnTo>
                    <a:pt x="2699944" y="200876"/>
                  </a:lnTo>
                  <a:lnTo>
                    <a:pt x="2699944" y="199530"/>
                  </a:lnTo>
                  <a:lnTo>
                    <a:pt x="2699995" y="199530"/>
                  </a:lnTo>
                  <a:lnTo>
                    <a:pt x="2699995" y="200876"/>
                  </a:lnTo>
                  <a:lnTo>
                    <a:pt x="2699995" y="200228"/>
                  </a:lnTo>
                  <a:lnTo>
                    <a:pt x="2700097" y="200228"/>
                  </a:lnTo>
                  <a:lnTo>
                    <a:pt x="2700097" y="199530"/>
                  </a:lnTo>
                  <a:lnTo>
                    <a:pt x="2700097" y="200876"/>
                  </a:lnTo>
                  <a:lnTo>
                    <a:pt x="2700097" y="200228"/>
                  </a:lnTo>
                  <a:lnTo>
                    <a:pt x="2700147" y="200228"/>
                  </a:lnTo>
                  <a:lnTo>
                    <a:pt x="2700147" y="200876"/>
                  </a:lnTo>
                  <a:lnTo>
                    <a:pt x="2700147" y="200228"/>
                  </a:lnTo>
                  <a:lnTo>
                    <a:pt x="2700198" y="200876"/>
                  </a:lnTo>
                  <a:lnTo>
                    <a:pt x="2700198" y="200228"/>
                  </a:lnTo>
                  <a:lnTo>
                    <a:pt x="2700198" y="200876"/>
                  </a:lnTo>
                  <a:lnTo>
                    <a:pt x="2700198" y="200228"/>
                  </a:lnTo>
                  <a:lnTo>
                    <a:pt x="2700198" y="200876"/>
                  </a:lnTo>
                  <a:lnTo>
                    <a:pt x="2700198" y="200228"/>
                  </a:lnTo>
                  <a:lnTo>
                    <a:pt x="2700198" y="200876"/>
                  </a:lnTo>
                  <a:lnTo>
                    <a:pt x="2700300" y="200228"/>
                  </a:lnTo>
                  <a:lnTo>
                    <a:pt x="2700300" y="199530"/>
                  </a:lnTo>
                  <a:lnTo>
                    <a:pt x="2700300" y="200228"/>
                  </a:lnTo>
                  <a:lnTo>
                    <a:pt x="2700300" y="199530"/>
                  </a:lnTo>
                  <a:lnTo>
                    <a:pt x="2700338" y="199530"/>
                  </a:lnTo>
                  <a:lnTo>
                    <a:pt x="2700338" y="196799"/>
                  </a:lnTo>
                  <a:lnTo>
                    <a:pt x="2700389" y="196799"/>
                  </a:lnTo>
                  <a:lnTo>
                    <a:pt x="2700389" y="196113"/>
                  </a:lnTo>
                  <a:lnTo>
                    <a:pt x="2700389" y="198831"/>
                  </a:lnTo>
                  <a:lnTo>
                    <a:pt x="2700389" y="196799"/>
                  </a:lnTo>
                  <a:lnTo>
                    <a:pt x="2700440" y="196799"/>
                  </a:lnTo>
                  <a:lnTo>
                    <a:pt x="2700440" y="200228"/>
                  </a:lnTo>
                  <a:lnTo>
                    <a:pt x="2700440" y="198831"/>
                  </a:lnTo>
                  <a:lnTo>
                    <a:pt x="2700541" y="198831"/>
                  </a:lnTo>
                  <a:lnTo>
                    <a:pt x="2700541" y="200228"/>
                  </a:lnTo>
                  <a:lnTo>
                    <a:pt x="2700541" y="199530"/>
                  </a:lnTo>
                  <a:lnTo>
                    <a:pt x="2700541" y="200228"/>
                  </a:lnTo>
                  <a:lnTo>
                    <a:pt x="2700592" y="200228"/>
                  </a:lnTo>
                  <a:lnTo>
                    <a:pt x="2700592" y="200876"/>
                  </a:lnTo>
                  <a:lnTo>
                    <a:pt x="2700592" y="200228"/>
                  </a:lnTo>
                  <a:lnTo>
                    <a:pt x="2700592" y="200876"/>
                  </a:lnTo>
                  <a:lnTo>
                    <a:pt x="2700592" y="200228"/>
                  </a:lnTo>
                  <a:lnTo>
                    <a:pt x="2700643" y="200228"/>
                  </a:lnTo>
                  <a:lnTo>
                    <a:pt x="2700643" y="200876"/>
                  </a:lnTo>
                  <a:lnTo>
                    <a:pt x="2700643" y="200228"/>
                  </a:lnTo>
                  <a:lnTo>
                    <a:pt x="2700643" y="200876"/>
                  </a:lnTo>
                  <a:lnTo>
                    <a:pt x="2700744" y="200876"/>
                  </a:lnTo>
                  <a:lnTo>
                    <a:pt x="2700744" y="200228"/>
                  </a:lnTo>
                  <a:lnTo>
                    <a:pt x="2700744" y="200876"/>
                  </a:lnTo>
                  <a:lnTo>
                    <a:pt x="2700744" y="200228"/>
                  </a:lnTo>
                  <a:lnTo>
                    <a:pt x="2700795" y="200228"/>
                  </a:lnTo>
                  <a:lnTo>
                    <a:pt x="2700795" y="200876"/>
                  </a:lnTo>
                  <a:lnTo>
                    <a:pt x="2700795" y="199530"/>
                  </a:lnTo>
                  <a:lnTo>
                    <a:pt x="2700795" y="200228"/>
                  </a:lnTo>
                  <a:lnTo>
                    <a:pt x="2700846" y="200228"/>
                  </a:lnTo>
                  <a:lnTo>
                    <a:pt x="2700846" y="196799"/>
                  </a:lnTo>
                  <a:lnTo>
                    <a:pt x="2700884" y="196799"/>
                  </a:lnTo>
                  <a:lnTo>
                    <a:pt x="2700884" y="198831"/>
                  </a:lnTo>
                  <a:lnTo>
                    <a:pt x="2700884" y="196799"/>
                  </a:lnTo>
                  <a:lnTo>
                    <a:pt x="2700986" y="196799"/>
                  </a:lnTo>
                  <a:lnTo>
                    <a:pt x="2700986" y="200228"/>
                  </a:lnTo>
                  <a:lnTo>
                    <a:pt x="2700986" y="199530"/>
                  </a:lnTo>
                  <a:lnTo>
                    <a:pt x="2700986" y="200228"/>
                  </a:lnTo>
                  <a:lnTo>
                    <a:pt x="2700986" y="198831"/>
                  </a:lnTo>
                  <a:lnTo>
                    <a:pt x="2700986" y="199530"/>
                  </a:lnTo>
                  <a:lnTo>
                    <a:pt x="2700986" y="198831"/>
                  </a:lnTo>
                  <a:lnTo>
                    <a:pt x="2700986" y="199530"/>
                  </a:lnTo>
                  <a:lnTo>
                    <a:pt x="2701037" y="199530"/>
                  </a:lnTo>
                  <a:lnTo>
                    <a:pt x="2701037" y="200228"/>
                  </a:lnTo>
                  <a:lnTo>
                    <a:pt x="2701037" y="198831"/>
                  </a:lnTo>
                  <a:lnTo>
                    <a:pt x="2701037" y="200228"/>
                  </a:lnTo>
                  <a:lnTo>
                    <a:pt x="2701087" y="200228"/>
                  </a:lnTo>
                  <a:lnTo>
                    <a:pt x="2701087" y="199530"/>
                  </a:lnTo>
                  <a:lnTo>
                    <a:pt x="2701087" y="200228"/>
                  </a:lnTo>
                  <a:lnTo>
                    <a:pt x="2701087" y="199530"/>
                  </a:lnTo>
                  <a:lnTo>
                    <a:pt x="2701087" y="200228"/>
                  </a:lnTo>
                  <a:lnTo>
                    <a:pt x="2701189" y="200228"/>
                  </a:lnTo>
                  <a:lnTo>
                    <a:pt x="2701189" y="200876"/>
                  </a:lnTo>
                  <a:lnTo>
                    <a:pt x="2701189" y="200228"/>
                  </a:lnTo>
                  <a:lnTo>
                    <a:pt x="2701240" y="200876"/>
                  </a:lnTo>
                  <a:lnTo>
                    <a:pt x="2701240" y="200228"/>
                  </a:lnTo>
                  <a:lnTo>
                    <a:pt x="2701240" y="200876"/>
                  </a:lnTo>
                  <a:lnTo>
                    <a:pt x="2701240" y="200228"/>
                  </a:lnTo>
                  <a:lnTo>
                    <a:pt x="2701240" y="200876"/>
                  </a:lnTo>
                  <a:lnTo>
                    <a:pt x="2701240" y="200228"/>
                  </a:lnTo>
                  <a:lnTo>
                    <a:pt x="2701290" y="200228"/>
                  </a:lnTo>
                  <a:lnTo>
                    <a:pt x="2701290" y="199530"/>
                  </a:lnTo>
                  <a:lnTo>
                    <a:pt x="2701290" y="200228"/>
                  </a:lnTo>
                  <a:lnTo>
                    <a:pt x="2701290" y="199530"/>
                  </a:lnTo>
                  <a:lnTo>
                    <a:pt x="2701290" y="200228"/>
                  </a:lnTo>
                  <a:lnTo>
                    <a:pt x="2701290" y="199530"/>
                  </a:lnTo>
                  <a:lnTo>
                    <a:pt x="2701341" y="199530"/>
                  </a:lnTo>
                  <a:lnTo>
                    <a:pt x="2701341" y="198831"/>
                  </a:lnTo>
                  <a:lnTo>
                    <a:pt x="2701341" y="199530"/>
                  </a:lnTo>
                  <a:lnTo>
                    <a:pt x="2701341" y="196799"/>
                  </a:lnTo>
                  <a:lnTo>
                    <a:pt x="2701430" y="196799"/>
                  </a:lnTo>
                  <a:lnTo>
                    <a:pt x="2701430" y="198831"/>
                  </a:lnTo>
                  <a:lnTo>
                    <a:pt x="2701430" y="196113"/>
                  </a:lnTo>
                  <a:lnTo>
                    <a:pt x="2701430" y="197447"/>
                  </a:lnTo>
                  <a:lnTo>
                    <a:pt x="2701481" y="198831"/>
                  </a:lnTo>
                  <a:lnTo>
                    <a:pt x="2701481" y="200228"/>
                  </a:lnTo>
                  <a:lnTo>
                    <a:pt x="2701481" y="197447"/>
                  </a:lnTo>
                  <a:lnTo>
                    <a:pt x="2701481" y="199530"/>
                  </a:lnTo>
                  <a:lnTo>
                    <a:pt x="2701532" y="199530"/>
                  </a:lnTo>
                  <a:lnTo>
                    <a:pt x="2701532" y="200228"/>
                  </a:lnTo>
                  <a:lnTo>
                    <a:pt x="2701532" y="199530"/>
                  </a:lnTo>
                  <a:lnTo>
                    <a:pt x="2701532" y="200228"/>
                  </a:lnTo>
                  <a:lnTo>
                    <a:pt x="2701532" y="198831"/>
                  </a:lnTo>
                  <a:lnTo>
                    <a:pt x="2701532" y="199530"/>
                  </a:lnTo>
                  <a:lnTo>
                    <a:pt x="2701532" y="198831"/>
                  </a:lnTo>
                  <a:lnTo>
                    <a:pt x="2701532" y="199530"/>
                  </a:lnTo>
                  <a:lnTo>
                    <a:pt x="2701583" y="199530"/>
                  </a:lnTo>
                  <a:lnTo>
                    <a:pt x="2701583" y="200228"/>
                  </a:lnTo>
                  <a:lnTo>
                    <a:pt x="2701583" y="199530"/>
                  </a:lnTo>
                  <a:lnTo>
                    <a:pt x="2701583" y="200228"/>
                  </a:lnTo>
                  <a:lnTo>
                    <a:pt x="2701684" y="200228"/>
                  </a:lnTo>
                  <a:lnTo>
                    <a:pt x="2701684" y="199530"/>
                  </a:lnTo>
                  <a:lnTo>
                    <a:pt x="2701684" y="200876"/>
                  </a:lnTo>
                  <a:lnTo>
                    <a:pt x="2701684" y="200228"/>
                  </a:lnTo>
                  <a:lnTo>
                    <a:pt x="2701735" y="200876"/>
                  </a:lnTo>
                  <a:lnTo>
                    <a:pt x="2701735" y="200228"/>
                  </a:lnTo>
                  <a:lnTo>
                    <a:pt x="2701735" y="200876"/>
                  </a:lnTo>
                  <a:lnTo>
                    <a:pt x="2701735" y="200228"/>
                  </a:lnTo>
                  <a:lnTo>
                    <a:pt x="2701735" y="200876"/>
                  </a:lnTo>
                  <a:lnTo>
                    <a:pt x="2701735" y="200228"/>
                  </a:lnTo>
                  <a:lnTo>
                    <a:pt x="2701786" y="200228"/>
                  </a:lnTo>
                  <a:lnTo>
                    <a:pt x="2701786" y="200876"/>
                  </a:lnTo>
                  <a:lnTo>
                    <a:pt x="2701786" y="199530"/>
                  </a:lnTo>
                  <a:lnTo>
                    <a:pt x="2701786" y="200228"/>
                  </a:lnTo>
                  <a:lnTo>
                    <a:pt x="2701786" y="199530"/>
                  </a:lnTo>
                  <a:lnTo>
                    <a:pt x="2701887" y="199530"/>
                  </a:lnTo>
                  <a:lnTo>
                    <a:pt x="2701887" y="196799"/>
                  </a:lnTo>
                  <a:lnTo>
                    <a:pt x="2701887" y="198831"/>
                  </a:lnTo>
                  <a:lnTo>
                    <a:pt x="2701926" y="197447"/>
                  </a:lnTo>
                  <a:lnTo>
                    <a:pt x="2701926" y="198831"/>
                  </a:lnTo>
                  <a:lnTo>
                    <a:pt x="2701926" y="196799"/>
                  </a:lnTo>
                  <a:lnTo>
                    <a:pt x="2701926" y="199530"/>
                  </a:lnTo>
                  <a:lnTo>
                    <a:pt x="2701976" y="199530"/>
                  </a:lnTo>
                  <a:lnTo>
                    <a:pt x="2701976" y="197447"/>
                  </a:lnTo>
                  <a:lnTo>
                    <a:pt x="2701976" y="198831"/>
                  </a:lnTo>
                  <a:lnTo>
                    <a:pt x="2701976" y="197447"/>
                  </a:lnTo>
                  <a:lnTo>
                    <a:pt x="2701976" y="200228"/>
                  </a:lnTo>
                  <a:lnTo>
                    <a:pt x="2701976" y="199530"/>
                  </a:lnTo>
                  <a:lnTo>
                    <a:pt x="2702027" y="199530"/>
                  </a:lnTo>
                  <a:lnTo>
                    <a:pt x="2702027" y="198831"/>
                  </a:lnTo>
                  <a:lnTo>
                    <a:pt x="2702027" y="199530"/>
                  </a:lnTo>
                  <a:lnTo>
                    <a:pt x="2702129" y="199530"/>
                  </a:lnTo>
                  <a:lnTo>
                    <a:pt x="2702129" y="198831"/>
                  </a:lnTo>
                  <a:lnTo>
                    <a:pt x="2702129" y="200228"/>
                  </a:lnTo>
                  <a:lnTo>
                    <a:pt x="2702129" y="199530"/>
                  </a:lnTo>
                  <a:lnTo>
                    <a:pt x="2702180" y="199530"/>
                  </a:lnTo>
                  <a:lnTo>
                    <a:pt x="2702180" y="200228"/>
                  </a:lnTo>
                  <a:lnTo>
                    <a:pt x="2702180" y="199530"/>
                  </a:lnTo>
                  <a:lnTo>
                    <a:pt x="2702180" y="200228"/>
                  </a:lnTo>
                  <a:lnTo>
                    <a:pt x="2702230" y="199530"/>
                  </a:lnTo>
                  <a:lnTo>
                    <a:pt x="2702230" y="200228"/>
                  </a:lnTo>
                  <a:lnTo>
                    <a:pt x="2702230" y="199530"/>
                  </a:lnTo>
                  <a:lnTo>
                    <a:pt x="2702332" y="199530"/>
                  </a:lnTo>
                  <a:lnTo>
                    <a:pt x="2702332" y="197447"/>
                  </a:lnTo>
                  <a:lnTo>
                    <a:pt x="2702383" y="197447"/>
                  </a:lnTo>
                  <a:lnTo>
                    <a:pt x="2702383" y="196799"/>
                  </a:lnTo>
                  <a:lnTo>
                    <a:pt x="2702383" y="197447"/>
                  </a:lnTo>
                  <a:lnTo>
                    <a:pt x="2702383" y="196799"/>
                  </a:lnTo>
                  <a:lnTo>
                    <a:pt x="2702383" y="199530"/>
                  </a:lnTo>
                  <a:lnTo>
                    <a:pt x="2702383" y="197447"/>
                  </a:lnTo>
                  <a:lnTo>
                    <a:pt x="2702433" y="196799"/>
                  </a:lnTo>
                  <a:lnTo>
                    <a:pt x="2702433" y="200228"/>
                  </a:lnTo>
                  <a:lnTo>
                    <a:pt x="2702433" y="198831"/>
                  </a:lnTo>
                  <a:lnTo>
                    <a:pt x="2702472" y="199530"/>
                  </a:lnTo>
                  <a:lnTo>
                    <a:pt x="2702472" y="197447"/>
                  </a:lnTo>
                  <a:lnTo>
                    <a:pt x="2702472" y="200228"/>
                  </a:lnTo>
                  <a:lnTo>
                    <a:pt x="2702472" y="199530"/>
                  </a:lnTo>
                  <a:lnTo>
                    <a:pt x="2702573" y="199530"/>
                  </a:lnTo>
                  <a:lnTo>
                    <a:pt x="2702573" y="200228"/>
                  </a:lnTo>
                  <a:lnTo>
                    <a:pt x="2702573" y="199530"/>
                  </a:lnTo>
                  <a:lnTo>
                    <a:pt x="2702573" y="200228"/>
                  </a:lnTo>
                  <a:lnTo>
                    <a:pt x="2702675" y="200228"/>
                  </a:lnTo>
                  <a:lnTo>
                    <a:pt x="2702675" y="200876"/>
                  </a:lnTo>
                  <a:lnTo>
                    <a:pt x="2702675" y="200228"/>
                  </a:lnTo>
                  <a:lnTo>
                    <a:pt x="2702675" y="200876"/>
                  </a:lnTo>
                  <a:lnTo>
                    <a:pt x="2702675" y="200228"/>
                  </a:lnTo>
                  <a:lnTo>
                    <a:pt x="2702776" y="200876"/>
                  </a:lnTo>
                  <a:lnTo>
                    <a:pt x="2702776" y="200228"/>
                  </a:lnTo>
                  <a:lnTo>
                    <a:pt x="2702827" y="200228"/>
                  </a:lnTo>
                  <a:lnTo>
                    <a:pt x="2702827" y="198831"/>
                  </a:lnTo>
                  <a:lnTo>
                    <a:pt x="2702878" y="198831"/>
                  </a:lnTo>
                  <a:lnTo>
                    <a:pt x="2702878" y="197447"/>
                  </a:lnTo>
                  <a:lnTo>
                    <a:pt x="2702878" y="200228"/>
                  </a:lnTo>
                  <a:lnTo>
                    <a:pt x="2702878" y="198831"/>
                  </a:lnTo>
                  <a:lnTo>
                    <a:pt x="2702878" y="199530"/>
                  </a:lnTo>
                  <a:lnTo>
                    <a:pt x="2702878" y="198831"/>
                  </a:lnTo>
                  <a:lnTo>
                    <a:pt x="2702929" y="198831"/>
                  </a:lnTo>
                  <a:lnTo>
                    <a:pt x="2702929" y="200876"/>
                  </a:lnTo>
                  <a:lnTo>
                    <a:pt x="2702929" y="200228"/>
                  </a:lnTo>
                  <a:lnTo>
                    <a:pt x="2702929" y="200876"/>
                  </a:lnTo>
                  <a:lnTo>
                    <a:pt x="2702929" y="199530"/>
                  </a:lnTo>
                  <a:lnTo>
                    <a:pt x="2702929" y="200228"/>
                  </a:lnTo>
                  <a:lnTo>
                    <a:pt x="2702929" y="199530"/>
                  </a:lnTo>
                  <a:lnTo>
                    <a:pt x="2703018" y="199530"/>
                  </a:lnTo>
                  <a:lnTo>
                    <a:pt x="2703018" y="200876"/>
                  </a:lnTo>
                  <a:lnTo>
                    <a:pt x="2703018" y="200228"/>
                  </a:lnTo>
                  <a:lnTo>
                    <a:pt x="2703069" y="200228"/>
                  </a:lnTo>
                  <a:lnTo>
                    <a:pt x="2703069" y="200876"/>
                  </a:lnTo>
                  <a:lnTo>
                    <a:pt x="2703069" y="200228"/>
                  </a:lnTo>
                  <a:lnTo>
                    <a:pt x="2703069" y="200876"/>
                  </a:lnTo>
                  <a:lnTo>
                    <a:pt x="2703069" y="200228"/>
                  </a:lnTo>
                  <a:lnTo>
                    <a:pt x="2703119" y="200876"/>
                  </a:lnTo>
                  <a:lnTo>
                    <a:pt x="2703119" y="200228"/>
                  </a:lnTo>
                  <a:lnTo>
                    <a:pt x="2703119" y="200876"/>
                  </a:lnTo>
                  <a:lnTo>
                    <a:pt x="2703170" y="200228"/>
                  </a:lnTo>
                  <a:lnTo>
                    <a:pt x="2703170" y="200876"/>
                  </a:lnTo>
                  <a:lnTo>
                    <a:pt x="2703170" y="200228"/>
                  </a:lnTo>
                  <a:lnTo>
                    <a:pt x="2703170" y="200876"/>
                  </a:lnTo>
                  <a:lnTo>
                    <a:pt x="2703272" y="200876"/>
                  </a:lnTo>
                  <a:lnTo>
                    <a:pt x="2703272" y="199530"/>
                  </a:lnTo>
                  <a:lnTo>
                    <a:pt x="2703322" y="199530"/>
                  </a:lnTo>
                  <a:lnTo>
                    <a:pt x="2703322" y="196799"/>
                  </a:lnTo>
                  <a:lnTo>
                    <a:pt x="2703322" y="197447"/>
                  </a:lnTo>
                  <a:lnTo>
                    <a:pt x="2703373" y="197447"/>
                  </a:lnTo>
                  <a:lnTo>
                    <a:pt x="2703373" y="198831"/>
                  </a:lnTo>
                  <a:lnTo>
                    <a:pt x="2703373" y="197447"/>
                  </a:lnTo>
                  <a:lnTo>
                    <a:pt x="2703373" y="198831"/>
                  </a:lnTo>
                  <a:lnTo>
                    <a:pt x="2703373" y="197447"/>
                  </a:lnTo>
                  <a:lnTo>
                    <a:pt x="2703475" y="197447"/>
                  </a:lnTo>
                  <a:lnTo>
                    <a:pt x="2703475" y="200228"/>
                  </a:lnTo>
                  <a:lnTo>
                    <a:pt x="2703475" y="199530"/>
                  </a:lnTo>
                  <a:lnTo>
                    <a:pt x="2703475" y="200228"/>
                  </a:lnTo>
                  <a:lnTo>
                    <a:pt x="2703513" y="200876"/>
                  </a:lnTo>
                  <a:lnTo>
                    <a:pt x="2703513" y="200228"/>
                  </a:lnTo>
                  <a:lnTo>
                    <a:pt x="2703513" y="200876"/>
                  </a:lnTo>
                  <a:lnTo>
                    <a:pt x="2703513" y="199530"/>
                  </a:lnTo>
                  <a:lnTo>
                    <a:pt x="2703513" y="200228"/>
                  </a:lnTo>
                  <a:lnTo>
                    <a:pt x="2703564" y="200228"/>
                  </a:lnTo>
                  <a:lnTo>
                    <a:pt x="2703564" y="200876"/>
                  </a:lnTo>
                  <a:lnTo>
                    <a:pt x="2703615" y="200876"/>
                  </a:lnTo>
                  <a:lnTo>
                    <a:pt x="2703716" y="202260"/>
                  </a:lnTo>
                  <a:lnTo>
                    <a:pt x="2703716" y="200876"/>
                  </a:lnTo>
                  <a:lnTo>
                    <a:pt x="2703716" y="202260"/>
                  </a:lnTo>
                  <a:lnTo>
                    <a:pt x="2703716" y="200228"/>
                  </a:lnTo>
                  <a:lnTo>
                    <a:pt x="2703716" y="200876"/>
                  </a:lnTo>
                  <a:lnTo>
                    <a:pt x="2703716" y="200228"/>
                  </a:lnTo>
                  <a:lnTo>
                    <a:pt x="2703767" y="200228"/>
                  </a:lnTo>
                  <a:lnTo>
                    <a:pt x="2703767" y="200876"/>
                  </a:lnTo>
                  <a:lnTo>
                    <a:pt x="2703767" y="199530"/>
                  </a:lnTo>
                  <a:lnTo>
                    <a:pt x="2703767" y="200228"/>
                  </a:lnTo>
                  <a:lnTo>
                    <a:pt x="2703767" y="199530"/>
                  </a:lnTo>
                  <a:lnTo>
                    <a:pt x="2703818" y="199530"/>
                  </a:lnTo>
                  <a:lnTo>
                    <a:pt x="2703818" y="196799"/>
                  </a:lnTo>
                  <a:lnTo>
                    <a:pt x="2703818" y="197447"/>
                  </a:lnTo>
                  <a:lnTo>
                    <a:pt x="2703919" y="197447"/>
                  </a:lnTo>
                  <a:lnTo>
                    <a:pt x="2703919" y="199530"/>
                  </a:lnTo>
                  <a:lnTo>
                    <a:pt x="2703919" y="197447"/>
                  </a:lnTo>
                  <a:lnTo>
                    <a:pt x="2703919" y="200228"/>
                  </a:lnTo>
                  <a:lnTo>
                    <a:pt x="2703970" y="200228"/>
                  </a:lnTo>
                  <a:lnTo>
                    <a:pt x="2703970" y="199530"/>
                  </a:lnTo>
                  <a:lnTo>
                    <a:pt x="2703970" y="200876"/>
                  </a:lnTo>
                  <a:lnTo>
                    <a:pt x="2704021" y="200876"/>
                  </a:lnTo>
                  <a:lnTo>
                    <a:pt x="2704021" y="199530"/>
                  </a:lnTo>
                  <a:lnTo>
                    <a:pt x="2704021" y="200228"/>
                  </a:lnTo>
                  <a:lnTo>
                    <a:pt x="2704059" y="200228"/>
                  </a:lnTo>
                  <a:lnTo>
                    <a:pt x="2704059" y="200876"/>
                  </a:lnTo>
                  <a:lnTo>
                    <a:pt x="2704059" y="200228"/>
                  </a:lnTo>
                  <a:lnTo>
                    <a:pt x="2704161" y="200228"/>
                  </a:lnTo>
                  <a:lnTo>
                    <a:pt x="2704161" y="200876"/>
                  </a:lnTo>
                  <a:lnTo>
                    <a:pt x="2704212" y="200876"/>
                  </a:lnTo>
                  <a:lnTo>
                    <a:pt x="2704212" y="200228"/>
                  </a:lnTo>
                  <a:lnTo>
                    <a:pt x="2704212" y="200876"/>
                  </a:lnTo>
                  <a:lnTo>
                    <a:pt x="2704262" y="200876"/>
                  </a:lnTo>
                  <a:lnTo>
                    <a:pt x="2704262" y="199530"/>
                  </a:lnTo>
                  <a:lnTo>
                    <a:pt x="2704262" y="200228"/>
                  </a:lnTo>
                  <a:lnTo>
                    <a:pt x="2704262" y="198831"/>
                  </a:lnTo>
                  <a:lnTo>
                    <a:pt x="2704364" y="198831"/>
                  </a:lnTo>
                  <a:lnTo>
                    <a:pt x="2704364" y="196799"/>
                  </a:lnTo>
                  <a:lnTo>
                    <a:pt x="2704364" y="197447"/>
                  </a:lnTo>
                  <a:lnTo>
                    <a:pt x="2704364" y="196113"/>
                  </a:lnTo>
                  <a:lnTo>
                    <a:pt x="2704364" y="196799"/>
                  </a:lnTo>
                  <a:lnTo>
                    <a:pt x="2704415" y="196799"/>
                  </a:lnTo>
                  <a:lnTo>
                    <a:pt x="2704415" y="198831"/>
                  </a:lnTo>
                  <a:lnTo>
                    <a:pt x="2704415" y="196113"/>
                  </a:lnTo>
                  <a:lnTo>
                    <a:pt x="2704415" y="198831"/>
                  </a:lnTo>
                  <a:lnTo>
                    <a:pt x="2704465" y="199530"/>
                  </a:lnTo>
                  <a:lnTo>
                    <a:pt x="2704465" y="200228"/>
                  </a:lnTo>
                  <a:lnTo>
                    <a:pt x="2704465" y="197447"/>
                  </a:lnTo>
                  <a:lnTo>
                    <a:pt x="2704465" y="199530"/>
                  </a:lnTo>
                  <a:lnTo>
                    <a:pt x="2704516" y="200228"/>
                  </a:lnTo>
                  <a:lnTo>
                    <a:pt x="2704516" y="199530"/>
                  </a:lnTo>
                  <a:lnTo>
                    <a:pt x="2704516" y="200228"/>
                  </a:lnTo>
                  <a:lnTo>
                    <a:pt x="2704516" y="199530"/>
                  </a:lnTo>
                  <a:lnTo>
                    <a:pt x="2704605" y="200228"/>
                  </a:lnTo>
                  <a:lnTo>
                    <a:pt x="2704605" y="199530"/>
                  </a:lnTo>
                  <a:lnTo>
                    <a:pt x="2704605" y="200228"/>
                  </a:lnTo>
                  <a:lnTo>
                    <a:pt x="2704605" y="199530"/>
                  </a:lnTo>
                  <a:lnTo>
                    <a:pt x="2704605" y="200228"/>
                  </a:lnTo>
                  <a:lnTo>
                    <a:pt x="2704656" y="200228"/>
                  </a:lnTo>
                  <a:lnTo>
                    <a:pt x="2704656" y="200876"/>
                  </a:lnTo>
                  <a:lnTo>
                    <a:pt x="2704656" y="200228"/>
                  </a:lnTo>
                  <a:lnTo>
                    <a:pt x="2704656" y="200876"/>
                  </a:lnTo>
                  <a:lnTo>
                    <a:pt x="2704707" y="200876"/>
                  </a:lnTo>
                  <a:lnTo>
                    <a:pt x="2704707" y="202260"/>
                  </a:lnTo>
                  <a:lnTo>
                    <a:pt x="2704707" y="200228"/>
                  </a:lnTo>
                  <a:lnTo>
                    <a:pt x="2704707" y="200876"/>
                  </a:lnTo>
                  <a:lnTo>
                    <a:pt x="2704707" y="200228"/>
                  </a:lnTo>
                  <a:lnTo>
                    <a:pt x="2704707" y="200876"/>
                  </a:lnTo>
                  <a:lnTo>
                    <a:pt x="2704758" y="200876"/>
                  </a:lnTo>
                  <a:lnTo>
                    <a:pt x="2704758" y="200228"/>
                  </a:lnTo>
                  <a:lnTo>
                    <a:pt x="2704758" y="200876"/>
                  </a:lnTo>
                  <a:lnTo>
                    <a:pt x="2704758" y="199530"/>
                  </a:lnTo>
                  <a:lnTo>
                    <a:pt x="2704758" y="200228"/>
                  </a:lnTo>
                  <a:lnTo>
                    <a:pt x="2704758" y="199530"/>
                  </a:lnTo>
                  <a:lnTo>
                    <a:pt x="2704859" y="198831"/>
                  </a:lnTo>
                  <a:lnTo>
                    <a:pt x="2704859" y="199530"/>
                  </a:lnTo>
                  <a:lnTo>
                    <a:pt x="2704859" y="196799"/>
                  </a:lnTo>
                  <a:lnTo>
                    <a:pt x="2704859" y="197447"/>
                  </a:lnTo>
                  <a:lnTo>
                    <a:pt x="2704859" y="196113"/>
                  </a:lnTo>
                  <a:lnTo>
                    <a:pt x="2704859" y="198831"/>
                  </a:lnTo>
                  <a:lnTo>
                    <a:pt x="2704910" y="198831"/>
                  </a:lnTo>
                  <a:lnTo>
                    <a:pt x="2704910" y="196113"/>
                  </a:lnTo>
                  <a:lnTo>
                    <a:pt x="2704910" y="196799"/>
                  </a:lnTo>
                  <a:lnTo>
                    <a:pt x="2704910" y="196113"/>
                  </a:lnTo>
                  <a:lnTo>
                    <a:pt x="2704910" y="199530"/>
                  </a:lnTo>
                  <a:lnTo>
                    <a:pt x="2704961" y="199530"/>
                  </a:lnTo>
                  <a:lnTo>
                    <a:pt x="2704961" y="196799"/>
                  </a:lnTo>
                  <a:lnTo>
                    <a:pt x="2704961" y="198831"/>
                  </a:lnTo>
                  <a:lnTo>
                    <a:pt x="2705062" y="199530"/>
                  </a:lnTo>
                  <a:lnTo>
                    <a:pt x="2705062" y="197447"/>
                  </a:lnTo>
                  <a:lnTo>
                    <a:pt x="2705062" y="198831"/>
                  </a:lnTo>
                  <a:lnTo>
                    <a:pt x="2705062" y="197447"/>
                  </a:lnTo>
                  <a:lnTo>
                    <a:pt x="2705062" y="198831"/>
                  </a:lnTo>
                  <a:lnTo>
                    <a:pt x="2705101" y="197447"/>
                  </a:lnTo>
                  <a:lnTo>
                    <a:pt x="2705101" y="199530"/>
                  </a:lnTo>
                  <a:lnTo>
                    <a:pt x="2705151" y="199530"/>
                  </a:lnTo>
                  <a:lnTo>
                    <a:pt x="2705151" y="200228"/>
                  </a:lnTo>
                  <a:lnTo>
                    <a:pt x="2705151" y="199530"/>
                  </a:lnTo>
                  <a:lnTo>
                    <a:pt x="2705151" y="200228"/>
                  </a:lnTo>
                  <a:lnTo>
                    <a:pt x="2705202" y="200228"/>
                  </a:lnTo>
                  <a:lnTo>
                    <a:pt x="2705202" y="199530"/>
                  </a:lnTo>
                  <a:lnTo>
                    <a:pt x="2705202" y="200228"/>
                  </a:lnTo>
                  <a:lnTo>
                    <a:pt x="2705304" y="200228"/>
                  </a:lnTo>
                  <a:lnTo>
                    <a:pt x="2705304" y="198831"/>
                  </a:lnTo>
                  <a:lnTo>
                    <a:pt x="2705304" y="199530"/>
                  </a:lnTo>
                  <a:lnTo>
                    <a:pt x="2705304" y="198831"/>
                  </a:lnTo>
                  <a:lnTo>
                    <a:pt x="2705304" y="199530"/>
                  </a:lnTo>
                  <a:lnTo>
                    <a:pt x="2705304" y="198831"/>
                  </a:lnTo>
                  <a:lnTo>
                    <a:pt x="2705355" y="198831"/>
                  </a:lnTo>
                  <a:lnTo>
                    <a:pt x="2705355" y="197447"/>
                  </a:lnTo>
                  <a:lnTo>
                    <a:pt x="2705355" y="200228"/>
                  </a:lnTo>
                  <a:lnTo>
                    <a:pt x="2705355" y="199530"/>
                  </a:lnTo>
                  <a:lnTo>
                    <a:pt x="2705405" y="199530"/>
                  </a:lnTo>
                  <a:lnTo>
                    <a:pt x="2705405" y="198831"/>
                  </a:lnTo>
                  <a:lnTo>
                    <a:pt x="2705405" y="200228"/>
                  </a:lnTo>
                  <a:lnTo>
                    <a:pt x="2705507" y="199530"/>
                  </a:lnTo>
                  <a:lnTo>
                    <a:pt x="2705507" y="200876"/>
                  </a:lnTo>
                  <a:lnTo>
                    <a:pt x="2705507" y="200228"/>
                  </a:lnTo>
                  <a:lnTo>
                    <a:pt x="2705507" y="200876"/>
                  </a:lnTo>
                  <a:lnTo>
                    <a:pt x="2705507" y="200228"/>
                  </a:lnTo>
                  <a:lnTo>
                    <a:pt x="2705507" y="200876"/>
                  </a:lnTo>
                  <a:lnTo>
                    <a:pt x="2705507" y="200228"/>
                  </a:lnTo>
                  <a:lnTo>
                    <a:pt x="2705558" y="200228"/>
                  </a:lnTo>
                  <a:lnTo>
                    <a:pt x="2705558" y="199530"/>
                  </a:lnTo>
                  <a:lnTo>
                    <a:pt x="2705558" y="200228"/>
                  </a:lnTo>
                  <a:lnTo>
                    <a:pt x="2705558" y="199530"/>
                  </a:lnTo>
                  <a:lnTo>
                    <a:pt x="2705558" y="200228"/>
                  </a:lnTo>
                  <a:lnTo>
                    <a:pt x="2705558" y="199530"/>
                  </a:lnTo>
                  <a:lnTo>
                    <a:pt x="2705608" y="199530"/>
                  </a:lnTo>
                  <a:lnTo>
                    <a:pt x="2705608" y="200876"/>
                  </a:lnTo>
                  <a:lnTo>
                    <a:pt x="2705608" y="200228"/>
                  </a:lnTo>
                  <a:lnTo>
                    <a:pt x="2705647" y="200228"/>
                  </a:lnTo>
                  <a:lnTo>
                    <a:pt x="2705647" y="200876"/>
                  </a:lnTo>
                  <a:lnTo>
                    <a:pt x="2705748" y="200876"/>
                  </a:lnTo>
                  <a:lnTo>
                    <a:pt x="2705748" y="199530"/>
                  </a:lnTo>
                  <a:lnTo>
                    <a:pt x="2705799" y="199530"/>
                  </a:lnTo>
                  <a:lnTo>
                    <a:pt x="2705799" y="198831"/>
                  </a:lnTo>
                  <a:lnTo>
                    <a:pt x="2705799" y="199530"/>
                  </a:lnTo>
                  <a:lnTo>
                    <a:pt x="2705799" y="198831"/>
                  </a:lnTo>
                  <a:lnTo>
                    <a:pt x="2705850" y="199530"/>
                  </a:lnTo>
                  <a:lnTo>
                    <a:pt x="2705850" y="200228"/>
                  </a:lnTo>
                  <a:lnTo>
                    <a:pt x="2705850" y="199530"/>
                  </a:lnTo>
                  <a:lnTo>
                    <a:pt x="2705850" y="202260"/>
                  </a:lnTo>
                  <a:lnTo>
                    <a:pt x="2705951" y="202260"/>
                  </a:lnTo>
                  <a:lnTo>
                    <a:pt x="2705951" y="200876"/>
                  </a:lnTo>
                  <a:lnTo>
                    <a:pt x="2705951" y="202260"/>
                  </a:lnTo>
                  <a:lnTo>
                    <a:pt x="2706002" y="202260"/>
                  </a:lnTo>
                  <a:lnTo>
                    <a:pt x="2706002" y="202959"/>
                  </a:lnTo>
                  <a:lnTo>
                    <a:pt x="2706002" y="202260"/>
                  </a:lnTo>
                  <a:lnTo>
                    <a:pt x="2706002" y="202959"/>
                  </a:lnTo>
                  <a:lnTo>
                    <a:pt x="2706002" y="202260"/>
                  </a:lnTo>
                  <a:lnTo>
                    <a:pt x="2706002" y="202959"/>
                  </a:lnTo>
                  <a:lnTo>
                    <a:pt x="2706002" y="202260"/>
                  </a:lnTo>
                  <a:lnTo>
                    <a:pt x="2706053" y="202260"/>
                  </a:lnTo>
                  <a:lnTo>
                    <a:pt x="2706053" y="200876"/>
                  </a:lnTo>
                  <a:lnTo>
                    <a:pt x="2706053" y="202260"/>
                  </a:lnTo>
                  <a:lnTo>
                    <a:pt x="2706104" y="200876"/>
                  </a:lnTo>
                  <a:lnTo>
                    <a:pt x="2706104" y="202260"/>
                  </a:lnTo>
                  <a:lnTo>
                    <a:pt x="2706104" y="200876"/>
                  </a:lnTo>
                  <a:lnTo>
                    <a:pt x="2706104" y="202260"/>
                  </a:lnTo>
                  <a:lnTo>
                    <a:pt x="2706104" y="200876"/>
                  </a:lnTo>
                  <a:lnTo>
                    <a:pt x="2706104" y="202260"/>
                  </a:lnTo>
                  <a:lnTo>
                    <a:pt x="2706104" y="200876"/>
                  </a:lnTo>
                  <a:lnTo>
                    <a:pt x="2706104" y="202260"/>
                  </a:lnTo>
                  <a:lnTo>
                    <a:pt x="2706104" y="200876"/>
                  </a:lnTo>
                  <a:lnTo>
                    <a:pt x="2706193" y="200876"/>
                  </a:lnTo>
                  <a:lnTo>
                    <a:pt x="2706193" y="200228"/>
                  </a:lnTo>
                  <a:lnTo>
                    <a:pt x="2706193" y="200876"/>
                  </a:lnTo>
                  <a:lnTo>
                    <a:pt x="2706193" y="200228"/>
                  </a:lnTo>
                  <a:lnTo>
                    <a:pt x="2706244" y="200228"/>
                  </a:lnTo>
                  <a:lnTo>
                    <a:pt x="2706244" y="198831"/>
                  </a:lnTo>
                  <a:lnTo>
                    <a:pt x="2706244" y="199530"/>
                  </a:lnTo>
                  <a:lnTo>
                    <a:pt x="2706244" y="198831"/>
                  </a:lnTo>
                  <a:lnTo>
                    <a:pt x="2706244" y="199530"/>
                  </a:lnTo>
                  <a:lnTo>
                    <a:pt x="2706244" y="198831"/>
                  </a:lnTo>
                  <a:lnTo>
                    <a:pt x="2706294" y="198831"/>
                  </a:lnTo>
                  <a:lnTo>
                    <a:pt x="2706294" y="196799"/>
                  </a:lnTo>
                  <a:lnTo>
                    <a:pt x="2706294" y="199530"/>
                  </a:lnTo>
                  <a:lnTo>
                    <a:pt x="2706294" y="198831"/>
                  </a:lnTo>
                  <a:lnTo>
                    <a:pt x="2706345" y="198831"/>
                  </a:lnTo>
                  <a:lnTo>
                    <a:pt x="2706345" y="197447"/>
                  </a:lnTo>
                  <a:lnTo>
                    <a:pt x="2706345" y="200876"/>
                  </a:lnTo>
                  <a:lnTo>
                    <a:pt x="2706345" y="200228"/>
                  </a:lnTo>
                  <a:lnTo>
                    <a:pt x="2706447" y="200228"/>
                  </a:lnTo>
                  <a:lnTo>
                    <a:pt x="2706447" y="202260"/>
                  </a:lnTo>
                  <a:lnTo>
                    <a:pt x="2706447" y="200876"/>
                  </a:lnTo>
                  <a:lnTo>
                    <a:pt x="2706447" y="202260"/>
                  </a:lnTo>
                  <a:lnTo>
                    <a:pt x="2706447" y="200876"/>
                  </a:lnTo>
                  <a:lnTo>
                    <a:pt x="2706497" y="200876"/>
                  </a:lnTo>
                  <a:lnTo>
                    <a:pt x="2706497" y="200228"/>
                  </a:lnTo>
                  <a:lnTo>
                    <a:pt x="2706497" y="202260"/>
                  </a:lnTo>
                  <a:lnTo>
                    <a:pt x="2706548" y="202260"/>
                  </a:lnTo>
                  <a:lnTo>
                    <a:pt x="2706548" y="202959"/>
                  </a:lnTo>
                  <a:lnTo>
                    <a:pt x="2706548" y="202260"/>
                  </a:lnTo>
                  <a:lnTo>
                    <a:pt x="2706548" y="202959"/>
                  </a:lnTo>
                  <a:lnTo>
                    <a:pt x="2706548" y="202260"/>
                  </a:lnTo>
                  <a:lnTo>
                    <a:pt x="2706548" y="202959"/>
                  </a:lnTo>
                  <a:lnTo>
                    <a:pt x="2706548" y="202260"/>
                  </a:lnTo>
                  <a:lnTo>
                    <a:pt x="2706650" y="202260"/>
                  </a:lnTo>
                  <a:lnTo>
                    <a:pt x="2706650" y="202959"/>
                  </a:lnTo>
                  <a:lnTo>
                    <a:pt x="2706650" y="202260"/>
                  </a:lnTo>
                  <a:lnTo>
                    <a:pt x="2706650" y="202959"/>
                  </a:lnTo>
                  <a:lnTo>
                    <a:pt x="2706650" y="202260"/>
                  </a:lnTo>
                  <a:lnTo>
                    <a:pt x="2706688" y="202260"/>
                  </a:lnTo>
                  <a:lnTo>
                    <a:pt x="2706688" y="200876"/>
                  </a:lnTo>
                  <a:lnTo>
                    <a:pt x="2706688" y="202260"/>
                  </a:lnTo>
                  <a:lnTo>
                    <a:pt x="2706688" y="200228"/>
                  </a:lnTo>
                  <a:lnTo>
                    <a:pt x="2706688" y="200876"/>
                  </a:lnTo>
                  <a:lnTo>
                    <a:pt x="2706688" y="200228"/>
                  </a:lnTo>
                  <a:lnTo>
                    <a:pt x="2706739" y="200876"/>
                  </a:lnTo>
                  <a:lnTo>
                    <a:pt x="2706739" y="198831"/>
                  </a:lnTo>
                  <a:lnTo>
                    <a:pt x="2706790" y="198831"/>
                  </a:lnTo>
                  <a:lnTo>
                    <a:pt x="2706790" y="200228"/>
                  </a:lnTo>
                  <a:lnTo>
                    <a:pt x="2706790" y="197447"/>
                  </a:lnTo>
                  <a:lnTo>
                    <a:pt x="2706891" y="197447"/>
                  </a:lnTo>
                  <a:lnTo>
                    <a:pt x="2706891" y="202260"/>
                  </a:lnTo>
                  <a:lnTo>
                    <a:pt x="2706891" y="199530"/>
                  </a:lnTo>
                  <a:lnTo>
                    <a:pt x="2706891" y="200228"/>
                  </a:lnTo>
                  <a:lnTo>
                    <a:pt x="2706942" y="200228"/>
                  </a:lnTo>
                  <a:lnTo>
                    <a:pt x="2706942" y="200876"/>
                  </a:lnTo>
                  <a:lnTo>
                    <a:pt x="2706942" y="200228"/>
                  </a:lnTo>
                  <a:lnTo>
                    <a:pt x="2706942" y="200876"/>
                  </a:lnTo>
                  <a:lnTo>
                    <a:pt x="2706942" y="200228"/>
                  </a:lnTo>
                  <a:lnTo>
                    <a:pt x="2706942" y="200876"/>
                  </a:lnTo>
                  <a:lnTo>
                    <a:pt x="2706993" y="200876"/>
                  </a:lnTo>
                  <a:lnTo>
                    <a:pt x="2706993" y="202260"/>
                  </a:lnTo>
                  <a:lnTo>
                    <a:pt x="2706993" y="200228"/>
                  </a:lnTo>
                  <a:lnTo>
                    <a:pt x="2706993" y="202260"/>
                  </a:lnTo>
                  <a:lnTo>
                    <a:pt x="2707094" y="202260"/>
                  </a:lnTo>
                  <a:lnTo>
                    <a:pt x="2707094" y="200876"/>
                  </a:lnTo>
                  <a:lnTo>
                    <a:pt x="2707094" y="202959"/>
                  </a:lnTo>
                  <a:lnTo>
                    <a:pt x="2707094" y="200876"/>
                  </a:lnTo>
                  <a:lnTo>
                    <a:pt x="2707094" y="202260"/>
                  </a:lnTo>
                  <a:lnTo>
                    <a:pt x="2707145" y="202260"/>
                  </a:lnTo>
                  <a:lnTo>
                    <a:pt x="2707145" y="200876"/>
                  </a:lnTo>
                  <a:lnTo>
                    <a:pt x="2707145" y="202260"/>
                  </a:lnTo>
                  <a:lnTo>
                    <a:pt x="2707145" y="200876"/>
                  </a:lnTo>
                  <a:lnTo>
                    <a:pt x="2707145" y="202260"/>
                  </a:lnTo>
                  <a:lnTo>
                    <a:pt x="2707145" y="200876"/>
                  </a:lnTo>
                  <a:lnTo>
                    <a:pt x="2707145" y="202260"/>
                  </a:lnTo>
                  <a:lnTo>
                    <a:pt x="2707196" y="200876"/>
                  </a:lnTo>
                  <a:lnTo>
                    <a:pt x="2707196" y="202260"/>
                  </a:lnTo>
                  <a:lnTo>
                    <a:pt x="2707196" y="200228"/>
                  </a:lnTo>
                  <a:lnTo>
                    <a:pt x="2707234" y="199530"/>
                  </a:lnTo>
                  <a:lnTo>
                    <a:pt x="2707234" y="197447"/>
                  </a:lnTo>
                  <a:lnTo>
                    <a:pt x="2707336" y="197447"/>
                  </a:lnTo>
                  <a:lnTo>
                    <a:pt x="2707336" y="199530"/>
                  </a:lnTo>
                  <a:lnTo>
                    <a:pt x="2707336" y="198831"/>
                  </a:lnTo>
                  <a:lnTo>
                    <a:pt x="2707336" y="199530"/>
                  </a:lnTo>
                  <a:lnTo>
                    <a:pt x="2707336" y="196799"/>
                  </a:lnTo>
                  <a:lnTo>
                    <a:pt x="2707336" y="197447"/>
                  </a:lnTo>
                  <a:lnTo>
                    <a:pt x="2707387" y="197447"/>
                  </a:lnTo>
                  <a:lnTo>
                    <a:pt x="2707387" y="200228"/>
                  </a:lnTo>
                  <a:lnTo>
                    <a:pt x="2707387" y="198831"/>
                  </a:lnTo>
                  <a:lnTo>
                    <a:pt x="2707437" y="199530"/>
                  </a:lnTo>
                  <a:lnTo>
                    <a:pt x="2707437" y="200228"/>
                  </a:lnTo>
                  <a:lnTo>
                    <a:pt x="2707437" y="199530"/>
                  </a:lnTo>
                  <a:lnTo>
                    <a:pt x="2707437" y="200228"/>
                  </a:lnTo>
                  <a:lnTo>
                    <a:pt x="2707539" y="200228"/>
                  </a:lnTo>
                  <a:lnTo>
                    <a:pt x="2707539" y="200876"/>
                  </a:lnTo>
                  <a:lnTo>
                    <a:pt x="2707590" y="200876"/>
                  </a:lnTo>
                  <a:lnTo>
                    <a:pt x="2707590" y="200228"/>
                  </a:lnTo>
                  <a:lnTo>
                    <a:pt x="2707590" y="200876"/>
                  </a:lnTo>
                  <a:lnTo>
                    <a:pt x="2707590" y="200228"/>
                  </a:lnTo>
                  <a:lnTo>
                    <a:pt x="2707590" y="202260"/>
                  </a:lnTo>
                  <a:lnTo>
                    <a:pt x="2707640" y="202260"/>
                  </a:lnTo>
                  <a:lnTo>
                    <a:pt x="2707640" y="200876"/>
                  </a:lnTo>
                  <a:lnTo>
                    <a:pt x="2707640" y="202260"/>
                  </a:lnTo>
                  <a:lnTo>
                    <a:pt x="2707640" y="200876"/>
                  </a:lnTo>
                  <a:lnTo>
                    <a:pt x="2707640" y="202260"/>
                  </a:lnTo>
                  <a:lnTo>
                    <a:pt x="2707640" y="200876"/>
                  </a:lnTo>
                  <a:lnTo>
                    <a:pt x="2707691" y="200876"/>
                  </a:lnTo>
                  <a:lnTo>
                    <a:pt x="2707691" y="199530"/>
                  </a:lnTo>
                  <a:lnTo>
                    <a:pt x="2707691" y="200228"/>
                  </a:lnTo>
                  <a:lnTo>
                    <a:pt x="2707691" y="199530"/>
                  </a:lnTo>
                  <a:lnTo>
                    <a:pt x="2707780" y="199530"/>
                  </a:lnTo>
                  <a:lnTo>
                    <a:pt x="2707780" y="196799"/>
                  </a:lnTo>
                  <a:lnTo>
                    <a:pt x="2707780" y="197447"/>
                  </a:lnTo>
                  <a:lnTo>
                    <a:pt x="2707780" y="196799"/>
                  </a:lnTo>
                  <a:lnTo>
                    <a:pt x="2707780" y="197447"/>
                  </a:lnTo>
                  <a:lnTo>
                    <a:pt x="2707831" y="198831"/>
                  </a:lnTo>
                  <a:lnTo>
                    <a:pt x="2707831" y="196113"/>
                  </a:lnTo>
                  <a:lnTo>
                    <a:pt x="2707831" y="200228"/>
                  </a:lnTo>
                  <a:lnTo>
                    <a:pt x="2707882" y="200228"/>
                  </a:lnTo>
                  <a:lnTo>
                    <a:pt x="2707882" y="198831"/>
                  </a:lnTo>
                  <a:lnTo>
                    <a:pt x="2707882" y="199530"/>
                  </a:lnTo>
                  <a:lnTo>
                    <a:pt x="2707933" y="199530"/>
                  </a:lnTo>
                  <a:lnTo>
                    <a:pt x="2707933" y="197447"/>
                  </a:lnTo>
                  <a:lnTo>
                    <a:pt x="2707933" y="199530"/>
                  </a:lnTo>
                  <a:lnTo>
                    <a:pt x="2708034" y="198831"/>
                  </a:lnTo>
                  <a:lnTo>
                    <a:pt x="2708034" y="199530"/>
                  </a:lnTo>
                  <a:lnTo>
                    <a:pt x="2708034" y="198831"/>
                  </a:lnTo>
                  <a:lnTo>
                    <a:pt x="2708034" y="200228"/>
                  </a:lnTo>
                  <a:lnTo>
                    <a:pt x="2708034" y="199530"/>
                  </a:lnTo>
                  <a:lnTo>
                    <a:pt x="2708085" y="199530"/>
                  </a:lnTo>
                  <a:lnTo>
                    <a:pt x="2708085" y="200228"/>
                  </a:lnTo>
                  <a:lnTo>
                    <a:pt x="2708085" y="199530"/>
                  </a:lnTo>
                  <a:lnTo>
                    <a:pt x="2708085" y="200228"/>
                  </a:lnTo>
                  <a:lnTo>
                    <a:pt x="2708085" y="199530"/>
                  </a:lnTo>
                  <a:lnTo>
                    <a:pt x="2708085" y="200228"/>
                  </a:lnTo>
                  <a:lnTo>
                    <a:pt x="2708136" y="200228"/>
                  </a:lnTo>
                  <a:lnTo>
                    <a:pt x="2708136" y="199530"/>
                  </a:lnTo>
                  <a:lnTo>
                    <a:pt x="2708136" y="200228"/>
                  </a:lnTo>
                  <a:lnTo>
                    <a:pt x="2708237" y="200228"/>
                  </a:lnTo>
                  <a:lnTo>
                    <a:pt x="2708237" y="199530"/>
                  </a:lnTo>
                  <a:lnTo>
                    <a:pt x="2708237" y="200228"/>
                  </a:lnTo>
                  <a:lnTo>
                    <a:pt x="2708237" y="198831"/>
                  </a:lnTo>
                  <a:lnTo>
                    <a:pt x="2708276" y="198831"/>
                  </a:lnTo>
                  <a:lnTo>
                    <a:pt x="2708276" y="197447"/>
                  </a:lnTo>
                  <a:lnTo>
                    <a:pt x="2708276" y="198831"/>
                  </a:lnTo>
                  <a:lnTo>
                    <a:pt x="2708276" y="197447"/>
                  </a:lnTo>
                  <a:lnTo>
                    <a:pt x="2708276" y="198831"/>
                  </a:lnTo>
                  <a:lnTo>
                    <a:pt x="2708276" y="197447"/>
                  </a:lnTo>
                  <a:lnTo>
                    <a:pt x="2708276" y="199530"/>
                  </a:lnTo>
                  <a:lnTo>
                    <a:pt x="2708276" y="198831"/>
                  </a:lnTo>
                  <a:lnTo>
                    <a:pt x="2708276" y="199530"/>
                  </a:lnTo>
                  <a:lnTo>
                    <a:pt x="2708326" y="199530"/>
                  </a:lnTo>
                  <a:lnTo>
                    <a:pt x="2708326" y="196799"/>
                  </a:lnTo>
                  <a:lnTo>
                    <a:pt x="2708326" y="200876"/>
                  </a:lnTo>
                  <a:lnTo>
                    <a:pt x="2708326" y="200228"/>
                  </a:lnTo>
                  <a:lnTo>
                    <a:pt x="2708377" y="199530"/>
                  </a:lnTo>
                  <a:lnTo>
                    <a:pt x="2708377" y="198831"/>
                  </a:lnTo>
                  <a:lnTo>
                    <a:pt x="2708377" y="200876"/>
                  </a:lnTo>
                  <a:lnTo>
                    <a:pt x="2708377" y="200228"/>
                  </a:lnTo>
                  <a:lnTo>
                    <a:pt x="2708479" y="199530"/>
                  </a:lnTo>
                  <a:lnTo>
                    <a:pt x="2708479" y="200228"/>
                  </a:lnTo>
                  <a:lnTo>
                    <a:pt x="2708479" y="199530"/>
                  </a:lnTo>
                  <a:lnTo>
                    <a:pt x="2708479" y="200228"/>
                  </a:lnTo>
                  <a:lnTo>
                    <a:pt x="2708530" y="200228"/>
                  </a:lnTo>
                  <a:lnTo>
                    <a:pt x="2708530" y="199530"/>
                  </a:lnTo>
                  <a:lnTo>
                    <a:pt x="2708530" y="200876"/>
                  </a:lnTo>
                  <a:lnTo>
                    <a:pt x="2708530" y="200228"/>
                  </a:lnTo>
                  <a:lnTo>
                    <a:pt x="2708580" y="200876"/>
                  </a:lnTo>
                  <a:lnTo>
                    <a:pt x="2708580" y="200228"/>
                  </a:lnTo>
                  <a:lnTo>
                    <a:pt x="2708580" y="200876"/>
                  </a:lnTo>
                  <a:lnTo>
                    <a:pt x="2708580" y="200228"/>
                  </a:lnTo>
                  <a:lnTo>
                    <a:pt x="2708580" y="200876"/>
                  </a:lnTo>
                  <a:lnTo>
                    <a:pt x="2708580" y="200228"/>
                  </a:lnTo>
                  <a:lnTo>
                    <a:pt x="2708580" y="200876"/>
                  </a:lnTo>
                  <a:lnTo>
                    <a:pt x="2708682" y="200228"/>
                  </a:lnTo>
                  <a:lnTo>
                    <a:pt x="2708682" y="200876"/>
                  </a:lnTo>
                  <a:lnTo>
                    <a:pt x="2708682" y="200228"/>
                  </a:lnTo>
                  <a:lnTo>
                    <a:pt x="2708682" y="200876"/>
                  </a:lnTo>
                  <a:lnTo>
                    <a:pt x="2708682" y="200228"/>
                  </a:lnTo>
                  <a:lnTo>
                    <a:pt x="2708733" y="200228"/>
                  </a:lnTo>
                  <a:lnTo>
                    <a:pt x="2708733" y="198831"/>
                  </a:lnTo>
                  <a:lnTo>
                    <a:pt x="2708783" y="198831"/>
                  </a:lnTo>
                  <a:lnTo>
                    <a:pt x="2708783" y="197447"/>
                  </a:lnTo>
                  <a:lnTo>
                    <a:pt x="2708783" y="199530"/>
                  </a:lnTo>
                  <a:lnTo>
                    <a:pt x="2708822" y="198831"/>
                  </a:lnTo>
                  <a:lnTo>
                    <a:pt x="2708822" y="197447"/>
                  </a:lnTo>
                  <a:lnTo>
                    <a:pt x="2708822" y="200228"/>
                  </a:lnTo>
                  <a:lnTo>
                    <a:pt x="2708923" y="200228"/>
                  </a:lnTo>
                  <a:lnTo>
                    <a:pt x="2708923" y="199530"/>
                  </a:lnTo>
                  <a:lnTo>
                    <a:pt x="2708923" y="200228"/>
                  </a:lnTo>
                  <a:lnTo>
                    <a:pt x="2708974" y="199530"/>
                  </a:lnTo>
                  <a:lnTo>
                    <a:pt x="2708974" y="200228"/>
                  </a:lnTo>
                  <a:lnTo>
                    <a:pt x="2708974" y="199530"/>
                  </a:lnTo>
                  <a:lnTo>
                    <a:pt x="2708974" y="200228"/>
                  </a:lnTo>
                  <a:lnTo>
                    <a:pt x="2709025" y="199530"/>
                  </a:lnTo>
                  <a:lnTo>
                    <a:pt x="2709025" y="200876"/>
                  </a:lnTo>
                  <a:lnTo>
                    <a:pt x="2709025" y="200228"/>
                  </a:lnTo>
                  <a:lnTo>
                    <a:pt x="2709126" y="200228"/>
                  </a:lnTo>
                  <a:lnTo>
                    <a:pt x="2709126" y="200876"/>
                  </a:lnTo>
                  <a:lnTo>
                    <a:pt x="2709126" y="200228"/>
                  </a:lnTo>
                  <a:lnTo>
                    <a:pt x="2709177" y="200228"/>
                  </a:lnTo>
                  <a:lnTo>
                    <a:pt x="2709177" y="199530"/>
                  </a:lnTo>
                  <a:lnTo>
                    <a:pt x="2709228" y="199530"/>
                  </a:lnTo>
                  <a:lnTo>
                    <a:pt x="2709228" y="197447"/>
                  </a:lnTo>
                  <a:lnTo>
                    <a:pt x="2709279" y="197447"/>
                  </a:lnTo>
                  <a:lnTo>
                    <a:pt x="2709279" y="196799"/>
                  </a:lnTo>
                  <a:lnTo>
                    <a:pt x="2709279" y="197447"/>
                  </a:lnTo>
                  <a:lnTo>
                    <a:pt x="2709279" y="196799"/>
                  </a:lnTo>
                  <a:lnTo>
                    <a:pt x="2709279" y="197447"/>
                  </a:lnTo>
                  <a:lnTo>
                    <a:pt x="2709279" y="196799"/>
                  </a:lnTo>
                  <a:lnTo>
                    <a:pt x="2709279" y="197447"/>
                  </a:lnTo>
                  <a:lnTo>
                    <a:pt x="2709368" y="197447"/>
                  </a:lnTo>
                  <a:lnTo>
                    <a:pt x="2709368" y="196799"/>
                  </a:lnTo>
                  <a:lnTo>
                    <a:pt x="2709368" y="199530"/>
                  </a:lnTo>
                  <a:lnTo>
                    <a:pt x="2709419" y="198831"/>
                  </a:lnTo>
                  <a:lnTo>
                    <a:pt x="2709419" y="199530"/>
                  </a:lnTo>
                  <a:lnTo>
                    <a:pt x="2709469" y="199530"/>
                  </a:lnTo>
                  <a:lnTo>
                    <a:pt x="2709469" y="198831"/>
                  </a:lnTo>
                  <a:lnTo>
                    <a:pt x="2709469" y="200228"/>
                  </a:lnTo>
                  <a:lnTo>
                    <a:pt x="2709469" y="199530"/>
                  </a:lnTo>
                  <a:lnTo>
                    <a:pt x="2709520" y="199530"/>
                  </a:lnTo>
                  <a:lnTo>
                    <a:pt x="2709520" y="200228"/>
                  </a:lnTo>
                  <a:lnTo>
                    <a:pt x="2709520" y="199530"/>
                  </a:lnTo>
                  <a:lnTo>
                    <a:pt x="2709520" y="200228"/>
                  </a:lnTo>
                  <a:lnTo>
                    <a:pt x="2709622" y="200876"/>
                  </a:lnTo>
                  <a:lnTo>
                    <a:pt x="2709622" y="200228"/>
                  </a:lnTo>
                  <a:lnTo>
                    <a:pt x="2709622" y="200876"/>
                  </a:lnTo>
                  <a:lnTo>
                    <a:pt x="2709622" y="200228"/>
                  </a:lnTo>
                  <a:lnTo>
                    <a:pt x="2709672" y="200876"/>
                  </a:lnTo>
                  <a:lnTo>
                    <a:pt x="2709672" y="199530"/>
                  </a:lnTo>
                  <a:lnTo>
                    <a:pt x="2709672" y="200228"/>
                  </a:lnTo>
                  <a:lnTo>
                    <a:pt x="2709672" y="199530"/>
                  </a:lnTo>
                  <a:lnTo>
                    <a:pt x="2709672" y="200228"/>
                  </a:lnTo>
                  <a:lnTo>
                    <a:pt x="2709723" y="199530"/>
                  </a:lnTo>
                  <a:lnTo>
                    <a:pt x="2709723" y="198831"/>
                  </a:lnTo>
                  <a:lnTo>
                    <a:pt x="2709723" y="199530"/>
                  </a:lnTo>
                  <a:lnTo>
                    <a:pt x="2709723" y="197447"/>
                  </a:lnTo>
                  <a:lnTo>
                    <a:pt x="2709723" y="198831"/>
                  </a:lnTo>
                  <a:lnTo>
                    <a:pt x="2709723" y="197447"/>
                  </a:lnTo>
                  <a:lnTo>
                    <a:pt x="2709723" y="198831"/>
                  </a:lnTo>
                  <a:lnTo>
                    <a:pt x="2709825" y="198831"/>
                  </a:lnTo>
                  <a:lnTo>
                    <a:pt x="2709825" y="196799"/>
                  </a:lnTo>
                  <a:lnTo>
                    <a:pt x="2709825" y="199530"/>
                  </a:lnTo>
                  <a:lnTo>
                    <a:pt x="2709825" y="197447"/>
                  </a:lnTo>
                  <a:lnTo>
                    <a:pt x="2709863" y="197447"/>
                  </a:lnTo>
                  <a:lnTo>
                    <a:pt x="2709863" y="196113"/>
                  </a:lnTo>
                  <a:lnTo>
                    <a:pt x="2709863" y="199530"/>
                  </a:lnTo>
                  <a:lnTo>
                    <a:pt x="2709863" y="198831"/>
                  </a:lnTo>
                  <a:lnTo>
                    <a:pt x="2709914" y="199530"/>
                  </a:lnTo>
                  <a:lnTo>
                    <a:pt x="2709914" y="198831"/>
                  </a:lnTo>
                  <a:lnTo>
                    <a:pt x="2709914" y="200228"/>
                  </a:lnTo>
                  <a:lnTo>
                    <a:pt x="2709914" y="199530"/>
                  </a:lnTo>
                  <a:lnTo>
                    <a:pt x="2709965" y="199530"/>
                  </a:lnTo>
                  <a:lnTo>
                    <a:pt x="2709965" y="200228"/>
                  </a:lnTo>
                  <a:lnTo>
                    <a:pt x="2709965" y="199530"/>
                  </a:lnTo>
                  <a:lnTo>
                    <a:pt x="2710066" y="199530"/>
                  </a:lnTo>
                  <a:lnTo>
                    <a:pt x="2710066" y="200228"/>
                  </a:lnTo>
                  <a:lnTo>
                    <a:pt x="2710066" y="199530"/>
                  </a:lnTo>
                  <a:lnTo>
                    <a:pt x="2710066" y="200228"/>
                  </a:lnTo>
                  <a:lnTo>
                    <a:pt x="2710066" y="199530"/>
                  </a:lnTo>
                  <a:lnTo>
                    <a:pt x="2710066" y="200876"/>
                  </a:lnTo>
                  <a:lnTo>
                    <a:pt x="2710066" y="200228"/>
                  </a:lnTo>
                  <a:lnTo>
                    <a:pt x="2710066" y="200876"/>
                  </a:lnTo>
                  <a:lnTo>
                    <a:pt x="2710066" y="200228"/>
                  </a:lnTo>
                  <a:lnTo>
                    <a:pt x="2710117" y="200228"/>
                  </a:lnTo>
                  <a:lnTo>
                    <a:pt x="2710117" y="200876"/>
                  </a:lnTo>
                  <a:lnTo>
                    <a:pt x="2710117" y="200228"/>
                  </a:lnTo>
                  <a:lnTo>
                    <a:pt x="2710117" y="200876"/>
                  </a:lnTo>
                  <a:lnTo>
                    <a:pt x="2710117" y="200228"/>
                  </a:lnTo>
                  <a:lnTo>
                    <a:pt x="2710168" y="200228"/>
                  </a:lnTo>
                  <a:lnTo>
                    <a:pt x="2710168" y="199530"/>
                  </a:lnTo>
                  <a:lnTo>
                    <a:pt x="2710168" y="200876"/>
                  </a:lnTo>
                  <a:lnTo>
                    <a:pt x="2710168" y="199530"/>
                  </a:lnTo>
                  <a:lnTo>
                    <a:pt x="2710168" y="200228"/>
                  </a:lnTo>
                  <a:lnTo>
                    <a:pt x="2710168" y="199530"/>
                  </a:lnTo>
                  <a:lnTo>
                    <a:pt x="2710168" y="200228"/>
                  </a:lnTo>
                  <a:lnTo>
                    <a:pt x="2710269" y="200228"/>
                  </a:lnTo>
                  <a:lnTo>
                    <a:pt x="2710269" y="199530"/>
                  </a:lnTo>
                  <a:lnTo>
                    <a:pt x="2710269" y="200228"/>
                  </a:lnTo>
                  <a:lnTo>
                    <a:pt x="2710269" y="198831"/>
                  </a:lnTo>
                  <a:lnTo>
                    <a:pt x="2710269" y="199530"/>
                  </a:lnTo>
                  <a:lnTo>
                    <a:pt x="2710269" y="197447"/>
                  </a:lnTo>
                  <a:lnTo>
                    <a:pt x="2710269" y="198831"/>
                  </a:lnTo>
                  <a:lnTo>
                    <a:pt x="2710269" y="197447"/>
                  </a:lnTo>
                  <a:lnTo>
                    <a:pt x="2710320" y="197447"/>
                  </a:lnTo>
                  <a:lnTo>
                    <a:pt x="2710320" y="196113"/>
                  </a:lnTo>
                  <a:lnTo>
                    <a:pt x="2710320" y="196799"/>
                  </a:lnTo>
                  <a:lnTo>
                    <a:pt x="2710320" y="196113"/>
                  </a:lnTo>
                  <a:lnTo>
                    <a:pt x="2710320" y="196799"/>
                  </a:lnTo>
                  <a:lnTo>
                    <a:pt x="2710320" y="196113"/>
                  </a:lnTo>
                  <a:lnTo>
                    <a:pt x="2710320" y="197447"/>
                  </a:lnTo>
                  <a:lnTo>
                    <a:pt x="2710371" y="197447"/>
                  </a:lnTo>
                  <a:lnTo>
                    <a:pt x="2710371" y="196113"/>
                  </a:lnTo>
                  <a:lnTo>
                    <a:pt x="2710371" y="199530"/>
                  </a:lnTo>
                  <a:lnTo>
                    <a:pt x="2710371" y="198831"/>
                  </a:lnTo>
                  <a:lnTo>
                    <a:pt x="2710409" y="198831"/>
                  </a:lnTo>
                  <a:lnTo>
                    <a:pt x="2710409" y="197447"/>
                  </a:lnTo>
                  <a:lnTo>
                    <a:pt x="2710409" y="199530"/>
                  </a:lnTo>
                  <a:lnTo>
                    <a:pt x="2710409" y="198831"/>
                  </a:lnTo>
                  <a:lnTo>
                    <a:pt x="2710511" y="198831"/>
                  </a:lnTo>
                  <a:lnTo>
                    <a:pt x="2710511" y="197447"/>
                  </a:lnTo>
                  <a:lnTo>
                    <a:pt x="2710511" y="199530"/>
                  </a:lnTo>
                  <a:lnTo>
                    <a:pt x="2710511" y="198831"/>
                  </a:lnTo>
                  <a:lnTo>
                    <a:pt x="2710511" y="200228"/>
                  </a:lnTo>
                  <a:lnTo>
                    <a:pt x="2710562" y="199530"/>
                  </a:lnTo>
                  <a:lnTo>
                    <a:pt x="2710562" y="200228"/>
                  </a:lnTo>
                  <a:lnTo>
                    <a:pt x="2710562" y="199530"/>
                  </a:lnTo>
                  <a:lnTo>
                    <a:pt x="2710562" y="200228"/>
                  </a:lnTo>
                  <a:lnTo>
                    <a:pt x="2710562" y="199530"/>
                  </a:lnTo>
                  <a:lnTo>
                    <a:pt x="2710562" y="200228"/>
                  </a:lnTo>
                  <a:lnTo>
                    <a:pt x="2710612" y="200228"/>
                  </a:lnTo>
                  <a:lnTo>
                    <a:pt x="2710612" y="200876"/>
                  </a:lnTo>
                  <a:lnTo>
                    <a:pt x="2710612" y="200228"/>
                  </a:lnTo>
                  <a:lnTo>
                    <a:pt x="2710612" y="200876"/>
                  </a:lnTo>
                  <a:lnTo>
                    <a:pt x="2710612" y="200228"/>
                  </a:lnTo>
                  <a:lnTo>
                    <a:pt x="2710612" y="200876"/>
                  </a:lnTo>
                  <a:lnTo>
                    <a:pt x="2710714" y="200876"/>
                  </a:lnTo>
                  <a:lnTo>
                    <a:pt x="2710714" y="200228"/>
                  </a:lnTo>
                  <a:lnTo>
                    <a:pt x="2710714" y="200876"/>
                  </a:lnTo>
                  <a:lnTo>
                    <a:pt x="2710714" y="200228"/>
                  </a:lnTo>
                  <a:lnTo>
                    <a:pt x="2710714" y="200876"/>
                  </a:lnTo>
                  <a:lnTo>
                    <a:pt x="2710714" y="200228"/>
                  </a:lnTo>
                  <a:lnTo>
                    <a:pt x="2710714" y="200876"/>
                  </a:lnTo>
                  <a:lnTo>
                    <a:pt x="2710714" y="199530"/>
                  </a:lnTo>
                  <a:lnTo>
                    <a:pt x="2710765" y="200228"/>
                  </a:lnTo>
                  <a:lnTo>
                    <a:pt x="2710765" y="199530"/>
                  </a:lnTo>
                  <a:lnTo>
                    <a:pt x="2710765" y="200228"/>
                  </a:lnTo>
                  <a:lnTo>
                    <a:pt x="2710765" y="197447"/>
                  </a:lnTo>
                  <a:lnTo>
                    <a:pt x="2710765" y="198831"/>
                  </a:lnTo>
                  <a:lnTo>
                    <a:pt x="2710815" y="198831"/>
                  </a:lnTo>
                  <a:lnTo>
                    <a:pt x="2710815" y="197447"/>
                  </a:lnTo>
                  <a:lnTo>
                    <a:pt x="2710815" y="198831"/>
                  </a:lnTo>
                  <a:lnTo>
                    <a:pt x="2710815" y="197447"/>
                  </a:lnTo>
                  <a:lnTo>
                    <a:pt x="2710815" y="198831"/>
                  </a:lnTo>
                  <a:lnTo>
                    <a:pt x="2710815" y="196799"/>
                  </a:lnTo>
                  <a:lnTo>
                    <a:pt x="2710866" y="196799"/>
                  </a:lnTo>
                  <a:lnTo>
                    <a:pt x="2710866" y="196113"/>
                  </a:lnTo>
                  <a:lnTo>
                    <a:pt x="2710866" y="199530"/>
                  </a:lnTo>
                  <a:lnTo>
                    <a:pt x="2710866" y="197447"/>
                  </a:lnTo>
                  <a:lnTo>
                    <a:pt x="2710955" y="197447"/>
                  </a:lnTo>
                  <a:lnTo>
                    <a:pt x="2710955" y="199530"/>
                  </a:lnTo>
                  <a:lnTo>
                    <a:pt x="2710955" y="198831"/>
                  </a:lnTo>
                  <a:lnTo>
                    <a:pt x="2711006" y="198831"/>
                  </a:lnTo>
                  <a:lnTo>
                    <a:pt x="2711006" y="197447"/>
                  </a:lnTo>
                  <a:lnTo>
                    <a:pt x="2711006" y="199530"/>
                  </a:lnTo>
                  <a:lnTo>
                    <a:pt x="2711006" y="198831"/>
                  </a:lnTo>
                  <a:lnTo>
                    <a:pt x="2711057" y="198831"/>
                  </a:lnTo>
                  <a:lnTo>
                    <a:pt x="2711057" y="199530"/>
                  </a:lnTo>
                  <a:lnTo>
                    <a:pt x="2711108" y="200228"/>
                  </a:lnTo>
                  <a:lnTo>
                    <a:pt x="2711108" y="199530"/>
                  </a:lnTo>
                  <a:lnTo>
                    <a:pt x="2711108" y="200228"/>
                  </a:lnTo>
                  <a:lnTo>
                    <a:pt x="2711108" y="199530"/>
                  </a:lnTo>
                  <a:lnTo>
                    <a:pt x="2711108" y="200228"/>
                  </a:lnTo>
                  <a:lnTo>
                    <a:pt x="2711209" y="200228"/>
                  </a:lnTo>
                  <a:lnTo>
                    <a:pt x="2711209" y="199530"/>
                  </a:lnTo>
                  <a:lnTo>
                    <a:pt x="2711209" y="200228"/>
                  </a:lnTo>
                  <a:lnTo>
                    <a:pt x="2711209" y="199530"/>
                  </a:lnTo>
                  <a:lnTo>
                    <a:pt x="2711260" y="199530"/>
                  </a:lnTo>
                  <a:lnTo>
                    <a:pt x="2711260" y="198831"/>
                  </a:lnTo>
                  <a:lnTo>
                    <a:pt x="2711260" y="199530"/>
                  </a:lnTo>
                  <a:lnTo>
                    <a:pt x="2711260" y="197447"/>
                  </a:lnTo>
                  <a:lnTo>
                    <a:pt x="2711311" y="197447"/>
                  </a:lnTo>
                  <a:lnTo>
                    <a:pt x="2711311" y="200228"/>
                  </a:lnTo>
                  <a:lnTo>
                    <a:pt x="2711311" y="198831"/>
                  </a:lnTo>
                  <a:lnTo>
                    <a:pt x="2711311" y="199530"/>
                  </a:lnTo>
                  <a:lnTo>
                    <a:pt x="2711311" y="197447"/>
                  </a:lnTo>
                  <a:lnTo>
                    <a:pt x="2711311" y="198831"/>
                  </a:lnTo>
                  <a:lnTo>
                    <a:pt x="2711412" y="198831"/>
                  </a:lnTo>
                  <a:lnTo>
                    <a:pt x="2711412" y="200876"/>
                  </a:lnTo>
                  <a:lnTo>
                    <a:pt x="2711412" y="199530"/>
                  </a:lnTo>
                  <a:lnTo>
                    <a:pt x="2711412" y="200228"/>
                  </a:lnTo>
                  <a:lnTo>
                    <a:pt x="2711412" y="199530"/>
                  </a:lnTo>
                  <a:lnTo>
                    <a:pt x="2711412" y="200228"/>
                  </a:lnTo>
                  <a:lnTo>
                    <a:pt x="2711451" y="200228"/>
                  </a:lnTo>
                  <a:lnTo>
                    <a:pt x="2711451" y="200876"/>
                  </a:lnTo>
                  <a:lnTo>
                    <a:pt x="2711451" y="200228"/>
                  </a:lnTo>
                  <a:lnTo>
                    <a:pt x="2711501" y="200228"/>
                  </a:lnTo>
                  <a:lnTo>
                    <a:pt x="2711501" y="200876"/>
                  </a:lnTo>
                  <a:lnTo>
                    <a:pt x="2711552" y="200876"/>
                  </a:lnTo>
                  <a:lnTo>
                    <a:pt x="2711552" y="200228"/>
                  </a:lnTo>
                  <a:lnTo>
                    <a:pt x="2711552" y="200876"/>
                  </a:lnTo>
                  <a:lnTo>
                    <a:pt x="2711552" y="200228"/>
                  </a:lnTo>
                  <a:lnTo>
                    <a:pt x="2711654" y="200876"/>
                  </a:lnTo>
                  <a:lnTo>
                    <a:pt x="2711654" y="200228"/>
                  </a:lnTo>
                  <a:lnTo>
                    <a:pt x="2711654" y="200876"/>
                  </a:lnTo>
                  <a:lnTo>
                    <a:pt x="2711654" y="200228"/>
                  </a:lnTo>
                  <a:lnTo>
                    <a:pt x="2711654" y="200876"/>
                  </a:lnTo>
                  <a:lnTo>
                    <a:pt x="2711654" y="200228"/>
                  </a:lnTo>
                  <a:lnTo>
                    <a:pt x="2711654" y="200876"/>
                  </a:lnTo>
                  <a:lnTo>
                    <a:pt x="2711705" y="200876"/>
                  </a:lnTo>
                  <a:lnTo>
                    <a:pt x="2711705" y="199530"/>
                  </a:lnTo>
                  <a:lnTo>
                    <a:pt x="2711705" y="200228"/>
                  </a:lnTo>
                  <a:lnTo>
                    <a:pt x="2711705" y="199530"/>
                  </a:lnTo>
                  <a:lnTo>
                    <a:pt x="2711755" y="199530"/>
                  </a:lnTo>
                  <a:lnTo>
                    <a:pt x="2711755" y="197447"/>
                  </a:lnTo>
                  <a:lnTo>
                    <a:pt x="2711755" y="200876"/>
                  </a:lnTo>
                  <a:lnTo>
                    <a:pt x="2711857" y="200876"/>
                  </a:lnTo>
                  <a:lnTo>
                    <a:pt x="2711857" y="198831"/>
                  </a:lnTo>
                  <a:lnTo>
                    <a:pt x="2711857" y="202959"/>
                  </a:lnTo>
                  <a:lnTo>
                    <a:pt x="2711857" y="202260"/>
                  </a:lnTo>
                  <a:lnTo>
                    <a:pt x="2711908" y="202260"/>
                  </a:lnTo>
                  <a:lnTo>
                    <a:pt x="2711908" y="200876"/>
                  </a:lnTo>
                  <a:lnTo>
                    <a:pt x="2711908" y="202959"/>
                  </a:lnTo>
                  <a:lnTo>
                    <a:pt x="2711958" y="202959"/>
                  </a:lnTo>
                  <a:lnTo>
                    <a:pt x="2711958" y="200876"/>
                  </a:lnTo>
                  <a:lnTo>
                    <a:pt x="2711958" y="202959"/>
                  </a:lnTo>
                  <a:lnTo>
                    <a:pt x="2711958" y="202260"/>
                  </a:lnTo>
                  <a:lnTo>
                    <a:pt x="2711997" y="202959"/>
                  </a:lnTo>
                  <a:lnTo>
                    <a:pt x="2711997" y="200876"/>
                  </a:lnTo>
                  <a:lnTo>
                    <a:pt x="2711997" y="202260"/>
                  </a:lnTo>
                  <a:lnTo>
                    <a:pt x="2711997" y="200876"/>
                  </a:lnTo>
                  <a:lnTo>
                    <a:pt x="2711997" y="202260"/>
                  </a:lnTo>
                  <a:lnTo>
                    <a:pt x="2711997" y="200876"/>
                  </a:lnTo>
                  <a:lnTo>
                    <a:pt x="2712098" y="200876"/>
                  </a:lnTo>
                  <a:lnTo>
                    <a:pt x="2712098" y="202260"/>
                  </a:lnTo>
                  <a:lnTo>
                    <a:pt x="2712098" y="200876"/>
                  </a:lnTo>
                  <a:lnTo>
                    <a:pt x="2712098" y="202260"/>
                  </a:lnTo>
                  <a:lnTo>
                    <a:pt x="2712098" y="200228"/>
                  </a:lnTo>
                  <a:lnTo>
                    <a:pt x="2712098" y="200876"/>
                  </a:lnTo>
                  <a:lnTo>
                    <a:pt x="2712098" y="200228"/>
                  </a:lnTo>
                  <a:lnTo>
                    <a:pt x="2712149" y="200228"/>
                  </a:lnTo>
                  <a:lnTo>
                    <a:pt x="2712149" y="200876"/>
                  </a:lnTo>
                  <a:lnTo>
                    <a:pt x="2712149" y="200228"/>
                  </a:lnTo>
                  <a:lnTo>
                    <a:pt x="2712200" y="200228"/>
                  </a:lnTo>
                  <a:lnTo>
                    <a:pt x="2712200" y="199530"/>
                  </a:lnTo>
                  <a:lnTo>
                    <a:pt x="2712200" y="200228"/>
                  </a:lnTo>
                  <a:lnTo>
                    <a:pt x="2712200" y="199530"/>
                  </a:lnTo>
                  <a:lnTo>
                    <a:pt x="2712200" y="200228"/>
                  </a:lnTo>
                  <a:lnTo>
                    <a:pt x="2712200" y="197447"/>
                  </a:lnTo>
                  <a:lnTo>
                    <a:pt x="2712301" y="197447"/>
                  </a:lnTo>
                  <a:lnTo>
                    <a:pt x="2712301" y="198831"/>
                  </a:lnTo>
                  <a:lnTo>
                    <a:pt x="2712301" y="196799"/>
                  </a:lnTo>
                  <a:lnTo>
                    <a:pt x="2712301" y="199530"/>
                  </a:lnTo>
                  <a:lnTo>
                    <a:pt x="2712301" y="198831"/>
                  </a:lnTo>
                  <a:lnTo>
                    <a:pt x="2712352" y="197447"/>
                  </a:lnTo>
                  <a:lnTo>
                    <a:pt x="2712352" y="200876"/>
                  </a:lnTo>
                  <a:lnTo>
                    <a:pt x="2712352" y="199530"/>
                  </a:lnTo>
                  <a:lnTo>
                    <a:pt x="2712403" y="199530"/>
                  </a:lnTo>
                  <a:lnTo>
                    <a:pt x="2712403" y="200876"/>
                  </a:lnTo>
                  <a:lnTo>
                    <a:pt x="2712403" y="200228"/>
                  </a:lnTo>
                  <a:lnTo>
                    <a:pt x="2712403" y="200876"/>
                  </a:lnTo>
                  <a:lnTo>
                    <a:pt x="2712454" y="200876"/>
                  </a:lnTo>
                  <a:lnTo>
                    <a:pt x="2712454" y="202260"/>
                  </a:lnTo>
                  <a:lnTo>
                    <a:pt x="2712454" y="200876"/>
                  </a:lnTo>
                  <a:lnTo>
                    <a:pt x="2712543" y="202260"/>
                  </a:lnTo>
                  <a:lnTo>
                    <a:pt x="2712543" y="200876"/>
                  </a:lnTo>
                  <a:lnTo>
                    <a:pt x="2712543" y="202260"/>
                  </a:lnTo>
                  <a:lnTo>
                    <a:pt x="2712543" y="200876"/>
                  </a:lnTo>
                  <a:lnTo>
                    <a:pt x="2712543" y="202959"/>
                  </a:lnTo>
                  <a:lnTo>
                    <a:pt x="2712543" y="200876"/>
                  </a:lnTo>
                  <a:lnTo>
                    <a:pt x="2712543" y="202260"/>
                  </a:lnTo>
                  <a:lnTo>
                    <a:pt x="2712594" y="202260"/>
                  </a:lnTo>
                  <a:lnTo>
                    <a:pt x="2712594" y="202959"/>
                  </a:lnTo>
                  <a:lnTo>
                    <a:pt x="2712594" y="202260"/>
                  </a:lnTo>
                  <a:lnTo>
                    <a:pt x="2712644" y="202260"/>
                  </a:lnTo>
                  <a:lnTo>
                    <a:pt x="2712644" y="200876"/>
                  </a:lnTo>
                  <a:lnTo>
                    <a:pt x="2712644" y="202260"/>
                  </a:lnTo>
                  <a:lnTo>
                    <a:pt x="2712644" y="200228"/>
                  </a:lnTo>
                  <a:lnTo>
                    <a:pt x="2712644" y="200876"/>
                  </a:lnTo>
                  <a:lnTo>
                    <a:pt x="2712695" y="200228"/>
                  </a:lnTo>
                  <a:lnTo>
                    <a:pt x="2712695" y="199530"/>
                  </a:lnTo>
                  <a:lnTo>
                    <a:pt x="2712695" y="200228"/>
                  </a:lnTo>
                  <a:lnTo>
                    <a:pt x="2712695" y="198831"/>
                  </a:lnTo>
                  <a:lnTo>
                    <a:pt x="2712695" y="199530"/>
                  </a:lnTo>
                  <a:lnTo>
                    <a:pt x="2712695" y="197447"/>
                  </a:lnTo>
                  <a:lnTo>
                    <a:pt x="2712797" y="197447"/>
                  </a:lnTo>
                  <a:lnTo>
                    <a:pt x="2712797" y="199530"/>
                  </a:lnTo>
                  <a:lnTo>
                    <a:pt x="2712797" y="198831"/>
                  </a:lnTo>
                  <a:lnTo>
                    <a:pt x="2712847" y="198831"/>
                  </a:lnTo>
                  <a:lnTo>
                    <a:pt x="2712847" y="200228"/>
                  </a:lnTo>
                  <a:lnTo>
                    <a:pt x="2712847" y="199530"/>
                  </a:lnTo>
                  <a:lnTo>
                    <a:pt x="2712847" y="200228"/>
                  </a:lnTo>
                  <a:lnTo>
                    <a:pt x="2712898" y="200228"/>
                  </a:lnTo>
                  <a:lnTo>
                    <a:pt x="2712898" y="200876"/>
                  </a:lnTo>
                  <a:lnTo>
                    <a:pt x="2712898" y="200228"/>
                  </a:lnTo>
                  <a:lnTo>
                    <a:pt x="2713000" y="200228"/>
                  </a:lnTo>
                  <a:lnTo>
                    <a:pt x="2713000" y="200876"/>
                  </a:lnTo>
                  <a:lnTo>
                    <a:pt x="2713000" y="200228"/>
                  </a:lnTo>
                  <a:lnTo>
                    <a:pt x="2713000" y="202260"/>
                  </a:lnTo>
                  <a:lnTo>
                    <a:pt x="2713000" y="200876"/>
                  </a:lnTo>
                  <a:lnTo>
                    <a:pt x="2713000" y="202260"/>
                  </a:lnTo>
                  <a:lnTo>
                    <a:pt x="2713038" y="202260"/>
                  </a:lnTo>
                  <a:lnTo>
                    <a:pt x="2713038" y="200876"/>
                  </a:lnTo>
                  <a:lnTo>
                    <a:pt x="2713038" y="202260"/>
                  </a:lnTo>
                  <a:lnTo>
                    <a:pt x="2713038" y="200876"/>
                  </a:lnTo>
                  <a:lnTo>
                    <a:pt x="2713038" y="202260"/>
                  </a:lnTo>
                  <a:lnTo>
                    <a:pt x="2713089" y="202260"/>
                  </a:lnTo>
                  <a:lnTo>
                    <a:pt x="2713089" y="200876"/>
                  </a:lnTo>
                  <a:lnTo>
                    <a:pt x="2713089" y="202260"/>
                  </a:lnTo>
                  <a:lnTo>
                    <a:pt x="2713089" y="200876"/>
                  </a:lnTo>
                  <a:lnTo>
                    <a:pt x="2713140" y="200876"/>
                  </a:lnTo>
                  <a:lnTo>
                    <a:pt x="2713140" y="200228"/>
                  </a:lnTo>
                  <a:lnTo>
                    <a:pt x="2713140" y="200876"/>
                  </a:lnTo>
                  <a:lnTo>
                    <a:pt x="2713140" y="199530"/>
                  </a:lnTo>
                  <a:lnTo>
                    <a:pt x="2713241" y="199530"/>
                  </a:lnTo>
                  <a:lnTo>
                    <a:pt x="2713241" y="196799"/>
                  </a:lnTo>
                  <a:lnTo>
                    <a:pt x="2713241" y="197447"/>
                  </a:lnTo>
                  <a:lnTo>
                    <a:pt x="2713292" y="197447"/>
                  </a:lnTo>
                  <a:lnTo>
                    <a:pt x="2713292" y="199530"/>
                  </a:lnTo>
                  <a:lnTo>
                    <a:pt x="2713292" y="197447"/>
                  </a:lnTo>
                  <a:lnTo>
                    <a:pt x="2713292" y="198831"/>
                  </a:lnTo>
                  <a:lnTo>
                    <a:pt x="2713343" y="199530"/>
                  </a:lnTo>
                  <a:lnTo>
                    <a:pt x="2713343" y="200228"/>
                  </a:lnTo>
                  <a:lnTo>
                    <a:pt x="2713343" y="198831"/>
                  </a:lnTo>
                  <a:lnTo>
                    <a:pt x="2713343" y="200228"/>
                  </a:lnTo>
                  <a:lnTo>
                    <a:pt x="2713444" y="200228"/>
                  </a:lnTo>
                  <a:lnTo>
                    <a:pt x="2713444" y="199530"/>
                  </a:lnTo>
                  <a:lnTo>
                    <a:pt x="2713444" y="200228"/>
                  </a:lnTo>
                  <a:lnTo>
                    <a:pt x="2713444" y="199530"/>
                  </a:lnTo>
                  <a:lnTo>
                    <a:pt x="2713444" y="200228"/>
                  </a:lnTo>
                  <a:lnTo>
                    <a:pt x="2713495" y="200228"/>
                  </a:lnTo>
                  <a:lnTo>
                    <a:pt x="2713495" y="200876"/>
                  </a:lnTo>
                  <a:lnTo>
                    <a:pt x="2713495" y="200228"/>
                  </a:lnTo>
                  <a:lnTo>
                    <a:pt x="2713495" y="202260"/>
                  </a:lnTo>
                  <a:lnTo>
                    <a:pt x="2713546" y="200876"/>
                  </a:lnTo>
                  <a:lnTo>
                    <a:pt x="2713546" y="202260"/>
                  </a:lnTo>
                  <a:lnTo>
                    <a:pt x="2713546" y="200876"/>
                  </a:lnTo>
                  <a:lnTo>
                    <a:pt x="2713546" y="202260"/>
                  </a:lnTo>
                  <a:lnTo>
                    <a:pt x="2713584" y="202260"/>
                  </a:lnTo>
                  <a:lnTo>
                    <a:pt x="2713584" y="200876"/>
                  </a:lnTo>
                  <a:lnTo>
                    <a:pt x="2713686" y="200876"/>
                  </a:lnTo>
                  <a:lnTo>
                    <a:pt x="2713686" y="200228"/>
                  </a:lnTo>
                  <a:lnTo>
                    <a:pt x="2713686" y="200876"/>
                  </a:lnTo>
                  <a:lnTo>
                    <a:pt x="2713686" y="199530"/>
                  </a:lnTo>
                  <a:lnTo>
                    <a:pt x="2713686" y="200228"/>
                  </a:lnTo>
                  <a:lnTo>
                    <a:pt x="2713686" y="199530"/>
                  </a:lnTo>
                  <a:lnTo>
                    <a:pt x="2713737" y="199530"/>
                  </a:lnTo>
                  <a:lnTo>
                    <a:pt x="2713737" y="197447"/>
                  </a:lnTo>
                  <a:lnTo>
                    <a:pt x="2713737" y="200228"/>
                  </a:lnTo>
                  <a:lnTo>
                    <a:pt x="2713737" y="199530"/>
                  </a:lnTo>
                  <a:lnTo>
                    <a:pt x="2713787" y="198831"/>
                  </a:lnTo>
                  <a:lnTo>
                    <a:pt x="2713787" y="197447"/>
                  </a:lnTo>
                  <a:lnTo>
                    <a:pt x="2713787" y="202260"/>
                  </a:lnTo>
                  <a:lnTo>
                    <a:pt x="2713787" y="200228"/>
                  </a:lnTo>
                  <a:lnTo>
                    <a:pt x="2713889" y="200228"/>
                  </a:lnTo>
                  <a:lnTo>
                    <a:pt x="2713889" y="199530"/>
                  </a:lnTo>
                  <a:lnTo>
                    <a:pt x="2713889" y="200876"/>
                  </a:lnTo>
                  <a:lnTo>
                    <a:pt x="2713889" y="200228"/>
                  </a:lnTo>
                  <a:lnTo>
                    <a:pt x="2713940" y="200228"/>
                  </a:lnTo>
                  <a:lnTo>
                    <a:pt x="2713940" y="199530"/>
                  </a:lnTo>
                  <a:lnTo>
                    <a:pt x="2713940" y="200228"/>
                  </a:lnTo>
                  <a:lnTo>
                    <a:pt x="2713940" y="199530"/>
                  </a:lnTo>
                  <a:lnTo>
                    <a:pt x="2713940" y="200876"/>
                  </a:lnTo>
                  <a:lnTo>
                    <a:pt x="2713940" y="200228"/>
                  </a:lnTo>
                  <a:lnTo>
                    <a:pt x="2714041" y="200228"/>
                  </a:lnTo>
                  <a:lnTo>
                    <a:pt x="2714041" y="200876"/>
                  </a:lnTo>
                  <a:lnTo>
                    <a:pt x="2714130" y="200228"/>
                  </a:lnTo>
                  <a:lnTo>
                    <a:pt x="2714130" y="200876"/>
                  </a:lnTo>
                  <a:lnTo>
                    <a:pt x="2714130" y="200228"/>
                  </a:lnTo>
                  <a:lnTo>
                    <a:pt x="2714181" y="199530"/>
                  </a:lnTo>
                  <a:lnTo>
                    <a:pt x="2714181" y="200228"/>
                  </a:lnTo>
                  <a:lnTo>
                    <a:pt x="2714181" y="198831"/>
                  </a:lnTo>
                  <a:lnTo>
                    <a:pt x="2714181" y="199530"/>
                  </a:lnTo>
                  <a:lnTo>
                    <a:pt x="2714232" y="200228"/>
                  </a:lnTo>
                  <a:lnTo>
                    <a:pt x="2714232" y="200876"/>
                  </a:lnTo>
                  <a:lnTo>
                    <a:pt x="2714232" y="199530"/>
                  </a:lnTo>
                  <a:lnTo>
                    <a:pt x="2714232" y="202959"/>
                  </a:lnTo>
                  <a:lnTo>
                    <a:pt x="2714283" y="202959"/>
                  </a:lnTo>
                  <a:lnTo>
                    <a:pt x="2714283" y="202260"/>
                  </a:lnTo>
                  <a:lnTo>
                    <a:pt x="2714283" y="203594"/>
                  </a:lnTo>
                  <a:lnTo>
                    <a:pt x="2714384" y="203594"/>
                  </a:lnTo>
                  <a:lnTo>
                    <a:pt x="2714384" y="202260"/>
                  </a:lnTo>
                  <a:lnTo>
                    <a:pt x="2714384" y="202959"/>
                  </a:lnTo>
                  <a:lnTo>
                    <a:pt x="2714435" y="202959"/>
                  </a:lnTo>
                  <a:lnTo>
                    <a:pt x="2714435" y="202260"/>
                  </a:lnTo>
                  <a:lnTo>
                    <a:pt x="2714435" y="202959"/>
                  </a:lnTo>
                  <a:lnTo>
                    <a:pt x="2714435" y="202260"/>
                  </a:lnTo>
                  <a:lnTo>
                    <a:pt x="2714435" y="202959"/>
                  </a:lnTo>
                  <a:lnTo>
                    <a:pt x="2714435" y="202260"/>
                  </a:lnTo>
                  <a:lnTo>
                    <a:pt x="2714435" y="202959"/>
                  </a:lnTo>
                  <a:lnTo>
                    <a:pt x="2714435" y="202260"/>
                  </a:lnTo>
                  <a:lnTo>
                    <a:pt x="2714435" y="202959"/>
                  </a:lnTo>
                  <a:lnTo>
                    <a:pt x="2714435" y="202260"/>
                  </a:lnTo>
                  <a:lnTo>
                    <a:pt x="2714486" y="202959"/>
                  </a:lnTo>
                  <a:lnTo>
                    <a:pt x="2714486" y="202260"/>
                  </a:lnTo>
                  <a:lnTo>
                    <a:pt x="2714486" y="202959"/>
                  </a:lnTo>
                  <a:lnTo>
                    <a:pt x="2714486" y="202260"/>
                  </a:lnTo>
                  <a:lnTo>
                    <a:pt x="2714486" y="202959"/>
                  </a:lnTo>
                  <a:lnTo>
                    <a:pt x="2714486" y="202260"/>
                  </a:lnTo>
                  <a:lnTo>
                    <a:pt x="2714587" y="202260"/>
                  </a:lnTo>
                  <a:lnTo>
                    <a:pt x="2714587" y="200876"/>
                  </a:lnTo>
                  <a:lnTo>
                    <a:pt x="2714587" y="202260"/>
                  </a:lnTo>
                  <a:lnTo>
                    <a:pt x="2714626" y="202260"/>
                  </a:lnTo>
                  <a:lnTo>
                    <a:pt x="2714626" y="200876"/>
                  </a:lnTo>
                  <a:lnTo>
                    <a:pt x="2714626" y="202260"/>
                  </a:lnTo>
                  <a:lnTo>
                    <a:pt x="2714626" y="200228"/>
                  </a:lnTo>
                  <a:lnTo>
                    <a:pt x="2714676" y="200228"/>
                  </a:lnTo>
                  <a:lnTo>
                    <a:pt x="2714676" y="199530"/>
                  </a:lnTo>
                  <a:lnTo>
                    <a:pt x="2714676" y="202260"/>
                  </a:lnTo>
                  <a:lnTo>
                    <a:pt x="2714676" y="200876"/>
                  </a:lnTo>
                  <a:lnTo>
                    <a:pt x="2714727" y="200228"/>
                  </a:lnTo>
                  <a:lnTo>
                    <a:pt x="2714727" y="199530"/>
                  </a:lnTo>
                  <a:lnTo>
                    <a:pt x="2714727" y="202959"/>
                  </a:lnTo>
                  <a:lnTo>
                    <a:pt x="2714727" y="202260"/>
                  </a:lnTo>
                  <a:lnTo>
                    <a:pt x="2714829" y="202260"/>
                  </a:lnTo>
                  <a:lnTo>
                    <a:pt x="2714829" y="203594"/>
                  </a:lnTo>
                  <a:lnTo>
                    <a:pt x="2714829" y="202260"/>
                  </a:lnTo>
                  <a:lnTo>
                    <a:pt x="2714829" y="202959"/>
                  </a:lnTo>
                  <a:lnTo>
                    <a:pt x="2714880" y="202959"/>
                  </a:lnTo>
                  <a:lnTo>
                    <a:pt x="2714880" y="203594"/>
                  </a:lnTo>
                  <a:lnTo>
                    <a:pt x="2714880" y="202959"/>
                  </a:lnTo>
                  <a:lnTo>
                    <a:pt x="2714880" y="203594"/>
                  </a:lnTo>
                  <a:lnTo>
                    <a:pt x="2714880" y="202959"/>
                  </a:lnTo>
                  <a:lnTo>
                    <a:pt x="2714880" y="203594"/>
                  </a:lnTo>
                  <a:lnTo>
                    <a:pt x="2714880" y="202959"/>
                  </a:lnTo>
                  <a:lnTo>
                    <a:pt x="2714930" y="202959"/>
                  </a:lnTo>
                  <a:lnTo>
                    <a:pt x="2714930" y="203594"/>
                  </a:lnTo>
                  <a:lnTo>
                    <a:pt x="2714930" y="202959"/>
                  </a:lnTo>
                  <a:lnTo>
                    <a:pt x="2714930" y="203594"/>
                  </a:lnTo>
                  <a:lnTo>
                    <a:pt x="2714930" y="202959"/>
                  </a:lnTo>
                  <a:lnTo>
                    <a:pt x="2714930" y="203594"/>
                  </a:lnTo>
                  <a:lnTo>
                    <a:pt x="2715032" y="203594"/>
                  </a:lnTo>
                  <a:lnTo>
                    <a:pt x="2715032" y="202959"/>
                  </a:lnTo>
                  <a:lnTo>
                    <a:pt x="2715032" y="203594"/>
                  </a:lnTo>
                  <a:lnTo>
                    <a:pt x="2715032" y="202260"/>
                  </a:lnTo>
                  <a:lnTo>
                    <a:pt x="2715032" y="202959"/>
                  </a:lnTo>
                  <a:lnTo>
                    <a:pt x="2715083" y="202959"/>
                  </a:lnTo>
                  <a:lnTo>
                    <a:pt x="2715083" y="200876"/>
                  </a:lnTo>
                  <a:lnTo>
                    <a:pt x="2715133" y="200876"/>
                  </a:lnTo>
                  <a:lnTo>
                    <a:pt x="2715133" y="198831"/>
                  </a:lnTo>
                  <a:lnTo>
                    <a:pt x="2715172" y="198831"/>
                  </a:lnTo>
                  <a:lnTo>
                    <a:pt x="2715172" y="197447"/>
                  </a:lnTo>
                  <a:lnTo>
                    <a:pt x="2715172" y="199530"/>
                  </a:lnTo>
                  <a:lnTo>
                    <a:pt x="2715172" y="198831"/>
                  </a:lnTo>
                  <a:lnTo>
                    <a:pt x="2715172" y="199530"/>
                  </a:lnTo>
                  <a:lnTo>
                    <a:pt x="2715273" y="199530"/>
                  </a:lnTo>
                  <a:lnTo>
                    <a:pt x="2715273" y="200876"/>
                  </a:lnTo>
                  <a:lnTo>
                    <a:pt x="2715273" y="200228"/>
                  </a:lnTo>
                  <a:lnTo>
                    <a:pt x="2715324" y="200228"/>
                  </a:lnTo>
                  <a:lnTo>
                    <a:pt x="2715324" y="200876"/>
                  </a:lnTo>
                  <a:lnTo>
                    <a:pt x="2715324" y="200228"/>
                  </a:lnTo>
                  <a:lnTo>
                    <a:pt x="2715324" y="202260"/>
                  </a:lnTo>
                  <a:lnTo>
                    <a:pt x="2715324" y="200876"/>
                  </a:lnTo>
                  <a:lnTo>
                    <a:pt x="2715375" y="200876"/>
                  </a:lnTo>
                  <a:lnTo>
                    <a:pt x="2715375" y="202260"/>
                  </a:lnTo>
                  <a:lnTo>
                    <a:pt x="2715375" y="200876"/>
                  </a:lnTo>
                  <a:lnTo>
                    <a:pt x="2715375" y="202260"/>
                  </a:lnTo>
                  <a:lnTo>
                    <a:pt x="2715476" y="202260"/>
                  </a:lnTo>
                  <a:lnTo>
                    <a:pt x="2715476" y="202959"/>
                  </a:lnTo>
                  <a:lnTo>
                    <a:pt x="2715476" y="202260"/>
                  </a:lnTo>
                  <a:lnTo>
                    <a:pt x="2715476" y="202959"/>
                  </a:lnTo>
                  <a:lnTo>
                    <a:pt x="2715476" y="202260"/>
                  </a:lnTo>
                  <a:lnTo>
                    <a:pt x="2715527" y="202260"/>
                  </a:lnTo>
                  <a:lnTo>
                    <a:pt x="2715527" y="202959"/>
                  </a:lnTo>
                  <a:lnTo>
                    <a:pt x="2715527" y="200876"/>
                  </a:lnTo>
                  <a:lnTo>
                    <a:pt x="2715527" y="202260"/>
                  </a:lnTo>
                  <a:lnTo>
                    <a:pt x="2715527" y="200876"/>
                  </a:lnTo>
                  <a:lnTo>
                    <a:pt x="2715527" y="202959"/>
                  </a:lnTo>
                  <a:lnTo>
                    <a:pt x="2715527" y="202260"/>
                  </a:lnTo>
                  <a:lnTo>
                    <a:pt x="2715527" y="202959"/>
                  </a:lnTo>
                  <a:lnTo>
                    <a:pt x="2715527" y="202260"/>
                  </a:lnTo>
                  <a:lnTo>
                    <a:pt x="2715578" y="202260"/>
                  </a:lnTo>
                  <a:lnTo>
                    <a:pt x="2715578" y="202959"/>
                  </a:lnTo>
                  <a:lnTo>
                    <a:pt x="2715578" y="200228"/>
                  </a:lnTo>
                  <a:lnTo>
                    <a:pt x="2715629" y="200228"/>
                  </a:lnTo>
                  <a:lnTo>
                    <a:pt x="2715629" y="199530"/>
                  </a:lnTo>
                  <a:lnTo>
                    <a:pt x="2715718" y="199530"/>
                  </a:lnTo>
                  <a:lnTo>
                    <a:pt x="2715718" y="200228"/>
                  </a:lnTo>
                  <a:lnTo>
                    <a:pt x="2715718" y="198831"/>
                  </a:lnTo>
                  <a:lnTo>
                    <a:pt x="2715718" y="200876"/>
                  </a:lnTo>
                  <a:lnTo>
                    <a:pt x="2715769" y="200876"/>
                  </a:lnTo>
                  <a:lnTo>
                    <a:pt x="2715769" y="200228"/>
                  </a:lnTo>
                  <a:lnTo>
                    <a:pt x="2715769" y="200876"/>
                  </a:lnTo>
                  <a:lnTo>
                    <a:pt x="2715769" y="200228"/>
                  </a:lnTo>
                  <a:lnTo>
                    <a:pt x="2715769" y="200876"/>
                  </a:lnTo>
                  <a:lnTo>
                    <a:pt x="2715769" y="200228"/>
                  </a:lnTo>
                  <a:lnTo>
                    <a:pt x="2715769" y="200876"/>
                  </a:lnTo>
                  <a:lnTo>
                    <a:pt x="2715819" y="200876"/>
                  </a:lnTo>
                  <a:lnTo>
                    <a:pt x="2715819" y="200228"/>
                  </a:lnTo>
                  <a:lnTo>
                    <a:pt x="2715819" y="200876"/>
                  </a:lnTo>
                  <a:lnTo>
                    <a:pt x="2715870" y="200876"/>
                  </a:lnTo>
                  <a:lnTo>
                    <a:pt x="2715870" y="202260"/>
                  </a:lnTo>
                  <a:lnTo>
                    <a:pt x="2715870" y="200876"/>
                  </a:lnTo>
                  <a:lnTo>
                    <a:pt x="2715870" y="202260"/>
                  </a:lnTo>
                  <a:lnTo>
                    <a:pt x="2715972" y="200876"/>
                  </a:lnTo>
                  <a:lnTo>
                    <a:pt x="2715972" y="202260"/>
                  </a:lnTo>
                  <a:lnTo>
                    <a:pt x="2715972" y="200876"/>
                  </a:lnTo>
                  <a:lnTo>
                    <a:pt x="2715972" y="202260"/>
                  </a:lnTo>
                  <a:lnTo>
                    <a:pt x="2716022" y="202260"/>
                  </a:lnTo>
                  <a:lnTo>
                    <a:pt x="2716022" y="200876"/>
                  </a:lnTo>
                  <a:lnTo>
                    <a:pt x="2716073" y="200876"/>
                  </a:lnTo>
                  <a:lnTo>
                    <a:pt x="2716073" y="202260"/>
                  </a:lnTo>
                  <a:lnTo>
                    <a:pt x="2716073" y="199530"/>
                  </a:lnTo>
                  <a:lnTo>
                    <a:pt x="2716175" y="199530"/>
                  </a:lnTo>
                  <a:lnTo>
                    <a:pt x="2716175" y="196799"/>
                  </a:lnTo>
                  <a:lnTo>
                    <a:pt x="2716175" y="197447"/>
                  </a:lnTo>
                  <a:lnTo>
                    <a:pt x="2716175" y="196799"/>
                  </a:lnTo>
                  <a:lnTo>
                    <a:pt x="2716213" y="197447"/>
                  </a:lnTo>
                  <a:lnTo>
                    <a:pt x="2716213" y="198831"/>
                  </a:lnTo>
                  <a:lnTo>
                    <a:pt x="2716213" y="197447"/>
                  </a:lnTo>
                  <a:lnTo>
                    <a:pt x="2716213" y="200228"/>
                  </a:lnTo>
                  <a:lnTo>
                    <a:pt x="2716264" y="200228"/>
                  </a:lnTo>
                  <a:lnTo>
                    <a:pt x="2716264" y="199530"/>
                  </a:lnTo>
                  <a:lnTo>
                    <a:pt x="2716264" y="200228"/>
                  </a:lnTo>
                  <a:lnTo>
                    <a:pt x="2716315" y="200228"/>
                  </a:lnTo>
                  <a:lnTo>
                    <a:pt x="2716315" y="200876"/>
                  </a:lnTo>
                  <a:lnTo>
                    <a:pt x="2716315" y="200228"/>
                  </a:lnTo>
                  <a:lnTo>
                    <a:pt x="2716416" y="200228"/>
                  </a:lnTo>
                  <a:lnTo>
                    <a:pt x="2716416" y="200876"/>
                  </a:lnTo>
                  <a:lnTo>
                    <a:pt x="2716416" y="200228"/>
                  </a:lnTo>
                  <a:lnTo>
                    <a:pt x="2716416" y="200876"/>
                  </a:lnTo>
                  <a:lnTo>
                    <a:pt x="2716416" y="200228"/>
                  </a:lnTo>
                  <a:lnTo>
                    <a:pt x="2716416" y="200876"/>
                  </a:lnTo>
                  <a:lnTo>
                    <a:pt x="2716416" y="200228"/>
                  </a:lnTo>
                  <a:lnTo>
                    <a:pt x="2716467" y="200876"/>
                  </a:lnTo>
                  <a:lnTo>
                    <a:pt x="2716467" y="202260"/>
                  </a:lnTo>
                  <a:lnTo>
                    <a:pt x="2716467" y="200876"/>
                  </a:lnTo>
                  <a:lnTo>
                    <a:pt x="2716467" y="202260"/>
                  </a:lnTo>
                  <a:lnTo>
                    <a:pt x="2716467" y="200876"/>
                  </a:lnTo>
                  <a:lnTo>
                    <a:pt x="2716467" y="202260"/>
                  </a:lnTo>
                  <a:lnTo>
                    <a:pt x="2716518" y="202260"/>
                  </a:lnTo>
                  <a:lnTo>
                    <a:pt x="2716518" y="200876"/>
                  </a:lnTo>
                  <a:lnTo>
                    <a:pt x="2716518" y="202260"/>
                  </a:lnTo>
                  <a:lnTo>
                    <a:pt x="2716518" y="200876"/>
                  </a:lnTo>
                  <a:lnTo>
                    <a:pt x="2716518" y="202260"/>
                  </a:lnTo>
                  <a:lnTo>
                    <a:pt x="2716518" y="200876"/>
                  </a:lnTo>
                  <a:lnTo>
                    <a:pt x="2716619" y="200876"/>
                  </a:lnTo>
                  <a:lnTo>
                    <a:pt x="2716619" y="200228"/>
                  </a:lnTo>
                  <a:lnTo>
                    <a:pt x="2716619" y="200876"/>
                  </a:lnTo>
                  <a:lnTo>
                    <a:pt x="2716619" y="200228"/>
                  </a:lnTo>
                  <a:lnTo>
                    <a:pt x="2716619" y="200876"/>
                  </a:lnTo>
                  <a:lnTo>
                    <a:pt x="2716619" y="199530"/>
                  </a:lnTo>
                  <a:lnTo>
                    <a:pt x="2716670" y="199530"/>
                  </a:lnTo>
                  <a:lnTo>
                    <a:pt x="2716670" y="196799"/>
                  </a:lnTo>
                  <a:lnTo>
                    <a:pt x="2716670" y="197447"/>
                  </a:lnTo>
                  <a:lnTo>
                    <a:pt x="2716721" y="198831"/>
                  </a:lnTo>
                  <a:lnTo>
                    <a:pt x="2716721" y="199530"/>
                  </a:lnTo>
                  <a:lnTo>
                    <a:pt x="2716721" y="196113"/>
                  </a:lnTo>
                  <a:lnTo>
                    <a:pt x="2716721" y="200228"/>
                  </a:lnTo>
                  <a:lnTo>
                    <a:pt x="2716759" y="199530"/>
                  </a:lnTo>
                  <a:lnTo>
                    <a:pt x="2716759" y="196799"/>
                  </a:lnTo>
                  <a:lnTo>
                    <a:pt x="2716759" y="199530"/>
                  </a:lnTo>
                  <a:lnTo>
                    <a:pt x="2716861" y="199530"/>
                  </a:lnTo>
                  <a:lnTo>
                    <a:pt x="2716861" y="198831"/>
                  </a:lnTo>
                  <a:lnTo>
                    <a:pt x="2716861" y="199530"/>
                  </a:lnTo>
                  <a:lnTo>
                    <a:pt x="2716861" y="198831"/>
                  </a:lnTo>
                  <a:lnTo>
                    <a:pt x="2716861" y="199530"/>
                  </a:lnTo>
                  <a:lnTo>
                    <a:pt x="2716912" y="199530"/>
                  </a:lnTo>
                  <a:lnTo>
                    <a:pt x="2716912" y="198831"/>
                  </a:lnTo>
                  <a:lnTo>
                    <a:pt x="2716912" y="200228"/>
                  </a:lnTo>
                  <a:lnTo>
                    <a:pt x="2716912" y="199530"/>
                  </a:lnTo>
                  <a:lnTo>
                    <a:pt x="2716962" y="200228"/>
                  </a:lnTo>
                  <a:lnTo>
                    <a:pt x="2716962" y="199530"/>
                  </a:lnTo>
                  <a:lnTo>
                    <a:pt x="2716962" y="200876"/>
                  </a:lnTo>
                  <a:lnTo>
                    <a:pt x="2716962" y="199530"/>
                  </a:lnTo>
                  <a:lnTo>
                    <a:pt x="2717064" y="200228"/>
                  </a:lnTo>
                  <a:lnTo>
                    <a:pt x="2717064" y="200876"/>
                  </a:lnTo>
                  <a:lnTo>
                    <a:pt x="2717064" y="200228"/>
                  </a:lnTo>
                  <a:lnTo>
                    <a:pt x="2717064" y="200876"/>
                  </a:lnTo>
                  <a:lnTo>
                    <a:pt x="2717064" y="200228"/>
                  </a:lnTo>
                  <a:lnTo>
                    <a:pt x="2717115" y="200228"/>
                  </a:lnTo>
                  <a:lnTo>
                    <a:pt x="2717115" y="199530"/>
                  </a:lnTo>
                  <a:lnTo>
                    <a:pt x="2717115" y="200228"/>
                  </a:lnTo>
                  <a:lnTo>
                    <a:pt x="2717115" y="199530"/>
                  </a:lnTo>
                  <a:lnTo>
                    <a:pt x="2717165" y="198831"/>
                  </a:lnTo>
                  <a:lnTo>
                    <a:pt x="2717165" y="196799"/>
                  </a:lnTo>
                  <a:lnTo>
                    <a:pt x="2717165" y="198831"/>
                  </a:lnTo>
                  <a:lnTo>
                    <a:pt x="2717216" y="198831"/>
                  </a:lnTo>
                  <a:lnTo>
                    <a:pt x="2717216" y="196113"/>
                  </a:lnTo>
                  <a:lnTo>
                    <a:pt x="2717216" y="200228"/>
                  </a:lnTo>
                  <a:lnTo>
                    <a:pt x="2717216" y="199530"/>
                  </a:lnTo>
                  <a:lnTo>
                    <a:pt x="2717305" y="199530"/>
                  </a:lnTo>
                  <a:lnTo>
                    <a:pt x="2717305" y="197447"/>
                  </a:lnTo>
                  <a:lnTo>
                    <a:pt x="2717305" y="199530"/>
                  </a:lnTo>
                  <a:lnTo>
                    <a:pt x="2717356" y="199530"/>
                  </a:lnTo>
                  <a:lnTo>
                    <a:pt x="2717356" y="198831"/>
                  </a:lnTo>
                  <a:lnTo>
                    <a:pt x="2717356" y="199530"/>
                  </a:lnTo>
                  <a:lnTo>
                    <a:pt x="2717356" y="198831"/>
                  </a:lnTo>
                  <a:lnTo>
                    <a:pt x="2717356" y="199530"/>
                  </a:lnTo>
                  <a:lnTo>
                    <a:pt x="2717356" y="198831"/>
                  </a:lnTo>
                  <a:lnTo>
                    <a:pt x="2717356" y="199530"/>
                  </a:lnTo>
                  <a:lnTo>
                    <a:pt x="2717407" y="199530"/>
                  </a:lnTo>
                  <a:lnTo>
                    <a:pt x="2717407" y="200228"/>
                  </a:lnTo>
                  <a:lnTo>
                    <a:pt x="2717407" y="199530"/>
                  </a:lnTo>
                  <a:lnTo>
                    <a:pt x="2717407" y="200228"/>
                  </a:lnTo>
                  <a:lnTo>
                    <a:pt x="2717458" y="200228"/>
                  </a:lnTo>
                  <a:lnTo>
                    <a:pt x="2717458" y="199530"/>
                  </a:lnTo>
                  <a:lnTo>
                    <a:pt x="2717458" y="200228"/>
                  </a:lnTo>
                  <a:lnTo>
                    <a:pt x="2717559" y="200228"/>
                  </a:lnTo>
                  <a:lnTo>
                    <a:pt x="2717559" y="200876"/>
                  </a:lnTo>
                  <a:lnTo>
                    <a:pt x="2717559" y="200228"/>
                  </a:lnTo>
                  <a:lnTo>
                    <a:pt x="2717559" y="200876"/>
                  </a:lnTo>
                  <a:lnTo>
                    <a:pt x="2717559" y="200228"/>
                  </a:lnTo>
                  <a:lnTo>
                    <a:pt x="2717610" y="200228"/>
                  </a:lnTo>
                  <a:lnTo>
                    <a:pt x="2717610" y="199530"/>
                  </a:lnTo>
                  <a:lnTo>
                    <a:pt x="2717610" y="200228"/>
                  </a:lnTo>
                  <a:lnTo>
                    <a:pt x="2717610" y="198831"/>
                  </a:lnTo>
                  <a:lnTo>
                    <a:pt x="2717661" y="198831"/>
                  </a:lnTo>
                  <a:lnTo>
                    <a:pt x="2717661" y="197447"/>
                  </a:lnTo>
                  <a:lnTo>
                    <a:pt x="2717661" y="198831"/>
                  </a:lnTo>
                  <a:lnTo>
                    <a:pt x="2717661" y="196799"/>
                  </a:lnTo>
                  <a:lnTo>
                    <a:pt x="2717661" y="197447"/>
                  </a:lnTo>
                  <a:lnTo>
                    <a:pt x="2717762" y="197447"/>
                  </a:lnTo>
                  <a:lnTo>
                    <a:pt x="2717762" y="199530"/>
                  </a:lnTo>
                  <a:lnTo>
                    <a:pt x="2717762" y="196799"/>
                  </a:lnTo>
                  <a:lnTo>
                    <a:pt x="2717762" y="199530"/>
                  </a:lnTo>
                  <a:lnTo>
                    <a:pt x="2717762" y="198831"/>
                  </a:lnTo>
                  <a:lnTo>
                    <a:pt x="2717801" y="198831"/>
                  </a:lnTo>
                  <a:lnTo>
                    <a:pt x="2717801" y="199530"/>
                  </a:lnTo>
                  <a:lnTo>
                    <a:pt x="2717801" y="198831"/>
                  </a:lnTo>
                  <a:lnTo>
                    <a:pt x="2717801" y="199530"/>
                  </a:lnTo>
                  <a:lnTo>
                    <a:pt x="2717851" y="199530"/>
                  </a:lnTo>
                  <a:lnTo>
                    <a:pt x="2717851" y="198831"/>
                  </a:lnTo>
                  <a:lnTo>
                    <a:pt x="2717851" y="199530"/>
                  </a:lnTo>
                  <a:lnTo>
                    <a:pt x="2717902" y="199530"/>
                  </a:lnTo>
                  <a:lnTo>
                    <a:pt x="2717902" y="198831"/>
                  </a:lnTo>
                  <a:lnTo>
                    <a:pt x="2717902" y="200228"/>
                  </a:lnTo>
                  <a:lnTo>
                    <a:pt x="2717902" y="199530"/>
                  </a:lnTo>
                  <a:lnTo>
                    <a:pt x="2717902" y="200228"/>
                  </a:lnTo>
                  <a:lnTo>
                    <a:pt x="2717902" y="199530"/>
                  </a:lnTo>
                  <a:lnTo>
                    <a:pt x="2717902" y="200228"/>
                  </a:lnTo>
                  <a:lnTo>
                    <a:pt x="2717902" y="199530"/>
                  </a:lnTo>
                  <a:lnTo>
                    <a:pt x="2717902" y="200228"/>
                  </a:lnTo>
                  <a:lnTo>
                    <a:pt x="2718004" y="200228"/>
                  </a:lnTo>
                  <a:lnTo>
                    <a:pt x="2718004" y="199530"/>
                  </a:lnTo>
                  <a:lnTo>
                    <a:pt x="2718004" y="200228"/>
                  </a:lnTo>
                  <a:lnTo>
                    <a:pt x="2718055" y="200228"/>
                  </a:lnTo>
                  <a:lnTo>
                    <a:pt x="2718055" y="199530"/>
                  </a:lnTo>
                  <a:lnTo>
                    <a:pt x="2718105" y="199530"/>
                  </a:lnTo>
                  <a:lnTo>
                    <a:pt x="2718105" y="197447"/>
                  </a:lnTo>
                  <a:lnTo>
                    <a:pt x="2718207" y="197447"/>
                  </a:lnTo>
                  <a:lnTo>
                    <a:pt x="2718207" y="196799"/>
                  </a:lnTo>
                  <a:lnTo>
                    <a:pt x="2718207" y="197447"/>
                  </a:lnTo>
                  <a:lnTo>
                    <a:pt x="2718207" y="196113"/>
                  </a:lnTo>
                  <a:lnTo>
                    <a:pt x="2718207" y="197447"/>
                  </a:lnTo>
                  <a:lnTo>
                    <a:pt x="2718258" y="198831"/>
                  </a:lnTo>
                  <a:lnTo>
                    <a:pt x="2718258" y="196799"/>
                  </a:lnTo>
                  <a:lnTo>
                    <a:pt x="2718258" y="200228"/>
                  </a:lnTo>
                  <a:lnTo>
                    <a:pt x="2718308" y="200228"/>
                  </a:lnTo>
                  <a:lnTo>
                    <a:pt x="2718308" y="197447"/>
                  </a:lnTo>
                  <a:lnTo>
                    <a:pt x="2718308" y="198831"/>
                  </a:lnTo>
                  <a:lnTo>
                    <a:pt x="2718308" y="197447"/>
                  </a:lnTo>
                  <a:lnTo>
                    <a:pt x="2718308" y="200228"/>
                  </a:lnTo>
                  <a:lnTo>
                    <a:pt x="2718308" y="199530"/>
                  </a:lnTo>
                  <a:lnTo>
                    <a:pt x="2718347" y="200228"/>
                  </a:lnTo>
                  <a:lnTo>
                    <a:pt x="2718347" y="198831"/>
                  </a:lnTo>
                  <a:lnTo>
                    <a:pt x="2718347" y="199530"/>
                  </a:lnTo>
                  <a:lnTo>
                    <a:pt x="2718448" y="199530"/>
                  </a:lnTo>
                  <a:lnTo>
                    <a:pt x="2718448" y="200228"/>
                  </a:lnTo>
                  <a:lnTo>
                    <a:pt x="2718448" y="199530"/>
                  </a:lnTo>
                  <a:lnTo>
                    <a:pt x="2718448" y="200228"/>
                  </a:lnTo>
                  <a:lnTo>
                    <a:pt x="2718499" y="200228"/>
                  </a:lnTo>
                  <a:lnTo>
                    <a:pt x="2718499" y="199530"/>
                  </a:lnTo>
                  <a:lnTo>
                    <a:pt x="2718499" y="200228"/>
                  </a:lnTo>
                  <a:lnTo>
                    <a:pt x="2718499" y="199530"/>
                  </a:lnTo>
                  <a:lnTo>
                    <a:pt x="2718499" y="200228"/>
                  </a:lnTo>
                  <a:lnTo>
                    <a:pt x="2718499" y="199530"/>
                  </a:lnTo>
                  <a:lnTo>
                    <a:pt x="2718499" y="200228"/>
                  </a:lnTo>
                  <a:lnTo>
                    <a:pt x="2718550" y="200228"/>
                  </a:lnTo>
                  <a:lnTo>
                    <a:pt x="2718550" y="199530"/>
                  </a:lnTo>
                  <a:lnTo>
                    <a:pt x="2718651" y="199530"/>
                  </a:lnTo>
                  <a:lnTo>
                    <a:pt x="2718651" y="200228"/>
                  </a:lnTo>
                  <a:lnTo>
                    <a:pt x="2718651" y="198831"/>
                  </a:lnTo>
                  <a:lnTo>
                    <a:pt x="2718651" y="199530"/>
                  </a:lnTo>
                  <a:lnTo>
                    <a:pt x="2718651" y="198831"/>
                  </a:lnTo>
                  <a:lnTo>
                    <a:pt x="2718702" y="198831"/>
                  </a:lnTo>
                  <a:lnTo>
                    <a:pt x="2718702" y="196799"/>
                  </a:lnTo>
                  <a:lnTo>
                    <a:pt x="2718702" y="198831"/>
                  </a:lnTo>
                  <a:lnTo>
                    <a:pt x="2718753" y="198831"/>
                  </a:lnTo>
                  <a:lnTo>
                    <a:pt x="2718753" y="196799"/>
                  </a:lnTo>
                  <a:lnTo>
                    <a:pt x="2718753" y="199530"/>
                  </a:lnTo>
                  <a:lnTo>
                    <a:pt x="2718804" y="199530"/>
                  </a:lnTo>
                  <a:lnTo>
                    <a:pt x="2718804" y="197447"/>
                  </a:lnTo>
                  <a:lnTo>
                    <a:pt x="2718804" y="200228"/>
                  </a:lnTo>
                  <a:lnTo>
                    <a:pt x="2718804" y="198831"/>
                  </a:lnTo>
                  <a:lnTo>
                    <a:pt x="2718893" y="199530"/>
                  </a:lnTo>
                  <a:lnTo>
                    <a:pt x="2718893" y="198831"/>
                  </a:lnTo>
                  <a:lnTo>
                    <a:pt x="2718893" y="199530"/>
                  </a:lnTo>
                  <a:lnTo>
                    <a:pt x="2718944" y="199530"/>
                  </a:lnTo>
                  <a:lnTo>
                    <a:pt x="2718944" y="200228"/>
                  </a:lnTo>
                  <a:lnTo>
                    <a:pt x="2718944" y="199530"/>
                  </a:lnTo>
                  <a:lnTo>
                    <a:pt x="2718944" y="200228"/>
                  </a:lnTo>
                  <a:lnTo>
                    <a:pt x="2718944" y="199530"/>
                  </a:lnTo>
                  <a:lnTo>
                    <a:pt x="2718994" y="200228"/>
                  </a:lnTo>
                  <a:lnTo>
                    <a:pt x="2719045" y="200228"/>
                  </a:lnTo>
                  <a:lnTo>
                    <a:pt x="2719045" y="199530"/>
                  </a:lnTo>
                  <a:lnTo>
                    <a:pt x="2719045" y="200228"/>
                  </a:lnTo>
                  <a:lnTo>
                    <a:pt x="2719045" y="199530"/>
                  </a:lnTo>
                  <a:lnTo>
                    <a:pt x="2719045" y="200228"/>
                  </a:lnTo>
                  <a:lnTo>
                    <a:pt x="2719045" y="199530"/>
                  </a:lnTo>
                  <a:lnTo>
                    <a:pt x="2719045" y="200228"/>
                  </a:lnTo>
                  <a:lnTo>
                    <a:pt x="2719045" y="199530"/>
                  </a:lnTo>
                  <a:lnTo>
                    <a:pt x="2719147" y="199530"/>
                  </a:lnTo>
                  <a:lnTo>
                    <a:pt x="2719147" y="197447"/>
                  </a:lnTo>
                  <a:lnTo>
                    <a:pt x="2719197" y="197447"/>
                  </a:lnTo>
                  <a:lnTo>
                    <a:pt x="2719197" y="196113"/>
                  </a:lnTo>
                  <a:lnTo>
                    <a:pt x="2719197" y="197447"/>
                  </a:lnTo>
                  <a:lnTo>
                    <a:pt x="2719248" y="197447"/>
                  </a:lnTo>
                  <a:lnTo>
                    <a:pt x="2719248" y="195415"/>
                  </a:lnTo>
                  <a:lnTo>
                    <a:pt x="2719248" y="199530"/>
                  </a:lnTo>
                  <a:lnTo>
                    <a:pt x="2719248" y="198831"/>
                  </a:lnTo>
                  <a:lnTo>
                    <a:pt x="2719350" y="198831"/>
                  </a:lnTo>
                  <a:lnTo>
                    <a:pt x="2719350" y="196799"/>
                  </a:lnTo>
                  <a:lnTo>
                    <a:pt x="2719350" y="199530"/>
                  </a:lnTo>
                  <a:lnTo>
                    <a:pt x="2719388" y="199530"/>
                  </a:lnTo>
                  <a:lnTo>
                    <a:pt x="2719388" y="198831"/>
                  </a:lnTo>
                  <a:lnTo>
                    <a:pt x="2719388" y="199530"/>
                  </a:lnTo>
                  <a:lnTo>
                    <a:pt x="2719388" y="198831"/>
                  </a:lnTo>
                  <a:lnTo>
                    <a:pt x="2719388" y="199530"/>
                  </a:lnTo>
                  <a:lnTo>
                    <a:pt x="2719388" y="198831"/>
                  </a:lnTo>
                  <a:lnTo>
                    <a:pt x="2719388" y="199530"/>
                  </a:lnTo>
                  <a:lnTo>
                    <a:pt x="2719439" y="198831"/>
                  </a:lnTo>
                  <a:lnTo>
                    <a:pt x="2719439" y="200228"/>
                  </a:lnTo>
                  <a:lnTo>
                    <a:pt x="2719439" y="199530"/>
                  </a:lnTo>
                  <a:lnTo>
                    <a:pt x="2719439" y="200228"/>
                  </a:lnTo>
                  <a:lnTo>
                    <a:pt x="2719490" y="200228"/>
                  </a:lnTo>
                  <a:lnTo>
                    <a:pt x="2719490" y="199530"/>
                  </a:lnTo>
                  <a:lnTo>
                    <a:pt x="2719490" y="200228"/>
                  </a:lnTo>
                  <a:lnTo>
                    <a:pt x="2719490" y="199530"/>
                  </a:lnTo>
                  <a:lnTo>
                    <a:pt x="2719490" y="200228"/>
                  </a:lnTo>
                  <a:lnTo>
                    <a:pt x="2719490" y="199530"/>
                  </a:lnTo>
                  <a:lnTo>
                    <a:pt x="2719490" y="200228"/>
                  </a:lnTo>
                  <a:lnTo>
                    <a:pt x="2719591" y="200228"/>
                  </a:lnTo>
                  <a:lnTo>
                    <a:pt x="2719591" y="199530"/>
                  </a:lnTo>
                  <a:lnTo>
                    <a:pt x="2719591" y="200228"/>
                  </a:lnTo>
                  <a:lnTo>
                    <a:pt x="2719591" y="199530"/>
                  </a:lnTo>
                  <a:lnTo>
                    <a:pt x="2719642" y="200228"/>
                  </a:lnTo>
                  <a:lnTo>
                    <a:pt x="2719642" y="199530"/>
                  </a:lnTo>
                  <a:lnTo>
                    <a:pt x="2719642" y="200228"/>
                  </a:lnTo>
                  <a:lnTo>
                    <a:pt x="2719642" y="197447"/>
                  </a:lnTo>
                  <a:lnTo>
                    <a:pt x="2719693" y="197447"/>
                  </a:lnTo>
                  <a:lnTo>
                    <a:pt x="2719693" y="196799"/>
                  </a:lnTo>
                  <a:lnTo>
                    <a:pt x="2719693" y="198831"/>
                  </a:lnTo>
                  <a:lnTo>
                    <a:pt x="2719693" y="196799"/>
                  </a:lnTo>
                  <a:lnTo>
                    <a:pt x="2719693" y="197447"/>
                  </a:lnTo>
                  <a:lnTo>
                    <a:pt x="2719693" y="196799"/>
                  </a:lnTo>
                  <a:lnTo>
                    <a:pt x="2719794" y="196799"/>
                  </a:lnTo>
                  <a:lnTo>
                    <a:pt x="2719794" y="196113"/>
                  </a:lnTo>
                  <a:lnTo>
                    <a:pt x="2719794" y="199530"/>
                  </a:lnTo>
                  <a:lnTo>
                    <a:pt x="2719794" y="197447"/>
                  </a:lnTo>
                  <a:lnTo>
                    <a:pt x="2719845" y="196799"/>
                  </a:lnTo>
                  <a:lnTo>
                    <a:pt x="2719845" y="199530"/>
                  </a:lnTo>
                  <a:lnTo>
                    <a:pt x="2719845" y="197447"/>
                  </a:lnTo>
                  <a:lnTo>
                    <a:pt x="2719896" y="197447"/>
                  </a:lnTo>
                  <a:lnTo>
                    <a:pt x="2719896" y="199530"/>
                  </a:lnTo>
                  <a:lnTo>
                    <a:pt x="2719896" y="198831"/>
                  </a:lnTo>
                  <a:lnTo>
                    <a:pt x="2719896" y="199530"/>
                  </a:lnTo>
                  <a:lnTo>
                    <a:pt x="2719934" y="199530"/>
                  </a:lnTo>
                  <a:lnTo>
                    <a:pt x="2719934" y="198831"/>
                  </a:lnTo>
                  <a:lnTo>
                    <a:pt x="2719934" y="199530"/>
                  </a:lnTo>
                  <a:lnTo>
                    <a:pt x="2720036" y="199530"/>
                  </a:lnTo>
                  <a:lnTo>
                    <a:pt x="2720036" y="200228"/>
                  </a:lnTo>
                  <a:lnTo>
                    <a:pt x="2720036" y="199530"/>
                  </a:lnTo>
                  <a:lnTo>
                    <a:pt x="2720036" y="200228"/>
                  </a:lnTo>
                  <a:lnTo>
                    <a:pt x="2720087" y="200228"/>
                  </a:lnTo>
                  <a:lnTo>
                    <a:pt x="2720087" y="199530"/>
                  </a:lnTo>
                  <a:lnTo>
                    <a:pt x="2720087" y="200228"/>
                  </a:lnTo>
                  <a:lnTo>
                    <a:pt x="2720137" y="199530"/>
                  </a:lnTo>
                  <a:lnTo>
                    <a:pt x="2720137" y="198831"/>
                  </a:lnTo>
                  <a:lnTo>
                    <a:pt x="2720137" y="199530"/>
                  </a:lnTo>
                  <a:lnTo>
                    <a:pt x="2720137" y="197447"/>
                  </a:lnTo>
                  <a:lnTo>
                    <a:pt x="2720239" y="197447"/>
                  </a:lnTo>
                  <a:lnTo>
                    <a:pt x="2720239" y="196799"/>
                  </a:lnTo>
                  <a:lnTo>
                    <a:pt x="2720239" y="199530"/>
                  </a:lnTo>
                  <a:lnTo>
                    <a:pt x="2720239" y="196113"/>
                  </a:lnTo>
                  <a:lnTo>
                    <a:pt x="2720290" y="196799"/>
                  </a:lnTo>
                  <a:lnTo>
                    <a:pt x="2720290" y="200228"/>
                  </a:lnTo>
                  <a:lnTo>
                    <a:pt x="2720290" y="198831"/>
                  </a:lnTo>
                  <a:lnTo>
                    <a:pt x="2720340" y="198831"/>
                  </a:lnTo>
                  <a:lnTo>
                    <a:pt x="2720340" y="200228"/>
                  </a:lnTo>
                  <a:lnTo>
                    <a:pt x="2720340" y="199530"/>
                  </a:lnTo>
                  <a:lnTo>
                    <a:pt x="2720391" y="199530"/>
                  </a:lnTo>
                  <a:lnTo>
                    <a:pt x="2720391" y="200876"/>
                  </a:lnTo>
                  <a:lnTo>
                    <a:pt x="2720391" y="199530"/>
                  </a:lnTo>
                  <a:lnTo>
                    <a:pt x="2720391" y="200228"/>
                  </a:lnTo>
                  <a:lnTo>
                    <a:pt x="2720391" y="199530"/>
                  </a:lnTo>
                  <a:lnTo>
                    <a:pt x="2720480" y="199530"/>
                  </a:lnTo>
                  <a:lnTo>
                    <a:pt x="2720480" y="200876"/>
                  </a:lnTo>
                  <a:lnTo>
                    <a:pt x="2720531" y="200876"/>
                  </a:lnTo>
                  <a:lnTo>
                    <a:pt x="2720531" y="200228"/>
                  </a:lnTo>
                  <a:lnTo>
                    <a:pt x="2720531" y="200876"/>
                  </a:lnTo>
                  <a:lnTo>
                    <a:pt x="2720531" y="200228"/>
                  </a:lnTo>
                  <a:lnTo>
                    <a:pt x="2720582" y="200228"/>
                  </a:lnTo>
                  <a:lnTo>
                    <a:pt x="2720582" y="200876"/>
                  </a:lnTo>
                  <a:lnTo>
                    <a:pt x="2720582" y="200228"/>
                  </a:lnTo>
                  <a:lnTo>
                    <a:pt x="2720633" y="200228"/>
                  </a:lnTo>
                  <a:lnTo>
                    <a:pt x="2720633" y="199530"/>
                  </a:lnTo>
                  <a:lnTo>
                    <a:pt x="2720633" y="200876"/>
                  </a:lnTo>
                  <a:lnTo>
                    <a:pt x="2720734" y="200876"/>
                  </a:lnTo>
                  <a:lnTo>
                    <a:pt x="2720734" y="199530"/>
                  </a:lnTo>
                  <a:lnTo>
                    <a:pt x="2720734" y="202959"/>
                  </a:lnTo>
                  <a:lnTo>
                    <a:pt x="2720785" y="202959"/>
                  </a:lnTo>
                  <a:lnTo>
                    <a:pt x="2720785" y="200228"/>
                  </a:lnTo>
                  <a:lnTo>
                    <a:pt x="2720785" y="202260"/>
                  </a:lnTo>
                  <a:lnTo>
                    <a:pt x="2720836" y="202260"/>
                  </a:lnTo>
                  <a:lnTo>
                    <a:pt x="2720836" y="200876"/>
                  </a:lnTo>
                  <a:lnTo>
                    <a:pt x="2720836" y="202260"/>
                  </a:lnTo>
                  <a:lnTo>
                    <a:pt x="2720836" y="200876"/>
                  </a:lnTo>
                  <a:lnTo>
                    <a:pt x="2720836" y="202260"/>
                  </a:lnTo>
                  <a:lnTo>
                    <a:pt x="2720937" y="202260"/>
                  </a:lnTo>
                  <a:lnTo>
                    <a:pt x="2720937" y="200228"/>
                  </a:lnTo>
                  <a:lnTo>
                    <a:pt x="2720937" y="200876"/>
                  </a:lnTo>
                  <a:lnTo>
                    <a:pt x="2720937" y="200228"/>
                  </a:lnTo>
                  <a:lnTo>
                    <a:pt x="2720937" y="202260"/>
                  </a:lnTo>
                  <a:lnTo>
                    <a:pt x="2720976" y="200876"/>
                  </a:lnTo>
                  <a:lnTo>
                    <a:pt x="2720976" y="202260"/>
                  </a:lnTo>
                  <a:lnTo>
                    <a:pt x="2720976" y="200876"/>
                  </a:lnTo>
                  <a:lnTo>
                    <a:pt x="2721026" y="200876"/>
                  </a:lnTo>
                  <a:lnTo>
                    <a:pt x="2721026" y="200228"/>
                  </a:lnTo>
                  <a:lnTo>
                    <a:pt x="2721026" y="200876"/>
                  </a:lnTo>
                  <a:lnTo>
                    <a:pt x="2721026" y="200228"/>
                  </a:lnTo>
                  <a:lnTo>
                    <a:pt x="2721077" y="200228"/>
                  </a:lnTo>
                  <a:lnTo>
                    <a:pt x="2721077" y="198831"/>
                  </a:lnTo>
                  <a:lnTo>
                    <a:pt x="2721179" y="198831"/>
                  </a:lnTo>
                  <a:lnTo>
                    <a:pt x="2721179" y="197447"/>
                  </a:lnTo>
                  <a:lnTo>
                    <a:pt x="2721179" y="199530"/>
                  </a:lnTo>
                  <a:lnTo>
                    <a:pt x="2721230" y="199530"/>
                  </a:lnTo>
                  <a:lnTo>
                    <a:pt x="2721230" y="198831"/>
                  </a:lnTo>
                  <a:lnTo>
                    <a:pt x="2721230" y="200876"/>
                  </a:lnTo>
                  <a:lnTo>
                    <a:pt x="2721230" y="200228"/>
                  </a:lnTo>
                  <a:lnTo>
                    <a:pt x="2721280" y="200228"/>
                  </a:lnTo>
                  <a:lnTo>
                    <a:pt x="2721280" y="202959"/>
                  </a:lnTo>
                  <a:lnTo>
                    <a:pt x="2721280" y="200876"/>
                  </a:lnTo>
                  <a:lnTo>
                    <a:pt x="2721382" y="200876"/>
                  </a:lnTo>
                  <a:lnTo>
                    <a:pt x="2721382" y="202260"/>
                  </a:lnTo>
                  <a:lnTo>
                    <a:pt x="2721433" y="200876"/>
                  </a:lnTo>
                  <a:lnTo>
                    <a:pt x="2721433" y="202260"/>
                  </a:lnTo>
                  <a:lnTo>
                    <a:pt x="2721483" y="202260"/>
                  </a:lnTo>
                  <a:lnTo>
                    <a:pt x="2721483" y="202959"/>
                  </a:lnTo>
                  <a:lnTo>
                    <a:pt x="2721483" y="200876"/>
                  </a:lnTo>
                  <a:lnTo>
                    <a:pt x="2721522" y="202260"/>
                  </a:lnTo>
                  <a:lnTo>
                    <a:pt x="2721522" y="200876"/>
                  </a:lnTo>
                  <a:lnTo>
                    <a:pt x="2721522" y="202260"/>
                  </a:lnTo>
                  <a:lnTo>
                    <a:pt x="2721522" y="200876"/>
                  </a:lnTo>
                  <a:lnTo>
                    <a:pt x="2721522" y="202260"/>
                  </a:lnTo>
                  <a:lnTo>
                    <a:pt x="2721522" y="200228"/>
                  </a:lnTo>
                  <a:lnTo>
                    <a:pt x="2721522" y="200876"/>
                  </a:lnTo>
                  <a:lnTo>
                    <a:pt x="2721623" y="200228"/>
                  </a:lnTo>
                  <a:lnTo>
                    <a:pt x="2721623" y="199530"/>
                  </a:lnTo>
                  <a:lnTo>
                    <a:pt x="2721623" y="200228"/>
                  </a:lnTo>
                  <a:lnTo>
                    <a:pt x="2721623" y="198831"/>
                  </a:lnTo>
                  <a:lnTo>
                    <a:pt x="2721623" y="200228"/>
                  </a:lnTo>
                  <a:lnTo>
                    <a:pt x="2721674" y="200228"/>
                  </a:lnTo>
                  <a:lnTo>
                    <a:pt x="2721674" y="199530"/>
                  </a:lnTo>
                  <a:lnTo>
                    <a:pt x="2721674" y="202959"/>
                  </a:lnTo>
                  <a:lnTo>
                    <a:pt x="2721725" y="202260"/>
                  </a:lnTo>
                  <a:lnTo>
                    <a:pt x="2721725" y="200876"/>
                  </a:lnTo>
                  <a:lnTo>
                    <a:pt x="2721725" y="202260"/>
                  </a:lnTo>
                  <a:lnTo>
                    <a:pt x="2721826" y="202260"/>
                  </a:lnTo>
                  <a:lnTo>
                    <a:pt x="2721826" y="200876"/>
                  </a:lnTo>
                  <a:lnTo>
                    <a:pt x="2721826" y="202959"/>
                  </a:lnTo>
                  <a:lnTo>
                    <a:pt x="2721826" y="202260"/>
                  </a:lnTo>
                  <a:lnTo>
                    <a:pt x="2721826" y="202959"/>
                  </a:lnTo>
                  <a:lnTo>
                    <a:pt x="2721877" y="202260"/>
                  </a:lnTo>
                  <a:lnTo>
                    <a:pt x="2721877" y="202959"/>
                  </a:lnTo>
                  <a:lnTo>
                    <a:pt x="2721877" y="202260"/>
                  </a:lnTo>
                  <a:lnTo>
                    <a:pt x="2721877" y="202959"/>
                  </a:lnTo>
                  <a:lnTo>
                    <a:pt x="2721877" y="202260"/>
                  </a:lnTo>
                  <a:lnTo>
                    <a:pt x="2721877" y="202959"/>
                  </a:lnTo>
                  <a:lnTo>
                    <a:pt x="2721877" y="202260"/>
                  </a:lnTo>
                  <a:lnTo>
                    <a:pt x="2721928" y="202260"/>
                  </a:lnTo>
                  <a:lnTo>
                    <a:pt x="2721928" y="202959"/>
                  </a:lnTo>
                  <a:lnTo>
                    <a:pt x="2721928" y="202260"/>
                  </a:lnTo>
                  <a:lnTo>
                    <a:pt x="2721928" y="202959"/>
                  </a:lnTo>
                  <a:lnTo>
                    <a:pt x="2721928" y="202260"/>
                  </a:lnTo>
                  <a:lnTo>
                    <a:pt x="2721928" y="202959"/>
                  </a:lnTo>
                  <a:lnTo>
                    <a:pt x="2721928" y="202260"/>
                  </a:lnTo>
                  <a:lnTo>
                    <a:pt x="2721979" y="202260"/>
                  </a:lnTo>
                  <a:lnTo>
                    <a:pt x="2721979" y="202959"/>
                  </a:lnTo>
                  <a:lnTo>
                    <a:pt x="2721979" y="200876"/>
                  </a:lnTo>
                  <a:lnTo>
                    <a:pt x="2722068" y="200876"/>
                  </a:lnTo>
                  <a:lnTo>
                    <a:pt x="2722068" y="200228"/>
                  </a:lnTo>
                  <a:lnTo>
                    <a:pt x="2722068" y="200876"/>
                  </a:lnTo>
                  <a:lnTo>
                    <a:pt x="2722068" y="199530"/>
                  </a:lnTo>
                  <a:lnTo>
                    <a:pt x="2722068" y="200228"/>
                  </a:lnTo>
                  <a:lnTo>
                    <a:pt x="2722119" y="200228"/>
                  </a:lnTo>
                  <a:lnTo>
                    <a:pt x="2722119" y="196113"/>
                  </a:lnTo>
                  <a:lnTo>
                    <a:pt x="2722169" y="196113"/>
                  </a:lnTo>
                  <a:lnTo>
                    <a:pt x="2722169" y="198831"/>
                  </a:lnTo>
                  <a:lnTo>
                    <a:pt x="2722169" y="196799"/>
                  </a:lnTo>
                  <a:lnTo>
                    <a:pt x="2722220" y="197447"/>
                  </a:lnTo>
                  <a:lnTo>
                    <a:pt x="2722220" y="199530"/>
                  </a:lnTo>
                  <a:lnTo>
                    <a:pt x="2722220" y="198831"/>
                  </a:lnTo>
                  <a:lnTo>
                    <a:pt x="2722220" y="199530"/>
                  </a:lnTo>
                  <a:lnTo>
                    <a:pt x="2722220" y="198831"/>
                  </a:lnTo>
                  <a:lnTo>
                    <a:pt x="2722220" y="199530"/>
                  </a:lnTo>
                  <a:lnTo>
                    <a:pt x="2722322" y="199530"/>
                  </a:lnTo>
                  <a:lnTo>
                    <a:pt x="2722322" y="200876"/>
                  </a:lnTo>
                  <a:lnTo>
                    <a:pt x="2722322" y="200228"/>
                  </a:lnTo>
                  <a:lnTo>
                    <a:pt x="2722322" y="200876"/>
                  </a:lnTo>
                  <a:lnTo>
                    <a:pt x="2722372" y="200228"/>
                  </a:lnTo>
                  <a:lnTo>
                    <a:pt x="2722372" y="202260"/>
                  </a:lnTo>
                  <a:lnTo>
                    <a:pt x="2722423" y="202260"/>
                  </a:lnTo>
                  <a:lnTo>
                    <a:pt x="2722423" y="200876"/>
                  </a:lnTo>
                  <a:lnTo>
                    <a:pt x="2722423" y="202260"/>
                  </a:lnTo>
                  <a:lnTo>
                    <a:pt x="2722423" y="200876"/>
                  </a:lnTo>
                  <a:lnTo>
                    <a:pt x="2722423" y="202260"/>
                  </a:lnTo>
                  <a:lnTo>
                    <a:pt x="2722525" y="202959"/>
                  </a:lnTo>
                  <a:lnTo>
                    <a:pt x="2722525" y="202260"/>
                  </a:lnTo>
                  <a:lnTo>
                    <a:pt x="2722563" y="202260"/>
                  </a:lnTo>
                  <a:lnTo>
                    <a:pt x="2722563" y="199530"/>
                  </a:lnTo>
                  <a:lnTo>
                    <a:pt x="2722614" y="199530"/>
                  </a:lnTo>
                  <a:lnTo>
                    <a:pt x="2722614" y="200228"/>
                  </a:lnTo>
                  <a:lnTo>
                    <a:pt x="2722614" y="197447"/>
                  </a:lnTo>
                  <a:lnTo>
                    <a:pt x="2722665" y="198831"/>
                  </a:lnTo>
                  <a:lnTo>
                    <a:pt x="2722665" y="199530"/>
                  </a:lnTo>
                  <a:lnTo>
                    <a:pt x="2722665" y="196799"/>
                  </a:lnTo>
                  <a:lnTo>
                    <a:pt x="2722665" y="198831"/>
                  </a:lnTo>
                  <a:lnTo>
                    <a:pt x="2722766" y="199530"/>
                  </a:lnTo>
                  <a:lnTo>
                    <a:pt x="2722766" y="198831"/>
                  </a:lnTo>
                  <a:lnTo>
                    <a:pt x="2722766" y="199530"/>
                  </a:lnTo>
                  <a:lnTo>
                    <a:pt x="2722817" y="199530"/>
                  </a:lnTo>
                  <a:lnTo>
                    <a:pt x="2722817" y="198831"/>
                  </a:lnTo>
                  <a:lnTo>
                    <a:pt x="2722817" y="199530"/>
                  </a:lnTo>
                  <a:lnTo>
                    <a:pt x="2722868" y="199530"/>
                  </a:lnTo>
                  <a:lnTo>
                    <a:pt x="2722868" y="198831"/>
                  </a:lnTo>
                  <a:lnTo>
                    <a:pt x="2722868" y="200228"/>
                  </a:lnTo>
                  <a:lnTo>
                    <a:pt x="2722868" y="199530"/>
                  </a:lnTo>
                  <a:lnTo>
                    <a:pt x="2722969" y="199530"/>
                  </a:lnTo>
                  <a:lnTo>
                    <a:pt x="2722969" y="200876"/>
                  </a:lnTo>
                  <a:lnTo>
                    <a:pt x="2723020" y="200876"/>
                  </a:lnTo>
                  <a:lnTo>
                    <a:pt x="2723020" y="200228"/>
                  </a:lnTo>
                  <a:lnTo>
                    <a:pt x="2723020" y="200876"/>
                  </a:lnTo>
                  <a:lnTo>
                    <a:pt x="2723020" y="200228"/>
                  </a:lnTo>
                  <a:lnTo>
                    <a:pt x="2723020" y="202260"/>
                  </a:lnTo>
                  <a:lnTo>
                    <a:pt x="2723020" y="200876"/>
                  </a:lnTo>
                  <a:lnTo>
                    <a:pt x="2723071" y="200876"/>
                  </a:lnTo>
                  <a:lnTo>
                    <a:pt x="2723071" y="199530"/>
                  </a:lnTo>
                  <a:lnTo>
                    <a:pt x="2723109" y="199530"/>
                  </a:lnTo>
                  <a:lnTo>
                    <a:pt x="2723109" y="200228"/>
                  </a:lnTo>
                  <a:lnTo>
                    <a:pt x="2723109" y="199530"/>
                  </a:lnTo>
                  <a:lnTo>
                    <a:pt x="2723211" y="198831"/>
                  </a:lnTo>
                  <a:lnTo>
                    <a:pt x="2723211" y="199530"/>
                  </a:lnTo>
                  <a:lnTo>
                    <a:pt x="2723211" y="198831"/>
                  </a:lnTo>
                  <a:lnTo>
                    <a:pt x="2723211" y="199530"/>
                  </a:lnTo>
                  <a:lnTo>
                    <a:pt x="2723211" y="198831"/>
                  </a:lnTo>
                  <a:lnTo>
                    <a:pt x="2723211" y="200876"/>
                  </a:lnTo>
                  <a:lnTo>
                    <a:pt x="2723211" y="200228"/>
                  </a:lnTo>
                  <a:lnTo>
                    <a:pt x="2723262" y="200228"/>
                  </a:lnTo>
                  <a:lnTo>
                    <a:pt x="2723262" y="200876"/>
                  </a:lnTo>
                  <a:lnTo>
                    <a:pt x="2723312" y="200876"/>
                  </a:lnTo>
                  <a:lnTo>
                    <a:pt x="2723312" y="200228"/>
                  </a:lnTo>
                  <a:lnTo>
                    <a:pt x="2723312" y="200876"/>
                  </a:lnTo>
                  <a:lnTo>
                    <a:pt x="2723312" y="200228"/>
                  </a:lnTo>
                  <a:lnTo>
                    <a:pt x="2723312" y="200876"/>
                  </a:lnTo>
                  <a:lnTo>
                    <a:pt x="2723414" y="200876"/>
                  </a:lnTo>
                  <a:lnTo>
                    <a:pt x="2723414" y="200228"/>
                  </a:lnTo>
                  <a:lnTo>
                    <a:pt x="2723414" y="200876"/>
                  </a:lnTo>
                  <a:lnTo>
                    <a:pt x="2723414" y="200228"/>
                  </a:lnTo>
                  <a:lnTo>
                    <a:pt x="2723414" y="200876"/>
                  </a:lnTo>
                  <a:lnTo>
                    <a:pt x="2723465" y="200876"/>
                  </a:lnTo>
                  <a:lnTo>
                    <a:pt x="2723465" y="200228"/>
                  </a:lnTo>
                  <a:lnTo>
                    <a:pt x="2723465" y="202260"/>
                  </a:lnTo>
                  <a:lnTo>
                    <a:pt x="2723465" y="200876"/>
                  </a:lnTo>
                  <a:lnTo>
                    <a:pt x="2723515" y="202260"/>
                  </a:lnTo>
                  <a:lnTo>
                    <a:pt x="2723515" y="200228"/>
                  </a:lnTo>
                  <a:lnTo>
                    <a:pt x="2723515" y="200876"/>
                  </a:lnTo>
                  <a:lnTo>
                    <a:pt x="2723515" y="200228"/>
                  </a:lnTo>
                  <a:lnTo>
                    <a:pt x="2723515" y="200876"/>
                  </a:lnTo>
                  <a:lnTo>
                    <a:pt x="2723515" y="200228"/>
                  </a:lnTo>
                  <a:lnTo>
                    <a:pt x="2723566" y="200228"/>
                  </a:lnTo>
                  <a:lnTo>
                    <a:pt x="2723566" y="199530"/>
                  </a:lnTo>
                  <a:lnTo>
                    <a:pt x="2723566" y="200228"/>
                  </a:lnTo>
                  <a:lnTo>
                    <a:pt x="2723566" y="198831"/>
                  </a:lnTo>
                  <a:lnTo>
                    <a:pt x="2723566" y="199530"/>
                  </a:lnTo>
                  <a:lnTo>
                    <a:pt x="2723655" y="199530"/>
                  </a:lnTo>
                  <a:lnTo>
                    <a:pt x="2723655" y="198831"/>
                  </a:lnTo>
                  <a:lnTo>
                    <a:pt x="2723655" y="200876"/>
                  </a:lnTo>
                  <a:lnTo>
                    <a:pt x="2723655" y="200228"/>
                  </a:lnTo>
                  <a:lnTo>
                    <a:pt x="2723706" y="200228"/>
                  </a:lnTo>
                  <a:lnTo>
                    <a:pt x="2723706" y="199530"/>
                  </a:lnTo>
                  <a:lnTo>
                    <a:pt x="2723706" y="202260"/>
                  </a:lnTo>
                  <a:lnTo>
                    <a:pt x="2723706" y="200228"/>
                  </a:lnTo>
                  <a:lnTo>
                    <a:pt x="2723757" y="200228"/>
                  </a:lnTo>
                  <a:lnTo>
                    <a:pt x="2723757" y="202260"/>
                  </a:lnTo>
                  <a:lnTo>
                    <a:pt x="2723757" y="200228"/>
                  </a:lnTo>
                  <a:lnTo>
                    <a:pt x="2723808" y="200876"/>
                  </a:lnTo>
                  <a:lnTo>
                    <a:pt x="2723808" y="202260"/>
                  </a:lnTo>
                  <a:lnTo>
                    <a:pt x="2723808" y="200876"/>
                  </a:lnTo>
                  <a:lnTo>
                    <a:pt x="2723808" y="202260"/>
                  </a:lnTo>
                  <a:lnTo>
                    <a:pt x="2723808" y="200876"/>
                  </a:lnTo>
                  <a:lnTo>
                    <a:pt x="2723909" y="200876"/>
                  </a:lnTo>
                  <a:lnTo>
                    <a:pt x="2723909" y="202260"/>
                  </a:lnTo>
                  <a:lnTo>
                    <a:pt x="2723960" y="202260"/>
                  </a:lnTo>
                  <a:lnTo>
                    <a:pt x="2723960" y="200876"/>
                  </a:lnTo>
                  <a:lnTo>
                    <a:pt x="2723960" y="202260"/>
                  </a:lnTo>
                  <a:lnTo>
                    <a:pt x="2723960" y="200876"/>
                  </a:lnTo>
                  <a:lnTo>
                    <a:pt x="2724011" y="200876"/>
                  </a:lnTo>
                  <a:lnTo>
                    <a:pt x="2724011" y="199530"/>
                  </a:lnTo>
                  <a:lnTo>
                    <a:pt x="2724112" y="199530"/>
                  </a:lnTo>
                  <a:lnTo>
                    <a:pt x="2724112" y="197447"/>
                  </a:lnTo>
                  <a:lnTo>
                    <a:pt x="2724151" y="197447"/>
                  </a:lnTo>
                  <a:lnTo>
                    <a:pt x="2724151" y="196799"/>
                  </a:lnTo>
                  <a:lnTo>
                    <a:pt x="2724151" y="198831"/>
                  </a:lnTo>
                  <a:lnTo>
                    <a:pt x="2724151" y="196799"/>
                  </a:lnTo>
                  <a:lnTo>
                    <a:pt x="2724201" y="196799"/>
                  </a:lnTo>
                  <a:lnTo>
                    <a:pt x="2724201" y="200228"/>
                  </a:lnTo>
                  <a:lnTo>
                    <a:pt x="2724201" y="199530"/>
                  </a:lnTo>
                  <a:lnTo>
                    <a:pt x="2724252" y="199530"/>
                  </a:lnTo>
                  <a:lnTo>
                    <a:pt x="2724252" y="198831"/>
                  </a:lnTo>
                  <a:lnTo>
                    <a:pt x="2724252" y="200876"/>
                  </a:lnTo>
                  <a:lnTo>
                    <a:pt x="2724252" y="200228"/>
                  </a:lnTo>
                  <a:lnTo>
                    <a:pt x="2724252" y="200876"/>
                  </a:lnTo>
                  <a:lnTo>
                    <a:pt x="2724252" y="199530"/>
                  </a:lnTo>
                  <a:lnTo>
                    <a:pt x="2724354" y="200228"/>
                  </a:lnTo>
                  <a:lnTo>
                    <a:pt x="2724354" y="199530"/>
                  </a:lnTo>
                  <a:lnTo>
                    <a:pt x="2724354" y="200876"/>
                  </a:lnTo>
                  <a:lnTo>
                    <a:pt x="2724405" y="200876"/>
                  </a:lnTo>
                  <a:lnTo>
                    <a:pt x="2724405" y="202260"/>
                  </a:lnTo>
                  <a:lnTo>
                    <a:pt x="2724405" y="200876"/>
                  </a:lnTo>
                  <a:lnTo>
                    <a:pt x="2724405" y="202260"/>
                  </a:lnTo>
                  <a:lnTo>
                    <a:pt x="2724405" y="200876"/>
                  </a:lnTo>
                  <a:lnTo>
                    <a:pt x="2724455" y="200876"/>
                  </a:lnTo>
                  <a:lnTo>
                    <a:pt x="2724455" y="202260"/>
                  </a:lnTo>
                  <a:lnTo>
                    <a:pt x="2724455" y="200876"/>
                  </a:lnTo>
                  <a:lnTo>
                    <a:pt x="2724455" y="202260"/>
                  </a:lnTo>
                  <a:lnTo>
                    <a:pt x="2724455" y="200876"/>
                  </a:lnTo>
                  <a:lnTo>
                    <a:pt x="2724455" y="202260"/>
                  </a:lnTo>
                  <a:lnTo>
                    <a:pt x="2724455" y="200876"/>
                  </a:lnTo>
                  <a:lnTo>
                    <a:pt x="2724455" y="202260"/>
                  </a:lnTo>
                  <a:lnTo>
                    <a:pt x="2724455" y="200876"/>
                  </a:lnTo>
                  <a:lnTo>
                    <a:pt x="2724557" y="200876"/>
                  </a:lnTo>
                  <a:lnTo>
                    <a:pt x="2724557" y="202260"/>
                  </a:lnTo>
                  <a:lnTo>
                    <a:pt x="2724557" y="200228"/>
                  </a:lnTo>
                  <a:lnTo>
                    <a:pt x="2724608" y="199530"/>
                  </a:lnTo>
                  <a:lnTo>
                    <a:pt x="2724608" y="200228"/>
                  </a:lnTo>
                  <a:lnTo>
                    <a:pt x="2724608" y="197447"/>
                  </a:lnTo>
                  <a:lnTo>
                    <a:pt x="2724608" y="198831"/>
                  </a:lnTo>
                  <a:lnTo>
                    <a:pt x="2724608" y="197447"/>
                  </a:lnTo>
                  <a:lnTo>
                    <a:pt x="2724658" y="197447"/>
                  </a:lnTo>
                  <a:lnTo>
                    <a:pt x="2724658" y="199530"/>
                  </a:lnTo>
                  <a:lnTo>
                    <a:pt x="2724658" y="196799"/>
                  </a:lnTo>
                  <a:lnTo>
                    <a:pt x="2724697" y="197447"/>
                  </a:lnTo>
                  <a:lnTo>
                    <a:pt x="2724697" y="200228"/>
                  </a:lnTo>
                  <a:lnTo>
                    <a:pt x="2724697" y="199530"/>
                  </a:lnTo>
                  <a:lnTo>
                    <a:pt x="2724798" y="199530"/>
                  </a:lnTo>
                  <a:lnTo>
                    <a:pt x="2724798" y="200228"/>
                  </a:lnTo>
                  <a:lnTo>
                    <a:pt x="2724798" y="199530"/>
                  </a:lnTo>
                  <a:lnTo>
                    <a:pt x="2724798" y="200228"/>
                  </a:lnTo>
                  <a:lnTo>
                    <a:pt x="2724798" y="199530"/>
                  </a:lnTo>
                  <a:lnTo>
                    <a:pt x="2724798" y="200228"/>
                  </a:lnTo>
                  <a:lnTo>
                    <a:pt x="2724798" y="199530"/>
                  </a:lnTo>
                  <a:lnTo>
                    <a:pt x="2724798" y="200228"/>
                  </a:lnTo>
                  <a:lnTo>
                    <a:pt x="2724849" y="200228"/>
                  </a:lnTo>
                  <a:lnTo>
                    <a:pt x="2724849" y="199530"/>
                  </a:lnTo>
                  <a:lnTo>
                    <a:pt x="2724849" y="200876"/>
                  </a:lnTo>
                  <a:lnTo>
                    <a:pt x="2724849" y="200228"/>
                  </a:lnTo>
                  <a:lnTo>
                    <a:pt x="2724849" y="200876"/>
                  </a:lnTo>
                  <a:lnTo>
                    <a:pt x="2724849" y="200228"/>
                  </a:lnTo>
                  <a:lnTo>
                    <a:pt x="2724849" y="200876"/>
                  </a:lnTo>
                  <a:lnTo>
                    <a:pt x="2724900" y="200876"/>
                  </a:lnTo>
                  <a:lnTo>
                    <a:pt x="2724900" y="200228"/>
                  </a:lnTo>
                  <a:lnTo>
                    <a:pt x="2724900" y="202959"/>
                  </a:lnTo>
                  <a:lnTo>
                    <a:pt x="2725001" y="202260"/>
                  </a:lnTo>
                  <a:lnTo>
                    <a:pt x="2725001" y="200876"/>
                  </a:lnTo>
                  <a:lnTo>
                    <a:pt x="2725001" y="202260"/>
                  </a:lnTo>
                  <a:lnTo>
                    <a:pt x="2725001" y="200876"/>
                  </a:lnTo>
                  <a:lnTo>
                    <a:pt x="2725001" y="202260"/>
                  </a:lnTo>
                  <a:lnTo>
                    <a:pt x="2725001" y="200876"/>
                  </a:lnTo>
                  <a:lnTo>
                    <a:pt x="2725052" y="200876"/>
                  </a:lnTo>
                  <a:lnTo>
                    <a:pt x="2725052" y="202260"/>
                  </a:lnTo>
                  <a:lnTo>
                    <a:pt x="2725052" y="200228"/>
                  </a:lnTo>
                  <a:lnTo>
                    <a:pt x="2725103" y="200876"/>
                  </a:lnTo>
                  <a:lnTo>
                    <a:pt x="2725103" y="199530"/>
                  </a:lnTo>
                  <a:lnTo>
                    <a:pt x="2725103" y="200228"/>
                  </a:lnTo>
                  <a:lnTo>
                    <a:pt x="2725103" y="197447"/>
                  </a:lnTo>
                  <a:lnTo>
                    <a:pt x="2725103" y="198831"/>
                  </a:lnTo>
                  <a:lnTo>
                    <a:pt x="2725103" y="197447"/>
                  </a:lnTo>
                  <a:lnTo>
                    <a:pt x="2725154" y="197447"/>
                  </a:lnTo>
                  <a:lnTo>
                    <a:pt x="2725154" y="198831"/>
                  </a:lnTo>
                  <a:lnTo>
                    <a:pt x="2725154" y="196799"/>
                  </a:lnTo>
                  <a:lnTo>
                    <a:pt x="2725243" y="197447"/>
                  </a:lnTo>
                  <a:lnTo>
                    <a:pt x="2725243" y="199530"/>
                  </a:lnTo>
                  <a:lnTo>
                    <a:pt x="2725243" y="198831"/>
                  </a:lnTo>
                  <a:lnTo>
                    <a:pt x="2725243" y="199530"/>
                  </a:lnTo>
                  <a:lnTo>
                    <a:pt x="2725294" y="199530"/>
                  </a:lnTo>
                  <a:lnTo>
                    <a:pt x="2725294" y="200228"/>
                  </a:lnTo>
                  <a:lnTo>
                    <a:pt x="2725294" y="199530"/>
                  </a:lnTo>
                  <a:lnTo>
                    <a:pt x="2725294" y="200228"/>
                  </a:lnTo>
                  <a:lnTo>
                    <a:pt x="2725344" y="200228"/>
                  </a:lnTo>
                  <a:lnTo>
                    <a:pt x="2725344" y="200876"/>
                  </a:lnTo>
                  <a:lnTo>
                    <a:pt x="2725344" y="200228"/>
                  </a:lnTo>
                  <a:lnTo>
                    <a:pt x="2725344" y="200876"/>
                  </a:lnTo>
                  <a:lnTo>
                    <a:pt x="2725497" y="200876"/>
                  </a:lnTo>
                  <a:lnTo>
                    <a:pt x="2725497" y="200228"/>
                  </a:lnTo>
                  <a:lnTo>
                    <a:pt x="2725497" y="200876"/>
                  </a:lnTo>
                  <a:lnTo>
                    <a:pt x="2725497" y="200228"/>
                  </a:lnTo>
                  <a:lnTo>
                    <a:pt x="2725497" y="200876"/>
                  </a:lnTo>
                  <a:lnTo>
                    <a:pt x="2725547" y="200876"/>
                  </a:lnTo>
                  <a:lnTo>
                    <a:pt x="2725547" y="200228"/>
                  </a:lnTo>
                  <a:lnTo>
                    <a:pt x="2725547" y="200876"/>
                  </a:lnTo>
                  <a:lnTo>
                    <a:pt x="2725547" y="199530"/>
                  </a:lnTo>
                  <a:lnTo>
                    <a:pt x="2725547" y="200228"/>
                  </a:lnTo>
                  <a:lnTo>
                    <a:pt x="2725547" y="199530"/>
                  </a:lnTo>
                  <a:lnTo>
                    <a:pt x="2725598" y="199530"/>
                  </a:lnTo>
                  <a:lnTo>
                    <a:pt x="2725598" y="198831"/>
                  </a:lnTo>
                  <a:lnTo>
                    <a:pt x="2725598" y="200228"/>
                  </a:lnTo>
                  <a:lnTo>
                    <a:pt x="2725598" y="199530"/>
                  </a:lnTo>
                  <a:lnTo>
                    <a:pt x="2725598" y="200228"/>
                  </a:lnTo>
                  <a:lnTo>
                    <a:pt x="2725598" y="199530"/>
                  </a:lnTo>
                  <a:lnTo>
                    <a:pt x="2725700" y="199530"/>
                  </a:lnTo>
                  <a:lnTo>
                    <a:pt x="2725700" y="198831"/>
                  </a:lnTo>
                  <a:lnTo>
                    <a:pt x="2725700" y="202260"/>
                  </a:lnTo>
                  <a:lnTo>
                    <a:pt x="2725700" y="200228"/>
                  </a:lnTo>
                  <a:lnTo>
                    <a:pt x="2725738" y="200228"/>
                  </a:lnTo>
                  <a:lnTo>
                    <a:pt x="2725738" y="202260"/>
                  </a:lnTo>
                  <a:lnTo>
                    <a:pt x="2725738" y="200228"/>
                  </a:lnTo>
                  <a:lnTo>
                    <a:pt x="2725789" y="200228"/>
                  </a:lnTo>
                  <a:lnTo>
                    <a:pt x="2725789" y="200876"/>
                  </a:lnTo>
                  <a:lnTo>
                    <a:pt x="2725789" y="200228"/>
                  </a:lnTo>
                  <a:lnTo>
                    <a:pt x="2725789" y="200876"/>
                  </a:lnTo>
                  <a:lnTo>
                    <a:pt x="2725789" y="200228"/>
                  </a:lnTo>
                  <a:lnTo>
                    <a:pt x="2725789" y="200876"/>
                  </a:lnTo>
                  <a:lnTo>
                    <a:pt x="2725789" y="199530"/>
                  </a:lnTo>
                  <a:lnTo>
                    <a:pt x="2725789" y="200228"/>
                  </a:lnTo>
                  <a:lnTo>
                    <a:pt x="2725840" y="200228"/>
                  </a:lnTo>
                  <a:lnTo>
                    <a:pt x="2725840" y="200876"/>
                  </a:lnTo>
                  <a:lnTo>
                    <a:pt x="2725840" y="200228"/>
                  </a:lnTo>
                  <a:lnTo>
                    <a:pt x="2725941" y="200228"/>
                  </a:lnTo>
                  <a:lnTo>
                    <a:pt x="2725941" y="200876"/>
                  </a:lnTo>
                  <a:lnTo>
                    <a:pt x="2725941" y="200228"/>
                  </a:lnTo>
                  <a:lnTo>
                    <a:pt x="2725941" y="200876"/>
                  </a:lnTo>
                  <a:lnTo>
                    <a:pt x="2725941" y="200228"/>
                  </a:lnTo>
                  <a:lnTo>
                    <a:pt x="2725992" y="200876"/>
                  </a:lnTo>
                  <a:lnTo>
                    <a:pt x="2725992" y="200228"/>
                  </a:lnTo>
                  <a:lnTo>
                    <a:pt x="2725992" y="200876"/>
                  </a:lnTo>
                  <a:lnTo>
                    <a:pt x="2725992" y="200228"/>
                  </a:lnTo>
                  <a:lnTo>
                    <a:pt x="2726043" y="200228"/>
                  </a:lnTo>
                  <a:lnTo>
                    <a:pt x="2726043" y="199530"/>
                  </a:lnTo>
                  <a:lnTo>
                    <a:pt x="2726043" y="200228"/>
                  </a:lnTo>
                  <a:lnTo>
                    <a:pt x="2726144" y="200876"/>
                  </a:lnTo>
                  <a:lnTo>
                    <a:pt x="2726144" y="199530"/>
                  </a:lnTo>
                  <a:lnTo>
                    <a:pt x="2726144" y="202260"/>
                  </a:lnTo>
                  <a:lnTo>
                    <a:pt x="2726195" y="202959"/>
                  </a:lnTo>
                  <a:lnTo>
                    <a:pt x="2726195" y="203594"/>
                  </a:lnTo>
                  <a:lnTo>
                    <a:pt x="2726195" y="200876"/>
                  </a:lnTo>
                  <a:lnTo>
                    <a:pt x="2726195" y="202959"/>
                  </a:lnTo>
                  <a:lnTo>
                    <a:pt x="2726246" y="202959"/>
                  </a:lnTo>
                  <a:lnTo>
                    <a:pt x="2726246" y="202260"/>
                  </a:lnTo>
                  <a:lnTo>
                    <a:pt x="2726246" y="202959"/>
                  </a:lnTo>
                  <a:lnTo>
                    <a:pt x="2726246" y="202260"/>
                  </a:lnTo>
                  <a:lnTo>
                    <a:pt x="2726246" y="202959"/>
                  </a:lnTo>
                  <a:lnTo>
                    <a:pt x="2726284" y="202959"/>
                  </a:lnTo>
                  <a:lnTo>
                    <a:pt x="2726284" y="203594"/>
                  </a:lnTo>
                  <a:lnTo>
                    <a:pt x="2726284" y="202260"/>
                  </a:lnTo>
                  <a:lnTo>
                    <a:pt x="2726284" y="202959"/>
                  </a:lnTo>
                  <a:lnTo>
                    <a:pt x="2726386" y="202959"/>
                  </a:lnTo>
                  <a:lnTo>
                    <a:pt x="2726386" y="203594"/>
                  </a:lnTo>
                  <a:lnTo>
                    <a:pt x="2726386" y="202260"/>
                  </a:lnTo>
                  <a:lnTo>
                    <a:pt x="2726386" y="202959"/>
                  </a:lnTo>
                  <a:lnTo>
                    <a:pt x="2726437" y="202959"/>
                  </a:lnTo>
                  <a:lnTo>
                    <a:pt x="2726437" y="202260"/>
                  </a:lnTo>
                  <a:lnTo>
                    <a:pt x="2726437" y="202959"/>
                  </a:lnTo>
                  <a:lnTo>
                    <a:pt x="2726437" y="202260"/>
                  </a:lnTo>
                  <a:lnTo>
                    <a:pt x="2726487" y="202260"/>
                  </a:lnTo>
                  <a:lnTo>
                    <a:pt x="2726487" y="200228"/>
                  </a:lnTo>
                  <a:lnTo>
                    <a:pt x="2726589" y="199530"/>
                  </a:lnTo>
                  <a:lnTo>
                    <a:pt x="2726589" y="200228"/>
                  </a:lnTo>
                  <a:lnTo>
                    <a:pt x="2726640" y="200228"/>
                  </a:lnTo>
                  <a:lnTo>
                    <a:pt x="2726640" y="202959"/>
                  </a:lnTo>
                  <a:lnTo>
                    <a:pt x="2726640" y="202260"/>
                  </a:lnTo>
                  <a:lnTo>
                    <a:pt x="2726690" y="202260"/>
                  </a:lnTo>
                  <a:lnTo>
                    <a:pt x="2726690" y="202959"/>
                  </a:lnTo>
                  <a:lnTo>
                    <a:pt x="2726690" y="202260"/>
                  </a:lnTo>
                  <a:lnTo>
                    <a:pt x="2726690" y="202959"/>
                  </a:lnTo>
                  <a:lnTo>
                    <a:pt x="2726741" y="202959"/>
                  </a:lnTo>
                  <a:lnTo>
                    <a:pt x="2726741" y="202260"/>
                  </a:lnTo>
                  <a:lnTo>
                    <a:pt x="2726741" y="203594"/>
                  </a:lnTo>
                  <a:lnTo>
                    <a:pt x="2726741" y="202959"/>
                  </a:lnTo>
                  <a:lnTo>
                    <a:pt x="2726830" y="203594"/>
                  </a:lnTo>
                  <a:lnTo>
                    <a:pt x="2726830" y="202959"/>
                  </a:lnTo>
                  <a:lnTo>
                    <a:pt x="2726830" y="203594"/>
                  </a:lnTo>
                  <a:lnTo>
                    <a:pt x="2726830" y="202959"/>
                  </a:lnTo>
                  <a:lnTo>
                    <a:pt x="2726830" y="203594"/>
                  </a:lnTo>
                  <a:lnTo>
                    <a:pt x="2726830" y="202959"/>
                  </a:lnTo>
                  <a:lnTo>
                    <a:pt x="2726830" y="203594"/>
                  </a:lnTo>
                  <a:lnTo>
                    <a:pt x="2726830" y="202260"/>
                  </a:lnTo>
                  <a:lnTo>
                    <a:pt x="2726881" y="202959"/>
                  </a:lnTo>
                  <a:lnTo>
                    <a:pt x="2726932" y="202959"/>
                  </a:lnTo>
                  <a:lnTo>
                    <a:pt x="2726932" y="200876"/>
                  </a:lnTo>
                  <a:lnTo>
                    <a:pt x="2726983" y="200876"/>
                  </a:lnTo>
                  <a:lnTo>
                    <a:pt x="2726983" y="199530"/>
                  </a:lnTo>
                  <a:lnTo>
                    <a:pt x="2726983" y="200228"/>
                  </a:lnTo>
                  <a:lnTo>
                    <a:pt x="2726983" y="198831"/>
                  </a:lnTo>
                  <a:lnTo>
                    <a:pt x="2727084" y="198831"/>
                  </a:lnTo>
                  <a:lnTo>
                    <a:pt x="2727084" y="197447"/>
                  </a:lnTo>
                  <a:lnTo>
                    <a:pt x="2727084" y="199530"/>
                  </a:lnTo>
                  <a:lnTo>
                    <a:pt x="2727084" y="197447"/>
                  </a:lnTo>
                  <a:lnTo>
                    <a:pt x="2727084" y="198831"/>
                  </a:lnTo>
                  <a:lnTo>
                    <a:pt x="2727135" y="198831"/>
                  </a:lnTo>
                  <a:lnTo>
                    <a:pt x="2727135" y="200876"/>
                  </a:lnTo>
                  <a:lnTo>
                    <a:pt x="2727135" y="199530"/>
                  </a:lnTo>
                  <a:lnTo>
                    <a:pt x="2727186" y="199530"/>
                  </a:lnTo>
                  <a:lnTo>
                    <a:pt x="2727186" y="200876"/>
                  </a:lnTo>
                  <a:lnTo>
                    <a:pt x="2727186" y="200228"/>
                  </a:lnTo>
                  <a:lnTo>
                    <a:pt x="2727287" y="200876"/>
                  </a:lnTo>
                  <a:lnTo>
                    <a:pt x="2727287" y="202260"/>
                  </a:lnTo>
                  <a:lnTo>
                    <a:pt x="2727287" y="200876"/>
                  </a:lnTo>
                  <a:lnTo>
                    <a:pt x="2727287" y="202260"/>
                  </a:lnTo>
                  <a:lnTo>
                    <a:pt x="2727326" y="202260"/>
                  </a:lnTo>
                  <a:lnTo>
                    <a:pt x="2727326" y="200876"/>
                  </a:lnTo>
                  <a:lnTo>
                    <a:pt x="2727326" y="202959"/>
                  </a:lnTo>
                  <a:lnTo>
                    <a:pt x="2727376" y="202959"/>
                  </a:lnTo>
                  <a:lnTo>
                    <a:pt x="2727376" y="202260"/>
                  </a:lnTo>
                  <a:lnTo>
                    <a:pt x="2727376" y="202959"/>
                  </a:lnTo>
                  <a:lnTo>
                    <a:pt x="2727427" y="202959"/>
                  </a:lnTo>
                  <a:lnTo>
                    <a:pt x="2727427" y="200876"/>
                  </a:lnTo>
                  <a:lnTo>
                    <a:pt x="2727427" y="202260"/>
                  </a:lnTo>
                  <a:lnTo>
                    <a:pt x="2727427" y="200228"/>
                  </a:lnTo>
                  <a:lnTo>
                    <a:pt x="2727529" y="200228"/>
                  </a:lnTo>
                  <a:lnTo>
                    <a:pt x="2727529" y="199530"/>
                  </a:lnTo>
                  <a:lnTo>
                    <a:pt x="2727529" y="200228"/>
                  </a:lnTo>
                  <a:lnTo>
                    <a:pt x="2727580" y="200228"/>
                  </a:lnTo>
                  <a:lnTo>
                    <a:pt x="2727580" y="200876"/>
                  </a:lnTo>
                  <a:lnTo>
                    <a:pt x="2727580" y="200228"/>
                  </a:lnTo>
                  <a:lnTo>
                    <a:pt x="2727580" y="200876"/>
                  </a:lnTo>
                  <a:lnTo>
                    <a:pt x="2727580" y="199530"/>
                  </a:lnTo>
                  <a:lnTo>
                    <a:pt x="2727580" y="202260"/>
                  </a:lnTo>
                  <a:lnTo>
                    <a:pt x="2727630" y="202260"/>
                  </a:lnTo>
                  <a:lnTo>
                    <a:pt x="2727630" y="200228"/>
                  </a:lnTo>
                  <a:lnTo>
                    <a:pt x="2727630" y="202959"/>
                  </a:lnTo>
                  <a:lnTo>
                    <a:pt x="2727630" y="202260"/>
                  </a:lnTo>
                  <a:lnTo>
                    <a:pt x="2727732" y="202260"/>
                  </a:lnTo>
                  <a:lnTo>
                    <a:pt x="2727732" y="200228"/>
                  </a:lnTo>
                  <a:lnTo>
                    <a:pt x="2727732" y="202260"/>
                  </a:lnTo>
                  <a:lnTo>
                    <a:pt x="2727732" y="200876"/>
                  </a:lnTo>
                  <a:lnTo>
                    <a:pt x="2727732" y="202260"/>
                  </a:lnTo>
                  <a:lnTo>
                    <a:pt x="2727783" y="202260"/>
                  </a:lnTo>
                  <a:lnTo>
                    <a:pt x="2727783" y="200876"/>
                  </a:lnTo>
                  <a:lnTo>
                    <a:pt x="2727783" y="202260"/>
                  </a:lnTo>
                  <a:lnTo>
                    <a:pt x="2727872" y="202260"/>
                  </a:lnTo>
                  <a:lnTo>
                    <a:pt x="2727872" y="200876"/>
                  </a:lnTo>
                  <a:lnTo>
                    <a:pt x="2727872" y="202260"/>
                  </a:lnTo>
                  <a:lnTo>
                    <a:pt x="2727872" y="200876"/>
                  </a:lnTo>
                  <a:lnTo>
                    <a:pt x="2727973" y="200876"/>
                  </a:lnTo>
                  <a:lnTo>
                    <a:pt x="2727973" y="199530"/>
                  </a:lnTo>
                  <a:lnTo>
                    <a:pt x="2727973" y="200228"/>
                  </a:lnTo>
                  <a:lnTo>
                    <a:pt x="2727973" y="199530"/>
                  </a:lnTo>
                  <a:lnTo>
                    <a:pt x="2728024" y="199530"/>
                  </a:lnTo>
                  <a:lnTo>
                    <a:pt x="2728024" y="197447"/>
                  </a:lnTo>
                  <a:lnTo>
                    <a:pt x="2728024" y="198831"/>
                  </a:lnTo>
                  <a:lnTo>
                    <a:pt x="2728075" y="199530"/>
                  </a:lnTo>
                  <a:lnTo>
                    <a:pt x="2728075" y="200228"/>
                  </a:lnTo>
                  <a:lnTo>
                    <a:pt x="2728075" y="198831"/>
                  </a:lnTo>
                  <a:lnTo>
                    <a:pt x="2728075" y="200876"/>
                  </a:lnTo>
                  <a:lnTo>
                    <a:pt x="2728176" y="200876"/>
                  </a:lnTo>
                  <a:lnTo>
                    <a:pt x="2728176" y="199530"/>
                  </a:lnTo>
                  <a:lnTo>
                    <a:pt x="2728176" y="202260"/>
                  </a:lnTo>
                  <a:lnTo>
                    <a:pt x="2728227" y="200876"/>
                  </a:lnTo>
                  <a:lnTo>
                    <a:pt x="2728227" y="200228"/>
                  </a:lnTo>
                  <a:lnTo>
                    <a:pt x="2728227" y="202260"/>
                  </a:lnTo>
                  <a:lnTo>
                    <a:pt x="2728227" y="200876"/>
                  </a:lnTo>
                  <a:lnTo>
                    <a:pt x="2728278" y="200876"/>
                  </a:lnTo>
                  <a:lnTo>
                    <a:pt x="2728278" y="200228"/>
                  </a:lnTo>
                  <a:lnTo>
                    <a:pt x="2728278" y="202260"/>
                  </a:lnTo>
                  <a:lnTo>
                    <a:pt x="2728329" y="202260"/>
                  </a:lnTo>
                  <a:lnTo>
                    <a:pt x="2728329" y="200876"/>
                  </a:lnTo>
                  <a:lnTo>
                    <a:pt x="2728329" y="202959"/>
                  </a:lnTo>
                  <a:lnTo>
                    <a:pt x="2728329" y="202260"/>
                  </a:lnTo>
                  <a:lnTo>
                    <a:pt x="2728418" y="202260"/>
                  </a:lnTo>
                  <a:lnTo>
                    <a:pt x="2728418" y="200876"/>
                  </a:lnTo>
                  <a:lnTo>
                    <a:pt x="2728418" y="202260"/>
                  </a:lnTo>
                  <a:lnTo>
                    <a:pt x="2728418" y="200876"/>
                  </a:lnTo>
                  <a:lnTo>
                    <a:pt x="2728418" y="202260"/>
                  </a:lnTo>
                  <a:lnTo>
                    <a:pt x="2728418" y="200876"/>
                  </a:lnTo>
                  <a:lnTo>
                    <a:pt x="2728469" y="200876"/>
                  </a:lnTo>
                  <a:lnTo>
                    <a:pt x="2728469" y="199530"/>
                  </a:lnTo>
                  <a:lnTo>
                    <a:pt x="2728519" y="199530"/>
                  </a:lnTo>
                  <a:lnTo>
                    <a:pt x="2728519" y="197447"/>
                  </a:lnTo>
                  <a:lnTo>
                    <a:pt x="2728519" y="199530"/>
                  </a:lnTo>
                  <a:lnTo>
                    <a:pt x="2728570" y="198831"/>
                  </a:lnTo>
                  <a:lnTo>
                    <a:pt x="2728570" y="196799"/>
                  </a:lnTo>
                  <a:lnTo>
                    <a:pt x="2728570" y="200228"/>
                  </a:lnTo>
                  <a:lnTo>
                    <a:pt x="2728570" y="199530"/>
                  </a:lnTo>
                  <a:lnTo>
                    <a:pt x="2728672" y="199530"/>
                  </a:lnTo>
                  <a:lnTo>
                    <a:pt x="2728672" y="197447"/>
                  </a:lnTo>
                  <a:lnTo>
                    <a:pt x="2728672" y="199530"/>
                  </a:lnTo>
                  <a:lnTo>
                    <a:pt x="2728722" y="199530"/>
                  </a:lnTo>
                  <a:lnTo>
                    <a:pt x="2728722" y="198831"/>
                  </a:lnTo>
                  <a:lnTo>
                    <a:pt x="2728722" y="200228"/>
                  </a:lnTo>
                  <a:lnTo>
                    <a:pt x="2728773" y="199530"/>
                  </a:lnTo>
                  <a:lnTo>
                    <a:pt x="2728773" y="200228"/>
                  </a:lnTo>
                  <a:lnTo>
                    <a:pt x="2728773" y="199530"/>
                  </a:lnTo>
                  <a:lnTo>
                    <a:pt x="2728773" y="200876"/>
                  </a:lnTo>
                  <a:lnTo>
                    <a:pt x="2728773" y="200228"/>
                  </a:lnTo>
                  <a:lnTo>
                    <a:pt x="2728773" y="200876"/>
                  </a:lnTo>
                  <a:lnTo>
                    <a:pt x="2728773" y="200228"/>
                  </a:lnTo>
                  <a:lnTo>
                    <a:pt x="2728875" y="200228"/>
                  </a:lnTo>
                  <a:lnTo>
                    <a:pt x="2728875" y="200876"/>
                  </a:lnTo>
                  <a:lnTo>
                    <a:pt x="2728875" y="200228"/>
                  </a:lnTo>
                  <a:lnTo>
                    <a:pt x="2728875" y="200876"/>
                  </a:lnTo>
                  <a:lnTo>
                    <a:pt x="2728875" y="200228"/>
                  </a:lnTo>
                  <a:lnTo>
                    <a:pt x="2728913" y="200876"/>
                  </a:lnTo>
                  <a:lnTo>
                    <a:pt x="2728913" y="200228"/>
                  </a:lnTo>
                  <a:lnTo>
                    <a:pt x="2728913" y="200876"/>
                  </a:lnTo>
                  <a:lnTo>
                    <a:pt x="2728913" y="200228"/>
                  </a:lnTo>
                  <a:lnTo>
                    <a:pt x="2728913" y="200876"/>
                  </a:lnTo>
                  <a:lnTo>
                    <a:pt x="2728913" y="200228"/>
                  </a:lnTo>
                  <a:lnTo>
                    <a:pt x="2728913" y="200876"/>
                  </a:lnTo>
                  <a:lnTo>
                    <a:pt x="2728913" y="200228"/>
                  </a:lnTo>
                  <a:lnTo>
                    <a:pt x="2728964" y="200228"/>
                  </a:lnTo>
                  <a:lnTo>
                    <a:pt x="2728964" y="198831"/>
                  </a:lnTo>
                  <a:lnTo>
                    <a:pt x="2729015" y="197447"/>
                  </a:lnTo>
                  <a:lnTo>
                    <a:pt x="2729015" y="199530"/>
                  </a:lnTo>
                  <a:lnTo>
                    <a:pt x="2729015" y="198831"/>
                  </a:lnTo>
                  <a:lnTo>
                    <a:pt x="2729116" y="198831"/>
                  </a:lnTo>
                  <a:lnTo>
                    <a:pt x="2729116" y="197447"/>
                  </a:lnTo>
                  <a:lnTo>
                    <a:pt x="2729116" y="198831"/>
                  </a:lnTo>
                  <a:lnTo>
                    <a:pt x="2729116" y="197447"/>
                  </a:lnTo>
                  <a:lnTo>
                    <a:pt x="2729116" y="200876"/>
                  </a:lnTo>
                  <a:lnTo>
                    <a:pt x="2729116" y="199530"/>
                  </a:lnTo>
                  <a:lnTo>
                    <a:pt x="2729167" y="199530"/>
                  </a:lnTo>
                  <a:lnTo>
                    <a:pt x="2729167" y="200876"/>
                  </a:lnTo>
                  <a:lnTo>
                    <a:pt x="2729167" y="200228"/>
                  </a:lnTo>
                  <a:lnTo>
                    <a:pt x="2729218" y="200228"/>
                  </a:lnTo>
                  <a:lnTo>
                    <a:pt x="2729218" y="199530"/>
                  </a:lnTo>
                  <a:lnTo>
                    <a:pt x="2729218" y="200228"/>
                  </a:lnTo>
                  <a:lnTo>
                    <a:pt x="2729319" y="200228"/>
                  </a:lnTo>
                  <a:lnTo>
                    <a:pt x="2729319" y="200876"/>
                  </a:lnTo>
                  <a:lnTo>
                    <a:pt x="2729319" y="200228"/>
                  </a:lnTo>
                  <a:lnTo>
                    <a:pt x="2729319" y="200876"/>
                  </a:lnTo>
                  <a:lnTo>
                    <a:pt x="2729319" y="200228"/>
                  </a:lnTo>
                  <a:lnTo>
                    <a:pt x="2729319" y="200876"/>
                  </a:lnTo>
                  <a:lnTo>
                    <a:pt x="2729370" y="202260"/>
                  </a:lnTo>
                  <a:lnTo>
                    <a:pt x="2729370" y="200228"/>
                  </a:lnTo>
                  <a:lnTo>
                    <a:pt x="2729370" y="202260"/>
                  </a:lnTo>
                  <a:lnTo>
                    <a:pt x="2729370" y="200876"/>
                  </a:lnTo>
                  <a:lnTo>
                    <a:pt x="2729421" y="200876"/>
                  </a:lnTo>
                  <a:lnTo>
                    <a:pt x="2729421" y="202260"/>
                  </a:lnTo>
                  <a:lnTo>
                    <a:pt x="2729421" y="200228"/>
                  </a:lnTo>
                  <a:lnTo>
                    <a:pt x="2729421" y="200876"/>
                  </a:lnTo>
                  <a:lnTo>
                    <a:pt x="2729459" y="200876"/>
                  </a:lnTo>
                  <a:lnTo>
                    <a:pt x="2729459" y="198831"/>
                  </a:lnTo>
                  <a:lnTo>
                    <a:pt x="2729459" y="199530"/>
                  </a:lnTo>
                  <a:lnTo>
                    <a:pt x="2729459" y="198831"/>
                  </a:lnTo>
                  <a:lnTo>
                    <a:pt x="2729561" y="198831"/>
                  </a:lnTo>
                  <a:lnTo>
                    <a:pt x="2729561" y="200228"/>
                  </a:lnTo>
                  <a:lnTo>
                    <a:pt x="2729561" y="198831"/>
                  </a:lnTo>
                  <a:lnTo>
                    <a:pt x="2729612" y="199530"/>
                  </a:lnTo>
                  <a:lnTo>
                    <a:pt x="2729612" y="202260"/>
                  </a:lnTo>
                  <a:lnTo>
                    <a:pt x="2729612" y="200228"/>
                  </a:lnTo>
                  <a:lnTo>
                    <a:pt x="2729662" y="200876"/>
                  </a:lnTo>
                  <a:lnTo>
                    <a:pt x="2729662" y="202260"/>
                  </a:lnTo>
                  <a:lnTo>
                    <a:pt x="2729662" y="200228"/>
                  </a:lnTo>
                  <a:lnTo>
                    <a:pt x="2729662" y="200876"/>
                  </a:lnTo>
                  <a:lnTo>
                    <a:pt x="2729764" y="200876"/>
                  </a:lnTo>
                  <a:lnTo>
                    <a:pt x="2729764" y="202260"/>
                  </a:lnTo>
                  <a:lnTo>
                    <a:pt x="2729764" y="200876"/>
                  </a:lnTo>
                  <a:lnTo>
                    <a:pt x="2729764" y="202260"/>
                  </a:lnTo>
                  <a:lnTo>
                    <a:pt x="2729764" y="200876"/>
                  </a:lnTo>
                  <a:lnTo>
                    <a:pt x="2729815" y="200876"/>
                  </a:lnTo>
                  <a:lnTo>
                    <a:pt x="2729815" y="202260"/>
                  </a:lnTo>
                  <a:lnTo>
                    <a:pt x="2729815" y="200876"/>
                  </a:lnTo>
                  <a:lnTo>
                    <a:pt x="2729865" y="200876"/>
                  </a:lnTo>
                  <a:lnTo>
                    <a:pt x="2729865" y="200228"/>
                  </a:lnTo>
                  <a:lnTo>
                    <a:pt x="2729865" y="200876"/>
                  </a:lnTo>
                  <a:lnTo>
                    <a:pt x="2729865" y="200228"/>
                  </a:lnTo>
                  <a:lnTo>
                    <a:pt x="2729916" y="200876"/>
                  </a:lnTo>
                  <a:lnTo>
                    <a:pt x="2729916" y="199530"/>
                  </a:lnTo>
                  <a:lnTo>
                    <a:pt x="2729916" y="200228"/>
                  </a:lnTo>
                  <a:lnTo>
                    <a:pt x="2729916" y="199530"/>
                  </a:lnTo>
                  <a:lnTo>
                    <a:pt x="2730005" y="199530"/>
                  </a:lnTo>
                  <a:lnTo>
                    <a:pt x="2730005" y="197447"/>
                  </a:lnTo>
                  <a:lnTo>
                    <a:pt x="2730005" y="200228"/>
                  </a:lnTo>
                  <a:lnTo>
                    <a:pt x="2730056" y="200228"/>
                  </a:lnTo>
                  <a:lnTo>
                    <a:pt x="2730056" y="197447"/>
                  </a:lnTo>
                  <a:lnTo>
                    <a:pt x="2730056" y="202260"/>
                  </a:lnTo>
                  <a:lnTo>
                    <a:pt x="2730056" y="200876"/>
                  </a:lnTo>
                  <a:lnTo>
                    <a:pt x="2730056" y="202260"/>
                  </a:lnTo>
                  <a:lnTo>
                    <a:pt x="2730056" y="200876"/>
                  </a:lnTo>
                  <a:lnTo>
                    <a:pt x="2730107" y="200876"/>
                  </a:lnTo>
                  <a:lnTo>
                    <a:pt x="2730107" y="200228"/>
                  </a:lnTo>
                  <a:lnTo>
                    <a:pt x="2730107" y="202260"/>
                  </a:lnTo>
                  <a:lnTo>
                    <a:pt x="2730158" y="200876"/>
                  </a:lnTo>
                  <a:lnTo>
                    <a:pt x="2730158" y="200228"/>
                  </a:lnTo>
                  <a:lnTo>
                    <a:pt x="2730158" y="202260"/>
                  </a:lnTo>
                  <a:lnTo>
                    <a:pt x="2730158" y="200876"/>
                  </a:lnTo>
                  <a:lnTo>
                    <a:pt x="2730158" y="202260"/>
                  </a:lnTo>
                  <a:lnTo>
                    <a:pt x="2730158" y="200876"/>
                  </a:lnTo>
                  <a:lnTo>
                    <a:pt x="2730158" y="202260"/>
                  </a:lnTo>
                  <a:lnTo>
                    <a:pt x="2730259" y="200876"/>
                  </a:lnTo>
                  <a:lnTo>
                    <a:pt x="2730259" y="202260"/>
                  </a:lnTo>
                  <a:lnTo>
                    <a:pt x="2730259" y="200876"/>
                  </a:lnTo>
                  <a:lnTo>
                    <a:pt x="2730259" y="202260"/>
                  </a:lnTo>
                  <a:lnTo>
                    <a:pt x="2730310" y="202260"/>
                  </a:lnTo>
                  <a:lnTo>
                    <a:pt x="2730310" y="200876"/>
                  </a:lnTo>
                  <a:lnTo>
                    <a:pt x="2730361" y="200876"/>
                  </a:lnTo>
                  <a:lnTo>
                    <a:pt x="2730361" y="200228"/>
                  </a:lnTo>
                  <a:lnTo>
                    <a:pt x="2730462" y="200228"/>
                  </a:lnTo>
                  <a:lnTo>
                    <a:pt x="2730462" y="200876"/>
                  </a:lnTo>
                  <a:lnTo>
                    <a:pt x="2730462" y="198831"/>
                  </a:lnTo>
                  <a:lnTo>
                    <a:pt x="2730501" y="198831"/>
                  </a:lnTo>
                  <a:lnTo>
                    <a:pt x="2730501" y="197447"/>
                  </a:lnTo>
                  <a:lnTo>
                    <a:pt x="2730501" y="200228"/>
                  </a:lnTo>
                  <a:lnTo>
                    <a:pt x="2730501" y="199530"/>
                  </a:lnTo>
                  <a:lnTo>
                    <a:pt x="2730551" y="199530"/>
                  </a:lnTo>
                  <a:lnTo>
                    <a:pt x="2730551" y="197447"/>
                  </a:lnTo>
                  <a:lnTo>
                    <a:pt x="2730551" y="202260"/>
                  </a:lnTo>
                  <a:lnTo>
                    <a:pt x="2730551" y="200228"/>
                  </a:lnTo>
                  <a:lnTo>
                    <a:pt x="2730602" y="200228"/>
                  </a:lnTo>
                  <a:lnTo>
                    <a:pt x="2730602" y="199530"/>
                  </a:lnTo>
                  <a:lnTo>
                    <a:pt x="2730602" y="200876"/>
                  </a:lnTo>
                  <a:lnTo>
                    <a:pt x="2730602" y="200228"/>
                  </a:lnTo>
                  <a:lnTo>
                    <a:pt x="2730602" y="200876"/>
                  </a:lnTo>
                  <a:lnTo>
                    <a:pt x="2730704" y="200876"/>
                  </a:lnTo>
                  <a:lnTo>
                    <a:pt x="2730704" y="200228"/>
                  </a:lnTo>
                  <a:lnTo>
                    <a:pt x="2730704" y="202260"/>
                  </a:lnTo>
                  <a:lnTo>
                    <a:pt x="2730704" y="200876"/>
                  </a:lnTo>
                  <a:lnTo>
                    <a:pt x="2730704" y="202260"/>
                  </a:lnTo>
                  <a:lnTo>
                    <a:pt x="2730704" y="200876"/>
                  </a:lnTo>
                  <a:lnTo>
                    <a:pt x="2730755" y="200876"/>
                  </a:lnTo>
                  <a:lnTo>
                    <a:pt x="2730755" y="202260"/>
                  </a:lnTo>
                  <a:lnTo>
                    <a:pt x="2730755" y="200876"/>
                  </a:lnTo>
                  <a:lnTo>
                    <a:pt x="2730755" y="202260"/>
                  </a:lnTo>
                  <a:lnTo>
                    <a:pt x="2730755" y="200876"/>
                  </a:lnTo>
                  <a:lnTo>
                    <a:pt x="2730805" y="200876"/>
                  </a:lnTo>
                  <a:lnTo>
                    <a:pt x="2730805" y="202260"/>
                  </a:lnTo>
                  <a:lnTo>
                    <a:pt x="2730805" y="200876"/>
                  </a:lnTo>
                  <a:lnTo>
                    <a:pt x="2730805" y="202260"/>
                  </a:lnTo>
                  <a:lnTo>
                    <a:pt x="2730805" y="200876"/>
                  </a:lnTo>
                  <a:lnTo>
                    <a:pt x="2730805" y="202260"/>
                  </a:lnTo>
                  <a:lnTo>
                    <a:pt x="2730907" y="202260"/>
                  </a:lnTo>
                  <a:lnTo>
                    <a:pt x="2730907" y="199530"/>
                  </a:lnTo>
                  <a:lnTo>
                    <a:pt x="2730907" y="200228"/>
                  </a:lnTo>
                  <a:lnTo>
                    <a:pt x="2730958" y="200228"/>
                  </a:lnTo>
                  <a:lnTo>
                    <a:pt x="2730958" y="197447"/>
                  </a:lnTo>
                  <a:lnTo>
                    <a:pt x="2730958" y="198831"/>
                  </a:lnTo>
                  <a:lnTo>
                    <a:pt x="2730958" y="197447"/>
                  </a:lnTo>
                  <a:lnTo>
                    <a:pt x="2731008" y="197447"/>
                  </a:lnTo>
                  <a:lnTo>
                    <a:pt x="2731008" y="196799"/>
                  </a:lnTo>
                  <a:lnTo>
                    <a:pt x="2731008" y="198831"/>
                  </a:lnTo>
                  <a:lnTo>
                    <a:pt x="2731047" y="197447"/>
                  </a:lnTo>
                  <a:lnTo>
                    <a:pt x="2731047" y="196113"/>
                  </a:lnTo>
                  <a:lnTo>
                    <a:pt x="2731047" y="200228"/>
                  </a:lnTo>
                  <a:lnTo>
                    <a:pt x="2731047" y="198831"/>
                  </a:lnTo>
                  <a:lnTo>
                    <a:pt x="2731148" y="198831"/>
                  </a:lnTo>
                  <a:lnTo>
                    <a:pt x="2731148" y="200228"/>
                  </a:lnTo>
                  <a:lnTo>
                    <a:pt x="2731148" y="199530"/>
                  </a:lnTo>
                  <a:lnTo>
                    <a:pt x="2731199" y="199530"/>
                  </a:lnTo>
                  <a:lnTo>
                    <a:pt x="2731199" y="200228"/>
                  </a:lnTo>
                  <a:lnTo>
                    <a:pt x="2731199" y="199530"/>
                  </a:lnTo>
                  <a:lnTo>
                    <a:pt x="2731250" y="200228"/>
                  </a:lnTo>
                  <a:lnTo>
                    <a:pt x="2731250" y="200876"/>
                  </a:lnTo>
                  <a:lnTo>
                    <a:pt x="2731351" y="200876"/>
                  </a:lnTo>
                  <a:lnTo>
                    <a:pt x="2731351" y="202260"/>
                  </a:lnTo>
                  <a:lnTo>
                    <a:pt x="2731351" y="200876"/>
                  </a:lnTo>
                  <a:lnTo>
                    <a:pt x="2731402" y="200876"/>
                  </a:lnTo>
                  <a:lnTo>
                    <a:pt x="2731402" y="200228"/>
                  </a:lnTo>
                  <a:lnTo>
                    <a:pt x="2731453" y="200228"/>
                  </a:lnTo>
                  <a:lnTo>
                    <a:pt x="2731453" y="199530"/>
                  </a:lnTo>
                  <a:lnTo>
                    <a:pt x="2731453" y="200228"/>
                  </a:lnTo>
                  <a:lnTo>
                    <a:pt x="2731453" y="197447"/>
                  </a:lnTo>
                  <a:lnTo>
                    <a:pt x="2731504" y="196799"/>
                  </a:lnTo>
                  <a:lnTo>
                    <a:pt x="2731504" y="197447"/>
                  </a:lnTo>
                  <a:lnTo>
                    <a:pt x="2731504" y="196799"/>
                  </a:lnTo>
                  <a:lnTo>
                    <a:pt x="2731504" y="197447"/>
                  </a:lnTo>
                  <a:lnTo>
                    <a:pt x="2731504" y="196799"/>
                  </a:lnTo>
                  <a:lnTo>
                    <a:pt x="2731593" y="196799"/>
                  </a:lnTo>
                  <a:lnTo>
                    <a:pt x="2731593" y="196113"/>
                  </a:lnTo>
                  <a:lnTo>
                    <a:pt x="2731593" y="196799"/>
                  </a:lnTo>
                  <a:lnTo>
                    <a:pt x="2731593" y="196113"/>
                  </a:lnTo>
                  <a:lnTo>
                    <a:pt x="2731593" y="199530"/>
                  </a:lnTo>
                  <a:lnTo>
                    <a:pt x="2731593" y="197447"/>
                  </a:lnTo>
                  <a:lnTo>
                    <a:pt x="2731644" y="197447"/>
                  </a:lnTo>
                  <a:lnTo>
                    <a:pt x="2731644" y="196799"/>
                  </a:lnTo>
                  <a:lnTo>
                    <a:pt x="2731644" y="199530"/>
                  </a:lnTo>
                  <a:lnTo>
                    <a:pt x="2731644" y="198831"/>
                  </a:lnTo>
                  <a:lnTo>
                    <a:pt x="2731644" y="199530"/>
                  </a:lnTo>
                  <a:lnTo>
                    <a:pt x="2731644" y="198831"/>
                  </a:lnTo>
                  <a:lnTo>
                    <a:pt x="2731694" y="198831"/>
                  </a:lnTo>
                  <a:lnTo>
                    <a:pt x="2731694" y="197447"/>
                  </a:lnTo>
                  <a:lnTo>
                    <a:pt x="2731694" y="199530"/>
                  </a:lnTo>
                  <a:lnTo>
                    <a:pt x="2731694" y="198831"/>
                  </a:lnTo>
                  <a:lnTo>
                    <a:pt x="2731694" y="199530"/>
                  </a:lnTo>
                  <a:lnTo>
                    <a:pt x="2731745" y="198831"/>
                  </a:lnTo>
                  <a:lnTo>
                    <a:pt x="2731745" y="200228"/>
                  </a:lnTo>
                  <a:lnTo>
                    <a:pt x="2731745" y="199530"/>
                  </a:lnTo>
                  <a:lnTo>
                    <a:pt x="2731745" y="200228"/>
                  </a:lnTo>
                  <a:lnTo>
                    <a:pt x="2731847" y="200228"/>
                  </a:lnTo>
                  <a:lnTo>
                    <a:pt x="2731847" y="200876"/>
                  </a:lnTo>
                  <a:lnTo>
                    <a:pt x="2731847" y="200228"/>
                  </a:lnTo>
                  <a:lnTo>
                    <a:pt x="2731847" y="200876"/>
                  </a:lnTo>
                  <a:lnTo>
                    <a:pt x="2731847" y="200228"/>
                  </a:lnTo>
                  <a:lnTo>
                    <a:pt x="2731897" y="200228"/>
                  </a:lnTo>
                  <a:lnTo>
                    <a:pt x="2731897" y="199530"/>
                  </a:lnTo>
                  <a:lnTo>
                    <a:pt x="2731897" y="200228"/>
                  </a:lnTo>
                  <a:lnTo>
                    <a:pt x="2731897" y="199530"/>
                  </a:lnTo>
                  <a:lnTo>
                    <a:pt x="2731897" y="200228"/>
                  </a:lnTo>
                  <a:lnTo>
                    <a:pt x="2731897" y="199530"/>
                  </a:lnTo>
                  <a:lnTo>
                    <a:pt x="2731948" y="200228"/>
                  </a:lnTo>
                  <a:lnTo>
                    <a:pt x="2731948" y="196799"/>
                  </a:lnTo>
                  <a:lnTo>
                    <a:pt x="2732050" y="196799"/>
                  </a:lnTo>
                  <a:lnTo>
                    <a:pt x="2732050" y="198831"/>
                  </a:lnTo>
                  <a:lnTo>
                    <a:pt x="2732050" y="197447"/>
                  </a:lnTo>
                  <a:lnTo>
                    <a:pt x="2732050" y="198831"/>
                  </a:lnTo>
                  <a:lnTo>
                    <a:pt x="2732050" y="196799"/>
                  </a:lnTo>
                  <a:lnTo>
                    <a:pt x="2732088" y="197447"/>
                  </a:lnTo>
                  <a:lnTo>
                    <a:pt x="2732088" y="200228"/>
                  </a:lnTo>
                  <a:lnTo>
                    <a:pt x="2732088" y="198831"/>
                  </a:lnTo>
                  <a:lnTo>
                    <a:pt x="2732088" y="199530"/>
                  </a:lnTo>
                  <a:lnTo>
                    <a:pt x="2732139" y="199530"/>
                  </a:lnTo>
                  <a:lnTo>
                    <a:pt x="2732139" y="198831"/>
                  </a:lnTo>
                  <a:lnTo>
                    <a:pt x="2732139" y="200228"/>
                  </a:lnTo>
                  <a:lnTo>
                    <a:pt x="2732139" y="198831"/>
                  </a:lnTo>
                  <a:lnTo>
                    <a:pt x="2732139" y="199530"/>
                  </a:lnTo>
                  <a:lnTo>
                    <a:pt x="2732190" y="199530"/>
                  </a:lnTo>
                  <a:lnTo>
                    <a:pt x="2732190" y="200228"/>
                  </a:lnTo>
                  <a:lnTo>
                    <a:pt x="2732190" y="198831"/>
                  </a:lnTo>
                  <a:lnTo>
                    <a:pt x="2732190" y="199530"/>
                  </a:lnTo>
                  <a:lnTo>
                    <a:pt x="2732291" y="199530"/>
                  </a:lnTo>
                  <a:lnTo>
                    <a:pt x="2732291" y="200228"/>
                  </a:lnTo>
                  <a:lnTo>
                    <a:pt x="2732291" y="199530"/>
                  </a:lnTo>
                  <a:lnTo>
                    <a:pt x="2732291" y="200228"/>
                  </a:lnTo>
                  <a:lnTo>
                    <a:pt x="2732291" y="199530"/>
                  </a:lnTo>
                  <a:lnTo>
                    <a:pt x="2732291" y="200228"/>
                  </a:lnTo>
                  <a:lnTo>
                    <a:pt x="2732291" y="199530"/>
                  </a:lnTo>
                  <a:lnTo>
                    <a:pt x="2732291" y="200228"/>
                  </a:lnTo>
                  <a:lnTo>
                    <a:pt x="2732342" y="200228"/>
                  </a:lnTo>
                  <a:lnTo>
                    <a:pt x="2732342" y="200876"/>
                  </a:lnTo>
                  <a:lnTo>
                    <a:pt x="2732342" y="200228"/>
                  </a:lnTo>
                  <a:lnTo>
                    <a:pt x="2732393" y="200228"/>
                  </a:lnTo>
                  <a:lnTo>
                    <a:pt x="2732393" y="199530"/>
                  </a:lnTo>
                  <a:lnTo>
                    <a:pt x="2732393" y="200228"/>
                  </a:lnTo>
                  <a:lnTo>
                    <a:pt x="2732393" y="199530"/>
                  </a:lnTo>
                  <a:lnTo>
                    <a:pt x="2732393" y="200228"/>
                  </a:lnTo>
                  <a:lnTo>
                    <a:pt x="2732494" y="200228"/>
                  </a:lnTo>
                  <a:lnTo>
                    <a:pt x="2732494" y="197447"/>
                  </a:lnTo>
                  <a:lnTo>
                    <a:pt x="2732545" y="198831"/>
                  </a:lnTo>
                  <a:lnTo>
                    <a:pt x="2732545" y="199530"/>
                  </a:lnTo>
                  <a:lnTo>
                    <a:pt x="2732545" y="197447"/>
                  </a:lnTo>
                  <a:lnTo>
                    <a:pt x="2732545" y="200228"/>
                  </a:lnTo>
                  <a:lnTo>
                    <a:pt x="2732596" y="200876"/>
                  </a:lnTo>
                  <a:lnTo>
                    <a:pt x="2732596" y="202260"/>
                  </a:lnTo>
                  <a:lnTo>
                    <a:pt x="2732596" y="198831"/>
                  </a:lnTo>
                  <a:lnTo>
                    <a:pt x="2732596" y="200228"/>
                  </a:lnTo>
                  <a:lnTo>
                    <a:pt x="2732634" y="200228"/>
                  </a:lnTo>
                  <a:lnTo>
                    <a:pt x="2732634" y="200876"/>
                  </a:lnTo>
                  <a:lnTo>
                    <a:pt x="2732634" y="199530"/>
                  </a:lnTo>
                  <a:lnTo>
                    <a:pt x="2732634" y="200228"/>
                  </a:lnTo>
                  <a:lnTo>
                    <a:pt x="2732736" y="200228"/>
                  </a:lnTo>
                  <a:lnTo>
                    <a:pt x="2732736" y="199530"/>
                  </a:lnTo>
                  <a:lnTo>
                    <a:pt x="2732736" y="200876"/>
                  </a:lnTo>
                  <a:lnTo>
                    <a:pt x="2732787" y="200876"/>
                  </a:lnTo>
                  <a:lnTo>
                    <a:pt x="2732787" y="200228"/>
                  </a:lnTo>
                  <a:lnTo>
                    <a:pt x="2732787" y="200876"/>
                  </a:lnTo>
                  <a:lnTo>
                    <a:pt x="2732787" y="200228"/>
                  </a:lnTo>
                  <a:lnTo>
                    <a:pt x="2732787" y="200876"/>
                  </a:lnTo>
                  <a:lnTo>
                    <a:pt x="2732837" y="200876"/>
                  </a:lnTo>
                  <a:lnTo>
                    <a:pt x="2732837" y="200228"/>
                  </a:lnTo>
                  <a:lnTo>
                    <a:pt x="2732939" y="200228"/>
                  </a:lnTo>
                  <a:lnTo>
                    <a:pt x="2732939" y="199530"/>
                  </a:lnTo>
                  <a:lnTo>
                    <a:pt x="2732939" y="200228"/>
                  </a:lnTo>
                  <a:lnTo>
                    <a:pt x="2732939" y="199530"/>
                  </a:lnTo>
                  <a:lnTo>
                    <a:pt x="2732939" y="200228"/>
                  </a:lnTo>
                  <a:lnTo>
                    <a:pt x="2732939" y="198831"/>
                  </a:lnTo>
                  <a:lnTo>
                    <a:pt x="2732990" y="198831"/>
                  </a:lnTo>
                  <a:lnTo>
                    <a:pt x="2732990" y="196799"/>
                  </a:lnTo>
                  <a:lnTo>
                    <a:pt x="2732990" y="197447"/>
                  </a:lnTo>
                  <a:lnTo>
                    <a:pt x="2732990" y="196113"/>
                  </a:lnTo>
                  <a:lnTo>
                    <a:pt x="2733040" y="196799"/>
                  </a:lnTo>
                  <a:lnTo>
                    <a:pt x="2733040" y="197447"/>
                  </a:lnTo>
                  <a:lnTo>
                    <a:pt x="2733040" y="196799"/>
                  </a:lnTo>
                  <a:lnTo>
                    <a:pt x="2733040" y="197447"/>
                  </a:lnTo>
                  <a:lnTo>
                    <a:pt x="2733091" y="198831"/>
                  </a:lnTo>
                  <a:lnTo>
                    <a:pt x="2733091" y="199530"/>
                  </a:lnTo>
                  <a:lnTo>
                    <a:pt x="2733091" y="198831"/>
                  </a:lnTo>
                  <a:lnTo>
                    <a:pt x="2733091" y="199530"/>
                  </a:lnTo>
                  <a:lnTo>
                    <a:pt x="2733180" y="199530"/>
                  </a:lnTo>
                  <a:lnTo>
                    <a:pt x="2733180" y="200228"/>
                  </a:lnTo>
                  <a:lnTo>
                    <a:pt x="2733180" y="199530"/>
                  </a:lnTo>
                  <a:lnTo>
                    <a:pt x="2733231" y="200228"/>
                  </a:lnTo>
                  <a:lnTo>
                    <a:pt x="2733231" y="199530"/>
                  </a:lnTo>
                  <a:lnTo>
                    <a:pt x="2733231" y="200228"/>
                  </a:lnTo>
                  <a:lnTo>
                    <a:pt x="2733231" y="199530"/>
                  </a:lnTo>
                  <a:lnTo>
                    <a:pt x="2733231" y="200228"/>
                  </a:lnTo>
                  <a:lnTo>
                    <a:pt x="2733282" y="200228"/>
                  </a:lnTo>
                  <a:lnTo>
                    <a:pt x="2733282" y="199530"/>
                  </a:lnTo>
                  <a:lnTo>
                    <a:pt x="2733282" y="200876"/>
                  </a:lnTo>
                  <a:lnTo>
                    <a:pt x="2733282" y="200228"/>
                  </a:lnTo>
                  <a:lnTo>
                    <a:pt x="2733333" y="200228"/>
                  </a:lnTo>
                  <a:lnTo>
                    <a:pt x="2733333" y="200876"/>
                  </a:lnTo>
                  <a:lnTo>
                    <a:pt x="2733333" y="200228"/>
                  </a:lnTo>
                  <a:lnTo>
                    <a:pt x="2733434" y="200228"/>
                  </a:lnTo>
                  <a:lnTo>
                    <a:pt x="2733434" y="198831"/>
                  </a:lnTo>
                  <a:lnTo>
                    <a:pt x="2733485" y="198831"/>
                  </a:lnTo>
                  <a:lnTo>
                    <a:pt x="2733485" y="196799"/>
                  </a:lnTo>
                  <a:lnTo>
                    <a:pt x="2733536" y="196799"/>
                  </a:lnTo>
                  <a:lnTo>
                    <a:pt x="2733536" y="198831"/>
                  </a:lnTo>
                  <a:lnTo>
                    <a:pt x="2733536" y="196799"/>
                  </a:lnTo>
                  <a:lnTo>
                    <a:pt x="2733536" y="198831"/>
                  </a:lnTo>
                  <a:lnTo>
                    <a:pt x="2733637" y="199530"/>
                  </a:lnTo>
                  <a:lnTo>
                    <a:pt x="2733637" y="198831"/>
                  </a:lnTo>
                  <a:lnTo>
                    <a:pt x="2733637" y="199530"/>
                  </a:lnTo>
                  <a:lnTo>
                    <a:pt x="2733637" y="198831"/>
                  </a:lnTo>
                  <a:lnTo>
                    <a:pt x="2733637" y="199530"/>
                  </a:lnTo>
                  <a:lnTo>
                    <a:pt x="2733676" y="199530"/>
                  </a:lnTo>
                  <a:lnTo>
                    <a:pt x="2733676" y="200228"/>
                  </a:lnTo>
                  <a:lnTo>
                    <a:pt x="2733676" y="199530"/>
                  </a:lnTo>
                  <a:lnTo>
                    <a:pt x="2733676" y="200228"/>
                  </a:lnTo>
                  <a:lnTo>
                    <a:pt x="2733726" y="200228"/>
                  </a:lnTo>
                  <a:lnTo>
                    <a:pt x="2733726" y="199530"/>
                  </a:lnTo>
                  <a:lnTo>
                    <a:pt x="2733726" y="200228"/>
                  </a:lnTo>
                  <a:lnTo>
                    <a:pt x="2733726" y="199530"/>
                  </a:lnTo>
                  <a:lnTo>
                    <a:pt x="2733726" y="200228"/>
                  </a:lnTo>
                  <a:lnTo>
                    <a:pt x="2733777" y="200228"/>
                  </a:lnTo>
                  <a:lnTo>
                    <a:pt x="2733777" y="200876"/>
                  </a:lnTo>
                  <a:lnTo>
                    <a:pt x="2733777" y="200228"/>
                  </a:lnTo>
                  <a:lnTo>
                    <a:pt x="2733777" y="200876"/>
                  </a:lnTo>
                  <a:lnTo>
                    <a:pt x="2733879" y="200876"/>
                  </a:lnTo>
                  <a:lnTo>
                    <a:pt x="2733879" y="200228"/>
                  </a:lnTo>
                  <a:lnTo>
                    <a:pt x="2733930" y="200228"/>
                  </a:lnTo>
                  <a:lnTo>
                    <a:pt x="2733930" y="199530"/>
                  </a:lnTo>
                  <a:lnTo>
                    <a:pt x="2733930" y="200228"/>
                  </a:lnTo>
                  <a:lnTo>
                    <a:pt x="2733930" y="198831"/>
                  </a:lnTo>
                  <a:lnTo>
                    <a:pt x="2733980" y="198831"/>
                  </a:lnTo>
                  <a:lnTo>
                    <a:pt x="2733980" y="196113"/>
                  </a:lnTo>
                  <a:lnTo>
                    <a:pt x="2734082" y="196113"/>
                  </a:lnTo>
                  <a:lnTo>
                    <a:pt x="2734082" y="192684"/>
                  </a:lnTo>
                  <a:lnTo>
                    <a:pt x="2734133" y="192684"/>
                  </a:lnTo>
                  <a:lnTo>
                    <a:pt x="2734133" y="191351"/>
                  </a:lnTo>
                  <a:lnTo>
                    <a:pt x="2734133" y="193383"/>
                  </a:lnTo>
                  <a:lnTo>
                    <a:pt x="2734133" y="191986"/>
                  </a:lnTo>
                  <a:lnTo>
                    <a:pt x="2734183" y="191986"/>
                  </a:lnTo>
                  <a:lnTo>
                    <a:pt x="2734183" y="195415"/>
                  </a:lnTo>
                  <a:lnTo>
                    <a:pt x="2734183" y="193383"/>
                  </a:lnTo>
                  <a:lnTo>
                    <a:pt x="2734183" y="194716"/>
                  </a:lnTo>
                  <a:lnTo>
                    <a:pt x="2734222" y="194716"/>
                  </a:lnTo>
                  <a:lnTo>
                    <a:pt x="2734222" y="196113"/>
                  </a:lnTo>
                  <a:lnTo>
                    <a:pt x="2734222" y="195415"/>
                  </a:lnTo>
                  <a:lnTo>
                    <a:pt x="2734222" y="196113"/>
                  </a:lnTo>
                  <a:lnTo>
                    <a:pt x="2734323" y="196113"/>
                  </a:lnTo>
                  <a:lnTo>
                    <a:pt x="2734323" y="198831"/>
                  </a:lnTo>
                  <a:lnTo>
                    <a:pt x="2734323" y="197447"/>
                  </a:lnTo>
                  <a:lnTo>
                    <a:pt x="2734374" y="197447"/>
                  </a:lnTo>
                  <a:lnTo>
                    <a:pt x="2734374" y="199530"/>
                  </a:lnTo>
                  <a:lnTo>
                    <a:pt x="2734374" y="198831"/>
                  </a:lnTo>
                  <a:lnTo>
                    <a:pt x="2734374" y="200228"/>
                  </a:lnTo>
                  <a:lnTo>
                    <a:pt x="2734425" y="200876"/>
                  </a:lnTo>
                  <a:lnTo>
                    <a:pt x="2734425" y="200228"/>
                  </a:lnTo>
                  <a:lnTo>
                    <a:pt x="2734425" y="200876"/>
                  </a:lnTo>
                  <a:lnTo>
                    <a:pt x="2734425" y="200228"/>
                  </a:lnTo>
                  <a:lnTo>
                    <a:pt x="2734425" y="200876"/>
                  </a:lnTo>
                  <a:lnTo>
                    <a:pt x="2734425" y="200228"/>
                  </a:lnTo>
                  <a:lnTo>
                    <a:pt x="2734425" y="200876"/>
                  </a:lnTo>
                  <a:lnTo>
                    <a:pt x="2734526" y="200876"/>
                  </a:lnTo>
                  <a:lnTo>
                    <a:pt x="2734526" y="199530"/>
                  </a:lnTo>
                  <a:lnTo>
                    <a:pt x="2734577" y="199530"/>
                  </a:lnTo>
                  <a:lnTo>
                    <a:pt x="2734577" y="195415"/>
                  </a:lnTo>
                  <a:lnTo>
                    <a:pt x="2734628" y="195415"/>
                  </a:lnTo>
                  <a:lnTo>
                    <a:pt x="2734628" y="193383"/>
                  </a:lnTo>
                  <a:lnTo>
                    <a:pt x="2734628" y="194716"/>
                  </a:lnTo>
                  <a:lnTo>
                    <a:pt x="2734628" y="192684"/>
                  </a:lnTo>
                  <a:lnTo>
                    <a:pt x="2734628" y="193383"/>
                  </a:lnTo>
                  <a:lnTo>
                    <a:pt x="2734628" y="191351"/>
                  </a:lnTo>
                  <a:lnTo>
                    <a:pt x="2734679" y="191351"/>
                  </a:lnTo>
                  <a:lnTo>
                    <a:pt x="2734679" y="189954"/>
                  </a:lnTo>
                  <a:lnTo>
                    <a:pt x="2734679" y="191351"/>
                  </a:lnTo>
                  <a:lnTo>
                    <a:pt x="2734679" y="189268"/>
                  </a:lnTo>
                  <a:lnTo>
                    <a:pt x="2734768" y="189268"/>
                  </a:lnTo>
                  <a:lnTo>
                    <a:pt x="2734768" y="191351"/>
                  </a:lnTo>
                  <a:lnTo>
                    <a:pt x="2734768" y="189954"/>
                  </a:lnTo>
                  <a:lnTo>
                    <a:pt x="2734768" y="191351"/>
                  </a:lnTo>
                  <a:lnTo>
                    <a:pt x="2734819" y="191351"/>
                  </a:lnTo>
                  <a:lnTo>
                    <a:pt x="2734819" y="193383"/>
                  </a:lnTo>
                  <a:lnTo>
                    <a:pt x="2734819" y="192684"/>
                  </a:lnTo>
                  <a:lnTo>
                    <a:pt x="2734819" y="193383"/>
                  </a:lnTo>
                  <a:lnTo>
                    <a:pt x="2734819" y="192684"/>
                  </a:lnTo>
                  <a:lnTo>
                    <a:pt x="2734819" y="193383"/>
                  </a:lnTo>
                  <a:lnTo>
                    <a:pt x="2734819" y="192684"/>
                  </a:lnTo>
                  <a:lnTo>
                    <a:pt x="2734819" y="194716"/>
                  </a:lnTo>
                  <a:lnTo>
                    <a:pt x="2734869" y="194716"/>
                  </a:lnTo>
                  <a:lnTo>
                    <a:pt x="2734869" y="197447"/>
                  </a:lnTo>
                  <a:lnTo>
                    <a:pt x="2734920" y="197447"/>
                  </a:lnTo>
                  <a:lnTo>
                    <a:pt x="2734920" y="200228"/>
                  </a:lnTo>
                  <a:lnTo>
                    <a:pt x="2735022" y="200228"/>
                  </a:lnTo>
                  <a:lnTo>
                    <a:pt x="2735022" y="199530"/>
                  </a:lnTo>
                  <a:lnTo>
                    <a:pt x="2735022" y="202260"/>
                  </a:lnTo>
                  <a:lnTo>
                    <a:pt x="2735022" y="200876"/>
                  </a:lnTo>
                  <a:lnTo>
                    <a:pt x="2735072" y="200876"/>
                  </a:lnTo>
                  <a:lnTo>
                    <a:pt x="2735072" y="199530"/>
                  </a:lnTo>
                  <a:lnTo>
                    <a:pt x="2735072" y="200228"/>
                  </a:lnTo>
                  <a:lnTo>
                    <a:pt x="2735072" y="199530"/>
                  </a:lnTo>
                  <a:lnTo>
                    <a:pt x="2735123" y="199530"/>
                  </a:lnTo>
                  <a:lnTo>
                    <a:pt x="2735123" y="197447"/>
                  </a:lnTo>
                  <a:lnTo>
                    <a:pt x="2735123" y="199530"/>
                  </a:lnTo>
                  <a:lnTo>
                    <a:pt x="2735123" y="198831"/>
                  </a:lnTo>
                  <a:lnTo>
                    <a:pt x="2735225" y="198831"/>
                  </a:lnTo>
                  <a:lnTo>
                    <a:pt x="2735225" y="197447"/>
                  </a:lnTo>
                  <a:lnTo>
                    <a:pt x="2735225" y="199530"/>
                  </a:lnTo>
                  <a:lnTo>
                    <a:pt x="2735225" y="198831"/>
                  </a:lnTo>
                  <a:lnTo>
                    <a:pt x="2735263" y="198831"/>
                  </a:lnTo>
                  <a:lnTo>
                    <a:pt x="2735263" y="196799"/>
                  </a:lnTo>
                  <a:lnTo>
                    <a:pt x="2735263" y="198831"/>
                  </a:lnTo>
                  <a:lnTo>
                    <a:pt x="2735263" y="197447"/>
                  </a:lnTo>
                  <a:lnTo>
                    <a:pt x="2735263" y="198831"/>
                  </a:lnTo>
                  <a:lnTo>
                    <a:pt x="2735263" y="197447"/>
                  </a:lnTo>
                  <a:lnTo>
                    <a:pt x="2735314" y="197447"/>
                  </a:lnTo>
                  <a:lnTo>
                    <a:pt x="2735314" y="196799"/>
                  </a:lnTo>
                  <a:lnTo>
                    <a:pt x="2735314" y="197447"/>
                  </a:lnTo>
                  <a:lnTo>
                    <a:pt x="2735314" y="196799"/>
                  </a:lnTo>
                  <a:lnTo>
                    <a:pt x="2735314" y="197447"/>
                  </a:lnTo>
                  <a:lnTo>
                    <a:pt x="2735314" y="196799"/>
                  </a:lnTo>
                  <a:lnTo>
                    <a:pt x="2735314" y="197447"/>
                  </a:lnTo>
                  <a:lnTo>
                    <a:pt x="2735314" y="196799"/>
                  </a:lnTo>
                  <a:lnTo>
                    <a:pt x="2735314" y="197447"/>
                  </a:lnTo>
                  <a:lnTo>
                    <a:pt x="2735365" y="197447"/>
                  </a:lnTo>
                  <a:lnTo>
                    <a:pt x="2735365" y="198831"/>
                  </a:lnTo>
                  <a:lnTo>
                    <a:pt x="2735365" y="197447"/>
                  </a:lnTo>
                  <a:lnTo>
                    <a:pt x="2735365" y="198831"/>
                  </a:lnTo>
                  <a:lnTo>
                    <a:pt x="2735466" y="198831"/>
                  </a:lnTo>
                  <a:lnTo>
                    <a:pt x="2735466" y="200228"/>
                  </a:lnTo>
                  <a:lnTo>
                    <a:pt x="2735517" y="200228"/>
                  </a:lnTo>
                  <a:lnTo>
                    <a:pt x="2735517" y="199530"/>
                  </a:lnTo>
                  <a:lnTo>
                    <a:pt x="2735517" y="200876"/>
                  </a:lnTo>
                  <a:lnTo>
                    <a:pt x="2735517" y="200228"/>
                  </a:lnTo>
                  <a:lnTo>
                    <a:pt x="2735568" y="200228"/>
                  </a:lnTo>
                  <a:lnTo>
                    <a:pt x="2735568" y="199530"/>
                  </a:lnTo>
                  <a:lnTo>
                    <a:pt x="2735568" y="200228"/>
                  </a:lnTo>
                  <a:lnTo>
                    <a:pt x="2735568" y="199530"/>
                  </a:lnTo>
                  <a:lnTo>
                    <a:pt x="2735669" y="198831"/>
                  </a:lnTo>
                  <a:lnTo>
                    <a:pt x="2735669" y="200876"/>
                  </a:lnTo>
                  <a:lnTo>
                    <a:pt x="2735669" y="199530"/>
                  </a:lnTo>
                  <a:lnTo>
                    <a:pt x="2735720" y="199530"/>
                  </a:lnTo>
                  <a:lnTo>
                    <a:pt x="2735720" y="202959"/>
                  </a:lnTo>
                  <a:lnTo>
                    <a:pt x="2735720" y="200228"/>
                  </a:lnTo>
                  <a:lnTo>
                    <a:pt x="2735771" y="200876"/>
                  </a:lnTo>
                  <a:lnTo>
                    <a:pt x="2735771" y="202260"/>
                  </a:lnTo>
                  <a:lnTo>
                    <a:pt x="2735771" y="200228"/>
                  </a:lnTo>
                  <a:lnTo>
                    <a:pt x="2735809" y="200876"/>
                  </a:lnTo>
                  <a:lnTo>
                    <a:pt x="2735809" y="200228"/>
                  </a:lnTo>
                  <a:lnTo>
                    <a:pt x="2735809" y="200876"/>
                  </a:lnTo>
                  <a:lnTo>
                    <a:pt x="2735809" y="200228"/>
                  </a:lnTo>
                  <a:lnTo>
                    <a:pt x="2735809" y="200876"/>
                  </a:lnTo>
                  <a:lnTo>
                    <a:pt x="2735911" y="200228"/>
                  </a:lnTo>
                  <a:lnTo>
                    <a:pt x="2735911" y="200876"/>
                  </a:lnTo>
                  <a:lnTo>
                    <a:pt x="2735911" y="200228"/>
                  </a:lnTo>
                  <a:lnTo>
                    <a:pt x="2735962" y="200228"/>
                  </a:lnTo>
                  <a:lnTo>
                    <a:pt x="2735962" y="199530"/>
                  </a:lnTo>
                  <a:lnTo>
                    <a:pt x="2735962" y="200228"/>
                  </a:lnTo>
                  <a:lnTo>
                    <a:pt x="2735962" y="199530"/>
                  </a:lnTo>
                  <a:lnTo>
                    <a:pt x="2735962" y="200228"/>
                  </a:lnTo>
                  <a:lnTo>
                    <a:pt x="2735962" y="199530"/>
                  </a:lnTo>
                  <a:lnTo>
                    <a:pt x="2736012" y="199530"/>
                  </a:lnTo>
                  <a:lnTo>
                    <a:pt x="2736012" y="198831"/>
                  </a:lnTo>
                  <a:lnTo>
                    <a:pt x="2736012" y="199530"/>
                  </a:lnTo>
                  <a:lnTo>
                    <a:pt x="2736012" y="198831"/>
                  </a:lnTo>
                  <a:lnTo>
                    <a:pt x="2736114" y="198831"/>
                  </a:lnTo>
                  <a:lnTo>
                    <a:pt x="2736114" y="200228"/>
                  </a:lnTo>
                  <a:lnTo>
                    <a:pt x="2736165" y="200228"/>
                  </a:lnTo>
                  <a:lnTo>
                    <a:pt x="2736165" y="199530"/>
                  </a:lnTo>
                  <a:lnTo>
                    <a:pt x="2736165" y="203594"/>
                  </a:lnTo>
                  <a:lnTo>
                    <a:pt x="2736165" y="202959"/>
                  </a:lnTo>
                  <a:lnTo>
                    <a:pt x="2736215" y="202959"/>
                  </a:lnTo>
                  <a:lnTo>
                    <a:pt x="2736215" y="200876"/>
                  </a:lnTo>
                  <a:lnTo>
                    <a:pt x="2736215" y="202959"/>
                  </a:lnTo>
                  <a:lnTo>
                    <a:pt x="2736266" y="202959"/>
                  </a:lnTo>
                  <a:lnTo>
                    <a:pt x="2736266" y="202260"/>
                  </a:lnTo>
                  <a:lnTo>
                    <a:pt x="2736266" y="203594"/>
                  </a:lnTo>
                  <a:lnTo>
                    <a:pt x="2736355" y="202959"/>
                  </a:lnTo>
                  <a:lnTo>
                    <a:pt x="2736355" y="203594"/>
                  </a:lnTo>
                  <a:lnTo>
                    <a:pt x="2736355" y="202959"/>
                  </a:lnTo>
                  <a:lnTo>
                    <a:pt x="2736355" y="203594"/>
                  </a:lnTo>
                  <a:lnTo>
                    <a:pt x="2736355" y="202959"/>
                  </a:lnTo>
                  <a:lnTo>
                    <a:pt x="2736457" y="202959"/>
                  </a:lnTo>
                  <a:lnTo>
                    <a:pt x="2736457" y="202260"/>
                  </a:lnTo>
                  <a:lnTo>
                    <a:pt x="2736457" y="202959"/>
                  </a:lnTo>
                  <a:lnTo>
                    <a:pt x="2736457" y="200876"/>
                  </a:lnTo>
                  <a:lnTo>
                    <a:pt x="2736508" y="200876"/>
                  </a:lnTo>
                  <a:lnTo>
                    <a:pt x="2736508" y="202260"/>
                  </a:lnTo>
                  <a:lnTo>
                    <a:pt x="2736508" y="200228"/>
                  </a:lnTo>
                  <a:lnTo>
                    <a:pt x="2736508" y="200876"/>
                  </a:lnTo>
                  <a:lnTo>
                    <a:pt x="2736508" y="199530"/>
                  </a:lnTo>
                  <a:lnTo>
                    <a:pt x="2736508" y="200228"/>
                  </a:lnTo>
                  <a:lnTo>
                    <a:pt x="2736508" y="199530"/>
                  </a:lnTo>
                  <a:lnTo>
                    <a:pt x="2736609" y="199530"/>
                  </a:lnTo>
                  <a:lnTo>
                    <a:pt x="2736609" y="200228"/>
                  </a:lnTo>
                  <a:lnTo>
                    <a:pt x="2736609" y="199530"/>
                  </a:lnTo>
                  <a:lnTo>
                    <a:pt x="2736609" y="200228"/>
                  </a:lnTo>
                  <a:lnTo>
                    <a:pt x="2736609" y="199530"/>
                  </a:lnTo>
                  <a:lnTo>
                    <a:pt x="2736660" y="199530"/>
                  </a:lnTo>
                  <a:lnTo>
                    <a:pt x="2736660" y="202959"/>
                  </a:lnTo>
                  <a:lnTo>
                    <a:pt x="2736660" y="200876"/>
                  </a:lnTo>
                  <a:lnTo>
                    <a:pt x="2736660" y="202260"/>
                  </a:lnTo>
                  <a:lnTo>
                    <a:pt x="2736660" y="200876"/>
                  </a:lnTo>
                  <a:lnTo>
                    <a:pt x="2736711" y="200876"/>
                  </a:lnTo>
                  <a:lnTo>
                    <a:pt x="2736711" y="202959"/>
                  </a:lnTo>
                  <a:lnTo>
                    <a:pt x="2736711" y="202260"/>
                  </a:lnTo>
                  <a:lnTo>
                    <a:pt x="2736711" y="202959"/>
                  </a:lnTo>
                  <a:lnTo>
                    <a:pt x="2736711" y="202260"/>
                  </a:lnTo>
                  <a:lnTo>
                    <a:pt x="2736711" y="202959"/>
                  </a:lnTo>
                  <a:lnTo>
                    <a:pt x="2736812" y="202959"/>
                  </a:lnTo>
                  <a:lnTo>
                    <a:pt x="2736812" y="203594"/>
                  </a:lnTo>
                  <a:lnTo>
                    <a:pt x="2736812" y="202959"/>
                  </a:lnTo>
                  <a:lnTo>
                    <a:pt x="2736812" y="203594"/>
                  </a:lnTo>
                  <a:lnTo>
                    <a:pt x="2736812" y="202959"/>
                  </a:lnTo>
                  <a:lnTo>
                    <a:pt x="2736851" y="202959"/>
                  </a:lnTo>
                  <a:lnTo>
                    <a:pt x="2736851" y="204292"/>
                  </a:lnTo>
                  <a:lnTo>
                    <a:pt x="2736901" y="204292"/>
                  </a:lnTo>
                  <a:lnTo>
                    <a:pt x="2736901" y="202959"/>
                  </a:lnTo>
                  <a:lnTo>
                    <a:pt x="2736901" y="203594"/>
                  </a:lnTo>
                  <a:lnTo>
                    <a:pt x="2736901" y="202959"/>
                  </a:lnTo>
                  <a:lnTo>
                    <a:pt x="2736901" y="203594"/>
                  </a:lnTo>
                  <a:lnTo>
                    <a:pt x="2736952" y="203594"/>
                  </a:lnTo>
                  <a:lnTo>
                    <a:pt x="2736952" y="202959"/>
                  </a:lnTo>
                  <a:lnTo>
                    <a:pt x="2736952" y="203594"/>
                  </a:lnTo>
                  <a:lnTo>
                    <a:pt x="2736952" y="200876"/>
                  </a:lnTo>
                  <a:lnTo>
                    <a:pt x="2737054" y="200876"/>
                  </a:lnTo>
                  <a:lnTo>
                    <a:pt x="2737054" y="204292"/>
                  </a:lnTo>
                  <a:lnTo>
                    <a:pt x="2737054" y="202260"/>
                  </a:lnTo>
                  <a:lnTo>
                    <a:pt x="2737054" y="203594"/>
                  </a:lnTo>
                  <a:lnTo>
                    <a:pt x="2737105" y="203594"/>
                  </a:lnTo>
                  <a:lnTo>
                    <a:pt x="2737105" y="206324"/>
                  </a:lnTo>
                  <a:lnTo>
                    <a:pt x="2737105" y="203594"/>
                  </a:lnTo>
                  <a:lnTo>
                    <a:pt x="2737105" y="204990"/>
                  </a:lnTo>
                  <a:lnTo>
                    <a:pt x="2737155" y="204990"/>
                  </a:lnTo>
                  <a:lnTo>
                    <a:pt x="2737155" y="206324"/>
                  </a:lnTo>
                  <a:lnTo>
                    <a:pt x="2737155" y="204292"/>
                  </a:lnTo>
                  <a:lnTo>
                    <a:pt x="2737257" y="204292"/>
                  </a:lnTo>
                  <a:lnTo>
                    <a:pt x="2737257" y="204990"/>
                  </a:lnTo>
                  <a:lnTo>
                    <a:pt x="2737257" y="204292"/>
                  </a:lnTo>
                  <a:lnTo>
                    <a:pt x="2737257" y="204990"/>
                  </a:lnTo>
                  <a:lnTo>
                    <a:pt x="2737257" y="204292"/>
                  </a:lnTo>
                  <a:lnTo>
                    <a:pt x="2737257" y="204990"/>
                  </a:lnTo>
                  <a:lnTo>
                    <a:pt x="2737257" y="204292"/>
                  </a:lnTo>
                  <a:lnTo>
                    <a:pt x="2737257" y="204990"/>
                  </a:lnTo>
                  <a:lnTo>
                    <a:pt x="2737257" y="204292"/>
                  </a:lnTo>
                  <a:lnTo>
                    <a:pt x="2737308" y="204292"/>
                  </a:lnTo>
                  <a:lnTo>
                    <a:pt x="2737308" y="204990"/>
                  </a:lnTo>
                  <a:lnTo>
                    <a:pt x="2737308" y="204292"/>
                  </a:lnTo>
                  <a:lnTo>
                    <a:pt x="2737308" y="204990"/>
                  </a:lnTo>
                  <a:lnTo>
                    <a:pt x="2737308" y="204292"/>
                  </a:lnTo>
                  <a:lnTo>
                    <a:pt x="2737358" y="204292"/>
                  </a:lnTo>
                  <a:lnTo>
                    <a:pt x="2737358" y="203594"/>
                  </a:lnTo>
                  <a:lnTo>
                    <a:pt x="2737397" y="203594"/>
                  </a:lnTo>
                  <a:lnTo>
                    <a:pt x="2737397" y="202959"/>
                  </a:lnTo>
                  <a:lnTo>
                    <a:pt x="2737397" y="203594"/>
                  </a:lnTo>
                  <a:lnTo>
                    <a:pt x="2737498" y="204292"/>
                  </a:lnTo>
                  <a:lnTo>
                    <a:pt x="2737498" y="203594"/>
                  </a:lnTo>
                  <a:lnTo>
                    <a:pt x="2737498" y="204292"/>
                  </a:lnTo>
                  <a:lnTo>
                    <a:pt x="2737498" y="203594"/>
                  </a:lnTo>
                  <a:lnTo>
                    <a:pt x="2737498" y="207022"/>
                  </a:lnTo>
                  <a:lnTo>
                    <a:pt x="2737549" y="207022"/>
                  </a:lnTo>
                  <a:lnTo>
                    <a:pt x="2737549" y="204990"/>
                  </a:lnTo>
                  <a:lnTo>
                    <a:pt x="2737549" y="207721"/>
                  </a:lnTo>
                  <a:lnTo>
                    <a:pt x="2737549" y="207022"/>
                  </a:lnTo>
                  <a:lnTo>
                    <a:pt x="2737600" y="207022"/>
                  </a:lnTo>
                  <a:lnTo>
                    <a:pt x="2737600" y="206324"/>
                  </a:lnTo>
                  <a:lnTo>
                    <a:pt x="2737600" y="207022"/>
                  </a:lnTo>
                  <a:lnTo>
                    <a:pt x="2737600" y="206324"/>
                  </a:lnTo>
                  <a:lnTo>
                    <a:pt x="2737600" y="207022"/>
                  </a:lnTo>
                  <a:lnTo>
                    <a:pt x="2737600" y="206324"/>
                  </a:lnTo>
                  <a:lnTo>
                    <a:pt x="2737600" y="207022"/>
                  </a:lnTo>
                  <a:lnTo>
                    <a:pt x="2737600" y="206324"/>
                  </a:lnTo>
                  <a:lnTo>
                    <a:pt x="2737600" y="207022"/>
                  </a:lnTo>
                  <a:lnTo>
                    <a:pt x="2737600" y="206324"/>
                  </a:lnTo>
                  <a:lnTo>
                    <a:pt x="2737600" y="207022"/>
                  </a:lnTo>
                  <a:lnTo>
                    <a:pt x="2737600" y="206324"/>
                  </a:lnTo>
                  <a:lnTo>
                    <a:pt x="2737701" y="207022"/>
                  </a:lnTo>
                  <a:lnTo>
                    <a:pt x="2737701" y="204990"/>
                  </a:lnTo>
                  <a:lnTo>
                    <a:pt x="2737701" y="206324"/>
                  </a:lnTo>
                  <a:lnTo>
                    <a:pt x="2737752" y="206324"/>
                  </a:lnTo>
                  <a:lnTo>
                    <a:pt x="2737752" y="204990"/>
                  </a:lnTo>
                  <a:lnTo>
                    <a:pt x="2737752" y="206324"/>
                  </a:lnTo>
                  <a:lnTo>
                    <a:pt x="2737752" y="204990"/>
                  </a:lnTo>
                  <a:lnTo>
                    <a:pt x="2737752" y="206324"/>
                  </a:lnTo>
                  <a:lnTo>
                    <a:pt x="2737752" y="204990"/>
                  </a:lnTo>
                  <a:lnTo>
                    <a:pt x="2737803" y="204990"/>
                  </a:lnTo>
                  <a:lnTo>
                    <a:pt x="2737803" y="204292"/>
                  </a:lnTo>
                  <a:lnTo>
                    <a:pt x="2737803" y="204990"/>
                  </a:lnTo>
                  <a:lnTo>
                    <a:pt x="2737803" y="204292"/>
                  </a:lnTo>
                  <a:lnTo>
                    <a:pt x="2737854" y="204292"/>
                  </a:lnTo>
                  <a:lnTo>
                    <a:pt x="2737854" y="202260"/>
                  </a:lnTo>
                  <a:lnTo>
                    <a:pt x="2737943" y="202260"/>
                  </a:lnTo>
                  <a:lnTo>
                    <a:pt x="2737943" y="200228"/>
                  </a:lnTo>
                  <a:lnTo>
                    <a:pt x="2737943" y="202959"/>
                  </a:lnTo>
                  <a:lnTo>
                    <a:pt x="2737943" y="202260"/>
                  </a:lnTo>
                  <a:lnTo>
                    <a:pt x="2737994" y="202260"/>
                  </a:lnTo>
                  <a:lnTo>
                    <a:pt x="2737994" y="200876"/>
                  </a:lnTo>
                  <a:lnTo>
                    <a:pt x="2737994" y="204292"/>
                  </a:lnTo>
                  <a:lnTo>
                    <a:pt x="2737994" y="203594"/>
                  </a:lnTo>
                  <a:lnTo>
                    <a:pt x="2738044" y="203594"/>
                  </a:lnTo>
                  <a:lnTo>
                    <a:pt x="2738044" y="202959"/>
                  </a:lnTo>
                  <a:lnTo>
                    <a:pt x="2738044" y="204990"/>
                  </a:lnTo>
                  <a:lnTo>
                    <a:pt x="2738044" y="204292"/>
                  </a:lnTo>
                  <a:lnTo>
                    <a:pt x="2738044" y="204990"/>
                  </a:lnTo>
                  <a:lnTo>
                    <a:pt x="2738044" y="204292"/>
                  </a:lnTo>
                  <a:lnTo>
                    <a:pt x="2738095" y="204292"/>
                  </a:lnTo>
                  <a:lnTo>
                    <a:pt x="2738095" y="204990"/>
                  </a:lnTo>
                  <a:lnTo>
                    <a:pt x="2738095" y="204292"/>
                  </a:lnTo>
                  <a:lnTo>
                    <a:pt x="2738095" y="204990"/>
                  </a:lnTo>
                  <a:lnTo>
                    <a:pt x="2738197" y="204990"/>
                  </a:lnTo>
                  <a:lnTo>
                    <a:pt x="2738197" y="206324"/>
                  </a:lnTo>
                  <a:lnTo>
                    <a:pt x="2738197" y="204990"/>
                  </a:lnTo>
                  <a:lnTo>
                    <a:pt x="2738247" y="204990"/>
                  </a:lnTo>
                  <a:lnTo>
                    <a:pt x="2738247" y="206324"/>
                  </a:lnTo>
                  <a:lnTo>
                    <a:pt x="2738247" y="204990"/>
                  </a:lnTo>
                  <a:lnTo>
                    <a:pt x="2738247" y="206324"/>
                  </a:lnTo>
                  <a:lnTo>
                    <a:pt x="2738247" y="204990"/>
                  </a:lnTo>
                  <a:lnTo>
                    <a:pt x="2738298" y="204990"/>
                  </a:lnTo>
                  <a:lnTo>
                    <a:pt x="2738298" y="206324"/>
                  </a:lnTo>
                  <a:lnTo>
                    <a:pt x="2738298" y="204292"/>
                  </a:lnTo>
                  <a:lnTo>
                    <a:pt x="2738400" y="204292"/>
                  </a:lnTo>
                  <a:lnTo>
                    <a:pt x="2738400" y="200876"/>
                  </a:lnTo>
                  <a:lnTo>
                    <a:pt x="2738438" y="200876"/>
                  </a:lnTo>
                  <a:lnTo>
                    <a:pt x="2738438" y="200228"/>
                  </a:lnTo>
                  <a:lnTo>
                    <a:pt x="2738438" y="202959"/>
                  </a:lnTo>
                  <a:lnTo>
                    <a:pt x="2738438" y="200228"/>
                  </a:lnTo>
                  <a:lnTo>
                    <a:pt x="2738489" y="200876"/>
                  </a:lnTo>
                  <a:lnTo>
                    <a:pt x="2738489" y="204292"/>
                  </a:lnTo>
                  <a:lnTo>
                    <a:pt x="2738489" y="202959"/>
                  </a:lnTo>
                  <a:lnTo>
                    <a:pt x="2738540" y="202959"/>
                  </a:lnTo>
                  <a:lnTo>
                    <a:pt x="2738540" y="203594"/>
                  </a:lnTo>
                  <a:lnTo>
                    <a:pt x="2738540" y="202959"/>
                  </a:lnTo>
                  <a:lnTo>
                    <a:pt x="2738540" y="203594"/>
                  </a:lnTo>
                  <a:lnTo>
                    <a:pt x="2738641" y="203594"/>
                  </a:lnTo>
                  <a:lnTo>
                    <a:pt x="2738641" y="204292"/>
                  </a:lnTo>
                  <a:lnTo>
                    <a:pt x="2738641" y="203594"/>
                  </a:lnTo>
                  <a:lnTo>
                    <a:pt x="2738641" y="204292"/>
                  </a:lnTo>
                  <a:lnTo>
                    <a:pt x="2738641" y="203594"/>
                  </a:lnTo>
                  <a:lnTo>
                    <a:pt x="2738692" y="203594"/>
                  </a:lnTo>
                  <a:lnTo>
                    <a:pt x="2738692" y="204292"/>
                  </a:lnTo>
                  <a:lnTo>
                    <a:pt x="2738692" y="203594"/>
                  </a:lnTo>
                  <a:lnTo>
                    <a:pt x="2738692" y="204990"/>
                  </a:lnTo>
                  <a:lnTo>
                    <a:pt x="2738692" y="204292"/>
                  </a:lnTo>
                  <a:lnTo>
                    <a:pt x="2738743" y="204292"/>
                  </a:lnTo>
                  <a:lnTo>
                    <a:pt x="2738743" y="204990"/>
                  </a:lnTo>
                  <a:lnTo>
                    <a:pt x="2738743" y="203594"/>
                  </a:lnTo>
                  <a:lnTo>
                    <a:pt x="2738743" y="204292"/>
                  </a:lnTo>
                  <a:lnTo>
                    <a:pt x="2738844" y="203594"/>
                  </a:lnTo>
                  <a:lnTo>
                    <a:pt x="2738844" y="204292"/>
                  </a:lnTo>
                  <a:lnTo>
                    <a:pt x="2738844" y="202959"/>
                  </a:lnTo>
                  <a:lnTo>
                    <a:pt x="2738844" y="203594"/>
                  </a:lnTo>
                  <a:lnTo>
                    <a:pt x="2738844" y="202959"/>
                  </a:lnTo>
                  <a:lnTo>
                    <a:pt x="2738895" y="202959"/>
                  </a:lnTo>
                  <a:lnTo>
                    <a:pt x="2738895" y="200228"/>
                  </a:lnTo>
                  <a:lnTo>
                    <a:pt x="2738946" y="199530"/>
                  </a:lnTo>
                  <a:lnTo>
                    <a:pt x="2738946" y="200228"/>
                  </a:lnTo>
                  <a:lnTo>
                    <a:pt x="2738946" y="199530"/>
                  </a:lnTo>
                  <a:lnTo>
                    <a:pt x="2738946" y="200228"/>
                  </a:lnTo>
                  <a:lnTo>
                    <a:pt x="2738946" y="199530"/>
                  </a:lnTo>
                  <a:lnTo>
                    <a:pt x="2738984" y="200228"/>
                  </a:lnTo>
                  <a:lnTo>
                    <a:pt x="2738984" y="202260"/>
                  </a:lnTo>
                  <a:lnTo>
                    <a:pt x="2738984" y="200876"/>
                  </a:lnTo>
                  <a:lnTo>
                    <a:pt x="2738984" y="202260"/>
                  </a:lnTo>
                  <a:lnTo>
                    <a:pt x="2738984" y="200876"/>
                  </a:lnTo>
                  <a:lnTo>
                    <a:pt x="2739086" y="200876"/>
                  </a:lnTo>
                  <a:lnTo>
                    <a:pt x="2739086" y="202260"/>
                  </a:lnTo>
                  <a:lnTo>
                    <a:pt x="2739086" y="200228"/>
                  </a:lnTo>
                  <a:lnTo>
                    <a:pt x="2739137" y="200228"/>
                  </a:lnTo>
                  <a:lnTo>
                    <a:pt x="2739137" y="202260"/>
                  </a:lnTo>
                  <a:lnTo>
                    <a:pt x="2739137" y="200876"/>
                  </a:lnTo>
                  <a:lnTo>
                    <a:pt x="2739137" y="202260"/>
                  </a:lnTo>
                  <a:lnTo>
                    <a:pt x="2739187" y="202260"/>
                  </a:lnTo>
                  <a:lnTo>
                    <a:pt x="2739187" y="202959"/>
                  </a:lnTo>
                  <a:lnTo>
                    <a:pt x="2739187" y="202260"/>
                  </a:lnTo>
                  <a:lnTo>
                    <a:pt x="2739187" y="203594"/>
                  </a:lnTo>
                  <a:lnTo>
                    <a:pt x="2739289" y="203594"/>
                  </a:lnTo>
                  <a:lnTo>
                    <a:pt x="2739289" y="202959"/>
                  </a:lnTo>
                  <a:lnTo>
                    <a:pt x="2739289" y="203594"/>
                  </a:lnTo>
                  <a:lnTo>
                    <a:pt x="2739289" y="202959"/>
                  </a:lnTo>
                  <a:lnTo>
                    <a:pt x="2739340" y="202959"/>
                  </a:lnTo>
                  <a:lnTo>
                    <a:pt x="2739340" y="202260"/>
                  </a:lnTo>
                  <a:lnTo>
                    <a:pt x="2739340" y="202959"/>
                  </a:lnTo>
                  <a:lnTo>
                    <a:pt x="2739340" y="202260"/>
                  </a:lnTo>
                  <a:lnTo>
                    <a:pt x="2739340" y="202959"/>
                  </a:lnTo>
                  <a:lnTo>
                    <a:pt x="2739340" y="202260"/>
                  </a:lnTo>
                  <a:lnTo>
                    <a:pt x="2739340" y="202959"/>
                  </a:lnTo>
                  <a:lnTo>
                    <a:pt x="2739340" y="202260"/>
                  </a:lnTo>
                  <a:lnTo>
                    <a:pt x="2739390" y="202260"/>
                  </a:lnTo>
                  <a:lnTo>
                    <a:pt x="2739390" y="200228"/>
                  </a:lnTo>
                  <a:lnTo>
                    <a:pt x="2739390" y="200876"/>
                  </a:lnTo>
                  <a:lnTo>
                    <a:pt x="2739441" y="202260"/>
                  </a:lnTo>
                  <a:lnTo>
                    <a:pt x="2739441" y="200228"/>
                  </a:lnTo>
                  <a:lnTo>
                    <a:pt x="2739441" y="203594"/>
                  </a:lnTo>
                  <a:lnTo>
                    <a:pt x="2739530" y="203594"/>
                  </a:lnTo>
                  <a:lnTo>
                    <a:pt x="2739530" y="200876"/>
                  </a:lnTo>
                  <a:lnTo>
                    <a:pt x="2739530" y="202959"/>
                  </a:lnTo>
                  <a:lnTo>
                    <a:pt x="2739581" y="202959"/>
                  </a:lnTo>
                  <a:lnTo>
                    <a:pt x="2739581" y="202260"/>
                  </a:lnTo>
                  <a:lnTo>
                    <a:pt x="2739581" y="202959"/>
                  </a:lnTo>
                  <a:lnTo>
                    <a:pt x="2739581" y="202260"/>
                  </a:lnTo>
                  <a:lnTo>
                    <a:pt x="2739632" y="202260"/>
                  </a:lnTo>
                  <a:lnTo>
                    <a:pt x="2739632" y="200876"/>
                  </a:lnTo>
                  <a:lnTo>
                    <a:pt x="2739632" y="202260"/>
                  </a:lnTo>
                  <a:lnTo>
                    <a:pt x="2739683" y="202260"/>
                  </a:lnTo>
                  <a:lnTo>
                    <a:pt x="2739683" y="202959"/>
                  </a:lnTo>
                  <a:lnTo>
                    <a:pt x="2739683" y="202260"/>
                  </a:lnTo>
                  <a:lnTo>
                    <a:pt x="2739784" y="202260"/>
                  </a:lnTo>
                  <a:lnTo>
                    <a:pt x="2739784" y="202959"/>
                  </a:lnTo>
                  <a:lnTo>
                    <a:pt x="2739784" y="202260"/>
                  </a:lnTo>
                  <a:lnTo>
                    <a:pt x="2739835" y="202260"/>
                  </a:lnTo>
                  <a:lnTo>
                    <a:pt x="2739835" y="200876"/>
                  </a:lnTo>
                  <a:lnTo>
                    <a:pt x="2739835" y="202260"/>
                  </a:lnTo>
                  <a:lnTo>
                    <a:pt x="2739835" y="200228"/>
                  </a:lnTo>
                  <a:lnTo>
                    <a:pt x="2739835" y="200876"/>
                  </a:lnTo>
                  <a:lnTo>
                    <a:pt x="2739835" y="200228"/>
                  </a:lnTo>
                  <a:lnTo>
                    <a:pt x="2739886" y="200228"/>
                  </a:lnTo>
                  <a:lnTo>
                    <a:pt x="2739886" y="198831"/>
                  </a:lnTo>
                  <a:lnTo>
                    <a:pt x="2739886" y="199530"/>
                  </a:lnTo>
                  <a:lnTo>
                    <a:pt x="2739886" y="198831"/>
                  </a:lnTo>
                  <a:lnTo>
                    <a:pt x="2739886" y="199530"/>
                  </a:lnTo>
                  <a:lnTo>
                    <a:pt x="2739886" y="197447"/>
                  </a:lnTo>
                  <a:lnTo>
                    <a:pt x="2739987" y="198831"/>
                  </a:lnTo>
                  <a:lnTo>
                    <a:pt x="2739987" y="199530"/>
                  </a:lnTo>
                  <a:lnTo>
                    <a:pt x="2739987" y="198831"/>
                  </a:lnTo>
                  <a:lnTo>
                    <a:pt x="2739987" y="199530"/>
                  </a:lnTo>
                  <a:lnTo>
                    <a:pt x="2739987" y="198831"/>
                  </a:lnTo>
                  <a:lnTo>
                    <a:pt x="2739987" y="199530"/>
                  </a:lnTo>
                  <a:lnTo>
                    <a:pt x="2739987" y="198831"/>
                  </a:lnTo>
                  <a:lnTo>
                    <a:pt x="2739987" y="199530"/>
                  </a:lnTo>
                  <a:lnTo>
                    <a:pt x="2740026" y="200228"/>
                  </a:lnTo>
                  <a:lnTo>
                    <a:pt x="2740026" y="202260"/>
                  </a:lnTo>
                  <a:lnTo>
                    <a:pt x="2740026" y="200228"/>
                  </a:lnTo>
                  <a:lnTo>
                    <a:pt x="2740026" y="200876"/>
                  </a:lnTo>
                  <a:lnTo>
                    <a:pt x="2740026" y="200228"/>
                  </a:lnTo>
                  <a:lnTo>
                    <a:pt x="2740076" y="200228"/>
                  </a:lnTo>
                  <a:lnTo>
                    <a:pt x="2740076" y="200876"/>
                  </a:lnTo>
                  <a:lnTo>
                    <a:pt x="2740076" y="200228"/>
                  </a:lnTo>
                  <a:lnTo>
                    <a:pt x="2740076" y="200876"/>
                  </a:lnTo>
                  <a:lnTo>
                    <a:pt x="2740127" y="200876"/>
                  </a:lnTo>
                  <a:lnTo>
                    <a:pt x="2740127" y="202260"/>
                  </a:lnTo>
                  <a:lnTo>
                    <a:pt x="2740127" y="200876"/>
                  </a:lnTo>
                  <a:lnTo>
                    <a:pt x="2740127" y="202260"/>
                  </a:lnTo>
                  <a:lnTo>
                    <a:pt x="2740229" y="202260"/>
                  </a:lnTo>
                  <a:lnTo>
                    <a:pt x="2740229" y="202959"/>
                  </a:lnTo>
                  <a:lnTo>
                    <a:pt x="2740229" y="202260"/>
                  </a:lnTo>
                  <a:lnTo>
                    <a:pt x="2740280" y="202260"/>
                  </a:lnTo>
                  <a:lnTo>
                    <a:pt x="2740280" y="202959"/>
                  </a:lnTo>
                  <a:lnTo>
                    <a:pt x="2740280" y="202260"/>
                  </a:lnTo>
                  <a:lnTo>
                    <a:pt x="2740280" y="202959"/>
                  </a:lnTo>
                  <a:lnTo>
                    <a:pt x="2740280" y="200876"/>
                  </a:lnTo>
                  <a:lnTo>
                    <a:pt x="2740330" y="200876"/>
                  </a:lnTo>
                  <a:lnTo>
                    <a:pt x="2740330" y="202260"/>
                  </a:lnTo>
                  <a:lnTo>
                    <a:pt x="2740330" y="200228"/>
                  </a:lnTo>
                  <a:lnTo>
                    <a:pt x="2740330" y="200876"/>
                  </a:lnTo>
                  <a:lnTo>
                    <a:pt x="2740330" y="200228"/>
                  </a:lnTo>
                  <a:lnTo>
                    <a:pt x="2740432" y="200228"/>
                  </a:lnTo>
                  <a:lnTo>
                    <a:pt x="2740432" y="199530"/>
                  </a:lnTo>
                  <a:lnTo>
                    <a:pt x="2740432" y="200228"/>
                  </a:lnTo>
                  <a:lnTo>
                    <a:pt x="2740432" y="199530"/>
                  </a:lnTo>
                  <a:lnTo>
                    <a:pt x="2740432" y="200228"/>
                  </a:lnTo>
                  <a:lnTo>
                    <a:pt x="2740432" y="199530"/>
                  </a:lnTo>
                  <a:lnTo>
                    <a:pt x="2740483" y="199530"/>
                  </a:lnTo>
                  <a:lnTo>
                    <a:pt x="2740483" y="198831"/>
                  </a:lnTo>
                  <a:lnTo>
                    <a:pt x="2740483" y="200876"/>
                  </a:lnTo>
                  <a:lnTo>
                    <a:pt x="2740483" y="200228"/>
                  </a:lnTo>
                  <a:lnTo>
                    <a:pt x="2740533" y="200228"/>
                  </a:lnTo>
                  <a:lnTo>
                    <a:pt x="2740533" y="200876"/>
                  </a:lnTo>
                  <a:lnTo>
                    <a:pt x="2740533" y="200228"/>
                  </a:lnTo>
                  <a:lnTo>
                    <a:pt x="2740572" y="200228"/>
                  </a:lnTo>
                  <a:lnTo>
                    <a:pt x="2740572" y="199530"/>
                  </a:lnTo>
                  <a:lnTo>
                    <a:pt x="2740572" y="200228"/>
                  </a:lnTo>
                  <a:lnTo>
                    <a:pt x="2740673" y="200228"/>
                  </a:lnTo>
                  <a:lnTo>
                    <a:pt x="2740673" y="200876"/>
                  </a:lnTo>
                  <a:lnTo>
                    <a:pt x="2740673" y="200228"/>
                  </a:lnTo>
                  <a:lnTo>
                    <a:pt x="2740673" y="200876"/>
                  </a:lnTo>
                  <a:lnTo>
                    <a:pt x="2740673" y="200228"/>
                  </a:lnTo>
                  <a:lnTo>
                    <a:pt x="2740673" y="200876"/>
                  </a:lnTo>
                  <a:lnTo>
                    <a:pt x="2740724" y="200876"/>
                  </a:lnTo>
                  <a:lnTo>
                    <a:pt x="2740724" y="200228"/>
                  </a:lnTo>
                  <a:lnTo>
                    <a:pt x="2740724" y="202260"/>
                  </a:lnTo>
                  <a:lnTo>
                    <a:pt x="2740724" y="200876"/>
                  </a:lnTo>
                  <a:lnTo>
                    <a:pt x="2740724" y="202260"/>
                  </a:lnTo>
                  <a:lnTo>
                    <a:pt x="2740724" y="200876"/>
                  </a:lnTo>
                  <a:lnTo>
                    <a:pt x="2740775" y="200876"/>
                  </a:lnTo>
                  <a:lnTo>
                    <a:pt x="2740775" y="202260"/>
                  </a:lnTo>
                  <a:lnTo>
                    <a:pt x="2740775" y="200228"/>
                  </a:lnTo>
                  <a:lnTo>
                    <a:pt x="2740775" y="200876"/>
                  </a:lnTo>
                  <a:lnTo>
                    <a:pt x="2740775" y="200228"/>
                  </a:lnTo>
                  <a:lnTo>
                    <a:pt x="2740775" y="200876"/>
                  </a:lnTo>
                  <a:lnTo>
                    <a:pt x="2740775" y="200228"/>
                  </a:lnTo>
                  <a:lnTo>
                    <a:pt x="2740876" y="200228"/>
                  </a:lnTo>
                  <a:lnTo>
                    <a:pt x="2740876" y="198831"/>
                  </a:lnTo>
                  <a:lnTo>
                    <a:pt x="2740927" y="199530"/>
                  </a:lnTo>
                  <a:lnTo>
                    <a:pt x="2740927" y="198831"/>
                  </a:lnTo>
                  <a:lnTo>
                    <a:pt x="2740927" y="200228"/>
                  </a:lnTo>
                  <a:lnTo>
                    <a:pt x="2740927" y="199530"/>
                  </a:lnTo>
                  <a:lnTo>
                    <a:pt x="2740978" y="198831"/>
                  </a:lnTo>
                  <a:lnTo>
                    <a:pt x="2740978" y="202260"/>
                  </a:lnTo>
                  <a:lnTo>
                    <a:pt x="2740978" y="200228"/>
                  </a:lnTo>
                  <a:lnTo>
                    <a:pt x="2741029" y="200876"/>
                  </a:lnTo>
                  <a:lnTo>
                    <a:pt x="2741029" y="200228"/>
                  </a:lnTo>
                  <a:lnTo>
                    <a:pt x="2741029" y="202260"/>
                  </a:lnTo>
                  <a:lnTo>
                    <a:pt x="2741029" y="200228"/>
                  </a:lnTo>
                  <a:lnTo>
                    <a:pt x="2741118" y="200876"/>
                  </a:lnTo>
                  <a:lnTo>
                    <a:pt x="2741118" y="202260"/>
                  </a:lnTo>
                  <a:lnTo>
                    <a:pt x="2741118" y="200876"/>
                  </a:lnTo>
                  <a:lnTo>
                    <a:pt x="2741118" y="202260"/>
                  </a:lnTo>
                  <a:lnTo>
                    <a:pt x="2741118" y="200876"/>
                  </a:lnTo>
                  <a:lnTo>
                    <a:pt x="2741118" y="202260"/>
                  </a:lnTo>
                  <a:lnTo>
                    <a:pt x="2741219" y="202260"/>
                  </a:lnTo>
                  <a:lnTo>
                    <a:pt x="2741219" y="202959"/>
                  </a:lnTo>
                  <a:lnTo>
                    <a:pt x="2741219" y="202260"/>
                  </a:lnTo>
                  <a:lnTo>
                    <a:pt x="2741270" y="202260"/>
                  </a:lnTo>
                  <a:lnTo>
                    <a:pt x="2741270" y="200228"/>
                  </a:lnTo>
                  <a:lnTo>
                    <a:pt x="2741372" y="200228"/>
                  </a:lnTo>
                  <a:lnTo>
                    <a:pt x="2741372" y="199530"/>
                  </a:lnTo>
                  <a:lnTo>
                    <a:pt x="2741422" y="198831"/>
                  </a:lnTo>
                  <a:lnTo>
                    <a:pt x="2741422" y="200876"/>
                  </a:lnTo>
                  <a:lnTo>
                    <a:pt x="2741422" y="199530"/>
                  </a:lnTo>
                  <a:lnTo>
                    <a:pt x="2741422" y="200228"/>
                  </a:lnTo>
                  <a:lnTo>
                    <a:pt x="2741473" y="200228"/>
                  </a:lnTo>
                  <a:lnTo>
                    <a:pt x="2741473" y="202260"/>
                  </a:lnTo>
                  <a:lnTo>
                    <a:pt x="2741473" y="200228"/>
                  </a:lnTo>
                  <a:lnTo>
                    <a:pt x="2741473" y="200876"/>
                  </a:lnTo>
                  <a:lnTo>
                    <a:pt x="2741473" y="200228"/>
                  </a:lnTo>
                  <a:lnTo>
                    <a:pt x="2741473" y="200876"/>
                  </a:lnTo>
                  <a:lnTo>
                    <a:pt x="2741575" y="200876"/>
                  </a:lnTo>
                  <a:lnTo>
                    <a:pt x="2741575" y="202260"/>
                  </a:lnTo>
                  <a:lnTo>
                    <a:pt x="2741575" y="200876"/>
                  </a:lnTo>
                  <a:lnTo>
                    <a:pt x="2741613" y="202260"/>
                  </a:lnTo>
                  <a:lnTo>
                    <a:pt x="2741613" y="202959"/>
                  </a:lnTo>
                  <a:lnTo>
                    <a:pt x="2741613" y="202260"/>
                  </a:lnTo>
                  <a:lnTo>
                    <a:pt x="2741664" y="202260"/>
                  </a:lnTo>
                  <a:lnTo>
                    <a:pt x="2741664" y="202959"/>
                  </a:lnTo>
                  <a:lnTo>
                    <a:pt x="2741664" y="202260"/>
                  </a:lnTo>
                  <a:lnTo>
                    <a:pt x="2741664" y="202959"/>
                  </a:lnTo>
                  <a:lnTo>
                    <a:pt x="2741715" y="202260"/>
                  </a:lnTo>
                  <a:lnTo>
                    <a:pt x="2741715" y="202959"/>
                  </a:lnTo>
                  <a:lnTo>
                    <a:pt x="2741715" y="200876"/>
                  </a:lnTo>
                  <a:lnTo>
                    <a:pt x="2741715" y="202260"/>
                  </a:lnTo>
                  <a:lnTo>
                    <a:pt x="2741715" y="200876"/>
                  </a:lnTo>
                  <a:lnTo>
                    <a:pt x="2741715" y="202260"/>
                  </a:lnTo>
                  <a:lnTo>
                    <a:pt x="2741715" y="200876"/>
                  </a:lnTo>
                  <a:lnTo>
                    <a:pt x="2741816" y="200228"/>
                  </a:lnTo>
                  <a:lnTo>
                    <a:pt x="2741816" y="200876"/>
                  </a:lnTo>
                  <a:lnTo>
                    <a:pt x="2741816" y="199530"/>
                  </a:lnTo>
                  <a:lnTo>
                    <a:pt x="2741867" y="199530"/>
                  </a:lnTo>
                  <a:lnTo>
                    <a:pt x="2741867" y="197447"/>
                  </a:lnTo>
                  <a:lnTo>
                    <a:pt x="2741918" y="197447"/>
                  </a:lnTo>
                  <a:lnTo>
                    <a:pt x="2741918" y="195415"/>
                  </a:lnTo>
                  <a:lnTo>
                    <a:pt x="2741918" y="196113"/>
                  </a:lnTo>
                  <a:lnTo>
                    <a:pt x="2741918" y="194716"/>
                  </a:lnTo>
                  <a:lnTo>
                    <a:pt x="2742019" y="195415"/>
                  </a:lnTo>
                  <a:lnTo>
                    <a:pt x="2742019" y="194716"/>
                  </a:lnTo>
                  <a:lnTo>
                    <a:pt x="2742019" y="196799"/>
                  </a:lnTo>
                  <a:lnTo>
                    <a:pt x="2742070" y="196799"/>
                  </a:lnTo>
                  <a:lnTo>
                    <a:pt x="2742070" y="197447"/>
                  </a:lnTo>
                  <a:lnTo>
                    <a:pt x="2742070" y="196799"/>
                  </a:lnTo>
                  <a:lnTo>
                    <a:pt x="2742070" y="197447"/>
                  </a:lnTo>
                  <a:lnTo>
                    <a:pt x="2742070" y="196113"/>
                  </a:lnTo>
                  <a:lnTo>
                    <a:pt x="2742070" y="197447"/>
                  </a:lnTo>
                  <a:lnTo>
                    <a:pt x="2742121" y="197447"/>
                  </a:lnTo>
                  <a:lnTo>
                    <a:pt x="2742121" y="199530"/>
                  </a:lnTo>
                  <a:lnTo>
                    <a:pt x="2742159" y="199530"/>
                  </a:lnTo>
                  <a:lnTo>
                    <a:pt x="2742159" y="200876"/>
                  </a:lnTo>
                  <a:lnTo>
                    <a:pt x="2742261" y="200876"/>
                  </a:lnTo>
                  <a:lnTo>
                    <a:pt x="2742261" y="202260"/>
                  </a:lnTo>
                  <a:lnTo>
                    <a:pt x="2742261" y="200876"/>
                  </a:lnTo>
                  <a:lnTo>
                    <a:pt x="2742261" y="202260"/>
                  </a:lnTo>
                  <a:lnTo>
                    <a:pt x="2742312" y="202260"/>
                  </a:lnTo>
                  <a:lnTo>
                    <a:pt x="2742312" y="200876"/>
                  </a:lnTo>
                  <a:lnTo>
                    <a:pt x="2742362" y="200876"/>
                  </a:lnTo>
                  <a:lnTo>
                    <a:pt x="2742362" y="200228"/>
                  </a:lnTo>
                  <a:lnTo>
                    <a:pt x="2742362" y="200876"/>
                  </a:lnTo>
                  <a:lnTo>
                    <a:pt x="2742362" y="200228"/>
                  </a:lnTo>
                  <a:lnTo>
                    <a:pt x="2742362" y="200876"/>
                  </a:lnTo>
                  <a:lnTo>
                    <a:pt x="2742362" y="199530"/>
                  </a:lnTo>
                  <a:lnTo>
                    <a:pt x="2742464" y="198831"/>
                  </a:lnTo>
                  <a:lnTo>
                    <a:pt x="2742464" y="199530"/>
                  </a:lnTo>
                  <a:lnTo>
                    <a:pt x="2742464" y="198831"/>
                  </a:lnTo>
                  <a:lnTo>
                    <a:pt x="2742464" y="199530"/>
                  </a:lnTo>
                  <a:lnTo>
                    <a:pt x="2742464" y="196113"/>
                  </a:lnTo>
                  <a:lnTo>
                    <a:pt x="2742515" y="195415"/>
                  </a:lnTo>
                  <a:lnTo>
                    <a:pt x="2742515" y="193383"/>
                  </a:lnTo>
                  <a:lnTo>
                    <a:pt x="2742515" y="194716"/>
                  </a:lnTo>
                  <a:lnTo>
                    <a:pt x="2742565" y="194716"/>
                  </a:lnTo>
                  <a:lnTo>
                    <a:pt x="2742565" y="193383"/>
                  </a:lnTo>
                  <a:lnTo>
                    <a:pt x="2742565" y="196113"/>
                  </a:lnTo>
                  <a:lnTo>
                    <a:pt x="2742565" y="195415"/>
                  </a:lnTo>
                  <a:lnTo>
                    <a:pt x="2742616" y="195415"/>
                  </a:lnTo>
                  <a:lnTo>
                    <a:pt x="2742616" y="196113"/>
                  </a:lnTo>
                  <a:lnTo>
                    <a:pt x="2742616" y="194716"/>
                  </a:lnTo>
                  <a:lnTo>
                    <a:pt x="2742616" y="196799"/>
                  </a:lnTo>
                  <a:lnTo>
                    <a:pt x="2742705" y="196799"/>
                  </a:lnTo>
                  <a:lnTo>
                    <a:pt x="2742705" y="196113"/>
                  </a:lnTo>
                  <a:lnTo>
                    <a:pt x="2742705" y="197447"/>
                  </a:lnTo>
                  <a:lnTo>
                    <a:pt x="2742705" y="196799"/>
                  </a:lnTo>
                  <a:lnTo>
                    <a:pt x="2742705" y="197447"/>
                  </a:lnTo>
                  <a:lnTo>
                    <a:pt x="2742705" y="196799"/>
                  </a:lnTo>
                  <a:lnTo>
                    <a:pt x="2742705" y="197447"/>
                  </a:lnTo>
                  <a:lnTo>
                    <a:pt x="2742756" y="197447"/>
                  </a:lnTo>
                  <a:lnTo>
                    <a:pt x="2742756" y="198831"/>
                  </a:lnTo>
                  <a:lnTo>
                    <a:pt x="2742756" y="197447"/>
                  </a:lnTo>
                  <a:lnTo>
                    <a:pt x="2742756" y="200228"/>
                  </a:lnTo>
                  <a:lnTo>
                    <a:pt x="2742756" y="199530"/>
                  </a:lnTo>
                  <a:lnTo>
                    <a:pt x="2742756" y="200228"/>
                  </a:lnTo>
                  <a:lnTo>
                    <a:pt x="2742807" y="200228"/>
                  </a:lnTo>
                  <a:lnTo>
                    <a:pt x="2742807" y="199530"/>
                  </a:lnTo>
                  <a:lnTo>
                    <a:pt x="2742807" y="200876"/>
                  </a:lnTo>
                  <a:lnTo>
                    <a:pt x="2742807" y="200228"/>
                  </a:lnTo>
                  <a:lnTo>
                    <a:pt x="2742807" y="200876"/>
                  </a:lnTo>
                  <a:lnTo>
                    <a:pt x="2742858" y="200876"/>
                  </a:lnTo>
                  <a:lnTo>
                    <a:pt x="2742858" y="202260"/>
                  </a:lnTo>
                  <a:lnTo>
                    <a:pt x="2742858" y="200876"/>
                  </a:lnTo>
                  <a:lnTo>
                    <a:pt x="2742959" y="200228"/>
                  </a:lnTo>
                  <a:lnTo>
                    <a:pt x="2742959" y="200876"/>
                  </a:lnTo>
                  <a:lnTo>
                    <a:pt x="2742959" y="197447"/>
                  </a:lnTo>
                  <a:lnTo>
                    <a:pt x="2743010" y="197447"/>
                  </a:lnTo>
                  <a:lnTo>
                    <a:pt x="2743010" y="196799"/>
                  </a:lnTo>
                  <a:lnTo>
                    <a:pt x="2743010" y="198831"/>
                  </a:lnTo>
                  <a:lnTo>
                    <a:pt x="2743010" y="196799"/>
                  </a:lnTo>
                  <a:lnTo>
                    <a:pt x="2743061" y="196799"/>
                  </a:lnTo>
                  <a:lnTo>
                    <a:pt x="2743061" y="198831"/>
                  </a:lnTo>
                  <a:lnTo>
                    <a:pt x="2743061" y="197447"/>
                  </a:lnTo>
                  <a:lnTo>
                    <a:pt x="2743162" y="197447"/>
                  </a:lnTo>
                  <a:lnTo>
                    <a:pt x="2743162" y="198831"/>
                  </a:lnTo>
                  <a:lnTo>
                    <a:pt x="2743162" y="197447"/>
                  </a:lnTo>
                  <a:lnTo>
                    <a:pt x="2743162" y="198831"/>
                  </a:lnTo>
                  <a:lnTo>
                    <a:pt x="2743162" y="197447"/>
                  </a:lnTo>
                  <a:lnTo>
                    <a:pt x="2743201" y="197447"/>
                  </a:lnTo>
                  <a:lnTo>
                    <a:pt x="2743201" y="196799"/>
                  </a:lnTo>
                  <a:lnTo>
                    <a:pt x="2743201" y="198831"/>
                  </a:lnTo>
                  <a:lnTo>
                    <a:pt x="2743201" y="197447"/>
                  </a:lnTo>
                  <a:lnTo>
                    <a:pt x="2743201" y="198831"/>
                  </a:lnTo>
                  <a:lnTo>
                    <a:pt x="2743201" y="197447"/>
                  </a:lnTo>
                  <a:lnTo>
                    <a:pt x="2743201" y="198831"/>
                  </a:lnTo>
                  <a:lnTo>
                    <a:pt x="2743201" y="197447"/>
                  </a:lnTo>
                  <a:lnTo>
                    <a:pt x="2743201" y="198831"/>
                  </a:lnTo>
                  <a:lnTo>
                    <a:pt x="2743201" y="197447"/>
                  </a:lnTo>
                  <a:lnTo>
                    <a:pt x="2743201" y="198831"/>
                  </a:lnTo>
                  <a:lnTo>
                    <a:pt x="2743251" y="198831"/>
                  </a:lnTo>
                  <a:lnTo>
                    <a:pt x="2743251" y="199530"/>
                  </a:lnTo>
                  <a:lnTo>
                    <a:pt x="2743251" y="198831"/>
                  </a:lnTo>
                  <a:lnTo>
                    <a:pt x="2743251" y="200228"/>
                  </a:lnTo>
                  <a:lnTo>
                    <a:pt x="2743302" y="200228"/>
                  </a:lnTo>
                  <a:lnTo>
                    <a:pt x="2743302" y="200876"/>
                  </a:lnTo>
                  <a:lnTo>
                    <a:pt x="2743302" y="200228"/>
                  </a:lnTo>
                  <a:lnTo>
                    <a:pt x="2743302" y="200876"/>
                  </a:lnTo>
                  <a:lnTo>
                    <a:pt x="2743302" y="200228"/>
                  </a:lnTo>
                  <a:lnTo>
                    <a:pt x="2743404" y="200228"/>
                  </a:lnTo>
                  <a:lnTo>
                    <a:pt x="2743404" y="200876"/>
                  </a:lnTo>
                  <a:lnTo>
                    <a:pt x="2743404" y="200228"/>
                  </a:lnTo>
                  <a:lnTo>
                    <a:pt x="2743404" y="200876"/>
                  </a:lnTo>
                  <a:lnTo>
                    <a:pt x="2743404" y="200228"/>
                  </a:lnTo>
                  <a:lnTo>
                    <a:pt x="2743404" y="200876"/>
                  </a:lnTo>
                  <a:lnTo>
                    <a:pt x="2743404" y="200228"/>
                  </a:lnTo>
                  <a:lnTo>
                    <a:pt x="2743455" y="200876"/>
                  </a:lnTo>
                  <a:lnTo>
                    <a:pt x="2743455" y="198831"/>
                  </a:lnTo>
                  <a:lnTo>
                    <a:pt x="2743455" y="199530"/>
                  </a:lnTo>
                  <a:lnTo>
                    <a:pt x="2743505" y="199530"/>
                  </a:lnTo>
                  <a:lnTo>
                    <a:pt x="2743505" y="200228"/>
                  </a:lnTo>
                  <a:lnTo>
                    <a:pt x="2743505" y="197447"/>
                  </a:lnTo>
                  <a:lnTo>
                    <a:pt x="2743505" y="198831"/>
                  </a:lnTo>
                  <a:lnTo>
                    <a:pt x="2743607" y="198831"/>
                  </a:lnTo>
                  <a:lnTo>
                    <a:pt x="2743607" y="202260"/>
                  </a:lnTo>
                  <a:lnTo>
                    <a:pt x="2743607" y="198831"/>
                  </a:lnTo>
                  <a:lnTo>
                    <a:pt x="2743607" y="200228"/>
                  </a:lnTo>
                  <a:lnTo>
                    <a:pt x="2743658" y="200228"/>
                  </a:lnTo>
                  <a:lnTo>
                    <a:pt x="2743658" y="200876"/>
                  </a:lnTo>
                  <a:lnTo>
                    <a:pt x="2743658" y="198831"/>
                  </a:lnTo>
                  <a:lnTo>
                    <a:pt x="2743658" y="199530"/>
                  </a:lnTo>
                  <a:lnTo>
                    <a:pt x="2743708" y="199530"/>
                  </a:lnTo>
                  <a:lnTo>
                    <a:pt x="2743708" y="198831"/>
                  </a:lnTo>
                  <a:lnTo>
                    <a:pt x="2743708" y="199530"/>
                  </a:lnTo>
                  <a:lnTo>
                    <a:pt x="2743708" y="198831"/>
                  </a:lnTo>
                  <a:lnTo>
                    <a:pt x="2743708" y="199530"/>
                  </a:lnTo>
                  <a:lnTo>
                    <a:pt x="2743747" y="199530"/>
                  </a:lnTo>
                  <a:lnTo>
                    <a:pt x="2743747" y="200228"/>
                  </a:lnTo>
                  <a:lnTo>
                    <a:pt x="2743747" y="199530"/>
                  </a:lnTo>
                  <a:lnTo>
                    <a:pt x="2743747" y="200228"/>
                  </a:lnTo>
                  <a:lnTo>
                    <a:pt x="2743747" y="199530"/>
                  </a:lnTo>
                  <a:lnTo>
                    <a:pt x="2743747" y="200228"/>
                  </a:lnTo>
                  <a:lnTo>
                    <a:pt x="2743848" y="200228"/>
                  </a:lnTo>
                  <a:lnTo>
                    <a:pt x="2743848" y="199530"/>
                  </a:lnTo>
                  <a:lnTo>
                    <a:pt x="2743848" y="200876"/>
                  </a:lnTo>
                  <a:lnTo>
                    <a:pt x="2743899" y="200876"/>
                  </a:lnTo>
                  <a:lnTo>
                    <a:pt x="2743899" y="199530"/>
                  </a:lnTo>
                  <a:lnTo>
                    <a:pt x="2743899" y="200228"/>
                  </a:lnTo>
                  <a:lnTo>
                    <a:pt x="2743950" y="200228"/>
                  </a:lnTo>
                  <a:lnTo>
                    <a:pt x="2743950" y="198831"/>
                  </a:lnTo>
                  <a:lnTo>
                    <a:pt x="2743950" y="200228"/>
                  </a:lnTo>
                  <a:lnTo>
                    <a:pt x="2744051" y="200228"/>
                  </a:lnTo>
                  <a:lnTo>
                    <a:pt x="2744051" y="199530"/>
                  </a:lnTo>
                  <a:lnTo>
                    <a:pt x="2744051" y="200228"/>
                  </a:lnTo>
                  <a:lnTo>
                    <a:pt x="2744051" y="199530"/>
                  </a:lnTo>
                  <a:lnTo>
                    <a:pt x="2744051" y="202959"/>
                  </a:lnTo>
                  <a:lnTo>
                    <a:pt x="2744102" y="202959"/>
                  </a:lnTo>
                  <a:lnTo>
                    <a:pt x="2744102" y="200876"/>
                  </a:lnTo>
                  <a:lnTo>
                    <a:pt x="2744102" y="202260"/>
                  </a:lnTo>
                  <a:lnTo>
                    <a:pt x="2744102" y="200876"/>
                  </a:lnTo>
                  <a:lnTo>
                    <a:pt x="2744102" y="202959"/>
                  </a:lnTo>
                  <a:lnTo>
                    <a:pt x="2744153" y="202959"/>
                  </a:lnTo>
                  <a:lnTo>
                    <a:pt x="2744153" y="202260"/>
                  </a:lnTo>
                  <a:lnTo>
                    <a:pt x="2744153" y="202959"/>
                  </a:lnTo>
                  <a:lnTo>
                    <a:pt x="2744153" y="202260"/>
                  </a:lnTo>
                  <a:lnTo>
                    <a:pt x="2744153" y="202959"/>
                  </a:lnTo>
                  <a:lnTo>
                    <a:pt x="2744153" y="202260"/>
                  </a:lnTo>
                  <a:lnTo>
                    <a:pt x="2744153" y="202959"/>
                  </a:lnTo>
                  <a:lnTo>
                    <a:pt x="2744153" y="202260"/>
                  </a:lnTo>
                  <a:lnTo>
                    <a:pt x="2744153" y="202959"/>
                  </a:lnTo>
                  <a:lnTo>
                    <a:pt x="2744204" y="202260"/>
                  </a:lnTo>
                  <a:lnTo>
                    <a:pt x="2744204" y="202959"/>
                  </a:lnTo>
                  <a:lnTo>
                    <a:pt x="2744204" y="202260"/>
                  </a:lnTo>
                  <a:lnTo>
                    <a:pt x="2744293" y="202260"/>
                  </a:lnTo>
                  <a:lnTo>
                    <a:pt x="2744293" y="202959"/>
                  </a:lnTo>
                  <a:lnTo>
                    <a:pt x="2744293" y="202260"/>
                  </a:lnTo>
                  <a:lnTo>
                    <a:pt x="2744293" y="202959"/>
                  </a:lnTo>
                  <a:lnTo>
                    <a:pt x="2744344" y="202959"/>
                  </a:lnTo>
                  <a:lnTo>
                    <a:pt x="2744344" y="200876"/>
                  </a:lnTo>
                  <a:lnTo>
                    <a:pt x="2744394" y="200876"/>
                  </a:lnTo>
                  <a:lnTo>
                    <a:pt x="2744394" y="199530"/>
                  </a:lnTo>
                  <a:lnTo>
                    <a:pt x="2744394" y="200228"/>
                  </a:lnTo>
                  <a:lnTo>
                    <a:pt x="2744394" y="199530"/>
                  </a:lnTo>
                  <a:lnTo>
                    <a:pt x="2744445" y="199530"/>
                  </a:lnTo>
                  <a:lnTo>
                    <a:pt x="2744445" y="202260"/>
                  </a:lnTo>
                  <a:lnTo>
                    <a:pt x="2744445" y="200228"/>
                  </a:lnTo>
                  <a:lnTo>
                    <a:pt x="2744547" y="200228"/>
                  </a:lnTo>
                  <a:lnTo>
                    <a:pt x="2744547" y="203594"/>
                  </a:lnTo>
                  <a:lnTo>
                    <a:pt x="2744547" y="202260"/>
                  </a:lnTo>
                  <a:lnTo>
                    <a:pt x="2744597" y="202260"/>
                  </a:lnTo>
                  <a:lnTo>
                    <a:pt x="2744597" y="203594"/>
                  </a:lnTo>
                  <a:lnTo>
                    <a:pt x="2744597" y="202959"/>
                  </a:lnTo>
                  <a:lnTo>
                    <a:pt x="2744648" y="203594"/>
                  </a:lnTo>
                  <a:lnTo>
                    <a:pt x="2744648" y="202959"/>
                  </a:lnTo>
                  <a:lnTo>
                    <a:pt x="2744648" y="203594"/>
                  </a:lnTo>
                  <a:lnTo>
                    <a:pt x="2744648" y="202959"/>
                  </a:lnTo>
                  <a:lnTo>
                    <a:pt x="2744648" y="203594"/>
                  </a:lnTo>
                  <a:lnTo>
                    <a:pt x="2744648" y="202959"/>
                  </a:lnTo>
                  <a:lnTo>
                    <a:pt x="2744648" y="203594"/>
                  </a:lnTo>
                  <a:lnTo>
                    <a:pt x="2744648" y="202959"/>
                  </a:lnTo>
                  <a:lnTo>
                    <a:pt x="2744750" y="203594"/>
                  </a:lnTo>
                  <a:lnTo>
                    <a:pt x="2744750" y="202959"/>
                  </a:lnTo>
                  <a:lnTo>
                    <a:pt x="2744750" y="203594"/>
                  </a:lnTo>
                  <a:lnTo>
                    <a:pt x="2744750" y="202959"/>
                  </a:lnTo>
                  <a:lnTo>
                    <a:pt x="2744750" y="203594"/>
                  </a:lnTo>
                  <a:lnTo>
                    <a:pt x="2744788" y="203594"/>
                  </a:lnTo>
                  <a:lnTo>
                    <a:pt x="2744788" y="202959"/>
                  </a:lnTo>
                  <a:lnTo>
                    <a:pt x="2744788" y="203594"/>
                  </a:lnTo>
                  <a:lnTo>
                    <a:pt x="2744788" y="202260"/>
                  </a:lnTo>
                  <a:lnTo>
                    <a:pt x="2744788" y="202959"/>
                  </a:lnTo>
                  <a:lnTo>
                    <a:pt x="2744788" y="202260"/>
                  </a:lnTo>
                  <a:lnTo>
                    <a:pt x="2744839" y="202260"/>
                  </a:lnTo>
                  <a:lnTo>
                    <a:pt x="2744839" y="200876"/>
                  </a:lnTo>
                  <a:lnTo>
                    <a:pt x="2744839" y="202260"/>
                  </a:lnTo>
                  <a:lnTo>
                    <a:pt x="2744839" y="200876"/>
                  </a:lnTo>
                  <a:lnTo>
                    <a:pt x="2744839" y="203594"/>
                  </a:lnTo>
                  <a:lnTo>
                    <a:pt x="2744890" y="204292"/>
                  </a:lnTo>
                  <a:lnTo>
                    <a:pt x="2744890" y="202959"/>
                  </a:lnTo>
                  <a:lnTo>
                    <a:pt x="2744890" y="206324"/>
                  </a:lnTo>
                  <a:lnTo>
                    <a:pt x="2744991" y="206324"/>
                  </a:lnTo>
                  <a:lnTo>
                    <a:pt x="2744991" y="203594"/>
                  </a:lnTo>
                  <a:lnTo>
                    <a:pt x="2744991" y="207022"/>
                  </a:lnTo>
                  <a:lnTo>
                    <a:pt x="2744991" y="206324"/>
                  </a:lnTo>
                  <a:lnTo>
                    <a:pt x="2745042" y="206324"/>
                  </a:lnTo>
                  <a:lnTo>
                    <a:pt x="2745042" y="204990"/>
                  </a:lnTo>
                  <a:lnTo>
                    <a:pt x="2745042" y="206324"/>
                  </a:lnTo>
                  <a:lnTo>
                    <a:pt x="2745042" y="204990"/>
                  </a:lnTo>
                  <a:lnTo>
                    <a:pt x="2745042" y="206324"/>
                  </a:lnTo>
                  <a:lnTo>
                    <a:pt x="2745042" y="204990"/>
                  </a:lnTo>
                  <a:lnTo>
                    <a:pt x="2745042" y="207022"/>
                  </a:lnTo>
                  <a:lnTo>
                    <a:pt x="2745042" y="206324"/>
                  </a:lnTo>
                  <a:lnTo>
                    <a:pt x="2745093" y="206324"/>
                  </a:lnTo>
                  <a:lnTo>
                    <a:pt x="2745093" y="204990"/>
                  </a:lnTo>
                  <a:lnTo>
                    <a:pt x="2745093" y="206324"/>
                  </a:lnTo>
                  <a:lnTo>
                    <a:pt x="2745093" y="204990"/>
                  </a:lnTo>
                  <a:lnTo>
                    <a:pt x="2745093" y="206324"/>
                  </a:lnTo>
                  <a:lnTo>
                    <a:pt x="2745194" y="206324"/>
                  </a:lnTo>
                  <a:lnTo>
                    <a:pt x="2745194" y="204292"/>
                  </a:lnTo>
                  <a:lnTo>
                    <a:pt x="2745194" y="204990"/>
                  </a:lnTo>
                  <a:lnTo>
                    <a:pt x="2745245" y="204990"/>
                  </a:lnTo>
                  <a:lnTo>
                    <a:pt x="2745245" y="203594"/>
                  </a:lnTo>
                  <a:lnTo>
                    <a:pt x="2745245" y="204292"/>
                  </a:lnTo>
                  <a:lnTo>
                    <a:pt x="2745245" y="203594"/>
                  </a:lnTo>
                  <a:lnTo>
                    <a:pt x="2745296" y="203594"/>
                  </a:lnTo>
                  <a:lnTo>
                    <a:pt x="2745296" y="202959"/>
                  </a:lnTo>
                  <a:lnTo>
                    <a:pt x="2745296" y="203594"/>
                  </a:lnTo>
                  <a:lnTo>
                    <a:pt x="2745296" y="202959"/>
                  </a:lnTo>
                  <a:lnTo>
                    <a:pt x="2745296" y="204990"/>
                  </a:lnTo>
                  <a:lnTo>
                    <a:pt x="2745296" y="203594"/>
                  </a:lnTo>
                  <a:lnTo>
                    <a:pt x="2745334" y="203594"/>
                  </a:lnTo>
                  <a:lnTo>
                    <a:pt x="2745334" y="207022"/>
                  </a:lnTo>
                  <a:lnTo>
                    <a:pt x="2745334" y="206324"/>
                  </a:lnTo>
                  <a:lnTo>
                    <a:pt x="2745436" y="204990"/>
                  </a:lnTo>
                  <a:lnTo>
                    <a:pt x="2745436" y="206324"/>
                  </a:lnTo>
                  <a:lnTo>
                    <a:pt x="2745436" y="204990"/>
                  </a:lnTo>
                  <a:lnTo>
                    <a:pt x="2745436" y="207721"/>
                  </a:lnTo>
                  <a:lnTo>
                    <a:pt x="2745436" y="206324"/>
                  </a:lnTo>
                  <a:lnTo>
                    <a:pt x="2745487" y="206324"/>
                  </a:lnTo>
                  <a:lnTo>
                    <a:pt x="2745487" y="207022"/>
                  </a:lnTo>
                  <a:lnTo>
                    <a:pt x="2745487" y="206324"/>
                  </a:lnTo>
                  <a:lnTo>
                    <a:pt x="2745537" y="206324"/>
                  </a:lnTo>
                  <a:lnTo>
                    <a:pt x="2745537" y="207721"/>
                  </a:lnTo>
                  <a:lnTo>
                    <a:pt x="2745537" y="207022"/>
                  </a:lnTo>
                  <a:lnTo>
                    <a:pt x="2745537" y="207721"/>
                  </a:lnTo>
                  <a:lnTo>
                    <a:pt x="2745537" y="206324"/>
                  </a:lnTo>
                  <a:lnTo>
                    <a:pt x="2745537" y="207022"/>
                  </a:lnTo>
                  <a:lnTo>
                    <a:pt x="2745537" y="206324"/>
                  </a:lnTo>
                  <a:lnTo>
                    <a:pt x="2745639" y="206324"/>
                  </a:lnTo>
                  <a:lnTo>
                    <a:pt x="2745639" y="207022"/>
                  </a:lnTo>
                  <a:lnTo>
                    <a:pt x="2745639" y="204990"/>
                  </a:lnTo>
                  <a:lnTo>
                    <a:pt x="2745690" y="204990"/>
                  </a:lnTo>
                  <a:lnTo>
                    <a:pt x="2745690" y="204292"/>
                  </a:lnTo>
                  <a:lnTo>
                    <a:pt x="2745690" y="204990"/>
                  </a:lnTo>
                  <a:lnTo>
                    <a:pt x="2745690" y="204292"/>
                  </a:lnTo>
                  <a:lnTo>
                    <a:pt x="2745740" y="204292"/>
                  </a:lnTo>
                  <a:lnTo>
                    <a:pt x="2745740" y="202260"/>
                  </a:lnTo>
                  <a:lnTo>
                    <a:pt x="2745740" y="202959"/>
                  </a:lnTo>
                  <a:lnTo>
                    <a:pt x="2745740" y="202260"/>
                  </a:lnTo>
                  <a:lnTo>
                    <a:pt x="2745791" y="200876"/>
                  </a:lnTo>
                  <a:lnTo>
                    <a:pt x="2745791" y="198831"/>
                  </a:lnTo>
                  <a:lnTo>
                    <a:pt x="2745791" y="199530"/>
                  </a:lnTo>
                  <a:lnTo>
                    <a:pt x="2745791" y="198831"/>
                  </a:lnTo>
                  <a:lnTo>
                    <a:pt x="2745791" y="199530"/>
                  </a:lnTo>
                  <a:lnTo>
                    <a:pt x="2745880" y="199530"/>
                  </a:lnTo>
                  <a:lnTo>
                    <a:pt x="2745880" y="202260"/>
                  </a:lnTo>
                  <a:lnTo>
                    <a:pt x="2745931" y="202260"/>
                  </a:lnTo>
                  <a:lnTo>
                    <a:pt x="2745931" y="200876"/>
                  </a:lnTo>
                  <a:lnTo>
                    <a:pt x="2745931" y="203594"/>
                  </a:lnTo>
                  <a:lnTo>
                    <a:pt x="2745982" y="203594"/>
                  </a:lnTo>
                  <a:lnTo>
                    <a:pt x="2745982" y="202959"/>
                  </a:lnTo>
                  <a:lnTo>
                    <a:pt x="2745982" y="204292"/>
                  </a:lnTo>
                  <a:lnTo>
                    <a:pt x="2746033" y="204292"/>
                  </a:lnTo>
                  <a:lnTo>
                    <a:pt x="2746033" y="203594"/>
                  </a:lnTo>
                  <a:lnTo>
                    <a:pt x="2746033" y="204292"/>
                  </a:lnTo>
                  <a:lnTo>
                    <a:pt x="2746033" y="203594"/>
                  </a:lnTo>
                  <a:lnTo>
                    <a:pt x="2746033" y="204292"/>
                  </a:lnTo>
                  <a:lnTo>
                    <a:pt x="2746134" y="204292"/>
                  </a:lnTo>
                  <a:lnTo>
                    <a:pt x="2746134" y="204990"/>
                  </a:lnTo>
                  <a:lnTo>
                    <a:pt x="2746134" y="204292"/>
                  </a:lnTo>
                  <a:lnTo>
                    <a:pt x="2746134" y="204990"/>
                  </a:lnTo>
                  <a:lnTo>
                    <a:pt x="2746134" y="204292"/>
                  </a:lnTo>
                  <a:lnTo>
                    <a:pt x="2746134" y="204990"/>
                  </a:lnTo>
                  <a:lnTo>
                    <a:pt x="2746134" y="204292"/>
                  </a:lnTo>
                  <a:lnTo>
                    <a:pt x="2746134" y="204990"/>
                  </a:lnTo>
                  <a:lnTo>
                    <a:pt x="2746134" y="204292"/>
                  </a:lnTo>
                  <a:lnTo>
                    <a:pt x="2746134" y="204990"/>
                  </a:lnTo>
                  <a:lnTo>
                    <a:pt x="2746185" y="204990"/>
                  </a:lnTo>
                  <a:lnTo>
                    <a:pt x="2746185" y="204292"/>
                  </a:lnTo>
                  <a:lnTo>
                    <a:pt x="2746185" y="204990"/>
                  </a:lnTo>
                  <a:lnTo>
                    <a:pt x="2746185" y="204292"/>
                  </a:lnTo>
                  <a:lnTo>
                    <a:pt x="2746236" y="204292"/>
                  </a:lnTo>
                  <a:lnTo>
                    <a:pt x="2746236" y="203594"/>
                  </a:lnTo>
                  <a:lnTo>
                    <a:pt x="2746236" y="204292"/>
                  </a:lnTo>
                  <a:lnTo>
                    <a:pt x="2746236" y="202959"/>
                  </a:lnTo>
                  <a:lnTo>
                    <a:pt x="2746236" y="203594"/>
                  </a:lnTo>
                  <a:lnTo>
                    <a:pt x="2746236" y="202260"/>
                  </a:lnTo>
                  <a:lnTo>
                    <a:pt x="2746337" y="202260"/>
                  </a:lnTo>
                  <a:lnTo>
                    <a:pt x="2746337" y="199530"/>
                  </a:lnTo>
                  <a:lnTo>
                    <a:pt x="2746337" y="200228"/>
                  </a:lnTo>
                  <a:lnTo>
                    <a:pt x="2746376" y="200228"/>
                  </a:lnTo>
                  <a:lnTo>
                    <a:pt x="2746376" y="198831"/>
                  </a:lnTo>
                  <a:lnTo>
                    <a:pt x="2746376" y="200876"/>
                  </a:lnTo>
                  <a:lnTo>
                    <a:pt x="2746426" y="200876"/>
                  </a:lnTo>
                  <a:lnTo>
                    <a:pt x="2746426" y="200228"/>
                  </a:lnTo>
                  <a:lnTo>
                    <a:pt x="2746426" y="200876"/>
                  </a:lnTo>
                  <a:lnTo>
                    <a:pt x="2746426" y="200228"/>
                  </a:lnTo>
                  <a:lnTo>
                    <a:pt x="2746426" y="200876"/>
                  </a:lnTo>
                  <a:lnTo>
                    <a:pt x="2746426" y="200228"/>
                  </a:lnTo>
                  <a:lnTo>
                    <a:pt x="2746477" y="200228"/>
                  </a:lnTo>
                  <a:lnTo>
                    <a:pt x="2746477" y="200876"/>
                  </a:lnTo>
                  <a:lnTo>
                    <a:pt x="2746477" y="200228"/>
                  </a:lnTo>
                  <a:lnTo>
                    <a:pt x="2746477" y="200876"/>
                  </a:lnTo>
                  <a:lnTo>
                    <a:pt x="2746579" y="200876"/>
                  </a:lnTo>
                  <a:lnTo>
                    <a:pt x="2746579" y="202260"/>
                  </a:lnTo>
                  <a:lnTo>
                    <a:pt x="2746579" y="200876"/>
                  </a:lnTo>
                  <a:lnTo>
                    <a:pt x="2746579" y="202260"/>
                  </a:lnTo>
                  <a:lnTo>
                    <a:pt x="2746630" y="202260"/>
                  </a:lnTo>
                  <a:lnTo>
                    <a:pt x="2746630" y="203594"/>
                  </a:lnTo>
                  <a:lnTo>
                    <a:pt x="2746630" y="202959"/>
                  </a:lnTo>
                  <a:lnTo>
                    <a:pt x="2746630" y="203594"/>
                  </a:lnTo>
                  <a:lnTo>
                    <a:pt x="2746630" y="202959"/>
                  </a:lnTo>
                  <a:lnTo>
                    <a:pt x="2746680" y="202959"/>
                  </a:lnTo>
                  <a:lnTo>
                    <a:pt x="2746680" y="203594"/>
                  </a:lnTo>
                  <a:lnTo>
                    <a:pt x="2746680" y="202959"/>
                  </a:lnTo>
                  <a:lnTo>
                    <a:pt x="2746680" y="203594"/>
                  </a:lnTo>
                  <a:lnTo>
                    <a:pt x="2746680" y="202959"/>
                  </a:lnTo>
                  <a:lnTo>
                    <a:pt x="2746680" y="203594"/>
                  </a:lnTo>
                  <a:lnTo>
                    <a:pt x="2746680" y="202959"/>
                  </a:lnTo>
                  <a:lnTo>
                    <a:pt x="2746782" y="202959"/>
                  </a:lnTo>
                  <a:lnTo>
                    <a:pt x="2746782" y="200876"/>
                  </a:lnTo>
                  <a:lnTo>
                    <a:pt x="2746833" y="200876"/>
                  </a:lnTo>
                  <a:lnTo>
                    <a:pt x="2746833" y="200228"/>
                  </a:lnTo>
                  <a:lnTo>
                    <a:pt x="2746833" y="202260"/>
                  </a:lnTo>
                  <a:lnTo>
                    <a:pt x="2746833" y="200228"/>
                  </a:lnTo>
                  <a:lnTo>
                    <a:pt x="2746883" y="200228"/>
                  </a:lnTo>
                  <a:lnTo>
                    <a:pt x="2746883" y="202959"/>
                  </a:lnTo>
                  <a:lnTo>
                    <a:pt x="2746883" y="200876"/>
                  </a:lnTo>
                  <a:lnTo>
                    <a:pt x="2746922" y="200876"/>
                  </a:lnTo>
                  <a:lnTo>
                    <a:pt x="2746922" y="200228"/>
                  </a:lnTo>
                  <a:lnTo>
                    <a:pt x="2746922" y="202959"/>
                  </a:lnTo>
                  <a:lnTo>
                    <a:pt x="2746922" y="200876"/>
                  </a:lnTo>
                  <a:lnTo>
                    <a:pt x="2747023" y="200876"/>
                  </a:lnTo>
                  <a:lnTo>
                    <a:pt x="2747023" y="202959"/>
                  </a:lnTo>
                  <a:lnTo>
                    <a:pt x="2747023" y="200876"/>
                  </a:lnTo>
                  <a:lnTo>
                    <a:pt x="2747023" y="202260"/>
                  </a:lnTo>
                  <a:lnTo>
                    <a:pt x="2747074" y="200876"/>
                  </a:lnTo>
                  <a:lnTo>
                    <a:pt x="2747074" y="202260"/>
                  </a:lnTo>
                  <a:lnTo>
                    <a:pt x="2747074" y="200876"/>
                  </a:lnTo>
                  <a:lnTo>
                    <a:pt x="2747074" y="202260"/>
                  </a:lnTo>
                  <a:lnTo>
                    <a:pt x="2747074" y="200876"/>
                  </a:lnTo>
                  <a:lnTo>
                    <a:pt x="2747074" y="202260"/>
                  </a:lnTo>
                  <a:lnTo>
                    <a:pt x="2747074" y="200876"/>
                  </a:lnTo>
                  <a:lnTo>
                    <a:pt x="2747074" y="202260"/>
                  </a:lnTo>
                  <a:lnTo>
                    <a:pt x="2747125" y="202260"/>
                  </a:lnTo>
                  <a:lnTo>
                    <a:pt x="2747125" y="202959"/>
                  </a:lnTo>
                  <a:lnTo>
                    <a:pt x="2747125" y="202260"/>
                  </a:lnTo>
                  <a:lnTo>
                    <a:pt x="2747125" y="202959"/>
                  </a:lnTo>
                  <a:lnTo>
                    <a:pt x="2747226" y="202959"/>
                  </a:lnTo>
                  <a:lnTo>
                    <a:pt x="2747226" y="202260"/>
                  </a:lnTo>
                  <a:lnTo>
                    <a:pt x="2747226" y="202959"/>
                  </a:lnTo>
                  <a:lnTo>
                    <a:pt x="2747226" y="202260"/>
                  </a:lnTo>
                  <a:lnTo>
                    <a:pt x="2747277" y="202260"/>
                  </a:lnTo>
                  <a:lnTo>
                    <a:pt x="2747277" y="200228"/>
                  </a:lnTo>
                  <a:lnTo>
                    <a:pt x="2747277" y="200876"/>
                  </a:lnTo>
                  <a:lnTo>
                    <a:pt x="2747277" y="199530"/>
                  </a:lnTo>
                  <a:lnTo>
                    <a:pt x="2747328" y="199530"/>
                  </a:lnTo>
                  <a:lnTo>
                    <a:pt x="2747328" y="200876"/>
                  </a:lnTo>
                  <a:lnTo>
                    <a:pt x="2747328" y="200228"/>
                  </a:lnTo>
                  <a:lnTo>
                    <a:pt x="2747379" y="200228"/>
                  </a:lnTo>
                  <a:lnTo>
                    <a:pt x="2747379" y="202959"/>
                  </a:lnTo>
                  <a:lnTo>
                    <a:pt x="2747379" y="200876"/>
                  </a:lnTo>
                  <a:lnTo>
                    <a:pt x="2747379" y="202260"/>
                  </a:lnTo>
                  <a:lnTo>
                    <a:pt x="2747468" y="202260"/>
                  </a:lnTo>
                  <a:lnTo>
                    <a:pt x="2747468" y="202959"/>
                  </a:lnTo>
                  <a:lnTo>
                    <a:pt x="2747468" y="202260"/>
                  </a:lnTo>
                  <a:lnTo>
                    <a:pt x="2747519" y="202260"/>
                  </a:lnTo>
                  <a:lnTo>
                    <a:pt x="2747519" y="202959"/>
                  </a:lnTo>
                  <a:lnTo>
                    <a:pt x="2747519" y="202260"/>
                  </a:lnTo>
                  <a:lnTo>
                    <a:pt x="2747569" y="202260"/>
                  </a:lnTo>
                  <a:lnTo>
                    <a:pt x="2747569" y="200876"/>
                  </a:lnTo>
                  <a:lnTo>
                    <a:pt x="2747569" y="202260"/>
                  </a:lnTo>
                  <a:lnTo>
                    <a:pt x="2747569" y="200876"/>
                  </a:lnTo>
                  <a:lnTo>
                    <a:pt x="2747569" y="202260"/>
                  </a:lnTo>
                  <a:lnTo>
                    <a:pt x="2747569" y="200876"/>
                  </a:lnTo>
                  <a:lnTo>
                    <a:pt x="2747569" y="202260"/>
                  </a:lnTo>
                  <a:lnTo>
                    <a:pt x="2747620" y="202260"/>
                  </a:lnTo>
                  <a:lnTo>
                    <a:pt x="2747620" y="200876"/>
                  </a:lnTo>
                  <a:lnTo>
                    <a:pt x="2747620" y="202260"/>
                  </a:lnTo>
                  <a:lnTo>
                    <a:pt x="2747620" y="200876"/>
                  </a:lnTo>
                  <a:lnTo>
                    <a:pt x="2747620" y="202260"/>
                  </a:lnTo>
                  <a:lnTo>
                    <a:pt x="2747722" y="200876"/>
                  </a:lnTo>
                  <a:lnTo>
                    <a:pt x="2747722" y="200228"/>
                  </a:lnTo>
                  <a:lnTo>
                    <a:pt x="2747722" y="200876"/>
                  </a:lnTo>
                  <a:lnTo>
                    <a:pt x="2747722" y="200228"/>
                  </a:lnTo>
                  <a:lnTo>
                    <a:pt x="2747722" y="200876"/>
                  </a:lnTo>
                  <a:lnTo>
                    <a:pt x="2747722" y="199530"/>
                  </a:lnTo>
                  <a:lnTo>
                    <a:pt x="2747772" y="199530"/>
                  </a:lnTo>
                  <a:lnTo>
                    <a:pt x="2747772" y="197447"/>
                  </a:lnTo>
                  <a:lnTo>
                    <a:pt x="2747772" y="198831"/>
                  </a:lnTo>
                  <a:lnTo>
                    <a:pt x="2747823" y="198831"/>
                  </a:lnTo>
                  <a:lnTo>
                    <a:pt x="2747823" y="200228"/>
                  </a:lnTo>
                  <a:lnTo>
                    <a:pt x="2747823" y="199530"/>
                  </a:lnTo>
                  <a:lnTo>
                    <a:pt x="2747823" y="200228"/>
                  </a:lnTo>
                  <a:lnTo>
                    <a:pt x="2747823" y="197447"/>
                  </a:lnTo>
                  <a:lnTo>
                    <a:pt x="2747823" y="198831"/>
                  </a:lnTo>
                  <a:lnTo>
                    <a:pt x="2747823" y="197447"/>
                  </a:lnTo>
                  <a:lnTo>
                    <a:pt x="2747823" y="200228"/>
                  </a:lnTo>
                  <a:lnTo>
                    <a:pt x="2747925" y="200876"/>
                  </a:lnTo>
                  <a:lnTo>
                    <a:pt x="2747925" y="200228"/>
                  </a:lnTo>
                  <a:lnTo>
                    <a:pt x="2747925" y="202260"/>
                  </a:lnTo>
                  <a:lnTo>
                    <a:pt x="2747963" y="202260"/>
                  </a:lnTo>
                  <a:lnTo>
                    <a:pt x="2747963" y="200876"/>
                  </a:lnTo>
                  <a:lnTo>
                    <a:pt x="2747963" y="202260"/>
                  </a:lnTo>
                  <a:lnTo>
                    <a:pt x="2747963" y="200876"/>
                  </a:lnTo>
                  <a:lnTo>
                    <a:pt x="2747963" y="202260"/>
                  </a:lnTo>
                  <a:lnTo>
                    <a:pt x="2747963" y="200876"/>
                  </a:lnTo>
                  <a:lnTo>
                    <a:pt x="2747963" y="202260"/>
                  </a:lnTo>
                  <a:lnTo>
                    <a:pt x="2748014" y="202260"/>
                  </a:lnTo>
                  <a:lnTo>
                    <a:pt x="2748014" y="200876"/>
                  </a:lnTo>
                  <a:lnTo>
                    <a:pt x="2748014" y="202260"/>
                  </a:lnTo>
                  <a:lnTo>
                    <a:pt x="2748014" y="200876"/>
                  </a:lnTo>
                  <a:lnTo>
                    <a:pt x="2748014" y="202260"/>
                  </a:lnTo>
                  <a:lnTo>
                    <a:pt x="2748166" y="202260"/>
                  </a:lnTo>
                  <a:lnTo>
                    <a:pt x="2748166" y="202959"/>
                  </a:lnTo>
                  <a:lnTo>
                    <a:pt x="2748166" y="202260"/>
                  </a:lnTo>
                  <a:lnTo>
                    <a:pt x="2748217" y="202260"/>
                  </a:lnTo>
                  <a:lnTo>
                    <a:pt x="2748217" y="200228"/>
                  </a:lnTo>
                  <a:lnTo>
                    <a:pt x="2748217" y="200876"/>
                  </a:lnTo>
                  <a:lnTo>
                    <a:pt x="2748217" y="200228"/>
                  </a:lnTo>
                  <a:lnTo>
                    <a:pt x="2748268" y="199530"/>
                  </a:lnTo>
                  <a:lnTo>
                    <a:pt x="2748268" y="198831"/>
                  </a:lnTo>
                  <a:lnTo>
                    <a:pt x="2748268" y="199530"/>
                  </a:lnTo>
                  <a:lnTo>
                    <a:pt x="2748268" y="197447"/>
                  </a:lnTo>
                  <a:lnTo>
                    <a:pt x="2748268" y="198831"/>
                  </a:lnTo>
                  <a:lnTo>
                    <a:pt x="2748369" y="198831"/>
                  </a:lnTo>
                  <a:lnTo>
                    <a:pt x="2748369" y="199530"/>
                  </a:lnTo>
                  <a:lnTo>
                    <a:pt x="2748369" y="198831"/>
                  </a:lnTo>
                  <a:lnTo>
                    <a:pt x="2748369" y="199530"/>
                  </a:lnTo>
                  <a:lnTo>
                    <a:pt x="2748369" y="198831"/>
                  </a:lnTo>
                  <a:lnTo>
                    <a:pt x="2748369" y="200228"/>
                  </a:lnTo>
                  <a:lnTo>
                    <a:pt x="2748420" y="200228"/>
                  </a:lnTo>
                  <a:lnTo>
                    <a:pt x="2748420" y="202260"/>
                  </a:lnTo>
                  <a:lnTo>
                    <a:pt x="2748471" y="202260"/>
                  </a:lnTo>
                  <a:lnTo>
                    <a:pt x="2748471" y="200228"/>
                  </a:lnTo>
                  <a:lnTo>
                    <a:pt x="2748471" y="200876"/>
                  </a:lnTo>
                  <a:lnTo>
                    <a:pt x="2748509" y="200876"/>
                  </a:lnTo>
                  <a:lnTo>
                    <a:pt x="2748509" y="202260"/>
                  </a:lnTo>
                  <a:lnTo>
                    <a:pt x="2748611" y="202260"/>
                  </a:lnTo>
                  <a:lnTo>
                    <a:pt x="2748611" y="200876"/>
                  </a:lnTo>
                  <a:lnTo>
                    <a:pt x="2748662" y="200876"/>
                  </a:lnTo>
                  <a:lnTo>
                    <a:pt x="2748662" y="202260"/>
                  </a:lnTo>
                  <a:lnTo>
                    <a:pt x="2748662" y="200876"/>
                  </a:lnTo>
                  <a:lnTo>
                    <a:pt x="2748662" y="202260"/>
                  </a:lnTo>
                  <a:lnTo>
                    <a:pt x="2748662" y="200228"/>
                  </a:lnTo>
                  <a:lnTo>
                    <a:pt x="2748712" y="200228"/>
                  </a:lnTo>
                  <a:lnTo>
                    <a:pt x="2748712" y="200876"/>
                  </a:lnTo>
                  <a:lnTo>
                    <a:pt x="2748712" y="198831"/>
                  </a:lnTo>
                  <a:lnTo>
                    <a:pt x="2748712" y="199530"/>
                  </a:lnTo>
                  <a:lnTo>
                    <a:pt x="2748712" y="198831"/>
                  </a:lnTo>
                  <a:lnTo>
                    <a:pt x="2748814" y="198831"/>
                  </a:lnTo>
                  <a:lnTo>
                    <a:pt x="2748814" y="197447"/>
                  </a:lnTo>
                  <a:lnTo>
                    <a:pt x="2748814" y="198831"/>
                  </a:lnTo>
                  <a:lnTo>
                    <a:pt x="2748814" y="196799"/>
                  </a:lnTo>
                  <a:lnTo>
                    <a:pt x="2748814" y="197447"/>
                  </a:lnTo>
                  <a:lnTo>
                    <a:pt x="2748814" y="196799"/>
                  </a:lnTo>
                  <a:lnTo>
                    <a:pt x="2748865" y="196799"/>
                  </a:lnTo>
                  <a:lnTo>
                    <a:pt x="2748865" y="198831"/>
                  </a:lnTo>
                  <a:lnTo>
                    <a:pt x="2748865" y="196799"/>
                  </a:lnTo>
                  <a:lnTo>
                    <a:pt x="2748865" y="198831"/>
                  </a:lnTo>
                  <a:lnTo>
                    <a:pt x="2748915" y="199530"/>
                  </a:lnTo>
                  <a:lnTo>
                    <a:pt x="2748915" y="197447"/>
                  </a:lnTo>
                  <a:lnTo>
                    <a:pt x="2748915" y="199530"/>
                  </a:lnTo>
                  <a:lnTo>
                    <a:pt x="2748966" y="199530"/>
                  </a:lnTo>
                  <a:lnTo>
                    <a:pt x="2748966" y="198831"/>
                  </a:lnTo>
                  <a:lnTo>
                    <a:pt x="2748966" y="200228"/>
                  </a:lnTo>
                  <a:lnTo>
                    <a:pt x="2749055" y="199530"/>
                  </a:lnTo>
                  <a:lnTo>
                    <a:pt x="2749055" y="200876"/>
                  </a:lnTo>
                  <a:lnTo>
                    <a:pt x="2749055" y="200228"/>
                  </a:lnTo>
                  <a:lnTo>
                    <a:pt x="2749055" y="200876"/>
                  </a:lnTo>
                  <a:lnTo>
                    <a:pt x="2749106" y="200228"/>
                  </a:lnTo>
                  <a:lnTo>
                    <a:pt x="2749106" y="202260"/>
                  </a:lnTo>
                  <a:lnTo>
                    <a:pt x="2749106" y="200876"/>
                  </a:lnTo>
                  <a:lnTo>
                    <a:pt x="2749106" y="202260"/>
                  </a:lnTo>
                  <a:lnTo>
                    <a:pt x="2749157" y="200876"/>
                  </a:lnTo>
                  <a:lnTo>
                    <a:pt x="2749157" y="202260"/>
                  </a:lnTo>
                  <a:lnTo>
                    <a:pt x="2749157" y="200876"/>
                  </a:lnTo>
                  <a:lnTo>
                    <a:pt x="2749157" y="202260"/>
                  </a:lnTo>
                  <a:lnTo>
                    <a:pt x="2749157" y="200876"/>
                  </a:lnTo>
                  <a:lnTo>
                    <a:pt x="2749208" y="200876"/>
                  </a:lnTo>
                  <a:lnTo>
                    <a:pt x="2749208" y="199530"/>
                  </a:lnTo>
                  <a:lnTo>
                    <a:pt x="2749309" y="199530"/>
                  </a:lnTo>
                  <a:lnTo>
                    <a:pt x="2749309" y="198831"/>
                  </a:lnTo>
                  <a:lnTo>
                    <a:pt x="2749309" y="199530"/>
                  </a:lnTo>
                  <a:lnTo>
                    <a:pt x="2749309" y="197447"/>
                  </a:lnTo>
                  <a:lnTo>
                    <a:pt x="2749309" y="198831"/>
                  </a:lnTo>
                  <a:lnTo>
                    <a:pt x="2749360" y="198831"/>
                  </a:lnTo>
                  <a:lnTo>
                    <a:pt x="2749360" y="196799"/>
                  </a:lnTo>
                  <a:lnTo>
                    <a:pt x="2749360" y="199530"/>
                  </a:lnTo>
                  <a:lnTo>
                    <a:pt x="2749411" y="199530"/>
                  </a:lnTo>
                  <a:lnTo>
                    <a:pt x="2749411" y="198831"/>
                  </a:lnTo>
                  <a:lnTo>
                    <a:pt x="2749411" y="199530"/>
                  </a:lnTo>
                  <a:lnTo>
                    <a:pt x="2749411" y="197447"/>
                  </a:lnTo>
                  <a:lnTo>
                    <a:pt x="2749411" y="199530"/>
                  </a:lnTo>
                  <a:lnTo>
                    <a:pt x="2749411" y="198831"/>
                  </a:lnTo>
                  <a:lnTo>
                    <a:pt x="2749411" y="199530"/>
                  </a:lnTo>
                  <a:lnTo>
                    <a:pt x="2749411" y="198831"/>
                  </a:lnTo>
                  <a:lnTo>
                    <a:pt x="2749512" y="198831"/>
                  </a:lnTo>
                  <a:lnTo>
                    <a:pt x="2749512" y="199530"/>
                  </a:lnTo>
                  <a:lnTo>
                    <a:pt x="2749512" y="198831"/>
                  </a:lnTo>
                  <a:lnTo>
                    <a:pt x="2749512" y="199530"/>
                  </a:lnTo>
                  <a:lnTo>
                    <a:pt x="2749551" y="199530"/>
                  </a:lnTo>
                  <a:lnTo>
                    <a:pt x="2749551" y="200228"/>
                  </a:lnTo>
                  <a:lnTo>
                    <a:pt x="2749551" y="199530"/>
                  </a:lnTo>
                  <a:lnTo>
                    <a:pt x="2749551" y="200228"/>
                  </a:lnTo>
                  <a:lnTo>
                    <a:pt x="2749551" y="199530"/>
                  </a:lnTo>
                  <a:lnTo>
                    <a:pt x="2749551" y="200228"/>
                  </a:lnTo>
                  <a:lnTo>
                    <a:pt x="2749601" y="200228"/>
                  </a:lnTo>
                  <a:lnTo>
                    <a:pt x="2749601" y="200876"/>
                  </a:lnTo>
                  <a:lnTo>
                    <a:pt x="2749601" y="200228"/>
                  </a:lnTo>
                  <a:lnTo>
                    <a:pt x="2749601" y="200876"/>
                  </a:lnTo>
                  <a:lnTo>
                    <a:pt x="2749652" y="200876"/>
                  </a:lnTo>
                  <a:lnTo>
                    <a:pt x="2749652" y="200228"/>
                  </a:lnTo>
                  <a:lnTo>
                    <a:pt x="2749652" y="200876"/>
                  </a:lnTo>
                  <a:lnTo>
                    <a:pt x="2749652" y="200228"/>
                  </a:lnTo>
                  <a:lnTo>
                    <a:pt x="2749652" y="200876"/>
                  </a:lnTo>
                  <a:lnTo>
                    <a:pt x="2749652" y="199530"/>
                  </a:lnTo>
                  <a:lnTo>
                    <a:pt x="2749754" y="199530"/>
                  </a:lnTo>
                  <a:lnTo>
                    <a:pt x="2749754" y="198831"/>
                  </a:lnTo>
                  <a:lnTo>
                    <a:pt x="2749805" y="198831"/>
                  </a:lnTo>
                  <a:lnTo>
                    <a:pt x="2749805" y="197447"/>
                  </a:lnTo>
                  <a:lnTo>
                    <a:pt x="2749805" y="199530"/>
                  </a:lnTo>
                  <a:lnTo>
                    <a:pt x="2749805" y="198831"/>
                  </a:lnTo>
                  <a:lnTo>
                    <a:pt x="2749805" y="199530"/>
                  </a:lnTo>
                  <a:lnTo>
                    <a:pt x="2749855" y="199530"/>
                  </a:lnTo>
                  <a:lnTo>
                    <a:pt x="2749855" y="197447"/>
                  </a:lnTo>
                  <a:lnTo>
                    <a:pt x="2749855" y="200228"/>
                  </a:lnTo>
                  <a:lnTo>
                    <a:pt x="2749957" y="200228"/>
                  </a:lnTo>
                  <a:lnTo>
                    <a:pt x="2749957" y="199530"/>
                  </a:lnTo>
                  <a:lnTo>
                    <a:pt x="2749957" y="200228"/>
                  </a:lnTo>
                  <a:lnTo>
                    <a:pt x="2749957" y="199530"/>
                  </a:lnTo>
                  <a:lnTo>
                    <a:pt x="2749957" y="200228"/>
                  </a:lnTo>
                  <a:lnTo>
                    <a:pt x="2749957" y="199530"/>
                  </a:lnTo>
                  <a:lnTo>
                    <a:pt x="2750008" y="199530"/>
                  </a:lnTo>
                  <a:lnTo>
                    <a:pt x="2750008" y="200228"/>
                  </a:lnTo>
                  <a:lnTo>
                    <a:pt x="2750058" y="200228"/>
                  </a:lnTo>
                  <a:lnTo>
                    <a:pt x="2750058" y="199530"/>
                  </a:lnTo>
                  <a:lnTo>
                    <a:pt x="2750058" y="200876"/>
                  </a:lnTo>
                  <a:lnTo>
                    <a:pt x="2750097" y="200228"/>
                  </a:lnTo>
                  <a:lnTo>
                    <a:pt x="2750097" y="202260"/>
                  </a:lnTo>
                  <a:lnTo>
                    <a:pt x="2750198" y="202260"/>
                  </a:lnTo>
                  <a:lnTo>
                    <a:pt x="2750198" y="199530"/>
                  </a:lnTo>
                  <a:lnTo>
                    <a:pt x="2750249" y="200228"/>
                  </a:lnTo>
                  <a:lnTo>
                    <a:pt x="2750249" y="199530"/>
                  </a:lnTo>
                  <a:lnTo>
                    <a:pt x="2750249" y="200228"/>
                  </a:lnTo>
                  <a:lnTo>
                    <a:pt x="2750249" y="199530"/>
                  </a:lnTo>
                  <a:lnTo>
                    <a:pt x="2750300" y="199530"/>
                  </a:lnTo>
                  <a:lnTo>
                    <a:pt x="2750300" y="197447"/>
                  </a:lnTo>
                  <a:lnTo>
                    <a:pt x="2750300" y="200228"/>
                  </a:lnTo>
                  <a:lnTo>
                    <a:pt x="2750300" y="198831"/>
                  </a:lnTo>
                  <a:lnTo>
                    <a:pt x="2750401" y="199530"/>
                  </a:lnTo>
                  <a:lnTo>
                    <a:pt x="2750401" y="202260"/>
                  </a:lnTo>
                  <a:lnTo>
                    <a:pt x="2750401" y="200228"/>
                  </a:lnTo>
                  <a:lnTo>
                    <a:pt x="2750452" y="200228"/>
                  </a:lnTo>
                  <a:lnTo>
                    <a:pt x="2750452" y="200876"/>
                  </a:lnTo>
                  <a:lnTo>
                    <a:pt x="2750503" y="200876"/>
                  </a:lnTo>
                  <a:lnTo>
                    <a:pt x="2750503" y="200228"/>
                  </a:lnTo>
                  <a:lnTo>
                    <a:pt x="2750503" y="200876"/>
                  </a:lnTo>
                  <a:lnTo>
                    <a:pt x="2750503" y="200228"/>
                  </a:lnTo>
                  <a:lnTo>
                    <a:pt x="2750503" y="202260"/>
                  </a:lnTo>
                  <a:lnTo>
                    <a:pt x="2750503" y="200876"/>
                  </a:lnTo>
                  <a:lnTo>
                    <a:pt x="2750554" y="200876"/>
                  </a:lnTo>
                  <a:lnTo>
                    <a:pt x="2750554" y="202260"/>
                  </a:lnTo>
                  <a:lnTo>
                    <a:pt x="2750554" y="200876"/>
                  </a:lnTo>
                  <a:lnTo>
                    <a:pt x="2750554" y="202260"/>
                  </a:lnTo>
                  <a:lnTo>
                    <a:pt x="2750554" y="200876"/>
                  </a:lnTo>
                  <a:lnTo>
                    <a:pt x="2750554" y="202260"/>
                  </a:lnTo>
                  <a:lnTo>
                    <a:pt x="2750554" y="200876"/>
                  </a:lnTo>
                  <a:lnTo>
                    <a:pt x="2750554" y="202260"/>
                  </a:lnTo>
                  <a:lnTo>
                    <a:pt x="2750554" y="200876"/>
                  </a:lnTo>
                  <a:lnTo>
                    <a:pt x="2750694" y="200876"/>
                  </a:lnTo>
                  <a:lnTo>
                    <a:pt x="2750694" y="200228"/>
                  </a:lnTo>
                  <a:lnTo>
                    <a:pt x="2750694" y="200876"/>
                  </a:lnTo>
                  <a:lnTo>
                    <a:pt x="2750694" y="200228"/>
                  </a:lnTo>
                  <a:lnTo>
                    <a:pt x="2750694" y="200876"/>
                  </a:lnTo>
                  <a:lnTo>
                    <a:pt x="2750694" y="199530"/>
                  </a:lnTo>
                  <a:lnTo>
                    <a:pt x="2750744" y="199530"/>
                  </a:lnTo>
                  <a:lnTo>
                    <a:pt x="2750744" y="198831"/>
                  </a:lnTo>
                  <a:lnTo>
                    <a:pt x="2750744" y="199530"/>
                  </a:lnTo>
                  <a:lnTo>
                    <a:pt x="2750744" y="197447"/>
                  </a:lnTo>
                  <a:lnTo>
                    <a:pt x="2750744" y="198831"/>
                  </a:lnTo>
                  <a:lnTo>
                    <a:pt x="2750744" y="197447"/>
                  </a:lnTo>
                  <a:lnTo>
                    <a:pt x="2750795" y="197447"/>
                  </a:lnTo>
                  <a:lnTo>
                    <a:pt x="2750795" y="199530"/>
                  </a:lnTo>
                  <a:lnTo>
                    <a:pt x="2750795" y="197447"/>
                  </a:lnTo>
                  <a:lnTo>
                    <a:pt x="2750795" y="198831"/>
                  </a:lnTo>
                  <a:lnTo>
                    <a:pt x="2750897" y="199530"/>
                  </a:lnTo>
                  <a:lnTo>
                    <a:pt x="2750897" y="200228"/>
                  </a:lnTo>
                  <a:lnTo>
                    <a:pt x="2750897" y="199530"/>
                  </a:lnTo>
                  <a:lnTo>
                    <a:pt x="2750897" y="200228"/>
                  </a:lnTo>
                  <a:lnTo>
                    <a:pt x="2750947" y="200876"/>
                  </a:lnTo>
                  <a:lnTo>
                    <a:pt x="2750947" y="200228"/>
                  </a:lnTo>
                  <a:lnTo>
                    <a:pt x="2750947" y="200876"/>
                  </a:lnTo>
                  <a:lnTo>
                    <a:pt x="2750947" y="200228"/>
                  </a:lnTo>
                  <a:lnTo>
                    <a:pt x="2750947" y="200876"/>
                  </a:lnTo>
                  <a:lnTo>
                    <a:pt x="2750998" y="200876"/>
                  </a:lnTo>
                  <a:lnTo>
                    <a:pt x="2750998" y="202260"/>
                  </a:lnTo>
                  <a:lnTo>
                    <a:pt x="2750998" y="200876"/>
                  </a:lnTo>
                  <a:lnTo>
                    <a:pt x="2751100" y="200876"/>
                  </a:lnTo>
                  <a:lnTo>
                    <a:pt x="2751100" y="202260"/>
                  </a:lnTo>
                  <a:lnTo>
                    <a:pt x="2751100" y="200876"/>
                  </a:lnTo>
                  <a:lnTo>
                    <a:pt x="2751100" y="202260"/>
                  </a:lnTo>
                  <a:lnTo>
                    <a:pt x="2751100" y="200876"/>
                  </a:lnTo>
                  <a:lnTo>
                    <a:pt x="2751138" y="200876"/>
                  </a:lnTo>
                  <a:lnTo>
                    <a:pt x="2751138" y="202260"/>
                  </a:lnTo>
                  <a:lnTo>
                    <a:pt x="2751138" y="200228"/>
                  </a:lnTo>
                  <a:lnTo>
                    <a:pt x="2751189" y="200876"/>
                  </a:lnTo>
                  <a:lnTo>
                    <a:pt x="2751189" y="200228"/>
                  </a:lnTo>
                  <a:lnTo>
                    <a:pt x="2751189" y="200876"/>
                  </a:lnTo>
                  <a:lnTo>
                    <a:pt x="2751189" y="199530"/>
                  </a:lnTo>
                  <a:lnTo>
                    <a:pt x="2751189" y="200228"/>
                  </a:lnTo>
                  <a:lnTo>
                    <a:pt x="2751189" y="199530"/>
                  </a:lnTo>
                  <a:lnTo>
                    <a:pt x="2751240" y="199530"/>
                  </a:lnTo>
                  <a:lnTo>
                    <a:pt x="2751240" y="197447"/>
                  </a:lnTo>
                  <a:lnTo>
                    <a:pt x="2751240" y="199530"/>
                  </a:lnTo>
                  <a:lnTo>
                    <a:pt x="2751240" y="197447"/>
                  </a:lnTo>
                  <a:lnTo>
                    <a:pt x="2751240" y="198831"/>
                  </a:lnTo>
                  <a:lnTo>
                    <a:pt x="2751341" y="198831"/>
                  </a:lnTo>
                  <a:lnTo>
                    <a:pt x="2751341" y="199530"/>
                  </a:lnTo>
                  <a:lnTo>
                    <a:pt x="2751341" y="197447"/>
                  </a:lnTo>
                  <a:lnTo>
                    <a:pt x="2751341" y="199530"/>
                  </a:lnTo>
                  <a:lnTo>
                    <a:pt x="2751392" y="200228"/>
                  </a:lnTo>
                  <a:lnTo>
                    <a:pt x="2751392" y="199530"/>
                  </a:lnTo>
                  <a:lnTo>
                    <a:pt x="2751392" y="200228"/>
                  </a:lnTo>
                  <a:lnTo>
                    <a:pt x="2751392" y="199530"/>
                  </a:lnTo>
                  <a:lnTo>
                    <a:pt x="2751392" y="200228"/>
                  </a:lnTo>
                  <a:lnTo>
                    <a:pt x="2751392" y="198831"/>
                  </a:lnTo>
                  <a:lnTo>
                    <a:pt x="2751392" y="200228"/>
                  </a:lnTo>
                  <a:lnTo>
                    <a:pt x="2751443" y="200228"/>
                  </a:lnTo>
                  <a:lnTo>
                    <a:pt x="2751443" y="200876"/>
                  </a:lnTo>
                  <a:lnTo>
                    <a:pt x="2751443" y="200228"/>
                  </a:lnTo>
                  <a:lnTo>
                    <a:pt x="2751443" y="200876"/>
                  </a:lnTo>
                  <a:lnTo>
                    <a:pt x="2751443" y="200228"/>
                  </a:lnTo>
                  <a:lnTo>
                    <a:pt x="2751443" y="200876"/>
                  </a:lnTo>
                  <a:lnTo>
                    <a:pt x="2751544" y="200876"/>
                  </a:lnTo>
                  <a:lnTo>
                    <a:pt x="2751544" y="200228"/>
                  </a:lnTo>
                  <a:lnTo>
                    <a:pt x="2751544" y="200876"/>
                  </a:lnTo>
                  <a:lnTo>
                    <a:pt x="2751544" y="200228"/>
                  </a:lnTo>
                  <a:lnTo>
                    <a:pt x="2751544" y="202260"/>
                  </a:lnTo>
                  <a:lnTo>
                    <a:pt x="2751544" y="200876"/>
                  </a:lnTo>
                  <a:lnTo>
                    <a:pt x="2751595" y="200876"/>
                  </a:lnTo>
                  <a:lnTo>
                    <a:pt x="2751595" y="202260"/>
                  </a:lnTo>
                  <a:lnTo>
                    <a:pt x="2751595" y="200876"/>
                  </a:lnTo>
                  <a:lnTo>
                    <a:pt x="2751595" y="202260"/>
                  </a:lnTo>
                  <a:lnTo>
                    <a:pt x="2751595" y="200876"/>
                  </a:lnTo>
                  <a:lnTo>
                    <a:pt x="2751646" y="200876"/>
                  </a:lnTo>
                  <a:lnTo>
                    <a:pt x="2751646" y="200228"/>
                  </a:lnTo>
                  <a:lnTo>
                    <a:pt x="2751646" y="200876"/>
                  </a:lnTo>
                  <a:lnTo>
                    <a:pt x="2751646" y="200228"/>
                  </a:lnTo>
                  <a:lnTo>
                    <a:pt x="2751646" y="200876"/>
                  </a:lnTo>
                  <a:lnTo>
                    <a:pt x="2751684" y="200228"/>
                  </a:lnTo>
                  <a:lnTo>
                    <a:pt x="2751684" y="200876"/>
                  </a:lnTo>
                  <a:lnTo>
                    <a:pt x="2751684" y="199530"/>
                  </a:lnTo>
                  <a:lnTo>
                    <a:pt x="2751684" y="200228"/>
                  </a:lnTo>
                  <a:lnTo>
                    <a:pt x="2751684" y="199530"/>
                  </a:lnTo>
                  <a:lnTo>
                    <a:pt x="2751786" y="199530"/>
                  </a:lnTo>
                  <a:lnTo>
                    <a:pt x="2751786" y="197447"/>
                  </a:lnTo>
                  <a:lnTo>
                    <a:pt x="2751786" y="198831"/>
                  </a:lnTo>
                  <a:lnTo>
                    <a:pt x="2751786" y="196799"/>
                  </a:lnTo>
                  <a:lnTo>
                    <a:pt x="2751837" y="197447"/>
                  </a:lnTo>
                  <a:lnTo>
                    <a:pt x="2751837" y="199530"/>
                  </a:lnTo>
                  <a:lnTo>
                    <a:pt x="2751837" y="196113"/>
                  </a:lnTo>
                  <a:lnTo>
                    <a:pt x="2751837" y="199530"/>
                  </a:lnTo>
                  <a:lnTo>
                    <a:pt x="2751887" y="199530"/>
                  </a:lnTo>
                  <a:lnTo>
                    <a:pt x="2751887" y="200228"/>
                  </a:lnTo>
                  <a:lnTo>
                    <a:pt x="2751887" y="197447"/>
                  </a:lnTo>
                  <a:lnTo>
                    <a:pt x="2751887" y="200228"/>
                  </a:lnTo>
                  <a:lnTo>
                    <a:pt x="2751989" y="200228"/>
                  </a:lnTo>
                  <a:lnTo>
                    <a:pt x="2751989" y="199530"/>
                  </a:lnTo>
                  <a:lnTo>
                    <a:pt x="2751989" y="200228"/>
                  </a:lnTo>
                  <a:lnTo>
                    <a:pt x="2751989" y="199530"/>
                  </a:lnTo>
                  <a:lnTo>
                    <a:pt x="2751989" y="200228"/>
                  </a:lnTo>
                  <a:lnTo>
                    <a:pt x="2751989" y="199530"/>
                  </a:lnTo>
                  <a:lnTo>
                    <a:pt x="2751989" y="200228"/>
                  </a:lnTo>
                  <a:lnTo>
                    <a:pt x="2752040" y="200228"/>
                  </a:lnTo>
                  <a:lnTo>
                    <a:pt x="2752040" y="200876"/>
                  </a:lnTo>
                  <a:lnTo>
                    <a:pt x="2752040" y="200228"/>
                  </a:lnTo>
                  <a:lnTo>
                    <a:pt x="2752040" y="200876"/>
                  </a:lnTo>
                  <a:lnTo>
                    <a:pt x="2752090" y="200876"/>
                  </a:lnTo>
                  <a:lnTo>
                    <a:pt x="2752090" y="202260"/>
                  </a:lnTo>
                  <a:lnTo>
                    <a:pt x="2752090" y="200228"/>
                  </a:lnTo>
                  <a:lnTo>
                    <a:pt x="2752090" y="202260"/>
                  </a:lnTo>
                  <a:lnTo>
                    <a:pt x="2752090" y="200876"/>
                  </a:lnTo>
                  <a:lnTo>
                    <a:pt x="2752230" y="200876"/>
                  </a:lnTo>
                  <a:lnTo>
                    <a:pt x="2752230" y="200228"/>
                  </a:lnTo>
                  <a:lnTo>
                    <a:pt x="2752230" y="200876"/>
                  </a:lnTo>
                  <a:lnTo>
                    <a:pt x="2752230" y="199530"/>
                  </a:lnTo>
                  <a:lnTo>
                    <a:pt x="2752281" y="199530"/>
                  </a:lnTo>
                  <a:lnTo>
                    <a:pt x="2752281" y="198831"/>
                  </a:lnTo>
                  <a:lnTo>
                    <a:pt x="2752281" y="199530"/>
                  </a:lnTo>
                  <a:lnTo>
                    <a:pt x="2752332" y="199530"/>
                  </a:lnTo>
                  <a:lnTo>
                    <a:pt x="2752332" y="197447"/>
                  </a:lnTo>
                  <a:lnTo>
                    <a:pt x="2752332" y="200228"/>
                  </a:lnTo>
                  <a:lnTo>
                    <a:pt x="2752332" y="199530"/>
                  </a:lnTo>
                  <a:lnTo>
                    <a:pt x="2752383" y="199530"/>
                  </a:lnTo>
                  <a:lnTo>
                    <a:pt x="2752383" y="198831"/>
                  </a:lnTo>
                  <a:lnTo>
                    <a:pt x="2752383" y="200228"/>
                  </a:lnTo>
                  <a:lnTo>
                    <a:pt x="2752383" y="199530"/>
                  </a:lnTo>
                  <a:lnTo>
                    <a:pt x="2752484" y="199530"/>
                  </a:lnTo>
                  <a:lnTo>
                    <a:pt x="2752484" y="200228"/>
                  </a:lnTo>
                  <a:lnTo>
                    <a:pt x="2752484" y="199530"/>
                  </a:lnTo>
                  <a:lnTo>
                    <a:pt x="2752484" y="200228"/>
                  </a:lnTo>
                  <a:lnTo>
                    <a:pt x="2752484" y="199530"/>
                  </a:lnTo>
                  <a:lnTo>
                    <a:pt x="2752484" y="200228"/>
                  </a:lnTo>
                  <a:lnTo>
                    <a:pt x="2752484" y="199530"/>
                  </a:lnTo>
                  <a:lnTo>
                    <a:pt x="2752535" y="199530"/>
                  </a:lnTo>
                  <a:lnTo>
                    <a:pt x="2752535" y="200228"/>
                  </a:lnTo>
                  <a:lnTo>
                    <a:pt x="2752535" y="199530"/>
                  </a:lnTo>
                  <a:lnTo>
                    <a:pt x="2752535" y="200228"/>
                  </a:lnTo>
                  <a:lnTo>
                    <a:pt x="2752586" y="200876"/>
                  </a:lnTo>
                  <a:lnTo>
                    <a:pt x="2752586" y="200228"/>
                  </a:lnTo>
                  <a:lnTo>
                    <a:pt x="2752586" y="200876"/>
                  </a:lnTo>
                  <a:lnTo>
                    <a:pt x="2752586" y="200228"/>
                  </a:lnTo>
                  <a:lnTo>
                    <a:pt x="2752687" y="200228"/>
                  </a:lnTo>
                  <a:lnTo>
                    <a:pt x="2752687" y="200876"/>
                  </a:lnTo>
                  <a:lnTo>
                    <a:pt x="2752687" y="200228"/>
                  </a:lnTo>
                  <a:lnTo>
                    <a:pt x="2752687" y="200876"/>
                  </a:lnTo>
                  <a:lnTo>
                    <a:pt x="2752687" y="200228"/>
                  </a:lnTo>
                  <a:lnTo>
                    <a:pt x="2752687" y="200876"/>
                  </a:lnTo>
                  <a:lnTo>
                    <a:pt x="2752687" y="200228"/>
                  </a:lnTo>
                  <a:lnTo>
                    <a:pt x="2752726" y="200228"/>
                  </a:lnTo>
                  <a:lnTo>
                    <a:pt x="2752726" y="198831"/>
                  </a:lnTo>
                  <a:lnTo>
                    <a:pt x="2752726" y="200228"/>
                  </a:lnTo>
                  <a:lnTo>
                    <a:pt x="2752776" y="200228"/>
                  </a:lnTo>
                  <a:lnTo>
                    <a:pt x="2752776" y="200876"/>
                  </a:lnTo>
                  <a:lnTo>
                    <a:pt x="2752776" y="199530"/>
                  </a:lnTo>
                  <a:lnTo>
                    <a:pt x="2752776" y="203594"/>
                  </a:lnTo>
                  <a:lnTo>
                    <a:pt x="2752827" y="202959"/>
                  </a:lnTo>
                  <a:lnTo>
                    <a:pt x="2752827" y="200876"/>
                  </a:lnTo>
                  <a:lnTo>
                    <a:pt x="2752827" y="202959"/>
                  </a:lnTo>
                  <a:lnTo>
                    <a:pt x="2752929" y="202959"/>
                  </a:lnTo>
                  <a:lnTo>
                    <a:pt x="2752929" y="200876"/>
                  </a:lnTo>
                  <a:lnTo>
                    <a:pt x="2752929" y="202959"/>
                  </a:lnTo>
                  <a:lnTo>
                    <a:pt x="2752929" y="202260"/>
                  </a:lnTo>
                  <a:lnTo>
                    <a:pt x="2752980" y="202260"/>
                  </a:lnTo>
                  <a:lnTo>
                    <a:pt x="2752980" y="202959"/>
                  </a:lnTo>
                  <a:lnTo>
                    <a:pt x="2752980" y="202260"/>
                  </a:lnTo>
                  <a:lnTo>
                    <a:pt x="2753030" y="202260"/>
                  </a:lnTo>
                  <a:lnTo>
                    <a:pt x="2753030" y="200876"/>
                  </a:lnTo>
                  <a:lnTo>
                    <a:pt x="2753030" y="202260"/>
                  </a:lnTo>
                  <a:lnTo>
                    <a:pt x="2753132" y="202260"/>
                  </a:lnTo>
                  <a:lnTo>
                    <a:pt x="2753132" y="200228"/>
                  </a:lnTo>
                  <a:lnTo>
                    <a:pt x="2753132" y="200876"/>
                  </a:lnTo>
                  <a:lnTo>
                    <a:pt x="2753132" y="200228"/>
                  </a:lnTo>
                  <a:lnTo>
                    <a:pt x="2753132" y="200876"/>
                  </a:lnTo>
                  <a:lnTo>
                    <a:pt x="2753183" y="200876"/>
                  </a:lnTo>
                  <a:lnTo>
                    <a:pt x="2753183" y="200228"/>
                  </a:lnTo>
                  <a:lnTo>
                    <a:pt x="2753183" y="200876"/>
                  </a:lnTo>
                  <a:lnTo>
                    <a:pt x="2753183" y="200228"/>
                  </a:lnTo>
                  <a:lnTo>
                    <a:pt x="2753183" y="200876"/>
                  </a:lnTo>
                  <a:lnTo>
                    <a:pt x="2753183" y="199530"/>
                  </a:lnTo>
                  <a:lnTo>
                    <a:pt x="2753233" y="199530"/>
                  </a:lnTo>
                  <a:lnTo>
                    <a:pt x="2753233" y="198831"/>
                  </a:lnTo>
                  <a:lnTo>
                    <a:pt x="2753233" y="199530"/>
                  </a:lnTo>
                  <a:lnTo>
                    <a:pt x="2753233" y="198831"/>
                  </a:lnTo>
                  <a:lnTo>
                    <a:pt x="2753233" y="200876"/>
                  </a:lnTo>
                  <a:lnTo>
                    <a:pt x="2753233" y="200228"/>
                  </a:lnTo>
                  <a:lnTo>
                    <a:pt x="2753272" y="199530"/>
                  </a:lnTo>
                  <a:lnTo>
                    <a:pt x="2753272" y="202959"/>
                  </a:lnTo>
                  <a:lnTo>
                    <a:pt x="2753272" y="200876"/>
                  </a:lnTo>
                  <a:lnTo>
                    <a:pt x="2753373" y="200876"/>
                  </a:lnTo>
                  <a:lnTo>
                    <a:pt x="2753373" y="200228"/>
                  </a:lnTo>
                  <a:lnTo>
                    <a:pt x="2753373" y="202959"/>
                  </a:lnTo>
                  <a:lnTo>
                    <a:pt x="2753373" y="202260"/>
                  </a:lnTo>
                  <a:lnTo>
                    <a:pt x="2753373" y="202959"/>
                  </a:lnTo>
                  <a:lnTo>
                    <a:pt x="2753373" y="202260"/>
                  </a:lnTo>
                  <a:lnTo>
                    <a:pt x="2753424" y="202260"/>
                  </a:lnTo>
                  <a:lnTo>
                    <a:pt x="2753424" y="200876"/>
                  </a:lnTo>
                  <a:lnTo>
                    <a:pt x="2753424" y="202959"/>
                  </a:lnTo>
                  <a:lnTo>
                    <a:pt x="2753424" y="202260"/>
                  </a:lnTo>
                  <a:lnTo>
                    <a:pt x="2753475" y="202260"/>
                  </a:lnTo>
                  <a:lnTo>
                    <a:pt x="2753475" y="202959"/>
                  </a:lnTo>
                  <a:lnTo>
                    <a:pt x="2753475" y="202260"/>
                  </a:lnTo>
                  <a:lnTo>
                    <a:pt x="2753475" y="202959"/>
                  </a:lnTo>
                  <a:lnTo>
                    <a:pt x="2753475" y="202260"/>
                  </a:lnTo>
                  <a:lnTo>
                    <a:pt x="2753475" y="202959"/>
                  </a:lnTo>
                  <a:lnTo>
                    <a:pt x="2753475" y="202260"/>
                  </a:lnTo>
                  <a:lnTo>
                    <a:pt x="2753475" y="202959"/>
                  </a:lnTo>
                  <a:lnTo>
                    <a:pt x="2753576" y="202959"/>
                  </a:lnTo>
                  <a:lnTo>
                    <a:pt x="2753576" y="202260"/>
                  </a:lnTo>
                  <a:lnTo>
                    <a:pt x="2753576" y="202959"/>
                  </a:lnTo>
                  <a:lnTo>
                    <a:pt x="2753576" y="202260"/>
                  </a:lnTo>
                  <a:lnTo>
                    <a:pt x="2753576" y="202959"/>
                  </a:lnTo>
                  <a:lnTo>
                    <a:pt x="2753576" y="202260"/>
                  </a:lnTo>
                  <a:lnTo>
                    <a:pt x="2753576" y="202959"/>
                  </a:lnTo>
                  <a:lnTo>
                    <a:pt x="2753576" y="202260"/>
                  </a:lnTo>
                  <a:lnTo>
                    <a:pt x="2753627" y="202260"/>
                  </a:lnTo>
                  <a:lnTo>
                    <a:pt x="2753627" y="200876"/>
                  </a:lnTo>
                  <a:lnTo>
                    <a:pt x="2753627" y="202260"/>
                  </a:lnTo>
                  <a:lnTo>
                    <a:pt x="2753627" y="200228"/>
                  </a:lnTo>
                  <a:lnTo>
                    <a:pt x="2753627" y="200876"/>
                  </a:lnTo>
                  <a:lnTo>
                    <a:pt x="2753627" y="200228"/>
                  </a:lnTo>
                  <a:lnTo>
                    <a:pt x="2753627" y="200876"/>
                  </a:lnTo>
                  <a:lnTo>
                    <a:pt x="2753627" y="200228"/>
                  </a:lnTo>
                  <a:lnTo>
                    <a:pt x="2753678" y="200228"/>
                  </a:lnTo>
                  <a:lnTo>
                    <a:pt x="2753678" y="197447"/>
                  </a:lnTo>
                  <a:lnTo>
                    <a:pt x="2753678" y="198831"/>
                  </a:lnTo>
                  <a:lnTo>
                    <a:pt x="2753729" y="198831"/>
                  </a:lnTo>
                  <a:lnTo>
                    <a:pt x="2753729" y="197447"/>
                  </a:lnTo>
                  <a:lnTo>
                    <a:pt x="2753729" y="200228"/>
                  </a:lnTo>
                  <a:lnTo>
                    <a:pt x="2753729" y="197447"/>
                  </a:lnTo>
                  <a:lnTo>
                    <a:pt x="2753729" y="198831"/>
                  </a:lnTo>
                  <a:lnTo>
                    <a:pt x="2753818" y="199530"/>
                  </a:lnTo>
                  <a:lnTo>
                    <a:pt x="2753818" y="202260"/>
                  </a:lnTo>
                  <a:lnTo>
                    <a:pt x="2753818" y="199530"/>
                  </a:lnTo>
                  <a:lnTo>
                    <a:pt x="2753818" y="200876"/>
                  </a:lnTo>
                  <a:lnTo>
                    <a:pt x="2753869" y="202260"/>
                  </a:lnTo>
                  <a:lnTo>
                    <a:pt x="2753869" y="202959"/>
                  </a:lnTo>
                  <a:lnTo>
                    <a:pt x="2753869" y="200876"/>
                  </a:lnTo>
                  <a:lnTo>
                    <a:pt x="2753869" y="202260"/>
                  </a:lnTo>
                  <a:lnTo>
                    <a:pt x="2753869" y="200876"/>
                  </a:lnTo>
                  <a:lnTo>
                    <a:pt x="2753919" y="202260"/>
                  </a:lnTo>
                  <a:lnTo>
                    <a:pt x="2753919" y="202959"/>
                  </a:lnTo>
                  <a:lnTo>
                    <a:pt x="2753919" y="202260"/>
                  </a:lnTo>
                  <a:lnTo>
                    <a:pt x="2753919" y="202959"/>
                  </a:lnTo>
                  <a:lnTo>
                    <a:pt x="2753970" y="202959"/>
                  </a:lnTo>
                  <a:lnTo>
                    <a:pt x="2753970" y="202260"/>
                  </a:lnTo>
                  <a:lnTo>
                    <a:pt x="2753970" y="202959"/>
                  </a:lnTo>
                  <a:lnTo>
                    <a:pt x="2754072" y="202959"/>
                  </a:lnTo>
                  <a:lnTo>
                    <a:pt x="2754072" y="202260"/>
                  </a:lnTo>
                  <a:lnTo>
                    <a:pt x="2754072" y="202959"/>
                  </a:lnTo>
                  <a:lnTo>
                    <a:pt x="2754072" y="202260"/>
                  </a:lnTo>
                  <a:lnTo>
                    <a:pt x="2754072" y="202959"/>
                  </a:lnTo>
                  <a:lnTo>
                    <a:pt x="2754072" y="202260"/>
                  </a:lnTo>
                  <a:lnTo>
                    <a:pt x="2754072" y="202959"/>
                  </a:lnTo>
                  <a:lnTo>
                    <a:pt x="2754072" y="202260"/>
                  </a:lnTo>
                  <a:lnTo>
                    <a:pt x="2754122" y="200876"/>
                  </a:lnTo>
                  <a:lnTo>
                    <a:pt x="2754122" y="202260"/>
                  </a:lnTo>
                  <a:lnTo>
                    <a:pt x="2754122" y="200876"/>
                  </a:lnTo>
                  <a:lnTo>
                    <a:pt x="2754122" y="202260"/>
                  </a:lnTo>
                  <a:lnTo>
                    <a:pt x="2754122" y="200228"/>
                  </a:lnTo>
                  <a:lnTo>
                    <a:pt x="2754122" y="200876"/>
                  </a:lnTo>
                  <a:lnTo>
                    <a:pt x="2754173" y="200876"/>
                  </a:lnTo>
                  <a:lnTo>
                    <a:pt x="2754173" y="198831"/>
                  </a:lnTo>
                  <a:lnTo>
                    <a:pt x="2754173" y="199530"/>
                  </a:lnTo>
                  <a:lnTo>
                    <a:pt x="2754173" y="198831"/>
                  </a:lnTo>
                  <a:lnTo>
                    <a:pt x="2754173" y="200228"/>
                  </a:lnTo>
                  <a:lnTo>
                    <a:pt x="2754275" y="200228"/>
                  </a:lnTo>
                  <a:lnTo>
                    <a:pt x="2754275" y="200876"/>
                  </a:lnTo>
                  <a:lnTo>
                    <a:pt x="2754275" y="198831"/>
                  </a:lnTo>
                  <a:lnTo>
                    <a:pt x="2754275" y="202260"/>
                  </a:lnTo>
                  <a:lnTo>
                    <a:pt x="2754313" y="202260"/>
                  </a:lnTo>
                  <a:lnTo>
                    <a:pt x="2754313" y="200228"/>
                  </a:lnTo>
                  <a:lnTo>
                    <a:pt x="2754313" y="202260"/>
                  </a:lnTo>
                  <a:lnTo>
                    <a:pt x="2754313" y="200876"/>
                  </a:lnTo>
                  <a:lnTo>
                    <a:pt x="2754364" y="200876"/>
                  </a:lnTo>
                  <a:lnTo>
                    <a:pt x="2754364" y="202260"/>
                  </a:lnTo>
                  <a:lnTo>
                    <a:pt x="2754415" y="202260"/>
                  </a:lnTo>
                  <a:lnTo>
                    <a:pt x="2754415" y="200876"/>
                  </a:lnTo>
                  <a:lnTo>
                    <a:pt x="2754415" y="202260"/>
                  </a:lnTo>
                  <a:lnTo>
                    <a:pt x="2754415" y="200876"/>
                  </a:lnTo>
                  <a:lnTo>
                    <a:pt x="2754415" y="202260"/>
                  </a:lnTo>
                  <a:lnTo>
                    <a:pt x="2754516" y="202260"/>
                  </a:lnTo>
                  <a:lnTo>
                    <a:pt x="2754516" y="202959"/>
                  </a:lnTo>
                  <a:lnTo>
                    <a:pt x="2754516" y="202260"/>
                  </a:lnTo>
                  <a:lnTo>
                    <a:pt x="2754516" y="202959"/>
                  </a:lnTo>
                  <a:lnTo>
                    <a:pt x="2754516" y="202260"/>
                  </a:lnTo>
                  <a:lnTo>
                    <a:pt x="2754516" y="202959"/>
                  </a:lnTo>
                  <a:lnTo>
                    <a:pt x="2754516" y="202260"/>
                  </a:lnTo>
                  <a:lnTo>
                    <a:pt x="2754516" y="202959"/>
                  </a:lnTo>
                  <a:lnTo>
                    <a:pt x="2754567" y="202260"/>
                  </a:lnTo>
                  <a:lnTo>
                    <a:pt x="2754567" y="202959"/>
                  </a:lnTo>
                  <a:lnTo>
                    <a:pt x="2754567" y="200228"/>
                  </a:lnTo>
                  <a:lnTo>
                    <a:pt x="2754618" y="200228"/>
                  </a:lnTo>
                  <a:lnTo>
                    <a:pt x="2754618" y="200876"/>
                  </a:lnTo>
                  <a:lnTo>
                    <a:pt x="2754618" y="199530"/>
                  </a:lnTo>
                  <a:lnTo>
                    <a:pt x="2754618" y="200228"/>
                  </a:lnTo>
                  <a:lnTo>
                    <a:pt x="2754618" y="199530"/>
                  </a:lnTo>
                  <a:lnTo>
                    <a:pt x="2754719" y="199530"/>
                  </a:lnTo>
                  <a:lnTo>
                    <a:pt x="2754719" y="197447"/>
                  </a:lnTo>
                  <a:lnTo>
                    <a:pt x="2754719" y="199530"/>
                  </a:lnTo>
                  <a:lnTo>
                    <a:pt x="2754770" y="199530"/>
                  </a:lnTo>
                  <a:lnTo>
                    <a:pt x="2754770" y="197447"/>
                  </a:lnTo>
                  <a:lnTo>
                    <a:pt x="2754770" y="200876"/>
                  </a:lnTo>
                  <a:lnTo>
                    <a:pt x="2754821" y="200228"/>
                  </a:lnTo>
                  <a:lnTo>
                    <a:pt x="2754821" y="198831"/>
                  </a:lnTo>
                  <a:lnTo>
                    <a:pt x="2754821" y="200876"/>
                  </a:lnTo>
                  <a:lnTo>
                    <a:pt x="2754821" y="200228"/>
                  </a:lnTo>
                  <a:lnTo>
                    <a:pt x="2754859" y="200228"/>
                  </a:lnTo>
                  <a:lnTo>
                    <a:pt x="2754859" y="199530"/>
                  </a:lnTo>
                  <a:lnTo>
                    <a:pt x="2754859" y="200228"/>
                  </a:lnTo>
                  <a:lnTo>
                    <a:pt x="2754859" y="199530"/>
                  </a:lnTo>
                  <a:lnTo>
                    <a:pt x="2754859" y="200876"/>
                  </a:lnTo>
                  <a:lnTo>
                    <a:pt x="2754859" y="200228"/>
                  </a:lnTo>
                  <a:lnTo>
                    <a:pt x="2754859" y="200876"/>
                  </a:lnTo>
                  <a:lnTo>
                    <a:pt x="2754961" y="200228"/>
                  </a:lnTo>
                  <a:lnTo>
                    <a:pt x="2754961" y="200876"/>
                  </a:lnTo>
                  <a:lnTo>
                    <a:pt x="2754961" y="200228"/>
                  </a:lnTo>
                  <a:lnTo>
                    <a:pt x="2754961" y="200876"/>
                  </a:lnTo>
                  <a:lnTo>
                    <a:pt x="2755012" y="200876"/>
                  </a:lnTo>
                  <a:lnTo>
                    <a:pt x="2755012" y="202260"/>
                  </a:lnTo>
                  <a:lnTo>
                    <a:pt x="2755012" y="200876"/>
                  </a:lnTo>
                  <a:lnTo>
                    <a:pt x="2755012" y="202260"/>
                  </a:lnTo>
                  <a:lnTo>
                    <a:pt x="2755012" y="200876"/>
                  </a:lnTo>
                  <a:lnTo>
                    <a:pt x="2755012" y="202260"/>
                  </a:lnTo>
                  <a:lnTo>
                    <a:pt x="2755062" y="202260"/>
                  </a:lnTo>
                  <a:lnTo>
                    <a:pt x="2755062" y="200876"/>
                  </a:lnTo>
                  <a:lnTo>
                    <a:pt x="2755062" y="202260"/>
                  </a:lnTo>
                  <a:lnTo>
                    <a:pt x="2755062" y="200876"/>
                  </a:lnTo>
                  <a:lnTo>
                    <a:pt x="2755062" y="202260"/>
                  </a:lnTo>
                  <a:lnTo>
                    <a:pt x="2755062" y="200228"/>
                  </a:lnTo>
                  <a:lnTo>
                    <a:pt x="2755164" y="200876"/>
                  </a:lnTo>
                  <a:lnTo>
                    <a:pt x="2755164" y="198831"/>
                  </a:lnTo>
                  <a:lnTo>
                    <a:pt x="2755164" y="199530"/>
                  </a:lnTo>
                  <a:lnTo>
                    <a:pt x="2755164" y="198831"/>
                  </a:lnTo>
                  <a:lnTo>
                    <a:pt x="2755215" y="198831"/>
                  </a:lnTo>
                  <a:lnTo>
                    <a:pt x="2755215" y="197447"/>
                  </a:lnTo>
                  <a:lnTo>
                    <a:pt x="2755215" y="198831"/>
                  </a:lnTo>
                  <a:lnTo>
                    <a:pt x="2755215" y="197447"/>
                  </a:lnTo>
                  <a:lnTo>
                    <a:pt x="2755265" y="197447"/>
                  </a:lnTo>
                  <a:lnTo>
                    <a:pt x="2755265" y="196113"/>
                  </a:lnTo>
                  <a:lnTo>
                    <a:pt x="2755265" y="200228"/>
                  </a:lnTo>
                  <a:lnTo>
                    <a:pt x="2755265" y="198831"/>
                  </a:lnTo>
                  <a:lnTo>
                    <a:pt x="2755316" y="198831"/>
                  </a:lnTo>
                  <a:lnTo>
                    <a:pt x="2755316" y="197447"/>
                  </a:lnTo>
                  <a:lnTo>
                    <a:pt x="2755316" y="200228"/>
                  </a:lnTo>
                  <a:lnTo>
                    <a:pt x="2755316" y="198831"/>
                  </a:lnTo>
                  <a:lnTo>
                    <a:pt x="2755405" y="198831"/>
                  </a:lnTo>
                  <a:lnTo>
                    <a:pt x="2755405" y="197447"/>
                  </a:lnTo>
                  <a:lnTo>
                    <a:pt x="2755405" y="200228"/>
                  </a:lnTo>
                  <a:lnTo>
                    <a:pt x="2755405" y="199530"/>
                  </a:lnTo>
                  <a:lnTo>
                    <a:pt x="2755405" y="200228"/>
                  </a:lnTo>
                  <a:lnTo>
                    <a:pt x="2755405" y="198831"/>
                  </a:lnTo>
                  <a:lnTo>
                    <a:pt x="2755456" y="198831"/>
                  </a:lnTo>
                  <a:lnTo>
                    <a:pt x="2755456" y="200228"/>
                  </a:lnTo>
                  <a:lnTo>
                    <a:pt x="2755456" y="199530"/>
                  </a:lnTo>
                  <a:lnTo>
                    <a:pt x="2755456" y="200228"/>
                  </a:lnTo>
                  <a:lnTo>
                    <a:pt x="2755456" y="199530"/>
                  </a:lnTo>
                  <a:lnTo>
                    <a:pt x="2755456" y="200228"/>
                  </a:lnTo>
                  <a:lnTo>
                    <a:pt x="2755456" y="199530"/>
                  </a:lnTo>
                  <a:lnTo>
                    <a:pt x="2755456" y="200228"/>
                  </a:lnTo>
                  <a:lnTo>
                    <a:pt x="2755456" y="199530"/>
                  </a:lnTo>
                  <a:lnTo>
                    <a:pt x="2755507" y="200228"/>
                  </a:lnTo>
                  <a:lnTo>
                    <a:pt x="2755558" y="200228"/>
                  </a:lnTo>
                  <a:lnTo>
                    <a:pt x="2755558" y="199530"/>
                  </a:lnTo>
                  <a:lnTo>
                    <a:pt x="2755558" y="200228"/>
                  </a:lnTo>
                  <a:lnTo>
                    <a:pt x="2755659" y="200228"/>
                  </a:lnTo>
                  <a:lnTo>
                    <a:pt x="2755659" y="198831"/>
                  </a:lnTo>
                  <a:lnTo>
                    <a:pt x="2755710" y="197447"/>
                  </a:lnTo>
                  <a:lnTo>
                    <a:pt x="2755710" y="196799"/>
                  </a:lnTo>
                  <a:lnTo>
                    <a:pt x="2755710" y="198831"/>
                  </a:lnTo>
                  <a:lnTo>
                    <a:pt x="2755710" y="196799"/>
                  </a:lnTo>
                  <a:lnTo>
                    <a:pt x="2755761" y="196799"/>
                  </a:lnTo>
                  <a:lnTo>
                    <a:pt x="2755761" y="196113"/>
                  </a:lnTo>
                  <a:lnTo>
                    <a:pt x="2755761" y="196799"/>
                  </a:lnTo>
                  <a:lnTo>
                    <a:pt x="2755761" y="196113"/>
                  </a:lnTo>
                  <a:lnTo>
                    <a:pt x="2755761" y="200228"/>
                  </a:lnTo>
                  <a:lnTo>
                    <a:pt x="2755761" y="198831"/>
                  </a:lnTo>
                  <a:lnTo>
                    <a:pt x="2755862" y="197447"/>
                  </a:lnTo>
                  <a:lnTo>
                    <a:pt x="2755862" y="200228"/>
                  </a:lnTo>
                  <a:lnTo>
                    <a:pt x="2755862" y="198831"/>
                  </a:lnTo>
                  <a:lnTo>
                    <a:pt x="2755901" y="198831"/>
                  </a:lnTo>
                  <a:lnTo>
                    <a:pt x="2755901" y="199530"/>
                  </a:lnTo>
                  <a:lnTo>
                    <a:pt x="2755901" y="198831"/>
                  </a:lnTo>
                  <a:lnTo>
                    <a:pt x="2755951" y="199530"/>
                  </a:lnTo>
                  <a:lnTo>
                    <a:pt x="2755951" y="200228"/>
                  </a:lnTo>
                  <a:lnTo>
                    <a:pt x="2755951" y="199530"/>
                  </a:lnTo>
                  <a:lnTo>
                    <a:pt x="2755951" y="200228"/>
                  </a:lnTo>
                  <a:lnTo>
                    <a:pt x="2756002" y="200228"/>
                  </a:lnTo>
                  <a:lnTo>
                    <a:pt x="2756002" y="200876"/>
                  </a:lnTo>
                  <a:lnTo>
                    <a:pt x="2756002" y="200228"/>
                  </a:lnTo>
                  <a:lnTo>
                    <a:pt x="2756104" y="200228"/>
                  </a:lnTo>
                  <a:lnTo>
                    <a:pt x="2756104" y="200876"/>
                  </a:lnTo>
                  <a:lnTo>
                    <a:pt x="2756104" y="199530"/>
                  </a:lnTo>
                  <a:lnTo>
                    <a:pt x="2756155" y="199530"/>
                  </a:lnTo>
                  <a:lnTo>
                    <a:pt x="2756155" y="200228"/>
                  </a:lnTo>
                  <a:lnTo>
                    <a:pt x="2756155" y="198831"/>
                  </a:lnTo>
                  <a:lnTo>
                    <a:pt x="2756155" y="199530"/>
                  </a:lnTo>
                  <a:lnTo>
                    <a:pt x="2756155" y="198831"/>
                  </a:lnTo>
                  <a:lnTo>
                    <a:pt x="2756155" y="199530"/>
                  </a:lnTo>
                  <a:lnTo>
                    <a:pt x="2756155" y="197447"/>
                  </a:lnTo>
                  <a:lnTo>
                    <a:pt x="2756205" y="198831"/>
                  </a:lnTo>
                  <a:lnTo>
                    <a:pt x="2756205" y="200228"/>
                  </a:lnTo>
                  <a:lnTo>
                    <a:pt x="2756205" y="198831"/>
                  </a:lnTo>
                  <a:lnTo>
                    <a:pt x="2756205" y="199530"/>
                  </a:lnTo>
                  <a:lnTo>
                    <a:pt x="2756307" y="200228"/>
                  </a:lnTo>
                  <a:lnTo>
                    <a:pt x="2756307" y="200876"/>
                  </a:lnTo>
                  <a:lnTo>
                    <a:pt x="2756307" y="200228"/>
                  </a:lnTo>
                  <a:lnTo>
                    <a:pt x="2756358" y="200228"/>
                  </a:lnTo>
                  <a:lnTo>
                    <a:pt x="2756358" y="200876"/>
                  </a:lnTo>
                  <a:lnTo>
                    <a:pt x="2756358" y="200228"/>
                  </a:lnTo>
                  <a:lnTo>
                    <a:pt x="2756358" y="200876"/>
                  </a:lnTo>
                  <a:lnTo>
                    <a:pt x="2756358" y="200228"/>
                  </a:lnTo>
                  <a:lnTo>
                    <a:pt x="2756408" y="200228"/>
                  </a:lnTo>
                  <a:lnTo>
                    <a:pt x="2756408" y="200876"/>
                  </a:lnTo>
                  <a:lnTo>
                    <a:pt x="2756408" y="200228"/>
                  </a:lnTo>
                  <a:lnTo>
                    <a:pt x="2756408" y="200876"/>
                  </a:lnTo>
                  <a:lnTo>
                    <a:pt x="2756408" y="200228"/>
                  </a:lnTo>
                  <a:lnTo>
                    <a:pt x="2756447" y="200228"/>
                  </a:lnTo>
                  <a:lnTo>
                    <a:pt x="2756447" y="200876"/>
                  </a:lnTo>
                  <a:lnTo>
                    <a:pt x="2756447" y="200228"/>
                  </a:lnTo>
                  <a:lnTo>
                    <a:pt x="2756548" y="200228"/>
                  </a:lnTo>
                  <a:lnTo>
                    <a:pt x="2756548" y="200876"/>
                  </a:lnTo>
                  <a:lnTo>
                    <a:pt x="2756548" y="200228"/>
                  </a:lnTo>
                  <a:lnTo>
                    <a:pt x="2756548" y="200876"/>
                  </a:lnTo>
                  <a:lnTo>
                    <a:pt x="2756548" y="200228"/>
                  </a:lnTo>
                  <a:lnTo>
                    <a:pt x="2756599" y="199530"/>
                  </a:lnTo>
                  <a:lnTo>
                    <a:pt x="2756599" y="200228"/>
                  </a:lnTo>
                  <a:lnTo>
                    <a:pt x="2756599" y="199530"/>
                  </a:lnTo>
                  <a:lnTo>
                    <a:pt x="2756599" y="200228"/>
                  </a:lnTo>
                  <a:lnTo>
                    <a:pt x="2756599" y="199530"/>
                  </a:lnTo>
                  <a:lnTo>
                    <a:pt x="2756599" y="200228"/>
                  </a:lnTo>
                  <a:lnTo>
                    <a:pt x="2756599" y="198831"/>
                  </a:lnTo>
                  <a:lnTo>
                    <a:pt x="2756599" y="199530"/>
                  </a:lnTo>
                  <a:lnTo>
                    <a:pt x="2756650" y="199530"/>
                  </a:lnTo>
                  <a:lnTo>
                    <a:pt x="2756650" y="197447"/>
                  </a:lnTo>
                  <a:lnTo>
                    <a:pt x="2756650" y="198831"/>
                  </a:lnTo>
                  <a:lnTo>
                    <a:pt x="2756650" y="196799"/>
                  </a:lnTo>
                  <a:lnTo>
                    <a:pt x="2756751" y="196113"/>
                  </a:lnTo>
                  <a:lnTo>
                    <a:pt x="2756751" y="198831"/>
                  </a:lnTo>
                  <a:lnTo>
                    <a:pt x="2756751" y="196113"/>
                  </a:lnTo>
                  <a:lnTo>
                    <a:pt x="2756751" y="196799"/>
                  </a:lnTo>
                  <a:lnTo>
                    <a:pt x="2756802" y="196799"/>
                  </a:lnTo>
                  <a:lnTo>
                    <a:pt x="2756802" y="199530"/>
                  </a:lnTo>
                  <a:lnTo>
                    <a:pt x="2756802" y="197447"/>
                  </a:lnTo>
                  <a:lnTo>
                    <a:pt x="2756802" y="199530"/>
                  </a:lnTo>
                  <a:lnTo>
                    <a:pt x="2756853" y="199530"/>
                  </a:lnTo>
                  <a:lnTo>
                    <a:pt x="2756853" y="200228"/>
                  </a:lnTo>
                  <a:lnTo>
                    <a:pt x="2756853" y="199530"/>
                  </a:lnTo>
                  <a:lnTo>
                    <a:pt x="2756853" y="200228"/>
                  </a:lnTo>
                  <a:lnTo>
                    <a:pt x="2756853" y="198831"/>
                  </a:lnTo>
                  <a:lnTo>
                    <a:pt x="2756853" y="199530"/>
                  </a:lnTo>
                  <a:lnTo>
                    <a:pt x="2756853" y="198831"/>
                  </a:lnTo>
                  <a:lnTo>
                    <a:pt x="2756853" y="199530"/>
                  </a:lnTo>
                  <a:lnTo>
                    <a:pt x="2756904" y="199530"/>
                  </a:lnTo>
                  <a:lnTo>
                    <a:pt x="2756904" y="200228"/>
                  </a:lnTo>
                  <a:lnTo>
                    <a:pt x="2756993" y="200228"/>
                  </a:lnTo>
                  <a:lnTo>
                    <a:pt x="2756993" y="200876"/>
                  </a:lnTo>
                  <a:lnTo>
                    <a:pt x="2756993" y="200228"/>
                  </a:lnTo>
                  <a:lnTo>
                    <a:pt x="2757044" y="200228"/>
                  </a:lnTo>
                  <a:lnTo>
                    <a:pt x="2757044" y="200876"/>
                  </a:lnTo>
                  <a:lnTo>
                    <a:pt x="2757044" y="200228"/>
                  </a:lnTo>
                  <a:lnTo>
                    <a:pt x="2757044" y="200876"/>
                  </a:lnTo>
                  <a:lnTo>
                    <a:pt x="2757044" y="200228"/>
                  </a:lnTo>
                  <a:lnTo>
                    <a:pt x="2757044" y="200876"/>
                  </a:lnTo>
                  <a:lnTo>
                    <a:pt x="2757044" y="200228"/>
                  </a:lnTo>
                  <a:lnTo>
                    <a:pt x="2757094" y="200228"/>
                  </a:lnTo>
                  <a:lnTo>
                    <a:pt x="2757094" y="198831"/>
                  </a:lnTo>
                  <a:lnTo>
                    <a:pt x="2757094" y="199530"/>
                  </a:lnTo>
                  <a:lnTo>
                    <a:pt x="2757094" y="198831"/>
                  </a:lnTo>
                  <a:lnTo>
                    <a:pt x="2757094" y="199530"/>
                  </a:lnTo>
                  <a:lnTo>
                    <a:pt x="2757145" y="198831"/>
                  </a:lnTo>
                  <a:lnTo>
                    <a:pt x="2757145" y="196113"/>
                  </a:lnTo>
                  <a:lnTo>
                    <a:pt x="2757145" y="196799"/>
                  </a:lnTo>
                  <a:lnTo>
                    <a:pt x="2757145" y="196113"/>
                  </a:lnTo>
                  <a:lnTo>
                    <a:pt x="2757145" y="196799"/>
                  </a:lnTo>
                  <a:lnTo>
                    <a:pt x="2757247" y="196799"/>
                  </a:lnTo>
                  <a:lnTo>
                    <a:pt x="2757247" y="197447"/>
                  </a:lnTo>
                  <a:lnTo>
                    <a:pt x="2757247" y="196113"/>
                  </a:lnTo>
                  <a:lnTo>
                    <a:pt x="2757247" y="198831"/>
                  </a:lnTo>
                  <a:lnTo>
                    <a:pt x="2757297" y="198831"/>
                  </a:lnTo>
                  <a:lnTo>
                    <a:pt x="2757297" y="200228"/>
                  </a:lnTo>
                  <a:lnTo>
                    <a:pt x="2757297" y="199530"/>
                  </a:lnTo>
                  <a:lnTo>
                    <a:pt x="2757297" y="200228"/>
                  </a:lnTo>
                  <a:lnTo>
                    <a:pt x="2757297" y="197447"/>
                  </a:lnTo>
                  <a:lnTo>
                    <a:pt x="2757297" y="200228"/>
                  </a:lnTo>
                  <a:lnTo>
                    <a:pt x="2757348" y="200228"/>
                  </a:lnTo>
                  <a:lnTo>
                    <a:pt x="2757348" y="198831"/>
                  </a:lnTo>
                  <a:lnTo>
                    <a:pt x="2757348" y="199530"/>
                  </a:lnTo>
                  <a:lnTo>
                    <a:pt x="2757450" y="199530"/>
                  </a:lnTo>
                  <a:lnTo>
                    <a:pt x="2757450" y="200228"/>
                  </a:lnTo>
                  <a:lnTo>
                    <a:pt x="2757488" y="200228"/>
                  </a:lnTo>
                  <a:lnTo>
                    <a:pt x="2757488" y="199530"/>
                  </a:lnTo>
                  <a:lnTo>
                    <a:pt x="2757488" y="200876"/>
                  </a:lnTo>
                  <a:lnTo>
                    <a:pt x="2757488" y="200228"/>
                  </a:lnTo>
                  <a:lnTo>
                    <a:pt x="2757539" y="200228"/>
                  </a:lnTo>
                  <a:lnTo>
                    <a:pt x="2757539" y="200876"/>
                  </a:lnTo>
                  <a:lnTo>
                    <a:pt x="2757539" y="199530"/>
                  </a:lnTo>
                  <a:lnTo>
                    <a:pt x="2757590" y="200228"/>
                  </a:lnTo>
                  <a:lnTo>
                    <a:pt x="2757590" y="198831"/>
                  </a:lnTo>
                  <a:lnTo>
                    <a:pt x="2757590" y="199530"/>
                  </a:lnTo>
                  <a:lnTo>
                    <a:pt x="2757590" y="198831"/>
                  </a:lnTo>
                  <a:lnTo>
                    <a:pt x="2757590" y="199530"/>
                  </a:lnTo>
                  <a:lnTo>
                    <a:pt x="2757590" y="197447"/>
                  </a:lnTo>
                  <a:lnTo>
                    <a:pt x="2757691" y="197447"/>
                  </a:lnTo>
                  <a:lnTo>
                    <a:pt x="2757691" y="196113"/>
                  </a:lnTo>
                  <a:lnTo>
                    <a:pt x="2757691" y="196799"/>
                  </a:lnTo>
                  <a:lnTo>
                    <a:pt x="2757691" y="196113"/>
                  </a:lnTo>
                  <a:lnTo>
                    <a:pt x="2757742" y="196113"/>
                  </a:lnTo>
                  <a:lnTo>
                    <a:pt x="2757742" y="196799"/>
                  </a:lnTo>
                  <a:lnTo>
                    <a:pt x="2757742" y="195415"/>
                  </a:lnTo>
                  <a:lnTo>
                    <a:pt x="2757793" y="196113"/>
                  </a:lnTo>
                  <a:lnTo>
                    <a:pt x="2757793" y="198831"/>
                  </a:lnTo>
                  <a:lnTo>
                    <a:pt x="2757793" y="197447"/>
                  </a:lnTo>
                  <a:lnTo>
                    <a:pt x="2757793" y="198831"/>
                  </a:lnTo>
                  <a:lnTo>
                    <a:pt x="2757793" y="196799"/>
                  </a:lnTo>
                  <a:lnTo>
                    <a:pt x="2757793" y="197447"/>
                  </a:lnTo>
                  <a:lnTo>
                    <a:pt x="2757894" y="197447"/>
                  </a:lnTo>
                  <a:lnTo>
                    <a:pt x="2757894" y="198831"/>
                  </a:lnTo>
                  <a:lnTo>
                    <a:pt x="2757894" y="197447"/>
                  </a:lnTo>
                  <a:lnTo>
                    <a:pt x="2757894" y="198831"/>
                  </a:lnTo>
                  <a:lnTo>
                    <a:pt x="2757945" y="198831"/>
                  </a:lnTo>
                  <a:lnTo>
                    <a:pt x="2757945" y="199530"/>
                  </a:lnTo>
                  <a:lnTo>
                    <a:pt x="2757996" y="199530"/>
                  </a:lnTo>
                  <a:lnTo>
                    <a:pt x="2757996" y="200228"/>
                  </a:lnTo>
                  <a:lnTo>
                    <a:pt x="2758034" y="200228"/>
                  </a:lnTo>
                  <a:lnTo>
                    <a:pt x="2758034" y="200876"/>
                  </a:lnTo>
                  <a:lnTo>
                    <a:pt x="2758034" y="200228"/>
                  </a:lnTo>
                  <a:lnTo>
                    <a:pt x="2758034" y="200876"/>
                  </a:lnTo>
                  <a:lnTo>
                    <a:pt x="2758034" y="200228"/>
                  </a:lnTo>
                  <a:lnTo>
                    <a:pt x="2758034" y="200876"/>
                  </a:lnTo>
                  <a:lnTo>
                    <a:pt x="2758034" y="200228"/>
                  </a:lnTo>
                  <a:lnTo>
                    <a:pt x="2758136" y="200228"/>
                  </a:lnTo>
                  <a:lnTo>
                    <a:pt x="2758136" y="198831"/>
                  </a:lnTo>
                  <a:lnTo>
                    <a:pt x="2758187" y="198831"/>
                  </a:lnTo>
                  <a:lnTo>
                    <a:pt x="2758187" y="196799"/>
                  </a:lnTo>
                  <a:lnTo>
                    <a:pt x="2758187" y="197447"/>
                  </a:lnTo>
                  <a:lnTo>
                    <a:pt x="2758237" y="197447"/>
                  </a:lnTo>
                  <a:lnTo>
                    <a:pt x="2758237" y="196799"/>
                  </a:lnTo>
                  <a:lnTo>
                    <a:pt x="2758237" y="197447"/>
                  </a:lnTo>
                  <a:lnTo>
                    <a:pt x="2758237" y="196799"/>
                  </a:lnTo>
                  <a:lnTo>
                    <a:pt x="2758237" y="198831"/>
                  </a:lnTo>
                  <a:lnTo>
                    <a:pt x="2758339" y="198831"/>
                  </a:lnTo>
                  <a:lnTo>
                    <a:pt x="2758339" y="197447"/>
                  </a:lnTo>
                  <a:lnTo>
                    <a:pt x="2758339" y="199530"/>
                  </a:lnTo>
                  <a:lnTo>
                    <a:pt x="2758390" y="199530"/>
                  </a:lnTo>
                  <a:lnTo>
                    <a:pt x="2758390" y="197447"/>
                  </a:lnTo>
                  <a:lnTo>
                    <a:pt x="2758390" y="198831"/>
                  </a:lnTo>
                  <a:lnTo>
                    <a:pt x="2758440" y="198831"/>
                  </a:lnTo>
                  <a:lnTo>
                    <a:pt x="2758440" y="197447"/>
                  </a:lnTo>
                  <a:lnTo>
                    <a:pt x="2758440" y="199530"/>
                  </a:lnTo>
                  <a:lnTo>
                    <a:pt x="2758491" y="199530"/>
                  </a:lnTo>
                  <a:lnTo>
                    <a:pt x="2758491" y="198831"/>
                  </a:lnTo>
                  <a:lnTo>
                    <a:pt x="2758491" y="200228"/>
                  </a:lnTo>
                  <a:lnTo>
                    <a:pt x="2758491" y="199530"/>
                  </a:lnTo>
                  <a:lnTo>
                    <a:pt x="2758580" y="199530"/>
                  </a:lnTo>
                  <a:lnTo>
                    <a:pt x="2758580" y="200228"/>
                  </a:lnTo>
                  <a:lnTo>
                    <a:pt x="2758580" y="199530"/>
                  </a:lnTo>
                  <a:lnTo>
                    <a:pt x="2758580" y="200228"/>
                  </a:lnTo>
                  <a:lnTo>
                    <a:pt x="2758580" y="199530"/>
                  </a:lnTo>
                  <a:lnTo>
                    <a:pt x="2758580" y="200228"/>
                  </a:lnTo>
                  <a:lnTo>
                    <a:pt x="2758580" y="199530"/>
                  </a:lnTo>
                  <a:lnTo>
                    <a:pt x="2758580" y="200228"/>
                  </a:lnTo>
                  <a:lnTo>
                    <a:pt x="2758631" y="200228"/>
                  </a:lnTo>
                  <a:lnTo>
                    <a:pt x="2758631" y="198831"/>
                  </a:lnTo>
                  <a:lnTo>
                    <a:pt x="2758631" y="199530"/>
                  </a:lnTo>
                  <a:lnTo>
                    <a:pt x="2758631" y="197447"/>
                  </a:lnTo>
                  <a:lnTo>
                    <a:pt x="2758631" y="198831"/>
                  </a:lnTo>
                  <a:lnTo>
                    <a:pt x="2758682" y="198831"/>
                  </a:lnTo>
                  <a:lnTo>
                    <a:pt x="2758682" y="197447"/>
                  </a:lnTo>
                  <a:lnTo>
                    <a:pt x="2758682" y="198831"/>
                  </a:lnTo>
                  <a:lnTo>
                    <a:pt x="2758682" y="197447"/>
                  </a:lnTo>
                  <a:lnTo>
                    <a:pt x="2758682" y="199530"/>
                  </a:lnTo>
                  <a:lnTo>
                    <a:pt x="2758682" y="198831"/>
                  </a:lnTo>
                  <a:lnTo>
                    <a:pt x="2758682" y="199530"/>
                  </a:lnTo>
                  <a:lnTo>
                    <a:pt x="2758733" y="198831"/>
                  </a:lnTo>
                  <a:lnTo>
                    <a:pt x="2758733" y="200876"/>
                  </a:lnTo>
                  <a:lnTo>
                    <a:pt x="2758733" y="199530"/>
                  </a:lnTo>
                  <a:lnTo>
                    <a:pt x="2758834" y="199530"/>
                  </a:lnTo>
                  <a:lnTo>
                    <a:pt x="2758834" y="200876"/>
                  </a:lnTo>
                  <a:lnTo>
                    <a:pt x="2758834" y="200228"/>
                  </a:lnTo>
                  <a:lnTo>
                    <a:pt x="2758885" y="200228"/>
                  </a:lnTo>
                  <a:lnTo>
                    <a:pt x="2758885" y="200876"/>
                  </a:lnTo>
                  <a:lnTo>
                    <a:pt x="2758885" y="200228"/>
                  </a:lnTo>
                  <a:lnTo>
                    <a:pt x="2758885" y="200876"/>
                  </a:lnTo>
                  <a:lnTo>
                    <a:pt x="2758885" y="200228"/>
                  </a:lnTo>
                  <a:lnTo>
                    <a:pt x="2758936" y="200228"/>
                  </a:lnTo>
                  <a:lnTo>
                    <a:pt x="2758936" y="200876"/>
                  </a:lnTo>
                  <a:lnTo>
                    <a:pt x="2758936" y="200228"/>
                  </a:lnTo>
                  <a:lnTo>
                    <a:pt x="2759037" y="200228"/>
                  </a:lnTo>
                  <a:lnTo>
                    <a:pt x="2759037" y="200876"/>
                  </a:lnTo>
                  <a:lnTo>
                    <a:pt x="2759037" y="200228"/>
                  </a:lnTo>
                  <a:lnTo>
                    <a:pt x="2759076" y="200228"/>
                  </a:lnTo>
                  <a:lnTo>
                    <a:pt x="2759076" y="200876"/>
                  </a:lnTo>
                  <a:lnTo>
                    <a:pt x="2759076" y="200228"/>
                  </a:lnTo>
                  <a:lnTo>
                    <a:pt x="2759076" y="200876"/>
                  </a:lnTo>
                  <a:lnTo>
                    <a:pt x="2759076" y="199530"/>
                  </a:lnTo>
                  <a:lnTo>
                    <a:pt x="2759126" y="199530"/>
                  </a:lnTo>
                  <a:lnTo>
                    <a:pt x="2759126" y="197447"/>
                  </a:lnTo>
                  <a:lnTo>
                    <a:pt x="2759177" y="197447"/>
                  </a:lnTo>
                  <a:lnTo>
                    <a:pt x="2759177" y="196799"/>
                  </a:lnTo>
                  <a:lnTo>
                    <a:pt x="2759177" y="199530"/>
                  </a:lnTo>
                  <a:lnTo>
                    <a:pt x="2759177" y="198831"/>
                  </a:lnTo>
                  <a:lnTo>
                    <a:pt x="2759279" y="198831"/>
                  </a:lnTo>
                  <a:lnTo>
                    <a:pt x="2759279" y="197447"/>
                  </a:lnTo>
                  <a:lnTo>
                    <a:pt x="2759279" y="200228"/>
                  </a:lnTo>
                  <a:lnTo>
                    <a:pt x="2759279" y="199530"/>
                  </a:lnTo>
                  <a:lnTo>
                    <a:pt x="2759330" y="199530"/>
                  </a:lnTo>
                  <a:lnTo>
                    <a:pt x="2759330" y="200876"/>
                  </a:lnTo>
                  <a:lnTo>
                    <a:pt x="2759330" y="200228"/>
                  </a:lnTo>
                  <a:lnTo>
                    <a:pt x="2759330" y="200876"/>
                  </a:lnTo>
                  <a:lnTo>
                    <a:pt x="2759330" y="200228"/>
                  </a:lnTo>
                  <a:lnTo>
                    <a:pt x="2759380" y="200228"/>
                  </a:lnTo>
                  <a:lnTo>
                    <a:pt x="2759380" y="200876"/>
                  </a:lnTo>
                  <a:lnTo>
                    <a:pt x="2759380" y="200228"/>
                  </a:lnTo>
                  <a:lnTo>
                    <a:pt x="2759482" y="200228"/>
                  </a:lnTo>
                  <a:lnTo>
                    <a:pt x="2759482" y="200876"/>
                  </a:lnTo>
                  <a:lnTo>
                    <a:pt x="2759482" y="200228"/>
                  </a:lnTo>
                  <a:lnTo>
                    <a:pt x="2759482" y="200876"/>
                  </a:lnTo>
                  <a:lnTo>
                    <a:pt x="2759482" y="200228"/>
                  </a:lnTo>
                  <a:lnTo>
                    <a:pt x="2759482" y="200876"/>
                  </a:lnTo>
                  <a:lnTo>
                    <a:pt x="2759482" y="200228"/>
                  </a:lnTo>
                  <a:lnTo>
                    <a:pt x="2759482" y="200876"/>
                  </a:lnTo>
                  <a:lnTo>
                    <a:pt x="2759533" y="200876"/>
                  </a:lnTo>
                  <a:lnTo>
                    <a:pt x="2759533" y="200228"/>
                  </a:lnTo>
                  <a:lnTo>
                    <a:pt x="2759533" y="200876"/>
                  </a:lnTo>
                  <a:lnTo>
                    <a:pt x="2759533" y="200228"/>
                  </a:lnTo>
                  <a:lnTo>
                    <a:pt x="2759533" y="200876"/>
                  </a:lnTo>
                  <a:lnTo>
                    <a:pt x="2759533" y="200228"/>
                  </a:lnTo>
                  <a:lnTo>
                    <a:pt x="2759533" y="200876"/>
                  </a:lnTo>
                  <a:lnTo>
                    <a:pt x="2759533" y="200228"/>
                  </a:lnTo>
                  <a:lnTo>
                    <a:pt x="2759533" y="200876"/>
                  </a:lnTo>
                  <a:lnTo>
                    <a:pt x="2759533" y="200228"/>
                  </a:lnTo>
                  <a:lnTo>
                    <a:pt x="2759583" y="200228"/>
                  </a:lnTo>
                  <a:lnTo>
                    <a:pt x="2759583" y="199530"/>
                  </a:lnTo>
                  <a:lnTo>
                    <a:pt x="2759583" y="200228"/>
                  </a:lnTo>
                  <a:lnTo>
                    <a:pt x="2759583" y="198831"/>
                  </a:lnTo>
                  <a:lnTo>
                    <a:pt x="2759622" y="198831"/>
                  </a:lnTo>
                  <a:lnTo>
                    <a:pt x="2759622" y="197447"/>
                  </a:lnTo>
                  <a:lnTo>
                    <a:pt x="2759723" y="197447"/>
                  </a:lnTo>
                  <a:lnTo>
                    <a:pt x="2759723" y="198831"/>
                  </a:lnTo>
                  <a:lnTo>
                    <a:pt x="2759723" y="197447"/>
                  </a:lnTo>
                  <a:lnTo>
                    <a:pt x="2759723" y="200228"/>
                  </a:lnTo>
                  <a:lnTo>
                    <a:pt x="2759774" y="200228"/>
                  </a:lnTo>
                  <a:lnTo>
                    <a:pt x="2759774" y="200876"/>
                  </a:lnTo>
                  <a:lnTo>
                    <a:pt x="2759774" y="199530"/>
                  </a:lnTo>
                  <a:lnTo>
                    <a:pt x="2759774" y="200876"/>
                  </a:lnTo>
                  <a:lnTo>
                    <a:pt x="2759825" y="200876"/>
                  </a:lnTo>
                  <a:lnTo>
                    <a:pt x="2759825" y="200228"/>
                  </a:lnTo>
                  <a:lnTo>
                    <a:pt x="2759825" y="200876"/>
                  </a:lnTo>
                  <a:lnTo>
                    <a:pt x="2759926" y="200876"/>
                  </a:lnTo>
                  <a:lnTo>
                    <a:pt x="2759926" y="202260"/>
                  </a:lnTo>
                  <a:lnTo>
                    <a:pt x="2759926" y="200876"/>
                  </a:lnTo>
                  <a:lnTo>
                    <a:pt x="2759977" y="202260"/>
                  </a:lnTo>
                  <a:lnTo>
                    <a:pt x="2759977" y="200876"/>
                  </a:lnTo>
                  <a:lnTo>
                    <a:pt x="2759977" y="202260"/>
                  </a:lnTo>
                  <a:lnTo>
                    <a:pt x="2759977" y="200876"/>
                  </a:lnTo>
                  <a:lnTo>
                    <a:pt x="2759977" y="202260"/>
                  </a:lnTo>
                  <a:lnTo>
                    <a:pt x="2759977" y="200876"/>
                  </a:lnTo>
                  <a:lnTo>
                    <a:pt x="2759977" y="202260"/>
                  </a:lnTo>
                  <a:lnTo>
                    <a:pt x="2760028" y="202260"/>
                  </a:lnTo>
                  <a:lnTo>
                    <a:pt x="2760028" y="200876"/>
                  </a:lnTo>
                  <a:lnTo>
                    <a:pt x="2760028" y="202260"/>
                  </a:lnTo>
                  <a:lnTo>
                    <a:pt x="2760028" y="200228"/>
                  </a:lnTo>
                  <a:lnTo>
                    <a:pt x="2760079" y="200876"/>
                  </a:lnTo>
                  <a:lnTo>
                    <a:pt x="2760079" y="199530"/>
                  </a:lnTo>
                  <a:lnTo>
                    <a:pt x="2760079" y="200228"/>
                  </a:lnTo>
                  <a:lnTo>
                    <a:pt x="2760079" y="199530"/>
                  </a:lnTo>
                  <a:lnTo>
                    <a:pt x="2760168" y="199530"/>
                  </a:lnTo>
                  <a:lnTo>
                    <a:pt x="2760168" y="197447"/>
                  </a:lnTo>
                  <a:lnTo>
                    <a:pt x="2760168" y="198831"/>
                  </a:lnTo>
                  <a:lnTo>
                    <a:pt x="2760219" y="198831"/>
                  </a:lnTo>
                  <a:lnTo>
                    <a:pt x="2760219" y="199530"/>
                  </a:lnTo>
                  <a:lnTo>
                    <a:pt x="2760219" y="197447"/>
                  </a:lnTo>
                  <a:lnTo>
                    <a:pt x="2760219" y="200228"/>
                  </a:lnTo>
                  <a:lnTo>
                    <a:pt x="2760269" y="200228"/>
                  </a:lnTo>
                  <a:lnTo>
                    <a:pt x="2760269" y="199530"/>
                  </a:lnTo>
                  <a:lnTo>
                    <a:pt x="2760269" y="200876"/>
                  </a:lnTo>
                  <a:lnTo>
                    <a:pt x="2760320" y="200228"/>
                  </a:lnTo>
                  <a:lnTo>
                    <a:pt x="2760320" y="200876"/>
                  </a:lnTo>
                  <a:lnTo>
                    <a:pt x="2760320" y="200228"/>
                  </a:lnTo>
                  <a:lnTo>
                    <a:pt x="2760320" y="200876"/>
                  </a:lnTo>
                  <a:lnTo>
                    <a:pt x="2760320" y="200228"/>
                  </a:lnTo>
                  <a:lnTo>
                    <a:pt x="2760422" y="200876"/>
                  </a:lnTo>
                  <a:lnTo>
                    <a:pt x="2760422" y="200228"/>
                  </a:lnTo>
                  <a:lnTo>
                    <a:pt x="2760422" y="200876"/>
                  </a:lnTo>
                  <a:lnTo>
                    <a:pt x="2760422" y="200228"/>
                  </a:lnTo>
                  <a:lnTo>
                    <a:pt x="2760422" y="202260"/>
                  </a:lnTo>
                  <a:lnTo>
                    <a:pt x="2760422" y="200876"/>
                  </a:lnTo>
                  <a:lnTo>
                    <a:pt x="2760472" y="200876"/>
                  </a:lnTo>
                  <a:lnTo>
                    <a:pt x="2760472" y="202260"/>
                  </a:lnTo>
                  <a:lnTo>
                    <a:pt x="2760472" y="200876"/>
                  </a:lnTo>
                  <a:lnTo>
                    <a:pt x="2760472" y="202260"/>
                  </a:lnTo>
                  <a:lnTo>
                    <a:pt x="2760472" y="200876"/>
                  </a:lnTo>
                  <a:lnTo>
                    <a:pt x="2760523" y="202260"/>
                  </a:lnTo>
                  <a:lnTo>
                    <a:pt x="2760523" y="200228"/>
                  </a:lnTo>
                  <a:lnTo>
                    <a:pt x="2760523" y="202260"/>
                  </a:lnTo>
                  <a:lnTo>
                    <a:pt x="2760523" y="200228"/>
                  </a:lnTo>
                  <a:lnTo>
                    <a:pt x="2760625" y="200228"/>
                  </a:lnTo>
                  <a:lnTo>
                    <a:pt x="2760625" y="198831"/>
                  </a:lnTo>
                  <a:lnTo>
                    <a:pt x="2760663" y="198831"/>
                  </a:lnTo>
                  <a:lnTo>
                    <a:pt x="2760663" y="197447"/>
                  </a:lnTo>
                  <a:lnTo>
                    <a:pt x="2760663" y="198831"/>
                  </a:lnTo>
                  <a:lnTo>
                    <a:pt x="2760663" y="196799"/>
                  </a:lnTo>
                  <a:lnTo>
                    <a:pt x="2760663" y="198831"/>
                  </a:lnTo>
                  <a:lnTo>
                    <a:pt x="2760714" y="198831"/>
                  </a:lnTo>
                  <a:lnTo>
                    <a:pt x="2760714" y="197447"/>
                  </a:lnTo>
                  <a:lnTo>
                    <a:pt x="2760714" y="199530"/>
                  </a:lnTo>
                  <a:lnTo>
                    <a:pt x="2760765" y="199530"/>
                  </a:lnTo>
                  <a:lnTo>
                    <a:pt x="2760765" y="197447"/>
                  </a:lnTo>
                  <a:lnTo>
                    <a:pt x="2760765" y="200228"/>
                  </a:lnTo>
                  <a:lnTo>
                    <a:pt x="2760866" y="200228"/>
                  </a:lnTo>
                  <a:lnTo>
                    <a:pt x="2760866" y="198831"/>
                  </a:lnTo>
                  <a:lnTo>
                    <a:pt x="2760866" y="200228"/>
                  </a:lnTo>
                  <a:lnTo>
                    <a:pt x="2760866" y="199530"/>
                  </a:lnTo>
                  <a:lnTo>
                    <a:pt x="2760866" y="200228"/>
                  </a:lnTo>
                  <a:lnTo>
                    <a:pt x="2760917" y="200228"/>
                  </a:lnTo>
                  <a:lnTo>
                    <a:pt x="2760917" y="199530"/>
                  </a:lnTo>
                  <a:lnTo>
                    <a:pt x="2760917" y="200876"/>
                  </a:lnTo>
                  <a:lnTo>
                    <a:pt x="2760917" y="200228"/>
                  </a:lnTo>
                  <a:lnTo>
                    <a:pt x="2760917" y="200876"/>
                  </a:lnTo>
                  <a:lnTo>
                    <a:pt x="2760917" y="200228"/>
                  </a:lnTo>
                  <a:lnTo>
                    <a:pt x="2760917" y="200876"/>
                  </a:lnTo>
                  <a:lnTo>
                    <a:pt x="2761069" y="200876"/>
                  </a:lnTo>
                  <a:lnTo>
                    <a:pt x="2761069" y="200228"/>
                  </a:lnTo>
                  <a:lnTo>
                    <a:pt x="2761069" y="200876"/>
                  </a:lnTo>
                  <a:lnTo>
                    <a:pt x="2761069" y="199530"/>
                  </a:lnTo>
                  <a:lnTo>
                    <a:pt x="2761069" y="200228"/>
                  </a:lnTo>
                  <a:lnTo>
                    <a:pt x="2761120" y="200228"/>
                  </a:lnTo>
                  <a:lnTo>
                    <a:pt x="2761120" y="200876"/>
                  </a:lnTo>
                  <a:lnTo>
                    <a:pt x="2761120" y="198831"/>
                  </a:lnTo>
                  <a:lnTo>
                    <a:pt x="2761120" y="199530"/>
                  </a:lnTo>
                  <a:lnTo>
                    <a:pt x="2761120" y="198831"/>
                  </a:lnTo>
                  <a:lnTo>
                    <a:pt x="2761171" y="197447"/>
                  </a:lnTo>
                  <a:lnTo>
                    <a:pt x="2761171" y="196799"/>
                  </a:lnTo>
                  <a:lnTo>
                    <a:pt x="2761171" y="197447"/>
                  </a:lnTo>
                  <a:lnTo>
                    <a:pt x="2761171" y="196799"/>
                  </a:lnTo>
                  <a:lnTo>
                    <a:pt x="2761171" y="197447"/>
                  </a:lnTo>
                  <a:lnTo>
                    <a:pt x="2761171" y="196799"/>
                  </a:lnTo>
                  <a:lnTo>
                    <a:pt x="2761209" y="196799"/>
                  </a:lnTo>
                  <a:lnTo>
                    <a:pt x="2761209" y="196113"/>
                  </a:lnTo>
                  <a:lnTo>
                    <a:pt x="2761209" y="198831"/>
                  </a:lnTo>
                  <a:lnTo>
                    <a:pt x="2761311" y="198831"/>
                  </a:lnTo>
                  <a:lnTo>
                    <a:pt x="2761311" y="196799"/>
                  </a:lnTo>
                  <a:lnTo>
                    <a:pt x="2761311" y="198831"/>
                  </a:lnTo>
                  <a:lnTo>
                    <a:pt x="2761362" y="198831"/>
                  </a:lnTo>
                  <a:lnTo>
                    <a:pt x="2761362" y="197447"/>
                  </a:lnTo>
                  <a:lnTo>
                    <a:pt x="2761362" y="198831"/>
                  </a:lnTo>
                  <a:lnTo>
                    <a:pt x="2761362" y="197447"/>
                  </a:lnTo>
                  <a:lnTo>
                    <a:pt x="2761362" y="198831"/>
                  </a:lnTo>
                  <a:lnTo>
                    <a:pt x="2761412" y="198831"/>
                  </a:lnTo>
                  <a:lnTo>
                    <a:pt x="2761412" y="197447"/>
                  </a:lnTo>
                  <a:lnTo>
                    <a:pt x="2761412" y="199530"/>
                  </a:lnTo>
                  <a:lnTo>
                    <a:pt x="2761514" y="199530"/>
                  </a:lnTo>
                  <a:lnTo>
                    <a:pt x="2761514" y="200228"/>
                  </a:lnTo>
                  <a:lnTo>
                    <a:pt x="2761514" y="199530"/>
                  </a:lnTo>
                  <a:lnTo>
                    <a:pt x="2761514" y="200228"/>
                  </a:lnTo>
                  <a:lnTo>
                    <a:pt x="2761565" y="200228"/>
                  </a:lnTo>
                  <a:lnTo>
                    <a:pt x="2761565" y="199530"/>
                  </a:lnTo>
                  <a:lnTo>
                    <a:pt x="2761615" y="199530"/>
                  </a:lnTo>
                  <a:lnTo>
                    <a:pt x="2761615" y="200228"/>
                  </a:lnTo>
                  <a:lnTo>
                    <a:pt x="2761615" y="197447"/>
                  </a:lnTo>
                  <a:lnTo>
                    <a:pt x="2761666" y="197447"/>
                  </a:lnTo>
                  <a:lnTo>
                    <a:pt x="2761666" y="199530"/>
                  </a:lnTo>
                  <a:lnTo>
                    <a:pt x="2761666" y="197447"/>
                  </a:lnTo>
                  <a:lnTo>
                    <a:pt x="2761755" y="197447"/>
                  </a:lnTo>
                  <a:lnTo>
                    <a:pt x="2761755" y="200228"/>
                  </a:lnTo>
                  <a:lnTo>
                    <a:pt x="2761755" y="199530"/>
                  </a:lnTo>
                  <a:lnTo>
                    <a:pt x="2761806" y="199530"/>
                  </a:lnTo>
                  <a:lnTo>
                    <a:pt x="2761806" y="198831"/>
                  </a:lnTo>
                  <a:lnTo>
                    <a:pt x="2761806" y="200228"/>
                  </a:lnTo>
                  <a:lnTo>
                    <a:pt x="2761806" y="199530"/>
                  </a:lnTo>
                  <a:lnTo>
                    <a:pt x="2761857" y="199530"/>
                  </a:lnTo>
                  <a:lnTo>
                    <a:pt x="2761857" y="200228"/>
                  </a:lnTo>
                  <a:lnTo>
                    <a:pt x="2761857" y="199530"/>
                  </a:lnTo>
                  <a:lnTo>
                    <a:pt x="2761857" y="200228"/>
                  </a:lnTo>
                  <a:lnTo>
                    <a:pt x="2761857" y="199530"/>
                  </a:lnTo>
                  <a:lnTo>
                    <a:pt x="2761857" y="200228"/>
                  </a:lnTo>
                  <a:lnTo>
                    <a:pt x="2761857" y="199530"/>
                  </a:lnTo>
                  <a:lnTo>
                    <a:pt x="2761908" y="199530"/>
                  </a:lnTo>
                  <a:lnTo>
                    <a:pt x="2761908" y="200228"/>
                  </a:lnTo>
                  <a:lnTo>
                    <a:pt x="2761908" y="199530"/>
                  </a:lnTo>
                  <a:lnTo>
                    <a:pt x="2761908" y="200228"/>
                  </a:lnTo>
                  <a:lnTo>
                    <a:pt x="2761908" y="199530"/>
                  </a:lnTo>
                  <a:lnTo>
                    <a:pt x="2761908" y="200228"/>
                  </a:lnTo>
                  <a:lnTo>
                    <a:pt x="2762009" y="200228"/>
                  </a:lnTo>
                  <a:lnTo>
                    <a:pt x="2762009" y="200876"/>
                  </a:lnTo>
                  <a:lnTo>
                    <a:pt x="2762009" y="200228"/>
                  </a:lnTo>
                  <a:lnTo>
                    <a:pt x="2762009" y="200876"/>
                  </a:lnTo>
                  <a:lnTo>
                    <a:pt x="2762009" y="200228"/>
                  </a:lnTo>
                  <a:lnTo>
                    <a:pt x="2762009" y="200876"/>
                  </a:lnTo>
                  <a:lnTo>
                    <a:pt x="2762060" y="200876"/>
                  </a:lnTo>
                  <a:lnTo>
                    <a:pt x="2762060" y="200228"/>
                  </a:lnTo>
                  <a:lnTo>
                    <a:pt x="2762060" y="200876"/>
                  </a:lnTo>
                  <a:lnTo>
                    <a:pt x="2762060" y="200228"/>
                  </a:lnTo>
                  <a:lnTo>
                    <a:pt x="2762060" y="200876"/>
                  </a:lnTo>
                  <a:lnTo>
                    <a:pt x="2762111" y="200228"/>
                  </a:lnTo>
                  <a:lnTo>
                    <a:pt x="2762111" y="199530"/>
                  </a:lnTo>
                  <a:lnTo>
                    <a:pt x="2762111" y="200228"/>
                  </a:lnTo>
                  <a:lnTo>
                    <a:pt x="2762111" y="198831"/>
                  </a:lnTo>
                  <a:lnTo>
                    <a:pt x="2762212" y="198831"/>
                  </a:lnTo>
                  <a:lnTo>
                    <a:pt x="2762212" y="200876"/>
                  </a:lnTo>
                  <a:lnTo>
                    <a:pt x="2762212" y="199530"/>
                  </a:lnTo>
                  <a:lnTo>
                    <a:pt x="2762212" y="200876"/>
                  </a:lnTo>
                  <a:lnTo>
                    <a:pt x="2762251" y="200876"/>
                  </a:lnTo>
                  <a:lnTo>
                    <a:pt x="2762251" y="202260"/>
                  </a:lnTo>
                  <a:lnTo>
                    <a:pt x="2762251" y="200228"/>
                  </a:lnTo>
                  <a:lnTo>
                    <a:pt x="2762251" y="200876"/>
                  </a:lnTo>
                  <a:lnTo>
                    <a:pt x="2762301" y="200876"/>
                  </a:lnTo>
                  <a:lnTo>
                    <a:pt x="2762301" y="202260"/>
                  </a:lnTo>
                  <a:lnTo>
                    <a:pt x="2762301" y="200876"/>
                  </a:lnTo>
                  <a:lnTo>
                    <a:pt x="2762352" y="200876"/>
                  </a:lnTo>
                  <a:lnTo>
                    <a:pt x="2762352" y="202260"/>
                  </a:lnTo>
                  <a:lnTo>
                    <a:pt x="2762352" y="200876"/>
                  </a:lnTo>
                  <a:lnTo>
                    <a:pt x="2762352" y="202260"/>
                  </a:lnTo>
                  <a:lnTo>
                    <a:pt x="2762352" y="200876"/>
                  </a:lnTo>
                  <a:lnTo>
                    <a:pt x="2762454" y="200876"/>
                  </a:lnTo>
                  <a:lnTo>
                    <a:pt x="2762454" y="200228"/>
                  </a:lnTo>
                  <a:lnTo>
                    <a:pt x="2762454" y="200876"/>
                  </a:lnTo>
                  <a:lnTo>
                    <a:pt x="2762505" y="200876"/>
                  </a:lnTo>
                  <a:lnTo>
                    <a:pt x="2762505" y="200228"/>
                  </a:lnTo>
                  <a:lnTo>
                    <a:pt x="2762505" y="200876"/>
                  </a:lnTo>
                  <a:lnTo>
                    <a:pt x="2762505" y="200228"/>
                  </a:lnTo>
                  <a:lnTo>
                    <a:pt x="2762505" y="200876"/>
                  </a:lnTo>
                  <a:lnTo>
                    <a:pt x="2762505" y="200228"/>
                  </a:lnTo>
                  <a:lnTo>
                    <a:pt x="2762505" y="200876"/>
                  </a:lnTo>
                  <a:lnTo>
                    <a:pt x="2762505" y="200228"/>
                  </a:lnTo>
                  <a:lnTo>
                    <a:pt x="2762505" y="200876"/>
                  </a:lnTo>
                  <a:lnTo>
                    <a:pt x="2762505" y="200228"/>
                  </a:lnTo>
                  <a:lnTo>
                    <a:pt x="2762555" y="200228"/>
                  </a:lnTo>
                  <a:lnTo>
                    <a:pt x="2762555" y="199530"/>
                  </a:lnTo>
                  <a:lnTo>
                    <a:pt x="2762657" y="199530"/>
                  </a:lnTo>
                  <a:lnTo>
                    <a:pt x="2762657" y="198831"/>
                  </a:lnTo>
                  <a:lnTo>
                    <a:pt x="2762657" y="199530"/>
                  </a:lnTo>
                  <a:lnTo>
                    <a:pt x="2762657" y="197447"/>
                  </a:lnTo>
                  <a:lnTo>
                    <a:pt x="2762657" y="199530"/>
                  </a:lnTo>
                  <a:lnTo>
                    <a:pt x="2762708" y="199530"/>
                  </a:lnTo>
                  <a:lnTo>
                    <a:pt x="2762708" y="200228"/>
                  </a:lnTo>
                  <a:lnTo>
                    <a:pt x="2762708" y="197447"/>
                  </a:lnTo>
                  <a:lnTo>
                    <a:pt x="2762708" y="200876"/>
                  </a:lnTo>
                  <a:lnTo>
                    <a:pt x="2762758" y="200876"/>
                  </a:lnTo>
                  <a:lnTo>
                    <a:pt x="2762758" y="200228"/>
                  </a:lnTo>
                  <a:lnTo>
                    <a:pt x="2762758" y="200876"/>
                  </a:lnTo>
                  <a:lnTo>
                    <a:pt x="2762758" y="200228"/>
                  </a:lnTo>
                  <a:lnTo>
                    <a:pt x="2762758" y="200876"/>
                  </a:lnTo>
                  <a:lnTo>
                    <a:pt x="2762758" y="200228"/>
                  </a:lnTo>
                  <a:lnTo>
                    <a:pt x="2762758" y="202260"/>
                  </a:lnTo>
                  <a:lnTo>
                    <a:pt x="2762797" y="200876"/>
                  </a:lnTo>
                  <a:lnTo>
                    <a:pt x="2762797" y="202260"/>
                  </a:lnTo>
                  <a:lnTo>
                    <a:pt x="2762797" y="200876"/>
                  </a:lnTo>
                  <a:lnTo>
                    <a:pt x="2762898" y="202260"/>
                  </a:lnTo>
                  <a:lnTo>
                    <a:pt x="2762949" y="202260"/>
                  </a:lnTo>
                  <a:lnTo>
                    <a:pt x="2762949" y="200876"/>
                  </a:lnTo>
                  <a:lnTo>
                    <a:pt x="2762949" y="202260"/>
                  </a:lnTo>
                  <a:lnTo>
                    <a:pt x="2762949" y="200876"/>
                  </a:lnTo>
                  <a:lnTo>
                    <a:pt x="2763000" y="200876"/>
                  </a:lnTo>
                  <a:lnTo>
                    <a:pt x="2763000" y="200228"/>
                  </a:lnTo>
                  <a:lnTo>
                    <a:pt x="2763101" y="200228"/>
                  </a:lnTo>
                  <a:lnTo>
                    <a:pt x="2763101" y="198831"/>
                  </a:lnTo>
                  <a:lnTo>
                    <a:pt x="2763101" y="199530"/>
                  </a:lnTo>
                  <a:lnTo>
                    <a:pt x="2763101" y="198831"/>
                  </a:lnTo>
                  <a:lnTo>
                    <a:pt x="2763152" y="199530"/>
                  </a:lnTo>
                  <a:lnTo>
                    <a:pt x="2763152" y="198831"/>
                  </a:lnTo>
                  <a:lnTo>
                    <a:pt x="2763152" y="200228"/>
                  </a:lnTo>
                  <a:lnTo>
                    <a:pt x="2763152" y="198831"/>
                  </a:lnTo>
                  <a:lnTo>
                    <a:pt x="2763152" y="199530"/>
                  </a:lnTo>
                  <a:lnTo>
                    <a:pt x="2763203" y="199530"/>
                  </a:lnTo>
                  <a:lnTo>
                    <a:pt x="2763203" y="200876"/>
                  </a:lnTo>
                  <a:lnTo>
                    <a:pt x="2763203" y="200228"/>
                  </a:lnTo>
                  <a:lnTo>
                    <a:pt x="2763203" y="200876"/>
                  </a:lnTo>
                  <a:lnTo>
                    <a:pt x="2763203" y="200228"/>
                  </a:lnTo>
                  <a:lnTo>
                    <a:pt x="2763254" y="200876"/>
                  </a:lnTo>
                  <a:lnTo>
                    <a:pt x="2763254" y="202260"/>
                  </a:lnTo>
                  <a:lnTo>
                    <a:pt x="2763254" y="200876"/>
                  </a:lnTo>
                  <a:lnTo>
                    <a:pt x="2763343" y="200876"/>
                  </a:lnTo>
                  <a:lnTo>
                    <a:pt x="2763343" y="202260"/>
                  </a:lnTo>
                  <a:lnTo>
                    <a:pt x="2763394" y="202260"/>
                  </a:lnTo>
                  <a:lnTo>
                    <a:pt x="2763394" y="202959"/>
                  </a:lnTo>
                  <a:lnTo>
                    <a:pt x="2763394" y="200876"/>
                  </a:lnTo>
                  <a:lnTo>
                    <a:pt x="2763444" y="200876"/>
                  </a:lnTo>
                  <a:lnTo>
                    <a:pt x="2763444" y="202260"/>
                  </a:lnTo>
                  <a:lnTo>
                    <a:pt x="2763444" y="200876"/>
                  </a:lnTo>
                  <a:lnTo>
                    <a:pt x="2763444" y="202260"/>
                  </a:lnTo>
                  <a:lnTo>
                    <a:pt x="2763444" y="200876"/>
                  </a:lnTo>
                  <a:lnTo>
                    <a:pt x="2763444" y="202260"/>
                  </a:lnTo>
                  <a:lnTo>
                    <a:pt x="2763444" y="200876"/>
                  </a:lnTo>
                  <a:lnTo>
                    <a:pt x="2763444" y="202260"/>
                  </a:lnTo>
                  <a:lnTo>
                    <a:pt x="2763495" y="202260"/>
                  </a:lnTo>
                  <a:lnTo>
                    <a:pt x="2763495" y="200876"/>
                  </a:lnTo>
                  <a:lnTo>
                    <a:pt x="2763495" y="202260"/>
                  </a:lnTo>
                  <a:lnTo>
                    <a:pt x="2763495" y="200228"/>
                  </a:lnTo>
                  <a:lnTo>
                    <a:pt x="2763495" y="200876"/>
                  </a:lnTo>
                  <a:lnTo>
                    <a:pt x="2763495" y="199530"/>
                  </a:lnTo>
                  <a:lnTo>
                    <a:pt x="2763597" y="199530"/>
                  </a:lnTo>
                  <a:lnTo>
                    <a:pt x="2763597" y="200228"/>
                  </a:lnTo>
                  <a:lnTo>
                    <a:pt x="2763597" y="197447"/>
                  </a:lnTo>
                  <a:lnTo>
                    <a:pt x="2763597" y="198831"/>
                  </a:lnTo>
                  <a:lnTo>
                    <a:pt x="2763597" y="197447"/>
                  </a:lnTo>
                  <a:lnTo>
                    <a:pt x="2763647" y="198831"/>
                  </a:lnTo>
                  <a:lnTo>
                    <a:pt x="2763647" y="200228"/>
                  </a:lnTo>
                  <a:lnTo>
                    <a:pt x="2763647" y="198831"/>
                  </a:lnTo>
                  <a:lnTo>
                    <a:pt x="2763647" y="200876"/>
                  </a:lnTo>
                  <a:lnTo>
                    <a:pt x="2763698" y="200876"/>
                  </a:lnTo>
                  <a:lnTo>
                    <a:pt x="2763698" y="199530"/>
                  </a:lnTo>
                  <a:lnTo>
                    <a:pt x="2763698" y="202260"/>
                  </a:lnTo>
                  <a:lnTo>
                    <a:pt x="2763698" y="200876"/>
                  </a:lnTo>
                  <a:lnTo>
                    <a:pt x="2763800" y="200876"/>
                  </a:lnTo>
                  <a:lnTo>
                    <a:pt x="2763800" y="200228"/>
                  </a:lnTo>
                  <a:lnTo>
                    <a:pt x="2763800" y="202260"/>
                  </a:lnTo>
                  <a:lnTo>
                    <a:pt x="2763838" y="202260"/>
                  </a:lnTo>
                  <a:lnTo>
                    <a:pt x="2763838" y="200876"/>
                  </a:lnTo>
                  <a:lnTo>
                    <a:pt x="2763838" y="202260"/>
                  </a:lnTo>
                  <a:lnTo>
                    <a:pt x="2763838" y="200876"/>
                  </a:lnTo>
                  <a:lnTo>
                    <a:pt x="2763838" y="202959"/>
                  </a:lnTo>
                  <a:lnTo>
                    <a:pt x="2763889" y="202260"/>
                  </a:lnTo>
                  <a:lnTo>
                    <a:pt x="2763889" y="202959"/>
                  </a:lnTo>
                  <a:lnTo>
                    <a:pt x="2763889" y="202260"/>
                  </a:lnTo>
                  <a:lnTo>
                    <a:pt x="2763889" y="202959"/>
                  </a:lnTo>
                  <a:lnTo>
                    <a:pt x="2763889" y="202260"/>
                  </a:lnTo>
                  <a:lnTo>
                    <a:pt x="2764041" y="202260"/>
                  </a:lnTo>
                  <a:lnTo>
                    <a:pt x="2764041" y="200228"/>
                  </a:lnTo>
                  <a:lnTo>
                    <a:pt x="2764041" y="200876"/>
                  </a:lnTo>
                  <a:lnTo>
                    <a:pt x="2764041" y="199530"/>
                  </a:lnTo>
                  <a:lnTo>
                    <a:pt x="2764092" y="199530"/>
                  </a:lnTo>
                  <a:lnTo>
                    <a:pt x="2764092" y="198831"/>
                  </a:lnTo>
                  <a:lnTo>
                    <a:pt x="2764092" y="200228"/>
                  </a:lnTo>
                  <a:lnTo>
                    <a:pt x="2764092" y="199530"/>
                  </a:lnTo>
                  <a:lnTo>
                    <a:pt x="2764143" y="199530"/>
                  </a:lnTo>
                  <a:lnTo>
                    <a:pt x="2764143" y="198831"/>
                  </a:lnTo>
                  <a:lnTo>
                    <a:pt x="2764143" y="202260"/>
                  </a:lnTo>
                  <a:lnTo>
                    <a:pt x="2764143" y="200228"/>
                  </a:lnTo>
                  <a:lnTo>
                    <a:pt x="2764244" y="200228"/>
                  </a:lnTo>
                  <a:lnTo>
                    <a:pt x="2764244" y="200876"/>
                  </a:lnTo>
                  <a:lnTo>
                    <a:pt x="2764244" y="200228"/>
                  </a:lnTo>
                  <a:lnTo>
                    <a:pt x="2764244" y="202260"/>
                  </a:lnTo>
                  <a:lnTo>
                    <a:pt x="2764244" y="200228"/>
                  </a:lnTo>
                  <a:lnTo>
                    <a:pt x="2764244" y="200876"/>
                  </a:lnTo>
                  <a:lnTo>
                    <a:pt x="2764244" y="200228"/>
                  </a:lnTo>
                  <a:lnTo>
                    <a:pt x="2764244" y="200876"/>
                  </a:lnTo>
                  <a:lnTo>
                    <a:pt x="2764295" y="200228"/>
                  </a:lnTo>
                  <a:lnTo>
                    <a:pt x="2764295" y="200876"/>
                  </a:lnTo>
                  <a:lnTo>
                    <a:pt x="2764295" y="200228"/>
                  </a:lnTo>
                  <a:lnTo>
                    <a:pt x="2764295" y="200876"/>
                  </a:lnTo>
                  <a:lnTo>
                    <a:pt x="2764295" y="200228"/>
                  </a:lnTo>
                  <a:lnTo>
                    <a:pt x="2764295" y="200876"/>
                  </a:lnTo>
                  <a:lnTo>
                    <a:pt x="2764295" y="200228"/>
                  </a:lnTo>
                  <a:lnTo>
                    <a:pt x="2764295" y="200876"/>
                  </a:lnTo>
                  <a:lnTo>
                    <a:pt x="2764346" y="200876"/>
                  </a:lnTo>
                  <a:lnTo>
                    <a:pt x="2764346" y="202260"/>
                  </a:lnTo>
                  <a:lnTo>
                    <a:pt x="2764384" y="202260"/>
                  </a:lnTo>
                  <a:lnTo>
                    <a:pt x="2764384" y="202959"/>
                  </a:lnTo>
                  <a:lnTo>
                    <a:pt x="2764384" y="200876"/>
                  </a:lnTo>
                  <a:lnTo>
                    <a:pt x="2764384" y="202260"/>
                  </a:lnTo>
                  <a:lnTo>
                    <a:pt x="2764384" y="200876"/>
                  </a:lnTo>
                  <a:lnTo>
                    <a:pt x="2764486" y="200876"/>
                  </a:lnTo>
                  <a:lnTo>
                    <a:pt x="2764486" y="200228"/>
                  </a:lnTo>
                  <a:lnTo>
                    <a:pt x="2764537" y="200228"/>
                  </a:lnTo>
                  <a:lnTo>
                    <a:pt x="2764537" y="198831"/>
                  </a:lnTo>
                  <a:lnTo>
                    <a:pt x="2764537" y="200228"/>
                  </a:lnTo>
                  <a:lnTo>
                    <a:pt x="2764587" y="200228"/>
                  </a:lnTo>
                  <a:lnTo>
                    <a:pt x="2764587" y="200876"/>
                  </a:lnTo>
                  <a:lnTo>
                    <a:pt x="2764587" y="200228"/>
                  </a:lnTo>
                  <a:lnTo>
                    <a:pt x="2764587" y="202959"/>
                  </a:lnTo>
                  <a:lnTo>
                    <a:pt x="2764689" y="202959"/>
                  </a:lnTo>
                  <a:lnTo>
                    <a:pt x="2764689" y="200876"/>
                  </a:lnTo>
                  <a:lnTo>
                    <a:pt x="2764689" y="202959"/>
                  </a:lnTo>
                  <a:lnTo>
                    <a:pt x="2764740" y="203594"/>
                  </a:lnTo>
                  <a:lnTo>
                    <a:pt x="2764740" y="200876"/>
                  </a:lnTo>
                  <a:lnTo>
                    <a:pt x="2764740" y="202959"/>
                  </a:lnTo>
                  <a:lnTo>
                    <a:pt x="2764790" y="202959"/>
                  </a:lnTo>
                  <a:lnTo>
                    <a:pt x="2764790" y="202260"/>
                  </a:lnTo>
                  <a:lnTo>
                    <a:pt x="2764790" y="202959"/>
                  </a:lnTo>
                  <a:lnTo>
                    <a:pt x="2764790" y="202260"/>
                  </a:lnTo>
                  <a:lnTo>
                    <a:pt x="2764790" y="202959"/>
                  </a:lnTo>
                  <a:lnTo>
                    <a:pt x="2764790" y="202260"/>
                  </a:lnTo>
                  <a:lnTo>
                    <a:pt x="2764841" y="202260"/>
                  </a:lnTo>
                  <a:lnTo>
                    <a:pt x="2764841" y="202959"/>
                  </a:lnTo>
                  <a:lnTo>
                    <a:pt x="2764841" y="202260"/>
                  </a:lnTo>
                  <a:lnTo>
                    <a:pt x="2764930" y="202260"/>
                  </a:lnTo>
                  <a:lnTo>
                    <a:pt x="2764930" y="200876"/>
                  </a:lnTo>
                  <a:lnTo>
                    <a:pt x="2764930" y="202260"/>
                  </a:lnTo>
                  <a:lnTo>
                    <a:pt x="2764930" y="200876"/>
                  </a:lnTo>
                  <a:lnTo>
                    <a:pt x="2764930" y="202260"/>
                  </a:lnTo>
                  <a:lnTo>
                    <a:pt x="2764930" y="200876"/>
                  </a:lnTo>
                  <a:lnTo>
                    <a:pt x="2764930" y="202260"/>
                  </a:lnTo>
                  <a:lnTo>
                    <a:pt x="2764930" y="200228"/>
                  </a:lnTo>
                  <a:lnTo>
                    <a:pt x="2764981" y="200228"/>
                  </a:lnTo>
                  <a:lnTo>
                    <a:pt x="2764981" y="200876"/>
                  </a:lnTo>
                  <a:lnTo>
                    <a:pt x="2764981" y="200228"/>
                  </a:lnTo>
                  <a:lnTo>
                    <a:pt x="2764981" y="200876"/>
                  </a:lnTo>
                  <a:lnTo>
                    <a:pt x="2764981" y="199530"/>
                  </a:lnTo>
                  <a:lnTo>
                    <a:pt x="2765032" y="199530"/>
                  </a:lnTo>
                  <a:lnTo>
                    <a:pt x="2765032" y="197447"/>
                  </a:lnTo>
                  <a:lnTo>
                    <a:pt x="2765032" y="198831"/>
                  </a:lnTo>
                  <a:lnTo>
                    <a:pt x="2765032" y="197447"/>
                  </a:lnTo>
                  <a:lnTo>
                    <a:pt x="2765032" y="200228"/>
                  </a:lnTo>
                  <a:lnTo>
                    <a:pt x="2765083" y="199530"/>
                  </a:lnTo>
                  <a:lnTo>
                    <a:pt x="2765083" y="198831"/>
                  </a:lnTo>
                  <a:lnTo>
                    <a:pt x="2765083" y="199530"/>
                  </a:lnTo>
                  <a:lnTo>
                    <a:pt x="2765083" y="198831"/>
                  </a:lnTo>
                  <a:lnTo>
                    <a:pt x="2765083" y="202260"/>
                  </a:lnTo>
                  <a:lnTo>
                    <a:pt x="2765184" y="200876"/>
                  </a:lnTo>
                  <a:lnTo>
                    <a:pt x="2765184" y="200228"/>
                  </a:lnTo>
                  <a:lnTo>
                    <a:pt x="2765184" y="202260"/>
                  </a:lnTo>
                  <a:lnTo>
                    <a:pt x="2765184" y="200876"/>
                  </a:lnTo>
                  <a:lnTo>
                    <a:pt x="2765235" y="200876"/>
                  </a:lnTo>
                  <a:lnTo>
                    <a:pt x="2765235" y="200228"/>
                  </a:lnTo>
                  <a:lnTo>
                    <a:pt x="2765235" y="200876"/>
                  </a:lnTo>
                  <a:lnTo>
                    <a:pt x="2765235" y="200228"/>
                  </a:lnTo>
                  <a:lnTo>
                    <a:pt x="2765235" y="202959"/>
                  </a:lnTo>
                  <a:lnTo>
                    <a:pt x="2765235" y="200876"/>
                  </a:lnTo>
                  <a:lnTo>
                    <a:pt x="2765286" y="200876"/>
                  </a:lnTo>
                  <a:lnTo>
                    <a:pt x="2765286" y="202959"/>
                  </a:lnTo>
                  <a:lnTo>
                    <a:pt x="2765286" y="202260"/>
                  </a:lnTo>
                  <a:lnTo>
                    <a:pt x="2765387" y="202260"/>
                  </a:lnTo>
                  <a:lnTo>
                    <a:pt x="2765387" y="200876"/>
                  </a:lnTo>
                  <a:lnTo>
                    <a:pt x="2765426" y="202260"/>
                  </a:lnTo>
                  <a:lnTo>
                    <a:pt x="2765426" y="200876"/>
                  </a:lnTo>
                  <a:lnTo>
                    <a:pt x="2765426" y="202260"/>
                  </a:lnTo>
                  <a:lnTo>
                    <a:pt x="2765426" y="200228"/>
                  </a:lnTo>
                  <a:lnTo>
                    <a:pt x="2765426" y="200876"/>
                  </a:lnTo>
                  <a:lnTo>
                    <a:pt x="2765426" y="200228"/>
                  </a:lnTo>
                  <a:lnTo>
                    <a:pt x="2765476" y="200228"/>
                  </a:lnTo>
                  <a:lnTo>
                    <a:pt x="2765476" y="198831"/>
                  </a:lnTo>
                  <a:lnTo>
                    <a:pt x="2765527" y="198831"/>
                  </a:lnTo>
                  <a:lnTo>
                    <a:pt x="2765527" y="196799"/>
                  </a:lnTo>
                  <a:lnTo>
                    <a:pt x="2765527" y="198831"/>
                  </a:lnTo>
                  <a:lnTo>
                    <a:pt x="2765629" y="197447"/>
                  </a:lnTo>
                  <a:lnTo>
                    <a:pt x="2765629" y="196799"/>
                  </a:lnTo>
                  <a:lnTo>
                    <a:pt x="2765629" y="200228"/>
                  </a:lnTo>
                  <a:lnTo>
                    <a:pt x="2765629" y="199530"/>
                  </a:lnTo>
                  <a:lnTo>
                    <a:pt x="2765680" y="199530"/>
                  </a:lnTo>
                  <a:lnTo>
                    <a:pt x="2765680" y="198831"/>
                  </a:lnTo>
                  <a:lnTo>
                    <a:pt x="2765680" y="200228"/>
                  </a:lnTo>
                  <a:lnTo>
                    <a:pt x="2765680" y="199530"/>
                  </a:lnTo>
                  <a:lnTo>
                    <a:pt x="2765730" y="199530"/>
                  </a:lnTo>
                  <a:lnTo>
                    <a:pt x="2765730" y="200228"/>
                  </a:lnTo>
                  <a:lnTo>
                    <a:pt x="2765832" y="200228"/>
                  </a:lnTo>
                  <a:lnTo>
                    <a:pt x="2765832" y="200876"/>
                  </a:lnTo>
                  <a:lnTo>
                    <a:pt x="2765883" y="200876"/>
                  </a:lnTo>
                  <a:lnTo>
                    <a:pt x="2765883" y="202260"/>
                  </a:lnTo>
                  <a:lnTo>
                    <a:pt x="2765883" y="200876"/>
                  </a:lnTo>
                  <a:lnTo>
                    <a:pt x="2765883" y="202260"/>
                  </a:lnTo>
                  <a:lnTo>
                    <a:pt x="2765883" y="200876"/>
                  </a:lnTo>
                  <a:lnTo>
                    <a:pt x="2765883" y="202260"/>
                  </a:lnTo>
                  <a:lnTo>
                    <a:pt x="2765883" y="200876"/>
                  </a:lnTo>
                  <a:lnTo>
                    <a:pt x="2765933" y="200876"/>
                  </a:lnTo>
                  <a:lnTo>
                    <a:pt x="2765933" y="202260"/>
                  </a:lnTo>
                  <a:lnTo>
                    <a:pt x="2765933" y="200228"/>
                  </a:lnTo>
                  <a:lnTo>
                    <a:pt x="2765933" y="200876"/>
                  </a:lnTo>
                  <a:lnTo>
                    <a:pt x="2765972" y="200228"/>
                  </a:lnTo>
                  <a:lnTo>
                    <a:pt x="2765972" y="198831"/>
                  </a:lnTo>
                  <a:lnTo>
                    <a:pt x="2766073" y="198831"/>
                  </a:lnTo>
                  <a:lnTo>
                    <a:pt x="2766073" y="196799"/>
                  </a:lnTo>
                  <a:lnTo>
                    <a:pt x="2766073" y="197447"/>
                  </a:lnTo>
                  <a:lnTo>
                    <a:pt x="2766073" y="196799"/>
                  </a:lnTo>
                  <a:lnTo>
                    <a:pt x="2766073" y="197447"/>
                  </a:lnTo>
                  <a:lnTo>
                    <a:pt x="2766124" y="196799"/>
                  </a:lnTo>
                  <a:lnTo>
                    <a:pt x="2766124" y="199530"/>
                  </a:lnTo>
                  <a:lnTo>
                    <a:pt x="2766124" y="198831"/>
                  </a:lnTo>
                  <a:lnTo>
                    <a:pt x="2766175" y="199530"/>
                  </a:lnTo>
                  <a:lnTo>
                    <a:pt x="2766175" y="198831"/>
                  </a:lnTo>
                  <a:lnTo>
                    <a:pt x="2766175" y="199530"/>
                  </a:lnTo>
                  <a:lnTo>
                    <a:pt x="2766175" y="198831"/>
                  </a:lnTo>
                  <a:lnTo>
                    <a:pt x="2766276" y="198831"/>
                  </a:lnTo>
                  <a:lnTo>
                    <a:pt x="2766276" y="199530"/>
                  </a:lnTo>
                  <a:lnTo>
                    <a:pt x="2766327" y="200228"/>
                  </a:lnTo>
                  <a:lnTo>
                    <a:pt x="2766327" y="199530"/>
                  </a:lnTo>
                  <a:lnTo>
                    <a:pt x="2766327" y="200228"/>
                  </a:lnTo>
                  <a:lnTo>
                    <a:pt x="2766378" y="200228"/>
                  </a:lnTo>
                  <a:lnTo>
                    <a:pt x="2766378" y="200876"/>
                  </a:lnTo>
                  <a:lnTo>
                    <a:pt x="2766429" y="200876"/>
                  </a:lnTo>
                  <a:lnTo>
                    <a:pt x="2766429" y="200228"/>
                  </a:lnTo>
                  <a:lnTo>
                    <a:pt x="2766429" y="200876"/>
                  </a:lnTo>
                  <a:lnTo>
                    <a:pt x="2766429" y="200228"/>
                  </a:lnTo>
                  <a:lnTo>
                    <a:pt x="2766429" y="200876"/>
                  </a:lnTo>
                  <a:lnTo>
                    <a:pt x="2766429" y="199530"/>
                  </a:lnTo>
                  <a:lnTo>
                    <a:pt x="2766429" y="200228"/>
                  </a:lnTo>
                  <a:lnTo>
                    <a:pt x="2766429" y="199530"/>
                  </a:lnTo>
                  <a:lnTo>
                    <a:pt x="2766518" y="200228"/>
                  </a:lnTo>
                  <a:lnTo>
                    <a:pt x="2766518" y="197447"/>
                  </a:lnTo>
                  <a:lnTo>
                    <a:pt x="2766569" y="197447"/>
                  </a:lnTo>
                  <a:lnTo>
                    <a:pt x="2766569" y="196113"/>
                  </a:lnTo>
                  <a:lnTo>
                    <a:pt x="2766569" y="196799"/>
                  </a:lnTo>
                  <a:lnTo>
                    <a:pt x="2766619" y="196799"/>
                  </a:lnTo>
                  <a:lnTo>
                    <a:pt x="2766619" y="197447"/>
                  </a:lnTo>
                  <a:lnTo>
                    <a:pt x="2766619" y="195415"/>
                  </a:lnTo>
                  <a:lnTo>
                    <a:pt x="2766619" y="198831"/>
                  </a:lnTo>
                  <a:lnTo>
                    <a:pt x="2766670" y="198831"/>
                  </a:lnTo>
                  <a:lnTo>
                    <a:pt x="2766670" y="196113"/>
                  </a:lnTo>
                  <a:lnTo>
                    <a:pt x="2766670" y="198831"/>
                  </a:lnTo>
                  <a:lnTo>
                    <a:pt x="2766772" y="197447"/>
                  </a:lnTo>
                  <a:lnTo>
                    <a:pt x="2766772" y="196799"/>
                  </a:lnTo>
                  <a:lnTo>
                    <a:pt x="2766772" y="198831"/>
                  </a:lnTo>
                  <a:lnTo>
                    <a:pt x="2766822" y="198831"/>
                  </a:lnTo>
                  <a:lnTo>
                    <a:pt x="2766822" y="199530"/>
                  </a:lnTo>
                  <a:lnTo>
                    <a:pt x="2766822" y="198831"/>
                  </a:lnTo>
                  <a:lnTo>
                    <a:pt x="2766822" y="199530"/>
                  </a:lnTo>
                  <a:lnTo>
                    <a:pt x="2766873" y="199530"/>
                  </a:lnTo>
                  <a:lnTo>
                    <a:pt x="2766873" y="200228"/>
                  </a:lnTo>
                  <a:lnTo>
                    <a:pt x="2766873" y="199530"/>
                  </a:lnTo>
                  <a:lnTo>
                    <a:pt x="2766873" y="200228"/>
                  </a:lnTo>
                  <a:lnTo>
                    <a:pt x="2766975" y="200228"/>
                  </a:lnTo>
                  <a:lnTo>
                    <a:pt x="2766975" y="200876"/>
                  </a:lnTo>
                  <a:lnTo>
                    <a:pt x="2766975" y="199530"/>
                  </a:lnTo>
                  <a:lnTo>
                    <a:pt x="2766975" y="200228"/>
                  </a:lnTo>
                  <a:lnTo>
                    <a:pt x="2766975" y="199530"/>
                  </a:lnTo>
                  <a:lnTo>
                    <a:pt x="2767013" y="199530"/>
                  </a:lnTo>
                  <a:lnTo>
                    <a:pt x="2767013" y="200228"/>
                  </a:lnTo>
                  <a:lnTo>
                    <a:pt x="2767013" y="198831"/>
                  </a:lnTo>
                  <a:lnTo>
                    <a:pt x="2767013" y="199530"/>
                  </a:lnTo>
                  <a:lnTo>
                    <a:pt x="2767013" y="197447"/>
                  </a:lnTo>
                  <a:lnTo>
                    <a:pt x="2767064" y="197447"/>
                  </a:lnTo>
                  <a:lnTo>
                    <a:pt x="2767064" y="195415"/>
                  </a:lnTo>
                  <a:lnTo>
                    <a:pt x="2767115" y="195415"/>
                  </a:lnTo>
                  <a:lnTo>
                    <a:pt x="2767115" y="196113"/>
                  </a:lnTo>
                  <a:lnTo>
                    <a:pt x="2767115" y="195415"/>
                  </a:lnTo>
                  <a:lnTo>
                    <a:pt x="2767115" y="196113"/>
                  </a:lnTo>
                  <a:lnTo>
                    <a:pt x="2767115" y="194716"/>
                  </a:lnTo>
                  <a:lnTo>
                    <a:pt x="2767115" y="195415"/>
                  </a:lnTo>
                  <a:lnTo>
                    <a:pt x="2767216" y="195415"/>
                  </a:lnTo>
                  <a:lnTo>
                    <a:pt x="2767216" y="196799"/>
                  </a:lnTo>
                  <a:lnTo>
                    <a:pt x="2767216" y="194716"/>
                  </a:lnTo>
                  <a:lnTo>
                    <a:pt x="2767216" y="196113"/>
                  </a:lnTo>
                  <a:lnTo>
                    <a:pt x="2767267" y="196799"/>
                  </a:lnTo>
                  <a:lnTo>
                    <a:pt x="2767267" y="196113"/>
                  </a:lnTo>
                  <a:lnTo>
                    <a:pt x="2767267" y="196799"/>
                  </a:lnTo>
                  <a:lnTo>
                    <a:pt x="2767318" y="196799"/>
                  </a:lnTo>
                  <a:lnTo>
                    <a:pt x="2767318" y="197447"/>
                  </a:lnTo>
                  <a:lnTo>
                    <a:pt x="2767419" y="197447"/>
                  </a:lnTo>
                  <a:lnTo>
                    <a:pt x="2767419" y="198831"/>
                  </a:lnTo>
                  <a:lnTo>
                    <a:pt x="2767419" y="197447"/>
                  </a:lnTo>
                  <a:lnTo>
                    <a:pt x="2767419" y="198831"/>
                  </a:lnTo>
                  <a:lnTo>
                    <a:pt x="2767470" y="198831"/>
                  </a:lnTo>
                  <a:lnTo>
                    <a:pt x="2767470" y="199530"/>
                  </a:lnTo>
                  <a:lnTo>
                    <a:pt x="2767470" y="198831"/>
                  </a:lnTo>
                  <a:lnTo>
                    <a:pt x="2767470" y="199530"/>
                  </a:lnTo>
                  <a:lnTo>
                    <a:pt x="2767470" y="198831"/>
                  </a:lnTo>
                  <a:lnTo>
                    <a:pt x="2767470" y="199530"/>
                  </a:lnTo>
                  <a:lnTo>
                    <a:pt x="2767470" y="198831"/>
                  </a:lnTo>
                  <a:lnTo>
                    <a:pt x="2767470" y="199530"/>
                  </a:lnTo>
                  <a:lnTo>
                    <a:pt x="2767521" y="199530"/>
                  </a:lnTo>
                  <a:lnTo>
                    <a:pt x="2767521" y="198831"/>
                  </a:lnTo>
                  <a:lnTo>
                    <a:pt x="2767521" y="199530"/>
                  </a:lnTo>
                  <a:lnTo>
                    <a:pt x="2767521" y="198831"/>
                  </a:lnTo>
                  <a:lnTo>
                    <a:pt x="2767559" y="198831"/>
                  </a:lnTo>
                  <a:lnTo>
                    <a:pt x="2767559" y="196799"/>
                  </a:lnTo>
                  <a:lnTo>
                    <a:pt x="2767559" y="197447"/>
                  </a:lnTo>
                  <a:lnTo>
                    <a:pt x="2767661" y="197447"/>
                  </a:lnTo>
                  <a:lnTo>
                    <a:pt x="2767661" y="196799"/>
                  </a:lnTo>
                  <a:lnTo>
                    <a:pt x="2767661" y="199530"/>
                  </a:lnTo>
                  <a:lnTo>
                    <a:pt x="2767661" y="198831"/>
                  </a:lnTo>
                  <a:lnTo>
                    <a:pt x="2767712" y="198831"/>
                  </a:lnTo>
                  <a:lnTo>
                    <a:pt x="2767712" y="196799"/>
                  </a:lnTo>
                  <a:lnTo>
                    <a:pt x="2767712" y="198831"/>
                  </a:lnTo>
                  <a:lnTo>
                    <a:pt x="2767712" y="197447"/>
                  </a:lnTo>
                  <a:lnTo>
                    <a:pt x="2767762" y="197447"/>
                  </a:lnTo>
                  <a:lnTo>
                    <a:pt x="2767762" y="198831"/>
                  </a:lnTo>
                  <a:lnTo>
                    <a:pt x="2767762" y="197447"/>
                  </a:lnTo>
                  <a:lnTo>
                    <a:pt x="2767762" y="198831"/>
                  </a:lnTo>
                  <a:lnTo>
                    <a:pt x="2767864" y="198831"/>
                  </a:lnTo>
                  <a:lnTo>
                    <a:pt x="2767864" y="197447"/>
                  </a:lnTo>
                  <a:lnTo>
                    <a:pt x="2767864" y="198831"/>
                  </a:lnTo>
                  <a:lnTo>
                    <a:pt x="2767915" y="198831"/>
                  </a:lnTo>
                  <a:lnTo>
                    <a:pt x="2767915" y="199530"/>
                  </a:lnTo>
                  <a:lnTo>
                    <a:pt x="2767965" y="198831"/>
                  </a:lnTo>
                  <a:lnTo>
                    <a:pt x="2767965" y="200228"/>
                  </a:lnTo>
                  <a:lnTo>
                    <a:pt x="2767965" y="199530"/>
                  </a:lnTo>
                  <a:lnTo>
                    <a:pt x="2768016" y="199530"/>
                  </a:lnTo>
                  <a:lnTo>
                    <a:pt x="2768016" y="198831"/>
                  </a:lnTo>
                  <a:lnTo>
                    <a:pt x="2768016" y="199530"/>
                  </a:lnTo>
                  <a:lnTo>
                    <a:pt x="2768016" y="198831"/>
                  </a:lnTo>
                  <a:lnTo>
                    <a:pt x="2768105" y="197447"/>
                  </a:lnTo>
                  <a:lnTo>
                    <a:pt x="2768105" y="200228"/>
                  </a:lnTo>
                  <a:lnTo>
                    <a:pt x="2768105" y="198831"/>
                  </a:lnTo>
                  <a:lnTo>
                    <a:pt x="2768105" y="199530"/>
                  </a:lnTo>
                  <a:lnTo>
                    <a:pt x="2768156" y="199530"/>
                  </a:lnTo>
                  <a:lnTo>
                    <a:pt x="2768156" y="202260"/>
                  </a:lnTo>
                  <a:lnTo>
                    <a:pt x="2768156" y="200228"/>
                  </a:lnTo>
                  <a:lnTo>
                    <a:pt x="2768207" y="200876"/>
                  </a:lnTo>
                  <a:lnTo>
                    <a:pt x="2768207" y="200228"/>
                  </a:lnTo>
                  <a:lnTo>
                    <a:pt x="2768207" y="200876"/>
                  </a:lnTo>
                  <a:lnTo>
                    <a:pt x="2768258" y="200876"/>
                  </a:lnTo>
                  <a:lnTo>
                    <a:pt x="2768258" y="200228"/>
                  </a:lnTo>
                  <a:lnTo>
                    <a:pt x="2768410" y="200228"/>
                  </a:lnTo>
                  <a:lnTo>
                    <a:pt x="2768410" y="199530"/>
                  </a:lnTo>
                  <a:lnTo>
                    <a:pt x="2768410" y="200228"/>
                  </a:lnTo>
                  <a:lnTo>
                    <a:pt x="2768410" y="199530"/>
                  </a:lnTo>
                  <a:lnTo>
                    <a:pt x="2768410" y="200228"/>
                  </a:lnTo>
                  <a:lnTo>
                    <a:pt x="2768410" y="199530"/>
                  </a:lnTo>
                  <a:lnTo>
                    <a:pt x="2768410" y="200228"/>
                  </a:lnTo>
                  <a:lnTo>
                    <a:pt x="2768410" y="199530"/>
                  </a:lnTo>
                  <a:lnTo>
                    <a:pt x="2768461" y="199530"/>
                  </a:lnTo>
                  <a:lnTo>
                    <a:pt x="2768461" y="198831"/>
                  </a:lnTo>
                  <a:lnTo>
                    <a:pt x="2768562" y="198831"/>
                  </a:lnTo>
                  <a:lnTo>
                    <a:pt x="2768562" y="196799"/>
                  </a:lnTo>
                  <a:lnTo>
                    <a:pt x="2768562" y="197447"/>
                  </a:lnTo>
                  <a:lnTo>
                    <a:pt x="2768562" y="196799"/>
                  </a:lnTo>
                  <a:lnTo>
                    <a:pt x="2768562" y="197447"/>
                  </a:lnTo>
                  <a:lnTo>
                    <a:pt x="2768562" y="196799"/>
                  </a:lnTo>
                  <a:lnTo>
                    <a:pt x="2768562" y="198831"/>
                  </a:lnTo>
                  <a:lnTo>
                    <a:pt x="2768601" y="199530"/>
                  </a:lnTo>
                  <a:lnTo>
                    <a:pt x="2768601" y="200228"/>
                  </a:lnTo>
                  <a:lnTo>
                    <a:pt x="2768601" y="197447"/>
                  </a:lnTo>
                  <a:lnTo>
                    <a:pt x="2768601" y="200876"/>
                  </a:lnTo>
                  <a:lnTo>
                    <a:pt x="2768651" y="200876"/>
                  </a:lnTo>
                  <a:lnTo>
                    <a:pt x="2768651" y="200228"/>
                  </a:lnTo>
                  <a:lnTo>
                    <a:pt x="2768651" y="202260"/>
                  </a:lnTo>
                  <a:lnTo>
                    <a:pt x="2768702" y="200876"/>
                  </a:lnTo>
                  <a:lnTo>
                    <a:pt x="2768702" y="200228"/>
                  </a:lnTo>
                  <a:lnTo>
                    <a:pt x="2768702" y="200876"/>
                  </a:lnTo>
                  <a:lnTo>
                    <a:pt x="2768702" y="200228"/>
                  </a:lnTo>
                  <a:lnTo>
                    <a:pt x="2768702" y="202260"/>
                  </a:lnTo>
                  <a:lnTo>
                    <a:pt x="2768804" y="202260"/>
                  </a:lnTo>
                  <a:lnTo>
                    <a:pt x="2768804" y="200876"/>
                  </a:lnTo>
                  <a:lnTo>
                    <a:pt x="2768804" y="202260"/>
                  </a:lnTo>
                  <a:lnTo>
                    <a:pt x="2768804" y="200876"/>
                  </a:lnTo>
                  <a:lnTo>
                    <a:pt x="2768804" y="202260"/>
                  </a:lnTo>
                  <a:lnTo>
                    <a:pt x="2768804" y="200876"/>
                  </a:lnTo>
                  <a:lnTo>
                    <a:pt x="2768804" y="202260"/>
                  </a:lnTo>
                  <a:lnTo>
                    <a:pt x="2768855" y="202260"/>
                  </a:lnTo>
                  <a:lnTo>
                    <a:pt x="2768855" y="200876"/>
                  </a:lnTo>
                  <a:lnTo>
                    <a:pt x="2768905" y="200876"/>
                  </a:lnTo>
                  <a:lnTo>
                    <a:pt x="2768905" y="200228"/>
                  </a:lnTo>
                  <a:lnTo>
                    <a:pt x="2768905" y="200876"/>
                  </a:lnTo>
                  <a:lnTo>
                    <a:pt x="2768905" y="200228"/>
                  </a:lnTo>
                  <a:lnTo>
                    <a:pt x="2768905" y="200876"/>
                  </a:lnTo>
                  <a:lnTo>
                    <a:pt x="2768905" y="200228"/>
                  </a:lnTo>
                  <a:lnTo>
                    <a:pt x="2769007" y="200228"/>
                  </a:lnTo>
                  <a:lnTo>
                    <a:pt x="2769007" y="199530"/>
                  </a:lnTo>
                  <a:lnTo>
                    <a:pt x="2769007" y="200228"/>
                  </a:lnTo>
                  <a:lnTo>
                    <a:pt x="2769007" y="198831"/>
                  </a:lnTo>
                  <a:lnTo>
                    <a:pt x="2769007" y="199530"/>
                  </a:lnTo>
                  <a:lnTo>
                    <a:pt x="2769007" y="198831"/>
                  </a:lnTo>
                  <a:lnTo>
                    <a:pt x="2769007" y="199530"/>
                  </a:lnTo>
                  <a:lnTo>
                    <a:pt x="2769007" y="197447"/>
                  </a:lnTo>
                  <a:lnTo>
                    <a:pt x="2769058" y="197447"/>
                  </a:lnTo>
                  <a:lnTo>
                    <a:pt x="2769058" y="196799"/>
                  </a:lnTo>
                  <a:lnTo>
                    <a:pt x="2769058" y="199530"/>
                  </a:lnTo>
                  <a:lnTo>
                    <a:pt x="2769058" y="198831"/>
                  </a:lnTo>
                  <a:lnTo>
                    <a:pt x="2769108" y="197447"/>
                  </a:lnTo>
                  <a:lnTo>
                    <a:pt x="2769108" y="196799"/>
                  </a:lnTo>
                  <a:lnTo>
                    <a:pt x="2769108" y="197447"/>
                  </a:lnTo>
                  <a:lnTo>
                    <a:pt x="2769108" y="196799"/>
                  </a:lnTo>
                  <a:lnTo>
                    <a:pt x="2769108" y="200876"/>
                  </a:lnTo>
                  <a:lnTo>
                    <a:pt x="2769108" y="200228"/>
                  </a:lnTo>
                  <a:lnTo>
                    <a:pt x="2769147" y="200228"/>
                  </a:lnTo>
                  <a:lnTo>
                    <a:pt x="2769147" y="198831"/>
                  </a:lnTo>
                  <a:lnTo>
                    <a:pt x="2769147" y="202260"/>
                  </a:lnTo>
                  <a:lnTo>
                    <a:pt x="2769147" y="200228"/>
                  </a:lnTo>
                  <a:lnTo>
                    <a:pt x="2769248" y="200228"/>
                  </a:lnTo>
                  <a:lnTo>
                    <a:pt x="2769248" y="202260"/>
                  </a:lnTo>
                  <a:lnTo>
                    <a:pt x="2769248" y="200876"/>
                  </a:lnTo>
                  <a:lnTo>
                    <a:pt x="2769299" y="202260"/>
                  </a:lnTo>
                  <a:lnTo>
                    <a:pt x="2769299" y="200876"/>
                  </a:lnTo>
                  <a:lnTo>
                    <a:pt x="2769299" y="202260"/>
                  </a:lnTo>
                  <a:lnTo>
                    <a:pt x="2769299" y="200876"/>
                  </a:lnTo>
                  <a:lnTo>
                    <a:pt x="2769299" y="202260"/>
                  </a:lnTo>
                  <a:lnTo>
                    <a:pt x="2769299" y="200876"/>
                  </a:lnTo>
                  <a:lnTo>
                    <a:pt x="2769299" y="202260"/>
                  </a:lnTo>
                  <a:lnTo>
                    <a:pt x="2769350" y="202260"/>
                  </a:lnTo>
                  <a:lnTo>
                    <a:pt x="2769350" y="200876"/>
                  </a:lnTo>
                  <a:lnTo>
                    <a:pt x="2769350" y="202260"/>
                  </a:lnTo>
                  <a:lnTo>
                    <a:pt x="2769350" y="200876"/>
                  </a:lnTo>
                  <a:lnTo>
                    <a:pt x="2769451" y="202260"/>
                  </a:lnTo>
                  <a:lnTo>
                    <a:pt x="2769451" y="200228"/>
                  </a:lnTo>
                  <a:lnTo>
                    <a:pt x="2769502" y="200228"/>
                  </a:lnTo>
                  <a:lnTo>
                    <a:pt x="2769502" y="198831"/>
                  </a:lnTo>
                  <a:lnTo>
                    <a:pt x="2769502" y="199530"/>
                  </a:lnTo>
                  <a:lnTo>
                    <a:pt x="2769502" y="198831"/>
                  </a:lnTo>
                  <a:lnTo>
                    <a:pt x="2769502" y="199530"/>
                  </a:lnTo>
                  <a:lnTo>
                    <a:pt x="2769502" y="196799"/>
                  </a:lnTo>
                  <a:lnTo>
                    <a:pt x="2769502" y="197447"/>
                  </a:lnTo>
                  <a:lnTo>
                    <a:pt x="2769553" y="197447"/>
                  </a:lnTo>
                  <a:lnTo>
                    <a:pt x="2769553" y="196113"/>
                  </a:lnTo>
                  <a:lnTo>
                    <a:pt x="2769553" y="198831"/>
                  </a:lnTo>
                  <a:lnTo>
                    <a:pt x="2769553" y="197447"/>
                  </a:lnTo>
                  <a:lnTo>
                    <a:pt x="2769604" y="196799"/>
                  </a:lnTo>
                  <a:lnTo>
                    <a:pt x="2769604" y="196113"/>
                  </a:lnTo>
                  <a:lnTo>
                    <a:pt x="2769604" y="200228"/>
                  </a:lnTo>
                  <a:lnTo>
                    <a:pt x="2769604" y="198831"/>
                  </a:lnTo>
                  <a:lnTo>
                    <a:pt x="2769604" y="199530"/>
                  </a:lnTo>
                  <a:lnTo>
                    <a:pt x="2769693" y="198831"/>
                  </a:lnTo>
                  <a:lnTo>
                    <a:pt x="2769693" y="200228"/>
                  </a:lnTo>
                  <a:lnTo>
                    <a:pt x="2769693" y="199530"/>
                  </a:lnTo>
                  <a:lnTo>
                    <a:pt x="2769693" y="200228"/>
                  </a:lnTo>
                  <a:lnTo>
                    <a:pt x="2769693" y="198831"/>
                  </a:lnTo>
                  <a:lnTo>
                    <a:pt x="2769693" y="199530"/>
                  </a:lnTo>
                  <a:lnTo>
                    <a:pt x="2769744" y="199530"/>
                  </a:lnTo>
                  <a:lnTo>
                    <a:pt x="2769744" y="200876"/>
                  </a:lnTo>
                  <a:lnTo>
                    <a:pt x="2769744" y="199530"/>
                  </a:lnTo>
                  <a:lnTo>
                    <a:pt x="2769744" y="200228"/>
                  </a:lnTo>
                  <a:lnTo>
                    <a:pt x="2769794" y="200228"/>
                  </a:lnTo>
                  <a:lnTo>
                    <a:pt x="2769794" y="200876"/>
                  </a:lnTo>
                  <a:lnTo>
                    <a:pt x="2769794" y="200228"/>
                  </a:lnTo>
                  <a:lnTo>
                    <a:pt x="2769794" y="200876"/>
                  </a:lnTo>
                  <a:lnTo>
                    <a:pt x="2769794" y="200228"/>
                  </a:lnTo>
                  <a:lnTo>
                    <a:pt x="2769794" y="200876"/>
                  </a:lnTo>
                  <a:lnTo>
                    <a:pt x="2769845" y="200876"/>
                  </a:lnTo>
                  <a:lnTo>
                    <a:pt x="2769845" y="202260"/>
                  </a:lnTo>
                  <a:lnTo>
                    <a:pt x="2769947" y="202260"/>
                  </a:lnTo>
                  <a:lnTo>
                    <a:pt x="2769947" y="202959"/>
                  </a:lnTo>
                  <a:lnTo>
                    <a:pt x="2769947" y="200876"/>
                  </a:lnTo>
                  <a:lnTo>
                    <a:pt x="2769997" y="200876"/>
                  </a:lnTo>
                  <a:lnTo>
                    <a:pt x="2769997" y="198831"/>
                  </a:lnTo>
                  <a:lnTo>
                    <a:pt x="2769997" y="199530"/>
                  </a:lnTo>
                  <a:lnTo>
                    <a:pt x="2769997" y="197447"/>
                  </a:lnTo>
                  <a:lnTo>
                    <a:pt x="2770048" y="197447"/>
                  </a:lnTo>
                  <a:lnTo>
                    <a:pt x="2770048" y="199530"/>
                  </a:lnTo>
                  <a:lnTo>
                    <a:pt x="2770048" y="196799"/>
                  </a:lnTo>
                  <a:lnTo>
                    <a:pt x="2770048" y="198831"/>
                  </a:lnTo>
                  <a:lnTo>
                    <a:pt x="2770150" y="199530"/>
                  </a:lnTo>
                  <a:lnTo>
                    <a:pt x="2770150" y="200228"/>
                  </a:lnTo>
                  <a:lnTo>
                    <a:pt x="2770150" y="199530"/>
                  </a:lnTo>
                  <a:lnTo>
                    <a:pt x="2770150" y="200228"/>
                  </a:lnTo>
                  <a:lnTo>
                    <a:pt x="2770150" y="198831"/>
                  </a:lnTo>
                  <a:lnTo>
                    <a:pt x="2770150" y="199530"/>
                  </a:lnTo>
                  <a:lnTo>
                    <a:pt x="2770188" y="199530"/>
                  </a:lnTo>
                  <a:lnTo>
                    <a:pt x="2770188" y="200228"/>
                  </a:lnTo>
                  <a:lnTo>
                    <a:pt x="2770188" y="198831"/>
                  </a:lnTo>
                  <a:lnTo>
                    <a:pt x="2770239" y="199530"/>
                  </a:lnTo>
                  <a:lnTo>
                    <a:pt x="2770239" y="198831"/>
                  </a:lnTo>
                  <a:lnTo>
                    <a:pt x="2770239" y="199530"/>
                  </a:lnTo>
                  <a:lnTo>
                    <a:pt x="2770290" y="200228"/>
                  </a:lnTo>
                  <a:lnTo>
                    <a:pt x="2770290" y="199530"/>
                  </a:lnTo>
                  <a:lnTo>
                    <a:pt x="2770290" y="200228"/>
                  </a:lnTo>
                  <a:lnTo>
                    <a:pt x="2770391" y="200228"/>
                  </a:lnTo>
                  <a:lnTo>
                    <a:pt x="2770391" y="200876"/>
                  </a:lnTo>
                  <a:lnTo>
                    <a:pt x="2770391" y="200228"/>
                  </a:lnTo>
                  <a:lnTo>
                    <a:pt x="2770442" y="200228"/>
                  </a:lnTo>
                  <a:lnTo>
                    <a:pt x="2770442" y="200876"/>
                  </a:lnTo>
                  <a:lnTo>
                    <a:pt x="2770442" y="198831"/>
                  </a:lnTo>
                  <a:lnTo>
                    <a:pt x="2770493" y="198831"/>
                  </a:lnTo>
                  <a:lnTo>
                    <a:pt x="2770493" y="196799"/>
                  </a:lnTo>
                  <a:lnTo>
                    <a:pt x="2770493" y="197447"/>
                  </a:lnTo>
                  <a:lnTo>
                    <a:pt x="2770594" y="197447"/>
                  </a:lnTo>
                  <a:lnTo>
                    <a:pt x="2770594" y="198831"/>
                  </a:lnTo>
                  <a:lnTo>
                    <a:pt x="2770594" y="197447"/>
                  </a:lnTo>
                  <a:lnTo>
                    <a:pt x="2770594" y="198831"/>
                  </a:lnTo>
                  <a:lnTo>
                    <a:pt x="2770594" y="197447"/>
                  </a:lnTo>
                  <a:lnTo>
                    <a:pt x="2770594" y="198831"/>
                  </a:lnTo>
                  <a:lnTo>
                    <a:pt x="2770645" y="198831"/>
                  </a:lnTo>
                  <a:lnTo>
                    <a:pt x="2770645" y="200228"/>
                  </a:lnTo>
                  <a:lnTo>
                    <a:pt x="2770645" y="199530"/>
                  </a:lnTo>
                  <a:lnTo>
                    <a:pt x="2770696" y="199530"/>
                  </a:lnTo>
                  <a:lnTo>
                    <a:pt x="2770696" y="200228"/>
                  </a:lnTo>
                  <a:lnTo>
                    <a:pt x="2770696" y="199530"/>
                  </a:lnTo>
                  <a:lnTo>
                    <a:pt x="2770696" y="200228"/>
                  </a:lnTo>
                  <a:lnTo>
                    <a:pt x="2770696" y="198831"/>
                  </a:lnTo>
                  <a:lnTo>
                    <a:pt x="2770696" y="199530"/>
                  </a:lnTo>
                  <a:lnTo>
                    <a:pt x="2770734" y="199530"/>
                  </a:lnTo>
                  <a:lnTo>
                    <a:pt x="2770734" y="198831"/>
                  </a:lnTo>
                  <a:lnTo>
                    <a:pt x="2770734" y="199530"/>
                  </a:lnTo>
                  <a:lnTo>
                    <a:pt x="2770734" y="198831"/>
                  </a:lnTo>
                  <a:lnTo>
                    <a:pt x="2770734" y="200228"/>
                  </a:lnTo>
                  <a:lnTo>
                    <a:pt x="2770734" y="199530"/>
                  </a:lnTo>
                  <a:lnTo>
                    <a:pt x="2770734" y="200228"/>
                  </a:lnTo>
                  <a:lnTo>
                    <a:pt x="2770734" y="199530"/>
                  </a:lnTo>
                  <a:lnTo>
                    <a:pt x="2770836" y="199530"/>
                  </a:lnTo>
                  <a:lnTo>
                    <a:pt x="2770836" y="200876"/>
                  </a:lnTo>
                  <a:lnTo>
                    <a:pt x="2770836" y="200228"/>
                  </a:lnTo>
                  <a:lnTo>
                    <a:pt x="2770887" y="200228"/>
                  </a:lnTo>
                  <a:lnTo>
                    <a:pt x="2770887" y="200876"/>
                  </a:lnTo>
                  <a:lnTo>
                    <a:pt x="2770887" y="200228"/>
                  </a:lnTo>
                  <a:lnTo>
                    <a:pt x="2770887" y="200876"/>
                  </a:lnTo>
                  <a:lnTo>
                    <a:pt x="2770937" y="200876"/>
                  </a:lnTo>
                  <a:lnTo>
                    <a:pt x="2770937" y="199530"/>
                  </a:lnTo>
                  <a:lnTo>
                    <a:pt x="2770937" y="200228"/>
                  </a:lnTo>
                  <a:lnTo>
                    <a:pt x="2770937" y="199530"/>
                  </a:lnTo>
                  <a:lnTo>
                    <a:pt x="2771039" y="199530"/>
                  </a:lnTo>
                  <a:lnTo>
                    <a:pt x="2771039" y="197447"/>
                  </a:lnTo>
                  <a:lnTo>
                    <a:pt x="2771039" y="198831"/>
                  </a:lnTo>
                  <a:lnTo>
                    <a:pt x="2771039" y="196799"/>
                  </a:lnTo>
                  <a:lnTo>
                    <a:pt x="2771090" y="196113"/>
                  </a:lnTo>
                  <a:lnTo>
                    <a:pt x="2771090" y="199530"/>
                  </a:lnTo>
                  <a:lnTo>
                    <a:pt x="2771090" y="196799"/>
                  </a:lnTo>
                  <a:lnTo>
                    <a:pt x="2771140" y="196799"/>
                  </a:lnTo>
                  <a:lnTo>
                    <a:pt x="2771140" y="200228"/>
                  </a:lnTo>
                  <a:lnTo>
                    <a:pt x="2771140" y="198831"/>
                  </a:lnTo>
                  <a:lnTo>
                    <a:pt x="2771191" y="198831"/>
                  </a:lnTo>
                  <a:lnTo>
                    <a:pt x="2771191" y="199530"/>
                  </a:lnTo>
                  <a:lnTo>
                    <a:pt x="2771191" y="197447"/>
                  </a:lnTo>
                  <a:lnTo>
                    <a:pt x="2771191" y="199530"/>
                  </a:lnTo>
                  <a:lnTo>
                    <a:pt x="2771280" y="199530"/>
                  </a:lnTo>
                  <a:lnTo>
                    <a:pt x="2771280" y="200228"/>
                  </a:lnTo>
                  <a:lnTo>
                    <a:pt x="2771280" y="199530"/>
                  </a:lnTo>
                  <a:lnTo>
                    <a:pt x="2771280" y="200228"/>
                  </a:lnTo>
                  <a:lnTo>
                    <a:pt x="2771280" y="199530"/>
                  </a:lnTo>
                  <a:lnTo>
                    <a:pt x="2771280" y="200228"/>
                  </a:lnTo>
                  <a:lnTo>
                    <a:pt x="2771280" y="199530"/>
                  </a:lnTo>
                  <a:lnTo>
                    <a:pt x="2771280" y="200228"/>
                  </a:lnTo>
                  <a:lnTo>
                    <a:pt x="2771331" y="200228"/>
                  </a:lnTo>
                  <a:lnTo>
                    <a:pt x="2771331" y="200876"/>
                  </a:lnTo>
                  <a:lnTo>
                    <a:pt x="2771382" y="200228"/>
                  </a:lnTo>
                  <a:lnTo>
                    <a:pt x="2771382" y="200876"/>
                  </a:lnTo>
                  <a:lnTo>
                    <a:pt x="2771382" y="200228"/>
                  </a:lnTo>
                  <a:lnTo>
                    <a:pt x="2771433" y="200228"/>
                  </a:lnTo>
                  <a:lnTo>
                    <a:pt x="2771433" y="198831"/>
                  </a:lnTo>
                  <a:lnTo>
                    <a:pt x="2771534" y="198831"/>
                  </a:lnTo>
                  <a:lnTo>
                    <a:pt x="2771534" y="196799"/>
                  </a:lnTo>
                  <a:lnTo>
                    <a:pt x="2771534" y="197447"/>
                  </a:lnTo>
                  <a:lnTo>
                    <a:pt x="2771534" y="196113"/>
                  </a:lnTo>
                  <a:lnTo>
                    <a:pt x="2771585" y="196113"/>
                  </a:lnTo>
                  <a:lnTo>
                    <a:pt x="2771585" y="198831"/>
                  </a:lnTo>
                  <a:lnTo>
                    <a:pt x="2771585" y="196113"/>
                  </a:lnTo>
                  <a:lnTo>
                    <a:pt x="2771585" y="196799"/>
                  </a:lnTo>
                  <a:lnTo>
                    <a:pt x="2771636" y="198831"/>
                  </a:lnTo>
                  <a:lnTo>
                    <a:pt x="2771636" y="200228"/>
                  </a:lnTo>
                  <a:lnTo>
                    <a:pt x="2771636" y="197447"/>
                  </a:lnTo>
                  <a:lnTo>
                    <a:pt x="2771636" y="198831"/>
                  </a:lnTo>
                  <a:lnTo>
                    <a:pt x="2771737" y="199530"/>
                  </a:lnTo>
                  <a:lnTo>
                    <a:pt x="2771737" y="198831"/>
                  </a:lnTo>
                  <a:lnTo>
                    <a:pt x="2771737" y="199530"/>
                  </a:lnTo>
                  <a:lnTo>
                    <a:pt x="2771737" y="198831"/>
                  </a:lnTo>
                  <a:lnTo>
                    <a:pt x="2771776" y="199530"/>
                  </a:lnTo>
                  <a:lnTo>
                    <a:pt x="2771776" y="198831"/>
                  </a:lnTo>
                  <a:lnTo>
                    <a:pt x="2771776" y="200228"/>
                  </a:lnTo>
                  <a:lnTo>
                    <a:pt x="2771826" y="200228"/>
                  </a:lnTo>
                  <a:lnTo>
                    <a:pt x="2771826" y="200876"/>
                  </a:lnTo>
                  <a:lnTo>
                    <a:pt x="2771877" y="200876"/>
                  </a:lnTo>
                  <a:lnTo>
                    <a:pt x="2771877" y="200228"/>
                  </a:lnTo>
                  <a:lnTo>
                    <a:pt x="2771877" y="200876"/>
                  </a:lnTo>
                  <a:lnTo>
                    <a:pt x="2771877" y="200228"/>
                  </a:lnTo>
                  <a:lnTo>
                    <a:pt x="2771877" y="200876"/>
                  </a:lnTo>
                  <a:lnTo>
                    <a:pt x="2771877" y="200228"/>
                  </a:lnTo>
                  <a:lnTo>
                    <a:pt x="2771979" y="200228"/>
                  </a:lnTo>
                  <a:lnTo>
                    <a:pt x="2771979" y="199530"/>
                  </a:lnTo>
                  <a:lnTo>
                    <a:pt x="2771979" y="200228"/>
                  </a:lnTo>
                  <a:lnTo>
                    <a:pt x="2771979" y="198831"/>
                  </a:lnTo>
                  <a:lnTo>
                    <a:pt x="2772030" y="198831"/>
                  </a:lnTo>
                  <a:lnTo>
                    <a:pt x="2772030" y="197447"/>
                  </a:lnTo>
                  <a:lnTo>
                    <a:pt x="2772030" y="198831"/>
                  </a:lnTo>
                  <a:lnTo>
                    <a:pt x="2772030" y="197447"/>
                  </a:lnTo>
                  <a:lnTo>
                    <a:pt x="2772030" y="198831"/>
                  </a:lnTo>
                  <a:lnTo>
                    <a:pt x="2772030" y="196113"/>
                  </a:lnTo>
                  <a:lnTo>
                    <a:pt x="2772030" y="196799"/>
                  </a:lnTo>
                  <a:lnTo>
                    <a:pt x="2772030" y="196113"/>
                  </a:lnTo>
                  <a:lnTo>
                    <a:pt x="2772030" y="196799"/>
                  </a:lnTo>
                  <a:lnTo>
                    <a:pt x="2772080" y="196799"/>
                  </a:lnTo>
                  <a:lnTo>
                    <a:pt x="2772080" y="197447"/>
                  </a:lnTo>
                  <a:lnTo>
                    <a:pt x="2772080" y="196799"/>
                  </a:lnTo>
                  <a:lnTo>
                    <a:pt x="2772080" y="198831"/>
                  </a:lnTo>
                  <a:lnTo>
                    <a:pt x="2772080" y="196113"/>
                  </a:lnTo>
                  <a:lnTo>
                    <a:pt x="2772080" y="197447"/>
                  </a:lnTo>
                  <a:lnTo>
                    <a:pt x="2772182" y="197447"/>
                  </a:lnTo>
                  <a:lnTo>
                    <a:pt x="2772182" y="199530"/>
                  </a:lnTo>
                  <a:lnTo>
                    <a:pt x="2772182" y="197447"/>
                  </a:lnTo>
                  <a:lnTo>
                    <a:pt x="2772182" y="199530"/>
                  </a:lnTo>
                  <a:lnTo>
                    <a:pt x="2772233" y="198831"/>
                  </a:lnTo>
                  <a:lnTo>
                    <a:pt x="2772233" y="199530"/>
                  </a:lnTo>
                  <a:lnTo>
                    <a:pt x="2772233" y="198831"/>
                  </a:lnTo>
                  <a:lnTo>
                    <a:pt x="2772233" y="199530"/>
                  </a:lnTo>
                  <a:lnTo>
                    <a:pt x="2772283" y="199530"/>
                  </a:lnTo>
                  <a:lnTo>
                    <a:pt x="2772283" y="200228"/>
                  </a:lnTo>
                  <a:lnTo>
                    <a:pt x="2772322" y="200228"/>
                  </a:lnTo>
                  <a:lnTo>
                    <a:pt x="2772322" y="199530"/>
                  </a:lnTo>
                  <a:lnTo>
                    <a:pt x="2772322" y="200228"/>
                  </a:lnTo>
                  <a:lnTo>
                    <a:pt x="2772322" y="199530"/>
                  </a:lnTo>
                  <a:lnTo>
                    <a:pt x="2772322" y="200876"/>
                  </a:lnTo>
                  <a:lnTo>
                    <a:pt x="2772423" y="200876"/>
                  </a:lnTo>
                  <a:lnTo>
                    <a:pt x="2772423" y="200228"/>
                  </a:lnTo>
                  <a:lnTo>
                    <a:pt x="2772474" y="200228"/>
                  </a:lnTo>
                  <a:lnTo>
                    <a:pt x="2772474" y="198831"/>
                  </a:lnTo>
                  <a:lnTo>
                    <a:pt x="2772474" y="199530"/>
                  </a:lnTo>
                  <a:lnTo>
                    <a:pt x="2772525" y="199530"/>
                  </a:lnTo>
                  <a:lnTo>
                    <a:pt x="2772525" y="196113"/>
                  </a:lnTo>
                  <a:lnTo>
                    <a:pt x="2772626" y="196799"/>
                  </a:lnTo>
                  <a:lnTo>
                    <a:pt x="2772626" y="198831"/>
                  </a:lnTo>
                  <a:lnTo>
                    <a:pt x="2772626" y="196113"/>
                  </a:lnTo>
                  <a:lnTo>
                    <a:pt x="2772626" y="196799"/>
                  </a:lnTo>
                  <a:lnTo>
                    <a:pt x="2772677" y="197447"/>
                  </a:lnTo>
                  <a:lnTo>
                    <a:pt x="2772677" y="198831"/>
                  </a:lnTo>
                  <a:lnTo>
                    <a:pt x="2772677" y="197447"/>
                  </a:lnTo>
                  <a:lnTo>
                    <a:pt x="2772728" y="198831"/>
                  </a:lnTo>
                  <a:lnTo>
                    <a:pt x="2772728" y="199530"/>
                  </a:lnTo>
                  <a:lnTo>
                    <a:pt x="2772728" y="197447"/>
                  </a:lnTo>
                  <a:lnTo>
                    <a:pt x="2772728" y="199530"/>
                  </a:lnTo>
                  <a:lnTo>
                    <a:pt x="2772779" y="199530"/>
                  </a:lnTo>
                  <a:lnTo>
                    <a:pt x="2772779" y="198831"/>
                  </a:lnTo>
                  <a:lnTo>
                    <a:pt x="2772779" y="200228"/>
                  </a:lnTo>
                  <a:lnTo>
                    <a:pt x="2772868" y="200228"/>
                  </a:lnTo>
                  <a:lnTo>
                    <a:pt x="2772868" y="199530"/>
                  </a:lnTo>
                  <a:lnTo>
                    <a:pt x="2772868" y="200228"/>
                  </a:lnTo>
                  <a:lnTo>
                    <a:pt x="2772919" y="200228"/>
                  </a:lnTo>
                  <a:lnTo>
                    <a:pt x="2772919" y="199530"/>
                  </a:lnTo>
                  <a:lnTo>
                    <a:pt x="2772919" y="200228"/>
                  </a:lnTo>
                  <a:lnTo>
                    <a:pt x="2772969" y="200228"/>
                  </a:lnTo>
                  <a:lnTo>
                    <a:pt x="2772969" y="199530"/>
                  </a:lnTo>
                  <a:lnTo>
                    <a:pt x="2772969" y="200228"/>
                  </a:lnTo>
                  <a:lnTo>
                    <a:pt x="2772969" y="198831"/>
                  </a:lnTo>
                  <a:lnTo>
                    <a:pt x="2772969" y="199530"/>
                  </a:lnTo>
                  <a:lnTo>
                    <a:pt x="2773020" y="199530"/>
                  </a:lnTo>
                  <a:lnTo>
                    <a:pt x="2773020" y="196799"/>
                  </a:lnTo>
                  <a:lnTo>
                    <a:pt x="2773020" y="198831"/>
                  </a:lnTo>
                  <a:lnTo>
                    <a:pt x="2773122" y="197447"/>
                  </a:lnTo>
                  <a:lnTo>
                    <a:pt x="2773122" y="195415"/>
                  </a:lnTo>
                  <a:lnTo>
                    <a:pt x="2773122" y="198831"/>
                  </a:lnTo>
                  <a:lnTo>
                    <a:pt x="2773172" y="198831"/>
                  </a:lnTo>
                  <a:lnTo>
                    <a:pt x="2773172" y="196799"/>
                  </a:lnTo>
                  <a:lnTo>
                    <a:pt x="2773172" y="198831"/>
                  </a:lnTo>
                  <a:lnTo>
                    <a:pt x="2773223" y="198831"/>
                  </a:lnTo>
                  <a:lnTo>
                    <a:pt x="2773223" y="197447"/>
                  </a:lnTo>
                  <a:lnTo>
                    <a:pt x="2773223" y="198831"/>
                  </a:lnTo>
                  <a:lnTo>
                    <a:pt x="2773223" y="197447"/>
                  </a:lnTo>
                  <a:lnTo>
                    <a:pt x="2773223" y="198831"/>
                  </a:lnTo>
                  <a:lnTo>
                    <a:pt x="2773325" y="198831"/>
                  </a:lnTo>
                  <a:lnTo>
                    <a:pt x="2773325" y="199530"/>
                  </a:lnTo>
                  <a:lnTo>
                    <a:pt x="2773363" y="199530"/>
                  </a:lnTo>
                  <a:lnTo>
                    <a:pt x="2773363" y="200228"/>
                  </a:lnTo>
                  <a:lnTo>
                    <a:pt x="2773363" y="199530"/>
                  </a:lnTo>
                  <a:lnTo>
                    <a:pt x="2773363" y="200228"/>
                  </a:lnTo>
                  <a:lnTo>
                    <a:pt x="2773363" y="199530"/>
                  </a:lnTo>
                  <a:lnTo>
                    <a:pt x="2773414" y="199530"/>
                  </a:lnTo>
                  <a:lnTo>
                    <a:pt x="2773414" y="200228"/>
                  </a:lnTo>
                  <a:lnTo>
                    <a:pt x="2773414" y="199530"/>
                  </a:lnTo>
                  <a:lnTo>
                    <a:pt x="2773414" y="200228"/>
                  </a:lnTo>
                  <a:lnTo>
                    <a:pt x="2773414" y="199530"/>
                  </a:lnTo>
                  <a:lnTo>
                    <a:pt x="2773414" y="200228"/>
                  </a:lnTo>
                  <a:lnTo>
                    <a:pt x="2773414" y="199530"/>
                  </a:lnTo>
                  <a:lnTo>
                    <a:pt x="2773414" y="200228"/>
                  </a:lnTo>
                  <a:lnTo>
                    <a:pt x="2773465" y="200228"/>
                  </a:lnTo>
                  <a:lnTo>
                    <a:pt x="2773465" y="199530"/>
                  </a:lnTo>
                  <a:lnTo>
                    <a:pt x="2773465" y="200228"/>
                  </a:lnTo>
                  <a:lnTo>
                    <a:pt x="2773465" y="199530"/>
                  </a:lnTo>
                  <a:lnTo>
                    <a:pt x="2773566" y="198831"/>
                  </a:lnTo>
                  <a:lnTo>
                    <a:pt x="2773566" y="197447"/>
                  </a:lnTo>
                  <a:lnTo>
                    <a:pt x="2773566" y="198831"/>
                  </a:lnTo>
                  <a:lnTo>
                    <a:pt x="2773566" y="197447"/>
                  </a:lnTo>
                  <a:lnTo>
                    <a:pt x="2773566" y="199530"/>
                  </a:lnTo>
                  <a:lnTo>
                    <a:pt x="2773617" y="198831"/>
                  </a:lnTo>
                  <a:lnTo>
                    <a:pt x="2773617" y="197447"/>
                  </a:lnTo>
                  <a:lnTo>
                    <a:pt x="2773617" y="200876"/>
                  </a:lnTo>
                  <a:lnTo>
                    <a:pt x="2773617" y="200228"/>
                  </a:lnTo>
                  <a:lnTo>
                    <a:pt x="2773668" y="199530"/>
                  </a:lnTo>
                  <a:lnTo>
                    <a:pt x="2773668" y="202260"/>
                  </a:lnTo>
                  <a:lnTo>
                    <a:pt x="2773668" y="200228"/>
                  </a:lnTo>
                  <a:lnTo>
                    <a:pt x="2773668" y="200876"/>
                  </a:lnTo>
                  <a:lnTo>
                    <a:pt x="2773668" y="200228"/>
                  </a:lnTo>
                  <a:lnTo>
                    <a:pt x="2773769" y="200228"/>
                  </a:lnTo>
                  <a:lnTo>
                    <a:pt x="2773769" y="200876"/>
                  </a:lnTo>
                  <a:lnTo>
                    <a:pt x="2773769" y="200228"/>
                  </a:lnTo>
                  <a:lnTo>
                    <a:pt x="2773769" y="200876"/>
                  </a:lnTo>
                  <a:lnTo>
                    <a:pt x="2773769" y="200228"/>
                  </a:lnTo>
                  <a:lnTo>
                    <a:pt x="2773820" y="200228"/>
                  </a:lnTo>
                  <a:lnTo>
                    <a:pt x="2773820" y="200876"/>
                  </a:lnTo>
                  <a:lnTo>
                    <a:pt x="2773820" y="200228"/>
                  </a:lnTo>
                  <a:lnTo>
                    <a:pt x="2773820" y="200876"/>
                  </a:lnTo>
                  <a:lnTo>
                    <a:pt x="2773871" y="200876"/>
                  </a:lnTo>
                  <a:lnTo>
                    <a:pt x="2773871" y="200228"/>
                  </a:lnTo>
                  <a:lnTo>
                    <a:pt x="2773871" y="200876"/>
                  </a:lnTo>
                  <a:lnTo>
                    <a:pt x="2773871" y="200228"/>
                  </a:lnTo>
                  <a:lnTo>
                    <a:pt x="2773909" y="200228"/>
                  </a:lnTo>
                  <a:lnTo>
                    <a:pt x="2773909" y="200876"/>
                  </a:lnTo>
                  <a:lnTo>
                    <a:pt x="2773909" y="200228"/>
                  </a:lnTo>
                  <a:lnTo>
                    <a:pt x="2773909" y="200876"/>
                  </a:lnTo>
                  <a:lnTo>
                    <a:pt x="2773909" y="200228"/>
                  </a:lnTo>
                  <a:lnTo>
                    <a:pt x="2773909" y="200876"/>
                  </a:lnTo>
                  <a:lnTo>
                    <a:pt x="2774011" y="200228"/>
                  </a:lnTo>
                  <a:lnTo>
                    <a:pt x="2774011" y="199530"/>
                  </a:lnTo>
                  <a:lnTo>
                    <a:pt x="2774011" y="200228"/>
                  </a:lnTo>
                  <a:lnTo>
                    <a:pt x="2774011" y="198831"/>
                  </a:lnTo>
                  <a:lnTo>
                    <a:pt x="2774062" y="198831"/>
                  </a:lnTo>
                  <a:lnTo>
                    <a:pt x="2774062" y="200228"/>
                  </a:lnTo>
                  <a:lnTo>
                    <a:pt x="2774062" y="198831"/>
                  </a:lnTo>
                  <a:lnTo>
                    <a:pt x="2774112" y="198831"/>
                  </a:lnTo>
                  <a:lnTo>
                    <a:pt x="2774112" y="202260"/>
                  </a:lnTo>
                  <a:lnTo>
                    <a:pt x="2774112" y="200228"/>
                  </a:lnTo>
                  <a:lnTo>
                    <a:pt x="2774112" y="200876"/>
                  </a:lnTo>
                  <a:lnTo>
                    <a:pt x="2774214" y="200228"/>
                  </a:lnTo>
                  <a:lnTo>
                    <a:pt x="2774214" y="202959"/>
                  </a:lnTo>
                  <a:lnTo>
                    <a:pt x="2774214" y="200876"/>
                  </a:lnTo>
                  <a:lnTo>
                    <a:pt x="2774214" y="202260"/>
                  </a:lnTo>
                  <a:lnTo>
                    <a:pt x="2774214" y="200876"/>
                  </a:lnTo>
                  <a:lnTo>
                    <a:pt x="2774214" y="202260"/>
                  </a:lnTo>
                  <a:lnTo>
                    <a:pt x="2774265" y="200876"/>
                  </a:lnTo>
                  <a:lnTo>
                    <a:pt x="2774265" y="202959"/>
                  </a:lnTo>
                  <a:lnTo>
                    <a:pt x="2774265" y="200876"/>
                  </a:lnTo>
                  <a:lnTo>
                    <a:pt x="2774265" y="202260"/>
                  </a:lnTo>
                  <a:lnTo>
                    <a:pt x="2774315" y="202260"/>
                  </a:lnTo>
                  <a:lnTo>
                    <a:pt x="2774315" y="202959"/>
                  </a:lnTo>
                  <a:lnTo>
                    <a:pt x="2774315" y="200876"/>
                  </a:lnTo>
                  <a:lnTo>
                    <a:pt x="2774315" y="202260"/>
                  </a:lnTo>
                  <a:lnTo>
                    <a:pt x="2774366" y="202260"/>
                  </a:lnTo>
                  <a:lnTo>
                    <a:pt x="2774366" y="200876"/>
                  </a:lnTo>
                  <a:lnTo>
                    <a:pt x="2774366" y="202260"/>
                  </a:lnTo>
                  <a:lnTo>
                    <a:pt x="2774366" y="200228"/>
                  </a:lnTo>
                  <a:lnTo>
                    <a:pt x="2774366" y="200876"/>
                  </a:lnTo>
                  <a:lnTo>
                    <a:pt x="2774455" y="200876"/>
                  </a:lnTo>
                  <a:lnTo>
                    <a:pt x="2774455" y="200228"/>
                  </a:lnTo>
                  <a:lnTo>
                    <a:pt x="2774455" y="200876"/>
                  </a:lnTo>
                  <a:lnTo>
                    <a:pt x="2774455" y="200228"/>
                  </a:lnTo>
                  <a:lnTo>
                    <a:pt x="2774455" y="200876"/>
                  </a:lnTo>
                  <a:lnTo>
                    <a:pt x="2774455" y="200228"/>
                  </a:lnTo>
                  <a:lnTo>
                    <a:pt x="2774506" y="199530"/>
                  </a:lnTo>
                  <a:lnTo>
                    <a:pt x="2774506" y="196799"/>
                  </a:lnTo>
                  <a:lnTo>
                    <a:pt x="2774506" y="197447"/>
                  </a:lnTo>
                  <a:lnTo>
                    <a:pt x="2774557" y="197447"/>
                  </a:lnTo>
                  <a:lnTo>
                    <a:pt x="2774557" y="199530"/>
                  </a:lnTo>
                  <a:lnTo>
                    <a:pt x="2774557" y="197447"/>
                  </a:lnTo>
                  <a:lnTo>
                    <a:pt x="2774557" y="199530"/>
                  </a:lnTo>
                  <a:lnTo>
                    <a:pt x="2774608" y="199530"/>
                  </a:lnTo>
                  <a:lnTo>
                    <a:pt x="2774608" y="200876"/>
                  </a:lnTo>
                  <a:lnTo>
                    <a:pt x="2774608" y="199530"/>
                  </a:lnTo>
                  <a:lnTo>
                    <a:pt x="2774608" y="200876"/>
                  </a:lnTo>
                  <a:lnTo>
                    <a:pt x="2774709" y="200876"/>
                  </a:lnTo>
                  <a:lnTo>
                    <a:pt x="2774709" y="200228"/>
                  </a:lnTo>
                  <a:lnTo>
                    <a:pt x="2774709" y="202260"/>
                  </a:lnTo>
                  <a:lnTo>
                    <a:pt x="2774709" y="200876"/>
                  </a:lnTo>
                  <a:lnTo>
                    <a:pt x="2774760" y="202260"/>
                  </a:lnTo>
                  <a:lnTo>
                    <a:pt x="2774760" y="200876"/>
                  </a:lnTo>
                  <a:lnTo>
                    <a:pt x="2774760" y="202260"/>
                  </a:lnTo>
                  <a:lnTo>
                    <a:pt x="2774760" y="200876"/>
                  </a:lnTo>
                  <a:lnTo>
                    <a:pt x="2774760" y="202260"/>
                  </a:lnTo>
                  <a:lnTo>
                    <a:pt x="2774811" y="202260"/>
                  </a:lnTo>
                  <a:lnTo>
                    <a:pt x="2774811" y="200876"/>
                  </a:lnTo>
                  <a:lnTo>
                    <a:pt x="2774811" y="202260"/>
                  </a:lnTo>
                  <a:lnTo>
                    <a:pt x="2774811" y="200876"/>
                  </a:lnTo>
                  <a:lnTo>
                    <a:pt x="2774912" y="200876"/>
                  </a:lnTo>
                  <a:lnTo>
                    <a:pt x="2774912" y="202260"/>
                  </a:lnTo>
                  <a:lnTo>
                    <a:pt x="2774912" y="200876"/>
                  </a:lnTo>
                  <a:lnTo>
                    <a:pt x="2774912" y="202260"/>
                  </a:lnTo>
                  <a:lnTo>
                    <a:pt x="2774912" y="200876"/>
                  </a:lnTo>
                  <a:lnTo>
                    <a:pt x="2774951" y="200876"/>
                  </a:lnTo>
                  <a:lnTo>
                    <a:pt x="2774951" y="202260"/>
                  </a:lnTo>
                  <a:lnTo>
                    <a:pt x="2774951" y="200228"/>
                  </a:lnTo>
                  <a:lnTo>
                    <a:pt x="2775001" y="200228"/>
                  </a:lnTo>
                  <a:lnTo>
                    <a:pt x="2775001" y="197447"/>
                  </a:lnTo>
                  <a:lnTo>
                    <a:pt x="2775001" y="199530"/>
                  </a:lnTo>
                  <a:lnTo>
                    <a:pt x="2775052" y="200228"/>
                  </a:lnTo>
                  <a:lnTo>
                    <a:pt x="2775052" y="197447"/>
                  </a:lnTo>
                  <a:lnTo>
                    <a:pt x="2775052" y="200876"/>
                  </a:lnTo>
                  <a:lnTo>
                    <a:pt x="2775154" y="200876"/>
                  </a:lnTo>
                  <a:lnTo>
                    <a:pt x="2775154" y="199530"/>
                  </a:lnTo>
                  <a:lnTo>
                    <a:pt x="2775154" y="200876"/>
                  </a:lnTo>
                  <a:lnTo>
                    <a:pt x="2775205" y="200876"/>
                  </a:lnTo>
                  <a:lnTo>
                    <a:pt x="2775205" y="200228"/>
                  </a:lnTo>
                  <a:lnTo>
                    <a:pt x="2775205" y="200876"/>
                  </a:lnTo>
                  <a:lnTo>
                    <a:pt x="2775255" y="200876"/>
                  </a:lnTo>
                  <a:lnTo>
                    <a:pt x="2775255" y="202260"/>
                  </a:lnTo>
                  <a:lnTo>
                    <a:pt x="2775255" y="200876"/>
                  </a:lnTo>
                  <a:lnTo>
                    <a:pt x="2775255" y="202260"/>
                  </a:lnTo>
                  <a:lnTo>
                    <a:pt x="2775255" y="200876"/>
                  </a:lnTo>
                  <a:lnTo>
                    <a:pt x="2775357" y="200876"/>
                  </a:lnTo>
                  <a:lnTo>
                    <a:pt x="2775357" y="202260"/>
                  </a:lnTo>
                  <a:lnTo>
                    <a:pt x="2775357" y="200876"/>
                  </a:lnTo>
                  <a:lnTo>
                    <a:pt x="2775357" y="202260"/>
                  </a:lnTo>
                  <a:lnTo>
                    <a:pt x="2775357" y="200876"/>
                  </a:lnTo>
                  <a:lnTo>
                    <a:pt x="2775357" y="202260"/>
                  </a:lnTo>
                  <a:lnTo>
                    <a:pt x="2775357" y="200876"/>
                  </a:lnTo>
                  <a:lnTo>
                    <a:pt x="2775408" y="202260"/>
                  </a:lnTo>
                  <a:lnTo>
                    <a:pt x="2775408" y="200876"/>
                  </a:lnTo>
                  <a:lnTo>
                    <a:pt x="2775408" y="202260"/>
                  </a:lnTo>
                  <a:lnTo>
                    <a:pt x="2775408" y="200876"/>
                  </a:lnTo>
                  <a:lnTo>
                    <a:pt x="2775408" y="202260"/>
                  </a:lnTo>
                  <a:lnTo>
                    <a:pt x="2775408" y="200876"/>
                  </a:lnTo>
                  <a:lnTo>
                    <a:pt x="2775408" y="202260"/>
                  </a:lnTo>
                  <a:lnTo>
                    <a:pt x="2775408" y="200876"/>
                  </a:lnTo>
                  <a:lnTo>
                    <a:pt x="2775458" y="200876"/>
                  </a:lnTo>
                  <a:lnTo>
                    <a:pt x="2775458" y="200228"/>
                  </a:lnTo>
                  <a:lnTo>
                    <a:pt x="2775458" y="200876"/>
                  </a:lnTo>
                  <a:lnTo>
                    <a:pt x="2775458" y="199530"/>
                  </a:lnTo>
                  <a:lnTo>
                    <a:pt x="2775458" y="200228"/>
                  </a:lnTo>
                  <a:lnTo>
                    <a:pt x="2775497" y="200228"/>
                  </a:lnTo>
                  <a:lnTo>
                    <a:pt x="2775497" y="196799"/>
                  </a:lnTo>
                  <a:lnTo>
                    <a:pt x="2775497" y="199530"/>
                  </a:lnTo>
                  <a:lnTo>
                    <a:pt x="2775598" y="199530"/>
                  </a:lnTo>
                  <a:lnTo>
                    <a:pt x="2775598" y="197447"/>
                  </a:lnTo>
                  <a:lnTo>
                    <a:pt x="2775598" y="200876"/>
                  </a:lnTo>
                  <a:lnTo>
                    <a:pt x="2775598" y="200228"/>
                  </a:lnTo>
                  <a:lnTo>
                    <a:pt x="2775649" y="200228"/>
                  </a:lnTo>
                  <a:lnTo>
                    <a:pt x="2775649" y="199530"/>
                  </a:lnTo>
                  <a:lnTo>
                    <a:pt x="2775649" y="200876"/>
                  </a:lnTo>
                  <a:lnTo>
                    <a:pt x="2775700" y="200876"/>
                  </a:lnTo>
                  <a:lnTo>
                    <a:pt x="2775700" y="200228"/>
                  </a:lnTo>
                  <a:lnTo>
                    <a:pt x="2775700" y="202260"/>
                  </a:lnTo>
                  <a:lnTo>
                    <a:pt x="2775700" y="200876"/>
                  </a:lnTo>
                  <a:lnTo>
                    <a:pt x="2775700" y="202260"/>
                  </a:lnTo>
                  <a:lnTo>
                    <a:pt x="2775700" y="200876"/>
                  </a:lnTo>
                  <a:lnTo>
                    <a:pt x="2775700" y="202260"/>
                  </a:lnTo>
                  <a:lnTo>
                    <a:pt x="2775700" y="200876"/>
                  </a:lnTo>
                  <a:lnTo>
                    <a:pt x="2775700" y="202260"/>
                  </a:lnTo>
                  <a:lnTo>
                    <a:pt x="2775801" y="202260"/>
                  </a:lnTo>
                  <a:lnTo>
                    <a:pt x="2775801" y="200876"/>
                  </a:lnTo>
                  <a:lnTo>
                    <a:pt x="2775801" y="202260"/>
                  </a:lnTo>
                  <a:lnTo>
                    <a:pt x="2775801" y="200876"/>
                  </a:lnTo>
                  <a:lnTo>
                    <a:pt x="2775801" y="202260"/>
                  </a:lnTo>
                  <a:lnTo>
                    <a:pt x="2775852" y="202260"/>
                  </a:lnTo>
                  <a:lnTo>
                    <a:pt x="2775852" y="200876"/>
                  </a:lnTo>
                  <a:lnTo>
                    <a:pt x="2775852" y="202260"/>
                  </a:lnTo>
                  <a:lnTo>
                    <a:pt x="2775903" y="202260"/>
                  </a:lnTo>
                  <a:lnTo>
                    <a:pt x="2775903" y="200876"/>
                  </a:lnTo>
                  <a:lnTo>
                    <a:pt x="2775954" y="200876"/>
                  </a:lnTo>
                  <a:lnTo>
                    <a:pt x="2775954" y="202260"/>
                  </a:lnTo>
                  <a:lnTo>
                    <a:pt x="2775954" y="200228"/>
                  </a:lnTo>
                  <a:lnTo>
                    <a:pt x="2775954" y="200876"/>
                  </a:lnTo>
                  <a:lnTo>
                    <a:pt x="2775954" y="199530"/>
                  </a:lnTo>
                  <a:lnTo>
                    <a:pt x="2776043" y="199530"/>
                  </a:lnTo>
                  <a:lnTo>
                    <a:pt x="2776043" y="200228"/>
                  </a:lnTo>
                  <a:lnTo>
                    <a:pt x="2776043" y="198831"/>
                  </a:lnTo>
                  <a:lnTo>
                    <a:pt x="2776043" y="200228"/>
                  </a:lnTo>
                  <a:lnTo>
                    <a:pt x="2776094" y="200228"/>
                  </a:lnTo>
                  <a:lnTo>
                    <a:pt x="2776094" y="202260"/>
                  </a:lnTo>
                  <a:lnTo>
                    <a:pt x="2776094" y="200876"/>
                  </a:lnTo>
                  <a:lnTo>
                    <a:pt x="2776094" y="202260"/>
                  </a:lnTo>
                  <a:lnTo>
                    <a:pt x="2776094" y="200228"/>
                  </a:lnTo>
                  <a:lnTo>
                    <a:pt x="2776094" y="200876"/>
                  </a:lnTo>
                  <a:lnTo>
                    <a:pt x="2776144" y="200876"/>
                  </a:lnTo>
                  <a:lnTo>
                    <a:pt x="2776144" y="200228"/>
                  </a:lnTo>
                  <a:lnTo>
                    <a:pt x="2776144" y="200876"/>
                  </a:lnTo>
                  <a:lnTo>
                    <a:pt x="2776144" y="200228"/>
                  </a:lnTo>
                  <a:lnTo>
                    <a:pt x="2776144" y="200876"/>
                  </a:lnTo>
                  <a:lnTo>
                    <a:pt x="2776195" y="200876"/>
                  </a:lnTo>
                  <a:lnTo>
                    <a:pt x="2776195" y="200228"/>
                  </a:lnTo>
                  <a:lnTo>
                    <a:pt x="2776195" y="202260"/>
                  </a:lnTo>
                  <a:lnTo>
                    <a:pt x="2776195" y="200228"/>
                  </a:lnTo>
                  <a:lnTo>
                    <a:pt x="2776195" y="200876"/>
                  </a:lnTo>
                  <a:lnTo>
                    <a:pt x="2776297" y="200876"/>
                  </a:lnTo>
                  <a:lnTo>
                    <a:pt x="2776297" y="200228"/>
                  </a:lnTo>
                  <a:lnTo>
                    <a:pt x="2776297" y="200876"/>
                  </a:lnTo>
                  <a:lnTo>
                    <a:pt x="2776347" y="200876"/>
                  </a:lnTo>
                  <a:lnTo>
                    <a:pt x="2776347" y="202260"/>
                  </a:lnTo>
                  <a:lnTo>
                    <a:pt x="2776347" y="200876"/>
                  </a:lnTo>
                  <a:lnTo>
                    <a:pt x="2776347" y="202260"/>
                  </a:lnTo>
                  <a:lnTo>
                    <a:pt x="2776347" y="200876"/>
                  </a:lnTo>
                  <a:lnTo>
                    <a:pt x="2776398" y="200876"/>
                  </a:lnTo>
                  <a:lnTo>
                    <a:pt x="2776398" y="199530"/>
                  </a:lnTo>
                  <a:lnTo>
                    <a:pt x="2776398" y="200228"/>
                  </a:lnTo>
                  <a:lnTo>
                    <a:pt x="2776500" y="200228"/>
                  </a:lnTo>
                  <a:lnTo>
                    <a:pt x="2776500" y="199530"/>
                  </a:lnTo>
                  <a:lnTo>
                    <a:pt x="2776500" y="202959"/>
                  </a:lnTo>
                  <a:lnTo>
                    <a:pt x="2776500" y="200228"/>
                  </a:lnTo>
                  <a:lnTo>
                    <a:pt x="2776538" y="200228"/>
                  </a:lnTo>
                  <a:lnTo>
                    <a:pt x="2776538" y="199530"/>
                  </a:lnTo>
                  <a:lnTo>
                    <a:pt x="2776538" y="203594"/>
                  </a:lnTo>
                  <a:lnTo>
                    <a:pt x="2776538" y="202260"/>
                  </a:lnTo>
                  <a:lnTo>
                    <a:pt x="2776589" y="202260"/>
                  </a:lnTo>
                  <a:lnTo>
                    <a:pt x="2776589" y="204292"/>
                  </a:lnTo>
                  <a:lnTo>
                    <a:pt x="2776589" y="203594"/>
                  </a:lnTo>
                  <a:lnTo>
                    <a:pt x="2776589" y="204292"/>
                  </a:lnTo>
                  <a:lnTo>
                    <a:pt x="2776589" y="202959"/>
                  </a:lnTo>
                  <a:lnTo>
                    <a:pt x="2776640" y="202959"/>
                  </a:lnTo>
                  <a:lnTo>
                    <a:pt x="2776640" y="203594"/>
                  </a:lnTo>
                  <a:lnTo>
                    <a:pt x="2776640" y="202959"/>
                  </a:lnTo>
                  <a:lnTo>
                    <a:pt x="2776741" y="202959"/>
                  </a:lnTo>
                  <a:lnTo>
                    <a:pt x="2776741" y="203594"/>
                  </a:lnTo>
                  <a:lnTo>
                    <a:pt x="2776741" y="202959"/>
                  </a:lnTo>
                  <a:lnTo>
                    <a:pt x="2776741" y="203594"/>
                  </a:lnTo>
                  <a:lnTo>
                    <a:pt x="2776741" y="202959"/>
                  </a:lnTo>
                  <a:lnTo>
                    <a:pt x="2776792" y="202959"/>
                  </a:lnTo>
                  <a:lnTo>
                    <a:pt x="2776792" y="202260"/>
                  </a:lnTo>
                  <a:lnTo>
                    <a:pt x="2776792" y="202959"/>
                  </a:lnTo>
                  <a:lnTo>
                    <a:pt x="2776792" y="202260"/>
                  </a:lnTo>
                  <a:lnTo>
                    <a:pt x="2776843" y="202260"/>
                  </a:lnTo>
                  <a:lnTo>
                    <a:pt x="2776843" y="200876"/>
                  </a:lnTo>
                  <a:lnTo>
                    <a:pt x="2776944" y="200876"/>
                  </a:lnTo>
                  <a:lnTo>
                    <a:pt x="2776944" y="199530"/>
                  </a:lnTo>
                  <a:lnTo>
                    <a:pt x="2776944" y="200228"/>
                  </a:lnTo>
                  <a:lnTo>
                    <a:pt x="2776944" y="199530"/>
                  </a:lnTo>
                  <a:lnTo>
                    <a:pt x="2776944" y="200228"/>
                  </a:lnTo>
                  <a:lnTo>
                    <a:pt x="2776944" y="199530"/>
                  </a:lnTo>
                  <a:lnTo>
                    <a:pt x="2776944" y="200228"/>
                  </a:lnTo>
                  <a:lnTo>
                    <a:pt x="2776944" y="198831"/>
                  </a:lnTo>
                  <a:lnTo>
                    <a:pt x="2776995" y="198831"/>
                  </a:lnTo>
                  <a:lnTo>
                    <a:pt x="2776995" y="200876"/>
                  </a:lnTo>
                  <a:lnTo>
                    <a:pt x="2776995" y="199530"/>
                  </a:lnTo>
                  <a:lnTo>
                    <a:pt x="2776995" y="200228"/>
                  </a:lnTo>
                  <a:lnTo>
                    <a:pt x="2777046" y="200228"/>
                  </a:lnTo>
                  <a:lnTo>
                    <a:pt x="2777046" y="202959"/>
                  </a:lnTo>
                  <a:lnTo>
                    <a:pt x="2777046" y="200876"/>
                  </a:lnTo>
                  <a:lnTo>
                    <a:pt x="2777046" y="202959"/>
                  </a:lnTo>
                  <a:lnTo>
                    <a:pt x="2777084" y="202959"/>
                  </a:lnTo>
                  <a:lnTo>
                    <a:pt x="2777084" y="202260"/>
                  </a:lnTo>
                  <a:lnTo>
                    <a:pt x="2777084" y="202959"/>
                  </a:lnTo>
                  <a:lnTo>
                    <a:pt x="2777084" y="202260"/>
                  </a:lnTo>
                  <a:lnTo>
                    <a:pt x="2777084" y="202959"/>
                  </a:lnTo>
                  <a:lnTo>
                    <a:pt x="2777186" y="202959"/>
                  </a:lnTo>
                  <a:lnTo>
                    <a:pt x="2777186" y="203594"/>
                  </a:lnTo>
                  <a:lnTo>
                    <a:pt x="2777186" y="202959"/>
                  </a:lnTo>
                  <a:lnTo>
                    <a:pt x="2777186" y="203594"/>
                  </a:lnTo>
                  <a:lnTo>
                    <a:pt x="2777186" y="202959"/>
                  </a:lnTo>
                  <a:lnTo>
                    <a:pt x="2777186" y="203594"/>
                  </a:lnTo>
                  <a:lnTo>
                    <a:pt x="2777186" y="202959"/>
                  </a:lnTo>
                  <a:lnTo>
                    <a:pt x="2777237" y="202959"/>
                  </a:lnTo>
                  <a:lnTo>
                    <a:pt x="2777237" y="203594"/>
                  </a:lnTo>
                  <a:lnTo>
                    <a:pt x="2777237" y="202959"/>
                  </a:lnTo>
                  <a:lnTo>
                    <a:pt x="2777287" y="202959"/>
                  </a:lnTo>
                  <a:lnTo>
                    <a:pt x="2777287" y="202260"/>
                  </a:lnTo>
                  <a:lnTo>
                    <a:pt x="2777287" y="202959"/>
                  </a:lnTo>
                  <a:lnTo>
                    <a:pt x="2777287" y="202260"/>
                  </a:lnTo>
                  <a:lnTo>
                    <a:pt x="2777389" y="202260"/>
                  </a:lnTo>
                  <a:lnTo>
                    <a:pt x="2777389" y="200228"/>
                  </a:lnTo>
                  <a:lnTo>
                    <a:pt x="2777440" y="200228"/>
                  </a:lnTo>
                  <a:lnTo>
                    <a:pt x="2777440" y="197447"/>
                  </a:lnTo>
                  <a:lnTo>
                    <a:pt x="2777440" y="199530"/>
                  </a:lnTo>
                  <a:lnTo>
                    <a:pt x="2777490" y="200228"/>
                  </a:lnTo>
                  <a:lnTo>
                    <a:pt x="2777490" y="197447"/>
                  </a:lnTo>
                  <a:lnTo>
                    <a:pt x="2777490" y="200876"/>
                  </a:lnTo>
                  <a:lnTo>
                    <a:pt x="2777541" y="200876"/>
                  </a:lnTo>
                  <a:lnTo>
                    <a:pt x="2777541" y="199530"/>
                  </a:lnTo>
                  <a:lnTo>
                    <a:pt x="2777541" y="202260"/>
                  </a:lnTo>
                  <a:lnTo>
                    <a:pt x="2777541" y="200876"/>
                  </a:lnTo>
                  <a:lnTo>
                    <a:pt x="2777630" y="202260"/>
                  </a:lnTo>
                  <a:lnTo>
                    <a:pt x="2777630" y="200876"/>
                  </a:lnTo>
                  <a:lnTo>
                    <a:pt x="2777630" y="202260"/>
                  </a:lnTo>
                  <a:lnTo>
                    <a:pt x="2777681" y="202260"/>
                  </a:lnTo>
                  <a:lnTo>
                    <a:pt x="2777681" y="202959"/>
                  </a:lnTo>
                  <a:lnTo>
                    <a:pt x="2777681" y="202260"/>
                  </a:lnTo>
                  <a:lnTo>
                    <a:pt x="2777732" y="202959"/>
                  </a:lnTo>
                  <a:lnTo>
                    <a:pt x="2777732" y="202260"/>
                  </a:lnTo>
                  <a:lnTo>
                    <a:pt x="2777732" y="202959"/>
                  </a:lnTo>
                  <a:lnTo>
                    <a:pt x="2777732" y="202260"/>
                  </a:lnTo>
                  <a:lnTo>
                    <a:pt x="2777732" y="203594"/>
                  </a:lnTo>
                  <a:lnTo>
                    <a:pt x="2777732" y="202260"/>
                  </a:lnTo>
                  <a:lnTo>
                    <a:pt x="2777732" y="202959"/>
                  </a:lnTo>
                  <a:lnTo>
                    <a:pt x="2777783" y="202260"/>
                  </a:lnTo>
                  <a:lnTo>
                    <a:pt x="2777783" y="202959"/>
                  </a:lnTo>
                  <a:lnTo>
                    <a:pt x="2777783" y="202260"/>
                  </a:lnTo>
                  <a:lnTo>
                    <a:pt x="2777783" y="202959"/>
                  </a:lnTo>
                  <a:lnTo>
                    <a:pt x="2777783" y="202260"/>
                  </a:lnTo>
                  <a:lnTo>
                    <a:pt x="2777783" y="202959"/>
                  </a:lnTo>
                  <a:lnTo>
                    <a:pt x="2777783" y="202260"/>
                  </a:lnTo>
                  <a:lnTo>
                    <a:pt x="2777783" y="202959"/>
                  </a:lnTo>
                  <a:lnTo>
                    <a:pt x="2777783" y="202260"/>
                  </a:lnTo>
                  <a:lnTo>
                    <a:pt x="2777884" y="202260"/>
                  </a:lnTo>
                  <a:lnTo>
                    <a:pt x="2777884" y="200228"/>
                  </a:lnTo>
                  <a:lnTo>
                    <a:pt x="2777935" y="200228"/>
                  </a:lnTo>
                  <a:lnTo>
                    <a:pt x="2777935" y="197447"/>
                  </a:lnTo>
                  <a:lnTo>
                    <a:pt x="2777935" y="200228"/>
                  </a:lnTo>
                  <a:lnTo>
                    <a:pt x="2777935" y="199530"/>
                  </a:lnTo>
                  <a:lnTo>
                    <a:pt x="2777986" y="199530"/>
                  </a:lnTo>
                  <a:lnTo>
                    <a:pt x="2777986" y="197447"/>
                  </a:lnTo>
                  <a:lnTo>
                    <a:pt x="2777986" y="200876"/>
                  </a:lnTo>
                  <a:lnTo>
                    <a:pt x="2777986" y="200228"/>
                  </a:lnTo>
                  <a:lnTo>
                    <a:pt x="2778087" y="200228"/>
                  </a:lnTo>
                  <a:lnTo>
                    <a:pt x="2778087" y="199530"/>
                  </a:lnTo>
                  <a:lnTo>
                    <a:pt x="2778087" y="202260"/>
                  </a:lnTo>
                  <a:lnTo>
                    <a:pt x="2778087" y="200228"/>
                  </a:lnTo>
                  <a:lnTo>
                    <a:pt x="2778126" y="200228"/>
                  </a:lnTo>
                  <a:lnTo>
                    <a:pt x="2778126" y="200876"/>
                  </a:lnTo>
                  <a:lnTo>
                    <a:pt x="2778126" y="200228"/>
                  </a:lnTo>
                  <a:lnTo>
                    <a:pt x="2778126" y="200876"/>
                  </a:lnTo>
                  <a:lnTo>
                    <a:pt x="2778126" y="200228"/>
                  </a:lnTo>
                  <a:lnTo>
                    <a:pt x="2778176" y="200876"/>
                  </a:lnTo>
                  <a:lnTo>
                    <a:pt x="2778176" y="200228"/>
                  </a:lnTo>
                  <a:lnTo>
                    <a:pt x="2778176" y="200876"/>
                  </a:lnTo>
                  <a:lnTo>
                    <a:pt x="2778176" y="200228"/>
                  </a:lnTo>
                  <a:lnTo>
                    <a:pt x="2778176" y="202260"/>
                  </a:lnTo>
                  <a:lnTo>
                    <a:pt x="2778227" y="200876"/>
                  </a:lnTo>
                  <a:lnTo>
                    <a:pt x="2778227" y="202260"/>
                  </a:lnTo>
                  <a:lnTo>
                    <a:pt x="2778227" y="200876"/>
                  </a:lnTo>
                  <a:lnTo>
                    <a:pt x="2778227" y="202260"/>
                  </a:lnTo>
                  <a:lnTo>
                    <a:pt x="2778227" y="200876"/>
                  </a:lnTo>
                  <a:lnTo>
                    <a:pt x="2778227" y="202260"/>
                  </a:lnTo>
                  <a:lnTo>
                    <a:pt x="2778329" y="202260"/>
                  </a:lnTo>
                  <a:lnTo>
                    <a:pt x="2778329" y="200876"/>
                  </a:lnTo>
                  <a:lnTo>
                    <a:pt x="2778329" y="202260"/>
                  </a:lnTo>
                  <a:lnTo>
                    <a:pt x="2778380" y="202260"/>
                  </a:lnTo>
                  <a:lnTo>
                    <a:pt x="2778380" y="199530"/>
                  </a:lnTo>
                  <a:lnTo>
                    <a:pt x="2778380" y="200228"/>
                  </a:lnTo>
                  <a:lnTo>
                    <a:pt x="2778380" y="199530"/>
                  </a:lnTo>
                  <a:lnTo>
                    <a:pt x="2778430" y="199530"/>
                  </a:lnTo>
                  <a:lnTo>
                    <a:pt x="2778430" y="197447"/>
                  </a:lnTo>
                  <a:lnTo>
                    <a:pt x="2778430" y="199530"/>
                  </a:lnTo>
                  <a:lnTo>
                    <a:pt x="2778430" y="198831"/>
                  </a:lnTo>
                  <a:lnTo>
                    <a:pt x="2778532" y="198831"/>
                  </a:lnTo>
                  <a:lnTo>
                    <a:pt x="2778532" y="197447"/>
                  </a:lnTo>
                  <a:lnTo>
                    <a:pt x="2778532" y="200876"/>
                  </a:lnTo>
                  <a:lnTo>
                    <a:pt x="2778532" y="199530"/>
                  </a:lnTo>
                  <a:lnTo>
                    <a:pt x="2778583" y="199530"/>
                  </a:lnTo>
                  <a:lnTo>
                    <a:pt x="2778583" y="200876"/>
                  </a:lnTo>
                  <a:lnTo>
                    <a:pt x="2778583" y="200228"/>
                  </a:lnTo>
                  <a:lnTo>
                    <a:pt x="2778633" y="200876"/>
                  </a:lnTo>
                  <a:lnTo>
                    <a:pt x="2778633" y="200228"/>
                  </a:lnTo>
                  <a:lnTo>
                    <a:pt x="2778633" y="200876"/>
                  </a:lnTo>
                  <a:lnTo>
                    <a:pt x="2778633" y="200228"/>
                  </a:lnTo>
                  <a:lnTo>
                    <a:pt x="2778672" y="200876"/>
                  </a:lnTo>
                  <a:lnTo>
                    <a:pt x="2778672" y="202260"/>
                  </a:lnTo>
                  <a:lnTo>
                    <a:pt x="2778672" y="200876"/>
                  </a:lnTo>
                  <a:lnTo>
                    <a:pt x="2778672" y="202260"/>
                  </a:lnTo>
                  <a:lnTo>
                    <a:pt x="2778672" y="200876"/>
                  </a:lnTo>
                  <a:lnTo>
                    <a:pt x="2778773" y="200876"/>
                  </a:lnTo>
                  <a:lnTo>
                    <a:pt x="2778773" y="202260"/>
                  </a:lnTo>
                  <a:lnTo>
                    <a:pt x="2778773" y="200876"/>
                  </a:lnTo>
                  <a:lnTo>
                    <a:pt x="2778773" y="202260"/>
                  </a:lnTo>
                  <a:lnTo>
                    <a:pt x="2778773" y="200876"/>
                  </a:lnTo>
                  <a:lnTo>
                    <a:pt x="2778824" y="200876"/>
                  </a:lnTo>
                  <a:lnTo>
                    <a:pt x="2778824" y="202260"/>
                  </a:lnTo>
                  <a:lnTo>
                    <a:pt x="2778824" y="200228"/>
                  </a:lnTo>
                  <a:lnTo>
                    <a:pt x="2778824" y="200876"/>
                  </a:lnTo>
                  <a:lnTo>
                    <a:pt x="2778824" y="200228"/>
                  </a:lnTo>
                  <a:lnTo>
                    <a:pt x="2778875" y="200228"/>
                  </a:lnTo>
                  <a:lnTo>
                    <a:pt x="2778875" y="197447"/>
                  </a:lnTo>
                  <a:lnTo>
                    <a:pt x="2778976" y="197447"/>
                  </a:lnTo>
                  <a:lnTo>
                    <a:pt x="2778976" y="196799"/>
                  </a:lnTo>
                  <a:lnTo>
                    <a:pt x="2778976" y="198831"/>
                  </a:lnTo>
                  <a:lnTo>
                    <a:pt x="2778976" y="197447"/>
                  </a:lnTo>
                  <a:lnTo>
                    <a:pt x="2778976" y="198831"/>
                  </a:lnTo>
                  <a:lnTo>
                    <a:pt x="2778976" y="196799"/>
                  </a:lnTo>
                  <a:lnTo>
                    <a:pt x="2779027" y="196799"/>
                  </a:lnTo>
                  <a:lnTo>
                    <a:pt x="2779027" y="200228"/>
                  </a:lnTo>
                  <a:lnTo>
                    <a:pt x="2779027" y="197447"/>
                  </a:lnTo>
                  <a:lnTo>
                    <a:pt x="2779078" y="197447"/>
                  </a:lnTo>
                  <a:lnTo>
                    <a:pt x="2779078" y="199530"/>
                  </a:lnTo>
                  <a:lnTo>
                    <a:pt x="2779078" y="198831"/>
                  </a:lnTo>
                  <a:lnTo>
                    <a:pt x="2779129" y="198831"/>
                  </a:lnTo>
                  <a:lnTo>
                    <a:pt x="2779129" y="199530"/>
                  </a:lnTo>
                  <a:lnTo>
                    <a:pt x="2779129" y="198831"/>
                  </a:lnTo>
                  <a:lnTo>
                    <a:pt x="2779129" y="199530"/>
                  </a:lnTo>
                  <a:lnTo>
                    <a:pt x="2779129" y="198831"/>
                  </a:lnTo>
                  <a:lnTo>
                    <a:pt x="2779129" y="199530"/>
                  </a:lnTo>
                  <a:lnTo>
                    <a:pt x="2779129" y="198831"/>
                  </a:lnTo>
                  <a:lnTo>
                    <a:pt x="2779129" y="199530"/>
                  </a:lnTo>
                  <a:lnTo>
                    <a:pt x="2779218" y="198831"/>
                  </a:lnTo>
                  <a:lnTo>
                    <a:pt x="2779218" y="200228"/>
                  </a:lnTo>
                  <a:lnTo>
                    <a:pt x="2779319" y="200228"/>
                  </a:lnTo>
                  <a:lnTo>
                    <a:pt x="2779319" y="200876"/>
                  </a:lnTo>
                  <a:lnTo>
                    <a:pt x="2779319" y="200228"/>
                  </a:lnTo>
                  <a:lnTo>
                    <a:pt x="2779319" y="200876"/>
                  </a:lnTo>
                  <a:lnTo>
                    <a:pt x="2779319" y="200228"/>
                  </a:lnTo>
                  <a:lnTo>
                    <a:pt x="2779319" y="200876"/>
                  </a:lnTo>
                  <a:lnTo>
                    <a:pt x="2779319" y="199530"/>
                  </a:lnTo>
                  <a:lnTo>
                    <a:pt x="2779319" y="200228"/>
                  </a:lnTo>
                  <a:lnTo>
                    <a:pt x="2779370" y="200228"/>
                  </a:lnTo>
                  <a:lnTo>
                    <a:pt x="2779370" y="197447"/>
                  </a:lnTo>
                  <a:lnTo>
                    <a:pt x="2779472" y="197447"/>
                  </a:lnTo>
                  <a:lnTo>
                    <a:pt x="2779472" y="199530"/>
                  </a:lnTo>
                  <a:lnTo>
                    <a:pt x="2779472" y="196799"/>
                  </a:lnTo>
                  <a:lnTo>
                    <a:pt x="2779472" y="198831"/>
                  </a:lnTo>
                  <a:lnTo>
                    <a:pt x="2779522" y="198831"/>
                  </a:lnTo>
                  <a:lnTo>
                    <a:pt x="2779522" y="200876"/>
                  </a:lnTo>
                  <a:lnTo>
                    <a:pt x="2779522" y="200228"/>
                  </a:lnTo>
                  <a:lnTo>
                    <a:pt x="2779522" y="200876"/>
                  </a:lnTo>
                  <a:lnTo>
                    <a:pt x="2779522" y="198831"/>
                  </a:lnTo>
                  <a:lnTo>
                    <a:pt x="2779522" y="200228"/>
                  </a:lnTo>
                  <a:lnTo>
                    <a:pt x="2779573" y="200228"/>
                  </a:lnTo>
                  <a:lnTo>
                    <a:pt x="2779573" y="200876"/>
                  </a:lnTo>
                  <a:lnTo>
                    <a:pt x="2779573" y="199530"/>
                  </a:lnTo>
                  <a:lnTo>
                    <a:pt x="2779573" y="200228"/>
                  </a:lnTo>
                  <a:lnTo>
                    <a:pt x="2779675" y="200228"/>
                  </a:lnTo>
                  <a:lnTo>
                    <a:pt x="2779675" y="199530"/>
                  </a:lnTo>
                  <a:lnTo>
                    <a:pt x="2779675" y="200876"/>
                  </a:lnTo>
                  <a:lnTo>
                    <a:pt x="2779713" y="200876"/>
                  </a:lnTo>
                  <a:lnTo>
                    <a:pt x="2779713" y="200228"/>
                  </a:lnTo>
                  <a:lnTo>
                    <a:pt x="2779713" y="200876"/>
                  </a:lnTo>
                  <a:lnTo>
                    <a:pt x="2779713" y="200228"/>
                  </a:lnTo>
                  <a:lnTo>
                    <a:pt x="2779713" y="200876"/>
                  </a:lnTo>
                  <a:lnTo>
                    <a:pt x="2779764" y="202260"/>
                  </a:lnTo>
                  <a:lnTo>
                    <a:pt x="2779764" y="200876"/>
                  </a:lnTo>
                  <a:lnTo>
                    <a:pt x="2779815" y="200876"/>
                  </a:lnTo>
                  <a:lnTo>
                    <a:pt x="2779815" y="200228"/>
                  </a:lnTo>
                  <a:lnTo>
                    <a:pt x="2779916" y="199530"/>
                  </a:lnTo>
                  <a:lnTo>
                    <a:pt x="2779916" y="198831"/>
                  </a:lnTo>
                  <a:lnTo>
                    <a:pt x="2779916" y="200876"/>
                  </a:lnTo>
                  <a:lnTo>
                    <a:pt x="2779967" y="200876"/>
                  </a:lnTo>
                  <a:lnTo>
                    <a:pt x="2779967" y="199530"/>
                  </a:lnTo>
                  <a:lnTo>
                    <a:pt x="2779967" y="202959"/>
                  </a:lnTo>
                  <a:lnTo>
                    <a:pt x="2780018" y="202260"/>
                  </a:lnTo>
                  <a:lnTo>
                    <a:pt x="2780018" y="200876"/>
                  </a:lnTo>
                  <a:lnTo>
                    <a:pt x="2780018" y="202959"/>
                  </a:lnTo>
                  <a:lnTo>
                    <a:pt x="2780018" y="202260"/>
                  </a:lnTo>
                  <a:lnTo>
                    <a:pt x="2780119" y="202260"/>
                  </a:lnTo>
                  <a:lnTo>
                    <a:pt x="2780119" y="200876"/>
                  </a:lnTo>
                  <a:lnTo>
                    <a:pt x="2780119" y="202959"/>
                  </a:lnTo>
                  <a:lnTo>
                    <a:pt x="2780119" y="200876"/>
                  </a:lnTo>
                  <a:lnTo>
                    <a:pt x="2780170" y="200876"/>
                  </a:lnTo>
                  <a:lnTo>
                    <a:pt x="2780170" y="202260"/>
                  </a:lnTo>
                  <a:lnTo>
                    <a:pt x="2780170" y="200876"/>
                  </a:lnTo>
                  <a:lnTo>
                    <a:pt x="2780170" y="202260"/>
                  </a:lnTo>
                  <a:lnTo>
                    <a:pt x="2780170" y="200876"/>
                  </a:lnTo>
                  <a:lnTo>
                    <a:pt x="2780221" y="200876"/>
                  </a:lnTo>
                  <a:lnTo>
                    <a:pt x="2780221" y="202260"/>
                  </a:lnTo>
                  <a:lnTo>
                    <a:pt x="2780221" y="200876"/>
                  </a:lnTo>
                  <a:lnTo>
                    <a:pt x="2780259" y="200876"/>
                  </a:lnTo>
                  <a:lnTo>
                    <a:pt x="2780259" y="200228"/>
                  </a:lnTo>
                  <a:lnTo>
                    <a:pt x="2780259" y="200876"/>
                  </a:lnTo>
                  <a:lnTo>
                    <a:pt x="2780259" y="200228"/>
                  </a:lnTo>
                  <a:lnTo>
                    <a:pt x="2780361" y="200228"/>
                  </a:lnTo>
                  <a:lnTo>
                    <a:pt x="2780361" y="197447"/>
                  </a:lnTo>
                  <a:lnTo>
                    <a:pt x="2780412" y="198831"/>
                  </a:lnTo>
                  <a:lnTo>
                    <a:pt x="2780412" y="197447"/>
                  </a:lnTo>
                  <a:lnTo>
                    <a:pt x="2780412" y="200228"/>
                  </a:lnTo>
                  <a:lnTo>
                    <a:pt x="2780412" y="198831"/>
                  </a:lnTo>
                  <a:lnTo>
                    <a:pt x="2780462" y="198831"/>
                  </a:lnTo>
                  <a:lnTo>
                    <a:pt x="2780462" y="202260"/>
                  </a:lnTo>
                  <a:lnTo>
                    <a:pt x="2780462" y="200228"/>
                  </a:lnTo>
                  <a:lnTo>
                    <a:pt x="2780564" y="200228"/>
                  </a:lnTo>
                  <a:lnTo>
                    <a:pt x="2780564" y="202260"/>
                  </a:lnTo>
                  <a:lnTo>
                    <a:pt x="2780564" y="200876"/>
                  </a:lnTo>
                  <a:lnTo>
                    <a:pt x="2780615" y="200228"/>
                  </a:lnTo>
                  <a:lnTo>
                    <a:pt x="2780615" y="202260"/>
                  </a:lnTo>
                  <a:lnTo>
                    <a:pt x="2780615" y="200876"/>
                  </a:lnTo>
                  <a:lnTo>
                    <a:pt x="2780615" y="202260"/>
                  </a:lnTo>
                  <a:lnTo>
                    <a:pt x="2780615" y="200876"/>
                  </a:lnTo>
                  <a:lnTo>
                    <a:pt x="2780615" y="202260"/>
                  </a:lnTo>
                  <a:lnTo>
                    <a:pt x="2780615" y="200876"/>
                  </a:lnTo>
                  <a:lnTo>
                    <a:pt x="2780665" y="200876"/>
                  </a:lnTo>
                  <a:lnTo>
                    <a:pt x="2780665" y="202959"/>
                  </a:lnTo>
                  <a:lnTo>
                    <a:pt x="2780665" y="202260"/>
                  </a:lnTo>
                  <a:lnTo>
                    <a:pt x="2780716" y="202959"/>
                  </a:lnTo>
                  <a:lnTo>
                    <a:pt x="2780716" y="202260"/>
                  </a:lnTo>
                  <a:lnTo>
                    <a:pt x="2780716" y="202959"/>
                  </a:lnTo>
                  <a:lnTo>
                    <a:pt x="2780716" y="202260"/>
                  </a:lnTo>
                  <a:lnTo>
                    <a:pt x="2780805" y="202260"/>
                  </a:lnTo>
                  <a:lnTo>
                    <a:pt x="2780805" y="200228"/>
                  </a:lnTo>
                  <a:lnTo>
                    <a:pt x="2780805" y="200876"/>
                  </a:lnTo>
                  <a:lnTo>
                    <a:pt x="2780805" y="199530"/>
                  </a:lnTo>
                  <a:lnTo>
                    <a:pt x="2780856" y="199530"/>
                  </a:lnTo>
                  <a:lnTo>
                    <a:pt x="2780856" y="198831"/>
                  </a:lnTo>
                  <a:lnTo>
                    <a:pt x="2780856" y="200228"/>
                  </a:lnTo>
                  <a:lnTo>
                    <a:pt x="2780907" y="200228"/>
                  </a:lnTo>
                  <a:lnTo>
                    <a:pt x="2780907" y="199530"/>
                  </a:lnTo>
                  <a:lnTo>
                    <a:pt x="2780907" y="202260"/>
                  </a:lnTo>
                  <a:lnTo>
                    <a:pt x="2780907" y="200876"/>
                  </a:lnTo>
                  <a:lnTo>
                    <a:pt x="2780958" y="202260"/>
                  </a:lnTo>
                  <a:lnTo>
                    <a:pt x="2780958" y="200876"/>
                  </a:lnTo>
                  <a:lnTo>
                    <a:pt x="2780958" y="202260"/>
                  </a:lnTo>
                  <a:lnTo>
                    <a:pt x="2780958" y="200876"/>
                  </a:lnTo>
                  <a:lnTo>
                    <a:pt x="2780958" y="202260"/>
                  </a:lnTo>
                  <a:lnTo>
                    <a:pt x="2781059" y="202260"/>
                  </a:lnTo>
                  <a:lnTo>
                    <a:pt x="2781059" y="200876"/>
                  </a:lnTo>
                  <a:lnTo>
                    <a:pt x="2781059" y="202260"/>
                  </a:lnTo>
                  <a:lnTo>
                    <a:pt x="2781059" y="200876"/>
                  </a:lnTo>
                  <a:lnTo>
                    <a:pt x="2781059" y="202260"/>
                  </a:lnTo>
                  <a:lnTo>
                    <a:pt x="2781110" y="202260"/>
                  </a:lnTo>
                  <a:lnTo>
                    <a:pt x="2781110" y="200876"/>
                  </a:lnTo>
                  <a:lnTo>
                    <a:pt x="2781110" y="202260"/>
                  </a:lnTo>
                  <a:lnTo>
                    <a:pt x="2781110" y="200876"/>
                  </a:lnTo>
                  <a:lnTo>
                    <a:pt x="2781161" y="202260"/>
                  </a:lnTo>
                  <a:lnTo>
                    <a:pt x="2781161" y="200876"/>
                  </a:lnTo>
                  <a:lnTo>
                    <a:pt x="2781161" y="202959"/>
                  </a:lnTo>
                  <a:lnTo>
                    <a:pt x="2781161" y="202260"/>
                  </a:lnTo>
                  <a:lnTo>
                    <a:pt x="2781161" y="202959"/>
                  </a:lnTo>
                  <a:lnTo>
                    <a:pt x="2781161" y="202260"/>
                  </a:lnTo>
                  <a:lnTo>
                    <a:pt x="2781262" y="202260"/>
                  </a:lnTo>
                  <a:lnTo>
                    <a:pt x="2781262" y="200876"/>
                  </a:lnTo>
                  <a:lnTo>
                    <a:pt x="2781262" y="202260"/>
                  </a:lnTo>
                  <a:lnTo>
                    <a:pt x="2781262" y="200876"/>
                  </a:lnTo>
                  <a:lnTo>
                    <a:pt x="2781262" y="202260"/>
                  </a:lnTo>
                  <a:lnTo>
                    <a:pt x="2781262" y="200876"/>
                  </a:lnTo>
                  <a:lnTo>
                    <a:pt x="2781301" y="200876"/>
                  </a:lnTo>
                  <a:lnTo>
                    <a:pt x="2781301" y="200228"/>
                  </a:lnTo>
                  <a:lnTo>
                    <a:pt x="2781301" y="200876"/>
                  </a:lnTo>
                  <a:lnTo>
                    <a:pt x="2781301" y="198831"/>
                  </a:lnTo>
                  <a:lnTo>
                    <a:pt x="2781351" y="198831"/>
                  </a:lnTo>
                  <a:lnTo>
                    <a:pt x="2781351" y="196799"/>
                  </a:lnTo>
                  <a:lnTo>
                    <a:pt x="2781351" y="198831"/>
                  </a:lnTo>
                  <a:lnTo>
                    <a:pt x="2781402" y="198831"/>
                  </a:lnTo>
                  <a:lnTo>
                    <a:pt x="2781402" y="197447"/>
                  </a:lnTo>
                  <a:lnTo>
                    <a:pt x="2781402" y="200876"/>
                  </a:lnTo>
                  <a:lnTo>
                    <a:pt x="2781504" y="200876"/>
                  </a:lnTo>
                  <a:lnTo>
                    <a:pt x="2781504" y="198831"/>
                  </a:lnTo>
                  <a:lnTo>
                    <a:pt x="2781504" y="200228"/>
                  </a:lnTo>
                  <a:lnTo>
                    <a:pt x="2781555" y="200228"/>
                  </a:lnTo>
                  <a:lnTo>
                    <a:pt x="2781555" y="199530"/>
                  </a:lnTo>
                  <a:lnTo>
                    <a:pt x="2781555" y="200228"/>
                  </a:lnTo>
                  <a:lnTo>
                    <a:pt x="2781555" y="199530"/>
                  </a:lnTo>
                  <a:lnTo>
                    <a:pt x="2781555" y="200876"/>
                  </a:lnTo>
                  <a:lnTo>
                    <a:pt x="2781555" y="200228"/>
                  </a:lnTo>
                  <a:lnTo>
                    <a:pt x="2781555" y="200876"/>
                  </a:lnTo>
                  <a:lnTo>
                    <a:pt x="2781555" y="200228"/>
                  </a:lnTo>
                  <a:lnTo>
                    <a:pt x="2781605" y="200228"/>
                  </a:lnTo>
                  <a:lnTo>
                    <a:pt x="2781605" y="200876"/>
                  </a:lnTo>
                  <a:lnTo>
                    <a:pt x="2781605" y="200228"/>
                  </a:lnTo>
                  <a:lnTo>
                    <a:pt x="2781605" y="202260"/>
                  </a:lnTo>
                  <a:lnTo>
                    <a:pt x="2781605" y="200876"/>
                  </a:lnTo>
                  <a:lnTo>
                    <a:pt x="2781707" y="200876"/>
                  </a:lnTo>
                  <a:lnTo>
                    <a:pt x="2781707" y="202959"/>
                  </a:lnTo>
                  <a:lnTo>
                    <a:pt x="2781707" y="202260"/>
                  </a:lnTo>
                  <a:lnTo>
                    <a:pt x="2781758" y="202260"/>
                  </a:lnTo>
                  <a:lnTo>
                    <a:pt x="2781758" y="200228"/>
                  </a:lnTo>
                  <a:lnTo>
                    <a:pt x="2781808" y="200228"/>
                  </a:lnTo>
                  <a:lnTo>
                    <a:pt x="2781808" y="200876"/>
                  </a:lnTo>
                  <a:lnTo>
                    <a:pt x="2781808" y="198831"/>
                  </a:lnTo>
                  <a:lnTo>
                    <a:pt x="2781847" y="197447"/>
                  </a:lnTo>
                  <a:lnTo>
                    <a:pt x="2781847" y="196799"/>
                  </a:lnTo>
                  <a:lnTo>
                    <a:pt x="2781847" y="198831"/>
                  </a:lnTo>
                  <a:lnTo>
                    <a:pt x="2781948" y="198831"/>
                  </a:lnTo>
                  <a:lnTo>
                    <a:pt x="2781948" y="196113"/>
                  </a:lnTo>
                  <a:lnTo>
                    <a:pt x="2781948" y="200228"/>
                  </a:lnTo>
                  <a:lnTo>
                    <a:pt x="2781948" y="199530"/>
                  </a:lnTo>
                  <a:lnTo>
                    <a:pt x="2781999" y="198831"/>
                  </a:lnTo>
                  <a:lnTo>
                    <a:pt x="2781999" y="197447"/>
                  </a:lnTo>
                  <a:lnTo>
                    <a:pt x="2781999" y="199530"/>
                  </a:lnTo>
                  <a:lnTo>
                    <a:pt x="2781999" y="198831"/>
                  </a:lnTo>
                  <a:lnTo>
                    <a:pt x="2782050" y="197447"/>
                  </a:lnTo>
                  <a:lnTo>
                    <a:pt x="2782050" y="198831"/>
                  </a:lnTo>
                  <a:lnTo>
                    <a:pt x="2782050" y="197447"/>
                  </a:lnTo>
                  <a:lnTo>
                    <a:pt x="2782050" y="199530"/>
                  </a:lnTo>
                  <a:lnTo>
                    <a:pt x="2782050" y="198831"/>
                  </a:lnTo>
                  <a:lnTo>
                    <a:pt x="2782050" y="199530"/>
                  </a:lnTo>
                  <a:lnTo>
                    <a:pt x="2782050" y="198831"/>
                  </a:lnTo>
                  <a:lnTo>
                    <a:pt x="2782151" y="198831"/>
                  </a:lnTo>
                  <a:lnTo>
                    <a:pt x="2782151" y="200228"/>
                  </a:lnTo>
                  <a:lnTo>
                    <a:pt x="2782202" y="200228"/>
                  </a:lnTo>
                  <a:lnTo>
                    <a:pt x="2782202" y="200876"/>
                  </a:lnTo>
                  <a:lnTo>
                    <a:pt x="2782202" y="200228"/>
                  </a:lnTo>
                  <a:lnTo>
                    <a:pt x="2782253" y="200876"/>
                  </a:lnTo>
                  <a:lnTo>
                    <a:pt x="2782253" y="200228"/>
                  </a:lnTo>
                  <a:lnTo>
                    <a:pt x="2782253" y="200876"/>
                  </a:lnTo>
                  <a:lnTo>
                    <a:pt x="2782253" y="200228"/>
                  </a:lnTo>
                  <a:lnTo>
                    <a:pt x="2782253" y="200876"/>
                  </a:lnTo>
                  <a:lnTo>
                    <a:pt x="2782253" y="200228"/>
                  </a:lnTo>
                  <a:lnTo>
                    <a:pt x="2782253" y="200876"/>
                  </a:lnTo>
                  <a:lnTo>
                    <a:pt x="2782253" y="199530"/>
                  </a:lnTo>
                  <a:lnTo>
                    <a:pt x="2782304" y="199530"/>
                  </a:lnTo>
                  <a:lnTo>
                    <a:pt x="2782304" y="198831"/>
                  </a:lnTo>
                  <a:lnTo>
                    <a:pt x="2782393" y="198831"/>
                  </a:lnTo>
                  <a:lnTo>
                    <a:pt x="2782393" y="197447"/>
                  </a:lnTo>
                  <a:lnTo>
                    <a:pt x="2782393" y="199530"/>
                  </a:lnTo>
                  <a:lnTo>
                    <a:pt x="2782393" y="198831"/>
                  </a:lnTo>
                  <a:lnTo>
                    <a:pt x="2782444" y="198831"/>
                  </a:lnTo>
                  <a:lnTo>
                    <a:pt x="2782444" y="197447"/>
                  </a:lnTo>
                  <a:lnTo>
                    <a:pt x="2782444" y="200228"/>
                  </a:lnTo>
                  <a:lnTo>
                    <a:pt x="2782444" y="198831"/>
                  </a:lnTo>
                  <a:lnTo>
                    <a:pt x="2782494" y="198831"/>
                  </a:lnTo>
                  <a:lnTo>
                    <a:pt x="2782494" y="199530"/>
                  </a:lnTo>
                  <a:lnTo>
                    <a:pt x="2782494" y="198831"/>
                  </a:lnTo>
                  <a:lnTo>
                    <a:pt x="2782545" y="198831"/>
                  </a:lnTo>
                  <a:lnTo>
                    <a:pt x="2782545" y="199530"/>
                  </a:lnTo>
                  <a:lnTo>
                    <a:pt x="2782545" y="198831"/>
                  </a:lnTo>
                  <a:lnTo>
                    <a:pt x="2782545" y="200228"/>
                  </a:lnTo>
                  <a:lnTo>
                    <a:pt x="2782647" y="200228"/>
                  </a:lnTo>
                  <a:lnTo>
                    <a:pt x="2782647" y="199530"/>
                  </a:lnTo>
                  <a:lnTo>
                    <a:pt x="2782647" y="200228"/>
                  </a:lnTo>
                  <a:lnTo>
                    <a:pt x="2782647" y="199530"/>
                  </a:lnTo>
                  <a:lnTo>
                    <a:pt x="2782647" y="200876"/>
                  </a:lnTo>
                  <a:lnTo>
                    <a:pt x="2782697" y="200876"/>
                  </a:lnTo>
                  <a:lnTo>
                    <a:pt x="2782697" y="200228"/>
                  </a:lnTo>
                  <a:lnTo>
                    <a:pt x="2782697" y="200876"/>
                  </a:lnTo>
                  <a:lnTo>
                    <a:pt x="2782697" y="200228"/>
                  </a:lnTo>
                  <a:lnTo>
                    <a:pt x="2782697" y="200876"/>
                  </a:lnTo>
                  <a:lnTo>
                    <a:pt x="2782697" y="200228"/>
                  </a:lnTo>
                  <a:lnTo>
                    <a:pt x="2782697" y="200876"/>
                  </a:lnTo>
                  <a:lnTo>
                    <a:pt x="2782697" y="200228"/>
                  </a:lnTo>
                  <a:lnTo>
                    <a:pt x="2782697" y="200876"/>
                  </a:lnTo>
                  <a:lnTo>
                    <a:pt x="2782697" y="200228"/>
                  </a:lnTo>
                  <a:lnTo>
                    <a:pt x="2782697" y="200876"/>
                  </a:lnTo>
                  <a:lnTo>
                    <a:pt x="2782748" y="200876"/>
                  </a:lnTo>
                  <a:lnTo>
                    <a:pt x="2782748" y="200228"/>
                  </a:lnTo>
                  <a:lnTo>
                    <a:pt x="2782748" y="200876"/>
                  </a:lnTo>
                  <a:lnTo>
                    <a:pt x="2782748" y="199530"/>
                  </a:lnTo>
                  <a:lnTo>
                    <a:pt x="2782748" y="200228"/>
                  </a:lnTo>
                  <a:lnTo>
                    <a:pt x="2782748" y="199530"/>
                  </a:lnTo>
                  <a:lnTo>
                    <a:pt x="2782850" y="199530"/>
                  </a:lnTo>
                  <a:lnTo>
                    <a:pt x="2782850" y="198831"/>
                  </a:lnTo>
                  <a:lnTo>
                    <a:pt x="2782888" y="198831"/>
                  </a:lnTo>
                  <a:lnTo>
                    <a:pt x="2782888" y="199530"/>
                  </a:lnTo>
                  <a:lnTo>
                    <a:pt x="2782888" y="197447"/>
                  </a:lnTo>
                  <a:lnTo>
                    <a:pt x="2782888" y="199530"/>
                  </a:lnTo>
                  <a:lnTo>
                    <a:pt x="2782939" y="199530"/>
                  </a:lnTo>
                  <a:lnTo>
                    <a:pt x="2782939" y="197447"/>
                  </a:lnTo>
                  <a:lnTo>
                    <a:pt x="2782939" y="200228"/>
                  </a:lnTo>
                  <a:lnTo>
                    <a:pt x="2782990" y="199530"/>
                  </a:lnTo>
                  <a:lnTo>
                    <a:pt x="2782990" y="198831"/>
                  </a:lnTo>
                  <a:lnTo>
                    <a:pt x="2782990" y="200228"/>
                  </a:lnTo>
                  <a:lnTo>
                    <a:pt x="2782990" y="199530"/>
                  </a:lnTo>
                  <a:lnTo>
                    <a:pt x="2783091" y="198831"/>
                  </a:lnTo>
                  <a:lnTo>
                    <a:pt x="2783091" y="200228"/>
                  </a:lnTo>
                  <a:lnTo>
                    <a:pt x="2783091" y="199530"/>
                  </a:lnTo>
                  <a:lnTo>
                    <a:pt x="2783091" y="200228"/>
                  </a:lnTo>
                  <a:lnTo>
                    <a:pt x="2783091" y="199530"/>
                  </a:lnTo>
                  <a:lnTo>
                    <a:pt x="2783142" y="199530"/>
                  </a:lnTo>
                  <a:lnTo>
                    <a:pt x="2783142" y="200228"/>
                  </a:lnTo>
                  <a:lnTo>
                    <a:pt x="2783142" y="199530"/>
                  </a:lnTo>
                  <a:lnTo>
                    <a:pt x="2783142" y="200228"/>
                  </a:lnTo>
                  <a:lnTo>
                    <a:pt x="2783193" y="200228"/>
                  </a:lnTo>
                  <a:lnTo>
                    <a:pt x="2783193" y="199530"/>
                  </a:lnTo>
                  <a:lnTo>
                    <a:pt x="2783193" y="200228"/>
                  </a:lnTo>
                  <a:lnTo>
                    <a:pt x="2783193" y="199530"/>
                  </a:lnTo>
                  <a:lnTo>
                    <a:pt x="2783193" y="200228"/>
                  </a:lnTo>
                  <a:lnTo>
                    <a:pt x="2783294" y="200228"/>
                  </a:lnTo>
                  <a:lnTo>
                    <a:pt x="2783294" y="199530"/>
                  </a:lnTo>
                  <a:lnTo>
                    <a:pt x="2783294" y="200228"/>
                  </a:lnTo>
                  <a:lnTo>
                    <a:pt x="2783294" y="198831"/>
                  </a:lnTo>
                  <a:lnTo>
                    <a:pt x="2783294" y="199530"/>
                  </a:lnTo>
                  <a:lnTo>
                    <a:pt x="2783294" y="198831"/>
                  </a:lnTo>
                  <a:lnTo>
                    <a:pt x="2783345" y="199530"/>
                  </a:lnTo>
                  <a:lnTo>
                    <a:pt x="2783345" y="197447"/>
                  </a:lnTo>
                  <a:lnTo>
                    <a:pt x="2783345" y="198831"/>
                  </a:lnTo>
                  <a:lnTo>
                    <a:pt x="2783345" y="197447"/>
                  </a:lnTo>
                  <a:lnTo>
                    <a:pt x="2783345" y="198831"/>
                  </a:lnTo>
                  <a:lnTo>
                    <a:pt x="2783345" y="197447"/>
                  </a:lnTo>
                  <a:lnTo>
                    <a:pt x="2783396" y="197447"/>
                  </a:lnTo>
                  <a:lnTo>
                    <a:pt x="2783396" y="196799"/>
                  </a:lnTo>
                  <a:lnTo>
                    <a:pt x="2783396" y="198831"/>
                  </a:lnTo>
                  <a:lnTo>
                    <a:pt x="2783396" y="197447"/>
                  </a:lnTo>
                  <a:lnTo>
                    <a:pt x="2783434" y="197447"/>
                  </a:lnTo>
                  <a:lnTo>
                    <a:pt x="2783434" y="199530"/>
                  </a:lnTo>
                  <a:lnTo>
                    <a:pt x="2783434" y="198831"/>
                  </a:lnTo>
                  <a:lnTo>
                    <a:pt x="2783434" y="200228"/>
                  </a:lnTo>
                  <a:lnTo>
                    <a:pt x="2783434" y="198831"/>
                  </a:lnTo>
                  <a:lnTo>
                    <a:pt x="2783536" y="198831"/>
                  </a:lnTo>
                  <a:lnTo>
                    <a:pt x="2783536" y="200228"/>
                  </a:lnTo>
                  <a:lnTo>
                    <a:pt x="2783536" y="199530"/>
                  </a:lnTo>
                  <a:lnTo>
                    <a:pt x="2783536" y="200228"/>
                  </a:lnTo>
                  <a:lnTo>
                    <a:pt x="2783536" y="198831"/>
                  </a:lnTo>
                  <a:lnTo>
                    <a:pt x="2783536" y="199530"/>
                  </a:lnTo>
                  <a:lnTo>
                    <a:pt x="2783587" y="199530"/>
                  </a:lnTo>
                  <a:lnTo>
                    <a:pt x="2783587" y="200228"/>
                  </a:lnTo>
                  <a:lnTo>
                    <a:pt x="2783587" y="199530"/>
                  </a:lnTo>
                  <a:lnTo>
                    <a:pt x="2783587" y="200228"/>
                  </a:lnTo>
                  <a:lnTo>
                    <a:pt x="2783637" y="200228"/>
                  </a:lnTo>
                  <a:lnTo>
                    <a:pt x="2783637" y="200876"/>
                  </a:lnTo>
                  <a:lnTo>
                    <a:pt x="2783637" y="200228"/>
                  </a:lnTo>
                  <a:lnTo>
                    <a:pt x="2783637" y="200876"/>
                  </a:lnTo>
                  <a:lnTo>
                    <a:pt x="2783637" y="200228"/>
                  </a:lnTo>
                  <a:lnTo>
                    <a:pt x="2783637" y="200876"/>
                  </a:lnTo>
                  <a:lnTo>
                    <a:pt x="2783637" y="200228"/>
                  </a:lnTo>
                  <a:lnTo>
                    <a:pt x="2783637" y="200876"/>
                  </a:lnTo>
                  <a:lnTo>
                    <a:pt x="2783637" y="200228"/>
                  </a:lnTo>
                  <a:lnTo>
                    <a:pt x="2783739" y="200228"/>
                  </a:lnTo>
                  <a:lnTo>
                    <a:pt x="2783739" y="200876"/>
                  </a:lnTo>
                  <a:lnTo>
                    <a:pt x="2783739" y="200228"/>
                  </a:lnTo>
                  <a:lnTo>
                    <a:pt x="2783739" y="200876"/>
                  </a:lnTo>
                  <a:lnTo>
                    <a:pt x="2783739" y="199530"/>
                  </a:lnTo>
                  <a:lnTo>
                    <a:pt x="2783739" y="200228"/>
                  </a:lnTo>
                  <a:lnTo>
                    <a:pt x="2783790" y="200228"/>
                  </a:lnTo>
                  <a:lnTo>
                    <a:pt x="2783790" y="199530"/>
                  </a:lnTo>
                  <a:lnTo>
                    <a:pt x="2783790" y="200228"/>
                  </a:lnTo>
                  <a:lnTo>
                    <a:pt x="2783790" y="199530"/>
                  </a:lnTo>
                  <a:lnTo>
                    <a:pt x="2783840" y="199530"/>
                  </a:lnTo>
                  <a:lnTo>
                    <a:pt x="2783840" y="197447"/>
                  </a:lnTo>
                  <a:lnTo>
                    <a:pt x="2783840" y="198831"/>
                  </a:lnTo>
                  <a:lnTo>
                    <a:pt x="2783840" y="197447"/>
                  </a:lnTo>
                  <a:lnTo>
                    <a:pt x="2783840" y="198831"/>
                  </a:lnTo>
                  <a:lnTo>
                    <a:pt x="2783840" y="197447"/>
                  </a:lnTo>
                  <a:lnTo>
                    <a:pt x="2783891" y="197447"/>
                  </a:lnTo>
                  <a:lnTo>
                    <a:pt x="2783891" y="196799"/>
                  </a:lnTo>
                  <a:lnTo>
                    <a:pt x="2783891" y="199530"/>
                  </a:lnTo>
                  <a:lnTo>
                    <a:pt x="2783891" y="196799"/>
                  </a:lnTo>
                  <a:lnTo>
                    <a:pt x="2783891" y="197447"/>
                  </a:lnTo>
                  <a:lnTo>
                    <a:pt x="2783980" y="197447"/>
                  </a:lnTo>
                  <a:lnTo>
                    <a:pt x="2783980" y="199530"/>
                  </a:lnTo>
                  <a:lnTo>
                    <a:pt x="2783980" y="198831"/>
                  </a:lnTo>
                  <a:lnTo>
                    <a:pt x="2783980" y="199530"/>
                  </a:lnTo>
                  <a:lnTo>
                    <a:pt x="2784031" y="199530"/>
                  </a:lnTo>
                  <a:lnTo>
                    <a:pt x="2784031" y="200228"/>
                  </a:lnTo>
                  <a:lnTo>
                    <a:pt x="2784031" y="199530"/>
                  </a:lnTo>
                  <a:lnTo>
                    <a:pt x="2784031" y="200228"/>
                  </a:lnTo>
                  <a:lnTo>
                    <a:pt x="2784031" y="199530"/>
                  </a:lnTo>
                  <a:lnTo>
                    <a:pt x="2784031" y="200228"/>
                  </a:lnTo>
                  <a:lnTo>
                    <a:pt x="2784031" y="199530"/>
                  </a:lnTo>
                  <a:lnTo>
                    <a:pt x="2784082" y="200228"/>
                  </a:lnTo>
                  <a:lnTo>
                    <a:pt x="2784133" y="200876"/>
                  </a:lnTo>
                  <a:lnTo>
                    <a:pt x="2784133" y="200228"/>
                  </a:lnTo>
                  <a:lnTo>
                    <a:pt x="2784133" y="200876"/>
                  </a:lnTo>
                  <a:lnTo>
                    <a:pt x="2784133" y="199530"/>
                  </a:lnTo>
                  <a:lnTo>
                    <a:pt x="2784133" y="200876"/>
                  </a:lnTo>
                  <a:lnTo>
                    <a:pt x="2784133" y="200228"/>
                  </a:lnTo>
                  <a:lnTo>
                    <a:pt x="2784234" y="200228"/>
                  </a:lnTo>
                  <a:lnTo>
                    <a:pt x="2784234" y="199530"/>
                  </a:lnTo>
                  <a:lnTo>
                    <a:pt x="2784234" y="200228"/>
                  </a:lnTo>
                  <a:lnTo>
                    <a:pt x="2784285" y="200228"/>
                  </a:lnTo>
                  <a:lnTo>
                    <a:pt x="2784285" y="199530"/>
                  </a:lnTo>
                  <a:lnTo>
                    <a:pt x="2784285" y="200228"/>
                  </a:lnTo>
                  <a:lnTo>
                    <a:pt x="2784285" y="199530"/>
                  </a:lnTo>
                  <a:lnTo>
                    <a:pt x="2784285" y="200228"/>
                  </a:lnTo>
                  <a:lnTo>
                    <a:pt x="2784285" y="198831"/>
                  </a:lnTo>
                  <a:lnTo>
                    <a:pt x="2784336" y="198831"/>
                  </a:lnTo>
                  <a:lnTo>
                    <a:pt x="2784336" y="197447"/>
                  </a:lnTo>
                  <a:lnTo>
                    <a:pt x="2784336" y="198831"/>
                  </a:lnTo>
                  <a:lnTo>
                    <a:pt x="2784336" y="196799"/>
                  </a:lnTo>
                  <a:lnTo>
                    <a:pt x="2784437" y="196799"/>
                  </a:lnTo>
                  <a:lnTo>
                    <a:pt x="2784437" y="198831"/>
                  </a:lnTo>
                  <a:lnTo>
                    <a:pt x="2784437" y="196113"/>
                  </a:lnTo>
                  <a:lnTo>
                    <a:pt x="2784476" y="196113"/>
                  </a:lnTo>
                  <a:lnTo>
                    <a:pt x="2784476" y="199530"/>
                  </a:lnTo>
                  <a:lnTo>
                    <a:pt x="2784476" y="197447"/>
                  </a:lnTo>
                  <a:lnTo>
                    <a:pt x="2784476" y="198831"/>
                  </a:lnTo>
                  <a:lnTo>
                    <a:pt x="2784526" y="198831"/>
                  </a:lnTo>
                  <a:lnTo>
                    <a:pt x="2784526" y="200228"/>
                  </a:lnTo>
                  <a:lnTo>
                    <a:pt x="2784526" y="198831"/>
                  </a:lnTo>
                  <a:lnTo>
                    <a:pt x="2784526" y="199530"/>
                  </a:lnTo>
                  <a:lnTo>
                    <a:pt x="2784577" y="199530"/>
                  </a:lnTo>
                  <a:lnTo>
                    <a:pt x="2784577" y="200228"/>
                  </a:lnTo>
                  <a:lnTo>
                    <a:pt x="2784577" y="199530"/>
                  </a:lnTo>
                  <a:lnTo>
                    <a:pt x="2784679" y="199530"/>
                  </a:lnTo>
                  <a:lnTo>
                    <a:pt x="2784679" y="200228"/>
                  </a:lnTo>
                  <a:lnTo>
                    <a:pt x="2784679" y="199530"/>
                  </a:lnTo>
                  <a:lnTo>
                    <a:pt x="2784679" y="200228"/>
                  </a:lnTo>
                  <a:lnTo>
                    <a:pt x="2784679" y="199530"/>
                  </a:lnTo>
                  <a:lnTo>
                    <a:pt x="2784679" y="200228"/>
                  </a:lnTo>
                  <a:lnTo>
                    <a:pt x="2784679" y="199530"/>
                  </a:lnTo>
                  <a:lnTo>
                    <a:pt x="2784679" y="200228"/>
                  </a:lnTo>
                  <a:lnTo>
                    <a:pt x="2784780" y="200228"/>
                  </a:lnTo>
                  <a:lnTo>
                    <a:pt x="2784780" y="199530"/>
                  </a:lnTo>
                  <a:lnTo>
                    <a:pt x="2784780" y="200228"/>
                  </a:lnTo>
                  <a:lnTo>
                    <a:pt x="2784780" y="199530"/>
                  </a:lnTo>
                  <a:lnTo>
                    <a:pt x="2784780" y="200228"/>
                  </a:lnTo>
                  <a:lnTo>
                    <a:pt x="2784780" y="199530"/>
                  </a:lnTo>
                  <a:lnTo>
                    <a:pt x="2784780" y="200228"/>
                  </a:lnTo>
                  <a:lnTo>
                    <a:pt x="2784780" y="199530"/>
                  </a:lnTo>
                  <a:lnTo>
                    <a:pt x="2784882" y="198831"/>
                  </a:lnTo>
                  <a:lnTo>
                    <a:pt x="2784882" y="196799"/>
                  </a:lnTo>
                  <a:lnTo>
                    <a:pt x="2784933" y="196799"/>
                  </a:lnTo>
                  <a:lnTo>
                    <a:pt x="2784933" y="198831"/>
                  </a:lnTo>
                  <a:lnTo>
                    <a:pt x="2784933" y="195415"/>
                  </a:lnTo>
                  <a:lnTo>
                    <a:pt x="2784933" y="196113"/>
                  </a:lnTo>
                  <a:lnTo>
                    <a:pt x="2784933" y="195415"/>
                  </a:lnTo>
                  <a:lnTo>
                    <a:pt x="2784933" y="198831"/>
                  </a:lnTo>
                  <a:lnTo>
                    <a:pt x="2784983" y="198831"/>
                  </a:lnTo>
                  <a:lnTo>
                    <a:pt x="2784983" y="197447"/>
                  </a:lnTo>
                  <a:lnTo>
                    <a:pt x="2784983" y="198831"/>
                  </a:lnTo>
                  <a:lnTo>
                    <a:pt x="2784983" y="196799"/>
                  </a:lnTo>
                  <a:lnTo>
                    <a:pt x="2784983" y="198831"/>
                  </a:lnTo>
                  <a:lnTo>
                    <a:pt x="2785022" y="199530"/>
                  </a:lnTo>
                  <a:lnTo>
                    <a:pt x="2785022" y="197447"/>
                  </a:lnTo>
                  <a:lnTo>
                    <a:pt x="2785022" y="199530"/>
                  </a:lnTo>
                  <a:lnTo>
                    <a:pt x="2785123" y="199530"/>
                  </a:lnTo>
                  <a:lnTo>
                    <a:pt x="2785123" y="198831"/>
                  </a:lnTo>
                  <a:lnTo>
                    <a:pt x="2785123" y="199530"/>
                  </a:lnTo>
                  <a:lnTo>
                    <a:pt x="2785174" y="199530"/>
                  </a:lnTo>
                  <a:lnTo>
                    <a:pt x="2785174" y="198831"/>
                  </a:lnTo>
                  <a:lnTo>
                    <a:pt x="2785225" y="198831"/>
                  </a:lnTo>
                  <a:lnTo>
                    <a:pt x="2785225" y="200228"/>
                  </a:lnTo>
                  <a:lnTo>
                    <a:pt x="2785225" y="199530"/>
                  </a:lnTo>
                  <a:lnTo>
                    <a:pt x="2785225" y="200228"/>
                  </a:lnTo>
                  <a:lnTo>
                    <a:pt x="2785326" y="200228"/>
                  </a:lnTo>
                  <a:lnTo>
                    <a:pt x="2785326" y="199530"/>
                  </a:lnTo>
                  <a:lnTo>
                    <a:pt x="2785326" y="200228"/>
                  </a:lnTo>
                  <a:lnTo>
                    <a:pt x="2785326" y="198831"/>
                  </a:lnTo>
                  <a:lnTo>
                    <a:pt x="2785377" y="199530"/>
                  </a:lnTo>
                  <a:lnTo>
                    <a:pt x="2785377" y="200228"/>
                  </a:lnTo>
                  <a:lnTo>
                    <a:pt x="2785377" y="199530"/>
                  </a:lnTo>
                  <a:lnTo>
                    <a:pt x="2785377" y="200228"/>
                  </a:lnTo>
                  <a:lnTo>
                    <a:pt x="2785428" y="200876"/>
                  </a:lnTo>
                  <a:lnTo>
                    <a:pt x="2785428" y="202959"/>
                  </a:lnTo>
                  <a:lnTo>
                    <a:pt x="2785428" y="200876"/>
                  </a:lnTo>
                  <a:lnTo>
                    <a:pt x="2785428" y="202260"/>
                  </a:lnTo>
                  <a:lnTo>
                    <a:pt x="2785479" y="202260"/>
                  </a:lnTo>
                  <a:lnTo>
                    <a:pt x="2785479" y="200876"/>
                  </a:lnTo>
                  <a:lnTo>
                    <a:pt x="2785479" y="202260"/>
                  </a:lnTo>
                  <a:lnTo>
                    <a:pt x="2785568" y="202260"/>
                  </a:lnTo>
                  <a:lnTo>
                    <a:pt x="2785568" y="200876"/>
                  </a:lnTo>
                  <a:lnTo>
                    <a:pt x="2785568" y="202260"/>
                  </a:lnTo>
                  <a:lnTo>
                    <a:pt x="2785568" y="200876"/>
                  </a:lnTo>
                  <a:lnTo>
                    <a:pt x="2785568" y="202260"/>
                  </a:lnTo>
                  <a:lnTo>
                    <a:pt x="2785619" y="200876"/>
                  </a:lnTo>
                  <a:lnTo>
                    <a:pt x="2785619" y="202260"/>
                  </a:lnTo>
                  <a:lnTo>
                    <a:pt x="2785619" y="200876"/>
                  </a:lnTo>
                  <a:lnTo>
                    <a:pt x="2785619" y="202260"/>
                  </a:lnTo>
                  <a:lnTo>
                    <a:pt x="2785619" y="200876"/>
                  </a:lnTo>
                  <a:lnTo>
                    <a:pt x="2785619" y="202260"/>
                  </a:lnTo>
                  <a:lnTo>
                    <a:pt x="2785619" y="200876"/>
                  </a:lnTo>
                  <a:lnTo>
                    <a:pt x="2785669" y="200876"/>
                  </a:lnTo>
                  <a:lnTo>
                    <a:pt x="2785669" y="200228"/>
                  </a:lnTo>
                  <a:lnTo>
                    <a:pt x="2785669" y="200876"/>
                  </a:lnTo>
                  <a:lnTo>
                    <a:pt x="2785669" y="200228"/>
                  </a:lnTo>
                  <a:lnTo>
                    <a:pt x="2785720" y="200228"/>
                  </a:lnTo>
                  <a:lnTo>
                    <a:pt x="2785720" y="200876"/>
                  </a:lnTo>
                  <a:lnTo>
                    <a:pt x="2785720" y="199530"/>
                  </a:lnTo>
                  <a:lnTo>
                    <a:pt x="2785720" y="200228"/>
                  </a:lnTo>
                  <a:lnTo>
                    <a:pt x="2785822" y="199530"/>
                  </a:lnTo>
                  <a:lnTo>
                    <a:pt x="2785822" y="197447"/>
                  </a:lnTo>
                  <a:lnTo>
                    <a:pt x="2785872" y="197447"/>
                  </a:lnTo>
                  <a:lnTo>
                    <a:pt x="2785872" y="195415"/>
                  </a:lnTo>
                  <a:lnTo>
                    <a:pt x="2785872" y="196113"/>
                  </a:lnTo>
                  <a:lnTo>
                    <a:pt x="2785872" y="195415"/>
                  </a:lnTo>
                  <a:lnTo>
                    <a:pt x="2785872" y="197447"/>
                  </a:lnTo>
                  <a:lnTo>
                    <a:pt x="2785923" y="197447"/>
                  </a:lnTo>
                  <a:lnTo>
                    <a:pt x="2785923" y="196113"/>
                  </a:lnTo>
                  <a:lnTo>
                    <a:pt x="2785923" y="199530"/>
                  </a:lnTo>
                  <a:lnTo>
                    <a:pt x="2785923" y="198831"/>
                  </a:lnTo>
                  <a:lnTo>
                    <a:pt x="2786025" y="197447"/>
                  </a:lnTo>
                  <a:lnTo>
                    <a:pt x="2786025" y="200228"/>
                  </a:lnTo>
                  <a:lnTo>
                    <a:pt x="2786063" y="199530"/>
                  </a:lnTo>
                  <a:lnTo>
                    <a:pt x="2786063" y="200228"/>
                  </a:lnTo>
                  <a:lnTo>
                    <a:pt x="2786063" y="199530"/>
                  </a:lnTo>
                  <a:lnTo>
                    <a:pt x="2786063" y="200876"/>
                  </a:lnTo>
                  <a:lnTo>
                    <a:pt x="2786063" y="200228"/>
                  </a:lnTo>
                  <a:lnTo>
                    <a:pt x="2786114" y="200228"/>
                  </a:lnTo>
                  <a:lnTo>
                    <a:pt x="2786114" y="200876"/>
                  </a:lnTo>
                  <a:lnTo>
                    <a:pt x="2786114" y="200228"/>
                  </a:lnTo>
                  <a:lnTo>
                    <a:pt x="2786114" y="200876"/>
                  </a:lnTo>
                  <a:lnTo>
                    <a:pt x="2786114" y="200228"/>
                  </a:lnTo>
                  <a:lnTo>
                    <a:pt x="2786165" y="200876"/>
                  </a:lnTo>
                  <a:lnTo>
                    <a:pt x="2786165" y="200228"/>
                  </a:lnTo>
                  <a:lnTo>
                    <a:pt x="2786165" y="200876"/>
                  </a:lnTo>
                  <a:lnTo>
                    <a:pt x="2786266" y="200876"/>
                  </a:lnTo>
                  <a:lnTo>
                    <a:pt x="2786266" y="200228"/>
                  </a:lnTo>
                  <a:lnTo>
                    <a:pt x="2786317" y="199530"/>
                  </a:lnTo>
                  <a:lnTo>
                    <a:pt x="2786317" y="197447"/>
                  </a:lnTo>
                  <a:lnTo>
                    <a:pt x="2786317" y="198831"/>
                  </a:lnTo>
                  <a:lnTo>
                    <a:pt x="2786317" y="197447"/>
                  </a:lnTo>
                  <a:lnTo>
                    <a:pt x="2786317" y="198831"/>
                  </a:lnTo>
                  <a:lnTo>
                    <a:pt x="2786317" y="197447"/>
                  </a:lnTo>
                  <a:lnTo>
                    <a:pt x="2786368" y="197447"/>
                  </a:lnTo>
                  <a:lnTo>
                    <a:pt x="2786368" y="194716"/>
                  </a:lnTo>
                  <a:lnTo>
                    <a:pt x="2786469" y="194716"/>
                  </a:lnTo>
                  <a:lnTo>
                    <a:pt x="2786469" y="191986"/>
                  </a:lnTo>
                  <a:lnTo>
                    <a:pt x="2786469" y="195415"/>
                  </a:lnTo>
                  <a:lnTo>
                    <a:pt x="2786469" y="194716"/>
                  </a:lnTo>
                  <a:lnTo>
                    <a:pt x="2786520" y="194716"/>
                  </a:lnTo>
                  <a:lnTo>
                    <a:pt x="2786520" y="192684"/>
                  </a:lnTo>
                  <a:lnTo>
                    <a:pt x="2786520" y="196799"/>
                  </a:lnTo>
                  <a:lnTo>
                    <a:pt x="2786520" y="196113"/>
                  </a:lnTo>
                  <a:lnTo>
                    <a:pt x="2786520" y="196799"/>
                  </a:lnTo>
                  <a:lnTo>
                    <a:pt x="2786520" y="195415"/>
                  </a:lnTo>
                  <a:lnTo>
                    <a:pt x="2786571" y="195415"/>
                  </a:lnTo>
                  <a:lnTo>
                    <a:pt x="2786571" y="194716"/>
                  </a:lnTo>
                  <a:lnTo>
                    <a:pt x="2786571" y="196113"/>
                  </a:lnTo>
                  <a:lnTo>
                    <a:pt x="2786609" y="196113"/>
                  </a:lnTo>
                  <a:lnTo>
                    <a:pt x="2786609" y="198831"/>
                  </a:lnTo>
                  <a:lnTo>
                    <a:pt x="2786711" y="198831"/>
                  </a:lnTo>
                  <a:lnTo>
                    <a:pt x="2786711" y="199530"/>
                  </a:lnTo>
                  <a:lnTo>
                    <a:pt x="2786711" y="198831"/>
                  </a:lnTo>
                  <a:lnTo>
                    <a:pt x="2786711" y="200228"/>
                  </a:lnTo>
                  <a:lnTo>
                    <a:pt x="2786711" y="199530"/>
                  </a:lnTo>
                  <a:lnTo>
                    <a:pt x="2786711" y="200228"/>
                  </a:lnTo>
                  <a:lnTo>
                    <a:pt x="2786762" y="200228"/>
                  </a:lnTo>
                  <a:lnTo>
                    <a:pt x="2786762" y="202260"/>
                  </a:lnTo>
                  <a:lnTo>
                    <a:pt x="2786762" y="200228"/>
                  </a:lnTo>
                  <a:lnTo>
                    <a:pt x="2786762" y="200876"/>
                  </a:lnTo>
                  <a:lnTo>
                    <a:pt x="2786812" y="200876"/>
                  </a:lnTo>
                  <a:lnTo>
                    <a:pt x="2786812" y="202260"/>
                  </a:lnTo>
                  <a:lnTo>
                    <a:pt x="2786812" y="199530"/>
                  </a:lnTo>
                  <a:lnTo>
                    <a:pt x="2786914" y="199530"/>
                  </a:lnTo>
                  <a:lnTo>
                    <a:pt x="2786914" y="196799"/>
                  </a:lnTo>
                  <a:lnTo>
                    <a:pt x="2786965" y="196799"/>
                  </a:lnTo>
                  <a:lnTo>
                    <a:pt x="2786965" y="195415"/>
                  </a:lnTo>
                  <a:lnTo>
                    <a:pt x="2786965" y="197447"/>
                  </a:lnTo>
                  <a:lnTo>
                    <a:pt x="2786965" y="196113"/>
                  </a:lnTo>
                  <a:lnTo>
                    <a:pt x="2787015" y="196113"/>
                  </a:lnTo>
                  <a:lnTo>
                    <a:pt x="2787015" y="195415"/>
                  </a:lnTo>
                  <a:lnTo>
                    <a:pt x="2787015" y="198831"/>
                  </a:lnTo>
                  <a:lnTo>
                    <a:pt x="2787015" y="196113"/>
                  </a:lnTo>
                  <a:lnTo>
                    <a:pt x="2787066" y="196113"/>
                  </a:lnTo>
                  <a:lnTo>
                    <a:pt x="2787066" y="197447"/>
                  </a:lnTo>
                  <a:lnTo>
                    <a:pt x="2787066" y="196113"/>
                  </a:lnTo>
                  <a:lnTo>
                    <a:pt x="2787066" y="196799"/>
                  </a:lnTo>
                  <a:lnTo>
                    <a:pt x="2787155" y="196799"/>
                  </a:lnTo>
                  <a:lnTo>
                    <a:pt x="2787155" y="198831"/>
                  </a:lnTo>
                  <a:lnTo>
                    <a:pt x="2787155" y="197447"/>
                  </a:lnTo>
                  <a:lnTo>
                    <a:pt x="2787206" y="197447"/>
                  </a:lnTo>
                  <a:lnTo>
                    <a:pt x="2787206" y="199530"/>
                  </a:lnTo>
                  <a:lnTo>
                    <a:pt x="2787257" y="200228"/>
                  </a:lnTo>
                  <a:lnTo>
                    <a:pt x="2787308" y="200228"/>
                  </a:lnTo>
                  <a:lnTo>
                    <a:pt x="2787308" y="199530"/>
                  </a:lnTo>
                  <a:lnTo>
                    <a:pt x="2787308" y="200228"/>
                  </a:lnTo>
                  <a:lnTo>
                    <a:pt x="2787409" y="200228"/>
                  </a:lnTo>
                  <a:lnTo>
                    <a:pt x="2787409" y="198831"/>
                  </a:lnTo>
                  <a:lnTo>
                    <a:pt x="2787409" y="199530"/>
                  </a:lnTo>
                  <a:lnTo>
                    <a:pt x="2787409" y="196799"/>
                  </a:lnTo>
                  <a:lnTo>
                    <a:pt x="2787460" y="196799"/>
                  </a:lnTo>
                  <a:lnTo>
                    <a:pt x="2787460" y="197447"/>
                  </a:lnTo>
                  <a:lnTo>
                    <a:pt x="2787460" y="196799"/>
                  </a:lnTo>
                  <a:lnTo>
                    <a:pt x="2787460" y="197447"/>
                  </a:lnTo>
                  <a:lnTo>
                    <a:pt x="2787460" y="196799"/>
                  </a:lnTo>
                  <a:lnTo>
                    <a:pt x="2787511" y="196799"/>
                  </a:lnTo>
                  <a:lnTo>
                    <a:pt x="2787511" y="196113"/>
                  </a:lnTo>
                  <a:lnTo>
                    <a:pt x="2787511" y="198831"/>
                  </a:lnTo>
                  <a:lnTo>
                    <a:pt x="2787511" y="196799"/>
                  </a:lnTo>
                  <a:lnTo>
                    <a:pt x="2787612" y="196799"/>
                  </a:lnTo>
                  <a:lnTo>
                    <a:pt x="2787612" y="197447"/>
                  </a:lnTo>
                  <a:lnTo>
                    <a:pt x="2787612" y="196799"/>
                  </a:lnTo>
                  <a:lnTo>
                    <a:pt x="2787612" y="197447"/>
                  </a:lnTo>
                  <a:lnTo>
                    <a:pt x="2787651" y="196799"/>
                  </a:lnTo>
                  <a:lnTo>
                    <a:pt x="2787651" y="198831"/>
                  </a:lnTo>
                  <a:lnTo>
                    <a:pt x="2787701" y="198831"/>
                  </a:lnTo>
                  <a:lnTo>
                    <a:pt x="2787701" y="199530"/>
                  </a:lnTo>
                  <a:lnTo>
                    <a:pt x="2787701" y="198831"/>
                  </a:lnTo>
                  <a:lnTo>
                    <a:pt x="2787701" y="200228"/>
                  </a:lnTo>
                  <a:lnTo>
                    <a:pt x="2787752" y="200228"/>
                  </a:lnTo>
                  <a:lnTo>
                    <a:pt x="2787752" y="199530"/>
                  </a:lnTo>
                  <a:lnTo>
                    <a:pt x="2787752" y="200876"/>
                  </a:lnTo>
                  <a:lnTo>
                    <a:pt x="2787854" y="200228"/>
                  </a:lnTo>
                  <a:lnTo>
                    <a:pt x="2787854" y="199530"/>
                  </a:lnTo>
                  <a:lnTo>
                    <a:pt x="2787854" y="200228"/>
                  </a:lnTo>
                  <a:lnTo>
                    <a:pt x="2787854" y="199530"/>
                  </a:lnTo>
                  <a:lnTo>
                    <a:pt x="2787854" y="200228"/>
                  </a:lnTo>
                  <a:lnTo>
                    <a:pt x="2787854" y="199530"/>
                  </a:lnTo>
                  <a:lnTo>
                    <a:pt x="2787905" y="199530"/>
                  </a:lnTo>
                  <a:lnTo>
                    <a:pt x="2787905" y="200228"/>
                  </a:lnTo>
                  <a:lnTo>
                    <a:pt x="2787905" y="198831"/>
                  </a:lnTo>
                  <a:lnTo>
                    <a:pt x="2787905" y="199530"/>
                  </a:lnTo>
                  <a:lnTo>
                    <a:pt x="2787905" y="198831"/>
                  </a:lnTo>
                  <a:lnTo>
                    <a:pt x="2787955" y="197447"/>
                  </a:lnTo>
                  <a:lnTo>
                    <a:pt x="2787955" y="199530"/>
                  </a:lnTo>
                  <a:lnTo>
                    <a:pt x="2787955" y="198831"/>
                  </a:lnTo>
                  <a:lnTo>
                    <a:pt x="2787955" y="199530"/>
                  </a:lnTo>
                  <a:lnTo>
                    <a:pt x="2787955" y="197447"/>
                  </a:lnTo>
                  <a:lnTo>
                    <a:pt x="2788057" y="196799"/>
                  </a:lnTo>
                  <a:lnTo>
                    <a:pt x="2788057" y="200228"/>
                  </a:lnTo>
                  <a:lnTo>
                    <a:pt x="2788057" y="198831"/>
                  </a:lnTo>
                  <a:lnTo>
                    <a:pt x="2788108" y="198831"/>
                  </a:lnTo>
                  <a:lnTo>
                    <a:pt x="2788108" y="200228"/>
                  </a:lnTo>
                  <a:lnTo>
                    <a:pt x="2788108" y="197447"/>
                  </a:lnTo>
                  <a:lnTo>
                    <a:pt x="2788108" y="198831"/>
                  </a:lnTo>
                  <a:lnTo>
                    <a:pt x="2788158" y="198831"/>
                  </a:lnTo>
                  <a:lnTo>
                    <a:pt x="2788158" y="199530"/>
                  </a:lnTo>
                  <a:lnTo>
                    <a:pt x="2788197" y="199530"/>
                  </a:lnTo>
                  <a:lnTo>
                    <a:pt x="2788197" y="198831"/>
                  </a:lnTo>
                  <a:lnTo>
                    <a:pt x="2788197" y="199530"/>
                  </a:lnTo>
                  <a:lnTo>
                    <a:pt x="2788298" y="199530"/>
                  </a:lnTo>
                  <a:lnTo>
                    <a:pt x="2788298" y="200228"/>
                  </a:lnTo>
                  <a:lnTo>
                    <a:pt x="2788349" y="200228"/>
                  </a:lnTo>
                  <a:lnTo>
                    <a:pt x="2788349" y="199530"/>
                  </a:lnTo>
                  <a:lnTo>
                    <a:pt x="2788400" y="199530"/>
                  </a:lnTo>
                  <a:lnTo>
                    <a:pt x="2788400" y="200228"/>
                  </a:lnTo>
                  <a:lnTo>
                    <a:pt x="2788400" y="198831"/>
                  </a:lnTo>
                  <a:lnTo>
                    <a:pt x="2788501" y="198831"/>
                  </a:lnTo>
                  <a:lnTo>
                    <a:pt x="2788501" y="200228"/>
                  </a:lnTo>
                  <a:lnTo>
                    <a:pt x="2788501" y="197447"/>
                  </a:lnTo>
                  <a:lnTo>
                    <a:pt x="2788501" y="198831"/>
                  </a:lnTo>
                  <a:lnTo>
                    <a:pt x="2788501" y="197447"/>
                  </a:lnTo>
                  <a:lnTo>
                    <a:pt x="2788552" y="198831"/>
                  </a:lnTo>
                  <a:lnTo>
                    <a:pt x="2788552" y="200228"/>
                  </a:lnTo>
                  <a:lnTo>
                    <a:pt x="2788552" y="199530"/>
                  </a:lnTo>
                  <a:lnTo>
                    <a:pt x="2788603" y="199530"/>
                  </a:lnTo>
                  <a:lnTo>
                    <a:pt x="2788603" y="200876"/>
                  </a:lnTo>
                  <a:lnTo>
                    <a:pt x="2788603" y="200228"/>
                  </a:lnTo>
                  <a:lnTo>
                    <a:pt x="2788654" y="200228"/>
                  </a:lnTo>
                  <a:lnTo>
                    <a:pt x="2788654" y="202260"/>
                  </a:lnTo>
                  <a:lnTo>
                    <a:pt x="2788654" y="200876"/>
                  </a:lnTo>
                  <a:lnTo>
                    <a:pt x="2788743" y="200876"/>
                  </a:lnTo>
                  <a:lnTo>
                    <a:pt x="2788794" y="200228"/>
                  </a:lnTo>
                  <a:lnTo>
                    <a:pt x="2788794" y="200876"/>
                  </a:lnTo>
                  <a:lnTo>
                    <a:pt x="2788844" y="200876"/>
                  </a:lnTo>
                  <a:lnTo>
                    <a:pt x="2788844" y="199530"/>
                  </a:lnTo>
                  <a:lnTo>
                    <a:pt x="2788844" y="200228"/>
                  </a:lnTo>
                  <a:lnTo>
                    <a:pt x="2788895" y="200876"/>
                  </a:lnTo>
                  <a:lnTo>
                    <a:pt x="2788895" y="202959"/>
                  </a:lnTo>
                  <a:lnTo>
                    <a:pt x="2788895" y="202260"/>
                  </a:lnTo>
                  <a:lnTo>
                    <a:pt x="2788895" y="202959"/>
                  </a:lnTo>
                  <a:lnTo>
                    <a:pt x="2788895" y="200876"/>
                  </a:lnTo>
                  <a:lnTo>
                    <a:pt x="2788895" y="202959"/>
                  </a:lnTo>
                  <a:lnTo>
                    <a:pt x="2788997" y="203594"/>
                  </a:lnTo>
                  <a:lnTo>
                    <a:pt x="2788997" y="204292"/>
                  </a:lnTo>
                  <a:lnTo>
                    <a:pt x="2788997" y="202959"/>
                  </a:lnTo>
                  <a:lnTo>
                    <a:pt x="2788997" y="203594"/>
                  </a:lnTo>
                  <a:lnTo>
                    <a:pt x="2789047" y="203594"/>
                  </a:lnTo>
                  <a:lnTo>
                    <a:pt x="2789047" y="204292"/>
                  </a:lnTo>
                  <a:lnTo>
                    <a:pt x="2789047" y="202959"/>
                  </a:lnTo>
                  <a:lnTo>
                    <a:pt x="2789047" y="204292"/>
                  </a:lnTo>
                  <a:lnTo>
                    <a:pt x="2789098" y="204292"/>
                  </a:lnTo>
                  <a:lnTo>
                    <a:pt x="2789098" y="203594"/>
                  </a:lnTo>
                  <a:lnTo>
                    <a:pt x="2789098" y="204292"/>
                  </a:lnTo>
                  <a:lnTo>
                    <a:pt x="2789098" y="203594"/>
                  </a:lnTo>
                  <a:lnTo>
                    <a:pt x="2789098" y="204292"/>
                  </a:lnTo>
                  <a:lnTo>
                    <a:pt x="2789098" y="203594"/>
                  </a:lnTo>
                  <a:lnTo>
                    <a:pt x="2789200" y="203594"/>
                  </a:lnTo>
                  <a:lnTo>
                    <a:pt x="2789200" y="204292"/>
                  </a:lnTo>
                  <a:lnTo>
                    <a:pt x="2789200" y="202959"/>
                  </a:lnTo>
                  <a:lnTo>
                    <a:pt x="2789238" y="202959"/>
                  </a:lnTo>
                  <a:lnTo>
                    <a:pt x="2789238" y="202260"/>
                  </a:lnTo>
                  <a:lnTo>
                    <a:pt x="2789238" y="202959"/>
                  </a:lnTo>
                  <a:lnTo>
                    <a:pt x="2789238" y="202260"/>
                  </a:lnTo>
                  <a:lnTo>
                    <a:pt x="2789238" y="202959"/>
                  </a:lnTo>
                  <a:lnTo>
                    <a:pt x="2789238" y="200876"/>
                  </a:lnTo>
                  <a:lnTo>
                    <a:pt x="2789289" y="202260"/>
                  </a:lnTo>
                  <a:lnTo>
                    <a:pt x="2789289" y="200228"/>
                  </a:lnTo>
                  <a:lnTo>
                    <a:pt x="2789289" y="202959"/>
                  </a:lnTo>
                  <a:lnTo>
                    <a:pt x="2789340" y="202959"/>
                  </a:lnTo>
                  <a:lnTo>
                    <a:pt x="2789340" y="200876"/>
                  </a:lnTo>
                  <a:lnTo>
                    <a:pt x="2789340" y="206324"/>
                  </a:lnTo>
                  <a:lnTo>
                    <a:pt x="2789441" y="204990"/>
                  </a:lnTo>
                  <a:lnTo>
                    <a:pt x="2789441" y="204292"/>
                  </a:lnTo>
                  <a:lnTo>
                    <a:pt x="2789441" y="206324"/>
                  </a:lnTo>
                  <a:lnTo>
                    <a:pt x="2789492" y="206324"/>
                  </a:lnTo>
                  <a:lnTo>
                    <a:pt x="2789492" y="204990"/>
                  </a:lnTo>
                  <a:lnTo>
                    <a:pt x="2789492" y="206324"/>
                  </a:lnTo>
                  <a:lnTo>
                    <a:pt x="2789492" y="204990"/>
                  </a:lnTo>
                  <a:lnTo>
                    <a:pt x="2789492" y="206324"/>
                  </a:lnTo>
                  <a:lnTo>
                    <a:pt x="2789492" y="204990"/>
                  </a:lnTo>
                  <a:lnTo>
                    <a:pt x="2789492" y="206324"/>
                  </a:lnTo>
                  <a:lnTo>
                    <a:pt x="2789543" y="206324"/>
                  </a:lnTo>
                  <a:lnTo>
                    <a:pt x="2789543" y="204990"/>
                  </a:lnTo>
                  <a:lnTo>
                    <a:pt x="2789543" y="206324"/>
                  </a:lnTo>
                  <a:lnTo>
                    <a:pt x="2789543" y="204990"/>
                  </a:lnTo>
                  <a:lnTo>
                    <a:pt x="2789543" y="206324"/>
                  </a:lnTo>
                  <a:lnTo>
                    <a:pt x="2789543" y="204990"/>
                  </a:lnTo>
                  <a:lnTo>
                    <a:pt x="2789543" y="206324"/>
                  </a:lnTo>
                  <a:lnTo>
                    <a:pt x="2789644" y="206324"/>
                  </a:lnTo>
                  <a:lnTo>
                    <a:pt x="2789644" y="204990"/>
                  </a:lnTo>
                  <a:lnTo>
                    <a:pt x="2789644" y="206324"/>
                  </a:lnTo>
                  <a:lnTo>
                    <a:pt x="2789644" y="204292"/>
                  </a:lnTo>
                  <a:lnTo>
                    <a:pt x="2789644" y="204990"/>
                  </a:lnTo>
                  <a:lnTo>
                    <a:pt x="2789695" y="204990"/>
                  </a:lnTo>
                  <a:lnTo>
                    <a:pt x="2789695" y="203594"/>
                  </a:lnTo>
                  <a:lnTo>
                    <a:pt x="2789746" y="203594"/>
                  </a:lnTo>
                  <a:lnTo>
                    <a:pt x="2789746" y="200876"/>
                  </a:lnTo>
                  <a:lnTo>
                    <a:pt x="2789784" y="200228"/>
                  </a:lnTo>
                  <a:lnTo>
                    <a:pt x="2789784" y="202260"/>
                  </a:lnTo>
                  <a:lnTo>
                    <a:pt x="2789886" y="200876"/>
                  </a:lnTo>
                  <a:lnTo>
                    <a:pt x="2789886" y="200228"/>
                  </a:lnTo>
                  <a:lnTo>
                    <a:pt x="2789886" y="203594"/>
                  </a:lnTo>
                  <a:lnTo>
                    <a:pt x="2789886" y="202959"/>
                  </a:lnTo>
                  <a:lnTo>
                    <a:pt x="2789937" y="202260"/>
                  </a:lnTo>
                  <a:lnTo>
                    <a:pt x="2789937" y="203594"/>
                  </a:lnTo>
                  <a:lnTo>
                    <a:pt x="2789937" y="202959"/>
                  </a:lnTo>
                  <a:lnTo>
                    <a:pt x="2789937" y="203594"/>
                  </a:lnTo>
                  <a:lnTo>
                    <a:pt x="2789937" y="202959"/>
                  </a:lnTo>
                  <a:lnTo>
                    <a:pt x="2789987" y="202959"/>
                  </a:lnTo>
                  <a:lnTo>
                    <a:pt x="2789987" y="203594"/>
                  </a:lnTo>
                  <a:lnTo>
                    <a:pt x="2789987" y="202959"/>
                  </a:lnTo>
                  <a:lnTo>
                    <a:pt x="2789987" y="203594"/>
                  </a:lnTo>
                  <a:lnTo>
                    <a:pt x="2790089" y="203594"/>
                  </a:lnTo>
                  <a:lnTo>
                    <a:pt x="2790089" y="204292"/>
                  </a:lnTo>
                  <a:lnTo>
                    <a:pt x="2790089" y="203594"/>
                  </a:lnTo>
                  <a:lnTo>
                    <a:pt x="2790089" y="204990"/>
                  </a:lnTo>
                  <a:lnTo>
                    <a:pt x="2790089" y="204292"/>
                  </a:lnTo>
                  <a:lnTo>
                    <a:pt x="2790140" y="204292"/>
                  </a:lnTo>
                  <a:lnTo>
                    <a:pt x="2790140" y="204990"/>
                  </a:lnTo>
                  <a:lnTo>
                    <a:pt x="2790190" y="204990"/>
                  </a:lnTo>
                  <a:lnTo>
                    <a:pt x="2790190" y="202959"/>
                  </a:lnTo>
                  <a:lnTo>
                    <a:pt x="2790190" y="203594"/>
                  </a:lnTo>
                  <a:lnTo>
                    <a:pt x="2790190" y="202959"/>
                  </a:lnTo>
                  <a:lnTo>
                    <a:pt x="2790241" y="202959"/>
                  </a:lnTo>
                  <a:lnTo>
                    <a:pt x="2790241" y="202260"/>
                  </a:lnTo>
                  <a:lnTo>
                    <a:pt x="2790241" y="202959"/>
                  </a:lnTo>
                  <a:lnTo>
                    <a:pt x="2790241" y="200228"/>
                  </a:lnTo>
                  <a:lnTo>
                    <a:pt x="2790330" y="200228"/>
                  </a:lnTo>
                  <a:lnTo>
                    <a:pt x="2790330" y="202260"/>
                  </a:lnTo>
                  <a:lnTo>
                    <a:pt x="2790330" y="200228"/>
                  </a:lnTo>
                  <a:lnTo>
                    <a:pt x="2790381" y="200228"/>
                  </a:lnTo>
                  <a:lnTo>
                    <a:pt x="2790381" y="203594"/>
                  </a:lnTo>
                  <a:lnTo>
                    <a:pt x="2790381" y="200876"/>
                  </a:lnTo>
                  <a:lnTo>
                    <a:pt x="2790381" y="202260"/>
                  </a:lnTo>
                  <a:lnTo>
                    <a:pt x="2790432" y="202260"/>
                  </a:lnTo>
                  <a:lnTo>
                    <a:pt x="2790432" y="202959"/>
                  </a:lnTo>
                  <a:lnTo>
                    <a:pt x="2790432" y="200876"/>
                  </a:lnTo>
                  <a:lnTo>
                    <a:pt x="2790432" y="202260"/>
                  </a:lnTo>
                  <a:lnTo>
                    <a:pt x="2790483" y="202260"/>
                  </a:lnTo>
                  <a:lnTo>
                    <a:pt x="2790483" y="202959"/>
                  </a:lnTo>
                  <a:lnTo>
                    <a:pt x="2790483" y="202260"/>
                  </a:lnTo>
                  <a:lnTo>
                    <a:pt x="2790483" y="202959"/>
                  </a:lnTo>
                  <a:lnTo>
                    <a:pt x="2790483" y="202260"/>
                  </a:lnTo>
                  <a:lnTo>
                    <a:pt x="2790483" y="202959"/>
                  </a:lnTo>
                  <a:lnTo>
                    <a:pt x="2790584" y="202959"/>
                  </a:lnTo>
                  <a:lnTo>
                    <a:pt x="2790584" y="203594"/>
                  </a:lnTo>
                  <a:lnTo>
                    <a:pt x="2790584" y="202959"/>
                  </a:lnTo>
                  <a:lnTo>
                    <a:pt x="2790584" y="204292"/>
                  </a:lnTo>
                  <a:lnTo>
                    <a:pt x="2790635" y="204292"/>
                  </a:lnTo>
                  <a:lnTo>
                    <a:pt x="2790635" y="203594"/>
                  </a:lnTo>
                  <a:lnTo>
                    <a:pt x="2790686" y="203594"/>
                  </a:lnTo>
                  <a:lnTo>
                    <a:pt x="2790686" y="202959"/>
                  </a:lnTo>
                  <a:lnTo>
                    <a:pt x="2790686" y="203594"/>
                  </a:lnTo>
                  <a:lnTo>
                    <a:pt x="2790686" y="202260"/>
                  </a:lnTo>
                  <a:lnTo>
                    <a:pt x="2790787" y="202260"/>
                  </a:lnTo>
                  <a:lnTo>
                    <a:pt x="2790787" y="200876"/>
                  </a:lnTo>
                  <a:lnTo>
                    <a:pt x="2790787" y="202260"/>
                  </a:lnTo>
                  <a:lnTo>
                    <a:pt x="2790787" y="200876"/>
                  </a:lnTo>
                  <a:lnTo>
                    <a:pt x="2790787" y="202260"/>
                  </a:lnTo>
                  <a:lnTo>
                    <a:pt x="2790787" y="200228"/>
                  </a:lnTo>
                  <a:lnTo>
                    <a:pt x="2790826" y="200228"/>
                  </a:lnTo>
                  <a:lnTo>
                    <a:pt x="2790826" y="200876"/>
                  </a:lnTo>
                  <a:lnTo>
                    <a:pt x="2790826" y="199530"/>
                  </a:lnTo>
                  <a:lnTo>
                    <a:pt x="2790826" y="200228"/>
                  </a:lnTo>
                  <a:lnTo>
                    <a:pt x="2790876" y="200876"/>
                  </a:lnTo>
                  <a:lnTo>
                    <a:pt x="2790876" y="202959"/>
                  </a:lnTo>
                  <a:lnTo>
                    <a:pt x="2790876" y="199530"/>
                  </a:lnTo>
                  <a:lnTo>
                    <a:pt x="2790876" y="200876"/>
                  </a:lnTo>
                  <a:lnTo>
                    <a:pt x="2790927" y="200876"/>
                  </a:lnTo>
                  <a:lnTo>
                    <a:pt x="2790927" y="202260"/>
                  </a:lnTo>
                  <a:lnTo>
                    <a:pt x="2790927" y="200228"/>
                  </a:lnTo>
                  <a:lnTo>
                    <a:pt x="2790927" y="200876"/>
                  </a:lnTo>
                  <a:lnTo>
                    <a:pt x="2790927" y="200228"/>
                  </a:lnTo>
                  <a:lnTo>
                    <a:pt x="2791029" y="200876"/>
                  </a:lnTo>
                  <a:lnTo>
                    <a:pt x="2791029" y="200228"/>
                  </a:lnTo>
                  <a:lnTo>
                    <a:pt x="2791029" y="202260"/>
                  </a:lnTo>
                  <a:lnTo>
                    <a:pt x="2791130" y="202260"/>
                  </a:lnTo>
                  <a:lnTo>
                    <a:pt x="2791130" y="200876"/>
                  </a:lnTo>
                  <a:lnTo>
                    <a:pt x="2791130" y="202959"/>
                  </a:lnTo>
                  <a:lnTo>
                    <a:pt x="2791130" y="202260"/>
                  </a:lnTo>
                  <a:lnTo>
                    <a:pt x="2791232" y="202260"/>
                  </a:lnTo>
                  <a:lnTo>
                    <a:pt x="2791232" y="200876"/>
                  </a:lnTo>
                  <a:lnTo>
                    <a:pt x="2791283" y="200876"/>
                  </a:lnTo>
                  <a:lnTo>
                    <a:pt x="2791283" y="200228"/>
                  </a:lnTo>
                  <a:lnTo>
                    <a:pt x="2791283" y="200876"/>
                  </a:lnTo>
                  <a:lnTo>
                    <a:pt x="2791283" y="199530"/>
                  </a:lnTo>
                  <a:lnTo>
                    <a:pt x="2791283" y="200876"/>
                  </a:lnTo>
                  <a:lnTo>
                    <a:pt x="2791333" y="200876"/>
                  </a:lnTo>
                  <a:lnTo>
                    <a:pt x="2791333" y="202260"/>
                  </a:lnTo>
                  <a:lnTo>
                    <a:pt x="2791333" y="199530"/>
                  </a:lnTo>
                  <a:lnTo>
                    <a:pt x="2791333" y="202959"/>
                  </a:lnTo>
                  <a:lnTo>
                    <a:pt x="2791372" y="202959"/>
                  </a:lnTo>
                  <a:lnTo>
                    <a:pt x="2791372" y="200228"/>
                  </a:lnTo>
                  <a:lnTo>
                    <a:pt x="2791372" y="202959"/>
                  </a:lnTo>
                  <a:lnTo>
                    <a:pt x="2791372" y="202260"/>
                  </a:lnTo>
                  <a:lnTo>
                    <a:pt x="2791473" y="202260"/>
                  </a:lnTo>
                  <a:lnTo>
                    <a:pt x="2791473" y="200876"/>
                  </a:lnTo>
                  <a:lnTo>
                    <a:pt x="2791473" y="202959"/>
                  </a:lnTo>
                  <a:lnTo>
                    <a:pt x="2791473" y="202260"/>
                  </a:lnTo>
                  <a:lnTo>
                    <a:pt x="2791524" y="200876"/>
                  </a:lnTo>
                  <a:lnTo>
                    <a:pt x="2791524" y="202959"/>
                  </a:lnTo>
                  <a:lnTo>
                    <a:pt x="2791524" y="202260"/>
                  </a:lnTo>
                  <a:lnTo>
                    <a:pt x="2791575" y="202260"/>
                  </a:lnTo>
                  <a:lnTo>
                    <a:pt x="2791575" y="202959"/>
                  </a:lnTo>
                  <a:lnTo>
                    <a:pt x="2791575" y="202260"/>
                  </a:lnTo>
                  <a:lnTo>
                    <a:pt x="2791676" y="202260"/>
                  </a:lnTo>
                  <a:lnTo>
                    <a:pt x="2791676" y="202959"/>
                  </a:lnTo>
                  <a:lnTo>
                    <a:pt x="2791676" y="200876"/>
                  </a:lnTo>
                  <a:lnTo>
                    <a:pt x="2791676" y="202260"/>
                  </a:lnTo>
                  <a:lnTo>
                    <a:pt x="2791727" y="202260"/>
                  </a:lnTo>
                  <a:lnTo>
                    <a:pt x="2791727" y="200228"/>
                  </a:lnTo>
                  <a:lnTo>
                    <a:pt x="2791778" y="200228"/>
                  </a:lnTo>
                  <a:lnTo>
                    <a:pt x="2791778" y="199530"/>
                  </a:lnTo>
                  <a:lnTo>
                    <a:pt x="2791778" y="202959"/>
                  </a:lnTo>
                  <a:lnTo>
                    <a:pt x="2791778" y="200876"/>
                  </a:lnTo>
                  <a:lnTo>
                    <a:pt x="2791829" y="200876"/>
                  </a:lnTo>
                  <a:lnTo>
                    <a:pt x="2791829" y="200228"/>
                  </a:lnTo>
                  <a:lnTo>
                    <a:pt x="2791829" y="202959"/>
                  </a:lnTo>
                  <a:lnTo>
                    <a:pt x="2791829" y="202260"/>
                  </a:lnTo>
                  <a:lnTo>
                    <a:pt x="2791829" y="202959"/>
                  </a:lnTo>
                  <a:lnTo>
                    <a:pt x="2791829" y="202260"/>
                  </a:lnTo>
                  <a:lnTo>
                    <a:pt x="2791918" y="202260"/>
                  </a:lnTo>
                  <a:lnTo>
                    <a:pt x="2791918" y="200876"/>
                  </a:lnTo>
                  <a:lnTo>
                    <a:pt x="2791918" y="202959"/>
                  </a:lnTo>
                  <a:lnTo>
                    <a:pt x="2791918" y="202260"/>
                  </a:lnTo>
                  <a:lnTo>
                    <a:pt x="2791969" y="202260"/>
                  </a:lnTo>
                  <a:lnTo>
                    <a:pt x="2791969" y="202959"/>
                  </a:lnTo>
                  <a:lnTo>
                    <a:pt x="2791969" y="202260"/>
                  </a:lnTo>
                  <a:lnTo>
                    <a:pt x="2791969" y="202959"/>
                  </a:lnTo>
                  <a:lnTo>
                    <a:pt x="2792019" y="202959"/>
                  </a:lnTo>
                  <a:lnTo>
                    <a:pt x="2792019" y="202260"/>
                  </a:lnTo>
                  <a:lnTo>
                    <a:pt x="2792019" y="202959"/>
                  </a:lnTo>
                  <a:lnTo>
                    <a:pt x="2792019" y="202260"/>
                  </a:lnTo>
                  <a:lnTo>
                    <a:pt x="2792019" y="202959"/>
                  </a:lnTo>
                  <a:lnTo>
                    <a:pt x="2792070" y="202959"/>
                  </a:lnTo>
                  <a:lnTo>
                    <a:pt x="2792070" y="202260"/>
                  </a:lnTo>
                  <a:lnTo>
                    <a:pt x="2792070" y="202959"/>
                  </a:lnTo>
                  <a:lnTo>
                    <a:pt x="2792070" y="202260"/>
                  </a:lnTo>
                  <a:lnTo>
                    <a:pt x="2792070" y="202959"/>
                  </a:lnTo>
                  <a:lnTo>
                    <a:pt x="2792070" y="202260"/>
                  </a:lnTo>
                  <a:lnTo>
                    <a:pt x="2792172" y="202260"/>
                  </a:lnTo>
                  <a:lnTo>
                    <a:pt x="2792172" y="200228"/>
                  </a:lnTo>
                  <a:lnTo>
                    <a:pt x="2792172" y="200876"/>
                  </a:lnTo>
                  <a:lnTo>
                    <a:pt x="2792172" y="200228"/>
                  </a:lnTo>
                  <a:lnTo>
                    <a:pt x="2792222" y="200228"/>
                  </a:lnTo>
                  <a:lnTo>
                    <a:pt x="2792222" y="199530"/>
                  </a:lnTo>
                  <a:lnTo>
                    <a:pt x="2792273" y="199530"/>
                  </a:lnTo>
                  <a:lnTo>
                    <a:pt x="2792273" y="200876"/>
                  </a:lnTo>
                  <a:lnTo>
                    <a:pt x="2792273" y="198831"/>
                  </a:lnTo>
                  <a:lnTo>
                    <a:pt x="2792273" y="199530"/>
                  </a:lnTo>
                  <a:lnTo>
                    <a:pt x="2792375" y="199530"/>
                  </a:lnTo>
                  <a:lnTo>
                    <a:pt x="2792375" y="202959"/>
                  </a:lnTo>
                  <a:lnTo>
                    <a:pt x="2792375" y="200228"/>
                  </a:lnTo>
                  <a:lnTo>
                    <a:pt x="2792413" y="200228"/>
                  </a:lnTo>
                  <a:lnTo>
                    <a:pt x="2792413" y="202260"/>
                  </a:lnTo>
                  <a:lnTo>
                    <a:pt x="2792413" y="200876"/>
                  </a:lnTo>
                  <a:lnTo>
                    <a:pt x="2792413" y="202260"/>
                  </a:lnTo>
                  <a:lnTo>
                    <a:pt x="2792413" y="200876"/>
                  </a:lnTo>
                  <a:lnTo>
                    <a:pt x="2792413" y="202260"/>
                  </a:lnTo>
                  <a:lnTo>
                    <a:pt x="2792464" y="202260"/>
                  </a:lnTo>
                  <a:lnTo>
                    <a:pt x="2792464" y="202959"/>
                  </a:lnTo>
                  <a:lnTo>
                    <a:pt x="2792464" y="202260"/>
                  </a:lnTo>
                  <a:lnTo>
                    <a:pt x="2792464" y="202959"/>
                  </a:lnTo>
                  <a:lnTo>
                    <a:pt x="2792464" y="202260"/>
                  </a:lnTo>
                  <a:lnTo>
                    <a:pt x="2792464" y="202959"/>
                  </a:lnTo>
                  <a:lnTo>
                    <a:pt x="2792515" y="202959"/>
                  </a:lnTo>
                  <a:lnTo>
                    <a:pt x="2792515" y="202260"/>
                  </a:lnTo>
                  <a:lnTo>
                    <a:pt x="2792515" y="202959"/>
                  </a:lnTo>
                  <a:lnTo>
                    <a:pt x="2792515" y="202260"/>
                  </a:lnTo>
                  <a:lnTo>
                    <a:pt x="2792515" y="202959"/>
                  </a:lnTo>
                  <a:lnTo>
                    <a:pt x="2792616" y="202260"/>
                  </a:lnTo>
                  <a:lnTo>
                    <a:pt x="2792616" y="202959"/>
                  </a:lnTo>
                  <a:lnTo>
                    <a:pt x="2792616" y="200876"/>
                  </a:lnTo>
                  <a:lnTo>
                    <a:pt x="2792667" y="200876"/>
                  </a:lnTo>
                  <a:lnTo>
                    <a:pt x="2792667" y="200228"/>
                  </a:lnTo>
                  <a:lnTo>
                    <a:pt x="2792667" y="200876"/>
                  </a:lnTo>
                  <a:lnTo>
                    <a:pt x="2792667" y="200228"/>
                  </a:lnTo>
                  <a:lnTo>
                    <a:pt x="2792718" y="200228"/>
                  </a:lnTo>
                  <a:lnTo>
                    <a:pt x="2792718" y="198831"/>
                  </a:lnTo>
                  <a:lnTo>
                    <a:pt x="2792718" y="199530"/>
                  </a:lnTo>
                  <a:lnTo>
                    <a:pt x="2792718" y="198831"/>
                  </a:lnTo>
                  <a:lnTo>
                    <a:pt x="2792718" y="199530"/>
                  </a:lnTo>
                  <a:lnTo>
                    <a:pt x="2792819" y="200228"/>
                  </a:lnTo>
                  <a:lnTo>
                    <a:pt x="2792819" y="200876"/>
                  </a:lnTo>
                  <a:lnTo>
                    <a:pt x="2792819" y="199530"/>
                  </a:lnTo>
                  <a:lnTo>
                    <a:pt x="2792819" y="202260"/>
                  </a:lnTo>
                  <a:lnTo>
                    <a:pt x="2792870" y="202260"/>
                  </a:lnTo>
                  <a:lnTo>
                    <a:pt x="2792870" y="199530"/>
                  </a:lnTo>
                  <a:lnTo>
                    <a:pt x="2792870" y="200876"/>
                  </a:lnTo>
                  <a:lnTo>
                    <a:pt x="2792921" y="200876"/>
                  </a:lnTo>
                  <a:lnTo>
                    <a:pt x="2792921" y="202260"/>
                  </a:lnTo>
                  <a:lnTo>
                    <a:pt x="2792921" y="200876"/>
                  </a:lnTo>
                  <a:lnTo>
                    <a:pt x="2792921" y="202260"/>
                  </a:lnTo>
                  <a:lnTo>
                    <a:pt x="2792959" y="202260"/>
                  </a:lnTo>
                  <a:lnTo>
                    <a:pt x="2792959" y="202959"/>
                  </a:lnTo>
                  <a:lnTo>
                    <a:pt x="2792959" y="202260"/>
                  </a:lnTo>
                  <a:lnTo>
                    <a:pt x="2792959" y="202959"/>
                  </a:lnTo>
                  <a:lnTo>
                    <a:pt x="2793061" y="202959"/>
                  </a:lnTo>
                  <a:lnTo>
                    <a:pt x="2793061" y="202260"/>
                  </a:lnTo>
                  <a:lnTo>
                    <a:pt x="2793061" y="202959"/>
                  </a:lnTo>
                  <a:lnTo>
                    <a:pt x="2793061" y="202260"/>
                  </a:lnTo>
                  <a:lnTo>
                    <a:pt x="2793061" y="202959"/>
                  </a:lnTo>
                  <a:lnTo>
                    <a:pt x="2793112" y="202260"/>
                  </a:lnTo>
                  <a:lnTo>
                    <a:pt x="2793112" y="202959"/>
                  </a:lnTo>
                  <a:lnTo>
                    <a:pt x="2793112" y="200876"/>
                  </a:lnTo>
                  <a:lnTo>
                    <a:pt x="2793162" y="200876"/>
                  </a:lnTo>
                  <a:lnTo>
                    <a:pt x="2793162" y="200228"/>
                  </a:lnTo>
                  <a:lnTo>
                    <a:pt x="2793162" y="200876"/>
                  </a:lnTo>
                  <a:lnTo>
                    <a:pt x="2793162" y="199530"/>
                  </a:lnTo>
                  <a:lnTo>
                    <a:pt x="2793264" y="199530"/>
                  </a:lnTo>
                  <a:lnTo>
                    <a:pt x="2793264" y="196799"/>
                  </a:lnTo>
                  <a:lnTo>
                    <a:pt x="2793315" y="196799"/>
                  </a:lnTo>
                  <a:lnTo>
                    <a:pt x="2793315" y="198831"/>
                  </a:lnTo>
                  <a:lnTo>
                    <a:pt x="2793315" y="196799"/>
                  </a:lnTo>
                  <a:lnTo>
                    <a:pt x="2793315" y="197447"/>
                  </a:lnTo>
                  <a:lnTo>
                    <a:pt x="2793315" y="196799"/>
                  </a:lnTo>
                  <a:lnTo>
                    <a:pt x="2793365" y="196799"/>
                  </a:lnTo>
                  <a:lnTo>
                    <a:pt x="2793365" y="199530"/>
                  </a:lnTo>
                  <a:lnTo>
                    <a:pt x="2793365" y="198831"/>
                  </a:lnTo>
                  <a:lnTo>
                    <a:pt x="2793365" y="199530"/>
                  </a:lnTo>
                  <a:lnTo>
                    <a:pt x="2793365" y="197447"/>
                  </a:lnTo>
                  <a:lnTo>
                    <a:pt x="2793365" y="198831"/>
                  </a:lnTo>
                  <a:lnTo>
                    <a:pt x="2793416" y="198831"/>
                  </a:lnTo>
                  <a:lnTo>
                    <a:pt x="2793416" y="199530"/>
                  </a:lnTo>
                  <a:lnTo>
                    <a:pt x="2793416" y="198831"/>
                  </a:lnTo>
                  <a:lnTo>
                    <a:pt x="2793416" y="200228"/>
                  </a:lnTo>
                  <a:lnTo>
                    <a:pt x="2793416" y="199530"/>
                  </a:lnTo>
                  <a:lnTo>
                    <a:pt x="2793416" y="200228"/>
                  </a:lnTo>
                  <a:lnTo>
                    <a:pt x="2793505" y="200228"/>
                  </a:lnTo>
                  <a:lnTo>
                    <a:pt x="2793505" y="200876"/>
                  </a:lnTo>
                  <a:lnTo>
                    <a:pt x="2793505" y="200228"/>
                  </a:lnTo>
                  <a:lnTo>
                    <a:pt x="2793505" y="202260"/>
                  </a:lnTo>
                  <a:lnTo>
                    <a:pt x="2793556" y="202260"/>
                  </a:lnTo>
                  <a:lnTo>
                    <a:pt x="2793556" y="200876"/>
                  </a:lnTo>
                  <a:lnTo>
                    <a:pt x="2793556" y="202260"/>
                  </a:lnTo>
                  <a:lnTo>
                    <a:pt x="2793556" y="200876"/>
                  </a:lnTo>
                  <a:lnTo>
                    <a:pt x="2793556" y="202260"/>
                  </a:lnTo>
                  <a:lnTo>
                    <a:pt x="2793607" y="202260"/>
                  </a:lnTo>
                  <a:lnTo>
                    <a:pt x="2793607" y="200876"/>
                  </a:lnTo>
                  <a:lnTo>
                    <a:pt x="2793607" y="202260"/>
                  </a:lnTo>
                  <a:lnTo>
                    <a:pt x="2793607" y="200876"/>
                  </a:lnTo>
                  <a:lnTo>
                    <a:pt x="2793607" y="202260"/>
                  </a:lnTo>
                  <a:lnTo>
                    <a:pt x="2793607" y="200876"/>
                  </a:lnTo>
                  <a:lnTo>
                    <a:pt x="2793607" y="202260"/>
                  </a:lnTo>
                  <a:lnTo>
                    <a:pt x="2793607" y="200876"/>
                  </a:lnTo>
                  <a:lnTo>
                    <a:pt x="2793658" y="202260"/>
                  </a:lnTo>
                  <a:lnTo>
                    <a:pt x="2793658" y="200228"/>
                  </a:lnTo>
                  <a:lnTo>
                    <a:pt x="2793658" y="200876"/>
                  </a:lnTo>
                  <a:lnTo>
                    <a:pt x="2793658" y="200228"/>
                  </a:lnTo>
                  <a:lnTo>
                    <a:pt x="2793658" y="200876"/>
                  </a:lnTo>
                  <a:lnTo>
                    <a:pt x="2793759" y="200228"/>
                  </a:lnTo>
                  <a:lnTo>
                    <a:pt x="2793759" y="197447"/>
                  </a:lnTo>
                  <a:lnTo>
                    <a:pt x="2793810" y="196799"/>
                  </a:lnTo>
                  <a:lnTo>
                    <a:pt x="2793810" y="197447"/>
                  </a:lnTo>
                  <a:lnTo>
                    <a:pt x="2793810" y="196799"/>
                  </a:lnTo>
                  <a:lnTo>
                    <a:pt x="2793810" y="199530"/>
                  </a:lnTo>
                  <a:lnTo>
                    <a:pt x="2793810" y="196113"/>
                  </a:lnTo>
                  <a:lnTo>
                    <a:pt x="2793861" y="196113"/>
                  </a:lnTo>
                  <a:lnTo>
                    <a:pt x="2793861" y="199530"/>
                  </a:lnTo>
                  <a:lnTo>
                    <a:pt x="2793861" y="196799"/>
                  </a:lnTo>
                  <a:lnTo>
                    <a:pt x="2793861" y="197447"/>
                  </a:lnTo>
                  <a:lnTo>
                    <a:pt x="2793962" y="197447"/>
                  </a:lnTo>
                  <a:lnTo>
                    <a:pt x="2793962" y="199530"/>
                  </a:lnTo>
                  <a:lnTo>
                    <a:pt x="2793962" y="198831"/>
                  </a:lnTo>
                  <a:lnTo>
                    <a:pt x="2794001" y="198831"/>
                  </a:lnTo>
                  <a:lnTo>
                    <a:pt x="2794001" y="199530"/>
                  </a:lnTo>
                  <a:lnTo>
                    <a:pt x="2794001" y="198831"/>
                  </a:lnTo>
                  <a:lnTo>
                    <a:pt x="2794001" y="199530"/>
                  </a:lnTo>
                  <a:lnTo>
                    <a:pt x="2794001" y="198831"/>
                  </a:lnTo>
                  <a:lnTo>
                    <a:pt x="2794001" y="199530"/>
                  </a:lnTo>
                  <a:lnTo>
                    <a:pt x="2794051" y="198831"/>
                  </a:lnTo>
                  <a:lnTo>
                    <a:pt x="2794051" y="199530"/>
                  </a:lnTo>
                  <a:lnTo>
                    <a:pt x="2794051" y="198831"/>
                  </a:lnTo>
                  <a:lnTo>
                    <a:pt x="2794051" y="200228"/>
                  </a:lnTo>
                  <a:lnTo>
                    <a:pt x="2794102" y="200228"/>
                  </a:lnTo>
                  <a:lnTo>
                    <a:pt x="2794102" y="200876"/>
                  </a:lnTo>
                  <a:lnTo>
                    <a:pt x="2794204" y="200876"/>
                  </a:lnTo>
                  <a:lnTo>
                    <a:pt x="2794204" y="200228"/>
                  </a:lnTo>
                  <a:lnTo>
                    <a:pt x="2794204" y="200876"/>
                  </a:lnTo>
                  <a:lnTo>
                    <a:pt x="2794204" y="200228"/>
                  </a:lnTo>
                  <a:lnTo>
                    <a:pt x="2794255" y="199530"/>
                  </a:lnTo>
                  <a:lnTo>
                    <a:pt x="2794255" y="200228"/>
                  </a:lnTo>
                  <a:lnTo>
                    <a:pt x="2794255" y="198831"/>
                  </a:lnTo>
                  <a:lnTo>
                    <a:pt x="2794255" y="199530"/>
                  </a:lnTo>
                  <a:lnTo>
                    <a:pt x="2794305" y="200228"/>
                  </a:lnTo>
                  <a:lnTo>
                    <a:pt x="2794305" y="198831"/>
                  </a:lnTo>
                  <a:lnTo>
                    <a:pt x="2794305" y="202260"/>
                  </a:lnTo>
                  <a:lnTo>
                    <a:pt x="2794407" y="200876"/>
                  </a:lnTo>
                  <a:lnTo>
                    <a:pt x="2794407" y="199530"/>
                  </a:lnTo>
                  <a:lnTo>
                    <a:pt x="2794407" y="202260"/>
                  </a:lnTo>
                  <a:lnTo>
                    <a:pt x="2794407" y="200228"/>
                  </a:lnTo>
                  <a:lnTo>
                    <a:pt x="2794407" y="200876"/>
                  </a:lnTo>
                  <a:lnTo>
                    <a:pt x="2794508" y="200876"/>
                  </a:lnTo>
                  <a:lnTo>
                    <a:pt x="2794508" y="200228"/>
                  </a:lnTo>
                  <a:lnTo>
                    <a:pt x="2794508" y="200876"/>
                  </a:lnTo>
                  <a:lnTo>
                    <a:pt x="2794508" y="200228"/>
                  </a:lnTo>
                  <a:lnTo>
                    <a:pt x="2794508" y="200876"/>
                  </a:lnTo>
                  <a:lnTo>
                    <a:pt x="2794547" y="200876"/>
                  </a:lnTo>
                  <a:lnTo>
                    <a:pt x="2794547" y="200228"/>
                  </a:lnTo>
                  <a:lnTo>
                    <a:pt x="2794547" y="200876"/>
                  </a:lnTo>
                  <a:lnTo>
                    <a:pt x="2794547" y="200228"/>
                  </a:lnTo>
                  <a:lnTo>
                    <a:pt x="2794547" y="200876"/>
                  </a:lnTo>
                  <a:lnTo>
                    <a:pt x="2794547" y="200228"/>
                  </a:lnTo>
                  <a:lnTo>
                    <a:pt x="2794648" y="200228"/>
                  </a:lnTo>
                  <a:lnTo>
                    <a:pt x="2794648" y="200876"/>
                  </a:lnTo>
                  <a:lnTo>
                    <a:pt x="2794648" y="200228"/>
                  </a:lnTo>
                  <a:lnTo>
                    <a:pt x="2794648" y="200876"/>
                  </a:lnTo>
                  <a:lnTo>
                    <a:pt x="2794648" y="200228"/>
                  </a:lnTo>
                  <a:lnTo>
                    <a:pt x="2794699" y="200228"/>
                  </a:lnTo>
                  <a:lnTo>
                    <a:pt x="2794699" y="200876"/>
                  </a:lnTo>
                  <a:lnTo>
                    <a:pt x="2794699" y="199530"/>
                  </a:lnTo>
                  <a:lnTo>
                    <a:pt x="2794699" y="200228"/>
                  </a:lnTo>
                  <a:lnTo>
                    <a:pt x="2794750" y="199530"/>
                  </a:lnTo>
                  <a:lnTo>
                    <a:pt x="2794750" y="198831"/>
                  </a:lnTo>
                  <a:lnTo>
                    <a:pt x="2794750" y="200876"/>
                  </a:lnTo>
                  <a:lnTo>
                    <a:pt x="2794750" y="200228"/>
                  </a:lnTo>
                  <a:lnTo>
                    <a:pt x="2794750" y="200876"/>
                  </a:lnTo>
                  <a:lnTo>
                    <a:pt x="2794750" y="200228"/>
                  </a:lnTo>
                  <a:lnTo>
                    <a:pt x="2794851" y="199530"/>
                  </a:lnTo>
                  <a:lnTo>
                    <a:pt x="2794851" y="198831"/>
                  </a:lnTo>
                  <a:lnTo>
                    <a:pt x="2794851" y="202260"/>
                  </a:lnTo>
                  <a:lnTo>
                    <a:pt x="2794902" y="200876"/>
                  </a:lnTo>
                  <a:lnTo>
                    <a:pt x="2794902" y="200228"/>
                  </a:lnTo>
                  <a:lnTo>
                    <a:pt x="2794902" y="202260"/>
                  </a:lnTo>
                  <a:lnTo>
                    <a:pt x="2794953" y="202260"/>
                  </a:lnTo>
                  <a:lnTo>
                    <a:pt x="2794953" y="200876"/>
                  </a:lnTo>
                  <a:lnTo>
                    <a:pt x="2794953" y="202959"/>
                  </a:lnTo>
                  <a:lnTo>
                    <a:pt x="2794953" y="200876"/>
                  </a:lnTo>
                  <a:lnTo>
                    <a:pt x="2795004" y="200876"/>
                  </a:lnTo>
                  <a:lnTo>
                    <a:pt x="2795004" y="202260"/>
                  </a:lnTo>
                  <a:lnTo>
                    <a:pt x="2795004" y="200876"/>
                  </a:lnTo>
                  <a:lnTo>
                    <a:pt x="2795004" y="202260"/>
                  </a:lnTo>
                  <a:lnTo>
                    <a:pt x="2795004" y="200876"/>
                  </a:lnTo>
                  <a:lnTo>
                    <a:pt x="2795004" y="202260"/>
                  </a:lnTo>
                  <a:lnTo>
                    <a:pt x="2795004" y="200876"/>
                  </a:lnTo>
                  <a:lnTo>
                    <a:pt x="2795093" y="200876"/>
                  </a:lnTo>
                  <a:lnTo>
                    <a:pt x="2795093" y="200228"/>
                  </a:lnTo>
                  <a:lnTo>
                    <a:pt x="2795093" y="202260"/>
                  </a:lnTo>
                  <a:lnTo>
                    <a:pt x="2795093" y="200876"/>
                  </a:lnTo>
                  <a:lnTo>
                    <a:pt x="2795144" y="200876"/>
                  </a:lnTo>
                  <a:lnTo>
                    <a:pt x="2795144" y="200228"/>
                  </a:lnTo>
                  <a:lnTo>
                    <a:pt x="2795144" y="200876"/>
                  </a:lnTo>
                  <a:lnTo>
                    <a:pt x="2795144" y="199530"/>
                  </a:lnTo>
                  <a:lnTo>
                    <a:pt x="2795144" y="200228"/>
                  </a:lnTo>
                  <a:lnTo>
                    <a:pt x="2795144" y="199530"/>
                  </a:lnTo>
                  <a:lnTo>
                    <a:pt x="2795144" y="200228"/>
                  </a:lnTo>
                  <a:lnTo>
                    <a:pt x="2795194" y="199530"/>
                  </a:lnTo>
                  <a:lnTo>
                    <a:pt x="2795194" y="200228"/>
                  </a:lnTo>
                  <a:lnTo>
                    <a:pt x="2795194" y="197447"/>
                  </a:lnTo>
                  <a:lnTo>
                    <a:pt x="2795194" y="198831"/>
                  </a:lnTo>
                  <a:lnTo>
                    <a:pt x="2795245" y="198831"/>
                  </a:lnTo>
                  <a:lnTo>
                    <a:pt x="2795245" y="197447"/>
                  </a:lnTo>
                  <a:lnTo>
                    <a:pt x="2795245" y="198831"/>
                  </a:lnTo>
                  <a:lnTo>
                    <a:pt x="2795245" y="197447"/>
                  </a:lnTo>
                  <a:lnTo>
                    <a:pt x="2795347" y="198831"/>
                  </a:lnTo>
                  <a:lnTo>
                    <a:pt x="2795347" y="200228"/>
                  </a:lnTo>
                  <a:lnTo>
                    <a:pt x="2795347" y="199530"/>
                  </a:lnTo>
                  <a:lnTo>
                    <a:pt x="2795347" y="200228"/>
                  </a:lnTo>
                  <a:lnTo>
                    <a:pt x="2795397" y="200228"/>
                  </a:lnTo>
                  <a:lnTo>
                    <a:pt x="2795397" y="202260"/>
                  </a:lnTo>
                  <a:lnTo>
                    <a:pt x="2795397" y="200876"/>
                  </a:lnTo>
                  <a:lnTo>
                    <a:pt x="2795397" y="202260"/>
                  </a:lnTo>
                  <a:lnTo>
                    <a:pt x="2795397" y="200876"/>
                  </a:lnTo>
                  <a:lnTo>
                    <a:pt x="2795448" y="202260"/>
                  </a:lnTo>
                  <a:lnTo>
                    <a:pt x="2795448" y="200876"/>
                  </a:lnTo>
                  <a:lnTo>
                    <a:pt x="2795448" y="202260"/>
                  </a:lnTo>
                  <a:lnTo>
                    <a:pt x="2795550" y="202260"/>
                  </a:lnTo>
                  <a:lnTo>
                    <a:pt x="2795550" y="202959"/>
                  </a:lnTo>
                  <a:lnTo>
                    <a:pt x="2795550" y="202260"/>
                  </a:lnTo>
                  <a:lnTo>
                    <a:pt x="2795588" y="202260"/>
                  </a:lnTo>
                  <a:lnTo>
                    <a:pt x="2795588" y="200876"/>
                  </a:lnTo>
                  <a:lnTo>
                    <a:pt x="2795588" y="202260"/>
                  </a:lnTo>
                  <a:lnTo>
                    <a:pt x="2795639" y="202260"/>
                  </a:lnTo>
                  <a:lnTo>
                    <a:pt x="2795639" y="200228"/>
                  </a:lnTo>
                  <a:lnTo>
                    <a:pt x="2795639" y="200876"/>
                  </a:lnTo>
                  <a:lnTo>
                    <a:pt x="2795639" y="199530"/>
                  </a:lnTo>
                  <a:lnTo>
                    <a:pt x="2795639" y="200228"/>
                  </a:lnTo>
                  <a:lnTo>
                    <a:pt x="2795639" y="199530"/>
                  </a:lnTo>
                  <a:lnTo>
                    <a:pt x="2795690" y="200228"/>
                  </a:lnTo>
                  <a:lnTo>
                    <a:pt x="2795690" y="198831"/>
                  </a:lnTo>
                  <a:lnTo>
                    <a:pt x="2795690" y="199530"/>
                  </a:lnTo>
                  <a:lnTo>
                    <a:pt x="2795690" y="197447"/>
                  </a:lnTo>
                  <a:lnTo>
                    <a:pt x="2795791" y="197447"/>
                  </a:lnTo>
                  <a:lnTo>
                    <a:pt x="2795791" y="199530"/>
                  </a:lnTo>
                  <a:lnTo>
                    <a:pt x="2795791" y="196799"/>
                  </a:lnTo>
                  <a:lnTo>
                    <a:pt x="2795791" y="199530"/>
                  </a:lnTo>
                  <a:lnTo>
                    <a:pt x="2795842" y="199530"/>
                  </a:lnTo>
                  <a:lnTo>
                    <a:pt x="2795842" y="200876"/>
                  </a:lnTo>
                  <a:lnTo>
                    <a:pt x="2795842" y="200228"/>
                  </a:lnTo>
                  <a:lnTo>
                    <a:pt x="2795842" y="200876"/>
                  </a:lnTo>
                  <a:lnTo>
                    <a:pt x="2795842" y="200228"/>
                  </a:lnTo>
                  <a:lnTo>
                    <a:pt x="2795893" y="200876"/>
                  </a:lnTo>
                  <a:lnTo>
                    <a:pt x="2795893" y="202260"/>
                  </a:lnTo>
                  <a:lnTo>
                    <a:pt x="2795893" y="200876"/>
                  </a:lnTo>
                  <a:lnTo>
                    <a:pt x="2795893" y="202260"/>
                  </a:lnTo>
                  <a:lnTo>
                    <a:pt x="2795893" y="200228"/>
                  </a:lnTo>
                  <a:lnTo>
                    <a:pt x="2795893" y="200876"/>
                  </a:lnTo>
                  <a:lnTo>
                    <a:pt x="2795893" y="200228"/>
                  </a:lnTo>
                  <a:lnTo>
                    <a:pt x="2795893" y="200876"/>
                  </a:lnTo>
                  <a:lnTo>
                    <a:pt x="2795893" y="200228"/>
                  </a:lnTo>
                  <a:lnTo>
                    <a:pt x="2795893" y="200876"/>
                  </a:lnTo>
                  <a:lnTo>
                    <a:pt x="2795893" y="200228"/>
                  </a:lnTo>
                  <a:lnTo>
                    <a:pt x="2795893" y="200876"/>
                  </a:lnTo>
                  <a:lnTo>
                    <a:pt x="2795994" y="200876"/>
                  </a:lnTo>
                  <a:lnTo>
                    <a:pt x="2795994" y="202260"/>
                  </a:lnTo>
                  <a:lnTo>
                    <a:pt x="2795994" y="200876"/>
                  </a:lnTo>
                  <a:lnTo>
                    <a:pt x="2796045" y="200876"/>
                  </a:lnTo>
                  <a:lnTo>
                    <a:pt x="2796045" y="202260"/>
                  </a:lnTo>
                  <a:lnTo>
                    <a:pt x="2796045" y="200876"/>
                  </a:lnTo>
                  <a:lnTo>
                    <a:pt x="2796045" y="202260"/>
                  </a:lnTo>
                  <a:lnTo>
                    <a:pt x="2796096" y="202260"/>
                  </a:lnTo>
                  <a:lnTo>
                    <a:pt x="2796096" y="200876"/>
                  </a:lnTo>
                  <a:lnTo>
                    <a:pt x="2796096" y="202260"/>
                  </a:lnTo>
                  <a:lnTo>
                    <a:pt x="2796096" y="200876"/>
                  </a:lnTo>
                  <a:lnTo>
                    <a:pt x="2796134" y="200876"/>
                  </a:lnTo>
                  <a:lnTo>
                    <a:pt x="2796134" y="202260"/>
                  </a:lnTo>
                  <a:lnTo>
                    <a:pt x="2796134" y="199530"/>
                  </a:lnTo>
                  <a:lnTo>
                    <a:pt x="2796236" y="199530"/>
                  </a:lnTo>
                  <a:lnTo>
                    <a:pt x="2796236" y="198831"/>
                  </a:lnTo>
                  <a:lnTo>
                    <a:pt x="2796236" y="199530"/>
                  </a:lnTo>
                  <a:lnTo>
                    <a:pt x="2796236" y="197447"/>
                  </a:lnTo>
                  <a:lnTo>
                    <a:pt x="2796236" y="198831"/>
                  </a:lnTo>
                  <a:lnTo>
                    <a:pt x="2796287" y="198831"/>
                  </a:lnTo>
                  <a:lnTo>
                    <a:pt x="2796287" y="199530"/>
                  </a:lnTo>
                  <a:lnTo>
                    <a:pt x="2796287" y="197447"/>
                  </a:lnTo>
                  <a:lnTo>
                    <a:pt x="2796287" y="200228"/>
                  </a:lnTo>
                  <a:lnTo>
                    <a:pt x="2796337" y="200876"/>
                  </a:lnTo>
                  <a:lnTo>
                    <a:pt x="2796337" y="199530"/>
                  </a:lnTo>
                  <a:lnTo>
                    <a:pt x="2796337" y="202260"/>
                  </a:lnTo>
                  <a:lnTo>
                    <a:pt x="2796337" y="200876"/>
                  </a:lnTo>
                  <a:lnTo>
                    <a:pt x="2796439" y="200876"/>
                  </a:lnTo>
                  <a:lnTo>
                    <a:pt x="2796439" y="200228"/>
                  </a:lnTo>
                  <a:lnTo>
                    <a:pt x="2796439" y="200876"/>
                  </a:lnTo>
                  <a:lnTo>
                    <a:pt x="2796439" y="200228"/>
                  </a:lnTo>
                  <a:lnTo>
                    <a:pt x="2796439" y="202260"/>
                  </a:lnTo>
                  <a:lnTo>
                    <a:pt x="2796490" y="200876"/>
                  </a:lnTo>
                  <a:lnTo>
                    <a:pt x="2796490" y="200228"/>
                  </a:lnTo>
                  <a:lnTo>
                    <a:pt x="2796490" y="202260"/>
                  </a:lnTo>
                  <a:lnTo>
                    <a:pt x="2796490" y="200876"/>
                  </a:lnTo>
                  <a:lnTo>
                    <a:pt x="2796540" y="200876"/>
                  </a:lnTo>
                  <a:lnTo>
                    <a:pt x="2796540" y="202260"/>
                  </a:lnTo>
                  <a:lnTo>
                    <a:pt x="2796591" y="202260"/>
                  </a:lnTo>
                  <a:lnTo>
                    <a:pt x="2796591" y="200876"/>
                  </a:lnTo>
                  <a:lnTo>
                    <a:pt x="2796591" y="202260"/>
                  </a:lnTo>
                  <a:lnTo>
                    <a:pt x="2796591" y="200876"/>
                  </a:lnTo>
                  <a:lnTo>
                    <a:pt x="2796680" y="200876"/>
                  </a:lnTo>
                  <a:lnTo>
                    <a:pt x="2796680" y="200228"/>
                  </a:lnTo>
                  <a:lnTo>
                    <a:pt x="2796680" y="200876"/>
                  </a:lnTo>
                  <a:lnTo>
                    <a:pt x="2796680" y="199530"/>
                  </a:lnTo>
                  <a:lnTo>
                    <a:pt x="2796731" y="199530"/>
                  </a:lnTo>
                  <a:lnTo>
                    <a:pt x="2796731" y="197447"/>
                  </a:lnTo>
                  <a:lnTo>
                    <a:pt x="2796731" y="199530"/>
                  </a:lnTo>
                  <a:lnTo>
                    <a:pt x="2796731" y="198831"/>
                  </a:lnTo>
                  <a:lnTo>
                    <a:pt x="2796782" y="198831"/>
                  </a:lnTo>
                  <a:lnTo>
                    <a:pt x="2796782" y="196799"/>
                  </a:lnTo>
                  <a:lnTo>
                    <a:pt x="2796782" y="197447"/>
                  </a:lnTo>
                  <a:lnTo>
                    <a:pt x="2796782" y="196799"/>
                  </a:lnTo>
                  <a:lnTo>
                    <a:pt x="2796782" y="200228"/>
                  </a:lnTo>
                  <a:lnTo>
                    <a:pt x="2796782" y="199530"/>
                  </a:lnTo>
                  <a:lnTo>
                    <a:pt x="2796833" y="199530"/>
                  </a:lnTo>
                  <a:lnTo>
                    <a:pt x="2796833" y="200876"/>
                  </a:lnTo>
                  <a:lnTo>
                    <a:pt x="2796833" y="200228"/>
                  </a:lnTo>
                  <a:lnTo>
                    <a:pt x="2796833" y="200876"/>
                  </a:lnTo>
                  <a:lnTo>
                    <a:pt x="2796833" y="200228"/>
                  </a:lnTo>
                  <a:lnTo>
                    <a:pt x="2796934" y="200228"/>
                  </a:lnTo>
                  <a:lnTo>
                    <a:pt x="2796934" y="199530"/>
                  </a:lnTo>
                  <a:lnTo>
                    <a:pt x="2796934" y="200228"/>
                  </a:lnTo>
                  <a:lnTo>
                    <a:pt x="2796934" y="199530"/>
                  </a:lnTo>
                  <a:lnTo>
                    <a:pt x="2796934" y="200228"/>
                  </a:lnTo>
                  <a:lnTo>
                    <a:pt x="2796934" y="199530"/>
                  </a:lnTo>
                  <a:lnTo>
                    <a:pt x="2796934" y="200228"/>
                  </a:lnTo>
                  <a:lnTo>
                    <a:pt x="2796934" y="199530"/>
                  </a:lnTo>
                  <a:lnTo>
                    <a:pt x="2796934" y="200228"/>
                  </a:lnTo>
                  <a:lnTo>
                    <a:pt x="2796934" y="199530"/>
                  </a:lnTo>
                  <a:lnTo>
                    <a:pt x="2796934" y="200228"/>
                  </a:lnTo>
                  <a:lnTo>
                    <a:pt x="2796985" y="199530"/>
                  </a:lnTo>
                  <a:lnTo>
                    <a:pt x="2796985" y="200228"/>
                  </a:lnTo>
                  <a:lnTo>
                    <a:pt x="2796985" y="199530"/>
                  </a:lnTo>
                  <a:lnTo>
                    <a:pt x="2796985" y="200228"/>
                  </a:lnTo>
                  <a:lnTo>
                    <a:pt x="2796985" y="199530"/>
                  </a:lnTo>
                  <a:lnTo>
                    <a:pt x="2796985" y="200228"/>
                  </a:lnTo>
                  <a:lnTo>
                    <a:pt x="2796985" y="199530"/>
                  </a:lnTo>
                  <a:lnTo>
                    <a:pt x="2796985" y="200228"/>
                  </a:lnTo>
                  <a:lnTo>
                    <a:pt x="2796985" y="199530"/>
                  </a:lnTo>
                  <a:lnTo>
                    <a:pt x="2797036" y="200228"/>
                  </a:lnTo>
                  <a:lnTo>
                    <a:pt x="2797036" y="200876"/>
                  </a:lnTo>
                  <a:lnTo>
                    <a:pt x="2797036" y="200228"/>
                  </a:lnTo>
                  <a:lnTo>
                    <a:pt x="2797036" y="200876"/>
                  </a:lnTo>
                  <a:lnTo>
                    <a:pt x="2797036" y="200228"/>
                  </a:lnTo>
                  <a:lnTo>
                    <a:pt x="2797036" y="200876"/>
                  </a:lnTo>
                  <a:lnTo>
                    <a:pt x="2797036" y="200228"/>
                  </a:lnTo>
                  <a:lnTo>
                    <a:pt x="2797036" y="200876"/>
                  </a:lnTo>
                  <a:lnTo>
                    <a:pt x="2797137" y="200876"/>
                  </a:lnTo>
                  <a:lnTo>
                    <a:pt x="2797137" y="202260"/>
                  </a:lnTo>
                  <a:lnTo>
                    <a:pt x="2797137" y="200228"/>
                  </a:lnTo>
                  <a:lnTo>
                    <a:pt x="2797137" y="200876"/>
                  </a:lnTo>
                  <a:lnTo>
                    <a:pt x="2797137" y="200228"/>
                  </a:lnTo>
                  <a:lnTo>
                    <a:pt x="2797176" y="200228"/>
                  </a:lnTo>
                  <a:lnTo>
                    <a:pt x="2797176" y="197447"/>
                  </a:lnTo>
                  <a:lnTo>
                    <a:pt x="2797176" y="198831"/>
                  </a:lnTo>
                  <a:lnTo>
                    <a:pt x="2797226" y="199530"/>
                  </a:lnTo>
                  <a:lnTo>
                    <a:pt x="2797226" y="197447"/>
                  </a:lnTo>
                  <a:lnTo>
                    <a:pt x="2797226" y="199530"/>
                  </a:lnTo>
                  <a:lnTo>
                    <a:pt x="2797226" y="198831"/>
                  </a:lnTo>
                  <a:lnTo>
                    <a:pt x="2797226" y="199530"/>
                  </a:lnTo>
                  <a:lnTo>
                    <a:pt x="2797226" y="198831"/>
                  </a:lnTo>
                  <a:lnTo>
                    <a:pt x="2797226" y="199530"/>
                  </a:lnTo>
                  <a:lnTo>
                    <a:pt x="2797226" y="198831"/>
                  </a:lnTo>
                  <a:lnTo>
                    <a:pt x="2797277" y="197447"/>
                  </a:lnTo>
                  <a:lnTo>
                    <a:pt x="2797277" y="200228"/>
                  </a:lnTo>
                  <a:lnTo>
                    <a:pt x="2797277" y="199530"/>
                  </a:lnTo>
                  <a:lnTo>
                    <a:pt x="2797379" y="199530"/>
                  </a:lnTo>
                  <a:lnTo>
                    <a:pt x="2797379" y="200228"/>
                  </a:lnTo>
                  <a:lnTo>
                    <a:pt x="2797379" y="199530"/>
                  </a:lnTo>
                  <a:lnTo>
                    <a:pt x="2797379" y="200876"/>
                  </a:lnTo>
                  <a:lnTo>
                    <a:pt x="2797379" y="200228"/>
                  </a:lnTo>
                  <a:lnTo>
                    <a:pt x="2797430" y="200228"/>
                  </a:lnTo>
                  <a:lnTo>
                    <a:pt x="2797430" y="200876"/>
                  </a:lnTo>
                  <a:lnTo>
                    <a:pt x="2797430" y="200228"/>
                  </a:lnTo>
                  <a:lnTo>
                    <a:pt x="2797480" y="200228"/>
                  </a:lnTo>
                  <a:lnTo>
                    <a:pt x="2797480" y="200876"/>
                  </a:lnTo>
                  <a:lnTo>
                    <a:pt x="2797480" y="200228"/>
                  </a:lnTo>
                  <a:lnTo>
                    <a:pt x="2797480" y="200876"/>
                  </a:lnTo>
                  <a:lnTo>
                    <a:pt x="2797582" y="200876"/>
                  </a:lnTo>
                  <a:lnTo>
                    <a:pt x="2797582" y="202260"/>
                  </a:lnTo>
                  <a:lnTo>
                    <a:pt x="2797582" y="200876"/>
                  </a:lnTo>
                  <a:lnTo>
                    <a:pt x="2797582" y="202260"/>
                  </a:lnTo>
                  <a:lnTo>
                    <a:pt x="2797582" y="200876"/>
                  </a:lnTo>
                  <a:lnTo>
                    <a:pt x="2797633" y="200876"/>
                  </a:lnTo>
                  <a:lnTo>
                    <a:pt x="2797633" y="202260"/>
                  </a:lnTo>
                  <a:lnTo>
                    <a:pt x="2797633" y="200876"/>
                  </a:lnTo>
                  <a:lnTo>
                    <a:pt x="2797633" y="202260"/>
                  </a:lnTo>
                  <a:lnTo>
                    <a:pt x="2797633" y="200228"/>
                  </a:lnTo>
                  <a:lnTo>
                    <a:pt x="2797683" y="200228"/>
                  </a:lnTo>
                  <a:lnTo>
                    <a:pt x="2797683" y="198831"/>
                  </a:lnTo>
                  <a:lnTo>
                    <a:pt x="2797722" y="198831"/>
                  </a:lnTo>
                  <a:lnTo>
                    <a:pt x="2797722" y="200228"/>
                  </a:lnTo>
                  <a:lnTo>
                    <a:pt x="2797722" y="199530"/>
                  </a:lnTo>
                  <a:lnTo>
                    <a:pt x="2797722" y="200228"/>
                  </a:lnTo>
                  <a:lnTo>
                    <a:pt x="2797722" y="199530"/>
                  </a:lnTo>
                  <a:lnTo>
                    <a:pt x="2797722" y="200228"/>
                  </a:lnTo>
                  <a:lnTo>
                    <a:pt x="2797722" y="199530"/>
                  </a:lnTo>
                  <a:lnTo>
                    <a:pt x="2797722" y="200228"/>
                  </a:lnTo>
                  <a:lnTo>
                    <a:pt x="2797722" y="199530"/>
                  </a:lnTo>
                  <a:lnTo>
                    <a:pt x="2797722" y="200876"/>
                  </a:lnTo>
                  <a:lnTo>
                    <a:pt x="2797823" y="200876"/>
                  </a:lnTo>
                  <a:lnTo>
                    <a:pt x="2797823" y="202260"/>
                  </a:lnTo>
                  <a:lnTo>
                    <a:pt x="2797823" y="200228"/>
                  </a:lnTo>
                  <a:lnTo>
                    <a:pt x="2797823" y="202260"/>
                  </a:lnTo>
                  <a:lnTo>
                    <a:pt x="2797874" y="202260"/>
                  </a:lnTo>
                  <a:lnTo>
                    <a:pt x="2797874" y="202959"/>
                  </a:lnTo>
                  <a:lnTo>
                    <a:pt x="2797874" y="202260"/>
                  </a:lnTo>
                  <a:lnTo>
                    <a:pt x="2797874" y="202959"/>
                  </a:lnTo>
                  <a:lnTo>
                    <a:pt x="2797874" y="200876"/>
                  </a:lnTo>
                  <a:lnTo>
                    <a:pt x="2797925" y="200876"/>
                  </a:lnTo>
                  <a:lnTo>
                    <a:pt x="2797925" y="202260"/>
                  </a:lnTo>
                  <a:lnTo>
                    <a:pt x="2797925" y="200876"/>
                  </a:lnTo>
                  <a:lnTo>
                    <a:pt x="2798026" y="200876"/>
                  </a:lnTo>
                  <a:lnTo>
                    <a:pt x="2798077" y="202260"/>
                  </a:lnTo>
                  <a:lnTo>
                    <a:pt x="2798077" y="200228"/>
                  </a:lnTo>
                  <a:lnTo>
                    <a:pt x="2798128" y="200228"/>
                  </a:lnTo>
                  <a:lnTo>
                    <a:pt x="2798128" y="200876"/>
                  </a:lnTo>
                  <a:lnTo>
                    <a:pt x="2798128" y="199530"/>
                  </a:lnTo>
                  <a:lnTo>
                    <a:pt x="2798128" y="200228"/>
                  </a:lnTo>
                  <a:lnTo>
                    <a:pt x="2798128" y="199530"/>
                  </a:lnTo>
                  <a:lnTo>
                    <a:pt x="2798128" y="200228"/>
                  </a:lnTo>
                  <a:lnTo>
                    <a:pt x="2798128" y="199530"/>
                  </a:lnTo>
                  <a:lnTo>
                    <a:pt x="2798179" y="199530"/>
                  </a:lnTo>
                  <a:lnTo>
                    <a:pt x="2798179" y="197447"/>
                  </a:lnTo>
                  <a:lnTo>
                    <a:pt x="2798179" y="198831"/>
                  </a:lnTo>
                  <a:lnTo>
                    <a:pt x="2798179" y="197447"/>
                  </a:lnTo>
                  <a:lnTo>
                    <a:pt x="2798179" y="198831"/>
                  </a:lnTo>
                  <a:lnTo>
                    <a:pt x="2798268" y="198831"/>
                  </a:lnTo>
                  <a:lnTo>
                    <a:pt x="2798268" y="199530"/>
                  </a:lnTo>
                  <a:lnTo>
                    <a:pt x="2798268" y="198831"/>
                  </a:lnTo>
                  <a:lnTo>
                    <a:pt x="2798268" y="199530"/>
                  </a:lnTo>
                  <a:lnTo>
                    <a:pt x="2798268" y="198831"/>
                  </a:lnTo>
                  <a:lnTo>
                    <a:pt x="2798268" y="199530"/>
                  </a:lnTo>
                  <a:lnTo>
                    <a:pt x="2798268" y="198831"/>
                  </a:lnTo>
                  <a:lnTo>
                    <a:pt x="2798268" y="200228"/>
                  </a:lnTo>
                  <a:lnTo>
                    <a:pt x="2798319" y="200876"/>
                  </a:lnTo>
                  <a:lnTo>
                    <a:pt x="2798319" y="200228"/>
                  </a:lnTo>
                  <a:lnTo>
                    <a:pt x="2798319" y="200876"/>
                  </a:lnTo>
                  <a:lnTo>
                    <a:pt x="2798319" y="200228"/>
                  </a:lnTo>
                  <a:lnTo>
                    <a:pt x="2798319" y="200876"/>
                  </a:lnTo>
                  <a:lnTo>
                    <a:pt x="2798319" y="200228"/>
                  </a:lnTo>
                  <a:lnTo>
                    <a:pt x="2798319" y="200876"/>
                  </a:lnTo>
                  <a:lnTo>
                    <a:pt x="2798319" y="199530"/>
                  </a:lnTo>
                  <a:lnTo>
                    <a:pt x="2798319" y="200876"/>
                  </a:lnTo>
                  <a:lnTo>
                    <a:pt x="2798369" y="200228"/>
                  </a:lnTo>
                  <a:lnTo>
                    <a:pt x="2798369" y="200876"/>
                  </a:lnTo>
                  <a:lnTo>
                    <a:pt x="2798369" y="200228"/>
                  </a:lnTo>
                  <a:lnTo>
                    <a:pt x="2798369" y="200876"/>
                  </a:lnTo>
                  <a:lnTo>
                    <a:pt x="2798369" y="200228"/>
                  </a:lnTo>
                  <a:lnTo>
                    <a:pt x="2798369" y="200876"/>
                  </a:lnTo>
                  <a:lnTo>
                    <a:pt x="2798420" y="200228"/>
                  </a:lnTo>
                  <a:lnTo>
                    <a:pt x="2798420" y="200876"/>
                  </a:lnTo>
                  <a:lnTo>
                    <a:pt x="2798420" y="200228"/>
                  </a:lnTo>
                  <a:lnTo>
                    <a:pt x="2798420" y="202260"/>
                  </a:lnTo>
                  <a:lnTo>
                    <a:pt x="2798572" y="202260"/>
                  </a:lnTo>
                  <a:lnTo>
                    <a:pt x="2798572" y="200876"/>
                  </a:lnTo>
                  <a:lnTo>
                    <a:pt x="2798623" y="200876"/>
                  </a:lnTo>
                  <a:lnTo>
                    <a:pt x="2798623" y="199530"/>
                  </a:lnTo>
                  <a:lnTo>
                    <a:pt x="2798623" y="200228"/>
                  </a:lnTo>
                  <a:lnTo>
                    <a:pt x="2798623" y="198831"/>
                  </a:lnTo>
                  <a:lnTo>
                    <a:pt x="2798725" y="198831"/>
                  </a:lnTo>
                  <a:lnTo>
                    <a:pt x="2798725" y="196799"/>
                  </a:lnTo>
                  <a:lnTo>
                    <a:pt x="2798725" y="199530"/>
                  </a:lnTo>
                  <a:lnTo>
                    <a:pt x="2798763" y="199530"/>
                  </a:lnTo>
                  <a:lnTo>
                    <a:pt x="2798763" y="198831"/>
                  </a:lnTo>
                  <a:lnTo>
                    <a:pt x="2798763" y="200876"/>
                  </a:lnTo>
                  <a:lnTo>
                    <a:pt x="2798763" y="200228"/>
                  </a:lnTo>
                  <a:lnTo>
                    <a:pt x="2798814" y="200876"/>
                  </a:lnTo>
                  <a:lnTo>
                    <a:pt x="2798814" y="199530"/>
                  </a:lnTo>
                  <a:lnTo>
                    <a:pt x="2798814" y="200876"/>
                  </a:lnTo>
                  <a:lnTo>
                    <a:pt x="2798865" y="200876"/>
                  </a:lnTo>
                  <a:lnTo>
                    <a:pt x="2798865" y="200228"/>
                  </a:lnTo>
                  <a:lnTo>
                    <a:pt x="2798865" y="200876"/>
                  </a:lnTo>
                  <a:lnTo>
                    <a:pt x="2798865" y="200228"/>
                  </a:lnTo>
                  <a:lnTo>
                    <a:pt x="2798865" y="200876"/>
                  </a:lnTo>
                  <a:lnTo>
                    <a:pt x="2798865" y="200228"/>
                  </a:lnTo>
                  <a:lnTo>
                    <a:pt x="2798865" y="200876"/>
                  </a:lnTo>
                  <a:lnTo>
                    <a:pt x="2798966" y="200876"/>
                  </a:lnTo>
                  <a:lnTo>
                    <a:pt x="2798966" y="200228"/>
                  </a:lnTo>
                  <a:lnTo>
                    <a:pt x="2798966" y="202260"/>
                  </a:lnTo>
                  <a:lnTo>
                    <a:pt x="2798966" y="200876"/>
                  </a:lnTo>
                  <a:lnTo>
                    <a:pt x="2798966" y="202260"/>
                  </a:lnTo>
                  <a:lnTo>
                    <a:pt x="2798966" y="200876"/>
                  </a:lnTo>
                  <a:lnTo>
                    <a:pt x="2798966" y="202260"/>
                  </a:lnTo>
                  <a:lnTo>
                    <a:pt x="2798966" y="200876"/>
                  </a:lnTo>
                  <a:lnTo>
                    <a:pt x="2799017" y="200876"/>
                  </a:lnTo>
                  <a:lnTo>
                    <a:pt x="2799017" y="202260"/>
                  </a:lnTo>
                  <a:lnTo>
                    <a:pt x="2799017" y="200876"/>
                  </a:lnTo>
                  <a:lnTo>
                    <a:pt x="2799017" y="202260"/>
                  </a:lnTo>
                  <a:lnTo>
                    <a:pt x="2799017" y="200876"/>
                  </a:lnTo>
                  <a:lnTo>
                    <a:pt x="2799017" y="202260"/>
                  </a:lnTo>
                  <a:lnTo>
                    <a:pt x="2799068" y="202260"/>
                  </a:lnTo>
                  <a:lnTo>
                    <a:pt x="2799068" y="200228"/>
                  </a:lnTo>
                  <a:lnTo>
                    <a:pt x="2799169" y="200228"/>
                  </a:lnTo>
                  <a:lnTo>
                    <a:pt x="2799169" y="200876"/>
                  </a:lnTo>
                  <a:lnTo>
                    <a:pt x="2799169" y="198831"/>
                  </a:lnTo>
                  <a:lnTo>
                    <a:pt x="2799220" y="197447"/>
                  </a:lnTo>
                  <a:lnTo>
                    <a:pt x="2799220" y="196113"/>
                  </a:lnTo>
                  <a:lnTo>
                    <a:pt x="2799220" y="198831"/>
                  </a:lnTo>
                  <a:lnTo>
                    <a:pt x="2799271" y="198831"/>
                  </a:lnTo>
                  <a:lnTo>
                    <a:pt x="2799271" y="196113"/>
                  </a:lnTo>
                  <a:lnTo>
                    <a:pt x="2799271" y="200228"/>
                  </a:lnTo>
                  <a:lnTo>
                    <a:pt x="2799309" y="200228"/>
                  </a:lnTo>
                  <a:lnTo>
                    <a:pt x="2799309" y="197447"/>
                  </a:lnTo>
                  <a:lnTo>
                    <a:pt x="2799309" y="198831"/>
                  </a:lnTo>
                  <a:lnTo>
                    <a:pt x="2799309" y="197447"/>
                  </a:lnTo>
                  <a:lnTo>
                    <a:pt x="2799309" y="200228"/>
                  </a:lnTo>
                  <a:lnTo>
                    <a:pt x="2799411" y="200228"/>
                  </a:lnTo>
                  <a:lnTo>
                    <a:pt x="2799411" y="198831"/>
                  </a:lnTo>
                  <a:lnTo>
                    <a:pt x="2799411" y="199530"/>
                  </a:lnTo>
                  <a:lnTo>
                    <a:pt x="2799462" y="200228"/>
                  </a:lnTo>
                  <a:lnTo>
                    <a:pt x="2799462" y="200876"/>
                  </a:lnTo>
                  <a:lnTo>
                    <a:pt x="2799512" y="200876"/>
                  </a:lnTo>
                  <a:lnTo>
                    <a:pt x="2799512" y="202260"/>
                  </a:lnTo>
                  <a:lnTo>
                    <a:pt x="2799512" y="200876"/>
                  </a:lnTo>
                  <a:lnTo>
                    <a:pt x="2799614" y="200876"/>
                  </a:lnTo>
                  <a:lnTo>
                    <a:pt x="2799614" y="202260"/>
                  </a:lnTo>
                  <a:lnTo>
                    <a:pt x="2799614" y="200876"/>
                  </a:lnTo>
                  <a:lnTo>
                    <a:pt x="2799614" y="202260"/>
                  </a:lnTo>
                  <a:lnTo>
                    <a:pt x="2799614" y="200876"/>
                  </a:lnTo>
                  <a:lnTo>
                    <a:pt x="2799614" y="202260"/>
                  </a:lnTo>
                  <a:lnTo>
                    <a:pt x="2799614" y="200876"/>
                  </a:lnTo>
                  <a:lnTo>
                    <a:pt x="2799665" y="200876"/>
                  </a:lnTo>
                  <a:lnTo>
                    <a:pt x="2799665" y="200228"/>
                  </a:lnTo>
                  <a:lnTo>
                    <a:pt x="2799665" y="200876"/>
                  </a:lnTo>
                  <a:lnTo>
                    <a:pt x="2799665" y="200228"/>
                  </a:lnTo>
                  <a:lnTo>
                    <a:pt x="2799665" y="200876"/>
                  </a:lnTo>
                  <a:lnTo>
                    <a:pt x="2799665" y="198831"/>
                  </a:lnTo>
                  <a:lnTo>
                    <a:pt x="2799665" y="199530"/>
                  </a:lnTo>
                  <a:lnTo>
                    <a:pt x="2799665" y="198831"/>
                  </a:lnTo>
                  <a:lnTo>
                    <a:pt x="2799715" y="198831"/>
                  </a:lnTo>
                  <a:lnTo>
                    <a:pt x="2799715" y="199530"/>
                  </a:lnTo>
                  <a:lnTo>
                    <a:pt x="2799715" y="196799"/>
                  </a:lnTo>
                  <a:lnTo>
                    <a:pt x="2799715" y="199530"/>
                  </a:lnTo>
                  <a:lnTo>
                    <a:pt x="2799766" y="199530"/>
                  </a:lnTo>
                  <a:lnTo>
                    <a:pt x="2799766" y="196799"/>
                  </a:lnTo>
                  <a:lnTo>
                    <a:pt x="2799766" y="199530"/>
                  </a:lnTo>
                  <a:lnTo>
                    <a:pt x="2799766" y="198831"/>
                  </a:lnTo>
                  <a:lnTo>
                    <a:pt x="2799855" y="198831"/>
                  </a:lnTo>
                  <a:lnTo>
                    <a:pt x="2799855" y="197447"/>
                  </a:lnTo>
                  <a:lnTo>
                    <a:pt x="2799855" y="200228"/>
                  </a:lnTo>
                  <a:lnTo>
                    <a:pt x="2799855" y="199530"/>
                  </a:lnTo>
                  <a:lnTo>
                    <a:pt x="2799906" y="198831"/>
                  </a:lnTo>
                  <a:lnTo>
                    <a:pt x="2799906" y="199530"/>
                  </a:lnTo>
                  <a:lnTo>
                    <a:pt x="2799906" y="198831"/>
                  </a:lnTo>
                  <a:lnTo>
                    <a:pt x="2799906" y="200228"/>
                  </a:lnTo>
                  <a:lnTo>
                    <a:pt x="2799906" y="199530"/>
                  </a:lnTo>
                  <a:lnTo>
                    <a:pt x="2799957" y="199530"/>
                  </a:lnTo>
                  <a:lnTo>
                    <a:pt x="2799957" y="200228"/>
                  </a:lnTo>
                  <a:lnTo>
                    <a:pt x="2800008" y="200228"/>
                  </a:lnTo>
                  <a:lnTo>
                    <a:pt x="2800008" y="200876"/>
                  </a:lnTo>
                  <a:lnTo>
                    <a:pt x="2800008" y="200228"/>
                  </a:lnTo>
                  <a:lnTo>
                    <a:pt x="2800008" y="200876"/>
                  </a:lnTo>
                  <a:lnTo>
                    <a:pt x="2800008" y="200228"/>
                  </a:lnTo>
                  <a:lnTo>
                    <a:pt x="2800109" y="200228"/>
                  </a:lnTo>
                  <a:lnTo>
                    <a:pt x="2800109" y="199530"/>
                  </a:lnTo>
                  <a:lnTo>
                    <a:pt x="2800109" y="200228"/>
                  </a:lnTo>
                  <a:lnTo>
                    <a:pt x="2800160" y="200228"/>
                  </a:lnTo>
                  <a:lnTo>
                    <a:pt x="2800160" y="198831"/>
                  </a:lnTo>
                  <a:lnTo>
                    <a:pt x="2800211" y="198831"/>
                  </a:lnTo>
                  <a:lnTo>
                    <a:pt x="2800211" y="200228"/>
                  </a:lnTo>
                  <a:lnTo>
                    <a:pt x="2800211" y="199530"/>
                  </a:lnTo>
                  <a:lnTo>
                    <a:pt x="2800312" y="199530"/>
                  </a:lnTo>
                  <a:lnTo>
                    <a:pt x="2800312" y="200876"/>
                  </a:lnTo>
                  <a:lnTo>
                    <a:pt x="2800312" y="200228"/>
                  </a:lnTo>
                  <a:lnTo>
                    <a:pt x="2800312" y="200876"/>
                  </a:lnTo>
                  <a:lnTo>
                    <a:pt x="2800351" y="200876"/>
                  </a:lnTo>
                  <a:lnTo>
                    <a:pt x="2800351" y="200228"/>
                  </a:lnTo>
                  <a:lnTo>
                    <a:pt x="2800351" y="200876"/>
                  </a:lnTo>
                  <a:lnTo>
                    <a:pt x="2800401" y="200876"/>
                  </a:lnTo>
                  <a:lnTo>
                    <a:pt x="2800401" y="200228"/>
                  </a:lnTo>
                  <a:lnTo>
                    <a:pt x="2800401" y="200876"/>
                  </a:lnTo>
                  <a:lnTo>
                    <a:pt x="2800452" y="200876"/>
                  </a:lnTo>
                  <a:lnTo>
                    <a:pt x="2800452" y="202260"/>
                  </a:lnTo>
                  <a:lnTo>
                    <a:pt x="2800452" y="200876"/>
                  </a:lnTo>
                  <a:lnTo>
                    <a:pt x="2800605" y="200876"/>
                  </a:lnTo>
                  <a:lnTo>
                    <a:pt x="2800605" y="200228"/>
                  </a:lnTo>
                  <a:lnTo>
                    <a:pt x="2800605" y="200876"/>
                  </a:lnTo>
                  <a:lnTo>
                    <a:pt x="2800605" y="199530"/>
                  </a:lnTo>
                  <a:lnTo>
                    <a:pt x="2800655" y="199530"/>
                  </a:lnTo>
                  <a:lnTo>
                    <a:pt x="2800655" y="198831"/>
                  </a:lnTo>
                  <a:lnTo>
                    <a:pt x="2800757" y="198831"/>
                  </a:lnTo>
                  <a:lnTo>
                    <a:pt x="2800757" y="199530"/>
                  </a:lnTo>
                  <a:lnTo>
                    <a:pt x="2800808" y="199530"/>
                  </a:lnTo>
                  <a:lnTo>
                    <a:pt x="2800808" y="200876"/>
                  </a:lnTo>
                  <a:lnTo>
                    <a:pt x="2800808" y="200228"/>
                  </a:lnTo>
                  <a:lnTo>
                    <a:pt x="2800808" y="200876"/>
                  </a:lnTo>
                  <a:lnTo>
                    <a:pt x="2800897" y="200876"/>
                  </a:lnTo>
                  <a:lnTo>
                    <a:pt x="2800897" y="202260"/>
                  </a:lnTo>
                  <a:lnTo>
                    <a:pt x="2800897" y="200876"/>
                  </a:lnTo>
                  <a:lnTo>
                    <a:pt x="2800897" y="202260"/>
                  </a:lnTo>
                  <a:lnTo>
                    <a:pt x="2800897" y="200876"/>
                  </a:lnTo>
                  <a:lnTo>
                    <a:pt x="2800897" y="202260"/>
                  </a:lnTo>
                  <a:lnTo>
                    <a:pt x="2800897" y="200876"/>
                  </a:lnTo>
                  <a:lnTo>
                    <a:pt x="2800998" y="200876"/>
                  </a:lnTo>
                  <a:lnTo>
                    <a:pt x="2800998" y="202260"/>
                  </a:lnTo>
                  <a:lnTo>
                    <a:pt x="2800998" y="200876"/>
                  </a:lnTo>
                  <a:lnTo>
                    <a:pt x="2800998" y="202260"/>
                  </a:lnTo>
                  <a:lnTo>
                    <a:pt x="2801049" y="202260"/>
                  </a:lnTo>
                  <a:lnTo>
                    <a:pt x="2801049" y="200228"/>
                  </a:lnTo>
                  <a:lnTo>
                    <a:pt x="2801100" y="200228"/>
                  </a:lnTo>
                  <a:lnTo>
                    <a:pt x="2801100" y="199530"/>
                  </a:lnTo>
                  <a:lnTo>
                    <a:pt x="2801100" y="200228"/>
                  </a:lnTo>
                  <a:lnTo>
                    <a:pt x="2801100" y="198831"/>
                  </a:lnTo>
                  <a:lnTo>
                    <a:pt x="2801100" y="199530"/>
                  </a:lnTo>
                  <a:lnTo>
                    <a:pt x="2801201" y="199530"/>
                  </a:lnTo>
                  <a:lnTo>
                    <a:pt x="2801201" y="197447"/>
                  </a:lnTo>
                  <a:lnTo>
                    <a:pt x="2801201" y="200228"/>
                  </a:lnTo>
                  <a:lnTo>
                    <a:pt x="2801252" y="200228"/>
                  </a:lnTo>
                  <a:lnTo>
                    <a:pt x="2801252" y="197447"/>
                  </a:lnTo>
                  <a:lnTo>
                    <a:pt x="2801252" y="202260"/>
                  </a:lnTo>
                  <a:lnTo>
                    <a:pt x="2801252" y="200876"/>
                  </a:lnTo>
                  <a:lnTo>
                    <a:pt x="2801303" y="200876"/>
                  </a:lnTo>
                  <a:lnTo>
                    <a:pt x="2801303" y="198831"/>
                  </a:lnTo>
                  <a:lnTo>
                    <a:pt x="2801303" y="200876"/>
                  </a:lnTo>
                  <a:lnTo>
                    <a:pt x="2801354" y="200876"/>
                  </a:lnTo>
                  <a:lnTo>
                    <a:pt x="2801354" y="200228"/>
                  </a:lnTo>
                  <a:lnTo>
                    <a:pt x="2801354" y="202260"/>
                  </a:lnTo>
                  <a:lnTo>
                    <a:pt x="2801354" y="200876"/>
                  </a:lnTo>
                  <a:lnTo>
                    <a:pt x="2801354" y="202260"/>
                  </a:lnTo>
                  <a:lnTo>
                    <a:pt x="2801354" y="200876"/>
                  </a:lnTo>
                  <a:lnTo>
                    <a:pt x="2801443" y="200876"/>
                  </a:lnTo>
                  <a:lnTo>
                    <a:pt x="2801443" y="202260"/>
                  </a:lnTo>
                  <a:lnTo>
                    <a:pt x="2801443" y="200876"/>
                  </a:lnTo>
                  <a:lnTo>
                    <a:pt x="2801443" y="202260"/>
                  </a:lnTo>
                  <a:lnTo>
                    <a:pt x="2801494" y="200876"/>
                  </a:lnTo>
                  <a:lnTo>
                    <a:pt x="2801494" y="202959"/>
                  </a:lnTo>
                  <a:lnTo>
                    <a:pt x="2801494" y="202260"/>
                  </a:lnTo>
                  <a:lnTo>
                    <a:pt x="2801494" y="202959"/>
                  </a:lnTo>
                  <a:lnTo>
                    <a:pt x="2801494" y="202260"/>
                  </a:lnTo>
                  <a:lnTo>
                    <a:pt x="2801544" y="202260"/>
                  </a:lnTo>
                  <a:lnTo>
                    <a:pt x="2801544" y="200228"/>
                  </a:lnTo>
                  <a:lnTo>
                    <a:pt x="2801544" y="200876"/>
                  </a:lnTo>
                  <a:lnTo>
                    <a:pt x="2801595" y="200876"/>
                  </a:lnTo>
                  <a:lnTo>
                    <a:pt x="2801595" y="199530"/>
                  </a:lnTo>
                  <a:lnTo>
                    <a:pt x="2801595" y="200228"/>
                  </a:lnTo>
                  <a:lnTo>
                    <a:pt x="2801595" y="199530"/>
                  </a:lnTo>
                  <a:lnTo>
                    <a:pt x="2801697" y="199530"/>
                  </a:lnTo>
                  <a:lnTo>
                    <a:pt x="2801697" y="198831"/>
                  </a:lnTo>
                  <a:lnTo>
                    <a:pt x="2801697" y="200228"/>
                  </a:lnTo>
                  <a:lnTo>
                    <a:pt x="2801697" y="199530"/>
                  </a:lnTo>
                  <a:lnTo>
                    <a:pt x="2801747" y="198831"/>
                  </a:lnTo>
                  <a:lnTo>
                    <a:pt x="2801747" y="200876"/>
                  </a:lnTo>
                  <a:lnTo>
                    <a:pt x="2801747" y="200228"/>
                  </a:lnTo>
                  <a:lnTo>
                    <a:pt x="2801798" y="199530"/>
                  </a:lnTo>
                  <a:lnTo>
                    <a:pt x="2801798" y="200228"/>
                  </a:lnTo>
                  <a:lnTo>
                    <a:pt x="2801798" y="199530"/>
                  </a:lnTo>
                  <a:lnTo>
                    <a:pt x="2801798" y="200876"/>
                  </a:lnTo>
                  <a:lnTo>
                    <a:pt x="2801798" y="200228"/>
                  </a:lnTo>
                  <a:lnTo>
                    <a:pt x="2801900" y="199530"/>
                  </a:lnTo>
                  <a:lnTo>
                    <a:pt x="2801900" y="202260"/>
                  </a:lnTo>
                  <a:lnTo>
                    <a:pt x="2801900" y="200876"/>
                  </a:lnTo>
                  <a:lnTo>
                    <a:pt x="2801900" y="202260"/>
                  </a:lnTo>
                  <a:lnTo>
                    <a:pt x="2801938" y="202260"/>
                  </a:lnTo>
                  <a:lnTo>
                    <a:pt x="2801938" y="200876"/>
                  </a:lnTo>
                  <a:lnTo>
                    <a:pt x="2801938" y="202260"/>
                  </a:lnTo>
                  <a:lnTo>
                    <a:pt x="2801938" y="200876"/>
                  </a:lnTo>
                  <a:lnTo>
                    <a:pt x="2801938" y="202260"/>
                  </a:lnTo>
                  <a:lnTo>
                    <a:pt x="2801938" y="200876"/>
                  </a:lnTo>
                  <a:lnTo>
                    <a:pt x="2801938" y="202959"/>
                  </a:lnTo>
                  <a:lnTo>
                    <a:pt x="2801989" y="202260"/>
                  </a:lnTo>
                  <a:lnTo>
                    <a:pt x="2801989" y="200876"/>
                  </a:lnTo>
                  <a:lnTo>
                    <a:pt x="2802040" y="200876"/>
                  </a:lnTo>
                  <a:lnTo>
                    <a:pt x="2802040" y="202260"/>
                  </a:lnTo>
                  <a:lnTo>
                    <a:pt x="2802040" y="200228"/>
                  </a:lnTo>
                  <a:lnTo>
                    <a:pt x="2802141" y="200228"/>
                  </a:lnTo>
                  <a:lnTo>
                    <a:pt x="2802141" y="200876"/>
                  </a:lnTo>
                  <a:lnTo>
                    <a:pt x="2802141" y="198831"/>
                  </a:lnTo>
                  <a:lnTo>
                    <a:pt x="2802192" y="198831"/>
                  </a:lnTo>
                  <a:lnTo>
                    <a:pt x="2802192" y="197447"/>
                  </a:lnTo>
                  <a:lnTo>
                    <a:pt x="2802192" y="200228"/>
                  </a:lnTo>
                  <a:lnTo>
                    <a:pt x="2802192" y="198831"/>
                  </a:lnTo>
                  <a:lnTo>
                    <a:pt x="2802192" y="199530"/>
                  </a:lnTo>
                  <a:lnTo>
                    <a:pt x="2802192" y="198831"/>
                  </a:lnTo>
                  <a:lnTo>
                    <a:pt x="2802243" y="197447"/>
                  </a:lnTo>
                  <a:lnTo>
                    <a:pt x="2802243" y="202260"/>
                  </a:lnTo>
                  <a:lnTo>
                    <a:pt x="2802243" y="199530"/>
                  </a:lnTo>
                  <a:lnTo>
                    <a:pt x="2802344" y="199530"/>
                  </a:lnTo>
                  <a:lnTo>
                    <a:pt x="2802344" y="200876"/>
                  </a:lnTo>
                  <a:lnTo>
                    <a:pt x="2802344" y="200228"/>
                  </a:lnTo>
                  <a:lnTo>
                    <a:pt x="2802395" y="200228"/>
                  </a:lnTo>
                  <a:lnTo>
                    <a:pt x="2802395" y="202260"/>
                  </a:lnTo>
                  <a:lnTo>
                    <a:pt x="2802395" y="200876"/>
                  </a:lnTo>
                  <a:lnTo>
                    <a:pt x="2802395" y="202260"/>
                  </a:lnTo>
                  <a:lnTo>
                    <a:pt x="2802395" y="200876"/>
                  </a:lnTo>
                  <a:lnTo>
                    <a:pt x="2802395" y="202260"/>
                  </a:lnTo>
                  <a:lnTo>
                    <a:pt x="2802446" y="202260"/>
                  </a:lnTo>
                  <a:lnTo>
                    <a:pt x="2802446" y="200876"/>
                  </a:lnTo>
                  <a:lnTo>
                    <a:pt x="2802446" y="202260"/>
                  </a:lnTo>
                  <a:lnTo>
                    <a:pt x="2802446" y="200876"/>
                  </a:lnTo>
                  <a:lnTo>
                    <a:pt x="2802446" y="202260"/>
                  </a:lnTo>
                  <a:lnTo>
                    <a:pt x="2802446" y="200876"/>
                  </a:lnTo>
                  <a:lnTo>
                    <a:pt x="2802446" y="202260"/>
                  </a:lnTo>
                  <a:lnTo>
                    <a:pt x="2802446" y="200876"/>
                  </a:lnTo>
                  <a:lnTo>
                    <a:pt x="2802446" y="202260"/>
                  </a:lnTo>
                  <a:lnTo>
                    <a:pt x="2802484" y="202260"/>
                  </a:lnTo>
                  <a:lnTo>
                    <a:pt x="2802484" y="200876"/>
                  </a:lnTo>
                  <a:lnTo>
                    <a:pt x="2802484" y="202260"/>
                  </a:lnTo>
                  <a:lnTo>
                    <a:pt x="2802484" y="200876"/>
                  </a:lnTo>
                  <a:lnTo>
                    <a:pt x="2802484" y="202260"/>
                  </a:lnTo>
                  <a:lnTo>
                    <a:pt x="2802484" y="200876"/>
                  </a:lnTo>
                  <a:lnTo>
                    <a:pt x="2802484" y="202260"/>
                  </a:lnTo>
                  <a:lnTo>
                    <a:pt x="2802484" y="200876"/>
                  </a:lnTo>
                  <a:lnTo>
                    <a:pt x="2802484" y="202260"/>
                  </a:lnTo>
                  <a:lnTo>
                    <a:pt x="2802586" y="202260"/>
                  </a:lnTo>
                  <a:lnTo>
                    <a:pt x="2802586" y="200228"/>
                  </a:lnTo>
                  <a:lnTo>
                    <a:pt x="2802637" y="200228"/>
                  </a:lnTo>
                  <a:lnTo>
                    <a:pt x="2802637" y="200876"/>
                  </a:lnTo>
                  <a:lnTo>
                    <a:pt x="2802637" y="199530"/>
                  </a:lnTo>
                  <a:lnTo>
                    <a:pt x="2802637" y="200228"/>
                  </a:lnTo>
                  <a:lnTo>
                    <a:pt x="2802637" y="198831"/>
                  </a:lnTo>
                  <a:lnTo>
                    <a:pt x="2802687" y="199530"/>
                  </a:lnTo>
                  <a:lnTo>
                    <a:pt x="2802687" y="200228"/>
                  </a:lnTo>
                  <a:lnTo>
                    <a:pt x="2802687" y="196799"/>
                  </a:lnTo>
                  <a:lnTo>
                    <a:pt x="2802687" y="200228"/>
                  </a:lnTo>
                  <a:lnTo>
                    <a:pt x="2802789" y="200876"/>
                  </a:lnTo>
                  <a:lnTo>
                    <a:pt x="2802789" y="202260"/>
                  </a:lnTo>
                  <a:lnTo>
                    <a:pt x="2802789" y="199530"/>
                  </a:lnTo>
                  <a:lnTo>
                    <a:pt x="2802789" y="200876"/>
                  </a:lnTo>
                  <a:lnTo>
                    <a:pt x="2802840" y="200876"/>
                  </a:lnTo>
                  <a:lnTo>
                    <a:pt x="2802840" y="199530"/>
                  </a:lnTo>
                  <a:lnTo>
                    <a:pt x="2802840" y="200228"/>
                  </a:lnTo>
                  <a:lnTo>
                    <a:pt x="2802840" y="199530"/>
                  </a:lnTo>
                  <a:lnTo>
                    <a:pt x="2802840" y="200228"/>
                  </a:lnTo>
                  <a:lnTo>
                    <a:pt x="2802890" y="200228"/>
                  </a:lnTo>
                  <a:lnTo>
                    <a:pt x="2802890" y="200876"/>
                  </a:lnTo>
                  <a:lnTo>
                    <a:pt x="2802890" y="200228"/>
                  </a:lnTo>
                  <a:lnTo>
                    <a:pt x="2802890" y="200876"/>
                  </a:lnTo>
                  <a:lnTo>
                    <a:pt x="2802890" y="200228"/>
                  </a:lnTo>
                  <a:lnTo>
                    <a:pt x="2802890" y="200876"/>
                  </a:lnTo>
                  <a:lnTo>
                    <a:pt x="2802890" y="200228"/>
                  </a:lnTo>
                  <a:lnTo>
                    <a:pt x="2802890" y="200876"/>
                  </a:lnTo>
                  <a:lnTo>
                    <a:pt x="2802941" y="200876"/>
                  </a:lnTo>
                  <a:lnTo>
                    <a:pt x="2802941" y="200228"/>
                  </a:lnTo>
                  <a:lnTo>
                    <a:pt x="2802941" y="200876"/>
                  </a:lnTo>
                  <a:lnTo>
                    <a:pt x="2802941" y="200228"/>
                  </a:lnTo>
                  <a:lnTo>
                    <a:pt x="2803030" y="200876"/>
                  </a:lnTo>
                  <a:lnTo>
                    <a:pt x="2803030" y="200228"/>
                  </a:lnTo>
                  <a:lnTo>
                    <a:pt x="2803030" y="200876"/>
                  </a:lnTo>
                  <a:lnTo>
                    <a:pt x="2803030" y="200228"/>
                  </a:lnTo>
                  <a:lnTo>
                    <a:pt x="2803030" y="200876"/>
                  </a:lnTo>
                  <a:lnTo>
                    <a:pt x="2803030" y="200228"/>
                  </a:lnTo>
                  <a:lnTo>
                    <a:pt x="2803081" y="200228"/>
                  </a:lnTo>
                  <a:lnTo>
                    <a:pt x="2803081" y="199530"/>
                  </a:lnTo>
                  <a:lnTo>
                    <a:pt x="2803132" y="199530"/>
                  </a:lnTo>
                  <a:lnTo>
                    <a:pt x="2803132" y="198831"/>
                  </a:lnTo>
                  <a:lnTo>
                    <a:pt x="2803132" y="200876"/>
                  </a:lnTo>
                  <a:lnTo>
                    <a:pt x="2803132" y="200228"/>
                  </a:lnTo>
                  <a:lnTo>
                    <a:pt x="2803183" y="200228"/>
                  </a:lnTo>
                  <a:lnTo>
                    <a:pt x="2803183" y="198831"/>
                  </a:lnTo>
                  <a:lnTo>
                    <a:pt x="2803183" y="199530"/>
                  </a:lnTo>
                  <a:lnTo>
                    <a:pt x="2803183" y="198831"/>
                  </a:lnTo>
                  <a:lnTo>
                    <a:pt x="2803183" y="202260"/>
                  </a:lnTo>
                  <a:lnTo>
                    <a:pt x="2803183" y="200876"/>
                  </a:lnTo>
                  <a:lnTo>
                    <a:pt x="2803284" y="200876"/>
                  </a:lnTo>
                  <a:lnTo>
                    <a:pt x="2803284" y="200228"/>
                  </a:lnTo>
                  <a:lnTo>
                    <a:pt x="2803284" y="202260"/>
                  </a:lnTo>
                  <a:lnTo>
                    <a:pt x="2803284" y="200876"/>
                  </a:lnTo>
                  <a:lnTo>
                    <a:pt x="2803335" y="200876"/>
                  </a:lnTo>
                  <a:lnTo>
                    <a:pt x="2803335" y="202260"/>
                  </a:lnTo>
                  <a:lnTo>
                    <a:pt x="2803335" y="200876"/>
                  </a:lnTo>
                  <a:lnTo>
                    <a:pt x="2803335" y="202260"/>
                  </a:lnTo>
                  <a:lnTo>
                    <a:pt x="2803335" y="200876"/>
                  </a:lnTo>
                  <a:lnTo>
                    <a:pt x="2803335" y="202260"/>
                  </a:lnTo>
                  <a:lnTo>
                    <a:pt x="2803386" y="202260"/>
                  </a:lnTo>
                  <a:lnTo>
                    <a:pt x="2803386" y="200876"/>
                  </a:lnTo>
                  <a:lnTo>
                    <a:pt x="2803386" y="202959"/>
                  </a:lnTo>
                  <a:lnTo>
                    <a:pt x="2803386" y="202260"/>
                  </a:lnTo>
                  <a:lnTo>
                    <a:pt x="2803487" y="202260"/>
                  </a:lnTo>
                  <a:lnTo>
                    <a:pt x="2803487" y="200876"/>
                  </a:lnTo>
                  <a:lnTo>
                    <a:pt x="2803487" y="202260"/>
                  </a:lnTo>
                  <a:lnTo>
                    <a:pt x="2803487" y="200876"/>
                  </a:lnTo>
                  <a:lnTo>
                    <a:pt x="2803526" y="202260"/>
                  </a:lnTo>
                  <a:lnTo>
                    <a:pt x="2803526" y="200876"/>
                  </a:lnTo>
                  <a:lnTo>
                    <a:pt x="2803526" y="202260"/>
                  </a:lnTo>
                  <a:lnTo>
                    <a:pt x="2803526" y="200228"/>
                  </a:lnTo>
                  <a:lnTo>
                    <a:pt x="2803526" y="200876"/>
                  </a:lnTo>
                  <a:lnTo>
                    <a:pt x="2803576" y="200876"/>
                  </a:lnTo>
                  <a:lnTo>
                    <a:pt x="2803576" y="199530"/>
                  </a:lnTo>
                  <a:lnTo>
                    <a:pt x="2803576" y="200228"/>
                  </a:lnTo>
                  <a:lnTo>
                    <a:pt x="2803576" y="199530"/>
                  </a:lnTo>
                  <a:lnTo>
                    <a:pt x="2803576" y="200228"/>
                  </a:lnTo>
                  <a:lnTo>
                    <a:pt x="2803576" y="199530"/>
                  </a:lnTo>
                  <a:lnTo>
                    <a:pt x="2803627" y="199530"/>
                  </a:lnTo>
                  <a:lnTo>
                    <a:pt x="2803627" y="198831"/>
                  </a:lnTo>
                  <a:lnTo>
                    <a:pt x="2803627" y="200876"/>
                  </a:lnTo>
                  <a:lnTo>
                    <a:pt x="2803627" y="200228"/>
                  </a:lnTo>
                  <a:lnTo>
                    <a:pt x="2803627" y="200876"/>
                  </a:lnTo>
                  <a:lnTo>
                    <a:pt x="2803627" y="199530"/>
                  </a:lnTo>
                  <a:lnTo>
                    <a:pt x="2803729" y="200228"/>
                  </a:lnTo>
                  <a:lnTo>
                    <a:pt x="2803729" y="202959"/>
                  </a:lnTo>
                  <a:lnTo>
                    <a:pt x="2803729" y="200228"/>
                  </a:lnTo>
                  <a:lnTo>
                    <a:pt x="2803729" y="200876"/>
                  </a:lnTo>
                  <a:lnTo>
                    <a:pt x="2803780" y="200876"/>
                  </a:lnTo>
                  <a:lnTo>
                    <a:pt x="2803780" y="202260"/>
                  </a:lnTo>
                  <a:lnTo>
                    <a:pt x="2803780" y="200876"/>
                  </a:lnTo>
                  <a:lnTo>
                    <a:pt x="2803780" y="202260"/>
                  </a:lnTo>
                  <a:lnTo>
                    <a:pt x="2803830" y="202260"/>
                  </a:lnTo>
                  <a:lnTo>
                    <a:pt x="2803830" y="202959"/>
                  </a:lnTo>
                  <a:lnTo>
                    <a:pt x="2803830" y="202260"/>
                  </a:lnTo>
                  <a:lnTo>
                    <a:pt x="2803932" y="202260"/>
                  </a:lnTo>
                  <a:lnTo>
                    <a:pt x="2803932" y="202959"/>
                  </a:lnTo>
                  <a:lnTo>
                    <a:pt x="2803932" y="202260"/>
                  </a:lnTo>
                  <a:lnTo>
                    <a:pt x="2803932" y="202959"/>
                  </a:lnTo>
                  <a:lnTo>
                    <a:pt x="2803932" y="202260"/>
                  </a:lnTo>
                  <a:lnTo>
                    <a:pt x="2803932" y="202959"/>
                  </a:lnTo>
                  <a:lnTo>
                    <a:pt x="2803932" y="202260"/>
                  </a:lnTo>
                  <a:lnTo>
                    <a:pt x="2803983" y="202260"/>
                  </a:lnTo>
                  <a:lnTo>
                    <a:pt x="2803983" y="200876"/>
                  </a:lnTo>
                  <a:lnTo>
                    <a:pt x="2803983" y="202260"/>
                  </a:lnTo>
                  <a:lnTo>
                    <a:pt x="2803983" y="200876"/>
                  </a:lnTo>
                  <a:lnTo>
                    <a:pt x="2803983" y="202260"/>
                  </a:lnTo>
                  <a:lnTo>
                    <a:pt x="2803983" y="200876"/>
                  </a:lnTo>
                  <a:lnTo>
                    <a:pt x="2804033" y="200876"/>
                  </a:lnTo>
                  <a:lnTo>
                    <a:pt x="2804033" y="200228"/>
                  </a:lnTo>
                  <a:lnTo>
                    <a:pt x="2804033" y="200876"/>
                  </a:lnTo>
                  <a:lnTo>
                    <a:pt x="2804033" y="200228"/>
                  </a:lnTo>
                  <a:lnTo>
                    <a:pt x="2804033" y="200876"/>
                  </a:lnTo>
                  <a:lnTo>
                    <a:pt x="2804033" y="200228"/>
                  </a:lnTo>
                  <a:lnTo>
                    <a:pt x="2804033" y="200876"/>
                  </a:lnTo>
                  <a:lnTo>
                    <a:pt x="2804033" y="200228"/>
                  </a:lnTo>
                  <a:lnTo>
                    <a:pt x="2804072" y="200228"/>
                  </a:lnTo>
                  <a:lnTo>
                    <a:pt x="2804072" y="199530"/>
                  </a:lnTo>
                  <a:lnTo>
                    <a:pt x="2804072" y="200228"/>
                  </a:lnTo>
                  <a:lnTo>
                    <a:pt x="2804072" y="198831"/>
                  </a:lnTo>
                  <a:lnTo>
                    <a:pt x="2804072" y="199530"/>
                  </a:lnTo>
                  <a:lnTo>
                    <a:pt x="2804072" y="198831"/>
                  </a:lnTo>
                  <a:lnTo>
                    <a:pt x="2804072" y="200228"/>
                  </a:lnTo>
                  <a:lnTo>
                    <a:pt x="2804173" y="200228"/>
                  </a:lnTo>
                  <a:lnTo>
                    <a:pt x="2804173" y="199530"/>
                  </a:lnTo>
                  <a:lnTo>
                    <a:pt x="2804173" y="200228"/>
                  </a:lnTo>
                  <a:lnTo>
                    <a:pt x="2804173" y="198831"/>
                  </a:lnTo>
                  <a:lnTo>
                    <a:pt x="2804173" y="202260"/>
                  </a:lnTo>
                  <a:lnTo>
                    <a:pt x="2804173" y="200876"/>
                  </a:lnTo>
                  <a:lnTo>
                    <a:pt x="2804173" y="202260"/>
                  </a:lnTo>
                  <a:lnTo>
                    <a:pt x="2804224" y="202260"/>
                  </a:lnTo>
                  <a:lnTo>
                    <a:pt x="2804224" y="200228"/>
                  </a:lnTo>
                  <a:lnTo>
                    <a:pt x="2804224" y="200876"/>
                  </a:lnTo>
                  <a:lnTo>
                    <a:pt x="2804224" y="200228"/>
                  </a:lnTo>
                  <a:lnTo>
                    <a:pt x="2804224" y="202260"/>
                  </a:lnTo>
                  <a:lnTo>
                    <a:pt x="2804224" y="200876"/>
                  </a:lnTo>
                  <a:lnTo>
                    <a:pt x="2804275" y="202260"/>
                  </a:lnTo>
                  <a:lnTo>
                    <a:pt x="2804275" y="200876"/>
                  </a:lnTo>
                  <a:lnTo>
                    <a:pt x="2804275" y="202260"/>
                  </a:lnTo>
                  <a:lnTo>
                    <a:pt x="2804376" y="202260"/>
                  </a:lnTo>
                  <a:lnTo>
                    <a:pt x="2804376" y="200876"/>
                  </a:lnTo>
                  <a:lnTo>
                    <a:pt x="2804376" y="202260"/>
                  </a:lnTo>
                  <a:lnTo>
                    <a:pt x="2804427" y="202260"/>
                  </a:lnTo>
                  <a:lnTo>
                    <a:pt x="2804427" y="202959"/>
                  </a:lnTo>
                  <a:lnTo>
                    <a:pt x="2804427" y="202260"/>
                  </a:lnTo>
                  <a:lnTo>
                    <a:pt x="2804478" y="202260"/>
                  </a:lnTo>
                  <a:lnTo>
                    <a:pt x="2804478" y="200228"/>
                  </a:lnTo>
                  <a:lnTo>
                    <a:pt x="2804529" y="200228"/>
                  </a:lnTo>
                  <a:lnTo>
                    <a:pt x="2804529" y="200876"/>
                  </a:lnTo>
                  <a:lnTo>
                    <a:pt x="2804529" y="199530"/>
                  </a:lnTo>
                  <a:lnTo>
                    <a:pt x="2804618" y="199530"/>
                  </a:lnTo>
                  <a:lnTo>
                    <a:pt x="2804618" y="197447"/>
                  </a:lnTo>
                  <a:lnTo>
                    <a:pt x="2804618" y="200228"/>
                  </a:lnTo>
                  <a:lnTo>
                    <a:pt x="2804618" y="199530"/>
                  </a:lnTo>
                  <a:lnTo>
                    <a:pt x="2804669" y="198831"/>
                  </a:lnTo>
                  <a:lnTo>
                    <a:pt x="2804669" y="199530"/>
                  </a:lnTo>
                  <a:lnTo>
                    <a:pt x="2804669" y="198831"/>
                  </a:lnTo>
                  <a:lnTo>
                    <a:pt x="2804669" y="200876"/>
                  </a:lnTo>
                  <a:lnTo>
                    <a:pt x="2804669" y="200228"/>
                  </a:lnTo>
                  <a:lnTo>
                    <a:pt x="2804719" y="200228"/>
                  </a:lnTo>
                  <a:lnTo>
                    <a:pt x="2804719" y="199530"/>
                  </a:lnTo>
                  <a:lnTo>
                    <a:pt x="2804719" y="202260"/>
                  </a:lnTo>
                  <a:lnTo>
                    <a:pt x="2804719" y="200228"/>
                  </a:lnTo>
                  <a:lnTo>
                    <a:pt x="2804719" y="200876"/>
                  </a:lnTo>
                  <a:lnTo>
                    <a:pt x="2804770" y="200876"/>
                  </a:lnTo>
                  <a:lnTo>
                    <a:pt x="2804770" y="202260"/>
                  </a:lnTo>
                  <a:lnTo>
                    <a:pt x="2804770" y="200876"/>
                  </a:lnTo>
                  <a:lnTo>
                    <a:pt x="2804770" y="202260"/>
                  </a:lnTo>
                  <a:lnTo>
                    <a:pt x="2804922" y="202260"/>
                  </a:lnTo>
                  <a:lnTo>
                    <a:pt x="2804922" y="200876"/>
                  </a:lnTo>
                  <a:lnTo>
                    <a:pt x="2804922" y="202959"/>
                  </a:lnTo>
                  <a:lnTo>
                    <a:pt x="2804922" y="202260"/>
                  </a:lnTo>
                  <a:lnTo>
                    <a:pt x="2804973" y="202260"/>
                  </a:lnTo>
                  <a:lnTo>
                    <a:pt x="2804973" y="200228"/>
                  </a:lnTo>
                  <a:lnTo>
                    <a:pt x="2804973" y="200876"/>
                  </a:lnTo>
                  <a:lnTo>
                    <a:pt x="2804973" y="200228"/>
                  </a:lnTo>
                  <a:lnTo>
                    <a:pt x="2804973" y="200876"/>
                  </a:lnTo>
                  <a:lnTo>
                    <a:pt x="2805075" y="200876"/>
                  </a:lnTo>
                  <a:lnTo>
                    <a:pt x="2805075" y="197447"/>
                  </a:lnTo>
                  <a:lnTo>
                    <a:pt x="2805113" y="197447"/>
                  </a:lnTo>
                  <a:lnTo>
                    <a:pt x="2805113" y="196113"/>
                  </a:lnTo>
                  <a:lnTo>
                    <a:pt x="2805113" y="199530"/>
                  </a:lnTo>
                  <a:lnTo>
                    <a:pt x="2805113" y="197447"/>
                  </a:lnTo>
                  <a:lnTo>
                    <a:pt x="2805164" y="197447"/>
                  </a:lnTo>
                  <a:lnTo>
                    <a:pt x="2805164" y="196799"/>
                  </a:lnTo>
                  <a:lnTo>
                    <a:pt x="2805164" y="199530"/>
                  </a:lnTo>
                  <a:lnTo>
                    <a:pt x="2805164" y="198831"/>
                  </a:lnTo>
                  <a:lnTo>
                    <a:pt x="2805215" y="197447"/>
                  </a:lnTo>
                  <a:lnTo>
                    <a:pt x="2805215" y="200228"/>
                  </a:lnTo>
                  <a:lnTo>
                    <a:pt x="2805215" y="199530"/>
                  </a:lnTo>
                  <a:lnTo>
                    <a:pt x="2805215" y="200228"/>
                  </a:lnTo>
                  <a:lnTo>
                    <a:pt x="2805215" y="199530"/>
                  </a:lnTo>
                  <a:lnTo>
                    <a:pt x="2805316" y="199530"/>
                  </a:lnTo>
                  <a:lnTo>
                    <a:pt x="2805316" y="200228"/>
                  </a:lnTo>
                  <a:lnTo>
                    <a:pt x="2805316" y="199530"/>
                  </a:lnTo>
                  <a:lnTo>
                    <a:pt x="2805316" y="200876"/>
                  </a:lnTo>
                  <a:lnTo>
                    <a:pt x="2805316" y="200228"/>
                  </a:lnTo>
                  <a:lnTo>
                    <a:pt x="2805367" y="200228"/>
                  </a:lnTo>
                  <a:lnTo>
                    <a:pt x="2805367" y="202260"/>
                  </a:lnTo>
                  <a:lnTo>
                    <a:pt x="2805367" y="200876"/>
                  </a:lnTo>
                  <a:lnTo>
                    <a:pt x="2805418" y="200876"/>
                  </a:lnTo>
                  <a:lnTo>
                    <a:pt x="2805418" y="202260"/>
                  </a:lnTo>
                  <a:lnTo>
                    <a:pt x="2805418" y="200876"/>
                  </a:lnTo>
                  <a:lnTo>
                    <a:pt x="2805418" y="202260"/>
                  </a:lnTo>
                  <a:lnTo>
                    <a:pt x="2805418" y="200876"/>
                  </a:lnTo>
                  <a:lnTo>
                    <a:pt x="2805418" y="202260"/>
                  </a:lnTo>
                  <a:lnTo>
                    <a:pt x="2805418" y="200876"/>
                  </a:lnTo>
                  <a:lnTo>
                    <a:pt x="2805418" y="202260"/>
                  </a:lnTo>
                  <a:lnTo>
                    <a:pt x="2805418" y="200876"/>
                  </a:lnTo>
                  <a:lnTo>
                    <a:pt x="2805519" y="200876"/>
                  </a:lnTo>
                  <a:lnTo>
                    <a:pt x="2805519" y="202260"/>
                  </a:lnTo>
                  <a:lnTo>
                    <a:pt x="2805519" y="200876"/>
                  </a:lnTo>
                  <a:lnTo>
                    <a:pt x="2805519" y="202260"/>
                  </a:lnTo>
                  <a:lnTo>
                    <a:pt x="2805519" y="200228"/>
                  </a:lnTo>
                  <a:lnTo>
                    <a:pt x="2805570" y="200228"/>
                  </a:lnTo>
                  <a:lnTo>
                    <a:pt x="2805570" y="200876"/>
                  </a:lnTo>
                  <a:lnTo>
                    <a:pt x="2805570" y="198831"/>
                  </a:lnTo>
                  <a:lnTo>
                    <a:pt x="2805570" y="199530"/>
                  </a:lnTo>
                  <a:lnTo>
                    <a:pt x="2805621" y="199530"/>
                  </a:lnTo>
                  <a:lnTo>
                    <a:pt x="2805621" y="197447"/>
                  </a:lnTo>
                  <a:lnTo>
                    <a:pt x="2805621" y="198831"/>
                  </a:lnTo>
                  <a:lnTo>
                    <a:pt x="2805621" y="196799"/>
                  </a:lnTo>
                  <a:lnTo>
                    <a:pt x="2805659" y="196799"/>
                  </a:lnTo>
                  <a:lnTo>
                    <a:pt x="2805659" y="199530"/>
                  </a:lnTo>
                  <a:lnTo>
                    <a:pt x="2805659" y="197447"/>
                  </a:lnTo>
                  <a:lnTo>
                    <a:pt x="2805761" y="197447"/>
                  </a:lnTo>
                  <a:lnTo>
                    <a:pt x="2805761" y="199530"/>
                  </a:lnTo>
                  <a:lnTo>
                    <a:pt x="2805761" y="198831"/>
                  </a:lnTo>
                  <a:lnTo>
                    <a:pt x="2805761" y="199530"/>
                  </a:lnTo>
                  <a:lnTo>
                    <a:pt x="2805761" y="198831"/>
                  </a:lnTo>
                  <a:lnTo>
                    <a:pt x="2805812" y="198831"/>
                  </a:lnTo>
                  <a:lnTo>
                    <a:pt x="2805812" y="200228"/>
                  </a:lnTo>
                  <a:lnTo>
                    <a:pt x="2805812" y="198831"/>
                  </a:lnTo>
                  <a:lnTo>
                    <a:pt x="2805812" y="199530"/>
                  </a:lnTo>
                  <a:lnTo>
                    <a:pt x="2805862" y="199530"/>
                  </a:lnTo>
                  <a:lnTo>
                    <a:pt x="2805862" y="200228"/>
                  </a:lnTo>
                  <a:lnTo>
                    <a:pt x="2805862" y="199530"/>
                  </a:lnTo>
                  <a:lnTo>
                    <a:pt x="2805862" y="200228"/>
                  </a:lnTo>
                  <a:lnTo>
                    <a:pt x="2805862" y="199530"/>
                  </a:lnTo>
                  <a:lnTo>
                    <a:pt x="2805862" y="200228"/>
                  </a:lnTo>
                  <a:lnTo>
                    <a:pt x="2805964" y="200876"/>
                  </a:lnTo>
                  <a:lnTo>
                    <a:pt x="2805964" y="200228"/>
                  </a:lnTo>
                  <a:lnTo>
                    <a:pt x="2805964" y="200876"/>
                  </a:lnTo>
                  <a:lnTo>
                    <a:pt x="2805964" y="200228"/>
                  </a:lnTo>
                  <a:lnTo>
                    <a:pt x="2805964" y="200876"/>
                  </a:lnTo>
                  <a:lnTo>
                    <a:pt x="2806015" y="200876"/>
                  </a:lnTo>
                  <a:lnTo>
                    <a:pt x="2806015" y="199530"/>
                  </a:lnTo>
                  <a:lnTo>
                    <a:pt x="2806015" y="200876"/>
                  </a:lnTo>
                  <a:lnTo>
                    <a:pt x="2806015" y="200228"/>
                  </a:lnTo>
                  <a:lnTo>
                    <a:pt x="2806065" y="200228"/>
                  </a:lnTo>
                  <a:lnTo>
                    <a:pt x="2806065" y="197447"/>
                  </a:lnTo>
                  <a:lnTo>
                    <a:pt x="2806116" y="197447"/>
                  </a:lnTo>
                  <a:lnTo>
                    <a:pt x="2806116" y="198831"/>
                  </a:lnTo>
                  <a:lnTo>
                    <a:pt x="2806116" y="197447"/>
                  </a:lnTo>
                  <a:lnTo>
                    <a:pt x="2806116" y="198831"/>
                  </a:lnTo>
                  <a:lnTo>
                    <a:pt x="2806205" y="198831"/>
                  </a:lnTo>
                  <a:lnTo>
                    <a:pt x="2806205" y="200228"/>
                  </a:lnTo>
                  <a:lnTo>
                    <a:pt x="2806205" y="199530"/>
                  </a:lnTo>
                  <a:lnTo>
                    <a:pt x="2806205" y="200228"/>
                  </a:lnTo>
                  <a:lnTo>
                    <a:pt x="2806205" y="199530"/>
                  </a:lnTo>
                  <a:lnTo>
                    <a:pt x="2806205" y="200228"/>
                  </a:lnTo>
                  <a:lnTo>
                    <a:pt x="2806205" y="198831"/>
                  </a:lnTo>
                  <a:lnTo>
                    <a:pt x="2806205" y="199530"/>
                  </a:lnTo>
                  <a:lnTo>
                    <a:pt x="2806256" y="199530"/>
                  </a:lnTo>
                  <a:lnTo>
                    <a:pt x="2806256" y="200876"/>
                  </a:lnTo>
                  <a:lnTo>
                    <a:pt x="2806256" y="200228"/>
                  </a:lnTo>
                  <a:lnTo>
                    <a:pt x="2806307" y="200876"/>
                  </a:lnTo>
                  <a:lnTo>
                    <a:pt x="2806307" y="199530"/>
                  </a:lnTo>
                  <a:lnTo>
                    <a:pt x="2806307" y="200228"/>
                  </a:lnTo>
                  <a:lnTo>
                    <a:pt x="2806358" y="199530"/>
                  </a:lnTo>
                  <a:lnTo>
                    <a:pt x="2806358" y="200228"/>
                  </a:lnTo>
                  <a:lnTo>
                    <a:pt x="2806358" y="199530"/>
                  </a:lnTo>
                  <a:lnTo>
                    <a:pt x="2806358" y="200876"/>
                  </a:lnTo>
                  <a:lnTo>
                    <a:pt x="2806358" y="200228"/>
                  </a:lnTo>
                  <a:lnTo>
                    <a:pt x="2806358" y="200876"/>
                  </a:lnTo>
                  <a:lnTo>
                    <a:pt x="2806358" y="200228"/>
                  </a:lnTo>
                  <a:lnTo>
                    <a:pt x="2806459" y="200876"/>
                  </a:lnTo>
                  <a:lnTo>
                    <a:pt x="2806459" y="200228"/>
                  </a:lnTo>
                  <a:lnTo>
                    <a:pt x="2806459" y="200876"/>
                  </a:lnTo>
                  <a:lnTo>
                    <a:pt x="2806459" y="200228"/>
                  </a:lnTo>
                  <a:lnTo>
                    <a:pt x="2806459" y="200876"/>
                  </a:lnTo>
                  <a:lnTo>
                    <a:pt x="2806510" y="200228"/>
                  </a:lnTo>
                  <a:lnTo>
                    <a:pt x="2806510" y="200876"/>
                  </a:lnTo>
                  <a:lnTo>
                    <a:pt x="2806510" y="200228"/>
                  </a:lnTo>
                  <a:lnTo>
                    <a:pt x="2806510" y="200876"/>
                  </a:lnTo>
                  <a:lnTo>
                    <a:pt x="2806510" y="200228"/>
                  </a:lnTo>
                  <a:lnTo>
                    <a:pt x="2806561" y="199530"/>
                  </a:lnTo>
                  <a:lnTo>
                    <a:pt x="2806561" y="197447"/>
                  </a:lnTo>
                  <a:lnTo>
                    <a:pt x="2806561" y="198831"/>
                  </a:lnTo>
                  <a:lnTo>
                    <a:pt x="2806561" y="197447"/>
                  </a:lnTo>
                  <a:lnTo>
                    <a:pt x="2806561" y="198831"/>
                  </a:lnTo>
                  <a:lnTo>
                    <a:pt x="2806561" y="197447"/>
                  </a:lnTo>
                  <a:lnTo>
                    <a:pt x="2806662" y="197447"/>
                  </a:lnTo>
                  <a:lnTo>
                    <a:pt x="2806662" y="199530"/>
                  </a:lnTo>
                  <a:lnTo>
                    <a:pt x="2806662" y="198831"/>
                  </a:lnTo>
                  <a:lnTo>
                    <a:pt x="2806662" y="199530"/>
                  </a:lnTo>
                  <a:lnTo>
                    <a:pt x="2806662" y="198831"/>
                  </a:lnTo>
                  <a:lnTo>
                    <a:pt x="2806662" y="199530"/>
                  </a:lnTo>
                  <a:lnTo>
                    <a:pt x="2806662" y="198831"/>
                  </a:lnTo>
                  <a:lnTo>
                    <a:pt x="2806662" y="199530"/>
                  </a:lnTo>
                  <a:lnTo>
                    <a:pt x="2806701" y="199530"/>
                  </a:lnTo>
                  <a:lnTo>
                    <a:pt x="2806701" y="200876"/>
                  </a:lnTo>
                  <a:lnTo>
                    <a:pt x="2806701" y="199530"/>
                  </a:lnTo>
                  <a:lnTo>
                    <a:pt x="2806701" y="200228"/>
                  </a:lnTo>
                  <a:lnTo>
                    <a:pt x="2806701" y="199530"/>
                  </a:lnTo>
                  <a:lnTo>
                    <a:pt x="2806701" y="200228"/>
                  </a:lnTo>
                  <a:lnTo>
                    <a:pt x="2806751" y="200228"/>
                  </a:lnTo>
                  <a:lnTo>
                    <a:pt x="2806751" y="200876"/>
                  </a:lnTo>
                  <a:lnTo>
                    <a:pt x="2806751" y="200228"/>
                  </a:lnTo>
                  <a:lnTo>
                    <a:pt x="2806751" y="200876"/>
                  </a:lnTo>
                  <a:lnTo>
                    <a:pt x="2806751" y="200228"/>
                  </a:lnTo>
                  <a:lnTo>
                    <a:pt x="2806751" y="200876"/>
                  </a:lnTo>
                  <a:lnTo>
                    <a:pt x="2806802" y="200228"/>
                  </a:lnTo>
                  <a:lnTo>
                    <a:pt x="2806802" y="200876"/>
                  </a:lnTo>
                  <a:lnTo>
                    <a:pt x="2806802" y="199530"/>
                  </a:lnTo>
                  <a:lnTo>
                    <a:pt x="2806802" y="200876"/>
                  </a:lnTo>
                  <a:lnTo>
                    <a:pt x="2806802" y="200228"/>
                  </a:lnTo>
                  <a:lnTo>
                    <a:pt x="2806904" y="200228"/>
                  </a:lnTo>
                  <a:lnTo>
                    <a:pt x="2806904" y="200876"/>
                  </a:lnTo>
                  <a:lnTo>
                    <a:pt x="2806904" y="200228"/>
                  </a:lnTo>
                  <a:lnTo>
                    <a:pt x="2806904" y="200876"/>
                  </a:lnTo>
                  <a:lnTo>
                    <a:pt x="2806904" y="200228"/>
                  </a:lnTo>
                  <a:lnTo>
                    <a:pt x="2806955" y="200228"/>
                  </a:lnTo>
                  <a:lnTo>
                    <a:pt x="2806955" y="200876"/>
                  </a:lnTo>
                  <a:lnTo>
                    <a:pt x="2806955" y="200228"/>
                  </a:lnTo>
                  <a:lnTo>
                    <a:pt x="2806955" y="200876"/>
                  </a:lnTo>
                  <a:lnTo>
                    <a:pt x="2806955" y="200228"/>
                  </a:lnTo>
                  <a:lnTo>
                    <a:pt x="2807005" y="199530"/>
                  </a:lnTo>
                  <a:lnTo>
                    <a:pt x="2807005" y="200228"/>
                  </a:lnTo>
                  <a:lnTo>
                    <a:pt x="2807005" y="199530"/>
                  </a:lnTo>
                  <a:lnTo>
                    <a:pt x="2807005" y="200228"/>
                  </a:lnTo>
                  <a:lnTo>
                    <a:pt x="2807005" y="199530"/>
                  </a:lnTo>
                  <a:lnTo>
                    <a:pt x="2807005" y="200228"/>
                  </a:lnTo>
                  <a:lnTo>
                    <a:pt x="2807005" y="198831"/>
                  </a:lnTo>
                  <a:lnTo>
                    <a:pt x="2807107" y="198831"/>
                  </a:lnTo>
                  <a:lnTo>
                    <a:pt x="2807107" y="196799"/>
                  </a:lnTo>
                  <a:lnTo>
                    <a:pt x="2807107" y="197447"/>
                  </a:lnTo>
                  <a:lnTo>
                    <a:pt x="2807107" y="196799"/>
                  </a:lnTo>
                  <a:lnTo>
                    <a:pt x="2807107" y="197447"/>
                  </a:lnTo>
                  <a:lnTo>
                    <a:pt x="2807158" y="197447"/>
                  </a:lnTo>
                  <a:lnTo>
                    <a:pt x="2807158" y="198831"/>
                  </a:lnTo>
                  <a:lnTo>
                    <a:pt x="2807158" y="197447"/>
                  </a:lnTo>
                  <a:lnTo>
                    <a:pt x="2807158" y="200228"/>
                  </a:lnTo>
                  <a:lnTo>
                    <a:pt x="2807208" y="200228"/>
                  </a:lnTo>
                  <a:lnTo>
                    <a:pt x="2807208" y="199530"/>
                  </a:lnTo>
                  <a:lnTo>
                    <a:pt x="2807208" y="200876"/>
                  </a:lnTo>
                  <a:lnTo>
                    <a:pt x="2807247" y="200876"/>
                  </a:lnTo>
                  <a:lnTo>
                    <a:pt x="2807247" y="199530"/>
                  </a:lnTo>
                  <a:lnTo>
                    <a:pt x="2807247" y="200876"/>
                  </a:lnTo>
                  <a:lnTo>
                    <a:pt x="2807348" y="200228"/>
                  </a:lnTo>
                  <a:lnTo>
                    <a:pt x="2807348" y="200876"/>
                  </a:lnTo>
                  <a:lnTo>
                    <a:pt x="2807348" y="200228"/>
                  </a:lnTo>
                  <a:lnTo>
                    <a:pt x="2807399" y="200228"/>
                  </a:lnTo>
                  <a:lnTo>
                    <a:pt x="2807399" y="200876"/>
                  </a:lnTo>
                  <a:lnTo>
                    <a:pt x="2807399" y="200228"/>
                  </a:lnTo>
                  <a:lnTo>
                    <a:pt x="2807399" y="202260"/>
                  </a:lnTo>
                  <a:lnTo>
                    <a:pt x="2807399" y="200876"/>
                  </a:lnTo>
                  <a:lnTo>
                    <a:pt x="2807399" y="202260"/>
                  </a:lnTo>
                  <a:lnTo>
                    <a:pt x="2807450" y="200876"/>
                  </a:lnTo>
                  <a:lnTo>
                    <a:pt x="2807450" y="202260"/>
                  </a:lnTo>
                  <a:lnTo>
                    <a:pt x="2807450" y="200228"/>
                  </a:lnTo>
                  <a:lnTo>
                    <a:pt x="2807450" y="200876"/>
                  </a:lnTo>
                  <a:lnTo>
                    <a:pt x="2807450" y="200228"/>
                  </a:lnTo>
                  <a:lnTo>
                    <a:pt x="2807450" y="200876"/>
                  </a:lnTo>
                  <a:lnTo>
                    <a:pt x="2807450" y="200228"/>
                  </a:lnTo>
                  <a:lnTo>
                    <a:pt x="2807450" y="200876"/>
                  </a:lnTo>
                  <a:lnTo>
                    <a:pt x="2807551" y="200228"/>
                  </a:lnTo>
                  <a:lnTo>
                    <a:pt x="2807551" y="200876"/>
                  </a:lnTo>
                  <a:lnTo>
                    <a:pt x="2807551" y="199530"/>
                  </a:lnTo>
                  <a:lnTo>
                    <a:pt x="2807551" y="200228"/>
                  </a:lnTo>
                  <a:lnTo>
                    <a:pt x="2807551" y="199530"/>
                  </a:lnTo>
                  <a:lnTo>
                    <a:pt x="2807551" y="200228"/>
                  </a:lnTo>
                  <a:lnTo>
                    <a:pt x="2807551" y="198831"/>
                  </a:lnTo>
                  <a:lnTo>
                    <a:pt x="2807551" y="199530"/>
                  </a:lnTo>
                  <a:lnTo>
                    <a:pt x="2807602" y="198831"/>
                  </a:lnTo>
                  <a:lnTo>
                    <a:pt x="2807602" y="196799"/>
                  </a:lnTo>
                  <a:lnTo>
                    <a:pt x="2807602" y="197447"/>
                  </a:lnTo>
                  <a:lnTo>
                    <a:pt x="2807602" y="196799"/>
                  </a:lnTo>
                  <a:lnTo>
                    <a:pt x="2807602" y="198831"/>
                  </a:lnTo>
                  <a:lnTo>
                    <a:pt x="2807653" y="198831"/>
                  </a:lnTo>
                  <a:lnTo>
                    <a:pt x="2807653" y="199530"/>
                  </a:lnTo>
                  <a:lnTo>
                    <a:pt x="2807704" y="200228"/>
                  </a:lnTo>
                  <a:lnTo>
                    <a:pt x="2807704" y="198831"/>
                  </a:lnTo>
                  <a:lnTo>
                    <a:pt x="2807704" y="199530"/>
                  </a:lnTo>
                  <a:lnTo>
                    <a:pt x="2807704" y="198831"/>
                  </a:lnTo>
                  <a:lnTo>
                    <a:pt x="2807704" y="200228"/>
                  </a:lnTo>
                  <a:lnTo>
                    <a:pt x="2807793" y="200228"/>
                  </a:lnTo>
                  <a:lnTo>
                    <a:pt x="2807793" y="199530"/>
                  </a:lnTo>
                  <a:lnTo>
                    <a:pt x="2807793" y="200228"/>
                  </a:lnTo>
                  <a:lnTo>
                    <a:pt x="2807793" y="199530"/>
                  </a:lnTo>
                  <a:lnTo>
                    <a:pt x="2807844" y="199530"/>
                  </a:lnTo>
                  <a:lnTo>
                    <a:pt x="2807844" y="200876"/>
                  </a:lnTo>
                  <a:lnTo>
                    <a:pt x="2807844" y="200228"/>
                  </a:lnTo>
                  <a:lnTo>
                    <a:pt x="2807894" y="200876"/>
                  </a:lnTo>
                  <a:lnTo>
                    <a:pt x="2807945" y="200876"/>
                  </a:lnTo>
                  <a:lnTo>
                    <a:pt x="2807945" y="202260"/>
                  </a:lnTo>
                  <a:lnTo>
                    <a:pt x="2807945" y="200228"/>
                  </a:lnTo>
                  <a:lnTo>
                    <a:pt x="2807945" y="200876"/>
                  </a:lnTo>
                  <a:lnTo>
                    <a:pt x="2807945" y="200228"/>
                  </a:lnTo>
                  <a:lnTo>
                    <a:pt x="2807945" y="200876"/>
                  </a:lnTo>
                  <a:lnTo>
                    <a:pt x="2807945" y="200228"/>
                  </a:lnTo>
                  <a:lnTo>
                    <a:pt x="2808047" y="200228"/>
                  </a:lnTo>
                  <a:lnTo>
                    <a:pt x="2808047" y="198831"/>
                  </a:lnTo>
                  <a:lnTo>
                    <a:pt x="2808047" y="199530"/>
                  </a:lnTo>
                  <a:lnTo>
                    <a:pt x="2808047" y="198831"/>
                  </a:lnTo>
                  <a:lnTo>
                    <a:pt x="2808047" y="199530"/>
                  </a:lnTo>
                  <a:lnTo>
                    <a:pt x="2808047" y="198831"/>
                  </a:lnTo>
                  <a:lnTo>
                    <a:pt x="2808097" y="198831"/>
                  </a:lnTo>
                  <a:lnTo>
                    <a:pt x="2808097" y="196799"/>
                  </a:lnTo>
                  <a:lnTo>
                    <a:pt x="2808097" y="197447"/>
                  </a:lnTo>
                  <a:lnTo>
                    <a:pt x="2808097" y="196799"/>
                  </a:lnTo>
                  <a:lnTo>
                    <a:pt x="2808097" y="198831"/>
                  </a:lnTo>
                  <a:lnTo>
                    <a:pt x="2808097" y="197447"/>
                  </a:lnTo>
                  <a:lnTo>
                    <a:pt x="2808148" y="197447"/>
                  </a:lnTo>
                  <a:lnTo>
                    <a:pt x="2808148" y="196799"/>
                  </a:lnTo>
                  <a:lnTo>
                    <a:pt x="2808148" y="200876"/>
                  </a:lnTo>
                  <a:lnTo>
                    <a:pt x="2808148" y="200228"/>
                  </a:lnTo>
                  <a:lnTo>
                    <a:pt x="2808250" y="200228"/>
                  </a:lnTo>
                  <a:lnTo>
                    <a:pt x="2808250" y="198831"/>
                  </a:lnTo>
                  <a:lnTo>
                    <a:pt x="2808250" y="200876"/>
                  </a:lnTo>
                  <a:lnTo>
                    <a:pt x="2808250" y="199530"/>
                  </a:lnTo>
                  <a:lnTo>
                    <a:pt x="2808288" y="199530"/>
                  </a:lnTo>
                  <a:lnTo>
                    <a:pt x="2808288" y="200228"/>
                  </a:lnTo>
                  <a:lnTo>
                    <a:pt x="2808288" y="199530"/>
                  </a:lnTo>
                  <a:lnTo>
                    <a:pt x="2808339" y="199530"/>
                  </a:lnTo>
                  <a:lnTo>
                    <a:pt x="2808339" y="200876"/>
                  </a:lnTo>
                  <a:lnTo>
                    <a:pt x="2808339" y="200228"/>
                  </a:lnTo>
                  <a:lnTo>
                    <a:pt x="2808339" y="200876"/>
                  </a:lnTo>
                  <a:lnTo>
                    <a:pt x="2808339" y="200228"/>
                  </a:lnTo>
                  <a:lnTo>
                    <a:pt x="2808390" y="200228"/>
                  </a:lnTo>
                  <a:lnTo>
                    <a:pt x="2808390" y="200876"/>
                  </a:lnTo>
                  <a:lnTo>
                    <a:pt x="2808390" y="200228"/>
                  </a:lnTo>
                  <a:lnTo>
                    <a:pt x="2808390" y="200876"/>
                  </a:lnTo>
                  <a:lnTo>
                    <a:pt x="2808491" y="200876"/>
                  </a:lnTo>
                  <a:lnTo>
                    <a:pt x="2808491" y="200228"/>
                  </a:lnTo>
                  <a:lnTo>
                    <a:pt x="2808491" y="200876"/>
                  </a:lnTo>
                  <a:lnTo>
                    <a:pt x="2808491" y="199530"/>
                  </a:lnTo>
                  <a:lnTo>
                    <a:pt x="2808542" y="199530"/>
                  </a:lnTo>
                  <a:lnTo>
                    <a:pt x="2808542" y="200228"/>
                  </a:lnTo>
                  <a:lnTo>
                    <a:pt x="2808542" y="199530"/>
                  </a:lnTo>
                  <a:lnTo>
                    <a:pt x="2808542" y="200228"/>
                  </a:lnTo>
                  <a:lnTo>
                    <a:pt x="2808542" y="197447"/>
                  </a:lnTo>
                  <a:lnTo>
                    <a:pt x="2808542" y="198831"/>
                  </a:lnTo>
                  <a:lnTo>
                    <a:pt x="2808593" y="198831"/>
                  </a:lnTo>
                  <a:lnTo>
                    <a:pt x="2808593" y="197447"/>
                  </a:lnTo>
                  <a:lnTo>
                    <a:pt x="2808593" y="198831"/>
                  </a:lnTo>
                  <a:lnTo>
                    <a:pt x="2808593" y="196799"/>
                  </a:lnTo>
                  <a:lnTo>
                    <a:pt x="2808593" y="197447"/>
                  </a:lnTo>
                  <a:lnTo>
                    <a:pt x="2808593" y="196799"/>
                  </a:lnTo>
                  <a:lnTo>
                    <a:pt x="2808694" y="196799"/>
                  </a:lnTo>
                  <a:lnTo>
                    <a:pt x="2808694" y="196113"/>
                  </a:lnTo>
                  <a:lnTo>
                    <a:pt x="2808694" y="200228"/>
                  </a:lnTo>
                  <a:lnTo>
                    <a:pt x="2808694" y="198831"/>
                  </a:lnTo>
                  <a:lnTo>
                    <a:pt x="2808745" y="198831"/>
                  </a:lnTo>
                  <a:lnTo>
                    <a:pt x="2808745" y="197447"/>
                  </a:lnTo>
                  <a:lnTo>
                    <a:pt x="2808745" y="199530"/>
                  </a:lnTo>
                  <a:lnTo>
                    <a:pt x="2808745" y="198831"/>
                  </a:lnTo>
                  <a:lnTo>
                    <a:pt x="2808796" y="197447"/>
                  </a:lnTo>
                  <a:lnTo>
                    <a:pt x="2808796" y="200228"/>
                  </a:lnTo>
                  <a:lnTo>
                    <a:pt x="2808796" y="199530"/>
                  </a:lnTo>
                  <a:lnTo>
                    <a:pt x="2808834" y="199530"/>
                  </a:lnTo>
                  <a:lnTo>
                    <a:pt x="2808834" y="200228"/>
                  </a:lnTo>
                  <a:lnTo>
                    <a:pt x="2808834" y="199530"/>
                  </a:lnTo>
                  <a:lnTo>
                    <a:pt x="2808936" y="200228"/>
                  </a:lnTo>
                  <a:lnTo>
                    <a:pt x="2808936" y="199530"/>
                  </a:lnTo>
                  <a:lnTo>
                    <a:pt x="2808936" y="200876"/>
                  </a:lnTo>
                  <a:lnTo>
                    <a:pt x="2808936" y="200228"/>
                  </a:lnTo>
                  <a:lnTo>
                    <a:pt x="2808936" y="200876"/>
                  </a:lnTo>
                  <a:lnTo>
                    <a:pt x="2808987" y="200228"/>
                  </a:lnTo>
                  <a:lnTo>
                    <a:pt x="2808987" y="200876"/>
                  </a:lnTo>
                  <a:lnTo>
                    <a:pt x="2808987" y="199530"/>
                  </a:lnTo>
                  <a:lnTo>
                    <a:pt x="2809037" y="199530"/>
                  </a:lnTo>
                  <a:lnTo>
                    <a:pt x="2809037" y="198831"/>
                  </a:lnTo>
                  <a:lnTo>
                    <a:pt x="2809037" y="199530"/>
                  </a:lnTo>
                  <a:lnTo>
                    <a:pt x="2809037" y="197447"/>
                  </a:lnTo>
                  <a:lnTo>
                    <a:pt x="2809037" y="199530"/>
                  </a:lnTo>
                  <a:lnTo>
                    <a:pt x="2809139" y="199530"/>
                  </a:lnTo>
                  <a:lnTo>
                    <a:pt x="2809139" y="198831"/>
                  </a:lnTo>
                  <a:lnTo>
                    <a:pt x="2809139" y="199530"/>
                  </a:lnTo>
                  <a:lnTo>
                    <a:pt x="2809139" y="197447"/>
                  </a:lnTo>
                  <a:lnTo>
                    <a:pt x="2809139" y="202260"/>
                  </a:lnTo>
                  <a:lnTo>
                    <a:pt x="2809190" y="202260"/>
                  </a:lnTo>
                  <a:lnTo>
                    <a:pt x="2809190" y="200228"/>
                  </a:lnTo>
                  <a:lnTo>
                    <a:pt x="2809190" y="202959"/>
                  </a:lnTo>
                  <a:lnTo>
                    <a:pt x="2809190" y="202260"/>
                  </a:lnTo>
                  <a:lnTo>
                    <a:pt x="2809240" y="202260"/>
                  </a:lnTo>
                  <a:lnTo>
                    <a:pt x="2809240" y="200876"/>
                  </a:lnTo>
                  <a:lnTo>
                    <a:pt x="2809240" y="202260"/>
                  </a:lnTo>
                  <a:lnTo>
                    <a:pt x="2809240" y="200876"/>
                  </a:lnTo>
                  <a:lnTo>
                    <a:pt x="2809291" y="200876"/>
                  </a:lnTo>
                  <a:lnTo>
                    <a:pt x="2809291" y="200228"/>
                  </a:lnTo>
                  <a:lnTo>
                    <a:pt x="2809291" y="202260"/>
                  </a:lnTo>
                  <a:lnTo>
                    <a:pt x="2809291" y="200876"/>
                  </a:lnTo>
                  <a:lnTo>
                    <a:pt x="2809291" y="202260"/>
                  </a:lnTo>
                  <a:lnTo>
                    <a:pt x="2809291" y="200876"/>
                  </a:lnTo>
                  <a:lnTo>
                    <a:pt x="2809380" y="200876"/>
                  </a:lnTo>
                  <a:lnTo>
                    <a:pt x="2809380" y="200228"/>
                  </a:lnTo>
                  <a:lnTo>
                    <a:pt x="2809380" y="202260"/>
                  </a:lnTo>
                  <a:lnTo>
                    <a:pt x="2809380" y="200876"/>
                  </a:lnTo>
                  <a:lnTo>
                    <a:pt x="2809431" y="200228"/>
                  </a:lnTo>
                  <a:lnTo>
                    <a:pt x="2809431" y="200876"/>
                  </a:lnTo>
                  <a:lnTo>
                    <a:pt x="2809431" y="200228"/>
                  </a:lnTo>
                  <a:lnTo>
                    <a:pt x="2809431" y="200876"/>
                  </a:lnTo>
                  <a:lnTo>
                    <a:pt x="2809431" y="200228"/>
                  </a:lnTo>
                  <a:lnTo>
                    <a:pt x="2809482" y="200876"/>
                  </a:lnTo>
                  <a:lnTo>
                    <a:pt x="2809482" y="200228"/>
                  </a:lnTo>
                  <a:lnTo>
                    <a:pt x="2809482" y="200876"/>
                  </a:lnTo>
                  <a:lnTo>
                    <a:pt x="2809482" y="199530"/>
                  </a:lnTo>
                  <a:lnTo>
                    <a:pt x="2809533" y="199530"/>
                  </a:lnTo>
                  <a:lnTo>
                    <a:pt x="2809533" y="198831"/>
                  </a:lnTo>
                  <a:lnTo>
                    <a:pt x="2809533" y="200228"/>
                  </a:lnTo>
                  <a:lnTo>
                    <a:pt x="2809533" y="199530"/>
                  </a:lnTo>
                  <a:lnTo>
                    <a:pt x="2809533" y="200228"/>
                  </a:lnTo>
                  <a:lnTo>
                    <a:pt x="2809634" y="200228"/>
                  </a:lnTo>
                  <a:lnTo>
                    <a:pt x="2809634" y="199530"/>
                  </a:lnTo>
                  <a:lnTo>
                    <a:pt x="2809634" y="202260"/>
                  </a:lnTo>
                  <a:lnTo>
                    <a:pt x="2809634" y="200876"/>
                  </a:lnTo>
                  <a:lnTo>
                    <a:pt x="2809685" y="200876"/>
                  </a:lnTo>
                  <a:lnTo>
                    <a:pt x="2809685" y="200228"/>
                  </a:lnTo>
                  <a:lnTo>
                    <a:pt x="2809685" y="202959"/>
                  </a:lnTo>
                  <a:lnTo>
                    <a:pt x="2809685" y="200876"/>
                  </a:lnTo>
                  <a:lnTo>
                    <a:pt x="2809736" y="200876"/>
                  </a:lnTo>
                  <a:lnTo>
                    <a:pt x="2809736" y="202260"/>
                  </a:lnTo>
                  <a:lnTo>
                    <a:pt x="2809736" y="200876"/>
                  </a:lnTo>
                  <a:lnTo>
                    <a:pt x="2809736" y="202959"/>
                  </a:lnTo>
                  <a:lnTo>
                    <a:pt x="2809736" y="200876"/>
                  </a:lnTo>
                  <a:lnTo>
                    <a:pt x="2809837" y="200876"/>
                  </a:lnTo>
                  <a:lnTo>
                    <a:pt x="2809837" y="202959"/>
                  </a:lnTo>
                  <a:lnTo>
                    <a:pt x="2809837" y="200876"/>
                  </a:lnTo>
                  <a:lnTo>
                    <a:pt x="2809837" y="202260"/>
                  </a:lnTo>
                  <a:lnTo>
                    <a:pt x="2809876" y="202959"/>
                  </a:lnTo>
                  <a:lnTo>
                    <a:pt x="2809876" y="200876"/>
                  </a:lnTo>
                  <a:lnTo>
                    <a:pt x="2809926" y="200876"/>
                  </a:lnTo>
                  <a:lnTo>
                    <a:pt x="2809926" y="202260"/>
                  </a:lnTo>
                  <a:lnTo>
                    <a:pt x="2809926" y="200228"/>
                  </a:lnTo>
                  <a:lnTo>
                    <a:pt x="2809926" y="200876"/>
                  </a:lnTo>
                  <a:lnTo>
                    <a:pt x="2809926" y="200228"/>
                  </a:lnTo>
                  <a:lnTo>
                    <a:pt x="2809977" y="200228"/>
                  </a:lnTo>
                  <a:lnTo>
                    <a:pt x="2809977" y="197447"/>
                  </a:lnTo>
                  <a:lnTo>
                    <a:pt x="2809977" y="198831"/>
                  </a:lnTo>
                  <a:lnTo>
                    <a:pt x="2809977" y="197447"/>
                  </a:lnTo>
                  <a:lnTo>
                    <a:pt x="2809977" y="198831"/>
                  </a:lnTo>
                  <a:lnTo>
                    <a:pt x="2809977" y="197447"/>
                  </a:lnTo>
                  <a:lnTo>
                    <a:pt x="2810079" y="197447"/>
                  </a:lnTo>
                  <a:lnTo>
                    <a:pt x="2810079" y="200228"/>
                  </a:lnTo>
                  <a:lnTo>
                    <a:pt x="2810079" y="199530"/>
                  </a:lnTo>
                  <a:lnTo>
                    <a:pt x="2810079" y="200228"/>
                  </a:lnTo>
                  <a:lnTo>
                    <a:pt x="2810079" y="198831"/>
                  </a:lnTo>
                  <a:lnTo>
                    <a:pt x="2810130" y="198831"/>
                  </a:lnTo>
                  <a:lnTo>
                    <a:pt x="2810130" y="200876"/>
                  </a:lnTo>
                  <a:lnTo>
                    <a:pt x="2810130" y="200228"/>
                  </a:lnTo>
                  <a:lnTo>
                    <a:pt x="2810180" y="200876"/>
                  </a:lnTo>
                  <a:lnTo>
                    <a:pt x="2810180" y="200228"/>
                  </a:lnTo>
                  <a:lnTo>
                    <a:pt x="2810282" y="200876"/>
                  </a:lnTo>
                  <a:lnTo>
                    <a:pt x="2810282" y="200228"/>
                  </a:lnTo>
                  <a:lnTo>
                    <a:pt x="2810282" y="202260"/>
                  </a:lnTo>
                  <a:lnTo>
                    <a:pt x="2810333" y="202260"/>
                  </a:lnTo>
                  <a:lnTo>
                    <a:pt x="2810333" y="202959"/>
                  </a:lnTo>
                  <a:lnTo>
                    <a:pt x="2810333" y="200876"/>
                  </a:lnTo>
                  <a:lnTo>
                    <a:pt x="2810333" y="202260"/>
                  </a:lnTo>
                  <a:lnTo>
                    <a:pt x="2810383" y="202260"/>
                  </a:lnTo>
                  <a:lnTo>
                    <a:pt x="2810383" y="202959"/>
                  </a:lnTo>
                  <a:lnTo>
                    <a:pt x="2810383" y="200876"/>
                  </a:lnTo>
                  <a:lnTo>
                    <a:pt x="2810383" y="202260"/>
                  </a:lnTo>
                  <a:lnTo>
                    <a:pt x="2810422" y="202260"/>
                  </a:lnTo>
                  <a:lnTo>
                    <a:pt x="2810422" y="200228"/>
                  </a:lnTo>
                  <a:lnTo>
                    <a:pt x="2810422" y="200876"/>
                  </a:lnTo>
                  <a:lnTo>
                    <a:pt x="2810422" y="199530"/>
                  </a:lnTo>
                  <a:lnTo>
                    <a:pt x="2810523" y="200228"/>
                  </a:lnTo>
                  <a:lnTo>
                    <a:pt x="2810523" y="198831"/>
                  </a:lnTo>
                  <a:lnTo>
                    <a:pt x="2810574" y="199530"/>
                  </a:lnTo>
                  <a:lnTo>
                    <a:pt x="2810574" y="197447"/>
                  </a:lnTo>
                  <a:lnTo>
                    <a:pt x="2810574" y="200228"/>
                  </a:lnTo>
                  <a:lnTo>
                    <a:pt x="2810625" y="200228"/>
                  </a:lnTo>
                  <a:lnTo>
                    <a:pt x="2810625" y="200876"/>
                  </a:lnTo>
                  <a:lnTo>
                    <a:pt x="2810625" y="199530"/>
                  </a:lnTo>
                  <a:lnTo>
                    <a:pt x="2810625" y="200228"/>
                  </a:lnTo>
                  <a:lnTo>
                    <a:pt x="2810726" y="200228"/>
                  </a:lnTo>
                  <a:lnTo>
                    <a:pt x="2810726" y="200876"/>
                  </a:lnTo>
                  <a:lnTo>
                    <a:pt x="2810726" y="199530"/>
                  </a:lnTo>
                  <a:lnTo>
                    <a:pt x="2810726" y="202260"/>
                  </a:lnTo>
                  <a:lnTo>
                    <a:pt x="2810726" y="200876"/>
                  </a:lnTo>
                  <a:lnTo>
                    <a:pt x="2810777" y="200876"/>
                  </a:lnTo>
                  <a:lnTo>
                    <a:pt x="2810777" y="200228"/>
                  </a:lnTo>
                  <a:lnTo>
                    <a:pt x="2810777" y="202260"/>
                  </a:lnTo>
                  <a:lnTo>
                    <a:pt x="2810828" y="200876"/>
                  </a:lnTo>
                  <a:lnTo>
                    <a:pt x="2810828" y="202260"/>
                  </a:lnTo>
                  <a:lnTo>
                    <a:pt x="2810828" y="200876"/>
                  </a:lnTo>
                  <a:lnTo>
                    <a:pt x="2810879" y="200876"/>
                  </a:lnTo>
                  <a:lnTo>
                    <a:pt x="2810879" y="202260"/>
                  </a:lnTo>
                  <a:lnTo>
                    <a:pt x="2810879" y="200876"/>
                  </a:lnTo>
                  <a:lnTo>
                    <a:pt x="2810879" y="202260"/>
                  </a:lnTo>
                  <a:lnTo>
                    <a:pt x="2810879" y="200876"/>
                  </a:lnTo>
                  <a:lnTo>
                    <a:pt x="2810879" y="202260"/>
                  </a:lnTo>
                  <a:lnTo>
                    <a:pt x="2810879" y="200228"/>
                  </a:lnTo>
                  <a:lnTo>
                    <a:pt x="2810968" y="200876"/>
                  </a:lnTo>
                  <a:lnTo>
                    <a:pt x="2810968" y="200228"/>
                  </a:lnTo>
                  <a:lnTo>
                    <a:pt x="2810968" y="200876"/>
                  </a:lnTo>
                  <a:lnTo>
                    <a:pt x="2810968" y="199530"/>
                  </a:lnTo>
                  <a:lnTo>
                    <a:pt x="2811019" y="199530"/>
                  </a:lnTo>
                  <a:lnTo>
                    <a:pt x="2811019" y="196113"/>
                  </a:lnTo>
                  <a:lnTo>
                    <a:pt x="2811019" y="196799"/>
                  </a:lnTo>
                  <a:lnTo>
                    <a:pt x="2811069" y="196799"/>
                  </a:lnTo>
                  <a:lnTo>
                    <a:pt x="2811069" y="198831"/>
                  </a:lnTo>
                  <a:lnTo>
                    <a:pt x="2811069" y="196799"/>
                  </a:lnTo>
                  <a:lnTo>
                    <a:pt x="2811069" y="199530"/>
                  </a:lnTo>
                  <a:lnTo>
                    <a:pt x="2811120" y="199530"/>
                  </a:lnTo>
                  <a:lnTo>
                    <a:pt x="2811120" y="198831"/>
                  </a:lnTo>
                  <a:lnTo>
                    <a:pt x="2811120" y="199530"/>
                  </a:lnTo>
                  <a:lnTo>
                    <a:pt x="2811222" y="199530"/>
                  </a:lnTo>
                  <a:lnTo>
                    <a:pt x="2811222" y="200228"/>
                  </a:lnTo>
                  <a:lnTo>
                    <a:pt x="2811222" y="199530"/>
                  </a:lnTo>
                  <a:lnTo>
                    <a:pt x="2811222" y="200228"/>
                  </a:lnTo>
                  <a:lnTo>
                    <a:pt x="2811272" y="199530"/>
                  </a:lnTo>
                  <a:lnTo>
                    <a:pt x="2811272" y="200228"/>
                  </a:lnTo>
                  <a:lnTo>
                    <a:pt x="2811272" y="199530"/>
                  </a:lnTo>
                  <a:lnTo>
                    <a:pt x="2811272" y="200228"/>
                  </a:lnTo>
                  <a:lnTo>
                    <a:pt x="2811323" y="200876"/>
                  </a:lnTo>
                  <a:lnTo>
                    <a:pt x="2811323" y="200228"/>
                  </a:lnTo>
                  <a:lnTo>
                    <a:pt x="2811323" y="200876"/>
                  </a:lnTo>
                  <a:lnTo>
                    <a:pt x="2811323" y="200228"/>
                  </a:lnTo>
                  <a:lnTo>
                    <a:pt x="2811323" y="202260"/>
                  </a:lnTo>
                  <a:lnTo>
                    <a:pt x="2811323" y="200876"/>
                  </a:lnTo>
                  <a:lnTo>
                    <a:pt x="2811323" y="202260"/>
                  </a:lnTo>
                  <a:lnTo>
                    <a:pt x="2811425" y="200876"/>
                  </a:lnTo>
                  <a:lnTo>
                    <a:pt x="2811425" y="202260"/>
                  </a:lnTo>
                  <a:lnTo>
                    <a:pt x="2811425" y="200228"/>
                  </a:lnTo>
                  <a:lnTo>
                    <a:pt x="2811463" y="200228"/>
                  </a:lnTo>
                  <a:lnTo>
                    <a:pt x="2811463" y="200876"/>
                  </a:lnTo>
                  <a:lnTo>
                    <a:pt x="2811463" y="199530"/>
                  </a:lnTo>
                  <a:lnTo>
                    <a:pt x="2811514" y="199530"/>
                  </a:lnTo>
                  <a:lnTo>
                    <a:pt x="2811514" y="197447"/>
                  </a:lnTo>
                  <a:lnTo>
                    <a:pt x="2811514" y="198831"/>
                  </a:lnTo>
                  <a:lnTo>
                    <a:pt x="2811565" y="199530"/>
                  </a:lnTo>
                  <a:lnTo>
                    <a:pt x="2811565" y="196799"/>
                  </a:lnTo>
                  <a:lnTo>
                    <a:pt x="2811565" y="197447"/>
                  </a:lnTo>
                  <a:lnTo>
                    <a:pt x="2811565" y="196799"/>
                  </a:lnTo>
                  <a:lnTo>
                    <a:pt x="2811565" y="200228"/>
                  </a:lnTo>
                  <a:lnTo>
                    <a:pt x="2811666" y="200228"/>
                  </a:lnTo>
                  <a:lnTo>
                    <a:pt x="2811666" y="197447"/>
                  </a:lnTo>
                  <a:lnTo>
                    <a:pt x="2811666" y="199530"/>
                  </a:lnTo>
                  <a:lnTo>
                    <a:pt x="2811717" y="199530"/>
                  </a:lnTo>
                  <a:lnTo>
                    <a:pt x="2811717" y="198831"/>
                  </a:lnTo>
                  <a:lnTo>
                    <a:pt x="2811717" y="199530"/>
                  </a:lnTo>
                  <a:lnTo>
                    <a:pt x="2811717" y="198831"/>
                  </a:lnTo>
                  <a:lnTo>
                    <a:pt x="2811717" y="199530"/>
                  </a:lnTo>
                  <a:lnTo>
                    <a:pt x="2811768" y="199530"/>
                  </a:lnTo>
                  <a:lnTo>
                    <a:pt x="2811768" y="198831"/>
                  </a:lnTo>
                  <a:lnTo>
                    <a:pt x="2811768" y="200228"/>
                  </a:lnTo>
                  <a:lnTo>
                    <a:pt x="2811768" y="199530"/>
                  </a:lnTo>
                  <a:lnTo>
                    <a:pt x="2811768" y="200228"/>
                  </a:lnTo>
                  <a:lnTo>
                    <a:pt x="2811768" y="199530"/>
                  </a:lnTo>
                  <a:lnTo>
                    <a:pt x="2811768" y="200228"/>
                  </a:lnTo>
                  <a:lnTo>
                    <a:pt x="2811869" y="200228"/>
                  </a:lnTo>
                  <a:lnTo>
                    <a:pt x="2811869" y="199530"/>
                  </a:lnTo>
                  <a:lnTo>
                    <a:pt x="2811869" y="200876"/>
                  </a:lnTo>
                  <a:lnTo>
                    <a:pt x="2811869" y="200228"/>
                  </a:lnTo>
                  <a:lnTo>
                    <a:pt x="2811920" y="200228"/>
                  </a:lnTo>
                  <a:lnTo>
                    <a:pt x="2811920" y="199530"/>
                  </a:lnTo>
                  <a:lnTo>
                    <a:pt x="2811920" y="200228"/>
                  </a:lnTo>
                  <a:lnTo>
                    <a:pt x="2811920" y="199530"/>
                  </a:lnTo>
                  <a:lnTo>
                    <a:pt x="2811920" y="200228"/>
                  </a:lnTo>
                  <a:lnTo>
                    <a:pt x="2811920" y="199530"/>
                  </a:lnTo>
                  <a:lnTo>
                    <a:pt x="2811971" y="200228"/>
                  </a:lnTo>
                  <a:lnTo>
                    <a:pt x="2811971" y="199530"/>
                  </a:lnTo>
                  <a:lnTo>
                    <a:pt x="2811971" y="200228"/>
                  </a:lnTo>
                  <a:lnTo>
                    <a:pt x="2811971" y="199530"/>
                  </a:lnTo>
                  <a:lnTo>
                    <a:pt x="2811971" y="200228"/>
                  </a:lnTo>
                  <a:lnTo>
                    <a:pt x="2811971" y="198831"/>
                  </a:lnTo>
                  <a:lnTo>
                    <a:pt x="2812009" y="198831"/>
                  </a:lnTo>
                  <a:lnTo>
                    <a:pt x="2812009" y="197447"/>
                  </a:lnTo>
                  <a:lnTo>
                    <a:pt x="2812009" y="200228"/>
                  </a:lnTo>
                  <a:lnTo>
                    <a:pt x="2812009" y="198831"/>
                  </a:lnTo>
                  <a:lnTo>
                    <a:pt x="2812111" y="198831"/>
                  </a:lnTo>
                  <a:lnTo>
                    <a:pt x="2812111" y="202260"/>
                  </a:lnTo>
                  <a:lnTo>
                    <a:pt x="2812111" y="200876"/>
                  </a:lnTo>
                  <a:lnTo>
                    <a:pt x="2812111" y="202260"/>
                  </a:lnTo>
                  <a:lnTo>
                    <a:pt x="2812111" y="199530"/>
                  </a:lnTo>
                  <a:lnTo>
                    <a:pt x="2812162" y="199530"/>
                  </a:lnTo>
                  <a:lnTo>
                    <a:pt x="2812162" y="202260"/>
                  </a:lnTo>
                  <a:lnTo>
                    <a:pt x="2812162" y="200228"/>
                  </a:lnTo>
                  <a:lnTo>
                    <a:pt x="2812212" y="199530"/>
                  </a:lnTo>
                  <a:lnTo>
                    <a:pt x="2812212" y="200876"/>
                  </a:lnTo>
                  <a:lnTo>
                    <a:pt x="2812212" y="200228"/>
                  </a:lnTo>
                  <a:lnTo>
                    <a:pt x="2812314" y="200228"/>
                  </a:lnTo>
                  <a:lnTo>
                    <a:pt x="2812314" y="200876"/>
                  </a:lnTo>
                  <a:lnTo>
                    <a:pt x="2812314" y="200228"/>
                  </a:lnTo>
                  <a:lnTo>
                    <a:pt x="2812314" y="200876"/>
                  </a:lnTo>
                  <a:lnTo>
                    <a:pt x="2812365" y="202260"/>
                  </a:lnTo>
                  <a:lnTo>
                    <a:pt x="2812365" y="200228"/>
                  </a:lnTo>
                  <a:lnTo>
                    <a:pt x="2812365" y="200876"/>
                  </a:lnTo>
                  <a:lnTo>
                    <a:pt x="2812365" y="200228"/>
                  </a:lnTo>
                  <a:lnTo>
                    <a:pt x="2812415" y="200228"/>
                  </a:lnTo>
                  <a:lnTo>
                    <a:pt x="2812415" y="200876"/>
                  </a:lnTo>
                  <a:lnTo>
                    <a:pt x="2812415" y="199530"/>
                  </a:lnTo>
                  <a:lnTo>
                    <a:pt x="2812466" y="199530"/>
                  </a:lnTo>
                  <a:lnTo>
                    <a:pt x="2812466" y="200228"/>
                  </a:lnTo>
                  <a:lnTo>
                    <a:pt x="2812466" y="198831"/>
                  </a:lnTo>
                  <a:lnTo>
                    <a:pt x="2812555" y="197447"/>
                  </a:lnTo>
                  <a:lnTo>
                    <a:pt x="2812555" y="196799"/>
                  </a:lnTo>
                  <a:lnTo>
                    <a:pt x="2812555" y="200228"/>
                  </a:lnTo>
                  <a:lnTo>
                    <a:pt x="2812555" y="198831"/>
                  </a:lnTo>
                  <a:lnTo>
                    <a:pt x="2812606" y="198831"/>
                  </a:lnTo>
                  <a:lnTo>
                    <a:pt x="2812606" y="200876"/>
                  </a:lnTo>
                  <a:lnTo>
                    <a:pt x="2812606" y="199530"/>
                  </a:lnTo>
                  <a:lnTo>
                    <a:pt x="2812606" y="200228"/>
                  </a:lnTo>
                  <a:lnTo>
                    <a:pt x="2812657" y="200228"/>
                  </a:lnTo>
                  <a:lnTo>
                    <a:pt x="2812657" y="200876"/>
                  </a:lnTo>
                  <a:lnTo>
                    <a:pt x="2812657" y="200228"/>
                  </a:lnTo>
                  <a:lnTo>
                    <a:pt x="2812657" y="200876"/>
                  </a:lnTo>
                  <a:lnTo>
                    <a:pt x="2812657" y="200228"/>
                  </a:lnTo>
                  <a:lnTo>
                    <a:pt x="2812708" y="200228"/>
                  </a:lnTo>
                  <a:lnTo>
                    <a:pt x="2812708" y="200876"/>
                  </a:lnTo>
                  <a:lnTo>
                    <a:pt x="2812708" y="200228"/>
                  </a:lnTo>
                  <a:lnTo>
                    <a:pt x="2812708" y="200876"/>
                  </a:lnTo>
                  <a:lnTo>
                    <a:pt x="2812708" y="200228"/>
                  </a:lnTo>
                  <a:lnTo>
                    <a:pt x="2812708" y="202260"/>
                  </a:lnTo>
                  <a:lnTo>
                    <a:pt x="2812809" y="202260"/>
                  </a:lnTo>
                  <a:lnTo>
                    <a:pt x="2812809" y="200876"/>
                  </a:lnTo>
                  <a:lnTo>
                    <a:pt x="2812860" y="200876"/>
                  </a:lnTo>
                  <a:lnTo>
                    <a:pt x="2812860" y="200228"/>
                  </a:lnTo>
                  <a:lnTo>
                    <a:pt x="2812860" y="200876"/>
                  </a:lnTo>
                  <a:lnTo>
                    <a:pt x="2812860" y="200228"/>
                  </a:lnTo>
                  <a:lnTo>
                    <a:pt x="2812860" y="200876"/>
                  </a:lnTo>
                  <a:lnTo>
                    <a:pt x="2812911" y="200876"/>
                  </a:lnTo>
                  <a:lnTo>
                    <a:pt x="2812911" y="199530"/>
                  </a:lnTo>
                  <a:lnTo>
                    <a:pt x="2812911" y="200228"/>
                  </a:lnTo>
                  <a:lnTo>
                    <a:pt x="2812911" y="198831"/>
                  </a:lnTo>
                  <a:lnTo>
                    <a:pt x="2812911" y="199530"/>
                  </a:lnTo>
                  <a:lnTo>
                    <a:pt x="2813012" y="199530"/>
                  </a:lnTo>
                  <a:lnTo>
                    <a:pt x="2813012" y="196799"/>
                  </a:lnTo>
                  <a:lnTo>
                    <a:pt x="2813051" y="196799"/>
                  </a:lnTo>
                  <a:lnTo>
                    <a:pt x="2813051" y="199530"/>
                  </a:lnTo>
                  <a:lnTo>
                    <a:pt x="2813051" y="196799"/>
                  </a:lnTo>
                  <a:lnTo>
                    <a:pt x="2813051" y="198831"/>
                  </a:lnTo>
                  <a:lnTo>
                    <a:pt x="2813101" y="199530"/>
                  </a:lnTo>
                  <a:lnTo>
                    <a:pt x="2813101" y="200228"/>
                  </a:lnTo>
                  <a:lnTo>
                    <a:pt x="2813101" y="198831"/>
                  </a:lnTo>
                  <a:lnTo>
                    <a:pt x="2813101" y="200228"/>
                  </a:lnTo>
                  <a:lnTo>
                    <a:pt x="2813152" y="200876"/>
                  </a:lnTo>
                  <a:lnTo>
                    <a:pt x="2813152" y="199530"/>
                  </a:lnTo>
                  <a:lnTo>
                    <a:pt x="2813152" y="200228"/>
                  </a:lnTo>
                  <a:lnTo>
                    <a:pt x="2813152" y="199530"/>
                  </a:lnTo>
                  <a:lnTo>
                    <a:pt x="2813152" y="200228"/>
                  </a:lnTo>
                  <a:lnTo>
                    <a:pt x="2813254" y="200228"/>
                  </a:lnTo>
                  <a:lnTo>
                    <a:pt x="2813254" y="200876"/>
                  </a:lnTo>
                  <a:lnTo>
                    <a:pt x="2813254" y="200228"/>
                  </a:lnTo>
                  <a:lnTo>
                    <a:pt x="2813254" y="200876"/>
                  </a:lnTo>
                  <a:lnTo>
                    <a:pt x="2813305" y="200876"/>
                  </a:lnTo>
                  <a:lnTo>
                    <a:pt x="2813305" y="200228"/>
                  </a:lnTo>
                  <a:lnTo>
                    <a:pt x="2813305" y="202260"/>
                  </a:lnTo>
                  <a:lnTo>
                    <a:pt x="2813305" y="200876"/>
                  </a:lnTo>
                  <a:lnTo>
                    <a:pt x="2813355" y="200876"/>
                  </a:lnTo>
                  <a:lnTo>
                    <a:pt x="2813355" y="202260"/>
                  </a:lnTo>
                  <a:lnTo>
                    <a:pt x="2813355" y="200228"/>
                  </a:lnTo>
                  <a:lnTo>
                    <a:pt x="2813355" y="200876"/>
                  </a:lnTo>
                  <a:lnTo>
                    <a:pt x="2813355" y="200228"/>
                  </a:lnTo>
                  <a:lnTo>
                    <a:pt x="2813457" y="200876"/>
                  </a:lnTo>
                  <a:lnTo>
                    <a:pt x="2813457" y="200228"/>
                  </a:lnTo>
                  <a:lnTo>
                    <a:pt x="2813457" y="200876"/>
                  </a:lnTo>
                  <a:lnTo>
                    <a:pt x="2813457" y="199530"/>
                  </a:lnTo>
                  <a:lnTo>
                    <a:pt x="2813457" y="200228"/>
                  </a:lnTo>
                  <a:lnTo>
                    <a:pt x="2813457" y="199530"/>
                  </a:lnTo>
                  <a:lnTo>
                    <a:pt x="2813508" y="199530"/>
                  </a:lnTo>
                  <a:lnTo>
                    <a:pt x="2813508" y="197447"/>
                  </a:lnTo>
                  <a:lnTo>
                    <a:pt x="2813508" y="199530"/>
                  </a:lnTo>
                  <a:lnTo>
                    <a:pt x="2813558" y="199530"/>
                  </a:lnTo>
                  <a:lnTo>
                    <a:pt x="2813558" y="196799"/>
                  </a:lnTo>
                  <a:lnTo>
                    <a:pt x="2813558" y="200876"/>
                  </a:lnTo>
                  <a:lnTo>
                    <a:pt x="2813597" y="200228"/>
                  </a:lnTo>
                  <a:lnTo>
                    <a:pt x="2813597" y="198831"/>
                  </a:lnTo>
                  <a:lnTo>
                    <a:pt x="2813597" y="200228"/>
                  </a:lnTo>
                  <a:lnTo>
                    <a:pt x="2813597" y="199530"/>
                  </a:lnTo>
                  <a:lnTo>
                    <a:pt x="2813698" y="199530"/>
                  </a:lnTo>
                  <a:lnTo>
                    <a:pt x="2813698" y="200876"/>
                  </a:lnTo>
                  <a:lnTo>
                    <a:pt x="2813749" y="200876"/>
                  </a:lnTo>
                  <a:lnTo>
                    <a:pt x="2813749" y="200228"/>
                  </a:lnTo>
                  <a:lnTo>
                    <a:pt x="2813749" y="200876"/>
                  </a:lnTo>
                  <a:lnTo>
                    <a:pt x="2813800" y="200228"/>
                  </a:lnTo>
                  <a:lnTo>
                    <a:pt x="2813800" y="200876"/>
                  </a:lnTo>
                  <a:lnTo>
                    <a:pt x="2813800" y="200228"/>
                  </a:lnTo>
                  <a:lnTo>
                    <a:pt x="2813800" y="200876"/>
                  </a:lnTo>
                  <a:lnTo>
                    <a:pt x="2813901" y="200228"/>
                  </a:lnTo>
                  <a:lnTo>
                    <a:pt x="2813901" y="200876"/>
                  </a:lnTo>
                  <a:lnTo>
                    <a:pt x="2813901" y="199530"/>
                  </a:lnTo>
                  <a:lnTo>
                    <a:pt x="2813952" y="199530"/>
                  </a:lnTo>
                  <a:lnTo>
                    <a:pt x="2813952" y="200228"/>
                  </a:lnTo>
                  <a:lnTo>
                    <a:pt x="2813952" y="198831"/>
                  </a:lnTo>
                  <a:lnTo>
                    <a:pt x="2814003" y="198831"/>
                  </a:lnTo>
                  <a:lnTo>
                    <a:pt x="2814003" y="196799"/>
                  </a:lnTo>
                  <a:lnTo>
                    <a:pt x="2814003" y="197447"/>
                  </a:lnTo>
                  <a:lnTo>
                    <a:pt x="2814003" y="196799"/>
                  </a:lnTo>
                  <a:lnTo>
                    <a:pt x="2814003" y="198831"/>
                  </a:lnTo>
                  <a:lnTo>
                    <a:pt x="2814003" y="197447"/>
                  </a:lnTo>
                  <a:lnTo>
                    <a:pt x="2814054" y="197447"/>
                  </a:lnTo>
                  <a:lnTo>
                    <a:pt x="2814054" y="198831"/>
                  </a:lnTo>
                  <a:lnTo>
                    <a:pt x="2814054" y="196799"/>
                  </a:lnTo>
                  <a:lnTo>
                    <a:pt x="2814054" y="200228"/>
                  </a:lnTo>
                  <a:lnTo>
                    <a:pt x="2814054" y="198831"/>
                  </a:lnTo>
                  <a:lnTo>
                    <a:pt x="2814054" y="199530"/>
                  </a:lnTo>
                  <a:lnTo>
                    <a:pt x="2814143" y="199530"/>
                  </a:lnTo>
                  <a:lnTo>
                    <a:pt x="2814143" y="198831"/>
                  </a:lnTo>
                  <a:lnTo>
                    <a:pt x="2814143" y="200228"/>
                  </a:lnTo>
                  <a:lnTo>
                    <a:pt x="2814194" y="200228"/>
                  </a:lnTo>
                  <a:lnTo>
                    <a:pt x="2814194" y="199530"/>
                  </a:lnTo>
                  <a:lnTo>
                    <a:pt x="2814194" y="200228"/>
                  </a:lnTo>
                  <a:lnTo>
                    <a:pt x="2814244" y="200876"/>
                  </a:lnTo>
                  <a:lnTo>
                    <a:pt x="2814244" y="200228"/>
                  </a:lnTo>
                  <a:lnTo>
                    <a:pt x="2814244" y="200876"/>
                  </a:lnTo>
                  <a:lnTo>
                    <a:pt x="2814244" y="200228"/>
                  </a:lnTo>
                  <a:lnTo>
                    <a:pt x="2814244" y="200876"/>
                  </a:lnTo>
                  <a:lnTo>
                    <a:pt x="2814244" y="200228"/>
                  </a:lnTo>
                  <a:lnTo>
                    <a:pt x="2814295" y="200876"/>
                  </a:lnTo>
                  <a:lnTo>
                    <a:pt x="2814295" y="200228"/>
                  </a:lnTo>
                  <a:lnTo>
                    <a:pt x="2814295" y="200876"/>
                  </a:lnTo>
                  <a:lnTo>
                    <a:pt x="2814295" y="200228"/>
                  </a:lnTo>
                  <a:lnTo>
                    <a:pt x="2814295" y="200876"/>
                  </a:lnTo>
                  <a:lnTo>
                    <a:pt x="2814295" y="200228"/>
                  </a:lnTo>
                  <a:lnTo>
                    <a:pt x="2814295" y="200876"/>
                  </a:lnTo>
                  <a:lnTo>
                    <a:pt x="2814295" y="200228"/>
                  </a:lnTo>
                  <a:lnTo>
                    <a:pt x="2814397" y="200228"/>
                  </a:lnTo>
                  <a:lnTo>
                    <a:pt x="2814397" y="200876"/>
                  </a:lnTo>
                  <a:lnTo>
                    <a:pt x="2814397" y="199530"/>
                  </a:lnTo>
                  <a:lnTo>
                    <a:pt x="2814397" y="200228"/>
                  </a:lnTo>
                  <a:lnTo>
                    <a:pt x="2814397" y="199530"/>
                  </a:lnTo>
                  <a:lnTo>
                    <a:pt x="2814397" y="200228"/>
                  </a:lnTo>
                  <a:lnTo>
                    <a:pt x="2814447" y="200228"/>
                  </a:lnTo>
                  <a:lnTo>
                    <a:pt x="2814447" y="198831"/>
                  </a:lnTo>
                  <a:lnTo>
                    <a:pt x="2814498" y="198831"/>
                  </a:lnTo>
                  <a:lnTo>
                    <a:pt x="2814498" y="196799"/>
                  </a:lnTo>
                  <a:lnTo>
                    <a:pt x="2814600" y="196799"/>
                  </a:lnTo>
                  <a:lnTo>
                    <a:pt x="2814600" y="196113"/>
                  </a:lnTo>
                  <a:lnTo>
                    <a:pt x="2814600" y="200228"/>
                  </a:lnTo>
                  <a:lnTo>
                    <a:pt x="2814600" y="197447"/>
                  </a:lnTo>
                  <a:lnTo>
                    <a:pt x="2814638" y="197447"/>
                  </a:lnTo>
                  <a:lnTo>
                    <a:pt x="2814638" y="196799"/>
                  </a:lnTo>
                  <a:lnTo>
                    <a:pt x="2814638" y="199530"/>
                  </a:lnTo>
                  <a:lnTo>
                    <a:pt x="2814638" y="197447"/>
                  </a:lnTo>
                  <a:lnTo>
                    <a:pt x="2814689" y="197447"/>
                  </a:lnTo>
                  <a:lnTo>
                    <a:pt x="2814689" y="199530"/>
                  </a:lnTo>
                  <a:lnTo>
                    <a:pt x="2814689" y="198831"/>
                  </a:lnTo>
                  <a:lnTo>
                    <a:pt x="2814740" y="198831"/>
                  </a:lnTo>
                  <a:lnTo>
                    <a:pt x="2814740" y="200228"/>
                  </a:lnTo>
                  <a:lnTo>
                    <a:pt x="2814740" y="199530"/>
                  </a:lnTo>
                  <a:lnTo>
                    <a:pt x="2814740" y="200228"/>
                  </a:lnTo>
                  <a:lnTo>
                    <a:pt x="2814740" y="198831"/>
                  </a:lnTo>
                  <a:lnTo>
                    <a:pt x="2814740" y="199530"/>
                  </a:lnTo>
                  <a:lnTo>
                    <a:pt x="2814841" y="199530"/>
                  </a:lnTo>
                  <a:lnTo>
                    <a:pt x="2814841" y="200228"/>
                  </a:lnTo>
                  <a:lnTo>
                    <a:pt x="2814841" y="199530"/>
                  </a:lnTo>
                  <a:lnTo>
                    <a:pt x="2814841" y="200228"/>
                  </a:lnTo>
                  <a:lnTo>
                    <a:pt x="2814841" y="199530"/>
                  </a:lnTo>
                  <a:lnTo>
                    <a:pt x="2814841" y="200228"/>
                  </a:lnTo>
                  <a:lnTo>
                    <a:pt x="2814841" y="199530"/>
                  </a:lnTo>
                  <a:lnTo>
                    <a:pt x="2814841" y="200228"/>
                  </a:lnTo>
                  <a:lnTo>
                    <a:pt x="2814841" y="199530"/>
                  </a:lnTo>
                  <a:lnTo>
                    <a:pt x="2814841" y="200228"/>
                  </a:lnTo>
                  <a:lnTo>
                    <a:pt x="2814892" y="200228"/>
                  </a:lnTo>
                  <a:lnTo>
                    <a:pt x="2814892" y="199530"/>
                  </a:lnTo>
                  <a:lnTo>
                    <a:pt x="2814943" y="199530"/>
                  </a:lnTo>
                  <a:lnTo>
                    <a:pt x="2814943" y="198831"/>
                  </a:lnTo>
                  <a:lnTo>
                    <a:pt x="2814943" y="199530"/>
                  </a:lnTo>
                  <a:lnTo>
                    <a:pt x="2814943" y="197447"/>
                  </a:lnTo>
                  <a:lnTo>
                    <a:pt x="2814943" y="198831"/>
                  </a:lnTo>
                  <a:lnTo>
                    <a:pt x="2814943" y="197447"/>
                  </a:lnTo>
                  <a:lnTo>
                    <a:pt x="2814943" y="198831"/>
                  </a:lnTo>
                  <a:lnTo>
                    <a:pt x="2814943" y="197447"/>
                  </a:lnTo>
                  <a:lnTo>
                    <a:pt x="2815044" y="198831"/>
                  </a:lnTo>
                  <a:lnTo>
                    <a:pt x="2815044" y="197447"/>
                  </a:lnTo>
                  <a:lnTo>
                    <a:pt x="2815044" y="198831"/>
                  </a:lnTo>
                  <a:lnTo>
                    <a:pt x="2815044" y="196799"/>
                  </a:lnTo>
                  <a:lnTo>
                    <a:pt x="2815044" y="197447"/>
                  </a:lnTo>
                  <a:lnTo>
                    <a:pt x="2815095" y="198831"/>
                  </a:lnTo>
                  <a:lnTo>
                    <a:pt x="2815095" y="200876"/>
                  </a:lnTo>
                  <a:lnTo>
                    <a:pt x="2815095" y="198831"/>
                  </a:lnTo>
                  <a:lnTo>
                    <a:pt x="2815095" y="199530"/>
                  </a:lnTo>
                  <a:lnTo>
                    <a:pt x="2815146" y="199530"/>
                  </a:lnTo>
                  <a:lnTo>
                    <a:pt x="2815146" y="200228"/>
                  </a:lnTo>
                  <a:lnTo>
                    <a:pt x="2815146" y="199530"/>
                  </a:lnTo>
                  <a:lnTo>
                    <a:pt x="2815146" y="200228"/>
                  </a:lnTo>
                  <a:lnTo>
                    <a:pt x="2815146" y="199530"/>
                  </a:lnTo>
                  <a:lnTo>
                    <a:pt x="2815146" y="200228"/>
                  </a:lnTo>
                  <a:lnTo>
                    <a:pt x="2815184" y="200228"/>
                  </a:lnTo>
                  <a:lnTo>
                    <a:pt x="2815184" y="200876"/>
                  </a:lnTo>
                  <a:lnTo>
                    <a:pt x="2815184" y="200228"/>
                  </a:lnTo>
                  <a:lnTo>
                    <a:pt x="2815184" y="200876"/>
                  </a:lnTo>
                  <a:lnTo>
                    <a:pt x="2815286" y="200876"/>
                  </a:lnTo>
                  <a:lnTo>
                    <a:pt x="2815286" y="202260"/>
                  </a:lnTo>
                  <a:lnTo>
                    <a:pt x="2815286" y="200228"/>
                  </a:lnTo>
                  <a:lnTo>
                    <a:pt x="2815286" y="200876"/>
                  </a:lnTo>
                  <a:lnTo>
                    <a:pt x="2815286" y="200228"/>
                  </a:lnTo>
                  <a:lnTo>
                    <a:pt x="2815286" y="200876"/>
                  </a:lnTo>
                  <a:lnTo>
                    <a:pt x="2815286" y="200228"/>
                  </a:lnTo>
                  <a:lnTo>
                    <a:pt x="2815286" y="200876"/>
                  </a:lnTo>
                  <a:lnTo>
                    <a:pt x="2815337" y="200876"/>
                  </a:lnTo>
                  <a:lnTo>
                    <a:pt x="2815337" y="200228"/>
                  </a:lnTo>
                  <a:lnTo>
                    <a:pt x="2815337" y="200876"/>
                  </a:lnTo>
                  <a:lnTo>
                    <a:pt x="2815337" y="200228"/>
                  </a:lnTo>
                  <a:lnTo>
                    <a:pt x="2815337" y="200876"/>
                  </a:lnTo>
                  <a:lnTo>
                    <a:pt x="2815337" y="200228"/>
                  </a:lnTo>
                  <a:lnTo>
                    <a:pt x="2815337" y="200876"/>
                  </a:lnTo>
                  <a:lnTo>
                    <a:pt x="2815337" y="200228"/>
                  </a:lnTo>
                  <a:lnTo>
                    <a:pt x="2815337" y="200876"/>
                  </a:lnTo>
                  <a:lnTo>
                    <a:pt x="2815387" y="200876"/>
                  </a:lnTo>
                  <a:lnTo>
                    <a:pt x="2815387" y="199530"/>
                  </a:lnTo>
                  <a:lnTo>
                    <a:pt x="2815489" y="199530"/>
                  </a:lnTo>
                  <a:lnTo>
                    <a:pt x="2815489" y="198831"/>
                  </a:lnTo>
                  <a:lnTo>
                    <a:pt x="2815489" y="200228"/>
                  </a:lnTo>
                  <a:lnTo>
                    <a:pt x="2815540" y="200228"/>
                  </a:lnTo>
                  <a:lnTo>
                    <a:pt x="2815540" y="199530"/>
                  </a:lnTo>
                  <a:lnTo>
                    <a:pt x="2815540" y="202260"/>
                  </a:lnTo>
                  <a:lnTo>
                    <a:pt x="2815540" y="200876"/>
                  </a:lnTo>
                  <a:lnTo>
                    <a:pt x="2815590" y="200876"/>
                  </a:lnTo>
                  <a:lnTo>
                    <a:pt x="2815590" y="200228"/>
                  </a:lnTo>
                  <a:lnTo>
                    <a:pt x="2815590" y="202260"/>
                  </a:lnTo>
                  <a:lnTo>
                    <a:pt x="2815641" y="202260"/>
                  </a:lnTo>
                  <a:lnTo>
                    <a:pt x="2815641" y="200876"/>
                  </a:lnTo>
                  <a:lnTo>
                    <a:pt x="2815641" y="202260"/>
                  </a:lnTo>
                  <a:lnTo>
                    <a:pt x="2815641" y="200876"/>
                  </a:lnTo>
                  <a:lnTo>
                    <a:pt x="2815641" y="202260"/>
                  </a:lnTo>
                  <a:lnTo>
                    <a:pt x="2815641" y="200876"/>
                  </a:lnTo>
                  <a:lnTo>
                    <a:pt x="2815730" y="200876"/>
                  </a:lnTo>
                  <a:lnTo>
                    <a:pt x="2815730" y="202260"/>
                  </a:lnTo>
                  <a:lnTo>
                    <a:pt x="2815730" y="200876"/>
                  </a:lnTo>
                  <a:lnTo>
                    <a:pt x="2815781" y="200876"/>
                  </a:lnTo>
                  <a:lnTo>
                    <a:pt x="2815781" y="200228"/>
                  </a:lnTo>
                  <a:lnTo>
                    <a:pt x="2815832" y="200876"/>
                  </a:lnTo>
                  <a:lnTo>
                    <a:pt x="2815832" y="200228"/>
                  </a:lnTo>
                  <a:lnTo>
                    <a:pt x="2815832" y="200876"/>
                  </a:lnTo>
                  <a:lnTo>
                    <a:pt x="2815832" y="200228"/>
                  </a:lnTo>
                  <a:lnTo>
                    <a:pt x="2815832" y="200876"/>
                  </a:lnTo>
                  <a:lnTo>
                    <a:pt x="2815832" y="200228"/>
                  </a:lnTo>
                  <a:lnTo>
                    <a:pt x="2815832" y="200876"/>
                  </a:lnTo>
                  <a:lnTo>
                    <a:pt x="2815832" y="200228"/>
                  </a:lnTo>
                  <a:lnTo>
                    <a:pt x="2815883" y="200228"/>
                  </a:lnTo>
                  <a:lnTo>
                    <a:pt x="2815883" y="198831"/>
                  </a:lnTo>
                  <a:lnTo>
                    <a:pt x="2815984" y="197447"/>
                  </a:lnTo>
                  <a:lnTo>
                    <a:pt x="2815984" y="198831"/>
                  </a:lnTo>
                  <a:lnTo>
                    <a:pt x="2815984" y="197447"/>
                  </a:lnTo>
                  <a:lnTo>
                    <a:pt x="2815984" y="198831"/>
                  </a:lnTo>
                  <a:lnTo>
                    <a:pt x="2815984" y="197447"/>
                  </a:lnTo>
                  <a:lnTo>
                    <a:pt x="2815984" y="199530"/>
                  </a:lnTo>
                  <a:lnTo>
                    <a:pt x="2815984" y="198831"/>
                  </a:lnTo>
                  <a:lnTo>
                    <a:pt x="2816035" y="197447"/>
                  </a:lnTo>
                  <a:lnTo>
                    <a:pt x="2816035" y="196799"/>
                  </a:lnTo>
                  <a:lnTo>
                    <a:pt x="2816035" y="200228"/>
                  </a:lnTo>
                  <a:lnTo>
                    <a:pt x="2816035" y="199530"/>
                  </a:lnTo>
                  <a:lnTo>
                    <a:pt x="2816035" y="200228"/>
                  </a:lnTo>
                  <a:lnTo>
                    <a:pt x="2816035" y="199530"/>
                  </a:lnTo>
                  <a:lnTo>
                    <a:pt x="2816086" y="199530"/>
                  </a:lnTo>
                  <a:lnTo>
                    <a:pt x="2816086" y="200876"/>
                  </a:lnTo>
                  <a:lnTo>
                    <a:pt x="2816086" y="200228"/>
                  </a:lnTo>
                  <a:lnTo>
                    <a:pt x="2816086" y="200876"/>
                  </a:lnTo>
                  <a:lnTo>
                    <a:pt x="2816086" y="200228"/>
                  </a:lnTo>
                  <a:lnTo>
                    <a:pt x="2816187" y="200876"/>
                  </a:lnTo>
                  <a:lnTo>
                    <a:pt x="2816187" y="200228"/>
                  </a:lnTo>
                  <a:lnTo>
                    <a:pt x="2816187" y="200876"/>
                  </a:lnTo>
                  <a:lnTo>
                    <a:pt x="2816187" y="200228"/>
                  </a:lnTo>
                  <a:lnTo>
                    <a:pt x="2816187" y="200876"/>
                  </a:lnTo>
                  <a:lnTo>
                    <a:pt x="2816226" y="200876"/>
                  </a:lnTo>
                  <a:lnTo>
                    <a:pt x="2816226" y="202260"/>
                  </a:lnTo>
                  <a:lnTo>
                    <a:pt x="2816226" y="200876"/>
                  </a:lnTo>
                  <a:lnTo>
                    <a:pt x="2816276" y="200876"/>
                  </a:lnTo>
                  <a:lnTo>
                    <a:pt x="2816276" y="202260"/>
                  </a:lnTo>
                  <a:lnTo>
                    <a:pt x="2816276" y="200876"/>
                  </a:lnTo>
                  <a:lnTo>
                    <a:pt x="2816327" y="200876"/>
                  </a:lnTo>
                  <a:lnTo>
                    <a:pt x="2816327" y="200228"/>
                  </a:lnTo>
                  <a:lnTo>
                    <a:pt x="2816327" y="200876"/>
                  </a:lnTo>
                  <a:lnTo>
                    <a:pt x="2816327" y="200228"/>
                  </a:lnTo>
                  <a:lnTo>
                    <a:pt x="2816327" y="200876"/>
                  </a:lnTo>
                  <a:lnTo>
                    <a:pt x="2816327" y="200228"/>
                  </a:lnTo>
                  <a:lnTo>
                    <a:pt x="2816327" y="200876"/>
                  </a:lnTo>
                  <a:lnTo>
                    <a:pt x="2816327" y="200228"/>
                  </a:lnTo>
                  <a:lnTo>
                    <a:pt x="2816429" y="200228"/>
                  </a:lnTo>
                  <a:lnTo>
                    <a:pt x="2816429" y="196799"/>
                  </a:lnTo>
                  <a:lnTo>
                    <a:pt x="2816480" y="196799"/>
                  </a:lnTo>
                  <a:lnTo>
                    <a:pt x="2816480" y="199530"/>
                  </a:lnTo>
                  <a:lnTo>
                    <a:pt x="2816480" y="198831"/>
                  </a:lnTo>
                  <a:lnTo>
                    <a:pt x="2816480" y="199530"/>
                  </a:lnTo>
                  <a:lnTo>
                    <a:pt x="2816480" y="197447"/>
                  </a:lnTo>
                  <a:lnTo>
                    <a:pt x="2816530" y="198831"/>
                  </a:lnTo>
                  <a:lnTo>
                    <a:pt x="2816530" y="200228"/>
                  </a:lnTo>
                  <a:lnTo>
                    <a:pt x="2816530" y="199530"/>
                  </a:lnTo>
                  <a:lnTo>
                    <a:pt x="2816530" y="200228"/>
                  </a:lnTo>
                  <a:lnTo>
                    <a:pt x="2816530" y="198831"/>
                  </a:lnTo>
                  <a:lnTo>
                    <a:pt x="2816530" y="199530"/>
                  </a:lnTo>
                  <a:lnTo>
                    <a:pt x="2816632" y="199530"/>
                  </a:lnTo>
                  <a:lnTo>
                    <a:pt x="2816632" y="200876"/>
                  </a:lnTo>
                  <a:lnTo>
                    <a:pt x="2816683" y="200876"/>
                  </a:lnTo>
                  <a:lnTo>
                    <a:pt x="2816683" y="200228"/>
                  </a:lnTo>
                  <a:lnTo>
                    <a:pt x="2816683" y="200876"/>
                  </a:lnTo>
                  <a:lnTo>
                    <a:pt x="2816733" y="200876"/>
                  </a:lnTo>
                  <a:lnTo>
                    <a:pt x="2816733" y="200228"/>
                  </a:lnTo>
                  <a:lnTo>
                    <a:pt x="2816733" y="200876"/>
                  </a:lnTo>
                  <a:lnTo>
                    <a:pt x="2816733" y="200228"/>
                  </a:lnTo>
                  <a:lnTo>
                    <a:pt x="2816733" y="202260"/>
                  </a:lnTo>
                  <a:lnTo>
                    <a:pt x="2816733" y="200876"/>
                  </a:lnTo>
                  <a:lnTo>
                    <a:pt x="2816733" y="202260"/>
                  </a:lnTo>
                  <a:lnTo>
                    <a:pt x="2816733" y="200876"/>
                  </a:lnTo>
                  <a:lnTo>
                    <a:pt x="2816772" y="200876"/>
                  </a:lnTo>
                  <a:lnTo>
                    <a:pt x="2816772" y="200228"/>
                  </a:lnTo>
                  <a:lnTo>
                    <a:pt x="2816772" y="200876"/>
                  </a:lnTo>
                  <a:lnTo>
                    <a:pt x="2816873" y="200876"/>
                  </a:lnTo>
                  <a:lnTo>
                    <a:pt x="2816873" y="199530"/>
                  </a:lnTo>
                  <a:lnTo>
                    <a:pt x="2816924" y="199530"/>
                  </a:lnTo>
                  <a:lnTo>
                    <a:pt x="2816924" y="198831"/>
                  </a:lnTo>
                  <a:lnTo>
                    <a:pt x="2816924" y="199530"/>
                  </a:lnTo>
                  <a:lnTo>
                    <a:pt x="2816924" y="196799"/>
                  </a:lnTo>
                  <a:lnTo>
                    <a:pt x="2816975" y="196799"/>
                  </a:lnTo>
                  <a:lnTo>
                    <a:pt x="2816975" y="196113"/>
                  </a:lnTo>
                  <a:lnTo>
                    <a:pt x="2816975" y="198831"/>
                  </a:lnTo>
                  <a:lnTo>
                    <a:pt x="2816975" y="196113"/>
                  </a:lnTo>
                  <a:lnTo>
                    <a:pt x="2816975" y="196799"/>
                  </a:lnTo>
                  <a:lnTo>
                    <a:pt x="2817076" y="196799"/>
                  </a:lnTo>
                  <a:lnTo>
                    <a:pt x="2817076" y="198831"/>
                  </a:lnTo>
                  <a:lnTo>
                    <a:pt x="2817076" y="197447"/>
                  </a:lnTo>
                  <a:lnTo>
                    <a:pt x="2817076" y="198831"/>
                  </a:lnTo>
                  <a:lnTo>
                    <a:pt x="2817127" y="198831"/>
                  </a:lnTo>
                  <a:lnTo>
                    <a:pt x="2817127" y="200228"/>
                  </a:lnTo>
                  <a:lnTo>
                    <a:pt x="2817127" y="199530"/>
                  </a:lnTo>
                  <a:lnTo>
                    <a:pt x="2817178" y="199530"/>
                  </a:lnTo>
                  <a:lnTo>
                    <a:pt x="2817178" y="200228"/>
                  </a:lnTo>
                  <a:lnTo>
                    <a:pt x="2817178" y="199530"/>
                  </a:lnTo>
                  <a:lnTo>
                    <a:pt x="2817229" y="199530"/>
                  </a:lnTo>
                  <a:lnTo>
                    <a:pt x="2817229" y="200876"/>
                  </a:lnTo>
                  <a:lnTo>
                    <a:pt x="2817318" y="200876"/>
                  </a:lnTo>
                  <a:lnTo>
                    <a:pt x="2817318" y="200228"/>
                  </a:lnTo>
                  <a:lnTo>
                    <a:pt x="2817318" y="200876"/>
                  </a:lnTo>
                  <a:lnTo>
                    <a:pt x="2817318" y="200228"/>
                  </a:lnTo>
                  <a:lnTo>
                    <a:pt x="2817318" y="200876"/>
                  </a:lnTo>
                  <a:lnTo>
                    <a:pt x="2817318" y="200228"/>
                  </a:lnTo>
                  <a:lnTo>
                    <a:pt x="2817318" y="202260"/>
                  </a:lnTo>
                  <a:lnTo>
                    <a:pt x="2817318" y="200876"/>
                  </a:lnTo>
                  <a:lnTo>
                    <a:pt x="2817369" y="200876"/>
                  </a:lnTo>
                  <a:lnTo>
                    <a:pt x="2817369" y="200228"/>
                  </a:lnTo>
                  <a:lnTo>
                    <a:pt x="2817369" y="200876"/>
                  </a:lnTo>
                  <a:lnTo>
                    <a:pt x="2817369" y="200228"/>
                  </a:lnTo>
                  <a:lnTo>
                    <a:pt x="2817369" y="200876"/>
                  </a:lnTo>
                  <a:lnTo>
                    <a:pt x="2817369" y="199530"/>
                  </a:lnTo>
                  <a:lnTo>
                    <a:pt x="2817419" y="200228"/>
                  </a:lnTo>
                  <a:lnTo>
                    <a:pt x="2817419" y="196799"/>
                  </a:lnTo>
                  <a:lnTo>
                    <a:pt x="2817470" y="197447"/>
                  </a:lnTo>
                  <a:lnTo>
                    <a:pt x="2817470" y="198831"/>
                  </a:lnTo>
                  <a:lnTo>
                    <a:pt x="2817470" y="196799"/>
                  </a:lnTo>
                  <a:lnTo>
                    <a:pt x="2817470" y="197447"/>
                  </a:lnTo>
                  <a:lnTo>
                    <a:pt x="2817470" y="196799"/>
                  </a:lnTo>
                  <a:lnTo>
                    <a:pt x="2817470" y="198831"/>
                  </a:lnTo>
                  <a:lnTo>
                    <a:pt x="2817572" y="199530"/>
                  </a:lnTo>
                  <a:lnTo>
                    <a:pt x="2817572" y="198831"/>
                  </a:lnTo>
                  <a:lnTo>
                    <a:pt x="2817572" y="199530"/>
                  </a:lnTo>
                  <a:lnTo>
                    <a:pt x="2817572" y="198831"/>
                  </a:lnTo>
                  <a:lnTo>
                    <a:pt x="2817572" y="199530"/>
                  </a:lnTo>
                  <a:lnTo>
                    <a:pt x="2817572" y="197447"/>
                  </a:lnTo>
                  <a:lnTo>
                    <a:pt x="2817572" y="199530"/>
                  </a:lnTo>
                  <a:lnTo>
                    <a:pt x="2817622" y="199530"/>
                  </a:lnTo>
                  <a:lnTo>
                    <a:pt x="2817622" y="198831"/>
                  </a:lnTo>
                  <a:lnTo>
                    <a:pt x="2817622" y="199530"/>
                  </a:lnTo>
                  <a:lnTo>
                    <a:pt x="2817622" y="198831"/>
                  </a:lnTo>
                  <a:lnTo>
                    <a:pt x="2817622" y="199530"/>
                  </a:lnTo>
                  <a:lnTo>
                    <a:pt x="2817673" y="199530"/>
                  </a:lnTo>
                  <a:lnTo>
                    <a:pt x="2817673" y="198831"/>
                  </a:lnTo>
                  <a:lnTo>
                    <a:pt x="2817673" y="199530"/>
                  </a:lnTo>
                  <a:lnTo>
                    <a:pt x="2817673" y="198831"/>
                  </a:lnTo>
                  <a:lnTo>
                    <a:pt x="2817673" y="199530"/>
                  </a:lnTo>
                  <a:lnTo>
                    <a:pt x="2817673" y="198831"/>
                  </a:lnTo>
                  <a:lnTo>
                    <a:pt x="2817775" y="198831"/>
                  </a:lnTo>
                  <a:lnTo>
                    <a:pt x="2817775" y="200228"/>
                  </a:lnTo>
                  <a:lnTo>
                    <a:pt x="2817775" y="199530"/>
                  </a:lnTo>
                  <a:lnTo>
                    <a:pt x="2817775" y="200228"/>
                  </a:lnTo>
                  <a:lnTo>
                    <a:pt x="2817813" y="200228"/>
                  </a:lnTo>
                  <a:lnTo>
                    <a:pt x="2817813" y="200876"/>
                  </a:lnTo>
                  <a:lnTo>
                    <a:pt x="2817813" y="199530"/>
                  </a:lnTo>
                  <a:lnTo>
                    <a:pt x="2817813" y="200228"/>
                  </a:lnTo>
                  <a:lnTo>
                    <a:pt x="2817864" y="200228"/>
                  </a:lnTo>
                  <a:lnTo>
                    <a:pt x="2817864" y="199530"/>
                  </a:lnTo>
                  <a:lnTo>
                    <a:pt x="2817864" y="200228"/>
                  </a:lnTo>
                  <a:lnTo>
                    <a:pt x="2817864" y="198831"/>
                  </a:lnTo>
                  <a:lnTo>
                    <a:pt x="2817915" y="198831"/>
                  </a:lnTo>
                  <a:lnTo>
                    <a:pt x="2817915" y="196799"/>
                  </a:lnTo>
                  <a:lnTo>
                    <a:pt x="2817915" y="198831"/>
                  </a:lnTo>
                  <a:lnTo>
                    <a:pt x="2818016" y="198831"/>
                  </a:lnTo>
                  <a:lnTo>
                    <a:pt x="2818016" y="197447"/>
                  </a:lnTo>
                  <a:lnTo>
                    <a:pt x="2818016" y="198831"/>
                  </a:lnTo>
                  <a:lnTo>
                    <a:pt x="2818016" y="197447"/>
                  </a:lnTo>
                  <a:lnTo>
                    <a:pt x="2818016" y="200228"/>
                  </a:lnTo>
                  <a:lnTo>
                    <a:pt x="2818016" y="199530"/>
                  </a:lnTo>
                  <a:lnTo>
                    <a:pt x="2818016" y="200228"/>
                  </a:lnTo>
                  <a:lnTo>
                    <a:pt x="2818016" y="199530"/>
                  </a:lnTo>
                  <a:lnTo>
                    <a:pt x="2818067" y="199530"/>
                  </a:lnTo>
                  <a:lnTo>
                    <a:pt x="2818067" y="198831"/>
                  </a:lnTo>
                  <a:lnTo>
                    <a:pt x="2818067" y="200228"/>
                  </a:lnTo>
                  <a:lnTo>
                    <a:pt x="2818118" y="200228"/>
                  </a:lnTo>
                  <a:lnTo>
                    <a:pt x="2818118" y="199530"/>
                  </a:lnTo>
                  <a:lnTo>
                    <a:pt x="2818118" y="200228"/>
                  </a:lnTo>
                  <a:lnTo>
                    <a:pt x="2818118" y="199530"/>
                  </a:lnTo>
                  <a:lnTo>
                    <a:pt x="2818219" y="199530"/>
                  </a:lnTo>
                  <a:lnTo>
                    <a:pt x="2818219" y="200228"/>
                  </a:lnTo>
                  <a:lnTo>
                    <a:pt x="2818219" y="199530"/>
                  </a:lnTo>
                  <a:lnTo>
                    <a:pt x="2818219" y="200228"/>
                  </a:lnTo>
                  <a:lnTo>
                    <a:pt x="2818219" y="199530"/>
                  </a:lnTo>
                  <a:lnTo>
                    <a:pt x="2818219" y="200228"/>
                  </a:lnTo>
                  <a:lnTo>
                    <a:pt x="2818270" y="200228"/>
                  </a:lnTo>
                  <a:lnTo>
                    <a:pt x="2818270" y="200876"/>
                  </a:lnTo>
                  <a:lnTo>
                    <a:pt x="2818270" y="200228"/>
                  </a:lnTo>
                  <a:lnTo>
                    <a:pt x="2818270" y="200876"/>
                  </a:lnTo>
                  <a:lnTo>
                    <a:pt x="2818270" y="200228"/>
                  </a:lnTo>
                  <a:lnTo>
                    <a:pt x="2818270" y="200876"/>
                  </a:lnTo>
                  <a:lnTo>
                    <a:pt x="2818270" y="200228"/>
                  </a:lnTo>
                  <a:lnTo>
                    <a:pt x="2818270" y="200876"/>
                  </a:lnTo>
                  <a:lnTo>
                    <a:pt x="2818321" y="200876"/>
                  </a:lnTo>
                  <a:lnTo>
                    <a:pt x="2818321" y="200228"/>
                  </a:lnTo>
                  <a:lnTo>
                    <a:pt x="2818321" y="200876"/>
                  </a:lnTo>
                  <a:lnTo>
                    <a:pt x="2818321" y="199530"/>
                  </a:lnTo>
                  <a:lnTo>
                    <a:pt x="2818321" y="200228"/>
                  </a:lnTo>
                  <a:lnTo>
                    <a:pt x="2818359" y="200228"/>
                  </a:lnTo>
                  <a:lnTo>
                    <a:pt x="2818359" y="199530"/>
                  </a:lnTo>
                  <a:lnTo>
                    <a:pt x="2818359" y="200228"/>
                  </a:lnTo>
                  <a:lnTo>
                    <a:pt x="2818359" y="198831"/>
                  </a:lnTo>
                  <a:lnTo>
                    <a:pt x="2818461" y="198831"/>
                  </a:lnTo>
                  <a:lnTo>
                    <a:pt x="2818461" y="196799"/>
                  </a:lnTo>
                  <a:lnTo>
                    <a:pt x="2818461" y="199530"/>
                  </a:lnTo>
                  <a:lnTo>
                    <a:pt x="2818512" y="199530"/>
                  </a:lnTo>
                  <a:lnTo>
                    <a:pt x="2818512" y="197447"/>
                  </a:lnTo>
                  <a:lnTo>
                    <a:pt x="2818512" y="200876"/>
                  </a:lnTo>
                  <a:lnTo>
                    <a:pt x="2818512" y="200228"/>
                  </a:lnTo>
                  <a:lnTo>
                    <a:pt x="2818562" y="200228"/>
                  </a:lnTo>
                  <a:lnTo>
                    <a:pt x="2818562" y="199530"/>
                  </a:lnTo>
                  <a:lnTo>
                    <a:pt x="2818562" y="200876"/>
                  </a:lnTo>
                  <a:lnTo>
                    <a:pt x="2818664" y="200876"/>
                  </a:lnTo>
                  <a:lnTo>
                    <a:pt x="2818664" y="200228"/>
                  </a:lnTo>
                  <a:lnTo>
                    <a:pt x="2818664" y="200876"/>
                  </a:lnTo>
                  <a:lnTo>
                    <a:pt x="2818664" y="200228"/>
                  </a:lnTo>
                  <a:lnTo>
                    <a:pt x="2818664" y="200876"/>
                  </a:lnTo>
                  <a:lnTo>
                    <a:pt x="2818664" y="200228"/>
                  </a:lnTo>
                  <a:lnTo>
                    <a:pt x="2818664" y="200876"/>
                  </a:lnTo>
                  <a:lnTo>
                    <a:pt x="2818664" y="200228"/>
                  </a:lnTo>
                  <a:lnTo>
                    <a:pt x="2818765" y="200228"/>
                  </a:lnTo>
                  <a:lnTo>
                    <a:pt x="2818765" y="200876"/>
                  </a:lnTo>
                  <a:lnTo>
                    <a:pt x="2818765" y="200228"/>
                  </a:lnTo>
                  <a:lnTo>
                    <a:pt x="2818765" y="200876"/>
                  </a:lnTo>
                  <a:lnTo>
                    <a:pt x="2818765" y="199530"/>
                  </a:lnTo>
                  <a:lnTo>
                    <a:pt x="2818816" y="199530"/>
                  </a:lnTo>
                  <a:lnTo>
                    <a:pt x="2818816" y="200228"/>
                  </a:lnTo>
                  <a:lnTo>
                    <a:pt x="2818816" y="199530"/>
                  </a:lnTo>
                  <a:lnTo>
                    <a:pt x="2818816" y="200228"/>
                  </a:lnTo>
                  <a:lnTo>
                    <a:pt x="2818816" y="199530"/>
                  </a:lnTo>
                  <a:lnTo>
                    <a:pt x="2818905" y="199530"/>
                  </a:lnTo>
                  <a:lnTo>
                    <a:pt x="2818905" y="197447"/>
                  </a:lnTo>
                  <a:lnTo>
                    <a:pt x="2818956" y="196799"/>
                  </a:lnTo>
                  <a:lnTo>
                    <a:pt x="2818956" y="196113"/>
                  </a:lnTo>
                  <a:lnTo>
                    <a:pt x="2818956" y="198831"/>
                  </a:lnTo>
                  <a:lnTo>
                    <a:pt x="2818956" y="197447"/>
                  </a:lnTo>
                  <a:lnTo>
                    <a:pt x="2819007" y="197447"/>
                  </a:lnTo>
                  <a:lnTo>
                    <a:pt x="2819007" y="200228"/>
                  </a:lnTo>
                  <a:lnTo>
                    <a:pt x="2819007" y="198831"/>
                  </a:lnTo>
                  <a:lnTo>
                    <a:pt x="2819007" y="199530"/>
                  </a:lnTo>
                  <a:lnTo>
                    <a:pt x="2819058" y="199530"/>
                  </a:lnTo>
                  <a:lnTo>
                    <a:pt x="2819058" y="200876"/>
                  </a:lnTo>
                  <a:lnTo>
                    <a:pt x="2819058" y="199530"/>
                  </a:lnTo>
                  <a:lnTo>
                    <a:pt x="2819058" y="200228"/>
                  </a:lnTo>
                  <a:lnTo>
                    <a:pt x="2819159" y="200228"/>
                  </a:lnTo>
                  <a:lnTo>
                    <a:pt x="2819159" y="200876"/>
                  </a:lnTo>
                  <a:lnTo>
                    <a:pt x="2819159" y="200228"/>
                  </a:lnTo>
                  <a:lnTo>
                    <a:pt x="2819159" y="200876"/>
                  </a:lnTo>
                  <a:lnTo>
                    <a:pt x="2819159" y="200228"/>
                  </a:lnTo>
                  <a:lnTo>
                    <a:pt x="2819159" y="200876"/>
                  </a:lnTo>
                  <a:lnTo>
                    <a:pt x="2819159" y="200228"/>
                  </a:lnTo>
                  <a:lnTo>
                    <a:pt x="2819210" y="200876"/>
                  </a:lnTo>
                  <a:lnTo>
                    <a:pt x="2819210" y="202260"/>
                  </a:lnTo>
                  <a:lnTo>
                    <a:pt x="2819210" y="200228"/>
                  </a:lnTo>
                  <a:lnTo>
                    <a:pt x="2819210" y="200876"/>
                  </a:lnTo>
                  <a:lnTo>
                    <a:pt x="2819210" y="200228"/>
                  </a:lnTo>
                  <a:lnTo>
                    <a:pt x="2819210" y="200876"/>
                  </a:lnTo>
                  <a:lnTo>
                    <a:pt x="2819261" y="200876"/>
                  </a:lnTo>
                  <a:lnTo>
                    <a:pt x="2819261" y="202260"/>
                  </a:lnTo>
                  <a:lnTo>
                    <a:pt x="2819261" y="200876"/>
                  </a:lnTo>
                  <a:lnTo>
                    <a:pt x="2819261" y="202260"/>
                  </a:lnTo>
                  <a:lnTo>
                    <a:pt x="2819261" y="200876"/>
                  </a:lnTo>
                  <a:lnTo>
                    <a:pt x="2819261" y="202260"/>
                  </a:lnTo>
                  <a:lnTo>
                    <a:pt x="2819261" y="200228"/>
                  </a:lnTo>
                  <a:lnTo>
                    <a:pt x="2819261" y="200876"/>
                  </a:lnTo>
                  <a:lnTo>
                    <a:pt x="2819362" y="200876"/>
                  </a:lnTo>
                  <a:lnTo>
                    <a:pt x="2819362" y="200228"/>
                  </a:lnTo>
                  <a:lnTo>
                    <a:pt x="2819362" y="200876"/>
                  </a:lnTo>
                  <a:lnTo>
                    <a:pt x="2819362" y="199530"/>
                  </a:lnTo>
                  <a:lnTo>
                    <a:pt x="2819362" y="200228"/>
                  </a:lnTo>
                  <a:lnTo>
                    <a:pt x="2819401" y="199530"/>
                  </a:lnTo>
                  <a:lnTo>
                    <a:pt x="2819401" y="197447"/>
                  </a:lnTo>
                  <a:lnTo>
                    <a:pt x="2819451" y="197447"/>
                  </a:lnTo>
                  <a:lnTo>
                    <a:pt x="2819451" y="196799"/>
                  </a:lnTo>
                  <a:lnTo>
                    <a:pt x="2819451" y="197447"/>
                  </a:lnTo>
                  <a:lnTo>
                    <a:pt x="2819451" y="196799"/>
                  </a:lnTo>
                  <a:lnTo>
                    <a:pt x="2819451" y="197447"/>
                  </a:lnTo>
                  <a:lnTo>
                    <a:pt x="2819502" y="197447"/>
                  </a:lnTo>
                  <a:lnTo>
                    <a:pt x="2819502" y="199530"/>
                  </a:lnTo>
                  <a:lnTo>
                    <a:pt x="2819604" y="199530"/>
                  </a:lnTo>
                  <a:lnTo>
                    <a:pt x="2819604" y="200228"/>
                  </a:lnTo>
                  <a:lnTo>
                    <a:pt x="2819604" y="199530"/>
                  </a:lnTo>
                  <a:lnTo>
                    <a:pt x="2819604" y="200228"/>
                  </a:lnTo>
                  <a:lnTo>
                    <a:pt x="2819705" y="200228"/>
                  </a:lnTo>
                  <a:lnTo>
                    <a:pt x="2819705" y="200876"/>
                  </a:lnTo>
                  <a:lnTo>
                    <a:pt x="2819705" y="200228"/>
                  </a:lnTo>
                  <a:lnTo>
                    <a:pt x="2819705" y="200876"/>
                  </a:lnTo>
                  <a:lnTo>
                    <a:pt x="2819807" y="200876"/>
                  </a:lnTo>
                  <a:lnTo>
                    <a:pt x="2819807" y="200228"/>
                  </a:lnTo>
                  <a:lnTo>
                    <a:pt x="2819858" y="200228"/>
                  </a:lnTo>
                  <a:lnTo>
                    <a:pt x="2819858" y="198831"/>
                  </a:lnTo>
                  <a:lnTo>
                    <a:pt x="2819908" y="198831"/>
                  </a:lnTo>
                  <a:lnTo>
                    <a:pt x="2819908" y="196799"/>
                  </a:lnTo>
                  <a:lnTo>
                    <a:pt x="2819908" y="197447"/>
                  </a:lnTo>
                  <a:lnTo>
                    <a:pt x="2819947" y="196799"/>
                  </a:lnTo>
                  <a:lnTo>
                    <a:pt x="2819947" y="195415"/>
                  </a:lnTo>
                  <a:lnTo>
                    <a:pt x="2819947" y="197447"/>
                  </a:lnTo>
                  <a:lnTo>
                    <a:pt x="2819947" y="196113"/>
                  </a:lnTo>
                  <a:lnTo>
                    <a:pt x="2820048" y="196799"/>
                  </a:lnTo>
                  <a:lnTo>
                    <a:pt x="2820048" y="196113"/>
                  </a:lnTo>
                  <a:lnTo>
                    <a:pt x="2820048" y="196799"/>
                  </a:lnTo>
                  <a:lnTo>
                    <a:pt x="2820048" y="196113"/>
                  </a:lnTo>
                  <a:lnTo>
                    <a:pt x="2820048" y="199530"/>
                  </a:lnTo>
                  <a:lnTo>
                    <a:pt x="2820048" y="197447"/>
                  </a:lnTo>
                  <a:lnTo>
                    <a:pt x="2820048" y="198831"/>
                  </a:lnTo>
                  <a:lnTo>
                    <a:pt x="2820048" y="196799"/>
                  </a:lnTo>
                  <a:lnTo>
                    <a:pt x="2820099" y="197447"/>
                  </a:lnTo>
                  <a:lnTo>
                    <a:pt x="2820099" y="196799"/>
                  </a:lnTo>
                  <a:lnTo>
                    <a:pt x="2820099" y="198831"/>
                  </a:lnTo>
                  <a:lnTo>
                    <a:pt x="2820099" y="197447"/>
                  </a:lnTo>
                  <a:lnTo>
                    <a:pt x="2820099" y="198831"/>
                  </a:lnTo>
                  <a:lnTo>
                    <a:pt x="2820099" y="197447"/>
                  </a:lnTo>
                  <a:lnTo>
                    <a:pt x="2820150" y="197447"/>
                  </a:lnTo>
                  <a:lnTo>
                    <a:pt x="2820150" y="199530"/>
                  </a:lnTo>
                  <a:lnTo>
                    <a:pt x="2820251" y="199530"/>
                  </a:lnTo>
                  <a:lnTo>
                    <a:pt x="2820251" y="200228"/>
                  </a:lnTo>
                  <a:lnTo>
                    <a:pt x="2820251" y="199530"/>
                  </a:lnTo>
                  <a:lnTo>
                    <a:pt x="2820251" y="200228"/>
                  </a:lnTo>
                  <a:lnTo>
                    <a:pt x="2820251" y="199530"/>
                  </a:lnTo>
                  <a:lnTo>
                    <a:pt x="2820251" y="200228"/>
                  </a:lnTo>
                  <a:lnTo>
                    <a:pt x="2820302" y="200228"/>
                  </a:lnTo>
                  <a:lnTo>
                    <a:pt x="2820302" y="202260"/>
                  </a:lnTo>
                  <a:lnTo>
                    <a:pt x="2820302" y="200228"/>
                  </a:lnTo>
                  <a:lnTo>
                    <a:pt x="2820302" y="200876"/>
                  </a:lnTo>
                  <a:lnTo>
                    <a:pt x="2820353" y="200876"/>
                  </a:lnTo>
                  <a:lnTo>
                    <a:pt x="2820353" y="200228"/>
                  </a:lnTo>
                  <a:lnTo>
                    <a:pt x="2820353" y="200876"/>
                  </a:lnTo>
                  <a:lnTo>
                    <a:pt x="2820353" y="199530"/>
                  </a:lnTo>
                  <a:lnTo>
                    <a:pt x="2820353" y="200228"/>
                  </a:lnTo>
                  <a:lnTo>
                    <a:pt x="2820353" y="199530"/>
                  </a:lnTo>
                  <a:lnTo>
                    <a:pt x="2820404" y="199530"/>
                  </a:lnTo>
                  <a:lnTo>
                    <a:pt x="2820404" y="196799"/>
                  </a:lnTo>
                  <a:lnTo>
                    <a:pt x="2820493" y="196799"/>
                  </a:lnTo>
                  <a:lnTo>
                    <a:pt x="2820493" y="196113"/>
                  </a:lnTo>
                  <a:lnTo>
                    <a:pt x="2820493" y="198831"/>
                  </a:lnTo>
                  <a:lnTo>
                    <a:pt x="2820493" y="196113"/>
                  </a:lnTo>
                  <a:lnTo>
                    <a:pt x="2820493" y="196799"/>
                  </a:lnTo>
                  <a:lnTo>
                    <a:pt x="2820544" y="196799"/>
                  </a:lnTo>
                  <a:lnTo>
                    <a:pt x="2820544" y="199530"/>
                  </a:lnTo>
                  <a:lnTo>
                    <a:pt x="2820544" y="196799"/>
                  </a:lnTo>
                  <a:lnTo>
                    <a:pt x="2820544" y="197447"/>
                  </a:lnTo>
                  <a:lnTo>
                    <a:pt x="2820594" y="198831"/>
                  </a:lnTo>
                  <a:lnTo>
                    <a:pt x="2820594" y="199530"/>
                  </a:lnTo>
                  <a:lnTo>
                    <a:pt x="2820594" y="197447"/>
                  </a:lnTo>
                  <a:lnTo>
                    <a:pt x="2820645" y="198831"/>
                  </a:lnTo>
                  <a:lnTo>
                    <a:pt x="2820645" y="197447"/>
                  </a:lnTo>
                  <a:lnTo>
                    <a:pt x="2820645" y="199530"/>
                  </a:lnTo>
                  <a:lnTo>
                    <a:pt x="2820747" y="199530"/>
                  </a:lnTo>
                  <a:lnTo>
                    <a:pt x="2820747" y="198831"/>
                  </a:lnTo>
                  <a:lnTo>
                    <a:pt x="2820747" y="200228"/>
                  </a:lnTo>
                  <a:lnTo>
                    <a:pt x="2820747" y="199530"/>
                  </a:lnTo>
                  <a:lnTo>
                    <a:pt x="2820747" y="200228"/>
                  </a:lnTo>
                  <a:lnTo>
                    <a:pt x="2820797" y="200228"/>
                  </a:lnTo>
                  <a:lnTo>
                    <a:pt x="2820797" y="199530"/>
                  </a:lnTo>
                  <a:lnTo>
                    <a:pt x="2820797" y="200228"/>
                  </a:lnTo>
                  <a:lnTo>
                    <a:pt x="2820797" y="199530"/>
                  </a:lnTo>
                  <a:lnTo>
                    <a:pt x="2820797" y="200228"/>
                  </a:lnTo>
                  <a:lnTo>
                    <a:pt x="2820797" y="199530"/>
                  </a:lnTo>
                  <a:lnTo>
                    <a:pt x="2820848" y="199530"/>
                  </a:lnTo>
                  <a:lnTo>
                    <a:pt x="2820848" y="198831"/>
                  </a:lnTo>
                  <a:lnTo>
                    <a:pt x="2820950" y="198831"/>
                  </a:lnTo>
                  <a:lnTo>
                    <a:pt x="2820950" y="197447"/>
                  </a:lnTo>
                  <a:lnTo>
                    <a:pt x="2820950" y="199530"/>
                  </a:lnTo>
                  <a:lnTo>
                    <a:pt x="2820950" y="198831"/>
                  </a:lnTo>
                  <a:lnTo>
                    <a:pt x="2820988" y="198831"/>
                  </a:lnTo>
                  <a:lnTo>
                    <a:pt x="2820988" y="199530"/>
                  </a:lnTo>
                  <a:lnTo>
                    <a:pt x="2820988" y="198831"/>
                  </a:lnTo>
                  <a:lnTo>
                    <a:pt x="2820988" y="200876"/>
                  </a:lnTo>
                  <a:lnTo>
                    <a:pt x="2820988" y="200228"/>
                  </a:lnTo>
                  <a:lnTo>
                    <a:pt x="2820988" y="200876"/>
                  </a:lnTo>
                  <a:lnTo>
                    <a:pt x="2820988" y="200228"/>
                  </a:lnTo>
                  <a:lnTo>
                    <a:pt x="2821039" y="200228"/>
                  </a:lnTo>
                  <a:lnTo>
                    <a:pt x="2821039" y="200876"/>
                  </a:lnTo>
                  <a:lnTo>
                    <a:pt x="2821039" y="200228"/>
                  </a:lnTo>
                  <a:lnTo>
                    <a:pt x="2821090" y="199530"/>
                  </a:lnTo>
                  <a:lnTo>
                    <a:pt x="2821090" y="200228"/>
                  </a:lnTo>
                  <a:lnTo>
                    <a:pt x="2821090" y="199530"/>
                  </a:lnTo>
                  <a:lnTo>
                    <a:pt x="2821090" y="200228"/>
                  </a:lnTo>
                  <a:lnTo>
                    <a:pt x="2821090" y="199530"/>
                  </a:lnTo>
                  <a:lnTo>
                    <a:pt x="2821090" y="200228"/>
                  </a:lnTo>
                  <a:lnTo>
                    <a:pt x="2821090" y="199530"/>
                  </a:lnTo>
                  <a:lnTo>
                    <a:pt x="2821090" y="200228"/>
                  </a:lnTo>
                  <a:lnTo>
                    <a:pt x="2821191" y="200228"/>
                  </a:lnTo>
                  <a:lnTo>
                    <a:pt x="2821191" y="200876"/>
                  </a:lnTo>
                  <a:lnTo>
                    <a:pt x="2821191" y="200228"/>
                  </a:lnTo>
                  <a:lnTo>
                    <a:pt x="2821191" y="200876"/>
                  </a:lnTo>
                  <a:lnTo>
                    <a:pt x="2821191" y="200228"/>
                  </a:lnTo>
                  <a:lnTo>
                    <a:pt x="2821242" y="200228"/>
                  </a:lnTo>
                  <a:lnTo>
                    <a:pt x="2821242" y="200876"/>
                  </a:lnTo>
                  <a:lnTo>
                    <a:pt x="2821242" y="200228"/>
                  </a:lnTo>
                  <a:lnTo>
                    <a:pt x="2821242" y="200876"/>
                  </a:lnTo>
                  <a:lnTo>
                    <a:pt x="2821242" y="200228"/>
                  </a:lnTo>
                  <a:lnTo>
                    <a:pt x="2821242" y="200876"/>
                  </a:lnTo>
                  <a:lnTo>
                    <a:pt x="2821293" y="200876"/>
                  </a:lnTo>
                  <a:lnTo>
                    <a:pt x="2821293" y="200228"/>
                  </a:lnTo>
                  <a:lnTo>
                    <a:pt x="2821293" y="200876"/>
                  </a:lnTo>
                  <a:lnTo>
                    <a:pt x="2821293" y="200228"/>
                  </a:lnTo>
                  <a:lnTo>
                    <a:pt x="2821394" y="200228"/>
                  </a:lnTo>
                  <a:lnTo>
                    <a:pt x="2821394" y="199530"/>
                  </a:lnTo>
                  <a:lnTo>
                    <a:pt x="2821394" y="200228"/>
                  </a:lnTo>
                  <a:lnTo>
                    <a:pt x="2821394" y="198831"/>
                  </a:lnTo>
                  <a:lnTo>
                    <a:pt x="2821445" y="198831"/>
                  </a:lnTo>
                  <a:lnTo>
                    <a:pt x="2821445" y="197447"/>
                  </a:lnTo>
                  <a:lnTo>
                    <a:pt x="2821445" y="200228"/>
                  </a:lnTo>
                  <a:lnTo>
                    <a:pt x="2821445" y="199530"/>
                  </a:lnTo>
                  <a:lnTo>
                    <a:pt x="2821496" y="199530"/>
                  </a:lnTo>
                  <a:lnTo>
                    <a:pt x="2821496" y="198831"/>
                  </a:lnTo>
                  <a:lnTo>
                    <a:pt x="2821496" y="202260"/>
                  </a:lnTo>
                  <a:lnTo>
                    <a:pt x="2821496" y="200228"/>
                  </a:lnTo>
                  <a:lnTo>
                    <a:pt x="2821534" y="200876"/>
                  </a:lnTo>
                  <a:lnTo>
                    <a:pt x="2821534" y="202260"/>
                  </a:lnTo>
                  <a:lnTo>
                    <a:pt x="2821534" y="200876"/>
                  </a:lnTo>
                  <a:lnTo>
                    <a:pt x="2821636" y="200876"/>
                  </a:lnTo>
                  <a:lnTo>
                    <a:pt x="2821636" y="202260"/>
                  </a:lnTo>
                  <a:lnTo>
                    <a:pt x="2821636" y="200876"/>
                  </a:lnTo>
                  <a:lnTo>
                    <a:pt x="2821636" y="202260"/>
                  </a:lnTo>
                  <a:lnTo>
                    <a:pt x="2821687" y="202260"/>
                  </a:lnTo>
                  <a:lnTo>
                    <a:pt x="2821687" y="200876"/>
                  </a:lnTo>
                  <a:lnTo>
                    <a:pt x="2821687" y="202260"/>
                  </a:lnTo>
                  <a:lnTo>
                    <a:pt x="2821687" y="200876"/>
                  </a:lnTo>
                  <a:lnTo>
                    <a:pt x="2821687" y="202260"/>
                  </a:lnTo>
                  <a:lnTo>
                    <a:pt x="2821737" y="202260"/>
                  </a:lnTo>
                  <a:lnTo>
                    <a:pt x="2821737" y="200876"/>
                  </a:lnTo>
                  <a:lnTo>
                    <a:pt x="2821737" y="202260"/>
                  </a:lnTo>
                  <a:lnTo>
                    <a:pt x="2821737" y="200228"/>
                  </a:lnTo>
                  <a:lnTo>
                    <a:pt x="2821737" y="200876"/>
                  </a:lnTo>
                  <a:lnTo>
                    <a:pt x="2821839" y="200228"/>
                  </a:lnTo>
                  <a:lnTo>
                    <a:pt x="2821839" y="199530"/>
                  </a:lnTo>
                  <a:lnTo>
                    <a:pt x="2821890" y="198831"/>
                  </a:lnTo>
                  <a:lnTo>
                    <a:pt x="2821890" y="197447"/>
                  </a:lnTo>
                  <a:lnTo>
                    <a:pt x="2821890" y="198831"/>
                  </a:lnTo>
                  <a:lnTo>
                    <a:pt x="2821890" y="197447"/>
                  </a:lnTo>
                  <a:lnTo>
                    <a:pt x="2821940" y="197447"/>
                  </a:lnTo>
                  <a:lnTo>
                    <a:pt x="2821940" y="199530"/>
                  </a:lnTo>
                  <a:lnTo>
                    <a:pt x="2821940" y="198831"/>
                  </a:lnTo>
                  <a:lnTo>
                    <a:pt x="2821940" y="199530"/>
                  </a:lnTo>
                  <a:lnTo>
                    <a:pt x="2821940" y="198831"/>
                  </a:lnTo>
                  <a:lnTo>
                    <a:pt x="2821940" y="199530"/>
                  </a:lnTo>
                  <a:lnTo>
                    <a:pt x="2821940" y="198831"/>
                  </a:lnTo>
                  <a:lnTo>
                    <a:pt x="2821991" y="198831"/>
                  </a:lnTo>
                  <a:lnTo>
                    <a:pt x="2821991" y="200228"/>
                  </a:lnTo>
                  <a:lnTo>
                    <a:pt x="2821991" y="199530"/>
                  </a:lnTo>
                  <a:lnTo>
                    <a:pt x="2821991" y="200228"/>
                  </a:lnTo>
                  <a:lnTo>
                    <a:pt x="2822080" y="200228"/>
                  </a:lnTo>
                  <a:lnTo>
                    <a:pt x="2822080" y="200876"/>
                  </a:lnTo>
                  <a:lnTo>
                    <a:pt x="2822080" y="199530"/>
                  </a:lnTo>
                  <a:lnTo>
                    <a:pt x="2822080" y="200228"/>
                  </a:lnTo>
                  <a:lnTo>
                    <a:pt x="2822080" y="199530"/>
                  </a:lnTo>
                  <a:lnTo>
                    <a:pt x="2822080" y="200228"/>
                  </a:lnTo>
                  <a:lnTo>
                    <a:pt x="2822131" y="200228"/>
                  </a:lnTo>
                  <a:lnTo>
                    <a:pt x="2822131" y="200876"/>
                  </a:lnTo>
                  <a:lnTo>
                    <a:pt x="2822131" y="200228"/>
                  </a:lnTo>
                  <a:lnTo>
                    <a:pt x="2822131" y="200876"/>
                  </a:lnTo>
                  <a:lnTo>
                    <a:pt x="2822131" y="200228"/>
                  </a:lnTo>
                  <a:lnTo>
                    <a:pt x="2822131" y="200876"/>
                  </a:lnTo>
                  <a:lnTo>
                    <a:pt x="2822182" y="200876"/>
                  </a:lnTo>
                  <a:lnTo>
                    <a:pt x="2822182" y="202260"/>
                  </a:lnTo>
                  <a:lnTo>
                    <a:pt x="2822182" y="200876"/>
                  </a:lnTo>
                  <a:lnTo>
                    <a:pt x="2822182" y="202260"/>
                  </a:lnTo>
                  <a:lnTo>
                    <a:pt x="2822233" y="202260"/>
                  </a:lnTo>
                  <a:lnTo>
                    <a:pt x="2822233" y="200876"/>
                  </a:lnTo>
                  <a:lnTo>
                    <a:pt x="2822233" y="202260"/>
                  </a:lnTo>
                  <a:lnTo>
                    <a:pt x="2822233" y="200228"/>
                  </a:lnTo>
                  <a:lnTo>
                    <a:pt x="2822233" y="200876"/>
                  </a:lnTo>
                  <a:lnTo>
                    <a:pt x="2822334" y="200876"/>
                  </a:lnTo>
                  <a:lnTo>
                    <a:pt x="2822334" y="199530"/>
                  </a:lnTo>
                  <a:lnTo>
                    <a:pt x="2822385" y="199530"/>
                  </a:lnTo>
                  <a:lnTo>
                    <a:pt x="2822385" y="198831"/>
                  </a:lnTo>
                  <a:lnTo>
                    <a:pt x="2822385" y="199530"/>
                  </a:lnTo>
                  <a:lnTo>
                    <a:pt x="2822385" y="197447"/>
                  </a:lnTo>
                  <a:lnTo>
                    <a:pt x="2822436" y="198831"/>
                  </a:lnTo>
                  <a:lnTo>
                    <a:pt x="2822436" y="199530"/>
                  </a:lnTo>
                  <a:lnTo>
                    <a:pt x="2822436" y="197447"/>
                  </a:lnTo>
                  <a:lnTo>
                    <a:pt x="2822436" y="199530"/>
                  </a:lnTo>
                  <a:lnTo>
                    <a:pt x="2822537" y="199530"/>
                  </a:lnTo>
                  <a:lnTo>
                    <a:pt x="2822537" y="200228"/>
                  </a:lnTo>
                  <a:lnTo>
                    <a:pt x="2822576" y="200228"/>
                  </a:lnTo>
                  <a:lnTo>
                    <a:pt x="2822576" y="199530"/>
                  </a:lnTo>
                  <a:lnTo>
                    <a:pt x="2822576" y="200228"/>
                  </a:lnTo>
                  <a:lnTo>
                    <a:pt x="2822626" y="199530"/>
                  </a:lnTo>
                  <a:lnTo>
                    <a:pt x="2822626" y="200876"/>
                  </a:lnTo>
                  <a:lnTo>
                    <a:pt x="2822626" y="200228"/>
                  </a:lnTo>
                  <a:lnTo>
                    <a:pt x="2822626" y="202260"/>
                  </a:lnTo>
                  <a:lnTo>
                    <a:pt x="2822626" y="200876"/>
                  </a:lnTo>
                  <a:lnTo>
                    <a:pt x="2822677" y="200876"/>
                  </a:lnTo>
                  <a:lnTo>
                    <a:pt x="2822677" y="202260"/>
                  </a:lnTo>
                  <a:lnTo>
                    <a:pt x="2822677" y="200876"/>
                  </a:lnTo>
                  <a:lnTo>
                    <a:pt x="2822677" y="202260"/>
                  </a:lnTo>
                  <a:lnTo>
                    <a:pt x="2822677" y="200876"/>
                  </a:lnTo>
                  <a:lnTo>
                    <a:pt x="2822677" y="202260"/>
                  </a:lnTo>
                  <a:lnTo>
                    <a:pt x="2822677" y="200876"/>
                  </a:lnTo>
                  <a:lnTo>
                    <a:pt x="2822677" y="202260"/>
                  </a:lnTo>
                  <a:lnTo>
                    <a:pt x="2822779" y="202260"/>
                  </a:lnTo>
                  <a:lnTo>
                    <a:pt x="2822779" y="200876"/>
                  </a:lnTo>
                  <a:lnTo>
                    <a:pt x="2822779" y="202260"/>
                  </a:lnTo>
                  <a:lnTo>
                    <a:pt x="2822779" y="200876"/>
                  </a:lnTo>
                  <a:lnTo>
                    <a:pt x="2822830" y="200228"/>
                  </a:lnTo>
                  <a:lnTo>
                    <a:pt x="2822830" y="199530"/>
                  </a:lnTo>
                  <a:lnTo>
                    <a:pt x="2822830" y="200228"/>
                  </a:lnTo>
                  <a:lnTo>
                    <a:pt x="2822830" y="199530"/>
                  </a:lnTo>
                  <a:lnTo>
                    <a:pt x="2822880" y="199530"/>
                  </a:lnTo>
                  <a:lnTo>
                    <a:pt x="2822880" y="197447"/>
                  </a:lnTo>
                  <a:lnTo>
                    <a:pt x="2822880" y="198831"/>
                  </a:lnTo>
                  <a:lnTo>
                    <a:pt x="2822880" y="197447"/>
                  </a:lnTo>
                  <a:lnTo>
                    <a:pt x="2822880" y="198831"/>
                  </a:lnTo>
                  <a:lnTo>
                    <a:pt x="2822880" y="196113"/>
                  </a:lnTo>
                  <a:lnTo>
                    <a:pt x="2822982" y="196113"/>
                  </a:lnTo>
                  <a:lnTo>
                    <a:pt x="2822982" y="199530"/>
                  </a:lnTo>
                  <a:lnTo>
                    <a:pt x="2822982" y="196113"/>
                  </a:lnTo>
                  <a:lnTo>
                    <a:pt x="2822982" y="197447"/>
                  </a:lnTo>
                  <a:lnTo>
                    <a:pt x="2823033" y="198831"/>
                  </a:lnTo>
                  <a:lnTo>
                    <a:pt x="2823033" y="200228"/>
                  </a:lnTo>
                  <a:lnTo>
                    <a:pt x="2823033" y="198831"/>
                  </a:lnTo>
                  <a:lnTo>
                    <a:pt x="2823033" y="199530"/>
                  </a:lnTo>
                  <a:lnTo>
                    <a:pt x="2823083" y="199530"/>
                  </a:lnTo>
                  <a:lnTo>
                    <a:pt x="2823083" y="200228"/>
                  </a:lnTo>
                  <a:lnTo>
                    <a:pt x="2823083" y="198831"/>
                  </a:lnTo>
                  <a:lnTo>
                    <a:pt x="2823083" y="200228"/>
                  </a:lnTo>
                  <a:lnTo>
                    <a:pt x="2823083" y="199530"/>
                  </a:lnTo>
                  <a:lnTo>
                    <a:pt x="2823083" y="200228"/>
                  </a:lnTo>
                  <a:lnTo>
                    <a:pt x="2823122" y="200228"/>
                  </a:lnTo>
                  <a:lnTo>
                    <a:pt x="2823122" y="199530"/>
                  </a:lnTo>
                  <a:lnTo>
                    <a:pt x="2823122" y="200228"/>
                  </a:lnTo>
                  <a:lnTo>
                    <a:pt x="2823122" y="199530"/>
                  </a:lnTo>
                  <a:lnTo>
                    <a:pt x="2823122" y="200876"/>
                  </a:lnTo>
                  <a:lnTo>
                    <a:pt x="2823122" y="200228"/>
                  </a:lnTo>
                  <a:lnTo>
                    <a:pt x="2823223" y="200228"/>
                  </a:lnTo>
                  <a:lnTo>
                    <a:pt x="2823223" y="200876"/>
                  </a:lnTo>
                  <a:lnTo>
                    <a:pt x="2823223" y="200228"/>
                  </a:lnTo>
                  <a:lnTo>
                    <a:pt x="2823223" y="200876"/>
                  </a:lnTo>
                  <a:lnTo>
                    <a:pt x="2823274" y="200876"/>
                  </a:lnTo>
                  <a:lnTo>
                    <a:pt x="2823274" y="202260"/>
                  </a:lnTo>
                  <a:lnTo>
                    <a:pt x="2823274" y="200876"/>
                  </a:lnTo>
                  <a:lnTo>
                    <a:pt x="2823274" y="202260"/>
                  </a:lnTo>
                  <a:lnTo>
                    <a:pt x="2823274" y="200876"/>
                  </a:lnTo>
                  <a:lnTo>
                    <a:pt x="2823325" y="200876"/>
                  </a:lnTo>
                  <a:lnTo>
                    <a:pt x="2823325" y="199530"/>
                  </a:lnTo>
                  <a:lnTo>
                    <a:pt x="2823325" y="200228"/>
                  </a:lnTo>
                  <a:lnTo>
                    <a:pt x="2823426" y="199530"/>
                  </a:lnTo>
                  <a:lnTo>
                    <a:pt x="2823426" y="200228"/>
                  </a:lnTo>
                  <a:lnTo>
                    <a:pt x="2823426" y="199530"/>
                  </a:lnTo>
                  <a:lnTo>
                    <a:pt x="2823426" y="200228"/>
                  </a:lnTo>
                  <a:lnTo>
                    <a:pt x="2823426" y="197447"/>
                  </a:lnTo>
                  <a:lnTo>
                    <a:pt x="2823426" y="199530"/>
                  </a:lnTo>
                  <a:lnTo>
                    <a:pt x="2823426" y="198831"/>
                  </a:lnTo>
                  <a:lnTo>
                    <a:pt x="2823426" y="199530"/>
                  </a:lnTo>
                  <a:lnTo>
                    <a:pt x="2823477" y="199530"/>
                  </a:lnTo>
                  <a:lnTo>
                    <a:pt x="2823477" y="197447"/>
                  </a:lnTo>
                  <a:lnTo>
                    <a:pt x="2823477" y="200228"/>
                  </a:lnTo>
                  <a:lnTo>
                    <a:pt x="2823528" y="199530"/>
                  </a:lnTo>
                  <a:lnTo>
                    <a:pt x="2823528" y="198831"/>
                  </a:lnTo>
                  <a:lnTo>
                    <a:pt x="2823528" y="200228"/>
                  </a:lnTo>
                  <a:lnTo>
                    <a:pt x="2823528" y="199530"/>
                  </a:lnTo>
                  <a:lnTo>
                    <a:pt x="2823579" y="199530"/>
                  </a:lnTo>
                  <a:lnTo>
                    <a:pt x="2823579" y="200228"/>
                  </a:lnTo>
                  <a:lnTo>
                    <a:pt x="2823579" y="199530"/>
                  </a:lnTo>
                  <a:lnTo>
                    <a:pt x="2823579" y="200228"/>
                  </a:lnTo>
                  <a:lnTo>
                    <a:pt x="2823579" y="199530"/>
                  </a:lnTo>
                  <a:lnTo>
                    <a:pt x="2823579" y="200228"/>
                  </a:lnTo>
                  <a:lnTo>
                    <a:pt x="2823579" y="199530"/>
                  </a:lnTo>
                  <a:lnTo>
                    <a:pt x="2823668" y="200228"/>
                  </a:lnTo>
                  <a:lnTo>
                    <a:pt x="2823668" y="199530"/>
                  </a:lnTo>
                  <a:lnTo>
                    <a:pt x="2823668" y="200228"/>
                  </a:lnTo>
                  <a:lnTo>
                    <a:pt x="2823668" y="199530"/>
                  </a:lnTo>
                  <a:lnTo>
                    <a:pt x="2823668" y="200228"/>
                  </a:lnTo>
                  <a:lnTo>
                    <a:pt x="2823668" y="199530"/>
                  </a:lnTo>
                  <a:lnTo>
                    <a:pt x="2823668" y="200228"/>
                  </a:lnTo>
                  <a:lnTo>
                    <a:pt x="2823668" y="199530"/>
                  </a:lnTo>
                  <a:lnTo>
                    <a:pt x="2823668" y="200876"/>
                  </a:lnTo>
                  <a:lnTo>
                    <a:pt x="2823668" y="199530"/>
                  </a:lnTo>
                  <a:lnTo>
                    <a:pt x="2823668" y="200228"/>
                  </a:lnTo>
                  <a:lnTo>
                    <a:pt x="2823719" y="200228"/>
                  </a:lnTo>
                  <a:lnTo>
                    <a:pt x="2823719" y="199530"/>
                  </a:lnTo>
                  <a:lnTo>
                    <a:pt x="2823719" y="200228"/>
                  </a:lnTo>
                  <a:lnTo>
                    <a:pt x="2823719" y="199530"/>
                  </a:lnTo>
                  <a:lnTo>
                    <a:pt x="2823719" y="200228"/>
                  </a:lnTo>
                  <a:lnTo>
                    <a:pt x="2823769" y="200228"/>
                  </a:lnTo>
                  <a:lnTo>
                    <a:pt x="2823769" y="199530"/>
                  </a:lnTo>
                  <a:lnTo>
                    <a:pt x="2823769" y="200228"/>
                  </a:lnTo>
                  <a:lnTo>
                    <a:pt x="2823769" y="199530"/>
                  </a:lnTo>
                  <a:lnTo>
                    <a:pt x="2823820" y="199530"/>
                  </a:lnTo>
                  <a:lnTo>
                    <a:pt x="2823820" y="198831"/>
                  </a:lnTo>
                  <a:lnTo>
                    <a:pt x="2823820" y="199530"/>
                  </a:lnTo>
                  <a:lnTo>
                    <a:pt x="2823922" y="199530"/>
                  </a:lnTo>
                  <a:lnTo>
                    <a:pt x="2823922" y="198831"/>
                  </a:lnTo>
                  <a:lnTo>
                    <a:pt x="2823922" y="200228"/>
                  </a:lnTo>
                  <a:lnTo>
                    <a:pt x="2823922" y="199530"/>
                  </a:lnTo>
                  <a:lnTo>
                    <a:pt x="2823922" y="200228"/>
                  </a:lnTo>
                  <a:lnTo>
                    <a:pt x="2823922" y="198831"/>
                  </a:lnTo>
                  <a:lnTo>
                    <a:pt x="2823972" y="198831"/>
                  </a:lnTo>
                  <a:lnTo>
                    <a:pt x="2823972" y="202260"/>
                  </a:lnTo>
                  <a:lnTo>
                    <a:pt x="2823972" y="200228"/>
                  </a:lnTo>
                  <a:lnTo>
                    <a:pt x="2823972" y="200876"/>
                  </a:lnTo>
                  <a:lnTo>
                    <a:pt x="2823972" y="200228"/>
                  </a:lnTo>
                  <a:lnTo>
                    <a:pt x="2824023" y="200228"/>
                  </a:lnTo>
                  <a:lnTo>
                    <a:pt x="2824023" y="202260"/>
                  </a:lnTo>
                  <a:lnTo>
                    <a:pt x="2824023" y="200876"/>
                  </a:lnTo>
                  <a:lnTo>
                    <a:pt x="2824023" y="202260"/>
                  </a:lnTo>
                  <a:lnTo>
                    <a:pt x="2824023" y="200876"/>
                  </a:lnTo>
                  <a:lnTo>
                    <a:pt x="2824125" y="200876"/>
                  </a:lnTo>
                  <a:lnTo>
                    <a:pt x="2824125" y="202260"/>
                  </a:lnTo>
                  <a:lnTo>
                    <a:pt x="2824125" y="200876"/>
                  </a:lnTo>
                  <a:lnTo>
                    <a:pt x="2824125" y="202260"/>
                  </a:lnTo>
                  <a:lnTo>
                    <a:pt x="2824125" y="200876"/>
                  </a:lnTo>
                  <a:lnTo>
                    <a:pt x="2824163" y="200876"/>
                  </a:lnTo>
                  <a:lnTo>
                    <a:pt x="2824163" y="202260"/>
                  </a:lnTo>
                  <a:lnTo>
                    <a:pt x="2824163" y="200876"/>
                  </a:lnTo>
                  <a:lnTo>
                    <a:pt x="2824163" y="202260"/>
                  </a:lnTo>
                  <a:lnTo>
                    <a:pt x="2824163" y="200876"/>
                  </a:lnTo>
                  <a:lnTo>
                    <a:pt x="2824214" y="200876"/>
                  </a:lnTo>
                  <a:lnTo>
                    <a:pt x="2824214" y="200228"/>
                  </a:lnTo>
                  <a:lnTo>
                    <a:pt x="2824214" y="200876"/>
                  </a:lnTo>
                  <a:lnTo>
                    <a:pt x="2824265" y="200876"/>
                  </a:lnTo>
                  <a:lnTo>
                    <a:pt x="2824265" y="200228"/>
                  </a:lnTo>
                  <a:lnTo>
                    <a:pt x="2824366" y="200228"/>
                  </a:lnTo>
                  <a:lnTo>
                    <a:pt x="2824366" y="199530"/>
                  </a:lnTo>
                  <a:lnTo>
                    <a:pt x="2824366" y="200228"/>
                  </a:lnTo>
                  <a:lnTo>
                    <a:pt x="2824366" y="198831"/>
                  </a:lnTo>
                  <a:lnTo>
                    <a:pt x="2824366" y="199530"/>
                  </a:lnTo>
                  <a:lnTo>
                    <a:pt x="2824366" y="197447"/>
                  </a:lnTo>
                  <a:lnTo>
                    <a:pt x="2824417" y="197447"/>
                  </a:lnTo>
                  <a:lnTo>
                    <a:pt x="2824417" y="200228"/>
                  </a:lnTo>
                  <a:lnTo>
                    <a:pt x="2824417" y="197447"/>
                  </a:lnTo>
                  <a:lnTo>
                    <a:pt x="2824468" y="198831"/>
                  </a:lnTo>
                  <a:lnTo>
                    <a:pt x="2824468" y="202260"/>
                  </a:lnTo>
                  <a:lnTo>
                    <a:pt x="2824468" y="199530"/>
                  </a:lnTo>
                  <a:lnTo>
                    <a:pt x="2824468" y="200228"/>
                  </a:lnTo>
                  <a:lnTo>
                    <a:pt x="2824468" y="199530"/>
                  </a:lnTo>
                  <a:lnTo>
                    <a:pt x="2824569" y="200228"/>
                  </a:lnTo>
                  <a:lnTo>
                    <a:pt x="2824569" y="200876"/>
                  </a:lnTo>
                  <a:lnTo>
                    <a:pt x="2824569" y="200228"/>
                  </a:lnTo>
                  <a:lnTo>
                    <a:pt x="2824569" y="200876"/>
                  </a:lnTo>
                  <a:lnTo>
                    <a:pt x="2824569" y="200228"/>
                  </a:lnTo>
                  <a:lnTo>
                    <a:pt x="2824569" y="200876"/>
                  </a:lnTo>
                  <a:lnTo>
                    <a:pt x="2824569" y="200228"/>
                  </a:lnTo>
                  <a:lnTo>
                    <a:pt x="2824620" y="200876"/>
                  </a:lnTo>
                  <a:lnTo>
                    <a:pt x="2824620" y="202260"/>
                  </a:lnTo>
                  <a:lnTo>
                    <a:pt x="2824620" y="200876"/>
                  </a:lnTo>
                  <a:lnTo>
                    <a:pt x="2824671" y="200876"/>
                  </a:lnTo>
                  <a:lnTo>
                    <a:pt x="2824671" y="202260"/>
                  </a:lnTo>
                  <a:lnTo>
                    <a:pt x="2824671" y="200876"/>
                  </a:lnTo>
                  <a:lnTo>
                    <a:pt x="2824671" y="202260"/>
                  </a:lnTo>
                  <a:lnTo>
                    <a:pt x="2824671" y="200876"/>
                  </a:lnTo>
                  <a:lnTo>
                    <a:pt x="2824671" y="202260"/>
                  </a:lnTo>
                  <a:lnTo>
                    <a:pt x="2824671" y="200876"/>
                  </a:lnTo>
                  <a:lnTo>
                    <a:pt x="2824709" y="200876"/>
                  </a:lnTo>
                  <a:lnTo>
                    <a:pt x="2824709" y="200228"/>
                  </a:lnTo>
                  <a:lnTo>
                    <a:pt x="2824811" y="200228"/>
                  </a:lnTo>
                  <a:lnTo>
                    <a:pt x="2824811" y="198831"/>
                  </a:lnTo>
                  <a:lnTo>
                    <a:pt x="2824811" y="199530"/>
                  </a:lnTo>
                  <a:lnTo>
                    <a:pt x="2824862" y="199530"/>
                  </a:lnTo>
                  <a:lnTo>
                    <a:pt x="2824862" y="197447"/>
                  </a:lnTo>
                  <a:lnTo>
                    <a:pt x="2824862" y="198831"/>
                  </a:lnTo>
                  <a:lnTo>
                    <a:pt x="2824912" y="198831"/>
                  </a:lnTo>
                  <a:lnTo>
                    <a:pt x="2824912" y="197447"/>
                  </a:lnTo>
                  <a:lnTo>
                    <a:pt x="2824912" y="200228"/>
                  </a:lnTo>
                  <a:lnTo>
                    <a:pt x="2825014" y="200228"/>
                  </a:lnTo>
                  <a:lnTo>
                    <a:pt x="2825014" y="199530"/>
                  </a:lnTo>
                  <a:lnTo>
                    <a:pt x="2825014" y="200228"/>
                  </a:lnTo>
                  <a:lnTo>
                    <a:pt x="2825014" y="199530"/>
                  </a:lnTo>
                  <a:lnTo>
                    <a:pt x="2825014" y="200228"/>
                  </a:lnTo>
                  <a:lnTo>
                    <a:pt x="2825065" y="200876"/>
                  </a:lnTo>
                  <a:lnTo>
                    <a:pt x="2825065" y="200228"/>
                  </a:lnTo>
                  <a:lnTo>
                    <a:pt x="2825065" y="200876"/>
                  </a:lnTo>
                  <a:lnTo>
                    <a:pt x="2825065" y="200228"/>
                  </a:lnTo>
                  <a:lnTo>
                    <a:pt x="2825065" y="200876"/>
                  </a:lnTo>
                  <a:lnTo>
                    <a:pt x="2825065" y="200228"/>
                  </a:lnTo>
                  <a:lnTo>
                    <a:pt x="2825065" y="200876"/>
                  </a:lnTo>
                  <a:lnTo>
                    <a:pt x="2825115" y="200876"/>
                  </a:lnTo>
                  <a:lnTo>
                    <a:pt x="2825115" y="202260"/>
                  </a:lnTo>
                  <a:lnTo>
                    <a:pt x="2825115" y="200876"/>
                  </a:lnTo>
                  <a:lnTo>
                    <a:pt x="2825115" y="202260"/>
                  </a:lnTo>
                  <a:lnTo>
                    <a:pt x="2825115" y="200876"/>
                  </a:lnTo>
                  <a:lnTo>
                    <a:pt x="2825166" y="200876"/>
                  </a:lnTo>
                  <a:lnTo>
                    <a:pt x="2825166" y="202260"/>
                  </a:lnTo>
                  <a:lnTo>
                    <a:pt x="2825166" y="200876"/>
                  </a:lnTo>
                  <a:lnTo>
                    <a:pt x="2825166" y="202260"/>
                  </a:lnTo>
                  <a:lnTo>
                    <a:pt x="2825255" y="200876"/>
                  </a:lnTo>
                  <a:lnTo>
                    <a:pt x="2825255" y="200228"/>
                  </a:lnTo>
                  <a:lnTo>
                    <a:pt x="2825255" y="200876"/>
                  </a:lnTo>
                  <a:lnTo>
                    <a:pt x="2825306" y="200876"/>
                  </a:lnTo>
                  <a:lnTo>
                    <a:pt x="2825306" y="200228"/>
                  </a:lnTo>
                  <a:lnTo>
                    <a:pt x="2825306" y="200876"/>
                  </a:lnTo>
                  <a:lnTo>
                    <a:pt x="2825306" y="200228"/>
                  </a:lnTo>
                  <a:lnTo>
                    <a:pt x="2825306" y="200876"/>
                  </a:lnTo>
                  <a:lnTo>
                    <a:pt x="2825306" y="200228"/>
                  </a:lnTo>
                  <a:lnTo>
                    <a:pt x="2825306" y="200876"/>
                  </a:lnTo>
                  <a:lnTo>
                    <a:pt x="2825306" y="200228"/>
                  </a:lnTo>
                  <a:lnTo>
                    <a:pt x="2825306" y="200876"/>
                  </a:lnTo>
                  <a:lnTo>
                    <a:pt x="2825306" y="199530"/>
                  </a:lnTo>
                  <a:lnTo>
                    <a:pt x="2825357" y="199530"/>
                  </a:lnTo>
                  <a:lnTo>
                    <a:pt x="2825357" y="197447"/>
                  </a:lnTo>
                  <a:lnTo>
                    <a:pt x="2825357" y="200228"/>
                  </a:lnTo>
                  <a:lnTo>
                    <a:pt x="2825357" y="198831"/>
                  </a:lnTo>
                  <a:lnTo>
                    <a:pt x="2825408" y="198831"/>
                  </a:lnTo>
                  <a:lnTo>
                    <a:pt x="2825408" y="197447"/>
                  </a:lnTo>
                  <a:lnTo>
                    <a:pt x="2825408" y="200876"/>
                  </a:lnTo>
                  <a:lnTo>
                    <a:pt x="2825408" y="199530"/>
                  </a:lnTo>
                  <a:lnTo>
                    <a:pt x="2825509" y="199530"/>
                  </a:lnTo>
                  <a:lnTo>
                    <a:pt x="2825509" y="198831"/>
                  </a:lnTo>
                  <a:lnTo>
                    <a:pt x="2825509" y="200876"/>
                  </a:lnTo>
                  <a:lnTo>
                    <a:pt x="2825509" y="200228"/>
                  </a:lnTo>
                  <a:lnTo>
                    <a:pt x="2825509" y="200876"/>
                  </a:lnTo>
                  <a:lnTo>
                    <a:pt x="2825509" y="200228"/>
                  </a:lnTo>
                  <a:lnTo>
                    <a:pt x="2825560" y="200228"/>
                  </a:lnTo>
                  <a:lnTo>
                    <a:pt x="2825560" y="200876"/>
                  </a:lnTo>
                  <a:lnTo>
                    <a:pt x="2825560" y="200228"/>
                  </a:lnTo>
                  <a:lnTo>
                    <a:pt x="2825560" y="202260"/>
                  </a:lnTo>
                  <a:lnTo>
                    <a:pt x="2825560" y="200876"/>
                  </a:lnTo>
                  <a:lnTo>
                    <a:pt x="2825611" y="200876"/>
                  </a:lnTo>
                  <a:lnTo>
                    <a:pt x="2825611" y="202260"/>
                  </a:lnTo>
                  <a:lnTo>
                    <a:pt x="2825611" y="200876"/>
                  </a:lnTo>
                  <a:lnTo>
                    <a:pt x="2825712" y="200876"/>
                  </a:lnTo>
                  <a:lnTo>
                    <a:pt x="2825712" y="202260"/>
                  </a:lnTo>
                  <a:lnTo>
                    <a:pt x="2825712" y="200876"/>
                  </a:lnTo>
                  <a:lnTo>
                    <a:pt x="2825712" y="202260"/>
                  </a:lnTo>
                  <a:lnTo>
                    <a:pt x="2825712" y="200876"/>
                  </a:lnTo>
                  <a:lnTo>
                    <a:pt x="2825712" y="202260"/>
                  </a:lnTo>
                  <a:lnTo>
                    <a:pt x="2825751" y="202260"/>
                  </a:lnTo>
                  <a:lnTo>
                    <a:pt x="2825751" y="200876"/>
                  </a:lnTo>
                  <a:lnTo>
                    <a:pt x="2825751" y="202260"/>
                  </a:lnTo>
                  <a:lnTo>
                    <a:pt x="2825751" y="200228"/>
                  </a:lnTo>
                  <a:lnTo>
                    <a:pt x="2825751" y="200876"/>
                  </a:lnTo>
                  <a:lnTo>
                    <a:pt x="2825751" y="200228"/>
                  </a:lnTo>
                  <a:lnTo>
                    <a:pt x="2825801" y="200228"/>
                  </a:lnTo>
                  <a:lnTo>
                    <a:pt x="2825801" y="198831"/>
                  </a:lnTo>
                  <a:lnTo>
                    <a:pt x="2825801" y="199530"/>
                  </a:lnTo>
                  <a:lnTo>
                    <a:pt x="2825801" y="197447"/>
                  </a:lnTo>
                  <a:lnTo>
                    <a:pt x="2825852" y="197447"/>
                  </a:lnTo>
                  <a:lnTo>
                    <a:pt x="2825852" y="198831"/>
                  </a:lnTo>
                  <a:lnTo>
                    <a:pt x="2825852" y="197447"/>
                  </a:lnTo>
                  <a:lnTo>
                    <a:pt x="2825852" y="199530"/>
                  </a:lnTo>
                  <a:lnTo>
                    <a:pt x="2825852" y="197447"/>
                  </a:lnTo>
                  <a:lnTo>
                    <a:pt x="2825954" y="197447"/>
                  </a:lnTo>
                  <a:lnTo>
                    <a:pt x="2825954" y="196799"/>
                  </a:lnTo>
                  <a:lnTo>
                    <a:pt x="2825954" y="200876"/>
                  </a:lnTo>
                  <a:lnTo>
                    <a:pt x="2825954" y="200228"/>
                  </a:lnTo>
                  <a:lnTo>
                    <a:pt x="2825954" y="200876"/>
                  </a:lnTo>
                  <a:lnTo>
                    <a:pt x="2825954" y="198831"/>
                  </a:lnTo>
                  <a:lnTo>
                    <a:pt x="2826005" y="198831"/>
                  </a:lnTo>
                  <a:lnTo>
                    <a:pt x="2826005" y="200876"/>
                  </a:lnTo>
                  <a:lnTo>
                    <a:pt x="2826005" y="200228"/>
                  </a:lnTo>
                  <a:lnTo>
                    <a:pt x="2826005" y="200876"/>
                  </a:lnTo>
                  <a:lnTo>
                    <a:pt x="2826005" y="200228"/>
                  </a:lnTo>
                  <a:lnTo>
                    <a:pt x="2826055" y="200228"/>
                  </a:lnTo>
                  <a:lnTo>
                    <a:pt x="2826055" y="202260"/>
                  </a:lnTo>
                  <a:lnTo>
                    <a:pt x="2826055" y="200228"/>
                  </a:lnTo>
                  <a:lnTo>
                    <a:pt x="2826055" y="200876"/>
                  </a:lnTo>
                  <a:lnTo>
                    <a:pt x="2826055" y="200228"/>
                  </a:lnTo>
                  <a:lnTo>
                    <a:pt x="2826157" y="200876"/>
                  </a:lnTo>
                  <a:lnTo>
                    <a:pt x="2826157" y="200228"/>
                  </a:lnTo>
                  <a:lnTo>
                    <a:pt x="2826157" y="200876"/>
                  </a:lnTo>
                  <a:lnTo>
                    <a:pt x="2826208" y="200876"/>
                  </a:lnTo>
                  <a:lnTo>
                    <a:pt x="2826208" y="202260"/>
                  </a:lnTo>
                  <a:lnTo>
                    <a:pt x="2826208" y="200876"/>
                  </a:lnTo>
                  <a:lnTo>
                    <a:pt x="2826208" y="202260"/>
                  </a:lnTo>
                  <a:lnTo>
                    <a:pt x="2826208" y="200876"/>
                  </a:lnTo>
                  <a:lnTo>
                    <a:pt x="2826208" y="202260"/>
                  </a:lnTo>
                  <a:lnTo>
                    <a:pt x="2826208" y="200876"/>
                  </a:lnTo>
                  <a:lnTo>
                    <a:pt x="2826258" y="200876"/>
                  </a:lnTo>
                  <a:lnTo>
                    <a:pt x="2826258" y="200228"/>
                  </a:lnTo>
                  <a:lnTo>
                    <a:pt x="2826258" y="200876"/>
                  </a:lnTo>
                  <a:lnTo>
                    <a:pt x="2826258" y="200228"/>
                  </a:lnTo>
                  <a:lnTo>
                    <a:pt x="2826258" y="200876"/>
                  </a:lnTo>
                  <a:lnTo>
                    <a:pt x="2826258" y="200228"/>
                  </a:lnTo>
                  <a:lnTo>
                    <a:pt x="2826297" y="200228"/>
                  </a:lnTo>
                  <a:lnTo>
                    <a:pt x="2826297" y="197447"/>
                  </a:lnTo>
                  <a:lnTo>
                    <a:pt x="2826398" y="197447"/>
                  </a:lnTo>
                  <a:lnTo>
                    <a:pt x="2826398" y="196799"/>
                  </a:lnTo>
                  <a:lnTo>
                    <a:pt x="2826398" y="198831"/>
                  </a:lnTo>
                  <a:lnTo>
                    <a:pt x="2826398" y="196113"/>
                  </a:lnTo>
                  <a:lnTo>
                    <a:pt x="2826398" y="196799"/>
                  </a:lnTo>
                  <a:lnTo>
                    <a:pt x="2826449" y="197447"/>
                  </a:lnTo>
                  <a:lnTo>
                    <a:pt x="2826449" y="200228"/>
                  </a:lnTo>
                  <a:lnTo>
                    <a:pt x="2826449" y="197447"/>
                  </a:lnTo>
                  <a:lnTo>
                    <a:pt x="2826449" y="198831"/>
                  </a:lnTo>
                  <a:lnTo>
                    <a:pt x="2826500" y="198831"/>
                  </a:lnTo>
                  <a:lnTo>
                    <a:pt x="2826500" y="200228"/>
                  </a:lnTo>
                  <a:lnTo>
                    <a:pt x="2826500" y="199530"/>
                  </a:lnTo>
                  <a:lnTo>
                    <a:pt x="2826500" y="200228"/>
                  </a:lnTo>
                  <a:lnTo>
                    <a:pt x="2826500" y="198831"/>
                  </a:lnTo>
                  <a:lnTo>
                    <a:pt x="2826500" y="199530"/>
                  </a:lnTo>
                  <a:lnTo>
                    <a:pt x="2826601" y="199530"/>
                  </a:lnTo>
                  <a:lnTo>
                    <a:pt x="2826601" y="200228"/>
                  </a:lnTo>
                  <a:lnTo>
                    <a:pt x="2826601" y="199530"/>
                  </a:lnTo>
                  <a:lnTo>
                    <a:pt x="2826601" y="200228"/>
                  </a:lnTo>
                  <a:lnTo>
                    <a:pt x="2826601" y="199530"/>
                  </a:lnTo>
                  <a:lnTo>
                    <a:pt x="2826601" y="200228"/>
                  </a:lnTo>
                  <a:lnTo>
                    <a:pt x="2826652" y="200228"/>
                  </a:lnTo>
                  <a:lnTo>
                    <a:pt x="2826652" y="199530"/>
                  </a:lnTo>
                  <a:lnTo>
                    <a:pt x="2826652" y="200876"/>
                  </a:lnTo>
                  <a:lnTo>
                    <a:pt x="2826652" y="200228"/>
                  </a:lnTo>
                  <a:lnTo>
                    <a:pt x="2826703" y="200228"/>
                  </a:lnTo>
                  <a:lnTo>
                    <a:pt x="2826703" y="200876"/>
                  </a:lnTo>
                  <a:lnTo>
                    <a:pt x="2826703" y="200228"/>
                  </a:lnTo>
                  <a:lnTo>
                    <a:pt x="2826703" y="200876"/>
                  </a:lnTo>
                  <a:lnTo>
                    <a:pt x="2826703" y="200228"/>
                  </a:lnTo>
                  <a:lnTo>
                    <a:pt x="2826703" y="200876"/>
                  </a:lnTo>
                  <a:lnTo>
                    <a:pt x="2826754" y="200876"/>
                  </a:lnTo>
                  <a:lnTo>
                    <a:pt x="2826754" y="199530"/>
                  </a:lnTo>
                  <a:lnTo>
                    <a:pt x="2826754" y="200228"/>
                  </a:lnTo>
                  <a:lnTo>
                    <a:pt x="2826843" y="200228"/>
                  </a:lnTo>
                  <a:lnTo>
                    <a:pt x="2826843" y="197447"/>
                  </a:lnTo>
                  <a:lnTo>
                    <a:pt x="2826843" y="198831"/>
                  </a:lnTo>
                  <a:lnTo>
                    <a:pt x="2826894" y="198831"/>
                  </a:lnTo>
                  <a:lnTo>
                    <a:pt x="2826894" y="199530"/>
                  </a:lnTo>
                  <a:lnTo>
                    <a:pt x="2826894" y="197447"/>
                  </a:lnTo>
                  <a:lnTo>
                    <a:pt x="2826894" y="200876"/>
                  </a:lnTo>
                  <a:lnTo>
                    <a:pt x="2826944" y="200876"/>
                  </a:lnTo>
                  <a:lnTo>
                    <a:pt x="2826944" y="202260"/>
                  </a:lnTo>
                  <a:lnTo>
                    <a:pt x="2826944" y="199530"/>
                  </a:lnTo>
                  <a:lnTo>
                    <a:pt x="2826944" y="200876"/>
                  </a:lnTo>
                  <a:lnTo>
                    <a:pt x="2826995" y="200876"/>
                  </a:lnTo>
                  <a:lnTo>
                    <a:pt x="2826995" y="200228"/>
                  </a:lnTo>
                  <a:lnTo>
                    <a:pt x="2826995" y="200876"/>
                  </a:lnTo>
                  <a:lnTo>
                    <a:pt x="2826995" y="200228"/>
                  </a:lnTo>
                  <a:lnTo>
                    <a:pt x="2826995" y="200876"/>
                  </a:lnTo>
                  <a:lnTo>
                    <a:pt x="2827097" y="200876"/>
                  </a:lnTo>
                  <a:lnTo>
                    <a:pt x="2827097" y="200228"/>
                  </a:lnTo>
                  <a:lnTo>
                    <a:pt x="2827097" y="200876"/>
                  </a:lnTo>
                  <a:lnTo>
                    <a:pt x="2827097" y="200228"/>
                  </a:lnTo>
                  <a:lnTo>
                    <a:pt x="2827097" y="200876"/>
                  </a:lnTo>
                  <a:lnTo>
                    <a:pt x="2827147" y="200876"/>
                  </a:lnTo>
                  <a:lnTo>
                    <a:pt x="2827147" y="200228"/>
                  </a:lnTo>
                  <a:lnTo>
                    <a:pt x="2827147" y="200876"/>
                  </a:lnTo>
                  <a:lnTo>
                    <a:pt x="2827147" y="200228"/>
                  </a:lnTo>
                  <a:lnTo>
                    <a:pt x="2827147" y="200876"/>
                  </a:lnTo>
                  <a:lnTo>
                    <a:pt x="2827300" y="200876"/>
                  </a:lnTo>
                  <a:lnTo>
                    <a:pt x="2827300" y="199530"/>
                  </a:lnTo>
                  <a:lnTo>
                    <a:pt x="2827300" y="200228"/>
                  </a:lnTo>
                  <a:lnTo>
                    <a:pt x="2827300" y="199530"/>
                  </a:lnTo>
                  <a:lnTo>
                    <a:pt x="2827338" y="199530"/>
                  </a:lnTo>
                  <a:lnTo>
                    <a:pt x="2827338" y="198831"/>
                  </a:lnTo>
                  <a:lnTo>
                    <a:pt x="2827338" y="200228"/>
                  </a:lnTo>
                  <a:lnTo>
                    <a:pt x="2827389" y="200228"/>
                  </a:lnTo>
                  <a:lnTo>
                    <a:pt x="2827389" y="198831"/>
                  </a:lnTo>
                  <a:lnTo>
                    <a:pt x="2827389" y="202260"/>
                  </a:lnTo>
                  <a:lnTo>
                    <a:pt x="2827440" y="200876"/>
                  </a:lnTo>
                  <a:lnTo>
                    <a:pt x="2827440" y="200228"/>
                  </a:lnTo>
                  <a:lnTo>
                    <a:pt x="2827440" y="202260"/>
                  </a:lnTo>
                  <a:lnTo>
                    <a:pt x="2827440" y="200876"/>
                  </a:lnTo>
                  <a:lnTo>
                    <a:pt x="2827440" y="202260"/>
                  </a:lnTo>
                  <a:lnTo>
                    <a:pt x="2827440" y="200876"/>
                  </a:lnTo>
                  <a:lnTo>
                    <a:pt x="2827592" y="200876"/>
                  </a:lnTo>
                  <a:lnTo>
                    <a:pt x="2827592" y="202260"/>
                  </a:lnTo>
                  <a:lnTo>
                    <a:pt x="2827592" y="200876"/>
                  </a:lnTo>
                  <a:lnTo>
                    <a:pt x="2827643" y="200876"/>
                  </a:lnTo>
                  <a:lnTo>
                    <a:pt x="2827643" y="202260"/>
                  </a:lnTo>
                  <a:lnTo>
                    <a:pt x="2827643" y="200876"/>
                  </a:lnTo>
                  <a:lnTo>
                    <a:pt x="2827643" y="202260"/>
                  </a:lnTo>
                  <a:lnTo>
                    <a:pt x="2827643" y="200876"/>
                  </a:lnTo>
                  <a:lnTo>
                    <a:pt x="2827744" y="202260"/>
                  </a:lnTo>
                  <a:lnTo>
                    <a:pt x="2827744" y="200228"/>
                  </a:lnTo>
                  <a:lnTo>
                    <a:pt x="2827744" y="200876"/>
                  </a:lnTo>
                  <a:lnTo>
                    <a:pt x="2827744" y="200228"/>
                  </a:lnTo>
                  <a:lnTo>
                    <a:pt x="2827744" y="200876"/>
                  </a:lnTo>
                  <a:lnTo>
                    <a:pt x="2827744" y="200228"/>
                  </a:lnTo>
                  <a:lnTo>
                    <a:pt x="2827795" y="200228"/>
                  </a:lnTo>
                  <a:lnTo>
                    <a:pt x="2827795" y="198831"/>
                  </a:lnTo>
                  <a:lnTo>
                    <a:pt x="2827795" y="199530"/>
                  </a:lnTo>
                  <a:lnTo>
                    <a:pt x="2827795" y="197447"/>
                  </a:lnTo>
                  <a:lnTo>
                    <a:pt x="2827846" y="197447"/>
                  </a:lnTo>
                  <a:lnTo>
                    <a:pt x="2827846" y="200228"/>
                  </a:lnTo>
                  <a:lnTo>
                    <a:pt x="2827846" y="197447"/>
                  </a:lnTo>
                  <a:lnTo>
                    <a:pt x="2827884" y="196799"/>
                  </a:lnTo>
                  <a:lnTo>
                    <a:pt x="2827884" y="200876"/>
                  </a:lnTo>
                  <a:lnTo>
                    <a:pt x="2827884" y="199530"/>
                  </a:lnTo>
                  <a:lnTo>
                    <a:pt x="2827986" y="199530"/>
                  </a:lnTo>
                  <a:lnTo>
                    <a:pt x="2827986" y="200876"/>
                  </a:lnTo>
                  <a:lnTo>
                    <a:pt x="2827986" y="200228"/>
                  </a:lnTo>
                  <a:lnTo>
                    <a:pt x="2827986" y="200876"/>
                  </a:lnTo>
                  <a:lnTo>
                    <a:pt x="2827986" y="200228"/>
                  </a:lnTo>
                  <a:lnTo>
                    <a:pt x="2827986" y="200876"/>
                  </a:lnTo>
                  <a:lnTo>
                    <a:pt x="2827986" y="200228"/>
                  </a:lnTo>
                  <a:lnTo>
                    <a:pt x="2828037" y="200228"/>
                  </a:lnTo>
                  <a:lnTo>
                    <a:pt x="2828037" y="202260"/>
                  </a:lnTo>
                  <a:lnTo>
                    <a:pt x="2828037" y="200228"/>
                  </a:lnTo>
                  <a:lnTo>
                    <a:pt x="2828037" y="200876"/>
                  </a:lnTo>
                  <a:lnTo>
                    <a:pt x="2828087" y="200876"/>
                  </a:lnTo>
                  <a:lnTo>
                    <a:pt x="2828087" y="202260"/>
                  </a:lnTo>
                  <a:lnTo>
                    <a:pt x="2828087" y="200876"/>
                  </a:lnTo>
                  <a:lnTo>
                    <a:pt x="2828087" y="202260"/>
                  </a:lnTo>
                  <a:lnTo>
                    <a:pt x="2828189" y="200876"/>
                  </a:lnTo>
                  <a:lnTo>
                    <a:pt x="2828189" y="202260"/>
                  </a:lnTo>
                  <a:lnTo>
                    <a:pt x="2828189" y="200876"/>
                  </a:lnTo>
                  <a:lnTo>
                    <a:pt x="2828189" y="202260"/>
                  </a:lnTo>
                  <a:lnTo>
                    <a:pt x="2828189" y="200876"/>
                  </a:lnTo>
                  <a:lnTo>
                    <a:pt x="2828189" y="202260"/>
                  </a:lnTo>
                  <a:lnTo>
                    <a:pt x="2828240" y="202260"/>
                  </a:lnTo>
                  <a:lnTo>
                    <a:pt x="2828240" y="199530"/>
                  </a:lnTo>
                  <a:lnTo>
                    <a:pt x="2828240" y="200228"/>
                  </a:lnTo>
                  <a:lnTo>
                    <a:pt x="2828240" y="199530"/>
                  </a:lnTo>
                  <a:lnTo>
                    <a:pt x="2828290" y="199530"/>
                  </a:lnTo>
                  <a:lnTo>
                    <a:pt x="2828290" y="197447"/>
                  </a:lnTo>
                  <a:lnTo>
                    <a:pt x="2828290" y="198831"/>
                  </a:lnTo>
                  <a:lnTo>
                    <a:pt x="2828290" y="197447"/>
                  </a:lnTo>
                  <a:lnTo>
                    <a:pt x="2828341" y="197447"/>
                  </a:lnTo>
                  <a:lnTo>
                    <a:pt x="2828341" y="200228"/>
                  </a:lnTo>
                  <a:lnTo>
                    <a:pt x="2828341" y="196799"/>
                  </a:lnTo>
                  <a:lnTo>
                    <a:pt x="2828341" y="198831"/>
                  </a:lnTo>
                  <a:lnTo>
                    <a:pt x="2828430" y="199530"/>
                  </a:lnTo>
                  <a:lnTo>
                    <a:pt x="2828430" y="200228"/>
                  </a:lnTo>
                  <a:lnTo>
                    <a:pt x="2828430" y="199530"/>
                  </a:lnTo>
                  <a:lnTo>
                    <a:pt x="2828430" y="200228"/>
                  </a:lnTo>
                  <a:lnTo>
                    <a:pt x="2828481" y="200228"/>
                  </a:lnTo>
                  <a:lnTo>
                    <a:pt x="2828481" y="200876"/>
                  </a:lnTo>
                  <a:lnTo>
                    <a:pt x="2828481" y="200228"/>
                  </a:lnTo>
                  <a:lnTo>
                    <a:pt x="2828481" y="200876"/>
                  </a:lnTo>
                  <a:lnTo>
                    <a:pt x="2828532" y="200876"/>
                  </a:lnTo>
                  <a:lnTo>
                    <a:pt x="2828532" y="200228"/>
                  </a:lnTo>
                  <a:lnTo>
                    <a:pt x="2828532" y="200876"/>
                  </a:lnTo>
                  <a:lnTo>
                    <a:pt x="2828532" y="200228"/>
                  </a:lnTo>
                  <a:lnTo>
                    <a:pt x="2828583" y="200876"/>
                  </a:lnTo>
                  <a:lnTo>
                    <a:pt x="2828583" y="202260"/>
                  </a:lnTo>
                  <a:lnTo>
                    <a:pt x="2828583" y="200876"/>
                  </a:lnTo>
                  <a:lnTo>
                    <a:pt x="2828684" y="202260"/>
                  </a:lnTo>
                  <a:lnTo>
                    <a:pt x="2828684" y="200876"/>
                  </a:lnTo>
                  <a:lnTo>
                    <a:pt x="2828735" y="200228"/>
                  </a:lnTo>
                  <a:lnTo>
                    <a:pt x="2828735" y="200876"/>
                  </a:lnTo>
                  <a:lnTo>
                    <a:pt x="2828735" y="200228"/>
                  </a:lnTo>
                  <a:lnTo>
                    <a:pt x="2828735" y="200876"/>
                  </a:lnTo>
                  <a:lnTo>
                    <a:pt x="2828735" y="199530"/>
                  </a:lnTo>
                  <a:lnTo>
                    <a:pt x="2828735" y="200228"/>
                  </a:lnTo>
                  <a:lnTo>
                    <a:pt x="2828735" y="199530"/>
                  </a:lnTo>
                  <a:lnTo>
                    <a:pt x="2828786" y="199530"/>
                  </a:lnTo>
                  <a:lnTo>
                    <a:pt x="2828786" y="197447"/>
                  </a:lnTo>
                  <a:lnTo>
                    <a:pt x="2828786" y="198831"/>
                  </a:lnTo>
                  <a:lnTo>
                    <a:pt x="2828786" y="196113"/>
                  </a:lnTo>
                  <a:lnTo>
                    <a:pt x="2828887" y="196113"/>
                  </a:lnTo>
                  <a:lnTo>
                    <a:pt x="2828887" y="197447"/>
                  </a:lnTo>
                  <a:lnTo>
                    <a:pt x="2828887" y="196799"/>
                  </a:lnTo>
                  <a:lnTo>
                    <a:pt x="2828887" y="197447"/>
                  </a:lnTo>
                  <a:lnTo>
                    <a:pt x="2828926" y="196799"/>
                  </a:lnTo>
                  <a:lnTo>
                    <a:pt x="2828926" y="198831"/>
                  </a:lnTo>
                  <a:lnTo>
                    <a:pt x="2828926" y="197447"/>
                  </a:lnTo>
                  <a:lnTo>
                    <a:pt x="2828926" y="199530"/>
                  </a:lnTo>
                  <a:lnTo>
                    <a:pt x="2828926" y="198831"/>
                  </a:lnTo>
                  <a:lnTo>
                    <a:pt x="2828926" y="199530"/>
                  </a:lnTo>
                  <a:lnTo>
                    <a:pt x="2828926" y="198831"/>
                  </a:lnTo>
                  <a:lnTo>
                    <a:pt x="2828976" y="198831"/>
                  </a:lnTo>
                  <a:lnTo>
                    <a:pt x="2828976" y="200228"/>
                  </a:lnTo>
                  <a:lnTo>
                    <a:pt x="2828976" y="198831"/>
                  </a:lnTo>
                  <a:lnTo>
                    <a:pt x="2828976" y="200228"/>
                  </a:lnTo>
                  <a:lnTo>
                    <a:pt x="2829027" y="200228"/>
                  </a:lnTo>
                  <a:lnTo>
                    <a:pt x="2829027" y="199530"/>
                  </a:lnTo>
                  <a:lnTo>
                    <a:pt x="2829027" y="200876"/>
                  </a:lnTo>
                  <a:lnTo>
                    <a:pt x="2829129" y="200876"/>
                  </a:lnTo>
                  <a:lnTo>
                    <a:pt x="2829129" y="202260"/>
                  </a:lnTo>
                  <a:lnTo>
                    <a:pt x="2829129" y="200876"/>
                  </a:lnTo>
                  <a:lnTo>
                    <a:pt x="2829129" y="202260"/>
                  </a:lnTo>
                  <a:lnTo>
                    <a:pt x="2829180" y="200876"/>
                  </a:lnTo>
                  <a:lnTo>
                    <a:pt x="2829180" y="202260"/>
                  </a:lnTo>
                  <a:lnTo>
                    <a:pt x="2829180" y="200228"/>
                  </a:lnTo>
                  <a:lnTo>
                    <a:pt x="2829180" y="200876"/>
                  </a:lnTo>
                  <a:lnTo>
                    <a:pt x="2829230" y="200876"/>
                  </a:lnTo>
                  <a:lnTo>
                    <a:pt x="2829230" y="199530"/>
                  </a:lnTo>
                  <a:lnTo>
                    <a:pt x="2829332" y="199530"/>
                  </a:lnTo>
                  <a:lnTo>
                    <a:pt x="2829332" y="197447"/>
                  </a:lnTo>
                  <a:lnTo>
                    <a:pt x="2829332" y="198831"/>
                  </a:lnTo>
                  <a:lnTo>
                    <a:pt x="2829383" y="199530"/>
                  </a:lnTo>
                  <a:lnTo>
                    <a:pt x="2829383" y="196799"/>
                  </a:lnTo>
                  <a:lnTo>
                    <a:pt x="2829383" y="200228"/>
                  </a:lnTo>
                  <a:lnTo>
                    <a:pt x="2829433" y="200876"/>
                  </a:lnTo>
                  <a:lnTo>
                    <a:pt x="2829433" y="197447"/>
                  </a:lnTo>
                  <a:lnTo>
                    <a:pt x="2829433" y="200228"/>
                  </a:lnTo>
                  <a:lnTo>
                    <a:pt x="2829472" y="200228"/>
                  </a:lnTo>
                  <a:lnTo>
                    <a:pt x="2829472" y="198831"/>
                  </a:lnTo>
                  <a:lnTo>
                    <a:pt x="2829472" y="199530"/>
                  </a:lnTo>
                  <a:lnTo>
                    <a:pt x="2829573" y="199530"/>
                  </a:lnTo>
                  <a:lnTo>
                    <a:pt x="2829573" y="198831"/>
                  </a:lnTo>
                  <a:lnTo>
                    <a:pt x="2829573" y="200228"/>
                  </a:lnTo>
                  <a:lnTo>
                    <a:pt x="2829573" y="199530"/>
                  </a:lnTo>
                  <a:lnTo>
                    <a:pt x="2829624" y="199530"/>
                  </a:lnTo>
                  <a:lnTo>
                    <a:pt x="2829624" y="200228"/>
                  </a:lnTo>
                  <a:lnTo>
                    <a:pt x="2829624" y="199530"/>
                  </a:lnTo>
                  <a:lnTo>
                    <a:pt x="2829624" y="200228"/>
                  </a:lnTo>
                  <a:lnTo>
                    <a:pt x="2829675" y="200228"/>
                  </a:lnTo>
                  <a:lnTo>
                    <a:pt x="2829675" y="200876"/>
                  </a:lnTo>
                  <a:lnTo>
                    <a:pt x="2829675" y="200228"/>
                  </a:lnTo>
                  <a:lnTo>
                    <a:pt x="2829776" y="200228"/>
                  </a:lnTo>
                  <a:lnTo>
                    <a:pt x="2829776" y="198831"/>
                  </a:lnTo>
                  <a:lnTo>
                    <a:pt x="2829827" y="198831"/>
                  </a:lnTo>
                  <a:lnTo>
                    <a:pt x="2829827" y="197447"/>
                  </a:lnTo>
                  <a:lnTo>
                    <a:pt x="2829827" y="198831"/>
                  </a:lnTo>
                  <a:lnTo>
                    <a:pt x="2829827" y="197447"/>
                  </a:lnTo>
                  <a:lnTo>
                    <a:pt x="2829827" y="200228"/>
                  </a:lnTo>
                  <a:lnTo>
                    <a:pt x="2829827" y="199530"/>
                  </a:lnTo>
                  <a:lnTo>
                    <a:pt x="2829878" y="199530"/>
                  </a:lnTo>
                  <a:lnTo>
                    <a:pt x="2829878" y="198831"/>
                  </a:lnTo>
                  <a:lnTo>
                    <a:pt x="2829878" y="202959"/>
                  </a:lnTo>
                  <a:lnTo>
                    <a:pt x="2829878" y="199530"/>
                  </a:lnTo>
                  <a:lnTo>
                    <a:pt x="2829929" y="200228"/>
                  </a:lnTo>
                  <a:lnTo>
                    <a:pt x="2829929" y="199530"/>
                  </a:lnTo>
                  <a:lnTo>
                    <a:pt x="2829929" y="202260"/>
                  </a:lnTo>
                  <a:lnTo>
                    <a:pt x="2829929" y="200228"/>
                  </a:lnTo>
                  <a:lnTo>
                    <a:pt x="2829929" y="200876"/>
                  </a:lnTo>
                  <a:lnTo>
                    <a:pt x="2830018" y="200228"/>
                  </a:lnTo>
                  <a:lnTo>
                    <a:pt x="2830018" y="202260"/>
                  </a:lnTo>
                  <a:lnTo>
                    <a:pt x="2830069" y="200876"/>
                  </a:lnTo>
                  <a:lnTo>
                    <a:pt x="2830069" y="202260"/>
                  </a:lnTo>
                  <a:lnTo>
                    <a:pt x="2830069" y="200876"/>
                  </a:lnTo>
                  <a:lnTo>
                    <a:pt x="2830069" y="202260"/>
                  </a:lnTo>
                  <a:lnTo>
                    <a:pt x="2830069" y="200876"/>
                  </a:lnTo>
                  <a:lnTo>
                    <a:pt x="2830069" y="202260"/>
                  </a:lnTo>
                  <a:lnTo>
                    <a:pt x="2830069" y="200876"/>
                  </a:lnTo>
                  <a:lnTo>
                    <a:pt x="2830069" y="202260"/>
                  </a:lnTo>
                  <a:lnTo>
                    <a:pt x="2830119" y="202260"/>
                  </a:lnTo>
                  <a:lnTo>
                    <a:pt x="2830119" y="200876"/>
                  </a:lnTo>
                  <a:lnTo>
                    <a:pt x="2830119" y="202260"/>
                  </a:lnTo>
                  <a:lnTo>
                    <a:pt x="2830119" y="200876"/>
                  </a:lnTo>
                  <a:lnTo>
                    <a:pt x="2830170" y="200876"/>
                  </a:lnTo>
                  <a:lnTo>
                    <a:pt x="2830170" y="199530"/>
                  </a:lnTo>
                  <a:lnTo>
                    <a:pt x="2830272" y="199530"/>
                  </a:lnTo>
                  <a:lnTo>
                    <a:pt x="2830272" y="197447"/>
                  </a:lnTo>
                  <a:lnTo>
                    <a:pt x="2830272" y="198831"/>
                  </a:lnTo>
                  <a:lnTo>
                    <a:pt x="2830272" y="197447"/>
                  </a:lnTo>
                  <a:lnTo>
                    <a:pt x="2830272" y="198831"/>
                  </a:lnTo>
                  <a:lnTo>
                    <a:pt x="2830272" y="197447"/>
                  </a:lnTo>
                  <a:lnTo>
                    <a:pt x="2830322" y="198831"/>
                  </a:lnTo>
                  <a:lnTo>
                    <a:pt x="2830322" y="200876"/>
                  </a:lnTo>
                  <a:lnTo>
                    <a:pt x="2830322" y="199530"/>
                  </a:lnTo>
                  <a:lnTo>
                    <a:pt x="2830322" y="200876"/>
                  </a:lnTo>
                  <a:lnTo>
                    <a:pt x="2830373" y="202260"/>
                  </a:lnTo>
                  <a:lnTo>
                    <a:pt x="2830373" y="202959"/>
                  </a:lnTo>
                  <a:lnTo>
                    <a:pt x="2830373" y="200228"/>
                  </a:lnTo>
                  <a:lnTo>
                    <a:pt x="2830373" y="202260"/>
                  </a:lnTo>
                  <a:lnTo>
                    <a:pt x="2830475" y="202959"/>
                  </a:lnTo>
                  <a:lnTo>
                    <a:pt x="2830475" y="200876"/>
                  </a:lnTo>
                  <a:lnTo>
                    <a:pt x="2830475" y="202959"/>
                  </a:lnTo>
                  <a:lnTo>
                    <a:pt x="2830475" y="202260"/>
                  </a:lnTo>
                  <a:lnTo>
                    <a:pt x="2830475" y="202959"/>
                  </a:lnTo>
                  <a:lnTo>
                    <a:pt x="2830513" y="202959"/>
                  </a:lnTo>
                  <a:lnTo>
                    <a:pt x="2830513" y="200876"/>
                  </a:lnTo>
                  <a:lnTo>
                    <a:pt x="2830513" y="202260"/>
                  </a:lnTo>
                  <a:lnTo>
                    <a:pt x="2830513" y="200876"/>
                  </a:lnTo>
                  <a:lnTo>
                    <a:pt x="2830513" y="202260"/>
                  </a:lnTo>
                  <a:lnTo>
                    <a:pt x="2830513" y="200876"/>
                  </a:lnTo>
                  <a:lnTo>
                    <a:pt x="2830513" y="202260"/>
                  </a:lnTo>
                  <a:lnTo>
                    <a:pt x="2830513" y="200876"/>
                  </a:lnTo>
                  <a:lnTo>
                    <a:pt x="2830564" y="200876"/>
                  </a:lnTo>
                  <a:lnTo>
                    <a:pt x="2830564" y="202260"/>
                  </a:lnTo>
                  <a:lnTo>
                    <a:pt x="2830564" y="200876"/>
                  </a:lnTo>
                  <a:lnTo>
                    <a:pt x="2830615" y="200876"/>
                  </a:lnTo>
                  <a:lnTo>
                    <a:pt x="2830615" y="200228"/>
                  </a:lnTo>
                  <a:lnTo>
                    <a:pt x="2830615" y="202260"/>
                  </a:lnTo>
                  <a:lnTo>
                    <a:pt x="2830615" y="200228"/>
                  </a:lnTo>
                  <a:lnTo>
                    <a:pt x="2830615" y="200876"/>
                  </a:lnTo>
                  <a:lnTo>
                    <a:pt x="2830716" y="200228"/>
                  </a:lnTo>
                  <a:lnTo>
                    <a:pt x="2830716" y="199530"/>
                  </a:lnTo>
                  <a:lnTo>
                    <a:pt x="2830716" y="200228"/>
                  </a:lnTo>
                  <a:lnTo>
                    <a:pt x="2830716" y="198831"/>
                  </a:lnTo>
                  <a:lnTo>
                    <a:pt x="2830767" y="198831"/>
                  </a:lnTo>
                  <a:lnTo>
                    <a:pt x="2830767" y="196799"/>
                  </a:lnTo>
                  <a:lnTo>
                    <a:pt x="2830767" y="198831"/>
                  </a:lnTo>
                  <a:lnTo>
                    <a:pt x="2830818" y="199530"/>
                  </a:lnTo>
                  <a:lnTo>
                    <a:pt x="2830818" y="197447"/>
                  </a:lnTo>
                  <a:lnTo>
                    <a:pt x="2830818" y="200228"/>
                  </a:lnTo>
                  <a:lnTo>
                    <a:pt x="2830919" y="200876"/>
                  </a:lnTo>
                  <a:lnTo>
                    <a:pt x="2830919" y="199530"/>
                  </a:lnTo>
                  <a:lnTo>
                    <a:pt x="2830919" y="200228"/>
                  </a:lnTo>
                  <a:lnTo>
                    <a:pt x="2830919" y="199530"/>
                  </a:lnTo>
                  <a:lnTo>
                    <a:pt x="2830919" y="200876"/>
                  </a:lnTo>
                  <a:lnTo>
                    <a:pt x="2830919" y="200228"/>
                  </a:lnTo>
                  <a:lnTo>
                    <a:pt x="2830970" y="200228"/>
                  </a:lnTo>
                  <a:lnTo>
                    <a:pt x="2830970" y="200876"/>
                  </a:lnTo>
                  <a:lnTo>
                    <a:pt x="2830970" y="200228"/>
                  </a:lnTo>
                  <a:lnTo>
                    <a:pt x="2830970" y="200876"/>
                  </a:lnTo>
                  <a:lnTo>
                    <a:pt x="2831021" y="200876"/>
                  </a:lnTo>
                  <a:lnTo>
                    <a:pt x="2831021" y="202260"/>
                  </a:lnTo>
                  <a:lnTo>
                    <a:pt x="2831059" y="202260"/>
                  </a:lnTo>
                  <a:lnTo>
                    <a:pt x="2831059" y="200876"/>
                  </a:lnTo>
                  <a:lnTo>
                    <a:pt x="2831059" y="202260"/>
                  </a:lnTo>
                  <a:lnTo>
                    <a:pt x="2831059" y="200876"/>
                  </a:lnTo>
                  <a:lnTo>
                    <a:pt x="2831059" y="202260"/>
                  </a:lnTo>
                  <a:lnTo>
                    <a:pt x="2831161" y="202260"/>
                  </a:lnTo>
                  <a:lnTo>
                    <a:pt x="2831161" y="200228"/>
                  </a:lnTo>
                  <a:lnTo>
                    <a:pt x="2831212" y="200228"/>
                  </a:lnTo>
                  <a:lnTo>
                    <a:pt x="2831212" y="199530"/>
                  </a:lnTo>
                  <a:lnTo>
                    <a:pt x="2831212" y="200228"/>
                  </a:lnTo>
                  <a:lnTo>
                    <a:pt x="2831212" y="198831"/>
                  </a:lnTo>
                  <a:lnTo>
                    <a:pt x="2831262" y="198831"/>
                  </a:lnTo>
                  <a:lnTo>
                    <a:pt x="2831262" y="196799"/>
                  </a:lnTo>
                  <a:lnTo>
                    <a:pt x="2831262" y="199530"/>
                  </a:lnTo>
                  <a:lnTo>
                    <a:pt x="2831262" y="198831"/>
                  </a:lnTo>
                  <a:lnTo>
                    <a:pt x="2831364" y="198831"/>
                  </a:lnTo>
                  <a:lnTo>
                    <a:pt x="2831364" y="196799"/>
                  </a:lnTo>
                  <a:lnTo>
                    <a:pt x="2831364" y="200876"/>
                  </a:lnTo>
                  <a:lnTo>
                    <a:pt x="2831364" y="200228"/>
                  </a:lnTo>
                  <a:lnTo>
                    <a:pt x="2831415" y="199530"/>
                  </a:lnTo>
                  <a:lnTo>
                    <a:pt x="2831415" y="200228"/>
                  </a:lnTo>
                  <a:lnTo>
                    <a:pt x="2831415" y="199530"/>
                  </a:lnTo>
                  <a:lnTo>
                    <a:pt x="2831465" y="200228"/>
                  </a:lnTo>
                  <a:lnTo>
                    <a:pt x="2831465" y="199530"/>
                  </a:lnTo>
                  <a:lnTo>
                    <a:pt x="2831465" y="200876"/>
                  </a:lnTo>
                  <a:lnTo>
                    <a:pt x="2831465" y="200228"/>
                  </a:lnTo>
                  <a:lnTo>
                    <a:pt x="2831516" y="200228"/>
                  </a:lnTo>
                  <a:lnTo>
                    <a:pt x="2831516" y="200876"/>
                  </a:lnTo>
                  <a:lnTo>
                    <a:pt x="2831605" y="200876"/>
                  </a:lnTo>
                  <a:lnTo>
                    <a:pt x="2831605" y="202260"/>
                  </a:lnTo>
                  <a:lnTo>
                    <a:pt x="2831605" y="200876"/>
                  </a:lnTo>
                  <a:lnTo>
                    <a:pt x="2831605" y="202260"/>
                  </a:lnTo>
                  <a:lnTo>
                    <a:pt x="2831605" y="200876"/>
                  </a:lnTo>
                  <a:lnTo>
                    <a:pt x="2831656" y="200876"/>
                  </a:lnTo>
                  <a:lnTo>
                    <a:pt x="2831656" y="202260"/>
                  </a:lnTo>
                  <a:lnTo>
                    <a:pt x="2831656" y="200228"/>
                  </a:lnTo>
                  <a:lnTo>
                    <a:pt x="2831656" y="200876"/>
                  </a:lnTo>
                  <a:lnTo>
                    <a:pt x="2831656" y="200228"/>
                  </a:lnTo>
                  <a:lnTo>
                    <a:pt x="2831707" y="200228"/>
                  </a:lnTo>
                  <a:lnTo>
                    <a:pt x="2831707" y="199530"/>
                  </a:lnTo>
                  <a:lnTo>
                    <a:pt x="2831707" y="200228"/>
                  </a:lnTo>
                  <a:lnTo>
                    <a:pt x="2831707" y="198831"/>
                  </a:lnTo>
                  <a:lnTo>
                    <a:pt x="2831758" y="198831"/>
                  </a:lnTo>
                  <a:lnTo>
                    <a:pt x="2831758" y="196799"/>
                  </a:lnTo>
                  <a:lnTo>
                    <a:pt x="2831758" y="198831"/>
                  </a:lnTo>
                  <a:lnTo>
                    <a:pt x="2831758" y="196799"/>
                  </a:lnTo>
                  <a:lnTo>
                    <a:pt x="2831859" y="196799"/>
                  </a:lnTo>
                  <a:lnTo>
                    <a:pt x="2831859" y="199530"/>
                  </a:lnTo>
                  <a:lnTo>
                    <a:pt x="2831859" y="198831"/>
                  </a:lnTo>
                  <a:lnTo>
                    <a:pt x="2831910" y="198831"/>
                  </a:lnTo>
                  <a:lnTo>
                    <a:pt x="2831910" y="199530"/>
                  </a:lnTo>
                  <a:lnTo>
                    <a:pt x="2831910" y="198831"/>
                  </a:lnTo>
                  <a:lnTo>
                    <a:pt x="2831961" y="198831"/>
                  </a:lnTo>
                  <a:lnTo>
                    <a:pt x="2831961" y="200228"/>
                  </a:lnTo>
                  <a:lnTo>
                    <a:pt x="2831961" y="198831"/>
                  </a:lnTo>
                  <a:lnTo>
                    <a:pt x="2831961" y="199530"/>
                  </a:lnTo>
                  <a:lnTo>
                    <a:pt x="2832062" y="199530"/>
                  </a:lnTo>
                  <a:lnTo>
                    <a:pt x="2832062" y="200876"/>
                  </a:lnTo>
                  <a:lnTo>
                    <a:pt x="2832062" y="200228"/>
                  </a:lnTo>
                  <a:lnTo>
                    <a:pt x="2832062" y="200876"/>
                  </a:lnTo>
                  <a:lnTo>
                    <a:pt x="2832151" y="200876"/>
                  </a:lnTo>
                  <a:lnTo>
                    <a:pt x="2832151" y="199530"/>
                  </a:lnTo>
                  <a:lnTo>
                    <a:pt x="2832151" y="200228"/>
                  </a:lnTo>
                  <a:lnTo>
                    <a:pt x="2832151" y="199530"/>
                  </a:lnTo>
                  <a:lnTo>
                    <a:pt x="2832202" y="199530"/>
                  </a:lnTo>
                  <a:lnTo>
                    <a:pt x="2832202" y="197447"/>
                  </a:lnTo>
                  <a:lnTo>
                    <a:pt x="2832202" y="198831"/>
                  </a:lnTo>
                  <a:lnTo>
                    <a:pt x="2832202" y="197447"/>
                  </a:lnTo>
                  <a:lnTo>
                    <a:pt x="2832304" y="197447"/>
                  </a:lnTo>
                  <a:lnTo>
                    <a:pt x="2832304" y="196799"/>
                  </a:lnTo>
                  <a:lnTo>
                    <a:pt x="2832304" y="197447"/>
                  </a:lnTo>
                  <a:lnTo>
                    <a:pt x="2832304" y="196799"/>
                  </a:lnTo>
                  <a:lnTo>
                    <a:pt x="2832355" y="196113"/>
                  </a:lnTo>
                  <a:lnTo>
                    <a:pt x="2832355" y="196799"/>
                  </a:lnTo>
                  <a:lnTo>
                    <a:pt x="2832355" y="196113"/>
                  </a:lnTo>
                  <a:lnTo>
                    <a:pt x="2832355" y="199530"/>
                  </a:lnTo>
                  <a:lnTo>
                    <a:pt x="2832355" y="197447"/>
                  </a:lnTo>
                  <a:lnTo>
                    <a:pt x="2832405" y="197447"/>
                  </a:lnTo>
                  <a:lnTo>
                    <a:pt x="2832405" y="198831"/>
                  </a:lnTo>
                  <a:lnTo>
                    <a:pt x="2832405" y="197447"/>
                  </a:lnTo>
                  <a:lnTo>
                    <a:pt x="2832405" y="198831"/>
                  </a:lnTo>
                  <a:lnTo>
                    <a:pt x="2832405" y="197447"/>
                  </a:lnTo>
                  <a:lnTo>
                    <a:pt x="2832507" y="197447"/>
                  </a:lnTo>
                  <a:lnTo>
                    <a:pt x="2832507" y="199530"/>
                  </a:lnTo>
                  <a:lnTo>
                    <a:pt x="2832558" y="199530"/>
                  </a:lnTo>
                  <a:lnTo>
                    <a:pt x="2832558" y="198831"/>
                  </a:lnTo>
                  <a:lnTo>
                    <a:pt x="2832558" y="199530"/>
                  </a:lnTo>
                  <a:lnTo>
                    <a:pt x="2832558" y="198831"/>
                  </a:lnTo>
                  <a:lnTo>
                    <a:pt x="2832558" y="199530"/>
                  </a:lnTo>
                  <a:lnTo>
                    <a:pt x="2832608" y="199530"/>
                  </a:lnTo>
                  <a:lnTo>
                    <a:pt x="2832608" y="200228"/>
                  </a:lnTo>
                  <a:lnTo>
                    <a:pt x="2832608" y="199530"/>
                  </a:lnTo>
                  <a:lnTo>
                    <a:pt x="2832608" y="200228"/>
                  </a:lnTo>
                  <a:lnTo>
                    <a:pt x="2832608" y="199530"/>
                  </a:lnTo>
                  <a:lnTo>
                    <a:pt x="2832608" y="200228"/>
                  </a:lnTo>
                  <a:lnTo>
                    <a:pt x="2832608" y="199530"/>
                  </a:lnTo>
                  <a:lnTo>
                    <a:pt x="2832608" y="200228"/>
                  </a:lnTo>
                  <a:lnTo>
                    <a:pt x="2832608" y="199530"/>
                  </a:lnTo>
                  <a:lnTo>
                    <a:pt x="2832608" y="200228"/>
                  </a:lnTo>
                  <a:lnTo>
                    <a:pt x="2832608" y="199530"/>
                  </a:lnTo>
                  <a:lnTo>
                    <a:pt x="2832647" y="199530"/>
                  </a:lnTo>
                  <a:lnTo>
                    <a:pt x="2832647" y="200228"/>
                  </a:lnTo>
                  <a:lnTo>
                    <a:pt x="2832647" y="199530"/>
                  </a:lnTo>
                  <a:lnTo>
                    <a:pt x="2832748" y="199530"/>
                  </a:lnTo>
                  <a:lnTo>
                    <a:pt x="2832748" y="196799"/>
                  </a:lnTo>
                  <a:lnTo>
                    <a:pt x="2832799" y="196799"/>
                  </a:lnTo>
                  <a:lnTo>
                    <a:pt x="2832799" y="197447"/>
                  </a:lnTo>
                  <a:lnTo>
                    <a:pt x="2832799" y="196799"/>
                  </a:lnTo>
                  <a:lnTo>
                    <a:pt x="2832799" y="198831"/>
                  </a:lnTo>
                  <a:lnTo>
                    <a:pt x="2832799" y="196799"/>
                  </a:lnTo>
                  <a:lnTo>
                    <a:pt x="2832850" y="196799"/>
                  </a:lnTo>
                  <a:lnTo>
                    <a:pt x="2832850" y="199530"/>
                  </a:lnTo>
                  <a:lnTo>
                    <a:pt x="2832850" y="197447"/>
                  </a:lnTo>
                  <a:lnTo>
                    <a:pt x="2832951" y="197447"/>
                  </a:lnTo>
                  <a:lnTo>
                    <a:pt x="2832951" y="199530"/>
                  </a:lnTo>
                  <a:lnTo>
                    <a:pt x="2832951" y="198831"/>
                  </a:lnTo>
                  <a:lnTo>
                    <a:pt x="2832951" y="199530"/>
                  </a:lnTo>
                  <a:lnTo>
                    <a:pt x="2832951" y="198831"/>
                  </a:lnTo>
                  <a:lnTo>
                    <a:pt x="2833002" y="198831"/>
                  </a:lnTo>
                  <a:lnTo>
                    <a:pt x="2833002" y="199530"/>
                  </a:lnTo>
                  <a:lnTo>
                    <a:pt x="2833002" y="198831"/>
                  </a:lnTo>
                  <a:lnTo>
                    <a:pt x="2833002" y="199530"/>
                  </a:lnTo>
                  <a:lnTo>
                    <a:pt x="2833053" y="199530"/>
                  </a:lnTo>
                  <a:lnTo>
                    <a:pt x="2833053" y="200228"/>
                  </a:lnTo>
                  <a:lnTo>
                    <a:pt x="2833104" y="200228"/>
                  </a:lnTo>
                  <a:lnTo>
                    <a:pt x="2833104" y="200876"/>
                  </a:lnTo>
                  <a:lnTo>
                    <a:pt x="2833104" y="200228"/>
                  </a:lnTo>
                  <a:lnTo>
                    <a:pt x="2833104" y="200876"/>
                  </a:lnTo>
                  <a:lnTo>
                    <a:pt x="2833104" y="200228"/>
                  </a:lnTo>
                  <a:lnTo>
                    <a:pt x="2833193" y="200876"/>
                  </a:lnTo>
                  <a:lnTo>
                    <a:pt x="2833193" y="200228"/>
                  </a:lnTo>
                  <a:lnTo>
                    <a:pt x="2833193" y="200876"/>
                  </a:lnTo>
                  <a:lnTo>
                    <a:pt x="2833193" y="199530"/>
                  </a:lnTo>
                  <a:lnTo>
                    <a:pt x="2833193" y="200228"/>
                  </a:lnTo>
                  <a:lnTo>
                    <a:pt x="2833244" y="199530"/>
                  </a:lnTo>
                  <a:lnTo>
                    <a:pt x="2833244" y="197447"/>
                  </a:lnTo>
                  <a:lnTo>
                    <a:pt x="2833294" y="198831"/>
                  </a:lnTo>
                  <a:lnTo>
                    <a:pt x="2833294" y="199530"/>
                  </a:lnTo>
                  <a:lnTo>
                    <a:pt x="2833294" y="197447"/>
                  </a:lnTo>
                  <a:lnTo>
                    <a:pt x="2833294" y="200228"/>
                  </a:lnTo>
                  <a:lnTo>
                    <a:pt x="2833345" y="200228"/>
                  </a:lnTo>
                  <a:lnTo>
                    <a:pt x="2833345" y="200876"/>
                  </a:lnTo>
                  <a:lnTo>
                    <a:pt x="2833345" y="198831"/>
                  </a:lnTo>
                  <a:lnTo>
                    <a:pt x="2833345" y="200876"/>
                  </a:lnTo>
                  <a:lnTo>
                    <a:pt x="2833447" y="200876"/>
                  </a:lnTo>
                  <a:lnTo>
                    <a:pt x="2833447" y="199530"/>
                  </a:lnTo>
                  <a:lnTo>
                    <a:pt x="2833447" y="200228"/>
                  </a:lnTo>
                  <a:lnTo>
                    <a:pt x="2833497" y="200228"/>
                  </a:lnTo>
                  <a:lnTo>
                    <a:pt x="2833497" y="200876"/>
                  </a:lnTo>
                  <a:lnTo>
                    <a:pt x="2833497" y="200228"/>
                  </a:lnTo>
                  <a:lnTo>
                    <a:pt x="2833497" y="200876"/>
                  </a:lnTo>
                  <a:lnTo>
                    <a:pt x="2833497" y="200228"/>
                  </a:lnTo>
                  <a:lnTo>
                    <a:pt x="2833497" y="200876"/>
                  </a:lnTo>
                  <a:lnTo>
                    <a:pt x="2833548" y="200876"/>
                  </a:lnTo>
                  <a:lnTo>
                    <a:pt x="2833548" y="200228"/>
                  </a:lnTo>
                  <a:lnTo>
                    <a:pt x="2833650" y="200228"/>
                  </a:lnTo>
                  <a:lnTo>
                    <a:pt x="2833650" y="199530"/>
                  </a:lnTo>
                  <a:lnTo>
                    <a:pt x="2833650" y="200228"/>
                  </a:lnTo>
                  <a:lnTo>
                    <a:pt x="2833650" y="199530"/>
                  </a:lnTo>
                  <a:lnTo>
                    <a:pt x="2833688" y="199530"/>
                  </a:lnTo>
                  <a:lnTo>
                    <a:pt x="2833688" y="200228"/>
                  </a:lnTo>
                  <a:lnTo>
                    <a:pt x="2833688" y="198831"/>
                  </a:lnTo>
                  <a:lnTo>
                    <a:pt x="2833739" y="197447"/>
                  </a:lnTo>
                  <a:lnTo>
                    <a:pt x="2833739" y="198831"/>
                  </a:lnTo>
                  <a:lnTo>
                    <a:pt x="2833739" y="197447"/>
                  </a:lnTo>
                  <a:lnTo>
                    <a:pt x="2833739" y="198831"/>
                  </a:lnTo>
                  <a:lnTo>
                    <a:pt x="2833739" y="197447"/>
                  </a:lnTo>
                  <a:lnTo>
                    <a:pt x="2833739" y="198831"/>
                  </a:lnTo>
                  <a:lnTo>
                    <a:pt x="2833739" y="197447"/>
                  </a:lnTo>
                  <a:lnTo>
                    <a:pt x="2833739" y="198831"/>
                  </a:lnTo>
                  <a:lnTo>
                    <a:pt x="2833739" y="196113"/>
                  </a:lnTo>
                  <a:lnTo>
                    <a:pt x="2833739" y="198831"/>
                  </a:lnTo>
                  <a:lnTo>
                    <a:pt x="2833790" y="198831"/>
                  </a:lnTo>
                  <a:lnTo>
                    <a:pt x="2833790" y="197447"/>
                  </a:lnTo>
                  <a:lnTo>
                    <a:pt x="2833790" y="198831"/>
                  </a:lnTo>
                  <a:lnTo>
                    <a:pt x="2833790" y="197447"/>
                  </a:lnTo>
                  <a:lnTo>
                    <a:pt x="2833790" y="199530"/>
                  </a:lnTo>
                  <a:lnTo>
                    <a:pt x="2833891" y="200228"/>
                  </a:lnTo>
                  <a:lnTo>
                    <a:pt x="2833891" y="198831"/>
                  </a:lnTo>
                  <a:lnTo>
                    <a:pt x="2833891" y="200228"/>
                  </a:lnTo>
                  <a:lnTo>
                    <a:pt x="2833891" y="199530"/>
                  </a:lnTo>
                  <a:lnTo>
                    <a:pt x="2833891" y="200228"/>
                  </a:lnTo>
                  <a:lnTo>
                    <a:pt x="2833942" y="200228"/>
                  </a:lnTo>
                  <a:lnTo>
                    <a:pt x="2833942" y="199530"/>
                  </a:lnTo>
                  <a:lnTo>
                    <a:pt x="2833942" y="200228"/>
                  </a:lnTo>
                  <a:lnTo>
                    <a:pt x="2833942" y="199530"/>
                  </a:lnTo>
                  <a:lnTo>
                    <a:pt x="2833942" y="200876"/>
                  </a:lnTo>
                  <a:lnTo>
                    <a:pt x="2833942" y="200228"/>
                  </a:lnTo>
                  <a:lnTo>
                    <a:pt x="2833942" y="200876"/>
                  </a:lnTo>
                  <a:lnTo>
                    <a:pt x="2833942" y="200228"/>
                  </a:lnTo>
                  <a:lnTo>
                    <a:pt x="2833993" y="200228"/>
                  </a:lnTo>
                  <a:lnTo>
                    <a:pt x="2833993" y="200876"/>
                  </a:lnTo>
                  <a:lnTo>
                    <a:pt x="2834145" y="200876"/>
                  </a:lnTo>
                  <a:lnTo>
                    <a:pt x="2834145" y="200228"/>
                  </a:lnTo>
                  <a:lnTo>
                    <a:pt x="2834145" y="200876"/>
                  </a:lnTo>
                  <a:lnTo>
                    <a:pt x="2834145" y="200228"/>
                  </a:lnTo>
                  <a:lnTo>
                    <a:pt x="2834145" y="200876"/>
                  </a:lnTo>
                  <a:lnTo>
                    <a:pt x="2834145" y="200228"/>
                  </a:lnTo>
                  <a:lnTo>
                    <a:pt x="2834145" y="200876"/>
                  </a:lnTo>
                  <a:lnTo>
                    <a:pt x="2834145" y="200228"/>
                  </a:lnTo>
                  <a:lnTo>
                    <a:pt x="2834196" y="200228"/>
                  </a:lnTo>
                  <a:lnTo>
                    <a:pt x="2834196" y="198831"/>
                  </a:lnTo>
                  <a:lnTo>
                    <a:pt x="2834234" y="198831"/>
                  </a:lnTo>
                  <a:lnTo>
                    <a:pt x="2834234" y="196799"/>
                  </a:lnTo>
                  <a:lnTo>
                    <a:pt x="2834234" y="197447"/>
                  </a:lnTo>
                  <a:lnTo>
                    <a:pt x="2834234" y="196799"/>
                  </a:lnTo>
                  <a:lnTo>
                    <a:pt x="2834234" y="198831"/>
                  </a:lnTo>
                  <a:lnTo>
                    <a:pt x="2834336" y="198831"/>
                  </a:lnTo>
                  <a:lnTo>
                    <a:pt x="2834336" y="196799"/>
                  </a:lnTo>
                  <a:lnTo>
                    <a:pt x="2834336" y="197447"/>
                  </a:lnTo>
                  <a:lnTo>
                    <a:pt x="2834336" y="196799"/>
                  </a:lnTo>
                  <a:lnTo>
                    <a:pt x="2834336" y="200228"/>
                  </a:lnTo>
                  <a:lnTo>
                    <a:pt x="2834336" y="199530"/>
                  </a:lnTo>
                  <a:lnTo>
                    <a:pt x="2834336" y="200228"/>
                  </a:lnTo>
                  <a:lnTo>
                    <a:pt x="2834387" y="199530"/>
                  </a:lnTo>
                  <a:lnTo>
                    <a:pt x="2834387" y="198831"/>
                  </a:lnTo>
                  <a:lnTo>
                    <a:pt x="2834387" y="200228"/>
                  </a:lnTo>
                  <a:lnTo>
                    <a:pt x="2834387" y="199530"/>
                  </a:lnTo>
                  <a:lnTo>
                    <a:pt x="2834437" y="199530"/>
                  </a:lnTo>
                  <a:lnTo>
                    <a:pt x="2834437" y="200228"/>
                  </a:lnTo>
                  <a:lnTo>
                    <a:pt x="2834437" y="199530"/>
                  </a:lnTo>
                  <a:lnTo>
                    <a:pt x="2834437" y="200228"/>
                  </a:lnTo>
                  <a:lnTo>
                    <a:pt x="2834437" y="199530"/>
                  </a:lnTo>
                  <a:lnTo>
                    <a:pt x="2834437" y="200228"/>
                  </a:lnTo>
                  <a:lnTo>
                    <a:pt x="2834437" y="199530"/>
                  </a:lnTo>
                  <a:lnTo>
                    <a:pt x="2834539" y="199530"/>
                  </a:lnTo>
                  <a:lnTo>
                    <a:pt x="2834539" y="200228"/>
                  </a:lnTo>
                  <a:lnTo>
                    <a:pt x="2834539" y="199530"/>
                  </a:lnTo>
                  <a:lnTo>
                    <a:pt x="2834539" y="200876"/>
                  </a:lnTo>
                  <a:lnTo>
                    <a:pt x="2834539" y="200228"/>
                  </a:lnTo>
                  <a:lnTo>
                    <a:pt x="2834539" y="200876"/>
                  </a:lnTo>
                  <a:lnTo>
                    <a:pt x="2834539" y="200228"/>
                  </a:lnTo>
                  <a:lnTo>
                    <a:pt x="2834590" y="200228"/>
                  </a:lnTo>
                  <a:lnTo>
                    <a:pt x="2834590" y="200876"/>
                  </a:lnTo>
                  <a:lnTo>
                    <a:pt x="2834590" y="200228"/>
                  </a:lnTo>
                  <a:lnTo>
                    <a:pt x="2834590" y="200876"/>
                  </a:lnTo>
                  <a:lnTo>
                    <a:pt x="2834590" y="200228"/>
                  </a:lnTo>
                  <a:lnTo>
                    <a:pt x="2834590" y="200876"/>
                  </a:lnTo>
                  <a:lnTo>
                    <a:pt x="2834590" y="200228"/>
                  </a:lnTo>
                  <a:lnTo>
                    <a:pt x="2834590" y="200876"/>
                  </a:lnTo>
                  <a:lnTo>
                    <a:pt x="2834590" y="200228"/>
                  </a:lnTo>
                  <a:lnTo>
                    <a:pt x="2834640" y="200228"/>
                  </a:lnTo>
                  <a:lnTo>
                    <a:pt x="2834640" y="200876"/>
                  </a:lnTo>
                  <a:lnTo>
                    <a:pt x="2834640" y="200228"/>
                  </a:lnTo>
                  <a:lnTo>
                    <a:pt x="2834691" y="200228"/>
                  </a:lnTo>
                  <a:lnTo>
                    <a:pt x="2834691" y="199530"/>
                  </a:lnTo>
                  <a:lnTo>
                    <a:pt x="2834691" y="200228"/>
                  </a:lnTo>
                  <a:lnTo>
                    <a:pt x="2834691" y="197447"/>
                  </a:lnTo>
                  <a:lnTo>
                    <a:pt x="2834780" y="198831"/>
                  </a:lnTo>
                  <a:lnTo>
                    <a:pt x="2834780" y="196799"/>
                  </a:lnTo>
                  <a:lnTo>
                    <a:pt x="2834780" y="198831"/>
                  </a:lnTo>
                  <a:lnTo>
                    <a:pt x="2834831" y="197447"/>
                  </a:lnTo>
                  <a:lnTo>
                    <a:pt x="2834831" y="196799"/>
                  </a:lnTo>
                  <a:lnTo>
                    <a:pt x="2834831" y="199530"/>
                  </a:lnTo>
                  <a:lnTo>
                    <a:pt x="2834882" y="199530"/>
                  </a:lnTo>
                  <a:lnTo>
                    <a:pt x="2834882" y="198831"/>
                  </a:lnTo>
                  <a:lnTo>
                    <a:pt x="2834882" y="199530"/>
                  </a:lnTo>
                  <a:lnTo>
                    <a:pt x="2834882" y="198831"/>
                  </a:lnTo>
                  <a:lnTo>
                    <a:pt x="2834882" y="200228"/>
                  </a:lnTo>
                  <a:lnTo>
                    <a:pt x="2834882" y="199530"/>
                  </a:lnTo>
                  <a:lnTo>
                    <a:pt x="2834933" y="199530"/>
                  </a:lnTo>
                  <a:lnTo>
                    <a:pt x="2834933" y="198831"/>
                  </a:lnTo>
                  <a:lnTo>
                    <a:pt x="2834933" y="200228"/>
                  </a:lnTo>
                  <a:lnTo>
                    <a:pt x="2835034" y="200228"/>
                  </a:lnTo>
                  <a:lnTo>
                    <a:pt x="2835034" y="199530"/>
                  </a:lnTo>
                  <a:lnTo>
                    <a:pt x="2835034" y="200876"/>
                  </a:lnTo>
                  <a:lnTo>
                    <a:pt x="2835034" y="200228"/>
                  </a:lnTo>
                  <a:lnTo>
                    <a:pt x="2835085" y="200228"/>
                  </a:lnTo>
                  <a:lnTo>
                    <a:pt x="2835085" y="202260"/>
                  </a:lnTo>
                  <a:lnTo>
                    <a:pt x="2835085" y="200876"/>
                  </a:lnTo>
                  <a:lnTo>
                    <a:pt x="2835136" y="200876"/>
                  </a:lnTo>
                  <a:lnTo>
                    <a:pt x="2835136" y="202260"/>
                  </a:lnTo>
                  <a:lnTo>
                    <a:pt x="2835136" y="200228"/>
                  </a:lnTo>
                  <a:lnTo>
                    <a:pt x="2835136" y="200876"/>
                  </a:lnTo>
                  <a:lnTo>
                    <a:pt x="2835136" y="200228"/>
                  </a:lnTo>
                  <a:lnTo>
                    <a:pt x="2835237" y="200228"/>
                  </a:lnTo>
                  <a:lnTo>
                    <a:pt x="2835237" y="199530"/>
                  </a:lnTo>
                  <a:lnTo>
                    <a:pt x="2835237" y="200228"/>
                  </a:lnTo>
                  <a:lnTo>
                    <a:pt x="2835237" y="198831"/>
                  </a:lnTo>
                  <a:lnTo>
                    <a:pt x="2835237" y="199530"/>
                  </a:lnTo>
                  <a:lnTo>
                    <a:pt x="2835276" y="198831"/>
                  </a:lnTo>
                  <a:lnTo>
                    <a:pt x="2835276" y="197447"/>
                  </a:lnTo>
                  <a:lnTo>
                    <a:pt x="2835276" y="199530"/>
                  </a:lnTo>
                  <a:lnTo>
                    <a:pt x="2835276" y="196799"/>
                  </a:lnTo>
                  <a:lnTo>
                    <a:pt x="2835326" y="196799"/>
                  </a:lnTo>
                  <a:lnTo>
                    <a:pt x="2835326" y="200228"/>
                  </a:lnTo>
                  <a:lnTo>
                    <a:pt x="2835326" y="198831"/>
                  </a:lnTo>
                  <a:lnTo>
                    <a:pt x="2835377" y="198831"/>
                  </a:lnTo>
                  <a:lnTo>
                    <a:pt x="2835377" y="197447"/>
                  </a:lnTo>
                  <a:lnTo>
                    <a:pt x="2835377" y="199530"/>
                  </a:lnTo>
                  <a:lnTo>
                    <a:pt x="2835377" y="198831"/>
                  </a:lnTo>
                  <a:lnTo>
                    <a:pt x="2835377" y="199530"/>
                  </a:lnTo>
                  <a:lnTo>
                    <a:pt x="2835377" y="198831"/>
                  </a:lnTo>
                  <a:lnTo>
                    <a:pt x="2835377" y="199530"/>
                  </a:lnTo>
                  <a:lnTo>
                    <a:pt x="2835479" y="199530"/>
                  </a:lnTo>
                  <a:lnTo>
                    <a:pt x="2835479" y="198831"/>
                  </a:lnTo>
                  <a:lnTo>
                    <a:pt x="2835479" y="200228"/>
                  </a:lnTo>
                  <a:lnTo>
                    <a:pt x="2835479" y="199530"/>
                  </a:lnTo>
                  <a:lnTo>
                    <a:pt x="2835530" y="199530"/>
                  </a:lnTo>
                  <a:lnTo>
                    <a:pt x="2835530" y="200228"/>
                  </a:lnTo>
                  <a:lnTo>
                    <a:pt x="2835530" y="199530"/>
                  </a:lnTo>
                  <a:lnTo>
                    <a:pt x="2835530" y="200228"/>
                  </a:lnTo>
                  <a:lnTo>
                    <a:pt x="2835530" y="199530"/>
                  </a:lnTo>
                  <a:lnTo>
                    <a:pt x="2835580" y="199530"/>
                  </a:lnTo>
                  <a:lnTo>
                    <a:pt x="2835580" y="200228"/>
                  </a:lnTo>
                  <a:lnTo>
                    <a:pt x="2835580" y="199530"/>
                  </a:lnTo>
                  <a:lnTo>
                    <a:pt x="2835580" y="200228"/>
                  </a:lnTo>
                  <a:lnTo>
                    <a:pt x="2835682" y="200228"/>
                  </a:lnTo>
                  <a:lnTo>
                    <a:pt x="2835682" y="200876"/>
                  </a:lnTo>
                  <a:lnTo>
                    <a:pt x="2835682" y="200228"/>
                  </a:lnTo>
                  <a:lnTo>
                    <a:pt x="2835733" y="199530"/>
                  </a:lnTo>
                  <a:lnTo>
                    <a:pt x="2835733" y="200228"/>
                  </a:lnTo>
                  <a:lnTo>
                    <a:pt x="2835733" y="197447"/>
                  </a:lnTo>
                  <a:lnTo>
                    <a:pt x="2835733" y="198831"/>
                  </a:lnTo>
                  <a:lnTo>
                    <a:pt x="2835783" y="199530"/>
                  </a:lnTo>
                  <a:lnTo>
                    <a:pt x="2835783" y="200228"/>
                  </a:lnTo>
                  <a:lnTo>
                    <a:pt x="2835783" y="198831"/>
                  </a:lnTo>
                  <a:lnTo>
                    <a:pt x="2835783" y="202260"/>
                  </a:lnTo>
                  <a:lnTo>
                    <a:pt x="2835822" y="202260"/>
                  </a:lnTo>
                  <a:lnTo>
                    <a:pt x="2835822" y="202959"/>
                  </a:lnTo>
                  <a:lnTo>
                    <a:pt x="2835822" y="199530"/>
                  </a:lnTo>
                  <a:lnTo>
                    <a:pt x="2835822" y="202260"/>
                  </a:lnTo>
                  <a:lnTo>
                    <a:pt x="2835923" y="202260"/>
                  </a:lnTo>
                  <a:lnTo>
                    <a:pt x="2835923" y="200228"/>
                  </a:lnTo>
                  <a:lnTo>
                    <a:pt x="2835923" y="200876"/>
                  </a:lnTo>
                  <a:lnTo>
                    <a:pt x="2835974" y="200876"/>
                  </a:lnTo>
                  <a:lnTo>
                    <a:pt x="2835974" y="200228"/>
                  </a:lnTo>
                  <a:lnTo>
                    <a:pt x="2835974" y="200876"/>
                  </a:lnTo>
                  <a:lnTo>
                    <a:pt x="2836025" y="200876"/>
                  </a:lnTo>
                  <a:lnTo>
                    <a:pt x="2836025" y="202260"/>
                  </a:lnTo>
                  <a:lnTo>
                    <a:pt x="2836025" y="200228"/>
                  </a:lnTo>
                  <a:lnTo>
                    <a:pt x="2836025" y="200876"/>
                  </a:lnTo>
                  <a:lnTo>
                    <a:pt x="2836126" y="200876"/>
                  </a:lnTo>
                  <a:lnTo>
                    <a:pt x="2836126" y="202260"/>
                  </a:lnTo>
                  <a:lnTo>
                    <a:pt x="2836126" y="200228"/>
                  </a:lnTo>
                  <a:lnTo>
                    <a:pt x="2836126" y="200876"/>
                  </a:lnTo>
                  <a:lnTo>
                    <a:pt x="2836177" y="200876"/>
                  </a:lnTo>
                  <a:lnTo>
                    <a:pt x="2836177" y="200228"/>
                  </a:lnTo>
                  <a:lnTo>
                    <a:pt x="2836177" y="200876"/>
                  </a:lnTo>
                  <a:lnTo>
                    <a:pt x="2836177" y="198831"/>
                  </a:lnTo>
                  <a:lnTo>
                    <a:pt x="2836228" y="199530"/>
                  </a:lnTo>
                  <a:lnTo>
                    <a:pt x="2836228" y="197447"/>
                  </a:lnTo>
                  <a:lnTo>
                    <a:pt x="2836228" y="198831"/>
                  </a:lnTo>
                  <a:lnTo>
                    <a:pt x="2836228" y="197447"/>
                  </a:lnTo>
                  <a:lnTo>
                    <a:pt x="2836228" y="199530"/>
                  </a:lnTo>
                  <a:lnTo>
                    <a:pt x="2836279" y="199530"/>
                  </a:lnTo>
                  <a:lnTo>
                    <a:pt x="2836279" y="198831"/>
                  </a:lnTo>
                  <a:lnTo>
                    <a:pt x="2836279" y="200876"/>
                  </a:lnTo>
                  <a:lnTo>
                    <a:pt x="2836368" y="200876"/>
                  </a:lnTo>
                  <a:lnTo>
                    <a:pt x="2836368" y="200228"/>
                  </a:lnTo>
                  <a:lnTo>
                    <a:pt x="2836368" y="200876"/>
                  </a:lnTo>
                  <a:lnTo>
                    <a:pt x="2836368" y="200228"/>
                  </a:lnTo>
                  <a:lnTo>
                    <a:pt x="2836368" y="202260"/>
                  </a:lnTo>
                  <a:lnTo>
                    <a:pt x="2836368" y="200876"/>
                  </a:lnTo>
                  <a:lnTo>
                    <a:pt x="2836419" y="200876"/>
                  </a:lnTo>
                  <a:lnTo>
                    <a:pt x="2836419" y="202260"/>
                  </a:lnTo>
                  <a:lnTo>
                    <a:pt x="2836419" y="200876"/>
                  </a:lnTo>
                  <a:lnTo>
                    <a:pt x="2836469" y="200876"/>
                  </a:lnTo>
                  <a:lnTo>
                    <a:pt x="2836469" y="202260"/>
                  </a:lnTo>
                  <a:lnTo>
                    <a:pt x="2836469" y="200876"/>
                  </a:lnTo>
                  <a:lnTo>
                    <a:pt x="2836469" y="202260"/>
                  </a:lnTo>
                  <a:lnTo>
                    <a:pt x="2836469" y="200876"/>
                  </a:lnTo>
                  <a:lnTo>
                    <a:pt x="2836469" y="202260"/>
                  </a:lnTo>
                  <a:lnTo>
                    <a:pt x="2836469" y="200876"/>
                  </a:lnTo>
                  <a:lnTo>
                    <a:pt x="2836469" y="202260"/>
                  </a:lnTo>
                  <a:lnTo>
                    <a:pt x="2836520" y="202260"/>
                  </a:lnTo>
                  <a:lnTo>
                    <a:pt x="2836520" y="200876"/>
                  </a:lnTo>
                  <a:lnTo>
                    <a:pt x="2836622" y="200876"/>
                  </a:lnTo>
                  <a:lnTo>
                    <a:pt x="2836622" y="200228"/>
                  </a:lnTo>
                  <a:lnTo>
                    <a:pt x="2836622" y="200876"/>
                  </a:lnTo>
                  <a:lnTo>
                    <a:pt x="2836622" y="200228"/>
                  </a:lnTo>
                  <a:lnTo>
                    <a:pt x="2836672" y="200228"/>
                  </a:lnTo>
                  <a:lnTo>
                    <a:pt x="2836672" y="198831"/>
                  </a:lnTo>
                  <a:lnTo>
                    <a:pt x="2836723" y="197447"/>
                  </a:lnTo>
                  <a:lnTo>
                    <a:pt x="2836723" y="196799"/>
                  </a:lnTo>
                  <a:lnTo>
                    <a:pt x="2836723" y="199530"/>
                  </a:lnTo>
                  <a:lnTo>
                    <a:pt x="2836723" y="198831"/>
                  </a:lnTo>
                  <a:lnTo>
                    <a:pt x="2836723" y="199530"/>
                  </a:lnTo>
                  <a:lnTo>
                    <a:pt x="2836723" y="198831"/>
                  </a:lnTo>
                  <a:lnTo>
                    <a:pt x="2836825" y="197447"/>
                  </a:lnTo>
                  <a:lnTo>
                    <a:pt x="2836825" y="200876"/>
                  </a:lnTo>
                  <a:lnTo>
                    <a:pt x="2836825" y="199530"/>
                  </a:lnTo>
                  <a:lnTo>
                    <a:pt x="2836863" y="199530"/>
                  </a:lnTo>
                  <a:lnTo>
                    <a:pt x="2836863" y="198831"/>
                  </a:lnTo>
                  <a:lnTo>
                    <a:pt x="2836863" y="200876"/>
                  </a:lnTo>
                  <a:lnTo>
                    <a:pt x="2836863" y="200228"/>
                  </a:lnTo>
                  <a:lnTo>
                    <a:pt x="2836914" y="200228"/>
                  </a:lnTo>
                  <a:lnTo>
                    <a:pt x="2836914" y="199530"/>
                  </a:lnTo>
                  <a:lnTo>
                    <a:pt x="2836914" y="200228"/>
                  </a:lnTo>
                  <a:lnTo>
                    <a:pt x="2836965" y="200228"/>
                  </a:lnTo>
                  <a:lnTo>
                    <a:pt x="2836965" y="202260"/>
                  </a:lnTo>
                  <a:lnTo>
                    <a:pt x="2836965" y="200876"/>
                  </a:lnTo>
                  <a:lnTo>
                    <a:pt x="2836965" y="202260"/>
                  </a:lnTo>
                  <a:lnTo>
                    <a:pt x="2836965" y="200876"/>
                  </a:lnTo>
                  <a:lnTo>
                    <a:pt x="2836965" y="202260"/>
                  </a:lnTo>
                  <a:lnTo>
                    <a:pt x="2837117" y="202260"/>
                  </a:lnTo>
                  <a:lnTo>
                    <a:pt x="2837117" y="200876"/>
                  </a:lnTo>
                  <a:lnTo>
                    <a:pt x="2837117" y="202260"/>
                  </a:lnTo>
                  <a:lnTo>
                    <a:pt x="2837117" y="200228"/>
                  </a:lnTo>
                  <a:lnTo>
                    <a:pt x="2837117" y="200876"/>
                  </a:lnTo>
                  <a:lnTo>
                    <a:pt x="2837168" y="200228"/>
                  </a:lnTo>
                  <a:lnTo>
                    <a:pt x="2837168" y="197447"/>
                  </a:lnTo>
                  <a:lnTo>
                    <a:pt x="2837168" y="198831"/>
                  </a:lnTo>
                  <a:lnTo>
                    <a:pt x="2837168" y="197447"/>
                  </a:lnTo>
                  <a:lnTo>
                    <a:pt x="2837269" y="198831"/>
                  </a:lnTo>
                  <a:lnTo>
                    <a:pt x="2837269" y="197447"/>
                  </a:lnTo>
                  <a:lnTo>
                    <a:pt x="2837269" y="199530"/>
                  </a:lnTo>
                  <a:lnTo>
                    <a:pt x="2837269" y="198831"/>
                  </a:lnTo>
                  <a:lnTo>
                    <a:pt x="2837320" y="197447"/>
                  </a:lnTo>
                  <a:lnTo>
                    <a:pt x="2837320" y="200228"/>
                  </a:lnTo>
                  <a:lnTo>
                    <a:pt x="2837320" y="198831"/>
                  </a:lnTo>
                  <a:lnTo>
                    <a:pt x="2837320" y="199530"/>
                  </a:lnTo>
                  <a:lnTo>
                    <a:pt x="2837371" y="199530"/>
                  </a:lnTo>
                  <a:lnTo>
                    <a:pt x="2837371" y="200228"/>
                  </a:lnTo>
                  <a:lnTo>
                    <a:pt x="2837371" y="199530"/>
                  </a:lnTo>
                  <a:lnTo>
                    <a:pt x="2837371" y="200228"/>
                  </a:lnTo>
                  <a:lnTo>
                    <a:pt x="2837409" y="200228"/>
                  </a:lnTo>
                  <a:lnTo>
                    <a:pt x="2837409" y="200876"/>
                  </a:lnTo>
                  <a:lnTo>
                    <a:pt x="2837409" y="199530"/>
                  </a:lnTo>
                  <a:lnTo>
                    <a:pt x="2837409" y="200876"/>
                  </a:lnTo>
                  <a:lnTo>
                    <a:pt x="2837409" y="200228"/>
                  </a:lnTo>
                  <a:lnTo>
                    <a:pt x="2837409" y="200876"/>
                  </a:lnTo>
                  <a:lnTo>
                    <a:pt x="2837511" y="200228"/>
                  </a:lnTo>
                  <a:lnTo>
                    <a:pt x="2837511" y="200876"/>
                  </a:lnTo>
                  <a:lnTo>
                    <a:pt x="2837511" y="200228"/>
                  </a:lnTo>
                  <a:lnTo>
                    <a:pt x="2837511" y="202260"/>
                  </a:lnTo>
                  <a:lnTo>
                    <a:pt x="2837562" y="202260"/>
                  </a:lnTo>
                  <a:lnTo>
                    <a:pt x="2837562" y="200876"/>
                  </a:lnTo>
                  <a:lnTo>
                    <a:pt x="2837562" y="202260"/>
                  </a:lnTo>
                  <a:lnTo>
                    <a:pt x="2837562" y="200228"/>
                  </a:lnTo>
                  <a:lnTo>
                    <a:pt x="2837562" y="200876"/>
                  </a:lnTo>
                  <a:lnTo>
                    <a:pt x="2837612" y="200876"/>
                  </a:lnTo>
                  <a:lnTo>
                    <a:pt x="2837612" y="200228"/>
                  </a:lnTo>
                  <a:lnTo>
                    <a:pt x="2837612" y="200876"/>
                  </a:lnTo>
                  <a:lnTo>
                    <a:pt x="2837612" y="199530"/>
                  </a:lnTo>
                  <a:lnTo>
                    <a:pt x="2837612" y="200228"/>
                  </a:lnTo>
                  <a:lnTo>
                    <a:pt x="2837714" y="199530"/>
                  </a:lnTo>
                  <a:lnTo>
                    <a:pt x="2837714" y="200228"/>
                  </a:lnTo>
                  <a:lnTo>
                    <a:pt x="2837714" y="197447"/>
                  </a:lnTo>
                  <a:lnTo>
                    <a:pt x="2837765" y="197447"/>
                  </a:lnTo>
                  <a:lnTo>
                    <a:pt x="2837765" y="196799"/>
                  </a:lnTo>
                  <a:lnTo>
                    <a:pt x="2837765" y="198831"/>
                  </a:lnTo>
                  <a:lnTo>
                    <a:pt x="2837765" y="197447"/>
                  </a:lnTo>
                  <a:lnTo>
                    <a:pt x="2837815" y="196799"/>
                  </a:lnTo>
                  <a:lnTo>
                    <a:pt x="2837815" y="199530"/>
                  </a:lnTo>
                  <a:lnTo>
                    <a:pt x="2837815" y="198831"/>
                  </a:lnTo>
                  <a:lnTo>
                    <a:pt x="2837866" y="198831"/>
                  </a:lnTo>
                  <a:lnTo>
                    <a:pt x="2837866" y="200228"/>
                  </a:lnTo>
                  <a:lnTo>
                    <a:pt x="2837866" y="199530"/>
                  </a:lnTo>
                  <a:lnTo>
                    <a:pt x="2837955" y="199530"/>
                  </a:lnTo>
                  <a:lnTo>
                    <a:pt x="2837955" y="200228"/>
                  </a:lnTo>
                  <a:lnTo>
                    <a:pt x="2837955" y="199530"/>
                  </a:lnTo>
                  <a:lnTo>
                    <a:pt x="2837955" y="200228"/>
                  </a:lnTo>
                  <a:lnTo>
                    <a:pt x="2837955" y="199530"/>
                  </a:lnTo>
                  <a:lnTo>
                    <a:pt x="2837955" y="200228"/>
                  </a:lnTo>
                  <a:lnTo>
                    <a:pt x="2838006" y="200228"/>
                  </a:lnTo>
                  <a:lnTo>
                    <a:pt x="2838006" y="200876"/>
                  </a:lnTo>
                  <a:lnTo>
                    <a:pt x="2838006" y="200228"/>
                  </a:lnTo>
                  <a:lnTo>
                    <a:pt x="2838006" y="200876"/>
                  </a:lnTo>
                  <a:lnTo>
                    <a:pt x="2838006" y="200228"/>
                  </a:lnTo>
                  <a:lnTo>
                    <a:pt x="2838006" y="200876"/>
                  </a:lnTo>
                  <a:lnTo>
                    <a:pt x="2838057" y="200876"/>
                  </a:lnTo>
                  <a:lnTo>
                    <a:pt x="2838057" y="200228"/>
                  </a:lnTo>
                  <a:lnTo>
                    <a:pt x="2838057" y="202260"/>
                  </a:lnTo>
                  <a:lnTo>
                    <a:pt x="2838057" y="200876"/>
                  </a:lnTo>
                  <a:lnTo>
                    <a:pt x="2838108" y="200228"/>
                  </a:lnTo>
                  <a:lnTo>
                    <a:pt x="2838108" y="200876"/>
                  </a:lnTo>
                  <a:lnTo>
                    <a:pt x="2838108" y="200228"/>
                  </a:lnTo>
                  <a:lnTo>
                    <a:pt x="2838108" y="200876"/>
                  </a:lnTo>
                  <a:lnTo>
                    <a:pt x="2838108" y="200228"/>
                  </a:lnTo>
                  <a:lnTo>
                    <a:pt x="2838108" y="200876"/>
                  </a:lnTo>
                  <a:lnTo>
                    <a:pt x="2838108" y="200228"/>
                  </a:lnTo>
                  <a:lnTo>
                    <a:pt x="2838209" y="200228"/>
                  </a:lnTo>
                  <a:lnTo>
                    <a:pt x="2838209" y="197447"/>
                  </a:lnTo>
                  <a:lnTo>
                    <a:pt x="2838209" y="199530"/>
                  </a:lnTo>
                  <a:lnTo>
                    <a:pt x="2838209" y="197447"/>
                  </a:lnTo>
                  <a:lnTo>
                    <a:pt x="2838260" y="196799"/>
                  </a:lnTo>
                  <a:lnTo>
                    <a:pt x="2838260" y="196113"/>
                  </a:lnTo>
                  <a:lnTo>
                    <a:pt x="2838260" y="198831"/>
                  </a:lnTo>
                  <a:lnTo>
                    <a:pt x="2838260" y="195415"/>
                  </a:lnTo>
                  <a:lnTo>
                    <a:pt x="2838311" y="195415"/>
                  </a:lnTo>
                  <a:lnTo>
                    <a:pt x="2838311" y="199530"/>
                  </a:lnTo>
                  <a:lnTo>
                    <a:pt x="2838311" y="196799"/>
                  </a:lnTo>
                  <a:lnTo>
                    <a:pt x="2838412" y="197447"/>
                  </a:lnTo>
                  <a:lnTo>
                    <a:pt x="2838412" y="196799"/>
                  </a:lnTo>
                  <a:lnTo>
                    <a:pt x="2838412" y="198831"/>
                  </a:lnTo>
                  <a:lnTo>
                    <a:pt x="2838451" y="198831"/>
                  </a:lnTo>
                  <a:lnTo>
                    <a:pt x="2838451" y="199530"/>
                  </a:lnTo>
                  <a:lnTo>
                    <a:pt x="2838451" y="198831"/>
                  </a:lnTo>
                  <a:lnTo>
                    <a:pt x="2838451" y="199530"/>
                  </a:lnTo>
                  <a:lnTo>
                    <a:pt x="2838501" y="199530"/>
                  </a:lnTo>
                  <a:lnTo>
                    <a:pt x="2838501" y="200228"/>
                  </a:lnTo>
                  <a:lnTo>
                    <a:pt x="2838501" y="199530"/>
                  </a:lnTo>
                  <a:lnTo>
                    <a:pt x="2838501" y="200228"/>
                  </a:lnTo>
                  <a:lnTo>
                    <a:pt x="2838552" y="200228"/>
                  </a:lnTo>
                  <a:lnTo>
                    <a:pt x="2838552" y="199530"/>
                  </a:lnTo>
                  <a:lnTo>
                    <a:pt x="2838552" y="200228"/>
                  </a:lnTo>
                  <a:lnTo>
                    <a:pt x="2838552" y="199530"/>
                  </a:lnTo>
                  <a:lnTo>
                    <a:pt x="2838552" y="200228"/>
                  </a:lnTo>
                  <a:lnTo>
                    <a:pt x="2838552" y="199530"/>
                  </a:lnTo>
                  <a:lnTo>
                    <a:pt x="2838552" y="200228"/>
                  </a:lnTo>
                  <a:lnTo>
                    <a:pt x="2838654" y="200228"/>
                  </a:lnTo>
                  <a:lnTo>
                    <a:pt x="2838654" y="199530"/>
                  </a:lnTo>
                  <a:lnTo>
                    <a:pt x="2838654" y="200228"/>
                  </a:lnTo>
                  <a:lnTo>
                    <a:pt x="2838654" y="198831"/>
                  </a:lnTo>
                  <a:lnTo>
                    <a:pt x="2838654" y="199530"/>
                  </a:lnTo>
                  <a:lnTo>
                    <a:pt x="2838705" y="199530"/>
                  </a:lnTo>
                  <a:lnTo>
                    <a:pt x="2838705" y="198831"/>
                  </a:lnTo>
                  <a:lnTo>
                    <a:pt x="2838705" y="199530"/>
                  </a:lnTo>
                  <a:lnTo>
                    <a:pt x="2838705" y="198831"/>
                  </a:lnTo>
                  <a:lnTo>
                    <a:pt x="2838705" y="199530"/>
                  </a:lnTo>
                  <a:lnTo>
                    <a:pt x="2838705" y="196799"/>
                  </a:lnTo>
                  <a:lnTo>
                    <a:pt x="2838755" y="196799"/>
                  </a:lnTo>
                  <a:lnTo>
                    <a:pt x="2838755" y="200228"/>
                  </a:lnTo>
                  <a:lnTo>
                    <a:pt x="2838755" y="196799"/>
                  </a:lnTo>
                  <a:lnTo>
                    <a:pt x="2838755" y="198831"/>
                  </a:lnTo>
                  <a:lnTo>
                    <a:pt x="2838857" y="199530"/>
                  </a:lnTo>
                  <a:lnTo>
                    <a:pt x="2838857" y="200228"/>
                  </a:lnTo>
                  <a:lnTo>
                    <a:pt x="2838857" y="198831"/>
                  </a:lnTo>
                  <a:lnTo>
                    <a:pt x="2838857" y="199530"/>
                  </a:lnTo>
                  <a:lnTo>
                    <a:pt x="2838857" y="198831"/>
                  </a:lnTo>
                  <a:lnTo>
                    <a:pt x="2838857" y="199530"/>
                  </a:lnTo>
                  <a:lnTo>
                    <a:pt x="2838908" y="199530"/>
                  </a:lnTo>
                  <a:lnTo>
                    <a:pt x="2838908" y="200228"/>
                  </a:lnTo>
                  <a:lnTo>
                    <a:pt x="2838908" y="199530"/>
                  </a:lnTo>
                  <a:lnTo>
                    <a:pt x="2838908" y="200228"/>
                  </a:lnTo>
                  <a:lnTo>
                    <a:pt x="2838908" y="199530"/>
                  </a:lnTo>
                  <a:lnTo>
                    <a:pt x="2838908" y="200228"/>
                  </a:lnTo>
                  <a:lnTo>
                    <a:pt x="2838908" y="199530"/>
                  </a:lnTo>
                  <a:lnTo>
                    <a:pt x="2838908" y="200228"/>
                  </a:lnTo>
                  <a:lnTo>
                    <a:pt x="2838958" y="200228"/>
                  </a:lnTo>
                  <a:lnTo>
                    <a:pt x="2838958" y="199530"/>
                  </a:lnTo>
                  <a:lnTo>
                    <a:pt x="2838958" y="200228"/>
                  </a:lnTo>
                  <a:lnTo>
                    <a:pt x="2838997" y="200228"/>
                  </a:lnTo>
                  <a:lnTo>
                    <a:pt x="2838997" y="200876"/>
                  </a:lnTo>
                  <a:lnTo>
                    <a:pt x="2838997" y="200228"/>
                  </a:lnTo>
                  <a:lnTo>
                    <a:pt x="2838997" y="200876"/>
                  </a:lnTo>
                  <a:lnTo>
                    <a:pt x="2838997" y="200228"/>
                  </a:lnTo>
                  <a:lnTo>
                    <a:pt x="2839098" y="200876"/>
                  </a:lnTo>
                  <a:lnTo>
                    <a:pt x="2839098" y="200228"/>
                  </a:lnTo>
                  <a:lnTo>
                    <a:pt x="2839098" y="200876"/>
                  </a:lnTo>
                  <a:lnTo>
                    <a:pt x="2839098" y="200228"/>
                  </a:lnTo>
                  <a:lnTo>
                    <a:pt x="2839098" y="200876"/>
                  </a:lnTo>
                  <a:lnTo>
                    <a:pt x="2839098" y="200228"/>
                  </a:lnTo>
                  <a:lnTo>
                    <a:pt x="2839098" y="200876"/>
                  </a:lnTo>
                  <a:lnTo>
                    <a:pt x="2839098" y="200228"/>
                  </a:lnTo>
                  <a:lnTo>
                    <a:pt x="2839149" y="200876"/>
                  </a:lnTo>
                  <a:lnTo>
                    <a:pt x="2839149" y="199530"/>
                  </a:lnTo>
                  <a:lnTo>
                    <a:pt x="2839200" y="199530"/>
                  </a:lnTo>
                  <a:lnTo>
                    <a:pt x="2839200" y="198831"/>
                  </a:lnTo>
                  <a:lnTo>
                    <a:pt x="2839200" y="200228"/>
                  </a:lnTo>
                  <a:lnTo>
                    <a:pt x="2839301" y="200228"/>
                  </a:lnTo>
                  <a:lnTo>
                    <a:pt x="2839301" y="200876"/>
                  </a:lnTo>
                  <a:lnTo>
                    <a:pt x="2839301" y="199530"/>
                  </a:lnTo>
                  <a:lnTo>
                    <a:pt x="2839301" y="200228"/>
                  </a:lnTo>
                  <a:lnTo>
                    <a:pt x="2839301" y="199530"/>
                  </a:lnTo>
                  <a:lnTo>
                    <a:pt x="2839301" y="202260"/>
                  </a:lnTo>
                  <a:lnTo>
                    <a:pt x="2839352" y="200876"/>
                  </a:lnTo>
                  <a:lnTo>
                    <a:pt x="2839352" y="200228"/>
                  </a:lnTo>
                  <a:lnTo>
                    <a:pt x="2839352" y="200876"/>
                  </a:lnTo>
                  <a:lnTo>
                    <a:pt x="2839403" y="200876"/>
                  </a:lnTo>
                  <a:lnTo>
                    <a:pt x="2839403" y="200228"/>
                  </a:lnTo>
                  <a:lnTo>
                    <a:pt x="2839403" y="200876"/>
                  </a:lnTo>
                  <a:lnTo>
                    <a:pt x="2839403" y="200228"/>
                  </a:lnTo>
                  <a:lnTo>
                    <a:pt x="2839403" y="202260"/>
                  </a:lnTo>
                  <a:lnTo>
                    <a:pt x="2839403" y="200876"/>
                  </a:lnTo>
                  <a:lnTo>
                    <a:pt x="2839454" y="200876"/>
                  </a:lnTo>
                  <a:lnTo>
                    <a:pt x="2839454" y="200228"/>
                  </a:lnTo>
                  <a:lnTo>
                    <a:pt x="2839454" y="202260"/>
                  </a:lnTo>
                  <a:lnTo>
                    <a:pt x="2839454" y="200876"/>
                  </a:lnTo>
                  <a:lnTo>
                    <a:pt x="2839543" y="200876"/>
                  </a:lnTo>
                  <a:lnTo>
                    <a:pt x="2839543" y="202260"/>
                  </a:lnTo>
                  <a:lnTo>
                    <a:pt x="2839543" y="200876"/>
                  </a:lnTo>
                  <a:lnTo>
                    <a:pt x="2839594" y="200876"/>
                  </a:lnTo>
                  <a:lnTo>
                    <a:pt x="2839594" y="200228"/>
                  </a:lnTo>
                  <a:lnTo>
                    <a:pt x="2839594" y="200876"/>
                  </a:lnTo>
                  <a:lnTo>
                    <a:pt x="2839594" y="200228"/>
                  </a:lnTo>
                  <a:lnTo>
                    <a:pt x="2839644" y="200228"/>
                  </a:lnTo>
                  <a:lnTo>
                    <a:pt x="2839644" y="198831"/>
                  </a:lnTo>
                  <a:lnTo>
                    <a:pt x="2839695" y="198831"/>
                  </a:lnTo>
                  <a:lnTo>
                    <a:pt x="2839695" y="197447"/>
                  </a:lnTo>
                  <a:lnTo>
                    <a:pt x="2839695" y="200228"/>
                  </a:lnTo>
                  <a:lnTo>
                    <a:pt x="2839695" y="199530"/>
                  </a:lnTo>
                  <a:lnTo>
                    <a:pt x="2839797" y="199530"/>
                  </a:lnTo>
                  <a:lnTo>
                    <a:pt x="2839797" y="198831"/>
                  </a:lnTo>
                  <a:lnTo>
                    <a:pt x="2839797" y="200876"/>
                  </a:lnTo>
                  <a:lnTo>
                    <a:pt x="2839847" y="200228"/>
                  </a:lnTo>
                  <a:lnTo>
                    <a:pt x="2839847" y="199530"/>
                  </a:lnTo>
                  <a:lnTo>
                    <a:pt x="2839847" y="200876"/>
                  </a:lnTo>
                  <a:lnTo>
                    <a:pt x="2840000" y="200876"/>
                  </a:lnTo>
                  <a:lnTo>
                    <a:pt x="2840000" y="202260"/>
                  </a:lnTo>
                  <a:lnTo>
                    <a:pt x="2840000" y="200228"/>
                  </a:lnTo>
                  <a:lnTo>
                    <a:pt x="2840000" y="202260"/>
                  </a:lnTo>
                  <a:lnTo>
                    <a:pt x="2840038" y="202260"/>
                  </a:lnTo>
                  <a:lnTo>
                    <a:pt x="2840038" y="200876"/>
                  </a:lnTo>
                  <a:lnTo>
                    <a:pt x="2840038" y="202260"/>
                  </a:lnTo>
                  <a:lnTo>
                    <a:pt x="2840038" y="200876"/>
                  </a:lnTo>
                  <a:lnTo>
                    <a:pt x="2840038" y="202260"/>
                  </a:lnTo>
                  <a:lnTo>
                    <a:pt x="2840038" y="200876"/>
                  </a:lnTo>
                  <a:lnTo>
                    <a:pt x="2840089" y="200876"/>
                  </a:lnTo>
                  <a:lnTo>
                    <a:pt x="2840089" y="202260"/>
                  </a:lnTo>
                  <a:lnTo>
                    <a:pt x="2840089" y="200228"/>
                  </a:lnTo>
                  <a:lnTo>
                    <a:pt x="2840089" y="200876"/>
                  </a:lnTo>
                  <a:lnTo>
                    <a:pt x="2840089" y="200228"/>
                  </a:lnTo>
                  <a:lnTo>
                    <a:pt x="2840140" y="200228"/>
                  </a:lnTo>
                  <a:lnTo>
                    <a:pt x="2840140" y="198831"/>
                  </a:lnTo>
                  <a:lnTo>
                    <a:pt x="2840140" y="199530"/>
                  </a:lnTo>
                  <a:lnTo>
                    <a:pt x="2840140" y="198831"/>
                  </a:lnTo>
                  <a:lnTo>
                    <a:pt x="2840241" y="198831"/>
                  </a:lnTo>
                  <a:lnTo>
                    <a:pt x="2840241" y="200228"/>
                  </a:lnTo>
                  <a:lnTo>
                    <a:pt x="2840241" y="198831"/>
                  </a:lnTo>
                  <a:lnTo>
                    <a:pt x="2840241" y="199530"/>
                  </a:lnTo>
                  <a:lnTo>
                    <a:pt x="2840241" y="198831"/>
                  </a:lnTo>
                  <a:lnTo>
                    <a:pt x="2840241" y="199530"/>
                  </a:lnTo>
                  <a:lnTo>
                    <a:pt x="2840292" y="200228"/>
                  </a:lnTo>
                  <a:lnTo>
                    <a:pt x="2840292" y="202260"/>
                  </a:lnTo>
                  <a:lnTo>
                    <a:pt x="2840292" y="200228"/>
                  </a:lnTo>
                  <a:lnTo>
                    <a:pt x="2840343" y="200876"/>
                  </a:lnTo>
                  <a:lnTo>
                    <a:pt x="2840343" y="200228"/>
                  </a:lnTo>
                  <a:lnTo>
                    <a:pt x="2840343" y="202260"/>
                  </a:lnTo>
                  <a:lnTo>
                    <a:pt x="2840343" y="200876"/>
                  </a:lnTo>
                  <a:lnTo>
                    <a:pt x="2840343" y="202260"/>
                  </a:lnTo>
                  <a:lnTo>
                    <a:pt x="2840444" y="202260"/>
                  </a:lnTo>
                  <a:lnTo>
                    <a:pt x="2840444" y="200876"/>
                  </a:lnTo>
                  <a:lnTo>
                    <a:pt x="2840444" y="202959"/>
                  </a:lnTo>
                  <a:lnTo>
                    <a:pt x="2840495" y="202959"/>
                  </a:lnTo>
                  <a:lnTo>
                    <a:pt x="2840495" y="202260"/>
                  </a:lnTo>
                  <a:lnTo>
                    <a:pt x="2840546" y="202260"/>
                  </a:lnTo>
                  <a:lnTo>
                    <a:pt x="2840546" y="200876"/>
                  </a:lnTo>
                  <a:lnTo>
                    <a:pt x="2840584" y="200876"/>
                  </a:lnTo>
                  <a:lnTo>
                    <a:pt x="2840584" y="200228"/>
                  </a:lnTo>
                  <a:lnTo>
                    <a:pt x="2840584" y="200876"/>
                  </a:lnTo>
                  <a:lnTo>
                    <a:pt x="2840584" y="200228"/>
                  </a:lnTo>
                  <a:lnTo>
                    <a:pt x="2840686" y="199530"/>
                  </a:lnTo>
                  <a:lnTo>
                    <a:pt x="2840686" y="197447"/>
                  </a:lnTo>
                  <a:lnTo>
                    <a:pt x="2840686" y="198831"/>
                  </a:lnTo>
                  <a:lnTo>
                    <a:pt x="2840686" y="196799"/>
                  </a:lnTo>
                  <a:lnTo>
                    <a:pt x="2840737" y="196799"/>
                  </a:lnTo>
                  <a:lnTo>
                    <a:pt x="2840737" y="198831"/>
                  </a:lnTo>
                  <a:lnTo>
                    <a:pt x="2840737" y="196799"/>
                  </a:lnTo>
                  <a:lnTo>
                    <a:pt x="2840787" y="196799"/>
                  </a:lnTo>
                  <a:lnTo>
                    <a:pt x="2840787" y="200228"/>
                  </a:lnTo>
                  <a:lnTo>
                    <a:pt x="2840787" y="198831"/>
                  </a:lnTo>
                  <a:lnTo>
                    <a:pt x="2840787" y="199530"/>
                  </a:lnTo>
                  <a:lnTo>
                    <a:pt x="2840787" y="198831"/>
                  </a:lnTo>
                  <a:lnTo>
                    <a:pt x="2840787" y="199530"/>
                  </a:lnTo>
                  <a:lnTo>
                    <a:pt x="2840889" y="199530"/>
                  </a:lnTo>
                  <a:lnTo>
                    <a:pt x="2840889" y="200228"/>
                  </a:lnTo>
                  <a:lnTo>
                    <a:pt x="2840940" y="200228"/>
                  </a:lnTo>
                  <a:lnTo>
                    <a:pt x="2840940" y="200876"/>
                  </a:lnTo>
                  <a:lnTo>
                    <a:pt x="2840940" y="200228"/>
                  </a:lnTo>
                  <a:lnTo>
                    <a:pt x="2840940" y="200876"/>
                  </a:lnTo>
                  <a:lnTo>
                    <a:pt x="2840940" y="200228"/>
                  </a:lnTo>
                  <a:lnTo>
                    <a:pt x="2840940" y="200876"/>
                  </a:lnTo>
                  <a:lnTo>
                    <a:pt x="2840990" y="202260"/>
                  </a:lnTo>
                  <a:lnTo>
                    <a:pt x="2840990" y="200876"/>
                  </a:lnTo>
                  <a:lnTo>
                    <a:pt x="2840990" y="202260"/>
                  </a:lnTo>
                  <a:lnTo>
                    <a:pt x="2840990" y="200876"/>
                  </a:lnTo>
                  <a:lnTo>
                    <a:pt x="2840990" y="202260"/>
                  </a:lnTo>
                  <a:lnTo>
                    <a:pt x="2841041" y="202260"/>
                  </a:lnTo>
                  <a:lnTo>
                    <a:pt x="2841041" y="200876"/>
                  </a:lnTo>
                  <a:lnTo>
                    <a:pt x="2841041" y="202260"/>
                  </a:lnTo>
                  <a:lnTo>
                    <a:pt x="2841130" y="202260"/>
                  </a:lnTo>
                  <a:lnTo>
                    <a:pt x="2841130" y="200876"/>
                  </a:lnTo>
                  <a:lnTo>
                    <a:pt x="2841130" y="202260"/>
                  </a:lnTo>
                  <a:lnTo>
                    <a:pt x="2841130" y="200228"/>
                  </a:lnTo>
                  <a:lnTo>
                    <a:pt x="2841130" y="200876"/>
                  </a:lnTo>
                  <a:lnTo>
                    <a:pt x="2841181" y="200228"/>
                  </a:lnTo>
                  <a:lnTo>
                    <a:pt x="2841181" y="198831"/>
                  </a:lnTo>
                  <a:lnTo>
                    <a:pt x="2841232" y="199530"/>
                  </a:lnTo>
                  <a:lnTo>
                    <a:pt x="2841232" y="197447"/>
                  </a:lnTo>
                  <a:lnTo>
                    <a:pt x="2841232" y="200228"/>
                  </a:lnTo>
                  <a:lnTo>
                    <a:pt x="2841283" y="200228"/>
                  </a:lnTo>
                  <a:lnTo>
                    <a:pt x="2841283" y="199530"/>
                  </a:lnTo>
                  <a:lnTo>
                    <a:pt x="2841283" y="200228"/>
                  </a:lnTo>
                  <a:lnTo>
                    <a:pt x="2841384" y="200228"/>
                  </a:lnTo>
                  <a:lnTo>
                    <a:pt x="2841384" y="199530"/>
                  </a:lnTo>
                  <a:lnTo>
                    <a:pt x="2841384" y="200228"/>
                  </a:lnTo>
                  <a:lnTo>
                    <a:pt x="2841435" y="200228"/>
                  </a:lnTo>
                  <a:lnTo>
                    <a:pt x="2841435" y="199530"/>
                  </a:lnTo>
                  <a:lnTo>
                    <a:pt x="2841435" y="200228"/>
                  </a:lnTo>
                  <a:lnTo>
                    <a:pt x="2841486" y="200228"/>
                  </a:lnTo>
                  <a:lnTo>
                    <a:pt x="2841486" y="200876"/>
                  </a:lnTo>
                  <a:lnTo>
                    <a:pt x="2841486" y="200228"/>
                  </a:lnTo>
                  <a:lnTo>
                    <a:pt x="2841486" y="200876"/>
                  </a:lnTo>
                  <a:lnTo>
                    <a:pt x="2841486" y="200228"/>
                  </a:lnTo>
                  <a:lnTo>
                    <a:pt x="2841486" y="200876"/>
                  </a:lnTo>
                  <a:lnTo>
                    <a:pt x="2841587" y="200876"/>
                  </a:lnTo>
                  <a:lnTo>
                    <a:pt x="2841587" y="200228"/>
                  </a:lnTo>
                  <a:lnTo>
                    <a:pt x="2841587" y="200876"/>
                  </a:lnTo>
                  <a:lnTo>
                    <a:pt x="2841587" y="200228"/>
                  </a:lnTo>
                  <a:lnTo>
                    <a:pt x="2841587" y="200876"/>
                  </a:lnTo>
                  <a:lnTo>
                    <a:pt x="2841626" y="200876"/>
                  </a:lnTo>
                  <a:lnTo>
                    <a:pt x="2841626" y="199530"/>
                  </a:lnTo>
                  <a:lnTo>
                    <a:pt x="2841626" y="200228"/>
                  </a:lnTo>
                  <a:lnTo>
                    <a:pt x="2841626" y="199530"/>
                  </a:lnTo>
                  <a:lnTo>
                    <a:pt x="2841676" y="200228"/>
                  </a:lnTo>
                  <a:lnTo>
                    <a:pt x="2841676" y="199530"/>
                  </a:lnTo>
                  <a:lnTo>
                    <a:pt x="2841676" y="202260"/>
                  </a:lnTo>
                  <a:lnTo>
                    <a:pt x="2841676" y="199530"/>
                  </a:lnTo>
                  <a:lnTo>
                    <a:pt x="2841727" y="199530"/>
                  </a:lnTo>
                  <a:lnTo>
                    <a:pt x="2841727" y="203594"/>
                  </a:lnTo>
                  <a:lnTo>
                    <a:pt x="2841727" y="200228"/>
                  </a:lnTo>
                  <a:lnTo>
                    <a:pt x="2841829" y="200228"/>
                  </a:lnTo>
                  <a:lnTo>
                    <a:pt x="2841829" y="202959"/>
                  </a:lnTo>
                  <a:lnTo>
                    <a:pt x="2841829" y="200876"/>
                  </a:lnTo>
                  <a:lnTo>
                    <a:pt x="2841880" y="200876"/>
                  </a:lnTo>
                  <a:lnTo>
                    <a:pt x="2841880" y="202260"/>
                  </a:lnTo>
                  <a:lnTo>
                    <a:pt x="2841880" y="200876"/>
                  </a:lnTo>
                  <a:lnTo>
                    <a:pt x="2841880" y="202260"/>
                  </a:lnTo>
                  <a:lnTo>
                    <a:pt x="2841880" y="200876"/>
                  </a:lnTo>
                  <a:lnTo>
                    <a:pt x="2841930" y="200876"/>
                  </a:lnTo>
                  <a:lnTo>
                    <a:pt x="2841930" y="202260"/>
                  </a:lnTo>
                  <a:lnTo>
                    <a:pt x="2841930" y="200876"/>
                  </a:lnTo>
                  <a:lnTo>
                    <a:pt x="2841930" y="202260"/>
                  </a:lnTo>
                  <a:lnTo>
                    <a:pt x="2841930" y="200876"/>
                  </a:lnTo>
                  <a:lnTo>
                    <a:pt x="2842032" y="200876"/>
                  </a:lnTo>
                  <a:lnTo>
                    <a:pt x="2842032" y="202260"/>
                  </a:lnTo>
                  <a:lnTo>
                    <a:pt x="2842032" y="200876"/>
                  </a:lnTo>
                  <a:lnTo>
                    <a:pt x="2842032" y="202260"/>
                  </a:lnTo>
                  <a:lnTo>
                    <a:pt x="2842032" y="200876"/>
                  </a:lnTo>
                  <a:lnTo>
                    <a:pt x="2842032" y="202260"/>
                  </a:lnTo>
                  <a:lnTo>
                    <a:pt x="2842032" y="200876"/>
                  </a:lnTo>
                  <a:lnTo>
                    <a:pt x="2842032" y="202260"/>
                  </a:lnTo>
                  <a:lnTo>
                    <a:pt x="2842083" y="200876"/>
                  </a:lnTo>
                  <a:lnTo>
                    <a:pt x="2842083" y="202260"/>
                  </a:lnTo>
                  <a:lnTo>
                    <a:pt x="2842083" y="200228"/>
                  </a:lnTo>
                  <a:lnTo>
                    <a:pt x="2842133" y="200228"/>
                  </a:lnTo>
                  <a:lnTo>
                    <a:pt x="2842133" y="199530"/>
                  </a:lnTo>
                  <a:lnTo>
                    <a:pt x="2842133" y="200228"/>
                  </a:lnTo>
                  <a:lnTo>
                    <a:pt x="2842133" y="199530"/>
                  </a:lnTo>
                  <a:lnTo>
                    <a:pt x="2842133" y="200228"/>
                  </a:lnTo>
                  <a:lnTo>
                    <a:pt x="2842133" y="198831"/>
                  </a:lnTo>
                  <a:lnTo>
                    <a:pt x="2842133" y="199530"/>
                  </a:lnTo>
                  <a:lnTo>
                    <a:pt x="2842172" y="198831"/>
                  </a:lnTo>
                  <a:lnTo>
                    <a:pt x="2842172" y="200228"/>
                  </a:lnTo>
                  <a:lnTo>
                    <a:pt x="2842172" y="199530"/>
                  </a:lnTo>
                  <a:lnTo>
                    <a:pt x="2842172" y="200228"/>
                  </a:lnTo>
                  <a:lnTo>
                    <a:pt x="2842172" y="199530"/>
                  </a:lnTo>
                  <a:lnTo>
                    <a:pt x="2842273" y="199530"/>
                  </a:lnTo>
                  <a:lnTo>
                    <a:pt x="2842273" y="198831"/>
                  </a:lnTo>
                  <a:lnTo>
                    <a:pt x="2842273" y="202260"/>
                  </a:lnTo>
                  <a:lnTo>
                    <a:pt x="2842273" y="200228"/>
                  </a:lnTo>
                  <a:lnTo>
                    <a:pt x="2842273" y="200876"/>
                  </a:lnTo>
                  <a:lnTo>
                    <a:pt x="2842324" y="200876"/>
                  </a:lnTo>
                  <a:lnTo>
                    <a:pt x="2842324" y="200228"/>
                  </a:lnTo>
                  <a:lnTo>
                    <a:pt x="2842324" y="202260"/>
                  </a:lnTo>
                  <a:lnTo>
                    <a:pt x="2842324" y="200876"/>
                  </a:lnTo>
                  <a:lnTo>
                    <a:pt x="2842324" y="202260"/>
                  </a:lnTo>
                  <a:lnTo>
                    <a:pt x="2842324" y="200876"/>
                  </a:lnTo>
                  <a:lnTo>
                    <a:pt x="2842375" y="200876"/>
                  </a:lnTo>
                  <a:lnTo>
                    <a:pt x="2842375" y="202959"/>
                  </a:lnTo>
                  <a:lnTo>
                    <a:pt x="2842476" y="202959"/>
                  </a:lnTo>
                  <a:lnTo>
                    <a:pt x="2842476" y="200876"/>
                  </a:lnTo>
                  <a:lnTo>
                    <a:pt x="2842476" y="202260"/>
                  </a:lnTo>
                  <a:lnTo>
                    <a:pt x="2842476" y="200876"/>
                  </a:lnTo>
                  <a:lnTo>
                    <a:pt x="2842476" y="202260"/>
                  </a:lnTo>
                  <a:lnTo>
                    <a:pt x="2842476" y="200876"/>
                  </a:lnTo>
                  <a:lnTo>
                    <a:pt x="2842476" y="202260"/>
                  </a:lnTo>
                  <a:lnTo>
                    <a:pt x="2842527" y="202260"/>
                  </a:lnTo>
                  <a:lnTo>
                    <a:pt x="2842527" y="200876"/>
                  </a:lnTo>
                  <a:lnTo>
                    <a:pt x="2842527" y="202260"/>
                  </a:lnTo>
                  <a:lnTo>
                    <a:pt x="2842527" y="200876"/>
                  </a:lnTo>
                  <a:lnTo>
                    <a:pt x="2842578" y="200876"/>
                  </a:lnTo>
                  <a:lnTo>
                    <a:pt x="2842578" y="200228"/>
                  </a:lnTo>
                  <a:lnTo>
                    <a:pt x="2842578" y="200876"/>
                  </a:lnTo>
                  <a:lnTo>
                    <a:pt x="2842578" y="199530"/>
                  </a:lnTo>
                  <a:lnTo>
                    <a:pt x="2842578" y="200228"/>
                  </a:lnTo>
                  <a:lnTo>
                    <a:pt x="2842629" y="199530"/>
                  </a:lnTo>
                  <a:lnTo>
                    <a:pt x="2842629" y="200228"/>
                  </a:lnTo>
                  <a:lnTo>
                    <a:pt x="2842629" y="196799"/>
                  </a:lnTo>
                  <a:lnTo>
                    <a:pt x="2842718" y="196799"/>
                  </a:lnTo>
                  <a:lnTo>
                    <a:pt x="2842718" y="199530"/>
                  </a:lnTo>
                  <a:lnTo>
                    <a:pt x="2842718" y="197447"/>
                  </a:lnTo>
                  <a:lnTo>
                    <a:pt x="2842718" y="199530"/>
                  </a:lnTo>
                  <a:lnTo>
                    <a:pt x="2842769" y="200228"/>
                  </a:lnTo>
                  <a:lnTo>
                    <a:pt x="2842769" y="200876"/>
                  </a:lnTo>
                  <a:lnTo>
                    <a:pt x="2842769" y="200228"/>
                  </a:lnTo>
                  <a:lnTo>
                    <a:pt x="2842769" y="200876"/>
                  </a:lnTo>
                  <a:lnTo>
                    <a:pt x="2842769" y="199530"/>
                  </a:lnTo>
                  <a:lnTo>
                    <a:pt x="2842769" y="200876"/>
                  </a:lnTo>
                  <a:lnTo>
                    <a:pt x="2842819" y="200876"/>
                  </a:lnTo>
                  <a:lnTo>
                    <a:pt x="2842819" y="200228"/>
                  </a:lnTo>
                  <a:lnTo>
                    <a:pt x="2842819" y="200876"/>
                  </a:lnTo>
                  <a:lnTo>
                    <a:pt x="2842870" y="200876"/>
                  </a:lnTo>
                  <a:lnTo>
                    <a:pt x="2842870" y="202260"/>
                  </a:lnTo>
                  <a:lnTo>
                    <a:pt x="2842870" y="200876"/>
                  </a:lnTo>
                  <a:lnTo>
                    <a:pt x="2842870" y="202260"/>
                  </a:lnTo>
                  <a:lnTo>
                    <a:pt x="2842870" y="200876"/>
                  </a:lnTo>
                  <a:lnTo>
                    <a:pt x="2842870" y="202260"/>
                  </a:lnTo>
                  <a:lnTo>
                    <a:pt x="2842972" y="202260"/>
                  </a:lnTo>
                  <a:lnTo>
                    <a:pt x="2842972" y="200876"/>
                  </a:lnTo>
                  <a:lnTo>
                    <a:pt x="2842972" y="202260"/>
                  </a:lnTo>
                  <a:lnTo>
                    <a:pt x="2842972" y="200876"/>
                  </a:lnTo>
                  <a:lnTo>
                    <a:pt x="2842972" y="202260"/>
                  </a:lnTo>
                  <a:lnTo>
                    <a:pt x="2843022" y="202260"/>
                  </a:lnTo>
                  <a:lnTo>
                    <a:pt x="2843022" y="200876"/>
                  </a:lnTo>
                  <a:lnTo>
                    <a:pt x="2843022" y="202260"/>
                  </a:lnTo>
                  <a:lnTo>
                    <a:pt x="2843022" y="200876"/>
                  </a:lnTo>
                  <a:lnTo>
                    <a:pt x="2843022" y="202260"/>
                  </a:lnTo>
                  <a:lnTo>
                    <a:pt x="2843073" y="202260"/>
                  </a:lnTo>
                  <a:lnTo>
                    <a:pt x="2843073" y="200228"/>
                  </a:lnTo>
                  <a:lnTo>
                    <a:pt x="2843073" y="200876"/>
                  </a:lnTo>
                  <a:lnTo>
                    <a:pt x="2843073" y="199530"/>
                  </a:lnTo>
                  <a:lnTo>
                    <a:pt x="2843073" y="200228"/>
                  </a:lnTo>
                  <a:lnTo>
                    <a:pt x="2843175" y="199530"/>
                  </a:lnTo>
                  <a:lnTo>
                    <a:pt x="2843175" y="200228"/>
                  </a:lnTo>
                  <a:lnTo>
                    <a:pt x="2843175" y="198831"/>
                  </a:lnTo>
                  <a:lnTo>
                    <a:pt x="2843175" y="199530"/>
                  </a:lnTo>
                  <a:lnTo>
                    <a:pt x="2843175" y="196799"/>
                  </a:lnTo>
                  <a:lnTo>
                    <a:pt x="2843213" y="196799"/>
                  </a:lnTo>
                  <a:lnTo>
                    <a:pt x="2843213" y="199530"/>
                  </a:lnTo>
                  <a:lnTo>
                    <a:pt x="2843213" y="196799"/>
                  </a:lnTo>
                  <a:lnTo>
                    <a:pt x="2843213" y="198831"/>
                  </a:lnTo>
                  <a:lnTo>
                    <a:pt x="2843264" y="198831"/>
                  </a:lnTo>
                  <a:lnTo>
                    <a:pt x="2843264" y="199530"/>
                  </a:lnTo>
                  <a:lnTo>
                    <a:pt x="2843264" y="198831"/>
                  </a:lnTo>
                  <a:lnTo>
                    <a:pt x="2843264" y="199530"/>
                  </a:lnTo>
                  <a:lnTo>
                    <a:pt x="2843264" y="198831"/>
                  </a:lnTo>
                  <a:lnTo>
                    <a:pt x="2843264" y="200228"/>
                  </a:lnTo>
                  <a:lnTo>
                    <a:pt x="2843315" y="200228"/>
                  </a:lnTo>
                  <a:lnTo>
                    <a:pt x="2843315" y="199530"/>
                  </a:lnTo>
                  <a:lnTo>
                    <a:pt x="2843315" y="200228"/>
                  </a:lnTo>
                  <a:lnTo>
                    <a:pt x="2843315" y="199530"/>
                  </a:lnTo>
                  <a:lnTo>
                    <a:pt x="2843315" y="200228"/>
                  </a:lnTo>
                  <a:lnTo>
                    <a:pt x="2843416" y="200228"/>
                  </a:lnTo>
                  <a:lnTo>
                    <a:pt x="2843416" y="200876"/>
                  </a:lnTo>
                  <a:lnTo>
                    <a:pt x="2843467" y="200876"/>
                  </a:lnTo>
                  <a:lnTo>
                    <a:pt x="2843467" y="202260"/>
                  </a:lnTo>
                  <a:lnTo>
                    <a:pt x="2843467" y="200876"/>
                  </a:lnTo>
                  <a:lnTo>
                    <a:pt x="2843467" y="202260"/>
                  </a:lnTo>
                  <a:lnTo>
                    <a:pt x="2843467" y="200876"/>
                  </a:lnTo>
                  <a:lnTo>
                    <a:pt x="2843467" y="202260"/>
                  </a:lnTo>
                  <a:lnTo>
                    <a:pt x="2843467" y="200876"/>
                  </a:lnTo>
                  <a:lnTo>
                    <a:pt x="2843518" y="200876"/>
                  </a:lnTo>
                  <a:lnTo>
                    <a:pt x="2843518" y="202260"/>
                  </a:lnTo>
                  <a:lnTo>
                    <a:pt x="2843518" y="200876"/>
                  </a:lnTo>
                  <a:lnTo>
                    <a:pt x="2843518" y="202260"/>
                  </a:lnTo>
                  <a:lnTo>
                    <a:pt x="2843619" y="200876"/>
                  </a:lnTo>
                  <a:lnTo>
                    <a:pt x="2843619" y="200228"/>
                  </a:lnTo>
                  <a:lnTo>
                    <a:pt x="2843670" y="199530"/>
                  </a:lnTo>
                  <a:lnTo>
                    <a:pt x="2843670" y="200228"/>
                  </a:lnTo>
                  <a:lnTo>
                    <a:pt x="2843670" y="197447"/>
                  </a:lnTo>
                  <a:lnTo>
                    <a:pt x="2843670" y="198831"/>
                  </a:lnTo>
                  <a:lnTo>
                    <a:pt x="2843670" y="197447"/>
                  </a:lnTo>
                  <a:lnTo>
                    <a:pt x="2843721" y="197447"/>
                  </a:lnTo>
                  <a:lnTo>
                    <a:pt x="2843721" y="199530"/>
                  </a:lnTo>
                  <a:lnTo>
                    <a:pt x="2843721" y="197447"/>
                  </a:lnTo>
                  <a:lnTo>
                    <a:pt x="2843721" y="200228"/>
                  </a:lnTo>
                  <a:lnTo>
                    <a:pt x="2843759" y="199530"/>
                  </a:lnTo>
                  <a:lnTo>
                    <a:pt x="2843759" y="198831"/>
                  </a:lnTo>
                  <a:lnTo>
                    <a:pt x="2843759" y="199530"/>
                  </a:lnTo>
                  <a:lnTo>
                    <a:pt x="2843861" y="200228"/>
                  </a:lnTo>
                  <a:lnTo>
                    <a:pt x="2843861" y="199530"/>
                  </a:lnTo>
                  <a:lnTo>
                    <a:pt x="2843861" y="200228"/>
                  </a:lnTo>
                  <a:lnTo>
                    <a:pt x="2843861" y="198831"/>
                  </a:lnTo>
                  <a:lnTo>
                    <a:pt x="2843861" y="200228"/>
                  </a:lnTo>
                  <a:lnTo>
                    <a:pt x="2843912" y="200228"/>
                  </a:lnTo>
                  <a:lnTo>
                    <a:pt x="2843912" y="199530"/>
                  </a:lnTo>
                  <a:lnTo>
                    <a:pt x="2843912" y="200228"/>
                  </a:lnTo>
                  <a:lnTo>
                    <a:pt x="2843912" y="199530"/>
                  </a:lnTo>
                  <a:lnTo>
                    <a:pt x="2843912" y="200876"/>
                  </a:lnTo>
                  <a:lnTo>
                    <a:pt x="2843962" y="200876"/>
                  </a:lnTo>
                  <a:lnTo>
                    <a:pt x="2843962" y="200228"/>
                  </a:lnTo>
                  <a:lnTo>
                    <a:pt x="2843962" y="202260"/>
                  </a:lnTo>
                  <a:lnTo>
                    <a:pt x="2844064" y="202260"/>
                  </a:lnTo>
                  <a:lnTo>
                    <a:pt x="2844064" y="200876"/>
                  </a:lnTo>
                  <a:lnTo>
                    <a:pt x="2844064" y="202260"/>
                  </a:lnTo>
                  <a:lnTo>
                    <a:pt x="2844064" y="200876"/>
                  </a:lnTo>
                  <a:lnTo>
                    <a:pt x="2844115" y="200876"/>
                  </a:lnTo>
                  <a:lnTo>
                    <a:pt x="2844115" y="200228"/>
                  </a:lnTo>
                  <a:lnTo>
                    <a:pt x="2844115" y="200876"/>
                  </a:lnTo>
                  <a:lnTo>
                    <a:pt x="2844115" y="199530"/>
                  </a:lnTo>
                  <a:lnTo>
                    <a:pt x="2844165" y="199530"/>
                  </a:lnTo>
                  <a:lnTo>
                    <a:pt x="2844165" y="197447"/>
                  </a:lnTo>
                  <a:lnTo>
                    <a:pt x="2844165" y="198831"/>
                  </a:lnTo>
                  <a:lnTo>
                    <a:pt x="2844165" y="197447"/>
                  </a:lnTo>
                  <a:lnTo>
                    <a:pt x="2844165" y="199530"/>
                  </a:lnTo>
                  <a:lnTo>
                    <a:pt x="2844216" y="199530"/>
                  </a:lnTo>
                  <a:lnTo>
                    <a:pt x="2844216" y="197447"/>
                  </a:lnTo>
                  <a:lnTo>
                    <a:pt x="2844216" y="200228"/>
                  </a:lnTo>
                  <a:lnTo>
                    <a:pt x="2844216" y="199530"/>
                  </a:lnTo>
                  <a:lnTo>
                    <a:pt x="2844305" y="199530"/>
                  </a:lnTo>
                  <a:lnTo>
                    <a:pt x="2844305" y="200228"/>
                  </a:lnTo>
                  <a:lnTo>
                    <a:pt x="2844305" y="198831"/>
                  </a:lnTo>
                  <a:lnTo>
                    <a:pt x="2844305" y="200228"/>
                  </a:lnTo>
                  <a:lnTo>
                    <a:pt x="2844305" y="199530"/>
                  </a:lnTo>
                  <a:lnTo>
                    <a:pt x="2844407" y="199530"/>
                  </a:lnTo>
                  <a:lnTo>
                    <a:pt x="2844407" y="200228"/>
                  </a:lnTo>
                  <a:lnTo>
                    <a:pt x="2844407" y="199530"/>
                  </a:lnTo>
                  <a:lnTo>
                    <a:pt x="2844407" y="200228"/>
                  </a:lnTo>
                  <a:lnTo>
                    <a:pt x="2844407" y="199530"/>
                  </a:lnTo>
                  <a:lnTo>
                    <a:pt x="2844407" y="200228"/>
                  </a:lnTo>
                  <a:lnTo>
                    <a:pt x="2844407" y="199530"/>
                  </a:lnTo>
                  <a:lnTo>
                    <a:pt x="2844407" y="200228"/>
                  </a:lnTo>
                  <a:lnTo>
                    <a:pt x="2844458" y="200228"/>
                  </a:lnTo>
                  <a:lnTo>
                    <a:pt x="2844458" y="200876"/>
                  </a:lnTo>
                  <a:lnTo>
                    <a:pt x="2844458" y="200228"/>
                  </a:lnTo>
                  <a:lnTo>
                    <a:pt x="2844458" y="200876"/>
                  </a:lnTo>
                  <a:lnTo>
                    <a:pt x="2844559" y="200228"/>
                  </a:lnTo>
                  <a:lnTo>
                    <a:pt x="2844559" y="200876"/>
                  </a:lnTo>
                  <a:lnTo>
                    <a:pt x="2844559" y="199530"/>
                  </a:lnTo>
                  <a:lnTo>
                    <a:pt x="2844610" y="200228"/>
                  </a:lnTo>
                  <a:lnTo>
                    <a:pt x="2844610" y="197447"/>
                  </a:lnTo>
                  <a:lnTo>
                    <a:pt x="2844610" y="198831"/>
                  </a:lnTo>
                  <a:lnTo>
                    <a:pt x="2844661" y="198831"/>
                  </a:lnTo>
                  <a:lnTo>
                    <a:pt x="2844661" y="200228"/>
                  </a:lnTo>
                  <a:lnTo>
                    <a:pt x="2844661" y="198831"/>
                  </a:lnTo>
                  <a:lnTo>
                    <a:pt x="2844762" y="198831"/>
                  </a:lnTo>
                  <a:lnTo>
                    <a:pt x="2844762" y="200876"/>
                  </a:lnTo>
                  <a:lnTo>
                    <a:pt x="2844762" y="199530"/>
                  </a:lnTo>
                  <a:lnTo>
                    <a:pt x="2844762" y="200228"/>
                  </a:lnTo>
                  <a:lnTo>
                    <a:pt x="2844801" y="200228"/>
                  </a:lnTo>
                  <a:lnTo>
                    <a:pt x="2844801" y="202260"/>
                  </a:lnTo>
                  <a:lnTo>
                    <a:pt x="2844801" y="200228"/>
                  </a:lnTo>
                  <a:lnTo>
                    <a:pt x="2844801" y="200876"/>
                  </a:lnTo>
                  <a:lnTo>
                    <a:pt x="2844801" y="200228"/>
                  </a:lnTo>
                  <a:lnTo>
                    <a:pt x="2844801" y="200876"/>
                  </a:lnTo>
                  <a:lnTo>
                    <a:pt x="2844851" y="200876"/>
                  </a:lnTo>
                  <a:lnTo>
                    <a:pt x="2844851" y="200228"/>
                  </a:lnTo>
                  <a:lnTo>
                    <a:pt x="2844851" y="200876"/>
                  </a:lnTo>
                  <a:lnTo>
                    <a:pt x="2844851" y="200228"/>
                  </a:lnTo>
                  <a:lnTo>
                    <a:pt x="2844851" y="200876"/>
                  </a:lnTo>
                  <a:lnTo>
                    <a:pt x="2844902" y="200876"/>
                  </a:lnTo>
                  <a:lnTo>
                    <a:pt x="2844902" y="200228"/>
                  </a:lnTo>
                  <a:lnTo>
                    <a:pt x="2844902" y="202260"/>
                  </a:lnTo>
                  <a:lnTo>
                    <a:pt x="2844902" y="200876"/>
                  </a:lnTo>
                  <a:lnTo>
                    <a:pt x="2844902" y="202260"/>
                  </a:lnTo>
                  <a:lnTo>
                    <a:pt x="2845004" y="202260"/>
                  </a:lnTo>
                  <a:lnTo>
                    <a:pt x="2845004" y="200876"/>
                  </a:lnTo>
                  <a:lnTo>
                    <a:pt x="2845055" y="200876"/>
                  </a:lnTo>
                  <a:lnTo>
                    <a:pt x="2845055" y="199530"/>
                  </a:lnTo>
                  <a:lnTo>
                    <a:pt x="2845105" y="199530"/>
                  </a:lnTo>
                  <a:lnTo>
                    <a:pt x="2845105" y="200228"/>
                  </a:lnTo>
                  <a:lnTo>
                    <a:pt x="2845105" y="199530"/>
                  </a:lnTo>
                  <a:lnTo>
                    <a:pt x="2845105" y="200876"/>
                  </a:lnTo>
                  <a:lnTo>
                    <a:pt x="2845207" y="200876"/>
                  </a:lnTo>
                  <a:lnTo>
                    <a:pt x="2845207" y="199530"/>
                  </a:lnTo>
                  <a:lnTo>
                    <a:pt x="2845207" y="203594"/>
                  </a:lnTo>
                  <a:lnTo>
                    <a:pt x="2845207" y="202959"/>
                  </a:lnTo>
                  <a:lnTo>
                    <a:pt x="2845258" y="202959"/>
                  </a:lnTo>
                  <a:lnTo>
                    <a:pt x="2845258" y="200876"/>
                  </a:lnTo>
                  <a:lnTo>
                    <a:pt x="2845258" y="203594"/>
                  </a:lnTo>
                  <a:lnTo>
                    <a:pt x="2845258" y="202959"/>
                  </a:lnTo>
                  <a:lnTo>
                    <a:pt x="2845308" y="202260"/>
                  </a:lnTo>
                  <a:lnTo>
                    <a:pt x="2845308" y="202959"/>
                  </a:lnTo>
                  <a:lnTo>
                    <a:pt x="2845308" y="202260"/>
                  </a:lnTo>
                  <a:lnTo>
                    <a:pt x="2845347" y="202959"/>
                  </a:lnTo>
                  <a:lnTo>
                    <a:pt x="2845347" y="202260"/>
                  </a:lnTo>
                  <a:lnTo>
                    <a:pt x="2845347" y="202959"/>
                  </a:lnTo>
                  <a:lnTo>
                    <a:pt x="2845347" y="202260"/>
                  </a:lnTo>
                  <a:lnTo>
                    <a:pt x="2845347" y="202959"/>
                  </a:lnTo>
                  <a:lnTo>
                    <a:pt x="2845448" y="202959"/>
                  </a:lnTo>
                  <a:lnTo>
                    <a:pt x="2845448" y="202260"/>
                  </a:lnTo>
                  <a:lnTo>
                    <a:pt x="2845448" y="202959"/>
                  </a:lnTo>
                  <a:lnTo>
                    <a:pt x="2845448" y="202260"/>
                  </a:lnTo>
                  <a:lnTo>
                    <a:pt x="2845448" y="202959"/>
                  </a:lnTo>
                  <a:lnTo>
                    <a:pt x="2845448" y="202260"/>
                  </a:lnTo>
                  <a:lnTo>
                    <a:pt x="2845499" y="202260"/>
                  </a:lnTo>
                  <a:lnTo>
                    <a:pt x="2845499" y="200876"/>
                  </a:lnTo>
                  <a:lnTo>
                    <a:pt x="2845550" y="200876"/>
                  </a:lnTo>
                  <a:lnTo>
                    <a:pt x="2845550" y="199530"/>
                  </a:lnTo>
                  <a:lnTo>
                    <a:pt x="2845550" y="200228"/>
                  </a:lnTo>
                  <a:lnTo>
                    <a:pt x="2845550" y="199530"/>
                  </a:lnTo>
                  <a:lnTo>
                    <a:pt x="2845550" y="200228"/>
                  </a:lnTo>
                  <a:lnTo>
                    <a:pt x="2845550" y="198831"/>
                  </a:lnTo>
                  <a:lnTo>
                    <a:pt x="2845651" y="198831"/>
                  </a:lnTo>
                  <a:lnTo>
                    <a:pt x="2845651" y="197447"/>
                  </a:lnTo>
                  <a:lnTo>
                    <a:pt x="2845651" y="198831"/>
                  </a:lnTo>
                  <a:lnTo>
                    <a:pt x="2845651" y="197447"/>
                  </a:lnTo>
                  <a:lnTo>
                    <a:pt x="2845651" y="199530"/>
                  </a:lnTo>
                  <a:lnTo>
                    <a:pt x="2845702" y="198831"/>
                  </a:lnTo>
                  <a:lnTo>
                    <a:pt x="2845702" y="197447"/>
                  </a:lnTo>
                  <a:lnTo>
                    <a:pt x="2845702" y="200228"/>
                  </a:lnTo>
                  <a:lnTo>
                    <a:pt x="2845753" y="200228"/>
                  </a:lnTo>
                  <a:lnTo>
                    <a:pt x="2845753" y="199530"/>
                  </a:lnTo>
                  <a:lnTo>
                    <a:pt x="2845753" y="200228"/>
                  </a:lnTo>
                  <a:lnTo>
                    <a:pt x="2845753" y="199530"/>
                  </a:lnTo>
                  <a:lnTo>
                    <a:pt x="2845753" y="200876"/>
                  </a:lnTo>
                  <a:lnTo>
                    <a:pt x="2845753" y="200228"/>
                  </a:lnTo>
                  <a:lnTo>
                    <a:pt x="2845753" y="200876"/>
                  </a:lnTo>
                  <a:lnTo>
                    <a:pt x="2845753" y="200228"/>
                  </a:lnTo>
                  <a:lnTo>
                    <a:pt x="2845753" y="200876"/>
                  </a:lnTo>
                  <a:lnTo>
                    <a:pt x="2845804" y="200876"/>
                  </a:lnTo>
                  <a:lnTo>
                    <a:pt x="2845804" y="202260"/>
                  </a:lnTo>
                  <a:lnTo>
                    <a:pt x="2845804" y="200876"/>
                  </a:lnTo>
                  <a:lnTo>
                    <a:pt x="2845804" y="202260"/>
                  </a:lnTo>
                  <a:lnTo>
                    <a:pt x="2845804" y="200876"/>
                  </a:lnTo>
                  <a:lnTo>
                    <a:pt x="2845893" y="200876"/>
                  </a:lnTo>
                  <a:lnTo>
                    <a:pt x="2845893" y="202260"/>
                  </a:lnTo>
                  <a:lnTo>
                    <a:pt x="2845994" y="202260"/>
                  </a:lnTo>
                  <a:lnTo>
                    <a:pt x="2845994" y="200876"/>
                  </a:lnTo>
                  <a:lnTo>
                    <a:pt x="2846045" y="200876"/>
                  </a:lnTo>
                  <a:lnTo>
                    <a:pt x="2846045" y="198831"/>
                  </a:lnTo>
                  <a:lnTo>
                    <a:pt x="2846147" y="198831"/>
                  </a:lnTo>
                  <a:lnTo>
                    <a:pt x="2846147" y="200876"/>
                  </a:lnTo>
                  <a:lnTo>
                    <a:pt x="2846147" y="198831"/>
                  </a:lnTo>
                  <a:lnTo>
                    <a:pt x="2846197" y="199530"/>
                  </a:lnTo>
                  <a:lnTo>
                    <a:pt x="2846197" y="202260"/>
                  </a:lnTo>
                  <a:lnTo>
                    <a:pt x="2846197" y="200228"/>
                  </a:lnTo>
                  <a:lnTo>
                    <a:pt x="2846197" y="200876"/>
                  </a:lnTo>
                  <a:lnTo>
                    <a:pt x="2846248" y="200876"/>
                  </a:lnTo>
                  <a:lnTo>
                    <a:pt x="2846248" y="202260"/>
                  </a:lnTo>
                  <a:lnTo>
                    <a:pt x="2846248" y="200228"/>
                  </a:lnTo>
                  <a:lnTo>
                    <a:pt x="2846248" y="200876"/>
                  </a:lnTo>
                  <a:lnTo>
                    <a:pt x="2846350" y="200876"/>
                  </a:lnTo>
                  <a:lnTo>
                    <a:pt x="2846350" y="202260"/>
                  </a:lnTo>
                  <a:lnTo>
                    <a:pt x="2846350" y="200876"/>
                  </a:lnTo>
                  <a:lnTo>
                    <a:pt x="2846350" y="202260"/>
                  </a:lnTo>
                  <a:lnTo>
                    <a:pt x="2846350" y="200228"/>
                  </a:lnTo>
                  <a:lnTo>
                    <a:pt x="2846350" y="200876"/>
                  </a:lnTo>
                  <a:lnTo>
                    <a:pt x="2846388" y="200876"/>
                  </a:lnTo>
                  <a:lnTo>
                    <a:pt x="2846388" y="202260"/>
                  </a:lnTo>
                  <a:lnTo>
                    <a:pt x="2846388" y="200876"/>
                  </a:lnTo>
                  <a:lnTo>
                    <a:pt x="2846388" y="202260"/>
                  </a:lnTo>
                  <a:lnTo>
                    <a:pt x="2846439" y="202959"/>
                  </a:lnTo>
                  <a:lnTo>
                    <a:pt x="2846439" y="200876"/>
                  </a:lnTo>
                  <a:lnTo>
                    <a:pt x="2846439" y="202959"/>
                  </a:lnTo>
                  <a:lnTo>
                    <a:pt x="2846439" y="202260"/>
                  </a:lnTo>
                  <a:lnTo>
                    <a:pt x="2846490" y="202260"/>
                  </a:lnTo>
                  <a:lnTo>
                    <a:pt x="2846490" y="200228"/>
                  </a:lnTo>
                  <a:lnTo>
                    <a:pt x="2846490" y="200876"/>
                  </a:lnTo>
                  <a:lnTo>
                    <a:pt x="2846490" y="200228"/>
                  </a:lnTo>
                  <a:lnTo>
                    <a:pt x="2846591" y="200228"/>
                  </a:lnTo>
                  <a:lnTo>
                    <a:pt x="2846591" y="199530"/>
                  </a:lnTo>
                  <a:lnTo>
                    <a:pt x="2846591" y="200228"/>
                  </a:lnTo>
                  <a:lnTo>
                    <a:pt x="2846591" y="196799"/>
                  </a:lnTo>
                  <a:lnTo>
                    <a:pt x="2846642" y="196799"/>
                  </a:lnTo>
                  <a:lnTo>
                    <a:pt x="2846642" y="198831"/>
                  </a:lnTo>
                  <a:lnTo>
                    <a:pt x="2846642" y="197447"/>
                  </a:lnTo>
                  <a:lnTo>
                    <a:pt x="2846642" y="198831"/>
                  </a:lnTo>
                  <a:lnTo>
                    <a:pt x="2846693" y="198831"/>
                  </a:lnTo>
                  <a:lnTo>
                    <a:pt x="2846693" y="200228"/>
                  </a:lnTo>
                  <a:lnTo>
                    <a:pt x="2846693" y="199530"/>
                  </a:lnTo>
                  <a:lnTo>
                    <a:pt x="2846693" y="200228"/>
                  </a:lnTo>
                  <a:lnTo>
                    <a:pt x="2846693" y="199530"/>
                  </a:lnTo>
                  <a:lnTo>
                    <a:pt x="2846693" y="200228"/>
                  </a:lnTo>
                  <a:lnTo>
                    <a:pt x="2846693" y="199530"/>
                  </a:lnTo>
                  <a:lnTo>
                    <a:pt x="2846693" y="200228"/>
                  </a:lnTo>
                  <a:lnTo>
                    <a:pt x="2846794" y="199530"/>
                  </a:lnTo>
                  <a:lnTo>
                    <a:pt x="2846794" y="200228"/>
                  </a:lnTo>
                  <a:lnTo>
                    <a:pt x="2846794" y="199530"/>
                  </a:lnTo>
                  <a:lnTo>
                    <a:pt x="2846794" y="200228"/>
                  </a:lnTo>
                  <a:lnTo>
                    <a:pt x="2846794" y="199530"/>
                  </a:lnTo>
                  <a:lnTo>
                    <a:pt x="2846794" y="200228"/>
                  </a:lnTo>
                  <a:lnTo>
                    <a:pt x="2846794" y="199530"/>
                  </a:lnTo>
                  <a:lnTo>
                    <a:pt x="2846794" y="200228"/>
                  </a:lnTo>
                  <a:lnTo>
                    <a:pt x="2846794" y="199530"/>
                  </a:lnTo>
                  <a:lnTo>
                    <a:pt x="2846794" y="200228"/>
                  </a:lnTo>
                  <a:lnTo>
                    <a:pt x="2846845" y="200876"/>
                  </a:lnTo>
                  <a:lnTo>
                    <a:pt x="2846896" y="202260"/>
                  </a:lnTo>
                  <a:lnTo>
                    <a:pt x="2846896" y="200876"/>
                  </a:lnTo>
                  <a:lnTo>
                    <a:pt x="2846896" y="202260"/>
                  </a:lnTo>
                  <a:lnTo>
                    <a:pt x="2846896" y="200876"/>
                  </a:lnTo>
                  <a:lnTo>
                    <a:pt x="2846896" y="202260"/>
                  </a:lnTo>
                  <a:lnTo>
                    <a:pt x="2846934" y="202260"/>
                  </a:lnTo>
                  <a:lnTo>
                    <a:pt x="2846934" y="200876"/>
                  </a:lnTo>
                  <a:lnTo>
                    <a:pt x="2846934" y="202260"/>
                  </a:lnTo>
                  <a:lnTo>
                    <a:pt x="2846934" y="200876"/>
                  </a:lnTo>
                  <a:lnTo>
                    <a:pt x="2847036" y="200876"/>
                  </a:lnTo>
                  <a:lnTo>
                    <a:pt x="2847036" y="200228"/>
                  </a:lnTo>
                  <a:lnTo>
                    <a:pt x="2847036" y="200876"/>
                  </a:lnTo>
                  <a:lnTo>
                    <a:pt x="2847036" y="200228"/>
                  </a:lnTo>
                  <a:lnTo>
                    <a:pt x="2847036" y="200876"/>
                  </a:lnTo>
                  <a:lnTo>
                    <a:pt x="2847036" y="200228"/>
                  </a:lnTo>
                  <a:lnTo>
                    <a:pt x="2847087" y="200228"/>
                  </a:lnTo>
                  <a:lnTo>
                    <a:pt x="2847087" y="198831"/>
                  </a:lnTo>
                  <a:lnTo>
                    <a:pt x="2847137" y="198831"/>
                  </a:lnTo>
                  <a:lnTo>
                    <a:pt x="2847137" y="199530"/>
                  </a:lnTo>
                  <a:lnTo>
                    <a:pt x="2847137" y="197447"/>
                  </a:lnTo>
                  <a:lnTo>
                    <a:pt x="2847137" y="200228"/>
                  </a:lnTo>
                  <a:lnTo>
                    <a:pt x="2847239" y="200228"/>
                  </a:lnTo>
                  <a:lnTo>
                    <a:pt x="2847239" y="199530"/>
                  </a:lnTo>
                  <a:lnTo>
                    <a:pt x="2847239" y="200228"/>
                  </a:lnTo>
                  <a:lnTo>
                    <a:pt x="2847239" y="199530"/>
                  </a:lnTo>
                  <a:lnTo>
                    <a:pt x="2847239" y="200228"/>
                  </a:lnTo>
                  <a:lnTo>
                    <a:pt x="2847290" y="199530"/>
                  </a:lnTo>
                  <a:lnTo>
                    <a:pt x="2847290" y="198831"/>
                  </a:lnTo>
                  <a:lnTo>
                    <a:pt x="2847290" y="200228"/>
                  </a:lnTo>
                  <a:lnTo>
                    <a:pt x="2847290" y="199530"/>
                  </a:lnTo>
                  <a:lnTo>
                    <a:pt x="2847340" y="199530"/>
                  </a:lnTo>
                  <a:lnTo>
                    <a:pt x="2847340" y="200228"/>
                  </a:lnTo>
                  <a:lnTo>
                    <a:pt x="2847391" y="200228"/>
                  </a:lnTo>
                  <a:lnTo>
                    <a:pt x="2847391" y="200876"/>
                  </a:lnTo>
                  <a:lnTo>
                    <a:pt x="2847391" y="200228"/>
                  </a:lnTo>
                  <a:lnTo>
                    <a:pt x="2847480" y="200228"/>
                  </a:lnTo>
                  <a:lnTo>
                    <a:pt x="2847480" y="200876"/>
                  </a:lnTo>
                  <a:lnTo>
                    <a:pt x="2847480" y="200228"/>
                  </a:lnTo>
                  <a:lnTo>
                    <a:pt x="2847480" y="200876"/>
                  </a:lnTo>
                  <a:lnTo>
                    <a:pt x="2847480" y="200228"/>
                  </a:lnTo>
                  <a:lnTo>
                    <a:pt x="2847480" y="200876"/>
                  </a:lnTo>
                  <a:lnTo>
                    <a:pt x="2847480" y="200228"/>
                  </a:lnTo>
                  <a:lnTo>
                    <a:pt x="2847531" y="200228"/>
                  </a:lnTo>
                  <a:lnTo>
                    <a:pt x="2847531" y="199530"/>
                  </a:lnTo>
                  <a:lnTo>
                    <a:pt x="2847531" y="200228"/>
                  </a:lnTo>
                  <a:lnTo>
                    <a:pt x="2847531" y="199530"/>
                  </a:lnTo>
                  <a:lnTo>
                    <a:pt x="2847582" y="198831"/>
                  </a:lnTo>
                  <a:lnTo>
                    <a:pt x="2847582" y="199530"/>
                  </a:lnTo>
                  <a:lnTo>
                    <a:pt x="2847582" y="197447"/>
                  </a:lnTo>
                  <a:lnTo>
                    <a:pt x="2847582" y="199530"/>
                  </a:lnTo>
                  <a:lnTo>
                    <a:pt x="2847633" y="199530"/>
                  </a:lnTo>
                  <a:lnTo>
                    <a:pt x="2847633" y="197447"/>
                  </a:lnTo>
                  <a:lnTo>
                    <a:pt x="2847633" y="200228"/>
                  </a:lnTo>
                  <a:lnTo>
                    <a:pt x="2847734" y="200228"/>
                  </a:lnTo>
                  <a:lnTo>
                    <a:pt x="2847734" y="199530"/>
                  </a:lnTo>
                  <a:lnTo>
                    <a:pt x="2847734" y="200228"/>
                  </a:lnTo>
                  <a:lnTo>
                    <a:pt x="2847734" y="199530"/>
                  </a:lnTo>
                  <a:lnTo>
                    <a:pt x="2847734" y="200876"/>
                  </a:lnTo>
                  <a:lnTo>
                    <a:pt x="2847785" y="200228"/>
                  </a:lnTo>
                  <a:lnTo>
                    <a:pt x="2847785" y="199530"/>
                  </a:lnTo>
                  <a:lnTo>
                    <a:pt x="2847785" y="200876"/>
                  </a:lnTo>
                  <a:lnTo>
                    <a:pt x="2847785" y="200228"/>
                  </a:lnTo>
                  <a:lnTo>
                    <a:pt x="2847836" y="200228"/>
                  </a:lnTo>
                  <a:lnTo>
                    <a:pt x="2847836" y="200876"/>
                  </a:lnTo>
                  <a:lnTo>
                    <a:pt x="2847836" y="200228"/>
                  </a:lnTo>
                  <a:lnTo>
                    <a:pt x="2847836" y="200876"/>
                  </a:lnTo>
                  <a:lnTo>
                    <a:pt x="2847836" y="200228"/>
                  </a:lnTo>
                  <a:lnTo>
                    <a:pt x="2847836" y="200876"/>
                  </a:lnTo>
                  <a:lnTo>
                    <a:pt x="2847836" y="200228"/>
                  </a:lnTo>
                  <a:lnTo>
                    <a:pt x="2847836" y="200876"/>
                  </a:lnTo>
                  <a:lnTo>
                    <a:pt x="2847937" y="200876"/>
                  </a:lnTo>
                  <a:lnTo>
                    <a:pt x="2847937" y="200228"/>
                  </a:lnTo>
                  <a:lnTo>
                    <a:pt x="2847937" y="200876"/>
                  </a:lnTo>
                  <a:lnTo>
                    <a:pt x="2847976" y="200876"/>
                  </a:lnTo>
                  <a:lnTo>
                    <a:pt x="2847976" y="202260"/>
                  </a:lnTo>
                  <a:lnTo>
                    <a:pt x="2847976" y="200228"/>
                  </a:lnTo>
                  <a:lnTo>
                    <a:pt x="2848026" y="200228"/>
                  </a:lnTo>
                  <a:lnTo>
                    <a:pt x="2848026" y="199530"/>
                  </a:lnTo>
                  <a:lnTo>
                    <a:pt x="2848077" y="199530"/>
                  </a:lnTo>
                  <a:lnTo>
                    <a:pt x="2848077" y="198831"/>
                  </a:lnTo>
                  <a:lnTo>
                    <a:pt x="2848077" y="199530"/>
                  </a:lnTo>
                  <a:lnTo>
                    <a:pt x="2848077" y="198831"/>
                  </a:lnTo>
                  <a:lnTo>
                    <a:pt x="2848077" y="199530"/>
                  </a:lnTo>
                  <a:lnTo>
                    <a:pt x="2848179" y="199530"/>
                  </a:lnTo>
                  <a:lnTo>
                    <a:pt x="2848179" y="198831"/>
                  </a:lnTo>
                  <a:lnTo>
                    <a:pt x="2848179" y="199530"/>
                  </a:lnTo>
                  <a:lnTo>
                    <a:pt x="2848179" y="198831"/>
                  </a:lnTo>
                  <a:lnTo>
                    <a:pt x="2848179" y="200876"/>
                  </a:lnTo>
                  <a:lnTo>
                    <a:pt x="2848179" y="200228"/>
                  </a:lnTo>
                  <a:lnTo>
                    <a:pt x="2848230" y="200876"/>
                  </a:lnTo>
                  <a:lnTo>
                    <a:pt x="2848230" y="200228"/>
                  </a:lnTo>
                  <a:lnTo>
                    <a:pt x="2848230" y="200876"/>
                  </a:lnTo>
                  <a:lnTo>
                    <a:pt x="2848230" y="200228"/>
                  </a:lnTo>
                  <a:lnTo>
                    <a:pt x="2848280" y="200228"/>
                  </a:lnTo>
                  <a:lnTo>
                    <a:pt x="2848280" y="200876"/>
                  </a:lnTo>
                  <a:lnTo>
                    <a:pt x="2848280" y="200228"/>
                  </a:lnTo>
                  <a:lnTo>
                    <a:pt x="2848280" y="200876"/>
                  </a:lnTo>
                  <a:lnTo>
                    <a:pt x="2848280" y="200228"/>
                  </a:lnTo>
                  <a:lnTo>
                    <a:pt x="2848382" y="200876"/>
                  </a:lnTo>
                  <a:lnTo>
                    <a:pt x="2848382" y="200228"/>
                  </a:lnTo>
                  <a:lnTo>
                    <a:pt x="2848382" y="200876"/>
                  </a:lnTo>
                  <a:lnTo>
                    <a:pt x="2848382" y="200228"/>
                  </a:lnTo>
                  <a:lnTo>
                    <a:pt x="2848382" y="200876"/>
                  </a:lnTo>
                  <a:lnTo>
                    <a:pt x="2848433" y="200876"/>
                  </a:lnTo>
                  <a:lnTo>
                    <a:pt x="2848433" y="200228"/>
                  </a:lnTo>
                  <a:lnTo>
                    <a:pt x="2848483" y="200228"/>
                  </a:lnTo>
                  <a:lnTo>
                    <a:pt x="2848483" y="200876"/>
                  </a:lnTo>
                  <a:lnTo>
                    <a:pt x="2848483" y="200228"/>
                  </a:lnTo>
                  <a:lnTo>
                    <a:pt x="2848483" y="200876"/>
                  </a:lnTo>
                  <a:lnTo>
                    <a:pt x="2848483" y="200228"/>
                  </a:lnTo>
                  <a:lnTo>
                    <a:pt x="2848483" y="200876"/>
                  </a:lnTo>
                  <a:lnTo>
                    <a:pt x="2848483" y="200228"/>
                  </a:lnTo>
                  <a:lnTo>
                    <a:pt x="2848483" y="200876"/>
                  </a:lnTo>
                  <a:lnTo>
                    <a:pt x="2848483" y="199530"/>
                  </a:lnTo>
                  <a:lnTo>
                    <a:pt x="2848483" y="200228"/>
                  </a:lnTo>
                  <a:lnTo>
                    <a:pt x="2848522" y="200228"/>
                  </a:lnTo>
                  <a:lnTo>
                    <a:pt x="2848522" y="197447"/>
                  </a:lnTo>
                  <a:lnTo>
                    <a:pt x="2848522" y="198831"/>
                  </a:lnTo>
                  <a:lnTo>
                    <a:pt x="2848522" y="197447"/>
                  </a:lnTo>
                  <a:lnTo>
                    <a:pt x="2848623" y="197447"/>
                  </a:lnTo>
                  <a:lnTo>
                    <a:pt x="2848623" y="196799"/>
                  </a:lnTo>
                  <a:lnTo>
                    <a:pt x="2848623" y="199530"/>
                  </a:lnTo>
                  <a:lnTo>
                    <a:pt x="2848623" y="196799"/>
                  </a:lnTo>
                  <a:lnTo>
                    <a:pt x="2848674" y="196799"/>
                  </a:lnTo>
                  <a:lnTo>
                    <a:pt x="2848674" y="200228"/>
                  </a:lnTo>
                  <a:lnTo>
                    <a:pt x="2848674" y="198831"/>
                  </a:lnTo>
                  <a:lnTo>
                    <a:pt x="2848725" y="198831"/>
                  </a:lnTo>
                  <a:lnTo>
                    <a:pt x="2848725" y="200876"/>
                  </a:lnTo>
                  <a:lnTo>
                    <a:pt x="2848725" y="199530"/>
                  </a:lnTo>
                  <a:lnTo>
                    <a:pt x="2848725" y="200228"/>
                  </a:lnTo>
                  <a:lnTo>
                    <a:pt x="2848725" y="199530"/>
                  </a:lnTo>
                  <a:lnTo>
                    <a:pt x="2848826" y="199530"/>
                  </a:lnTo>
                  <a:lnTo>
                    <a:pt x="2848826" y="200228"/>
                  </a:lnTo>
                  <a:lnTo>
                    <a:pt x="2848826" y="199530"/>
                  </a:lnTo>
                  <a:lnTo>
                    <a:pt x="2848826" y="202260"/>
                  </a:lnTo>
                  <a:lnTo>
                    <a:pt x="2848826" y="200228"/>
                  </a:lnTo>
                  <a:lnTo>
                    <a:pt x="2848826" y="200876"/>
                  </a:lnTo>
                  <a:lnTo>
                    <a:pt x="2848826" y="200228"/>
                  </a:lnTo>
                  <a:lnTo>
                    <a:pt x="2848826" y="200876"/>
                  </a:lnTo>
                  <a:lnTo>
                    <a:pt x="2848826" y="200228"/>
                  </a:lnTo>
                  <a:lnTo>
                    <a:pt x="2848877" y="200228"/>
                  </a:lnTo>
                  <a:lnTo>
                    <a:pt x="2848877" y="202260"/>
                  </a:lnTo>
                  <a:lnTo>
                    <a:pt x="2848877" y="200876"/>
                  </a:lnTo>
                  <a:lnTo>
                    <a:pt x="2848877" y="202260"/>
                  </a:lnTo>
                  <a:lnTo>
                    <a:pt x="2848877" y="200876"/>
                  </a:lnTo>
                  <a:lnTo>
                    <a:pt x="2848877" y="202260"/>
                  </a:lnTo>
                  <a:lnTo>
                    <a:pt x="2848928" y="202260"/>
                  </a:lnTo>
                  <a:lnTo>
                    <a:pt x="2848928" y="200228"/>
                  </a:lnTo>
                  <a:lnTo>
                    <a:pt x="2848979" y="200228"/>
                  </a:lnTo>
                  <a:lnTo>
                    <a:pt x="2848979" y="200876"/>
                  </a:lnTo>
                  <a:lnTo>
                    <a:pt x="2848979" y="199530"/>
                  </a:lnTo>
                  <a:lnTo>
                    <a:pt x="2848979" y="200228"/>
                  </a:lnTo>
                  <a:lnTo>
                    <a:pt x="2848979" y="199530"/>
                  </a:lnTo>
                  <a:lnTo>
                    <a:pt x="2849068" y="199530"/>
                  </a:lnTo>
                  <a:lnTo>
                    <a:pt x="2849068" y="197447"/>
                  </a:lnTo>
                  <a:lnTo>
                    <a:pt x="2849119" y="198831"/>
                  </a:lnTo>
                  <a:lnTo>
                    <a:pt x="2849119" y="199530"/>
                  </a:lnTo>
                  <a:lnTo>
                    <a:pt x="2849119" y="198831"/>
                  </a:lnTo>
                  <a:lnTo>
                    <a:pt x="2849119" y="200228"/>
                  </a:lnTo>
                  <a:lnTo>
                    <a:pt x="2849169" y="200228"/>
                  </a:lnTo>
                  <a:lnTo>
                    <a:pt x="2849169" y="199530"/>
                  </a:lnTo>
                  <a:lnTo>
                    <a:pt x="2849169" y="200876"/>
                  </a:lnTo>
                  <a:lnTo>
                    <a:pt x="2849220" y="200876"/>
                  </a:lnTo>
                  <a:lnTo>
                    <a:pt x="2849220" y="200228"/>
                  </a:lnTo>
                  <a:lnTo>
                    <a:pt x="2849220" y="200876"/>
                  </a:lnTo>
                  <a:lnTo>
                    <a:pt x="2849220" y="200228"/>
                  </a:lnTo>
                  <a:lnTo>
                    <a:pt x="2849220" y="200876"/>
                  </a:lnTo>
                  <a:lnTo>
                    <a:pt x="2849322" y="200876"/>
                  </a:lnTo>
                  <a:lnTo>
                    <a:pt x="2849322" y="200228"/>
                  </a:lnTo>
                  <a:lnTo>
                    <a:pt x="2849322" y="200876"/>
                  </a:lnTo>
                  <a:lnTo>
                    <a:pt x="2849372" y="200876"/>
                  </a:lnTo>
                  <a:lnTo>
                    <a:pt x="2849372" y="202260"/>
                  </a:lnTo>
                  <a:lnTo>
                    <a:pt x="2849372" y="200876"/>
                  </a:lnTo>
                  <a:lnTo>
                    <a:pt x="2849525" y="200876"/>
                  </a:lnTo>
                  <a:lnTo>
                    <a:pt x="2849525" y="199530"/>
                  </a:lnTo>
                  <a:lnTo>
                    <a:pt x="2849563" y="199530"/>
                  </a:lnTo>
                  <a:lnTo>
                    <a:pt x="2849563" y="196799"/>
                  </a:lnTo>
                  <a:lnTo>
                    <a:pt x="2849563" y="197447"/>
                  </a:lnTo>
                  <a:lnTo>
                    <a:pt x="2849563" y="196799"/>
                  </a:lnTo>
                  <a:lnTo>
                    <a:pt x="2849563" y="197447"/>
                  </a:lnTo>
                  <a:lnTo>
                    <a:pt x="2849614" y="197447"/>
                  </a:lnTo>
                  <a:lnTo>
                    <a:pt x="2849614" y="199530"/>
                  </a:lnTo>
                  <a:lnTo>
                    <a:pt x="2849614" y="196799"/>
                  </a:lnTo>
                  <a:lnTo>
                    <a:pt x="2849614" y="199530"/>
                  </a:lnTo>
                  <a:lnTo>
                    <a:pt x="2849665" y="200228"/>
                  </a:lnTo>
                  <a:lnTo>
                    <a:pt x="2849665" y="198831"/>
                  </a:lnTo>
                  <a:lnTo>
                    <a:pt x="2849665" y="200876"/>
                  </a:lnTo>
                  <a:lnTo>
                    <a:pt x="2849766" y="200228"/>
                  </a:lnTo>
                  <a:lnTo>
                    <a:pt x="2849766" y="200876"/>
                  </a:lnTo>
                  <a:lnTo>
                    <a:pt x="2849766" y="199530"/>
                  </a:lnTo>
                  <a:lnTo>
                    <a:pt x="2849766" y="200876"/>
                  </a:lnTo>
                  <a:lnTo>
                    <a:pt x="2849817" y="200876"/>
                  </a:lnTo>
                  <a:lnTo>
                    <a:pt x="2849817" y="200228"/>
                  </a:lnTo>
                  <a:lnTo>
                    <a:pt x="2849817" y="200876"/>
                  </a:lnTo>
                  <a:lnTo>
                    <a:pt x="2849868" y="200876"/>
                  </a:lnTo>
                  <a:lnTo>
                    <a:pt x="2849868" y="200228"/>
                  </a:lnTo>
                  <a:lnTo>
                    <a:pt x="2849868" y="202260"/>
                  </a:lnTo>
                  <a:lnTo>
                    <a:pt x="2849868" y="200876"/>
                  </a:lnTo>
                  <a:lnTo>
                    <a:pt x="2849868" y="202260"/>
                  </a:lnTo>
                  <a:lnTo>
                    <a:pt x="2849969" y="202260"/>
                  </a:lnTo>
                  <a:lnTo>
                    <a:pt x="2849969" y="200876"/>
                  </a:lnTo>
                  <a:lnTo>
                    <a:pt x="2849969" y="202260"/>
                  </a:lnTo>
                  <a:lnTo>
                    <a:pt x="2849969" y="200876"/>
                  </a:lnTo>
                  <a:lnTo>
                    <a:pt x="2849969" y="202260"/>
                  </a:lnTo>
                  <a:lnTo>
                    <a:pt x="2849969" y="200876"/>
                  </a:lnTo>
                  <a:lnTo>
                    <a:pt x="2850020" y="200876"/>
                  </a:lnTo>
                  <a:lnTo>
                    <a:pt x="2850020" y="199530"/>
                  </a:lnTo>
                  <a:lnTo>
                    <a:pt x="2850020" y="200228"/>
                  </a:lnTo>
                  <a:lnTo>
                    <a:pt x="2850020" y="199530"/>
                  </a:lnTo>
                  <a:lnTo>
                    <a:pt x="2850071" y="198831"/>
                  </a:lnTo>
                  <a:lnTo>
                    <a:pt x="2850071" y="197447"/>
                  </a:lnTo>
                  <a:lnTo>
                    <a:pt x="2850071" y="198831"/>
                  </a:lnTo>
                  <a:lnTo>
                    <a:pt x="2850071" y="197447"/>
                  </a:lnTo>
                  <a:lnTo>
                    <a:pt x="2850109" y="197447"/>
                  </a:lnTo>
                  <a:lnTo>
                    <a:pt x="2850109" y="196799"/>
                  </a:lnTo>
                  <a:lnTo>
                    <a:pt x="2850109" y="199530"/>
                  </a:lnTo>
                  <a:lnTo>
                    <a:pt x="2850109" y="198831"/>
                  </a:lnTo>
                  <a:lnTo>
                    <a:pt x="2850211" y="198831"/>
                  </a:lnTo>
                  <a:lnTo>
                    <a:pt x="2850211" y="200228"/>
                  </a:lnTo>
                  <a:lnTo>
                    <a:pt x="2850262" y="199530"/>
                  </a:lnTo>
                  <a:lnTo>
                    <a:pt x="2850262" y="198831"/>
                  </a:lnTo>
                  <a:lnTo>
                    <a:pt x="2850262" y="199530"/>
                  </a:lnTo>
                  <a:lnTo>
                    <a:pt x="2850312" y="199530"/>
                  </a:lnTo>
                  <a:lnTo>
                    <a:pt x="2850312" y="200228"/>
                  </a:lnTo>
                  <a:lnTo>
                    <a:pt x="2850312" y="199530"/>
                  </a:lnTo>
                  <a:lnTo>
                    <a:pt x="2850312" y="200228"/>
                  </a:lnTo>
                  <a:lnTo>
                    <a:pt x="2850414" y="200228"/>
                  </a:lnTo>
                  <a:lnTo>
                    <a:pt x="2850414" y="200876"/>
                  </a:lnTo>
                  <a:lnTo>
                    <a:pt x="2850414" y="200228"/>
                  </a:lnTo>
                  <a:lnTo>
                    <a:pt x="2850414" y="200876"/>
                  </a:lnTo>
                  <a:lnTo>
                    <a:pt x="2850414" y="200228"/>
                  </a:lnTo>
                  <a:lnTo>
                    <a:pt x="2850465" y="200228"/>
                  </a:lnTo>
                  <a:lnTo>
                    <a:pt x="2850465" y="200876"/>
                  </a:lnTo>
                  <a:lnTo>
                    <a:pt x="2850465" y="200228"/>
                  </a:lnTo>
                  <a:lnTo>
                    <a:pt x="2850465" y="200876"/>
                  </a:lnTo>
                  <a:lnTo>
                    <a:pt x="2850465" y="200228"/>
                  </a:lnTo>
                  <a:lnTo>
                    <a:pt x="2850515" y="200228"/>
                  </a:lnTo>
                  <a:lnTo>
                    <a:pt x="2850515" y="199530"/>
                  </a:lnTo>
                  <a:lnTo>
                    <a:pt x="2850515" y="200228"/>
                  </a:lnTo>
                  <a:lnTo>
                    <a:pt x="2850515" y="198831"/>
                  </a:lnTo>
                  <a:lnTo>
                    <a:pt x="2850515" y="199530"/>
                  </a:lnTo>
                  <a:lnTo>
                    <a:pt x="2850515" y="198831"/>
                  </a:lnTo>
                  <a:lnTo>
                    <a:pt x="2850566" y="197447"/>
                  </a:lnTo>
                  <a:lnTo>
                    <a:pt x="2850566" y="200228"/>
                  </a:lnTo>
                  <a:lnTo>
                    <a:pt x="2850566" y="199530"/>
                  </a:lnTo>
                  <a:lnTo>
                    <a:pt x="2850566" y="200228"/>
                  </a:lnTo>
                  <a:lnTo>
                    <a:pt x="2850566" y="197447"/>
                  </a:lnTo>
                  <a:lnTo>
                    <a:pt x="2850655" y="197447"/>
                  </a:lnTo>
                  <a:lnTo>
                    <a:pt x="2850655" y="202260"/>
                  </a:lnTo>
                  <a:lnTo>
                    <a:pt x="2850655" y="199530"/>
                  </a:lnTo>
                  <a:lnTo>
                    <a:pt x="2850655" y="200228"/>
                  </a:lnTo>
                  <a:lnTo>
                    <a:pt x="2850655" y="199530"/>
                  </a:lnTo>
                  <a:lnTo>
                    <a:pt x="2850706" y="199530"/>
                  </a:lnTo>
                  <a:lnTo>
                    <a:pt x="2850706" y="202260"/>
                  </a:lnTo>
                  <a:lnTo>
                    <a:pt x="2850706" y="200228"/>
                  </a:lnTo>
                  <a:lnTo>
                    <a:pt x="2850757" y="200228"/>
                  </a:lnTo>
                  <a:lnTo>
                    <a:pt x="2850757" y="202260"/>
                  </a:lnTo>
                  <a:lnTo>
                    <a:pt x="2850757" y="200228"/>
                  </a:lnTo>
                  <a:lnTo>
                    <a:pt x="2850757" y="200876"/>
                  </a:lnTo>
                  <a:lnTo>
                    <a:pt x="2850808" y="200876"/>
                  </a:lnTo>
                  <a:lnTo>
                    <a:pt x="2850808" y="200228"/>
                  </a:lnTo>
                  <a:lnTo>
                    <a:pt x="2850808" y="200876"/>
                  </a:lnTo>
                  <a:lnTo>
                    <a:pt x="2850909" y="200876"/>
                  </a:lnTo>
                  <a:lnTo>
                    <a:pt x="2850960" y="202260"/>
                  </a:lnTo>
                  <a:lnTo>
                    <a:pt x="2850960" y="200228"/>
                  </a:lnTo>
                  <a:lnTo>
                    <a:pt x="2851011" y="200228"/>
                  </a:lnTo>
                  <a:lnTo>
                    <a:pt x="2851011" y="197447"/>
                  </a:lnTo>
                  <a:lnTo>
                    <a:pt x="2851112" y="198831"/>
                  </a:lnTo>
                  <a:lnTo>
                    <a:pt x="2851112" y="200228"/>
                  </a:lnTo>
                  <a:lnTo>
                    <a:pt x="2851112" y="198831"/>
                  </a:lnTo>
                  <a:lnTo>
                    <a:pt x="2851112" y="200876"/>
                  </a:lnTo>
                  <a:lnTo>
                    <a:pt x="2851151" y="202260"/>
                  </a:lnTo>
                  <a:lnTo>
                    <a:pt x="2851151" y="200228"/>
                  </a:lnTo>
                  <a:lnTo>
                    <a:pt x="2851151" y="200876"/>
                  </a:lnTo>
                  <a:lnTo>
                    <a:pt x="2851151" y="200228"/>
                  </a:lnTo>
                  <a:lnTo>
                    <a:pt x="2851151" y="202260"/>
                  </a:lnTo>
                  <a:lnTo>
                    <a:pt x="2851201" y="202260"/>
                  </a:lnTo>
                  <a:lnTo>
                    <a:pt x="2851201" y="202959"/>
                  </a:lnTo>
                  <a:lnTo>
                    <a:pt x="2851201" y="200876"/>
                  </a:lnTo>
                  <a:lnTo>
                    <a:pt x="2851201" y="202260"/>
                  </a:lnTo>
                  <a:lnTo>
                    <a:pt x="2851252" y="202260"/>
                  </a:lnTo>
                  <a:lnTo>
                    <a:pt x="2851252" y="200876"/>
                  </a:lnTo>
                  <a:lnTo>
                    <a:pt x="2851252" y="202260"/>
                  </a:lnTo>
                  <a:lnTo>
                    <a:pt x="2851252" y="200876"/>
                  </a:lnTo>
                  <a:lnTo>
                    <a:pt x="2851252" y="202260"/>
                  </a:lnTo>
                  <a:lnTo>
                    <a:pt x="2851354" y="202260"/>
                  </a:lnTo>
                  <a:lnTo>
                    <a:pt x="2851354" y="200876"/>
                  </a:lnTo>
                  <a:lnTo>
                    <a:pt x="2851354" y="202260"/>
                  </a:lnTo>
                  <a:lnTo>
                    <a:pt x="2851354" y="200876"/>
                  </a:lnTo>
                  <a:lnTo>
                    <a:pt x="2851354" y="202260"/>
                  </a:lnTo>
                  <a:lnTo>
                    <a:pt x="2851354" y="200876"/>
                  </a:lnTo>
                  <a:lnTo>
                    <a:pt x="2851354" y="202260"/>
                  </a:lnTo>
                  <a:lnTo>
                    <a:pt x="2851405" y="200876"/>
                  </a:lnTo>
                  <a:lnTo>
                    <a:pt x="2851405" y="202260"/>
                  </a:lnTo>
                  <a:lnTo>
                    <a:pt x="2851405" y="200876"/>
                  </a:lnTo>
                  <a:lnTo>
                    <a:pt x="2851455" y="200876"/>
                  </a:lnTo>
                  <a:lnTo>
                    <a:pt x="2851455" y="199530"/>
                  </a:lnTo>
                  <a:lnTo>
                    <a:pt x="2851557" y="199530"/>
                  </a:lnTo>
                  <a:lnTo>
                    <a:pt x="2851557" y="197447"/>
                  </a:lnTo>
                  <a:lnTo>
                    <a:pt x="2851557" y="198831"/>
                  </a:lnTo>
                  <a:lnTo>
                    <a:pt x="2851557" y="196799"/>
                  </a:lnTo>
                  <a:lnTo>
                    <a:pt x="2851557" y="199530"/>
                  </a:lnTo>
                  <a:lnTo>
                    <a:pt x="2851608" y="199530"/>
                  </a:lnTo>
                  <a:lnTo>
                    <a:pt x="2851608" y="200228"/>
                  </a:lnTo>
                  <a:lnTo>
                    <a:pt x="2851608" y="197447"/>
                  </a:lnTo>
                  <a:lnTo>
                    <a:pt x="2851608" y="200228"/>
                  </a:lnTo>
                  <a:lnTo>
                    <a:pt x="2851658" y="200228"/>
                  </a:lnTo>
                  <a:lnTo>
                    <a:pt x="2851658" y="200876"/>
                  </a:lnTo>
                  <a:lnTo>
                    <a:pt x="2851658" y="199530"/>
                  </a:lnTo>
                  <a:lnTo>
                    <a:pt x="2851658" y="200876"/>
                  </a:lnTo>
                  <a:lnTo>
                    <a:pt x="2851697" y="200876"/>
                  </a:lnTo>
                  <a:lnTo>
                    <a:pt x="2851697" y="200228"/>
                  </a:lnTo>
                  <a:lnTo>
                    <a:pt x="2851697" y="200876"/>
                  </a:lnTo>
                  <a:lnTo>
                    <a:pt x="2851798" y="200876"/>
                  </a:lnTo>
                  <a:lnTo>
                    <a:pt x="2851798" y="200228"/>
                  </a:lnTo>
                  <a:lnTo>
                    <a:pt x="2851798" y="202260"/>
                  </a:lnTo>
                  <a:lnTo>
                    <a:pt x="2851798" y="200876"/>
                  </a:lnTo>
                  <a:lnTo>
                    <a:pt x="2851849" y="200876"/>
                  </a:lnTo>
                  <a:lnTo>
                    <a:pt x="2851849" y="202260"/>
                  </a:lnTo>
                  <a:lnTo>
                    <a:pt x="2851900" y="202260"/>
                  </a:lnTo>
                  <a:lnTo>
                    <a:pt x="2851900" y="200876"/>
                  </a:lnTo>
                  <a:lnTo>
                    <a:pt x="2851900" y="202260"/>
                  </a:lnTo>
                  <a:lnTo>
                    <a:pt x="2851900" y="200876"/>
                  </a:lnTo>
                  <a:lnTo>
                    <a:pt x="2851900" y="202260"/>
                  </a:lnTo>
                  <a:lnTo>
                    <a:pt x="2851900" y="200228"/>
                  </a:lnTo>
                  <a:lnTo>
                    <a:pt x="2852001" y="200228"/>
                  </a:lnTo>
                  <a:lnTo>
                    <a:pt x="2852001" y="199530"/>
                  </a:lnTo>
                  <a:lnTo>
                    <a:pt x="2852001" y="200228"/>
                  </a:lnTo>
                  <a:lnTo>
                    <a:pt x="2852001" y="198831"/>
                  </a:lnTo>
                  <a:lnTo>
                    <a:pt x="2852052" y="199530"/>
                  </a:lnTo>
                  <a:lnTo>
                    <a:pt x="2852052" y="196799"/>
                  </a:lnTo>
                  <a:lnTo>
                    <a:pt x="2852052" y="199530"/>
                  </a:lnTo>
                  <a:lnTo>
                    <a:pt x="2852052" y="198831"/>
                  </a:lnTo>
                  <a:lnTo>
                    <a:pt x="2852103" y="197447"/>
                  </a:lnTo>
                  <a:lnTo>
                    <a:pt x="2852103" y="200876"/>
                  </a:lnTo>
                  <a:lnTo>
                    <a:pt x="2852103" y="199530"/>
                  </a:lnTo>
                  <a:lnTo>
                    <a:pt x="2852154" y="199530"/>
                  </a:lnTo>
                  <a:lnTo>
                    <a:pt x="2852154" y="200876"/>
                  </a:lnTo>
                  <a:lnTo>
                    <a:pt x="2852154" y="200228"/>
                  </a:lnTo>
                  <a:lnTo>
                    <a:pt x="2852243" y="200228"/>
                  </a:lnTo>
                  <a:lnTo>
                    <a:pt x="2852243" y="199530"/>
                  </a:lnTo>
                  <a:lnTo>
                    <a:pt x="2852243" y="200876"/>
                  </a:lnTo>
                  <a:lnTo>
                    <a:pt x="2852243" y="200228"/>
                  </a:lnTo>
                  <a:lnTo>
                    <a:pt x="2852243" y="200876"/>
                  </a:lnTo>
                  <a:lnTo>
                    <a:pt x="2852243" y="200228"/>
                  </a:lnTo>
                  <a:lnTo>
                    <a:pt x="2852294" y="200228"/>
                  </a:lnTo>
                  <a:lnTo>
                    <a:pt x="2852294" y="200876"/>
                  </a:lnTo>
                  <a:lnTo>
                    <a:pt x="2852294" y="200228"/>
                  </a:lnTo>
                  <a:lnTo>
                    <a:pt x="2852294" y="200876"/>
                  </a:lnTo>
                  <a:lnTo>
                    <a:pt x="2852294" y="200228"/>
                  </a:lnTo>
                  <a:lnTo>
                    <a:pt x="2852294" y="200876"/>
                  </a:lnTo>
                  <a:lnTo>
                    <a:pt x="2852294" y="200228"/>
                  </a:lnTo>
                  <a:lnTo>
                    <a:pt x="2852294" y="200876"/>
                  </a:lnTo>
                  <a:lnTo>
                    <a:pt x="2852344" y="200876"/>
                  </a:lnTo>
                  <a:lnTo>
                    <a:pt x="2852344" y="202260"/>
                  </a:lnTo>
                  <a:lnTo>
                    <a:pt x="2852344" y="200876"/>
                  </a:lnTo>
                  <a:lnTo>
                    <a:pt x="2852395" y="202260"/>
                  </a:lnTo>
                  <a:lnTo>
                    <a:pt x="2852395" y="200228"/>
                  </a:lnTo>
                  <a:lnTo>
                    <a:pt x="2852395" y="200876"/>
                  </a:lnTo>
                  <a:lnTo>
                    <a:pt x="2852395" y="200228"/>
                  </a:lnTo>
                  <a:lnTo>
                    <a:pt x="2852395" y="200876"/>
                  </a:lnTo>
                  <a:lnTo>
                    <a:pt x="2852497" y="200228"/>
                  </a:lnTo>
                  <a:lnTo>
                    <a:pt x="2852497" y="198831"/>
                  </a:lnTo>
                  <a:lnTo>
                    <a:pt x="2852547" y="198831"/>
                  </a:lnTo>
                  <a:lnTo>
                    <a:pt x="2852547" y="196113"/>
                  </a:lnTo>
                  <a:lnTo>
                    <a:pt x="2852547" y="199530"/>
                  </a:lnTo>
                  <a:lnTo>
                    <a:pt x="2852598" y="198831"/>
                  </a:lnTo>
                  <a:lnTo>
                    <a:pt x="2852598" y="196799"/>
                  </a:lnTo>
                  <a:lnTo>
                    <a:pt x="2852598" y="200228"/>
                  </a:lnTo>
                  <a:lnTo>
                    <a:pt x="2852598" y="199530"/>
                  </a:lnTo>
                  <a:lnTo>
                    <a:pt x="2852700" y="199530"/>
                  </a:lnTo>
                  <a:lnTo>
                    <a:pt x="2852700" y="198831"/>
                  </a:lnTo>
                  <a:lnTo>
                    <a:pt x="2852700" y="199530"/>
                  </a:lnTo>
                  <a:lnTo>
                    <a:pt x="2852738" y="199530"/>
                  </a:lnTo>
                  <a:lnTo>
                    <a:pt x="2852738" y="200228"/>
                  </a:lnTo>
                  <a:lnTo>
                    <a:pt x="2852738" y="199530"/>
                  </a:lnTo>
                  <a:lnTo>
                    <a:pt x="2852789" y="199530"/>
                  </a:lnTo>
                  <a:lnTo>
                    <a:pt x="2852789" y="200228"/>
                  </a:lnTo>
                  <a:lnTo>
                    <a:pt x="2852789" y="199530"/>
                  </a:lnTo>
                  <a:lnTo>
                    <a:pt x="2852789" y="200876"/>
                  </a:lnTo>
                  <a:lnTo>
                    <a:pt x="2852840" y="200876"/>
                  </a:lnTo>
                  <a:lnTo>
                    <a:pt x="2852840" y="202260"/>
                  </a:lnTo>
                  <a:lnTo>
                    <a:pt x="2852840" y="200876"/>
                  </a:lnTo>
                  <a:lnTo>
                    <a:pt x="2852941" y="200876"/>
                  </a:lnTo>
                  <a:lnTo>
                    <a:pt x="2852941" y="200228"/>
                  </a:lnTo>
                  <a:lnTo>
                    <a:pt x="2852941" y="200876"/>
                  </a:lnTo>
                  <a:lnTo>
                    <a:pt x="2852992" y="200876"/>
                  </a:lnTo>
                  <a:lnTo>
                    <a:pt x="2852992" y="198831"/>
                  </a:lnTo>
                  <a:lnTo>
                    <a:pt x="2853043" y="198831"/>
                  </a:lnTo>
                  <a:lnTo>
                    <a:pt x="2853043" y="197447"/>
                  </a:lnTo>
                  <a:lnTo>
                    <a:pt x="2853144" y="197447"/>
                  </a:lnTo>
                  <a:lnTo>
                    <a:pt x="2853144" y="196799"/>
                  </a:lnTo>
                  <a:lnTo>
                    <a:pt x="2853144" y="199530"/>
                  </a:lnTo>
                  <a:lnTo>
                    <a:pt x="2853144" y="198831"/>
                  </a:lnTo>
                  <a:lnTo>
                    <a:pt x="2853195" y="198831"/>
                  </a:lnTo>
                  <a:lnTo>
                    <a:pt x="2853195" y="197447"/>
                  </a:lnTo>
                  <a:lnTo>
                    <a:pt x="2853195" y="199530"/>
                  </a:lnTo>
                  <a:lnTo>
                    <a:pt x="2853195" y="198831"/>
                  </a:lnTo>
                  <a:lnTo>
                    <a:pt x="2853246" y="198831"/>
                  </a:lnTo>
                  <a:lnTo>
                    <a:pt x="2853246" y="199530"/>
                  </a:lnTo>
                  <a:lnTo>
                    <a:pt x="2853246" y="198831"/>
                  </a:lnTo>
                  <a:lnTo>
                    <a:pt x="2853246" y="199530"/>
                  </a:lnTo>
                  <a:lnTo>
                    <a:pt x="2853284" y="199530"/>
                  </a:lnTo>
                  <a:lnTo>
                    <a:pt x="2853284" y="198831"/>
                  </a:lnTo>
                  <a:lnTo>
                    <a:pt x="2853284" y="199530"/>
                  </a:lnTo>
                  <a:lnTo>
                    <a:pt x="2853386" y="199530"/>
                  </a:lnTo>
                  <a:lnTo>
                    <a:pt x="2853386" y="200228"/>
                  </a:lnTo>
                  <a:lnTo>
                    <a:pt x="2853386" y="199530"/>
                  </a:lnTo>
                  <a:lnTo>
                    <a:pt x="2853386" y="200228"/>
                  </a:lnTo>
                  <a:lnTo>
                    <a:pt x="2853437" y="200228"/>
                  </a:lnTo>
                  <a:lnTo>
                    <a:pt x="2853437" y="200876"/>
                  </a:lnTo>
                  <a:lnTo>
                    <a:pt x="2853437" y="199530"/>
                  </a:lnTo>
                  <a:lnTo>
                    <a:pt x="2853437" y="200228"/>
                  </a:lnTo>
                  <a:lnTo>
                    <a:pt x="2853437" y="199530"/>
                  </a:lnTo>
                  <a:lnTo>
                    <a:pt x="2853487" y="200228"/>
                  </a:lnTo>
                  <a:lnTo>
                    <a:pt x="2853487" y="198831"/>
                  </a:lnTo>
                  <a:lnTo>
                    <a:pt x="2853487" y="199530"/>
                  </a:lnTo>
                  <a:lnTo>
                    <a:pt x="2853487" y="197447"/>
                  </a:lnTo>
                  <a:lnTo>
                    <a:pt x="2853589" y="197447"/>
                  </a:lnTo>
                  <a:lnTo>
                    <a:pt x="2853589" y="198831"/>
                  </a:lnTo>
                  <a:lnTo>
                    <a:pt x="2853589" y="196799"/>
                  </a:lnTo>
                  <a:lnTo>
                    <a:pt x="2853589" y="198831"/>
                  </a:lnTo>
                  <a:lnTo>
                    <a:pt x="2853640" y="198831"/>
                  </a:lnTo>
                  <a:lnTo>
                    <a:pt x="2853640" y="196799"/>
                  </a:lnTo>
                  <a:lnTo>
                    <a:pt x="2853640" y="200228"/>
                  </a:lnTo>
                  <a:lnTo>
                    <a:pt x="2853640" y="199530"/>
                  </a:lnTo>
                  <a:lnTo>
                    <a:pt x="2853640" y="200228"/>
                  </a:lnTo>
                  <a:lnTo>
                    <a:pt x="2853690" y="199530"/>
                  </a:lnTo>
                  <a:lnTo>
                    <a:pt x="2853690" y="197447"/>
                  </a:lnTo>
                  <a:lnTo>
                    <a:pt x="2853690" y="199530"/>
                  </a:lnTo>
                  <a:lnTo>
                    <a:pt x="2853741" y="198831"/>
                  </a:lnTo>
                  <a:lnTo>
                    <a:pt x="2853741" y="200228"/>
                  </a:lnTo>
                  <a:lnTo>
                    <a:pt x="2853741" y="199530"/>
                  </a:lnTo>
                  <a:lnTo>
                    <a:pt x="2853830" y="199530"/>
                  </a:lnTo>
                  <a:lnTo>
                    <a:pt x="2853830" y="200228"/>
                  </a:lnTo>
                  <a:lnTo>
                    <a:pt x="2853830" y="199530"/>
                  </a:lnTo>
                  <a:lnTo>
                    <a:pt x="2853830" y="200876"/>
                  </a:lnTo>
                  <a:lnTo>
                    <a:pt x="2853881" y="200228"/>
                  </a:lnTo>
                  <a:lnTo>
                    <a:pt x="2853881" y="200876"/>
                  </a:lnTo>
                  <a:lnTo>
                    <a:pt x="2853881" y="200228"/>
                  </a:lnTo>
                  <a:lnTo>
                    <a:pt x="2853881" y="200876"/>
                  </a:lnTo>
                  <a:lnTo>
                    <a:pt x="2853881" y="200228"/>
                  </a:lnTo>
                  <a:lnTo>
                    <a:pt x="2853881" y="200876"/>
                  </a:lnTo>
                  <a:lnTo>
                    <a:pt x="2853881" y="200228"/>
                  </a:lnTo>
                  <a:lnTo>
                    <a:pt x="2853881" y="200876"/>
                  </a:lnTo>
                  <a:lnTo>
                    <a:pt x="2853881" y="200228"/>
                  </a:lnTo>
                  <a:lnTo>
                    <a:pt x="2853881" y="200876"/>
                  </a:lnTo>
                  <a:lnTo>
                    <a:pt x="2853881" y="200228"/>
                  </a:lnTo>
                  <a:lnTo>
                    <a:pt x="2853932" y="200228"/>
                  </a:lnTo>
                  <a:lnTo>
                    <a:pt x="2853932" y="200876"/>
                  </a:lnTo>
                  <a:lnTo>
                    <a:pt x="2853932" y="200228"/>
                  </a:lnTo>
                  <a:lnTo>
                    <a:pt x="2853932" y="200876"/>
                  </a:lnTo>
                  <a:lnTo>
                    <a:pt x="2853932" y="200228"/>
                  </a:lnTo>
                  <a:lnTo>
                    <a:pt x="2853983" y="200228"/>
                  </a:lnTo>
                  <a:lnTo>
                    <a:pt x="2853983" y="199530"/>
                  </a:lnTo>
                  <a:lnTo>
                    <a:pt x="2853983" y="200228"/>
                  </a:lnTo>
                  <a:lnTo>
                    <a:pt x="2853983" y="198831"/>
                  </a:lnTo>
                  <a:lnTo>
                    <a:pt x="2853983" y="199530"/>
                  </a:lnTo>
                  <a:lnTo>
                    <a:pt x="2853983" y="198831"/>
                  </a:lnTo>
                  <a:lnTo>
                    <a:pt x="2853983" y="199530"/>
                  </a:lnTo>
                  <a:lnTo>
                    <a:pt x="2854084" y="199530"/>
                  </a:lnTo>
                  <a:lnTo>
                    <a:pt x="2854084" y="197447"/>
                  </a:lnTo>
                  <a:lnTo>
                    <a:pt x="2854084" y="200228"/>
                  </a:lnTo>
                  <a:lnTo>
                    <a:pt x="2854084" y="198831"/>
                  </a:lnTo>
                  <a:lnTo>
                    <a:pt x="2854135" y="198831"/>
                  </a:lnTo>
                  <a:lnTo>
                    <a:pt x="2854135" y="197447"/>
                  </a:lnTo>
                  <a:lnTo>
                    <a:pt x="2854135" y="200876"/>
                  </a:lnTo>
                  <a:lnTo>
                    <a:pt x="2854135" y="199530"/>
                  </a:lnTo>
                  <a:lnTo>
                    <a:pt x="2854186" y="199530"/>
                  </a:lnTo>
                  <a:lnTo>
                    <a:pt x="2854186" y="198831"/>
                  </a:lnTo>
                  <a:lnTo>
                    <a:pt x="2854186" y="200876"/>
                  </a:lnTo>
                  <a:lnTo>
                    <a:pt x="2854186" y="200228"/>
                  </a:lnTo>
                  <a:lnTo>
                    <a:pt x="2854186" y="200876"/>
                  </a:lnTo>
                  <a:lnTo>
                    <a:pt x="2854186" y="199530"/>
                  </a:lnTo>
                  <a:lnTo>
                    <a:pt x="2854186" y="200228"/>
                  </a:lnTo>
                  <a:lnTo>
                    <a:pt x="2854287" y="200228"/>
                  </a:lnTo>
                  <a:lnTo>
                    <a:pt x="2854287" y="200876"/>
                  </a:lnTo>
                  <a:lnTo>
                    <a:pt x="2854287" y="200228"/>
                  </a:lnTo>
                  <a:lnTo>
                    <a:pt x="2854326" y="200228"/>
                  </a:lnTo>
                  <a:lnTo>
                    <a:pt x="2854376" y="200876"/>
                  </a:lnTo>
                  <a:lnTo>
                    <a:pt x="2854376" y="200228"/>
                  </a:lnTo>
                  <a:lnTo>
                    <a:pt x="2854376" y="200876"/>
                  </a:lnTo>
                  <a:lnTo>
                    <a:pt x="2854376" y="200228"/>
                  </a:lnTo>
                  <a:lnTo>
                    <a:pt x="2854427" y="199530"/>
                  </a:lnTo>
                  <a:lnTo>
                    <a:pt x="2854427" y="200228"/>
                  </a:lnTo>
                  <a:lnTo>
                    <a:pt x="2854427" y="199530"/>
                  </a:lnTo>
                  <a:lnTo>
                    <a:pt x="2854427" y="200228"/>
                  </a:lnTo>
                  <a:lnTo>
                    <a:pt x="2854427" y="198831"/>
                  </a:lnTo>
                  <a:lnTo>
                    <a:pt x="2854427" y="199530"/>
                  </a:lnTo>
                  <a:lnTo>
                    <a:pt x="2854529" y="199530"/>
                  </a:lnTo>
                  <a:lnTo>
                    <a:pt x="2854529" y="198831"/>
                  </a:lnTo>
                  <a:lnTo>
                    <a:pt x="2854529" y="199530"/>
                  </a:lnTo>
                  <a:lnTo>
                    <a:pt x="2854529" y="196799"/>
                  </a:lnTo>
                  <a:lnTo>
                    <a:pt x="2854580" y="196799"/>
                  </a:lnTo>
                  <a:lnTo>
                    <a:pt x="2854580" y="196113"/>
                  </a:lnTo>
                  <a:lnTo>
                    <a:pt x="2854580" y="199530"/>
                  </a:lnTo>
                  <a:lnTo>
                    <a:pt x="2854580" y="196799"/>
                  </a:lnTo>
                  <a:lnTo>
                    <a:pt x="2854580" y="197447"/>
                  </a:lnTo>
                  <a:lnTo>
                    <a:pt x="2854630" y="197447"/>
                  </a:lnTo>
                  <a:lnTo>
                    <a:pt x="2854630" y="200228"/>
                  </a:lnTo>
                  <a:lnTo>
                    <a:pt x="2854630" y="198831"/>
                  </a:lnTo>
                  <a:lnTo>
                    <a:pt x="2854732" y="199530"/>
                  </a:lnTo>
                  <a:lnTo>
                    <a:pt x="2854732" y="200228"/>
                  </a:lnTo>
                  <a:lnTo>
                    <a:pt x="2854732" y="199530"/>
                  </a:lnTo>
                  <a:lnTo>
                    <a:pt x="2854732" y="200228"/>
                  </a:lnTo>
                  <a:lnTo>
                    <a:pt x="2854732" y="199530"/>
                  </a:lnTo>
                  <a:lnTo>
                    <a:pt x="2854783" y="199530"/>
                  </a:lnTo>
                  <a:lnTo>
                    <a:pt x="2854783" y="200876"/>
                  </a:lnTo>
                  <a:lnTo>
                    <a:pt x="2854783" y="200228"/>
                  </a:lnTo>
                  <a:lnTo>
                    <a:pt x="2854783" y="200876"/>
                  </a:lnTo>
                  <a:lnTo>
                    <a:pt x="2854783" y="200228"/>
                  </a:lnTo>
                  <a:lnTo>
                    <a:pt x="2854783" y="200876"/>
                  </a:lnTo>
                  <a:lnTo>
                    <a:pt x="2854833" y="200876"/>
                  </a:lnTo>
                  <a:lnTo>
                    <a:pt x="2854833" y="200228"/>
                  </a:lnTo>
                  <a:lnTo>
                    <a:pt x="2854833" y="202260"/>
                  </a:lnTo>
                  <a:lnTo>
                    <a:pt x="2854872" y="202260"/>
                  </a:lnTo>
                  <a:lnTo>
                    <a:pt x="2854872" y="200876"/>
                  </a:lnTo>
                  <a:lnTo>
                    <a:pt x="2854872" y="202260"/>
                  </a:lnTo>
                  <a:lnTo>
                    <a:pt x="2854872" y="200876"/>
                  </a:lnTo>
                  <a:lnTo>
                    <a:pt x="2854872" y="202260"/>
                  </a:lnTo>
                  <a:lnTo>
                    <a:pt x="2854872" y="200876"/>
                  </a:lnTo>
                  <a:lnTo>
                    <a:pt x="2854872" y="202260"/>
                  </a:lnTo>
                  <a:lnTo>
                    <a:pt x="2854872" y="200876"/>
                  </a:lnTo>
                  <a:lnTo>
                    <a:pt x="2854973" y="200876"/>
                  </a:lnTo>
                  <a:lnTo>
                    <a:pt x="2854973" y="200228"/>
                  </a:lnTo>
                  <a:lnTo>
                    <a:pt x="2855024" y="199530"/>
                  </a:lnTo>
                  <a:lnTo>
                    <a:pt x="2855024" y="198831"/>
                  </a:lnTo>
                  <a:lnTo>
                    <a:pt x="2855024" y="199530"/>
                  </a:lnTo>
                  <a:lnTo>
                    <a:pt x="2855024" y="197447"/>
                  </a:lnTo>
                  <a:lnTo>
                    <a:pt x="2855024" y="198831"/>
                  </a:lnTo>
                  <a:lnTo>
                    <a:pt x="2855024" y="197447"/>
                  </a:lnTo>
                  <a:lnTo>
                    <a:pt x="2855024" y="199530"/>
                  </a:lnTo>
                  <a:lnTo>
                    <a:pt x="2855075" y="199530"/>
                  </a:lnTo>
                  <a:lnTo>
                    <a:pt x="2855075" y="200228"/>
                  </a:lnTo>
                  <a:lnTo>
                    <a:pt x="2855075" y="197447"/>
                  </a:lnTo>
                  <a:lnTo>
                    <a:pt x="2855075" y="200876"/>
                  </a:lnTo>
                  <a:lnTo>
                    <a:pt x="2855176" y="200876"/>
                  </a:lnTo>
                  <a:lnTo>
                    <a:pt x="2855176" y="199530"/>
                  </a:lnTo>
                  <a:lnTo>
                    <a:pt x="2855176" y="200876"/>
                  </a:lnTo>
                  <a:lnTo>
                    <a:pt x="2855227" y="200876"/>
                  </a:lnTo>
                  <a:lnTo>
                    <a:pt x="2855227" y="200228"/>
                  </a:lnTo>
                  <a:lnTo>
                    <a:pt x="2855227" y="200876"/>
                  </a:lnTo>
                  <a:lnTo>
                    <a:pt x="2855227" y="200228"/>
                  </a:lnTo>
                  <a:lnTo>
                    <a:pt x="2855227" y="200876"/>
                  </a:lnTo>
                  <a:lnTo>
                    <a:pt x="2855278" y="202260"/>
                  </a:lnTo>
                  <a:lnTo>
                    <a:pt x="2855278" y="200228"/>
                  </a:lnTo>
                  <a:lnTo>
                    <a:pt x="2855278" y="200876"/>
                  </a:lnTo>
                  <a:lnTo>
                    <a:pt x="2855329" y="200876"/>
                  </a:lnTo>
                  <a:lnTo>
                    <a:pt x="2855329" y="202260"/>
                  </a:lnTo>
                  <a:lnTo>
                    <a:pt x="2855329" y="200228"/>
                  </a:lnTo>
                  <a:lnTo>
                    <a:pt x="2855329" y="200876"/>
                  </a:lnTo>
                  <a:lnTo>
                    <a:pt x="2855418" y="200876"/>
                  </a:lnTo>
                  <a:lnTo>
                    <a:pt x="2855418" y="200228"/>
                  </a:lnTo>
                  <a:lnTo>
                    <a:pt x="2855418" y="200876"/>
                  </a:lnTo>
                  <a:lnTo>
                    <a:pt x="2855418" y="200228"/>
                  </a:lnTo>
                  <a:lnTo>
                    <a:pt x="2855418" y="200876"/>
                  </a:lnTo>
                  <a:lnTo>
                    <a:pt x="2855469" y="200228"/>
                  </a:lnTo>
                  <a:lnTo>
                    <a:pt x="2855469" y="199530"/>
                  </a:lnTo>
                  <a:lnTo>
                    <a:pt x="2855469" y="200228"/>
                  </a:lnTo>
                  <a:lnTo>
                    <a:pt x="2855469" y="199530"/>
                  </a:lnTo>
                  <a:lnTo>
                    <a:pt x="2855469" y="200228"/>
                  </a:lnTo>
                  <a:lnTo>
                    <a:pt x="2855469" y="199530"/>
                  </a:lnTo>
                  <a:lnTo>
                    <a:pt x="2855469" y="200228"/>
                  </a:lnTo>
                  <a:lnTo>
                    <a:pt x="2855469" y="199530"/>
                  </a:lnTo>
                  <a:lnTo>
                    <a:pt x="2855469" y="200228"/>
                  </a:lnTo>
                  <a:lnTo>
                    <a:pt x="2855469" y="199530"/>
                  </a:lnTo>
                  <a:lnTo>
                    <a:pt x="2855469" y="200228"/>
                  </a:lnTo>
                  <a:lnTo>
                    <a:pt x="2855469" y="198831"/>
                  </a:lnTo>
                  <a:lnTo>
                    <a:pt x="2855519" y="198831"/>
                  </a:lnTo>
                  <a:lnTo>
                    <a:pt x="2855519" y="199530"/>
                  </a:lnTo>
                  <a:lnTo>
                    <a:pt x="2855519" y="196799"/>
                  </a:lnTo>
                  <a:lnTo>
                    <a:pt x="2855570" y="197447"/>
                  </a:lnTo>
                  <a:lnTo>
                    <a:pt x="2855570" y="198831"/>
                  </a:lnTo>
                  <a:lnTo>
                    <a:pt x="2855570" y="196799"/>
                  </a:lnTo>
                  <a:lnTo>
                    <a:pt x="2855570" y="197447"/>
                  </a:lnTo>
                  <a:lnTo>
                    <a:pt x="2855570" y="196799"/>
                  </a:lnTo>
                  <a:lnTo>
                    <a:pt x="2855570" y="199530"/>
                  </a:lnTo>
                  <a:lnTo>
                    <a:pt x="2855672" y="199530"/>
                  </a:lnTo>
                  <a:lnTo>
                    <a:pt x="2855672" y="198831"/>
                  </a:lnTo>
                  <a:lnTo>
                    <a:pt x="2855672" y="200228"/>
                  </a:lnTo>
                  <a:lnTo>
                    <a:pt x="2855722" y="200228"/>
                  </a:lnTo>
                  <a:lnTo>
                    <a:pt x="2855722" y="199530"/>
                  </a:lnTo>
                  <a:lnTo>
                    <a:pt x="2855722" y="200228"/>
                  </a:lnTo>
                  <a:lnTo>
                    <a:pt x="2855773" y="200228"/>
                  </a:lnTo>
                  <a:lnTo>
                    <a:pt x="2855773" y="200876"/>
                  </a:lnTo>
                  <a:lnTo>
                    <a:pt x="2855773" y="200228"/>
                  </a:lnTo>
                  <a:lnTo>
                    <a:pt x="2855773" y="200876"/>
                  </a:lnTo>
                  <a:lnTo>
                    <a:pt x="2855773" y="200228"/>
                  </a:lnTo>
                  <a:lnTo>
                    <a:pt x="2855773" y="200876"/>
                  </a:lnTo>
                  <a:lnTo>
                    <a:pt x="2855773" y="200228"/>
                  </a:lnTo>
                  <a:lnTo>
                    <a:pt x="2855875" y="200876"/>
                  </a:lnTo>
                  <a:lnTo>
                    <a:pt x="2855913" y="200876"/>
                  </a:lnTo>
                  <a:lnTo>
                    <a:pt x="2855913" y="202260"/>
                  </a:lnTo>
                  <a:lnTo>
                    <a:pt x="2855913" y="200228"/>
                  </a:lnTo>
                  <a:lnTo>
                    <a:pt x="2855913" y="200876"/>
                  </a:lnTo>
                  <a:lnTo>
                    <a:pt x="2855964" y="200876"/>
                  </a:lnTo>
                  <a:lnTo>
                    <a:pt x="2855964" y="199530"/>
                  </a:lnTo>
                  <a:lnTo>
                    <a:pt x="2856015" y="198831"/>
                  </a:lnTo>
                  <a:lnTo>
                    <a:pt x="2856015" y="197447"/>
                  </a:lnTo>
                  <a:lnTo>
                    <a:pt x="2856015" y="198831"/>
                  </a:lnTo>
                  <a:lnTo>
                    <a:pt x="2856116" y="197447"/>
                  </a:lnTo>
                  <a:lnTo>
                    <a:pt x="2856116" y="196799"/>
                  </a:lnTo>
                  <a:lnTo>
                    <a:pt x="2856116" y="200228"/>
                  </a:lnTo>
                  <a:lnTo>
                    <a:pt x="2856116" y="199530"/>
                  </a:lnTo>
                  <a:lnTo>
                    <a:pt x="2856116" y="200228"/>
                  </a:lnTo>
                  <a:lnTo>
                    <a:pt x="2856116" y="199530"/>
                  </a:lnTo>
                  <a:lnTo>
                    <a:pt x="2856167" y="198831"/>
                  </a:lnTo>
                  <a:lnTo>
                    <a:pt x="2856167" y="197447"/>
                  </a:lnTo>
                  <a:lnTo>
                    <a:pt x="2856167" y="200228"/>
                  </a:lnTo>
                  <a:lnTo>
                    <a:pt x="2856167" y="199530"/>
                  </a:lnTo>
                  <a:lnTo>
                    <a:pt x="2856218" y="198831"/>
                  </a:lnTo>
                  <a:lnTo>
                    <a:pt x="2856218" y="199530"/>
                  </a:lnTo>
                  <a:lnTo>
                    <a:pt x="2856218" y="198831"/>
                  </a:lnTo>
                  <a:lnTo>
                    <a:pt x="2856218" y="200228"/>
                  </a:lnTo>
                  <a:lnTo>
                    <a:pt x="2856218" y="199530"/>
                  </a:lnTo>
                  <a:lnTo>
                    <a:pt x="2856218" y="200228"/>
                  </a:lnTo>
                  <a:lnTo>
                    <a:pt x="2856319" y="200228"/>
                  </a:lnTo>
                  <a:lnTo>
                    <a:pt x="2856319" y="199530"/>
                  </a:lnTo>
                  <a:lnTo>
                    <a:pt x="2856319" y="200228"/>
                  </a:lnTo>
                  <a:lnTo>
                    <a:pt x="2856319" y="199530"/>
                  </a:lnTo>
                  <a:lnTo>
                    <a:pt x="2856319" y="200228"/>
                  </a:lnTo>
                  <a:lnTo>
                    <a:pt x="2856421" y="200228"/>
                  </a:lnTo>
                  <a:lnTo>
                    <a:pt x="2856421" y="200876"/>
                  </a:lnTo>
                  <a:lnTo>
                    <a:pt x="2856421" y="199530"/>
                  </a:lnTo>
                  <a:lnTo>
                    <a:pt x="2856421" y="200228"/>
                  </a:lnTo>
                  <a:lnTo>
                    <a:pt x="2856459" y="199530"/>
                  </a:lnTo>
                  <a:lnTo>
                    <a:pt x="2856459" y="200228"/>
                  </a:lnTo>
                  <a:lnTo>
                    <a:pt x="2856459" y="199530"/>
                  </a:lnTo>
                  <a:lnTo>
                    <a:pt x="2856561" y="199530"/>
                  </a:lnTo>
                  <a:lnTo>
                    <a:pt x="2856561" y="197447"/>
                  </a:lnTo>
                  <a:lnTo>
                    <a:pt x="2856561" y="199530"/>
                  </a:lnTo>
                  <a:lnTo>
                    <a:pt x="2856561" y="198831"/>
                  </a:lnTo>
                  <a:lnTo>
                    <a:pt x="2856612" y="198831"/>
                  </a:lnTo>
                  <a:lnTo>
                    <a:pt x="2856612" y="197447"/>
                  </a:lnTo>
                  <a:lnTo>
                    <a:pt x="2856612" y="200876"/>
                  </a:lnTo>
                  <a:lnTo>
                    <a:pt x="2856612" y="199530"/>
                  </a:lnTo>
                  <a:lnTo>
                    <a:pt x="2856662" y="199530"/>
                  </a:lnTo>
                  <a:lnTo>
                    <a:pt x="2856662" y="200876"/>
                  </a:lnTo>
                  <a:lnTo>
                    <a:pt x="2856662" y="199530"/>
                  </a:lnTo>
                  <a:lnTo>
                    <a:pt x="2856764" y="200228"/>
                  </a:lnTo>
                  <a:lnTo>
                    <a:pt x="2856764" y="199530"/>
                  </a:lnTo>
                  <a:lnTo>
                    <a:pt x="2856764" y="200876"/>
                  </a:lnTo>
                  <a:lnTo>
                    <a:pt x="2856764" y="200228"/>
                  </a:lnTo>
                  <a:lnTo>
                    <a:pt x="2856764" y="200876"/>
                  </a:lnTo>
                  <a:lnTo>
                    <a:pt x="2856764" y="200228"/>
                  </a:lnTo>
                  <a:lnTo>
                    <a:pt x="2856764" y="200876"/>
                  </a:lnTo>
                  <a:lnTo>
                    <a:pt x="2856815" y="200876"/>
                  </a:lnTo>
                  <a:lnTo>
                    <a:pt x="2856815" y="200228"/>
                  </a:lnTo>
                  <a:lnTo>
                    <a:pt x="2856815" y="200876"/>
                  </a:lnTo>
                  <a:lnTo>
                    <a:pt x="2856865" y="200876"/>
                  </a:lnTo>
                  <a:lnTo>
                    <a:pt x="2856865" y="202260"/>
                  </a:lnTo>
                  <a:lnTo>
                    <a:pt x="2856865" y="200876"/>
                  </a:lnTo>
                  <a:lnTo>
                    <a:pt x="2856865" y="202260"/>
                  </a:lnTo>
                  <a:lnTo>
                    <a:pt x="2856865" y="200876"/>
                  </a:lnTo>
                  <a:lnTo>
                    <a:pt x="2856865" y="202260"/>
                  </a:lnTo>
                  <a:lnTo>
                    <a:pt x="2856916" y="200876"/>
                  </a:lnTo>
                  <a:lnTo>
                    <a:pt x="2856916" y="202260"/>
                  </a:lnTo>
                  <a:lnTo>
                    <a:pt x="2856916" y="200876"/>
                  </a:lnTo>
                  <a:lnTo>
                    <a:pt x="2856916" y="202260"/>
                  </a:lnTo>
                  <a:lnTo>
                    <a:pt x="2856916" y="200876"/>
                  </a:lnTo>
                  <a:lnTo>
                    <a:pt x="2856916" y="202260"/>
                  </a:lnTo>
                  <a:lnTo>
                    <a:pt x="2856916" y="200228"/>
                  </a:lnTo>
                  <a:lnTo>
                    <a:pt x="2857005" y="200228"/>
                  </a:lnTo>
                  <a:lnTo>
                    <a:pt x="2857005" y="200876"/>
                  </a:lnTo>
                  <a:lnTo>
                    <a:pt x="2857005" y="199530"/>
                  </a:lnTo>
                  <a:lnTo>
                    <a:pt x="2857056" y="200228"/>
                  </a:lnTo>
                  <a:lnTo>
                    <a:pt x="2857056" y="200876"/>
                  </a:lnTo>
                  <a:lnTo>
                    <a:pt x="2857056" y="200228"/>
                  </a:lnTo>
                  <a:lnTo>
                    <a:pt x="2857056" y="202260"/>
                  </a:lnTo>
                  <a:lnTo>
                    <a:pt x="2857107" y="202260"/>
                  </a:lnTo>
                  <a:lnTo>
                    <a:pt x="2857107" y="202959"/>
                  </a:lnTo>
                  <a:lnTo>
                    <a:pt x="2857107" y="200876"/>
                  </a:lnTo>
                  <a:lnTo>
                    <a:pt x="2857107" y="202959"/>
                  </a:lnTo>
                  <a:lnTo>
                    <a:pt x="2857158" y="203594"/>
                  </a:lnTo>
                  <a:lnTo>
                    <a:pt x="2857158" y="202260"/>
                  </a:lnTo>
                  <a:lnTo>
                    <a:pt x="2857158" y="202959"/>
                  </a:lnTo>
                  <a:lnTo>
                    <a:pt x="2857259" y="202959"/>
                  </a:lnTo>
                  <a:lnTo>
                    <a:pt x="2857259" y="202260"/>
                  </a:lnTo>
                  <a:lnTo>
                    <a:pt x="2857259" y="202959"/>
                  </a:lnTo>
                  <a:lnTo>
                    <a:pt x="2857259" y="202260"/>
                  </a:lnTo>
                  <a:lnTo>
                    <a:pt x="2857259" y="202959"/>
                  </a:lnTo>
                  <a:lnTo>
                    <a:pt x="2857259" y="202260"/>
                  </a:lnTo>
                  <a:lnTo>
                    <a:pt x="2857310" y="202260"/>
                  </a:lnTo>
                  <a:lnTo>
                    <a:pt x="2857310" y="202959"/>
                  </a:lnTo>
                  <a:lnTo>
                    <a:pt x="2857310" y="202260"/>
                  </a:lnTo>
                  <a:lnTo>
                    <a:pt x="2857361" y="202260"/>
                  </a:lnTo>
                  <a:lnTo>
                    <a:pt x="2857361" y="200876"/>
                  </a:lnTo>
                  <a:lnTo>
                    <a:pt x="2857361" y="202260"/>
                  </a:lnTo>
                  <a:lnTo>
                    <a:pt x="2857361" y="200876"/>
                  </a:lnTo>
                  <a:lnTo>
                    <a:pt x="2857361" y="202260"/>
                  </a:lnTo>
                  <a:lnTo>
                    <a:pt x="2857361" y="200228"/>
                  </a:lnTo>
                  <a:lnTo>
                    <a:pt x="2857361" y="200876"/>
                  </a:lnTo>
                  <a:lnTo>
                    <a:pt x="2857462" y="200876"/>
                  </a:lnTo>
                  <a:lnTo>
                    <a:pt x="2857462" y="199530"/>
                  </a:lnTo>
                  <a:lnTo>
                    <a:pt x="2857501" y="199530"/>
                  </a:lnTo>
                  <a:lnTo>
                    <a:pt x="2857501" y="200228"/>
                  </a:lnTo>
                  <a:lnTo>
                    <a:pt x="2857501" y="197447"/>
                  </a:lnTo>
                  <a:lnTo>
                    <a:pt x="2857501" y="200228"/>
                  </a:lnTo>
                  <a:lnTo>
                    <a:pt x="2857551" y="200228"/>
                  </a:lnTo>
                  <a:lnTo>
                    <a:pt x="2857551" y="197447"/>
                  </a:lnTo>
                  <a:lnTo>
                    <a:pt x="2857551" y="202260"/>
                  </a:lnTo>
                  <a:lnTo>
                    <a:pt x="2857602" y="202260"/>
                  </a:lnTo>
                  <a:lnTo>
                    <a:pt x="2857602" y="200228"/>
                  </a:lnTo>
                  <a:lnTo>
                    <a:pt x="2857602" y="202260"/>
                  </a:lnTo>
                  <a:lnTo>
                    <a:pt x="2857704" y="202260"/>
                  </a:lnTo>
                  <a:lnTo>
                    <a:pt x="2857704" y="200228"/>
                  </a:lnTo>
                  <a:lnTo>
                    <a:pt x="2857704" y="202260"/>
                  </a:lnTo>
                  <a:lnTo>
                    <a:pt x="2857704" y="200876"/>
                  </a:lnTo>
                  <a:lnTo>
                    <a:pt x="2857755" y="202260"/>
                  </a:lnTo>
                  <a:lnTo>
                    <a:pt x="2857755" y="200876"/>
                  </a:lnTo>
                  <a:lnTo>
                    <a:pt x="2857755" y="202260"/>
                  </a:lnTo>
                  <a:lnTo>
                    <a:pt x="2857755" y="200876"/>
                  </a:lnTo>
                  <a:lnTo>
                    <a:pt x="2857755" y="202959"/>
                  </a:lnTo>
                  <a:lnTo>
                    <a:pt x="2857755" y="202260"/>
                  </a:lnTo>
                  <a:lnTo>
                    <a:pt x="2857755" y="202959"/>
                  </a:lnTo>
                  <a:lnTo>
                    <a:pt x="2857805" y="202959"/>
                  </a:lnTo>
                  <a:lnTo>
                    <a:pt x="2857805" y="202260"/>
                  </a:lnTo>
                  <a:lnTo>
                    <a:pt x="2857805" y="202959"/>
                  </a:lnTo>
                  <a:lnTo>
                    <a:pt x="2857805" y="202260"/>
                  </a:lnTo>
                  <a:lnTo>
                    <a:pt x="2857907" y="202260"/>
                  </a:lnTo>
                  <a:lnTo>
                    <a:pt x="2857907" y="202959"/>
                  </a:lnTo>
                  <a:lnTo>
                    <a:pt x="2857907" y="200876"/>
                  </a:lnTo>
                  <a:lnTo>
                    <a:pt x="2857958" y="202260"/>
                  </a:lnTo>
                  <a:lnTo>
                    <a:pt x="2857958" y="200876"/>
                  </a:lnTo>
                  <a:lnTo>
                    <a:pt x="2857958" y="202260"/>
                  </a:lnTo>
                  <a:lnTo>
                    <a:pt x="2857958" y="200228"/>
                  </a:lnTo>
                  <a:lnTo>
                    <a:pt x="2857958" y="200876"/>
                  </a:lnTo>
                  <a:lnTo>
                    <a:pt x="2857958" y="199530"/>
                  </a:lnTo>
                  <a:lnTo>
                    <a:pt x="2857958" y="200228"/>
                  </a:lnTo>
                  <a:lnTo>
                    <a:pt x="2857958" y="199530"/>
                  </a:lnTo>
                  <a:lnTo>
                    <a:pt x="2858008" y="199530"/>
                  </a:lnTo>
                  <a:lnTo>
                    <a:pt x="2858008" y="198831"/>
                  </a:lnTo>
                  <a:lnTo>
                    <a:pt x="2858008" y="200876"/>
                  </a:lnTo>
                  <a:lnTo>
                    <a:pt x="2858008" y="199530"/>
                  </a:lnTo>
                  <a:lnTo>
                    <a:pt x="2858047" y="199530"/>
                  </a:lnTo>
                  <a:lnTo>
                    <a:pt x="2858047" y="198831"/>
                  </a:lnTo>
                  <a:lnTo>
                    <a:pt x="2858047" y="202260"/>
                  </a:lnTo>
                  <a:lnTo>
                    <a:pt x="2858047" y="200228"/>
                  </a:lnTo>
                  <a:lnTo>
                    <a:pt x="2858047" y="200876"/>
                  </a:lnTo>
                  <a:lnTo>
                    <a:pt x="2858047" y="200228"/>
                  </a:lnTo>
                  <a:lnTo>
                    <a:pt x="2858047" y="200876"/>
                  </a:lnTo>
                  <a:lnTo>
                    <a:pt x="2858148" y="200876"/>
                  </a:lnTo>
                  <a:lnTo>
                    <a:pt x="2858148" y="202260"/>
                  </a:lnTo>
                  <a:lnTo>
                    <a:pt x="2858199" y="202260"/>
                  </a:lnTo>
                  <a:lnTo>
                    <a:pt x="2858199" y="202959"/>
                  </a:lnTo>
                  <a:lnTo>
                    <a:pt x="2858199" y="202260"/>
                  </a:lnTo>
                  <a:lnTo>
                    <a:pt x="2858250" y="202260"/>
                  </a:lnTo>
                  <a:lnTo>
                    <a:pt x="2858250" y="202959"/>
                  </a:lnTo>
                  <a:lnTo>
                    <a:pt x="2858250" y="202260"/>
                  </a:lnTo>
                  <a:lnTo>
                    <a:pt x="2858250" y="202959"/>
                  </a:lnTo>
                  <a:lnTo>
                    <a:pt x="2858351" y="202959"/>
                  </a:lnTo>
                  <a:lnTo>
                    <a:pt x="2858351" y="202260"/>
                  </a:lnTo>
                  <a:lnTo>
                    <a:pt x="2858351" y="202959"/>
                  </a:lnTo>
                  <a:lnTo>
                    <a:pt x="2858351" y="202260"/>
                  </a:lnTo>
                  <a:lnTo>
                    <a:pt x="2858402" y="202260"/>
                  </a:lnTo>
                  <a:lnTo>
                    <a:pt x="2858402" y="200876"/>
                  </a:lnTo>
                  <a:lnTo>
                    <a:pt x="2858453" y="200876"/>
                  </a:lnTo>
                  <a:lnTo>
                    <a:pt x="2858453" y="200228"/>
                  </a:lnTo>
                  <a:lnTo>
                    <a:pt x="2858453" y="200876"/>
                  </a:lnTo>
                  <a:lnTo>
                    <a:pt x="2858453" y="198831"/>
                  </a:lnTo>
                  <a:lnTo>
                    <a:pt x="2858504" y="198831"/>
                  </a:lnTo>
                  <a:lnTo>
                    <a:pt x="2858504" y="197447"/>
                  </a:lnTo>
                  <a:lnTo>
                    <a:pt x="2858504" y="199530"/>
                  </a:lnTo>
                  <a:lnTo>
                    <a:pt x="2858504" y="198831"/>
                  </a:lnTo>
                  <a:lnTo>
                    <a:pt x="2858593" y="197447"/>
                  </a:lnTo>
                  <a:lnTo>
                    <a:pt x="2858593" y="196799"/>
                  </a:lnTo>
                  <a:lnTo>
                    <a:pt x="2858593" y="200876"/>
                  </a:lnTo>
                  <a:lnTo>
                    <a:pt x="2858593" y="199530"/>
                  </a:lnTo>
                  <a:lnTo>
                    <a:pt x="2858644" y="199530"/>
                  </a:lnTo>
                  <a:lnTo>
                    <a:pt x="2858644" y="198831"/>
                  </a:lnTo>
                  <a:lnTo>
                    <a:pt x="2858644" y="200876"/>
                  </a:lnTo>
                  <a:lnTo>
                    <a:pt x="2858644" y="200228"/>
                  </a:lnTo>
                  <a:lnTo>
                    <a:pt x="2858644" y="200876"/>
                  </a:lnTo>
                  <a:lnTo>
                    <a:pt x="2858694" y="200228"/>
                  </a:lnTo>
                  <a:lnTo>
                    <a:pt x="2858694" y="202260"/>
                  </a:lnTo>
                  <a:lnTo>
                    <a:pt x="2858694" y="200876"/>
                  </a:lnTo>
                  <a:lnTo>
                    <a:pt x="2858745" y="200876"/>
                  </a:lnTo>
                  <a:lnTo>
                    <a:pt x="2858745" y="202260"/>
                  </a:lnTo>
                  <a:lnTo>
                    <a:pt x="2858745" y="200876"/>
                  </a:lnTo>
                  <a:lnTo>
                    <a:pt x="2858745" y="202959"/>
                  </a:lnTo>
                  <a:lnTo>
                    <a:pt x="2858745" y="202260"/>
                  </a:lnTo>
                  <a:lnTo>
                    <a:pt x="2858847" y="202260"/>
                  </a:lnTo>
                  <a:lnTo>
                    <a:pt x="2858847" y="202959"/>
                  </a:lnTo>
                  <a:lnTo>
                    <a:pt x="2858847" y="202260"/>
                  </a:lnTo>
                  <a:lnTo>
                    <a:pt x="2858847" y="202959"/>
                  </a:lnTo>
                  <a:lnTo>
                    <a:pt x="2858847" y="202260"/>
                  </a:lnTo>
                  <a:lnTo>
                    <a:pt x="2858847" y="202959"/>
                  </a:lnTo>
                  <a:lnTo>
                    <a:pt x="2858847" y="202260"/>
                  </a:lnTo>
                  <a:lnTo>
                    <a:pt x="2858847" y="202959"/>
                  </a:lnTo>
                  <a:lnTo>
                    <a:pt x="2858897" y="202959"/>
                  </a:lnTo>
                  <a:lnTo>
                    <a:pt x="2858897" y="202260"/>
                  </a:lnTo>
                  <a:lnTo>
                    <a:pt x="2858897" y="202959"/>
                  </a:lnTo>
                  <a:lnTo>
                    <a:pt x="2858897" y="200876"/>
                  </a:lnTo>
                  <a:lnTo>
                    <a:pt x="2858948" y="200876"/>
                  </a:lnTo>
                  <a:lnTo>
                    <a:pt x="2858948" y="199530"/>
                  </a:lnTo>
                  <a:lnTo>
                    <a:pt x="2858948" y="200228"/>
                  </a:lnTo>
                  <a:lnTo>
                    <a:pt x="2859050" y="200228"/>
                  </a:lnTo>
                  <a:lnTo>
                    <a:pt x="2859050" y="200876"/>
                  </a:lnTo>
                  <a:lnTo>
                    <a:pt x="2859050" y="199530"/>
                  </a:lnTo>
                  <a:lnTo>
                    <a:pt x="2859050" y="200228"/>
                  </a:lnTo>
                  <a:lnTo>
                    <a:pt x="2859050" y="199530"/>
                  </a:lnTo>
                  <a:lnTo>
                    <a:pt x="2859050" y="200876"/>
                  </a:lnTo>
                  <a:lnTo>
                    <a:pt x="2859088" y="202260"/>
                  </a:lnTo>
                  <a:lnTo>
                    <a:pt x="2859088" y="200228"/>
                  </a:lnTo>
                  <a:lnTo>
                    <a:pt x="2859088" y="200876"/>
                  </a:lnTo>
                  <a:lnTo>
                    <a:pt x="2859139" y="200876"/>
                  </a:lnTo>
                  <a:lnTo>
                    <a:pt x="2859139" y="200228"/>
                  </a:lnTo>
                  <a:lnTo>
                    <a:pt x="2859139" y="200876"/>
                  </a:lnTo>
                  <a:lnTo>
                    <a:pt x="2859139" y="200228"/>
                  </a:lnTo>
                  <a:lnTo>
                    <a:pt x="2859139" y="200876"/>
                  </a:lnTo>
                  <a:lnTo>
                    <a:pt x="2859190" y="200876"/>
                  </a:lnTo>
                  <a:lnTo>
                    <a:pt x="2859190" y="202260"/>
                  </a:lnTo>
                  <a:lnTo>
                    <a:pt x="2859190" y="200228"/>
                  </a:lnTo>
                  <a:lnTo>
                    <a:pt x="2859190" y="200876"/>
                  </a:lnTo>
                  <a:lnTo>
                    <a:pt x="2859190" y="200228"/>
                  </a:lnTo>
                  <a:lnTo>
                    <a:pt x="2859190" y="200876"/>
                  </a:lnTo>
                  <a:lnTo>
                    <a:pt x="2859190" y="200228"/>
                  </a:lnTo>
                  <a:lnTo>
                    <a:pt x="2859190" y="200876"/>
                  </a:lnTo>
                  <a:lnTo>
                    <a:pt x="2859291" y="200876"/>
                  </a:lnTo>
                  <a:lnTo>
                    <a:pt x="2859291" y="202260"/>
                  </a:lnTo>
                  <a:lnTo>
                    <a:pt x="2859291" y="200876"/>
                  </a:lnTo>
                  <a:lnTo>
                    <a:pt x="2859291" y="202260"/>
                  </a:lnTo>
                  <a:lnTo>
                    <a:pt x="2859291" y="200876"/>
                  </a:lnTo>
                  <a:lnTo>
                    <a:pt x="2859291" y="202260"/>
                  </a:lnTo>
                  <a:lnTo>
                    <a:pt x="2859291" y="200876"/>
                  </a:lnTo>
                  <a:lnTo>
                    <a:pt x="2859291" y="202260"/>
                  </a:lnTo>
                  <a:lnTo>
                    <a:pt x="2859342" y="200876"/>
                  </a:lnTo>
                  <a:lnTo>
                    <a:pt x="2859342" y="202260"/>
                  </a:lnTo>
                  <a:lnTo>
                    <a:pt x="2859342" y="200876"/>
                  </a:lnTo>
                  <a:lnTo>
                    <a:pt x="2859342" y="202260"/>
                  </a:lnTo>
                  <a:lnTo>
                    <a:pt x="2859342" y="200228"/>
                  </a:lnTo>
                  <a:lnTo>
                    <a:pt x="2859393" y="200876"/>
                  </a:lnTo>
                  <a:lnTo>
                    <a:pt x="2859393" y="200228"/>
                  </a:lnTo>
                  <a:lnTo>
                    <a:pt x="2859393" y="200876"/>
                  </a:lnTo>
                  <a:lnTo>
                    <a:pt x="2859393" y="200228"/>
                  </a:lnTo>
                  <a:lnTo>
                    <a:pt x="2859393" y="200876"/>
                  </a:lnTo>
                  <a:lnTo>
                    <a:pt x="2859393" y="200228"/>
                  </a:lnTo>
                  <a:lnTo>
                    <a:pt x="2859494" y="199530"/>
                  </a:lnTo>
                  <a:lnTo>
                    <a:pt x="2859494" y="202260"/>
                  </a:lnTo>
                  <a:lnTo>
                    <a:pt x="2859494" y="200876"/>
                  </a:lnTo>
                  <a:lnTo>
                    <a:pt x="2859494" y="202260"/>
                  </a:lnTo>
                  <a:lnTo>
                    <a:pt x="2859494" y="199530"/>
                  </a:lnTo>
                  <a:lnTo>
                    <a:pt x="2859545" y="198831"/>
                  </a:lnTo>
                  <a:lnTo>
                    <a:pt x="2859545" y="204292"/>
                  </a:lnTo>
                  <a:lnTo>
                    <a:pt x="2859545" y="200876"/>
                  </a:lnTo>
                  <a:lnTo>
                    <a:pt x="2859596" y="202260"/>
                  </a:lnTo>
                  <a:lnTo>
                    <a:pt x="2859596" y="203594"/>
                  </a:lnTo>
                  <a:lnTo>
                    <a:pt x="2859596" y="202260"/>
                  </a:lnTo>
                  <a:lnTo>
                    <a:pt x="2859596" y="202959"/>
                  </a:lnTo>
                  <a:lnTo>
                    <a:pt x="2859634" y="202959"/>
                  </a:lnTo>
                  <a:lnTo>
                    <a:pt x="2859634" y="202260"/>
                  </a:lnTo>
                  <a:lnTo>
                    <a:pt x="2859634" y="202959"/>
                  </a:lnTo>
                  <a:lnTo>
                    <a:pt x="2859736" y="202959"/>
                  </a:lnTo>
                  <a:lnTo>
                    <a:pt x="2859736" y="202260"/>
                  </a:lnTo>
                  <a:lnTo>
                    <a:pt x="2859736" y="202959"/>
                  </a:lnTo>
                  <a:lnTo>
                    <a:pt x="2859787" y="202959"/>
                  </a:lnTo>
                  <a:lnTo>
                    <a:pt x="2859787" y="202260"/>
                  </a:lnTo>
                  <a:lnTo>
                    <a:pt x="2859787" y="202959"/>
                  </a:lnTo>
                  <a:lnTo>
                    <a:pt x="2859787" y="202260"/>
                  </a:lnTo>
                  <a:lnTo>
                    <a:pt x="2859787" y="202959"/>
                  </a:lnTo>
                  <a:lnTo>
                    <a:pt x="2859787" y="202260"/>
                  </a:lnTo>
                  <a:lnTo>
                    <a:pt x="2859787" y="202959"/>
                  </a:lnTo>
                  <a:lnTo>
                    <a:pt x="2859837" y="202959"/>
                  </a:lnTo>
                  <a:lnTo>
                    <a:pt x="2859837" y="200876"/>
                  </a:lnTo>
                  <a:lnTo>
                    <a:pt x="2859837" y="202260"/>
                  </a:lnTo>
                  <a:lnTo>
                    <a:pt x="2859837" y="200876"/>
                  </a:lnTo>
                  <a:lnTo>
                    <a:pt x="2859939" y="200876"/>
                  </a:lnTo>
                  <a:lnTo>
                    <a:pt x="2859939" y="200228"/>
                  </a:lnTo>
                  <a:lnTo>
                    <a:pt x="2859939" y="200876"/>
                  </a:lnTo>
                  <a:lnTo>
                    <a:pt x="2859939" y="200228"/>
                  </a:lnTo>
                  <a:lnTo>
                    <a:pt x="2859939" y="200876"/>
                  </a:lnTo>
                  <a:lnTo>
                    <a:pt x="2859939" y="199530"/>
                  </a:lnTo>
                  <a:lnTo>
                    <a:pt x="2859939" y="202260"/>
                  </a:lnTo>
                  <a:lnTo>
                    <a:pt x="2859990" y="202260"/>
                  </a:lnTo>
                  <a:lnTo>
                    <a:pt x="2859990" y="200876"/>
                  </a:lnTo>
                  <a:lnTo>
                    <a:pt x="2859990" y="202260"/>
                  </a:lnTo>
                  <a:lnTo>
                    <a:pt x="2859990" y="200228"/>
                  </a:lnTo>
                  <a:lnTo>
                    <a:pt x="2859990" y="203594"/>
                  </a:lnTo>
                  <a:lnTo>
                    <a:pt x="2860040" y="203594"/>
                  </a:lnTo>
                  <a:lnTo>
                    <a:pt x="2860040" y="202260"/>
                  </a:lnTo>
                  <a:lnTo>
                    <a:pt x="2860040" y="203594"/>
                  </a:lnTo>
                  <a:lnTo>
                    <a:pt x="2860091" y="203594"/>
                  </a:lnTo>
                  <a:lnTo>
                    <a:pt x="2860091" y="202959"/>
                  </a:lnTo>
                  <a:lnTo>
                    <a:pt x="2860091" y="203594"/>
                  </a:lnTo>
                  <a:lnTo>
                    <a:pt x="2860091" y="202959"/>
                  </a:lnTo>
                  <a:lnTo>
                    <a:pt x="2860091" y="203594"/>
                  </a:lnTo>
                  <a:lnTo>
                    <a:pt x="2860091" y="202959"/>
                  </a:lnTo>
                  <a:lnTo>
                    <a:pt x="2860091" y="203594"/>
                  </a:lnTo>
                  <a:lnTo>
                    <a:pt x="2860180" y="203594"/>
                  </a:lnTo>
                  <a:lnTo>
                    <a:pt x="2860180" y="202959"/>
                  </a:lnTo>
                  <a:lnTo>
                    <a:pt x="2860180" y="203594"/>
                  </a:lnTo>
                  <a:lnTo>
                    <a:pt x="2860180" y="202959"/>
                  </a:lnTo>
                  <a:lnTo>
                    <a:pt x="2860180" y="203594"/>
                  </a:lnTo>
                  <a:lnTo>
                    <a:pt x="2860180" y="202959"/>
                  </a:lnTo>
                  <a:lnTo>
                    <a:pt x="2860231" y="202959"/>
                  </a:lnTo>
                  <a:lnTo>
                    <a:pt x="2860231" y="203594"/>
                  </a:lnTo>
                  <a:lnTo>
                    <a:pt x="2860231" y="202959"/>
                  </a:lnTo>
                  <a:lnTo>
                    <a:pt x="2860231" y="203594"/>
                  </a:lnTo>
                  <a:lnTo>
                    <a:pt x="2860231" y="202959"/>
                  </a:lnTo>
                  <a:lnTo>
                    <a:pt x="2860282" y="202959"/>
                  </a:lnTo>
                  <a:lnTo>
                    <a:pt x="2860282" y="202260"/>
                  </a:lnTo>
                  <a:lnTo>
                    <a:pt x="2860282" y="202959"/>
                  </a:lnTo>
                  <a:lnTo>
                    <a:pt x="2860282" y="200876"/>
                  </a:lnTo>
                  <a:lnTo>
                    <a:pt x="2860333" y="200876"/>
                  </a:lnTo>
                  <a:lnTo>
                    <a:pt x="2860333" y="202260"/>
                  </a:lnTo>
                  <a:lnTo>
                    <a:pt x="2860333" y="200228"/>
                  </a:lnTo>
                  <a:lnTo>
                    <a:pt x="2860333" y="200876"/>
                  </a:lnTo>
                  <a:lnTo>
                    <a:pt x="2860333" y="199530"/>
                  </a:lnTo>
                  <a:lnTo>
                    <a:pt x="2860434" y="199530"/>
                  </a:lnTo>
                  <a:lnTo>
                    <a:pt x="2860434" y="197447"/>
                  </a:lnTo>
                  <a:lnTo>
                    <a:pt x="2860434" y="199530"/>
                  </a:lnTo>
                  <a:lnTo>
                    <a:pt x="2860485" y="199530"/>
                  </a:lnTo>
                  <a:lnTo>
                    <a:pt x="2860485" y="198831"/>
                  </a:lnTo>
                  <a:lnTo>
                    <a:pt x="2860485" y="202260"/>
                  </a:lnTo>
                  <a:lnTo>
                    <a:pt x="2860536" y="202260"/>
                  </a:lnTo>
                  <a:lnTo>
                    <a:pt x="2860536" y="200228"/>
                  </a:lnTo>
                  <a:lnTo>
                    <a:pt x="2860536" y="202260"/>
                  </a:lnTo>
                  <a:lnTo>
                    <a:pt x="2860637" y="202260"/>
                  </a:lnTo>
                  <a:lnTo>
                    <a:pt x="2860637" y="200876"/>
                  </a:lnTo>
                  <a:lnTo>
                    <a:pt x="2860637" y="202959"/>
                  </a:lnTo>
                  <a:lnTo>
                    <a:pt x="2860637" y="202260"/>
                  </a:lnTo>
                  <a:lnTo>
                    <a:pt x="2860676" y="202260"/>
                  </a:lnTo>
                  <a:lnTo>
                    <a:pt x="2860676" y="202959"/>
                  </a:lnTo>
                  <a:lnTo>
                    <a:pt x="2860726" y="202959"/>
                  </a:lnTo>
                  <a:lnTo>
                    <a:pt x="2860726" y="202260"/>
                  </a:lnTo>
                  <a:lnTo>
                    <a:pt x="2860726" y="202959"/>
                  </a:lnTo>
                  <a:lnTo>
                    <a:pt x="2860726" y="202260"/>
                  </a:lnTo>
                  <a:lnTo>
                    <a:pt x="2860726" y="202959"/>
                  </a:lnTo>
                  <a:lnTo>
                    <a:pt x="2860726" y="202260"/>
                  </a:lnTo>
                  <a:lnTo>
                    <a:pt x="2860726" y="202959"/>
                  </a:lnTo>
                  <a:lnTo>
                    <a:pt x="2860726" y="202260"/>
                  </a:lnTo>
                  <a:lnTo>
                    <a:pt x="2860777" y="202959"/>
                  </a:lnTo>
                  <a:lnTo>
                    <a:pt x="2860777" y="202260"/>
                  </a:lnTo>
                  <a:lnTo>
                    <a:pt x="2860777" y="202959"/>
                  </a:lnTo>
                  <a:lnTo>
                    <a:pt x="2860777" y="200876"/>
                  </a:lnTo>
                  <a:lnTo>
                    <a:pt x="2860879" y="200876"/>
                  </a:lnTo>
                  <a:lnTo>
                    <a:pt x="2860879" y="199530"/>
                  </a:lnTo>
                  <a:lnTo>
                    <a:pt x="2860930" y="199530"/>
                  </a:lnTo>
                  <a:lnTo>
                    <a:pt x="2860930" y="198831"/>
                  </a:lnTo>
                  <a:lnTo>
                    <a:pt x="2860930" y="199530"/>
                  </a:lnTo>
                  <a:lnTo>
                    <a:pt x="2860930" y="198831"/>
                  </a:lnTo>
                  <a:lnTo>
                    <a:pt x="2860930" y="199530"/>
                  </a:lnTo>
                  <a:lnTo>
                    <a:pt x="2860980" y="198831"/>
                  </a:lnTo>
                  <a:lnTo>
                    <a:pt x="2860980" y="200876"/>
                  </a:lnTo>
                  <a:lnTo>
                    <a:pt x="2860980" y="199530"/>
                  </a:lnTo>
                  <a:lnTo>
                    <a:pt x="2861082" y="199530"/>
                  </a:lnTo>
                  <a:lnTo>
                    <a:pt x="2861082" y="202260"/>
                  </a:lnTo>
                  <a:lnTo>
                    <a:pt x="2861082" y="200228"/>
                  </a:lnTo>
                  <a:lnTo>
                    <a:pt x="2861082" y="200876"/>
                  </a:lnTo>
                  <a:lnTo>
                    <a:pt x="2861082" y="200228"/>
                  </a:lnTo>
                  <a:lnTo>
                    <a:pt x="2861133" y="200876"/>
                  </a:lnTo>
                  <a:lnTo>
                    <a:pt x="2861133" y="202260"/>
                  </a:lnTo>
                  <a:lnTo>
                    <a:pt x="2861133" y="200228"/>
                  </a:lnTo>
                  <a:lnTo>
                    <a:pt x="2861133" y="200876"/>
                  </a:lnTo>
                  <a:lnTo>
                    <a:pt x="2861183" y="200876"/>
                  </a:lnTo>
                  <a:lnTo>
                    <a:pt x="2861183" y="202260"/>
                  </a:lnTo>
                  <a:lnTo>
                    <a:pt x="2861222" y="202260"/>
                  </a:lnTo>
                  <a:lnTo>
                    <a:pt x="2861222" y="202959"/>
                  </a:lnTo>
                  <a:lnTo>
                    <a:pt x="2861222" y="202260"/>
                  </a:lnTo>
                  <a:lnTo>
                    <a:pt x="2861222" y="202959"/>
                  </a:lnTo>
                  <a:lnTo>
                    <a:pt x="2861222" y="202260"/>
                  </a:lnTo>
                  <a:lnTo>
                    <a:pt x="2861323" y="202260"/>
                  </a:lnTo>
                  <a:lnTo>
                    <a:pt x="2861323" y="200228"/>
                  </a:lnTo>
                  <a:lnTo>
                    <a:pt x="2861374" y="200876"/>
                  </a:lnTo>
                  <a:lnTo>
                    <a:pt x="2861374" y="199530"/>
                  </a:lnTo>
                  <a:lnTo>
                    <a:pt x="2861374" y="200228"/>
                  </a:lnTo>
                  <a:lnTo>
                    <a:pt x="2861374" y="199530"/>
                  </a:lnTo>
                  <a:lnTo>
                    <a:pt x="2861374" y="200228"/>
                  </a:lnTo>
                  <a:lnTo>
                    <a:pt x="2861374" y="198831"/>
                  </a:lnTo>
                  <a:lnTo>
                    <a:pt x="2861425" y="198831"/>
                  </a:lnTo>
                  <a:lnTo>
                    <a:pt x="2861425" y="196799"/>
                  </a:lnTo>
                  <a:lnTo>
                    <a:pt x="2861425" y="199530"/>
                  </a:lnTo>
                  <a:lnTo>
                    <a:pt x="2861425" y="197447"/>
                  </a:lnTo>
                  <a:lnTo>
                    <a:pt x="2861526" y="197447"/>
                  </a:lnTo>
                  <a:lnTo>
                    <a:pt x="2861526" y="196113"/>
                  </a:lnTo>
                  <a:lnTo>
                    <a:pt x="2861526" y="200228"/>
                  </a:lnTo>
                  <a:lnTo>
                    <a:pt x="2861526" y="198831"/>
                  </a:lnTo>
                  <a:lnTo>
                    <a:pt x="2861577" y="198831"/>
                  </a:lnTo>
                  <a:lnTo>
                    <a:pt x="2861577" y="200228"/>
                  </a:lnTo>
                  <a:lnTo>
                    <a:pt x="2861577" y="199530"/>
                  </a:lnTo>
                  <a:lnTo>
                    <a:pt x="2861577" y="200228"/>
                  </a:lnTo>
                  <a:lnTo>
                    <a:pt x="2861577" y="199530"/>
                  </a:lnTo>
                  <a:lnTo>
                    <a:pt x="2861628" y="199530"/>
                  </a:lnTo>
                  <a:lnTo>
                    <a:pt x="2861628" y="200228"/>
                  </a:lnTo>
                  <a:lnTo>
                    <a:pt x="2861679" y="200228"/>
                  </a:lnTo>
                  <a:lnTo>
                    <a:pt x="2861679" y="200876"/>
                  </a:lnTo>
                  <a:lnTo>
                    <a:pt x="2861679" y="200228"/>
                  </a:lnTo>
                  <a:lnTo>
                    <a:pt x="2861768" y="200228"/>
                  </a:lnTo>
                  <a:lnTo>
                    <a:pt x="2861768" y="200876"/>
                  </a:lnTo>
                  <a:lnTo>
                    <a:pt x="2861768" y="200228"/>
                  </a:lnTo>
                  <a:lnTo>
                    <a:pt x="2861768" y="200876"/>
                  </a:lnTo>
                  <a:lnTo>
                    <a:pt x="2861819" y="200876"/>
                  </a:lnTo>
                  <a:lnTo>
                    <a:pt x="2861819" y="202260"/>
                  </a:lnTo>
                  <a:lnTo>
                    <a:pt x="2861819" y="200228"/>
                  </a:lnTo>
                  <a:lnTo>
                    <a:pt x="2861819" y="200876"/>
                  </a:lnTo>
                  <a:lnTo>
                    <a:pt x="2861819" y="200228"/>
                  </a:lnTo>
                  <a:lnTo>
                    <a:pt x="2861869" y="200228"/>
                  </a:lnTo>
                  <a:lnTo>
                    <a:pt x="2861869" y="198831"/>
                  </a:lnTo>
                  <a:lnTo>
                    <a:pt x="2861920" y="197447"/>
                  </a:lnTo>
                  <a:lnTo>
                    <a:pt x="2861920" y="196799"/>
                  </a:lnTo>
                  <a:lnTo>
                    <a:pt x="2862022" y="196799"/>
                  </a:lnTo>
                  <a:lnTo>
                    <a:pt x="2862022" y="196113"/>
                  </a:lnTo>
                  <a:lnTo>
                    <a:pt x="2862022" y="197447"/>
                  </a:lnTo>
                  <a:lnTo>
                    <a:pt x="2862072" y="197447"/>
                  </a:lnTo>
                  <a:lnTo>
                    <a:pt x="2862072" y="196113"/>
                  </a:lnTo>
                  <a:lnTo>
                    <a:pt x="2862072" y="197447"/>
                  </a:lnTo>
                  <a:lnTo>
                    <a:pt x="2862123" y="197447"/>
                  </a:lnTo>
                  <a:lnTo>
                    <a:pt x="2862123" y="196799"/>
                  </a:lnTo>
                  <a:lnTo>
                    <a:pt x="2862123" y="198831"/>
                  </a:lnTo>
                  <a:lnTo>
                    <a:pt x="2862123" y="197447"/>
                  </a:lnTo>
                  <a:lnTo>
                    <a:pt x="2862123" y="198831"/>
                  </a:lnTo>
                  <a:lnTo>
                    <a:pt x="2862123" y="197447"/>
                  </a:lnTo>
                  <a:lnTo>
                    <a:pt x="2862225" y="197447"/>
                  </a:lnTo>
                  <a:lnTo>
                    <a:pt x="2862225" y="199530"/>
                  </a:lnTo>
                  <a:lnTo>
                    <a:pt x="2862225" y="198831"/>
                  </a:lnTo>
                  <a:lnTo>
                    <a:pt x="2862263" y="198831"/>
                  </a:lnTo>
                  <a:lnTo>
                    <a:pt x="2862263" y="200228"/>
                  </a:lnTo>
                  <a:lnTo>
                    <a:pt x="2862314" y="200228"/>
                  </a:lnTo>
                  <a:lnTo>
                    <a:pt x="2862314" y="199530"/>
                  </a:lnTo>
                  <a:lnTo>
                    <a:pt x="2862314" y="200228"/>
                  </a:lnTo>
                  <a:lnTo>
                    <a:pt x="2862365" y="200228"/>
                  </a:lnTo>
                  <a:lnTo>
                    <a:pt x="2862365" y="198831"/>
                  </a:lnTo>
                  <a:lnTo>
                    <a:pt x="2862365" y="199530"/>
                  </a:lnTo>
                  <a:lnTo>
                    <a:pt x="2862365" y="198831"/>
                  </a:lnTo>
                  <a:lnTo>
                    <a:pt x="2862365" y="199530"/>
                  </a:lnTo>
                  <a:lnTo>
                    <a:pt x="2862365" y="198831"/>
                  </a:lnTo>
                  <a:lnTo>
                    <a:pt x="2862466" y="198831"/>
                  </a:lnTo>
                  <a:lnTo>
                    <a:pt x="2862466" y="197447"/>
                  </a:lnTo>
                  <a:lnTo>
                    <a:pt x="2862466" y="198831"/>
                  </a:lnTo>
                  <a:lnTo>
                    <a:pt x="2862466" y="197447"/>
                  </a:lnTo>
                  <a:lnTo>
                    <a:pt x="2862466" y="198831"/>
                  </a:lnTo>
                  <a:lnTo>
                    <a:pt x="2862466" y="197447"/>
                  </a:lnTo>
                  <a:lnTo>
                    <a:pt x="2862466" y="198831"/>
                  </a:lnTo>
                  <a:lnTo>
                    <a:pt x="2862517" y="197447"/>
                  </a:lnTo>
                  <a:lnTo>
                    <a:pt x="2862517" y="196799"/>
                  </a:lnTo>
                  <a:lnTo>
                    <a:pt x="2862517" y="199530"/>
                  </a:lnTo>
                  <a:lnTo>
                    <a:pt x="2862517" y="198831"/>
                  </a:lnTo>
                  <a:lnTo>
                    <a:pt x="2862568" y="199530"/>
                  </a:lnTo>
                  <a:lnTo>
                    <a:pt x="2862568" y="197447"/>
                  </a:lnTo>
                  <a:lnTo>
                    <a:pt x="2862568" y="199530"/>
                  </a:lnTo>
                  <a:lnTo>
                    <a:pt x="2862568" y="198831"/>
                  </a:lnTo>
                  <a:lnTo>
                    <a:pt x="2862669" y="198831"/>
                  </a:lnTo>
                  <a:lnTo>
                    <a:pt x="2862669" y="199530"/>
                  </a:lnTo>
                  <a:lnTo>
                    <a:pt x="2862669" y="198831"/>
                  </a:lnTo>
                  <a:lnTo>
                    <a:pt x="2862720" y="198831"/>
                  </a:lnTo>
                  <a:lnTo>
                    <a:pt x="2862720" y="200228"/>
                  </a:lnTo>
                  <a:lnTo>
                    <a:pt x="2862720" y="199530"/>
                  </a:lnTo>
                  <a:lnTo>
                    <a:pt x="2862720" y="200228"/>
                  </a:lnTo>
                  <a:lnTo>
                    <a:pt x="2862720" y="199530"/>
                  </a:lnTo>
                  <a:lnTo>
                    <a:pt x="2862771" y="199530"/>
                  </a:lnTo>
                  <a:lnTo>
                    <a:pt x="2862771" y="200228"/>
                  </a:lnTo>
                  <a:lnTo>
                    <a:pt x="2862809" y="200228"/>
                  </a:lnTo>
                  <a:lnTo>
                    <a:pt x="2862809" y="200876"/>
                  </a:lnTo>
                  <a:lnTo>
                    <a:pt x="2862809" y="199530"/>
                  </a:lnTo>
                  <a:lnTo>
                    <a:pt x="2862911" y="200228"/>
                  </a:lnTo>
                  <a:lnTo>
                    <a:pt x="2862911" y="199530"/>
                  </a:lnTo>
                  <a:lnTo>
                    <a:pt x="2862911" y="200228"/>
                  </a:lnTo>
                  <a:lnTo>
                    <a:pt x="2862911" y="198831"/>
                  </a:lnTo>
                  <a:lnTo>
                    <a:pt x="2862911" y="199530"/>
                  </a:lnTo>
                  <a:lnTo>
                    <a:pt x="2862911" y="198831"/>
                  </a:lnTo>
                  <a:lnTo>
                    <a:pt x="2862911" y="200228"/>
                  </a:lnTo>
                  <a:lnTo>
                    <a:pt x="2862911" y="198831"/>
                  </a:lnTo>
                  <a:lnTo>
                    <a:pt x="2862962" y="198831"/>
                  </a:lnTo>
                  <a:lnTo>
                    <a:pt x="2862962" y="200228"/>
                  </a:lnTo>
                  <a:lnTo>
                    <a:pt x="2862962" y="198831"/>
                  </a:lnTo>
                  <a:lnTo>
                    <a:pt x="2863012" y="199530"/>
                  </a:lnTo>
                  <a:lnTo>
                    <a:pt x="2863012" y="200876"/>
                  </a:lnTo>
                  <a:lnTo>
                    <a:pt x="2863012" y="200228"/>
                  </a:lnTo>
                  <a:lnTo>
                    <a:pt x="2863114" y="199530"/>
                  </a:lnTo>
                  <a:lnTo>
                    <a:pt x="2863114" y="200876"/>
                  </a:lnTo>
                  <a:lnTo>
                    <a:pt x="2863114" y="200228"/>
                  </a:lnTo>
                  <a:lnTo>
                    <a:pt x="2863114" y="200876"/>
                  </a:lnTo>
                  <a:lnTo>
                    <a:pt x="2863165" y="200228"/>
                  </a:lnTo>
                  <a:lnTo>
                    <a:pt x="2863165" y="200876"/>
                  </a:lnTo>
                  <a:lnTo>
                    <a:pt x="2863165" y="200228"/>
                  </a:lnTo>
                  <a:lnTo>
                    <a:pt x="2863215" y="200228"/>
                  </a:lnTo>
                  <a:lnTo>
                    <a:pt x="2863215" y="200876"/>
                  </a:lnTo>
                  <a:lnTo>
                    <a:pt x="2863215" y="200228"/>
                  </a:lnTo>
                  <a:lnTo>
                    <a:pt x="2863215" y="200876"/>
                  </a:lnTo>
                  <a:lnTo>
                    <a:pt x="2863215" y="200228"/>
                  </a:lnTo>
                  <a:lnTo>
                    <a:pt x="2863266" y="200228"/>
                  </a:lnTo>
                  <a:lnTo>
                    <a:pt x="2863266" y="200876"/>
                  </a:lnTo>
                  <a:lnTo>
                    <a:pt x="2863266" y="200228"/>
                  </a:lnTo>
                  <a:lnTo>
                    <a:pt x="2863355" y="200228"/>
                  </a:lnTo>
                  <a:lnTo>
                    <a:pt x="2863355" y="198831"/>
                  </a:lnTo>
                  <a:lnTo>
                    <a:pt x="2863355" y="199530"/>
                  </a:lnTo>
                  <a:lnTo>
                    <a:pt x="2863406" y="199530"/>
                  </a:lnTo>
                  <a:lnTo>
                    <a:pt x="2863406" y="197447"/>
                  </a:lnTo>
                  <a:lnTo>
                    <a:pt x="2863406" y="198831"/>
                  </a:lnTo>
                  <a:lnTo>
                    <a:pt x="2863406" y="197447"/>
                  </a:lnTo>
                  <a:lnTo>
                    <a:pt x="2863406" y="199530"/>
                  </a:lnTo>
                  <a:lnTo>
                    <a:pt x="2863457" y="199530"/>
                  </a:lnTo>
                  <a:lnTo>
                    <a:pt x="2863457" y="198831"/>
                  </a:lnTo>
                  <a:lnTo>
                    <a:pt x="2863457" y="200876"/>
                  </a:lnTo>
                  <a:lnTo>
                    <a:pt x="2863508" y="200876"/>
                  </a:lnTo>
                  <a:lnTo>
                    <a:pt x="2863508" y="200228"/>
                  </a:lnTo>
                  <a:lnTo>
                    <a:pt x="2863508" y="202260"/>
                  </a:lnTo>
                  <a:lnTo>
                    <a:pt x="2863609" y="202260"/>
                  </a:lnTo>
                  <a:lnTo>
                    <a:pt x="2863609" y="200876"/>
                  </a:lnTo>
                  <a:lnTo>
                    <a:pt x="2863609" y="202260"/>
                  </a:lnTo>
                  <a:lnTo>
                    <a:pt x="2863609" y="200876"/>
                  </a:lnTo>
                  <a:lnTo>
                    <a:pt x="2863660" y="200876"/>
                  </a:lnTo>
                  <a:lnTo>
                    <a:pt x="2863660" y="202260"/>
                  </a:lnTo>
                  <a:lnTo>
                    <a:pt x="2863660" y="200876"/>
                  </a:lnTo>
                  <a:lnTo>
                    <a:pt x="2863660" y="202260"/>
                  </a:lnTo>
                  <a:lnTo>
                    <a:pt x="2863711" y="202260"/>
                  </a:lnTo>
                  <a:lnTo>
                    <a:pt x="2863711" y="200876"/>
                  </a:lnTo>
                  <a:lnTo>
                    <a:pt x="2863711" y="202260"/>
                  </a:lnTo>
                  <a:lnTo>
                    <a:pt x="2863711" y="200876"/>
                  </a:lnTo>
                  <a:lnTo>
                    <a:pt x="2863711" y="202260"/>
                  </a:lnTo>
                  <a:lnTo>
                    <a:pt x="2863812" y="202260"/>
                  </a:lnTo>
                  <a:lnTo>
                    <a:pt x="2863812" y="200228"/>
                  </a:lnTo>
                  <a:lnTo>
                    <a:pt x="2863812" y="200876"/>
                  </a:lnTo>
                  <a:lnTo>
                    <a:pt x="2863812" y="200228"/>
                  </a:lnTo>
                  <a:lnTo>
                    <a:pt x="2863812" y="200876"/>
                  </a:lnTo>
                  <a:lnTo>
                    <a:pt x="2863812" y="200228"/>
                  </a:lnTo>
                  <a:lnTo>
                    <a:pt x="2863812" y="200876"/>
                  </a:lnTo>
                  <a:lnTo>
                    <a:pt x="2863812" y="200228"/>
                  </a:lnTo>
                  <a:lnTo>
                    <a:pt x="2863812" y="200876"/>
                  </a:lnTo>
                  <a:lnTo>
                    <a:pt x="2863812" y="200228"/>
                  </a:lnTo>
                  <a:lnTo>
                    <a:pt x="2863851" y="200228"/>
                  </a:lnTo>
                  <a:lnTo>
                    <a:pt x="2863851" y="198831"/>
                  </a:lnTo>
                  <a:lnTo>
                    <a:pt x="2863901" y="198831"/>
                  </a:lnTo>
                  <a:lnTo>
                    <a:pt x="2863901" y="197447"/>
                  </a:lnTo>
                  <a:lnTo>
                    <a:pt x="2863901" y="200228"/>
                  </a:lnTo>
                  <a:lnTo>
                    <a:pt x="2863901" y="199530"/>
                  </a:lnTo>
                  <a:lnTo>
                    <a:pt x="2863952" y="199530"/>
                  </a:lnTo>
                  <a:lnTo>
                    <a:pt x="2863952" y="198831"/>
                  </a:lnTo>
                  <a:lnTo>
                    <a:pt x="2863952" y="200876"/>
                  </a:lnTo>
                  <a:lnTo>
                    <a:pt x="2863952" y="200228"/>
                  </a:lnTo>
                  <a:lnTo>
                    <a:pt x="2863952" y="200876"/>
                  </a:lnTo>
                  <a:lnTo>
                    <a:pt x="2863952" y="200228"/>
                  </a:lnTo>
                  <a:lnTo>
                    <a:pt x="2864054" y="200228"/>
                  </a:lnTo>
                  <a:lnTo>
                    <a:pt x="2864054" y="202260"/>
                  </a:lnTo>
                  <a:lnTo>
                    <a:pt x="2864054" y="200876"/>
                  </a:lnTo>
                  <a:lnTo>
                    <a:pt x="2864105" y="200876"/>
                  </a:lnTo>
                  <a:lnTo>
                    <a:pt x="2864105" y="202260"/>
                  </a:lnTo>
                  <a:lnTo>
                    <a:pt x="2864105" y="200876"/>
                  </a:lnTo>
                  <a:lnTo>
                    <a:pt x="2864105" y="202260"/>
                  </a:lnTo>
                  <a:lnTo>
                    <a:pt x="2864105" y="200876"/>
                  </a:lnTo>
                  <a:lnTo>
                    <a:pt x="2864155" y="202260"/>
                  </a:lnTo>
                  <a:lnTo>
                    <a:pt x="2864155" y="200876"/>
                  </a:lnTo>
                  <a:lnTo>
                    <a:pt x="2864155" y="202260"/>
                  </a:lnTo>
                  <a:lnTo>
                    <a:pt x="2864155" y="200876"/>
                  </a:lnTo>
                  <a:lnTo>
                    <a:pt x="2864155" y="202260"/>
                  </a:lnTo>
                  <a:lnTo>
                    <a:pt x="2864155" y="200876"/>
                  </a:lnTo>
                  <a:lnTo>
                    <a:pt x="2864155" y="202260"/>
                  </a:lnTo>
                  <a:lnTo>
                    <a:pt x="2864257" y="202260"/>
                  </a:lnTo>
                  <a:lnTo>
                    <a:pt x="2864257" y="200876"/>
                  </a:lnTo>
                  <a:lnTo>
                    <a:pt x="2864308" y="200876"/>
                  </a:lnTo>
                  <a:lnTo>
                    <a:pt x="2864308" y="202260"/>
                  </a:lnTo>
                  <a:lnTo>
                    <a:pt x="2864308" y="200876"/>
                  </a:lnTo>
                  <a:lnTo>
                    <a:pt x="2864308" y="202260"/>
                  </a:lnTo>
                  <a:lnTo>
                    <a:pt x="2864308" y="200228"/>
                  </a:lnTo>
                  <a:lnTo>
                    <a:pt x="2864308" y="200876"/>
                  </a:lnTo>
                  <a:lnTo>
                    <a:pt x="2864358" y="200228"/>
                  </a:lnTo>
                  <a:lnTo>
                    <a:pt x="2864358" y="200876"/>
                  </a:lnTo>
                  <a:lnTo>
                    <a:pt x="2864358" y="196799"/>
                  </a:lnTo>
                  <a:lnTo>
                    <a:pt x="2864397" y="196799"/>
                  </a:lnTo>
                  <a:lnTo>
                    <a:pt x="2864397" y="199530"/>
                  </a:lnTo>
                  <a:lnTo>
                    <a:pt x="2864397" y="198831"/>
                  </a:lnTo>
                  <a:lnTo>
                    <a:pt x="2864498" y="197447"/>
                  </a:lnTo>
                  <a:lnTo>
                    <a:pt x="2864498" y="196799"/>
                  </a:lnTo>
                  <a:lnTo>
                    <a:pt x="2864498" y="200228"/>
                  </a:lnTo>
                  <a:lnTo>
                    <a:pt x="2864498" y="199530"/>
                  </a:lnTo>
                  <a:lnTo>
                    <a:pt x="2864549" y="199530"/>
                  </a:lnTo>
                  <a:lnTo>
                    <a:pt x="2864549" y="200876"/>
                  </a:lnTo>
                  <a:lnTo>
                    <a:pt x="2864549" y="200228"/>
                  </a:lnTo>
                  <a:lnTo>
                    <a:pt x="2864549" y="200876"/>
                  </a:lnTo>
                  <a:lnTo>
                    <a:pt x="2864549" y="200228"/>
                  </a:lnTo>
                  <a:lnTo>
                    <a:pt x="2864600" y="200228"/>
                  </a:lnTo>
                  <a:lnTo>
                    <a:pt x="2864600" y="200876"/>
                  </a:lnTo>
                  <a:lnTo>
                    <a:pt x="2864600" y="200228"/>
                  </a:lnTo>
                  <a:lnTo>
                    <a:pt x="2864600" y="202260"/>
                  </a:lnTo>
                  <a:lnTo>
                    <a:pt x="2864701" y="200876"/>
                  </a:lnTo>
                  <a:lnTo>
                    <a:pt x="2864701" y="202260"/>
                  </a:lnTo>
                  <a:lnTo>
                    <a:pt x="2864701" y="200876"/>
                  </a:lnTo>
                  <a:lnTo>
                    <a:pt x="2864701" y="202260"/>
                  </a:lnTo>
                  <a:lnTo>
                    <a:pt x="2864701" y="200876"/>
                  </a:lnTo>
                  <a:lnTo>
                    <a:pt x="2864701" y="202260"/>
                  </a:lnTo>
                  <a:lnTo>
                    <a:pt x="2864752" y="202260"/>
                  </a:lnTo>
                  <a:lnTo>
                    <a:pt x="2864752" y="200876"/>
                  </a:lnTo>
                  <a:lnTo>
                    <a:pt x="2864752" y="202260"/>
                  </a:lnTo>
                  <a:lnTo>
                    <a:pt x="2864752" y="200876"/>
                  </a:lnTo>
                  <a:lnTo>
                    <a:pt x="2864752" y="202260"/>
                  </a:lnTo>
                  <a:lnTo>
                    <a:pt x="2864803" y="200876"/>
                  </a:lnTo>
                  <a:lnTo>
                    <a:pt x="2864803" y="202260"/>
                  </a:lnTo>
                  <a:lnTo>
                    <a:pt x="2864803" y="200876"/>
                  </a:lnTo>
                  <a:lnTo>
                    <a:pt x="2864854" y="200876"/>
                  </a:lnTo>
                  <a:lnTo>
                    <a:pt x="2864854" y="197447"/>
                  </a:lnTo>
                  <a:lnTo>
                    <a:pt x="2864854" y="199530"/>
                  </a:lnTo>
                  <a:lnTo>
                    <a:pt x="2864943" y="200228"/>
                  </a:lnTo>
                  <a:lnTo>
                    <a:pt x="2864943" y="198831"/>
                  </a:lnTo>
                  <a:lnTo>
                    <a:pt x="2864943" y="200876"/>
                  </a:lnTo>
                  <a:lnTo>
                    <a:pt x="2864994" y="200876"/>
                  </a:lnTo>
                  <a:lnTo>
                    <a:pt x="2864994" y="199530"/>
                  </a:lnTo>
                  <a:lnTo>
                    <a:pt x="2864994" y="202260"/>
                  </a:lnTo>
                  <a:lnTo>
                    <a:pt x="2865044" y="200876"/>
                  </a:lnTo>
                  <a:lnTo>
                    <a:pt x="2865044" y="199530"/>
                  </a:lnTo>
                  <a:lnTo>
                    <a:pt x="2865044" y="200876"/>
                  </a:lnTo>
                  <a:lnTo>
                    <a:pt x="2865044" y="200228"/>
                  </a:lnTo>
                  <a:lnTo>
                    <a:pt x="2865044" y="200876"/>
                  </a:lnTo>
                  <a:lnTo>
                    <a:pt x="2865095" y="200876"/>
                  </a:lnTo>
                  <a:lnTo>
                    <a:pt x="2865095" y="200228"/>
                  </a:lnTo>
                  <a:lnTo>
                    <a:pt x="2865095" y="200876"/>
                  </a:lnTo>
                  <a:lnTo>
                    <a:pt x="2865095" y="200228"/>
                  </a:lnTo>
                  <a:lnTo>
                    <a:pt x="2865095" y="200876"/>
                  </a:lnTo>
                  <a:lnTo>
                    <a:pt x="2865197" y="200876"/>
                  </a:lnTo>
                  <a:lnTo>
                    <a:pt x="2865197" y="200228"/>
                  </a:lnTo>
                  <a:lnTo>
                    <a:pt x="2865197" y="200876"/>
                  </a:lnTo>
                  <a:lnTo>
                    <a:pt x="2865197" y="200228"/>
                  </a:lnTo>
                  <a:lnTo>
                    <a:pt x="2865197" y="200876"/>
                  </a:lnTo>
                  <a:lnTo>
                    <a:pt x="2865247" y="200228"/>
                  </a:lnTo>
                  <a:lnTo>
                    <a:pt x="2865247" y="200876"/>
                  </a:lnTo>
                  <a:lnTo>
                    <a:pt x="2865247" y="200228"/>
                  </a:lnTo>
                  <a:lnTo>
                    <a:pt x="2865247" y="200876"/>
                  </a:lnTo>
                  <a:lnTo>
                    <a:pt x="2865247" y="200228"/>
                  </a:lnTo>
                  <a:lnTo>
                    <a:pt x="2865247" y="200876"/>
                  </a:lnTo>
                  <a:lnTo>
                    <a:pt x="2865247" y="200228"/>
                  </a:lnTo>
                  <a:lnTo>
                    <a:pt x="2865298" y="200876"/>
                  </a:lnTo>
                  <a:lnTo>
                    <a:pt x="2865298" y="200228"/>
                  </a:lnTo>
                  <a:lnTo>
                    <a:pt x="2865298" y="200876"/>
                  </a:lnTo>
                  <a:lnTo>
                    <a:pt x="2865298" y="199530"/>
                  </a:lnTo>
                  <a:lnTo>
                    <a:pt x="2865298" y="200228"/>
                  </a:lnTo>
                  <a:lnTo>
                    <a:pt x="2865298" y="199530"/>
                  </a:lnTo>
                  <a:lnTo>
                    <a:pt x="2865400" y="199530"/>
                  </a:lnTo>
                  <a:lnTo>
                    <a:pt x="2865400" y="198831"/>
                  </a:lnTo>
                  <a:lnTo>
                    <a:pt x="2865400" y="200876"/>
                  </a:lnTo>
                  <a:lnTo>
                    <a:pt x="2865400" y="200228"/>
                  </a:lnTo>
                  <a:lnTo>
                    <a:pt x="2865438" y="200228"/>
                  </a:lnTo>
                  <a:lnTo>
                    <a:pt x="2865438" y="199530"/>
                  </a:lnTo>
                  <a:lnTo>
                    <a:pt x="2865438" y="202260"/>
                  </a:lnTo>
                  <a:lnTo>
                    <a:pt x="2865438" y="200876"/>
                  </a:lnTo>
                  <a:lnTo>
                    <a:pt x="2865489" y="200876"/>
                  </a:lnTo>
                  <a:lnTo>
                    <a:pt x="2865489" y="202260"/>
                  </a:lnTo>
                  <a:lnTo>
                    <a:pt x="2865489" y="200876"/>
                  </a:lnTo>
                  <a:lnTo>
                    <a:pt x="2865489" y="202260"/>
                  </a:lnTo>
                  <a:lnTo>
                    <a:pt x="2865540" y="202260"/>
                  </a:lnTo>
                  <a:lnTo>
                    <a:pt x="2865540" y="200876"/>
                  </a:lnTo>
                  <a:lnTo>
                    <a:pt x="2865540" y="202959"/>
                  </a:lnTo>
                  <a:lnTo>
                    <a:pt x="2865540" y="202260"/>
                  </a:lnTo>
                  <a:lnTo>
                    <a:pt x="2865641" y="202260"/>
                  </a:lnTo>
                  <a:lnTo>
                    <a:pt x="2865641" y="202959"/>
                  </a:lnTo>
                  <a:lnTo>
                    <a:pt x="2865641" y="202260"/>
                  </a:lnTo>
                  <a:lnTo>
                    <a:pt x="2865692" y="202260"/>
                  </a:lnTo>
                  <a:lnTo>
                    <a:pt x="2865692" y="202959"/>
                  </a:lnTo>
                  <a:lnTo>
                    <a:pt x="2865692" y="202260"/>
                  </a:lnTo>
                  <a:lnTo>
                    <a:pt x="2865743" y="202260"/>
                  </a:lnTo>
                  <a:lnTo>
                    <a:pt x="2865743" y="200228"/>
                  </a:lnTo>
                  <a:lnTo>
                    <a:pt x="2865844" y="200228"/>
                  </a:lnTo>
                  <a:lnTo>
                    <a:pt x="2865844" y="198831"/>
                  </a:lnTo>
                  <a:lnTo>
                    <a:pt x="2865895" y="198831"/>
                  </a:lnTo>
                  <a:lnTo>
                    <a:pt x="2865895" y="200228"/>
                  </a:lnTo>
                  <a:lnTo>
                    <a:pt x="2865895" y="199530"/>
                  </a:lnTo>
                  <a:lnTo>
                    <a:pt x="2865946" y="199530"/>
                  </a:lnTo>
                  <a:lnTo>
                    <a:pt x="2865946" y="202260"/>
                  </a:lnTo>
                  <a:lnTo>
                    <a:pt x="2865946" y="200876"/>
                  </a:lnTo>
                  <a:lnTo>
                    <a:pt x="2865984" y="200876"/>
                  </a:lnTo>
                  <a:lnTo>
                    <a:pt x="2865984" y="202260"/>
                  </a:lnTo>
                  <a:lnTo>
                    <a:pt x="2865984" y="200876"/>
                  </a:lnTo>
                  <a:lnTo>
                    <a:pt x="2865984" y="202260"/>
                  </a:lnTo>
                  <a:lnTo>
                    <a:pt x="2865984" y="200876"/>
                  </a:lnTo>
                  <a:lnTo>
                    <a:pt x="2865984" y="202260"/>
                  </a:lnTo>
                  <a:lnTo>
                    <a:pt x="2866086" y="202260"/>
                  </a:lnTo>
                  <a:lnTo>
                    <a:pt x="2866086" y="200876"/>
                  </a:lnTo>
                  <a:lnTo>
                    <a:pt x="2866137" y="202260"/>
                  </a:lnTo>
                  <a:lnTo>
                    <a:pt x="2866137" y="200876"/>
                  </a:lnTo>
                  <a:lnTo>
                    <a:pt x="2866137" y="202260"/>
                  </a:lnTo>
                  <a:lnTo>
                    <a:pt x="2866187" y="202260"/>
                  </a:lnTo>
                  <a:lnTo>
                    <a:pt x="2866187" y="200876"/>
                  </a:lnTo>
                  <a:lnTo>
                    <a:pt x="2866187" y="202260"/>
                  </a:lnTo>
                  <a:lnTo>
                    <a:pt x="2866187" y="200876"/>
                  </a:lnTo>
                  <a:lnTo>
                    <a:pt x="2866187" y="202260"/>
                  </a:lnTo>
                  <a:lnTo>
                    <a:pt x="2866187" y="200876"/>
                  </a:lnTo>
                  <a:lnTo>
                    <a:pt x="2866289" y="200876"/>
                  </a:lnTo>
                  <a:lnTo>
                    <a:pt x="2866289" y="200228"/>
                  </a:lnTo>
                  <a:lnTo>
                    <a:pt x="2866289" y="200876"/>
                  </a:lnTo>
                  <a:lnTo>
                    <a:pt x="2866289" y="200228"/>
                  </a:lnTo>
                  <a:lnTo>
                    <a:pt x="2866289" y="200876"/>
                  </a:lnTo>
                  <a:lnTo>
                    <a:pt x="2866289" y="199530"/>
                  </a:lnTo>
                  <a:lnTo>
                    <a:pt x="2866289" y="200228"/>
                  </a:lnTo>
                  <a:lnTo>
                    <a:pt x="2866340" y="199530"/>
                  </a:lnTo>
                  <a:lnTo>
                    <a:pt x="2866340" y="198831"/>
                  </a:lnTo>
                  <a:lnTo>
                    <a:pt x="2866340" y="199530"/>
                  </a:lnTo>
                  <a:lnTo>
                    <a:pt x="2866340" y="197447"/>
                  </a:lnTo>
                  <a:lnTo>
                    <a:pt x="2866340" y="198831"/>
                  </a:lnTo>
                  <a:lnTo>
                    <a:pt x="2866340" y="196799"/>
                  </a:lnTo>
                  <a:lnTo>
                    <a:pt x="2866390" y="196799"/>
                  </a:lnTo>
                  <a:lnTo>
                    <a:pt x="2866390" y="198831"/>
                  </a:lnTo>
                  <a:lnTo>
                    <a:pt x="2866390" y="197447"/>
                  </a:lnTo>
                  <a:lnTo>
                    <a:pt x="2866390" y="198831"/>
                  </a:lnTo>
                  <a:lnTo>
                    <a:pt x="2866390" y="197447"/>
                  </a:lnTo>
                  <a:lnTo>
                    <a:pt x="2866390" y="199530"/>
                  </a:lnTo>
                  <a:lnTo>
                    <a:pt x="2866441" y="199530"/>
                  </a:lnTo>
                  <a:lnTo>
                    <a:pt x="2866441" y="200228"/>
                  </a:lnTo>
                  <a:lnTo>
                    <a:pt x="2866441" y="199530"/>
                  </a:lnTo>
                  <a:lnTo>
                    <a:pt x="2866441" y="200228"/>
                  </a:lnTo>
                  <a:lnTo>
                    <a:pt x="2866441" y="199530"/>
                  </a:lnTo>
                  <a:lnTo>
                    <a:pt x="2866441" y="200228"/>
                  </a:lnTo>
                  <a:lnTo>
                    <a:pt x="2866441" y="199530"/>
                  </a:lnTo>
                  <a:lnTo>
                    <a:pt x="2866441" y="200228"/>
                  </a:lnTo>
                  <a:lnTo>
                    <a:pt x="2866530" y="200876"/>
                  </a:lnTo>
                  <a:lnTo>
                    <a:pt x="2866530" y="200228"/>
                  </a:lnTo>
                  <a:lnTo>
                    <a:pt x="2866530" y="200876"/>
                  </a:lnTo>
                  <a:lnTo>
                    <a:pt x="2866530" y="200228"/>
                  </a:lnTo>
                  <a:lnTo>
                    <a:pt x="2866581" y="200228"/>
                  </a:lnTo>
                  <a:lnTo>
                    <a:pt x="2866581" y="202260"/>
                  </a:lnTo>
                  <a:lnTo>
                    <a:pt x="2866632" y="202260"/>
                  </a:lnTo>
                  <a:lnTo>
                    <a:pt x="2866632" y="200876"/>
                  </a:lnTo>
                  <a:lnTo>
                    <a:pt x="2866632" y="202260"/>
                  </a:lnTo>
                  <a:lnTo>
                    <a:pt x="2866683" y="202260"/>
                  </a:lnTo>
                  <a:lnTo>
                    <a:pt x="2866683" y="200876"/>
                  </a:lnTo>
                  <a:lnTo>
                    <a:pt x="2866683" y="202260"/>
                  </a:lnTo>
                  <a:lnTo>
                    <a:pt x="2866683" y="200876"/>
                  </a:lnTo>
                  <a:lnTo>
                    <a:pt x="2866683" y="202260"/>
                  </a:lnTo>
                  <a:lnTo>
                    <a:pt x="2866683" y="200876"/>
                  </a:lnTo>
                  <a:lnTo>
                    <a:pt x="2866784" y="200876"/>
                  </a:lnTo>
                  <a:lnTo>
                    <a:pt x="2866784" y="202260"/>
                  </a:lnTo>
                  <a:lnTo>
                    <a:pt x="2866784" y="200228"/>
                  </a:lnTo>
                  <a:lnTo>
                    <a:pt x="2866784" y="200876"/>
                  </a:lnTo>
                  <a:lnTo>
                    <a:pt x="2866784" y="199530"/>
                  </a:lnTo>
                  <a:lnTo>
                    <a:pt x="2866835" y="199530"/>
                  </a:lnTo>
                  <a:lnTo>
                    <a:pt x="2866835" y="197447"/>
                  </a:lnTo>
                  <a:lnTo>
                    <a:pt x="2866835" y="198831"/>
                  </a:lnTo>
                  <a:lnTo>
                    <a:pt x="2866835" y="196799"/>
                  </a:lnTo>
                  <a:lnTo>
                    <a:pt x="2866886" y="196799"/>
                  </a:lnTo>
                  <a:lnTo>
                    <a:pt x="2866886" y="197447"/>
                  </a:lnTo>
                  <a:lnTo>
                    <a:pt x="2866886" y="196113"/>
                  </a:lnTo>
                  <a:lnTo>
                    <a:pt x="2866886" y="197447"/>
                  </a:lnTo>
                  <a:lnTo>
                    <a:pt x="2866987" y="197447"/>
                  </a:lnTo>
                  <a:lnTo>
                    <a:pt x="2866987" y="200228"/>
                  </a:lnTo>
                  <a:lnTo>
                    <a:pt x="2866987" y="197447"/>
                  </a:lnTo>
                  <a:lnTo>
                    <a:pt x="2866987" y="199530"/>
                  </a:lnTo>
                  <a:lnTo>
                    <a:pt x="2867026" y="199530"/>
                  </a:lnTo>
                  <a:lnTo>
                    <a:pt x="2867026" y="198831"/>
                  </a:lnTo>
                  <a:lnTo>
                    <a:pt x="2867026" y="199530"/>
                  </a:lnTo>
                  <a:lnTo>
                    <a:pt x="2867026" y="198831"/>
                  </a:lnTo>
                  <a:lnTo>
                    <a:pt x="2867026" y="199530"/>
                  </a:lnTo>
                  <a:lnTo>
                    <a:pt x="2867076" y="199530"/>
                  </a:lnTo>
                  <a:lnTo>
                    <a:pt x="2867076" y="200228"/>
                  </a:lnTo>
                  <a:lnTo>
                    <a:pt x="2867127" y="200228"/>
                  </a:lnTo>
                  <a:lnTo>
                    <a:pt x="2867127" y="200876"/>
                  </a:lnTo>
                  <a:lnTo>
                    <a:pt x="2867127" y="200228"/>
                  </a:lnTo>
                  <a:lnTo>
                    <a:pt x="2867127" y="202260"/>
                  </a:lnTo>
                  <a:lnTo>
                    <a:pt x="2867229" y="202260"/>
                  </a:lnTo>
                  <a:lnTo>
                    <a:pt x="2867229" y="200228"/>
                  </a:lnTo>
                  <a:lnTo>
                    <a:pt x="2867229" y="200876"/>
                  </a:lnTo>
                  <a:lnTo>
                    <a:pt x="2867229" y="200228"/>
                  </a:lnTo>
                  <a:lnTo>
                    <a:pt x="2867280" y="200228"/>
                  </a:lnTo>
                  <a:lnTo>
                    <a:pt x="2867280" y="200876"/>
                  </a:lnTo>
                  <a:lnTo>
                    <a:pt x="2867280" y="200228"/>
                  </a:lnTo>
                  <a:lnTo>
                    <a:pt x="2867280" y="200876"/>
                  </a:lnTo>
                  <a:lnTo>
                    <a:pt x="2867280" y="199530"/>
                  </a:lnTo>
                  <a:lnTo>
                    <a:pt x="2867330" y="199530"/>
                  </a:lnTo>
                  <a:lnTo>
                    <a:pt x="2867330" y="197447"/>
                  </a:lnTo>
                  <a:lnTo>
                    <a:pt x="2867330" y="198831"/>
                  </a:lnTo>
                  <a:lnTo>
                    <a:pt x="2867330" y="197447"/>
                  </a:lnTo>
                  <a:lnTo>
                    <a:pt x="2867330" y="198831"/>
                  </a:lnTo>
                  <a:lnTo>
                    <a:pt x="2867330" y="196113"/>
                  </a:lnTo>
                  <a:lnTo>
                    <a:pt x="2867432" y="196113"/>
                  </a:lnTo>
                  <a:lnTo>
                    <a:pt x="2867432" y="196799"/>
                  </a:lnTo>
                  <a:lnTo>
                    <a:pt x="2867432" y="196113"/>
                  </a:lnTo>
                  <a:lnTo>
                    <a:pt x="2867432" y="197447"/>
                  </a:lnTo>
                  <a:lnTo>
                    <a:pt x="2867432" y="196113"/>
                  </a:lnTo>
                  <a:lnTo>
                    <a:pt x="2867483" y="196113"/>
                  </a:lnTo>
                  <a:lnTo>
                    <a:pt x="2867483" y="199530"/>
                  </a:lnTo>
                  <a:lnTo>
                    <a:pt x="2867483" y="196799"/>
                  </a:lnTo>
                  <a:lnTo>
                    <a:pt x="2867533" y="197447"/>
                  </a:lnTo>
                  <a:lnTo>
                    <a:pt x="2867533" y="199530"/>
                  </a:lnTo>
                  <a:lnTo>
                    <a:pt x="2867533" y="197447"/>
                  </a:lnTo>
                  <a:lnTo>
                    <a:pt x="2867533" y="198831"/>
                  </a:lnTo>
                  <a:lnTo>
                    <a:pt x="2867572" y="198831"/>
                  </a:lnTo>
                  <a:lnTo>
                    <a:pt x="2867572" y="199530"/>
                  </a:lnTo>
                  <a:lnTo>
                    <a:pt x="2867572" y="198831"/>
                  </a:lnTo>
                  <a:lnTo>
                    <a:pt x="2867572" y="199530"/>
                  </a:lnTo>
                  <a:lnTo>
                    <a:pt x="2867673" y="199530"/>
                  </a:lnTo>
                  <a:lnTo>
                    <a:pt x="2867673" y="200228"/>
                  </a:lnTo>
                  <a:lnTo>
                    <a:pt x="2867673" y="199530"/>
                  </a:lnTo>
                  <a:lnTo>
                    <a:pt x="2867673" y="200228"/>
                  </a:lnTo>
                  <a:lnTo>
                    <a:pt x="2867673" y="199530"/>
                  </a:lnTo>
                  <a:lnTo>
                    <a:pt x="2867673" y="200876"/>
                  </a:lnTo>
                  <a:lnTo>
                    <a:pt x="2867724" y="200876"/>
                  </a:lnTo>
                  <a:lnTo>
                    <a:pt x="2867724" y="200228"/>
                  </a:lnTo>
                  <a:lnTo>
                    <a:pt x="2867724" y="200876"/>
                  </a:lnTo>
                  <a:lnTo>
                    <a:pt x="2867724" y="200228"/>
                  </a:lnTo>
                  <a:lnTo>
                    <a:pt x="2867724" y="200876"/>
                  </a:lnTo>
                  <a:lnTo>
                    <a:pt x="2867724" y="200228"/>
                  </a:lnTo>
                  <a:lnTo>
                    <a:pt x="2867724" y="200876"/>
                  </a:lnTo>
                  <a:lnTo>
                    <a:pt x="2867775" y="200876"/>
                  </a:lnTo>
                  <a:lnTo>
                    <a:pt x="2867775" y="199530"/>
                  </a:lnTo>
                  <a:lnTo>
                    <a:pt x="2867876" y="199530"/>
                  </a:lnTo>
                  <a:lnTo>
                    <a:pt x="2867876" y="197447"/>
                  </a:lnTo>
                  <a:lnTo>
                    <a:pt x="2867876" y="198831"/>
                  </a:lnTo>
                  <a:lnTo>
                    <a:pt x="2867876" y="196799"/>
                  </a:lnTo>
                  <a:lnTo>
                    <a:pt x="2867927" y="196799"/>
                  </a:lnTo>
                  <a:lnTo>
                    <a:pt x="2867927" y="196113"/>
                  </a:lnTo>
                  <a:lnTo>
                    <a:pt x="2867927" y="196799"/>
                  </a:lnTo>
                  <a:lnTo>
                    <a:pt x="2867927" y="196113"/>
                  </a:lnTo>
                  <a:lnTo>
                    <a:pt x="2867927" y="196799"/>
                  </a:lnTo>
                  <a:lnTo>
                    <a:pt x="2867927" y="195415"/>
                  </a:lnTo>
                  <a:lnTo>
                    <a:pt x="2867978" y="195415"/>
                  </a:lnTo>
                  <a:lnTo>
                    <a:pt x="2867978" y="198831"/>
                  </a:lnTo>
                  <a:lnTo>
                    <a:pt x="2867978" y="197447"/>
                  </a:lnTo>
                  <a:lnTo>
                    <a:pt x="2867978" y="198831"/>
                  </a:lnTo>
                  <a:lnTo>
                    <a:pt x="2867978" y="196799"/>
                  </a:lnTo>
                  <a:lnTo>
                    <a:pt x="2868029" y="196799"/>
                  </a:lnTo>
                  <a:lnTo>
                    <a:pt x="2868029" y="197447"/>
                  </a:lnTo>
                  <a:lnTo>
                    <a:pt x="2868029" y="196799"/>
                  </a:lnTo>
                  <a:lnTo>
                    <a:pt x="2868029" y="197447"/>
                  </a:lnTo>
                  <a:lnTo>
                    <a:pt x="2868029" y="196799"/>
                  </a:lnTo>
                  <a:lnTo>
                    <a:pt x="2868118" y="196799"/>
                  </a:lnTo>
                  <a:lnTo>
                    <a:pt x="2868118" y="198831"/>
                  </a:lnTo>
                  <a:lnTo>
                    <a:pt x="2868169" y="198831"/>
                  </a:lnTo>
                  <a:lnTo>
                    <a:pt x="2868169" y="197447"/>
                  </a:lnTo>
                  <a:lnTo>
                    <a:pt x="2868169" y="199530"/>
                  </a:lnTo>
                  <a:lnTo>
                    <a:pt x="2868169" y="198831"/>
                  </a:lnTo>
                  <a:lnTo>
                    <a:pt x="2868169" y="199530"/>
                  </a:lnTo>
                  <a:lnTo>
                    <a:pt x="2868219" y="199530"/>
                  </a:lnTo>
                  <a:lnTo>
                    <a:pt x="2868219" y="200228"/>
                  </a:lnTo>
                  <a:lnTo>
                    <a:pt x="2868219" y="199530"/>
                  </a:lnTo>
                  <a:lnTo>
                    <a:pt x="2868219" y="200228"/>
                  </a:lnTo>
                  <a:lnTo>
                    <a:pt x="2868219" y="199530"/>
                  </a:lnTo>
                  <a:lnTo>
                    <a:pt x="2868270" y="199530"/>
                  </a:lnTo>
                  <a:lnTo>
                    <a:pt x="2868270" y="198831"/>
                  </a:lnTo>
                  <a:lnTo>
                    <a:pt x="2868270" y="199530"/>
                  </a:lnTo>
                  <a:lnTo>
                    <a:pt x="2868372" y="199530"/>
                  </a:lnTo>
                  <a:lnTo>
                    <a:pt x="2868372" y="198831"/>
                  </a:lnTo>
                  <a:lnTo>
                    <a:pt x="2868372" y="199530"/>
                  </a:lnTo>
                  <a:lnTo>
                    <a:pt x="2868372" y="198831"/>
                  </a:lnTo>
                  <a:lnTo>
                    <a:pt x="2868372" y="199530"/>
                  </a:lnTo>
                  <a:lnTo>
                    <a:pt x="2868372" y="197447"/>
                  </a:lnTo>
                  <a:lnTo>
                    <a:pt x="2868372" y="198831"/>
                  </a:lnTo>
                  <a:lnTo>
                    <a:pt x="2868372" y="197447"/>
                  </a:lnTo>
                  <a:lnTo>
                    <a:pt x="2868422" y="197447"/>
                  </a:lnTo>
                  <a:lnTo>
                    <a:pt x="2868422" y="198831"/>
                  </a:lnTo>
                  <a:lnTo>
                    <a:pt x="2868422" y="196113"/>
                  </a:lnTo>
                  <a:lnTo>
                    <a:pt x="2868422" y="196799"/>
                  </a:lnTo>
                  <a:lnTo>
                    <a:pt x="2868422" y="196113"/>
                  </a:lnTo>
                  <a:lnTo>
                    <a:pt x="2868473" y="196799"/>
                  </a:lnTo>
                  <a:lnTo>
                    <a:pt x="2868473" y="199530"/>
                  </a:lnTo>
                  <a:lnTo>
                    <a:pt x="2868473" y="197447"/>
                  </a:lnTo>
                  <a:lnTo>
                    <a:pt x="2868575" y="197447"/>
                  </a:lnTo>
                  <a:lnTo>
                    <a:pt x="2868575" y="199530"/>
                  </a:lnTo>
                  <a:lnTo>
                    <a:pt x="2868575" y="198831"/>
                  </a:lnTo>
                  <a:lnTo>
                    <a:pt x="2868575" y="199530"/>
                  </a:lnTo>
                  <a:lnTo>
                    <a:pt x="2868575" y="197447"/>
                  </a:lnTo>
                  <a:lnTo>
                    <a:pt x="2868575" y="198831"/>
                  </a:lnTo>
                  <a:lnTo>
                    <a:pt x="2868613" y="199530"/>
                  </a:lnTo>
                  <a:lnTo>
                    <a:pt x="2868664" y="199530"/>
                  </a:lnTo>
                  <a:lnTo>
                    <a:pt x="2868664" y="200228"/>
                  </a:lnTo>
                  <a:lnTo>
                    <a:pt x="2868816" y="200228"/>
                  </a:lnTo>
                  <a:lnTo>
                    <a:pt x="2868816" y="199530"/>
                  </a:lnTo>
                  <a:lnTo>
                    <a:pt x="2868816" y="200228"/>
                  </a:lnTo>
                  <a:lnTo>
                    <a:pt x="2868816" y="199530"/>
                  </a:lnTo>
                  <a:lnTo>
                    <a:pt x="2868816" y="200228"/>
                  </a:lnTo>
                  <a:lnTo>
                    <a:pt x="2868816" y="199530"/>
                  </a:lnTo>
                  <a:lnTo>
                    <a:pt x="2868867" y="199530"/>
                  </a:lnTo>
                  <a:lnTo>
                    <a:pt x="2868867" y="200228"/>
                  </a:lnTo>
                  <a:lnTo>
                    <a:pt x="2868867" y="198831"/>
                  </a:lnTo>
                  <a:lnTo>
                    <a:pt x="2868867" y="199530"/>
                  </a:lnTo>
                  <a:lnTo>
                    <a:pt x="2868918" y="200228"/>
                  </a:lnTo>
                  <a:lnTo>
                    <a:pt x="2868918" y="198831"/>
                  </a:lnTo>
                  <a:lnTo>
                    <a:pt x="2868918" y="202260"/>
                  </a:lnTo>
                  <a:lnTo>
                    <a:pt x="2869019" y="202260"/>
                  </a:lnTo>
                  <a:lnTo>
                    <a:pt x="2869019" y="200228"/>
                  </a:lnTo>
                  <a:lnTo>
                    <a:pt x="2869019" y="200876"/>
                  </a:lnTo>
                  <a:lnTo>
                    <a:pt x="2869019" y="200228"/>
                  </a:lnTo>
                  <a:lnTo>
                    <a:pt x="2869019" y="202260"/>
                  </a:lnTo>
                  <a:lnTo>
                    <a:pt x="2869019" y="200876"/>
                  </a:lnTo>
                  <a:lnTo>
                    <a:pt x="2869019" y="202260"/>
                  </a:lnTo>
                  <a:lnTo>
                    <a:pt x="2869070" y="202260"/>
                  </a:lnTo>
                  <a:lnTo>
                    <a:pt x="2869070" y="200228"/>
                  </a:lnTo>
                  <a:lnTo>
                    <a:pt x="2869070" y="200876"/>
                  </a:lnTo>
                  <a:lnTo>
                    <a:pt x="2869121" y="200876"/>
                  </a:lnTo>
                  <a:lnTo>
                    <a:pt x="2869121" y="200228"/>
                  </a:lnTo>
                  <a:lnTo>
                    <a:pt x="2869121" y="200876"/>
                  </a:lnTo>
                  <a:lnTo>
                    <a:pt x="2869121" y="200228"/>
                  </a:lnTo>
                  <a:lnTo>
                    <a:pt x="2869121" y="200876"/>
                  </a:lnTo>
                  <a:lnTo>
                    <a:pt x="2869121" y="200228"/>
                  </a:lnTo>
                  <a:lnTo>
                    <a:pt x="2869121" y="200876"/>
                  </a:lnTo>
                  <a:lnTo>
                    <a:pt x="2869159" y="200876"/>
                  </a:lnTo>
                  <a:lnTo>
                    <a:pt x="2869159" y="200228"/>
                  </a:lnTo>
                  <a:lnTo>
                    <a:pt x="2869159" y="200876"/>
                  </a:lnTo>
                  <a:lnTo>
                    <a:pt x="2869159" y="200228"/>
                  </a:lnTo>
                  <a:lnTo>
                    <a:pt x="2869159" y="200876"/>
                  </a:lnTo>
                  <a:lnTo>
                    <a:pt x="2869159" y="200228"/>
                  </a:lnTo>
                  <a:lnTo>
                    <a:pt x="2869261" y="200228"/>
                  </a:lnTo>
                  <a:lnTo>
                    <a:pt x="2869261" y="199530"/>
                  </a:lnTo>
                  <a:lnTo>
                    <a:pt x="2869261" y="200228"/>
                  </a:lnTo>
                  <a:lnTo>
                    <a:pt x="2869261" y="199530"/>
                  </a:lnTo>
                  <a:lnTo>
                    <a:pt x="2869261" y="200228"/>
                  </a:lnTo>
                  <a:lnTo>
                    <a:pt x="2869261" y="199530"/>
                  </a:lnTo>
                  <a:lnTo>
                    <a:pt x="2869312" y="199530"/>
                  </a:lnTo>
                  <a:lnTo>
                    <a:pt x="2869312" y="200228"/>
                  </a:lnTo>
                  <a:lnTo>
                    <a:pt x="2869312" y="198831"/>
                  </a:lnTo>
                  <a:lnTo>
                    <a:pt x="2869312" y="199530"/>
                  </a:lnTo>
                  <a:lnTo>
                    <a:pt x="2869312" y="198831"/>
                  </a:lnTo>
                  <a:lnTo>
                    <a:pt x="2869312" y="199530"/>
                  </a:lnTo>
                  <a:lnTo>
                    <a:pt x="2869312" y="198831"/>
                  </a:lnTo>
                  <a:lnTo>
                    <a:pt x="2869362" y="197447"/>
                  </a:lnTo>
                  <a:lnTo>
                    <a:pt x="2869362" y="200228"/>
                  </a:lnTo>
                  <a:lnTo>
                    <a:pt x="2869362" y="199530"/>
                  </a:lnTo>
                  <a:lnTo>
                    <a:pt x="2869464" y="199530"/>
                  </a:lnTo>
                  <a:lnTo>
                    <a:pt x="2869464" y="197447"/>
                  </a:lnTo>
                  <a:lnTo>
                    <a:pt x="2869464" y="202260"/>
                  </a:lnTo>
                  <a:lnTo>
                    <a:pt x="2869464" y="200228"/>
                  </a:lnTo>
                  <a:lnTo>
                    <a:pt x="2869515" y="199530"/>
                  </a:lnTo>
                  <a:lnTo>
                    <a:pt x="2869515" y="202260"/>
                  </a:lnTo>
                  <a:lnTo>
                    <a:pt x="2869515" y="200228"/>
                  </a:lnTo>
                  <a:lnTo>
                    <a:pt x="2869515" y="200876"/>
                  </a:lnTo>
                  <a:lnTo>
                    <a:pt x="2869565" y="200876"/>
                  </a:lnTo>
                  <a:lnTo>
                    <a:pt x="2869565" y="202260"/>
                  </a:lnTo>
                  <a:lnTo>
                    <a:pt x="2869565" y="200876"/>
                  </a:lnTo>
                  <a:lnTo>
                    <a:pt x="2869616" y="200876"/>
                  </a:lnTo>
                  <a:lnTo>
                    <a:pt x="2869616" y="202260"/>
                  </a:lnTo>
                  <a:lnTo>
                    <a:pt x="2869705" y="202260"/>
                  </a:lnTo>
                  <a:lnTo>
                    <a:pt x="2869705" y="200876"/>
                  </a:lnTo>
                  <a:lnTo>
                    <a:pt x="2869705" y="202260"/>
                  </a:lnTo>
                  <a:lnTo>
                    <a:pt x="2869705" y="200876"/>
                  </a:lnTo>
                  <a:lnTo>
                    <a:pt x="2869705" y="202260"/>
                  </a:lnTo>
                  <a:lnTo>
                    <a:pt x="2869705" y="200876"/>
                  </a:lnTo>
                  <a:lnTo>
                    <a:pt x="2869756" y="200876"/>
                  </a:lnTo>
                  <a:lnTo>
                    <a:pt x="2869756" y="200228"/>
                  </a:lnTo>
                  <a:lnTo>
                    <a:pt x="2869807" y="200228"/>
                  </a:lnTo>
                  <a:lnTo>
                    <a:pt x="2869807" y="199530"/>
                  </a:lnTo>
                  <a:lnTo>
                    <a:pt x="2869807" y="200228"/>
                  </a:lnTo>
                  <a:lnTo>
                    <a:pt x="2869807" y="199530"/>
                  </a:lnTo>
                  <a:lnTo>
                    <a:pt x="2869807" y="200228"/>
                  </a:lnTo>
                  <a:lnTo>
                    <a:pt x="2869807" y="197447"/>
                  </a:lnTo>
                  <a:lnTo>
                    <a:pt x="2869807" y="198831"/>
                  </a:lnTo>
                  <a:lnTo>
                    <a:pt x="2869807" y="197447"/>
                  </a:lnTo>
                  <a:lnTo>
                    <a:pt x="2869807" y="198831"/>
                  </a:lnTo>
                  <a:lnTo>
                    <a:pt x="2869858" y="199530"/>
                  </a:lnTo>
                  <a:lnTo>
                    <a:pt x="2869858" y="200876"/>
                  </a:lnTo>
                  <a:lnTo>
                    <a:pt x="2869858" y="198831"/>
                  </a:lnTo>
                  <a:lnTo>
                    <a:pt x="2869858" y="200228"/>
                  </a:lnTo>
                  <a:lnTo>
                    <a:pt x="2869959" y="200876"/>
                  </a:lnTo>
                  <a:lnTo>
                    <a:pt x="2869959" y="202260"/>
                  </a:lnTo>
                  <a:lnTo>
                    <a:pt x="2869959" y="200228"/>
                  </a:lnTo>
                  <a:lnTo>
                    <a:pt x="2869959" y="202260"/>
                  </a:lnTo>
                  <a:lnTo>
                    <a:pt x="2870010" y="202959"/>
                  </a:lnTo>
                  <a:lnTo>
                    <a:pt x="2870010" y="200876"/>
                  </a:lnTo>
                  <a:lnTo>
                    <a:pt x="2870010" y="202260"/>
                  </a:lnTo>
                  <a:lnTo>
                    <a:pt x="2870061" y="202260"/>
                  </a:lnTo>
                  <a:lnTo>
                    <a:pt x="2870061" y="202959"/>
                  </a:lnTo>
                  <a:lnTo>
                    <a:pt x="2870162" y="202260"/>
                  </a:lnTo>
                  <a:lnTo>
                    <a:pt x="2870162" y="202959"/>
                  </a:lnTo>
                  <a:lnTo>
                    <a:pt x="2870162" y="202260"/>
                  </a:lnTo>
                  <a:lnTo>
                    <a:pt x="2870162" y="202959"/>
                  </a:lnTo>
                  <a:lnTo>
                    <a:pt x="2870162" y="202260"/>
                  </a:lnTo>
                  <a:lnTo>
                    <a:pt x="2870162" y="202959"/>
                  </a:lnTo>
                  <a:lnTo>
                    <a:pt x="2870162" y="202260"/>
                  </a:lnTo>
                  <a:lnTo>
                    <a:pt x="2870201" y="202260"/>
                  </a:lnTo>
                  <a:lnTo>
                    <a:pt x="2870201" y="200876"/>
                  </a:lnTo>
                  <a:lnTo>
                    <a:pt x="2870201" y="202260"/>
                  </a:lnTo>
                  <a:lnTo>
                    <a:pt x="2870201" y="200876"/>
                  </a:lnTo>
                  <a:lnTo>
                    <a:pt x="2870251" y="200876"/>
                  </a:lnTo>
                  <a:lnTo>
                    <a:pt x="2870251" y="200228"/>
                  </a:lnTo>
                  <a:lnTo>
                    <a:pt x="2870251" y="200876"/>
                  </a:lnTo>
                  <a:lnTo>
                    <a:pt x="2870251" y="200228"/>
                  </a:lnTo>
                  <a:lnTo>
                    <a:pt x="2870302" y="199530"/>
                  </a:lnTo>
                  <a:lnTo>
                    <a:pt x="2870302" y="200228"/>
                  </a:lnTo>
                  <a:lnTo>
                    <a:pt x="2870302" y="197447"/>
                  </a:lnTo>
                  <a:lnTo>
                    <a:pt x="2870302" y="198831"/>
                  </a:lnTo>
                  <a:lnTo>
                    <a:pt x="2870404" y="198831"/>
                  </a:lnTo>
                  <a:lnTo>
                    <a:pt x="2870404" y="199530"/>
                  </a:lnTo>
                  <a:lnTo>
                    <a:pt x="2870404" y="196799"/>
                  </a:lnTo>
                  <a:lnTo>
                    <a:pt x="2870404" y="199530"/>
                  </a:lnTo>
                  <a:lnTo>
                    <a:pt x="2870455" y="199530"/>
                  </a:lnTo>
                  <a:lnTo>
                    <a:pt x="2870455" y="200228"/>
                  </a:lnTo>
                  <a:lnTo>
                    <a:pt x="2870455" y="199530"/>
                  </a:lnTo>
                  <a:lnTo>
                    <a:pt x="2870455" y="200228"/>
                  </a:lnTo>
                  <a:lnTo>
                    <a:pt x="2870455" y="198831"/>
                  </a:lnTo>
                  <a:lnTo>
                    <a:pt x="2870455" y="200228"/>
                  </a:lnTo>
                  <a:lnTo>
                    <a:pt x="2870505" y="200228"/>
                  </a:lnTo>
                  <a:lnTo>
                    <a:pt x="2870505" y="200876"/>
                  </a:lnTo>
                  <a:lnTo>
                    <a:pt x="2870505" y="200228"/>
                  </a:lnTo>
                  <a:lnTo>
                    <a:pt x="2870607" y="200228"/>
                  </a:lnTo>
                  <a:lnTo>
                    <a:pt x="2870607" y="202260"/>
                  </a:lnTo>
                  <a:lnTo>
                    <a:pt x="2870607" y="200876"/>
                  </a:lnTo>
                  <a:lnTo>
                    <a:pt x="2870607" y="202260"/>
                  </a:lnTo>
                  <a:lnTo>
                    <a:pt x="2870607" y="200876"/>
                  </a:lnTo>
                  <a:lnTo>
                    <a:pt x="2870607" y="202260"/>
                  </a:lnTo>
                  <a:lnTo>
                    <a:pt x="2870658" y="202260"/>
                  </a:lnTo>
                  <a:lnTo>
                    <a:pt x="2870658" y="202959"/>
                  </a:lnTo>
                  <a:lnTo>
                    <a:pt x="2870658" y="202260"/>
                  </a:lnTo>
                  <a:lnTo>
                    <a:pt x="2870658" y="202959"/>
                  </a:lnTo>
                  <a:lnTo>
                    <a:pt x="2870658" y="202260"/>
                  </a:lnTo>
                  <a:lnTo>
                    <a:pt x="2870747" y="202260"/>
                  </a:lnTo>
                  <a:lnTo>
                    <a:pt x="2870747" y="200876"/>
                  </a:lnTo>
                  <a:lnTo>
                    <a:pt x="2870747" y="202260"/>
                  </a:lnTo>
                  <a:lnTo>
                    <a:pt x="2870747" y="200228"/>
                  </a:lnTo>
                  <a:lnTo>
                    <a:pt x="2870747" y="200876"/>
                  </a:lnTo>
                  <a:lnTo>
                    <a:pt x="2870747" y="200228"/>
                  </a:lnTo>
                  <a:lnTo>
                    <a:pt x="2870848" y="199530"/>
                  </a:lnTo>
                  <a:lnTo>
                    <a:pt x="2870848" y="200228"/>
                  </a:lnTo>
                  <a:lnTo>
                    <a:pt x="2870848" y="198831"/>
                  </a:lnTo>
                  <a:lnTo>
                    <a:pt x="2870848" y="199530"/>
                  </a:lnTo>
                  <a:lnTo>
                    <a:pt x="2870899" y="199530"/>
                  </a:lnTo>
                  <a:lnTo>
                    <a:pt x="2870899" y="197447"/>
                  </a:lnTo>
                  <a:lnTo>
                    <a:pt x="2870899" y="200876"/>
                  </a:lnTo>
                  <a:lnTo>
                    <a:pt x="2870950" y="200876"/>
                  </a:lnTo>
                  <a:lnTo>
                    <a:pt x="2870950" y="198831"/>
                  </a:lnTo>
                  <a:lnTo>
                    <a:pt x="2870950" y="200876"/>
                  </a:lnTo>
                  <a:lnTo>
                    <a:pt x="2870950" y="200228"/>
                  </a:lnTo>
                  <a:lnTo>
                    <a:pt x="2871051" y="200228"/>
                  </a:lnTo>
                  <a:lnTo>
                    <a:pt x="2871051" y="199530"/>
                  </a:lnTo>
                  <a:lnTo>
                    <a:pt x="2871051" y="200876"/>
                  </a:lnTo>
                  <a:lnTo>
                    <a:pt x="2871051" y="200228"/>
                  </a:lnTo>
                  <a:lnTo>
                    <a:pt x="2871051" y="200876"/>
                  </a:lnTo>
                  <a:lnTo>
                    <a:pt x="2871102" y="200228"/>
                  </a:lnTo>
                  <a:lnTo>
                    <a:pt x="2871102" y="200876"/>
                  </a:lnTo>
                  <a:lnTo>
                    <a:pt x="2871102" y="200228"/>
                  </a:lnTo>
                  <a:lnTo>
                    <a:pt x="2871102" y="200876"/>
                  </a:lnTo>
                  <a:lnTo>
                    <a:pt x="2871102" y="200228"/>
                  </a:lnTo>
                  <a:lnTo>
                    <a:pt x="2871102" y="200876"/>
                  </a:lnTo>
                  <a:lnTo>
                    <a:pt x="2871102" y="200228"/>
                  </a:lnTo>
                  <a:lnTo>
                    <a:pt x="2871153" y="200228"/>
                  </a:lnTo>
                  <a:lnTo>
                    <a:pt x="2871153" y="202260"/>
                  </a:lnTo>
                  <a:lnTo>
                    <a:pt x="2871153" y="200876"/>
                  </a:lnTo>
                  <a:lnTo>
                    <a:pt x="2871153" y="202260"/>
                  </a:lnTo>
                  <a:lnTo>
                    <a:pt x="2871153" y="200876"/>
                  </a:lnTo>
                  <a:lnTo>
                    <a:pt x="2871204" y="200876"/>
                  </a:lnTo>
                  <a:lnTo>
                    <a:pt x="2871204" y="202260"/>
                  </a:lnTo>
                  <a:lnTo>
                    <a:pt x="2871204" y="200876"/>
                  </a:lnTo>
                  <a:lnTo>
                    <a:pt x="2871293" y="200876"/>
                  </a:lnTo>
                  <a:lnTo>
                    <a:pt x="2871293" y="200228"/>
                  </a:lnTo>
                  <a:lnTo>
                    <a:pt x="2871293" y="200876"/>
                  </a:lnTo>
                  <a:lnTo>
                    <a:pt x="2871293" y="198831"/>
                  </a:lnTo>
                  <a:lnTo>
                    <a:pt x="2871344" y="198831"/>
                  </a:lnTo>
                  <a:lnTo>
                    <a:pt x="2871344" y="199530"/>
                  </a:lnTo>
                  <a:lnTo>
                    <a:pt x="2871344" y="198831"/>
                  </a:lnTo>
                  <a:lnTo>
                    <a:pt x="2871344" y="199530"/>
                  </a:lnTo>
                  <a:lnTo>
                    <a:pt x="2871344" y="198831"/>
                  </a:lnTo>
                  <a:lnTo>
                    <a:pt x="2871344" y="200876"/>
                  </a:lnTo>
                  <a:lnTo>
                    <a:pt x="2871344" y="200228"/>
                  </a:lnTo>
                  <a:lnTo>
                    <a:pt x="2871344" y="200876"/>
                  </a:lnTo>
                  <a:lnTo>
                    <a:pt x="2871344" y="200228"/>
                  </a:lnTo>
                  <a:lnTo>
                    <a:pt x="2871394" y="199530"/>
                  </a:lnTo>
                  <a:lnTo>
                    <a:pt x="2871394" y="198831"/>
                  </a:lnTo>
                  <a:lnTo>
                    <a:pt x="2871394" y="202260"/>
                  </a:lnTo>
                  <a:lnTo>
                    <a:pt x="2871394" y="200876"/>
                  </a:lnTo>
                  <a:lnTo>
                    <a:pt x="2871445" y="200228"/>
                  </a:lnTo>
                  <a:lnTo>
                    <a:pt x="2871445" y="202260"/>
                  </a:lnTo>
                  <a:lnTo>
                    <a:pt x="2871445" y="200876"/>
                  </a:lnTo>
                  <a:lnTo>
                    <a:pt x="2871547" y="200876"/>
                  </a:lnTo>
                  <a:lnTo>
                    <a:pt x="2871547" y="200228"/>
                  </a:lnTo>
                  <a:lnTo>
                    <a:pt x="2871547" y="200876"/>
                  </a:lnTo>
                  <a:lnTo>
                    <a:pt x="2871597" y="200876"/>
                  </a:lnTo>
                  <a:lnTo>
                    <a:pt x="2871597" y="202260"/>
                  </a:lnTo>
                  <a:lnTo>
                    <a:pt x="2871597" y="200876"/>
                  </a:lnTo>
                  <a:lnTo>
                    <a:pt x="2871597" y="202260"/>
                  </a:lnTo>
                  <a:lnTo>
                    <a:pt x="2871648" y="202260"/>
                  </a:lnTo>
                  <a:lnTo>
                    <a:pt x="2871648" y="200876"/>
                  </a:lnTo>
                  <a:lnTo>
                    <a:pt x="2871648" y="202260"/>
                  </a:lnTo>
                  <a:lnTo>
                    <a:pt x="2871648" y="200876"/>
                  </a:lnTo>
                  <a:lnTo>
                    <a:pt x="2871750" y="200876"/>
                  </a:lnTo>
                  <a:lnTo>
                    <a:pt x="2871750" y="202260"/>
                  </a:lnTo>
                  <a:lnTo>
                    <a:pt x="2871750" y="200876"/>
                  </a:lnTo>
                  <a:lnTo>
                    <a:pt x="2871750" y="202260"/>
                  </a:lnTo>
                  <a:lnTo>
                    <a:pt x="2871750" y="200228"/>
                  </a:lnTo>
                  <a:lnTo>
                    <a:pt x="2871750" y="200876"/>
                  </a:lnTo>
                  <a:lnTo>
                    <a:pt x="2871788" y="200876"/>
                  </a:lnTo>
                  <a:lnTo>
                    <a:pt x="2871788" y="199530"/>
                  </a:lnTo>
                  <a:lnTo>
                    <a:pt x="2871839" y="199530"/>
                  </a:lnTo>
                  <a:lnTo>
                    <a:pt x="2871839" y="197447"/>
                  </a:lnTo>
                  <a:lnTo>
                    <a:pt x="2871839" y="200228"/>
                  </a:lnTo>
                  <a:lnTo>
                    <a:pt x="2871839" y="198831"/>
                  </a:lnTo>
                  <a:lnTo>
                    <a:pt x="2871890" y="198831"/>
                  </a:lnTo>
                  <a:lnTo>
                    <a:pt x="2871890" y="197447"/>
                  </a:lnTo>
                  <a:lnTo>
                    <a:pt x="2871890" y="202260"/>
                  </a:lnTo>
                  <a:lnTo>
                    <a:pt x="2871890" y="200228"/>
                  </a:lnTo>
                  <a:lnTo>
                    <a:pt x="2871991" y="200228"/>
                  </a:lnTo>
                  <a:lnTo>
                    <a:pt x="2871991" y="202260"/>
                  </a:lnTo>
                  <a:lnTo>
                    <a:pt x="2871991" y="200228"/>
                  </a:lnTo>
                  <a:lnTo>
                    <a:pt x="2872042" y="200876"/>
                  </a:lnTo>
                  <a:lnTo>
                    <a:pt x="2872042" y="202260"/>
                  </a:lnTo>
                  <a:lnTo>
                    <a:pt x="2872042" y="200876"/>
                  </a:lnTo>
                  <a:lnTo>
                    <a:pt x="2872093" y="200876"/>
                  </a:lnTo>
                  <a:lnTo>
                    <a:pt x="2872093" y="202260"/>
                  </a:lnTo>
                  <a:lnTo>
                    <a:pt x="2872093" y="200876"/>
                  </a:lnTo>
                  <a:lnTo>
                    <a:pt x="2872093" y="202260"/>
                  </a:lnTo>
                  <a:lnTo>
                    <a:pt x="2872093" y="200228"/>
                  </a:lnTo>
                  <a:lnTo>
                    <a:pt x="2872093" y="200876"/>
                  </a:lnTo>
                  <a:lnTo>
                    <a:pt x="2872194" y="200876"/>
                  </a:lnTo>
                  <a:lnTo>
                    <a:pt x="2872194" y="200228"/>
                  </a:lnTo>
                  <a:lnTo>
                    <a:pt x="2872194" y="202260"/>
                  </a:lnTo>
                  <a:lnTo>
                    <a:pt x="2872194" y="200876"/>
                  </a:lnTo>
                  <a:lnTo>
                    <a:pt x="2872194" y="202260"/>
                  </a:lnTo>
                  <a:lnTo>
                    <a:pt x="2872194" y="200876"/>
                  </a:lnTo>
                  <a:lnTo>
                    <a:pt x="2872194" y="202260"/>
                  </a:lnTo>
                  <a:lnTo>
                    <a:pt x="2872194" y="200228"/>
                  </a:lnTo>
                  <a:lnTo>
                    <a:pt x="2872245" y="200876"/>
                  </a:lnTo>
                  <a:lnTo>
                    <a:pt x="2872245" y="200228"/>
                  </a:lnTo>
                  <a:lnTo>
                    <a:pt x="2872296" y="199530"/>
                  </a:lnTo>
                  <a:lnTo>
                    <a:pt x="2872296" y="198831"/>
                  </a:lnTo>
                  <a:lnTo>
                    <a:pt x="2872296" y="199530"/>
                  </a:lnTo>
                  <a:lnTo>
                    <a:pt x="2872296" y="198831"/>
                  </a:lnTo>
                  <a:lnTo>
                    <a:pt x="2872334" y="198831"/>
                  </a:lnTo>
                  <a:lnTo>
                    <a:pt x="2872334" y="197447"/>
                  </a:lnTo>
                  <a:lnTo>
                    <a:pt x="2872334" y="200228"/>
                  </a:lnTo>
                  <a:lnTo>
                    <a:pt x="2872334" y="198831"/>
                  </a:lnTo>
                  <a:lnTo>
                    <a:pt x="2872436" y="198831"/>
                  </a:lnTo>
                  <a:lnTo>
                    <a:pt x="2872436" y="200876"/>
                  </a:lnTo>
                  <a:lnTo>
                    <a:pt x="2872436" y="200228"/>
                  </a:lnTo>
                  <a:lnTo>
                    <a:pt x="2872436" y="200876"/>
                  </a:lnTo>
                  <a:lnTo>
                    <a:pt x="2872436" y="199530"/>
                  </a:lnTo>
                  <a:lnTo>
                    <a:pt x="2872436" y="200228"/>
                  </a:lnTo>
                  <a:lnTo>
                    <a:pt x="2872487" y="200876"/>
                  </a:lnTo>
                  <a:lnTo>
                    <a:pt x="2872487" y="202260"/>
                  </a:lnTo>
                  <a:lnTo>
                    <a:pt x="2872487" y="200228"/>
                  </a:lnTo>
                  <a:lnTo>
                    <a:pt x="2872487" y="200876"/>
                  </a:lnTo>
                  <a:lnTo>
                    <a:pt x="2872487" y="200228"/>
                  </a:lnTo>
                  <a:lnTo>
                    <a:pt x="2872487" y="200876"/>
                  </a:lnTo>
                  <a:lnTo>
                    <a:pt x="2872487" y="200228"/>
                  </a:lnTo>
                  <a:lnTo>
                    <a:pt x="2872487" y="200876"/>
                  </a:lnTo>
                  <a:lnTo>
                    <a:pt x="2872537" y="200876"/>
                  </a:lnTo>
                  <a:lnTo>
                    <a:pt x="2872537" y="202260"/>
                  </a:lnTo>
                  <a:lnTo>
                    <a:pt x="2872639" y="202260"/>
                  </a:lnTo>
                  <a:lnTo>
                    <a:pt x="2872639" y="200876"/>
                  </a:lnTo>
                  <a:lnTo>
                    <a:pt x="2872639" y="202260"/>
                  </a:lnTo>
                  <a:lnTo>
                    <a:pt x="2872639" y="200876"/>
                  </a:lnTo>
                  <a:lnTo>
                    <a:pt x="2872690" y="202260"/>
                  </a:lnTo>
                  <a:lnTo>
                    <a:pt x="2872690" y="200876"/>
                  </a:lnTo>
                  <a:lnTo>
                    <a:pt x="2872690" y="202260"/>
                  </a:lnTo>
                  <a:lnTo>
                    <a:pt x="2872740" y="200876"/>
                  </a:lnTo>
                  <a:lnTo>
                    <a:pt x="2872740" y="202260"/>
                  </a:lnTo>
                  <a:lnTo>
                    <a:pt x="2872740" y="200228"/>
                  </a:lnTo>
                  <a:lnTo>
                    <a:pt x="2872791" y="200228"/>
                  </a:lnTo>
                  <a:lnTo>
                    <a:pt x="2872791" y="197447"/>
                  </a:lnTo>
                  <a:lnTo>
                    <a:pt x="2872791" y="199530"/>
                  </a:lnTo>
                  <a:lnTo>
                    <a:pt x="2872791" y="198831"/>
                  </a:lnTo>
                  <a:lnTo>
                    <a:pt x="2872880" y="199530"/>
                  </a:lnTo>
                  <a:lnTo>
                    <a:pt x="2872880" y="198831"/>
                  </a:lnTo>
                  <a:lnTo>
                    <a:pt x="2872880" y="199530"/>
                  </a:lnTo>
                  <a:lnTo>
                    <a:pt x="2872880" y="198831"/>
                  </a:lnTo>
                  <a:lnTo>
                    <a:pt x="2872880" y="200228"/>
                  </a:lnTo>
                  <a:lnTo>
                    <a:pt x="2872931" y="200228"/>
                  </a:lnTo>
                  <a:lnTo>
                    <a:pt x="2872931" y="200876"/>
                  </a:lnTo>
                  <a:lnTo>
                    <a:pt x="2872931" y="200228"/>
                  </a:lnTo>
                  <a:lnTo>
                    <a:pt x="2872931" y="202260"/>
                  </a:lnTo>
                  <a:lnTo>
                    <a:pt x="2872931" y="200876"/>
                  </a:lnTo>
                  <a:lnTo>
                    <a:pt x="2872982" y="200876"/>
                  </a:lnTo>
                  <a:lnTo>
                    <a:pt x="2872982" y="200228"/>
                  </a:lnTo>
                  <a:lnTo>
                    <a:pt x="2872982" y="200876"/>
                  </a:lnTo>
                  <a:lnTo>
                    <a:pt x="2873033" y="200876"/>
                  </a:lnTo>
                  <a:lnTo>
                    <a:pt x="2873033" y="200228"/>
                  </a:lnTo>
                  <a:lnTo>
                    <a:pt x="2873033" y="202260"/>
                  </a:lnTo>
                  <a:lnTo>
                    <a:pt x="2873134" y="200876"/>
                  </a:lnTo>
                  <a:lnTo>
                    <a:pt x="2873134" y="202260"/>
                  </a:lnTo>
                  <a:lnTo>
                    <a:pt x="2873134" y="200876"/>
                  </a:lnTo>
                  <a:lnTo>
                    <a:pt x="2873185" y="200876"/>
                  </a:lnTo>
                  <a:lnTo>
                    <a:pt x="2873185" y="202260"/>
                  </a:lnTo>
                  <a:lnTo>
                    <a:pt x="2873185" y="200876"/>
                  </a:lnTo>
                  <a:lnTo>
                    <a:pt x="2873185" y="202260"/>
                  </a:lnTo>
                  <a:lnTo>
                    <a:pt x="2873185" y="200228"/>
                  </a:lnTo>
                  <a:lnTo>
                    <a:pt x="2873236" y="200228"/>
                  </a:lnTo>
                  <a:lnTo>
                    <a:pt x="2873236" y="200876"/>
                  </a:lnTo>
                  <a:lnTo>
                    <a:pt x="2873236" y="199530"/>
                  </a:lnTo>
                  <a:lnTo>
                    <a:pt x="2873337" y="199530"/>
                  </a:lnTo>
                  <a:lnTo>
                    <a:pt x="2873337" y="197447"/>
                  </a:lnTo>
                  <a:lnTo>
                    <a:pt x="2873337" y="198831"/>
                  </a:lnTo>
                  <a:lnTo>
                    <a:pt x="2873376" y="198831"/>
                  </a:lnTo>
                  <a:lnTo>
                    <a:pt x="2873376" y="199530"/>
                  </a:lnTo>
                  <a:lnTo>
                    <a:pt x="2873376" y="197447"/>
                  </a:lnTo>
                  <a:lnTo>
                    <a:pt x="2873376" y="200228"/>
                  </a:lnTo>
                  <a:lnTo>
                    <a:pt x="2873426" y="200228"/>
                  </a:lnTo>
                  <a:lnTo>
                    <a:pt x="2873426" y="199530"/>
                  </a:lnTo>
                  <a:lnTo>
                    <a:pt x="2873426" y="200228"/>
                  </a:lnTo>
                  <a:lnTo>
                    <a:pt x="2873426" y="199530"/>
                  </a:lnTo>
                  <a:lnTo>
                    <a:pt x="2873426" y="200228"/>
                  </a:lnTo>
                  <a:lnTo>
                    <a:pt x="2873426" y="198831"/>
                  </a:lnTo>
                  <a:lnTo>
                    <a:pt x="2873426" y="200228"/>
                  </a:lnTo>
                  <a:lnTo>
                    <a:pt x="2873477" y="200228"/>
                  </a:lnTo>
                  <a:lnTo>
                    <a:pt x="2873477" y="199530"/>
                  </a:lnTo>
                  <a:lnTo>
                    <a:pt x="2873477" y="200876"/>
                  </a:lnTo>
                  <a:lnTo>
                    <a:pt x="2873477" y="200228"/>
                  </a:lnTo>
                  <a:lnTo>
                    <a:pt x="2873579" y="200228"/>
                  </a:lnTo>
                  <a:lnTo>
                    <a:pt x="2873579" y="202260"/>
                  </a:lnTo>
                  <a:lnTo>
                    <a:pt x="2873630" y="202260"/>
                  </a:lnTo>
                  <a:lnTo>
                    <a:pt x="2873630" y="200876"/>
                  </a:lnTo>
                  <a:lnTo>
                    <a:pt x="2873630" y="202260"/>
                  </a:lnTo>
                  <a:lnTo>
                    <a:pt x="2873630" y="200876"/>
                  </a:lnTo>
                  <a:lnTo>
                    <a:pt x="2873630" y="202260"/>
                  </a:lnTo>
                  <a:lnTo>
                    <a:pt x="2873680" y="202260"/>
                  </a:lnTo>
                  <a:lnTo>
                    <a:pt x="2873680" y="200876"/>
                  </a:lnTo>
                  <a:lnTo>
                    <a:pt x="2873680" y="202260"/>
                  </a:lnTo>
                  <a:lnTo>
                    <a:pt x="2873680" y="200876"/>
                  </a:lnTo>
                  <a:lnTo>
                    <a:pt x="2873680" y="202260"/>
                  </a:lnTo>
                  <a:lnTo>
                    <a:pt x="2873680" y="200876"/>
                  </a:lnTo>
                  <a:lnTo>
                    <a:pt x="2873680" y="202260"/>
                  </a:lnTo>
                  <a:lnTo>
                    <a:pt x="2873782" y="200876"/>
                  </a:lnTo>
                  <a:lnTo>
                    <a:pt x="2873782" y="200228"/>
                  </a:lnTo>
                  <a:lnTo>
                    <a:pt x="2873782" y="200876"/>
                  </a:lnTo>
                  <a:lnTo>
                    <a:pt x="2873782" y="198831"/>
                  </a:lnTo>
                  <a:lnTo>
                    <a:pt x="2873833" y="198831"/>
                  </a:lnTo>
                  <a:lnTo>
                    <a:pt x="2873833" y="197447"/>
                  </a:lnTo>
                  <a:lnTo>
                    <a:pt x="2873833" y="198831"/>
                  </a:lnTo>
                  <a:lnTo>
                    <a:pt x="2873883" y="198831"/>
                  </a:lnTo>
                  <a:lnTo>
                    <a:pt x="2873883" y="196799"/>
                  </a:lnTo>
                  <a:lnTo>
                    <a:pt x="2873883" y="200228"/>
                  </a:lnTo>
                  <a:lnTo>
                    <a:pt x="2873883" y="199530"/>
                  </a:lnTo>
                  <a:lnTo>
                    <a:pt x="2873922" y="199530"/>
                  </a:lnTo>
                  <a:lnTo>
                    <a:pt x="2873922" y="198831"/>
                  </a:lnTo>
                  <a:lnTo>
                    <a:pt x="2873922" y="200228"/>
                  </a:lnTo>
                  <a:lnTo>
                    <a:pt x="2873922" y="199530"/>
                  </a:lnTo>
                  <a:lnTo>
                    <a:pt x="2874023" y="199530"/>
                  </a:lnTo>
                  <a:lnTo>
                    <a:pt x="2874023" y="200228"/>
                  </a:lnTo>
                  <a:lnTo>
                    <a:pt x="2874023" y="199530"/>
                  </a:lnTo>
                  <a:lnTo>
                    <a:pt x="2874074" y="200228"/>
                  </a:lnTo>
                  <a:lnTo>
                    <a:pt x="2874074" y="199530"/>
                  </a:lnTo>
                  <a:lnTo>
                    <a:pt x="2874074" y="200228"/>
                  </a:lnTo>
                  <a:lnTo>
                    <a:pt x="2874074" y="199530"/>
                  </a:lnTo>
                  <a:lnTo>
                    <a:pt x="2874074" y="200876"/>
                  </a:lnTo>
                  <a:lnTo>
                    <a:pt x="2874125" y="200876"/>
                  </a:lnTo>
                  <a:lnTo>
                    <a:pt x="2874125" y="200228"/>
                  </a:lnTo>
                  <a:lnTo>
                    <a:pt x="2874125" y="200876"/>
                  </a:lnTo>
                  <a:lnTo>
                    <a:pt x="2874125" y="200228"/>
                  </a:lnTo>
                  <a:lnTo>
                    <a:pt x="2874125" y="200876"/>
                  </a:lnTo>
                  <a:lnTo>
                    <a:pt x="2874125" y="200228"/>
                  </a:lnTo>
                  <a:lnTo>
                    <a:pt x="2874125" y="200876"/>
                  </a:lnTo>
                  <a:lnTo>
                    <a:pt x="2874125" y="200228"/>
                  </a:lnTo>
                  <a:lnTo>
                    <a:pt x="2874125" y="200876"/>
                  </a:lnTo>
                  <a:lnTo>
                    <a:pt x="2874226" y="200876"/>
                  </a:lnTo>
                  <a:lnTo>
                    <a:pt x="2874226" y="200228"/>
                  </a:lnTo>
                  <a:lnTo>
                    <a:pt x="2874226" y="200876"/>
                  </a:lnTo>
                  <a:lnTo>
                    <a:pt x="2874226" y="200228"/>
                  </a:lnTo>
                  <a:lnTo>
                    <a:pt x="2874277" y="200228"/>
                  </a:lnTo>
                  <a:lnTo>
                    <a:pt x="2874277" y="199530"/>
                  </a:lnTo>
                  <a:lnTo>
                    <a:pt x="2874277" y="200228"/>
                  </a:lnTo>
                  <a:lnTo>
                    <a:pt x="2874277" y="198831"/>
                  </a:lnTo>
                  <a:lnTo>
                    <a:pt x="2874328" y="198831"/>
                  </a:lnTo>
                  <a:lnTo>
                    <a:pt x="2874328" y="200228"/>
                  </a:lnTo>
                  <a:lnTo>
                    <a:pt x="2874328" y="199530"/>
                  </a:lnTo>
                  <a:lnTo>
                    <a:pt x="2874328" y="200876"/>
                  </a:lnTo>
                  <a:lnTo>
                    <a:pt x="2874379" y="202260"/>
                  </a:lnTo>
                  <a:lnTo>
                    <a:pt x="2874379" y="202959"/>
                  </a:lnTo>
                  <a:lnTo>
                    <a:pt x="2874379" y="200228"/>
                  </a:lnTo>
                  <a:lnTo>
                    <a:pt x="2874379" y="202260"/>
                  </a:lnTo>
                  <a:lnTo>
                    <a:pt x="2874468" y="202260"/>
                  </a:lnTo>
                  <a:lnTo>
                    <a:pt x="2874468" y="202959"/>
                  </a:lnTo>
                  <a:lnTo>
                    <a:pt x="2874468" y="200876"/>
                  </a:lnTo>
                  <a:lnTo>
                    <a:pt x="2874468" y="202260"/>
                  </a:lnTo>
                  <a:lnTo>
                    <a:pt x="2874468" y="200876"/>
                  </a:lnTo>
                  <a:lnTo>
                    <a:pt x="2874468" y="202260"/>
                  </a:lnTo>
                  <a:lnTo>
                    <a:pt x="2874468" y="200876"/>
                  </a:lnTo>
                  <a:lnTo>
                    <a:pt x="2874468" y="202260"/>
                  </a:lnTo>
                  <a:lnTo>
                    <a:pt x="2874519" y="202260"/>
                  </a:lnTo>
                  <a:lnTo>
                    <a:pt x="2874519" y="200876"/>
                  </a:lnTo>
                  <a:lnTo>
                    <a:pt x="2874519" y="202260"/>
                  </a:lnTo>
                  <a:lnTo>
                    <a:pt x="2874519" y="200876"/>
                  </a:lnTo>
                  <a:lnTo>
                    <a:pt x="2874519" y="202260"/>
                  </a:lnTo>
                  <a:lnTo>
                    <a:pt x="2874519" y="200876"/>
                  </a:lnTo>
                  <a:lnTo>
                    <a:pt x="2874519" y="202260"/>
                  </a:lnTo>
                  <a:lnTo>
                    <a:pt x="2874569" y="202260"/>
                  </a:lnTo>
                  <a:lnTo>
                    <a:pt x="2874569" y="200876"/>
                  </a:lnTo>
                  <a:lnTo>
                    <a:pt x="2874569" y="202260"/>
                  </a:lnTo>
                  <a:lnTo>
                    <a:pt x="2874569" y="200876"/>
                  </a:lnTo>
                  <a:lnTo>
                    <a:pt x="2874569" y="202260"/>
                  </a:lnTo>
                  <a:lnTo>
                    <a:pt x="2874569" y="200876"/>
                  </a:lnTo>
                  <a:lnTo>
                    <a:pt x="2874569" y="202260"/>
                  </a:lnTo>
                  <a:lnTo>
                    <a:pt x="2874620" y="202260"/>
                  </a:lnTo>
                  <a:lnTo>
                    <a:pt x="2874620" y="200876"/>
                  </a:lnTo>
                  <a:lnTo>
                    <a:pt x="2874722" y="202260"/>
                  </a:lnTo>
                  <a:lnTo>
                    <a:pt x="2874722" y="200228"/>
                  </a:lnTo>
                  <a:lnTo>
                    <a:pt x="2874772" y="199530"/>
                  </a:lnTo>
                  <a:lnTo>
                    <a:pt x="2874772" y="200228"/>
                  </a:lnTo>
                  <a:lnTo>
                    <a:pt x="2874772" y="199530"/>
                  </a:lnTo>
                  <a:lnTo>
                    <a:pt x="2874772" y="202260"/>
                  </a:lnTo>
                  <a:lnTo>
                    <a:pt x="2874823" y="202260"/>
                  </a:lnTo>
                  <a:lnTo>
                    <a:pt x="2874823" y="199530"/>
                  </a:lnTo>
                  <a:lnTo>
                    <a:pt x="2874823" y="202959"/>
                  </a:lnTo>
                  <a:lnTo>
                    <a:pt x="2874925" y="202959"/>
                  </a:lnTo>
                  <a:lnTo>
                    <a:pt x="2874925" y="202260"/>
                  </a:lnTo>
                  <a:lnTo>
                    <a:pt x="2874925" y="203594"/>
                  </a:lnTo>
                  <a:lnTo>
                    <a:pt x="2874925" y="202959"/>
                  </a:lnTo>
                  <a:lnTo>
                    <a:pt x="2874963" y="202959"/>
                  </a:lnTo>
                  <a:lnTo>
                    <a:pt x="2874963" y="202260"/>
                  </a:lnTo>
                  <a:lnTo>
                    <a:pt x="2874963" y="202959"/>
                  </a:lnTo>
                  <a:lnTo>
                    <a:pt x="2875014" y="202959"/>
                  </a:lnTo>
                  <a:lnTo>
                    <a:pt x="2875014" y="202260"/>
                  </a:lnTo>
                  <a:lnTo>
                    <a:pt x="2875014" y="202959"/>
                  </a:lnTo>
                  <a:lnTo>
                    <a:pt x="2875014" y="202260"/>
                  </a:lnTo>
                  <a:lnTo>
                    <a:pt x="2875014" y="202959"/>
                  </a:lnTo>
                  <a:lnTo>
                    <a:pt x="2875065" y="202959"/>
                  </a:lnTo>
                  <a:lnTo>
                    <a:pt x="2875065" y="202260"/>
                  </a:lnTo>
                  <a:lnTo>
                    <a:pt x="2875166" y="202260"/>
                  </a:lnTo>
                  <a:lnTo>
                    <a:pt x="2875166" y="200876"/>
                  </a:lnTo>
                  <a:lnTo>
                    <a:pt x="2875166" y="202260"/>
                  </a:lnTo>
                  <a:lnTo>
                    <a:pt x="2875166" y="200876"/>
                  </a:lnTo>
                  <a:lnTo>
                    <a:pt x="2875166" y="202260"/>
                  </a:lnTo>
                  <a:lnTo>
                    <a:pt x="2875166" y="200228"/>
                  </a:lnTo>
                  <a:lnTo>
                    <a:pt x="2875217" y="200228"/>
                  </a:lnTo>
                  <a:lnTo>
                    <a:pt x="2875217" y="200876"/>
                  </a:lnTo>
                  <a:lnTo>
                    <a:pt x="2875217" y="199530"/>
                  </a:lnTo>
                  <a:lnTo>
                    <a:pt x="2875217" y="200228"/>
                  </a:lnTo>
                  <a:lnTo>
                    <a:pt x="2875217" y="198831"/>
                  </a:lnTo>
                  <a:lnTo>
                    <a:pt x="2875268" y="198831"/>
                  </a:lnTo>
                  <a:lnTo>
                    <a:pt x="2875268" y="197447"/>
                  </a:lnTo>
                  <a:lnTo>
                    <a:pt x="2875268" y="198831"/>
                  </a:lnTo>
                  <a:lnTo>
                    <a:pt x="2875369" y="198831"/>
                  </a:lnTo>
                  <a:lnTo>
                    <a:pt x="2875369" y="200876"/>
                  </a:lnTo>
                  <a:lnTo>
                    <a:pt x="2875420" y="200228"/>
                  </a:lnTo>
                  <a:lnTo>
                    <a:pt x="2875420" y="200876"/>
                  </a:lnTo>
                  <a:lnTo>
                    <a:pt x="2875471" y="200228"/>
                  </a:lnTo>
                  <a:lnTo>
                    <a:pt x="2875471" y="202260"/>
                  </a:lnTo>
                  <a:lnTo>
                    <a:pt x="2875471" y="200876"/>
                  </a:lnTo>
                  <a:lnTo>
                    <a:pt x="2875471" y="202260"/>
                  </a:lnTo>
                  <a:lnTo>
                    <a:pt x="2875509" y="200876"/>
                  </a:lnTo>
                  <a:lnTo>
                    <a:pt x="2875509" y="202260"/>
                  </a:lnTo>
                  <a:lnTo>
                    <a:pt x="2875509" y="200876"/>
                  </a:lnTo>
                  <a:lnTo>
                    <a:pt x="2875509" y="202260"/>
                  </a:lnTo>
                  <a:lnTo>
                    <a:pt x="2875611" y="202959"/>
                  </a:lnTo>
                  <a:lnTo>
                    <a:pt x="2875611" y="202260"/>
                  </a:lnTo>
                  <a:lnTo>
                    <a:pt x="2875611" y="202959"/>
                  </a:lnTo>
                  <a:lnTo>
                    <a:pt x="2875611" y="202260"/>
                  </a:lnTo>
                  <a:lnTo>
                    <a:pt x="2875611" y="202959"/>
                  </a:lnTo>
                  <a:lnTo>
                    <a:pt x="2875611" y="202260"/>
                  </a:lnTo>
                  <a:lnTo>
                    <a:pt x="2875611" y="202959"/>
                  </a:lnTo>
                  <a:lnTo>
                    <a:pt x="2875662" y="202260"/>
                  </a:lnTo>
                  <a:lnTo>
                    <a:pt x="2875662" y="202959"/>
                  </a:lnTo>
                  <a:lnTo>
                    <a:pt x="2875662" y="200876"/>
                  </a:lnTo>
                  <a:lnTo>
                    <a:pt x="2875662" y="202260"/>
                  </a:lnTo>
                  <a:lnTo>
                    <a:pt x="2875662" y="200228"/>
                  </a:lnTo>
                  <a:lnTo>
                    <a:pt x="2875712" y="200876"/>
                  </a:lnTo>
                  <a:lnTo>
                    <a:pt x="2875712" y="199530"/>
                  </a:lnTo>
                  <a:lnTo>
                    <a:pt x="2875814" y="199530"/>
                  </a:lnTo>
                  <a:lnTo>
                    <a:pt x="2875814" y="196799"/>
                  </a:lnTo>
                  <a:lnTo>
                    <a:pt x="2875814" y="197447"/>
                  </a:lnTo>
                  <a:lnTo>
                    <a:pt x="2875814" y="196799"/>
                  </a:lnTo>
                  <a:lnTo>
                    <a:pt x="2875814" y="198831"/>
                  </a:lnTo>
                  <a:lnTo>
                    <a:pt x="2875865" y="198831"/>
                  </a:lnTo>
                  <a:lnTo>
                    <a:pt x="2875865" y="196799"/>
                  </a:lnTo>
                  <a:lnTo>
                    <a:pt x="2875865" y="200228"/>
                  </a:lnTo>
                  <a:lnTo>
                    <a:pt x="2875915" y="200228"/>
                  </a:lnTo>
                  <a:lnTo>
                    <a:pt x="2875915" y="198831"/>
                  </a:lnTo>
                  <a:lnTo>
                    <a:pt x="2875915" y="200228"/>
                  </a:lnTo>
                  <a:lnTo>
                    <a:pt x="2875915" y="199530"/>
                  </a:lnTo>
                  <a:lnTo>
                    <a:pt x="2875966" y="200228"/>
                  </a:lnTo>
                  <a:lnTo>
                    <a:pt x="2875966" y="199530"/>
                  </a:lnTo>
                  <a:lnTo>
                    <a:pt x="2875966" y="200228"/>
                  </a:lnTo>
                  <a:lnTo>
                    <a:pt x="2876055" y="200228"/>
                  </a:lnTo>
                  <a:lnTo>
                    <a:pt x="2876055" y="202260"/>
                  </a:lnTo>
                  <a:lnTo>
                    <a:pt x="2876055" y="200876"/>
                  </a:lnTo>
                  <a:lnTo>
                    <a:pt x="2876106" y="200876"/>
                  </a:lnTo>
                  <a:lnTo>
                    <a:pt x="2876106" y="202260"/>
                  </a:lnTo>
                  <a:lnTo>
                    <a:pt x="2876106" y="200876"/>
                  </a:lnTo>
                  <a:lnTo>
                    <a:pt x="2876106" y="202260"/>
                  </a:lnTo>
                  <a:lnTo>
                    <a:pt x="2876157" y="202260"/>
                  </a:lnTo>
                  <a:lnTo>
                    <a:pt x="2876157" y="200876"/>
                  </a:lnTo>
                  <a:lnTo>
                    <a:pt x="2876157" y="202260"/>
                  </a:lnTo>
                  <a:lnTo>
                    <a:pt x="2876157" y="200228"/>
                  </a:lnTo>
                  <a:lnTo>
                    <a:pt x="2876157" y="200876"/>
                  </a:lnTo>
                  <a:lnTo>
                    <a:pt x="2876208" y="200876"/>
                  </a:lnTo>
                  <a:lnTo>
                    <a:pt x="2876208" y="198831"/>
                  </a:lnTo>
                  <a:lnTo>
                    <a:pt x="2876309" y="198831"/>
                  </a:lnTo>
                  <a:lnTo>
                    <a:pt x="2876309" y="199530"/>
                  </a:lnTo>
                  <a:lnTo>
                    <a:pt x="2876309" y="198831"/>
                  </a:lnTo>
                  <a:lnTo>
                    <a:pt x="2876309" y="199530"/>
                  </a:lnTo>
                  <a:lnTo>
                    <a:pt x="2876309" y="196799"/>
                  </a:lnTo>
                  <a:lnTo>
                    <a:pt x="2876309" y="198831"/>
                  </a:lnTo>
                  <a:lnTo>
                    <a:pt x="2876360" y="198831"/>
                  </a:lnTo>
                  <a:lnTo>
                    <a:pt x="2876360" y="196799"/>
                  </a:lnTo>
                  <a:lnTo>
                    <a:pt x="2876360" y="200228"/>
                  </a:lnTo>
                  <a:lnTo>
                    <a:pt x="2876360" y="199530"/>
                  </a:lnTo>
                  <a:lnTo>
                    <a:pt x="2876411" y="199530"/>
                  </a:lnTo>
                  <a:lnTo>
                    <a:pt x="2876411" y="197447"/>
                  </a:lnTo>
                  <a:lnTo>
                    <a:pt x="2876411" y="200228"/>
                  </a:lnTo>
                  <a:lnTo>
                    <a:pt x="2876411" y="199530"/>
                  </a:lnTo>
                  <a:lnTo>
                    <a:pt x="2876512" y="198831"/>
                  </a:lnTo>
                  <a:lnTo>
                    <a:pt x="2876512" y="199530"/>
                  </a:lnTo>
                  <a:lnTo>
                    <a:pt x="2876512" y="198831"/>
                  </a:lnTo>
                  <a:lnTo>
                    <a:pt x="2876512" y="200228"/>
                  </a:lnTo>
                  <a:lnTo>
                    <a:pt x="2876512" y="199530"/>
                  </a:lnTo>
                  <a:lnTo>
                    <a:pt x="2876512" y="200228"/>
                  </a:lnTo>
                  <a:lnTo>
                    <a:pt x="2876512" y="199530"/>
                  </a:lnTo>
                  <a:lnTo>
                    <a:pt x="2876512" y="200228"/>
                  </a:lnTo>
                  <a:lnTo>
                    <a:pt x="2876551" y="200228"/>
                  </a:lnTo>
                  <a:lnTo>
                    <a:pt x="2876551" y="199530"/>
                  </a:lnTo>
                  <a:lnTo>
                    <a:pt x="2876551" y="200228"/>
                  </a:lnTo>
                  <a:lnTo>
                    <a:pt x="2876551" y="199530"/>
                  </a:lnTo>
                  <a:lnTo>
                    <a:pt x="2876551" y="200876"/>
                  </a:lnTo>
                  <a:lnTo>
                    <a:pt x="2876601" y="200876"/>
                  </a:lnTo>
                  <a:lnTo>
                    <a:pt x="2876601" y="202260"/>
                  </a:lnTo>
                  <a:lnTo>
                    <a:pt x="2876601" y="200876"/>
                  </a:lnTo>
                  <a:lnTo>
                    <a:pt x="2876601" y="202260"/>
                  </a:lnTo>
                  <a:lnTo>
                    <a:pt x="2876601" y="200876"/>
                  </a:lnTo>
                  <a:lnTo>
                    <a:pt x="2876652" y="202260"/>
                  </a:lnTo>
                  <a:lnTo>
                    <a:pt x="2876652" y="200876"/>
                  </a:lnTo>
                  <a:lnTo>
                    <a:pt x="2876652" y="202260"/>
                  </a:lnTo>
                  <a:lnTo>
                    <a:pt x="2876652" y="200876"/>
                  </a:lnTo>
                  <a:lnTo>
                    <a:pt x="2876652" y="202260"/>
                  </a:lnTo>
                  <a:lnTo>
                    <a:pt x="2876652" y="200228"/>
                  </a:lnTo>
                  <a:lnTo>
                    <a:pt x="2876754" y="200228"/>
                  </a:lnTo>
                  <a:lnTo>
                    <a:pt x="2876754" y="200876"/>
                  </a:lnTo>
                  <a:lnTo>
                    <a:pt x="2876754" y="199530"/>
                  </a:lnTo>
                  <a:lnTo>
                    <a:pt x="2876754" y="200228"/>
                  </a:lnTo>
                  <a:lnTo>
                    <a:pt x="2876754" y="199530"/>
                  </a:lnTo>
                  <a:lnTo>
                    <a:pt x="2876805" y="199530"/>
                  </a:lnTo>
                  <a:lnTo>
                    <a:pt x="2876805" y="197447"/>
                  </a:lnTo>
                  <a:lnTo>
                    <a:pt x="2876805" y="200228"/>
                  </a:lnTo>
                  <a:lnTo>
                    <a:pt x="2876805" y="198831"/>
                  </a:lnTo>
                  <a:lnTo>
                    <a:pt x="2876855" y="198831"/>
                  </a:lnTo>
                  <a:lnTo>
                    <a:pt x="2876855" y="197447"/>
                  </a:lnTo>
                  <a:lnTo>
                    <a:pt x="2876855" y="200876"/>
                  </a:lnTo>
                  <a:lnTo>
                    <a:pt x="2876855" y="199530"/>
                  </a:lnTo>
                  <a:lnTo>
                    <a:pt x="2876957" y="199530"/>
                  </a:lnTo>
                  <a:lnTo>
                    <a:pt x="2876957" y="198831"/>
                  </a:lnTo>
                  <a:lnTo>
                    <a:pt x="2876957" y="200228"/>
                  </a:lnTo>
                  <a:lnTo>
                    <a:pt x="2876957" y="199530"/>
                  </a:lnTo>
                  <a:lnTo>
                    <a:pt x="2877008" y="198831"/>
                  </a:lnTo>
                  <a:lnTo>
                    <a:pt x="2877008" y="200228"/>
                  </a:lnTo>
                  <a:lnTo>
                    <a:pt x="2877008" y="199530"/>
                  </a:lnTo>
                  <a:lnTo>
                    <a:pt x="2877008" y="200228"/>
                  </a:lnTo>
                  <a:lnTo>
                    <a:pt x="2877008" y="199530"/>
                  </a:lnTo>
                  <a:lnTo>
                    <a:pt x="2877008" y="200228"/>
                  </a:lnTo>
                  <a:lnTo>
                    <a:pt x="2877008" y="199530"/>
                  </a:lnTo>
                  <a:lnTo>
                    <a:pt x="2877058" y="199530"/>
                  </a:lnTo>
                  <a:lnTo>
                    <a:pt x="2877058" y="200228"/>
                  </a:lnTo>
                  <a:lnTo>
                    <a:pt x="2877097" y="200228"/>
                  </a:lnTo>
                  <a:lnTo>
                    <a:pt x="2877097" y="200876"/>
                  </a:lnTo>
                  <a:lnTo>
                    <a:pt x="2877097" y="200228"/>
                  </a:lnTo>
                  <a:lnTo>
                    <a:pt x="2877097" y="200876"/>
                  </a:lnTo>
                  <a:lnTo>
                    <a:pt x="2877097" y="200228"/>
                  </a:lnTo>
                  <a:lnTo>
                    <a:pt x="2877097" y="200876"/>
                  </a:lnTo>
                  <a:lnTo>
                    <a:pt x="2877198" y="200876"/>
                  </a:lnTo>
                  <a:lnTo>
                    <a:pt x="2877198" y="200228"/>
                  </a:lnTo>
                  <a:lnTo>
                    <a:pt x="2877198" y="200876"/>
                  </a:lnTo>
                  <a:lnTo>
                    <a:pt x="2877198" y="200228"/>
                  </a:lnTo>
                  <a:lnTo>
                    <a:pt x="2877249" y="200228"/>
                  </a:lnTo>
                  <a:lnTo>
                    <a:pt x="2877249" y="199530"/>
                  </a:lnTo>
                  <a:lnTo>
                    <a:pt x="2877249" y="200228"/>
                  </a:lnTo>
                  <a:lnTo>
                    <a:pt x="2877249" y="198831"/>
                  </a:lnTo>
                  <a:lnTo>
                    <a:pt x="2877300" y="199530"/>
                  </a:lnTo>
                  <a:lnTo>
                    <a:pt x="2877300" y="200876"/>
                  </a:lnTo>
                  <a:lnTo>
                    <a:pt x="2877300" y="198831"/>
                  </a:lnTo>
                  <a:lnTo>
                    <a:pt x="2877300" y="199530"/>
                  </a:lnTo>
                  <a:lnTo>
                    <a:pt x="2877401" y="200228"/>
                  </a:lnTo>
                  <a:lnTo>
                    <a:pt x="2877401" y="202260"/>
                  </a:lnTo>
                  <a:lnTo>
                    <a:pt x="2877401" y="200228"/>
                  </a:lnTo>
                  <a:lnTo>
                    <a:pt x="2877401" y="200876"/>
                  </a:lnTo>
                  <a:lnTo>
                    <a:pt x="2877452" y="202260"/>
                  </a:lnTo>
                  <a:lnTo>
                    <a:pt x="2877452" y="200876"/>
                  </a:lnTo>
                  <a:lnTo>
                    <a:pt x="2877452" y="202260"/>
                  </a:lnTo>
                  <a:lnTo>
                    <a:pt x="2877452" y="200228"/>
                  </a:lnTo>
                  <a:lnTo>
                    <a:pt x="2877452" y="202260"/>
                  </a:lnTo>
                  <a:lnTo>
                    <a:pt x="2877503" y="202260"/>
                  </a:lnTo>
                  <a:lnTo>
                    <a:pt x="2877503" y="200876"/>
                  </a:lnTo>
                  <a:lnTo>
                    <a:pt x="2877503" y="202260"/>
                  </a:lnTo>
                  <a:lnTo>
                    <a:pt x="2877503" y="200876"/>
                  </a:lnTo>
                  <a:lnTo>
                    <a:pt x="2877503" y="202260"/>
                  </a:lnTo>
                  <a:lnTo>
                    <a:pt x="2877503" y="200876"/>
                  </a:lnTo>
                  <a:lnTo>
                    <a:pt x="2877503" y="202260"/>
                  </a:lnTo>
                  <a:lnTo>
                    <a:pt x="2877554" y="200876"/>
                  </a:lnTo>
                  <a:lnTo>
                    <a:pt x="2877554" y="202260"/>
                  </a:lnTo>
                  <a:lnTo>
                    <a:pt x="2877554" y="200876"/>
                  </a:lnTo>
                  <a:lnTo>
                    <a:pt x="2877554" y="202260"/>
                  </a:lnTo>
                  <a:lnTo>
                    <a:pt x="2877554" y="200876"/>
                  </a:lnTo>
                  <a:lnTo>
                    <a:pt x="2877643" y="200876"/>
                  </a:lnTo>
                  <a:lnTo>
                    <a:pt x="2877643" y="202260"/>
                  </a:lnTo>
                  <a:lnTo>
                    <a:pt x="2877643" y="200876"/>
                  </a:lnTo>
                  <a:lnTo>
                    <a:pt x="2877643" y="202260"/>
                  </a:lnTo>
                  <a:lnTo>
                    <a:pt x="2877643" y="200876"/>
                  </a:lnTo>
                  <a:lnTo>
                    <a:pt x="2877694" y="200876"/>
                  </a:lnTo>
                  <a:lnTo>
                    <a:pt x="2877694" y="200228"/>
                  </a:lnTo>
                  <a:lnTo>
                    <a:pt x="2877744" y="199530"/>
                  </a:lnTo>
                  <a:lnTo>
                    <a:pt x="2877744" y="200228"/>
                  </a:lnTo>
                  <a:lnTo>
                    <a:pt x="2877744" y="199530"/>
                  </a:lnTo>
                  <a:lnTo>
                    <a:pt x="2877744" y="200228"/>
                  </a:lnTo>
                  <a:lnTo>
                    <a:pt x="2877744" y="197447"/>
                  </a:lnTo>
                  <a:lnTo>
                    <a:pt x="2877744" y="200228"/>
                  </a:lnTo>
                  <a:lnTo>
                    <a:pt x="2877795" y="200228"/>
                  </a:lnTo>
                  <a:lnTo>
                    <a:pt x="2877795" y="200876"/>
                  </a:lnTo>
                  <a:lnTo>
                    <a:pt x="2877795" y="198831"/>
                  </a:lnTo>
                  <a:lnTo>
                    <a:pt x="2877795" y="200876"/>
                  </a:lnTo>
                  <a:lnTo>
                    <a:pt x="2877897" y="200876"/>
                  </a:lnTo>
                  <a:lnTo>
                    <a:pt x="2877897" y="202260"/>
                  </a:lnTo>
                  <a:lnTo>
                    <a:pt x="2877947" y="202260"/>
                  </a:lnTo>
                  <a:lnTo>
                    <a:pt x="2877947" y="200876"/>
                  </a:lnTo>
                  <a:lnTo>
                    <a:pt x="2877947" y="202260"/>
                  </a:lnTo>
                  <a:lnTo>
                    <a:pt x="2877947" y="200876"/>
                  </a:lnTo>
                  <a:lnTo>
                    <a:pt x="2877947" y="202260"/>
                  </a:lnTo>
                  <a:lnTo>
                    <a:pt x="2877998" y="202260"/>
                  </a:lnTo>
                  <a:lnTo>
                    <a:pt x="2877998" y="202959"/>
                  </a:lnTo>
                  <a:lnTo>
                    <a:pt x="2877998" y="202260"/>
                  </a:lnTo>
                  <a:lnTo>
                    <a:pt x="2877998" y="202959"/>
                  </a:lnTo>
                  <a:lnTo>
                    <a:pt x="2877998" y="202260"/>
                  </a:lnTo>
                  <a:lnTo>
                    <a:pt x="2877998" y="202959"/>
                  </a:lnTo>
                  <a:lnTo>
                    <a:pt x="2877998" y="202260"/>
                  </a:lnTo>
                  <a:lnTo>
                    <a:pt x="2878100" y="202260"/>
                  </a:lnTo>
                  <a:lnTo>
                    <a:pt x="2878100" y="200876"/>
                  </a:lnTo>
                  <a:lnTo>
                    <a:pt x="2878100" y="202260"/>
                  </a:lnTo>
                  <a:lnTo>
                    <a:pt x="2878100" y="200876"/>
                  </a:lnTo>
                  <a:lnTo>
                    <a:pt x="2878138" y="200876"/>
                  </a:lnTo>
                  <a:lnTo>
                    <a:pt x="2878138" y="200228"/>
                  </a:lnTo>
                  <a:lnTo>
                    <a:pt x="2878138" y="200876"/>
                  </a:lnTo>
                  <a:lnTo>
                    <a:pt x="2878189" y="200228"/>
                  </a:lnTo>
                  <a:lnTo>
                    <a:pt x="2878189" y="199530"/>
                  </a:lnTo>
                  <a:lnTo>
                    <a:pt x="2878189" y="200228"/>
                  </a:lnTo>
                  <a:lnTo>
                    <a:pt x="2878189" y="199530"/>
                  </a:lnTo>
                  <a:lnTo>
                    <a:pt x="2878240" y="199530"/>
                  </a:lnTo>
                  <a:lnTo>
                    <a:pt x="2878240" y="198831"/>
                  </a:lnTo>
                  <a:lnTo>
                    <a:pt x="2878240" y="200228"/>
                  </a:lnTo>
                  <a:lnTo>
                    <a:pt x="2878240" y="199530"/>
                  </a:lnTo>
                  <a:lnTo>
                    <a:pt x="2878341" y="199530"/>
                  </a:lnTo>
                  <a:lnTo>
                    <a:pt x="2878341" y="200228"/>
                  </a:lnTo>
                  <a:lnTo>
                    <a:pt x="2878341" y="198831"/>
                  </a:lnTo>
                  <a:lnTo>
                    <a:pt x="2878341" y="202260"/>
                  </a:lnTo>
                  <a:lnTo>
                    <a:pt x="2878341" y="200876"/>
                  </a:lnTo>
                  <a:lnTo>
                    <a:pt x="2878392" y="200228"/>
                  </a:lnTo>
                  <a:lnTo>
                    <a:pt x="2878392" y="202260"/>
                  </a:lnTo>
                  <a:lnTo>
                    <a:pt x="2878392" y="200876"/>
                  </a:lnTo>
                  <a:lnTo>
                    <a:pt x="2878443" y="200876"/>
                  </a:lnTo>
                  <a:lnTo>
                    <a:pt x="2878443" y="202260"/>
                  </a:lnTo>
                  <a:lnTo>
                    <a:pt x="2878443" y="200876"/>
                  </a:lnTo>
                  <a:lnTo>
                    <a:pt x="2878443" y="202959"/>
                  </a:lnTo>
                  <a:lnTo>
                    <a:pt x="2878443" y="202260"/>
                  </a:lnTo>
                  <a:lnTo>
                    <a:pt x="2878544" y="202260"/>
                  </a:lnTo>
                  <a:lnTo>
                    <a:pt x="2878544" y="202959"/>
                  </a:lnTo>
                  <a:lnTo>
                    <a:pt x="2878595" y="202260"/>
                  </a:lnTo>
                  <a:lnTo>
                    <a:pt x="2878595" y="202959"/>
                  </a:lnTo>
                  <a:lnTo>
                    <a:pt x="2878595" y="202260"/>
                  </a:lnTo>
                  <a:lnTo>
                    <a:pt x="2878595" y="202959"/>
                  </a:lnTo>
                  <a:lnTo>
                    <a:pt x="2878595" y="202260"/>
                  </a:lnTo>
                  <a:lnTo>
                    <a:pt x="2878646" y="202260"/>
                  </a:lnTo>
                  <a:lnTo>
                    <a:pt x="2878646" y="202959"/>
                  </a:lnTo>
                  <a:lnTo>
                    <a:pt x="2878646" y="200876"/>
                  </a:lnTo>
                  <a:lnTo>
                    <a:pt x="2878646" y="202260"/>
                  </a:lnTo>
                  <a:lnTo>
                    <a:pt x="2878684" y="200876"/>
                  </a:lnTo>
                  <a:lnTo>
                    <a:pt x="2878684" y="199530"/>
                  </a:lnTo>
                  <a:lnTo>
                    <a:pt x="2878786" y="199530"/>
                  </a:lnTo>
                  <a:lnTo>
                    <a:pt x="2878786" y="202260"/>
                  </a:lnTo>
                  <a:lnTo>
                    <a:pt x="2878786" y="199530"/>
                  </a:lnTo>
                  <a:lnTo>
                    <a:pt x="2878786" y="200228"/>
                  </a:lnTo>
                  <a:lnTo>
                    <a:pt x="2878837" y="200876"/>
                  </a:lnTo>
                  <a:lnTo>
                    <a:pt x="2878837" y="202260"/>
                  </a:lnTo>
                  <a:lnTo>
                    <a:pt x="2878837" y="200876"/>
                  </a:lnTo>
                  <a:lnTo>
                    <a:pt x="2878837" y="202260"/>
                  </a:lnTo>
                  <a:lnTo>
                    <a:pt x="2878837" y="200228"/>
                  </a:lnTo>
                  <a:lnTo>
                    <a:pt x="2878837" y="202260"/>
                  </a:lnTo>
                  <a:lnTo>
                    <a:pt x="2878887" y="202260"/>
                  </a:lnTo>
                  <a:lnTo>
                    <a:pt x="2878887" y="202959"/>
                  </a:lnTo>
                  <a:lnTo>
                    <a:pt x="2878887" y="202260"/>
                  </a:lnTo>
                  <a:lnTo>
                    <a:pt x="2878887" y="202959"/>
                  </a:lnTo>
                  <a:lnTo>
                    <a:pt x="2878887" y="200876"/>
                  </a:lnTo>
                  <a:lnTo>
                    <a:pt x="2878887" y="202260"/>
                  </a:lnTo>
                  <a:lnTo>
                    <a:pt x="2878989" y="202260"/>
                  </a:lnTo>
                  <a:lnTo>
                    <a:pt x="2878989" y="202959"/>
                  </a:lnTo>
                  <a:lnTo>
                    <a:pt x="2878989" y="202260"/>
                  </a:lnTo>
                  <a:lnTo>
                    <a:pt x="2878989" y="202959"/>
                  </a:lnTo>
                  <a:lnTo>
                    <a:pt x="2879040" y="202959"/>
                  </a:lnTo>
                  <a:lnTo>
                    <a:pt x="2879040" y="202260"/>
                  </a:lnTo>
                  <a:lnTo>
                    <a:pt x="2879040" y="202959"/>
                  </a:lnTo>
                  <a:lnTo>
                    <a:pt x="2879040" y="202260"/>
                  </a:lnTo>
                  <a:lnTo>
                    <a:pt x="2879040" y="202959"/>
                  </a:lnTo>
                  <a:lnTo>
                    <a:pt x="2879040" y="202260"/>
                  </a:lnTo>
                  <a:lnTo>
                    <a:pt x="2879090" y="202260"/>
                  </a:lnTo>
                  <a:lnTo>
                    <a:pt x="2879090" y="202959"/>
                  </a:lnTo>
                  <a:lnTo>
                    <a:pt x="2879090" y="202260"/>
                  </a:lnTo>
                  <a:lnTo>
                    <a:pt x="2879090" y="202959"/>
                  </a:lnTo>
                  <a:lnTo>
                    <a:pt x="2879090" y="202260"/>
                  </a:lnTo>
                  <a:lnTo>
                    <a:pt x="2879141" y="202260"/>
                  </a:lnTo>
                  <a:lnTo>
                    <a:pt x="2879141" y="200228"/>
                  </a:lnTo>
                  <a:lnTo>
                    <a:pt x="2879141" y="200876"/>
                  </a:lnTo>
                  <a:lnTo>
                    <a:pt x="2879230" y="200228"/>
                  </a:lnTo>
                  <a:lnTo>
                    <a:pt x="2879230" y="199530"/>
                  </a:lnTo>
                  <a:lnTo>
                    <a:pt x="2879230" y="200228"/>
                  </a:lnTo>
                  <a:lnTo>
                    <a:pt x="2879230" y="198831"/>
                  </a:lnTo>
                  <a:lnTo>
                    <a:pt x="2879281" y="198831"/>
                  </a:lnTo>
                  <a:lnTo>
                    <a:pt x="2879281" y="199530"/>
                  </a:lnTo>
                  <a:lnTo>
                    <a:pt x="2879281" y="197447"/>
                  </a:lnTo>
                  <a:lnTo>
                    <a:pt x="2879281" y="199530"/>
                  </a:lnTo>
                  <a:lnTo>
                    <a:pt x="2879332" y="200228"/>
                  </a:lnTo>
                  <a:lnTo>
                    <a:pt x="2879332" y="200876"/>
                  </a:lnTo>
                  <a:lnTo>
                    <a:pt x="2879332" y="200228"/>
                  </a:lnTo>
                  <a:lnTo>
                    <a:pt x="2879332" y="200876"/>
                  </a:lnTo>
                  <a:lnTo>
                    <a:pt x="2879332" y="199530"/>
                  </a:lnTo>
                  <a:lnTo>
                    <a:pt x="2879332" y="200228"/>
                  </a:lnTo>
                  <a:lnTo>
                    <a:pt x="2879383" y="200876"/>
                  </a:lnTo>
                  <a:lnTo>
                    <a:pt x="2879383" y="202260"/>
                  </a:lnTo>
                  <a:lnTo>
                    <a:pt x="2879383" y="200876"/>
                  </a:lnTo>
                  <a:lnTo>
                    <a:pt x="2879383" y="202260"/>
                  </a:lnTo>
                  <a:lnTo>
                    <a:pt x="2879383" y="200876"/>
                  </a:lnTo>
                  <a:lnTo>
                    <a:pt x="2879484" y="200876"/>
                  </a:lnTo>
                  <a:lnTo>
                    <a:pt x="2879484" y="202260"/>
                  </a:lnTo>
                  <a:lnTo>
                    <a:pt x="2879484" y="200876"/>
                  </a:lnTo>
                  <a:lnTo>
                    <a:pt x="2879484" y="202260"/>
                  </a:lnTo>
                  <a:lnTo>
                    <a:pt x="2879586" y="202260"/>
                  </a:lnTo>
                  <a:lnTo>
                    <a:pt x="2879586" y="202959"/>
                  </a:lnTo>
                  <a:lnTo>
                    <a:pt x="2879586" y="202260"/>
                  </a:lnTo>
                  <a:lnTo>
                    <a:pt x="2879687" y="202260"/>
                  </a:lnTo>
                  <a:lnTo>
                    <a:pt x="2879687" y="200876"/>
                  </a:lnTo>
                  <a:lnTo>
                    <a:pt x="2879687" y="202260"/>
                  </a:lnTo>
                  <a:lnTo>
                    <a:pt x="2879687" y="200228"/>
                  </a:lnTo>
                  <a:lnTo>
                    <a:pt x="2879726" y="200228"/>
                  </a:lnTo>
                  <a:lnTo>
                    <a:pt x="2879726" y="198831"/>
                  </a:lnTo>
                  <a:lnTo>
                    <a:pt x="2879726" y="200228"/>
                  </a:lnTo>
                  <a:lnTo>
                    <a:pt x="2879726" y="199530"/>
                  </a:lnTo>
                  <a:lnTo>
                    <a:pt x="2879776" y="199530"/>
                  </a:lnTo>
                  <a:lnTo>
                    <a:pt x="2879776" y="198831"/>
                  </a:lnTo>
                  <a:lnTo>
                    <a:pt x="2879776" y="202260"/>
                  </a:lnTo>
                  <a:lnTo>
                    <a:pt x="2879776" y="200228"/>
                  </a:lnTo>
                  <a:lnTo>
                    <a:pt x="2879827" y="200228"/>
                  </a:lnTo>
                  <a:lnTo>
                    <a:pt x="2879827" y="199530"/>
                  </a:lnTo>
                  <a:lnTo>
                    <a:pt x="2879827" y="200876"/>
                  </a:lnTo>
                  <a:lnTo>
                    <a:pt x="2879827" y="200228"/>
                  </a:lnTo>
                  <a:lnTo>
                    <a:pt x="2879827" y="200876"/>
                  </a:lnTo>
                  <a:lnTo>
                    <a:pt x="2879929" y="200876"/>
                  </a:lnTo>
                  <a:lnTo>
                    <a:pt x="2879929" y="200228"/>
                  </a:lnTo>
                  <a:lnTo>
                    <a:pt x="2879929" y="202260"/>
                  </a:lnTo>
                  <a:lnTo>
                    <a:pt x="2879929" y="200876"/>
                  </a:lnTo>
                  <a:lnTo>
                    <a:pt x="2879980" y="200876"/>
                  </a:lnTo>
                  <a:lnTo>
                    <a:pt x="2879980" y="202260"/>
                  </a:lnTo>
                  <a:lnTo>
                    <a:pt x="2879980" y="200228"/>
                  </a:lnTo>
                  <a:lnTo>
                    <a:pt x="2879980" y="200876"/>
                  </a:lnTo>
                  <a:lnTo>
                    <a:pt x="2880132" y="200876"/>
                  </a:lnTo>
                  <a:lnTo>
                    <a:pt x="2880132" y="200228"/>
                  </a:lnTo>
                  <a:lnTo>
                    <a:pt x="2880183" y="200228"/>
                  </a:lnTo>
                  <a:lnTo>
                    <a:pt x="2880183" y="200876"/>
                  </a:lnTo>
                  <a:lnTo>
                    <a:pt x="2880183" y="199530"/>
                  </a:lnTo>
                  <a:lnTo>
                    <a:pt x="2880183" y="202260"/>
                  </a:lnTo>
                  <a:lnTo>
                    <a:pt x="2880233" y="200876"/>
                  </a:lnTo>
                  <a:lnTo>
                    <a:pt x="2880233" y="200228"/>
                  </a:lnTo>
                  <a:lnTo>
                    <a:pt x="2880233" y="203594"/>
                  </a:lnTo>
                  <a:lnTo>
                    <a:pt x="2880272" y="204292"/>
                  </a:lnTo>
                  <a:lnTo>
                    <a:pt x="2880272" y="202260"/>
                  </a:lnTo>
                  <a:lnTo>
                    <a:pt x="2880272" y="203594"/>
                  </a:lnTo>
                  <a:lnTo>
                    <a:pt x="2880373" y="203594"/>
                  </a:lnTo>
                  <a:lnTo>
                    <a:pt x="2880373" y="202959"/>
                  </a:lnTo>
                  <a:lnTo>
                    <a:pt x="2880373" y="203594"/>
                  </a:lnTo>
                  <a:lnTo>
                    <a:pt x="2880373" y="202959"/>
                  </a:lnTo>
                  <a:lnTo>
                    <a:pt x="2880424" y="202959"/>
                  </a:lnTo>
                  <a:lnTo>
                    <a:pt x="2880424" y="203594"/>
                  </a:lnTo>
                  <a:lnTo>
                    <a:pt x="2880424" y="202959"/>
                  </a:lnTo>
                  <a:lnTo>
                    <a:pt x="2880424" y="203594"/>
                  </a:lnTo>
                  <a:lnTo>
                    <a:pt x="2880424" y="202959"/>
                  </a:lnTo>
                  <a:lnTo>
                    <a:pt x="2880424" y="203594"/>
                  </a:lnTo>
                  <a:lnTo>
                    <a:pt x="2880475" y="203594"/>
                  </a:lnTo>
                  <a:lnTo>
                    <a:pt x="2880475" y="202260"/>
                  </a:lnTo>
                  <a:lnTo>
                    <a:pt x="2880475" y="202959"/>
                  </a:lnTo>
                  <a:lnTo>
                    <a:pt x="2880475" y="202260"/>
                  </a:lnTo>
                  <a:lnTo>
                    <a:pt x="2880475" y="202959"/>
                  </a:lnTo>
                  <a:lnTo>
                    <a:pt x="2880576" y="202959"/>
                  </a:lnTo>
                  <a:lnTo>
                    <a:pt x="2880576" y="202260"/>
                  </a:lnTo>
                  <a:lnTo>
                    <a:pt x="2880627" y="202260"/>
                  </a:lnTo>
                  <a:lnTo>
                    <a:pt x="2880627" y="200228"/>
                  </a:lnTo>
                  <a:lnTo>
                    <a:pt x="2880627" y="200876"/>
                  </a:lnTo>
                  <a:lnTo>
                    <a:pt x="2880627" y="200228"/>
                  </a:lnTo>
                  <a:lnTo>
                    <a:pt x="2880627" y="200876"/>
                  </a:lnTo>
                  <a:lnTo>
                    <a:pt x="2880627" y="200228"/>
                  </a:lnTo>
                  <a:lnTo>
                    <a:pt x="2880678" y="200228"/>
                  </a:lnTo>
                  <a:lnTo>
                    <a:pt x="2880678" y="199530"/>
                  </a:lnTo>
                  <a:lnTo>
                    <a:pt x="2880678" y="200876"/>
                  </a:lnTo>
                  <a:lnTo>
                    <a:pt x="2880729" y="200228"/>
                  </a:lnTo>
                  <a:lnTo>
                    <a:pt x="2880729" y="203594"/>
                  </a:lnTo>
                  <a:lnTo>
                    <a:pt x="2880729" y="202260"/>
                  </a:lnTo>
                  <a:lnTo>
                    <a:pt x="2880818" y="202260"/>
                  </a:lnTo>
                  <a:lnTo>
                    <a:pt x="2880818" y="203594"/>
                  </a:lnTo>
                  <a:lnTo>
                    <a:pt x="2880818" y="202959"/>
                  </a:lnTo>
                  <a:lnTo>
                    <a:pt x="2880818" y="203594"/>
                  </a:lnTo>
                  <a:lnTo>
                    <a:pt x="2880818" y="202959"/>
                  </a:lnTo>
                  <a:lnTo>
                    <a:pt x="2880869" y="202959"/>
                  </a:lnTo>
                  <a:lnTo>
                    <a:pt x="2880869" y="203594"/>
                  </a:lnTo>
                  <a:lnTo>
                    <a:pt x="2880869" y="202959"/>
                  </a:lnTo>
                  <a:lnTo>
                    <a:pt x="2880869" y="203594"/>
                  </a:lnTo>
                  <a:lnTo>
                    <a:pt x="2880869" y="202959"/>
                  </a:lnTo>
                  <a:lnTo>
                    <a:pt x="2880869" y="203594"/>
                  </a:lnTo>
                  <a:lnTo>
                    <a:pt x="2880869" y="202959"/>
                  </a:lnTo>
                  <a:lnTo>
                    <a:pt x="2880869" y="203594"/>
                  </a:lnTo>
                  <a:lnTo>
                    <a:pt x="2880919" y="203594"/>
                  </a:lnTo>
                  <a:lnTo>
                    <a:pt x="2880919" y="202959"/>
                  </a:lnTo>
                  <a:lnTo>
                    <a:pt x="2880919" y="203594"/>
                  </a:lnTo>
                  <a:lnTo>
                    <a:pt x="2880919" y="202959"/>
                  </a:lnTo>
                  <a:lnTo>
                    <a:pt x="2880919" y="203594"/>
                  </a:lnTo>
                  <a:lnTo>
                    <a:pt x="2880970" y="203594"/>
                  </a:lnTo>
                  <a:lnTo>
                    <a:pt x="2880970" y="202959"/>
                  </a:lnTo>
                  <a:lnTo>
                    <a:pt x="2880970" y="203594"/>
                  </a:lnTo>
                  <a:lnTo>
                    <a:pt x="2880970" y="202959"/>
                  </a:lnTo>
                  <a:lnTo>
                    <a:pt x="2881072" y="202959"/>
                  </a:lnTo>
                  <a:lnTo>
                    <a:pt x="2881072" y="200876"/>
                  </a:lnTo>
                  <a:lnTo>
                    <a:pt x="2881122" y="200876"/>
                  </a:lnTo>
                  <a:lnTo>
                    <a:pt x="2881122" y="200228"/>
                  </a:lnTo>
                  <a:lnTo>
                    <a:pt x="2881122" y="200876"/>
                  </a:lnTo>
                  <a:lnTo>
                    <a:pt x="2881122" y="198831"/>
                  </a:lnTo>
                  <a:lnTo>
                    <a:pt x="2881173" y="198831"/>
                  </a:lnTo>
                  <a:lnTo>
                    <a:pt x="2881173" y="200876"/>
                  </a:lnTo>
                  <a:lnTo>
                    <a:pt x="2881173" y="199530"/>
                  </a:lnTo>
                  <a:lnTo>
                    <a:pt x="2881173" y="200228"/>
                  </a:lnTo>
                  <a:lnTo>
                    <a:pt x="2881173" y="199530"/>
                  </a:lnTo>
                  <a:lnTo>
                    <a:pt x="2881173" y="200228"/>
                  </a:lnTo>
                  <a:lnTo>
                    <a:pt x="2881173" y="199530"/>
                  </a:lnTo>
                  <a:lnTo>
                    <a:pt x="2881275" y="200228"/>
                  </a:lnTo>
                  <a:lnTo>
                    <a:pt x="2881275" y="202260"/>
                  </a:lnTo>
                  <a:lnTo>
                    <a:pt x="2881275" y="200228"/>
                  </a:lnTo>
                  <a:lnTo>
                    <a:pt x="2881275" y="200876"/>
                  </a:lnTo>
                  <a:lnTo>
                    <a:pt x="2881313" y="200876"/>
                  </a:lnTo>
                  <a:lnTo>
                    <a:pt x="2881313" y="202260"/>
                  </a:lnTo>
                  <a:lnTo>
                    <a:pt x="2881313" y="200876"/>
                  </a:lnTo>
                  <a:lnTo>
                    <a:pt x="2881313" y="202959"/>
                  </a:lnTo>
                  <a:lnTo>
                    <a:pt x="2881364" y="202260"/>
                  </a:lnTo>
                  <a:lnTo>
                    <a:pt x="2881364" y="202959"/>
                  </a:lnTo>
                  <a:lnTo>
                    <a:pt x="2881364" y="202260"/>
                  </a:lnTo>
                  <a:lnTo>
                    <a:pt x="2881364" y="202959"/>
                  </a:lnTo>
                  <a:lnTo>
                    <a:pt x="2881415" y="202959"/>
                  </a:lnTo>
                  <a:lnTo>
                    <a:pt x="2881415" y="203594"/>
                  </a:lnTo>
                  <a:lnTo>
                    <a:pt x="2881415" y="202260"/>
                  </a:lnTo>
                  <a:lnTo>
                    <a:pt x="2881415" y="202959"/>
                  </a:lnTo>
                  <a:lnTo>
                    <a:pt x="2881516" y="202959"/>
                  </a:lnTo>
                  <a:lnTo>
                    <a:pt x="2881516" y="202260"/>
                  </a:lnTo>
                  <a:lnTo>
                    <a:pt x="2881516" y="202959"/>
                  </a:lnTo>
                  <a:lnTo>
                    <a:pt x="2881516" y="202260"/>
                  </a:lnTo>
                  <a:lnTo>
                    <a:pt x="2881567" y="202260"/>
                  </a:lnTo>
                  <a:lnTo>
                    <a:pt x="2881567" y="200876"/>
                  </a:lnTo>
                  <a:lnTo>
                    <a:pt x="2881567" y="202260"/>
                  </a:lnTo>
                  <a:lnTo>
                    <a:pt x="2881567" y="200228"/>
                  </a:lnTo>
                  <a:lnTo>
                    <a:pt x="2881567" y="200876"/>
                  </a:lnTo>
                  <a:lnTo>
                    <a:pt x="2881567" y="200228"/>
                  </a:lnTo>
                  <a:lnTo>
                    <a:pt x="2881618" y="200228"/>
                  </a:lnTo>
                  <a:lnTo>
                    <a:pt x="2881618" y="199530"/>
                  </a:lnTo>
                  <a:lnTo>
                    <a:pt x="2881618" y="200876"/>
                  </a:lnTo>
                  <a:lnTo>
                    <a:pt x="2881719" y="200876"/>
                  </a:lnTo>
                  <a:lnTo>
                    <a:pt x="2881719" y="200228"/>
                  </a:lnTo>
                  <a:lnTo>
                    <a:pt x="2881719" y="200876"/>
                  </a:lnTo>
                  <a:lnTo>
                    <a:pt x="2881719" y="199530"/>
                  </a:lnTo>
                  <a:lnTo>
                    <a:pt x="2881719" y="202959"/>
                  </a:lnTo>
                  <a:lnTo>
                    <a:pt x="2881719" y="200876"/>
                  </a:lnTo>
                  <a:lnTo>
                    <a:pt x="2881770" y="200876"/>
                  </a:lnTo>
                  <a:lnTo>
                    <a:pt x="2881770" y="200228"/>
                  </a:lnTo>
                  <a:lnTo>
                    <a:pt x="2881770" y="202260"/>
                  </a:lnTo>
                  <a:lnTo>
                    <a:pt x="2881770" y="200876"/>
                  </a:lnTo>
                  <a:lnTo>
                    <a:pt x="2881821" y="200876"/>
                  </a:lnTo>
                  <a:lnTo>
                    <a:pt x="2881821" y="202260"/>
                  </a:lnTo>
                  <a:lnTo>
                    <a:pt x="2881821" y="200876"/>
                  </a:lnTo>
                  <a:lnTo>
                    <a:pt x="2881821" y="202260"/>
                  </a:lnTo>
                  <a:lnTo>
                    <a:pt x="2881821" y="200876"/>
                  </a:lnTo>
                  <a:lnTo>
                    <a:pt x="2881821" y="202260"/>
                  </a:lnTo>
                  <a:lnTo>
                    <a:pt x="2881859" y="202260"/>
                  </a:lnTo>
                  <a:lnTo>
                    <a:pt x="2881859" y="202959"/>
                  </a:lnTo>
                  <a:lnTo>
                    <a:pt x="2881859" y="202260"/>
                  </a:lnTo>
                  <a:lnTo>
                    <a:pt x="2881859" y="202959"/>
                  </a:lnTo>
                  <a:lnTo>
                    <a:pt x="2881859" y="202260"/>
                  </a:lnTo>
                  <a:lnTo>
                    <a:pt x="2881859" y="202959"/>
                  </a:lnTo>
                  <a:lnTo>
                    <a:pt x="2881859" y="202260"/>
                  </a:lnTo>
                  <a:lnTo>
                    <a:pt x="2881961" y="202959"/>
                  </a:lnTo>
                  <a:lnTo>
                    <a:pt x="2881961" y="202260"/>
                  </a:lnTo>
                  <a:lnTo>
                    <a:pt x="2881961" y="202959"/>
                  </a:lnTo>
                  <a:lnTo>
                    <a:pt x="2881961" y="202260"/>
                  </a:lnTo>
                  <a:lnTo>
                    <a:pt x="2881961" y="202959"/>
                  </a:lnTo>
                  <a:lnTo>
                    <a:pt x="2881961" y="202260"/>
                  </a:lnTo>
                  <a:lnTo>
                    <a:pt x="2882012" y="202260"/>
                  </a:lnTo>
                  <a:lnTo>
                    <a:pt x="2882062" y="200876"/>
                  </a:lnTo>
                  <a:lnTo>
                    <a:pt x="2882062" y="199530"/>
                  </a:lnTo>
                  <a:lnTo>
                    <a:pt x="2882062" y="200228"/>
                  </a:lnTo>
                  <a:lnTo>
                    <a:pt x="2882164" y="199530"/>
                  </a:lnTo>
                  <a:lnTo>
                    <a:pt x="2882164" y="197447"/>
                  </a:lnTo>
                  <a:lnTo>
                    <a:pt x="2882164" y="198831"/>
                  </a:lnTo>
                  <a:lnTo>
                    <a:pt x="2882215" y="198831"/>
                  </a:lnTo>
                  <a:lnTo>
                    <a:pt x="2882215" y="196799"/>
                  </a:lnTo>
                  <a:lnTo>
                    <a:pt x="2882215" y="200228"/>
                  </a:lnTo>
                  <a:lnTo>
                    <a:pt x="2882215" y="199530"/>
                  </a:lnTo>
                  <a:lnTo>
                    <a:pt x="2882265" y="198831"/>
                  </a:lnTo>
                  <a:lnTo>
                    <a:pt x="2882265" y="199530"/>
                  </a:lnTo>
                  <a:lnTo>
                    <a:pt x="2882265" y="198831"/>
                  </a:lnTo>
                  <a:lnTo>
                    <a:pt x="2882265" y="200228"/>
                  </a:lnTo>
                  <a:lnTo>
                    <a:pt x="2882316" y="200228"/>
                  </a:lnTo>
                  <a:lnTo>
                    <a:pt x="2882316" y="200876"/>
                  </a:lnTo>
                  <a:lnTo>
                    <a:pt x="2882316" y="200228"/>
                  </a:lnTo>
                  <a:lnTo>
                    <a:pt x="2882316" y="200876"/>
                  </a:lnTo>
                  <a:lnTo>
                    <a:pt x="2882316" y="200228"/>
                  </a:lnTo>
                  <a:lnTo>
                    <a:pt x="2882316" y="200876"/>
                  </a:lnTo>
                  <a:lnTo>
                    <a:pt x="2882405" y="200876"/>
                  </a:lnTo>
                  <a:lnTo>
                    <a:pt x="2882405" y="202260"/>
                  </a:lnTo>
                  <a:lnTo>
                    <a:pt x="2882405" y="200876"/>
                  </a:lnTo>
                  <a:lnTo>
                    <a:pt x="2882405" y="202260"/>
                  </a:lnTo>
                  <a:lnTo>
                    <a:pt x="2882456" y="200876"/>
                  </a:lnTo>
                  <a:lnTo>
                    <a:pt x="2882456" y="202260"/>
                  </a:lnTo>
                  <a:lnTo>
                    <a:pt x="2882456" y="200876"/>
                  </a:lnTo>
                  <a:lnTo>
                    <a:pt x="2882456" y="202260"/>
                  </a:lnTo>
                  <a:lnTo>
                    <a:pt x="2882456" y="200876"/>
                  </a:lnTo>
                  <a:lnTo>
                    <a:pt x="2882456" y="202260"/>
                  </a:lnTo>
                  <a:lnTo>
                    <a:pt x="2882456" y="200876"/>
                  </a:lnTo>
                  <a:lnTo>
                    <a:pt x="2882456" y="202260"/>
                  </a:lnTo>
                  <a:lnTo>
                    <a:pt x="2882456" y="200876"/>
                  </a:lnTo>
                  <a:lnTo>
                    <a:pt x="2882456" y="202260"/>
                  </a:lnTo>
                  <a:lnTo>
                    <a:pt x="2882507" y="200876"/>
                  </a:lnTo>
                  <a:lnTo>
                    <a:pt x="2882507" y="202260"/>
                  </a:lnTo>
                  <a:lnTo>
                    <a:pt x="2882507" y="200876"/>
                  </a:lnTo>
                  <a:lnTo>
                    <a:pt x="2882507" y="202260"/>
                  </a:lnTo>
                  <a:lnTo>
                    <a:pt x="2882507" y="200876"/>
                  </a:lnTo>
                  <a:lnTo>
                    <a:pt x="2882558" y="200876"/>
                  </a:lnTo>
                  <a:lnTo>
                    <a:pt x="2882558" y="199530"/>
                  </a:lnTo>
                  <a:lnTo>
                    <a:pt x="2882558" y="200228"/>
                  </a:lnTo>
                  <a:lnTo>
                    <a:pt x="2882558" y="199530"/>
                  </a:lnTo>
                  <a:lnTo>
                    <a:pt x="2882558" y="200228"/>
                  </a:lnTo>
                  <a:lnTo>
                    <a:pt x="2882558" y="199530"/>
                  </a:lnTo>
                  <a:lnTo>
                    <a:pt x="2882659" y="199530"/>
                  </a:lnTo>
                  <a:lnTo>
                    <a:pt x="2882659" y="197447"/>
                  </a:lnTo>
                  <a:lnTo>
                    <a:pt x="2882659" y="199530"/>
                  </a:lnTo>
                  <a:lnTo>
                    <a:pt x="2882659" y="198831"/>
                  </a:lnTo>
                  <a:lnTo>
                    <a:pt x="2882710" y="198831"/>
                  </a:lnTo>
                  <a:lnTo>
                    <a:pt x="2882710" y="197447"/>
                  </a:lnTo>
                  <a:lnTo>
                    <a:pt x="2882710" y="200228"/>
                  </a:lnTo>
                  <a:lnTo>
                    <a:pt x="2882710" y="199530"/>
                  </a:lnTo>
                  <a:lnTo>
                    <a:pt x="2882710" y="200228"/>
                  </a:lnTo>
                  <a:lnTo>
                    <a:pt x="2882761" y="199530"/>
                  </a:lnTo>
                  <a:lnTo>
                    <a:pt x="2882761" y="198831"/>
                  </a:lnTo>
                  <a:lnTo>
                    <a:pt x="2882761" y="200228"/>
                  </a:lnTo>
                  <a:lnTo>
                    <a:pt x="2882761" y="199530"/>
                  </a:lnTo>
                  <a:lnTo>
                    <a:pt x="2882862" y="200228"/>
                  </a:lnTo>
                  <a:lnTo>
                    <a:pt x="2882862" y="199530"/>
                  </a:lnTo>
                  <a:lnTo>
                    <a:pt x="2882862" y="200228"/>
                  </a:lnTo>
                  <a:lnTo>
                    <a:pt x="2882862" y="199530"/>
                  </a:lnTo>
                  <a:lnTo>
                    <a:pt x="2882901" y="199530"/>
                  </a:lnTo>
                  <a:lnTo>
                    <a:pt x="2882901" y="200228"/>
                  </a:lnTo>
                  <a:lnTo>
                    <a:pt x="2882901" y="199530"/>
                  </a:lnTo>
                  <a:lnTo>
                    <a:pt x="2882901" y="200228"/>
                  </a:lnTo>
                  <a:lnTo>
                    <a:pt x="2882901" y="199530"/>
                  </a:lnTo>
                  <a:lnTo>
                    <a:pt x="2882901" y="200228"/>
                  </a:lnTo>
                  <a:lnTo>
                    <a:pt x="2882901" y="199530"/>
                  </a:lnTo>
                  <a:lnTo>
                    <a:pt x="2882901" y="200228"/>
                  </a:lnTo>
                  <a:lnTo>
                    <a:pt x="2883002" y="200228"/>
                  </a:lnTo>
                  <a:lnTo>
                    <a:pt x="2883002" y="200876"/>
                  </a:lnTo>
                  <a:lnTo>
                    <a:pt x="2883002" y="200228"/>
                  </a:lnTo>
                  <a:lnTo>
                    <a:pt x="2883104" y="200228"/>
                  </a:lnTo>
                  <a:lnTo>
                    <a:pt x="2883104" y="197447"/>
                  </a:lnTo>
                  <a:lnTo>
                    <a:pt x="2883104" y="198831"/>
                  </a:lnTo>
                  <a:lnTo>
                    <a:pt x="2883155" y="198831"/>
                  </a:lnTo>
                  <a:lnTo>
                    <a:pt x="2883155" y="197447"/>
                  </a:lnTo>
                  <a:lnTo>
                    <a:pt x="2883155" y="199530"/>
                  </a:lnTo>
                  <a:lnTo>
                    <a:pt x="2883155" y="197447"/>
                  </a:lnTo>
                  <a:lnTo>
                    <a:pt x="2883205" y="197447"/>
                  </a:lnTo>
                  <a:lnTo>
                    <a:pt x="2883205" y="196799"/>
                  </a:lnTo>
                  <a:lnTo>
                    <a:pt x="2883205" y="200876"/>
                  </a:lnTo>
                  <a:lnTo>
                    <a:pt x="2883205" y="199530"/>
                  </a:lnTo>
                  <a:lnTo>
                    <a:pt x="2883307" y="199530"/>
                  </a:lnTo>
                  <a:lnTo>
                    <a:pt x="2883307" y="200228"/>
                  </a:lnTo>
                  <a:lnTo>
                    <a:pt x="2883358" y="200228"/>
                  </a:lnTo>
                  <a:lnTo>
                    <a:pt x="2883358" y="200876"/>
                  </a:lnTo>
                  <a:lnTo>
                    <a:pt x="2883358" y="200228"/>
                  </a:lnTo>
                  <a:lnTo>
                    <a:pt x="2883408" y="200228"/>
                  </a:lnTo>
                  <a:lnTo>
                    <a:pt x="2883408" y="200876"/>
                  </a:lnTo>
                  <a:lnTo>
                    <a:pt x="2883408" y="200228"/>
                  </a:lnTo>
                  <a:lnTo>
                    <a:pt x="2883408" y="200876"/>
                  </a:lnTo>
                  <a:lnTo>
                    <a:pt x="2883408" y="200228"/>
                  </a:lnTo>
                  <a:lnTo>
                    <a:pt x="2883408" y="200876"/>
                  </a:lnTo>
                  <a:lnTo>
                    <a:pt x="2883447" y="200876"/>
                  </a:lnTo>
                  <a:lnTo>
                    <a:pt x="2883447" y="200228"/>
                  </a:lnTo>
                  <a:lnTo>
                    <a:pt x="2883447" y="200876"/>
                  </a:lnTo>
                  <a:lnTo>
                    <a:pt x="2883548" y="200876"/>
                  </a:lnTo>
                  <a:lnTo>
                    <a:pt x="2883548" y="199530"/>
                  </a:lnTo>
                  <a:lnTo>
                    <a:pt x="2883599" y="200228"/>
                  </a:lnTo>
                  <a:lnTo>
                    <a:pt x="2883599" y="199530"/>
                  </a:lnTo>
                  <a:lnTo>
                    <a:pt x="2883599" y="200228"/>
                  </a:lnTo>
                  <a:lnTo>
                    <a:pt x="2883599" y="196799"/>
                  </a:lnTo>
                  <a:lnTo>
                    <a:pt x="2883650" y="196799"/>
                  </a:lnTo>
                  <a:lnTo>
                    <a:pt x="2883650" y="200228"/>
                  </a:lnTo>
                  <a:lnTo>
                    <a:pt x="2883650" y="198831"/>
                  </a:lnTo>
                  <a:lnTo>
                    <a:pt x="2883650" y="199530"/>
                  </a:lnTo>
                  <a:lnTo>
                    <a:pt x="2883650" y="198831"/>
                  </a:lnTo>
                  <a:lnTo>
                    <a:pt x="2883650" y="199530"/>
                  </a:lnTo>
                  <a:lnTo>
                    <a:pt x="2883751" y="199530"/>
                  </a:lnTo>
                  <a:lnTo>
                    <a:pt x="2883751" y="200876"/>
                  </a:lnTo>
                  <a:lnTo>
                    <a:pt x="2883751" y="200228"/>
                  </a:lnTo>
                  <a:lnTo>
                    <a:pt x="2883802" y="200228"/>
                  </a:lnTo>
                  <a:lnTo>
                    <a:pt x="2883802" y="200876"/>
                  </a:lnTo>
                  <a:lnTo>
                    <a:pt x="2883802" y="200228"/>
                  </a:lnTo>
                  <a:lnTo>
                    <a:pt x="2883802" y="200876"/>
                  </a:lnTo>
                  <a:lnTo>
                    <a:pt x="2883853" y="200876"/>
                  </a:lnTo>
                  <a:lnTo>
                    <a:pt x="2883853" y="200228"/>
                  </a:lnTo>
                  <a:lnTo>
                    <a:pt x="2883853" y="200876"/>
                  </a:lnTo>
                  <a:lnTo>
                    <a:pt x="2883853" y="200228"/>
                  </a:lnTo>
                  <a:lnTo>
                    <a:pt x="2883853" y="200876"/>
                  </a:lnTo>
                  <a:lnTo>
                    <a:pt x="2883904" y="200876"/>
                  </a:lnTo>
                  <a:lnTo>
                    <a:pt x="2883904" y="200228"/>
                  </a:lnTo>
                  <a:lnTo>
                    <a:pt x="2883904" y="200876"/>
                  </a:lnTo>
                  <a:lnTo>
                    <a:pt x="2883904" y="200228"/>
                  </a:lnTo>
                  <a:lnTo>
                    <a:pt x="2883904" y="200876"/>
                  </a:lnTo>
                  <a:lnTo>
                    <a:pt x="2883993" y="200876"/>
                  </a:lnTo>
                  <a:lnTo>
                    <a:pt x="2883993" y="200228"/>
                  </a:lnTo>
                  <a:lnTo>
                    <a:pt x="2883993" y="200876"/>
                  </a:lnTo>
                  <a:lnTo>
                    <a:pt x="2883993" y="200228"/>
                  </a:lnTo>
                  <a:lnTo>
                    <a:pt x="2883993" y="200876"/>
                  </a:lnTo>
                  <a:lnTo>
                    <a:pt x="2884044" y="200876"/>
                  </a:lnTo>
                  <a:lnTo>
                    <a:pt x="2884044" y="198831"/>
                  </a:lnTo>
                  <a:lnTo>
                    <a:pt x="2884094" y="198831"/>
                  </a:lnTo>
                  <a:lnTo>
                    <a:pt x="2884094" y="196113"/>
                  </a:lnTo>
                  <a:lnTo>
                    <a:pt x="2884145" y="196799"/>
                  </a:lnTo>
                  <a:lnTo>
                    <a:pt x="2884145" y="198831"/>
                  </a:lnTo>
                  <a:lnTo>
                    <a:pt x="2884145" y="197447"/>
                  </a:lnTo>
                  <a:lnTo>
                    <a:pt x="2884145" y="198831"/>
                  </a:lnTo>
                  <a:lnTo>
                    <a:pt x="2884145" y="196799"/>
                  </a:lnTo>
                  <a:lnTo>
                    <a:pt x="2884145" y="198831"/>
                  </a:lnTo>
                  <a:lnTo>
                    <a:pt x="2884247" y="199530"/>
                  </a:lnTo>
                  <a:lnTo>
                    <a:pt x="2884247" y="198831"/>
                  </a:lnTo>
                  <a:lnTo>
                    <a:pt x="2884247" y="200228"/>
                  </a:lnTo>
                  <a:lnTo>
                    <a:pt x="2884297" y="200228"/>
                  </a:lnTo>
                  <a:lnTo>
                    <a:pt x="2884297" y="200876"/>
                  </a:lnTo>
                  <a:lnTo>
                    <a:pt x="2884297" y="199530"/>
                  </a:lnTo>
                  <a:lnTo>
                    <a:pt x="2884297" y="200228"/>
                  </a:lnTo>
                  <a:lnTo>
                    <a:pt x="2884348" y="200228"/>
                  </a:lnTo>
                  <a:lnTo>
                    <a:pt x="2884348" y="199530"/>
                  </a:lnTo>
                  <a:lnTo>
                    <a:pt x="2884348" y="200228"/>
                  </a:lnTo>
                  <a:lnTo>
                    <a:pt x="2884450" y="200228"/>
                  </a:lnTo>
                  <a:lnTo>
                    <a:pt x="2884450" y="200876"/>
                  </a:lnTo>
                  <a:lnTo>
                    <a:pt x="2884450" y="200228"/>
                  </a:lnTo>
                  <a:lnTo>
                    <a:pt x="2884450" y="200876"/>
                  </a:lnTo>
                  <a:lnTo>
                    <a:pt x="2884488" y="200876"/>
                  </a:lnTo>
                  <a:lnTo>
                    <a:pt x="2884488" y="200228"/>
                  </a:lnTo>
                  <a:lnTo>
                    <a:pt x="2884488" y="200876"/>
                  </a:lnTo>
                  <a:lnTo>
                    <a:pt x="2884539" y="200228"/>
                  </a:lnTo>
                  <a:lnTo>
                    <a:pt x="2884539" y="199530"/>
                  </a:lnTo>
                  <a:lnTo>
                    <a:pt x="2884539" y="200228"/>
                  </a:lnTo>
                  <a:lnTo>
                    <a:pt x="2884539" y="197447"/>
                  </a:lnTo>
                  <a:lnTo>
                    <a:pt x="2884590" y="197447"/>
                  </a:lnTo>
                  <a:lnTo>
                    <a:pt x="2884590" y="196799"/>
                  </a:lnTo>
                  <a:lnTo>
                    <a:pt x="2884590" y="199530"/>
                  </a:lnTo>
                  <a:lnTo>
                    <a:pt x="2884691" y="199530"/>
                  </a:lnTo>
                  <a:lnTo>
                    <a:pt x="2884691" y="197447"/>
                  </a:lnTo>
                  <a:lnTo>
                    <a:pt x="2884691" y="200876"/>
                  </a:lnTo>
                  <a:lnTo>
                    <a:pt x="2884691" y="200228"/>
                  </a:lnTo>
                  <a:lnTo>
                    <a:pt x="2884742" y="200228"/>
                  </a:lnTo>
                  <a:lnTo>
                    <a:pt x="2884742" y="198831"/>
                  </a:lnTo>
                  <a:lnTo>
                    <a:pt x="2884742" y="200876"/>
                  </a:lnTo>
                  <a:lnTo>
                    <a:pt x="2884742" y="200228"/>
                  </a:lnTo>
                  <a:lnTo>
                    <a:pt x="2884742" y="200876"/>
                  </a:lnTo>
                  <a:lnTo>
                    <a:pt x="2884742" y="200228"/>
                  </a:lnTo>
                  <a:lnTo>
                    <a:pt x="2884793" y="199530"/>
                  </a:lnTo>
                  <a:lnTo>
                    <a:pt x="2884793" y="200228"/>
                  </a:lnTo>
                  <a:lnTo>
                    <a:pt x="2884793" y="199530"/>
                  </a:lnTo>
                  <a:lnTo>
                    <a:pt x="2884793" y="200228"/>
                  </a:lnTo>
                  <a:lnTo>
                    <a:pt x="2884793" y="199530"/>
                  </a:lnTo>
                  <a:lnTo>
                    <a:pt x="2884894" y="199530"/>
                  </a:lnTo>
                  <a:lnTo>
                    <a:pt x="2884894" y="200228"/>
                  </a:lnTo>
                  <a:lnTo>
                    <a:pt x="2884894" y="199530"/>
                  </a:lnTo>
                  <a:lnTo>
                    <a:pt x="2884894" y="200228"/>
                  </a:lnTo>
                  <a:lnTo>
                    <a:pt x="2884945" y="200228"/>
                  </a:lnTo>
                  <a:lnTo>
                    <a:pt x="2884945" y="200876"/>
                  </a:lnTo>
                  <a:lnTo>
                    <a:pt x="2884945" y="200228"/>
                  </a:lnTo>
                  <a:lnTo>
                    <a:pt x="2884945" y="200876"/>
                  </a:lnTo>
                  <a:lnTo>
                    <a:pt x="2884945" y="200228"/>
                  </a:lnTo>
                  <a:lnTo>
                    <a:pt x="2884945" y="200876"/>
                  </a:lnTo>
                  <a:lnTo>
                    <a:pt x="2884945" y="200228"/>
                  </a:lnTo>
                  <a:lnTo>
                    <a:pt x="2884996" y="200228"/>
                  </a:lnTo>
                  <a:lnTo>
                    <a:pt x="2884996" y="200876"/>
                  </a:lnTo>
                  <a:lnTo>
                    <a:pt x="2884996" y="199530"/>
                  </a:lnTo>
                  <a:lnTo>
                    <a:pt x="2885034" y="199530"/>
                  </a:lnTo>
                  <a:lnTo>
                    <a:pt x="2885034" y="197447"/>
                  </a:lnTo>
                  <a:lnTo>
                    <a:pt x="2885136" y="196799"/>
                  </a:lnTo>
                  <a:lnTo>
                    <a:pt x="2885136" y="196113"/>
                  </a:lnTo>
                  <a:lnTo>
                    <a:pt x="2885136" y="196799"/>
                  </a:lnTo>
                  <a:lnTo>
                    <a:pt x="2885136" y="196113"/>
                  </a:lnTo>
                  <a:lnTo>
                    <a:pt x="2885136" y="198831"/>
                  </a:lnTo>
                  <a:lnTo>
                    <a:pt x="2885187" y="197447"/>
                  </a:lnTo>
                  <a:lnTo>
                    <a:pt x="2885187" y="198831"/>
                  </a:lnTo>
                  <a:lnTo>
                    <a:pt x="2885187" y="196113"/>
                  </a:lnTo>
                  <a:lnTo>
                    <a:pt x="2885187" y="199530"/>
                  </a:lnTo>
                  <a:lnTo>
                    <a:pt x="2885187" y="198831"/>
                  </a:lnTo>
                  <a:lnTo>
                    <a:pt x="2885237" y="198831"/>
                  </a:lnTo>
                  <a:lnTo>
                    <a:pt x="2885237" y="197447"/>
                  </a:lnTo>
                  <a:lnTo>
                    <a:pt x="2885237" y="199530"/>
                  </a:lnTo>
                  <a:lnTo>
                    <a:pt x="2885339" y="199530"/>
                  </a:lnTo>
                  <a:lnTo>
                    <a:pt x="2885339" y="198831"/>
                  </a:lnTo>
                  <a:lnTo>
                    <a:pt x="2885339" y="199530"/>
                  </a:lnTo>
                  <a:lnTo>
                    <a:pt x="2885339" y="198831"/>
                  </a:lnTo>
                  <a:lnTo>
                    <a:pt x="2885339" y="199530"/>
                  </a:lnTo>
                  <a:lnTo>
                    <a:pt x="2885339" y="198831"/>
                  </a:lnTo>
                  <a:lnTo>
                    <a:pt x="2885390" y="198831"/>
                  </a:lnTo>
                  <a:lnTo>
                    <a:pt x="2885390" y="199530"/>
                  </a:lnTo>
                  <a:lnTo>
                    <a:pt x="2885390" y="198831"/>
                  </a:lnTo>
                  <a:lnTo>
                    <a:pt x="2885390" y="200228"/>
                  </a:lnTo>
                  <a:lnTo>
                    <a:pt x="2885440" y="200228"/>
                  </a:lnTo>
                  <a:lnTo>
                    <a:pt x="2885440" y="200876"/>
                  </a:lnTo>
                  <a:lnTo>
                    <a:pt x="2885440" y="200228"/>
                  </a:lnTo>
                  <a:lnTo>
                    <a:pt x="2885440" y="200876"/>
                  </a:lnTo>
                  <a:lnTo>
                    <a:pt x="2885440" y="200228"/>
                  </a:lnTo>
                  <a:lnTo>
                    <a:pt x="2885440" y="200876"/>
                  </a:lnTo>
                  <a:lnTo>
                    <a:pt x="2885491" y="200228"/>
                  </a:lnTo>
                  <a:lnTo>
                    <a:pt x="2885491" y="200876"/>
                  </a:lnTo>
                  <a:lnTo>
                    <a:pt x="2885491" y="199530"/>
                  </a:lnTo>
                  <a:lnTo>
                    <a:pt x="2885580" y="199530"/>
                  </a:lnTo>
                  <a:lnTo>
                    <a:pt x="2885580" y="197447"/>
                  </a:lnTo>
                  <a:lnTo>
                    <a:pt x="2885631" y="197447"/>
                  </a:lnTo>
                  <a:lnTo>
                    <a:pt x="2885631" y="196113"/>
                  </a:lnTo>
                  <a:lnTo>
                    <a:pt x="2885631" y="197447"/>
                  </a:lnTo>
                  <a:lnTo>
                    <a:pt x="2885631" y="196799"/>
                  </a:lnTo>
                  <a:lnTo>
                    <a:pt x="2885682" y="196799"/>
                  </a:lnTo>
                  <a:lnTo>
                    <a:pt x="2885682" y="196113"/>
                  </a:lnTo>
                  <a:lnTo>
                    <a:pt x="2885682" y="196799"/>
                  </a:lnTo>
                  <a:lnTo>
                    <a:pt x="2885682" y="196113"/>
                  </a:lnTo>
                  <a:lnTo>
                    <a:pt x="2885682" y="199530"/>
                  </a:lnTo>
                  <a:lnTo>
                    <a:pt x="2885682" y="197447"/>
                  </a:lnTo>
                  <a:lnTo>
                    <a:pt x="2885733" y="196799"/>
                  </a:lnTo>
                  <a:lnTo>
                    <a:pt x="2885733" y="196113"/>
                  </a:lnTo>
                  <a:lnTo>
                    <a:pt x="2885733" y="198831"/>
                  </a:lnTo>
                  <a:lnTo>
                    <a:pt x="2885733" y="197447"/>
                  </a:lnTo>
                  <a:lnTo>
                    <a:pt x="2885834" y="197447"/>
                  </a:lnTo>
                  <a:lnTo>
                    <a:pt x="2885834" y="196799"/>
                  </a:lnTo>
                  <a:lnTo>
                    <a:pt x="2885834" y="198831"/>
                  </a:lnTo>
                  <a:lnTo>
                    <a:pt x="2885834" y="197447"/>
                  </a:lnTo>
                  <a:lnTo>
                    <a:pt x="2885834" y="198831"/>
                  </a:lnTo>
                  <a:lnTo>
                    <a:pt x="2885834" y="197447"/>
                  </a:lnTo>
                  <a:lnTo>
                    <a:pt x="2885885" y="197447"/>
                  </a:lnTo>
                  <a:lnTo>
                    <a:pt x="2885885" y="199530"/>
                  </a:lnTo>
                  <a:lnTo>
                    <a:pt x="2885936" y="199530"/>
                  </a:lnTo>
                  <a:lnTo>
                    <a:pt x="2885936" y="200228"/>
                  </a:lnTo>
                  <a:lnTo>
                    <a:pt x="2885936" y="199530"/>
                  </a:lnTo>
                  <a:lnTo>
                    <a:pt x="2885936" y="200228"/>
                  </a:lnTo>
                  <a:lnTo>
                    <a:pt x="2885936" y="199530"/>
                  </a:lnTo>
                  <a:lnTo>
                    <a:pt x="2885936" y="200228"/>
                  </a:lnTo>
                  <a:lnTo>
                    <a:pt x="2885936" y="199530"/>
                  </a:lnTo>
                  <a:lnTo>
                    <a:pt x="2886037" y="199530"/>
                  </a:lnTo>
                  <a:lnTo>
                    <a:pt x="2886037" y="200228"/>
                  </a:lnTo>
                  <a:lnTo>
                    <a:pt x="2886037" y="199530"/>
                  </a:lnTo>
                  <a:lnTo>
                    <a:pt x="2886037" y="200228"/>
                  </a:lnTo>
                  <a:lnTo>
                    <a:pt x="2886037" y="199530"/>
                  </a:lnTo>
                  <a:lnTo>
                    <a:pt x="2886076" y="199530"/>
                  </a:lnTo>
                  <a:lnTo>
                    <a:pt x="2886076" y="196799"/>
                  </a:lnTo>
                  <a:lnTo>
                    <a:pt x="2886126" y="196799"/>
                  </a:lnTo>
                  <a:lnTo>
                    <a:pt x="2886126" y="196113"/>
                  </a:lnTo>
                  <a:lnTo>
                    <a:pt x="2886126" y="196799"/>
                  </a:lnTo>
                  <a:lnTo>
                    <a:pt x="2886126" y="196113"/>
                  </a:lnTo>
                  <a:lnTo>
                    <a:pt x="2886126" y="197447"/>
                  </a:lnTo>
                  <a:lnTo>
                    <a:pt x="2886126" y="196799"/>
                  </a:lnTo>
                  <a:lnTo>
                    <a:pt x="2886177" y="196799"/>
                  </a:lnTo>
                  <a:lnTo>
                    <a:pt x="2886177" y="197447"/>
                  </a:lnTo>
                  <a:lnTo>
                    <a:pt x="2886177" y="196113"/>
                  </a:lnTo>
                  <a:lnTo>
                    <a:pt x="2886177" y="198831"/>
                  </a:lnTo>
                  <a:lnTo>
                    <a:pt x="2886177" y="197447"/>
                  </a:lnTo>
                  <a:lnTo>
                    <a:pt x="2886279" y="197447"/>
                  </a:lnTo>
                  <a:lnTo>
                    <a:pt x="2886279" y="196799"/>
                  </a:lnTo>
                  <a:lnTo>
                    <a:pt x="2886279" y="198831"/>
                  </a:lnTo>
                  <a:lnTo>
                    <a:pt x="2886330" y="197447"/>
                  </a:lnTo>
                  <a:lnTo>
                    <a:pt x="2886330" y="196799"/>
                  </a:lnTo>
                  <a:lnTo>
                    <a:pt x="2886330" y="198831"/>
                  </a:lnTo>
                  <a:lnTo>
                    <a:pt x="2886330" y="197447"/>
                  </a:lnTo>
                  <a:lnTo>
                    <a:pt x="2886330" y="198831"/>
                  </a:lnTo>
                  <a:lnTo>
                    <a:pt x="2886380" y="198831"/>
                  </a:lnTo>
                  <a:lnTo>
                    <a:pt x="2886380" y="200228"/>
                  </a:lnTo>
                  <a:lnTo>
                    <a:pt x="2886380" y="199530"/>
                  </a:lnTo>
                  <a:lnTo>
                    <a:pt x="2886482" y="199530"/>
                  </a:lnTo>
                  <a:lnTo>
                    <a:pt x="2886482" y="200228"/>
                  </a:lnTo>
                  <a:lnTo>
                    <a:pt x="2886482" y="199530"/>
                  </a:lnTo>
                  <a:lnTo>
                    <a:pt x="2886482" y="200228"/>
                  </a:lnTo>
                  <a:lnTo>
                    <a:pt x="2886533" y="200228"/>
                  </a:lnTo>
                  <a:lnTo>
                    <a:pt x="2886533" y="199530"/>
                  </a:lnTo>
                  <a:lnTo>
                    <a:pt x="2886533" y="200228"/>
                  </a:lnTo>
                  <a:lnTo>
                    <a:pt x="2886533" y="199530"/>
                  </a:lnTo>
                  <a:lnTo>
                    <a:pt x="2886533" y="200228"/>
                  </a:lnTo>
                  <a:lnTo>
                    <a:pt x="2886533" y="199530"/>
                  </a:lnTo>
                  <a:lnTo>
                    <a:pt x="2886583" y="199530"/>
                  </a:lnTo>
                  <a:lnTo>
                    <a:pt x="2886583" y="198831"/>
                  </a:lnTo>
                  <a:lnTo>
                    <a:pt x="2886583" y="199530"/>
                  </a:lnTo>
                  <a:lnTo>
                    <a:pt x="2886583" y="197447"/>
                  </a:lnTo>
                  <a:lnTo>
                    <a:pt x="2886583" y="198831"/>
                  </a:lnTo>
                  <a:lnTo>
                    <a:pt x="2886583" y="197447"/>
                  </a:lnTo>
                  <a:lnTo>
                    <a:pt x="2886583" y="198831"/>
                  </a:lnTo>
                  <a:lnTo>
                    <a:pt x="2886622" y="198831"/>
                  </a:lnTo>
                  <a:lnTo>
                    <a:pt x="2886622" y="200228"/>
                  </a:lnTo>
                  <a:lnTo>
                    <a:pt x="2886622" y="198831"/>
                  </a:lnTo>
                  <a:lnTo>
                    <a:pt x="2886723" y="199530"/>
                  </a:lnTo>
                  <a:lnTo>
                    <a:pt x="2886723" y="202260"/>
                  </a:lnTo>
                  <a:lnTo>
                    <a:pt x="2886723" y="199530"/>
                  </a:lnTo>
                  <a:lnTo>
                    <a:pt x="2886774" y="200228"/>
                  </a:lnTo>
                  <a:lnTo>
                    <a:pt x="2886774" y="200876"/>
                  </a:lnTo>
                  <a:lnTo>
                    <a:pt x="2886774" y="199530"/>
                  </a:lnTo>
                  <a:lnTo>
                    <a:pt x="2886774" y="200228"/>
                  </a:lnTo>
                  <a:lnTo>
                    <a:pt x="2886825" y="200228"/>
                  </a:lnTo>
                  <a:lnTo>
                    <a:pt x="2886825" y="199530"/>
                  </a:lnTo>
                  <a:lnTo>
                    <a:pt x="2886825" y="200228"/>
                  </a:lnTo>
                  <a:lnTo>
                    <a:pt x="2886825" y="199530"/>
                  </a:lnTo>
                  <a:lnTo>
                    <a:pt x="2886825" y="200228"/>
                  </a:lnTo>
                  <a:lnTo>
                    <a:pt x="2886977" y="200228"/>
                  </a:lnTo>
                  <a:lnTo>
                    <a:pt x="2886977" y="199530"/>
                  </a:lnTo>
                  <a:lnTo>
                    <a:pt x="2887028" y="199530"/>
                  </a:lnTo>
                  <a:lnTo>
                    <a:pt x="2887028" y="198831"/>
                  </a:lnTo>
                  <a:lnTo>
                    <a:pt x="2887079" y="198831"/>
                  </a:lnTo>
                  <a:lnTo>
                    <a:pt x="2887079" y="197447"/>
                  </a:lnTo>
                  <a:lnTo>
                    <a:pt x="2887079" y="199530"/>
                  </a:lnTo>
                  <a:lnTo>
                    <a:pt x="2887168" y="199530"/>
                  </a:lnTo>
                  <a:lnTo>
                    <a:pt x="2887168" y="200228"/>
                  </a:lnTo>
                  <a:lnTo>
                    <a:pt x="2887168" y="197447"/>
                  </a:lnTo>
                  <a:lnTo>
                    <a:pt x="2887168" y="202260"/>
                  </a:lnTo>
                  <a:lnTo>
                    <a:pt x="2887219" y="202260"/>
                  </a:lnTo>
                  <a:lnTo>
                    <a:pt x="2887219" y="199530"/>
                  </a:lnTo>
                  <a:lnTo>
                    <a:pt x="2887219" y="200876"/>
                  </a:lnTo>
                  <a:lnTo>
                    <a:pt x="2887219" y="200228"/>
                  </a:lnTo>
                  <a:lnTo>
                    <a:pt x="2887219" y="200876"/>
                  </a:lnTo>
                  <a:lnTo>
                    <a:pt x="2887219" y="200228"/>
                  </a:lnTo>
                  <a:lnTo>
                    <a:pt x="2887269" y="200876"/>
                  </a:lnTo>
                  <a:lnTo>
                    <a:pt x="2887269" y="199530"/>
                  </a:lnTo>
                  <a:lnTo>
                    <a:pt x="2887269" y="200876"/>
                  </a:lnTo>
                  <a:lnTo>
                    <a:pt x="2887320" y="200876"/>
                  </a:lnTo>
                  <a:lnTo>
                    <a:pt x="2887320" y="202260"/>
                  </a:lnTo>
                  <a:lnTo>
                    <a:pt x="2887320" y="200228"/>
                  </a:lnTo>
                  <a:lnTo>
                    <a:pt x="2887320" y="202260"/>
                  </a:lnTo>
                  <a:lnTo>
                    <a:pt x="2887320" y="200876"/>
                  </a:lnTo>
                  <a:lnTo>
                    <a:pt x="2887422" y="200876"/>
                  </a:lnTo>
                  <a:lnTo>
                    <a:pt x="2887422" y="202260"/>
                  </a:lnTo>
                  <a:lnTo>
                    <a:pt x="2887422" y="200876"/>
                  </a:lnTo>
                  <a:lnTo>
                    <a:pt x="2887422" y="202260"/>
                  </a:lnTo>
                  <a:lnTo>
                    <a:pt x="2887422" y="200876"/>
                  </a:lnTo>
                  <a:lnTo>
                    <a:pt x="2887422" y="202260"/>
                  </a:lnTo>
                  <a:lnTo>
                    <a:pt x="2887422" y="200876"/>
                  </a:lnTo>
                  <a:lnTo>
                    <a:pt x="2887422" y="202260"/>
                  </a:lnTo>
                  <a:lnTo>
                    <a:pt x="2887422" y="200228"/>
                  </a:lnTo>
                  <a:lnTo>
                    <a:pt x="2887472" y="200228"/>
                  </a:lnTo>
                  <a:lnTo>
                    <a:pt x="2887472" y="200876"/>
                  </a:lnTo>
                  <a:lnTo>
                    <a:pt x="2887472" y="199530"/>
                  </a:lnTo>
                  <a:lnTo>
                    <a:pt x="2887472" y="200228"/>
                  </a:lnTo>
                  <a:lnTo>
                    <a:pt x="2887472" y="198831"/>
                  </a:lnTo>
                  <a:lnTo>
                    <a:pt x="2887523" y="199530"/>
                  </a:lnTo>
                  <a:lnTo>
                    <a:pt x="2887523" y="198831"/>
                  </a:lnTo>
                  <a:lnTo>
                    <a:pt x="2887523" y="199530"/>
                  </a:lnTo>
                  <a:lnTo>
                    <a:pt x="2887523" y="197447"/>
                  </a:lnTo>
                  <a:lnTo>
                    <a:pt x="2887523" y="198831"/>
                  </a:lnTo>
                  <a:lnTo>
                    <a:pt x="2887523" y="197447"/>
                  </a:lnTo>
                  <a:lnTo>
                    <a:pt x="2887523" y="198831"/>
                  </a:lnTo>
                  <a:lnTo>
                    <a:pt x="2887625" y="197447"/>
                  </a:lnTo>
                  <a:lnTo>
                    <a:pt x="2887625" y="199530"/>
                  </a:lnTo>
                  <a:lnTo>
                    <a:pt x="2887625" y="198831"/>
                  </a:lnTo>
                  <a:lnTo>
                    <a:pt x="2887663" y="198831"/>
                  </a:lnTo>
                  <a:lnTo>
                    <a:pt x="2887663" y="197447"/>
                  </a:lnTo>
                  <a:lnTo>
                    <a:pt x="2887663" y="202260"/>
                  </a:lnTo>
                  <a:lnTo>
                    <a:pt x="2887663" y="199530"/>
                  </a:lnTo>
                  <a:lnTo>
                    <a:pt x="2887714" y="199530"/>
                  </a:lnTo>
                  <a:lnTo>
                    <a:pt x="2887714" y="200876"/>
                  </a:lnTo>
                  <a:lnTo>
                    <a:pt x="2887714" y="200228"/>
                  </a:lnTo>
                  <a:lnTo>
                    <a:pt x="2887765" y="200228"/>
                  </a:lnTo>
                  <a:lnTo>
                    <a:pt x="2887765" y="200876"/>
                  </a:lnTo>
                  <a:lnTo>
                    <a:pt x="2887866" y="200876"/>
                  </a:lnTo>
                  <a:lnTo>
                    <a:pt x="2887866" y="202260"/>
                  </a:lnTo>
                  <a:lnTo>
                    <a:pt x="2887866" y="200876"/>
                  </a:lnTo>
                  <a:lnTo>
                    <a:pt x="2887866" y="202260"/>
                  </a:lnTo>
                  <a:lnTo>
                    <a:pt x="2887917" y="202260"/>
                  </a:lnTo>
                  <a:lnTo>
                    <a:pt x="2887917" y="200876"/>
                  </a:lnTo>
                  <a:lnTo>
                    <a:pt x="2887917" y="202260"/>
                  </a:lnTo>
                  <a:lnTo>
                    <a:pt x="2887917" y="200876"/>
                  </a:lnTo>
                  <a:lnTo>
                    <a:pt x="2887968" y="200876"/>
                  </a:lnTo>
                  <a:lnTo>
                    <a:pt x="2887968" y="199530"/>
                  </a:lnTo>
                  <a:lnTo>
                    <a:pt x="2887968" y="200228"/>
                  </a:lnTo>
                  <a:lnTo>
                    <a:pt x="2887968" y="199530"/>
                  </a:lnTo>
                  <a:lnTo>
                    <a:pt x="2888069" y="199530"/>
                  </a:lnTo>
                  <a:lnTo>
                    <a:pt x="2888069" y="197447"/>
                  </a:lnTo>
                  <a:lnTo>
                    <a:pt x="2888069" y="198831"/>
                  </a:lnTo>
                  <a:lnTo>
                    <a:pt x="2888069" y="197447"/>
                  </a:lnTo>
                  <a:lnTo>
                    <a:pt x="2888069" y="198831"/>
                  </a:lnTo>
                  <a:lnTo>
                    <a:pt x="2888069" y="196799"/>
                  </a:lnTo>
                  <a:lnTo>
                    <a:pt x="2888120" y="196799"/>
                  </a:lnTo>
                  <a:lnTo>
                    <a:pt x="2888120" y="197447"/>
                  </a:lnTo>
                  <a:lnTo>
                    <a:pt x="2888120" y="196113"/>
                  </a:lnTo>
                  <a:lnTo>
                    <a:pt x="2888120" y="196799"/>
                  </a:lnTo>
                  <a:lnTo>
                    <a:pt x="2888120" y="196113"/>
                  </a:lnTo>
                  <a:lnTo>
                    <a:pt x="2888120" y="198831"/>
                  </a:lnTo>
                  <a:lnTo>
                    <a:pt x="2888120" y="196799"/>
                  </a:lnTo>
                  <a:lnTo>
                    <a:pt x="2888171" y="196799"/>
                  </a:lnTo>
                  <a:lnTo>
                    <a:pt x="2888171" y="199530"/>
                  </a:lnTo>
                  <a:lnTo>
                    <a:pt x="2888171" y="197447"/>
                  </a:lnTo>
                  <a:lnTo>
                    <a:pt x="2888209" y="198831"/>
                  </a:lnTo>
                  <a:lnTo>
                    <a:pt x="2888209" y="199530"/>
                  </a:lnTo>
                  <a:lnTo>
                    <a:pt x="2888209" y="198831"/>
                  </a:lnTo>
                  <a:lnTo>
                    <a:pt x="2888311" y="199530"/>
                  </a:lnTo>
                  <a:lnTo>
                    <a:pt x="2888311" y="200228"/>
                  </a:lnTo>
                  <a:lnTo>
                    <a:pt x="2888311" y="199530"/>
                  </a:lnTo>
                  <a:lnTo>
                    <a:pt x="2888311" y="200228"/>
                  </a:lnTo>
                  <a:lnTo>
                    <a:pt x="2888311" y="199530"/>
                  </a:lnTo>
                  <a:lnTo>
                    <a:pt x="2888311" y="200228"/>
                  </a:lnTo>
                  <a:lnTo>
                    <a:pt x="2888362" y="200228"/>
                  </a:lnTo>
                  <a:lnTo>
                    <a:pt x="2888362" y="200876"/>
                  </a:lnTo>
                  <a:lnTo>
                    <a:pt x="2888412" y="200876"/>
                  </a:lnTo>
                  <a:lnTo>
                    <a:pt x="2888412" y="202260"/>
                  </a:lnTo>
                  <a:lnTo>
                    <a:pt x="2888412" y="200876"/>
                  </a:lnTo>
                  <a:lnTo>
                    <a:pt x="2888412" y="202260"/>
                  </a:lnTo>
                  <a:lnTo>
                    <a:pt x="2888412" y="200876"/>
                  </a:lnTo>
                  <a:lnTo>
                    <a:pt x="2888514" y="200876"/>
                  </a:lnTo>
                  <a:lnTo>
                    <a:pt x="2888514" y="200228"/>
                  </a:lnTo>
                  <a:lnTo>
                    <a:pt x="2888565" y="200228"/>
                  </a:lnTo>
                  <a:lnTo>
                    <a:pt x="2888565" y="197447"/>
                  </a:lnTo>
                  <a:lnTo>
                    <a:pt x="2888565" y="199530"/>
                  </a:lnTo>
                  <a:lnTo>
                    <a:pt x="2888615" y="199530"/>
                  </a:lnTo>
                  <a:lnTo>
                    <a:pt x="2888615" y="200228"/>
                  </a:lnTo>
                  <a:lnTo>
                    <a:pt x="2888615" y="197447"/>
                  </a:lnTo>
                  <a:lnTo>
                    <a:pt x="2888615" y="200228"/>
                  </a:lnTo>
                  <a:lnTo>
                    <a:pt x="2888666" y="200876"/>
                  </a:lnTo>
                  <a:lnTo>
                    <a:pt x="2888666" y="198831"/>
                  </a:lnTo>
                  <a:lnTo>
                    <a:pt x="2888666" y="200228"/>
                  </a:lnTo>
                  <a:lnTo>
                    <a:pt x="2888755" y="200228"/>
                  </a:lnTo>
                  <a:lnTo>
                    <a:pt x="2888755" y="198831"/>
                  </a:lnTo>
                  <a:lnTo>
                    <a:pt x="2888755" y="199530"/>
                  </a:lnTo>
                  <a:lnTo>
                    <a:pt x="2888806" y="199530"/>
                  </a:lnTo>
                  <a:lnTo>
                    <a:pt x="2888806" y="200228"/>
                  </a:lnTo>
                  <a:lnTo>
                    <a:pt x="2888806" y="199530"/>
                  </a:lnTo>
                  <a:lnTo>
                    <a:pt x="2888806" y="200228"/>
                  </a:lnTo>
                  <a:lnTo>
                    <a:pt x="2888857" y="200228"/>
                  </a:lnTo>
                  <a:lnTo>
                    <a:pt x="2888857" y="200876"/>
                  </a:lnTo>
                  <a:lnTo>
                    <a:pt x="2888857" y="200228"/>
                  </a:lnTo>
                  <a:lnTo>
                    <a:pt x="2888857" y="200876"/>
                  </a:lnTo>
                  <a:lnTo>
                    <a:pt x="2888857" y="200228"/>
                  </a:lnTo>
                  <a:lnTo>
                    <a:pt x="2888908" y="200228"/>
                  </a:lnTo>
                  <a:lnTo>
                    <a:pt x="2888908" y="199530"/>
                  </a:lnTo>
                  <a:lnTo>
                    <a:pt x="2888908" y="200228"/>
                  </a:lnTo>
                  <a:lnTo>
                    <a:pt x="2888908" y="199530"/>
                  </a:lnTo>
                  <a:lnTo>
                    <a:pt x="2888908" y="200228"/>
                  </a:lnTo>
                  <a:lnTo>
                    <a:pt x="2888908" y="199530"/>
                  </a:lnTo>
                  <a:lnTo>
                    <a:pt x="2889009" y="199530"/>
                  </a:lnTo>
                  <a:lnTo>
                    <a:pt x="2889009" y="198831"/>
                  </a:lnTo>
                  <a:lnTo>
                    <a:pt x="2889009" y="199530"/>
                  </a:lnTo>
                  <a:lnTo>
                    <a:pt x="2889009" y="198831"/>
                  </a:lnTo>
                  <a:lnTo>
                    <a:pt x="2889060" y="198831"/>
                  </a:lnTo>
                  <a:lnTo>
                    <a:pt x="2889060" y="200876"/>
                  </a:lnTo>
                  <a:lnTo>
                    <a:pt x="2889060" y="199530"/>
                  </a:lnTo>
                  <a:lnTo>
                    <a:pt x="2889060" y="200228"/>
                  </a:lnTo>
                  <a:lnTo>
                    <a:pt x="2889111" y="200876"/>
                  </a:lnTo>
                  <a:lnTo>
                    <a:pt x="2889111" y="202959"/>
                  </a:lnTo>
                  <a:lnTo>
                    <a:pt x="2889111" y="200876"/>
                  </a:lnTo>
                  <a:lnTo>
                    <a:pt x="2889111" y="202260"/>
                  </a:lnTo>
                  <a:lnTo>
                    <a:pt x="2889212" y="202260"/>
                  </a:lnTo>
                  <a:lnTo>
                    <a:pt x="2889212" y="202959"/>
                  </a:lnTo>
                  <a:lnTo>
                    <a:pt x="2889212" y="200876"/>
                  </a:lnTo>
                  <a:lnTo>
                    <a:pt x="2889212" y="202260"/>
                  </a:lnTo>
                  <a:lnTo>
                    <a:pt x="2889212" y="200876"/>
                  </a:lnTo>
                  <a:lnTo>
                    <a:pt x="2889212" y="202959"/>
                  </a:lnTo>
                  <a:lnTo>
                    <a:pt x="2889212" y="202260"/>
                  </a:lnTo>
                  <a:lnTo>
                    <a:pt x="2889251" y="202260"/>
                  </a:lnTo>
                  <a:lnTo>
                    <a:pt x="2889251" y="202959"/>
                  </a:lnTo>
                  <a:lnTo>
                    <a:pt x="2889251" y="200876"/>
                  </a:lnTo>
                  <a:lnTo>
                    <a:pt x="2889251" y="202260"/>
                  </a:lnTo>
                  <a:lnTo>
                    <a:pt x="2889301" y="202959"/>
                  </a:lnTo>
                  <a:lnTo>
                    <a:pt x="2889301" y="202260"/>
                  </a:lnTo>
                  <a:lnTo>
                    <a:pt x="2889301" y="202959"/>
                  </a:lnTo>
                  <a:lnTo>
                    <a:pt x="2889301" y="202260"/>
                  </a:lnTo>
                  <a:lnTo>
                    <a:pt x="2889301" y="202959"/>
                  </a:lnTo>
                  <a:lnTo>
                    <a:pt x="2889301" y="202260"/>
                  </a:lnTo>
                  <a:lnTo>
                    <a:pt x="2889352" y="202260"/>
                  </a:lnTo>
                  <a:lnTo>
                    <a:pt x="2889352" y="200876"/>
                  </a:lnTo>
                  <a:lnTo>
                    <a:pt x="2889454" y="200876"/>
                  </a:lnTo>
                  <a:lnTo>
                    <a:pt x="2889454" y="199530"/>
                  </a:lnTo>
                  <a:lnTo>
                    <a:pt x="2889454" y="200228"/>
                  </a:lnTo>
                  <a:lnTo>
                    <a:pt x="2889454" y="199530"/>
                  </a:lnTo>
                  <a:lnTo>
                    <a:pt x="2889454" y="200228"/>
                  </a:lnTo>
                  <a:lnTo>
                    <a:pt x="2889454" y="199530"/>
                  </a:lnTo>
                  <a:lnTo>
                    <a:pt x="2889505" y="199530"/>
                  </a:lnTo>
                  <a:lnTo>
                    <a:pt x="2889505" y="198831"/>
                  </a:lnTo>
                  <a:lnTo>
                    <a:pt x="2889505" y="199530"/>
                  </a:lnTo>
                  <a:lnTo>
                    <a:pt x="2889505" y="197447"/>
                  </a:lnTo>
                  <a:lnTo>
                    <a:pt x="2889505" y="198831"/>
                  </a:lnTo>
                  <a:lnTo>
                    <a:pt x="2889505" y="197447"/>
                  </a:lnTo>
                  <a:lnTo>
                    <a:pt x="2889505" y="198831"/>
                  </a:lnTo>
                  <a:lnTo>
                    <a:pt x="2889555" y="198831"/>
                  </a:lnTo>
                  <a:lnTo>
                    <a:pt x="2889555" y="200228"/>
                  </a:lnTo>
                  <a:lnTo>
                    <a:pt x="2889555" y="199530"/>
                  </a:lnTo>
                  <a:lnTo>
                    <a:pt x="2889555" y="200228"/>
                  </a:lnTo>
                  <a:lnTo>
                    <a:pt x="2889657" y="200876"/>
                  </a:lnTo>
                  <a:lnTo>
                    <a:pt x="2889657" y="200228"/>
                  </a:lnTo>
                  <a:lnTo>
                    <a:pt x="2889657" y="200876"/>
                  </a:lnTo>
                  <a:lnTo>
                    <a:pt x="2889657" y="200228"/>
                  </a:lnTo>
                  <a:lnTo>
                    <a:pt x="2889657" y="200876"/>
                  </a:lnTo>
                  <a:lnTo>
                    <a:pt x="2889657" y="200228"/>
                  </a:lnTo>
                  <a:lnTo>
                    <a:pt x="2889657" y="200876"/>
                  </a:lnTo>
                  <a:lnTo>
                    <a:pt x="2889657" y="200228"/>
                  </a:lnTo>
                  <a:lnTo>
                    <a:pt x="2889708" y="200876"/>
                  </a:lnTo>
                  <a:lnTo>
                    <a:pt x="2889708" y="202959"/>
                  </a:lnTo>
                  <a:lnTo>
                    <a:pt x="2889708" y="202260"/>
                  </a:lnTo>
                  <a:lnTo>
                    <a:pt x="2889758" y="202260"/>
                  </a:lnTo>
                  <a:lnTo>
                    <a:pt x="2889758" y="202959"/>
                  </a:lnTo>
                  <a:lnTo>
                    <a:pt x="2889758" y="202260"/>
                  </a:lnTo>
                  <a:lnTo>
                    <a:pt x="2889898" y="202260"/>
                  </a:lnTo>
                  <a:lnTo>
                    <a:pt x="2889898" y="200228"/>
                  </a:lnTo>
                  <a:lnTo>
                    <a:pt x="2889949" y="200228"/>
                  </a:lnTo>
                  <a:lnTo>
                    <a:pt x="2889949" y="199530"/>
                  </a:lnTo>
                  <a:lnTo>
                    <a:pt x="2889949" y="200228"/>
                  </a:lnTo>
                  <a:lnTo>
                    <a:pt x="2889949" y="198831"/>
                  </a:lnTo>
                  <a:lnTo>
                    <a:pt x="2890000" y="197447"/>
                  </a:lnTo>
                  <a:lnTo>
                    <a:pt x="2890000" y="196799"/>
                  </a:lnTo>
                  <a:lnTo>
                    <a:pt x="2890000" y="198831"/>
                  </a:lnTo>
                  <a:lnTo>
                    <a:pt x="2890101" y="198831"/>
                  </a:lnTo>
                  <a:lnTo>
                    <a:pt x="2890101" y="197447"/>
                  </a:lnTo>
                  <a:lnTo>
                    <a:pt x="2890101" y="200228"/>
                  </a:lnTo>
                  <a:lnTo>
                    <a:pt x="2890101" y="199530"/>
                  </a:lnTo>
                  <a:lnTo>
                    <a:pt x="2890152" y="199530"/>
                  </a:lnTo>
                  <a:lnTo>
                    <a:pt x="2890152" y="198831"/>
                  </a:lnTo>
                  <a:lnTo>
                    <a:pt x="2890152" y="200228"/>
                  </a:lnTo>
                  <a:lnTo>
                    <a:pt x="2890152" y="199530"/>
                  </a:lnTo>
                  <a:lnTo>
                    <a:pt x="2890203" y="199530"/>
                  </a:lnTo>
                  <a:lnTo>
                    <a:pt x="2890203" y="200228"/>
                  </a:lnTo>
                  <a:lnTo>
                    <a:pt x="2890203" y="199530"/>
                  </a:lnTo>
                  <a:lnTo>
                    <a:pt x="2890203" y="200228"/>
                  </a:lnTo>
                  <a:lnTo>
                    <a:pt x="2890254" y="200228"/>
                  </a:lnTo>
                  <a:lnTo>
                    <a:pt x="2890254" y="200876"/>
                  </a:lnTo>
                  <a:lnTo>
                    <a:pt x="2890343" y="200876"/>
                  </a:lnTo>
                  <a:lnTo>
                    <a:pt x="2890343" y="202260"/>
                  </a:lnTo>
                  <a:lnTo>
                    <a:pt x="2890343" y="200876"/>
                  </a:lnTo>
                  <a:lnTo>
                    <a:pt x="2890394" y="200876"/>
                  </a:lnTo>
                  <a:lnTo>
                    <a:pt x="2890394" y="202260"/>
                  </a:lnTo>
                  <a:lnTo>
                    <a:pt x="2890394" y="200228"/>
                  </a:lnTo>
                  <a:lnTo>
                    <a:pt x="2890444" y="200228"/>
                  </a:lnTo>
                  <a:lnTo>
                    <a:pt x="2890444" y="199530"/>
                  </a:lnTo>
                  <a:lnTo>
                    <a:pt x="2890444" y="200228"/>
                  </a:lnTo>
                  <a:lnTo>
                    <a:pt x="2890444" y="198831"/>
                  </a:lnTo>
                  <a:lnTo>
                    <a:pt x="2890495" y="198831"/>
                  </a:lnTo>
                  <a:lnTo>
                    <a:pt x="2890495" y="196799"/>
                  </a:lnTo>
                  <a:lnTo>
                    <a:pt x="2890495" y="197447"/>
                  </a:lnTo>
                  <a:lnTo>
                    <a:pt x="2890495" y="196799"/>
                  </a:lnTo>
                  <a:lnTo>
                    <a:pt x="2890495" y="198831"/>
                  </a:lnTo>
                  <a:lnTo>
                    <a:pt x="2890597" y="198831"/>
                  </a:lnTo>
                  <a:lnTo>
                    <a:pt x="2890597" y="196799"/>
                  </a:lnTo>
                  <a:lnTo>
                    <a:pt x="2890597" y="198831"/>
                  </a:lnTo>
                  <a:lnTo>
                    <a:pt x="2890647" y="198831"/>
                  </a:lnTo>
                  <a:lnTo>
                    <a:pt x="2890647" y="197447"/>
                  </a:lnTo>
                  <a:lnTo>
                    <a:pt x="2890647" y="199530"/>
                  </a:lnTo>
                  <a:lnTo>
                    <a:pt x="2890698" y="199530"/>
                  </a:lnTo>
                  <a:lnTo>
                    <a:pt x="2890698" y="198831"/>
                  </a:lnTo>
                  <a:lnTo>
                    <a:pt x="2890698" y="199530"/>
                  </a:lnTo>
                  <a:lnTo>
                    <a:pt x="2890698" y="198831"/>
                  </a:lnTo>
                  <a:lnTo>
                    <a:pt x="2890698" y="200228"/>
                  </a:lnTo>
                  <a:lnTo>
                    <a:pt x="2890698" y="199530"/>
                  </a:lnTo>
                  <a:lnTo>
                    <a:pt x="2890800" y="199530"/>
                  </a:lnTo>
                  <a:lnTo>
                    <a:pt x="2890800" y="200228"/>
                  </a:lnTo>
                  <a:lnTo>
                    <a:pt x="2890800" y="199530"/>
                  </a:lnTo>
                  <a:lnTo>
                    <a:pt x="2890800" y="200228"/>
                  </a:lnTo>
                  <a:lnTo>
                    <a:pt x="2890838" y="200228"/>
                  </a:lnTo>
                  <a:lnTo>
                    <a:pt x="2890838" y="200876"/>
                  </a:lnTo>
                  <a:lnTo>
                    <a:pt x="2890838" y="200228"/>
                  </a:lnTo>
                  <a:lnTo>
                    <a:pt x="2890838" y="200876"/>
                  </a:lnTo>
                  <a:lnTo>
                    <a:pt x="2890838" y="200228"/>
                  </a:lnTo>
                  <a:lnTo>
                    <a:pt x="2890838" y="200876"/>
                  </a:lnTo>
                  <a:lnTo>
                    <a:pt x="2890889" y="200228"/>
                  </a:lnTo>
                  <a:lnTo>
                    <a:pt x="2890889" y="200876"/>
                  </a:lnTo>
                  <a:lnTo>
                    <a:pt x="2890889" y="200228"/>
                  </a:lnTo>
                  <a:lnTo>
                    <a:pt x="2890940" y="200228"/>
                  </a:lnTo>
                  <a:lnTo>
                    <a:pt x="2890940" y="197447"/>
                  </a:lnTo>
                  <a:lnTo>
                    <a:pt x="2891041" y="197447"/>
                  </a:lnTo>
                  <a:lnTo>
                    <a:pt x="2891041" y="196113"/>
                  </a:lnTo>
                  <a:lnTo>
                    <a:pt x="2891041" y="196799"/>
                  </a:lnTo>
                  <a:lnTo>
                    <a:pt x="2891041" y="196113"/>
                  </a:lnTo>
                  <a:lnTo>
                    <a:pt x="2891041" y="196799"/>
                  </a:lnTo>
                  <a:lnTo>
                    <a:pt x="2891092" y="196799"/>
                  </a:lnTo>
                  <a:lnTo>
                    <a:pt x="2891092" y="195415"/>
                  </a:lnTo>
                  <a:lnTo>
                    <a:pt x="2891092" y="196799"/>
                  </a:lnTo>
                  <a:lnTo>
                    <a:pt x="2891143" y="196799"/>
                  </a:lnTo>
                  <a:lnTo>
                    <a:pt x="2891143" y="197447"/>
                  </a:lnTo>
                  <a:lnTo>
                    <a:pt x="2891143" y="196799"/>
                  </a:lnTo>
                  <a:lnTo>
                    <a:pt x="2891143" y="197447"/>
                  </a:lnTo>
                  <a:lnTo>
                    <a:pt x="2891244" y="197447"/>
                  </a:lnTo>
                  <a:lnTo>
                    <a:pt x="2891244" y="198831"/>
                  </a:lnTo>
                  <a:lnTo>
                    <a:pt x="2891244" y="197447"/>
                  </a:lnTo>
                  <a:lnTo>
                    <a:pt x="2891244" y="198831"/>
                  </a:lnTo>
                  <a:lnTo>
                    <a:pt x="2891244" y="197447"/>
                  </a:lnTo>
                  <a:lnTo>
                    <a:pt x="2891244" y="198831"/>
                  </a:lnTo>
                  <a:lnTo>
                    <a:pt x="2891295" y="197447"/>
                  </a:lnTo>
                  <a:lnTo>
                    <a:pt x="2891295" y="199530"/>
                  </a:lnTo>
                  <a:lnTo>
                    <a:pt x="2891295" y="198831"/>
                  </a:lnTo>
                  <a:lnTo>
                    <a:pt x="2891295" y="199530"/>
                  </a:lnTo>
                  <a:lnTo>
                    <a:pt x="2891295" y="198831"/>
                  </a:lnTo>
                  <a:lnTo>
                    <a:pt x="2891295" y="199530"/>
                  </a:lnTo>
                  <a:lnTo>
                    <a:pt x="2891346" y="199530"/>
                  </a:lnTo>
                  <a:lnTo>
                    <a:pt x="2891346" y="198831"/>
                  </a:lnTo>
                  <a:lnTo>
                    <a:pt x="2891346" y="200228"/>
                  </a:lnTo>
                  <a:lnTo>
                    <a:pt x="2891346" y="199530"/>
                  </a:lnTo>
                  <a:lnTo>
                    <a:pt x="2891346" y="200228"/>
                  </a:lnTo>
                  <a:lnTo>
                    <a:pt x="2891346" y="199530"/>
                  </a:lnTo>
                  <a:lnTo>
                    <a:pt x="2891346" y="200228"/>
                  </a:lnTo>
                  <a:lnTo>
                    <a:pt x="2891346" y="199530"/>
                  </a:lnTo>
                  <a:lnTo>
                    <a:pt x="2891384" y="199530"/>
                  </a:lnTo>
                  <a:lnTo>
                    <a:pt x="2891384" y="200228"/>
                  </a:lnTo>
                  <a:lnTo>
                    <a:pt x="2891384" y="199530"/>
                  </a:lnTo>
                  <a:lnTo>
                    <a:pt x="2891384" y="200876"/>
                  </a:lnTo>
                  <a:lnTo>
                    <a:pt x="2891384" y="200228"/>
                  </a:lnTo>
                  <a:lnTo>
                    <a:pt x="2891486" y="200228"/>
                  </a:lnTo>
                  <a:lnTo>
                    <a:pt x="2891486" y="199530"/>
                  </a:lnTo>
                  <a:lnTo>
                    <a:pt x="2891486" y="200228"/>
                  </a:lnTo>
                  <a:lnTo>
                    <a:pt x="2891486" y="198831"/>
                  </a:lnTo>
                  <a:lnTo>
                    <a:pt x="2891486" y="199530"/>
                  </a:lnTo>
                  <a:lnTo>
                    <a:pt x="2891486" y="198831"/>
                  </a:lnTo>
                  <a:lnTo>
                    <a:pt x="2891486" y="199530"/>
                  </a:lnTo>
                  <a:lnTo>
                    <a:pt x="2891537" y="198831"/>
                  </a:lnTo>
                  <a:lnTo>
                    <a:pt x="2891537" y="195415"/>
                  </a:lnTo>
                  <a:lnTo>
                    <a:pt x="2891587" y="196113"/>
                  </a:lnTo>
                  <a:lnTo>
                    <a:pt x="2891587" y="193383"/>
                  </a:lnTo>
                  <a:lnTo>
                    <a:pt x="2891587" y="196113"/>
                  </a:lnTo>
                  <a:lnTo>
                    <a:pt x="2891689" y="196799"/>
                  </a:lnTo>
                  <a:lnTo>
                    <a:pt x="2891689" y="195415"/>
                  </a:lnTo>
                  <a:lnTo>
                    <a:pt x="2891689" y="196799"/>
                  </a:lnTo>
                  <a:lnTo>
                    <a:pt x="2891740" y="196799"/>
                  </a:lnTo>
                  <a:lnTo>
                    <a:pt x="2891740" y="196113"/>
                  </a:lnTo>
                  <a:lnTo>
                    <a:pt x="2891740" y="196799"/>
                  </a:lnTo>
                  <a:lnTo>
                    <a:pt x="2891740" y="196113"/>
                  </a:lnTo>
                  <a:lnTo>
                    <a:pt x="2891740" y="197447"/>
                  </a:lnTo>
                  <a:lnTo>
                    <a:pt x="2891790" y="197447"/>
                  </a:lnTo>
                  <a:lnTo>
                    <a:pt x="2891790" y="196799"/>
                  </a:lnTo>
                  <a:lnTo>
                    <a:pt x="2891790" y="197447"/>
                  </a:lnTo>
                  <a:lnTo>
                    <a:pt x="2891790" y="196799"/>
                  </a:lnTo>
                  <a:lnTo>
                    <a:pt x="2891790" y="197447"/>
                  </a:lnTo>
                  <a:lnTo>
                    <a:pt x="2891841" y="197447"/>
                  </a:lnTo>
                  <a:lnTo>
                    <a:pt x="2891841" y="198831"/>
                  </a:lnTo>
                  <a:lnTo>
                    <a:pt x="2891841" y="197447"/>
                  </a:lnTo>
                  <a:lnTo>
                    <a:pt x="2891841" y="198831"/>
                  </a:lnTo>
                  <a:lnTo>
                    <a:pt x="2891930" y="198831"/>
                  </a:lnTo>
                  <a:lnTo>
                    <a:pt x="2891930" y="199530"/>
                  </a:lnTo>
                  <a:lnTo>
                    <a:pt x="2891981" y="199530"/>
                  </a:lnTo>
                  <a:lnTo>
                    <a:pt x="2891981" y="198831"/>
                  </a:lnTo>
                  <a:lnTo>
                    <a:pt x="2891981" y="199530"/>
                  </a:lnTo>
                  <a:lnTo>
                    <a:pt x="2891981" y="197447"/>
                  </a:lnTo>
                  <a:lnTo>
                    <a:pt x="2892032" y="197447"/>
                  </a:lnTo>
                  <a:lnTo>
                    <a:pt x="2892032" y="195415"/>
                  </a:lnTo>
                  <a:lnTo>
                    <a:pt x="2892083" y="195415"/>
                  </a:lnTo>
                  <a:lnTo>
                    <a:pt x="2892083" y="196799"/>
                  </a:lnTo>
                  <a:lnTo>
                    <a:pt x="2892083" y="194716"/>
                  </a:lnTo>
                  <a:lnTo>
                    <a:pt x="2892083" y="195415"/>
                  </a:lnTo>
                  <a:lnTo>
                    <a:pt x="2892184" y="196113"/>
                  </a:lnTo>
                  <a:lnTo>
                    <a:pt x="2892184" y="197447"/>
                  </a:lnTo>
                  <a:lnTo>
                    <a:pt x="2892184" y="196113"/>
                  </a:lnTo>
                  <a:lnTo>
                    <a:pt x="2892184" y="196799"/>
                  </a:lnTo>
                  <a:lnTo>
                    <a:pt x="2892235" y="196799"/>
                  </a:lnTo>
                  <a:lnTo>
                    <a:pt x="2892235" y="197447"/>
                  </a:lnTo>
                  <a:lnTo>
                    <a:pt x="2892235" y="196799"/>
                  </a:lnTo>
                  <a:lnTo>
                    <a:pt x="2892235" y="197447"/>
                  </a:lnTo>
                  <a:lnTo>
                    <a:pt x="2892235" y="196113"/>
                  </a:lnTo>
                  <a:lnTo>
                    <a:pt x="2892235" y="196799"/>
                  </a:lnTo>
                  <a:lnTo>
                    <a:pt x="2892286" y="196799"/>
                  </a:lnTo>
                  <a:lnTo>
                    <a:pt x="2892286" y="197447"/>
                  </a:lnTo>
                  <a:lnTo>
                    <a:pt x="2892286" y="196799"/>
                  </a:lnTo>
                  <a:lnTo>
                    <a:pt x="2892286" y="197447"/>
                  </a:lnTo>
                  <a:lnTo>
                    <a:pt x="2892387" y="197447"/>
                  </a:lnTo>
                  <a:lnTo>
                    <a:pt x="2892387" y="198831"/>
                  </a:lnTo>
                  <a:lnTo>
                    <a:pt x="2892426" y="198831"/>
                  </a:lnTo>
                  <a:lnTo>
                    <a:pt x="2892426" y="200228"/>
                  </a:lnTo>
                  <a:lnTo>
                    <a:pt x="2892426" y="199530"/>
                  </a:lnTo>
                  <a:lnTo>
                    <a:pt x="2892426" y="200228"/>
                  </a:lnTo>
                  <a:lnTo>
                    <a:pt x="2892476" y="200228"/>
                  </a:lnTo>
                  <a:lnTo>
                    <a:pt x="2892476" y="198831"/>
                  </a:lnTo>
                  <a:lnTo>
                    <a:pt x="2892527" y="198831"/>
                  </a:lnTo>
                  <a:lnTo>
                    <a:pt x="2892527" y="197447"/>
                  </a:lnTo>
                  <a:lnTo>
                    <a:pt x="2892527" y="198831"/>
                  </a:lnTo>
                  <a:lnTo>
                    <a:pt x="2892527" y="196799"/>
                  </a:lnTo>
                  <a:lnTo>
                    <a:pt x="2892527" y="197447"/>
                  </a:lnTo>
                  <a:lnTo>
                    <a:pt x="2892629" y="197447"/>
                  </a:lnTo>
                  <a:lnTo>
                    <a:pt x="2892629" y="198831"/>
                  </a:lnTo>
                  <a:lnTo>
                    <a:pt x="2892629" y="196113"/>
                  </a:lnTo>
                  <a:lnTo>
                    <a:pt x="2892629" y="200228"/>
                  </a:lnTo>
                  <a:lnTo>
                    <a:pt x="2892680" y="200228"/>
                  </a:lnTo>
                  <a:lnTo>
                    <a:pt x="2892680" y="198831"/>
                  </a:lnTo>
                  <a:lnTo>
                    <a:pt x="2892680" y="200228"/>
                  </a:lnTo>
                  <a:lnTo>
                    <a:pt x="2892680" y="199530"/>
                  </a:lnTo>
                  <a:lnTo>
                    <a:pt x="2892680" y="200228"/>
                  </a:lnTo>
                  <a:lnTo>
                    <a:pt x="2892730" y="199530"/>
                  </a:lnTo>
                  <a:lnTo>
                    <a:pt x="2892730" y="198831"/>
                  </a:lnTo>
                  <a:lnTo>
                    <a:pt x="2892832" y="198831"/>
                  </a:lnTo>
                  <a:lnTo>
                    <a:pt x="2892832" y="197447"/>
                  </a:lnTo>
                  <a:lnTo>
                    <a:pt x="2892832" y="199530"/>
                  </a:lnTo>
                  <a:lnTo>
                    <a:pt x="2892832" y="198831"/>
                  </a:lnTo>
                  <a:lnTo>
                    <a:pt x="2892883" y="198831"/>
                  </a:lnTo>
                  <a:lnTo>
                    <a:pt x="2892883" y="199530"/>
                  </a:lnTo>
                  <a:lnTo>
                    <a:pt x="2892883" y="198831"/>
                  </a:lnTo>
                  <a:lnTo>
                    <a:pt x="2892883" y="199530"/>
                  </a:lnTo>
                  <a:lnTo>
                    <a:pt x="2892883" y="198831"/>
                  </a:lnTo>
                  <a:lnTo>
                    <a:pt x="2892883" y="199530"/>
                  </a:lnTo>
                  <a:lnTo>
                    <a:pt x="2892933" y="199530"/>
                  </a:lnTo>
                  <a:lnTo>
                    <a:pt x="2892933" y="198831"/>
                  </a:lnTo>
                  <a:lnTo>
                    <a:pt x="2892933" y="199530"/>
                  </a:lnTo>
                  <a:lnTo>
                    <a:pt x="2892933" y="198831"/>
                  </a:lnTo>
                  <a:lnTo>
                    <a:pt x="2892972" y="198831"/>
                  </a:lnTo>
                  <a:lnTo>
                    <a:pt x="2892972" y="197447"/>
                  </a:lnTo>
                  <a:lnTo>
                    <a:pt x="2892972" y="198831"/>
                  </a:lnTo>
                  <a:lnTo>
                    <a:pt x="2892972" y="196799"/>
                  </a:lnTo>
                  <a:lnTo>
                    <a:pt x="2893073" y="196799"/>
                  </a:lnTo>
                  <a:lnTo>
                    <a:pt x="2893073" y="196113"/>
                  </a:lnTo>
                  <a:lnTo>
                    <a:pt x="2893073" y="197447"/>
                  </a:lnTo>
                  <a:lnTo>
                    <a:pt x="2893124" y="197447"/>
                  </a:lnTo>
                  <a:lnTo>
                    <a:pt x="2893124" y="196799"/>
                  </a:lnTo>
                  <a:lnTo>
                    <a:pt x="2893124" y="197447"/>
                  </a:lnTo>
                  <a:lnTo>
                    <a:pt x="2893124" y="196799"/>
                  </a:lnTo>
                  <a:lnTo>
                    <a:pt x="2893124" y="199530"/>
                  </a:lnTo>
                  <a:lnTo>
                    <a:pt x="2893175" y="199530"/>
                  </a:lnTo>
                  <a:lnTo>
                    <a:pt x="2893175" y="198831"/>
                  </a:lnTo>
                  <a:lnTo>
                    <a:pt x="2893175" y="199530"/>
                  </a:lnTo>
                  <a:lnTo>
                    <a:pt x="2893175" y="198831"/>
                  </a:lnTo>
                  <a:lnTo>
                    <a:pt x="2893175" y="199530"/>
                  </a:lnTo>
                  <a:lnTo>
                    <a:pt x="2893175" y="198831"/>
                  </a:lnTo>
                  <a:lnTo>
                    <a:pt x="2893175" y="199530"/>
                  </a:lnTo>
                  <a:lnTo>
                    <a:pt x="2893276" y="199530"/>
                  </a:lnTo>
                  <a:lnTo>
                    <a:pt x="2893276" y="197447"/>
                  </a:lnTo>
                  <a:lnTo>
                    <a:pt x="2893276" y="199530"/>
                  </a:lnTo>
                  <a:lnTo>
                    <a:pt x="2893276" y="198831"/>
                  </a:lnTo>
                  <a:lnTo>
                    <a:pt x="2893327" y="198831"/>
                  </a:lnTo>
                  <a:lnTo>
                    <a:pt x="2893327" y="199530"/>
                  </a:lnTo>
                  <a:lnTo>
                    <a:pt x="2893378" y="199530"/>
                  </a:lnTo>
                  <a:lnTo>
                    <a:pt x="2893378" y="200228"/>
                  </a:lnTo>
                  <a:lnTo>
                    <a:pt x="2893378" y="199530"/>
                  </a:lnTo>
                  <a:lnTo>
                    <a:pt x="2893378" y="200228"/>
                  </a:lnTo>
                  <a:lnTo>
                    <a:pt x="2893378" y="199530"/>
                  </a:lnTo>
                  <a:lnTo>
                    <a:pt x="2893429" y="199530"/>
                  </a:lnTo>
                  <a:lnTo>
                    <a:pt x="2893429" y="200228"/>
                  </a:lnTo>
                  <a:lnTo>
                    <a:pt x="2893429" y="198831"/>
                  </a:lnTo>
                  <a:lnTo>
                    <a:pt x="2893429" y="199530"/>
                  </a:lnTo>
                  <a:lnTo>
                    <a:pt x="2893518" y="198831"/>
                  </a:lnTo>
                  <a:lnTo>
                    <a:pt x="2893518" y="196799"/>
                  </a:lnTo>
                  <a:lnTo>
                    <a:pt x="2893518" y="197447"/>
                  </a:lnTo>
                  <a:lnTo>
                    <a:pt x="2893569" y="196799"/>
                  </a:lnTo>
                  <a:lnTo>
                    <a:pt x="2893569" y="196113"/>
                  </a:lnTo>
                  <a:lnTo>
                    <a:pt x="2893569" y="196799"/>
                  </a:lnTo>
                  <a:lnTo>
                    <a:pt x="2893569" y="196113"/>
                  </a:lnTo>
                  <a:lnTo>
                    <a:pt x="2893569" y="197447"/>
                  </a:lnTo>
                  <a:lnTo>
                    <a:pt x="2893569" y="196799"/>
                  </a:lnTo>
                  <a:lnTo>
                    <a:pt x="2893619" y="196799"/>
                  </a:lnTo>
                  <a:lnTo>
                    <a:pt x="2893619" y="197447"/>
                  </a:lnTo>
                  <a:lnTo>
                    <a:pt x="2893619" y="196799"/>
                  </a:lnTo>
                  <a:lnTo>
                    <a:pt x="2893619" y="200228"/>
                  </a:lnTo>
                  <a:lnTo>
                    <a:pt x="2893619" y="199530"/>
                  </a:lnTo>
                  <a:lnTo>
                    <a:pt x="2893670" y="199530"/>
                  </a:lnTo>
                  <a:lnTo>
                    <a:pt x="2893670" y="198831"/>
                  </a:lnTo>
                  <a:lnTo>
                    <a:pt x="2893670" y="200228"/>
                  </a:lnTo>
                  <a:lnTo>
                    <a:pt x="2893670" y="199530"/>
                  </a:lnTo>
                  <a:lnTo>
                    <a:pt x="2893772" y="199530"/>
                  </a:lnTo>
                  <a:lnTo>
                    <a:pt x="2893772" y="198831"/>
                  </a:lnTo>
                  <a:lnTo>
                    <a:pt x="2893772" y="199530"/>
                  </a:lnTo>
                  <a:lnTo>
                    <a:pt x="2893822" y="199530"/>
                  </a:lnTo>
                  <a:lnTo>
                    <a:pt x="2893822" y="200876"/>
                  </a:lnTo>
                  <a:lnTo>
                    <a:pt x="2893822" y="200228"/>
                  </a:lnTo>
                  <a:lnTo>
                    <a:pt x="2893873" y="200228"/>
                  </a:lnTo>
                  <a:lnTo>
                    <a:pt x="2893873" y="200876"/>
                  </a:lnTo>
                  <a:lnTo>
                    <a:pt x="2893873" y="200228"/>
                  </a:lnTo>
                  <a:lnTo>
                    <a:pt x="2893873" y="200876"/>
                  </a:lnTo>
                  <a:lnTo>
                    <a:pt x="2893873" y="200228"/>
                  </a:lnTo>
                  <a:lnTo>
                    <a:pt x="2893975" y="200228"/>
                  </a:lnTo>
                  <a:lnTo>
                    <a:pt x="2893975" y="199530"/>
                  </a:lnTo>
                  <a:lnTo>
                    <a:pt x="2893975" y="200228"/>
                  </a:lnTo>
                  <a:lnTo>
                    <a:pt x="2893975" y="199530"/>
                  </a:lnTo>
                  <a:lnTo>
                    <a:pt x="2894013" y="199530"/>
                  </a:lnTo>
                  <a:lnTo>
                    <a:pt x="2894013" y="196799"/>
                  </a:lnTo>
                  <a:lnTo>
                    <a:pt x="2894064" y="196799"/>
                  </a:lnTo>
                  <a:lnTo>
                    <a:pt x="2894064" y="197447"/>
                  </a:lnTo>
                  <a:lnTo>
                    <a:pt x="2894064" y="196799"/>
                  </a:lnTo>
                  <a:lnTo>
                    <a:pt x="2894064" y="198831"/>
                  </a:lnTo>
                  <a:lnTo>
                    <a:pt x="2894115" y="197447"/>
                  </a:lnTo>
                  <a:lnTo>
                    <a:pt x="2894115" y="196799"/>
                  </a:lnTo>
                  <a:lnTo>
                    <a:pt x="2894115" y="199530"/>
                  </a:lnTo>
                  <a:lnTo>
                    <a:pt x="2894115" y="198831"/>
                  </a:lnTo>
                  <a:lnTo>
                    <a:pt x="2894216" y="198831"/>
                  </a:lnTo>
                  <a:lnTo>
                    <a:pt x="2894216" y="197447"/>
                  </a:lnTo>
                  <a:lnTo>
                    <a:pt x="2894216" y="198831"/>
                  </a:lnTo>
                  <a:lnTo>
                    <a:pt x="2894216" y="197447"/>
                  </a:lnTo>
                  <a:lnTo>
                    <a:pt x="2894216" y="199530"/>
                  </a:lnTo>
                  <a:lnTo>
                    <a:pt x="2894267" y="198831"/>
                  </a:lnTo>
                  <a:lnTo>
                    <a:pt x="2894267" y="197447"/>
                  </a:lnTo>
                  <a:lnTo>
                    <a:pt x="2894267" y="199530"/>
                  </a:lnTo>
                  <a:lnTo>
                    <a:pt x="2894318" y="199530"/>
                  </a:lnTo>
                  <a:lnTo>
                    <a:pt x="2894318" y="200228"/>
                  </a:lnTo>
                  <a:lnTo>
                    <a:pt x="2894419" y="200228"/>
                  </a:lnTo>
                  <a:lnTo>
                    <a:pt x="2894419" y="200876"/>
                  </a:lnTo>
                  <a:lnTo>
                    <a:pt x="2894419" y="200228"/>
                  </a:lnTo>
                  <a:lnTo>
                    <a:pt x="2894419" y="200876"/>
                  </a:lnTo>
                  <a:lnTo>
                    <a:pt x="2894419" y="200228"/>
                  </a:lnTo>
                  <a:lnTo>
                    <a:pt x="2894419" y="200876"/>
                  </a:lnTo>
                  <a:lnTo>
                    <a:pt x="2894470" y="200876"/>
                  </a:lnTo>
                  <a:lnTo>
                    <a:pt x="2894470" y="200228"/>
                  </a:lnTo>
                  <a:lnTo>
                    <a:pt x="2894470" y="200876"/>
                  </a:lnTo>
                  <a:lnTo>
                    <a:pt x="2894470" y="199530"/>
                  </a:lnTo>
                  <a:lnTo>
                    <a:pt x="2894521" y="199530"/>
                  </a:lnTo>
                  <a:lnTo>
                    <a:pt x="2894521" y="197447"/>
                  </a:lnTo>
                  <a:lnTo>
                    <a:pt x="2894521" y="198831"/>
                  </a:lnTo>
                  <a:lnTo>
                    <a:pt x="2894559" y="198831"/>
                  </a:lnTo>
                  <a:lnTo>
                    <a:pt x="2894559" y="197447"/>
                  </a:lnTo>
                  <a:lnTo>
                    <a:pt x="2894559" y="198831"/>
                  </a:lnTo>
                  <a:lnTo>
                    <a:pt x="2894559" y="197447"/>
                  </a:lnTo>
                  <a:lnTo>
                    <a:pt x="2894661" y="196799"/>
                  </a:lnTo>
                  <a:lnTo>
                    <a:pt x="2894661" y="200228"/>
                  </a:lnTo>
                  <a:lnTo>
                    <a:pt x="2894661" y="198831"/>
                  </a:lnTo>
                  <a:lnTo>
                    <a:pt x="2894712" y="198831"/>
                  </a:lnTo>
                  <a:lnTo>
                    <a:pt x="2894712" y="199530"/>
                  </a:lnTo>
                  <a:lnTo>
                    <a:pt x="2894712" y="198831"/>
                  </a:lnTo>
                  <a:lnTo>
                    <a:pt x="2894712" y="199530"/>
                  </a:lnTo>
                  <a:lnTo>
                    <a:pt x="2894712" y="198831"/>
                  </a:lnTo>
                  <a:lnTo>
                    <a:pt x="2894762" y="199530"/>
                  </a:lnTo>
                  <a:lnTo>
                    <a:pt x="2894762" y="198831"/>
                  </a:lnTo>
                  <a:lnTo>
                    <a:pt x="2894762" y="199530"/>
                  </a:lnTo>
                  <a:lnTo>
                    <a:pt x="2894762" y="198831"/>
                  </a:lnTo>
                  <a:lnTo>
                    <a:pt x="2894762" y="200228"/>
                  </a:lnTo>
                  <a:lnTo>
                    <a:pt x="2894762" y="199530"/>
                  </a:lnTo>
                  <a:lnTo>
                    <a:pt x="2894864" y="199530"/>
                  </a:lnTo>
                  <a:lnTo>
                    <a:pt x="2894864" y="200228"/>
                  </a:lnTo>
                  <a:lnTo>
                    <a:pt x="2894864" y="199530"/>
                  </a:lnTo>
                  <a:lnTo>
                    <a:pt x="2894864" y="200228"/>
                  </a:lnTo>
                  <a:lnTo>
                    <a:pt x="2894915" y="200228"/>
                  </a:lnTo>
                  <a:lnTo>
                    <a:pt x="2894915" y="200876"/>
                  </a:lnTo>
                  <a:lnTo>
                    <a:pt x="2894915" y="199530"/>
                  </a:lnTo>
                  <a:lnTo>
                    <a:pt x="2894965" y="199530"/>
                  </a:lnTo>
                  <a:lnTo>
                    <a:pt x="2894965" y="200228"/>
                  </a:lnTo>
                  <a:lnTo>
                    <a:pt x="2894965" y="198831"/>
                  </a:lnTo>
                  <a:lnTo>
                    <a:pt x="2894965" y="199530"/>
                  </a:lnTo>
                  <a:lnTo>
                    <a:pt x="2895016" y="199530"/>
                  </a:lnTo>
                  <a:lnTo>
                    <a:pt x="2895016" y="198831"/>
                  </a:lnTo>
                  <a:lnTo>
                    <a:pt x="2895016" y="200876"/>
                  </a:lnTo>
                  <a:lnTo>
                    <a:pt x="2895016" y="200228"/>
                  </a:lnTo>
                  <a:lnTo>
                    <a:pt x="2895105" y="199530"/>
                  </a:lnTo>
                  <a:lnTo>
                    <a:pt x="2895105" y="203594"/>
                  </a:lnTo>
                  <a:lnTo>
                    <a:pt x="2895105" y="200876"/>
                  </a:lnTo>
                  <a:lnTo>
                    <a:pt x="2895156" y="200876"/>
                  </a:lnTo>
                  <a:lnTo>
                    <a:pt x="2895156" y="202959"/>
                  </a:lnTo>
                  <a:lnTo>
                    <a:pt x="2895156" y="202260"/>
                  </a:lnTo>
                  <a:lnTo>
                    <a:pt x="2895207" y="200876"/>
                  </a:lnTo>
                  <a:lnTo>
                    <a:pt x="2895207" y="202959"/>
                  </a:lnTo>
                  <a:lnTo>
                    <a:pt x="2895207" y="200876"/>
                  </a:lnTo>
                  <a:lnTo>
                    <a:pt x="2895258" y="200876"/>
                  </a:lnTo>
                  <a:lnTo>
                    <a:pt x="2895258" y="202959"/>
                  </a:lnTo>
                  <a:lnTo>
                    <a:pt x="2895258" y="202260"/>
                  </a:lnTo>
                  <a:lnTo>
                    <a:pt x="2895258" y="202959"/>
                  </a:lnTo>
                  <a:lnTo>
                    <a:pt x="2895258" y="202260"/>
                  </a:lnTo>
                  <a:lnTo>
                    <a:pt x="2895359" y="202260"/>
                  </a:lnTo>
                  <a:lnTo>
                    <a:pt x="2895359" y="202959"/>
                  </a:lnTo>
                  <a:lnTo>
                    <a:pt x="2895359" y="200876"/>
                  </a:lnTo>
                  <a:lnTo>
                    <a:pt x="2895359" y="202260"/>
                  </a:lnTo>
                  <a:lnTo>
                    <a:pt x="2895359" y="200876"/>
                  </a:lnTo>
                  <a:lnTo>
                    <a:pt x="2895359" y="202260"/>
                  </a:lnTo>
                  <a:lnTo>
                    <a:pt x="2895410" y="200876"/>
                  </a:lnTo>
                  <a:lnTo>
                    <a:pt x="2895410" y="200228"/>
                  </a:lnTo>
                  <a:lnTo>
                    <a:pt x="2895461" y="199530"/>
                  </a:lnTo>
                  <a:lnTo>
                    <a:pt x="2895461" y="198831"/>
                  </a:lnTo>
                  <a:lnTo>
                    <a:pt x="2895461" y="199530"/>
                  </a:lnTo>
                  <a:lnTo>
                    <a:pt x="2895461" y="198831"/>
                  </a:lnTo>
                  <a:lnTo>
                    <a:pt x="2895461" y="199530"/>
                  </a:lnTo>
                  <a:lnTo>
                    <a:pt x="2895562" y="199530"/>
                  </a:lnTo>
                  <a:lnTo>
                    <a:pt x="2895562" y="200876"/>
                  </a:lnTo>
                  <a:lnTo>
                    <a:pt x="2895562" y="199530"/>
                  </a:lnTo>
                  <a:lnTo>
                    <a:pt x="2895562" y="200228"/>
                  </a:lnTo>
                  <a:lnTo>
                    <a:pt x="2895562" y="199530"/>
                  </a:lnTo>
                  <a:lnTo>
                    <a:pt x="2895562" y="202959"/>
                  </a:lnTo>
                  <a:lnTo>
                    <a:pt x="2895601" y="202959"/>
                  </a:lnTo>
                  <a:lnTo>
                    <a:pt x="2895601" y="203594"/>
                  </a:lnTo>
                  <a:lnTo>
                    <a:pt x="2895601" y="202959"/>
                  </a:lnTo>
                  <a:lnTo>
                    <a:pt x="2895601" y="203594"/>
                  </a:lnTo>
                  <a:lnTo>
                    <a:pt x="2895601" y="200876"/>
                  </a:lnTo>
                  <a:lnTo>
                    <a:pt x="2895601" y="202959"/>
                  </a:lnTo>
                  <a:lnTo>
                    <a:pt x="2895651" y="202959"/>
                  </a:lnTo>
                  <a:lnTo>
                    <a:pt x="2895651" y="200876"/>
                  </a:lnTo>
                  <a:lnTo>
                    <a:pt x="2895651" y="202959"/>
                  </a:lnTo>
                  <a:lnTo>
                    <a:pt x="2895702" y="202959"/>
                  </a:lnTo>
                  <a:lnTo>
                    <a:pt x="2895702" y="202260"/>
                  </a:lnTo>
                  <a:lnTo>
                    <a:pt x="2895702" y="202959"/>
                  </a:lnTo>
                  <a:lnTo>
                    <a:pt x="2895702" y="202260"/>
                  </a:lnTo>
                  <a:lnTo>
                    <a:pt x="2895702" y="202959"/>
                  </a:lnTo>
                  <a:lnTo>
                    <a:pt x="2895804" y="202959"/>
                  </a:lnTo>
                  <a:lnTo>
                    <a:pt x="2895804" y="202260"/>
                  </a:lnTo>
                  <a:lnTo>
                    <a:pt x="2895855" y="202260"/>
                  </a:lnTo>
                  <a:lnTo>
                    <a:pt x="2895855" y="202959"/>
                  </a:lnTo>
                  <a:lnTo>
                    <a:pt x="2895855" y="200876"/>
                  </a:lnTo>
                  <a:lnTo>
                    <a:pt x="2895905" y="200876"/>
                  </a:lnTo>
                  <a:lnTo>
                    <a:pt x="2895905" y="198831"/>
                  </a:lnTo>
                  <a:lnTo>
                    <a:pt x="2896007" y="198831"/>
                  </a:lnTo>
                  <a:lnTo>
                    <a:pt x="2896007" y="200876"/>
                  </a:lnTo>
                  <a:lnTo>
                    <a:pt x="2896007" y="199530"/>
                  </a:lnTo>
                  <a:lnTo>
                    <a:pt x="2896058" y="199530"/>
                  </a:lnTo>
                  <a:lnTo>
                    <a:pt x="2896058" y="202959"/>
                  </a:lnTo>
                  <a:lnTo>
                    <a:pt x="2896058" y="202260"/>
                  </a:lnTo>
                  <a:lnTo>
                    <a:pt x="2896058" y="202959"/>
                  </a:lnTo>
                  <a:lnTo>
                    <a:pt x="2896058" y="200876"/>
                  </a:lnTo>
                  <a:lnTo>
                    <a:pt x="2896058" y="202260"/>
                  </a:lnTo>
                  <a:lnTo>
                    <a:pt x="2896108" y="202260"/>
                  </a:lnTo>
                  <a:lnTo>
                    <a:pt x="2896108" y="202959"/>
                  </a:lnTo>
                  <a:lnTo>
                    <a:pt x="2896108" y="202260"/>
                  </a:lnTo>
                  <a:lnTo>
                    <a:pt x="2896108" y="202959"/>
                  </a:lnTo>
                  <a:lnTo>
                    <a:pt x="2896147" y="202260"/>
                  </a:lnTo>
                  <a:lnTo>
                    <a:pt x="2896147" y="202959"/>
                  </a:lnTo>
                  <a:lnTo>
                    <a:pt x="2896147" y="202260"/>
                  </a:lnTo>
                  <a:lnTo>
                    <a:pt x="2896147" y="202959"/>
                  </a:lnTo>
                  <a:lnTo>
                    <a:pt x="2896147" y="202260"/>
                  </a:lnTo>
                  <a:lnTo>
                    <a:pt x="2896147" y="202959"/>
                  </a:lnTo>
                  <a:lnTo>
                    <a:pt x="2896248" y="202959"/>
                  </a:lnTo>
                  <a:lnTo>
                    <a:pt x="2896248" y="203594"/>
                  </a:lnTo>
                  <a:lnTo>
                    <a:pt x="2896248" y="202959"/>
                  </a:lnTo>
                  <a:lnTo>
                    <a:pt x="2896248" y="203594"/>
                  </a:lnTo>
                  <a:lnTo>
                    <a:pt x="2896248" y="202959"/>
                  </a:lnTo>
                  <a:lnTo>
                    <a:pt x="2896248" y="203594"/>
                  </a:lnTo>
                  <a:lnTo>
                    <a:pt x="2896248" y="202959"/>
                  </a:lnTo>
                  <a:lnTo>
                    <a:pt x="2896248" y="203594"/>
                  </a:lnTo>
                  <a:lnTo>
                    <a:pt x="2896248" y="202959"/>
                  </a:lnTo>
                  <a:lnTo>
                    <a:pt x="2896248" y="203594"/>
                  </a:lnTo>
                  <a:lnTo>
                    <a:pt x="2896299" y="203594"/>
                  </a:lnTo>
                  <a:lnTo>
                    <a:pt x="2896299" y="202959"/>
                  </a:lnTo>
                  <a:lnTo>
                    <a:pt x="2896299" y="203594"/>
                  </a:lnTo>
                  <a:lnTo>
                    <a:pt x="2896299" y="202959"/>
                  </a:lnTo>
                  <a:lnTo>
                    <a:pt x="2896350" y="202260"/>
                  </a:lnTo>
                  <a:lnTo>
                    <a:pt x="2896350" y="200876"/>
                  </a:lnTo>
                  <a:lnTo>
                    <a:pt x="2896350" y="202260"/>
                  </a:lnTo>
                  <a:lnTo>
                    <a:pt x="2896350" y="200876"/>
                  </a:lnTo>
                  <a:lnTo>
                    <a:pt x="2896451" y="200876"/>
                  </a:lnTo>
                  <a:lnTo>
                    <a:pt x="2896451" y="199530"/>
                  </a:lnTo>
                  <a:lnTo>
                    <a:pt x="2896451" y="200228"/>
                  </a:lnTo>
                  <a:lnTo>
                    <a:pt x="2896451" y="199530"/>
                  </a:lnTo>
                  <a:lnTo>
                    <a:pt x="2896451" y="200228"/>
                  </a:lnTo>
                  <a:lnTo>
                    <a:pt x="2896451" y="199530"/>
                  </a:lnTo>
                  <a:lnTo>
                    <a:pt x="2896451" y="200228"/>
                  </a:lnTo>
                  <a:lnTo>
                    <a:pt x="2896502" y="200228"/>
                  </a:lnTo>
                  <a:lnTo>
                    <a:pt x="2896502" y="200876"/>
                  </a:lnTo>
                  <a:lnTo>
                    <a:pt x="2896502" y="199530"/>
                  </a:lnTo>
                  <a:lnTo>
                    <a:pt x="2896502" y="202959"/>
                  </a:lnTo>
                  <a:lnTo>
                    <a:pt x="2896502" y="202260"/>
                  </a:lnTo>
                  <a:lnTo>
                    <a:pt x="2896553" y="202260"/>
                  </a:lnTo>
                  <a:lnTo>
                    <a:pt x="2896553" y="200876"/>
                  </a:lnTo>
                  <a:lnTo>
                    <a:pt x="2896553" y="202959"/>
                  </a:lnTo>
                  <a:lnTo>
                    <a:pt x="2896553" y="202260"/>
                  </a:lnTo>
                  <a:lnTo>
                    <a:pt x="2896604" y="202260"/>
                  </a:lnTo>
                  <a:lnTo>
                    <a:pt x="2896604" y="200876"/>
                  </a:lnTo>
                  <a:lnTo>
                    <a:pt x="2896604" y="202260"/>
                  </a:lnTo>
                  <a:lnTo>
                    <a:pt x="2896604" y="200876"/>
                  </a:lnTo>
                  <a:lnTo>
                    <a:pt x="2896604" y="202260"/>
                  </a:lnTo>
                  <a:lnTo>
                    <a:pt x="2896693" y="202260"/>
                  </a:lnTo>
                  <a:lnTo>
                    <a:pt x="2896693" y="200876"/>
                  </a:lnTo>
                  <a:lnTo>
                    <a:pt x="2896693" y="202260"/>
                  </a:lnTo>
                  <a:lnTo>
                    <a:pt x="2896693" y="200876"/>
                  </a:lnTo>
                  <a:lnTo>
                    <a:pt x="2896693" y="202260"/>
                  </a:lnTo>
                  <a:lnTo>
                    <a:pt x="2896693" y="200876"/>
                  </a:lnTo>
                  <a:lnTo>
                    <a:pt x="2896693" y="202959"/>
                  </a:lnTo>
                  <a:lnTo>
                    <a:pt x="2896693" y="202260"/>
                  </a:lnTo>
                  <a:lnTo>
                    <a:pt x="2896693" y="202959"/>
                  </a:lnTo>
                  <a:lnTo>
                    <a:pt x="2896693" y="202260"/>
                  </a:lnTo>
                  <a:lnTo>
                    <a:pt x="2896744" y="202260"/>
                  </a:lnTo>
                  <a:lnTo>
                    <a:pt x="2896744" y="202959"/>
                  </a:lnTo>
                  <a:lnTo>
                    <a:pt x="2896744" y="202260"/>
                  </a:lnTo>
                  <a:lnTo>
                    <a:pt x="2896744" y="202959"/>
                  </a:lnTo>
                  <a:lnTo>
                    <a:pt x="2896794" y="202260"/>
                  </a:lnTo>
                  <a:lnTo>
                    <a:pt x="2896794" y="202959"/>
                  </a:lnTo>
                  <a:lnTo>
                    <a:pt x="2896794" y="202260"/>
                  </a:lnTo>
                  <a:lnTo>
                    <a:pt x="2896794" y="202959"/>
                  </a:lnTo>
                  <a:lnTo>
                    <a:pt x="2896794" y="202260"/>
                  </a:lnTo>
                  <a:lnTo>
                    <a:pt x="2896794" y="202959"/>
                  </a:lnTo>
                  <a:lnTo>
                    <a:pt x="2896794" y="202260"/>
                  </a:lnTo>
                  <a:lnTo>
                    <a:pt x="2896845" y="202260"/>
                  </a:lnTo>
                  <a:lnTo>
                    <a:pt x="2896845" y="200228"/>
                  </a:lnTo>
                  <a:lnTo>
                    <a:pt x="2896845" y="200876"/>
                  </a:lnTo>
                  <a:lnTo>
                    <a:pt x="2896845" y="199530"/>
                  </a:lnTo>
                  <a:lnTo>
                    <a:pt x="2896947" y="199530"/>
                  </a:lnTo>
                  <a:lnTo>
                    <a:pt x="2896947" y="197447"/>
                  </a:lnTo>
                  <a:lnTo>
                    <a:pt x="2896947" y="200228"/>
                  </a:lnTo>
                  <a:lnTo>
                    <a:pt x="2896947" y="199530"/>
                  </a:lnTo>
                  <a:lnTo>
                    <a:pt x="2896997" y="199530"/>
                  </a:lnTo>
                  <a:lnTo>
                    <a:pt x="2896997" y="197447"/>
                  </a:lnTo>
                  <a:lnTo>
                    <a:pt x="2896997" y="200876"/>
                  </a:lnTo>
                  <a:lnTo>
                    <a:pt x="2897048" y="200876"/>
                  </a:lnTo>
                  <a:lnTo>
                    <a:pt x="2897048" y="199530"/>
                  </a:lnTo>
                  <a:lnTo>
                    <a:pt x="2897048" y="200228"/>
                  </a:lnTo>
                  <a:lnTo>
                    <a:pt x="2897048" y="199530"/>
                  </a:lnTo>
                  <a:lnTo>
                    <a:pt x="2897048" y="200876"/>
                  </a:lnTo>
                  <a:lnTo>
                    <a:pt x="2897048" y="200228"/>
                  </a:lnTo>
                  <a:lnTo>
                    <a:pt x="2897150" y="200228"/>
                  </a:lnTo>
                  <a:lnTo>
                    <a:pt x="2897150" y="200876"/>
                  </a:lnTo>
                  <a:lnTo>
                    <a:pt x="2897150" y="200228"/>
                  </a:lnTo>
                  <a:lnTo>
                    <a:pt x="2897150" y="200876"/>
                  </a:lnTo>
                  <a:lnTo>
                    <a:pt x="2897188" y="200876"/>
                  </a:lnTo>
                  <a:lnTo>
                    <a:pt x="2897188" y="200228"/>
                  </a:lnTo>
                  <a:lnTo>
                    <a:pt x="2897188" y="202260"/>
                  </a:lnTo>
                  <a:lnTo>
                    <a:pt x="2897188" y="200876"/>
                  </a:lnTo>
                  <a:lnTo>
                    <a:pt x="2897188" y="202260"/>
                  </a:lnTo>
                  <a:lnTo>
                    <a:pt x="2897239" y="202260"/>
                  </a:lnTo>
                  <a:lnTo>
                    <a:pt x="2897239" y="202959"/>
                  </a:lnTo>
                  <a:lnTo>
                    <a:pt x="2897239" y="202260"/>
                  </a:lnTo>
                  <a:lnTo>
                    <a:pt x="2897239" y="202959"/>
                  </a:lnTo>
                  <a:lnTo>
                    <a:pt x="2897290" y="202260"/>
                  </a:lnTo>
                  <a:lnTo>
                    <a:pt x="2897290" y="200876"/>
                  </a:lnTo>
                  <a:lnTo>
                    <a:pt x="2897290" y="202260"/>
                  </a:lnTo>
                  <a:lnTo>
                    <a:pt x="2897290" y="200876"/>
                  </a:lnTo>
                  <a:lnTo>
                    <a:pt x="2897290" y="202260"/>
                  </a:lnTo>
                  <a:lnTo>
                    <a:pt x="2897290" y="200228"/>
                  </a:lnTo>
                  <a:lnTo>
                    <a:pt x="2897391" y="200228"/>
                  </a:lnTo>
                  <a:lnTo>
                    <a:pt x="2897391" y="199530"/>
                  </a:lnTo>
                  <a:lnTo>
                    <a:pt x="2897442" y="199530"/>
                  </a:lnTo>
                  <a:lnTo>
                    <a:pt x="2897442" y="197447"/>
                  </a:lnTo>
                  <a:lnTo>
                    <a:pt x="2897442" y="199530"/>
                  </a:lnTo>
                  <a:lnTo>
                    <a:pt x="2897442" y="198831"/>
                  </a:lnTo>
                  <a:lnTo>
                    <a:pt x="2897442" y="199530"/>
                  </a:lnTo>
                  <a:lnTo>
                    <a:pt x="2897442" y="198831"/>
                  </a:lnTo>
                  <a:lnTo>
                    <a:pt x="2897493" y="199530"/>
                  </a:lnTo>
                  <a:lnTo>
                    <a:pt x="2897493" y="198831"/>
                  </a:lnTo>
                  <a:lnTo>
                    <a:pt x="2897493" y="200876"/>
                  </a:lnTo>
                  <a:lnTo>
                    <a:pt x="2897493" y="199530"/>
                  </a:lnTo>
                  <a:lnTo>
                    <a:pt x="2897594" y="199530"/>
                  </a:lnTo>
                  <a:lnTo>
                    <a:pt x="2897594" y="200228"/>
                  </a:lnTo>
                  <a:lnTo>
                    <a:pt x="2897594" y="199530"/>
                  </a:lnTo>
                  <a:lnTo>
                    <a:pt x="2897594" y="200228"/>
                  </a:lnTo>
                  <a:lnTo>
                    <a:pt x="2897594" y="199530"/>
                  </a:lnTo>
                  <a:lnTo>
                    <a:pt x="2897645" y="199530"/>
                  </a:lnTo>
                  <a:lnTo>
                    <a:pt x="2897645" y="198831"/>
                  </a:lnTo>
                  <a:lnTo>
                    <a:pt x="2897645" y="200228"/>
                  </a:lnTo>
                  <a:lnTo>
                    <a:pt x="2897645" y="199530"/>
                  </a:lnTo>
                  <a:lnTo>
                    <a:pt x="2897696" y="199530"/>
                  </a:lnTo>
                  <a:lnTo>
                    <a:pt x="2897696" y="200876"/>
                  </a:lnTo>
                  <a:lnTo>
                    <a:pt x="2897696" y="200228"/>
                  </a:lnTo>
                  <a:lnTo>
                    <a:pt x="2897696" y="200876"/>
                  </a:lnTo>
                  <a:lnTo>
                    <a:pt x="2897734" y="200876"/>
                  </a:lnTo>
                  <a:lnTo>
                    <a:pt x="2897734" y="200228"/>
                  </a:lnTo>
                  <a:lnTo>
                    <a:pt x="2897734" y="200876"/>
                  </a:lnTo>
                  <a:lnTo>
                    <a:pt x="2897734" y="200228"/>
                  </a:lnTo>
                  <a:lnTo>
                    <a:pt x="2897734" y="200876"/>
                  </a:lnTo>
                  <a:lnTo>
                    <a:pt x="2897734" y="200228"/>
                  </a:lnTo>
                  <a:lnTo>
                    <a:pt x="2897836" y="200228"/>
                  </a:lnTo>
                  <a:lnTo>
                    <a:pt x="2897836" y="199530"/>
                  </a:lnTo>
                  <a:lnTo>
                    <a:pt x="2897836" y="200228"/>
                  </a:lnTo>
                  <a:lnTo>
                    <a:pt x="2897836" y="199530"/>
                  </a:lnTo>
                  <a:lnTo>
                    <a:pt x="2897836" y="200228"/>
                  </a:lnTo>
                  <a:lnTo>
                    <a:pt x="2897836" y="199530"/>
                  </a:lnTo>
                  <a:lnTo>
                    <a:pt x="2897887" y="199530"/>
                  </a:lnTo>
                  <a:lnTo>
                    <a:pt x="2897887" y="197447"/>
                  </a:lnTo>
                  <a:lnTo>
                    <a:pt x="2897887" y="198831"/>
                  </a:lnTo>
                  <a:lnTo>
                    <a:pt x="2897887" y="197447"/>
                  </a:lnTo>
                  <a:lnTo>
                    <a:pt x="2897937" y="197447"/>
                  </a:lnTo>
                  <a:lnTo>
                    <a:pt x="2897937" y="196799"/>
                  </a:lnTo>
                  <a:lnTo>
                    <a:pt x="2897937" y="198831"/>
                  </a:lnTo>
                  <a:lnTo>
                    <a:pt x="2898039" y="198831"/>
                  </a:lnTo>
                  <a:lnTo>
                    <a:pt x="2898039" y="196113"/>
                  </a:lnTo>
                  <a:lnTo>
                    <a:pt x="2898039" y="200228"/>
                  </a:lnTo>
                  <a:lnTo>
                    <a:pt x="2898039" y="199530"/>
                  </a:lnTo>
                  <a:lnTo>
                    <a:pt x="2898090" y="199530"/>
                  </a:lnTo>
                  <a:lnTo>
                    <a:pt x="2898090" y="196799"/>
                  </a:lnTo>
                  <a:lnTo>
                    <a:pt x="2898090" y="198831"/>
                  </a:lnTo>
                  <a:lnTo>
                    <a:pt x="2898140" y="198831"/>
                  </a:lnTo>
                  <a:lnTo>
                    <a:pt x="2898140" y="197447"/>
                  </a:lnTo>
                  <a:lnTo>
                    <a:pt x="2898140" y="199530"/>
                  </a:lnTo>
                  <a:lnTo>
                    <a:pt x="2898191" y="199530"/>
                  </a:lnTo>
                  <a:lnTo>
                    <a:pt x="2898191" y="200876"/>
                  </a:lnTo>
                  <a:lnTo>
                    <a:pt x="2898191" y="200228"/>
                  </a:lnTo>
                  <a:lnTo>
                    <a:pt x="2898280" y="200228"/>
                  </a:lnTo>
                  <a:lnTo>
                    <a:pt x="2898280" y="200876"/>
                  </a:lnTo>
                  <a:lnTo>
                    <a:pt x="2898280" y="200228"/>
                  </a:lnTo>
                  <a:lnTo>
                    <a:pt x="2898331" y="200228"/>
                  </a:lnTo>
                  <a:lnTo>
                    <a:pt x="2898331" y="200876"/>
                  </a:lnTo>
                  <a:lnTo>
                    <a:pt x="2898331" y="200228"/>
                  </a:lnTo>
                  <a:lnTo>
                    <a:pt x="2898382" y="200228"/>
                  </a:lnTo>
                  <a:lnTo>
                    <a:pt x="2898382" y="199530"/>
                  </a:lnTo>
                  <a:lnTo>
                    <a:pt x="2898433" y="198831"/>
                  </a:lnTo>
                  <a:lnTo>
                    <a:pt x="2898433" y="197447"/>
                  </a:lnTo>
                  <a:lnTo>
                    <a:pt x="2898433" y="200228"/>
                  </a:lnTo>
                  <a:lnTo>
                    <a:pt x="2898433" y="199530"/>
                  </a:lnTo>
                  <a:lnTo>
                    <a:pt x="2898534" y="198831"/>
                  </a:lnTo>
                  <a:lnTo>
                    <a:pt x="2898534" y="200876"/>
                  </a:lnTo>
                  <a:lnTo>
                    <a:pt x="2898534" y="199530"/>
                  </a:lnTo>
                  <a:lnTo>
                    <a:pt x="2898585" y="199530"/>
                  </a:lnTo>
                  <a:lnTo>
                    <a:pt x="2898585" y="198831"/>
                  </a:lnTo>
                  <a:lnTo>
                    <a:pt x="2898585" y="200876"/>
                  </a:lnTo>
                  <a:lnTo>
                    <a:pt x="2898585" y="199530"/>
                  </a:lnTo>
                  <a:lnTo>
                    <a:pt x="2898636" y="199530"/>
                  </a:lnTo>
                  <a:lnTo>
                    <a:pt x="2898636" y="200228"/>
                  </a:lnTo>
                  <a:lnTo>
                    <a:pt x="2898636" y="199530"/>
                  </a:lnTo>
                  <a:lnTo>
                    <a:pt x="2898636" y="200228"/>
                  </a:lnTo>
                  <a:lnTo>
                    <a:pt x="2898737" y="200228"/>
                  </a:lnTo>
                  <a:lnTo>
                    <a:pt x="2898737" y="200876"/>
                  </a:lnTo>
                  <a:lnTo>
                    <a:pt x="2898737" y="200228"/>
                  </a:lnTo>
                  <a:lnTo>
                    <a:pt x="2898776" y="200228"/>
                  </a:lnTo>
                  <a:lnTo>
                    <a:pt x="2898776" y="199530"/>
                  </a:lnTo>
                  <a:lnTo>
                    <a:pt x="2898776" y="200228"/>
                  </a:lnTo>
                  <a:lnTo>
                    <a:pt x="2898826" y="199530"/>
                  </a:lnTo>
                  <a:lnTo>
                    <a:pt x="2898826" y="200228"/>
                  </a:lnTo>
                  <a:lnTo>
                    <a:pt x="2898826" y="199530"/>
                  </a:lnTo>
                  <a:lnTo>
                    <a:pt x="2898826" y="200228"/>
                  </a:lnTo>
                  <a:lnTo>
                    <a:pt x="2898826" y="199530"/>
                  </a:lnTo>
                  <a:lnTo>
                    <a:pt x="2898826" y="200228"/>
                  </a:lnTo>
                  <a:lnTo>
                    <a:pt x="2898826" y="199530"/>
                  </a:lnTo>
                  <a:lnTo>
                    <a:pt x="2898826" y="200228"/>
                  </a:lnTo>
                  <a:lnTo>
                    <a:pt x="2898826" y="199530"/>
                  </a:lnTo>
                  <a:lnTo>
                    <a:pt x="2898877" y="199530"/>
                  </a:lnTo>
                  <a:lnTo>
                    <a:pt x="2898877" y="198831"/>
                  </a:lnTo>
                  <a:lnTo>
                    <a:pt x="2898877" y="199530"/>
                  </a:lnTo>
                  <a:lnTo>
                    <a:pt x="2898877" y="197447"/>
                  </a:lnTo>
                  <a:lnTo>
                    <a:pt x="2898877" y="198831"/>
                  </a:lnTo>
                  <a:lnTo>
                    <a:pt x="2898877" y="197447"/>
                  </a:lnTo>
                  <a:lnTo>
                    <a:pt x="2898979" y="197447"/>
                  </a:lnTo>
                  <a:lnTo>
                    <a:pt x="2898979" y="196799"/>
                  </a:lnTo>
                  <a:lnTo>
                    <a:pt x="2898979" y="198831"/>
                  </a:lnTo>
                  <a:lnTo>
                    <a:pt x="2898979" y="196799"/>
                  </a:lnTo>
                  <a:lnTo>
                    <a:pt x="2899030" y="196799"/>
                  </a:lnTo>
                  <a:lnTo>
                    <a:pt x="2899030" y="196113"/>
                  </a:lnTo>
                  <a:lnTo>
                    <a:pt x="2899030" y="199530"/>
                  </a:lnTo>
                  <a:lnTo>
                    <a:pt x="2899030" y="198831"/>
                  </a:lnTo>
                  <a:lnTo>
                    <a:pt x="2899030" y="199530"/>
                  </a:lnTo>
                  <a:lnTo>
                    <a:pt x="2899030" y="197447"/>
                  </a:lnTo>
                  <a:lnTo>
                    <a:pt x="2899080" y="197447"/>
                  </a:lnTo>
                  <a:lnTo>
                    <a:pt x="2899080" y="199530"/>
                  </a:lnTo>
                  <a:lnTo>
                    <a:pt x="2899080" y="198831"/>
                  </a:lnTo>
                  <a:lnTo>
                    <a:pt x="2899080" y="199530"/>
                  </a:lnTo>
                  <a:lnTo>
                    <a:pt x="2899080" y="198831"/>
                  </a:lnTo>
                  <a:lnTo>
                    <a:pt x="2899182" y="198831"/>
                  </a:lnTo>
                  <a:lnTo>
                    <a:pt x="2899182" y="200228"/>
                  </a:lnTo>
                  <a:lnTo>
                    <a:pt x="2899182" y="199530"/>
                  </a:lnTo>
                  <a:lnTo>
                    <a:pt x="2899182" y="200228"/>
                  </a:lnTo>
                  <a:lnTo>
                    <a:pt x="2899182" y="199530"/>
                  </a:lnTo>
                  <a:lnTo>
                    <a:pt x="2899233" y="199530"/>
                  </a:lnTo>
                  <a:lnTo>
                    <a:pt x="2899233" y="200876"/>
                  </a:lnTo>
                  <a:lnTo>
                    <a:pt x="2899233" y="199530"/>
                  </a:lnTo>
                  <a:lnTo>
                    <a:pt x="2899233" y="200228"/>
                  </a:lnTo>
                  <a:lnTo>
                    <a:pt x="2899233" y="199530"/>
                  </a:lnTo>
                  <a:lnTo>
                    <a:pt x="2899233" y="200228"/>
                  </a:lnTo>
                  <a:lnTo>
                    <a:pt x="2899283" y="200228"/>
                  </a:lnTo>
                  <a:lnTo>
                    <a:pt x="2899283" y="199530"/>
                  </a:lnTo>
                  <a:lnTo>
                    <a:pt x="2899283" y="200228"/>
                  </a:lnTo>
                  <a:lnTo>
                    <a:pt x="2899283" y="199530"/>
                  </a:lnTo>
                  <a:lnTo>
                    <a:pt x="2899283" y="200228"/>
                  </a:lnTo>
                  <a:lnTo>
                    <a:pt x="2899283" y="199530"/>
                  </a:lnTo>
                  <a:lnTo>
                    <a:pt x="2899283" y="200228"/>
                  </a:lnTo>
                  <a:lnTo>
                    <a:pt x="2899283" y="199530"/>
                  </a:lnTo>
                  <a:lnTo>
                    <a:pt x="2899283" y="200228"/>
                  </a:lnTo>
                  <a:lnTo>
                    <a:pt x="2899283" y="199530"/>
                  </a:lnTo>
                  <a:lnTo>
                    <a:pt x="2899283" y="200228"/>
                  </a:lnTo>
                  <a:lnTo>
                    <a:pt x="2899283" y="199530"/>
                  </a:lnTo>
                  <a:lnTo>
                    <a:pt x="2899322" y="199530"/>
                  </a:lnTo>
                  <a:lnTo>
                    <a:pt x="2899322" y="200228"/>
                  </a:lnTo>
                  <a:lnTo>
                    <a:pt x="2899322" y="199530"/>
                  </a:lnTo>
                  <a:lnTo>
                    <a:pt x="2899322" y="200228"/>
                  </a:lnTo>
                  <a:lnTo>
                    <a:pt x="2899322" y="198831"/>
                  </a:lnTo>
                  <a:lnTo>
                    <a:pt x="2899423" y="198831"/>
                  </a:lnTo>
                  <a:lnTo>
                    <a:pt x="2899423" y="199530"/>
                  </a:lnTo>
                  <a:lnTo>
                    <a:pt x="2899423" y="197447"/>
                  </a:lnTo>
                  <a:lnTo>
                    <a:pt x="2899474" y="196799"/>
                  </a:lnTo>
                  <a:lnTo>
                    <a:pt x="2899474" y="196113"/>
                  </a:lnTo>
                  <a:lnTo>
                    <a:pt x="2899474" y="198831"/>
                  </a:lnTo>
                  <a:lnTo>
                    <a:pt x="2899474" y="196799"/>
                  </a:lnTo>
                  <a:lnTo>
                    <a:pt x="2899525" y="196113"/>
                  </a:lnTo>
                  <a:lnTo>
                    <a:pt x="2899525" y="199530"/>
                  </a:lnTo>
                  <a:lnTo>
                    <a:pt x="2899525" y="198831"/>
                  </a:lnTo>
                  <a:lnTo>
                    <a:pt x="2899525" y="199530"/>
                  </a:lnTo>
                  <a:lnTo>
                    <a:pt x="2899525" y="197447"/>
                  </a:lnTo>
                  <a:lnTo>
                    <a:pt x="2899626" y="197447"/>
                  </a:lnTo>
                  <a:lnTo>
                    <a:pt x="2899626" y="200228"/>
                  </a:lnTo>
                  <a:lnTo>
                    <a:pt x="2899626" y="198831"/>
                  </a:lnTo>
                  <a:lnTo>
                    <a:pt x="2899677" y="198831"/>
                  </a:lnTo>
                  <a:lnTo>
                    <a:pt x="2899677" y="200228"/>
                  </a:lnTo>
                  <a:lnTo>
                    <a:pt x="2899677" y="199530"/>
                  </a:lnTo>
                  <a:lnTo>
                    <a:pt x="2899677" y="200228"/>
                  </a:lnTo>
                  <a:lnTo>
                    <a:pt x="2899728" y="200228"/>
                  </a:lnTo>
                  <a:lnTo>
                    <a:pt x="2899728" y="199530"/>
                  </a:lnTo>
                  <a:lnTo>
                    <a:pt x="2899728" y="200228"/>
                  </a:lnTo>
                  <a:lnTo>
                    <a:pt x="2899779" y="200228"/>
                  </a:lnTo>
                  <a:lnTo>
                    <a:pt x="2899779" y="199530"/>
                  </a:lnTo>
                  <a:lnTo>
                    <a:pt x="2899779" y="200228"/>
                  </a:lnTo>
                  <a:lnTo>
                    <a:pt x="2899868" y="200228"/>
                  </a:lnTo>
                  <a:lnTo>
                    <a:pt x="2899868" y="199530"/>
                  </a:lnTo>
                  <a:lnTo>
                    <a:pt x="2899868" y="200228"/>
                  </a:lnTo>
                  <a:lnTo>
                    <a:pt x="2899868" y="199530"/>
                  </a:lnTo>
                  <a:lnTo>
                    <a:pt x="2899919" y="199530"/>
                  </a:lnTo>
                  <a:lnTo>
                    <a:pt x="2899919" y="197447"/>
                  </a:lnTo>
                  <a:lnTo>
                    <a:pt x="2899919" y="198831"/>
                  </a:lnTo>
                  <a:lnTo>
                    <a:pt x="2899919" y="196799"/>
                  </a:lnTo>
                  <a:lnTo>
                    <a:pt x="2899919" y="197447"/>
                  </a:lnTo>
                  <a:lnTo>
                    <a:pt x="2899919" y="196799"/>
                  </a:lnTo>
                  <a:lnTo>
                    <a:pt x="2899969" y="196799"/>
                  </a:lnTo>
                  <a:lnTo>
                    <a:pt x="2899969" y="198831"/>
                  </a:lnTo>
                  <a:lnTo>
                    <a:pt x="2899969" y="196799"/>
                  </a:lnTo>
                  <a:lnTo>
                    <a:pt x="2899969" y="198831"/>
                  </a:lnTo>
                  <a:lnTo>
                    <a:pt x="2900020" y="198831"/>
                  </a:lnTo>
                  <a:lnTo>
                    <a:pt x="2900020" y="199530"/>
                  </a:lnTo>
                  <a:lnTo>
                    <a:pt x="2900020" y="197447"/>
                  </a:lnTo>
                  <a:lnTo>
                    <a:pt x="2900020" y="198831"/>
                  </a:lnTo>
                  <a:lnTo>
                    <a:pt x="2900020" y="197447"/>
                  </a:lnTo>
                  <a:lnTo>
                    <a:pt x="2900020" y="199530"/>
                  </a:lnTo>
                  <a:lnTo>
                    <a:pt x="2900122" y="200228"/>
                  </a:lnTo>
                  <a:lnTo>
                    <a:pt x="2900122" y="199530"/>
                  </a:lnTo>
                  <a:lnTo>
                    <a:pt x="2900122" y="200228"/>
                  </a:lnTo>
                  <a:lnTo>
                    <a:pt x="2900172" y="200228"/>
                  </a:lnTo>
                  <a:lnTo>
                    <a:pt x="2900172" y="200876"/>
                  </a:lnTo>
                  <a:lnTo>
                    <a:pt x="2900172" y="199530"/>
                  </a:lnTo>
                  <a:lnTo>
                    <a:pt x="2900172" y="200876"/>
                  </a:lnTo>
                  <a:lnTo>
                    <a:pt x="2900172" y="200228"/>
                  </a:lnTo>
                  <a:lnTo>
                    <a:pt x="2900223" y="200876"/>
                  </a:lnTo>
                  <a:lnTo>
                    <a:pt x="2900223" y="200228"/>
                  </a:lnTo>
                  <a:lnTo>
                    <a:pt x="2900223" y="200876"/>
                  </a:lnTo>
                  <a:lnTo>
                    <a:pt x="2900223" y="200228"/>
                  </a:lnTo>
                  <a:lnTo>
                    <a:pt x="2900223" y="200876"/>
                  </a:lnTo>
                  <a:lnTo>
                    <a:pt x="2900223" y="200228"/>
                  </a:lnTo>
                  <a:lnTo>
                    <a:pt x="2900223" y="200876"/>
                  </a:lnTo>
                  <a:lnTo>
                    <a:pt x="2900325" y="200876"/>
                  </a:lnTo>
                  <a:lnTo>
                    <a:pt x="2900325" y="200228"/>
                  </a:lnTo>
                  <a:lnTo>
                    <a:pt x="2900325" y="200876"/>
                  </a:lnTo>
                  <a:lnTo>
                    <a:pt x="2900325" y="200228"/>
                  </a:lnTo>
                  <a:lnTo>
                    <a:pt x="2900363" y="200228"/>
                  </a:lnTo>
                  <a:lnTo>
                    <a:pt x="2900363" y="199530"/>
                  </a:lnTo>
                  <a:lnTo>
                    <a:pt x="2900363" y="200228"/>
                  </a:lnTo>
                  <a:lnTo>
                    <a:pt x="2900363" y="199530"/>
                  </a:lnTo>
                  <a:lnTo>
                    <a:pt x="2900363" y="200228"/>
                  </a:lnTo>
                  <a:lnTo>
                    <a:pt x="2900363" y="199530"/>
                  </a:lnTo>
                  <a:lnTo>
                    <a:pt x="2900414" y="199530"/>
                  </a:lnTo>
                  <a:lnTo>
                    <a:pt x="2900414" y="196113"/>
                  </a:lnTo>
                  <a:lnTo>
                    <a:pt x="2900414" y="196799"/>
                  </a:lnTo>
                  <a:lnTo>
                    <a:pt x="2900414" y="196113"/>
                  </a:lnTo>
                  <a:lnTo>
                    <a:pt x="2900414" y="197447"/>
                  </a:lnTo>
                  <a:lnTo>
                    <a:pt x="2900465" y="198831"/>
                  </a:lnTo>
                  <a:lnTo>
                    <a:pt x="2900465" y="196799"/>
                  </a:lnTo>
                  <a:lnTo>
                    <a:pt x="2900465" y="197447"/>
                  </a:lnTo>
                  <a:lnTo>
                    <a:pt x="2900465" y="196113"/>
                  </a:lnTo>
                  <a:lnTo>
                    <a:pt x="2900465" y="199530"/>
                  </a:lnTo>
                  <a:lnTo>
                    <a:pt x="2900566" y="199530"/>
                  </a:lnTo>
                  <a:lnTo>
                    <a:pt x="2900566" y="197447"/>
                  </a:lnTo>
                  <a:lnTo>
                    <a:pt x="2900566" y="200228"/>
                  </a:lnTo>
                  <a:lnTo>
                    <a:pt x="2900617" y="199530"/>
                  </a:lnTo>
                  <a:lnTo>
                    <a:pt x="2900617" y="198831"/>
                  </a:lnTo>
                  <a:lnTo>
                    <a:pt x="2900617" y="199530"/>
                  </a:lnTo>
                  <a:lnTo>
                    <a:pt x="2900668" y="199530"/>
                  </a:lnTo>
                  <a:lnTo>
                    <a:pt x="2900668" y="198831"/>
                  </a:lnTo>
                  <a:lnTo>
                    <a:pt x="2900668" y="199530"/>
                  </a:lnTo>
                  <a:lnTo>
                    <a:pt x="2900668" y="198831"/>
                  </a:lnTo>
                  <a:lnTo>
                    <a:pt x="2900668" y="199530"/>
                  </a:lnTo>
                  <a:lnTo>
                    <a:pt x="2900769" y="199530"/>
                  </a:lnTo>
                  <a:lnTo>
                    <a:pt x="2900769" y="198831"/>
                  </a:lnTo>
                  <a:lnTo>
                    <a:pt x="2900769" y="200228"/>
                  </a:lnTo>
                  <a:lnTo>
                    <a:pt x="2900769" y="199530"/>
                  </a:lnTo>
                  <a:lnTo>
                    <a:pt x="2900769" y="200228"/>
                  </a:lnTo>
                  <a:lnTo>
                    <a:pt x="2900769" y="199530"/>
                  </a:lnTo>
                  <a:lnTo>
                    <a:pt x="2900769" y="200228"/>
                  </a:lnTo>
                  <a:lnTo>
                    <a:pt x="2900769" y="199530"/>
                  </a:lnTo>
                  <a:lnTo>
                    <a:pt x="2900820" y="200228"/>
                  </a:lnTo>
                  <a:lnTo>
                    <a:pt x="2900820" y="199530"/>
                  </a:lnTo>
                  <a:lnTo>
                    <a:pt x="2900820" y="200228"/>
                  </a:lnTo>
                  <a:lnTo>
                    <a:pt x="2900820" y="199530"/>
                  </a:lnTo>
                  <a:lnTo>
                    <a:pt x="2900820" y="200228"/>
                  </a:lnTo>
                  <a:lnTo>
                    <a:pt x="2900820" y="199530"/>
                  </a:lnTo>
                  <a:lnTo>
                    <a:pt x="2900820" y="200228"/>
                  </a:lnTo>
                  <a:lnTo>
                    <a:pt x="2900820" y="199530"/>
                  </a:lnTo>
                  <a:lnTo>
                    <a:pt x="2900871" y="200228"/>
                  </a:lnTo>
                  <a:lnTo>
                    <a:pt x="2900871" y="199530"/>
                  </a:lnTo>
                  <a:lnTo>
                    <a:pt x="2900871" y="200228"/>
                  </a:lnTo>
                  <a:lnTo>
                    <a:pt x="2900871" y="198831"/>
                  </a:lnTo>
                  <a:lnTo>
                    <a:pt x="2900871" y="199530"/>
                  </a:lnTo>
                  <a:lnTo>
                    <a:pt x="2900871" y="198831"/>
                  </a:lnTo>
                  <a:lnTo>
                    <a:pt x="2900909" y="198831"/>
                  </a:lnTo>
                  <a:lnTo>
                    <a:pt x="2900909" y="197447"/>
                  </a:lnTo>
                  <a:lnTo>
                    <a:pt x="2900909" y="199530"/>
                  </a:lnTo>
                  <a:lnTo>
                    <a:pt x="2900909" y="197447"/>
                  </a:lnTo>
                  <a:lnTo>
                    <a:pt x="2901011" y="197447"/>
                  </a:lnTo>
                  <a:lnTo>
                    <a:pt x="2901011" y="196799"/>
                  </a:lnTo>
                  <a:lnTo>
                    <a:pt x="2901011" y="200876"/>
                  </a:lnTo>
                  <a:lnTo>
                    <a:pt x="2901011" y="198831"/>
                  </a:lnTo>
                  <a:lnTo>
                    <a:pt x="2901062" y="199530"/>
                  </a:lnTo>
                  <a:lnTo>
                    <a:pt x="2901062" y="198831"/>
                  </a:lnTo>
                  <a:lnTo>
                    <a:pt x="2901062" y="200876"/>
                  </a:lnTo>
                  <a:lnTo>
                    <a:pt x="2901062" y="200228"/>
                  </a:lnTo>
                  <a:lnTo>
                    <a:pt x="2901112" y="200228"/>
                  </a:lnTo>
                  <a:lnTo>
                    <a:pt x="2901112" y="200876"/>
                  </a:lnTo>
                  <a:lnTo>
                    <a:pt x="2901112" y="200228"/>
                  </a:lnTo>
                  <a:lnTo>
                    <a:pt x="2901112" y="200876"/>
                  </a:lnTo>
                  <a:lnTo>
                    <a:pt x="2901112" y="200228"/>
                  </a:lnTo>
                  <a:lnTo>
                    <a:pt x="2901112" y="200876"/>
                  </a:lnTo>
                  <a:lnTo>
                    <a:pt x="2901112" y="200228"/>
                  </a:lnTo>
                  <a:lnTo>
                    <a:pt x="2901214" y="200228"/>
                  </a:lnTo>
                  <a:lnTo>
                    <a:pt x="2901214" y="200876"/>
                  </a:lnTo>
                  <a:lnTo>
                    <a:pt x="2901214" y="200228"/>
                  </a:lnTo>
                  <a:lnTo>
                    <a:pt x="2901214" y="200876"/>
                  </a:lnTo>
                  <a:lnTo>
                    <a:pt x="2901265" y="200876"/>
                  </a:lnTo>
                  <a:lnTo>
                    <a:pt x="2901265" y="200228"/>
                  </a:lnTo>
                  <a:lnTo>
                    <a:pt x="2901265" y="200876"/>
                  </a:lnTo>
                  <a:lnTo>
                    <a:pt x="2901265" y="200228"/>
                  </a:lnTo>
                  <a:lnTo>
                    <a:pt x="2901315" y="200228"/>
                  </a:lnTo>
                  <a:lnTo>
                    <a:pt x="2901315" y="200876"/>
                  </a:lnTo>
                  <a:lnTo>
                    <a:pt x="2901315" y="200228"/>
                  </a:lnTo>
                  <a:lnTo>
                    <a:pt x="2901315" y="200876"/>
                  </a:lnTo>
                  <a:lnTo>
                    <a:pt x="2901315" y="200228"/>
                  </a:lnTo>
                  <a:lnTo>
                    <a:pt x="2901315" y="200876"/>
                  </a:lnTo>
                  <a:lnTo>
                    <a:pt x="2901315" y="200228"/>
                  </a:lnTo>
                  <a:lnTo>
                    <a:pt x="2901366" y="200228"/>
                  </a:lnTo>
                  <a:lnTo>
                    <a:pt x="2901366" y="199530"/>
                  </a:lnTo>
                  <a:lnTo>
                    <a:pt x="2901366" y="200228"/>
                  </a:lnTo>
                  <a:lnTo>
                    <a:pt x="2901366" y="199530"/>
                  </a:lnTo>
                  <a:lnTo>
                    <a:pt x="2901366" y="200228"/>
                  </a:lnTo>
                  <a:lnTo>
                    <a:pt x="2901366" y="197447"/>
                  </a:lnTo>
                  <a:lnTo>
                    <a:pt x="2901455" y="198831"/>
                  </a:lnTo>
                  <a:lnTo>
                    <a:pt x="2901455" y="196799"/>
                  </a:lnTo>
                  <a:lnTo>
                    <a:pt x="2901455" y="198831"/>
                  </a:lnTo>
                  <a:lnTo>
                    <a:pt x="2901455" y="197447"/>
                  </a:lnTo>
                  <a:lnTo>
                    <a:pt x="2901455" y="198831"/>
                  </a:lnTo>
                  <a:lnTo>
                    <a:pt x="2901506" y="198831"/>
                  </a:lnTo>
                  <a:lnTo>
                    <a:pt x="2901506" y="197447"/>
                  </a:lnTo>
                  <a:lnTo>
                    <a:pt x="2901506" y="200228"/>
                  </a:lnTo>
                  <a:lnTo>
                    <a:pt x="2901506" y="199530"/>
                  </a:lnTo>
                  <a:lnTo>
                    <a:pt x="2901557" y="199530"/>
                  </a:lnTo>
                  <a:lnTo>
                    <a:pt x="2901557" y="200228"/>
                  </a:lnTo>
                  <a:lnTo>
                    <a:pt x="2901608" y="200228"/>
                  </a:lnTo>
                  <a:lnTo>
                    <a:pt x="2901608" y="200876"/>
                  </a:lnTo>
                  <a:lnTo>
                    <a:pt x="2901608" y="200228"/>
                  </a:lnTo>
                  <a:lnTo>
                    <a:pt x="2901608" y="200876"/>
                  </a:lnTo>
                  <a:lnTo>
                    <a:pt x="2901709" y="200876"/>
                  </a:lnTo>
                  <a:lnTo>
                    <a:pt x="2901709" y="199530"/>
                  </a:lnTo>
                  <a:lnTo>
                    <a:pt x="2901709" y="200228"/>
                  </a:lnTo>
                  <a:lnTo>
                    <a:pt x="2901760" y="199530"/>
                  </a:lnTo>
                  <a:lnTo>
                    <a:pt x="2901760" y="200876"/>
                  </a:lnTo>
                  <a:lnTo>
                    <a:pt x="2901760" y="200228"/>
                  </a:lnTo>
                  <a:lnTo>
                    <a:pt x="2901760" y="200876"/>
                  </a:lnTo>
                  <a:lnTo>
                    <a:pt x="2901760" y="200228"/>
                  </a:lnTo>
                  <a:lnTo>
                    <a:pt x="2901760" y="200876"/>
                  </a:lnTo>
                  <a:lnTo>
                    <a:pt x="2901760" y="200228"/>
                  </a:lnTo>
                  <a:lnTo>
                    <a:pt x="2901760" y="200876"/>
                  </a:lnTo>
                  <a:lnTo>
                    <a:pt x="2901760" y="200228"/>
                  </a:lnTo>
                  <a:lnTo>
                    <a:pt x="2901811" y="200228"/>
                  </a:lnTo>
                  <a:lnTo>
                    <a:pt x="2901811" y="199530"/>
                  </a:lnTo>
                  <a:lnTo>
                    <a:pt x="2901811" y="200228"/>
                  </a:lnTo>
                  <a:lnTo>
                    <a:pt x="2901811" y="199530"/>
                  </a:lnTo>
                  <a:lnTo>
                    <a:pt x="2901912" y="199530"/>
                  </a:lnTo>
                  <a:lnTo>
                    <a:pt x="2901912" y="200228"/>
                  </a:lnTo>
                  <a:lnTo>
                    <a:pt x="2901912" y="198831"/>
                  </a:lnTo>
                  <a:lnTo>
                    <a:pt x="2901912" y="199530"/>
                  </a:lnTo>
                  <a:lnTo>
                    <a:pt x="2901912" y="198831"/>
                  </a:lnTo>
                  <a:lnTo>
                    <a:pt x="2901912" y="199530"/>
                  </a:lnTo>
                  <a:lnTo>
                    <a:pt x="2901912" y="196799"/>
                  </a:lnTo>
                  <a:lnTo>
                    <a:pt x="2901951" y="196799"/>
                  </a:lnTo>
                  <a:lnTo>
                    <a:pt x="2901951" y="198831"/>
                  </a:lnTo>
                  <a:lnTo>
                    <a:pt x="2901951" y="197447"/>
                  </a:lnTo>
                  <a:lnTo>
                    <a:pt x="2902001" y="197447"/>
                  </a:lnTo>
                  <a:lnTo>
                    <a:pt x="2902001" y="200228"/>
                  </a:lnTo>
                  <a:lnTo>
                    <a:pt x="2902001" y="198831"/>
                  </a:lnTo>
                  <a:lnTo>
                    <a:pt x="2902001" y="199530"/>
                  </a:lnTo>
                  <a:lnTo>
                    <a:pt x="2902052" y="199530"/>
                  </a:lnTo>
                  <a:lnTo>
                    <a:pt x="2902052" y="200228"/>
                  </a:lnTo>
                  <a:lnTo>
                    <a:pt x="2902052" y="199530"/>
                  </a:lnTo>
                  <a:lnTo>
                    <a:pt x="2902052" y="200228"/>
                  </a:lnTo>
                  <a:lnTo>
                    <a:pt x="2902154" y="200876"/>
                  </a:lnTo>
                  <a:lnTo>
                    <a:pt x="2902154" y="200228"/>
                  </a:lnTo>
                  <a:lnTo>
                    <a:pt x="2902154" y="200876"/>
                  </a:lnTo>
                  <a:lnTo>
                    <a:pt x="2902154" y="200228"/>
                  </a:lnTo>
                  <a:lnTo>
                    <a:pt x="2902205" y="200228"/>
                  </a:lnTo>
                  <a:lnTo>
                    <a:pt x="2902205" y="200876"/>
                  </a:lnTo>
                  <a:lnTo>
                    <a:pt x="2902205" y="200228"/>
                  </a:lnTo>
                  <a:lnTo>
                    <a:pt x="2902205" y="200876"/>
                  </a:lnTo>
                  <a:lnTo>
                    <a:pt x="2902255" y="200876"/>
                  </a:lnTo>
                  <a:lnTo>
                    <a:pt x="2902255" y="202260"/>
                  </a:lnTo>
                  <a:lnTo>
                    <a:pt x="2902255" y="200876"/>
                  </a:lnTo>
                  <a:lnTo>
                    <a:pt x="2902255" y="202260"/>
                  </a:lnTo>
                  <a:lnTo>
                    <a:pt x="2902255" y="200876"/>
                  </a:lnTo>
                  <a:lnTo>
                    <a:pt x="2902357" y="200876"/>
                  </a:lnTo>
                  <a:lnTo>
                    <a:pt x="2902357" y="199530"/>
                  </a:lnTo>
                  <a:lnTo>
                    <a:pt x="2902408" y="199530"/>
                  </a:lnTo>
                  <a:lnTo>
                    <a:pt x="2902408" y="198831"/>
                  </a:lnTo>
                  <a:lnTo>
                    <a:pt x="2902408" y="199530"/>
                  </a:lnTo>
                  <a:lnTo>
                    <a:pt x="2902408" y="197447"/>
                  </a:lnTo>
                  <a:lnTo>
                    <a:pt x="2902408" y="198831"/>
                  </a:lnTo>
                  <a:lnTo>
                    <a:pt x="2902458" y="198831"/>
                  </a:lnTo>
                  <a:lnTo>
                    <a:pt x="2902458" y="197447"/>
                  </a:lnTo>
                  <a:lnTo>
                    <a:pt x="2902458" y="198831"/>
                  </a:lnTo>
                  <a:lnTo>
                    <a:pt x="2902458" y="197447"/>
                  </a:lnTo>
                  <a:lnTo>
                    <a:pt x="2902458" y="200228"/>
                  </a:lnTo>
                  <a:lnTo>
                    <a:pt x="2902497" y="200228"/>
                  </a:lnTo>
                  <a:lnTo>
                    <a:pt x="2902497" y="199530"/>
                  </a:lnTo>
                  <a:lnTo>
                    <a:pt x="2902497" y="200228"/>
                  </a:lnTo>
                  <a:lnTo>
                    <a:pt x="2902497" y="199530"/>
                  </a:lnTo>
                  <a:lnTo>
                    <a:pt x="2902497" y="200228"/>
                  </a:lnTo>
                  <a:lnTo>
                    <a:pt x="2902497" y="199530"/>
                  </a:lnTo>
                  <a:lnTo>
                    <a:pt x="2902497" y="200876"/>
                  </a:lnTo>
                  <a:lnTo>
                    <a:pt x="2902598" y="200228"/>
                  </a:lnTo>
                  <a:lnTo>
                    <a:pt x="2902598" y="200876"/>
                  </a:lnTo>
                  <a:lnTo>
                    <a:pt x="2902598" y="199530"/>
                  </a:lnTo>
                  <a:lnTo>
                    <a:pt x="2902598" y="200228"/>
                  </a:lnTo>
                  <a:lnTo>
                    <a:pt x="2902649" y="200228"/>
                  </a:lnTo>
                  <a:lnTo>
                    <a:pt x="2902649" y="200876"/>
                  </a:lnTo>
                  <a:lnTo>
                    <a:pt x="2902649" y="200228"/>
                  </a:lnTo>
                  <a:lnTo>
                    <a:pt x="2902700" y="200228"/>
                  </a:lnTo>
                  <a:lnTo>
                    <a:pt x="2902700" y="200876"/>
                  </a:lnTo>
                  <a:lnTo>
                    <a:pt x="2902801" y="200876"/>
                  </a:lnTo>
                  <a:lnTo>
                    <a:pt x="2902801" y="200228"/>
                  </a:lnTo>
                  <a:lnTo>
                    <a:pt x="2902801" y="202260"/>
                  </a:lnTo>
                  <a:lnTo>
                    <a:pt x="2902801" y="200228"/>
                  </a:lnTo>
                  <a:lnTo>
                    <a:pt x="2902852" y="200228"/>
                  </a:lnTo>
                  <a:lnTo>
                    <a:pt x="2902852" y="198831"/>
                  </a:lnTo>
                  <a:lnTo>
                    <a:pt x="2902852" y="199530"/>
                  </a:lnTo>
                  <a:lnTo>
                    <a:pt x="2902903" y="199530"/>
                  </a:lnTo>
                  <a:lnTo>
                    <a:pt x="2902903" y="197447"/>
                  </a:lnTo>
                  <a:lnTo>
                    <a:pt x="2902954" y="197447"/>
                  </a:lnTo>
                  <a:lnTo>
                    <a:pt x="2902954" y="196799"/>
                  </a:lnTo>
                  <a:lnTo>
                    <a:pt x="2902954" y="197447"/>
                  </a:lnTo>
                  <a:lnTo>
                    <a:pt x="2902954" y="196799"/>
                  </a:lnTo>
                  <a:lnTo>
                    <a:pt x="2902954" y="199530"/>
                  </a:lnTo>
                  <a:lnTo>
                    <a:pt x="2903043" y="199530"/>
                  </a:lnTo>
                  <a:lnTo>
                    <a:pt x="2903043" y="198831"/>
                  </a:lnTo>
                  <a:lnTo>
                    <a:pt x="2903043" y="199530"/>
                  </a:lnTo>
                  <a:lnTo>
                    <a:pt x="2903144" y="199530"/>
                  </a:lnTo>
                  <a:lnTo>
                    <a:pt x="2903144" y="200876"/>
                  </a:lnTo>
                  <a:lnTo>
                    <a:pt x="2903144" y="200228"/>
                  </a:lnTo>
                  <a:lnTo>
                    <a:pt x="2903195" y="200228"/>
                  </a:lnTo>
                  <a:lnTo>
                    <a:pt x="2903195" y="200876"/>
                  </a:lnTo>
                  <a:lnTo>
                    <a:pt x="2903297" y="200876"/>
                  </a:lnTo>
                  <a:lnTo>
                    <a:pt x="2903297" y="202260"/>
                  </a:lnTo>
                  <a:lnTo>
                    <a:pt x="2903297" y="200876"/>
                  </a:lnTo>
                  <a:lnTo>
                    <a:pt x="2903297" y="202260"/>
                  </a:lnTo>
                  <a:lnTo>
                    <a:pt x="2903297" y="200228"/>
                  </a:lnTo>
                  <a:lnTo>
                    <a:pt x="2903297" y="200876"/>
                  </a:lnTo>
                  <a:lnTo>
                    <a:pt x="2903297" y="200228"/>
                  </a:lnTo>
                  <a:lnTo>
                    <a:pt x="2903347" y="200228"/>
                  </a:lnTo>
                  <a:lnTo>
                    <a:pt x="2903347" y="197447"/>
                  </a:lnTo>
                  <a:lnTo>
                    <a:pt x="2903347" y="198831"/>
                  </a:lnTo>
                  <a:lnTo>
                    <a:pt x="2903398" y="198831"/>
                  </a:lnTo>
                  <a:lnTo>
                    <a:pt x="2903398" y="196799"/>
                  </a:lnTo>
                  <a:lnTo>
                    <a:pt x="2903398" y="197447"/>
                  </a:lnTo>
                  <a:lnTo>
                    <a:pt x="2903398" y="195415"/>
                  </a:lnTo>
                  <a:lnTo>
                    <a:pt x="2903500" y="194716"/>
                  </a:lnTo>
                  <a:lnTo>
                    <a:pt x="2903500" y="196799"/>
                  </a:lnTo>
                  <a:lnTo>
                    <a:pt x="2903500" y="195415"/>
                  </a:lnTo>
                  <a:lnTo>
                    <a:pt x="2903500" y="196113"/>
                  </a:lnTo>
                  <a:lnTo>
                    <a:pt x="2903500" y="194716"/>
                  </a:lnTo>
                  <a:lnTo>
                    <a:pt x="2903538" y="194716"/>
                  </a:lnTo>
                  <a:lnTo>
                    <a:pt x="2903538" y="198831"/>
                  </a:lnTo>
                  <a:lnTo>
                    <a:pt x="2903538" y="196113"/>
                  </a:lnTo>
                  <a:lnTo>
                    <a:pt x="2903589" y="196799"/>
                  </a:lnTo>
                  <a:lnTo>
                    <a:pt x="2903589" y="198831"/>
                  </a:lnTo>
                  <a:lnTo>
                    <a:pt x="2903589" y="196799"/>
                  </a:lnTo>
                  <a:lnTo>
                    <a:pt x="2903589" y="197447"/>
                  </a:lnTo>
                  <a:lnTo>
                    <a:pt x="2903589" y="196113"/>
                  </a:lnTo>
                  <a:lnTo>
                    <a:pt x="2903589" y="196799"/>
                  </a:lnTo>
                  <a:lnTo>
                    <a:pt x="2903640" y="196799"/>
                  </a:lnTo>
                  <a:lnTo>
                    <a:pt x="2903640" y="197447"/>
                  </a:lnTo>
                  <a:lnTo>
                    <a:pt x="2903640" y="196799"/>
                  </a:lnTo>
                  <a:lnTo>
                    <a:pt x="2903640" y="198831"/>
                  </a:lnTo>
                  <a:lnTo>
                    <a:pt x="2903741" y="198831"/>
                  </a:lnTo>
                  <a:lnTo>
                    <a:pt x="2903741" y="200228"/>
                  </a:lnTo>
                  <a:lnTo>
                    <a:pt x="2903792" y="200228"/>
                  </a:lnTo>
                  <a:lnTo>
                    <a:pt x="2903792" y="199530"/>
                  </a:lnTo>
                  <a:lnTo>
                    <a:pt x="2903792" y="200228"/>
                  </a:lnTo>
                  <a:lnTo>
                    <a:pt x="2903792" y="199530"/>
                  </a:lnTo>
                  <a:lnTo>
                    <a:pt x="2903792" y="200228"/>
                  </a:lnTo>
                  <a:lnTo>
                    <a:pt x="2903792" y="199530"/>
                  </a:lnTo>
                  <a:lnTo>
                    <a:pt x="2903843" y="199530"/>
                  </a:lnTo>
                  <a:lnTo>
                    <a:pt x="2903843" y="200228"/>
                  </a:lnTo>
                  <a:lnTo>
                    <a:pt x="2903843" y="198831"/>
                  </a:lnTo>
                  <a:lnTo>
                    <a:pt x="2903944" y="198831"/>
                  </a:lnTo>
                  <a:lnTo>
                    <a:pt x="2903944" y="197447"/>
                  </a:lnTo>
                  <a:lnTo>
                    <a:pt x="2903944" y="198831"/>
                  </a:lnTo>
                  <a:lnTo>
                    <a:pt x="2903944" y="196799"/>
                  </a:lnTo>
                  <a:lnTo>
                    <a:pt x="2903995" y="197447"/>
                  </a:lnTo>
                  <a:lnTo>
                    <a:pt x="2903995" y="198831"/>
                  </a:lnTo>
                  <a:lnTo>
                    <a:pt x="2903995" y="196799"/>
                  </a:lnTo>
                  <a:lnTo>
                    <a:pt x="2903995" y="199530"/>
                  </a:lnTo>
                  <a:lnTo>
                    <a:pt x="2904046" y="199530"/>
                  </a:lnTo>
                  <a:lnTo>
                    <a:pt x="2904046" y="197447"/>
                  </a:lnTo>
                  <a:lnTo>
                    <a:pt x="2904046" y="198831"/>
                  </a:lnTo>
                  <a:lnTo>
                    <a:pt x="2904084" y="198831"/>
                  </a:lnTo>
                  <a:lnTo>
                    <a:pt x="2904084" y="197447"/>
                  </a:lnTo>
                  <a:lnTo>
                    <a:pt x="2904084" y="198831"/>
                  </a:lnTo>
                  <a:lnTo>
                    <a:pt x="2904084" y="197447"/>
                  </a:lnTo>
                  <a:lnTo>
                    <a:pt x="2904084" y="198831"/>
                  </a:lnTo>
                  <a:lnTo>
                    <a:pt x="2904186" y="198831"/>
                  </a:lnTo>
                  <a:lnTo>
                    <a:pt x="2904186" y="199530"/>
                  </a:lnTo>
                  <a:lnTo>
                    <a:pt x="2904186" y="198831"/>
                  </a:lnTo>
                  <a:lnTo>
                    <a:pt x="2904186" y="199530"/>
                  </a:lnTo>
                  <a:lnTo>
                    <a:pt x="2904186" y="198831"/>
                  </a:lnTo>
                  <a:lnTo>
                    <a:pt x="2904186" y="199530"/>
                  </a:lnTo>
                  <a:lnTo>
                    <a:pt x="2904186" y="198831"/>
                  </a:lnTo>
                  <a:lnTo>
                    <a:pt x="2904186" y="199530"/>
                  </a:lnTo>
                  <a:lnTo>
                    <a:pt x="2904186" y="198831"/>
                  </a:lnTo>
                  <a:lnTo>
                    <a:pt x="2904186" y="199530"/>
                  </a:lnTo>
                  <a:lnTo>
                    <a:pt x="2904237" y="199530"/>
                  </a:lnTo>
                  <a:lnTo>
                    <a:pt x="2904237" y="200228"/>
                  </a:lnTo>
                  <a:lnTo>
                    <a:pt x="2904237" y="199530"/>
                  </a:lnTo>
                  <a:lnTo>
                    <a:pt x="2904237" y="200228"/>
                  </a:lnTo>
                  <a:lnTo>
                    <a:pt x="2904287" y="200228"/>
                  </a:lnTo>
                  <a:lnTo>
                    <a:pt x="2904287" y="200876"/>
                  </a:lnTo>
                  <a:lnTo>
                    <a:pt x="2904287" y="200228"/>
                  </a:lnTo>
                  <a:lnTo>
                    <a:pt x="2904287" y="200876"/>
                  </a:lnTo>
                  <a:lnTo>
                    <a:pt x="2904287" y="199530"/>
                  </a:lnTo>
                  <a:lnTo>
                    <a:pt x="2904287" y="200228"/>
                  </a:lnTo>
                  <a:lnTo>
                    <a:pt x="2904389" y="200228"/>
                  </a:lnTo>
                  <a:lnTo>
                    <a:pt x="2904389" y="199530"/>
                  </a:lnTo>
                  <a:lnTo>
                    <a:pt x="2904389" y="200228"/>
                  </a:lnTo>
                  <a:lnTo>
                    <a:pt x="2904389" y="198831"/>
                  </a:lnTo>
                  <a:lnTo>
                    <a:pt x="2904440" y="198831"/>
                  </a:lnTo>
                  <a:lnTo>
                    <a:pt x="2904440" y="197447"/>
                  </a:lnTo>
                  <a:lnTo>
                    <a:pt x="2904440" y="198831"/>
                  </a:lnTo>
                  <a:lnTo>
                    <a:pt x="2904440" y="196799"/>
                  </a:lnTo>
                  <a:lnTo>
                    <a:pt x="2904440" y="198831"/>
                  </a:lnTo>
                  <a:lnTo>
                    <a:pt x="2904490" y="199530"/>
                  </a:lnTo>
                  <a:lnTo>
                    <a:pt x="2904490" y="197447"/>
                  </a:lnTo>
                  <a:lnTo>
                    <a:pt x="2904490" y="200876"/>
                  </a:lnTo>
                  <a:lnTo>
                    <a:pt x="2904541" y="200228"/>
                  </a:lnTo>
                  <a:lnTo>
                    <a:pt x="2904541" y="198831"/>
                  </a:lnTo>
                  <a:lnTo>
                    <a:pt x="2904541" y="200228"/>
                  </a:lnTo>
                  <a:lnTo>
                    <a:pt x="2904630" y="200228"/>
                  </a:lnTo>
                  <a:lnTo>
                    <a:pt x="2904630" y="198831"/>
                  </a:lnTo>
                  <a:lnTo>
                    <a:pt x="2904630" y="200228"/>
                  </a:lnTo>
                  <a:lnTo>
                    <a:pt x="2904630" y="199530"/>
                  </a:lnTo>
                  <a:lnTo>
                    <a:pt x="2904681" y="200228"/>
                  </a:lnTo>
                  <a:lnTo>
                    <a:pt x="2904681" y="199530"/>
                  </a:lnTo>
                  <a:lnTo>
                    <a:pt x="2904681" y="200228"/>
                  </a:lnTo>
                  <a:lnTo>
                    <a:pt x="2904681" y="199530"/>
                  </a:lnTo>
                  <a:lnTo>
                    <a:pt x="2904681" y="200228"/>
                  </a:lnTo>
                  <a:lnTo>
                    <a:pt x="2904783" y="200228"/>
                  </a:lnTo>
                  <a:lnTo>
                    <a:pt x="2904783" y="199530"/>
                  </a:lnTo>
                  <a:lnTo>
                    <a:pt x="2904783" y="200228"/>
                  </a:lnTo>
                  <a:lnTo>
                    <a:pt x="2904783" y="198831"/>
                  </a:lnTo>
                  <a:lnTo>
                    <a:pt x="2904783" y="199530"/>
                  </a:lnTo>
                  <a:lnTo>
                    <a:pt x="2904783" y="198831"/>
                  </a:lnTo>
                  <a:lnTo>
                    <a:pt x="2904884" y="199530"/>
                  </a:lnTo>
                  <a:lnTo>
                    <a:pt x="2904884" y="198831"/>
                  </a:lnTo>
                  <a:lnTo>
                    <a:pt x="2904884" y="199530"/>
                  </a:lnTo>
                  <a:lnTo>
                    <a:pt x="2904884" y="197447"/>
                  </a:lnTo>
                  <a:lnTo>
                    <a:pt x="2904884" y="198831"/>
                  </a:lnTo>
                  <a:lnTo>
                    <a:pt x="2904935" y="197447"/>
                  </a:lnTo>
                  <a:lnTo>
                    <a:pt x="2904935" y="198831"/>
                  </a:lnTo>
                  <a:lnTo>
                    <a:pt x="2904935" y="196799"/>
                  </a:lnTo>
                  <a:lnTo>
                    <a:pt x="2904935" y="197447"/>
                  </a:lnTo>
                  <a:lnTo>
                    <a:pt x="2904935" y="196799"/>
                  </a:lnTo>
                  <a:lnTo>
                    <a:pt x="2904935" y="199530"/>
                  </a:lnTo>
                  <a:lnTo>
                    <a:pt x="2904986" y="199530"/>
                  </a:lnTo>
                  <a:lnTo>
                    <a:pt x="2904986" y="196113"/>
                  </a:lnTo>
                  <a:lnTo>
                    <a:pt x="2904986" y="199530"/>
                  </a:lnTo>
                  <a:lnTo>
                    <a:pt x="2905087" y="199530"/>
                  </a:lnTo>
                  <a:lnTo>
                    <a:pt x="2905087" y="198831"/>
                  </a:lnTo>
                  <a:lnTo>
                    <a:pt x="2905087" y="199530"/>
                  </a:lnTo>
                  <a:lnTo>
                    <a:pt x="2905087" y="197447"/>
                  </a:lnTo>
                  <a:lnTo>
                    <a:pt x="2905087" y="199530"/>
                  </a:lnTo>
                  <a:lnTo>
                    <a:pt x="2905126" y="199530"/>
                  </a:lnTo>
                  <a:lnTo>
                    <a:pt x="2905126" y="198831"/>
                  </a:lnTo>
                  <a:lnTo>
                    <a:pt x="2905126" y="200228"/>
                  </a:lnTo>
                  <a:lnTo>
                    <a:pt x="2905176" y="200228"/>
                  </a:lnTo>
                  <a:lnTo>
                    <a:pt x="2905176" y="199530"/>
                  </a:lnTo>
                  <a:lnTo>
                    <a:pt x="2905176" y="200228"/>
                  </a:lnTo>
                  <a:lnTo>
                    <a:pt x="2905176" y="199530"/>
                  </a:lnTo>
                  <a:lnTo>
                    <a:pt x="2905176" y="200876"/>
                  </a:lnTo>
                  <a:lnTo>
                    <a:pt x="2905176" y="200228"/>
                  </a:lnTo>
                  <a:lnTo>
                    <a:pt x="2905227" y="200228"/>
                  </a:lnTo>
                  <a:lnTo>
                    <a:pt x="2905227" y="200876"/>
                  </a:lnTo>
                  <a:lnTo>
                    <a:pt x="2905227" y="200228"/>
                  </a:lnTo>
                  <a:lnTo>
                    <a:pt x="2905227" y="200876"/>
                  </a:lnTo>
                  <a:lnTo>
                    <a:pt x="2905227" y="200228"/>
                  </a:lnTo>
                  <a:lnTo>
                    <a:pt x="2905329" y="200228"/>
                  </a:lnTo>
                  <a:lnTo>
                    <a:pt x="2905329" y="199530"/>
                  </a:lnTo>
                  <a:lnTo>
                    <a:pt x="2905380" y="199530"/>
                  </a:lnTo>
                  <a:lnTo>
                    <a:pt x="2905380" y="198831"/>
                  </a:lnTo>
                  <a:lnTo>
                    <a:pt x="2905380" y="199530"/>
                  </a:lnTo>
                  <a:lnTo>
                    <a:pt x="2905380" y="198831"/>
                  </a:lnTo>
                  <a:lnTo>
                    <a:pt x="2905380" y="199530"/>
                  </a:lnTo>
                  <a:lnTo>
                    <a:pt x="2905380" y="198831"/>
                  </a:lnTo>
                  <a:lnTo>
                    <a:pt x="2905380" y="199530"/>
                  </a:lnTo>
                  <a:lnTo>
                    <a:pt x="2905380" y="197447"/>
                  </a:lnTo>
                  <a:lnTo>
                    <a:pt x="2905430" y="197447"/>
                  </a:lnTo>
                  <a:lnTo>
                    <a:pt x="2905430" y="196799"/>
                  </a:lnTo>
                  <a:lnTo>
                    <a:pt x="2905430" y="198831"/>
                  </a:lnTo>
                  <a:lnTo>
                    <a:pt x="2905532" y="197447"/>
                  </a:lnTo>
                  <a:lnTo>
                    <a:pt x="2905532" y="196799"/>
                  </a:lnTo>
                  <a:lnTo>
                    <a:pt x="2905532" y="197447"/>
                  </a:lnTo>
                  <a:lnTo>
                    <a:pt x="2905532" y="196799"/>
                  </a:lnTo>
                  <a:lnTo>
                    <a:pt x="2905532" y="200228"/>
                  </a:lnTo>
                  <a:lnTo>
                    <a:pt x="2905583" y="199530"/>
                  </a:lnTo>
                  <a:lnTo>
                    <a:pt x="2905583" y="197447"/>
                  </a:lnTo>
                  <a:lnTo>
                    <a:pt x="2905583" y="200228"/>
                  </a:lnTo>
                  <a:lnTo>
                    <a:pt x="2905583" y="199530"/>
                  </a:lnTo>
                  <a:lnTo>
                    <a:pt x="2905633" y="199530"/>
                  </a:lnTo>
                  <a:lnTo>
                    <a:pt x="2905633" y="198831"/>
                  </a:lnTo>
                  <a:lnTo>
                    <a:pt x="2905633" y="200228"/>
                  </a:lnTo>
                  <a:lnTo>
                    <a:pt x="2905633" y="199530"/>
                  </a:lnTo>
                  <a:lnTo>
                    <a:pt x="2905633" y="200228"/>
                  </a:lnTo>
                  <a:lnTo>
                    <a:pt x="2905633" y="199530"/>
                  </a:lnTo>
                  <a:lnTo>
                    <a:pt x="2905633" y="200228"/>
                  </a:lnTo>
                  <a:lnTo>
                    <a:pt x="2905773" y="200228"/>
                  </a:lnTo>
                  <a:lnTo>
                    <a:pt x="2905773" y="200876"/>
                  </a:lnTo>
                  <a:lnTo>
                    <a:pt x="2905773" y="200228"/>
                  </a:lnTo>
                  <a:lnTo>
                    <a:pt x="2905773" y="200876"/>
                  </a:lnTo>
                  <a:lnTo>
                    <a:pt x="2905773" y="200228"/>
                  </a:lnTo>
                  <a:lnTo>
                    <a:pt x="2905773" y="200876"/>
                  </a:lnTo>
                  <a:lnTo>
                    <a:pt x="2905824" y="200228"/>
                  </a:lnTo>
                  <a:lnTo>
                    <a:pt x="2905824" y="200876"/>
                  </a:lnTo>
                  <a:lnTo>
                    <a:pt x="2905824" y="200228"/>
                  </a:lnTo>
                  <a:lnTo>
                    <a:pt x="2905824" y="200876"/>
                  </a:lnTo>
                  <a:lnTo>
                    <a:pt x="2905824" y="199530"/>
                  </a:lnTo>
                  <a:lnTo>
                    <a:pt x="2905824" y="200228"/>
                  </a:lnTo>
                  <a:lnTo>
                    <a:pt x="2905824" y="199530"/>
                  </a:lnTo>
                  <a:lnTo>
                    <a:pt x="2905875" y="200228"/>
                  </a:lnTo>
                  <a:lnTo>
                    <a:pt x="2905875" y="199530"/>
                  </a:lnTo>
                  <a:lnTo>
                    <a:pt x="2905875" y="200228"/>
                  </a:lnTo>
                  <a:lnTo>
                    <a:pt x="2905875" y="198831"/>
                  </a:lnTo>
                  <a:lnTo>
                    <a:pt x="2905875" y="199530"/>
                  </a:lnTo>
                  <a:lnTo>
                    <a:pt x="2905875" y="198831"/>
                  </a:lnTo>
                  <a:lnTo>
                    <a:pt x="2905976" y="198831"/>
                  </a:lnTo>
                  <a:lnTo>
                    <a:pt x="2905976" y="196799"/>
                  </a:lnTo>
                  <a:lnTo>
                    <a:pt x="2905976" y="197447"/>
                  </a:lnTo>
                  <a:lnTo>
                    <a:pt x="2905976" y="196113"/>
                  </a:lnTo>
                  <a:lnTo>
                    <a:pt x="2905976" y="196799"/>
                  </a:lnTo>
                  <a:lnTo>
                    <a:pt x="2906027" y="197447"/>
                  </a:lnTo>
                  <a:lnTo>
                    <a:pt x="2906027" y="196799"/>
                  </a:lnTo>
                  <a:lnTo>
                    <a:pt x="2906027" y="197447"/>
                  </a:lnTo>
                  <a:lnTo>
                    <a:pt x="2906027" y="196799"/>
                  </a:lnTo>
                  <a:lnTo>
                    <a:pt x="2906027" y="198831"/>
                  </a:lnTo>
                  <a:lnTo>
                    <a:pt x="2906027" y="197447"/>
                  </a:lnTo>
                  <a:lnTo>
                    <a:pt x="2906027" y="198831"/>
                  </a:lnTo>
                  <a:lnTo>
                    <a:pt x="2906078" y="198831"/>
                  </a:lnTo>
                  <a:lnTo>
                    <a:pt x="2906078" y="199530"/>
                  </a:lnTo>
                  <a:lnTo>
                    <a:pt x="2906129" y="199530"/>
                  </a:lnTo>
                  <a:lnTo>
                    <a:pt x="2906129" y="198831"/>
                  </a:lnTo>
                  <a:lnTo>
                    <a:pt x="2906129" y="200228"/>
                  </a:lnTo>
                  <a:lnTo>
                    <a:pt x="2906129" y="199530"/>
                  </a:lnTo>
                  <a:lnTo>
                    <a:pt x="2906129" y="200228"/>
                  </a:lnTo>
                  <a:lnTo>
                    <a:pt x="2906218" y="200228"/>
                  </a:lnTo>
                  <a:lnTo>
                    <a:pt x="2906218" y="200876"/>
                  </a:lnTo>
                  <a:lnTo>
                    <a:pt x="2906218" y="200228"/>
                  </a:lnTo>
                  <a:lnTo>
                    <a:pt x="2906269" y="200228"/>
                  </a:lnTo>
                  <a:lnTo>
                    <a:pt x="2906269" y="202260"/>
                  </a:lnTo>
                  <a:lnTo>
                    <a:pt x="2906319" y="202260"/>
                  </a:lnTo>
                  <a:lnTo>
                    <a:pt x="2906319" y="200876"/>
                  </a:lnTo>
                  <a:lnTo>
                    <a:pt x="2906319" y="202260"/>
                  </a:lnTo>
                  <a:lnTo>
                    <a:pt x="2906319" y="200228"/>
                  </a:lnTo>
                  <a:lnTo>
                    <a:pt x="2906319" y="200876"/>
                  </a:lnTo>
                  <a:lnTo>
                    <a:pt x="2906319" y="200228"/>
                  </a:lnTo>
                  <a:lnTo>
                    <a:pt x="2906370" y="200228"/>
                  </a:lnTo>
                  <a:lnTo>
                    <a:pt x="2906370" y="200876"/>
                  </a:lnTo>
                  <a:lnTo>
                    <a:pt x="2906370" y="199530"/>
                  </a:lnTo>
                  <a:lnTo>
                    <a:pt x="2906370" y="200228"/>
                  </a:lnTo>
                  <a:lnTo>
                    <a:pt x="2906370" y="198831"/>
                  </a:lnTo>
                  <a:lnTo>
                    <a:pt x="2906472" y="198831"/>
                  </a:lnTo>
                  <a:lnTo>
                    <a:pt x="2906472" y="197447"/>
                  </a:lnTo>
                  <a:lnTo>
                    <a:pt x="2906472" y="198831"/>
                  </a:lnTo>
                  <a:lnTo>
                    <a:pt x="2906522" y="197447"/>
                  </a:lnTo>
                  <a:lnTo>
                    <a:pt x="2906522" y="196799"/>
                  </a:lnTo>
                  <a:lnTo>
                    <a:pt x="2906522" y="197447"/>
                  </a:lnTo>
                  <a:lnTo>
                    <a:pt x="2906522" y="196799"/>
                  </a:lnTo>
                  <a:lnTo>
                    <a:pt x="2906522" y="200228"/>
                  </a:lnTo>
                  <a:lnTo>
                    <a:pt x="2906522" y="198831"/>
                  </a:lnTo>
                  <a:lnTo>
                    <a:pt x="2906573" y="198831"/>
                  </a:lnTo>
                  <a:lnTo>
                    <a:pt x="2906573" y="197447"/>
                  </a:lnTo>
                  <a:lnTo>
                    <a:pt x="2906573" y="200228"/>
                  </a:lnTo>
                  <a:lnTo>
                    <a:pt x="2906573" y="198831"/>
                  </a:lnTo>
                  <a:lnTo>
                    <a:pt x="2906675" y="198831"/>
                  </a:lnTo>
                  <a:lnTo>
                    <a:pt x="2906675" y="200228"/>
                  </a:lnTo>
                  <a:lnTo>
                    <a:pt x="2906675" y="199530"/>
                  </a:lnTo>
                  <a:lnTo>
                    <a:pt x="2906713" y="199530"/>
                  </a:lnTo>
                  <a:lnTo>
                    <a:pt x="2906713" y="200228"/>
                  </a:lnTo>
                  <a:lnTo>
                    <a:pt x="2906713" y="199530"/>
                  </a:lnTo>
                  <a:lnTo>
                    <a:pt x="2906713" y="200228"/>
                  </a:lnTo>
                  <a:lnTo>
                    <a:pt x="2906764" y="200228"/>
                  </a:lnTo>
                  <a:lnTo>
                    <a:pt x="2906764" y="200876"/>
                  </a:lnTo>
                  <a:lnTo>
                    <a:pt x="2906764" y="200228"/>
                  </a:lnTo>
                  <a:lnTo>
                    <a:pt x="2906764" y="200876"/>
                  </a:lnTo>
                  <a:lnTo>
                    <a:pt x="2906764" y="200228"/>
                  </a:lnTo>
                  <a:lnTo>
                    <a:pt x="2906815" y="200228"/>
                  </a:lnTo>
                  <a:lnTo>
                    <a:pt x="2906815" y="200876"/>
                  </a:lnTo>
                  <a:lnTo>
                    <a:pt x="2906815" y="200228"/>
                  </a:lnTo>
                  <a:lnTo>
                    <a:pt x="2906815" y="200876"/>
                  </a:lnTo>
                  <a:lnTo>
                    <a:pt x="2906815" y="199530"/>
                  </a:lnTo>
                  <a:lnTo>
                    <a:pt x="2906916" y="199530"/>
                  </a:lnTo>
                  <a:lnTo>
                    <a:pt x="2906916" y="200228"/>
                  </a:lnTo>
                  <a:lnTo>
                    <a:pt x="2906916" y="199530"/>
                  </a:lnTo>
                  <a:lnTo>
                    <a:pt x="2906916" y="200228"/>
                  </a:lnTo>
                  <a:lnTo>
                    <a:pt x="2906916" y="198831"/>
                  </a:lnTo>
                  <a:lnTo>
                    <a:pt x="2906916" y="199530"/>
                  </a:lnTo>
                  <a:lnTo>
                    <a:pt x="2906967" y="199530"/>
                  </a:lnTo>
                  <a:lnTo>
                    <a:pt x="2906967" y="200876"/>
                  </a:lnTo>
                  <a:lnTo>
                    <a:pt x="2906967" y="198831"/>
                  </a:lnTo>
                  <a:lnTo>
                    <a:pt x="2906967" y="200876"/>
                  </a:lnTo>
                  <a:lnTo>
                    <a:pt x="2907018" y="202260"/>
                  </a:lnTo>
                  <a:lnTo>
                    <a:pt x="2907018" y="200228"/>
                  </a:lnTo>
                  <a:lnTo>
                    <a:pt x="2907018" y="202260"/>
                  </a:lnTo>
                  <a:lnTo>
                    <a:pt x="2907119" y="202260"/>
                  </a:lnTo>
                  <a:lnTo>
                    <a:pt x="2907119" y="200876"/>
                  </a:lnTo>
                  <a:lnTo>
                    <a:pt x="2907119" y="202260"/>
                  </a:lnTo>
                  <a:lnTo>
                    <a:pt x="2907170" y="200876"/>
                  </a:lnTo>
                  <a:lnTo>
                    <a:pt x="2907170" y="202260"/>
                  </a:lnTo>
                  <a:lnTo>
                    <a:pt x="2907170" y="200876"/>
                  </a:lnTo>
                  <a:lnTo>
                    <a:pt x="2907170" y="202260"/>
                  </a:lnTo>
                  <a:lnTo>
                    <a:pt x="2907221" y="202260"/>
                  </a:lnTo>
                  <a:lnTo>
                    <a:pt x="2907221" y="200876"/>
                  </a:lnTo>
                  <a:lnTo>
                    <a:pt x="2907221" y="202260"/>
                  </a:lnTo>
                  <a:lnTo>
                    <a:pt x="2907221" y="200876"/>
                  </a:lnTo>
                  <a:lnTo>
                    <a:pt x="2907221" y="202260"/>
                  </a:lnTo>
                  <a:lnTo>
                    <a:pt x="2907221" y="200876"/>
                  </a:lnTo>
                  <a:lnTo>
                    <a:pt x="2907361" y="200876"/>
                  </a:lnTo>
                  <a:lnTo>
                    <a:pt x="2907361" y="200228"/>
                  </a:lnTo>
                  <a:lnTo>
                    <a:pt x="2907361" y="200876"/>
                  </a:lnTo>
                  <a:lnTo>
                    <a:pt x="2907361" y="199530"/>
                  </a:lnTo>
                  <a:lnTo>
                    <a:pt x="2907361" y="200228"/>
                  </a:lnTo>
                  <a:lnTo>
                    <a:pt x="2907361" y="199530"/>
                  </a:lnTo>
                  <a:lnTo>
                    <a:pt x="2907361" y="200228"/>
                  </a:lnTo>
                  <a:lnTo>
                    <a:pt x="2907412" y="200228"/>
                  </a:lnTo>
                  <a:lnTo>
                    <a:pt x="2907412" y="199530"/>
                  </a:lnTo>
                  <a:lnTo>
                    <a:pt x="2907412" y="202260"/>
                  </a:lnTo>
                  <a:lnTo>
                    <a:pt x="2907412" y="200876"/>
                  </a:lnTo>
                  <a:lnTo>
                    <a:pt x="2907462" y="200228"/>
                  </a:lnTo>
                  <a:lnTo>
                    <a:pt x="2907462" y="199530"/>
                  </a:lnTo>
                  <a:lnTo>
                    <a:pt x="2907462" y="202959"/>
                  </a:lnTo>
                  <a:lnTo>
                    <a:pt x="2907462" y="202260"/>
                  </a:lnTo>
                  <a:lnTo>
                    <a:pt x="2907564" y="200876"/>
                  </a:lnTo>
                  <a:lnTo>
                    <a:pt x="2907564" y="203594"/>
                  </a:lnTo>
                  <a:lnTo>
                    <a:pt x="2907564" y="202959"/>
                  </a:lnTo>
                  <a:lnTo>
                    <a:pt x="2907615" y="202260"/>
                  </a:lnTo>
                  <a:lnTo>
                    <a:pt x="2907615" y="202959"/>
                  </a:lnTo>
                  <a:lnTo>
                    <a:pt x="2907615" y="202260"/>
                  </a:lnTo>
                  <a:lnTo>
                    <a:pt x="2907615" y="202959"/>
                  </a:lnTo>
                  <a:lnTo>
                    <a:pt x="2907665" y="202959"/>
                  </a:lnTo>
                  <a:lnTo>
                    <a:pt x="2907665" y="203594"/>
                  </a:lnTo>
                  <a:lnTo>
                    <a:pt x="2907665" y="202260"/>
                  </a:lnTo>
                  <a:lnTo>
                    <a:pt x="2907665" y="202959"/>
                  </a:lnTo>
                  <a:lnTo>
                    <a:pt x="2907665" y="202260"/>
                  </a:lnTo>
                  <a:lnTo>
                    <a:pt x="2907716" y="202260"/>
                  </a:lnTo>
                  <a:lnTo>
                    <a:pt x="2907716" y="202959"/>
                  </a:lnTo>
                  <a:lnTo>
                    <a:pt x="2907716" y="202260"/>
                  </a:lnTo>
                  <a:lnTo>
                    <a:pt x="2907716" y="202959"/>
                  </a:lnTo>
                  <a:lnTo>
                    <a:pt x="2907716" y="202260"/>
                  </a:lnTo>
                  <a:lnTo>
                    <a:pt x="2907805" y="200876"/>
                  </a:lnTo>
                  <a:lnTo>
                    <a:pt x="2907805" y="202260"/>
                  </a:lnTo>
                  <a:lnTo>
                    <a:pt x="2907805" y="200228"/>
                  </a:lnTo>
                  <a:lnTo>
                    <a:pt x="2907805" y="200876"/>
                  </a:lnTo>
                  <a:lnTo>
                    <a:pt x="2907805" y="200228"/>
                  </a:lnTo>
                  <a:lnTo>
                    <a:pt x="2907856" y="200228"/>
                  </a:lnTo>
                  <a:lnTo>
                    <a:pt x="2907856" y="197447"/>
                  </a:lnTo>
                  <a:lnTo>
                    <a:pt x="2907856" y="200228"/>
                  </a:lnTo>
                  <a:lnTo>
                    <a:pt x="2907907" y="200228"/>
                  </a:lnTo>
                  <a:lnTo>
                    <a:pt x="2907907" y="200876"/>
                  </a:lnTo>
                  <a:lnTo>
                    <a:pt x="2907907" y="199530"/>
                  </a:lnTo>
                  <a:lnTo>
                    <a:pt x="2907907" y="202959"/>
                  </a:lnTo>
                  <a:lnTo>
                    <a:pt x="2907958" y="202959"/>
                  </a:lnTo>
                  <a:lnTo>
                    <a:pt x="2907958" y="200876"/>
                  </a:lnTo>
                  <a:lnTo>
                    <a:pt x="2907958" y="202959"/>
                  </a:lnTo>
                  <a:lnTo>
                    <a:pt x="2908059" y="202959"/>
                  </a:lnTo>
                  <a:lnTo>
                    <a:pt x="2908059" y="202260"/>
                  </a:lnTo>
                  <a:lnTo>
                    <a:pt x="2908059" y="203594"/>
                  </a:lnTo>
                  <a:lnTo>
                    <a:pt x="2908110" y="203594"/>
                  </a:lnTo>
                  <a:lnTo>
                    <a:pt x="2908110" y="202959"/>
                  </a:lnTo>
                  <a:lnTo>
                    <a:pt x="2908110" y="203594"/>
                  </a:lnTo>
                  <a:lnTo>
                    <a:pt x="2908110" y="202959"/>
                  </a:lnTo>
                  <a:lnTo>
                    <a:pt x="2908110" y="203594"/>
                  </a:lnTo>
                  <a:lnTo>
                    <a:pt x="2908161" y="203594"/>
                  </a:lnTo>
                  <a:lnTo>
                    <a:pt x="2908161" y="202959"/>
                  </a:lnTo>
                  <a:lnTo>
                    <a:pt x="2908161" y="203594"/>
                  </a:lnTo>
                  <a:lnTo>
                    <a:pt x="2908161" y="202959"/>
                  </a:lnTo>
                  <a:lnTo>
                    <a:pt x="2908161" y="203594"/>
                  </a:lnTo>
                  <a:lnTo>
                    <a:pt x="2908161" y="202959"/>
                  </a:lnTo>
                  <a:lnTo>
                    <a:pt x="2908161" y="203594"/>
                  </a:lnTo>
                  <a:lnTo>
                    <a:pt x="2908262" y="203594"/>
                  </a:lnTo>
                  <a:lnTo>
                    <a:pt x="2908262" y="202260"/>
                  </a:lnTo>
                  <a:lnTo>
                    <a:pt x="2908262" y="202959"/>
                  </a:lnTo>
                  <a:lnTo>
                    <a:pt x="2908262" y="202260"/>
                  </a:lnTo>
                  <a:lnTo>
                    <a:pt x="2908262" y="202959"/>
                  </a:lnTo>
                  <a:lnTo>
                    <a:pt x="2908262" y="202260"/>
                  </a:lnTo>
                  <a:lnTo>
                    <a:pt x="2908301" y="202260"/>
                  </a:lnTo>
                  <a:lnTo>
                    <a:pt x="2908301" y="200876"/>
                  </a:lnTo>
                  <a:lnTo>
                    <a:pt x="2908301" y="202260"/>
                  </a:lnTo>
                  <a:lnTo>
                    <a:pt x="2908301" y="200876"/>
                  </a:lnTo>
                  <a:lnTo>
                    <a:pt x="2908301" y="202260"/>
                  </a:lnTo>
                  <a:lnTo>
                    <a:pt x="2908301" y="200876"/>
                  </a:lnTo>
                  <a:lnTo>
                    <a:pt x="2908351" y="200876"/>
                  </a:lnTo>
                  <a:lnTo>
                    <a:pt x="2908351" y="199530"/>
                  </a:lnTo>
                  <a:lnTo>
                    <a:pt x="2908351" y="202260"/>
                  </a:lnTo>
                  <a:lnTo>
                    <a:pt x="2908351" y="200228"/>
                  </a:lnTo>
                  <a:lnTo>
                    <a:pt x="2908402" y="200228"/>
                  </a:lnTo>
                  <a:lnTo>
                    <a:pt x="2908402" y="202959"/>
                  </a:lnTo>
                  <a:lnTo>
                    <a:pt x="2908402" y="200876"/>
                  </a:lnTo>
                  <a:lnTo>
                    <a:pt x="2908504" y="200876"/>
                  </a:lnTo>
                  <a:lnTo>
                    <a:pt x="2908504" y="202959"/>
                  </a:lnTo>
                  <a:lnTo>
                    <a:pt x="2908504" y="202260"/>
                  </a:lnTo>
                  <a:lnTo>
                    <a:pt x="2908504" y="202959"/>
                  </a:lnTo>
                  <a:lnTo>
                    <a:pt x="2908504" y="202260"/>
                  </a:lnTo>
                  <a:lnTo>
                    <a:pt x="2908504" y="202959"/>
                  </a:lnTo>
                  <a:lnTo>
                    <a:pt x="2908555" y="202959"/>
                  </a:lnTo>
                  <a:lnTo>
                    <a:pt x="2908555" y="203594"/>
                  </a:lnTo>
                  <a:lnTo>
                    <a:pt x="2908555" y="202959"/>
                  </a:lnTo>
                  <a:lnTo>
                    <a:pt x="2908555" y="203594"/>
                  </a:lnTo>
                  <a:lnTo>
                    <a:pt x="2908555" y="202959"/>
                  </a:lnTo>
                  <a:lnTo>
                    <a:pt x="2908605" y="202959"/>
                  </a:lnTo>
                  <a:lnTo>
                    <a:pt x="2908605" y="203594"/>
                  </a:lnTo>
                  <a:lnTo>
                    <a:pt x="2908605" y="202959"/>
                  </a:lnTo>
                  <a:lnTo>
                    <a:pt x="2908605" y="203594"/>
                  </a:lnTo>
                  <a:lnTo>
                    <a:pt x="2908605" y="202959"/>
                  </a:lnTo>
                  <a:lnTo>
                    <a:pt x="2908605" y="203594"/>
                  </a:lnTo>
                  <a:lnTo>
                    <a:pt x="2908605" y="202959"/>
                  </a:lnTo>
                  <a:lnTo>
                    <a:pt x="2908707" y="202959"/>
                  </a:lnTo>
                  <a:lnTo>
                    <a:pt x="2908707" y="203594"/>
                  </a:lnTo>
                  <a:lnTo>
                    <a:pt x="2908707" y="202959"/>
                  </a:lnTo>
                  <a:lnTo>
                    <a:pt x="2908707" y="203594"/>
                  </a:lnTo>
                  <a:lnTo>
                    <a:pt x="2908707" y="202959"/>
                  </a:lnTo>
                  <a:lnTo>
                    <a:pt x="2908707" y="203594"/>
                  </a:lnTo>
                  <a:lnTo>
                    <a:pt x="2908707" y="202959"/>
                  </a:lnTo>
                  <a:lnTo>
                    <a:pt x="2908707" y="203594"/>
                  </a:lnTo>
                  <a:lnTo>
                    <a:pt x="2908707" y="202959"/>
                  </a:lnTo>
                  <a:lnTo>
                    <a:pt x="2908758" y="202959"/>
                  </a:lnTo>
                  <a:lnTo>
                    <a:pt x="2908758" y="200876"/>
                  </a:lnTo>
                  <a:lnTo>
                    <a:pt x="2908758" y="202260"/>
                  </a:lnTo>
                  <a:lnTo>
                    <a:pt x="2908758" y="200876"/>
                  </a:lnTo>
                  <a:lnTo>
                    <a:pt x="2908808" y="200876"/>
                  </a:lnTo>
                  <a:lnTo>
                    <a:pt x="2908808" y="199530"/>
                  </a:lnTo>
                  <a:lnTo>
                    <a:pt x="2908847" y="199530"/>
                  </a:lnTo>
                  <a:lnTo>
                    <a:pt x="2908847" y="200228"/>
                  </a:lnTo>
                  <a:lnTo>
                    <a:pt x="2908847" y="199530"/>
                  </a:lnTo>
                  <a:lnTo>
                    <a:pt x="2908847" y="200228"/>
                  </a:lnTo>
                  <a:lnTo>
                    <a:pt x="2908847" y="198831"/>
                  </a:lnTo>
                  <a:lnTo>
                    <a:pt x="2908948" y="198831"/>
                  </a:lnTo>
                  <a:lnTo>
                    <a:pt x="2908948" y="202260"/>
                  </a:lnTo>
                  <a:lnTo>
                    <a:pt x="2908948" y="200228"/>
                  </a:lnTo>
                  <a:lnTo>
                    <a:pt x="2908999" y="200228"/>
                  </a:lnTo>
                  <a:lnTo>
                    <a:pt x="2908999" y="202260"/>
                  </a:lnTo>
                  <a:lnTo>
                    <a:pt x="2908999" y="200876"/>
                  </a:lnTo>
                  <a:lnTo>
                    <a:pt x="2908999" y="202260"/>
                  </a:lnTo>
                  <a:lnTo>
                    <a:pt x="2909050" y="202260"/>
                  </a:lnTo>
                  <a:lnTo>
                    <a:pt x="2909050" y="202959"/>
                  </a:lnTo>
                  <a:lnTo>
                    <a:pt x="2909050" y="202260"/>
                  </a:lnTo>
                  <a:lnTo>
                    <a:pt x="2909050" y="202959"/>
                  </a:lnTo>
                  <a:lnTo>
                    <a:pt x="2909050" y="202260"/>
                  </a:lnTo>
                  <a:lnTo>
                    <a:pt x="2909050" y="202959"/>
                  </a:lnTo>
                  <a:lnTo>
                    <a:pt x="2909151" y="202959"/>
                  </a:lnTo>
                  <a:lnTo>
                    <a:pt x="2909151" y="202260"/>
                  </a:lnTo>
                  <a:lnTo>
                    <a:pt x="2909151" y="202959"/>
                  </a:lnTo>
                  <a:lnTo>
                    <a:pt x="2909151" y="202260"/>
                  </a:lnTo>
                  <a:lnTo>
                    <a:pt x="2909151" y="202959"/>
                  </a:lnTo>
                  <a:lnTo>
                    <a:pt x="2909202" y="202959"/>
                  </a:lnTo>
                  <a:lnTo>
                    <a:pt x="2909202" y="202260"/>
                  </a:lnTo>
                  <a:lnTo>
                    <a:pt x="2909202" y="202959"/>
                  </a:lnTo>
                  <a:lnTo>
                    <a:pt x="2909202" y="202260"/>
                  </a:lnTo>
                  <a:lnTo>
                    <a:pt x="2909253" y="202260"/>
                  </a:lnTo>
                  <a:lnTo>
                    <a:pt x="2909253" y="200876"/>
                  </a:lnTo>
                  <a:lnTo>
                    <a:pt x="2909253" y="202260"/>
                  </a:lnTo>
                  <a:lnTo>
                    <a:pt x="2909253" y="200876"/>
                  </a:lnTo>
                  <a:lnTo>
                    <a:pt x="2909304" y="200876"/>
                  </a:lnTo>
                  <a:lnTo>
                    <a:pt x="2909304" y="198831"/>
                  </a:lnTo>
                  <a:lnTo>
                    <a:pt x="2909393" y="198831"/>
                  </a:lnTo>
                  <a:lnTo>
                    <a:pt x="2909393" y="199530"/>
                  </a:lnTo>
                  <a:lnTo>
                    <a:pt x="2909393" y="196799"/>
                  </a:lnTo>
                  <a:lnTo>
                    <a:pt x="2909393" y="199530"/>
                  </a:lnTo>
                  <a:lnTo>
                    <a:pt x="2909444" y="199530"/>
                  </a:lnTo>
                  <a:lnTo>
                    <a:pt x="2909444" y="200876"/>
                  </a:lnTo>
                  <a:lnTo>
                    <a:pt x="2909444" y="198831"/>
                  </a:lnTo>
                  <a:lnTo>
                    <a:pt x="2909444" y="200228"/>
                  </a:lnTo>
                  <a:lnTo>
                    <a:pt x="2909494" y="200228"/>
                  </a:lnTo>
                  <a:lnTo>
                    <a:pt x="2909494" y="200876"/>
                  </a:lnTo>
                  <a:lnTo>
                    <a:pt x="2909494" y="200228"/>
                  </a:lnTo>
                  <a:lnTo>
                    <a:pt x="2909494" y="200876"/>
                  </a:lnTo>
                  <a:lnTo>
                    <a:pt x="2909494" y="200228"/>
                  </a:lnTo>
                  <a:lnTo>
                    <a:pt x="2909494" y="200876"/>
                  </a:lnTo>
                  <a:lnTo>
                    <a:pt x="2909545" y="200228"/>
                  </a:lnTo>
                  <a:lnTo>
                    <a:pt x="2909545" y="200876"/>
                  </a:lnTo>
                  <a:lnTo>
                    <a:pt x="2909545" y="200228"/>
                  </a:lnTo>
                  <a:lnTo>
                    <a:pt x="2909545" y="200876"/>
                  </a:lnTo>
                  <a:lnTo>
                    <a:pt x="2909545" y="200228"/>
                  </a:lnTo>
                  <a:lnTo>
                    <a:pt x="2909545" y="200876"/>
                  </a:lnTo>
                  <a:lnTo>
                    <a:pt x="2909647" y="200876"/>
                  </a:lnTo>
                  <a:lnTo>
                    <a:pt x="2909647" y="202260"/>
                  </a:lnTo>
                  <a:lnTo>
                    <a:pt x="2909647" y="200876"/>
                  </a:lnTo>
                  <a:lnTo>
                    <a:pt x="2909647" y="202260"/>
                  </a:lnTo>
                  <a:lnTo>
                    <a:pt x="2909647" y="200876"/>
                  </a:lnTo>
                  <a:lnTo>
                    <a:pt x="2909647" y="202260"/>
                  </a:lnTo>
                  <a:lnTo>
                    <a:pt x="2909697" y="202260"/>
                  </a:lnTo>
                  <a:lnTo>
                    <a:pt x="2909697" y="200876"/>
                  </a:lnTo>
                  <a:lnTo>
                    <a:pt x="2909697" y="202260"/>
                  </a:lnTo>
                  <a:lnTo>
                    <a:pt x="2909697" y="200876"/>
                  </a:lnTo>
                  <a:lnTo>
                    <a:pt x="2909748" y="200876"/>
                  </a:lnTo>
                  <a:lnTo>
                    <a:pt x="2909748" y="200228"/>
                  </a:lnTo>
                  <a:lnTo>
                    <a:pt x="2909748" y="200876"/>
                  </a:lnTo>
                  <a:lnTo>
                    <a:pt x="2909748" y="200228"/>
                  </a:lnTo>
                  <a:lnTo>
                    <a:pt x="2909850" y="200228"/>
                  </a:lnTo>
                  <a:lnTo>
                    <a:pt x="2909850" y="199530"/>
                  </a:lnTo>
                  <a:lnTo>
                    <a:pt x="2909850" y="200228"/>
                  </a:lnTo>
                  <a:lnTo>
                    <a:pt x="2909850" y="199530"/>
                  </a:lnTo>
                  <a:lnTo>
                    <a:pt x="2909850" y="200228"/>
                  </a:lnTo>
                  <a:lnTo>
                    <a:pt x="2909888" y="200228"/>
                  </a:lnTo>
                  <a:lnTo>
                    <a:pt x="2909888" y="198831"/>
                  </a:lnTo>
                  <a:lnTo>
                    <a:pt x="2909888" y="202260"/>
                  </a:lnTo>
                  <a:lnTo>
                    <a:pt x="2909888" y="200876"/>
                  </a:lnTo>
                  <a:lnTo>
                    <a:pt x="2909939" y="200876"/>
                  </a:lnTo>
                  <a:lnTo>
                    <a:pt x="2909939" y="202260"/>
                  </a:lnTo>
                  <a:lnTo>
                    <a:pt x="2909939" y="200876"/>
                  </a:lnTo>
                  <a:lnTo>
                    <a:pt x="2909990" y="200876"/>
                  </a:lnTo>
                  <a:lnTo>
                    <a:pt x="2909990" y="202260"/>
                  </a:lnTo>
                  <a:lnTo>
                    <a:pt x="2909990" y="200876"/>
                  </a:lnTo>
                  <a:lnTo>
                    <a:pt x="2909990" y="202260"/>
                  </a:lnTo>
                  <a:lnTo>
                    <a:pt x="2909990" y="200876"/>
                  </a:lnTo>
                  <a:lnTo>
                    <a:pt x="2909990" y="202260"/>
                  </a:lnTo>
                  <a:lnTo>
                    <a:pt x="2909990" y="200876"/>
                  </a:lnTo>
                  <a:lnTo>
                    <a:pt x="2909990" y="202260"/>
                  </a:lnTo>
                  <a:lnTo>
                    <a:pt x="2910091" y="202260"/>
                  </a:lnTo>
                  <a:lnTo>
                    <a:pt x="2910091" y="200876"/>
                  </a:lnTo>
                  <a:lnTo>
                    <a:pt x="2910091" y="202260"/>
                  </a:lnTo>
                  <a:lnTo>
                    <a:pt x="2910091" y="200876"/>
                  </a:lnTo>
                  <a:lnTo>
                    <a:pt x="2910142" y="202260"/>
                  </a:lnTo>
                  <a:lnTo>
                    <a:pt x="2910142" y="200876"/>
                  </a:lnTo>
                  <a:lnTo>
                    <a:pt x="2910142" y="202260"/>
                  </a:lnTo>
                  <a:lnTo>
                    <a:pt x="2910142" y="200876"/>
                  </a:lnTo>
                  <a:lnTo>
                    <a:pt x="2910142" y="202260"/>
                  </a:lnTo>
                  <a:lnTo>
                    <a:pt x="2910142" y="200876"/>
                  </a:lnTo>
                  <a:lnTo>
                    <a:pt x="2910142" y="202260"/>
                  </a:lnTo>
                  <a:lnTo>
                    <a:pt x="2910142" y="200876"/>
                  </a:lnTo>
                  <a:lnTo>
                    <a:pt x="2910193" y="202260"/>
                  </a:lnTo>
                  <a:lnTo>
                    <a:pt x="2910193" y="200876"/>
                  </a:lnTo>
                  <a:lnTo>
                    <a:pt x="2910193" y="202260"/>
                  </a:lnTo>
                  <a:lnTo>
                    <a:pt x="2910193" y="200876"/>
                  </a:lnTo>
                  <a:lnTo>
                    <a:pt x="2910193" y="202260"/>
                  </a:lnTo>
                  <a:lnTo>
                    <a:pt x="2910193" y="200876"/>
                  </a:lnTo>
                  <a:lnTo>
                    <a:pt x="2910294" y="200876"/>
                  </a:lnTo>
                  <a:lnTo>
                    <a:pt x="2910294" y="200228"/>
                  </a:lnTo>
                  <a:lnTo>
                    <a:pt x="2910294" y="200876"/>
                  </a:lnTo>
                  <a:lnTo>
                    <a:pt x="2910294" y="200228"/>
                  </a:lnTo>
                  <a:lnTo>
                    <a:pt x="2910345" y="199530"/>
                  </a:lnTo>
                  <a:lnTo>
                    <a:pt x="2910345" y="200876"/>
                  </a:lnTo>
                  <a:lnTo>
                    <a:pt x="2910345" y="199530"/>
                  </a:lnTo>
                  <a:lnTo>
                    <a:pt x="2910345" y="200228"/>
                  </a:lnTo>
                  <a:lnTo>
                    <a:pt x="2910396" y="200228"/>
                  </a:lnTo>
                  <a:lnTo>
                    <a:pt x="2910396" y="203594"/>
                  </a:lnTo>
                  <a:lnTo>
                    <a:pt x="2910396" y="200876"/>
                  </a:lnTo>
                  <a:lnTo>
                    <a:pt x="2910396" y="202260"/>
                  </a:lnTo>
                  <a:lnTo>
                    <a:pt x="2910434" y="202959"/>
                  </a:lnTo>
                  <a:lnTo>
                    <a:pt x="2910434" y="200876"/>
                  </a:lnTo>
                  <a:lnTo>
                    <a:pt x="2910434" y="202959"/>
                  </a:lnTo>
                  <a:lnTo>
                    <a:pt x="2910536" y="202959"/>
                  </a:lnTo>
                  <a:lnTo>
                    <a:pt x="2910536" y="202260"/>
                  </a:lnTo>
                  <a:lnTo>
                    <a:pt x="2910536" y="202959"/>
                  </a:lnTo>
                  <a:lnTo>
                    <a:pt x="2910536" y="202260"/>
                  </a:lnTo>
                  <a:lnTo>
                    <a:pt x="2910536" y="202959"/>
                  </a:lnTo>
                  <a:lnTo>
                    <a:pt x="2910536" y="202260"/>
                  </a:lnTo>
                  <a:lnTo>
                    <a:pt x="2910536" y="202959"/>
                  </a:lnTo>
                  <a:lnTo>
                    <a:pt x="2910587" y="202959"/>
                  </a:lnTo>
                  <a:lnTo>
                    <a:pt x="2910587" y="203594"/>
                  </a:lnTo>
                  <a:lnTo>
                    <a:pt x="2910587" y="202260"/>
                  </a:lnTo>
                  <a:lnTo>
                    <a:pt x="2910587" y="202959"/>
                  </a:lnTo>
                  <a:lnTo>
                    <a:pt x="2910587" y="202260"/>
                  </a:lnTo>
                  <a:lnTo>
                    <a:pt x="2910587" y="202959"/>
                  </a:lnTo>
                  <a:lnTo>
                    <a:pt x="2910587" y="202260"/>
                  </a:lnTo>
                  <a:lnTo>
                    <a:pt x="2910637" y="200876"/>
                  </a:lnTo>
                  <a:lnTo>
                    <a:pt x="2910637" y="202260"/>
                  </a:lnTo>
                  <a:lnTo>
                    <a:pt x="2910637" y="200876"/>
                  </a:lnTo>
                  <a:lnTo>
                    <a:pt x="2910637" y="202260"/>
                  </a:lnTo>
                  <a:lnTo>
                    <a:pt x="2910637" y="200876"/>
                  </a:lnTo>
                  <a:lnTo>
                    <a:pt x="2910637" y="202260"/>
                  </a:lnTo>
                  <a:lnTo>
                    <a:pt x="2910637" y="200876"/>
                  </a:lnTo>
                  <a:lnTo>
                    <a:pt x="2910739" y="200876"/>
                  </a:lnTo>
                  <a:lnTo>
                    <a:pt x="2910739" y="202260"/>
                  </a:lnTo>
                  <a:lnTo>
                    <a:pt x="2910739" y="200228"/>
                  </a:lnTo>
                  <a:lnTo>
                    <a:pt x="2910739" y="200876"/>
                  </a:lnTo>
                  <a:lnTo>
                    <a:pt x="2910739" y="200228"/>
                  </a:lnTo>
                  <a:lnTo>
                    <a:pt x="2910790" y="200228"/>
                  </a:lnTo>
                  <a:lnTo>
                    <a:pt x="2910790" y="198831"/>
                  </a:lnTo>
                  <a:lnTo>
                    <a:pt x="2910840" y="198831"/>
                  </a:lnTo>
                  <a:lnTo>
                    <a:pt x="2910840" y="200228"/>
                  </a:lnTo>
                  <a:lnTo>
                    <a:pt x="2910840" y="198831"/>
                  </a:lnTo>
                  <a:lnTo>
                    <a:pt x="2910840" y="200876"/>
                  </a:lnTo>
                  <a:lnTo>
                    <a:pt x="2910891" y="200876"/>
                  </a:lnTo>
                  <a:lnTo>
                    <a:pt x="2910891" y="200228"/>
                  </a:lnTo>
                  <a:lnTo>
                    <a:pt x="2910891" y="200876"/>
                  </a:lnTo>
                  <a:lnTo>
                    <a:pt x="2910891" y="200228"/>
                  </a:lnTo>
                  <a:lnTo>
                    <a:pt x="2910891" y="202260"/>
                  </a:lnTo>
                  <a:lnTo>
                    <a:pt x="2910980" y="202260"/>
                  </a:lnTo>
                  <a:lnTo>
                    <a:pt x="2910980" y="200228"/>
                  </a:lnTo>
                  <a:lnTo>
                    <a:pt x="2910980" y="202260"/>
                  </a:lnTo>
                  <a:lnTo>
                    <a:pt x="2911031" y="202260"/>
                  </a:lnTo>
                  <a:lnTo>
                    <a:pt x="2911031" y="200876"/>
                  </a:lnTo>
                  <a:lnTo>
                    <a:pt x="2911031" y="202260"/>
                  </a:lnTo>
                  <a:lnTo>
                    <a:pt x="2911082" y="202260"/>
                  </a:lnTo>
                  <a:lnTo>
                    <a:pt x="2911082" y="200876"/>
                  </a:lnTo>
                  <a:lnTo>
                    <a:pt x="2911082" y="202260"/>
                  </a:lnTo>
                  <a:lnTo>
                    <a:pt x="2911133" y="202260"/>
                  </a:lnTo>
                  <a:lnTo>
                    <a:pt x="2911133" y="200876"/>
                  </a:lnTo>
                  <a:lnTo>
                    <a:pt x="2911133" y="202260"/>
                  </a:lnTo>
                  <a:lnTo>
                    <a:pt x="2911133" y="200228"/>
                  </a:lnTo>
                  <a:lnTo>
                    <a:pt x="2911234" y="200228"/>
                  </a:lnTo>
                  <a:lnTo>
                    <a:pt x="2911234" y="200876"/>
                  </a:lnTo>
                  <a:lnTo>
                    <a:pt x="2911234" y="199530"/>
                  </a:lnTo>
                  <a:lnTo>
                    <a:pt x="2911285" y="199530"/>
                  </a:lnTo>
                  <a:lnTo>
                    <a:pt x="2911285" y="198831"/>
                  </a:lnTo>
                  <a:lnTo>
                    <a:pt x="2911285" y="200228"/>
                  </a:lnTo>
                  <a:lnTo>
                    <a:pt x="2911285" y="199530"/>
                  </a:lnTo>
                  <a:lnTo>
                    <a:pt x="2911336" y="199530"/>
                  </a:lnTo>
                  <a:lnTo>
                    <a:pt x="2911336" y="198831"/>
                  </a:lnTo>
                  <a:lnTo>
                    <a:pt x="2911336" y="200876"/>
                  </a:lnTo>
                  <a:lnTo>
                    <a:pt x="2911336" y="200228"/>
                  </a:lnTo>
                  <a:lnTo>
                    <a:pt x="2911437" y="200228"/>
                  </a:lnTo>
                  <a:lnTo>
                    <a:pt x="2911437" y="199530"/>
                  </a:lnTo>
                  <a:lnTo>
                    <a:pt x="2911437" y="202260"/>
                  </a:lnTo>
                  <a:lnTo>
                    <a:pt x="2911437" y="200228"/>
                  </a:lnTo>
                  <a:lnTo>
                    <a:pt x="2911476" y="200228"/>
                  </a:lnTo>
                  <a:lnTo>
                    <a:pt x="2911476" y="202260"/>
                  </a:lnTo>
                  <a:lnTo>
                    <a:pt x="2911476" y="200876"/>
                  </a:lnTo>
                  <a:lnTo>
                    <a:pt x="2911526" y="200876"/>
                  </a:lnTo>
                  <a:lnTo>
                    <a:pt x="2911526" y="202260"/>
                  </a:lnTo>
                  <a:lnTo>
                    <a:pt x="2911526" y="200876"/>
                  </a:lnTo>
                  <a:lnTo>
                    <a:pt x="2911526" y="202260"/>
                  </a:lnTo>
                  <a:lnTo>
                    <a:pt x="2911526" y="200876"/>
                  </a:lnTo>
                  <a:lnTo>
                    <a:pt x="2911526" y="202260"/>
                  </a:lnTo>
                  <a:lnTo>
                    <a:pt x="2911577" y="202260"/>
                  </a:lnTo>
                  <a:lnTo>
                    <a:pt x="2911577" y="200876"/>
                  </a:lnTo>
                  <a:lnTo>
                    <a:pt x="2911577" y="202260"/>
                  </a:lnTo>
                  <a:lnTo>
                    <a:pt x="2911577" y="200876"/>
                  </a:lnTo>
                  <a:lnTo>
                    <a:pt x="2911577" y="202260"/>
                  </a:lnTo>
                  <a:lnTo>
                    <a:pt x="2911577" y="200876"/>
                  </a:lnTo>
                  <a:lnTo>
                    <a:pt x="2911679" y="200876"/>
                  </a:lnTo>
                  <a:lnTo>
                    <a:pt x="2911679" y="202260"/>
                  </a:lnTo>
                  <a:lnTo>
                    <a:pt x="2911679" y="200228"/>
                  </a:lnTo>
                  <a:lnTo>
                    <a:pt x="2911679" y="200876"/>
                  </a:lnTo>
                  <a:lnTo>
                    <a:pt x="2911730" y="200876"/>
                  </a:lnTo>
                  <a:lnTo>
                    <a:pt x="2911730" y="199530"/>
                  </a:lnTo>
                  <a:lnTo>
                    <a:pt x="2911730" y="200228"/>
                  </a:lnTo>
                  <a:lnTo>
                    <a:pt x="2911730" y="198831"/>
                  </a:lnTo>
                  <a:lnTo>
                    <a:pt x="2911780" y="198831"/>
                  </a:lnTo>
                  <a:lnTo>
                    <a:pt x="2911780" y="196799"/>
                  </a:lnTo>
                  <a:lnTo>
                    <a:pt x="2911780" y="198831"/>
                  </a:lnTo>
                  <a:lnTo>
                    <a:pt x="2911780" y="197447"/>
                  </a:lnTo>
                  <a:lnTo>
                    <a:pt x="2911882" y="198831"/>
                  </a:lnTo>
                  <a:lnTo>
                    <a:pt x="2911882" y="197447"/>
                  </a:lnTo>
                  <a:lnTo>
                    <a:pt x="2911882" y="198831"/>
                  </a:lnTo>
                  <a:lnTo>
                    <a:pt x="2911882" y="197447"/>
                  </a:lnTo>
                  <a:lnTo>
                    <a:pt x="2911882" y="200228"/>
                  </a:lnTo>
                  <a:lnTo>
                    <a:pt x="2911882" y="199530"/>
                  </a:lnTo>
                  <a:lnTo>
                    <a:pt x="2911933" y="199530"/>
                  </a:lnTo>
                  <a:lnTo>
                    <a:pt x="2911933" y="200228"/>
                  </a:lnTo>
                  <a:lnTo>
                    <a:pt x="2911983" y="200228"/>
                  </a:lnTo>
                  <a:lnTo>
                    <a:pt x="2911983" y="200876"/>
                  </a:lnTo>
                  <a:lnTo>
                    <a:pt x="2911983" y="200228"/>
                  </a:lnTo>
                  <a:lnTo>
                    <a:pt x="2911983" y="200876"/>
                  </a:lnTo>
                  <a:lnTo>
                    <a:pt x="2911983" y="200228"/>
                  </a:lnTo>
                  <a:lnTo>
                    <a:pt x="2911983" y="200876"/>
                  </a:lnTo>
                  <a:lnTo>
                    <a:pt x="2912022" y="200876"/>
                  </a:lnTo>
                  <a:lnTo>
                    <a:pt x="2912022" y="200228"/>
                  </a:lnTo>
                  <a:lnTo>
                    <a:pt x="2912022" y="200876"/>
                  </a:lnTo>
                  <a:lnTo>
                    <a:pt x="2912022" y="200228"/>
                  </a:lnTo>
                  <a:lnTo>
                    <a:pt x="2912022" y="202260"/>
                  </a:lnTo>
                  <a:lnTo>
                    <a:pt x="2912022" y="200876"/>
                  </a:lnTo>
                  <a:lnTo>
                    <a:pt x="2912022" y="202260"/>
                  </a:lnTo>
                  <a:lnTo>
                    <a:pt x="2912123" y="202260"/>
                  </a:lnTo>
                  <a:lnTo>
                    <a:pt x="2912123" y="200876"/>
                  </a:lnTo>
                  <a:lnTo>
                    <a:pt x="2912123" y="202260"/>
                  </a:lnTo>
                  <a:lnTo>
                    <a:pt x="2912123" y="200876"/>
                  </a:lnTo>
                  <a:lnTo>
                    <a:pt x="2912123" y="202260"/>
                  </a:lnTo>
                  <a:lnTo>
                    <a:pt x="2912174" y="200876"/>
                  </a:lnTo>
                  <a:lnTo>
                    <a:pt x="2912174" y="202260"/>
                  </a:lnTo>
                  <a:lnTo>
                    <a:pt x="2912174" y="200876"/>
                  </a:lnTo>
                  <a:lnTo>
                    <a:pt x="2912225" y="202260"/>
                  </a:lnTo>
                  <a:lnTo>
                    <a:pt x="2912225" y="198831"/>
                  </a:lnTo>
                  <a:lnTo>
                    <a:pt x="2912225" y="199530"/>
                  </a:lnTo>
                  <a:lnTo>
                    <a:pt x="2912225" y="198831"/>
                  </a:lnTo>
                  <a:lnTo>
                    <a:pt x="2912326" y="198831"/>
                  </a:lnTo>
                  <a:lnTo>
                    <a:pt x="2912326" y="197447"/>
                  </a:lnTo>
                  <a:lnTo>
                    <a:pt x="2912326" y="198831"/>
                  </a:lnTo>
                  <a:lnTo>
                    <a:pt x="2912326" y="197447"/>
                  </a:lnTo>
                  <a:lnTo>
                    <a:pt x="2912326" y="198831"/>
                  </a:lnTo>
                  <a:lnTo>
                    <a:pt x="2912326" y="197447"/>
                  </a:lnTo>
                  <a:lnTo>
                    <a:pt x="2912377" y="197447"/>
                  </a:lnTo>
                  <a:lnTo>
                    <a:pt x="2912377" y="200228"/>
                  </a:lnTo>
                  <a:lnTo>
                    <a:pt x="2912377" y="199530"/>
                  </a:lnTo>
                  <a:lnTo>
                    <a:pt x="2912377" y="200228"/>
                  </a:lnTo>
                  <a:lnTo>
                    <a:pt x="2912377" y="198831"/>
                  </a:lnTo>
                  <a:lnTo>
                    <a:pt x="2912428" y="198831"/>
                  </a:lnTo>
                  <a:lnTo>
                    <a:pt x="2912428" y="200228"/>
                  </a:lnTo>
                  <a:lnTo>
                    <a:pt x="2912428" y="199530"/>
                  </a:lnTo>
                  <a:lnTo>
                    <a:pt x="2912428" y="200228"/>
                  </a:lnTo>
                  <a:lnTo>
                    <a:pt x="2912428" y="199530"/>
                  </a:lnTo>
                  <a:lnTo>
                    <a:pt x="2912479" y="199530"/>
                  </a:lnTo>
                  <a:lnTo>
                    <a:pt x="2912479" y="200228"/>
                  </a:lnTo>
                  <a:lnTo>
                    <a:pt x="2912479" y="199530"/>
                  </a:lnTo>
                  <a:lnTo>
                    <a:pt x="2912479" y="200228"/>
                  </a:lnTo>
                  <a:lnTo>
                    <a:pt x="2912568" y="199530"/>
                  </a:lnTo>
                  <a:lnTo>
                    <a:pt x="2912568" y="200876"/>
                  </a:lnTo>
                  <a:lnTo>
                    <a:pt x="2912568" y="200228"/>
                  </a:lnTo>
                  <a:lnTo>
                    <a:pt x="2912568" y="200876"/>
                  </a:lnTo>
                  <a:lnTo>
                    <a:pt x="2912619" y="200228"/>
                  </a:lnTo>
                  <a:lnTo>
                    <a:pt x="2912619" y="200876"/>
                  </a:lnTo>
                  <a:lnTo>
                    <a:pt x="2912619" y="200228"/>
                  </a:lnTo>
                  <a:lnTo>
                    <a:pt x="2912619" y="200876"/>
                  </a:lnTo>
                  <a:lnTo>
                    <a:pt x="2912619" y="200228"/>
                  </a:lnTo>
                  <a:lnTo>
                    <a:pt x="2912669" y="200876"/>
                  </a:lnTo>
                  <a:lnTo>
                    <a:pt x="2912669" y="199530"/>
                  </a:lnTo>
                  <a:lnTo>
                    <a:pt x="2912669" y="200228"/>
                  </a:lnTo>
                  <a:lnTo>
                    <a:pt x="2912720" y="199530"/>
                  </a:lnTo>
                  <a:lnTo>
                    <a:pt x="2912720" y="197447"/>
                  </a:lnTo>
                  <a:lnTo>
                    <a:pt x="2912720" y="198831"/>
                  </a:lnTo>
                  <a:lnTo>
                    <a:pt x="2912720" y="197447"/>
                  </a:lnTo>
                  <a:lnTo>
                    <a:pt x="2912822" y="197447"/>
                  </a:lnTo>
                  <a:lnTo>
                    <a:pt x="2912822" y="199530"/>
                  </a:lnTo>
                  <a:lnTo>
                    <a:pt x="2912822" y="197447"/>
                  </a:lnTo>
                  <a:lnTo>
                    <a:pt x="2912822" y="199530"/>
                  </a:lnTo>
                  <a:lnTo>
                    <a:pt x="2912872" y="199530"/>
                  </a:lnTo>
                  <a:lnTo>
                    <a:pt x="2912872" y="200228"/>
                  </a:lnTo>
                  <a:lnTo>
                    <a:pt x="2912872" y="199530"/>
                  </a:lnTo>
                  <a:lnTo>
                    <a:pt x="2912872" y="200228"/>
                  </a:lnTo>
                  <a:lnTo>
                    <a:pt x="2912872" y="199530"/>
                  </a:lnTo>
                  <a:lnTo>
                    <a:pt x="2912872" y="200228"/>
                  </a:lnTo>
                  <a:lnTo>
                    <a:pt x="2912923" y="200228"/>
                  </a:lnTo>
                  <a:lnTo>
                    <a:pt x="2912923" y="199530"/>
                  </a:lnTo>
                  <a:lnTo>
                    <a:pt x="2912923" y="200228"/>
                  </a:lnTo>
                  <a:lnTo>
                    <a:pt x="2913025" y="200228"/>
                  </a:lnTo>
                  <a:lnTo>
                    <a:pt x="2913025" y="199530"/>
                  </a:lnTo>
                  <a:lnTo>
                    <a:pt x="2913025" y="200228"/>
                  </a:lnTo>
                  <a:lnTo>
                    <a:pt x="2913025" y="199530"/>
                  </a:lnTo>
                  <a:lnTo>
                    <a:pt x="2913063" y="200228"/>
                  </a:lnTo>
                  <a:lnTo>
                    <a:pt x="2913063" y="199530"/>
                  </a:lnTo>
                  <a:lnTo>
                    <a:pt x="2913063" y="200876"/>
                  </a:lnTo>
                  <a:lnTo>
                    <a:pt x="2913114" y="200876"/>
                  </a:lnTo>
                  <a:lnTo>
                    <a:pt x="2913114" y="200228"/>
                  </a:lnTo>
                  <a:lnTo>
                    <a:pt x="2913165" y="200228"/>
                  </a:lnTo>
                  <a:lnTo>
                    <a:pt x="2913165" y="199530"/>
                  </a:lnTo>
                  <a:lnTo>
                    <a:pt x="2913266" y="199530"/>
                  </a:lnTo>
                  <a:lnTo>
                    <a:pt x="2913266" y="196799"/>
                  </a:lnTo>
                  <a:lnTo>
                    <a:pt x="2913317" y="196799"/>
                  </a:lnTo>
                  <a:lnTo>
                    <a:pt x="2913317" y="199530"/>
                  </a:lnTo>
                  <a:lnTo>
                    <a:pt x="2913317" y="197447"/>
                  </a:lnTo>
                  <a:lnTo>
                    <a:pt x="2913317" y="198831"/>
                  </a:lnTo>
                  <a:lnTo>
                    <a:pt x="2913317" y="196799"/>
                  </a:lnTo>
                  <a:lnTo>
                    <a:pt x="2913317" y="198831"/>
                  </a:lnTo>
                  <a:lnTo>
                    <a:pt x="2913368" y="199530"/>
                  </a:lnTo>
                  <a:lnTo>
                    <a:pt x="2913368" y="200876"/>
                  </a:lnTo>
                  <a:lnTo>
                    <a:pt x="2913368" y="198831"/>
                  </a:lnTo>
                  <a:lnTo>
                    <a:pt x="2913368" y="199530"/>
                  </a:lnTo>
                  <a:lnTo>
                    <a:pt x="2913368" y="198831"/>
                  </a:lnTo>
                  <a:lnTo>
                    <a:pt x="2913368" y="199530"/>
                  </a:lnTo>
                  <a:lnTo>
                    <a:pt x="2913469" y="200228"/>
                  </a:lnTo>
                  <a:lnTo>
                    <a:pt x="2913469" y="200876"/>
                  </a:lnTo>
                  <a:lnTo>
                    <a:pt x="2913469" y="199530"/>
                  </a:lnTo>
                  <a:lnTo>
                    <a:pt x="2913469" y="200228"/>
                  </a:lnTo>
                  <a:lnTo>
                    <a:pt x="2913520" y="200228"/>
                  </a:lnTo>
                  <a:lnTo>
                    <a:pt x="2913520" y="200876"/>
                  </a:lnTo>
                  <a:lnTo>
                    <a:pt x="2913520" y="199530"/>
                  </a:lnTo>
                  <a:lnTo>
                    <a:pt x="2913520" y="200228"/>
                  </a:lnTo>
                  <a:lnTo>
                    <a:pt x="2913571" y="200228"/>
                  </a:lnTo>
                  <a:lnTo>
                    <a:pt x="2913571" y="200876"/>
                  </a:lnTo>
                  <a:lnTo>
                    <a:pt x="2913571" y="200228"/>
                  </a:lnTo>
                  <a:lnTo>
                    <a:pt x="2913571" y="200876"/>
                  </a:lnTo>
                  <a:lnTo>
                    <a:pt x="2913609" y="200876"/>
                  </a:lnTo>
                  <a:lnTo>
                    <a:pt x="2913609" y="200228"/>
                  </a:lnTo>
                  <a:lnTo>
                    <a:pt x="2913609" y="200876"/>
                  </a:lnTo>
                  <a:lnTo>
                    <a:pt x="2913609" y="199530"/>
                  </a:lnTo>
                  <a:lnTo>
                    <a:pt x="2913711" y="199530"/>
                  </a:lnTo>
                  <a:lnTo>
                    <a:pt x="2913711" y="198831"/>
                  </a:lnTo>
                  <a:lnTo>
                    <a:pt x="2913711" y="199530"/>
                  </a:lnTo>
                  <a:lnTo>
                    <a:pt x="2913711" y="198831"/>
                  </a:lnTo>
                  <a:lnTo>
                    <a:pt x="2913762" y="198831"/>
                  </a:lnTo>
                  <a:lnTo>
                    <a:pt x="2913762" y="195415"/>
                  </a:lnTo>
                  <a:lnTo>
                    <a:pt x="2913762" y="196113"/>
                  </a:lnTo>
                  <a:lnTo>
                    <a:pt x="2913812" y="196113"/>
                  </a:lnTo>
                  <a:lnTo>
                    <a:pt x="2913812" y="197447"/>
                  </a:lnTo>
                  <a:lnTo>
                    <a:pt x="2913812" y="196113"/>
                  </a:lnTo>
                  <a:lnTo>
                    <a:pt x="2913812" y="199530"/>
                  </a:lnTo>
                  <a:lnTo>
                    <a:pt x="2913914" y="199530"/>
                  </a:lnTo>
                  <a:lnTo>
                    <a:pt x="2913914" y="200228"/>
                  </a:lnTo>
                  <a:lnTo>
                    <a:pt x="2913914" y="197447"/>
                  </a:lnTo>
                  <a:lnTo>
                    <a:pt x="2913914" y="200228"/>
                  </a:lnTo>
                  <a:lnTo>
                    <a:pt x="2913965" y="200228"/>
                  </a:lnTo>
                  <a:lnTo>
                    <a:pt x="2913965" y="198831"/>
                  </a:lnTo>
                  <a:lnTo>
                    <a:pt x="2913965" y="200228"/>
                  </a:lnTo>
                  <a:lnTo>
                    <a:pt x="2913965" y="199530"/>
                  </a:lnTo>
                  <a:lnTo>
                    <a:pt x="2913965" y="200228"/>
                  </a:lnTo>
                  <a:lnTo>
                    <a:pt x="2914015" y="200228"/>
                  </a:lnTo>
                  <a:lnTo>
                    <a:pt x="2914015" y="199530"/>
                  </a:lnTo>
                  <a:lnTo>
                    <a:pt x="2914015" y="200228"/>
                  </a:lnTo>
                  <a:lnTo>
                    <a:pt x="2914066" y="200228"/>
                  </a:lnTo>
                  <a:lnTo>
                    <a:pt x="2914066" y="200876"/>
                  </a:lnTo>
                  <a:lnTo>
                    <a:pt x="2914155" y="200876"/>
                  </a:lnTo>
                  <a:lnTo>
                    <a:pt x="2914155" y="200228"/>
                  </a:lnTo>
                  <a:lnTo>
                    <a:pt x="2914206" y="200228"/>
                  </a:lnTo>
                  <a:lnTo>
                    <a:pt x="2914206" y="199530"/>
                  </a:lnTo>
                  <a:lnTo>
                    <a:pt x="2914206" y="200228"/>
                  </a:lnTo>
                  <a:lnTo>
                    <a:pt x="2914206" y="198831"/>
                  </a:lnTo>
                  <a:lnTo>
                    <a:pt x="2914257" y="198831"/>
                  </a:lnTo>
                  <a:lnTo>
                    <a:pt x="2914257" y="197447"/>
                  </a:lnTo>
                  <a:lnTo>
                    <a:pt x="2914257" y="198831"/>
                  </a:lnTo>
                  <a:lnTo>
                    <a:pt x="2914257" y="197447"/>
                  </a:lnTo>
                  <a:lnTo>
                    <a:pt x="2914257" y="198831"/>
                  </a:lnTo>
                  <a:lnTo>
                    <a:pt x="2914257" y="196799"/>
                  </a:lnTo>
                  <a:lnTo>
                    <a:pt x="2914257" y="197447"/>
                  </a:lnTo>
                  <a:lnTo>
                    <a:pt x="2914308" y="197447"/>
                  </a:lnTo>
                  <a:lnTo>
                    <a:pt x="2914308" y="198831"/>
                  </a:lnTo>
                  <a:lnTo>
                    <a:pt x="2914308" y="196799"/>
                  </a:lnTo>
                  <a:lnTo>
                    <a:pt x="2914308" y="199530"/>
                  </a:lnTo>
                  <a:lnTo>
                    <a:pt x="2914409" y="199530"/>
                  </a:lnTo>
                  <a:lnTo>
                    <a:pt x="2914409" y="197447"/>
                  </a:lnTo>
                  <a:lnTo>
                    <a:pt x="2914409" y="199530"/>
                  </a:lnTo>
                  <a:lnTo>
                    <a:pt x="2914460" y="198831"/>
                  </a:lnTo>
                  <a:lnTo>
                    <a:pt x="2914460" y="199530"/>
                  </a:lnTo>
                  <a:lnTo>
                    <a:pt x="2914511" y="199530"/>
                  </a:lnTo>
                  <a:lnTo>
                    <a:pt x="2914511" y="200228"/>
                  </a:lnTo>
                  <a:lnTo>
                    <a:pt x="2914511" y="199530"/>
                  </a:lnTo>
                  <a:lnTo>
                    <a:pt x="2914511" y="200228"/>
                  </a:lnTo>
                  <a:lnTo>
                    <a:pt x="2914511" y="199530"/>
                  </a:lnTo>
                  <a:lnTo>
                    <a:pt x="2914612" y="200228"/>
                  </a:lnTo>
                  <a:lnTo>
                    <a:pt x="2914651" y="200228"/>
                  </a:lnTo>
                  <a:lnTo>
                    <a:pt x="2914651" y="200876"/>
                  </a:lnTo>
                  <a:lnTo>
                    <a:pt x="2914651" y="199530"/>
                  </a:lnTo>
                  <a:lnTo>
                    <a:pt x="2914651" y="200228"/>
                  </a:lnTo>
                  <a:lnTo>
                    <a:pt x="2914651" y="199530"/>
                  </a:lnTo>
                  <a:lnTo>
                    <a:pt x="2914701" y="199530"/>
                  </a:lnTo>
                  <a:lnTo>
                    <a:pt x="2914701" y="197447"/>
                  </a:lnTo>
                  <a:lnTo>
                    <a:pt x="2914752" y="197447"/>
                  </a:lnTo>
                  <a:lnTo>
                    <a:pt x="2914752" y="196113"/>
                  </a:lnTo>
                  <a:lnTo>
                    <a:pt x="2914752" y="197447"/>
                  </a:lnTo>
                  <a:lnTo>
                    <a:pt x="2914854" y="198831"/>
                  </a:lnTo>
                  <a:lnTo>
                    <a:pt x="2914854" y="196113"/>
                  </a:lnTo>
                  <a:lnTo>
                    <a:pt x="2914854" y="199530"/>
                  </a:lnTo>
                  <a:lnTo>
                    <a:pt x="2914905" y="199530"/>
                  </a:lnTo>
                  <a:lnTo>
                    <a:pt x="2914905" y="198831"/>
                  </a:lnTo>
                  <a:lnTo>
                    <a:pt x="2914905" y="199530"/>
                  </a:lnTo>
                  <a:lnTo>
                    <a:pt x="2914905" y="197447"/>
                  </a:lnTo>
                  <a:lnTo>
                    <a:pt x="2914905" y="199530"/>
                  </a:lnTo>
                  <a:lnTo>
                    <a:pt x="2914905" y="198831"/>
                  </a:lnTo>
                  <a:lnTo>
                    <a:pt x="2914905" y="199530"/>
                  </a:lnTo>
                  <a:lnTo>
                    <a:pt x="2914955" y="199530"/>
                  </a:lnTo>
                  <a:lnTo>
                    <a:pt x="2914955" y="198831"/>
                  </a:lnTo>
                  <a:lnTo>
                    <a:pt x="2914955" y="199530"/>
                  </a:lnTo>
                  <a:lnTo>
                    <a:pt x="2915057" y="199530"/>
                  </a:lnTo>
                  <a:lnTo>
                    <a:pt x="2915057" y="198831"/>
                  </a:lnTo>
                  <a:lnTo>
                    <a:pt x="2915057" y="200228"/>
                  </a:lnTo>
                  <a:lnTo>
                    <a:pt x="2915057" y="199530"/>
                  </a:lnTo>
                  <a:lnTo>
                    <a:pt x="2915108" y="199530"/>
                  </a:lnTo>
                  <a:lnTo>
                    <a:pt x="2915108" y="200876"/>
                  </a:lnTo>
                  <a:lnTo>
                    <a:pt x="2915108" y="200228"/>
                  </a:lnTo>
                  <a:lnTo>
                    <a:pt x="2915108" y="200876"/>
                  </a:lnTo>
                  <a:lnTo>
                    <a:pt x="2915108" y="200228"/>
                  </a:lnTo>
                  <a:lnTo>
                    <a:pt x="2915158" y="200228"/>
                  </a:lnTo>
                  <a:lnTo>
                    <a:pt x="2915158" y="200876"/>
                  </a:lnTo>
                  <a:lnTo>
                    <a:pt x="2915158" y="199530"/>
                  </a:lnTo>
                  <a:lnTo>
                    <a:pt x="2915197" y="199530"/>
                  </a:lnTo>
                  <a:lnTo>
                    <a:pt x="2915197" y="198831"/>
                  </a:lnTo>
                  <a:lnTo>
                    <a:pt x="2915197" y="199530"/>
                  </a:lnTo>
                  <a:lnTo>
                    <a:pt x="2915197" y="198831"/>
                  </a:lnTo>
                  <a:lnTo>
                    <a:pt x="2915298" y="197447"/>
                  </a:lnTo>
                  <a:lnTo>
                    <a:pt x="2915298" y="196799"/>
                  </a:lnTo>
                  <a:lnTo>
                    <a:pt x="2915298" y="198831"/>
                  </a:lnTo>
                  <a:lnTo>
                    <a:pt x="2915298" y="197447"/>
                  </a:lnTo>
                  <a:lnTo>
                    <a:pt x="2915349" y="196799"/>
                  </a:lnTo>
                  <a:lnTo>
                    <a:pt x="2915349" y="196113"/>
                  </a:lnTo>
                  <a:lnTo>
                    <a:pt x="2915349" y="200228"/>
                  </a:lnTo>
                  <a:lnTo>
                    <a:pt x="2915349" y="198831"/>
                  </a:lnTo>
                  <a:lnTo>
                    <a:pt x="2915400" y="197447"/>
                  </a:lnTo>
                  <a:lnTo>
                    <a:pt x="2915400" y="196799"/>
                  </a:lnTo>
                  <a:lnTo>
                    <a:pt x="2915400" y="199530"/>
                  </a:lnTo>
                  <a:lnTo>
                    <a:pt x="2915400" y="196799"/>
                  </a:lnTo>
                  <a:lnTo>
                    <a:pt x="2915501" y="196799"/>
                  </a:lnTo>
                  <a:lnTo>
                    <a:pt x="2915501" y="198831"/>
                  </a:lnTo>
                  <a:lnTo>
                    <a:pt x="2915552" y="198831"/>
                  </a:lnTo>
                  <a:lnTo>
                    <a:pt x="2915552" y="199530"/>
                  </a:lnTo>
                  <a:lnTo>
                    <a:pt x="2915552" y="198831"/>
                  </a:lnTo>
                  <a:lnTo>
                    <a:pt x="2915552" y="199530"/>
                  </a:lnTo>
                  <a:lnTo>
                    <a:pt x="2915552" y="198831"/>
                  </a:lnTo>
                  <a:lnTo>
                    <a:pt x="2915552" y="199530"/>
                  </a:lnTo>
                  <a:lnTo>
                    <a:pt x="2915603" y="199530"/>
                  </a:lnTo>
                  <a:lnTo>
                    <a:pt x="2915603" y="200228"/>
                  </a:lnTo>
                  <a:lnTo>
                    <a:pt x="2915603" y="199530"/>
                  </a:lnTo>
                  <a:lnTo>
                    <a:pt x="2915654" y="199530"/>
                  </a:lnTo>
                  <a:lnTo>
                    <a:pt x="2915654" y="198831"/>
                  </a:lnTo>
                  <a:lnTo>
                    <a:pt x="2915654" y="199530"/>
                  </a:lnTo>
                  <a:lnTo>
                    <a:pt x="2915654" y="198831"/>
                  </a:lnTo>
                  <a:lnTo>
                    <a:pt x="2915743" y="198831"/>
                  </a:lnTo>
                  <a:lnTo>
                    <a:pt x="2915743" y="199530"/>
                  </a:lnTo>
                  <a:lnTo>
                    <a:pt x="2915743" y="197447"/>
                  </a:lnTo>
                  <a:lnTo>
                    <a:pt x="2915794" y="197447"/>
                  </a:lnTo>
                  <a:lnTo>
                    <a:pt x="2915794" y="199530"/>
                  </a:lnTo>
                  <a:lnTo>
                    <a:pt x="2915794" y="197447"/>
                  </a:lnTo>
                  <a:lnTo>
                    <a:pt x="2915844" y="197447"/>
                  </a:lnTo>
                  <a:lnTo>
                    <a:pt x="2915844" y="200876"/>
                  </a:lnTo>
                  <a:lnTo>
                    <a:pt x="2915844" y="198831"/>
                  </a:lnTo>
                  <a:lnTo>
                    <a:pt x="2915844" y="199530"/>
                  </a:lnTo>
                  <a:lnTo>
                    <a:pt x="2915895" y="199530"/>
                  </a:lnTo>
                  <a:lnTo>
                    <a:pt x="2915895" y="200876"/>
                  </a:lnTo>
                  <a:lnTo>
                    <a:pt x="2915895" y="199530"/>
                  </a:lnTo>
                  <a:lnTo>
                    <a:pt x="2915895" y="200228"/>
                  </a:lnTo>
                  <a:lnTo>
                    <a:pt x="2915997" y="200228"/>
                  </a:lnTo>
                  <a:lnTo>
                    <a:pt x="2915997" y="199530"/>
                  </a:lnTo>
                  <a:lnTo>
                    <a:pt x="2915997" y="200228"/>
                  </a:lnTo>
                  <a:lnTo>
                    <a:pt x="2915997" y="199530"/>
                  </a:lnTo>
                  <a:lnTo>
                    <a:pt x="2915997" y="200228"/>
                  </a:lnTo>
                  <a:lnTo>
                    <a:pt x="2916047" y="200228"/>
                  </a:lnTo>
                  <a:lnTo>
                    <a:pt x="2916047" y="200876"/>
                  </a:lnTo>
                  <a:lnTo>
                    <a:pt x="2916098" y="200228"/>
                  </a:lnTo>
                  <a:lnTo>
                    <a:pt x="2916098" y="200876"/>
                  </a:lnTo>
                  <a:lnTo>
                    <a:pt x="2916098" y="200228"/>
                  </a:lnTo>
                  <a:lnTo>
                    <a:pt x="2916200" y="200228"/>
                  </a:lnTo>
                  <a:lnTo>
                    <a:pt x="2916200" y="199530"/>
                  </a:lnTo>
                  <a:lnTo>
                    <a:pt x="2916238" y="199530"/>
                  </a:lnTo>
                  <a:lnTo>
                    <a:pt x="2916238" y="197447"/>
                  </a:lnTo>
                  <a:lnTo>
                    <a:pt x="2916238" y="198831"/>
                  </a:lnTo>
                  <a:lnTo>
                    <a:pt x="2916289" y="199530"/>
                  </a:lnTo>
                  <a:lnTo>
                    <a:pt x="2916289" y="200228"/>
                  </a:lnTo>
                  <a:lnTo>
                    <a:pt x="2916289" y="199530"/>
                  </a:lnTo>
                  <a:lnTo>
                    <a:pt x="2916289" y="200228"/>
                  </a:lnTo>
                  <a:lnTo>
                    <a:pt x="2916289" y="198831"/>
                  </a:lnTo>
                  <a:lnTo>
                    <a:pt x="2916289" y="200876"/>
                  </a:lnTo>
                  <a:lnTo>
                    <a:pt x="2916340" y="202260"/>
                  </a:lnTo>
                  <a:lnTo>
                    <a:pt x="2916340" y="200876"/>
                  </a:lnTo>
                  <a:lnTo>
                    <a:pt x="2916340" y="202260"/>
                  </a:lnTo>
                  <a:lnTo>
                    <a:pt x="2916340" y="200228"/>
                  </a:lnTo>
                  <a:lnTo>
                    <a:pt x="2916340" y="200876"/>
                  </a:lnTo>
                  <a:lnTo>
                    <a:pt x="2916441" y="200876"/>
                  </a:lnTo>
                  <a:lnTo>
                    <a:pt x="2916441" y="200228"/>
                  </a:lnTo>
                  <a:lnTo>
                    <a:pt x="2916441" y="202260"/>
                  </a:lnTo>
                  <a:lnTo>
                    <a:pt x="2916441" y="200876"/>
                  </a:lnTo>
                  <a:lnTo>
                    <a:pt x="2916492" y="202260"/>
                  </a:lnTo>
                  <a:lnTo>
                    <a:pt x="2916492" y="200876"/>
                  </a:lnTo>
                  <a:lnTo>
                    <a:pt x="2916543" y="200876"/>
                  </a:lnTo>
                  <a:lnTo>
                    <a:pt x="2916543" y="202260"/>
                  </a:lnTo>
                  <a:lnTo>
                    <a:pt x="2916543" y="200876"/>
                  </a:lnTo>
                  <a:lnTo>
                    <a:pt x="2916543" y="202260"/>
                  </a:lnTo>
                  <a:lnTo>
                    <a:pt x="2916543" y="200876"/>
                  </a:lnTo>
                  <a:lnTo>
                    <a:pt x="2916543" y="202260"/>
                  </a:lnTo>
                  <a:lnTo>
                    <a:pt x="2916543" y="200876"/>
                  </a:lnTo>
                  <a:lnTo>
                    <a:pt x="2916543" y="202260"/>
                  </a:lnTo>
                  <a:lnTo>
                    <a:pt x="2916543" y="200876"/>
                  </a:lnTo>
                  <a:lnTo>
                    <a:pt x="2916644" y="200876"/>
                  </a:lnTo>
                  <a:lnTo>
                    <a:pt x="2916644" y="200228"/>
                  </a:lnTo>
                  <a:lnTo>
                    <a:pt x="2916644" y="200876"/>
                  </a:lnTo>
                  <a:lnTo>
                    <a:pt x="2916644" y="200228"/>
                  </a:lnTo>
                  <a:lnTo>
                    <a:pt x="2916695" y="200228"/>
                  </a:lnTo>
                  <a:lnTo>
                    <a:pt x="2916695" y="197447"/>
                  </a:lnTo>
                  <a:lnTo>
                    <a:pt x="2916746" y="197447"/>
                  </a:lnTo>
                  <a:lnTo>
                    <a:pt x="2916746" y="196799"/>
                  </a:lnTo>
                  <a:lnTo>
                    <a:pt x="2916746" y="198831"/>
                  </a:lnTo>
                  <a:lnTo>
                    <a:pt x="2916784" y="199530"/>
                  </a:lnTo>
                  <a:lnTo>
                    <a:pt x="2916784" y="196799"/>
                  </a:lnTo>
                  <a:lnTo>
                    <a:pt x="2916784" y="200228"/>
                  </a:lnTo>
                  <a:lnTo>
                    <a:pt x="2916886" y="200228"/>
                  </a:lnTo>
                  <a:lnTo>
                    <a:pt x="2916886" y="198831"/>
                  </a:lnTo>
                  <a:lnTo>
                    <a:pt x="2916886" y="200228"/>
                  </a:lnTo>
                  <a:lnTo>
                    <a:pt x="2916937" y="200228"/>
                  </a:lnTo>
                  <a:lnTo>
                    <a:pt x="2916937" y="199530"/>
                  </a:lnTo>
                  <a:lnTo>
                    <a:pt x="2916937" y="200876"/>
                  </a:lnTo>
                  <a:lnTo>
                    <a:pt x="2916937" y="200228"/>
                  </a:lnTo>
                  <a:lnTo>
                    <a:pt x="2916987" y="200228"/>
                  </a:lnTo>
                  <a:lnTo>
                    <a:pt x="2916987" y="202260"/>
                  </a:lnTo>
                  <a:lnTo>
                    <a:pt x="2916987" y="200876"/>
                  </a:lnTo>
                  <a:lnTo>
                    <a:pt x="2917089" y="202260"/>
                  </a:lnTo>
                  <a:lnTo>
                    <a:pt x="2917089" y="200228"/>
                  </a:lnTo>
                  <a:lnTo>
                    <a:pt x="2917089" y="200876"/>
                  </a:lnTo>
                  <a:lnTo>
                    <a:pt x="2917140" y="200876"/>
                  </a:lnTo>
                  <a:lnTo>
                    <a:pt x="2917140" y="200228"/>
                  </a:lnTo>
                  <a:lnTo>
                    <a:pt x="2917190" y="200228"/>
                  </a:lnTo>
                  <a:lnTo>
                    <a:pt x="2917190" y="199530"/>
                  </a:lnTo>
                  <a:lnTo>
                    <a:pt x="2917190" y="200228"/>
                  </a:lnTo>
                  <a:lnTo>
                    <a:pt x="2917190" y="198831"/>
                  </a:lnTo>
                  <a:lnTo>
                    <a:pt x="2917190" y="199530"/>
                  </a:lnTo>
                  <a:lnTo>
                    <a:pt x="2917241" y="198831"/>
                  </a:lnTo>
                  <a:lnTo>
                    <a:pt x="2917241" y="196799"/>
                  </a:lnTo>
                  <a:lnTo>
                    <a:pt x="2917241" y="199530"/>
                  </a:lnTo>
                  <a:lnTo>
                    <a:pt x="2917241" y="198831"/>
                  </a:lnTo>
                  <a:lnTo>
                    <a:pt x="2917330" y="198831"/>
                  </a:lnTo>
                  <a:lnTo>
                    <a:pt x="2917330" y="196799"/>
                  </a:lnTo>
                  <a:lnTo>
                    <a:pt x="2917330" y="199530"/>
                  </a:lnTo>
                  <a:lnTo>
                    <a:pt x="2917330" y="198831"/>
                  </a:lnTo>
                  <a:lnTo>
                    <a:pt x="2917381" y="198831"/>
                  </a:lnTo>
                  <a:lnTo>
                    <a:pt x="2917381" y="200228"/>
                  </a:lnTo>
                  <a:lnTo>
                    <a:pt x="2917432" y="199530"/>
                  </a:lnTo>
                  <a:lnTo>
                    <a:pt x="2917432" y="198831"/>
                  </a:lnTo>
                  <a:lnTo>
                    <a:pt x="2917432" y="199530"/>
                  </a:lnTo>
                  <a:lnTo>
                    <a:pt x="2917432" y="198831"/>
                  </a:lnTo>
                  <a:lnTo>
                    <a:pt x="2917432" y="199530"/>
                  </a:lnTo>
                  <a:lnTo>
                    <a:pt x="2917432" y="198831"/>
                  </a:lnTo>
                  <a:lnTo>
                    <a:pt x="2917432" y="199530"/>
                  </a:lnTo>
                  <a:lnTo>
                    <a:pt x="2917432" y="198831"/>
                  </a:lnTo>
                  <a:lnTo>
                    <a:pt x="2917432" y="199530"/>
                  </a:lnTo>
                  <a:lnTo>
                    <a:pt x="2917432" y="198831"/>
                  </a:lnTo>
                  <a:lnTo>
                    <a:pt x="2917432" y="200228"/>
                  </a:lnTo>
                  <a:lnTo>
                    <a:pt x="2917483" y="200228"/>
                  </a:lnTo>
                  <a:lnTo>
                    <a:pt x="2917483" y="200876"/>
                  </a:lnTo>
                  <a:lnTo>
                    <a:pt x="2917483" y="200228"/>
                  </a:lnTo>
                  <a:lnTo>
                    <a:pt x="2917483" y="200876"/>
                  </a:lnTo>
                  <a:lnTo>
                    <a:pt x="2917483" y="200228"/>
                  </a:lnTo>
                  <a:lnTo>
                    <a:pt x="2917483" y="200876"/>
                  </a:lnTo>
                  <a:lnTo>
                    <a:pt x="2917635" y="200876"/>
                  </a:lnTo>
                  <a:lnTo>
                    <a:pt x="2917635" y="200228"/>
                  </a:lnTo>
                  <a:lnTo>
                    <a:pt x="2917635" y="200876"/>
                  </a:lnTo>
                  <a:lnTo>
                    <a:pt x="2917635" y="200228"/>
                  </a:lnTo>
                  <a:lnTo>
                    <a:pt x="2917686" y="200228"/>
                  </a:lnTo>
                  <a:lnTo>
                    <a:pt x="2917686" y="198831"/>
                  </a:lnTo>
                  <a:lnTo>
                    <a:pt x="2917686" y="199530"/>
                  </a:lnTo>
                  <a:lnTo>
                    <a:pt x="2917686" y="198831"/>
                  </a:lnTo>
                  <a:lnTo>
                    <a:pt x="2917787" y="198831"/>
                  </a:lnTo>
                  <a:lnTo>
                    <a:pt x="2917787" y="196799"/>
                  </a:lnTo>
                  <a:lnTo>
                    <a:pt x="2917787" y="197447"/>
                  </a:lnTo>
                  <a:lnTo>
                    <a:pt x="2917787" y="196799"/>
                  </a:lnTo>
                  <a:lnTo>
                    <a:pt x="2917787" y="197447"/>
                  </a:lnTo>
                  <a:lnTo>
                    <a:pt x="2917787" y="196799"/>
                  </a:lnTo>
                  <a:lnTo>
                    <a:pt x="2917787" y="197447"/>
                  </a:lnTo>
                  <a:lnTo>
                    <a:pt x="2917787" y="196799"/>
                  </a:lnTo>
                  <a:lnTo>
                    <a:pt x="2917787" y="198831"/>
                  </a:lnTo>
                  <a:lnTo>
                    <a:pt x="2917826" y="197447"/>
                  </a:lnTo>
                  <a:lnTo>
                    <a:pt x="2917826" y="196799"/>
                  </a:lnTo>
                  <a:lnTo>
                    <a:pt x="2917826" y="198831"/>
                  </a:lnTo>
                  <a:lnTo>
                    <a:pt x="2917876" y="198831"/>
                  </a:lnTo>
                  <a:lnTo>
                    <a:pt x="2917876" y="199530"/>
                  </a:lnTo>
                  <a:lnTo>
                    <a:pt x="2917927" y="198831"/>
                  </a:lnTo>
                  <a:lnTo>
                    <a:pt x="2917927" y="199530"/>
                  </a:lnTo>
                  <a:lnTo>
                    <a:pt x="2917927" y="198831"/>
                  </a:lnTo>
                  <a:lnTo>
                    <a:pt x="2917927" y="199530"/>
                  </a:lnTo>
                  <a:lnTo>
                    <a:pt x="2918029" y="199530"/>
                  </a:lnTo>
                  <a:lnTo>
                    <a:pt x="2918029" y="200228"/>
                  </a:lnTo>
                  <a:lnTo>
                    <a:pt x="2918080" y="200228"/>
                  </a:lnTo>
                  <a:lnTo>
                    <a:pt x="2918080" y="200876"/>
                  </a:lnTo>
                  <a:lnTo>
                    <a:pt x="2918080" y="200228"/>
                  </a:lnTo>
                  <a:lnTo>
                    <a:pt x="2918080" y="200876"/>
                  </a:lnTo>
                  <a:lnTo>
                    <a:pt x="2918130" y="200876"/>
                  </a:lnTo>
                  <a:lnTo>
                    <a:pt x="2918130" y="200228"/>
                  </a:lnTo>
                  <a:lnTo>
                    <a:pt x="2918232" y="200228"/>
                  </a:lnTo>
                  <a:lnTo>
                    <a:pt x="2918232" y="199530"/>
                  </a:lnTo>
                  <a:lnTo>
                    <a:pt x="2918283" y="199530"/>
                  </a:lnTo>
                  <a:lnTo>
                    <a:pt x="2918283" y="197447"/>
                  </a:lnTo>
                  <a:lnTo>
                    <a:pt x="2918283" y="198831"/>
                  </a:lnTo>
                  <a:lnTo>
                    <a:pt x="2918283" y="197447"/>
                  </a:lnTo>
                  <a:lnTo>
                    <a:pt x="2918283" y="198831"/>
                  </a:lnTo>
                  <a:lnTo>
                    <a:pt x="2918333" y="198831"/>
                  </a:lnTo>
                  <a:lnTo>
                    <a:pt x="2918333" y="196799"/>
                  </a:lnTo>
                  <a:lnTo>
                    <a:pt x="2918333" y="199530"/>
                  </a:lnTo>
                  <a:lnTo>
                    <a:pt x="2918333" y="198831"/>
                  </a:lnTo>
                  <a:lnTo>
                    <a:pt x="2918372" y="199530"/>
                  </a:lnTo>
                  <a:lnTo>
                    <a:pt x="2918372" y="198831"/>
                  </a:lnTo>
                  <a:lnTo>
                    <a:pt x="2918372" y="199530"/>
                  </a:lnTo>
                  <a:lnTo>
                    <a:pt x="2918372" y="198831"/>
                  </a:lnTo>
                  <a:lnTo>
                    <a:pt x="2918372" y="200228"/>
                  </a:lnTo>
                  <a:lnTo>
                    <a:pt x="2918372" y="199530"/>
                  </a:lnTo>
                  <a:lnTo>
                    <a:pt x="2918372" y="200228"/>
                  </a:lnTo>
                  <a:lnTo>
                    <a:pt x="2918372" y="198831"/>
                  </a:lnTo>
                  <a:lnTo>
                    <a:pt x="2918473" y="198831"/>
                  </a:lnTo>
                  <a:lnTo>
                    <a:pt x="2918473" y="199530"/>
                  </a:lnTo>
                  <a:lnTo>
                    <a:pt x="2918473" y="198831"/>
                  </a:lnTo>
                  <a:lnTo>
                    <a:pt x="2918473" y="200228"/>
                  </a:lnTo>
                  <a:lnTo>
                    <a:pt x="2918524" y="199530"/>
                  </a:lnTo>
                  <a:lnTo>
                    <a:pt x="2918575" y="199530"/>
                  </a:lnTo>
                  <a:lnTo>
                    <a:pt x="2918575" y="200228"/>
                  </a:lnTo>
                  <a:lnTo>
                    <a:pt x="2918575" y="199530"/>
                  </a:lnTo>
                  <a:lnTo>
                    <a:pt x="2918575" y="200228"/>
                  </a:lnTo>
                  <a:lnTo>
                    <a:pt x="2918575" y="199530"/>
                  </a:lnTo>
                  <a:lnTo>
                    <a:pt x="2918575" y="200228"/>
                  </a:lnTo>
                  <a:lnTo>
                    <a:pt x="2918575" y="199530"/>
                  </a:lnTo>
                  <a:lnTo>
                    <a:pt x="2918676" y="199530"/>
                  </a:lnTo>
                  <a:lnTo>
                    <a:pt x="2918676" y="200228"/>
                  </a:lnTo>
                  <a:lnTo>
                    <a:pt x="2918676" y="199530"/>
                  </a:lnTo>
                  <a:lnTo>
                    <a:pt x="2918676" y="200228"/>
                  </a:lnTo>
                  <a:lnTo>
                    <a:pt x="2918676" y="199530"/>
                  </a:lnTo>
                  <a:lnTo>
                    <a:pt x="2918727" y="199530"/>
                  </a:lnTo>
                  <a:lnTo>
                    <a:pt x="2918727" y="198831"/>
                  </a:lnTo>
                  <a:lnTo>
                    <a:pt x="2918727" y="199530"/>
                  </a:lnTo>
                  <a:lnTo>
                    <a:pt x="2918727" y="198831"/>
                  </a:lnTo>
                  <a:lnTo>
                    <a:pt x="2918727" y="199530"/>
                  </a:lnTo>
                  <a:lnTo>
                    <a:pt x="2918778" y="199530"/>
                  </a:lnTo>
                  <a:lnTo>
                    <a:pt x="2918778" y="198831"/>
                  </a:lnTo>
                  <a:lnTo>
                    <a:pt x="2918778" y="200876"/>
                  </a:lnTo>
                  <a:lnTo>
                    <a:pt x="2918829" y="200876"/>
                  </a:lnTo>
                  <a:lnTo>
                    <a:pt x="2918829" y="202260"/>
                  </a:lnTo>
                  <a:lnTo>
                    <a:pt x="2918829" y="200228"/>
                  </a:lnTo>
                  <a:lnTo>
                    <a:pt x="2918829" y="200876"/>
                  </a:lnTo>
                  <a:lnTo>
                    <a:pt x="2918918" y="202260"/>
                  </a:lnTo>
                  <a:lnTo>
                    <a:pt x="2918918" y="200228"/>
                  </a:lnTo>
                  <a:lnTo>
                    <a:pt x="2918918" y="202260"/>
                  </a:lnTo>
                  <a:lnTo>
                    <a:pt x="2918918" y="200876"/>
                  </a:lnTo>
                  <a:lnTo>
                    <a:pt x="2918969" y="202260"/>
                  </a:lnTo>
                  <a:lnTo>
                    <a:pt x="2918969" y="200228"/>
                  </a:lnTo>
                  <a:lnTo>
                    <a:pt x="2918969" y="200876"/>
                  </a:lnTo>
                  <a:lnTo>
                    <a:pt x="2919019" y="202260"/>
                  </a:lnTo>
                  <a:lnTo>
                    <a:pt x="2919019" y="200228"/>
                  </a:lnTo>
                  <a:lnTo>
                    <a:pt x="2919019" y="200876"/>
                  </a:lnTo>
                  <a:lnTo>
                    <a:pt x="2919019" y="200228"/>
                  </a:lnTo>
                  <a:lnTo>
                    <a:pt x="2919019" y="200876"/>
                  </a:lnTo>
                  <a:lnTo>
                    <a:pt x="2919070" y="200228"/>
                  </a:lnTo>
                  <a:lnTo>
                    <a:pt x="2919070" y="200876"/>
                  </a:lnTo>
                  <a:lnTo>
                    <a:pt x="2919070" y="200228"/>
                  </a:lnTo>
                  <a:lnTo>
                    <a:pt x="2919070" y="200876"/>
                  </a:lnTo>
                  <a:lnTo>
                    <a:pt x="2919070" y="200228"/>
                  </a:lnTo>
                  <a:lnTo>
                    <a:pt x="2919070" y="200876"/>
                  </a:lnTo>
                  <a:lnTo>
                    <a:pt x="2919070" y="200228"/>
                  </a:lnTo>
                  <a:lnTo>
                    <a:pt x="2919172" y="200228"/>
                  </a:lnTo>
                  <a:lnTo>
                    <a:pt x="2919172" y="200876"/>
                  </a:lnTo>
                  <a:lnTo>
                    <a:pt x="2919172" y="199530"/>
                  </a:lnTo>
                  <a:lnTo>
                    <a:pt x="2919172" y="200228"/>
                  </a:lnTo>
                  <a:lnTo>
                    <a:pt x="2919172" y="199530"/>
                  </a:lnTo>
                  <a:lnTo>
                    <a:pt x="2919222" y="199530"/>
                  </a:lnTo>
                  <a:lnTo>
                    <a:pt x="2919222" y="198831"/>
                  </a:lnTo>
                  <a:lnTo>
                    <a:pt x="2919222" y="199530"/>
                  </a:lnTo>
                  <a:lnTo>
                    <a:pt x="2919222" y="198831"/>
                  </a:lnTo>
                  <a:lnTo>
                    <a:pt x="2919222" y="199530"/>
                  </a:lnTo>
                  <a:lnTo>
                    <a:pt x="2919273" y="199530"/>
                  </a:lnTo>
                  <a:lnTo>
                    <a:pt x="2919273" y="200228"/>
                  </a:lnTo>
                  <a:lnTo>
                    <a:pt x="2919273" y="199530"/>
                  </a:lnTo>
                  <a:lnTo>
                    <a:pt x="2919273" y="200876"/>
                  </a:lnTo>
                  <a:lnTo>
                    <a:pt x="2919375" y="200876"/>
                  </a:lnTo>
                  <a:lnTo>
                    <a:pt x="2919375" y="200228"/>
                  </a:lnTo>
                  <a:lnTo>
                    <a:pt x="2919375" y="200876"/>
                  </a:lnTo>
                  <a:lnTo>
                    <a:pt x="2919375" y="200228"/>
                  </a:lnTo>
                  <a:lnTo>
                    <a:pt x="2919375" y="202260"/>
                  </a:lnTo>
                  <a:lnTo>
                    <a:pt x="2919375" y="200876"/>
                  </a:lnTo>
                  <a:lnTo>
                    <a:pt x="2919413" y="200876"/>
                  </a:lnTo>
                  <a:lnTo>
                    <a:pt x="2919413" y="202260"/>
                  </a:lnTo>
                  <a:lnTo>
                    <a:pt x="2919413" y="200876"/>
                  </a:lnTo>
                  <a:lnTo>
                    <a:pt x="2919413" y="202260"/>
                  </a:lnTo>
                  <a:lnTo>
                    <a:pt x="2919464" y="200876"/>
                  </a:lnTo>
                  <a:lnTo>
                    <a:pt x="2919464" y="202260"/>
                  </a:lnTo>
                  <a:lnTo>
                    <a:pt x="2919515" y="202260"/>
                  </a:lnTo>
                  <a:lnTo>
                    <a:pt x="2919515" y="200876"/>
                  </a:lnTo>
                  <a:lnTo>
                    <a:pt x="2919515" y="202260"/>
                  </a:lnTo>
                  <a:lnTo>
                    <a:pt x="2919515" y="200876"/>
                  </a:lnTo>
                  <a:lnTo>
                    <a:pt x="2919616" y="200876"/>
                  </a:lnTo>
                  <a:lnTo>
                    <a:pt x="2919616" y="200228"/>
                  </a:lnTo>
                  <a:lnTo>
                    <a:pt x="2919616" y="200876"/>
                  </a:lnTo>
                  <a:lnTo>
                    <a:pt x="2919616" y="200228"/>
                  </a:lnTo>
                  <a:lnTo>
                    <a:pt x="2919616" y="200876"/>
                  </a:lnTo>
                  <a:lnTo>
                    <a:pt x="2919616" y="200228"/>
                  </a:lnTo>
                  <a:lnTo>
                    <a:pt x="2919667" y="200228"/>
                  </a:lnTo>
                  <a:lnTo>
                    <a:pt x="2919667" y="198831"/>
                  </a:lnTo>
                  <a:lnTo>
                    <a:pt x="2919718" y="198831"/>
                  </a:lnTo>
                  <a:lnTo>
                    <a:pt x="2919718" y="196799"/>
                  </a:lnTo>
                  <a:lnTo>
                    <a:pt x="2919718" y="199530"/>
                  </a:lnTo>
                  <a:lnTo>
                    <a:pt x="2919718" y="197447"/>
                  </a:lnTo>
                  <a:lnTo>
                    <a:pt x="2919819" y="197447"/>
                  </a:lnTo>
                  <a:lnTo>
                    <a:pt x="2919819" y="200876"/>
                  </a:lnTo>
                  <a:lnTo>
                    <a:pt x="2919819" y="199530"/>
                  </a:lnTo>
                  <a:lnTo>
                    <a:pt x="2919870" y="199530"/>
                  </a:lnTo>
                  <a:lnTo>
                    <a:pt x="2919870" y="200876"/>
                  </a:lnTo>
                  <a:lnTo>
                    <a:pt x="2919870" y="200228"/>
                  </a:lnTo>
                  <a:lnTo>
                    <a:pt x="2919870" y="200876"/>
                  </a:lnTo>
                  <a:lnTo>
                    <a:pt x="2919921" y="200228"/>
                  </a:lnTo>
                  <a:lnTo>
                    <a:pt x="2919921" y="202260"/>
                  </a:lnTo>
                  <a:lnTo>
                    <a:pt x="2919921" y="200876"/>
                  </a:lnTo>
                  <a:lnTo>
                    <a:pt x="2919921" y="202260"/>
                  </a:lnTo>
                  <a:lnTo>
                    <a:pt x="2919921" y="200876"/>
                  </a:lnTo>
                  <a:lnTo>
                    <a:pt x="2919921" y="202260"/>
                  </a:lnTo>
                  <a:lnTo>
                    <a:pt x="2919921" y="200876"/>
                  </a:lnTo>
                  <a:lnTo>
                    <a:pt x="2919959" y="202260"/>
                  </a:lnTo>
                  <a:lnTo>
                    <a:pt x="2919959" y="200876"/>
                  </a:lnTo>
                  <a:lnTo>
                    <a:pt x="2919959" y="202260"/>
                  </a:lnTo>
                  <a:lnTo>
                    <a:pt x="2920061" y="202260"/>
                  </a:lnTo>
                  <a:lnTo>
                    <a:pt x="2920061" y="202959"/>
                  </a:lnTo>
                  <a:lnTo>
                    <a:pt x="2920061" y="200876"/>
                  </a:lnTo>
                  <a:lnTo>
                    <a:pt x="2920061" y="202260"/>
                  </a:lnTo>
                  <a:lnTo>
                    <a:pt x="2920061" y="200876"/>
                  </a:lnTo>
                  <a:lnTo>
                    <a:pt x="2920061" y="202260"/>
                  </a:lnTo>
                  <a:lnTo>
                    <a:pt x="2920061" y="200876"/>
                  </a:lnTo>
                  <a:lnTo>
                    <a:pt x="2920112" y="200876"/>
                  </a:lnTo>
                  <a:lnTo>
                    <a:pt x="2920112" y="202260"/>
                  </a:lnTo>
                  <a:lnTo>
                    <a:pt x="2920112" y="200228"/>
                  </a:lnTo>
                  <a:lnTo>
                    <a:pt x="2920112" y="200876"/>
                  </a:lnTo>
                  <a:lnTo>
                    <a:pt x="2920112" y="200228"/>
                  </a:lnTo>
                  <a:lnTo>
                    <a:pt x="2920162" y="199530"/>
                  </a:lnTo>
                  <a:lnTo>
                    <a:pt x="2920162" y="200228"/>
                  </a:lnTo>
                  <a:lnTo>
                    <a:pt x="2920162" y="199530"/>
                  </a:lnTo>
                  <a:lnTo>
                    <a:pt x="2920162" y="200228"/>
                  </a:lnTo>
                  <a:lnTo>
                    <a:pt x="2920162" y="198831"/>
                  </a:lnTo>
                  <a:lnTo>
                    <a:pt x="2920162" y="199530"/>
                  </a:lnTo>
                  <a:lnTo>
                    <a:pt x="2920162" y="197447"/>
                  </a:lnTo>
                  <a:lnTo>
                    <a:pt x="2920264" y="197447"/>
                  </a:lnTo>
                  <a:lnTo>
                    <a:pt x="2920264" y="200228"/>
                  </a:lnTo>
                  <a:lnTo>
                    <a:pt x="2920264" y="198831"/>
                  </a:lnTo>
                  <a:lnTo>
                    <a:pt x="2920264" y="199530"/>
                  </a:lnTo>
                  <a:lnTo>
                    <a:pt x="2920315" y="199530"/>
                  </a:lnTo>
                  <a:lnTo>
                    <a:pt x="2920315" y="200876"/>
                  </a:lnTo>
                  <a:lnTo>
                    <a:pt x="2920315" y="199530"/>
                  </a:lnTo>
                  <a:lnTo>
                    <a:pt x="2920315" y="200228"/>
                  </a:lnTo>
                  <a:lnTo>
                    <a:pt x="2920315" y="199530"/>
                  </a:lnTo>
                  <a:lnTo>
                    <a:pt x="2920315" y="200228"/>
                  </a:lnTo>
                  <a:lnTo>
                    <a:pt x="2920365" y="200228"/>
                  </a:lnTo>
                  <a:lnTo>
                    <a:pt x="2920365" y="200876"/>
                  </a:lnTo>
                  <a:lnTo>
                    <a:pt x="2920365" y="200228"/>
                  </a:lnTo>
                  <a:lnTo>
                    <a:pt x="2920365" y="200876"/>
                  </a:lnTo>
                  <a:lnTo>
                    <a:pt x="2920416" y="202260"/>
                  </a:lnTo>
                  <a:lnTo>
                    <a:pt x="2920416" y="200876"/>
                  </a:lnTo>
                  <a:lnTo>
                    <a:pt x="2920416" y="202260"/>
                  </a:lnTo>
                  <a:lnTo>
                    <a:pt x="2920416" y="200876"/>
                  </a:lnTo>
                  <a:lnTo>
                    <a:pt x="2920416" y="202260"/>
                  </a:lnTo>
                  <a:lnTo>
                    <a:pt x="2920505" y="202260"/>
                  </a:lnTo>
                  <a:lnTo>
                    <a:pt x="2920505" y="200876"/>
                  </a:lnTo>
                  <a:lnTo>
                    <a:pt x="2920505" y="202260"/>
                  </a:lnTo>
                  <a:lnTo>
                    <a:pt x="2920505" y="200876"/>
                  </a:lnTo>
                  <a:lnTo>
                    <a:pt x="2920505" y="202260"/>
                  </a:lnTo>
                  <a:lnTo>
                    <a:pt x="2920556" y="202260"/>
                  </a:lnTo>
                  <a:lnTo>
                    <a:pt x="2920556" y="200876"/>
                  </a:lnTo>
                  <a:lnTo>
                    <a:pt x="2920556" y="202260"/>
                  </a:lnTo>
                  <a:lnTo>
                    <a:pt x="2920556" y="200876"/>
                  </a:lnTo>
                  <a:lnTo>
                    <a:pt x="2920556" y="202260"/>
                  </a:lnTo>
                  <a:lnTo>
                    <a:pt x="2920607" y="202260"/>
                  </a:lnTo>
                  <a:lnTo>
                    <a:pt x="2920607" y="200876"/>
                  </a:lnTo>
                  <a:lnTo>
                    <a:pt x="2920607" y="202260"/>
                  </a:lnTo>
                  <a:lnTo>
                    <a:pt x="2920607" y="200228"/>
                  </a:lnTo>
                  <a:lnTo>
                    <a:pt x="2920607" y="200876"/>
                  </a:lnTo>
                  <a:lnTo>
                    <a:pt x="2920607" y="200228"/>
                  </a:lnTo>
                  <a:lnTo>
                    <a:pt x="2920658" y="199530"/>
                  </a:lnTo>
                  <a:lnTo>
                    <a:pt x="2920658" y="200228"/>
                  </a:lnTo>
                  <a:lnTo>
                    <a:pt x="2920658" y="199530"/>
                  </a:lnTo>
                  <a:lnTo>
                    <a:pt x="2920658" y="200228"/>
                  </a:lnTo>
                  <a:lnTo>
                    <a:pt x="2920658" y="197447"/>
                  </a:lnTo>
                  <a:lnTo>
                    <a:pt x="2920658" y="198831"/>
                  </a:lnTo>
                  <a:lnTo>
                    <a:pt x="2920759" y="198831"/>
                  </a:lnTo>
                  <a:lnTo>
                    <a:pt x="2920759" y="200228"/>
                  </a:lnTo>
                  <a:lnTo>
                    <a:pt x="2920759" y="196799"/>
                  </a:lnTo>
                  <a:lnTo>
                    <a:pt x="2920759" y="200876"/>
                  </a:lnTo>
                  <a:lnTo>
                    <a:pt x="2920810" y="200876"/>
                  </a:lnTo>
                  <a:lnTo>
                    <a:pt x="2920810" y="198831"/>
                  </a:lnTo>
                  <a:lnTo>
                    <a:pt x="2920810" y="200876"/>
                  </a:lnTo>
                  <a:lnTo>
                    <a:pt x="2920861" y="200876"/>
                  </a:lnTo>
                  <a:lnTo>
                    <a:pt x="2920861" y="200228"/>
                  </a:lnTo>
                  <a:lnTo>
                    <a:pt x="2920861" y="200876"/>
                  </a:lnTo>
                  <a:lnTo>
                    <a:pt x="2920861" y="200228"/>
                  </a:lnTo>
                  <a:lnTo>
                    <a:pt x="2920861" y="200876"/>
                  </a:lnTo>
                  <a:lnTo>
                    <a:pt x="2920861" y="200228"/>
                  </a:lnTo>
                  <a:lnTo>
                    <a:pt x="2920861" y="200876"/>
                  </a:lnTo>
                  <a:lnTo>
                    <a:pt x="2920962" y="200876"/>
                  </a:lnTo>
                  <a:lnTo>
                    <a:pt x="2920962" y="202260"/>
                  </a:lnTo>
                  <a:lnTo>
                    <a:pt x="2920962" y="200876"/>
                  </a:lnTo>
                  <a:lnTo>
                    <a:pt x="2920962" y="202260"/>
                  </a:lnTo>
                  <a:lnTo>
                    <a:pt x="2921001" y="200876"/>
                  </a:lnTo>
                  <a:lnTo>
                    <a:pt x="2921001" y="202260"/>
                  </a:lnTo>
                  <a:lnTo>
                    <a:pt x="2921001" y="200876"/>
                  </a:lnTo>
                  <a:lnTo>
                    <a:pt x="2921001" y="202260"/>
                  </a:lnTo>
                  <a:lnTo>
                    <a:pt x="2921001" y="200876"/>
                  </a:lnTo>
                  <a:lnTo>
                    <a:pt x="2921001" y="202260"/>
                  </a:lnTo>
                  <a:lnTo>
                    <a:pt x="2921051" y="202260"/>
                  </a:lnTo>
                  <a:lnTo>
                    <a:pt x="2921051" y="200876"/>
                  </a:lnTo>
                  <a:lnTo>
                    <a:pt x="2921051" y="202260"/>
                  </a:lnTo>
                  <a:lnTo>
                    <a:pt x="2921051" y="200876"/>
                  </a:lnTo>
                  <a:lnTo>
                    <a:pt x="2921102" y="200876"/>
                  </a:lnTo>
                  <a:lnTo>
                    <a:pt x="2921102" y="200228"/>
                  </a:lnTo>
                  <a:lnTo>
                    <a:pt x="2921102" y="200876"/>
                  </a:lnTo>
                  <a:lnTo>
                    <a:pt x="2921102" y="199530"/>
                  </a:lnTo>
                  <a:lnTo>
                    <a:pt x="2921102" y="200228"/>
                  </a:lnTo>
                  <a:lnTo>
                    <a:pt x="2921102" y="199530"/>
                  </a:lnTo>
                  <a:lnTo>
                    <a:pt x="2921204" y="198831"/>
                  </a:lnTo>
                  <a:lnTo>
                    <a:pt x="2921204" y="200228"/>
                  </a:lnTo>
                  <a:lnTo>
                    <a:pt x="2921204" y="198831"/>
                  </a:lnTo>
                  <a:lnTo>
                    <a:pt x="2921255" y="198831"/>
                  </a:lnTo>
                  <a:lnTo>
                    <a:pt x="2921255" y="196799"/>
                  </a:lnTo>
                  <a:lnTo>
                    <a:pt x="2921255" y="202260"/>
                  </a:lnTo>
                  <a:lnTo>
                    <a:pt x="2921255" y="199530"/>
                  </a:lnTo>
                  <a:lnTo>
                    <a:pt x="2921305" y="199530"/>
                  </a:lnTo>
                  <a:lnTo>
                    <a:pt x="2921305" y="200876"/>
                  </a:lnTo>
                  <a:lnTo>
                    <a:pt x="2921305" y="199530"/>
                  </a:lnTo>
                  <a:lnTo>
                    <a:pt x="2921407" y="200228"/>
                  </a:lnTo>
                  <a:lnTo>
                    <a:pt x="2921407" y="199530"/>
                  </a:lnTo>
                  <a:lnTo>
                    <a:pt x="2921407" y="200228"/>
                  </a:lnTo>
                  <a:lnTo>
                    <a:pt x="2921407" y="199530"/>
                  </a:lnTo>
                  <a:lnTo>
                    <a:pt x="2921407" y="200876"/>
                  </a:lnTo>
                  <a:lnTo>
                    <a:pt x="2921407" y="200228"/>
                  </a:lnTo>
                  <a:lnTo>
                    <a:pt x="2921407" y="200876"/>
                  </a:lnTo>
                  <a:lnTo>
                    <a:pt x="2921458" y="200876"/>
                  </a:lnTo>
                  <a:lnTo>
                    <a:pt x="2921458" y="200228"/>
                  </a:lnTo>
                  <a:lnTo>
                    <a:pt x="2921547" y="200228"/>
                  </a:lnTo>
                  <a:lnTo>
                    <a:pt x="2921547" y="199530"/>
                  </a:lnTo>
                  <a:lnTo>
                    <a:pt x="2921547" y="200228"/>
                  </a:lnTo>
                  <a:lnTo>
                    <a:pt x="2921547" y="199530"/>
                  </a:lnTo>
                  <a:lnTo>
                    <a:pt x="2921547" y="200228"/>
                  </a:lnTo>
                  <a:lnTo>
                    <a:pt x="2921648" y="200228"/>
                  </a:lnTo>
                  <a:lnTo>
                    <a:pt x="2921648" y="198831"/>
                  </a:lnTo>
                  <a:lnTo>
                    <a:pt x="2921699" y="198831"/>
                  </a:lnTo>
                  <a:lnTo>
                    <a:pt x="2921699" y="200228"/>
                  </a:lnTo>
                  <a:lnTo>
                    <a:pt x="2921699" y="197447"/>
                  </a:lnTo>
                  <a:lnTo>
                    <a:pt x="2921699" y="199530"/>
                  </a:lnTo>
                  <a:lnTo>
                    <a:pt x="2921750" y="199530"/>
                  </a:lnTo>
                  <a:lnTo>
                    <a:pt x="2921750" y="200876"/>
                  </a:lnTo>
                  <a:lnTo>
                    <a:pt x="2921750" y="199530"/>
                  </a:lnTo>
                  <a:lnTo>
                    <a:pt x="2921750" y="200876"/>
                  </a:lnTo>
                  <a:lnTo>
                    <a:pt x="2921851" y="200876"/>
                  </a:lnTo>
                  <a:lnTo>
                    <a:pt x="2921851" y="202260"/>
                  </a:lnTo>
                  <a:lnTo>
                    <a:pt x="2921851" y="200876"/>
                  </a:lnTo>
                  <a:lnTo>
                    <a:pt x="2921851" y="202260"/>
                  </a:lnTo>
                  <a:lnTo>
                    <a:pt x="2921851" y="200876"/>
                  </a:lnTo>
                  <a:lnTo>
                    <a:pt x="2921902" y="200876"/>
                  </a:lnTo>
                  <a:lnTo>
                    <a:pt x="2921902" y="202260"/>
                  </a:lnTo>
                  <a:lnTo>
                    <a:pt x="2921902" y="200876"/>
                  </a:lnTo>
                  <a:lnTo>
                    <a:pt x="2921953" y="200876"/>
                  </a:lnTo>
                  <a:lnTo>
                    <a:pt x="2921953" y="202260"/>
                  </a:lnTo>
                  <a:lnTo>
                    <a:pt x="2921953" y="200876"/>
                  </a:lnTo>
                  <a:lnTo>
                    <a:pt x="2921953" y="202260"/>
                  </a:lnTo>
                  <a:lnTo>
                    <a:pt x="2921953" y="200876"/>
                  </a:lnTo>
                  <a:lnTo>
                    <a:pt x="2921953" y="202260"/>
                  </a:lnTo>
                  <a:lnTo>
                    <a:pt x="2921953" y="200876"/>
                  </a:lnTo>
                  <a:lnTo>
                    <a:pt x="2922004" y="200876"/>
                  </a:lnTo>
                  <a:lnTo>
                    <a:pt x="2922004" y="202260"/>
                  </a:lnTo>
                  <a:lnTo>
                    <a:pt x="2922004" y="200876"/>
                  </a:lnTo>
                  <a:lnTo>
                    <a:pt x="2922093" y="200876"/>
                  </a:lnTo>
                  <a:lnTo>
                    <a:pt x="2922093" y="200228"/>
                  </a:lnTo>
                  <a:lnTo>
                    <a:pt x="2922093" y="200876"/>
                  </a:lnTo>
                  <a:lnTo>
                    <a:pt x="2922093" y="200228"/>
                  </a:lnTo>
                  <a:lnTo>
                    <a:pt x="2922144" y="200228"/>
                  </a:lnTo>
                  <a:lnTo>
                    <a:pt x="2922144" y="198831"/>
                  </a:lnTo>
                  <a:lnTo>
                    <a:pt x="2922144" y="199530"/>
                  </a:lnTo>
                  <a:lnTo>
                    <a:pt x="2922194" y="200228"/>
                  </a:lnTo>
                  <a:lnTo>
                    <a:pt x="2922194" y="199530"/>
                  </a:lnTo>
                  <a:lnTo>
                    <a:pt x="2922194" y="200228"/>
                  </a:lnTo>
                  <a:lnTo>
                    <a:pt x="2922194" y="198831"/>
                  </a:lnTo>
                  <a:lnTo>
                    <a:pt x="2922194" y="202260"/>
                  </a:lnTo>
                  <a:lnTo>
                    <a:pt x="2922245" y="202260"/>
                  </a:lnTo>
                  <a:lnTo>
                    <a:pt x="2922245" y="200228"/>
                  </a:lnTo>
                  <a:lnTo>
                    <a:pt x="2922245" y="202959"/>
                  </a:lnTo>
                  <a:lnTo>
                    <a:pt x="2922347" y="202959"/>
                  </a:lnTo>
                  <a:lnTo>
                    <a:pt x="2922347" y="200876"/>
                  </a:lnTo>
                  <a:lnTo>
                    <a:pt x="2922347" y="202260"/>
                  </a:lnTo>
                  <a:lnTo>
                    <a:pt x="2922397" y="200876"/>
                  </a:lnTo>
                  <a:lnTo>
                    <a:pt x="2922397" y="202260"/>
                  </a:lnTo>
                  <a:lnTo>
                    <a:pt x="2922397" y="200876"/>
                  </a:lnTo>
                  <a:lnTo>
                    <a:pt x="2922448" y="200876"/>
                  </a:lnTo>
                  <a:lnTo>
                    <a:pt x="2922448" y="202260"/>
                  </a:lnTo>
                  <a:lnTo>
                    <a:pt x="2922448" y="200876"/>
                  </a:lnTo>
                  <a:lnTo>
                    <a:pt x="2922448" y="202260"/>
                  </a:lnTo>
                  <a:lnTo>
                    <a:pt x="2922448" y="200876"/>
                  </a:lnTo>
                  <a:lnTo>
                    <a:pt x="2922448" y="202260"/>
                  </a:lnTo>
                  <a:lnTo>
                    <a:pt x="2922448" y="200228"/>
                  </a:lnTo>
                  <a:lnTo>
                    <a:pt x="2922550" y="200228"/>
                  </a:lnTo>
                  <a:lnTo>
                    <a:pt x="2922550" y="202260"/>
                  </a:lnTo>
                  <a:lnTo>
                    <a:pt x="2922550" y="200876"/>
                  </a:lnTo>
                  <a:lnTo>
                    <a:pt x="2922588" y="200228"/>
                  </a:lnTo>
                  <a:lnTo>
                    <a:pt x="2922588" y="200876"/>
                  </a:lnTo>
                  <a:lnTo>
                    <a:pt x="2922588" y="200228"/>
                  </a:lnTo>
                  <a:lnTo>
                    <a:pt x="2922588" y="200876"/>
                  </a:lnTo>
                  <a:lnTo>
                    <a:pt x="2922588" y="198831"/>
                  </a:lnTo>
                  <a:lnTo>
                    <a:pt x="2922639" y="198831"/>
                  </a:lnTo>
                  <a:lnTo>
                    <a:pt x="2922639" y="197447"/>
                  </a:lnTo>
                  <a:lnTo>
                    <a:pt x="2922639" y="199530"/>
                  </a:lnTo>
                  <a:lnTo>
                    <a:pt x="2922690" y="199530"/>
                  </a:lnTo>
                  <a:lnTo>
                    <a:pt x="2922690" y="196799"/>
                  </a:lnTo>
                  <a:lnTo>
                    <a:pt x="2922690" y="200876"/>
                  </a:lnTo>
                  <a:lnTo>
                    <a:pt x="2922690" y="200228"/>
                  </a:lnTo>
                  <a:lnTo>
                    <a:pt x="2922690" y="200876"/>
                  </a:lnTo>
                  <a:lnTo>
                    <a:pt x="2922690" y="200228"/>
                  </a:lnTo>
                  <a:lnTo>
                    <a:pt x="2922791" y="200228"/>
                  </a:lnTo>
                  <a:lnTo>
                    <a:pt x="2922791" y="198831"/>
                  </a:lnTo>
                  <a:lnTo>
                    <a:pt x="2922791" y="200876"/>
                  </a:lnTo>
                  <a:lnTo>
                    <a:pt x="2922791" y="200228"/>
                  </a:lnTo>
                  <a:lnTo>
                    <a:pt x="2922842" y="200228"/>
                  </a:lnTo>
                  <a:lnTo>
                    <a:pt x="2922842" y="200876"/>
                  </a:lnTo>
                  <a:lnTo>
                    <a:pt x="2922842" y="200228"/>
                  </a:lnTo>
                  <a:lnTo>
                    <a:pt x="2922893" y="200876"/>
                  </a:lnTo>
                  <a:lnTo>
                    <a:pt x="2922893" y="200228"/>
                  </a:lnTo>
                  <a:lnTo>
                    <a:pt x="2922893" y="202260"/>
                  </a:lnTo>
                  <a:lnTo>
                    <a:pt x="2922994" y="202260"/>
                  </a:lnTo>
                  <a:lnTo>
                    <a:pt x="2922994" y="200876"/>
                  </a:lnTo>
                  <a:lnTo>
                    <a:pt x="2922994" y="202260"/>
                  </a:lnTo>
                  <a:lnTo>
                    <a:pt x="2922994" y="200876"/>
                  </a:lnTo>
                  <a:lnTo>
                    <a:pt x="2922994" y="202260"/>
                  </a:lnTo>
                  <a:lnTo>
                    <a:pt x="2922994" y="200876"/>
                  </a:lnTo>
                  <a:lnTo>
                    <a:pt x="2923045" y="200876"/>
                  </a:lnTo>
                  <a:lnTo>
                    <a:pt x="2923045" y="202260"/>
                  </a:lnTo>
                  <a:lnTo>
                    <a:pt x="2923045" y="200228"/>
                  </a:lnTo>
                  <a:lnTo>
                    <a:pt x="2923096" y="200228"/>
                  </a:lnTo>
                  <a:lnTo>
                    <a:pt x="2923096" y="198831"/>
                  </a:lnTo>
                  <a:lnTo>
                    <a:pt x="2923134" y="197447"/>
                  </a:lnTo>
                  <a:lnTo>
                    <a:pt x="2923134" y="196799"/>
                  </a:lnTo>
                  <a:lnTo>
                    <a:pt x="2923134" y="199530"/>
                  </a:lnTo>
                  <a:lnTo>
                    <a:pt x="2923134" y="198831"/>
                  </a:lnTo>
                  <a:lnTo>
                    <a:pt x="2923236" y="197447"/>
                  </a:lnTo>
                  <a:lnTo>
                    <a:pt x="2923236" y="200876"/>
                  </a:lnTo>
                  <a:lnTo>
                    <a:pt x="2923236" y="198831"/>
                  </a:lnTo>
                  <a:lnTo>
                    <a:pt x="2923287" y="198831"/>
                  </a:lnTo>
                  <a:lnTo>
                    <a:pt x="2923287" y="200876"/>
                  </a:lnTo>
                  <a:lnTo>
                    <a:pt x="2923287" y="200228"/>
                  </a:lnTo>
                  <a:lnTo>
                    <a:pt x="2923287" y="200876"/>
                  </a:lnTo>
                  <a:lnTo>
                    <a:pt x="2923287" y="199530"/>
                  </a:lnTo>
                  <a:lnTo>
                    <a:pt x="2923337" y="200228"/>
                  </a:lnTo>
                  <a:lnTo>
                    <a:pt x="2923337" y="200876"/>
                  </a:lnTo>
                  <a:lnTo>
                    <a:pt x="2923337" y="200228"/>
                  </a:lnTo>
                  <a:lnTo>
                    <a:pt x="2923337" y="200876"/>
                  </a:lnTo>
                  <a:lnTo>
                    <a:pt x="2923337" y="200228"/>
                  </a:lnTo>
                  <a:lnTo>
                    <a:pt x="2923337" y="200876"/>
                  </a:lnTo>
                  <a:lnTo>
                    <a:pt x="2923337" y="200228"/>
                  </a:lnTo>
                  <a:lnTo>
                    <a:pt x="2923337" y="200876"/>
                  </a:lnTo>
                  <a:lnTo>
                    <a:pt x="2923337" y="200228"/>
                  </a:lnTo>
                  <a:lnTo>
                    <a:pt x="2923439" y="200228"/>
                  </a:lnTo>
                  <a:lnTo>
                    <a:pt x="2923439" y="200876"/>
                  </a:lnTo>
                  <a:lnTo>
                    <a:pt x="2923439" y="200228"/>
                  </a:lnTo>
                  <a:lnTo>
                    <a:pt x="2923439" y="200876"/>
                  </a:lnTo>
                  <a:lnTo>
                    <a:pt x="2923439" y="200228"/>
                  </a:lnTo>
                  <a:lnTo>
                    <a:pt x="2923439" y="200876"/>
                  </a:lnTo>
                  <a:lnTo>
                    <a:pt x="2923439" y="200228"/>
                  </a:lnTo>
                  <a:lnTo>
                    <a:pt x="2923439" y="200876"/>
                  </a:lnTo>
                  <a:lnTo>
                    <a:pt x="2923490" y="200876"/>
                  </a:lnTo>
                  <a:lnTo>
                    <a:pt x="2923490" y="200228"/>
                  </a:lnTo>
                  <a:lnTo>
                    <a:pt x="2923490" y="200876"/>
                  </a:lnTo>
                  <a:lnTo>
                    <a:pt x="2923490" y="200228"/>
                  </a:lnTo>
                  <a:lnTo>
                    <a:pt x="2923490" y="200876"/>
                  </a:lnTo>
                  <a:lnTo>
                    <a:pt x="2923490" y="200228"/>
                  </a:lnTo>
                  <a:lnTo>
                    <a:pt x="2923490" y="200876"/>
                  </a:lnTo>
                  <a:lnTo>
                    <a:pt x="2923540" y="200876"/>
                  </a:lnTo>
                  <a:lnTo>
                    <a:pt x="2923540" y="200228"/>
                  </a:lnTo>
                  <a:lnTo>
                    <a:pt x="2923540" y="200876"/>
                  </a:lnTo>
                  <a:lnTo>
                    <a:pt x="2923540" y="199530"/>
                  </a:lnTo>
                  <a:lnTo>
                    <a:pt x="2923540" y="200228"/>
                  </a:lnTo>
                  <a:lnTo>
                    <a:pt x="2923540" y="199530"/>
                  </a:lnTo>
                  <a:lnTo>
                    <a:pt x="2923591" y="199530"/>
                  </a:lnTo>
                  <a:lnTo>
                    <a:pt x="2923591" y="198831"/>
                  </a:lnTo>
                  <a:lnTo>
                    <a:pt x="2923591" y="199530"/>
                  </a:lnTo>
                  <a:lnTo>
                    <a:pt x="2923591" y="196799"/>
                  </a:lnTo>
                  <a:lnTo>
                    <a:pt x="2923680" y="196799"/>
                  </a:lnTo>
                  <a:lnTo>
                    <a:pt x="2923680" y="196113"/>
                  </a:lnTo>
                  <a:lnTo>
                    <a:pt x="2923680" y="198831"/>
                  </a:lnTo>
                  <a:lnTo>
                    <a:pt x="2923680" y="197447"/>
                  </a:lnTo>
                  <a:lnTo>
                    <a:pt x="2923680" y="198831"/>
                  </a:lnTo>
                  <a:lnTo>
                    <a:pt x="2923680" y="196799"/>
                  </a:lnTo>
                  <a:lnTo>
                    <a:pt x="2923731" y="196799"/>
                  </a:lnTo>
                  <a:lnTo>
                    <a:pt x="2923731" y="196113"/>
                  </a:lnTo>
                  <a:lnTo>
                    <a:pt x="2923731" y="199530"/>
                  </a:lnTo>
                  <a:lnTo>
                    <a:pt x="2923731" y="196799"/>
                  </a:lnTo>
                  <a:lnTo>
                    <a:pt x="2923782" y="196799"/>
                  </a:lnTo>
                  <a:lnTo>
                    <a:pt x="2923782" y="200228"/>
                  </a:lnTo>
                  <a:lnTo>
                    <a:pt x="2923782" y="198831"/>
                  </a:lnTo>
                  <a:lnTo>
                    <a:pt x="2923782" y="199530"/>
                  </a:lnTo>
                  <a:lnTo>
                    <a:pt x="2923782" y="198831"/>
                  </a:lnTo>
                  <a:lnTo>
                    <a:pt x="2923833" y="198831"/>
                  </a:lnTo>
                  <a:lnTo>
                    <a:pt x="2923833" y="200228"/>
                  </a:lnTo>
                  <a:lnTo>
                    <a:pt x="2923833" y="199530"/>
                  </a:lnTo>
                  <a:lnTo>
                    <a:pt x="2923833" y="200228"/>
                  </a:lnTo>
                  <a:lnTo>
                    <a:pt x="2923833" y="199530"/>
                  </a:lnTo>
                  <a:lnTo>
                    <a:pt x="2923934" y="199530"/>
                  </a:lnTo>
                  <a:lnTo>
                    <a:pt x="2923934" y="200228"/>
                  </a:lnTo>
                  <a:lnTo>
                    <a:pt x="2923934" y="199530"/>
                  </a:lnTo>
                  <a:lnTo>
                    <a:pt x="2923934" y="200876"/>
                  </a:lnTo>
                  <a:lnTo>
                    <a:pt x="2923934" y="200228"/>
                  </a:lnTo>
                  <a:lnTo>
                    <a:pt x="2923985" y="200876"/>
                  </a:lnTo>
                  <a:lnTo>
                    <a:pt x="2924036" y="200876"/>
                  </a:lnTo>
                  <a:lnTo>
                    <a:pt x="2924036" y="200228"/>
                  </a:lnTo>
                  <a:lnTo>
                    <a:pt x="2924036" y="200876"/>
                  </a:lnTo>
                  <a:lnTo>
                    <a:pt x="2924036" y="200228"/>
                  </a:lnTo>
                  <a:lnTo>
                    <a:pt x="2924137" y="200228"/>
                  </a:lnTo>
                  <a:lnTo>
                    <a:pt x="2924137" y="197447"/>
                  </a:lnTo>
                  <a:lnTo>
                    <a:pt x="2924176" y="197447"/>
                  </a:lnTo>
                  <a:lnTo>
                    <a:pt x="2924176" y="196799"/>
                  </a:lnTo>
                  <a:lnTo>
                    <a:pt x="2924176" y="197447"/>
                  </a:lnTo>
                  <a:lnTo>
                    <a:pt x="2924176" y="195415"/>
                  </a:lnTo>
                  <a:lnTo>
                    <a:pt x="2924176" y="196113"/>
                  </a:lnTo>
                  <a:lnTo>
                    <a:pt x="2924226" y="196113"/>
                  </a:lnTo>
                  <a:lnTo>
                    <a:pt x="2924226" y="194716"/>
                  </a:lnTo>
                  <a:lnTo>
                    <a:pt x="2924226" y="197447"/>
                  </a:lnTo>
                  <a:lnTo>
                    <a:pt x="2924277" y="197447"/>
                  </a:lnTo>
                  <a:lnTo>
                    <a:pt x="2924277" y="196799"/>
                  </a:lnTo>
                  <a:lnTo>
                    <a:pt x="2924277" y="197447"/>
                  </a:lnTo>
                  <a:lnTo>
                    <a:pt x="2924379" y="196799"/>
                  </a:lnTo>
                  <a:lnTo>
                    <a:pt x="2924379" y="197447"/>
                  </a:lnTo>
                  <a:lnTo>
                    <a:pt x="2924379" y="196799"/>
                  </a:lnTo>
                  <a:lnTo>
                    <a:pt x="2924379" y="197447"/>
                  </a:lnTo>
                  <a:lnTo>
                    <a:pt x="2924430" y="196799"/>
                  </a:lnTo>
                  <a:lnTo>
                    <a:pt x="2924430" y="199530"/>
                  </a:lnTo>
                  <a:lnTo>
                    <a:pt x="2924430" y="198831"/>
                  </a:lnTo>
                  <a:lnTo>
                    <a:pt x="2924480" y="198831"/>
                  </a:lnTo>
                  <a:lnTo>
                    <a:pt x="2924480" y="199530"/>
                  </a:lnTo>
                  <a:lnTo>
                    <a:pt x="2924480" y="198831"/>
                  </a:lnTo>
                  <a:lnTo>
                    <a:pt x="2924480" y="200228"/>
                  </a:lnTo>
                  <a:lnTo>
                    <a:pt x="2924480" y="199530"/>
                  </a:lnTo>
                  <a:lnTo>
                    <a:pt x="2924480" y="200228"/>
                  </a:lnTo>
                  <a:lnTo>
                    <a:pt x="2924480" y="199530"/>
                  </a:lnTo>
                  <a:lnTo>
                    <a:pt x="2924480" y="200228"/>
                  </a:lnTo>
                  <a:lnTo>
                    <a:pt x="2924582" y="200228"/>
                  </a:lnTo>
                  <a:lnTo>
                    <a:pt x="2924582" y="199530"/>
                  </a:lnTo>
                  <a:lnTo>
                    <a:pt x="2924582" y="200228"/>
                  </a:lnTo>
                  <a:lnTo>
                    <a:pt x="2924582" y="199530"/>
                  </a:lnTo>
                  <a:lnTo>
                    <a:pt x="2924582" y="200228"/>
                  </a:lnTo>
                  <a:lnTo>
                    <a:pt x="2924582" y="199530"/>
                  </a:lnTo>
                  <a:lnTo>
                    <a:pt x="2924582" y="200228"/>
                  </a:lnTo>
                  <a:lnTo>
                    <a:pt x="2924633" y="200228"/>
                  </a:lnTo>
                  <a:lnTo>
                    <a:pt x="2924633" y="198831"/>
                  </a:lnTo>
                  <a:lnTo>
                    <a:pt x="2924633" y="199530"/>
                  </a:lnTo>
                  <a:lnTo>
                    <a:pt x="2924633" y="197447"/>
                  </a:lnTo>
                  <a:lnTo>
                    <a:pt x="2924683" y="197447"/>
                  </a:lnTo>
                  <a:lnTo>
                    <a:pt x="2924683" y="196799"/>
                  </a:lnTo>
                  <a:lnTo>
                    <a:pt x="2924683" y="197447"/>
                  </a:lnTo>
                  <a:lnTo>
                    <a:pt x="2924683" y="196799"/>
                  </a:lnTo>
                  <a:lnTo>
                    <a:pt x="2924683" y="198831"/>
                  </a:lnTo>
                  <a:lnTo>
                    <a:pt x="2924683" y="197447"/>
                  </a:lnTo>
                  <a:lnTo>
                    <a:pt x="2924722" y="197447"/>
                  </a:lnTo>
                  <a:lnTo>
                    <a:pt x="2924722" y="196799"/>
                  </a:lnTo>
                  <a:lnTo>
                    <a:pt x="2924722" y="198831"/>
                  </a:lnTo>
                  <a:lnTo>
                    <a:pt x="2924722" y="197447"/>
                  </a:lnTo>
                  <a:lnTo>
                    <a:pt x="2924823" y="197447"/>
                  </a:lnTo>
                  <a:lnTo>
                    <a:pt x="2924823" y="196799"/>
                  </a:lnTo>
                  <a:lnTo>
                    <a:pt x="2924823" y="198831"/>
                  </a:lnTo>
                  <a:lnTo>
                    <a:pt x="2924823" y="197447"/>
                  </a:lnTo>
                  <a:lnTo>
                    <a:pt x="2924823" y="198831"/>
                  </a:lnTo>
                  <a:lnTo>
                    <a:pt x="2924823" y="197447"/>
                  </a:lnTo>
                  <a:lnTo>
                    <a:pt x="2924874" y="197447"/>
                  </a:lnTo>
                  <a:lnTo>
                    <a:pt x="2924874" y="198831"/>
                  </a:lnTo>
                  <a:lnTo>
                    <a:pt x="2924874" y="197447"/>
                  </a:lnTo>
                  <a:lnTo>
                    <a:pt x="2924874" y="198831"/>
                  </a:lnTo>
                  <a:lnTo>
                    <a:pt x="2924874" y="197447"/>
                  </a:lnTo>
                  <a:lnTo>
                    <a:pt x="2924874" y="198831"/>
                  </a:lnTo>
                  <a:lnTo>
                    <a:pt x="2924925" y="198831"/>
                  </a:lnTo>
                  <a:lnTo>
                    <a:pt x="2924925" y="200228"/>
                  </a:lnTo>
                  <a:lnTo>
                    <a:pt x="2924925" y="199530"/>
                  </a:lnTo>
                  <a:lnTo>
                    <a:pt x="2924925" y="200228"/>
                  </a:lnTo>
                  <a:lnTo>
                    <a:pt x="2924925" y="199530"/>
                  </a:lnTo>
                  <a:lnTo>
                    <a:pt x="2925026" y="200228"/>
                  </a:lnTo>
                  <a:lnTo>
                    <a:pt x="2925026" y="199530"/>
                  </a:lnTo>
                  <a:lnTo>
                    <a:pt x="2925026" y="200228"/>
                  </a:lnTo>
                  <a:lnTo>
                    <a:pt x="2925026" y="199530"/>
                  </a:lnTo>
                  <a:lnTo>
                    <a:pt x="2925026" y="200228"/>
                  </a:lnTo>
                  <a:lnTo>
                    <a:pt x="2925026" y="199530"/>
                  </a:lnTo>
                  <a:lnTo>
                    <a:pt x="2925026" y="200228"/>
                  </a:lnTo>
                  <a:lnTo>
                    <a:pt x="2925077" y="200228"/>
                  </a:lnTo>
                  <a:lnTo>
                    <a:pt x="2925077" y="199530"/>
                  </a:lnTo>
                  <a:lnTo>
                    <a:pt x="2925077" y="200228"/>
                  </a:lnTo>
                  <a:lnTo>
                    <a:pt x="2925077" y="199530"/>
                  </a:lnTo>
                  <a:lnTo>
                    <a:pt x="2925077" y="200228"/>
                  </a:lnTo>
                  <a:lnTo>
                    <a:pt x="2925077" y="199530"/>
                  </a:lnTo>
                  <a:lnTo>
                    <a:pt x="2925128" y="199530"/>
                  </a:lnTo>
                  <a:lnTo>
                    <a:pt x="2925128" y="198831"/>
                  </a:lnTo>
                  <a:lnTo>
                    <a:pt x="2925128" y="199530"/>
                  </a:lnTo>
                  <a:lnTo>
                    <a:pt x="2925128" y="198831"/>
                  </a:lnTo>
                  <a:lnTo>
                    <a:pt x="2925128" y="199530"/>
                  </a:lnTo>
                  <a:lnTo>
                    <a:pt x="2925128" y="197447"/>
                  </a:lnTo>
                  <a:lnTo>
                    <a:pt x="2925179" y="197447"/>
                  </a:lnTo>
                  <a:lnTo>
                    <a:pt x="2925179" y="199530"/>
                  </a:lnTo>
                  <a:lnTo>
                    <a:pt x="2925179" y="198831"/>
                  </a:lnTo>
                  <a:lnTo>
                    <a:pt x="2925268" y="198831"/>
                  </a:lnTo>
                  <a:lnTo>
                    <a:pt x="2925268" y="200228"/>
                  </a:lnTo>
                  <a:lnTo>
                    <a:pt x="2925268" y="198831"/>
                  </a:lnTo>
                  <a:lnTo>
                    <a:pt x="2925268" y="199530"/>
                  </a:lnTo>
                  <a:lnTo>
                    <a:pt x="2925319" y="199530"/>
                  </a:lnTo>
                  <a:lnTo>
                    <a:pt x="2925319" y="200228"/>
                  </a:lnTo>
                  <a:lnTo>
                    <a:pt x="2925319" y="199530"/>
                  </a:lnTo>
                  <a:lnTo>
                    <a:pt x="2925319" y="200228"/>
                  </a:lnTo>
                  <a:lnTo>
                    <a:pt x="2925319" y="199530"/>
                  </a:lnTo>
                  <a:lnTo>
                    <a:pt x="2925319" y="200228"/>
                  </a:lnTo>
                  <a:lnTo>
                    <a:pt x="2925319" y="199530"/>
                  </a:lnTo>
                  <a:lnTo>
                    <a:pt x="2925420" y="199530"/>
                  </a:lnTo>
                  <a:lnTo>
                    <a:pt x="2925420" y="200228"/>
                  </a:lnTo>
                  <a:lnTo>
                    <a:pt x="2925420" y="199530"/>
                  </a:lnTo>
                  <a:lnTo>
                    <a:pt x="2925522" y="199530"/>
                  </a:lnTo>
                  <a:lnTo>
                    <a:pt x="2925522" y="200228"/>
                  </a:lnTo>
                  <a:lnTo>
                    <a:pt x="2925522" y="199530"/>
                  </a:lnTo>
                  <a:lnTo>
                    <a:pt x="2925522" y="200228"/>
                  </a:lnTo>
                  <a:lnTo>
                    <a:pt x="2925522" y="199530"/>
                  </a:lnTo>
                  <a:lnTo>
                    <a:pt x="2925522" y="200228"/>
                  </a:lnTo>
                  <a:lnTo>
                    <a:pt x="2925522" y="199530"/>
                  </a:lnTo>
                  <a:lnTo>
                    <a:pt x="2925522" y="200228"/>
                  </a:lnTo>
                  <a:lnTo>
                    <a:pt x="2925522" y="199530"/>
                  </a:lnTo>
                  <a:lnTo>
                    <a:pt x="2925572" y="199530"/>
                  </a:lnTo>
                  <a:lnTo>
                    <a:pt x="2925572" y="198831"/>
                  </a:lnTo>
                  <a:lnTo>
                    <a:pt x="2925572" y="199530"/>
                  </a:lnTo>
                  <a:lnTo>
                    <a:pt x="2925572" y="198831"/>
                  </a:lnTo>
                  <a:lnTo>
                    <a:pt x="2925623" y="198831"/>
                  </a:lnTo>
                  <a:lnTo>
                    <a:pt x="2925623" y="196799"/>
                  </a:lnTo>
                  <a:lnTo>
                    <a:pt x="2925725" y="196799"/>
                  </a:lnTo>
                  <a:lnTo>
                    <a:pt x="2925725" y="199530"/>
                  </a:lnTo>
                  <a:lnTo>
                    <a:pt x="2925725" y="197447"/>
                  </a:lnTo>
                  <a:lnTo>
                    <a:pt x="2925763" y="197447"/>
                  </a:lnTo>
                  <a:lnTo>
                    <a:pt x="2925763" y="200228"/>
                  </a:lnTo>
                  <a:lnTo>
                    <a:pt x="2925763" y="198831"/>
                  </a:lnTo>
                  <a:lnTo>
                    <a:pt x="2925763" y="199530"/>
                  </a:lnTo>
                  <a:lnTo>
                    <a:pt x="2925763" y="198831"/>
                  </a:lnTo>
                  <a:lnTo>
                    <a:pt x="2925763" y="199530"/>
                  </a:lnTo>
                  <a:lnTo>
                    <a:pt x="2925814" y="200228"/>
                  </a:lnTo>
                  <a:lnTo>
                    <a:pt x="2925814" y="199530"/>
                  </a:lnTo>
                  <a:lnTo>
                    <a:pt x="2925865" y="200228"/>
                  </a:lnTo>
                  <a:lnTo>
                    <a:pt x="2925865" y="199530"/>
                  </a:lnTo>
                  <a:lnTo>
                    <a:pt x="2925865" y="200228"/>
                  </a:lnTo>
                  <a:lnTo>
                    <a:pt x="2925966" y="200228"/>
                  </a:lnTo>
                  <a:lnTo>
                    <a:pt x="2925966" y="200876"/>
                  </a:lnTo>
                  <a:lnTo>
                    <a:pt x="2925966" y="200228"/>
                  </a:lnTo>
                  <a:lnTo>
                    <a:pt x="2925966" y="200876"/>
                  </a:lnTo>
                  <a:lnTo>
                    <a:pt x="2925966" y="200228"/>
                  </a:lnTo>
                  <a:lnTo>
                    <a:pt x="2925966" y="200876"/>
                  </a:lnTo>
                  <a:lnTo>
                    <a:pt x="2925966" y="200228"/>
                  </a:lnTo>
                  <a:lnTo>
                    <a:pt x="2925966" y="200876"/>
                  </a:lnTo>
                  <a:lnTo>
                    <a:pt x="2926017" y="200876"/>
                  </a:lnTo>
                  <a:lnTo>
                    <a:pt x="2926017" y="200228"/>
                  </a:lnTo>
                  <a:lnTo>
                    <a:pt x="2926017" y="200876"/>
                  </a:lnTo>
                  <a:lnTo>
                    <a:pt x="2926017" y="199530"/>
                  </a:lnTo>
                  <a:lnTo>
                    <a:pt x="2926017" y="200228"/>
                  </a:lnTo>
                  <a:lnTo>
                    <a:pt x="2926068" y="200228"/>
                  </a:lnTo>
                  <a:lnTo>
                    <a:pt x="2926068" y="199530"/>
                  </a:lnTo>
                  <a:lnTo>
                    <a:pt x="2926068" y="200228"/>
                  </a:lnTo>
                  <a:lnTo>
                    <a:pt x="2926068" y="198831"/>
                  </a:lnTo>
                  <a:lnTo>
                    <a:pt x="2926169" y="198831"/>
                  </a:lnTo>
                  <a:lnTo>
                    <a:pt x="2926169" y="196799"/>
                  </a:lnTo>
                  <a:lnTo>
                    <a:pt x="2926220" y="196799"/>
                  </a:lnTo>
                  <a:lnTo>
                    <a:pt x="2926220" y="198831"/>
                  </a:lnTo>
                  <a:lnTo>
                    <a:pt x="2926220" y="196799"/>
                  </a:lnTo>
                  <a:lnTo>
                    <a:pt x="2926271" y="197447"/>
                  </a:lnTo>
                  <a:lnTo>
                    <a:pt x="2926271" y="199530"/>
                  </a:lnTo>
                  <a:lnTo>
                    <a:pt x="2926271" y="198831"/>
                  </a:lnTo>
                  <a:lnTo>
                    <a:pt x="2926271" y="199530"/>
                  </a:lnTo>
                  <a:lnTo>
                    <a:pt x="2926271" y="198831"/>
                  </a:lnTo>
                  <a:lnTo>
                    <a:pt x="2926309" y="198831"/>
                  </a:lnTo>
                  <a:lnTo>
                    <a:pt x="2926309" y="200228"/>
                  </a:lnTo>
                  <a:lnTo>
                    <a:pt x="2926309" y="199530"/>
                  </a:lnTo>
                  <a:lnTo>
                    <a:pt x="2926309" y="200228"/>
                  </a:lnTo>
                  <a:lnTo>
                    <a:pt x="2926309" y="199530"/>
                  </a:lnTo>
                  <a:lnTo>
                    <a:pt x="2926309" y="200228"/>
                  </a:lnTo>
                  <a:lnTo>
                    <a:pt x="2926411" y="200228"/>
                  </a:lnTo>
                  <a:lnTo>
                    <a:pt x="2926411" y="200876"/>
                  </a:lnTo>
                  <a:lnTo>
                    <a:pt x="2926462" y="200876"/>
                  </a:lnTo>
                  <a:lnTo>
                    <a:pt x="2926462" y="200228"/>
                  </a:lnTo>
                  <a:lnTo>
                    <a:pt x="2926462" y="200876"/>
                  </a:lnTo>
                  <a:lnTo>
                    <a:pt x="2926512" y="200228"/>
                  </a:lnTo>
                  <a:lnTo>
                    <a:pt x="2926512" y="200876"/>
                  </a:lnTo>
                  <a:lnTo>
                    <a:pt x="2926512" y="200228"/>
                  </a:lnTo>
                  <a:lnTo>
                    <a:pt x="2926614" y="200228"/>
                  </a:lnTo>
                  <a:lnTo>
                    <a:pt x="2926614" y="199530"/>
                  </a:lnTo>
                  <a:lnTo>
                    <a:pt x="2926665" y="199530"/>
                  </a:lnTo>
                  <a:lnTo>
                    <a:pt x="2926665" y="197447"/>
                  </a:lnTo>
                  <a:lnTo>
                    <a:pt x="2926665" y="198831"/>
                  </a:lnTo>
                  <a:lnTo>
                    <a:pt x="2926665" y="196799"/>
                  </a:lnTo>
                  <a:lnTo>
                    <a:pt x="2926715" y="197447"/>
                  </a:lnTo>
                  <a:lnTo>
                    <a:pt x="2926715" y="198831"/>
                  </a:lnTo>
                  <a:lnTo>
                    <a:pt x="2926715" y="196799"/>
                  </a:lnTo>
                  <a:lnTo>
                    <a:pt x="2926715" y="197447"/>
                  </a:lnTo>
                  <a:lnTo>
                    <a:pt x="2926766" y="198831"/>
                  </a:lnTo>
                  <a:lnTo>
                    <a:pt x="2926766" y="199530"/>
                  </a:lnTo>
                  <a:lnTo>
                    <a:pt x="2926766" y="197447"/>
                  </a:lnTo>
                  <a:lnTo>
                    <a:pt x="2926766" y="199530"/>
                  </a:lnTo>
                  <a:lnTo>
                    <a:pt x="2926855" y="199530"/>
                  </a:lnTo>
                  <a:lnTo>
                    <a:pt x="2926855" y="198831"/>
                  </a:lnTo>
                  <a:lnTo>
                    <a:pt x="2926855" y="199530"/>
                  </a:lnTo>
                  <a:lnTo>
                    <a:pt x="2926855" y="198831"/>
                  </a:lnTo>
                  <a:lnTo>
                    <a:pt x="2926855" y="199530"/>
                  </a:lnTo>
                  <a:lnTo>
                    <a:pt x="2926906" y="199530"/>
                  </a:lnTo>
                  <a:lnTo>
                    <a:pt x="2926906" y="200228"/>
                  </a:lnTo>
                  <a:lnTo>
                    <a:pt x="2926906" y="199530"/>
                  </a:lnTo>
                  <a:lnTo>
                    <a:pt x="2926906" y="200228"/>
                  </a:lnTo>
                  <a:lnTo>
                    <a:pt x="2926906" y="199530"/>
                  </a:lnTo>
                  <a:lnTo>
                    <a:pt x="2926906" y="200876"/>
                  </a:lnTo>
                  <a:lnTo>
                    <a:pt x="2926906" y="200228"/>
                  </a:lnTo>
                  <a:lnTo>
                    <a:pt x="2926906" y="200876"/>
                  </a:lnTo>
                  <a:lnTo>
                    <a:pt x="2926957" y="200876"/>
                  </a:lnTo>
                  <a:lnTo>
                    <a:pt x="2926957" y="200228"/>
                  </a:lnTo>
                  <a:lnTo>
                    <a:pt x="2926957" y="200876"/>
                  </a:lnTo>
                  <a:lnTo>
                    <a:pt x="2926957" y="200228"/>
                  </a:lnTo>
                  <a:lnTo>
                    <a:pt x="2926957" y="200876"/>
                  </a:lnTo>
                  <a:lnTo>
                    <a:pt x="2927008" y="200876"/>
                  </a:lnTo>
                  <a:lnTo>
                    <a:pt x="2927008" y="200228"/>
                  </a:lnTo>
                  <a:lnTo>
                    <a:pt x="2927008" y="200876"/>
                  </a:lnTo>
                  <a:lnTo>
                    <a:pt x="2927008" y="200228"/>
                  </a:lnTo>
                  <a:lnTo>
                    <a:pt x="2927008" y="200876"/>
                  </a:lnTo>
                  <a:lnTo>
                    <a:pt x="2927008" y="200228"/>
                  </a:lnTo>
                  <a:lnTo>
                    <a:pt x="2927008" y="200876"/>
                  </a:lnTo>
                  <a:lnTo>
                    <a:pt x="2927008" y="200228"/>
                  </a:lnTo>
                  <a:lnTo>
                    <a:pt x="2927109" y="200228"/>
                  </a:lnTo>
                  <a:lnTo>
                    <a:pt x="2927109" y="199530"/>
                  </a:lnTo>
                  <a:lnTo>
                    <a:pt x="2927109" y="200228"/>
                  </a:lnTo>
                  <a:lnTo>
                    <a:pt x="2927109" y="198831"/>
                  </a:lnTo>
                  <a:lnTo>
                    <a:pt x="2927160" y="198831"/>
                  </a:lnTo>
                  <a:lnTo>
                    <a:pt x="2927160" y="197447"/>
                  </a:lnTo>
                  <a:lnTo>
                    <a:pt x="2927160" y="198831"/>
                  </a:lnTo>
                  <a:lnTo>
                    <a:pt x="2927160" y="197447"/>
                  </a:lnTo>
                  <a:lnTo>
                    <a:pt x="2927160" y="199530"/>
                  </a:lnTo>
                  <a:lnTo>
                    <a:pt x="2927211" y="198831"/>
                  </a:lnTo>
                  <a:lnTo>
                    <a:pt x="2927211" y="197447"/>
                  </a:lnTo>
                  <a:lnTo>
                    <a:pt x="2927211" y="199530"/>
                  </a:lnTo>
                  <a:lnTo>
                    <a:pt x="2927312" y="198831"/>
                  </a:lnTo>
                  <a:lnTo>
                    <a:pt x="2927312" y="197447"/>
                  </a:lnTo>
                  <a:lnTo>
                    <a:pt x="2927312" y="200228"/>
                  </a:lnTo>
                  <a:lnTo>
                    <a:pt x="2927312" y="199530"/>
                  </a:lnTo>
                  <a:lnTo>
                    <a:pt x="2927312" y="200228"/>
                  </a:lnTo>
                  <a:lnTo>
                    <a:pt x="2927312" y="199530"/>
                  </a:lnTo>
                  <a:lnTo>
                    <a:pt x="2927351" y="199530"/>
                  </a:lnTo>
                  <a:lnTo>
                    <a:pt x="2927351" y="200228"/>
                  </a:lnTo>
                  <a:lnTo>
                    <a:pt x="2927351" y="199530"/>
                  </a:lnTo>
                  <a:lnTo>
                    <a:pt x="2927351" y="200228"/>
                  </a:lnTo>
                  <a:lnTo>
                    <a:pt x="2927351" y="199530"/>
                  </a:lnTo>
                  <a:lnTo>
                    <a:pt x="2927351" y="200228"/>
                  </a:lnTo>
                  <a:lnTo>
                    <a:pt x="2927351" y="199530"/>
                  </a:lnTo>
                  <a:lnTo>
                    <a:pt x="2927351" y="200228"/>
                  </a:lnTo>
                  <a:lnTo>
                    <a:pt x="2927351" y="199530"/>
                  </a:lnTo>
                  <a:lnTo>
                    <a:pt x="2927401" y="200228"/>
                  </a:lnTo>
                  <a:lnTo>
                    <a:pt x="2927401" y="199530"/>
                  </a:lnTo>
                  <a:lnTo>
                    <a:pt x="2927401" y="200228"/>
                  </a:lnTo>
                  <a:lnTo>
                    <a:pt x="2927401" y="199530"/>
                  </a:lnTo>
                  <a:lnTo>
                    <a:pt x="2927401" y="200876"/>
                  </a:lnTo>
                  <a:lnTo>
                    <a:pt x="2927452" y="200228"/>
                  </a:lnTo>
                  <a:lnTo>
                    <a:pt x="2927452" y="200876"/>
                  </a:lnTo>
                  <a:lnTo>
                    <a:pt x="2927452" y="199530"/>
                  </a:lnTo>
                  <a:lnTo>
                    <a:pt x="2927452" y="200228"/>
                  </a:lnTo>
                  <a:lnTo>
                    <a:pt x="2927554" y="200228"/>
                  </a:lnTo>
                  <a:lnTo>
                    <a:pt x="2927554" y="199530"/>
                  </a:lnTo>
                  <a:lnTo>
                    <a:pt x="2927554" y="200228"/>
                  </a:lnTo>
                  <a:lnTo>
                    <a:pt x="2927554" y="199530"/>
                  </a:lnTo>
                  <a:lnTo>
                    <a:pt x="2927554" y="200228"/>
                  </a:lnTo>
                  <a:lnTo>
                    <a:pt x="2927605" y="200228"/>
                  </a:lnTo>
                  <a:lnTo>
                    <a:pt x="2927605" y="198831"/>
                  </a:lnTo>
                  <a:lnTo>
                    <a:pt x="2927605" y="199530"/>
                  </a:lnTo>
                  <a:lnTo>
                    <a:pt x="2927655" y="199530"/>
                  </a:lnTo>
                  <a:lnTo>
                    <a:pt x="2927655" y="200228"/>
                  </a:lnTo>
                  <a:lnTo>
                    <a:pt x="2927655" y="199530"/>
                  </a:lnTo>
                  <a:lnTo>
                    <a:pt x="2927655" y="200228"/>
                  </a:lnTo>
                  <a:lnTo>
                    <a:pt x="2927655" y="199530"/>
                  </a:lnTo>
                  <a:lnTo>
                    <a:pt x="2927655" y="200228"/>
                  </a:lnTo>
                  <a:lnTo>
                    <a:pt x="2927757" y="200876"/>
                  </a:lnTo>
                  <a:lnTo>
                    <a:pt x="2927757" y="202260"/>
                  </a:lnTo>
                  <a:lnTo>
                    <a:pt x="2927757" y="200876"/>
                  </a:lnTo>
                  <a:lnTo>
                    <a:pt x="2927808" y="200876"/>
                  </a:lnTo>
                  <a:lnTo>
                    <a:pt x="2927808" y="202260"/>
                  </a:lnTo>
                  <a:lnTo>
                    <a:pt x="2927808" y="200876"/>
                  </a:lnTo>
                  <a:lnTo>
                    <a:pt x="2927808" y="202260"/>
                  </a:lnTo>
                  <a:lnTo>
                    <a:pt x="2927858" y="202260"/>
                  </a:lnTo>
                  <a:lnTo>
                    <a:pt x="2927858" y="200876"/>
                  </a:lnTo>
                  <a:lnTo>
                    <a:pt x="2927858" y="202260"/>
                  </a:lnTo>
                  <a:lnTo>
                    <a:pt x="2927858" y="200876"/>
                  </a:lnTo>
                  <a:lnTo>
                    <a:pt x="2927858" y="202260"/>
                  </a:lnTo>
                  <a:lnTo>
                    <a:pt x="2927858" y="200876"/>
                  </a:lnTo>
                  <a:lnTo>
                    <a:pt x="2927858" y="202260"/>
                  </a:lnTo>
                  <a:lnTo>
                    <a:pt x="2927897" y="202260"/>
                  </a:lnTo>
                  <a:lnTo>
                    <a:pt x="2927897" y="200876"/>
                  </a:lnTo>
                  <a:lnTo>
                    <a:pt x="2927897" y="202260"/>
                  </a:lnTo>
                  <a:lnTo>
                    <a:pt x="2927897" y="200876"/>
                  </a:lnTo>
                  <a:lnTo>
                    <a:pt x="2927897" y="202260"/>
                  </a:lnTo>
                  <a:lnTo>
                    <a:pt x="2927897" y="200876"/>
                  </a:lnTo>
                  <a:lnTo>
                    <a:pt x="2927998" y="200876"/>
                  </a:lnTo>
                  <a:lnTo>
                    <a:pt x="2927998" y="202260"/>
                  </a:lnTo>
                  <a:lnTo>
                    <a:pt x="2927998" y="200876"/>
                  </a:lnTo>
                  <a:lnTo>
                    <a:pt x="2927998" y="202260"/>
                  </a:lnTo>
                  <a:lnTo>
                    <a:pt x="2927998" y="200876"/>
                  </a:lnTo>
                  <a:lnTo>
                    <a:pt x="2928049" y="200228"/>
                  </a:lnTo>
                  <a:lnTo>
                    <a:pt x="2928049" y="200876"/>
                  </a:lnTo>
                  <a:lnTo>
                    <a:pt x="2928049" y="199530"/>
                  </a:lnTo>
                  <a:lnTo>
                    <a:pt x="2928100" y="199530"/>
                  </a:lnTo>
                  <a:lnTo>
                    <a:pt x="2928100" y="200228"/>
                  </a:lnTo>
                  <a:lnTo>
                    <a:pt x="2928100" y="198831"/>
                  </a:lnTo>
                  <a:lnTo>
                    <a:pt x="2928100" y="199530"/>
                  </a:lnTo>
                  <a:lnTo>
                    <a:pt x="2928100" y="198831"/>
                  </a:lnTo>
                  <a:lnTo>
                    <a:pt x="2928100" y="200228"/>
                  </a:lnTo>
                  <a:lnTo>
                    <a:pt x="2928201" y="199530"/>
                  </a:lnTo>
                  <a:lnTo>
                    <a:pt x="2928201" y="202260"/>
                  </a:lnTo>
                  <a:lnTo>
                    <a:pt x="2928252" y="202260"/>
                  </a:lnTo>
                  <a:lnTo>
                    <a:pt x="2928252" y="200876"/>
                  </a:lnTo>
                  <a:lnTo>
                    <a:pt x="2928252" y="202260"/>
                  </a:lnTo>
                  <a:lnTo>
                    <a:pt x="2928303" y="202260"/>
                  </a:lnTo>
                  <a:lnTo>
                    <a:pt x="2928303" y="200876"/>
                  </a:lnTo>
                  <a:lnTo>
                    <a:pt x="2928303" y="202959"/>
                  </a:lnTo>
                  <a:lnTo>
                    <a:pt x="2928354" y="202959"/>
                  </a:lnTo>
                  <a:lnTo>
                    <a:pt x="2928354" y="202260"/>
                  </a:lnTo>
                  <a:lnTo>
                    <a:pt x="2928354" y="202959"/>
                  </a:lnTo>
                  <a:lnTo>
                    <a:pt x="2928354" y="202260"/>
                  </a:lnTo>
                  <a:lnTo>
                    <a:pt x="2928354" y="202959"/>
                  </a:lnTo>
                  <a:lnTo>
                    <a:pt x="2928354" y="202260"/>
                  </a:lnTo>
                  <a:lnTo>
                    <a:pt x="2928354" y="202959"/>
                  </a:lnTo>
                  <a:lnTo>
                    <a:pt x="2928443" y="202959"/>
                  </a:lnTo>
                  <a:lnTo>
                    <a:pt x="2928443" y="202260"/>
                  </a:lnTo>
                  <a:lnTo>
                    <a:pt x="2928443" y="202959"/>
                  </a:lnTo>
                  <a:lnTo>
                    <a:pt x="2928443" y="202260"/>
                  </a:lnTo>
                  <a:lnTo>
                    <a:pt x="2928443" y="202959"/>
                  </a:lnTo>
                  <a:lnTo>
                    <a:pt x="2928443" y="202260"/>
                  </a:lnTo>
                  <a:lnTo>
                    <a:pt x="2928494" y="202260"/>
                  </a:lnTo>
                  <a:lnTo>
                    <a:pt x="2928494" y="200876"/>
                  </a:lnTo>
                  <a:lnTo>
                    <a:pt x="2928494" y="202260"/>
                  </a:lnTo>
                  <a:lnTo>
                    <a:pt x="2928494" y="200876"/>
                  </a:lnTo>
                  <a:lnTo>
                    <a:pt x="2928494" y="202260"/>
                  </a:lnTo>
                  <a:lnTo>
                    <a:pt x="2928494" y="200876"/>
                  </a:lnTo>
                  <a:lnTo>
                    <a:pt x="2928494" y="202260"/>
                  </a:lnTo>
                  <a:lnTo>
                    <a:pt x="2928494" y="200228"/>
                  </a:lnTo>
                  <a:lnTo>
                    <a:pt x="2928494" y="200876"/>
                  </a:lnTo>
                  <a:lnTo>
                    <a:pt x="2928544" y="200228"/>
                  </a:lnTo>
                  <a:lnTo>
                    <a:pt x="2928544" y="199530"/>
                  </a:lnTo>
                  <a:lnTo>
                    <a:pt x="2928595" y="199530"/>
                  </a:lnTo>
                  <a:lnTo>
                    <a:pt x="2928595" y="198831"/>
                  </a:lnTo>
                  <a:lnTo>
                    <a:pt x="2928595" y="200228"/>
                  </a:lnTo>
                  <a:lnTo>
                    <a:pt x="2928595" y="198831"/>
                  </a:lnTo>
                  <a:lnTo>
                    <a:pt x="2928697" y="198831"/>
                  </a:lnTo>
                  <a:lnTo>
                    <a:pt x="2928697" y="202260"/>
                  </a:lnTo>
                  <a:lnTo>
                    <a:pt x="2928697" y="200228"/>
                  </a:lnTo>
                  <a:lnTo>
                    <a:pt x="2928747" y="200228"/>
                  </a:lnTo>
                  <a:lnTo>
                    <a:pt x="2928747" y="200876"/>
                  </a:lnTo>
                  <a:lnTo>
                    <a:pt x="2928747" y="200228"/>
                  </a:lnTo>
                  <a:lnTo>
                    <a:pt x="2928747" y="202260"/>
                  </a:lnTo>
                  <a:lnTo>
                    <a:pt x="2928747" y="200228"/>
                  </a:lnTo>
                  <a:lnTo>
                    <a:pt x="2928798" y="200228"/>
                  </a:lnTo>
                  <a:lnTo>
                    <a:pt x="2928798" y="202260"/>
                  </a:lnTo>
                  <a:lnTo>
                    <a:pt x="2928798" y="200876"/>
                  </a:lnTo>
                  <a:lnTo>
                    <a:pt x="2928798" y="202260"/>
                  </a:lnTo>
                  <a:lnTo>
                    <a:pt x="2928938" y="202260"/>
                  </a:lnTo>
                  <a:lnTo>
                    <a:pt x="2928938" y="200876"/>
                  </a:lnTo>
                  <a:lnTo>
                    <a:pt x="2928938" y="202260"/>
                  </a:lnTo>
                  <a:lnTo>
                    <a:pt x="2928989" y="202260"/>
                  </a:lnTo>
                  <a:lnTo>
                    <a:pt x="2928989" y="202959"/>
                  </a:lnTo>
                  <a:lnTo>
                    <a:pt x="2928989" y="200876"/>
                  </a:lnTo>
                  <a:lnTo>
                    <a:pt x="2928989" y="202260"/>
                  </a:lnTo>
                  <a:lnTo>
                    <a:pt x="2928989" y="200876"/>
                  </a:lnTo>
                  <a:lnTo>
                    <a:pt x="2929040" y="200876"/>
                  </a:lnTo>
                  <a:lnTo>
                    <a:pt x="2929040" y="198831"/>
                  </a:lnTo>
                  <a:lnTo>
                    <a:pt x="2929040" y="199530"/>
                  </a:lnTo>
                  <a:lnTo>
                    <a:pt x="2929141" y="199530"/>
                  </a:lnTo>
                  <a:lnTo>
                    <a:pt x="2929141" y="200876"/>
                  </a:lnTo>
                  <a:lnTo>
                    <a:pt x="2929141" y="198831"/>
                  </a:lnTo>
                  <a:lnTo>
                    <a:pt x="2929141" y="200876"/>
                  </a:lnTo>
                  <a:lnTo>
                    <a:pt x="2929192" y="202260"/>
                  </a:lnTo>
                  <a:lnTo>
                    <a:pt x="2929192" y="199530"/>
                  </a:lnTo>
                  <a:lnTo>
                    <a:pt x="2929192" y="202260"/>
                  </a:lnTo>
                  <a:lnTo>
                    <a:pt x="2929243" y="202260"/>
                  </a:lnTo>
                  <a:lnTo>
                    <a:pt x="2929243" y="200876"/>
                  </a:lnTo>
                  <a:lnTo>
                    <a:pt x="2929243" y="202260"/>
                  </a:lnTo>
                  <a:lnTo>
                    <a:pt x="2929344" y="202260"/>
                  </a:lnTo>
                  <a:lnTo>
                    <a:pt x="2929344" y="200876"/>
                  </a:lnTo>
                  <a:lnTo>
                    <a:pt x="2929344" y="202260"/>
                  </a:lnTo>
                  <a:lnTo>
                    <a:pt x="2929446" y="202260"/>
                  </a:lnTo>
                  <a:lnTo>
                    <a:pt x="2929446" y="200876"/>
                  </a:lnTo>
                  <a:lnTo>
                    <a:pt x="2929446" y="202260"/>
                  </a:lnTo>
                  <a:lnTo>
                    <a:pt x="2929446" y="200876"/>
                  </a:lnTo>
                  <a:lnTo>
                    <a:pt x="2929446" y="202260"/>
                  </a:lnTo>
                  <a:lnTo>
                    <a:pt x="2929446" y="200876"/>
                  </a:lnTo>
                  <a:lnTo>
                    <a:pt x="2929446" y="202260"/>
                  </a:lnTo>
                  <a:lnTo>
                    <a:pt x="2929446" y="200228"/>
                  </a:lnTo>
                  <a:lnTo>
                    <a:pt x="2929484" y="200228"/>
                  </a:lnTo>
                  <a:lnTo>
                    <a:pt x="2929484" y="200876"/>
                  </a:lnTo>
                  <a:lnTo>
                    <a:pt x="2929484" y="200228"/>
                  </a:lnTo>
                  <a:lnTo>
                    <a:pt x="2929484" y="200876"/>
                  </a:lnTo>
                  <a:lnTo>
                    <a:pt x="2929484" y="199530"/>
                  </a:lnTo>
                  <a:lnTo>
                    <a:pt x="2929484" y="200228"/>
                  </a:lnTo>
                  <a:lnTo>
                    <a:pt x="2929484" y="199530"/>
                  </a:lnTo>
                  <a:lnTo>
                    <a:pt x="2929586" y="199530"/>
                  </a:lnTo>
                  <a:lnTo>
                    <a:pt x="2929586" y="198831"/>
                  </a:lnTo>
                  <a:lnTo>
                    <a:pt x="2929586" y="199530"/>
                  </a:lnTo>
                  <a:lnTo>
                    <a:pt x="2929586" y="196799"/>
                  </a:lnTo>
                  <a:lnTo>
                    <a:pt x="2929637" y="196799"/>
                  </a:lnTo>
                  <a:lnTo>
                    <a:pt x="2929637" y="198831"/>
                  </a:lnTo>
                  <a:lnTo>
                    <a:pt x="2929637" y="197447"/>
                  </a:lnTo>
                  <a:lnTo>
                    <a:pt x="2929637" y="199530"/>
                  </a:lnTo>
                  <a:lnTo>
                    <a:pt x="2929687" y="199530"/>
                  </a:lnTo>
                  <a:lnTo>
                    <a:pt x="2929687" y="198831"/>
                  </a:lnTo>
                  <a:lnTo>
                    <a:pt x="2929687" y="200876"/>
                  </a:lnTo>
                  <a:lnTo>
                    <a:pt x="2929789" y="200876"/>
                  </a:lnTo>
                  <a:lnTo>
                    <a:pt x="2929789" y="199530"/>
                  </a:lnTo>
                  <a:lnTo>
                    <a:pt x="2929789" y="200228"/>
                  </a:lnTo>
                  <a:lnTo>
                    <a:pt x="2929789" y="199530"/>
                  </a:lnTo>
                  <a:lnTo>
                    <a:pt x="2929789" y="200876"/>
                  </a:lnTo>
                  <a:lnTo>
                    <a:pt x="2929840" y="200876"/>
                  </a:lnTo>
                  <a:lnTo>
                    <a:pt x="2929840" y="200228"/>
                  </a:lnTo>
                  <a:lnTo>
                    <a:pt x="2929840" y="200876"/>
                  </a:lnTo>
                  <a:lnTo>
                    <a:pt x="2929840" y="200228"/>
                  </a:lnTo>
                  <a:lnTo>
                    <a:pt x="2929840" y="200876"/>
                  </a:lnTo>
                  <a:lnTo>
                    <a:pt x="2929840" y="200228"/>
                  </a:lnTo>
                  <a:lnTo>
                    <a:pt x="2929840" y="202260"/>
                  </a:lnTo>
                  <a:lnTo>
                    <a:pt x="2929840" y="200876"/>
                  </a:lnTo>
                  <a:lnTo>
                    <a:pt x="2929840" y="202260"/>
                  </a:lnTo>
                  <a:lnTo>
                    <a:pt x="2929890" y="202260"/>
                  </a:lnTo>
                  <a:lnTo>
                    <a:pt x="2929890" y="200876"/>
                  </a:lnTo>
                  <a:lnTo>
                    <a:pt x="2929890" y="202260"/>
                  </a:lnTo>
                  <a:lnTo>
                    <a:pt x="2929890" y="200876"/>
                  </a:lnTo>
                  <a:lnTo>
                    <a:pt x="2929890" y="202260"/>
                  </a:lnTo>
                  <a:lnTo>
                    <a:pt x="2929941" y="202260"/>
                  </a:lnTo>
                  <a:lnTo>
                    <a:pt x="2929941" y="200876"/>
                  </a:lnTo>
                  <a:lnTo>
                    <a:pt x="2929941" y="202959"/>
                  </a:lnTo>
                  <a:lnTo>
                    <a:pt x="2930030" y="202959"/>
                  </a:lnTo>
                  <a:lnTo>
                    <a:pt x="2930030" y="199530"/>
                  </a:lnTo>
                  <a:lnTo>
                    <a:pt x="2930030" y="200228"/>
                  </a:lnTo>
                  <a:lnTo>
                    <a:pt x="2930030" y="199530"/>
                  </a:lnTo>
                  <a:lnTo>
                    <a:pt x="2930081" y="199530"/>
                  </a:lnTo>
                  <a:lnTo>
                    <a:pt x="2930081" y="197447"/>
                  </a:lnTo>
                  <a:lnTo>
                    <a:pt x="2930081" y="198831"/>
                  </a:lnTo>
                  <a:lnTo>
                    <a:pt x="2930132" y="198831"/>
                  </a:lnTo>
                  <a:lnTo>
                    <a:pt x="2930132" y="196799"/>
                  </a:lnTo>
                  <a:lnTo>
                    <a:pt x="2930132" y="199530"/>
                  </a:lnTo>
                  <a:lnTo>
                    <a:pt x="2930183" y="199530"/>
                  </a:lnTo>
                  <a:lnTo>
                    <a:pt x="2930183" y="197447"/>
                  </a:lnTo>
                  <a:lnTo>
                    <a:pt x="2930183" y="199530"/>
                  </a:lnTo>
                  <a:lnTo>
                    <a:pt x="2930284" y="199530"/>
                  </a:lnTo>
                  <a:lnTo>
                    <a:pt x="2930284" y="198831"/>
                  </a:lnTo>
                  <a:lnTo>
                    <a:pt x="2930284" y="199530"/>
                  </a:lnTo>
                  <a:lnTo>
                    <a:pt x="2930284" y="198831"/>
                  </a:lnTo>
                  <a:lnTo>
                    <a:pt x="2930284" y="199530"/>
                  </a:lnTo>
                  <a:lnTo>
                    <a:pt x="2930335" y="199530"/>
                  </a:lnTo>
                  <a:lnTo>
                    <a:pt x="2930335" y="200876"/>
                  </a:lnTo>
                  <a:lnTo>
                    <a:pt x="2930386" y="200228"/>
                  </a:lnTo>
                  <a:lnTo>
                    <a:pt x="2930386" y="199530"/>
                  </a:lnTo>
                  <a:lnTo>
                    <a:pt x="2930386" y="200876"/>
                  </a:lnTo>
                  <a:lnTo>
                    <a:pt x="2930386" y="199530"/>
                  </a:lnTo>
                  <a:lnTo>
                    <a:pt x="2930487" y="200228"/>
                  </a:lnTo>
                  <a:lnTo>
                    <a:pt x="2930487" y="200876"/>
                  </a:lnTo>
                  <a:lnTo>
                    <a:pt x="2930487" y="200228"/>
                  </a:lnTo>
                  <a:lnTo>
                    <a:pt x="2930526" y="199530"/>
                  </a:lnTo>
                  <a:lnTo>
                    <a:pt x="2930526" y="200228"/>
                  </a:lnTo>
                  <a:lnTo>
                    <a:pt x="2930526" y="199530"/>
                  </a:lnTo>
                  <a:lnTo>
                    <a:pt x="2930526" y="200228"/>
                  </a:lnTo>
                  <a:lnTo>
                    <a:pt x="2930526" y="199530"/>
                  </a:lnTo>
                  <a:lnTo>
                    <a:pt x="2930526" y="200228"/>
                  </a:lnTo>
                  <a:lnTo>
                    <a:pt x="2930526" y="199530"/>
                  </a:lnTo>
                  <a:lnTo>
                    <a:pt x="2930526" y="200228"/>
                  </a:lnTo>
                  <a:lnTo>
                    <a:pt x="2930526" y="198831"/>
                  </a:lnTo>
                  <a:lnTo>
                    <a:pt x="2930576" y="198831"/>
                  </a:lnTo>
                  <a:lnTo>
                    <a:pt x="2930576" y="197447"/>
                  </a:lnTo>
                  <a:lnTo>
                    <a:pt x="2930576" y="200228"/>
                  </a:lnTo>
                  <a:lnTo>
                    <a:pt x="2930576" y="199530"/>
                  </a:lnTo>
                  <a:lnTo>
                    <a:pt x="2930576" y="200228"/>
                  </a:lnTo>
                  <a:lnTo>
                    <a:pt x="2930576" y="198831"/>
                  </a:lnTo>
                  <a:lnTo>
                    <a:pt x="2930627" y="198831"/>
                  </a:lnTo>
                  <a:lnTo>
                    <a:pt x="2930627" y="197447"/>
                  </a:lnTo>
                  <a:lnTo>
                    <a:pt x="2930627" y="202260"/>
                  </a:lnTo>
                  <a:lnTo>
                    <a:pt x="2930627" y="200228"/>
                  </a:lnTo>
                  <a:lnTo>
                    <a:pt x="2930729" y="200228"/>
                  </a:lnTo>
                  <a:lnTo>
                    <a:pt x="2930729" y="202260"/>
                  </a:lnTo>
                  <a:lnTo>
                    <a:pt x="2930729" y="200228"/>
                  </a:lnTo>
                  <a:lnTo>
                    <a:pt x="2930780" y="200228"/>
                  </a:lnTo>
                  <a:lnTo>
                    <a:pt x="2930780" y="200876"/>
                  </a:lnTo>
                  <a:lnTo>
                    <a:pt x="2930780" y="200228"/>
                  </a:lnTo>
                  <a:lnTo>
                    <a:pt x="2930780" y="200876"/>
                  </a:lnTo>
                  <a:lnTo>
                    <a:pt x="2930830" y="200876"/>
                  </a:lnTo>
                  <a:lnTo>
                    <a:pt x="2930830" y="200228"/>
                  </a:lnTo>
                  <a:lnTo>
                    <a:pt x="2930830" y="200876"/>
                  </a:lnTo>
                  <a:lnTo>
                    <a:pt x="2930830" y="200228"/>
                  </a:lnTo>
                  <a:lnTo>
                    <a:pt x="2930830" y="200876"/>
                  </a:lnTo>
                  <a:lnTo>
                    <a:pt x="2930830" y="200228"/>
                  </a:lnTo>
                  <a:lnTo>
                    <a:pt x="2930932" y="200228"/>
                  </a:lnTo>
                  <a:lnTo>
                    <a:pt x="2930932" y="200876"/>
                  </a:lnTo>
                  <a:lnTo>
                    <a:pt x="2930932" y="200228"/>
                  </a:lnTo>
                  <a:lnTo>
                    <a:pt x="2930932" y="200876"/>
                  </a:lnTo>
                  <a:lnTo>
                    <a:pt x="2930932" y="200228"/>
                  </a:lnTo>
                  <a:lnTo>
                    <a:pt x="2930932" y="200876"/>
                  </a:lnTo>
                  <a:lnTo>
                    <a:pt x="2930932" y="200228"/>
                  </a:lnTo>
                  <a:lnTo>
                    <a:pt x="2930932" y="200876"/>
                  </a:lnTo>
                  <a:lnTo>
                    <a:pt x="2930983" y="200876"/>
                  </a:lnTo>
                  <a:lnTo>
                    <a:pt x="2930983" y="200228"/>
                  </a:lnTo>
                  <a:lnTo>
                    <a:pt x="2930983" y="200876"/>
                  </a:lnTo>
                  <a:lnTo>
                    <a:pt x="2930983" y="200228"/>
                  </a:lnTo>
                  <a:lnTo>
                    <a:pt x="2931033" y="200228"/>
                  </a:lnTo>
                  <a:lnTo>
                    <a:pt x="2931033" y="198831"/>
                  </a:lnTo>
                  <a:lnTo>
                    <a:pt x="2931033" y="199530"/>
                  </a:lnTo>
                  <a:lnTo>
                    <a:pt x="2931033" y="198831"/>
                  </a:lnTo>
                  <a:lnTo>
                    <a:pt x="2931072" y="197447"/>
                  </a:lnTo>
                  <a:lnTo>
                    <a:pt x="2931072" y="200228"/>
                  </a:lnTo>
                  <a:lnTo>
                    <a:pt x="2931072" y="198831"/>
                  </a:lnTo>
                  <a:lnTo>
                    <a:pt x="2931173" y="199530"/>
                  </a:lnTo>
                  <a:lnTo>
                    <a:pt x="2931173" y="200876"/>
                  </a:lnTo>
                  <a:lnTo>
                    <a:pt x="2931173" y="200228"/>
                  </a:lnTo>
                  <a:lnTo>
                    <a:pt x="2931224" y="200228"/>
                  </a:lnTo>
                  <a:lnTo>
                    <a:pt x="2931224" y="202260"/>
                  </a:lnTo>
                  <a:lnTo>
                    <a:pt x="2931224" y="200876"/>
                  </a:lnTo>
                  <a:lnTo>
                    <a:pt x="2931224" y="202260"/>
                  </a:lnTo>
                  <a:lnTo>
                    <a:pt x="2931275" y="202260"/>
                  </a:lnTo>
                  <a:lnTo>
                    <a:pt x="2931275" y="200876"/>
                  </a:lnTo>
                  <a:lnTo>
                    <a:pt x="2931275" y="202260"/>
                  </a:lnTo>
                  <a:lnTo>
                    <a:pt x="2931376" y="200876"/>
                  </a:lnTo>
                  <a:lnTo>
                    <a:pt x="2931376" y="202260"/>
                  </a:lnTo>
                  <a:lnTo>
                    <a:pt x="2931376" y="200876"/>
                  </a:lnTo>
                  <a:lnTo>
                    <a:pt x="2931376" y="202260"/>
                  </a:lnTo>
                  <a:lnTo>
                    <a:pt x="2931427" y="200876"/>
                  </a:lnTo>
                  <a:lnTo>
                    <a:pt x="2931427" y="200228"/>
                  </a:lnTo>
                  <a:lnTo>
                    <a:pt x="2931427" y="200876"/>
                  </a:lnTo>
                  <a:lnTo>
                    <a:pt x="2931427" y="200228"/>
                  </a:lnTo>
                  <a:lnTo>
                    <a:pt x="2931427" y="200876"/>
                  </a:lnTo>
                  <a:lnTo>
                    <a:pt x="2931478" y="200876"/>
                  </a:lnTo>
                  <a:lnTo>
                    <a:pt x="2931478" y="199530"/>
                  </a:lnTo>
                  <a:lnTo>
                    <a:pt x="2931478" y="200228"/>
                  </a:lnTo>
                  <a:lnTo>
                    <a:pt x="2931478" y="199530"/>
                  </a:lnTo>
                  <a:lnTo>
                    <a:pt x="2931529" y="199530"/>
                  </a:lnTo>
                  <a:lnTo>
                    <a:pt x="2931529" y="198831"/>
                  </a:lnTo>
                  <a:lnTo>
                    <a:pt x="2931529" y="199530"/>
                  </a:lnTo>
                  <a:lnTo>
                    <a:pt x="2931529" y="196799"/>
                  </a:lnTo>
                  <a:lnTo>
                    <a:pt x="2931529" y="197447"/>
                  </a:lnTo>
                  <a:lnTo>
                    <a:pt x="2931529" y="196799"/>
                  </a:lnTo>
                  <a:lnTo>
                    <a:pt x="2931529" y="197447"/>
                  </a:lnTo>
                  <a:lnTo>
                    <a:pt x="2931529" y="196799"/>
                  </a:lnTo>
                  <a:lnTo>
                    <a:pt x="2931618" y="196799"/>
                  </a:lnTo>
                  <a:lnTo>
                    <a:pt x="2931618" y="198831"/>
                  </a:lnTo>
                  <a:lnTo>
                    <a:pt x="2931618" y="196799"/>
                  </a:lnTo>
                  <a:lnTo>
                    <a:pt x="2931618" y="197447"/>
                  </a:lnTo>
                  <a:lnTo>
                    <a:pt x="2931618" y="196799"/>
                  </a:lnTo>
                  <a:lnTo>
                    <a:pt x="2931618" y="197447"/>
                  </a:lnTo>
                  <a:lnTo>
                    <a:pt x="2931669" y="198831"/>
                  </a:lnTo>
                  <a:lnTo>
                    <a:pt x="2931669" y="200228"/>
                  </a:lnTo>
                  <a:lnTo>
                    <a:pt x="2931669" y="199530"/>
                  </a:lnTo>
                  <a:lnTo>
                    <a:pt x="2931669" y="200228"/>
                  </a:lnTo>
                  <a:lnTo>
                    <a:pt x="2931669" y="199530"/>
                  </a:lnTo>
                  <a:lnTo>
                    <a:pt x="2931669" y="200228"/>
                  </a:lnTo>
                  <a:lnTo>
                    <a:pt x="2931669" y="199530"/>
                  </a:lnTo>
                  <a:lnTo>
                    <a:pt x="2931669" y="200228"/>
                  </a:lnTo>
                  <a:lnTo>
                    <a:pt x="2931719" y="200228"/>
                  </a:lnTo>
                  <a:lnTo>
                    <a:pt x="2931719" y="200876"/>
                  </a:lnTo>
                  <a:lnTo>
                    <a:pt x="2931719" y="200228"/>
                  </a:lnTo>
                  <a:lnTo>
                    <a:pt x="2931719" y="200876"/>
                  </a:lnTo>
                  <a:lnTo>
                    <a:pt x="2931770" y="200876"/>
                  </a:lnTo>
                  <a:lnTo>
                    <a:pt x="2931770" y="200228"/>
                  </a:lnTo>
                  <a:lnTo>
                    <a:pt x="2931770" y="200876"/>
                  </a:lnTo>
                  <a:lnTo>
                    <a:pt x="2931770" y="200228"/>
                  </a:lnTo>
                  <a:lnTo>
                    <a:pt x="2931770" y="200876"/>
                  </a:lnTo>
                  <a:lnTo>
                    <a:pt x="2931872" y="200876"/>
                  </a:lnTo>
                  <a:lnTo>
                    <a:pt x="2931872" y="200228"/>
                  </a:lnTo>
                  <a:lnTo>
                    <a:pt x="2931872" y="200876"/>
                  </a:lnTo>
                  <a:lnTo>
                    <a:pt x="2931922" y="200876"/>
                  </a:lnTo>
                  <a:lnTo>
                    <a:pt x="2931922" y="202260"/>
                  </a:lnTo>
                  <a:lnTo>
                    <a:pt x="2931922" y="200876"/>
                  </a:lnTo>
                  <a:lnTo>
                    <a:pt x="2931973" y="200876"/>
                  </a:lnTo>
                  <a:lnTo>
                    <a:pt x="2931973" y="200228"/>
                  </a:lnTo>
                  <a:lnTo>
                    <a:pt x="2931973" y="200876"/>
                  </a:lnTo>
                  <a:lnTo>
                    <a:pt x="2931973" y="199530"/>
                  </a:lnTo>
                  <a:lnTo>
                    <a:pt x="2932075" y="199530"/>
                  </a:lnTo>
                  <a:lnTo>
                    <a:pt x="2932075" y="197447"/>
                  </a:lnTo>
                  <a:lnTo>
                    <a:pt x="2932113" y="197447"/>
                  </a:lnTo>
                  <a:lnTo>
                    <a:pt x="2932113" y="196799"/>
                  </a:lnTo>
                  <a:lnTo>
                    <a:pt x="2932113" y="198831"/>
                  </a:lnTo>
                  <a:lnTo>
                    <a:pt x="2932113" y="196799"/>
                  </a:lnTo>
                  <a:lnTo>
                    <a:pt x="2932113" y="197447"/>
                  </a:lnTo>
                  <a:lnTo>
                    <a:pt x="2932164" y="198831"/>
                  </a:lnTo>
                  <a:lnTo>
                    <a:pt x="2932164" y="199530"/>
                  </a:lnTo>
                  <a:lnTo>
                    <a:pt x="2932164" y="197447"/>
                  </a:lnTo>
                  <a:lnTo>
                    <a:pt x="2932164" y="199530"/>
                  </a:lnTo>
                  <a:lnTo>
                    <a:pt x="2932215" y="199530"/>
                  </a:lnTo>
                  <a:lnTo>
                    <a:pt x="2932215" y="200228"/>
                  </a:lnTo>
                  <a:lnTo>
                    <a:pt x="2932215" y="199530"/>
                  </a:lnTo>
                  <a:lnTo>
                    <a:pt x="2932215" y="200228"/>
                  </a:lnTo>
                  <a:lnTo>
                    <a:pt x="2932316" y="200228"/>
                  </a:lnTo>
                  <a:lnTo>
                    <a:pt x="2932316" y="199530"/>
                  </a:lnTo>
                  <a:lnTo>
                    <a:pt x="2932316" y="200228"/>
                  </a:lnTo>
                  <a:lnTo>
                    <a:pt x="2932316" y="199530"/>
                  </a:lnTo>
                  <a:lnTo>
                    <a:pt x="2932316" y="200228"/>
                  </a:lnTo>
                  <a:lnTo>
                    <a:pt x="2932316" y="199530"/>
                  </a:lnTo>
                  <a:lnTo>
                    <a:pt x="2932316" y="200228"/>
                  </a:lnTo>
                  <a:lnTo>
                    <a:pt x="2932367" y="200228"/>
                  </a:lnTo>
                  <a:lnTo>
                    <a:pt x="2932367" y="200876"/>
                  </a:lnTo>
                  <a:lnTo>
                    <a:pt x="2932418" y="202260"/>
                  </a:lnTo>
                  <a:lnTo>
                    <a:pt x="2932418" y="200876"/>
                  </a:lnTo>
                  <a:lnTo>
                    <a:pt x="2932418" y="202260"/>
                  </a:lnTo>
                  <a:lnTo>
                    <a:pt x="2932418" y="200228"/>
                  </a:lnTo>
                  <a:lnTo>
                    <a:pt x="2932418" y="200876"/>
                  </a:lnTo>
                  <a:lnTo>
                    <a:pt x="2932519" y="200876"/>
                  </a:lnTo>
                  <a:lnTo>
                    <a:pt x="2932519" y="198831"/>
                  </a:lnTo>
                  <a:lnTo>
                    <a:pt x="2932570" y="198831"/>
                  </a:lnTo>
                  <a:lnTo>
                    <a:pt x="2932570" y="197447"/>
                  </a:lnTo>
                  <a:lnTo>
                    <a:pt x="2932621" y="198831"/>
                  </a:lnTo>
                  <a:lnTo>
                    <a:pt x="2932621" y="197447"/>
                  </a:lnTo>
                  <a:lnTo>
                    <a:pt x="2932621" y="199530"/>
                  </a:lnTo>
                  <a:lnTo>
                    <a:pt x="2932659" y="199530"/>
                  </a:lnTo>
                  <a:lnTo>
                    <a:pt x="2932659" y="200228"/>
                  </a:lnTo>
                  <a:lnTo>
                    <a:pt x="2932761" y="200228"/>
                  </a:lnTo>
                  <a:lnTo>
                    <a:pt x="2932761" y="199530"/>
                  </a:lnTo>
                  <a:lnTo>
                    <a:pt x="2932761" y="200228"/>
                  </a:lnTo>
                  <a:lnTo>
                    <a:pt x="2932761" y="199530"/>
                  </a:lnTo>
                  <a:lnTo>
                    <a:pt x="2932812" y="199530"/>
                  </a:lnTo>
                  <a:lnTo>
                    <a:pt x="2932812" y="200228"/>
                  </a:lnTo>
                  <a:lnTo>
                    <a:pt x="2932812" y="199530"/>
                  </a:lnTo>
                  <a:lnTo>
                    <a:pt x="2932812" y="200228"/>
                  </a:lnTo>
                  <a:lnTo>
                    <a:pt x="2932812" y="199530"/>
                  </a:lnTo>
                  <a:lnTo>
                    <a:pt x="2932812" y="200228"/>
                  </a:lnTo>
                  <a:lnTo>
                    <a:pt x="2932862" y="200228"/>
                  </a:lnTo>
                  <a:lnTo>
                    <a:pt x="2932862" y="200876"/>
                  </a:lnTo>
                  <a:lnTo>
                    <a:pt x="2932862" y="200228"/>
                  </a:lnTo>
                  <a:lnTo>
                    <a:pt x="2932862" y="200876"/>
                  </a:lnTo>
                  <a:lnTo>
                    <a:pt x="2932862" y="200228"/>
                  </a:lnTo>
                  <a:lnTo>
                    <a:pt x="2932862" y="200876"/>
                  </a:lnTo>
                  <a:lnTo>
                    <a:pt x="2932862" y="200228"/>
                  </a:lnTo>
                  <a:lnTo>
                    <a:pt x="2932964" y="200228"/>
                  </a:lnTo>
                  <a:lnTo>
                    <a:pt x="2932964" y="202260"/>
                  </a:lnTo>
                  <a:lnTo>
                    <a:pt x="2932964" y="200228"/>
                  </a:lnTo>
                  <a:lnTo>
                    <a:pt x="2932964" y="200876"/>
                  </a:lnTo>
                  <a:lnTo>
                    <a:pt x="2933015" y="200228"/>
                  </a:lnTo>
                  <a:lnTo>
                    <a:pt x="2933015" y="200876"/>
                  </a:lnTo>
                  <a:lnTo>
                    <a:pt x="2933015" y="198831"/>
                  </a:lnTo>
                  <a:lnTo>
                    <a:pt x="2933065" y="198831"/>
                  </a:lnTo>
                  <a:lnTo>
                    <a:pt x="2933065" y="197447"/>
                  </a:lnTo>
                  <a:lnTo>
                    <a:pt x="2933065" y="199530"/>
                  </a:lnTo>
                  <a:lnTo>
                    <a:pt x="2933065" y="198831"/>
                  </a:lnTo>
                  <a:lnTo>
                    <a:pt x="2933116" y="197447"/>
                  </a:lnTo>
                  <a:lnTo>
                    <a:pt x="2933116" y="200876"/>
                  </a:lnTo>
                  <a:lnTo>
                    <a:pt x="2933116" y="199530"/>
                  </a:lnTo>
                  <a:lnTo>
                    <a:pt x="2933205" y="199530"/>
                  </a:lnTo>
                  <a:lnTo>
                    <a:pt x="2933205" y="200228"/>
                  </a:lnTo>
                  <a:lnTo>
                    <a:pt x="2933205" y="199530"/>
                  </a:lnTo>
                  <a:lnTo>
                    <a:pt x="2933256" y="199530"/>
                  </a:lnTo>
                  <a:lnTo>
                    <a:pt x="2933256" y="200876"/>
                  </a:lnTo>
                  <a:lnTo>
                    <a:pt x="2933256" y="199530"/>
                  </a:lnTo>
                  <a:lnTo>
                    <a:pt x="2933256" y="200228"/>
                  </a:lnTo>
                  <a:lnTo>
                    <a:pt x="2933256" y="199530"/>
                  </a:lnTo>
                  <a:lnTo>
                    <a:pt x="2933256" y="200228"/>
                  </a:lnTo>
                  <a:lnTo>
                    <a:pt x="2933256" y="199530"/>
                  </a:lnTo>
                  <a:lnTo>
                    <a:pt x="2933307" y="199530"/>
                  </a:lnTo>
                  <a:lnTo>
                    <a:pt x="2933307" y="200228"/>
                  </a:lnTo>
                  <a:lnTo>
                    <a:pt x="2933307" y="199530"/>
                  </a:lnTo>
                  <a:lnTo>
                    <a:pt x="2933307" y="200228"/>
                  </a:lnTo>
                  <a:lnTo>
                    <a:pt x="2933307" y="199530"/>
                  </a:lnTo>
                  <a:lnTo>
                    <a:pt x="2933307" y="200876"/>
                  </a:lnTo>
                  <a:lnTo>
                    <a:pt x="2933358" y="200876"/>
                  </a:lnTo>
                  <a:lnTo>
                    <a:pt x="2933358" y="200228"/>
                  </a:lnTo>
                  <a:lnTo>
                    <a:pt x="2933358" y="200876"/>
                  </a:lnTo>
                  <a:lnTo>
                    <a:pt x="2933358" y="200228"/>
                  </a:lnTo>
                  <a:lnTo>
                    <a:pt x="2933358" y="200876"/>
                  </a:lnTo>
                  <a:lnTo>
                    <a:pt x="2933358" y="200228"/>
                  </a:lnTo>
                  <a:lnTo>
                    <a:pt x="2933358" y="200876"/>
                  </a:lnTo>
                  <a:lnTo>
                    <a:pt x="2933358" y="200228"/>
                  </a:lnTo>
                  <a:lnTo>
                    <a:pt x="2933459" y="200228"/>
                  </a:lnTo>
                  <a:lnTo>
                    <a:pt x="2933459" y="200876"/>
                  </a:lnTo>
                  <a:lnTo>
                    <a:pt x="2933459" y="199530"/>
                  </a:lnTo>
                  <a:lnTo>
                    <a:pt x="2933459" y="200228"/>
                  </a:lnTo>
                  <a:lnTo>
                    <a:pt x="2933510" y="199530"/>
                  </a:lnTo>
                  <a:lnTo>
                    <a:pt x="2933510" y="198831"/>
                  </a:lnTo>
                  <a:lnTo>
                    <a:pt x="2933510" y="199530"/>
                  </a:lnTo>
                  <a:lnTo>
                    <a:pt x="2933510" y="197447"/>
                  </a:lnTo>
                  <a:lnTo>
                    <a:pt x="2933561" y="197447"/>
                  </a:lnTo>
                  <a:lnTo>
                    <a:pt x="2933561" y="196799"/>
                  </a:lnTo>
                  <a:lnTo>
                    <a:pt x="2933561" y="199530"/>
                  </a:lnTo>
                  <a:lnTo>
                    <a:pt x="2933561" y="197447"/>
                  </a:lnTo>
                  <a:lnTo>
                    <a:pt x="2933561" y="198831"/>
                  </a:lnTo>
                  <a:lnTo>
                    <a:pt x="2933662" y="199530"/>
                  </a:lnTo>
                  <a:lnTo>
                    <a:pt x="2933662" y="202260"/>
                  </a:lnTo>
                  <a:lnTo>
                    <a:pt x="2933662" y="199530"/>
                  </a:lnTo>
                  <a:lnTo>
                    <a:pt x="2933662" y="200876"/>
                  </a:lnTo>
                  <a:lnTo>
                    <a:pt x="2933701" y="200876"/>
                  </a:lnTo>
                  <a:lnTo>
                    <a:pt x="2933701" y="200228"/>
                  </a:lnTo>
                  <a:lnTo>
                    <a:pt x="2933701" y="200876"/>
                  </a:lnTo>
                  <a:lnTo>
                    <a:pt x="2933751" y="200876"/>
                  </a:lnTo>
                  <a:lnTo>
                    <a:pt x="2933751" y="200228"/>
                  </a:lnTo>
                  <a:lnTo>
                    <a:pt x="2933751" y="200876"/>
                  </a:lnTo>
                  <a:lnTo>
                    <a:pt x="2933802" y="200876"/>
                  </a:lnTo>
                  <a:lnTo>
                    <a:pt x="2933802" y="200228"/>
                  </a:lnTo>
                  <a:lnTo>
                    <a:pt x="2933802" y="200876"/>
                  </a:lnTo>
                  <a:lnTo>
                    <a:pt x="2933802" y="200228"/>
                  </a:lnTo>
                  <a:lnTo>
                    <a:pt x="2933802" y="200876"/>
                  </a:lnTo>
                  <a:lnTo>
                    <a:pt x="2933802" y="200228"/>
                  </a:lnTo>
                  <a:lnTo>
                    <a:pt x="2933802" y="200876"/>
                  </a:lnTo>
                  <a:lnTo>
                    <a:pt x="2933802" y="200228"/>
                  </a:lnTo>
                  <a:lnTo>
                    <a:pt x="2933802" y="202260"/>
                  </a:lnTo>
                  <a:lnTo>
                    <a:pt x="2933802" y="200876"/>
                  </a:lnTo>
                  <a:lnTo>
                    <a:pt x="2933904" y="200876"/>
                  </a:lnTo>
                  <a:lnTo>
                    <a:pt x="2933904" y="200228"/>
                  </a:lnTo>
                  <a:lnTo>
                    <a:pt x="2933904" y="200876"/>
                  </a:lnTo>
                  <a:lnTo>
                    <a:pt x="2933955" y="200228"/>
                  </a:lnTo>
                  <a:lnTo>
                    <a:pt x="2933955" y="199530"/>
                  </a:lnTo>
                  <a:lnTo>
                    <a:pt x="2933955" y="200228"/>
                  </a:lnTo>
                  <a:lnTo>
                    <a:pt x="2933955" y="199530"/>
                  </a:lnTo>
                  <a:lnTo>
                    <a:pt x="2934005" y="200228"/>
                  </a:lnTo>
                  <a:lnTo>
                    <a:pt x="2934005" y="197447"/>
                  </a:lnTo>
                  <a:lnTo>
                    <a:pt x="2934005" y="200228"/>
                  </a:lnTo>
                  <a:lnTo>
                    <a:pt x="2934107" y="200228"/>
                  </a:lnTo>
                  <a:lnTo>
                    <a:pt x="2934107" y="198831"/>
                  </a:lnTo>
                  <a:lnTo>
                    <a:pt x="2934107" y="202260"/>
                  </a:lnTo>
                  <a:lnTo>
                    <a:pt x="2934158" y="202260"/>
                  </a:lnTo>
                  <a:lnTo>
                    <a:pt x="2934158" y="200228"/>
                  </a:lnTo>
                  <a:lnTo>
                    <a:pt x="2934158" y="202260"/>
                  </a:lnTo>
                  <a:lnTo>
                    <a:pt x="2934208" y="202260"/>
                  </a:lnTo>
                  <a:lnTo>
                    <a:pt x="2934208" y="200228"/>
                  </a:lnTo>
                  <a:lnTo>
                    <a:pt x="2934208" y="202260"/>
                  </a:lnTo>
                  <a:lnTo>
                    <a:pt x="2934208" y="200876"/>
                  </a:lnTo>
                  <a:lnTo>
                    <a:pt x="2934247" y="200876"/>
                  </a:lnTo>
                  <a:lnTo>
                    <a:pt x="2934247" y="202260"/>
                  </a:lnTo>
                  <a:lnTo>
                    <a:pt x="2934247" y="200876"/>
                  </a:lnTo>
                  <a:lnTo>
                    <a:pt x="2934247" y="202260"/>
                  </a:lnTo>
                  <a:lnTo>
                    <a:pt x="2934247" y="200876"/>
                  </a:lnTo>
                  <a:lnTo>
                    <a:pt x="2934247" y="202260"/>
                  </a:lnTo>
                  <a:lnTo>
                    <a:pt x="2934247" y="200876"/>
                  </a:lnTo>
                  <a:lnTo>
                    <a:pt x="2934247" y="202260"/>
                  </a:lnTo>
                  <a:lnTo>
                    <a:pt x="2934348" y="202260"/>
                  </a:lnTo>
                  <a:lnTo>
                    <a:pt x="2934348" y="200876"/>
                  </a:lnTo>
                  <a:lnTo>
                    <a:pt x="2934348" y="202260"/>
                  </a:lnTo>
                  <a:lnTo>
                    <a:pt x="2934348" y="200876"/>
                  </a:lnTo>
                  <a:lnTo>
                    <a:pt x="2934348" y="202260"/>
                  </a:lnTo>
                  <a:lnTo>
                    <a:pt x="2934348" y="200876"/>
                  </a:lnTo>
                  <a:lnTo>
                    <a:pt x="2934348" y="202260"/>
                  </a:lnTo>
                  <a:lnTo>
                    <a:pt x="2934399" y="202260"/>
                  </a:lnTo>
                  <a:lnTo>
                    <a:pt x="2934399" y="200228"/>
                  </a:lnTo>
                  <a:lnTo>
                    <a:pt x="2934450" y="200228"/>
                  </a:lnTo>
                  <a:lnTo>
                    <a:pt x="2934450" y="198831"/>
                  </a:lnTo>
                  <a:lnTo>
                    <a:pt x="2934551" y="198831"/>
                  </a:lnTo>
                  <a:lnTo>
                    <a:pt x="2934551" y="197447"/>
                  </a:lnTo>
                  <a:lnTo>
                    <a:pt x="2934551" y="199530"/>
                  </a:lnTo>
                  <a:lnTo>
                    <a:pt x="2934551" y="198831"/>
                  </a:lnTo>
                  <a:lnTo>
                    <a:pt x="2934602" y="197447"/>
                  </a:lnTo>
                  <a:lnTo>
                    <a:pt x="2934602" y="200876"/>
                  </a:lnTo>
                  <a:lnTo>
                    <a:pt x="2934602" y="199530"/>
                  </a:lnTo>
                  <a:lnTo>
                    <a:pt x="2934653" y="199530"/>
                  </a:lnTo>
                  <a:lnTo>
                    <a:pt x="2934653" y="202260"/>
                  </a:lnTo>
                  <a:lnTo>
                    <a:pt x="2934653" y="200228"/>
                  </a:lnTo>
                  <a:lnTo>
                    <a:pt x="2934653" y="200876"/>
                  </a:lnTo>
                  <a:lnTo>
                    <a:pt x="2934653" y="200228"/>
                  </a:lnTo>
                  <a:lnTo>
                    <a:pt x="2934704" y="200228"/>
                  </a:lnTo>
                  <a:lnTo>
                    <a:pt x="2934704" y="202260"/>
                  </a:lnTo>
                  <a:lnTo>
                    <a:pt x="2934704" y="200228"/>
                  </a:lnTo>
                  <a:lnTo>
                    <a:pt x="2934704" y="200876"/>
                  </a:lnTo>
                  <a:lnTo>
                    <a:pt x="2934793" y="200876"/>
                  </a:lnTo>
                  <a:lnTo>
                    <a:pt x="2934793" y="202260"/>
                  </a:lnTo>
                  <a:lnTo>
                    <a:pt x="2934793" y="200876"/>
                  </a:lnTo>
                  <a:lnTo>
                    <a:pt x="2934793" y="202260"/>
                  </a:lnTo>
                  <a:lnTo>
                    <a:pt x="2934793" y="200876"/>
                  </a:lnTo>
                  <a:lnTo>
                    <a:pt x="2934844" y="200876"/>
                  </a:lnTo>
                  <a:lnTo>
                    <a:pt x="2934844" y="202260"/>
                  </a:lnTo>
                  <a:lnTo>
                    <a:pt x="2934844" y="200876"/>
                  </a:lnTo>
                  <a:lnTo>
                    <a:pt x="2934844" y="202260"/>
                  </a:lnTo>
                  <a:lnTo>
                    <a:pt x="2934844" y="200876"/>
                  </a:lnTo>
                  <a:lnTo>
                    <a:pt x="2934894" y="200876"/>
                  </a:lnTo>
                  <a:lnTo>
                    <a:pt x="2934894" y="200228"/>
                  </a:lnTo>
                  <a:lnTo>
                    <a:pt x="2934945" y="200228"/>
                  </a:lnTo>
                  <a:lnTo>
                    <a:pt x="2934945" y="199530"/>
                  </a:lnTo>
                  <a:lnTo>
                    <a:pt x="2934945" y="200228"/>
                  </a:lnTo>
                  <a:lnTo>
                    <a:pt x="2934945" y="197447"/>
                  </a:lnTo>
                  <a:lnTo>
                    <a:pt x="2935047" y="198831"/>
                  </a:lnTo>
                  <a:lnTo>
                    <a:pt x="2935047" y="200228"/>
                  </a:lnTo>
                  <a:lnTo>
                    <a:pt x="2935047" y="199530"/>
                  </a:lnTo>
                  <a:lnTo>
                    <a:pt x="2935097" y="200228"/>
                  </a:lnTo>
                  <a:lnTo>
                    <a:pt x="2935097" y="202260"/>
                  </a:lnTo>
                  <a:lnTo>
                    <a:pt x="2935097" y="200228"/>
                  </a:lnTo>
                  <a:lnTo>
                    <a:pt x="2935097" y="200876"/>
                  </a:lnTo>
                  <a:lnTo>
                    <a:pt x="2935148" y="200876"/>
                  </a:lnTo>
                  <a:lnTo>
                    <a:pt x="2935148" y="202260"/>
                  </a:lnTo>
                  <a:lnTo>
                    <a:pt x="2935148" y="200228"/>
                  </a:lnTo>
                  <a:lnTo>
                    <a:pt x="2935148" y="200876"/>
                  </a:lnTo>
                  <a:lnTo>
                    <a:pt x="2935148" y="200228"/>
                  </a:lnTo>
                  <a:lnTo>
                    <a:pt x="2935148" y="200876"/>
                  </a:lnTo>
                  <a:lnTo>
                    <a:pt x="2935250" y="200876"/>
                  </a:lnTo>
                  <a:lnTo>
                    <a:pt x="2935250" y="202260"/>
                  </a:lnTo>
                  <a:lnTo>
                    <a:pt x="2935250" y="200228"/>
                  </a:lnTo>
                  <a:lnTo>
                    <a:pt x="2935250" y="202260"/>
                  </a:lnTo>
                  <a:lnTo>
                    <a:pt x="2935250" y="200876"/>
                  </a:lnTo>
                  <a:lnTo>
                    <a:pt x="2935250" y="202260"/>
                  </a:lnTo>
                  <a:lnTo>
                    <a:pt x="2935288" y="202260"/>
                  </a:lnTo>
                  <a:lnTo>
                    <a:pt x="2935288" y="200876"/>
                  </a:lnTo>
                  <a:lnTo>
                    <a:pt x="2935288" y="202260"/>
                  </a:lnTo>
                  <a:lnTo>
                    <a:pt x="2935288" y="200876"/>
                  </a:lnTo>
                  <a:lnTo>
                    <a:pt x="2935288" y="202260"/>
                  </a:lnTo>
                  <a:lnTo>
                    <a:pt x="2935288" y="200876"/>
                  </a:lnTo>
                  <a:lnTo>
                    <a:pt x="2935288" y="202260"/>
                  </a:lnTo>
                  <a:lnTo>
                    <a:pt x="2935288" y="200876"/>
                  </a:lnTo>
                  <a:lnTo>
                    <a:pt x="2935288" y="202260"/>
                  </a:lnTo>
                  <a:lnTo>
                    <a:pt x="2935339" y="202260"/>
                  </a:lnTo>
                  <a:lnTo>
                    <a:pt x="2935339" y="200876"/>
                  </a:lnTo>
                  <a:lnTo>
                    <a:pt x="2935339" y="202260"/>
                  </a:lnTo>
                  <a:lnTo>
                    <a:pt x="2935339" y="200876"/>
                  </a:lnTo>
                  <a:lnTo>
                    <a:pt x="2935339" y="202260"/>
                  </a:lnTo>
                  <a:lnTo>
                    <a:pt x="2935339" y="200876"/>
                  </a:lnTo>
                  <a:lnTo>
                    <a:pt x="2935339" y="202260"/>
                  </a:lnTo>
                  <a:lnTo>
                    <a:pt x="2935339" y="200876"/>
                  </a:lnTo>
                  <a:lnTo>
                    <a:pt x="2935339" y="202260"/>
                  </a:lnTo>
                  <a:lnTo>
                    <a:pt x="2935339" y="200228"/>
                  </a:lnTo>
                  <a:lnTo>
                    <a:pt x="2935390" y="200228"/>
                  </a:lnTo>
                  <a:lnTo>
                    <a:pt x="2935390" y="200876"/>
                  </a:lnTo>
                  <a:lnTo>
                    <a:pt x="2935390" y="199530"/>
                  </a:lnTo>
                  <a:lnTo>
                    <a:pt x="2935491" y="199530"/>
                  </a:lnTo>
                  <a:lnTo>
                    <a:pt x="2935491" y="196799"/>
                  </a:lnTo>
                  <a:lnTo>
                    <a:pt x="2935542" y="196799"/>
                  </a:lnTo>
                  <a:lnTo>
                    <a:pt x="2935542" y="195415"/>
                  </a:lnTo>
                  <a:lnTo>
                    <a:pt x="2935542" y="196799"/>
                  </a:lnTo>
                  <a:lnTo>
                    <a:pt x="2935542" y="196113"/>
                  </a:lnTo>
                  <a:lnTo>
                    <a:pt x="2935593" y="196113"/>
                  </a:lnTo>
                  <a:lnTo>
                    <a:pt x="2935593" y="199530"/>
                  </a:lnTo>
                  <a:lnTo>
                    <a:pt x="2935593" y="197447"/>
                  </a:lnTo>
                  <a:lnTo>
                    <a:pt x="2935593" y="198831"/>
                  </a:lnTo>
                  <a:lnTo>
                    <a:pt x="2935593" y="197447"/>
                  </a:lnTo>
                  <a:lnTo>
                    <a:pt x="2935694" y="197447"/>
                  </a:lnTo>
                  <a:lnTo>
                    <a:pt x="2935694" y="199530"/>
                  </a:lnTo>
                  <a:lnTo>
                    <a:pt x="2935694" y="198831"/>
                  </a:lnTo>
                  <a:lnTo>
                    <a:pt x="2935745" y="198831"/>
                  </a:lnTo>
                  <a:lnTo>
                    <a:pt x="2935745" y="200228"/>
                  </a:lnTo>
                  <a:lnTo>
                    <a:pt x="2935745" y="199530"/>
                  </a:lnTo>
                  <a:lnTo>
                    <a:pt x="2935745" y="200228"/>
                  </a:lnTo>
                  <a:lnTo>
                    <a:pt x="2935745" y="199530"/>
                  </a:lnTo>
                  <a:lnTo>
                    <a:pt x="2935745" y="200228"/>
                  </a:lnTo>
                  <a:lnTo>
                    <a:pt x="2935796" y="200228"/>
                  </a:lnTo>
                  <a:lnTo>
                    <a:pt x="2935796" y="200876"/>
                  </a:lnTo>
                  <a:lnTo>
                    <a:pt x="2935796" y="200228"/>
                  </a:lnTo>
                  <a:lnTo>
                    <a:pt x="2935796" y="200876"/>
                  </a:lnTo>
                  <a:lnTo>
                    <a:pt x="2935796" y="200228"/>
                  </a:lnTo>
                  <a:lnTo>
                    <a:pt x="2935796" y="200876"/>
                  </a:lnTo>
                  <a:lnTo>
                    <a:pt x="2935834" y="200876"/>
                  </a:lnTo>
                  <a:lnTo>
                    <a:pt x="2935834" y="202260"/>
                  </a:lnTo>
                  <a:lnTo>
                    <a:pt x="2935834" y="200876"/>
                  </a:lnTo>
                  <a:lnTo>
                    <a:pt x="2935834" y="202260"/>
                  </a:lnTo>
                  <a:lnTo>
                    <a:pt x="2935834" y="200876"/>
                  </a:lnTo>
                  <a:lnTo>
                    <a:pt x="2935936" y="200876"/>
                  </a:lnTo>
                  <a:lnTo>
                    <a:pt x="2935936" y="200228"/>
                  </a:lnTo>
                  <a:lnTo>
                    <a:pt x="2935936" y="200876"/>
                  </a:lnTo>
                  <a:lnTo>
                    <a:pt x="2935936" y="199530"/>
                  </a:lnTo>
                  <a:lnTo>
                    <a:pt x="2935987" y="199530"/>
                  </a:lnTo>
                  <a:lnTo>
                    <a:pt x="2935987" y="197447"/>
                  </a:lnTo>
                  <a:lnTo>
                    <a:pt x="2936037" y="197447"/>
                  </a:lnTo>
                  <a:lnTo>
                    <a:pt x="2936037" y="196113"/>
                  </a:lnTo>
                  <a:lnTo>
                    <a:pt x="2936037" y="196799"/>
                  </a:lnTo>
                  <a:lnTo>
                    <a:pt x="2936037" y="196113"/>
                  </a:lnTo>
                  <a:lnTo>
                    <a:pt x="2936037" y="196799"/>
                  </a:lnTo>
                  <a:lnTo>
                    <a:pt x="2936139" y="196799"/>
                  </a:lnTo>
                  <a:lnTo>
                    <a:pt x="2936139" y="194716"/>
                  </a:lnTo>
                  <a:lnTo>
                    <a:pt x="2936139" y="196799"/>
                  </a:lnTo>
                  <a:lnTo>
                    <a:pt x="2936190" y="196113"/>
                  </a:lnTo>
                  <a:lnTo>
                    <a:pt x="2936190" y="197447"/>
                  </a:lnTo>
                  <a:lnTo>
                    <a:pt x="2936190" y="196799"/>
                  </a:lnTo>
                  <a:lnTo>
                    <a:pt x="2936240" y="196799"/>
                  </a:lnTo>
                  <a:lnTo>
                    <a:pt x="2936240" y="196113"/>
                  </a:lnTo>
                  <a:lnTo>
                    <a:pt x="2936240" y="198831"/>
                  </a:lnTo>
                  <a:lnTo>
                    <a:pt x="2936240" y="196799"/>
                  </a:lnTo>
                  <a:lnTo>
                    <a:pt x="2936240" y="197447"/>
                  </a:lnTo>
                  <a:lnTo>
                    <a:pt x="2936291" y="197447"/>
                  </a:lnTo>
                  <a:lnTo>
                    <a:pt x="2936291" y="199530"/>
                  </a:lnTo>
                  <a:lnTo>
                    <a:pt x="2936291" y="198831"/>
                  </a:lnTo>
                  <a:lnTo>
                    <a:pt x="2936380" y="199530"/>
                  </a:lnTo>
                  <a:lnTo>
                    <a:pt x="2936380" y="200228"/>
                  </a:lnTo>
                  <a:lnTo>
                    <a:pt x="2936380" y="199530"/>
                  </a:lnTo>
                  <a:lnTo>
                    <a:pt x="2936380" y="200228"/>
                  </a:lnTo>
                  <a:lnTo>
                    <a:pt x="2936431" y="200228"/>
                  </a:lnTo>
                  <a:lnTo>
                    <a:pt x="2936431" y="199530"/>
                  </a:lnTo>
                  <a:lnTo>
                    <a:pt x="2936431" y="200228"/>
                  </a:lnTo>
                  <a:lnTo>
                    <a:pt x="2936482" y="200228"/>
                  </a:lnTo>
                  <a:lnTo>
                    <a:pt x="2936482" y="199530"/>
                  </a:lnTo>
                  <a:lnTo>
                    <a:pt x="2936482" y="200228"/>
                  </a:lnTo>
                  <a:lnTo>
                    <a:pt x="2936482" y="199530"/>
                  </a:lnTo>
                  <a:lnTo>
                    <a:pt x="2936482" y="200228"/>
                  </a:lnTo>
                  <a:lnTo>
                    <a:pt x="2936482" y="198831"/>
                  </a:lnTo>
                  <a:lnTo>
                    <a:pt x="2936482" y="199530"/>
                  </a:lnTo>
                  <a:lnTo>
                    <a:pt x="2936482" y="198831"/>
                  </a:lnTo>
                  <a:lnTo>
                    <a:pt x="2936533" y="198831"/>
                  </a:lnTo>
                  <a:lnTo>
                    <a:pt x="2936533" y="197447"/>
                  </a:lnTo>
                  <a:lnTo>
                    <a:pt x="2936533" y="198831"/>
                  </a:lnTo>
                  <a:lnTo>
                    <a:pt x="2936533" y="197447"/>
                  </a:lnTo>
                  <a:lnTo>
                    <a:pt x="2936634" y="197447"/>
                  </a:lnTo>
                  <a:lnTo>
                    <a:pt x="2936634" y="196799"/>
                  </a:lnTo>
                  <a:lnTo>
                    <a:pt x="2936634" y="199530"/>
                  </a:lnTo>
                  <a:lnTo>
                    <a:pt x="2936634" y="197447"/>
                  </a:lnTo>
                  <a:lnTo>
                    <a:pt x="2936685" y="197447"/>
                  </a:lnTo>
                  <a:lnTo>
                    <a:pt x="2936685" y="198831"/>
                  </a:lnTo>
                  <a:lnTo>
                    <a:pt x="2936736" y="198831"/>
                  </a:lnTo>
                  <a:lnTo>
                    <a:pt x="2936736" y="199530"/>
                  </a:lnTo>
                  <a:lnTo>
                    <a:pt x="2936736" y="198831"/>
                  </a:lnTo>
                  <a:lnTo>
                    <a:pt x="2936736" y="199530"/>
                  </a:lnTo>
                  <a:lnTo>
                    <a:pt x="2936837" y="198831"/>
                  </a:lnTo>
                  <a:lnTo>
                    <a:pt x="2936837" y="199530"/>
                  </a:lnTo>
                  <a:lnTo>
                    <a:pt x="2936837" y="198831"/>
                  </a:lnTo>
                  <a:lnTo>
                    <a:pt x="2936837" y="199530"/>
                  </a:lnTo>
                  <a:lnTo>
                    <a:pt x="2936876" y="199530"/>
                  </a:lnTo>
                  <a:lnTo>
                    <a:pt x="2936876" y="200228"/>
                  </a:lnTo>
                  <a:lnTo>
                    <a:pt x="2936876" y="199530"/>
                  </a:lnTo>
                  <a:lnTo>
                    <a:pt x="2936876" y="200228"/>
                  </a:lnTo>
                  <a:lnTo>
                    <a:pt x="2936926" y="200228"/>
                  </a:lnTo>
                  <a:lnTo>
                    <a:pt x="2936926" y="199530"/>
                  </a:lnTo>
                  <a:lnTo>
                    <a:pt x="2936926" y="200228"/>
                  </a:lnTo>
                  <a:lnTo>
                    <a:pt x="2936926" y="199530"/>
                  </a:lnTo>
                  <a:lnTo>
                    <a:pt x="2936977" y="199530"/>
                  </a:lnTo>
                  <a:lnTo>
                    <a:pt x="2936977" y="197447"/>
                  </a:lnTo>
                  <a:lnTo>
                    <a:pt x="2937079" y="197447"/>
                  </a:lnTo>
                  <a:lnTo>
                    <a:pt x="2937079" y="200876"/>
                  </a:lnTo>
                  <a:lnTo>
                    <a:pt x="2937079" y="198831"/>
                  </a:lnTo>
                  <a:lnTo>
                    <a:pt x="2937130" y="198831"/>
                  </a:lnTo>
                  <a:lnTo>
                    <a:pt x="2937130" y="200876"/>
                  </a:lnTo>
                  <a:lnTo>
                    <a:pt x="2937130" y="199530"/>
                  </a:lnTo>
                  <a:lnTo>
                    <a:pt x="2937130" y="200228"/>
                  </a:lnTo>
                  <a:lnTo>
                    <a:pt x="2937180" y="200228"/>
                  </a:lnTo>
                  <a:lnTo>
                    <a:pt x="2937180" y="199530"/>
                  </a:lnTo>
                  <a:lnTo>
                    <a:pt x="2937180" y="200228"/>
                  </a:lnTo>
                  <a:lnTo>
                    <a:pt x="2937180" y="199530"/>
                  </a:lnTo>
                  <a:lnTo>
                    <a:pt x="2937180" y="200228"/>
                  </a:lnTo>
                  <a:lnTo>
                    <a:pt x="2937180" y="199530"/>
                  </a:lnTo>
                  <a:lnTo>
                    <a:pt x="2937282" y="199530"/>
                  </a:lnTo>
                  <a:lnTo>
                    <a:pt x="2937282" y="200228"/>
                  </a:lnTo>
                  <a:lnTo>
                    <a:pt x="2937282" y="199530"/>
                  </a:lnTo>
                  <a:lnTo>
                    <a:pt x="2937282" y="200228"/>
                  </a:lnTo>
                  <a:lnTo>
                    <a:pt x="2937333" y="200228"/>
                  </a:lnTo>
                  <a:lnTo>
                    <a:pt x="2937333" y="199530"/>
                  </a:lnTo>
                  <a:lnTo>
                    <a:pt x="2937333" y="200228"/>
                  </a:lnTo>
                  <a:lnTo>
                    <a:pt x="2937333" y="199530"/>
                  </a:lnTo>
                  <a:lnTo>
                    <a:pt x="2937333" y="200228"/>
                  </a:lnTo>
                  <a:lnTo>
                    <a:pt x="2937333" y="199530"/>
                  </a:lnTo>
                  <a:lnTo>
                    <a:pt x="2937333" y="200228"/>
                  </a:lnTo>
                  <a:lnTo>
                    <a:pt x="2937333" y="199530"/>
                  </a:lnTo>
                  <a:lnTo>
                    <a:pt x="2937333" y="200228"/>
                  </a:lnTo>
                  <a:lnTo>
                    <a:pt x="2937383" y="199530"/>
                  </a:lnTo>
                  <a:lnTo>
                    <a:pt x="2937383" y="200228"/>
                  </a:lnTo>
                  <a:lnTo>
                    <a:pt x="2937383" y="199530"/>
                  </a:lnTo>
                  <a:lnTo>
                    <a:pt x="2937383" y="200228"/>
                  </a:lnTo>
                  <a:lnTo>
                    <a:pt x="2937383" y="199530"/>
                  </a:lnTo>
                  <a:lnTo>
                    <a:pt x="2937383" y="200228"/>
                  </a:lnTo>
                  <a:lnTo>
                    <a:pt x="2937383" y="199530"/>
                  </a:lnTo>
                  <a:lnTo>
                    <a:pt x="2937422" y="199530"/>
                  </a:lnTo>
                  <a:lnTo>
                    <a:pt x="2937422" y="198831"/>
                  </a:lnTo>
                  <a:lnTo>
                    <a:pt x="2937422" y="199530"/>
                  </a:lnTo>
                  <a:lnTo>
                    <a:pt x="2937422" y="198831"/>
                  </a:lnTo>
                  <a:lnTo>
                    <a:pt x="2937523" y="198831"/>
                  </a:lnTo>
                  <a:lnTo>
                    <a:pt x="2937523" y="197447"/>
                  </a:lnTo>
                  <a:lnTo>
                    <a:pt x="2937523" y="198831"/>
                  </a:lnTo>
                  <a:lnTo>
                    <a:pt x="2937523" y="196799"/>
                  </a:lnTo>
                  <a:lnTo>
                    <a:pt x="2937523" y="198831"/>
                  </a:lnTo>
                  <a:lnTo>
                    <a:pt x="2937574" y="199530"/>
                  </a:lnTo>
                  <a:lnTo>
                    <a:pt x="2937574" y="197447"/>
                  </a:lnTo>
                  <a:lnTo>
                    <a:pt x="2937574" y="200876"/>
                  </a:lnTo>
                  <a:lnTo>
                    <a:pt x="2937625" y="200876"/>
                  </a:lnTo>
                  <a:lnTo>
                    <a:pt x="2937625" y="199530"/>
                  </a:lnTo>
                  <a:lnTo>
                    <a:pt x="2937625" y="200876"/>
                  </a:lnTo>
                  <a:lnTo>
                    <a:pt x="2937726" y="200876"/>
                  </a:lnTo>
                  <a:lnTo>
                    <a:pt x="2937726" y="200228"/>
                  </a:lnTo>
                  <a:lnTo>
                    <a:pt x="2937726" y="200876"/>
                  </a:lnTo>
                  <a:lnTo>
                    <a:pt x="2937777" y="200876"/>
                  </a:lnTo>
                  <a:lnTo>
                    <a:pt x="2937777" y="202260"/>
                  </a:lnTo>
                  <a:lnTo>
                    <a:pt x="2937777" y="200876"/>
                  </a:lnTo>
                  <a:lnTo>
                    <a:pt x="2937777" y="202260"/>
                  </a:lnTo>
                  <a:lnTo>
                    <a:pt x="2937777" y="200876"/>
                  </a:lnTo>
                  <a:lnTo>
                    <a:pt x="2937777" y="202260"/>
                  </a:lnTo>
                  <a:lnTo>
                    <a:pt x="2937777" y="200876"/>
                  </a:lnTo>
                  <a:lnTo>
                    <a:pt x="2937777" y="202260"/>
                  </a:lnTo>
                  <a:lnTo>
                    <a:pt x="2937777" y="200876"/>
                  </a:lnTo>
                  <a:lnTo>
                    <a:pt x="2937828" y="200876"/>
                  </a:lnTo>
                  <a:lnTo>
                    <a:pt x="2937828" y="200228"/>
                  </a:lnTo>
                  <a:lnTo>
                    <a:pt x="2937828" y="200876"/>
                  </a:lnTo>
                  <a:lnTo>
                    <a:pt x="2937879" y="200876"/>
                  </a:lnTo>
                  <a:lnTo>
                    <a:pt x="2937879" y="200228"/>
                  </a:lnTo>
                  <a:lnTo>
                    <a:pt x="2937879" y="200876"/>
                  </a:lnTo>
                  <a:lnTo>
                    <a:pt x="2937879" y="200228"/>
                  </a:lnTo>
                  <a:lnTo>
                    <a:pt x="2937968" y="200228"/>
                  </a:lnTo>
                  <a:lnTo>
                    <a:pt x="2937968" y="198831"/>
                  </a:lnTo>
                  <a:lnTo>
                    <a:pt x="2938019" y="198831"/>
                  </a:lnTo>
                  <a:lnTo>
                    <a:pt x="2938019" y="196799"/>
                  </a:lnTo>
                  <a:lnTo>
                    <a:pt x="2938019" y="199530"/>
                  </a:lnTo>
                  <a:lnTo>
                    <a:pt x="2938019" y="198831"/>
                  </a:lnTo>
                  <a:lnTo>
                    <a:pt x="2938019" y="199530"/>
                  </a:lnTo>
                  <a:lnTo>
                    <a:pt x="2938069" y="198831"/>
                  </a:lnTo>
                  <a:lnTo>
                    <a:pt x="2938069" y="196799"/>
                  </a:lnTo>
                  <a:lnTo>
                    <a:pt x="2938069" y="200228"/>
                  </a:lnTo>
                  <a:lnTo>
                    <a:pt x="2938120" y="200228"/>
                  </a:lnTo>
                  <a:lnTo>
                    <a:pt x="2938120" y="199530"/>
                  </a:lnTo>
                  <a:lnTo>
                    <a:pt x="2938120" y="200876"/>
                  </a:lnTo>
                  <a:lnTo>
                    <a:pt x="2938120" y="200228"/>
                  </a:lnTo>
                  <a:lnTo>
                    <a:pt x="2938222" y="200228"/>
                  </a:lnTo>
                  <a:lnTo>
                    <a:pt x="2938222" y="200876"/>
                  </a:lnTo>
                  <a:lnTo>
                    <a:pt x="2938222" y="200228"/>
                  </a:lnTo>
                  <a:lnTo>
                    <a:pt x="2938222" y="200876"/>
                  </a:lnTo>
                  <a:lnTo>
                    <a:pt x="2938272" y="200876"/>
                  </a:lnTo>
                  <a:lnTo>
                    <a:pt x="2938272" y="200228"/>
                  </a:lnTo>
                  <a:lnTo>
                    <a:pt x="2938272" y="200876"/>
                  </a:lnTo>
                  <a:lnTo>
                    <a:pt x="2938272" y="200228"/>
                  </a:lnTo>
                  <a:lnTo>
                    <a:pt x="2938272" y="200876"/>
                  </a:lnTo>
                  <a:lnTo>
                    <a:pt x="2938323" y="200876"/>
                  </a:lnTo>
                  <a:lnTo>
                    <a:pt x="2938323" y="202260"/>
                  </a:lnTo>
                  <a:lnTo>
                    <a:pt x="2938323" y="200228"/>
                  </a:lnTo>
                  <a:lnTo>
                    <a:pt x="2938323" y="200876"/>
                  </a:lnTo>
                  <a:lnTo>
                    <a:pt x="2938425" y="200876"/>
                  </a:lnTo>
                  <a:lnTo>
                    <a:pt x="2938425" y="200228"/>
                  </a:lnTo>
                  <a:lnTo>
                    <a:pt x="2938425" y="200876"/>
                  </a:lnTo>
                  <a:lnTo>
                    <a:pt x="2938425" y="200228"/>
                  </a:lnTo>
                  <a:lnTo>
                    <a:pt x="2938425" y="200876"/>
                  </a:lnTo>
                  <a:lnTo>
                    <a:pt x="2938425" y="200228"/>
                  </a:lnTo>
                  <a:lnTo>
                    <a:pt x="2938463" y="200228"/>
                  </a:lnTo>
                  <a:lnTo>
                    <a:pt x="2938463" y="198831"/>
                  </a:lnTo>
                  <a:lnTo>
                    <a:pt x="2938514" y="198831"/>
                  </a:lnTo>
                  <a:lnTo>
                    <a:pt x="2938514" y="197447"/>
                  </a:lnTo>
                  <a:lnTo>
                    <a:pt x="2938514" y="198831"/>
                  </a:lnTo>
                  <a:lnTo>
                    <a:pt x="2938514" y="197447"/>
                  </a:lnTo>
                  <a:lnTo>
                    <a:pt x="2938565" y="197447"/>
                  </a:lnTo>
                  <a:lnTo>
                    <a:pt x="2938565" y="196799"/>
                  </a:lnTo>
                  <a:lnTo>
                    <a:pt x="2938565" y="199530"/>
                  </a:lnTo>
                  <a:lnTo>
                    <a:pt x="2938565" y="198831"/>
                  </a:lnTo>
                  <a:lnTo>
                    <a:pt x="2938666" y="198831"/>
                  </a:lnTo>
                  <a:lnTo>
                    <a:pt x="2938666" y="200228"/>
                  </a:lnTo>
                  <a:lnTo>
                    <a:pt x="2938666" y="199530"/>
                  </a:lnTo>
                  <a:lnTo>
                    <a:pt x="2938717" y="200228"/>
                  </a:lnTo>
                  <a:lnTo>
                    <a:pt x="2938717" y="199530"/>
                  </a:lnTo>
                  <a:lnTo>
                    <a:pt x="2938717" y="200228"/>
                  </a:lnTo>
                  <a:lnTo>
                    <a:pt x="2938717" y="199530"/>
                  </a:lnTo>
                  <a:lnTo>
                    <a:pt x="2938717" y="200876"/>
                  </a:lnTo>
                  <a:lnTo>
                    <a:pt x="2938717" y="200228"/>
                  </a:lnTo>
                  <a:lnTo>
                    <a:pt x="2938717" y="200876"/>
                  </a:lnTo>
                  <a:lnTo>
                    <a:pt x="2938768" y="200876"/>
                  </a:lnTo>
                  <a:lnTo>
                    <a:pt x="2938768" y="202260"/>
                  </a:lnTo>
                  <a:lnTo>
                    <a:pt x="2938768" y="200228"/>
                  </a:lnTo>
                  <a:lnTo>
                    <a:pt x="2938768" y="200876"/>
                  </a:lnTo>
                  <a:lnTo>
                    <a:pt x="2938920" y="200876"/>
                  </a:lnTo>
                  <a:lnTo>
                    <a:pt x="2938920" y="200228"/>
                  </a:lnTo>
                  <a:lnTo>
                    <a:pt x="2938920" y="200876"/>
                  </a:lnTo>
                  <a:lnTo>
                    <a:pt x="2938920" y="200228"/>
                  </a:lnTo>
                  <a:lnTo>
                    <a:pt x="2938920" y="200876"/>
                  </a:lnTo>
                  <a:lnTo>
                    <a:pt x="2938920" y="200228"/>
                  </a:lnTo>
                  <a:lnTo>
                    <a:pt x="2938971" y="200228"/>
                  </a:lnTo>
                  <a:lnTo>
                    <a:pt x="2938971" y="198831"/>
                  </a:lnTo>
                  <a:lnTo>
                    <a:pt x="2938971" y="199530"/>
                  </a:lnTo>
                  <a:lnTo>
                    <a:pt x="2938971" y="198831"/>
                  </a:lnTo>
                  <a:lnTo>
                    <a:pt x="2939009" y="198831"/>
                  </a:lnTo>
                  <a:lnTo>
                    <a:pt x="2939009" y="197447"/>
                  </a:lnTo>
                  <a:lnTo>
                    <a:pt x="2939009" y="198831"/>
                  </a:lnTo>
                  <a:lnTo>
                    <a:pt x="2939009" y="196799"/>
                  </a:lnTo>
                  <a:lnTo>
                    <a:pt x="2939111" y="197447"/>
                  </a:lnTo>
                  <a:lnTo>
                    <a:pt x="2939111" y="199530"/>
                  </a:lnTo>
                  <a:lnTo>
                    <a:pt x="2939111" y="198831"/>
                  </a:lnTo>
                  <a:lnTo>
                    <a:pt x="2939162" y="199530"/>
                  </a:lnTo>
                  <a:lnTo>
                    <a:pt x="2939162" y="200228"/>
                  </a:lnTo>
                  <a:lnTo>
                    <a:pt x="2939162" y="199530"/>
                  </a:lnTo>
                  <a:lnTo>
                    <a:pt x="2939162" y="200228"/>
                  </a:lnTo>
                  <a:lnTo>
                    <a:pt x="2939162" y="198831"/>
                  </a:lnTo>
                  <a:lnTo>
                    <a:pt x="2939162" y="200228"/>
                  </a:lnTo>
                  <a:lnTo>
                    <a:pt x="2939212" y="200228"/>
                  </a:lnTo>
                  <a:lnTo>
                    <a:pt x="2939212" y="199530"/>
                  </a:lnTo>
                  <a:lnTo>
                    <a:pt x="2939212" y="200228"/>
                  </a:lnTo>
                  <a:lnTo>
                    <a:pt x="2939212" y="199530"/>
                  </a:lnTo>
                  <a:lnTo>
                    <a:pt x="2939212" y="200228"/>
                  </a:lnTo>
                  <a:lnTo>
                    <a:pt x="2939212" y="199530"/>
                  </a:lnTo>
                  <a:lnTo>
                    <a:pt x="2939212" y="200228"/>
                  </a:lnTo>
                  <a:lnTo>
                    <a:pt x="2939212" y="199530"/>
                  </a:lnTo>
                  <a:lnTo>
                    <a:pt x="2939314" y="200228"/>
                  </a:lnTo>
                  <a:lnTo>
                    <a:pt x="2939365" y="200228"/>
                  </a:lnTo>
                  <a:lnTo>
                    <a:pt x="2939365" y="200876"/>
                  </a:lnTo>
                  <a:lnTo>
                    <a:pt x="2939365" y="200228"/>
                  </a:lnTo>
                  <a:lnTo>
                    <a:pt x="2939365" y="200876"/>
                  </a:lnTo>
                  <a:lnTo>
                    <a:pt x="2939365" y="200228"/>
                  </a:lnTo>
                  <a:lnTo>
                    <a:pt x="2939365" y="200876"/>
                  </a:lnTo>
                  <a:lnTo>
                    <a:pt x="2939365" y="200228"/>
                  </a:lnTo>
                  <a:lnTo>
                    <a:pt x="2939415" y="200228"/>
                  </a:lnTo>
                  <a:lnTo>
                    <a:pt x="2939415" y="200876"/>
                  </a:lnTo>
                  <a:lnTo>
                    <a:pt x="2939415" y="200228"/>
                  </a:lnTo>
                  <a:lnTo>
                    <a:pt x="2939466" y="199530"/>
                  </a:lnTo>
                  <a:lnTo>
                    <a:pt x="2939466" y="198831"/>
                  </a:lnTo>
                  <a:lnTo>
                    <a:pt x="2939466" y="200228"/>
                  </a:lnTo>
                  <a:lnTo>
                    <a:pt x="2939466" y="199530"/>
                  </a:lnTo>
                  <a:lnTo>
                    <a:pt x="2939466" y="200228"/>
                  </a:lnTo>
                  <a:lnTo>
                    <a:pt x="2939466" y="199530"/>
                  </a:lnTo>
                  <a:lnTo>
                    <a:pt x="2939555" y="198831"/>
                  </a:lnTo>
                  <a:lnTo>
                    <a:pt x="2939555" y="200876"/>
                  </a:lnTo>
                  <a:lnTo>
                    <a:pt x="2939555" y="200228"/>
                  </a:lnTo>
                  <a:lnTo>
                    <a:pt x="2939606" y="200228"/>
                  </a:lnTo>
                  <a:lnTo>
                    <a:pt x="2939606" y="202260"/>
                  </a:lnTo>
                  <a:lnTo>
                    <a:pt x="2939606" y="200876"/>
                  </a:lnTo>
                  <a:lnTo>
                    <a:pt x="2939657" y="200876"/>
                  </a:lnTo>
                  <a:lnTo>
                    <a:pt x="2939657" y="202260"/>
                  </a:lnTo>
                  <a:lnTo>
                    <a:pt x="2939657" y="200876"/>
                  </a:lnTo>
                  <a:lnTo>
                    <a:pt x="2939657" y="202260"/>
                  </a:lnTo>
                  <a:lnTo>
                    <a:pt x="2939657" y="200876"/>
                  </a:lnTo>
                  <a:lnTo>
                    <a:pt x="2939657" y="202260"/>
                  </a:lnTo>
                  <a:lnTo>
                    <a:pt x="2939657" y="200876"/>
                  </a:lnTo>
                  <a:lnTo>
                    <a:pt x="2939708" y="200876"/>
                  </a:lnTo>
                  <a:lnTo>
                    <a:pt x="2939708" y="202260"/>
                  </a:lnTo>
                  <a:lnTo>
                    <a:pt x="2939708" y="200876"/>
                  </a:lnTo>
                  <a:lnTo>
                    <a:pt x="2939708" y="202260"/>
                  </a:lnTo>
                  <a:lnTo>
                    <a:pt x="2939809" y="200876"/>
                  </a:lnTo>
                  <a:lnTo>
                    <a:pt x="2939809" y="202260"/>
                  </a:lnTo>
                  <a:lnTo>
                    <a:pt x="2939809" y="200876"/>
                  </a:lnTo>
                  <a:lnTo>
                    <a:pt x="2939809" y="202260"/>
                  </a:lnTo>
                  <a:lnTo>
                    <a:pt x="2939809" y="200876"/>
                  </a:lnTo>
                  <a:lnTo>
                    <a:pt x="2939809" y="202260"/>
                  </a:lnTo>
                  <a:lnTo>
                    <a:pt x="2939860" y="202260"/>
                  </a:lnTo>
                  <a:lnTo>
                    <a:pt x="2939860" y="200228"/>
                  </a:lnTo>
                  <a:lnTo>
                    <a:pt x="2939911" y="200228"/>
                  </a:lnTo>
                  <a:lnTo>
                    <a:pt x="2939911" y="199530"/>
                  </a:lnTo>
                  <a:lnTo>
                    <a:pt x="2939911" y="200228"/>
                  </a:lnTo>
                  <a:lnTo>
                    <a:pt x="2939911" y="198831"/>
                  </a:lnTo>
                  <a:lnTo>
                    <a:pt x="2940012" y="198831"/>
                  </a:lnTo>
                  <a:lnTo>
                    <a:pt x="2940012" y="199530"/>
                  </a:lnTo>
                  <a:lnTo>
                    <a:pt x="2940012" y="198831"/>
                  </a:lnTo>
                  <a:lnTo>
                    <a:pt x="2940012" y="200228"/>
                  </a:lnTo>
                  <a:lnTo>
                    <a:pt x="2940012" y="199530"/>
                  </a:lnTo>
                  <a:lnTo>
                    <a:pt x="2940051" y="199530"/>
                  </a:lnTo>
                  <a:lnTo>
                    <a:pt x="2940051" y="202260"/>
                  </a:lnTo>
                  <a:lnTo>
                    <a:pt x="2940051" y="200228"/>
                  </a:lnTo>
                  <a:lnTo>
                    <a:pt x="2940051" y="200876"/>
                  </a:lnTo>
                  <a:lnTo>
                    <a:pt x="2940051" y="200228"/>
                  </a:lnTo>
                  <a:lnTo>
                    <a:pt x="2940051" y="200876"/>
                  </a:lnTo>
                  <a:lnTo>
                    <a:pt x="2940101" y="200876"/>
                  </a:lnTo>
                  <a:lnTo>
                    <a:pt x="2940101" y="202959"/>
                  </a:lnTo>
                  <a:lnTo>
                    <a:pt x="2940101" y="202260"/>
                  </a:lnTo>
                  <a:lnTo>
                    <a:pt x="2940152" y="202260"/>
                  </a:lnTo>
                  <a:lnTo>
                    <a:pt x="2940152" y="202959"/>
                  </a:lnTo>
                  <a:lnTo>
                    <a:pt x="2940152" y="202260"/>
                  </a:lnTo>
                  <a:lnTo>
                    <a:pt x="2940152" y="202959"/>
                  </a:lnTo>
                  <a:lnTo>
                    <a:pt x="2940152" y="200876"/>
                  </a:lnTo>
                  <a:lnTo>
                    <a:pt x="2940152" y="202260"/>
                  </a:lnTo>
                  <a:lnTo>
                    <a:pt x="2940254" y="202260"/>
                  </a:lnTo>
                  <a:lnTo>
                    <a:pt x="2940254" y="200876"/>
                  </a:lnTo>
                  <a:lnTo>
                    <a:pt x="2940254" y="202260"/>
                  </a:lnTo>
                  <a:lnTo>
                    <a:pt x="2940254" y="200876"/>
                  </a:lnTo>
                  <a:lnTo>
                    <a:pt x="2940254" y="202260"/>
                  </a:lnTo>
                  <a:lnTo>
                    <a:pt x="2940254" y="200876"/>
                  </a:lnTo>
                  <a:lnTo>
                    <a:pt x="2940305" y="202260"/>
                  </a:lnTo>
                  <a:lnTo>
                    <a:pt x="2940305" y="200876"/>
                  </a:lnTo>
                  <a:lnTo>
                    <a:pt x="2940305" y="202260"/>
                  </a:lnTo>
                  <a:lnTo>
                    <a:pt x="2940305" y="200876"/>
                  </a:lnTo>
                  <a:lnTo>
                    <a:pt x="2940355" y="200228"/>
                  </a:lnTo>
                  <a:lnTo>
                    <a:pt x="2940355" y="200876"/>
                  </a:lnTo>
                  <a:lnTo>
                    <a:pt x="2940355" y="200228"/>
                  </a:lnTo>
                  <a:lnTo>
                    <a:pt x="2940355" y="200876"/>
                  </a:lnTo>
                  <a:lnTo>
                    <a:pt x="2940355" y="200228"/>
                  </a:lnTo>
                  <a:lnTo>
                    <a:pt x="2940355" y="200876"/>
                  </a:lnTo>
                  <a:lnTo>
                    <a:pt x="2940355" y="200228"/>
                  </a:lnTo>
                  <a:lnTo>
                    <a:pt x="2940457" y="200228"/>
                  </a:lnTo>
                  <a:lnTo>
                    <a:pt x="2940457" y="198831"/>
                  </a:lnTo>
                  <a:lnTo>
                    <a:pt x="2940457" y="199530"/>
                  </a:lnTo>
                  <a:lnTo>
                    <a:pt x="2940457" y="197447"/>
                  </a:lnTo>
                  <a:lnTo>
                    <a:pt x="2940508" y="197447"/>
                  </a:lnTo>
                  <a:lnTo>
                    <a:pt x="2940508" y="196799"/>
                  </a:lnTo>
                  <a:lnTo>
                    <a:pt x="2940508" y="198831"/>
                  </a:lnTo>
                  <a:lnTo>
                    <a:pt x="2940508" y="197447"/>
                  </a:lnTo>
                  <a:lnTo>
                    <a:pt x="2940508" y="198831"/>
                  </a:lnTo>
                  <a:lnTo>
                    <a:pt x="2940508" y="197447"/>
                  </a:lnTo>
                  <a:lnTo>
                    <a:pt x="2940558" y="197447"/>
                  </a:lnTo>
                  <a:lnTo>
                    <a:pt x="2940558" y="200228"/>
                  </a:lnTo>
                  <a:lnTo>
                    <a:pt x="2940558" y="198831"/>
                  </a:lnTo>
                  <a:lnTo>
                    <a:pt x="2940558" y="199530"/>
                  </a:lnTo>
                  <a:lnTo>
                    <a:pt x="2940558" y="198831"/>
                  </a:lnTo>
                  <a:lnTo>
                    <a:pt x="2940558" y="199530"/>
                  </a:lnTo>
                  <a:lnTo>
                    <a:pt x="2940597" y="199530"/>
                  </a:lnTo>
                  <a:lnTo>
                    <a:pt x="2940597" y="200228"/>
                  </a:lnTo>
                  <a:lnTo>
                    <a:pt x="2940597" y="199530"/>
                  </a:lnTo>
                  <a:lnTo>
                    <a:pt x="2940597" y="200228"/>
                  </a:lnTo>
                  <a:lnTo>
                    <a:pt x="2940698" y="200876"/>
                  </a:lnTo>
                  <a:lnTo>
                    <a:pt x="2940698" y="200228"/>
                  </a:lnTo>
                  <a:lnTo>
                    <a:pt x="2940698" y="200876"/>
                  </a:lnTo>
                  <a:lnTo>
                    <a:pt x="2940698" y="200228"/>
                  </a:lnTo>
                  <a:lnTo>
                    <a:pt x="2940698" y="200876"/>
                  </a:lnTo>
                  <a:lnTo>
                    <a:pt x="2940698" y="200228"/>
                  </a:lnTo>
                  <a:lnTo>
                    <a:pt x="2940749" y="200228"/>
                  </a:lnTo>
                  <a:lnTo>
                    <a:pt x="2940749" y="202959"/>
                  </a:lnTo>
                  <a:lnTo>
                    <a:pt x="2940800" y="202959"/>
                  </a:lnTo>
                  <a:lnTo>
                    <a:pt x="2940800" y="200876"/>
                  </a:lnTo>
                  <a:lnTo>
                    <a:pt x="2940800" y="202260"/>
                  </a:lnTo>
                  <a:lnTo>
                    <a:pt x="2940800" y="200876"/>
                  </a:lnTo>
                  <a:lnTo>
                    <a:pt x="2940901" y="200876"/>
                  </a:lnTo>
                  <a:lnTo>
                    <a:pt x="2940901" y="200228"/>
                  </a:lnTo>
                  <a:lnTo>
                    <a:pt x="2940901" y="200876"/>
                  </a:lnTo>
                  <a:lnTo>
                    <a:pt x="2940901" y="200228"/>
                  </a:lnTo>
                  <a:lnTo>
                    <a:pt x="2940901" y="200876"/>
                  </a:lnTo>
                  <a:lnTo>
                    <a:pt x="2940901" y="199530"/>
                  </a:lnTo>
                  <a:lnTo>
                    <a:pt x="2940901" y="200228"/>
                  </a:lnTo>
                  <a:lnTo>
                    <a:pt x="2940952" y="200228"/>
                  </a:lnTo>
                  <a:lnTo>
                    <a:pt x="2940952" y="196799"/>
                  </a:lnTo>
                  <a:lnTo>
                    <a:pt x="2940952" y="197447"/>
                  </a:lnTo>
                  <a:lnTo>
                    <a:pt x="2941003" y="197447"/>
                  </a:lnTo>
                  <a:lnTo>
                    <a:pt x="2941003" y="198831"/>
                  </a:lnTo>
                  <a:lnTo>
                    <a:pt x="2941003" y="197447"/>
                  </a:lnTo>
                  <a:lnTo>
                    <a:pt x="2941003" y="198831"/>
                  </a:lnTo>
                  <a:lnTo>
                    <a:pt x="2941003" y="197447"/>
                  </a:lnTo>
                  <a:lnTo>
                    <a:pt x="2941003" y="198831"/>
                  </a:lnTo>
                  <a:lnTo>
                    <a:pt x="2941003" y="197447"/>
                  </a:lnTo>
                  <a:lnTo>
                    <a:pt x="2941003" y="198831"/>
                  </a:lnTo>
                  <a:lnTo>
                    <a:pt x="2941054" y="199530"/>
                  </a:lnTo>
                  <a:lnTo>
                    <a:pt x="2941054" y="200228"/>
                  </a:lnTo>
                  <a:lnTo>
                    <a:pt x="2941054" y="199530"/>
                  </a:lnTo>
                  <a:lnTo>
                    <a:pt x="2941054" y="200228"/>
                  </a:lnTo>
                  <a:lnTo>
                    <a:pt x="2941143" y="200228"/>
                  </a:lnTo>
                  <a:lnTo>
                    <a:pt x="2941143" y="199530"/>
                  </a:lnTo>
                  <a:lnTo>
                    <a:pt x="2941143" y="200228"/>
                  </a:lnTo>
                  <a:lnTo>
                    <a:pt x="2941143" y="199530"/>
                  </a:lnTo>
                  <a:lnTo>
                    <a:pt x="2941143" y="200876"/>
                  </a:lnTo>
                  <a:lnTo>
                    <a:pt x="2941143" y="200228"/>
                  </a:lnTo>
                  <a:lnTo>
                    <a:pt x="2941194" y="200228"/>
                  </a:lnTo>
                  <a:lnTo>
                    <a:pt x="2941194" y="199530"/>
                  </a:lnTo>
                  <a:lnTo>
                    <a:pt x="2941194" y="200876"/>
                  </a:lnTo>
                  <a:lnTo>
                    <a:pt x="2941244" y="200228"/>
                  </a:lnTo>
                  <a:lnTo>
                    <a:pt x="2941244" y="200876"/>
                  </a:lnTo>
                  <a:lnTo>
                    <a:pt x="2941295" y="200876"/>
                  </a:lnTo>
                  <a:lnTo>
                    <a:pt x="2941295" y="202260"/>
                  </a:lnTo>
                  <a:lnTo>
                    <a:pt x="2941295" y="200228"/>
                  </a:lnTo>
                  <a:lnTo>
                    <a:pt x="2941295" y="200876"/>
                  </a:lnTo>
                  <a:lnTo>
                    <a:pt x="2941397" y="200876"/>
                  </a:lnTo>
                  <a:lnTo>
                    <a:pt x="2941397" y="199530"/>
                  </a:lnTo>
                  <a:lnTo>
                    <a:pt x="2941397" y="200228"/>
                  </a:lnTo>
                  <a:lnTo>
                    <a:pt x="2941397" y="199530"/>
                  </a:lnTo>
                  <a:lnTo>
                    <a:pt x="2941447" y="199530"/>
                  </a:lnTo>
                  <a:lnTo>
                    <a:pt x="2941447" y="196799"/>
                  </a:lnTo>
                  <a:lnTo>
                    <a:pt x="2941447" y="198831"/>
                  </a:lnTo>
                  <a:lnTo>
                    <a:pt x="2941498" y="199530"/>
                  </a:lnTo>
                  <a:lnTo>
                    <a:pt x="2941498" y="198831"/>
                  </a:lnTo>
                  <a:lnTo>
                    <a:pt x="2941498" y="199530"/>
                  </a:lnTo>
                  <a:lnTo>
                    <a:pt x="2941498" y="198831"/>
                  </a:lnTo>
                  <a:lnTo>
                    <a:pt x="2941498" y="199530"/>
                  </a:lnTo>
                  <a:lnTo>
                    <a:pt x="2941498" y="198831"/>
                  </a:lnTo>
                  <a:lnTo>
                    <a:pt x="2941498" y="199530"/>
                  </a:lnTo>
                  <a:lnTo>
                    <a:pt x="2941498" y="198831"/>
                  </a:lnTo>
                  <a:lnTo>
                    <a:pt x="2941498" y="200228"/>
                  </a:lnTo>
                  <a:lnTo>
                    <a:pt x="2941600" y="200228"/>
                  </a:lnTo>
                  <a:lnTo>
                    <a:pt x="2941600" y="200876"/>
                  </a:lnTo>
                  <a:lnTo>
                    <a:pt x="2941600" y="199530"/>
                  </a:lnTo>
                  <a:lnTo>
                    <a:pt x="2941600" y="200228"/>
                  </a:lnTo>
                  <a:lnTo>
                    <a:pt x="2941638" y="200228"/>
                  </a:lnTo>
                  <a:lnTo>
                    <a:pt x="2941638" y="199530"/>
                  </a:lnTo>
                  <a:lnTo>
                    <a:pt x="2941638" y="200228"/>
                  </a:lnTo>
                  <a:lnTo>
                    <a:pt x="2941638" y="199530"/>
                  </a:lnTo>
                  <a:lnTo>
                    <a:pt x="2941638" y="200876"/>
                  </a:lnTo>
                  <a:lnTo>
                    <a:pt x="2941638" y="200228"/>
                  </a:lnTo>
                  <a:lnTo>
                    <a:pt x="2941689" y="200228"/>
                  </a:lnTo>
                  <a:lnTo>
                    <a:pt x="2941689" y="200876"/>
                  </a:lnTo>
                  <a:lnTo>
                    <a:pt x="2941689" y="200228"/>
                  </a:lnTo>
                  <a:lnTo>
                    <a:pt x="2941689" y="200876"/>
                  </a:lnTo>
                  <a:lnTo>
                    <a:pt x="2941740" y="200876"/>
                  </a:lnTo>
                  <a:lnTo>
                    <a:pt x="2941740" y="202260"/>
                  </a:lnTo>
                  <a:lnTo>
                    <a:pt x="2941740" y="200876"/>
                  </a:lnTo>
                  <a:lnTo>
                    <a:pt x="2941841" y="200876"/>
                  </a:lnTo>
                  <a:lnTo>
                    <a:pt x="2941841" y="202260"/>
                  </a:lnTo>
                  <a:lnTo>
                    <a:pt x="2941841" y="200876"/>
                  </a:lnTo>
                  <a:lnTo>
                    <a:pt x="2941841" y="202260"/>
                  </a:lnTo>
                  <a:lnTo>
                    <a:pt x="2941841" y="200876"/>
                  </a:lnTo>
                  <a:lnTo>
                    <a:pt x="2941841" y="202260"/>
                  </a:lnTo>
                  <a:lnTo>
                    <a:pt x="2941841" y="200876"/>
                  </a:lnTo>
                  <a:lnTo>
                    <a:pt x="2941892" y="200876"/>
                  </a:lnTo>
                  <a:lnTo>
                    <a:pt x="2941892" y="200228"/>
                  </a:lnTo>
                  <a:lnTo>
                    <a:pt x="2941892" y="200876"/>
                  </a:lnTo>
                  <a:lnTo>
                    <a:pt x="2941892" y="200228"/>
                  </a:lnTo>
                  <a:lnTo>
                    <a:pt x="2941892" y="200876"/>
                  </a:lnTo>
                  <a:lnTo>
                    <a:pt x="2941892" y="198831"/>
                  </a:lnTo>
                  <a:lnTo>
                    <a:pt x="2941943" y="198831"/>
                  </a:lnTo>
                  <a:lnTo>
                    <a:pt x="2941943" y="197447"/>
                  </a:lnTo>
                  <a:lnTo>
                    <a:pt x="2941943" y="198831"/>
                  </a:lnTo>
                  <a:lnTo>
                    <a:pt x="2941943" y="197447"/>
                  </a:lnTo>
                  <a:lnTo>
                    <a:pt x="2941943" y="198831"/>
                  </a:lnTo>
                  <a:lnTo>
                    <a:pt x="2941943" y="197447"/>
                  </a:lnTo>
                  <a:lnTo>
                    <a:pt x="2941943" y="199530"/>
                  </a:lnTo>
                  <a:lnTo>
                    <a:pt x="2941943" y="198831"/>
                  </a:lnTo>
                  <a:lnTo>
                    <a:pt x="2942044" y="198831"/>
                  </a:lnTo>
                  <a:lnTo>
                    <a:pt x="2942044" y="197447"/>
                  </a:lnTo>
                  <a:lnTo>
                    <a:pt x="2942044" y="198831"/>
                  </a:lnTo>
                  <a:lnTo>
                    <a:pt x="2942044" y="197447"/>
                  </a:lnTo>
                  <a:lnTo>
                    <a:pt x="2942044" y="200876"/>
                  </a:lnTo>
                  <a:lnTo>
                    <a:pt x="2942044" y="200228"/>
                  </a:lnTo>
                  <a:lnTo>
                    <a:pt x="2942095" y="199530"/>
                  </a:lnTo>
                  <a:lnTo>
                    <a:pt x="2942095" y="200228"/>
                  </a:lnTo>
                  <a:lnTo>
                    <a:pt x="2942095" y="199530"/>
                  </a:lnTo>
                  <a:lnTo>
                    <a:pt x="2942095" y="200228"/>
                  </a:lnTo>
                  <a:lnTo>
                    <a:pt x="2942095" y="199530"/>
                  </a:lnTo>
                  <a:lnTo>
                    <a:pt x="2942095" y="200228"/>
                  </a:lnTo>
                  <a:lnTo>
                    <a:pt x="2942095" y="199530"/>
                  </a:lnTo>
                  <a:lnTo>
                    <a:pt x="2942095" y="200228"/>
                  </a:lnTo>
                  <a:lnTo>
                    <a:pt x="2942095" y="199530"/>
                  </a:lnTo>
                  <a:lnTo>
                    <a:pt x="2942146" y="200228"/>
                  </a:lnTo>
                  <a:lnTo>
                    <a:pt x="2942146" y="199530"/>
                  </a:lnTo>
                  <a:lnTo>
                    <a:pt x="2942146" y="200228"/>
                  </a:lnTo>
                  <a:lnTo>
                    <a:pt x="2942146" y="199530"/>
                  </a:lnTo>
                  <a:lnTo>
                    <a:pt x="2942146" y="200228"/>
                  </a:lnTo>
                  <a:lnTo>
                    <a:pt x="2942146" y="199530"/>
                  </a:lnTo>
                  <a:lnTo>
                    <a:pt x="2942146" y="200228"/>
                  </a:lnTo>
                  <a:lnTo>
                    <a:pt x="2942146" y="199530"/>
                  </a:lnTo>
                  <a:lnTo>
                    <a:pt x="2942146" y="200228"/>
                  </a:lnTo>
                  <a:lnTo>
                    <a:pt x="2942184" y="200228"/>
                  </a:lnTo>
                  <a:lnTo>
                    <a:pt x="2942184" y="199530"/>
                  </a:lnTo>
                  <a:lnTo>
                    <a:pt x="2942184" y="200876"/>
                  </a:lnTo>
                  <a:lnTo>
                    <a:pt x="2942184" y="199530"/>
                  </a:lnTo>
                  <a:lnTo>
                    <a:pt x="2942286" y="200228"/>
                  </a:lnTo>
                  <a:lnTo>
                    <a:pt x="2942286" y="200876"/>
                  </a:lnTo>
                  <a:lnTo>
                    <a:pt x="2942286" y="200228"/>
                  </a:lnTo>
                  <a:lnTo>
                    <a:pt x="2942286" y="200876"/>
                  </a:lnTo>
                  <a:lnTo>
                    <a:pt x="2942286" y="200228"/>
                  </a:lnTo>
                  <a:lnTo>
                    <a:pt x="2942286" y="200876"/>
                  </a:lnTo>
                  <a:lnTo>
                    <a:pt x="2942286" y="200228"/>
                  </a:lnTo>
                  <a:lnTo>
                    <a:pt x="2942286" y="200876"/>
                  </a:lnTo>
                  <a:lnTo>
                    <a:pt x="2942337" y="200876"/>
                  </a:lnTo>
                  <a:lnTo>
                    <a:pt x="2942337" y="200228"/>
                  </a:lnTo>
                  <a:lnTo>
                    <a:pt x="2942337" y="200876"/>
                  </a:lnTo>
                  <a:lnTo>
                    <a:pt x="2942337" y="200228"/>
                  </a:lnTo>
                  <a:lnTo>
                    <a:pt x="2942387" y="200228"/>
                  </a:lnTo>
                  <a:lnTo>
                    <a:pt x="2942387" y="198831"/>
                  </a:lnTo>
                  <a:lnTo>
                    <a:pt x="2942387" y="199530"/>
                  </a:lnTo>
                  <a:lnTo>
                    <a:pt x="2942387" y="198831"/>
                  </a:lnTo>
                  <a:lnTo>
                    <a:pt x="2942489" y="198831"/>
                  </a:lnTo>
                  <a:lnTo>
                    <a:pt x="2942489" y="199530"/>
                  </a:lnTo>
                  <a:lnTo>
                    <a:pt x="2942489" y="197447"/>
                  </a:lnTo>
                  <a:lnTo>
                    <a:pt x="2942489" y="198831"/>
                  </a:lnTo>
                  <a:lnTo>
                    <a:pt x="2942540" y="198831"/>
                  </a:lnTo>
                  <a:lnTo>
                    <a:pt x="2942540" y="200876"/>
                  </a:lnTo>
                  <a:lnTo>
                    <a:pt x="2942540" y="200228"/>
                  </a:lnTo>
                  <a:lnTo>
                    <a:pt x="2942590" y="199530"/>
                  </a:lnTo>
                  <a:lnTo>
                    <a:pt x="2942590" y="202260"/>
                  </a:lnTo>
                  <a:lnTo>
                    <a:pt x="2942590" y="200228"/>
                  </a:lnTo>
                  <a:lnTo>
                    <a:pt x="2942641" y="200228"/>
                  </a:lnTo>
                  <a:lnTo>
                    <a:pt x="2942641" y="200876"/>
                  </a:lnTo>
                  <a:lnTo>
                    <a:pt x="2942641" y="200228"/>
                  </a:lnTo>
                  <a:lnTo>
                    <a:pt x="2942641" y="200876"/>
                  </a:lnTo>
                  <a:lnTo>
                    <a:pt x="2942730" y="200876"/>
                  </a:lnTo>
                  <a:lnTo>
                    <a:pt x="2942730" y="200228"/>
                  </a:lnTo>
                  <a:lnTo>
                    <a:pt x="2942730" y="200876"/>
                  </a:lnTo>
                  <a:lnTo>
                    <a:pt x="2942730" y="200228"/>
                  </a:lnTo>
                  <a:lnTo>
                    <a:pt x="2942730" y="202260"/>
                  </a:lnTo>
                  <a:lnTo>
                    <a:pt x="2942730" y="200876"/>
                  </a:lnTo>
                  <a:lnTo>
                    <a:pt x="2942781" y="200876"/>
                  </a:lnTo>
                  <a:lnTo>
                    <a:pt x="2942781" y="202260"/>
                  </a:lnTo>
                  <a:lnTo>
                    <a:pt x="2942781" y="200876"/>
                  </a:lnTo>
                  <a:lnTo>
                    <a:pt x="2942781" y="202260"/>
                  </a:lnTo>
                  <a:lnTo>
                    <a:pt x="2942781" y="200876"/>
                  </a:lnTo>
                  <a:lnTo>
                    <a:pt x="2942832" y="200876"/>
                  </a:lnTo>
                  <a:lnTo>
                    <a:pt x="2942832" y="200228"/>
                  </a:lnTo>
                  <a:lnTo>
                    <a:pt x="2942832" y="200876"/>
                  </a:lnTo>
                  <a:lnTo>
                    <a:pt x="2942832" y="200228"/>
                  </a:lnTo>
                  <a:lnTo>
                    <a:pt x="2942883" y="200228"/>
                  </a:lnTo>
                  <a:lnTo>
                    <a:pt x="2942883" y="199530"/>
                  </a:lnTo>
                  <a:lnTo>
                    <a:pt x="2942883" y="200228"/>
                  </a:lnTo>
                  <a:lnTo>
                    <a:pt x="2942883" y="198831"/>
                  </a:lnTo>
                  <a:lnTo>
                    <a:pt x="2942883" y="199530"/>
                  </a:lnTo>
                  <a:lnTo>
                    <a:pt x="2942883" y="198831"/>
                  </a:lnTo>
                  <a:lnTo>
                    <a:pt x="2942984" y="198831"/>
                  </a:lnTo>
                  <a:lnTo>
                    <a:pt x="2942984" y="196799"/>
                  </a:lnTo>
                  <a:lnTo>
                    <a:pt x="2942984" y="199530"/>
                  </a:lnTo>
                  <a:lnTo>
                    <a:pt x="2942984" y="198831"/>
                  </a:lnTo>
                  <a:lnTo>
                    <a:pt x="2943035" y="198831"/>
                  </a:lnTo>
                  <a:lnTo>
                    <a:pt x="2943035" y="197447"/>
                  </a:lnTo>
                  <a:lnTo>
                    <a:pt x="2943035" y="200876"/>
                  </a:lnTo>
                  <a:lnTo>
                    <a:pt x="2943035" y="200228"/>
                  </a:lnTo>
                  <a:lnTo>
                    <a:pt x="2943035" y="200876"/>
                  </a:lnTo>
                  <a:lnTo>
                    <a:pt x="2943035" y="200228"/>
                  </a:lnTo>
                  <a:lnTo>
                    <a:pt x="2943035" y="200876"/>
                  </a:lnTo>
                  <a:lnTo>
                    <a:pt x="2943035" y="199530"/>
                  </a:lnTo>
                  <a:lnTo>
                    <a:pt x="2943035" y="200228"/>
                  </a:lnTo>
                  <a:lnTo>
                    <a:pt x="2943035" y="199530"/>
                  </a:lnTo>
                  <a:lnTo>
                    <a:pt x="2943086" y="199530"/>
                  </a:lnTo>
                  <a:lnTo>
                    <a:pt x="2943086" y="200228"/>
                  </a:lnTo>
                  <a:lnTo>
                    <a:pt x="2943086" y="199530"/>
                  </a:lnTo>
                  <a:lnTo>
                    <a:pt x="2943086" y="200228"/>
                  </a:lnTo>
                  <a:lnTo>
                    <a:pt x="2943086" y="199530"/>
                  </a:lnTo>
                  <a:lnTo>
                    <a:pt x="2943086" y="200876"/>
                  </a:lnTo>
                  <a:lnTo>
                    <a:pt x="2943086" y="200228"/>
                  </a:lnTo>
                  <a:lnTo>
                    <a:pt x="2943086" y="200876"/>
                  </a:lnTo>
                  <a:lnTo>
                    <a:pt x="2943086" y="200228"/>
                  </a:lnTo>
                  <a:lnTo>
                    <a:pt x="2943187" y="200876"/>
                  </a:lnTo>
                  <a:lnTo>
                    <a:pt x="2943187" y="200228"/>
                  </a:lnTo>
                  <a:lnTo>
                    <a:pt x="2943187" y="200876"/>
                  </a:lnTo>
                  <a:lnTo>
                    <a:pt x="2943187" y="200228"/>
                  </a:lnTo>
                  <a:lnTo>
                    <a:pt x="2943187" y="200876"/>
                  </a:lnTo>
                  <a:lnTo>
                    <a:pt x="2943187" y="200228"/>
                  </a:lnTo>
                  <a:lnTo>
                    <a:pt x="2943226" y="200228"/>
                  </a:lnTo>
                  <a:lnTo>
                    <a:pt x="2943226" y="200876"/>
                  </a:lnTo>
                  <a:lnTo>
                    <a:pt x="2943226" y="200228"/>
                  </a:lnTo>
                  <a:lnTo>
                    <a:pt x="2943226" y="200876"/>
                  </a:lnTo>
                  <a:lnTo>
                    <a:pt x="2943226" y="200228"/>
                  </a:lnTo>
                  <a:lnTo>
                    <a:pt x="2943226" y="200876"/>
                  </a:lnTo>
                  <a:lnTo>
                    <a:pt x="2943276" y="202260"/>
                  </a:lnTo>
                  <a:lnTo>
                    <a:pt x="2943276" y="200876"/>
                  </a:lnTo>
                  <a:lnTo>
                    <a:pt x="2943327" y="200876"/>
                  </a:lnTo>
                  <a:lnTo>
                    <a:pt x="2943327" y="199530"/>
                  </a:lnTo>
                  <a:lnTo>
                    <a:pt x="2943327" y="200228"/>
                  </a:lnTo>
                  <a:lnTo>
                    <a:pt x="2943429" y="199530"/>
                  </a:lnTo>
                  <a:lnTo>
                    <a:pt x="2943429" y="196799"/>
                  </a:lnTo>
                  <a:lnTo>
                    <a:pt x="2943480" y="196799"/>
                  </a:lnTo>
                  <a:lnTo>
                    <a:pt x="2943480" y="199530"/>
                  </a:lnTo>
                  <a:lnTo>
                    <a:pt x="2943480" y="196799"/>
                  </a:lnTo>
                  <a:lnTo>
                    <a:pt x="2943480" y="199530"/>
                  </a:lnTo>
                  <a:lnTo>
                    <a:pt x="2943530" y="200228"/>
                  </a:lnTo>
                  <a:lnTo>
                    <a:pt x="2943530" y="200876"/>
                  </a:lnTo>
                  <a:lnTo>
                    <a:pt x="2943530" y="200228"/>
                  </a:lnTo>
                  <a:lnTo>
                    <a:pt x="2943530" y="200876"/>
                  </a:lnTo>
                  <a:lnTo>
                    <a:pt x="2943530" y="199530"/>
                  </a:lnTo>
                  <a:lnTo>
                    <a:pt x="2943530" y="200228"/>
                  </a:lnTo>
                  <a:lnTo>
                    <a:pt x="2943632" y="200228"/>
                  </a:lnTo>
                  <a:lnTo>
                    <a:pt x="2943632" y="200876"/>
                  </a:lnTo>
                  <a:lnTo>
                    <a:pt x="2943632" y="200228"/>
                  </a:lnTo>
                  <a:lnTo>
                    <a:pt x="2943632" y="200876"/>
                  </a:lnTo>
                  <a:lnTo>
                    <a:pt x="2943632" y="200228"/>
                  </a:lnTo>
                  <a:lnTo>
                    <a:pt x="2943632" y="200876"/>
                  </a:lnTo>
                  <a:lnTo>
                    <a:pt x="2943683" y="200228"/>
                  </a:lnTo>
                  <a:lnTo>
                    <a:pt x="2943683" y="200876"/>
                  </a:lnTo>
                  <a:lnTo>
                    <a:pt x="2943683" y="200228"/>
                  </a:lnTo>
                  <a:lnTo>
                    <a:pt x="2943683" y="200876"/>
                  </a:lnTo>
                  <a:lnTo>
                    <a:pt x="2943683" y="200228"/>
                  </a:lnTo>
                  <a:lnTo>
                    <a:pt x="2943683" y="200876"/>
                  </a:lnTo>
                  <a:lnTo>
                    <a:pt x="2943733" y="202260"/>
                  </a:lnTo>
                  <a:lnTo>
                    <a:pt x="2943733" y="200876"/>
                  </a:lnTo>
                  <a:lnTo>
                    <a:pt x="2943733" y="202260"/>
                  </a:lnTo>
                  <a:lnTo>
                    <a:pt x="2943733" y="200876"/>
                  </a:lnTo>
                  <a:lnTo>
                    <a:pt x="2943733" y="202260"/>
                  </a:lnTo>
                  <a:lnTo>
                    <a:pt x="2943733" y="200876"/>
                  </a:lnTo>
                  <a:lnTo>
                    <a:pt x="2943733" y="202260"/>
                  </a:lnTo>
                  <a:lnTo>
                    <a:pt x="2943772" y="202260"/>
                  </a:lnTo>
                  <a:lnTo>
                    <a:pt x="2943772" y="200876"/>
                  </a:lnTo>
                  <a:lnTo>
                    <a:pt x="2943772" y="202260"/>
                  </a:lnTo>
                  <a:lnTo>
                    <a:pt x="2943772" y="200876"/>
                  </a:lnTo>
                  <a:lnTo>
                    <a:pt x="2943772" y="202260"/>
                  </a:lnTo>
                  <a:lnTo>
                    <a:pt x="2943772" y="200876"/>
                  </a:lnTo>
                  <a:lnTo>
                    <a:pt x="2943873" y="200876"/>
                  </a:lnTo>
                  <a:lnTo>
                    <a:pt x="2943873" y="200228"/>
                  </a:lnTo>
                  <a:lnTo>
                    <a:pt x="2943873" y="200876"/>
                  </a:lnTo>
                  <a:lnTo>
                    <a:pt x="2943873" y="199530"/>
                  </a:lnTo>
                  <a:lnTo>
                    <a:pt x="2943924" y="199530"/>
                  </a:lnTo>
                  <a:lnTo>
                    <a:pt x="2943924" y="197447"/>
                  </a:lnTo>
                  <a:lnTo>
                    <a:pt x="2943924" y="200228"/>
                  </a:lnTo>
                  <a:lnTo>
                    <a:pt x="2943975" y="200228"/>
                  </a:lnTo>
                  <a:lnTo>
                    <a:pt x="2943975" y="197447"/>
                  </a:lnTo>
                  <a:lnTo>
                    <a:pt x="2943975" y="200876"/>
                  </a:lnTo>
                  <a:lnTo>
                    <a:pt x="2944076" y="200876"/>
                  </a:lnTo>
                  <a:lnTo>
                    <a:pt x="2944076" y="200228"/>
                  </a:lnTo>
                  <a:lnTo>
                    <a:pt x="2944076" y="200876"/>
                  </a:lnTo>
                  <a:lnTo>
                    <a:pt x="2944076" y="200228"/>
                  </a:lnTo>
                  <a:lnTo>
                    <a:pt x="2944127" y="200228"/>
                  </a:lnTo>
                  <a:lnTo>
                    <a:pt x="2944127" y="200876"/>
                  </a:lnTo>
                  <a:lnTo>
                    <a:pt x="2944127" y="200228"/>
                  </a:lnTo>
                  <a:lnTo>
                    <a:pt x="2944127" y="200876"/>
                  </a:lnTo>
                  <a:lnTo>
                    <a:pt x="2944178" y="200876"/>
                  </a:lnTo>
                  <a:lnTo>
                    <a:pt x="2944178" y="200228"/>
                  </a:lnTo>
                  <a:lnTo>
                    <a:pt x="2944178" y="200876"/>
                  </a:lnTo>
                  <a:lnTo>
                    <a:pt x="2944178" y="200228"/>
                  </a:lnTo>
                  <a:lnTo>
                    <a:pt x="2944178" y="200876"/>
                  </a:lnTo>
                  <a:lnTo>
                    <a:pt x="2944229" y="200876"/>
                  </a:lnTo>
                  <a:lnTo>
                    <a:pt x="2944229" y="202260"/>
                  </a:lnTo>
                  <a:lnTo>
                    <a:pt x="2944229" y="200876"/>
                  </a:lnTo>
                  <a:lnTo>
                    <a:pt x="2944229" y="202260"/>
                  </a:lnTo>
                  <a:lnTo>
                    <a:pt x="2944318" y="202260"/>
                  </a:lnTo>
                  <a:lnTo>
                    <a:pt x="2944318" y="200228"/>
                  </a:lnTo>
                  <a:lnTo>
                    <a:pt x="2944318" y="200876"/>
                  </a:lnTo>
                  <a:lnTo>
                    <a:pt x="2944318" y="200228"/>
                  </a:lnTo>
                  <a:lnTo>
                    <a:pt x="2944318" y="200876"/>
                  </a:lnTo>
                  <a:lnTo>
                    <a:pt x="2944369" y="200228"/>
                  </a:lnTo>
                  <a:lnTo>
                    <a:pt x="2944369" y="199530"/>
                  </a:lnTo>
                  <a:lnTo>
                    <a:pt x="2944369" y="200228"/>
                  </a:lnTo>
                  <a:lnTo>
                    <a:pt x="2944369" y="198831"/>
                  </a:lnTo>
                  <a:lnTo>
                    <a:pt x="2944419" y="197447"/>
                  </a:lnTo>
                  <a:lnTo>
                    <a:pt x="2944419" y="198831"/>
                  </a:lnTo>
                  <a:lnTo>
                    <a:pt x="2944419" y="196113"/>
                  </a:lnTo>
                  <a:lnTo>
                    <a:pt x="2944419" y="197447"/>
                  </a:lnTo>
                  <a:lnTo>
                    <a:pt x="2944470" y="198831"/>
                  </a:lnTo>
                  <a:lnTo>
                    <a:pt x="2944470" y="196799"/>
                  </a:lnTo>
                  <a:lnTo>
                    <a:pt x="2944470" y="200228"/>
                  </a:lnTo>
                  <a:lnTo>
                    <a:pt x="2944572" y="200228"/>
                  </a:lnTo>
                  <a:lnTo>
                    <a:pt x="2944572" y="198831"/>
                  </a:lnTo>
                  <a:lnTo>
                    <a:pt x="2944572" y="200228"/>
                  </a:lnTo>
                  <a:lnTo>
                    <a:pt x="2944572" y="199530"/>
                  </a:lnTo>
                  <a:lnTo>
                    <a:pt x="2944572" y="200228"/>
                  </a:lnTo>
                  <a:lnTo>
                    <a:pt x="2944622" y="200228"/>
                  </a:lnTo>
                  <a:lnTo>
                    <a:pt x="2944622" y="199530"/>
                  </a:lnTo>
                  <a:lnTo>
                    <a:pt x="2944622" y="200228"/>
                  </a:lnTo>
                  <a:lnTo>
                    <a:pt x="2944622" y="198831"/>
                  </a:lnTo>
                  <a:lnTo>
                    <a:pt x="2944622" y="199530"/>
                  </a:lnTo>
                  <a:lnTo>
                    <a:pt x="2944622" y="198831"/>
                  </a:lnTo>
                  <a:lnTo>
                    <a:pt x="2944622" y="200228"/>
                  </a:lnTo>
                  <a:lnTo>
                    <a:pt x="2944622" y="199530"/>
                  </a:lnTo>
                  <a:lnTo>
                    <a:pt x="2944622" y="200228"/>
                  </a:lnTo>
                  <a:lnTo>
                    <a:pt x="2944622" y="199530"/>
                  </a:lnTo>
                  <a:lnTo>
                    <a:pt x="2944673" y="200228"/>
                  </a:lnTo>
                  <a:lnTo>
                    <a:pt x="2944673" y="200876"/>
                  </a:lnTo>
                  <a:lnTo>
                    <a:pt x="2944673" y="200228"/>
                  </a:lnTo>
                  <a:lnTo>
                    <a:pt x="2944775" y="200876"/>
                  </a:lnTo>
                  <a:lnTo>
                    <a:pt x="2944775" y="200228"/>
                  </a:lnTo>
                  <a:lnTo>
                    <a:pt x="2944775" y="200876"/>
                  </a:lnTo>
                  <a:lnTo>
                    <a:pt x="2944775" y="200228"/>
                  </a:lnTo>
                  <a:lnTo>
                    <a:pt x="2944775" y="202260"/>
                  </a:lnTo>
                  <a:lnTo>
                    <a:pt x="2944775" y="200876"/>
                  </a:lnTo>
                  <a:lnTo>
                    <a:pt x="2944813" y="202260"/>
                  </a:lnTo>
                  <a:lnTo>
                    <a:pt x="2944813" y="200228"/>
                  </a:lnTo>
                  <a:lnTo>
                    <a:pt x="2944864" y="200228"/>
                  </a:lnTo>
                  <a:lnTo>
                    <a:pt x="2944864" y="200876"/>
                  </a:lnTo>
                  <a:lnTo>
                    <a:pt x="2944864" y="198831"/>
                  </a:lnTo>
                  <a:lnTo>
                    <a:pt x="2944915" y="198831"/>
                  </a:lnTo>
                  <a:lnTo>
                    <a:pt x="2944915" y="199530"/>
                  </a:lnTo>
                  <a:lnTo>
                    <a:pt x="2944915" y="196113"/>
                  </a:lnTo>
                  <a:lnTo>
                    <a:pt x="2944915" y="198831"/>
                  </a:lnTo>
                  <a:lnTo>
                    <a:pt x="2945016" y="198831"/>
                  </a:lnTo>
                  <a:lnTo>
                    <a:pt x="2945016" y="196113"/>
                  </a:lnTo>
                  <a:lnTo>
                    <a:pt x="2945016" y="199530"/>
                  </a:lnTo>
                  <a:lnTo>
                    <a:pt x="2945067" y="199530"/>
                  </a:lnTo>
                  <a:lnTo>
                    <a:pt x="2945067" y="196799"/>
                  </a:lnTo>
                  <a:lnTo>
                    <a:pt x="2945067" y="199530"/>
                  </a:lnTo>
                  <a:lnTo>
                    <a:pt x="2945067" y="198831"/>
                  </a:lnTo>
                  <a:lnTo>
                    <a:pt x="2945118" y="198831"/>
                  </a:lnTo>
                  <a:lnTo>
                    <a:pt x="2945118" y="197447"/>
                  </a:lnTo>
                  <a:lnTo>
                    <a:pt x="2945118" y="199530"/>
                  </a:lnTo>
                  <a:lnTo>
                    <a:pt x="2945118" y="198831"/>
                  </a:lnTo>
                  <a:lnTo>
                    <a:pt x="2945118" y="199530"/>
                  </a:lnTo>
                  <a:lnTo>
                    <a:pt x="2945118" y="198831"/>
                  </a:lnTo>
                  <a:lnTo>
                    <a:pt x="2945219" y="198831"/>
                  </a:lnTo>
                  <a:lnTo>
                    <a:pt x="2945219" y="199530"/>
                  </a:lnTo>
                  <a:lnTo>
                    <a:pt x="2945219" y="198831"/>
                  </a:lnTo>
                  <a:lnTo>
                    <a:pt x="2945219" y="199530"/>
                  </a:lnTo>
                  <a:lnTo>
                    <a:pt x="2945270" y="199530"/>
                  </a:lnTo>
                  <a:lnTo>
                    <a:pt x="2945270" y="200228"/>
                  </a:lnTo>
                  <a:lnTo>
                    <a:pt x="2945321" y="199530"/>
                  </a:lnTo>
                  <a:lnTo>
                    <a:pt x="2945321" y="200228"/>
                  </a:lnTo>
                  <a:lnTo>
                    <a:pt x="2945321" y="199530"/>
                  </a:lnTo>
                  <a:lnTo>
                    <a:pt x="2945359" y="200228"/>
                  </a:lnTo>
                  <a:lnTo>
                    <a:pt x="2945359" y="198831"/>
                  </a:lnTo>
                  <a:lnTo>
                    <a:pt x="2945359" y="199530"/>
                  </a:lnTo>
                  <a:lnTo>
                    <a:pt x="2945359" y="198831"/>
                  </a:lnTo>
                  <a:lnTo>
                    <a:pt x="2945461" y="198831"/>
                  </a:lnTo>
                  <a:lnTo>
                    <a:pt x="2945461" y="199530"/>
                  </a:lnTo>
                  <a:lnTo>
                    <a:pt x="2945461" y="198831"/>
                  </a:lnTo>
                  <a:lnTo>
                    <a:pt x="2945461" y="199530"/>
                  </a:lnTo>
                  <a:lnTo>
                    <a:pt x="2945512" y="199530"/>
                  </a:lnTo>
                  <a:lnTo>
                    <a:pt x="2945512" y="198831"/>
                  </a:lnTo>
                  <a:lnTo>
                    <a:pt x="2945512" y="200876"/>
                  </a:lnTo>
                  <a:lnTo>
                    <a:pt x="2945512" y="199530"/>
                  </a:lnTo>
                  <a:lnTo>
                    <a:pt x="2945512" y="200228"/>
                  </a:lnTo>
                  <a:lnTo>
                    <a:pt x="2945562" y="200228"/>
                  </a:lnTo>
                  <a:lnTo>
                    <a:pt x="2945562" y="200876"/>
                  </a:lnTo>
                  <a:lnTo>
                    <a:pt x="2945562" y="200228"/>
                  </a:lnTo>
                  <a:lnTo>
                    <a:pt x="2945664" y="200228"/>
                  </a:lnTo>
                  <a:lnTo>
                    <a:pt x="2945664" y="200876"/>
                  </a:lnTo>
                  <a:lnTo>
                    <a:pt x="2945664" y="200228"/>
                  </a:lnTo>
                  <a:lnTo>
                    <a:pt x="2945664" y="200876"/>
                  </a:lnTo>
                  <a:lnTo>
                    <a:pt x="2945715" y="200228"/>
                  </a:lnTo>
                  <a:lnTo>
                    <a:pt x="2945715" y="200876"/>
                  </a:lnTo>
                  <a:lnTo>
                    <a:pt x="2945715" y="200228"/>
                  </a:lnTo>
                  <a:lnTo>
                    <a:pt x="2945715" y="200876"/>
                  </a:lnTo>
                  <a:lnTo>
                    <a:pt x="2945765" y="200876"/>
                  </a:lnTo>
                  <a:lnTo>
                    <a:pt x="2945765" y="202260"/>
                  </a:lnTo>
                  <a:lnTo>
                    <a:pt x="2945765" y="200876"/>
                  </a:lnTo>
                  <a:lnTo>
                    <a:pt x="2945816" y="200876"/>
                  </a:lnTo>
                  <a:lnTo>
                    <a:pt x="2945816" y="200228"/>
                  </a:lnTo>
                  <a:lnTo>
                    <a:pt x="2945816" y="200876"/>
                  </a:lnTo>
                  <a:lnTo>
                    <a:pt x="2945816" y="200228"/>
                  </a:lnTo>
                  <a:lnTo>
                    <a:pt x="2945816" y="200876"/>
                  </a:lnTo>
                  <a:lnTo>
                    <a:pt x="2945816" y="200228"/>
                  </a:lnTo>
                  <a:lnTo>
                    <a:pt x="2945905" y="200228"/>
                  </a:lnTo>
                  <a:lnTo>
                    <a:pt x="2945905" y="199530"/>
                  </a:lnTo>
                  <a:lnTo>
                    <a:pt x="2945905" y="200228"/>
                  </a:lnTo>
                  <a:lnTo>
                    <a:pt x="2945905" y="198831"/>
                  </a:lnTo>
                  <a:lnTo>
                    <a:pt x="2945905" y="200876"/>
                  </a:lnTo>
                  <a:lnTo>
                    <a:pt x="2945956" y="200876"/>
                  </a:lnTo>
                  <a:lnTo>
                    <a:pt x="2945956" y="202260"/>
                  </a:lnTo>
                  <a:lnTo>
                    <a:pt x="2945956" y="199530"/>
                  </a:lnTo>
                  <a:lnTo>
                    <a:pt x="2945956" y="203594"/>
                  </a:lnTo>
                  <a:lnTo>
                    <a:pt x="2945956" y="202959"/>
                  </a:lnTo>
                  <a:lnTo>
                    <a:pt x="2946007" y="202959"/>
                  </a:lnTo>
                  <a:lnTo>
                    <a:pt x="2946007" y="200876"/>
                  </a:lnTo>
                  <a:lnTo>
                    <a:pt x="2946007" y="202260"/>
                  </a:lnTo>
                  <a:lnTo>
                    <a:pt x="2946007" y="200876"/>
                  </a:lnTo>
                  <a:lnTo>
                    <a:pt x="2946007" y="202260"/>
                  </a:lnTo>
                  <a:lnTo>
                    <a:pt x="2946007" y="200876"/>
                  </a:lnTo>
                  <a:lnTo>
                    <a:pt x="2946007" y="203594"/>
                  </a:lnTo>
                  <a:lnTo>
                    <a:pt x="2946058" y="203594"/>
                  </a:lnTo>
                  <a:lnTo>
                    <a:pt x="2946058" y="202260"/>
                  </a:lnTo>
                  <a:lnTo>
                    <a:pt x="2946058" y="202959"/>
                  </a:lnTo>
                  <a:lnTo>
                    <a:pt x="2946159" y="202260"/>
                  </a:lnTo>
                  <a:lnTo>
                    <a:pt x="2946159" y="202959"/>
                  </a:lnTo>
                  <a:lnTo>
                    <a:pt x="2946159" y="202260"/>
                  </a:lnTo>
                  <a:lnTo>
                    <a:pt x="2946159" y="202959"/>
                  </a:lnTo>
                  <a:lnTo>
                    <a:pt x="2946210" y="202959"/>
                  </a:lnTo>
                  <a:lnTo>
                    <a:pt x="2946210" y="202260"/>
                  </a:lnTo>
                  <a:lnTo>
                    <a:pt x="2946210" y="202959"/>
                  </a:lnTo>
                  <a:lnTo>
                    <a:pt x="2946210" y="202260"/>
                  </a:lnTo>
                  <a:lnTo>
                    <a:pt x="2946210" y="202959"/>
                  </a:lnTo>
                  <a:lnTo>
                    <a:pt x="2946210" y="202260"/>
                  </a:lnTo>
                  <a:lnTo>
                    <a:pt x="2946210" y="202959"/>
                  </a:lnTo>
                  <a:lnTo>
                    <a:pt x="2946210" y="202260"/>
                  </a:lnTo>
                  <a:lnTo>
                    <a:pt x="2946261" y="202260"/>
                  </a:lnTo>
                  <a:lnTo>
                    <a:pt x="2946261" y="200228"/>
                  </a:lnTo>
                  <a:lnTo>
                    <a:pt x="2946261" y="200876"/>
                  </a:lnTo>
                  <a:lnTo>
                    <a:pt x="2946362" y="200876"/>
                  </a:lnTo>
                  <a:lnTo>
                    <a:pt x="2946362" y="199530"/>
                  </a:lnTo>
                  <a:lnTo>
                    <a:pt x="2946362" y="200228"/>
                  </a:lnTo>
                  <a:lnTo>
                    <a:pt x="2946362" y="199530"/>
                  </a:lnTo>
                  <a:lnTo>
                    <a:pt x="2946362" y="200228"/>
                  </a:lnTo>
                  <a:lnTo>
                    <a:pt x="2946362" y="198831"/>
                  </a:lnTo>
                  <a:lnTo>
                    <a:pt x="2946362" y="199530"/>
                  </a:lnTo>
                  <a:lnTo>
                    <a:pt x="2946362" y="198831"/>
                  </a:lnTo>
                  <a:lnTo>
                    <a:pt x="2946401" y="198831"/>
                  </a:lnTo>
                  <a:lnTo>
                    <a:pt x="2946401" y="197447"/>
                  </a:lnTo>
                  <a:lnTo>
                    <a:pt x="2946401" y="200228"/>
                  </a:lnTo>
                  <a:lnTo>
                    <a:pt x="2946401" y="199530"/>
                  </a:lnTo>
                  <a:lnTo>
                    <a:pt x="2946451" y="199530"/>
                  </a:lnTo>
                  <a:lnTo>
                    <a:pt x="2946451" y="197447"/>
                  </a:lnTo>
                  <a:lnTo>
                    <a:pt x="2946451" y="198831"/>
                  </a:lnTo>
                  <a:lnTo>
                    <a:pt x="2946451" y="197447"/>
                  </a:lnTo>
                  <a:lnTo>
                    <a:pt x="2946451" y="202260"/>
                  </a:lnTo>
                  <a:lnTo>
                    <a:pt x="2946451" y="200228"/>
                  </a:lnTo>
                  <a:lnTo>
                    <a:pt x="2946502" y="200228"/>
                  </a:lnTo>
                  <a:lnTo>
                    <a:pt x="2946502" y="202260"/>
                  </a:lnTo>
                  <a:lnTo>
                    <a:pt x="2946502" y="200876"/>
                  </a:lnTo>
                  <a:lnTo>
                    <a:pt x="2946502" y="202260"/>
                  </a:lnTo>
                  <a:lnTo>
                    <a:pt x="2946502" y="200876"/>
                  </a:lnTo>
                  <a:lnTo>
                    <a:pt x="2946604" y="200876"/>
                  </a:lnTo>
                  <a:lnTo>
                    <a:pt x="2946604" y="202260"/>
                  </a:lnTo>
                  <a:lnTo>
                    <a:pt x="2946604" y="200876"/>
                  </a:lnTo>
                  <a:lnTo>
                    <a:pt x="2946604" y="202959"/>
                  </a:lnTo>
                  <a:lnTo>
                    <a:pt x="2946604" y="200876"/>
                  </a:lnTo>
                  <a:lnTo>
                    <a:pt x="2946655" y="200876"/>
                  </a:lnTo>
                  <a:lnTo>
                    <a:pt x="2946655" y="202959"/>
                  </a:lnTo>
                  <a:lnTo>
                    <a:pt x="2946655" y="202260"/>
                  </a:lnTo>
                  <a:lnTo>
                    <a:pt x="2946655" y="202959"/>
                  </a:lnTo>
                  <a:lnTo>
                    <a:pt x="2946655" y="202260"/>
                  </a:lnTo>
                  <a:lnTo>
                    <a:pt x="2946705" y="202260"/>
                  </a:lnTo>
                  <a:lnTo>
                    <a:pt x="2946705" y="202959"/>
                  </a:lnTo>
                  <a:lnTo>
                    <a:pt x="2946705" y="202260"/>
                  </a:lnTo>
                  <a:lnTo>
                    <a:pt x="2946807" y="202260"/>
                  </a:lnTo>
                  <a:lnTo>
                    <a:pt x="2946807" y="200876"/>
                  </a:lnTo>
                  <a:lnTo>
                    <a:pt x="2946807" y="202260"/>
                  </a:lnTo>
                  <a:lnTo>
                    <a:pt x="2946807" y="200228"/>
                  </a:lnTo>
                  <a:lnTo>
                    <a:pt x="2946807" y="200876"/>
                  </a:lnTo>
                  <a:lnTo>
                    <a:pt x="2946807" y="200228"/>
                  </a:lnTo>
                  <a:lnTo>
                    <a:pt x="2946858" y="200228"/>
                  </a:lnTo>
                  <a:lnTo>
                    <a:pt x="2946858" y="200876"/>
                  </a:lnTo>
                  <a:lnTo>
                    <a:pt x="2946858" y="198831"/>
                  </a:lnTo>
                  <a:lnTo>
                    <a:pt x="2946908" y="198831"/>
                  </a:lnTo>
                  <a:lnTo>
                    <a:pt x="2946908" y="197447"/>
                  </a:lnTo>
                  <a:lnTo>
                    <a:pt x="2946908" y="199530"/>
                  </a:lnTo>
                  <a:lnTo>
                    <a:pt x="2946908" y="197447"/>
                  </a:lnTo>
                  <a:lnTo>
                    <a:pt x="2946947" y="196799"/>
                  </a:lnTo>
                  <a:lnTo>
                    <a:pt x="2946947" y="200228"/>
                  </a:lnTo>
                  <a:lnTo>
                    <a:pt x="2946947" y="198831"/>
                  </a:lnTo>
                  <a:lnTo>
                    <a:pt x="2947048" y="199530"/>
                  </a:lnTo>
                  <a:lnTo>
                    <a:pt x="2947048" y="198831"/>
                  </a:lnTo>
                  <a:lnTo>
                    <a:pt x="2947048" y="200876"/>
                  </a:lnTo>
                  <a:lnTo>
                    <a:pt x="2947048" y="199530"/>
                  </a:lnTo>
                  <a:lnTo>
                    <a:pt x="2947099" y="200228"/>
                  </a:lnTo>
                  <a:lnTo>
                    <a:pt x="2947099" y="199530"/>
                  </a:lnTo>
                  <a:lnTo>
                    <a:pt x="2947099" y="200876"/>
                  </a:lnTo>
                  <a:lnTo>
                    <a:pt x="2947099" y="200228"/>
                  </a:lnTo>
                  <a:lnTo>
                    <a:pt x="2947099" y="200876"/>
                  </a:lnTo>
                  <a:lnTo>
                    <a:pt x="2947150" y="200876"/>
                  </a:lnTo>
                  <a:lnTo>
                    <a:pt x="2947150" y="202260"/>
                  </a:lnTo>
                  <a:lnTo>
                    <a:pt x="2947150" y="200876"/>
                  </a:lnTo>
                  <a:lnTo>
                    <a:pt x="2947150" y="202260"/>
                  </a:lnTo>
                  <a:lnTo>
                    <a:pt x="2947150" y="200876"/>
                  </a:lnTo>
                  <a:lnTo>
                    <a:pt x="2947150" y="202260"/>
                  </a:lnTo>
                  <a:lnTo>
                    <a:pt x="2947150" y="200876"/>
                  </a:lnTo>
                  <a:lnTo>
                    <a:pt x="2947150" y="202260"/>
                  </a:lnTo>
                  <a:lnTo>
                    <a:pt x="2947150" y="200876"/>
                  </a:lnTo>
                  <a:lnTo>
                    <a:pt x="2947150" y="202260"/>
                  </a:lnTo>
                  <a:lnTo>
                    <a:pt x="2947251" y="202260"/>
                  </a:lnTo>
                  <a:lnTo>
                    <a:pt x="2947251" y="202959"/>
                  </a:lnTo>
                  <a:lnTo>
                    <a:pt x="2947251" y="200876"/>
                  </a:lnTo>
                  <a:lnTo>
                    <a:pt x="2947251" y="202260"/>
                  </a:lnTo>
                  <a:lnTo>
                    <a:pt x="2947302" y="202260"/>
                  </a:lnTo>
                  <a:lnTo>
                    <a:pt x="2947302" y="202959"/>
                  </a:lnTo>
                  <a:lnTo>
                    <a:pt x="2947302" y="200228"/>
                  </a:lnTo>
                  <a:lnTo>
                    <a:pt x="2947353" y="200228"/>
                  </a:lnTo>
                  <a:lnTo>
                    <a:pt x="2947353" y="198831"/>
                  </a:lnTo>
                  <a:lnTo>
                    <a:pt x="2947353" y="199530"/>
                  </a:lnTo>
                  <a:lnTo>
                    <a:pt x="2947353" y="197447"/>
                  </a:lnTo>
                  <a:lnTo>
                    <a:pt x="2947353" y="198831"/>
                  </a:lnTo>
                  <a:lnTo>
                    <a:pt x="2947404" y="198831"/>
                  </a:lnTo>
                  <a:lnTo>
                    <a:pt x="2947404" y="196799"/>
                  </a:lnTo>
                  <a:lnTo>
                    <a:pt x="2947404" y="197447"/>
                  </a:lnTo>
                  <a:lnTo>
                    <a:pt x="2947493" y="197447"/>
                  </a:lnTo>
                  <a:lnTo>
                    <a:pt x="2947493" y="196799"/>
                  </a:lnTo>
                  <a:lnTo>
                    <a:pt x="2947493" y="199530"/>
                  </a:lnTo>
                  <a:lnTo>
                    <a:pt x="2947493" y="198831"/>
                  </a:lnTo>
                  <a:lnTo>
                    <a:pt x="2947544" y="198831"/>
                  </a:lnTo>
                  <a:lnTo>
                    <a:pt x="2947544" y="199530"/>
                  </a:lnTo>
                  <a:lnTo>
                    <a:pt x="2947594" y="199530"/>
                  </a:lnTo>
                  <a:lnTo>
                    <a:pt x="2947594" y="198831"/>
                  </a:lnTo>
                  <a:lnTo>
                    <a:pt x="2947594" y="200228"/>
                  </a:lnTo>
                  <a:lnTo>
                    <a:pt x="2947645" y="200228"/>
                  </a:lnTo>
                  <a:lnTo>
                    <a:pt x="2947645" y="199530"/>
                  </a:lnTo>
                  <a:lnTo>
                    <a:pt x="2947645" y="200876"/>
                  </a:lnTo>
                  <a:lnTo>
                    <a:pt x="2947645" y="200228"/>
                  </a:lnTo>
                  <a:lnTo>
                    <a:pt x="2947645" y="200876"/>
                  </a:lnTo>
                  <a:lnTo>
                    <a:pt x="2947645" y="200228"/>
                  </a:lnTo>
                  <a:lnTo>
                    <a:pt x="2947645" y="200876"/>
                  </a:lnTo>
                  <a:lnTo>
                    <a:pt x="2947747" y="200876"/>
                  </a:lnTo>
                  <a:lnTo>
                    <a:pt x="2947747" y="202260"/>
                  </a:lnTo>
                  <a:lnTo>
                    <a:pt x="2947747" y="200876"/>
                  </a:lnTo>
                  <a:lnTo>
                    <a:pt x="2947747" y="202260"/>
                  </a:lnTo>
                  <a:lnTo>
                    <a:pt x="2947797" y="202260"/>
                  </a:lnTo>
                  <a:lnTo>
                    <a:pt x="2947797" y="200876"/>
                  </a:lnTo>
                  <a:lnTo>
                    <a:pt x="2947797" y="202260"/>
                  </a:lnTo>
                  <a:lnTo>
                    <a:pt x="2947797" y="200876"/>
                  </a:lnTo>
                  <a:lnTo>
                    <a:pt x="2947848" y="200876"/>
                  </a:lnTo>
                  <a:lnTo>
                    <a:pt x="2947848" y="200228"/>
                  </a:lnTo>
                  <a:lnTo>
                    <a:pt x="2947848" y="200876"/>
                  </a:lnTo>
                  <a:lnTo>
                    <a:pt x="2947848" y="199530"/>
                  </a:lnTo>
                  <a:lnTo>
                    <a:pt x="2947950" y="199530"/>
                  </a:lnTo>
                  <a:lnTo>
                    <a:pt x="2947950" y="198831"/>
                  </a:lnTo>
                  <a:lnTo>
                    <a:pt x="2947988" y="197447"/>
                  </a:lnTo>
                  <a:lnTo>
                    <a:pt x="2947988" y="200228"/>
                  </a:lnTo>
                  <a:lnTo>
                    <a:pt x="2947988" y="198831"/>
                  </a:lnTo>
                  <a:lnTo>
                    <a:pt x="2948039" y="198831"/>
                  </a:lnTo>
                  <a:lnTo>
                    <a:pt x="2948039" y="199530"/>
                  </a:lnTo>
                  <a:lnTo>
                    <a:pt x="2948039" y="198831"/>
                  </a:lnTo>
                  <a:lnTo>
                    <a:pt x="2948039" y="199530"/>
                  </a:lnTo>
                  <a:lnTo>
                    <a:pt x="2948090" y="199530"/>
                  </a:lnTo>
                  <a:lnTo>
                    <a:pt x="2948090" y="198831"/>
                  </a:lnTo>
                  <a:lnTo>
                    <a:pt x="2948090" y="199530"/>
                  </a:lnTo>
                  <a:lnTo>
                    <a:pt x="2948090" y="198831"/>
                  </a:lnTo>
                  <a:lnTo>
                    <a:pt x="2948090" y="200228"/>
                  </a:lnTo>
                  <a:lnTo>
                    <a:pt x="2948090" y="199530"/>
                  </a:lnTo>
                  <a:lnTo>
                    <a:pt x="2948090" y="200228"/>
                  </a:lnTo>
                  <a:lnTo>
                    <a:pt x="2948191" y="199530"/>
                  </a:lnTo>
                  <a:lnTo>
                    <a:pt x="2948191" y="200228"/>
                  </a:lnTo>
                  <a:lnTo>
                    <a:pt x="2948191" y="199530"/>
                  </a:lnTo>
                  <a:lnTo>
                    <a:pt x="2948191" y="200228"/>
                  </a:lnTo>
                  <a:lnTo>
                    <a:pt x="2948242" y="200228"/>
                  </a:lnTo>
                  <a:lnTo>
                    <a:pt x="2948242" y="199530"/>
                  </a:lnTo>
                  <a:lnTo>
                    <a:pt x="2948242" y="200228"/>
                  </a:lnTo>
                  <a:lnTo>
                    <a:pt x="2948242" y="199530"/>
                  </a:lnTo>
                  <a:lnTo>
                    <a:pt x="2948242" y="200228"/>
                  </a:lnTo>
                  <a:lnTo>
                    <a:pt x="2948242" y="199530"/>
                  </a:lnTo>
                  <a:lnTo>
                    <a:pt x="2948242" y="200228"/>
                  </a:lnTo>
                  <a:lnTo>
                    <a:pt x="2948293" y="200228"/>
                  </a:lnTo>
                  <a:lnTo>
                    <a:pt x="2948293" y="199530"/>
                  </a:lnTo>
                  <a:lnTo>
                    <a:pt x="2948293" y="200876"/>
                  </a:lnTo>
                  <a:lnTo>
                    <a:pt x="2948293" y="200228"/>
                  </a:lnTo>
                  <a:lnTo>
                    <a:pt x="2948293" y="200876"/>
                  </a:lnTo>
                  <a:lnTo>
                    <a:pt x="2948394" y="200228"/>
                  </a:lnTo>
                  <a:lnTo>
                    <a:pt x="2948394" y="198831"/>
                  </a:lnTo>
                  <a:lnTo>
                    <a:pt x="2948394" y="199530"/>
                  </a:lnTo>
                  <a:lnTo>
                    <a:pt x="2948394" y="198831"/>
                  </a:lnTo>
                  <a:lnTo>
                    <a:pt x="2948394" y="199530"/>
                  </a:lnTo>
                  <a:lnTo>
                    <a:pt x="2948445" y="199530"/>
                  </a:lnTo>
                  <a:lnTo>
                    <a:pt x="2948445" y="200228"/>
                  </a:lnTo>
                  <a:lnTo>
                    <a:pt x="2948445" y="199530"/>
                  </a:lnTo>
                  <a:lnTo>
                    <a:pt x="2948445" y="200228"/>
                  </a:lnTo>
                  <a:lnTo>
                    <a:pt x="2948445" y="199530"/>
                  </a:lnTo>
                  <a:lnTo>
                    <a:pt x="2948445" y="200876"/>
                  </a:lnTo>
                  <a:lnTo>
                    <a:pt x="2948496" y="200876"/>
                  </a:lnTo>
                  <a:lnTo>
                    <a:pt x="2948496" y="200228"/>
                  </a:lnTo>
                  <a:lnTo>
                    <a:pt x="2948496" y="200876"/>
                  </a:lnTo>
                  <a:lnTo>
                    <a:pt x="2948534" y="202260"/>
                  </a:lnTo>
                  <a:lnTo>
                    <a:pt x="2948534" y="200876"/>
                  </a:lnTo>
                  <a:lnTo>
                    <a:pt x="2948636" y="200876"/>
                  </a:lnTo>
                  <a:lnTo>
                    <a:pt x="2948636" y="200228"/>
                  </a:lnTo>
                  <a:lnTo>
                    <a:pt x="2948636" y="200876"/>
                  </a:lnTo>
                  <a:lnTo>
                    <a:pt x="2948636" y="200228"/>
                  </a:lnTo>
                  <a:lnTo>
                    <a:pt x="2948636" y="200876"/>
                  </a:lnTo>
                  <a:lnTo>
                    <a:pt x="2948687" y="200876"/>
                  </a:lnTo>
                  <a:lnTo>
                    <a:pt x="2948687" y="200228"/>
                  </a:lnTo>
                  <a:lnTo>
                    <a:pt x="2948687" y="200876"/>
                  </a:lnTo>
                  <a:lnTo>
                    <a:pt x="2948687" y="200228"/>
                  </a:lnTo>
                  <a:lnTo>
                    <a:pt x="2948687" y="200876"/>
                  </a:lnTo>
                  <a:lnTo>
                    <a:pt x="2948687" y="200228"/>
                  </a:lnTo>
                  <a:lnTo>
                    <a:pt x="2948687" y="200876"/>
                  </a:lnTo>
                  <a:lnTo>
                    <a:pt x="2948737" y="200876"/>
                  </a:lnTo>
                  <a:lnTo>
                    <a:pt x="2948737" y="200228"/>
                  </a:lnTo>
                  <a:lnTo>
                    <a:pt x="2948737" y="200876"/>
                  </a:lnTo>
                  <a:lnTo>
                    <a:pt x="2948737" y="200228"/>
                  </a:lnTo>
                  <a:lnTo>
                    <a:pt x="2948737" y="200876"/>
                  </a:lnTo>
                  <a:lnTo>
                    <a:pt x="2948839" y="200228"/>
                  </a:lnTo>
                  <a:lnTo>
                    <a:pt x="2948839" y="200876"/>
                  </a:lnTo>
                  <a:lnTo>
                    <a:pt x="2948839" y="199530"/>
                  </a:lnTo>
                  <a:lnTo>
                    <a:pt x="2948839" y="200228"/>
                  </a:lnTo>
                  <a:lnTo>
                    <a:pt x="2948839" y="199530"/>
                  </a:lnTo>
                  <a:lnTo>
                    <a:pt x="2948890" y="199530"/>
                  </a:lnTo>
                  <a:lnTo>
                    <a:pt x="2948890" y="197447"/>
                  </a:lnTo>
                  <a:lnTo>
                    <a:pt x="2948890" y="198831"/>
                  </a:lnTo>
                  <a:lnTo>
                    <a:pt x="2948940" y="199530"/>
                  </a:lnTo>
                  <a:lnTo>
                    <a:pt x="2948940" y="200228"/>
                  </a:lnTo>
                  <a:lnTo>
                    <a:pt x="2948940" y="198831"/>
                  </a:lnTo>
                  <a:lnTo>
                    <a:pt x="2948940" y="200876"/>
                  </a:lnTo>
                  <a:lnTo>
                    <a:pt x="2948991" y="200876"/>
                  </a:lnTo>
                  <a:lnTo>
                    <a:pt x="2948991" y="199530"/>
                  </a:lnTo>
                  <a:lnTo>
                    <a:pt x="2948991" y="202260"/>
                  </a:lnTo>
                  <a:lnTo>
                    <a:pt x="2948991" y="200876"/>
                  </a:lnTo>
                  <a:lnTo>
                    <a:pt x="2949080" y="200876"/>
                  </a:lnTo>
                  <a:lnTo>
                    <a:pt x="2949080" y="202260"/>
                  </a:lnTo>
                  <a:lnTo>
                    <a:pt x="2949131" y="200876"/>
                  </a:lnTo>
                  <a:lnTo>
                    <a:pt x="2949131" y="202260"/>
                  </a:lnTo>
                  <a:lnTo>
                    <a:pt x="2949131" y="200876"/>
                  </a:lnTo>
                  <a:lnTo>
                    <a:pt x="2949131" y="202260"/>
                  </a:lnTo>
                  <a:lnTo>
                    <a:pt x="2949182" y="202260"/>
                  </a:lnTo>
                  <a:lnTo>
                    <a:pt x="2949182" y="200876"/>
                  </a:lnTo>
                  <a:lnTo>
                    <a:pt x="2949182" y="202260"/>
                  </a:lnTo>
                  <a:lnTo>
                    <a:pt x="2949182" y="200876"/>
                  </a:lnTo>
                  <a:lnTo>
                    <a:pt x="2949182" y="202260"/>
                  </a:lnTo>
                  <a:lnTo>
                    <a:pt x="2949182" y="200876"/>
                  </a:lnTo>
                  <a:lnTo>
                    <a:pt x="2949233" y="200876"/>
                  </a:lnTo>
                  <a:lnTo>
                    <a:pt x="2949233" y="200228"/>
                  </a:lnTo>
                  <a:lnTo>
                    <a:pt x="2949233" y="200876"/>
                  </a:lnTo>
                  <a:lnTo>
                    <a:pt x="2949233" y="200228"/>
                  </a:lnTo>
                  <a:lnTo>
                    <a:pt x="2949233" y="200876"/>
                  </a:lnTo>
                  <a:lnTo>
                    <a:pt x="2949233" y="200228"/>
                  </a:lnTo>
                  <a:lnTo>
                    <a:pt x="2949233" y="200876"/>
                  </a:lnTo>
                  <a:lnTo>
                    <a:pt x="2949233" y="200228"/>
                  </a:lnTo>
                  <a:lnTo>
                    <a:pt x="2949233" y="200876"/>
                  </a:lnTo>
                  <a:lnTo>
                    <a:pt x="2949233" y="200228"/>
                  </a:lnTo>
                  <a:lnTo>
                    <a:pt x="2949233" y="200876"/>
                  </a:lnTo>
                  <a:lnTo>
                    <a:pt x="2949233" y="200228"/>
                  </a:lnTo>
                  <a:lnTo>
                    <a:pt x="2949334" y="200228"/>
                  </a:lnTo>
                  <a:lnTo>
                    <a:pt x="2949334" y="199530"/>
                  </a:lnTo>
                  <a:lnTo>
                    <a:pt x="2949334" y="200228"/>
                  </a:lnTo>
                  <a:lnTo>
                    <a:pt x="2949334" y="198831"/>
                  </a:lnTo>
                  <a:lnTo>
                    <a:pt x="2949385" y="198831"/>
                  </a:lnTo>
                  <a:lnTo>
                    <a:pt x="2949385" y="197447"/>
                  </a:lnTo>
                  <a:lnTo>
                    <a:pt x="2949385" y="199530"/>
                  </a:lnTo>
                  <a:lnTo>
                    <a:pt x="2949436" y="198831"/>
                  </a:lnTo>
                  <a:lnTo>
                    <a:pt x="2949436" y="200876"/>
                  </a:lnTo>
                  <a:lnTo>
                    <a:pt x="2949436" y="200228"/>
                  </a:lnTo>
                  <a:lnTo>
                    <a:pt x="2949537" y="200228"/>
                  </a:lnTo>
                  <a:lnTo>
                    <a:pt x="2949537" y="200876"/>
                  </a:lnTo>
                  <a:lnTo>
                    <a:pt x="2949537" y="200228"/>
                  </a:lnTo>
                  <a:lnTo>
                    <a:pt x="2949537" y="202260"/>
                  </a:lnTo>
                  <a:lnTo>
                    <a:pt x="2949537" y="200876"/>
                  </a:lnTo>
                  <a:lnTo>
                    <a:pt x="2949576" y="200228"/>
                  </a:lnTo>
                  <a:lnTo>
                    <a:pt x="2949576" y="202260"/>
                  </a:lnTo>
                  <a:lnTo>
                    <a:pt x="2949576" y="200876"/>
                  </a:lnTo>
                  <a:lnTo>
                    <a:pt x="2949576" y="202260"/>
                  </a:lnTo>
                  <a:lnTo>
                    <a:pt x="2949576" y="200876"/>
                  </a:lnTo>
                  <a:lnTo>
                    <a:pt x="2949626" y="202260"/>
                  </a:lnTo>
                  <a:lnTo>
                    <a:pt x="2949626" y="200876"/>
                  </a:lnTo>
                  <a:lnTo>
                    <a:pt x="2949626" y="202260"/>
                  </a:lnTo>
                  <a:lnTo>
                    <a:pt x="2949626" y="200876"/>
                  </a:lnTo>
                  <a:lnTo>
                    <a:pt x="2949626" y="202959"/>
                  </a:lnTo>
                  <a:lnTo>
                    <a:pt x="2949626" y="202260"/>
                  </a:lnTo>
                  <a:lnTo>
                    <a:pt x="2949677" y="202260"/>
                  </a:lnTo>
                  <a:lnTo>
                    <a:pt x="2949677" y="200876"/>
                  </a:lnTo>
                  <a:lnTo>
                    <a:pt x="2949677" y="202260"/>
                  </a:lnTo>
                  <a:lnTo>
                    <a:pt x="2949779" y="202260"/>
                  </a:lnTo>
                  <a:lnTo>
                    <a:pt x="2949779" y="200228"/>
                  </a:lnTo>
                  <a:lnTo>
                    <a:pt x="2949830" y="200228"/>
                  </a:lnTo>
                  <a:lnTo>
                    <a:pt x="2949830" y="199530"/>
                  </a:lnTo>
                  <a:lnTo>
                    <a:pt x="2949830" y="200228"/>
                  </a:lnTo>
                  <a:lnTo>
                    <a:pt x="2949830" y="199530"/>
                  </a:lnTo>
                  <a:lnTo>
                    <a:pt x="2949830" y="200228"/>
                  </a:lnTo>
                  <a:lnTo>
                    <a:pt x="2949830" y="198831"/>
                  </a:lnTo>
                  <a:lnTo>
                    <a:pt x="2949830" y="200876"/>
                  </a:lnTo>
                  <a:lnTo>
                    <a:pt x="2949880" y="200876"/>
                  </a:lnTo>
                  <a:lnTo>
                    <a:pt x="2949880" y="198831"/>
                  </a:lnTo>
                  <a:lnTo>
                    <a:pt x="2949880" y="202959"/>
                  </a:lnTo>
                  <a:lnTo>
                    <a:pt x="2949982" y="202260"/>
                  </a:lnTo>
                  <a:lnTo>
                    <a:pt x="2949982" y="202959"/>
                  </a:lnTo>
                  <a:lnTo>
                    <a:pt x="2949982" y="200228"/>
                  </a:lnTo>
                  <a:lnTo>
                    <a:pt x="2949982" y="200876"/>
                  </a:lnTo>
                  <a:lnTo>
                    <a:pt x="2949982" y="200228"/>
                  </a:lnTo>
                  <a:lnTo>
                    <a:pt x="2949982" y="202260"/>
                  </a:lnTo>
                  <a:lnTo>
                    <a:pt x="2950033" y="202260"/>
                  </a:lnTo>
                  <a:lnTo>
                    <a:pt x="2950033" y="202959"/>
                  </a:lnTo>
                  <a:lnTo>
                    <a:pt x="2950033" y="202260"/>
                  </a:lnTo>
                  <a:lnTo>
                    <a:pt x="2950033" y="202959"/>
                  </a:lnTo>
                  <a:lnTo>
                    <a:pt x="2950033" y="202260"/>
                  </a:lnTo>
                  <a:lnTo>
                    <a:pt x="2950033" y="202959"/>
                  </a:lnTo>
                  <a:lnTo>
                    <a:pt x="2950083" y="202260"/>
                  </a:lnTo>
                  <a:lnTo>
                    <a:pt x="2950083" y="200876"/>
                  </a:lnTo>
                  <a:lnTo>
                    <a:pt x="2950083" y="202260"/>
                  </a:lnTo>
                  <a:lnTo>
                    <a:pt x="2950083" y="200876"/>
                  </a:lnTo>
                  <a:lnTo>
                    <a:pt x="2950083" y="202959"/>
                  </a:lnTo>
                  <a:lnTo>
                    <a:pt x="2950083" y="202260"/>
                  </a:lnTo>
                  <a:lnTo>
                    <a:pt x="2950122" y="202959"/>
                  </a:lnTo>
                  <a:lnTo>
                    <a:pt x="2950122" y="200876"/>
                  </a:lnTo>
                  <a:lnTo>
                    <a:pt x="2950122" y="202959"/>
                  </a:lnTo>
                  <a:lnTo>
                    <a:pt x="2950122" y="202260"/>
                  </a:lnTo>
                  <a:lnTo>
                    <a:pt x="2950223" y="202260"/>
                  </a:lnTo>
                  <a:lnTo>
                    <a:pt x="2950223" y="200876"/>
                  </a:lnTo>
                  <a:lnTo>
                    <a:pt x="2950223" y="202260"/>
                  </a:lnTo>
                  <a:lnTo>
                    <a:pt x="2950223" y="200876"/>
                  </a:lnTo>
                  <a:lnTo>
                    <a:pt x="2950274" y="200876"/>
                  </a:lnTo>
                  <a:lnTo>
                    <a:pt x="2950274" y="200228"/>
                  </a:lnTo>
                  <a:lnTo>
                    <a:pt x="2950274" y="200876"/>
                  </a:lnTo>
                  <a:lnTo>
                    <a:pt x="2950274" y="199530"/>
                  </a:lnTo>
                  <a:lnTo>
                    <a:pt x="2950325" y="199530"/>
                  </a:lnTo>
                  <a:lnTo>
                    <a:pt x="2950325" y="198831"/>
                  </a:lnTo>
                  <a:lnTo>
                    <a:pt x="2950325" y="200228"/>
                  </a:lnTo>
                  <a:lnTo>
                    <a:pt x="2950325" y="199530"/>
                  </a:lnTo>
                  <a:lnTo>
                    <a:pt x="2950325" y="200228"/>
                  </a:lnTo>
                  <a:lnTo>
                    <a:pt x="2950426" y="200228"/>
                  </a:lnTo>
                  <a:lnTo>
                    <a:pt x="2950426" y="197447"/>
                  </a:lnTo>
                  <a:lnTo>
                    <a:pt x="2950426" y="200876"/>
                  </a:lnTo>
                  <a:lnTo>
                    <a:pt x="2950477" y="200876"/>
                  </a:lnTo>
                  <a:lnTo>
                    <a:pt x="2950477" y="200228"/>
                  </a:lnTo>
                  <a:lnTo>
                    <a:pt x="2950477" y="202260"/>
                  </a:lnTo>
                  <a:lnTo>
                    <a:pt x="2950477" y="200876"/>
                  </a:lnTo>
                  <a:lnTo>
                    <a:pt x="2950477" y="202260"/>
                  </a:lnTo>
                  <a:lnTo>
                    <a:pt x="2950477" y="200876"/>
                  </a:lnTo>
                  <a:lnTo>
                    <a:pt x="2950477" y="202260"/>
                  </a:lnTo>
                  <a:lnTo>
                    <a:pt x="2950477" y="200876"/>
                  </a:lnTo>
                  <a:lnTo>
                    <a:pt x="2950528" y="200876"/>
                  </a:lnTo>
                  <a:lnTo>
                    <a:pt x="2950528" y="202260"/>
                  </a:lnTo>
                  <a:lnTo>
                    <a:pt x="2950528" y="200876"/>
                  </a:lnTo>
                  <a:lnTo>
                    <a:pt x="2950579" y="202260"/>
                  </a:lnTo>
                  <a:lnTo>
                    <a:pt x="2950579" y="200876"/>
                  </a:lnTo>
                  <a:lnTo>
                    <a:pt x="2950579" y="202260"/>
                  </a:lnTo>
                  <a:lnTo>
                    <a:pt x="2950668" y="202260"/>
                  </a:lnTo>
                  <a:lnTo>
                    <a:pt x="2950668" y="200876"/>
                  </a:lnTo>
                  <a:lnTo>
                    <a:pt x="2950668" y="202260"/>
                  </a:lnTo>
                  <a:lnTo>
                    <a:pt x="2950668" y="200876"/>
                  </a:lnTo>
                  <a:lnTo>
                    <a:pt x="2950668" y="202260"/>
                  </a:lnTo>
                  <a:lnTo>
                    <a:pt x="2950719" y="202260"/>
                  </a:lnTo>
                  <a:lnTo>
                    <a:pt x="2950719" y="200876"/>
                  </a:lnTo>
                  <a:lnTo>
                    <a:pt x="2950719" y="202260"/>
                  </a:lnTo>
                  <a:lnTo>
                    <a:pt x="2950719" y="200876"/>
                  </a:lnTo>
                  <a:lnTo>
                    <a:pt x="2950719" y="202260"/>
                  </a:lnTo>
                  <a:lnTo>
                    <a:pt x="2950719" y="200228"/>
                  </a:lnTo>
                  <a:lnTo>
                    <a:pt x="2950769" y="200876"/>
                  </a:lnTo>
                  <a:lnTo>
                    <a:pt x="2950769" y="199530"/>
                  </a:lnTo>
                  <a:lnTo>
                    <a:pt x="2950769" y="200228"/>
                  </a:lnTo>
                  <a:lnTo>
                    <a:pt x="2950769" y="199530"/>
                  </a:lnTo>
                  <a:lnTo>
                    <a:pt x="2950769" y="200228"/>
                  </a:lnTo>
                  <a:lnTo>
                    <a:pt x="2950769" y="198831"/>
                  </a:lnTo>
                  <a:lnTo>
                    <a:pt x="2950769" y="199530"/>
                  </a:lnTo>
                  <a:lnTo>
                    <a:pt x="2950769" y="198831"/>
                  </a:lnTo>
                  <a:lnTo>
                    <a:pt x="2950769" y="199530"/>
                  </a:lnTo>
                  <a:lnTo>
                    <a:pt x="2950820" y="198831"/>
                  </a:lnTo>
                  <a:lnTo>
                    <a:pt x="2950820" y="199530"/>
                  </a:lnTo>
                  <a:lnTo>
                    <a:pt x="2950820" y="197447"/>
                  </a:lnTo>
                  <a:lnTo>
                    <a:pt x="2950922" y="196799"/>
                  </a:lnTo>
                  <a:lnTo>
                    <a:pt x="2950922" y="200228"/>
                  </a:lnTo>
                  <a:lnTo>
                    <a:pt x="2950922" y="198831"/>
                  </a:lnTo>
                  <a:lnTo>
                    <a:pt x="2950972" y="197447"/>
                  </a:lnTo>
                  <a:lnTo>
                    <a:pt x="2950972" y="200228"/>
                  </a:lnTo>
                  <a:lnTo>
                    <a:pt x="2950972" y="199530"/>
                  </a:lnTo>
                  <a:lnTo>
                    <a:pt x="2951023" y="199530"/>
                  </a:lnTo>
                  <a:lnTo>
                    <a:pt x="2951023" y="198831"/>
                  </a:lnTo>
                  <a:lnTo>
                    <a:pt x="2951023" y="200228"/>
                  </a:lnTo>
                  <a:lnTo>
                    <a:pt x="2951023" y="199530"/>
                  </a:lnTo>
                  <a:lnTo>
                    <a:pt x="2951023" y="200228"/>
                  </a:lnTo>
                  <a:lnTo>
                    <a:pt x="2951125" y="200228"/>
                  </a:lnTo>
                  <a:lnTo>
                    <a:pt x="2951125" y="200876"/>
                  </a:lnTo>
                  <a:lnTo>
                    <a:pt x="2951125" y="200228"/>
                  </a:lnTo>
                  <a:lnTo>
                    <a:pt x="2951125" y="200876"/>
                  </a:lnTo>
                  <a:lnTo>
                    <a:pt x="2951125" y="200228"/>
                  </a:lnTo>
                  <a:lnTo>
                    <a:pt x="2951125" y="200876"/>
                  </a:lnTo>
                  <a:lnTo>
                    <a:pt x="2951125" y="200228"/>
                  </a:lnTo>
                  <a:lnTo>
                    <a:pt x="2951125" y="200876"/>
                  </a:lnTo>
                  <a:lnTo>
                    <a:pt x="2951163" y="200876"/>
                  </a:lnTo>
                  <a:lnTo>
                    <a:pt x="2951163" y="200228"/>
                  </a:lnTo>
                  <a:lnTo>
                    <a:pt x="2951163" y="200876"/>
                  </a:lnTo>
                  <a:lnTo>
                    <a:pt x="2951214" y="200876"/>
                  </a:lnTo>
                  <a:lnTo>
                    <a:pt x="2951214" y="200228"/>
                  </a:lnTo>
                  <a:lnTo>
                    <a:pt x="2951265" y="200228"/>
                  </a:lnTo>
                  <a:lnTo>
                    <a:pt x="2951265" y="199530"/>
                  </a:lnTo>
                  <a:lnTo>
                    <a:pt x="2951265" y="200228"/>
                  </a:lnTo>
                  <a:lnTo>
                    <a:pt x="2951265" y="197447"/>
                  </a:lnTo>
                  <a:lnTo>
                    <a:pt x="2951366" y="197447"/>
                  </a:lnTo>
                  <a:lnTo>
                    <a:pt x="2951366" y="199530"/>
                  </a:lnTo>
                  <a:lnTo>
                    <a:pt x="2951366" y="197447"/>
                  </a:lnTo>
                  <a:lnTo>
                    <a:pt x="2951366" y="199530"/>
                  </a:lnTo>
                  <a:lnTo>
                    <a:pt x="2951417" y="199530"/>
                  </a:lnTo>
                  <a:lnTo>
                    <a:pt x="2951417" y="200876"/>
                  </a:lnTo>
                  <a:lnTo>
                    <a:pt x="2951417" y="199530"/>
                  </a:lnTo>
                  <a:lnTo>
                    <a:pt x="2951417" y="200228"/>
                  </a:lnTo>
                  <a:lnTo>
                    <a:pt x="2951468" y="200228"/>
                  </a:lnTo>
                  <a:lnTo>
                    <a:pt x="2951468" y="200876"/>
                  </a:lnTo>
                  <a:lnTo>
                    <a:pt x="2951468" y="200228"/>
                  </a:lnTo>
                  <a:lnTo>
                    <a:pt x="2951468" y="200876"/>
                  </a:lnTo>
                  <a:lnTo>
                    <a:pt x="2951468" y="200228"/>
                  </a:lnTo>
                  <a:lnTo>
                    <a:pt x="2951468" y="200876"/>
                  </a:lnTo>
                  <a:lnTo>
                    <a:pt x="2951569" y="200876"/>
                  </a:lnTo>
                  <a:lnTo>
                    <a:pt x="2951569" y="200228"/>
                  </a:lnTo>
                  <a:lnTo>
                    <a:pt x="2951569" y="200876"/>
                  </a:lnTo>
                  <a:lnTo>
                    <a:pt x="2951569" y="200228"/>
                  </a:lnTo>
                  <a:lnTo>
                    <a:pt x="2951569" y="200876"/>
                  </a:lnTo>
                  <a:lnTo>
                    <a:pt x="2951620" y="200876"/>
                  </a:lnTo>
                  <a:lnTo>
                    <a:pt x="2951620" y="202260"/>
                  </a:lnTo>
                  <a:lnTo>
                    <a:pt x="2951620" y="200876"/>
                  </a:lnTo>
                  <a:lnTo>
                    <a:pt x="2951620" y="202260"/>
                  </a:lnTo>
                  <a:lnTo>
                    <a:pt x="2951620" y="200876"/>
                  </a:lnTo>
                  <a:lnTo>
                    <a:pt x="2951671" y="200876"/>
                  </a:lnTo>
                  <a:lnTo>
                    <a:pt x="2951671" y="200228"/>
                  </a:lnTo>
                  <a:lnTo>
                    <a:pt x="2951671" y="202260"/>
                  </a:lnTo>
                  <a:lnTo>
                    <a:pt x="2951671" y="200876"/>
                  </a:lnTo>
                  <a:lnTo>
                    <a:pt x="2951709" y="200876"/>
                  </a:lnTo>
                  <a:lnTo>
                    <a:pt x="2951709" y="200228"/>
                  </a:lnTo>
                  <a:lnTo>
                    <a:pt x="2951709" y="200876"/>
                  </a:lnTo>
                  <a:lnTo>
                    <a:pt x="2951709" y="200228"/>
                  </a:lnTo>
                  <a:lnTo>
                    <a:pt x="2951811" y="200228"/>
                  </a:lnTo>
                  <a:lnTo>
                    <a:pt x="2951811" y="198831"/>
                  </a:lnTo>
                  <a:lnTo>
                    <a:pt x="2951811" y="200228"/>
                  </a:lnTo>
                  <a:lnTo>
                    <a:pt x="2951862" y="200228"/>
                  </a:lnTo>
                  <a:lnTo>
                    <a:pt x="2951862" y="199530"/>
                  </a:lnTo>
                  <a:lnTo>
                    <a:pt x="2951862" y="202260"/>
                  </a:lnTo>
                  <a:lnTo>
                    <a:pt x="2951912" y="202260"/>
                  </a:lnTo>
                  <a:lnTo>
                    <a:pt x="2951912" y="199530"/>
                  </a:lnTo>
                  <a:lnTo>
                    <a:pt x="2951912" y="202260"/>
                  </a:lnTo>
                  <a:lnTo>
                    <a:pt x="2952014" y="202260"/>
                  </a:lnTo>
                  <a:lnTo>
                    <a:pt x="2952014" y="200228"/>
                  </a:lnTo>
                  <a:lnTo>
                    <a:pt x="2952014" y="202260"/>
                  </a:lnTo>
                  <a:lnTo>
                    <a:pt x="2952014" y="200876"/>
                  </a:lnTo>
                  <a:lnTo>
                    <a:pt x="2952014" y="202260"/>
                  </a:lnTo>
                  <a:lnTo>
                    <a:pt x="2952014" y="200876"/>
                  </a:lnTo>
                  <a:lnTo>
                    <a:pt x="2952065" y="200876"/>
                  </a:lnTo>
                  <a:lnTo>
                    <a:pt x="2952065" y="202260"/>
                  </a:lnTo>
                  <a:lnTo>
                    <a:pt x="2952065" y="200876"/>
                  </a:lnTo>
                  <a:lnTo>
                    <a:pt x="2952065" y="202260"/>
                  </a:lnTo>
                  <a:lnTo>
                    <a:pt x="2952115" y="202260"/>
                  </a:lnTo>
                  <a:lnTo>
                    <a:pt x="2952115" y="200876"/>
                  </a:lnTo>
                  <a:lnTo>
                    <a:pt x="2952115" y="202260"/>
                  </a:lnTo>
                  <a:lnTo>
                    <a:pt x="2952115" y="200876"/>
                  </a:lnTo>
                  <a:lnTo>
                    <a:pt x="2952115" y="202260"/>
                  </a:lnTo>
                  <a:lnTo>
                    <a:pt x="2952115" y="200876"/>
                  </a:lnTo>
                  <a:lnTo>
                    <a:pt x="2952166" y="200876"/>
                  </a:lnTo>
                  <a:lnTo>
                    <a:pt x="2952255" y="200228"/>
                  </a:lnTo>
                  <a:lnTo>
                    <a:pt x="2952255" y="198831"/>
                  </a:lnTo>
                  <a:lnTo>
                    <a:pt x="2952306" y="198831"/>
                  </a:lnTo>
                  <a:lnTo>
                    <a:pt x="2952306" y="196799"/>
                  </a:lnTo>
                  <a:lnTo>
                    <a:pt x="2952306" y="199530"/>
                  </a:lnTo>
                  <a:lnTo>
                    <a:pt x="2952357" y="199530"/>
                  </a:lnTo>
                  <a:lnTo>
                    <a:pt x="2952357" y="197447"/>
                  </a:lnTo>
                  <a:lnTo>
                    <a:pt x="2952357" y="200876"/>
                  </a:lnTo>
                  <a:lnTo>
                    <a:pt x="2952357" y="200228"/>
                  </a:lnTo>
                  <a:lnTo>
                    <a:pt x="2952408" y="200228"/>
                  </a:lnTo>
                  <a:lnTo>
                    <a:pt x="2952408" y="199530"/>
                  </a:lnTo>
                  <a:lnTo>
                    <a:pt x="2952408" y="200876"/>
                  </a:lnTo>
                  <a:lnTo>
                    <a:pt x="2952408" y="200228"/>
                  </a:lnTo>
                  <a:lnTo>
                    <a:pt x="2952408" y="200876"/>
                  </a:lnTo>
                  <a:lnTo>
                    <a:pt x="2952408" y="200228"/>
                  </a:lnTo>
                  <a:lnTo>
                    <a:pt x="2952408" y="200876"/>
                  </a:lnTo>
                  <a:lnTo>
                    <a:pt x="2952509" y="200876"/>
                  </a:lnTo>
                  <a:lnTo>
                    <a:pt x="2952509" y="200228"/>
                  </a:lnTo>
                  <a:lnTo>
                    <a:pt x="2952509" y="202260"/>
                  </a:lnTo>
                  <a:lnTo>
                    <a:pt x="2952509" y="200876"/>
                  </a:lnTo>
                  <a:lnTo>
                    <a:pt x="2952509" y="202260"/>
                  </a:lnTo>
                  <a:lnTo>
                    <a:pt x="2952509" y="200876"/>
                  </a:lnTo>
                  <a:lnTo>
                    <a:pt x="2952560" y="200876"/>
                  </a:lnTo>
                  <a:lnTo>
                    <a:pt x="2952560" y="202260"/>
                  </a:lnTo>
                  <a:lnTo>
                    <a:pt x="2952560" y="200876"/>
                  </a:lnTo>
                  <a:lnTo>
                    <a:pt x="2952611" y="200876"/>
                  </a:lnTo>
                  <a:lnTo>
                    <a:pt x="2952611" y="202260"/>
                  </a:lnTo>
                  <a:lnTo>
                    <a:pt x="2952611" y="200876"/>
                  </a:lnTo>
                  <a:lnTo>
                    <a:pt x="2952611" y="202260"/>
                  </a:lnTo>
                  <a:lnTo>
                    <a:pt x="2952611" y="200876"/>
                  </a:lnTo>
                  <a:lnTo>
                    <a:pt x="2952611" y="202260"/>
                  </a:lnTo>
                  <a:lnTo>
                    <a:pt x="2952611" y="200228"/>
                  </a:lnTo>
                  <a:lnTo>
                    <a:pt x="2952611" y="200876"/>
                  </a:lnTo>
                  <a:lnTo>
                    <a:pt x="2952611" y="200228"/>
                  </a:lnTo>
                  <a:lnTo>
                    <a:pt x="2952611" y="200876"/>
                  </a:lnTo>
                  <a:lnTo>
                    <a:pt x="2952712" y="200228"/>
                  </a:lnTo>
                  <a:lnTo>
                    <a:pt x="2952712" y="200876"/>
                  </a:lnTo>
                  <a:lnTo>
                    <a:pt x="2952712" y="200228"/>
                  </a:lnTo>
                  <a:lnTo>
                    <a:pt x="2952751" y="200228"/>
                  </a:lnTo>
                  <a:lnTo>
                    <a:pt x="2952751" y="197447"/>
                  </a:lnTo>
                  <a:lnTo>
                    <a:pt x="2952801" y="197447"/>
                  </a:lnTo>
                  <a:lnTo>
                    <a:pt x="2952801" y="196799"/>
                  </a:lnTo>
                  <a:lnTo>
                    <a:pt x="2952801" y="199530"/>
                  </a:lnTo>
                  <a:lnTo>
                    <a:pt x="2952801" y="198831"/>
                  </a:lnTo>
                  <a:lnTo>
                    <a:pt x="2952852" y="197447"/>
                  </a:lnTo>
                  <a:lnTo>
                    <a:pt x="2952852" y="200876"/>
                  </a:lnTo>
                  <a:lnTo>
                    <a:pt x="2952852" y="199530"/>
                  </a:lnTo>
                  <a:lnTo>
                    <a:pt x="2952954" y="199530"/>
                  </a:lnTo>
                  <a:lnTo>
                    <a:pt x="2952954" y="198831"/>
                  </a:lnTo>
                  <a:lnTo>
                    <a:pt x="2952954" y="200876"/>
                  </a:lnTo>
                  <a:lnTo>
                    <a:pt x="2952954" y="199530"/>
                  </a:lnTo>
                  <a:lnTo>
                    <a:pt x="2953005" y="199530"/>
                  </a:lnTo>
                  <a:lnTo>
                    <a:pt x="2953005" y="200876"/>
                  </a:lnTo>
                  <a:lnTo>
                    <a:pt x="2953005" y="200228"/>
                  </a:lnTo>
                  <a:lnTo>
                    <a:pt x="2953005" y="200876"/>
                  </a:lnTo>
                  <a:lnTo>
                    <a:pt x="2953055" y="200876"/>
                  </a:lnTo>
                  <a:lnTo>
                    <a:pt x="2953055" y="200228"/>
                  </a:lnTo>
                  <a:lnTo>
                    <a:pt x="2953055" y="200876"/>
                  </a:lnTo>
                  <a:lnTo>
                    <a:pt x="2953055" y="200228"/>
                  </a:lnTo>
                  <a:lnTo>
                    <a:pt x="2953055" y="200876"/>
                  </a:lnTo>
                  <a:lnTo>
                    <a:pt x="2953055" y="200228"/>
                  </a:lnTo>
                  <a:lnTo>
                    <a:pt x="2953055" y="200876"/>
                  </a:lnTo>
                  <a:lnTo>
                    <a:pt x="2953157" y="200876"/>
                  </a:lnTo>
                  <a:lnTo>
                    <a:pt x="2953157" y="202260"/>
                  </a:lnTo>
                  <a:lnTo>
                    <a:pt x="2953157" y="200876"/>
                  </a:lnTo>
                  <a:lnTo>
                    <a:pt x="2953157" y="202260"/>
                  </a:lnTo>
                  <a:lnTo>
                    <a:pt x="2953157" y="200876"/>
                  </a:lnTo>
                  <a:lnTo>
                    <a:pt x="2953157" y="202260"/>
                  </a:lnTo>
                  <a:lnTo>
                    <a:pt x="2953157" y="200876"/>
                  </a:lnTo>
                  <a:lnTo>
                    <a:pt x="2953208" y="200876"/>
                  </a:lnTo>
                  <a:lnTo>
                    <a:pt x="2953208" y="200228"/>
                  </a:lnTo>
                  <a:lnTo>
                    <a:pt x="2953208" y="200876"/>
                  </a:lnTo>
                  <a:lnTo>
                    <a:pt x="2953208" y="199530"/>
                  </a:lnTo>
                  <a:lnTo>
                    <a:pt x="2953258" y="199530"/>
                  </a:lnTo>
                  <a:lnTo>
                    <a:pt x="2953258" y="196799"/>
                  </a:lnTo>
                  <a:lnTo>
                    <a:pt x="2953297" y="196799"/>
                  </a:lnTo>
                  <a:lnTo>
                    <a:pt x="2953297" y="197447"/>
                  </a:lnTo>
                  <a:lnTo>
                    <a:pt x="2953297" y="196113"/>
                  </a:lnTo>
                  <a:lnTo>
                    <a:pt x="2953297" y="197447"/>
                  </a:lnTo>
                  <a:lnTo>
                    <a:pt x="2953398" y="197447"/>
                  </a:lnTo>
                  <a:lnTo>
                    <a:pt x="2953398" y="196113"/>
                  </a:lnTo>
                  <a:lnTo>
                    <a:pt x="2953398" y="199530"/>
                  </a:lnTo>
                  <a:lnTo>
                    <a:pt x="2953398" y="197447"/>
                  </a:lnTo>
                  <a:lnTo>
                    <a:pt x="2953449" y="197447"/>
                  </a:lnTo>
                  <a:lnTo>
                    <a:pt x="2953449" y="196799"/>
                  </a:lnTo>
                  <a:lnTo>
                    <a:pt x="2953449" y="199530"/>
                  </a:lnTo>
                  <a:lnTo>
                    <a:pt x="2953449" y="198831"/>
                  </a:lnTo>
                  <a:lnTo>
                    <a:pt x="2953449" y="199530"/>
                  </a:lnTo>
                  <a:lnTo>
                    <a:pt x="2953500" y="198831"/>
                  </a:lnTo>
                  <a:lnTo>
                    <a:pt x="2953500" y="200228"/>
                  </a:lnTo>
                  <a:lnTo>
                    <a:pt x="2953500" y="199530"/>
                  </a:lnTo>
                  <a:lnTo>
                    <a:pt x="2953500" y="200228"/>
                  </a:lnTo>
                  <a:lnTo>
                    <a:pt x="2953500" y="199530"/>
                  </a:lnTo>
                  <a:lnTo>
                    <a:pt x="2953601" y="199530"/>
                  </a:lnTo>
                  <a:lnTo>
                    <a:pt x="2953601" y="200876"/>
                  </a:lnTo>
                  <a:lnTo>
                    <a:pt x="2953652" y="200228"/>
                  </a:lnTo>
                  <a:lnTo>
                    <a:pt x="2953652" y="202260"/>
                  </a:lnTo>
                  <a:lnTo>
                    <a:pt x="2953652" y="200876"/>
                  </a:lnTo>
                  <a:lnTo>
                    <a:pt x="2953703" y="200876"/>
                  </a:lnTo>
                  <a:lnTo>
                    <a:pt x="2953703" y="200228"/>
                  </a:lnTo>
                  <a:lnTo>
                    <a:pt x="2953703" y="200876"/>
                  </a:lnTo>
                  <a:lnTo>
                    <a:pt x="2953703" y="200228"/>
                  </a:lnTo>
                  <a:lnTo>
                    <a:pt x="2953754" y="200228"/>
                  </a:lnTo>
                  <a:lnTo>
                    <a:pt x="2953754" y="197447"/>
                  </a:lnTo>
                  <a:lnTo>
                    <a:pt x="2953843" y="197447"/>
                  </a:lnTo>
                  <a:lnTo>
                    <a:pt x="2953843" y="196799"/>
                  </a:lnTo>
                  <a:lnTo>
                    <a:pt x="2953843" y="198831"/>
                  </a:lnTo>
                  <a:lnTo>
                    <a:pt x="2953843" y="196799"/>
                  </a:lnTo>
                  <a:lnTo>
                    <a:pt x="2953894" y="196799"/>
                  </a:lnTo>
                  <a:lnTo>
                    <a:pt x="2953894" y="200228"/>
                  </a:lnTo>
                  <a:lnTo>
                    <a:pt x="2953894" y="197447"/>
                  </a:lnTo>
                  <a:lnTo>
                    <a:pt x="2953894" y="198831"/>
                  </a:lnTo>
                  <a:lnTo>
                    <a:pt x="2953894" y="196799"/>
                  </a:lnTo>
                  <a:lnTo>
                    <a:pt x="2953894" y="197447"/>
                  </a:lnTo>
                  <a:lnTo>
                    <a:pt x="2953944" y="197447"/>
                  </a:lnTo>
                  <a:lnTo>
                    <a:pt x="2953944" y="199530"/>
                  </a:lnTo>
                  <a:lnTo>
                    <a:pt x="2953944" y="197447"/>
                  </a:lnTo>
                  <a:lnTo>
                    <a:pt x="2953995" y="197447"/>
                  </a:lnTo>
                  <a:lnTo>
                    <a:pt x="2953995" y="198831"/>
                  </a:lnTo>
                  <a:lnTo>
                    <a:pt x="2954097" y="198831"/>
                  </a:lnTo>
                  <a:lnTo>
                    <a:pt x="2954097" y="200228"/>
                  </a:lnTo>
                  <a:lnTo>
                    <a:pt x="2954097" y="199530"/>
                  </a:lnTo>
                  <a:lnTo>
                    <a:pt x="2954097" y="200228"/>
                  </a:lnTo>
                  <a:lnTo>
                    <a:pt x="2954147" y="200228"/>
                  </a:lnTo>
                  <a:lnTo>
                    <a:pt x="2954147" y="200876"/>
                  </a:lnTo>
                  <a:lnTo>
                    <a:pt x="2954147" y="199530"/>
                  </a:lnTo>
                  <a:lnTo>
                    <a:pt x="2954147" y="200876"/>
                  </a:lnTo>
                  <a:lnTo>
                    <a:pt x="2954147" y="199530"/>
                  </a:lnTo>
                  <a:lnTo>
                    <a:pt x="2954147" y="200228"/>
                  </a:lnTo>
                  <a:lnTo>
                    <a:pt x="2954198" y="200228"/>
                  </a:lnTo>
                  <a:lnTo>
                    <a:pt x="2954198" y="199530"/>
                  </a:lnTo>
                  <a:lnTo>
                    <a:pt x="2954198" y="200228"/>
                  </a:lnTo>
                  <a:lnTo>
                    <a:pt x="2954198" y="198831"/>
                  </a:lnTo>
                  <a:lnTo>
                    <a:pt x="2954198" y="199530"/>
                  </a:lnTo>
                  <a:lnTo>
                    <a:pt x="2954300" y="199530"/>
                  </a:lnTo>
                  <a:lnTo>
                    <a:pt x="2954300" y="197447"/>
                  </a:lnTo>
                  <a:lnTo>
                    <a:pt x="2954300" y="198831"/>
                  </a:lnTo>
                  <a:lnTo>
                    <a:pt x="2954338" y="199530"/>
                  </a:lnTo>
                  <a:lnTo>
                    <a:pt x="2954338" y="198831"/>
                  </a:lnTo>
                  <a:lnTo>
                    <a:pt x="2954338" y="200876"/>
                  </a:lnTo>
                  <a:lnTo>
                    <a:pt x="2954389" y="200876"/>
                  </a:lnTo>
                  <a:lnTo>
                    <a:pt x="2954389" y="202260"/>
                  </a:lnTo>
                  <a:lnTo>
                    <a:pt x="2954389" y="199530"/>
                  </a:lnTo>
                  <a:lnTo>
                    <a:pt x="2954389" y="200876"/>
                  </a:lnTo>
                  <a:lnTo>
                    <a:pt x="2954440" y="200876"/>
                  </a:lnTo>
                  <a:lnTo>
                    <a:pt x="2954440" y="200228"/>
                  </a:lnTo>
                  <a:lnTo>
                    <a:pt x="2954440" y="200876"/>
                  </a:lnTo>
                  <a:lnTo>
                    <a:pt x="2954440" y="200228"/>
                  </a:lnTo>
                  <a:lnTo>
                    <a:pt x="2954440" y="200876"/>
                  </a:lnTo>
                  <a:lnTo>
                    <a:pt x="2954440" y="200228"/>
                  </a:lnTo>
                  <a:lnTo>
                    <a:pt x="2954541" y="200228"/>
                  </a:lnTo>
                  <a:lnTo>
                    <a:pt x="2954541" y="200876"/>
                  </a:lnTo>
                  <a:lnTo>
                    <a:pt x="2954541" y="200228"/>
                  </a:lnTo>
                  <a:lnTo>
                    <a:pt x="2954541" y="200876"/>
                  </a:lnTo>
                  <a:lnTo>
                    <a:pt x="2954592" y="200876"/>
                  </a:lnTo>
                  <a:lnTo>
                    <a:pt x="2954592" y="200228"/>
                  </a:lnTo>
                  <a:lnTo>
                    <a:pt x="2954592" y="200876"/>
                  </a:lnTo>
                  <a:lnTo>
                    <a:pt x="2954643" y="200228"/>
                  </a:lnTo>
                  <a:lnTo>
                    <a:pt x="2954643" y="200876"/>
                  </a:lnTo>
                  <a:lnTo>
                    <a:pt x="2954643" y="200228"/>
                  </a:lnTo>
                  <a:lnTo>
                    <a:pt x="2954744" y="200228"/>
                  </a:lnTo>
                  <a:lnTo>
                    <a:pt x="2954744" y="198831"/>
                  </a:lnTo>
                  <a:lnTo>
                    <a:pt x="2954795" y="198831"/>
                  </a:lnTo>
                  <a:lnTo>
                    <a:pt x="2954795" y="197447"/>
                  </a:lnTo>
                  <a:lnTo>
                    <a:pt x="2954795" y="198831"/>
                  </a:lnTo>
                  <a:lnTo>
                    <a:pt x="2954795" y="196799"/>
                  </a:lnTo>
                  <a:lnTo>
                    <a:pt x="2954795" y="199530"/>
                  </a:lnTo>
                  <a:lnTo>
                    <a:pt x="2954846" y="199530"/>
                  </a:lnTo>
                  <a:lnTo>
                    <a:pt x="2954846" y="197447"/>
                  </a:lnTo>
                  <a:lnTo>
                    <a:pt x="2954846" y="200876"/>
                  </a:lnTo>
                  <a:lnTo>
                    <a:pt x="2954846" y="200228"/>
                  </a:lnTo>
                  <a:lnTo>
                    <a:pt x="2954846" y="200876"/>
                  </a:lnTo>
                  <a:lnTo>
                    <a:pt x="2954884" y="200876"/>
                  </a:lnTo>
                  <a:lnTo>
                    <a:pt x="2954884" y="200228"/>
                  </a:lnTo>
                  <a:lnTo>
                    <a:pt x="2954884" y="200876"/>
                  </a:lnTo>
                  <a:lnTo>
                    <a:pt x="2954986" y="200876"/>
                  </a:lnTo>
                  <a:lnTo>
                    <a:pt x="2954986" y="200228"/>
                  </a:lnTo>
                  <a:lnTo>
                    <a:pt x="2954986" y="200876"/>
                  </a:lnTo>
                  <a:lnTo>
                    <a:pt x="2954986" y="200228"/>
                  </a:lnTo>
                  <a:lnTo>
                    <a:pt x="2954986" y="200876"/>
                  </a:lnTo>
                  <a:lnTo>
                    <a:pt x="2954986" y="200228"/>
                  </a:lnTo>
                  <a:lnTo>
                    <a:pt x="2954986" y="200876"/>
                  </a:lnTo>
                  <a:lnTo>
                    <a:pt x="2954986" y="200228"/>
                  </a:lnTo>
                  <a:lnTo>
                    <a:pt x="2954986" y="200876"/>
                  </a:lnTo>
                  <a:lnTo>
                    <a:pt x="2954986" y="200228"/>
                  </a:lnTo>
                  <a:lnTo>
                    <a:pt x="2954986" y="200876"/>
                  </a:lnTo>
                  <a:lnTo>
                    <a:pt x="2955037" y="200876"/>
                  </a:lnTo>
                  <a:lnTo>
                    <a:pt x="2955037" y="200228"/>
                  </a:lnTo>
                  <a:lnTo>
                    <a:pt x="2955037" y="200876"/>
                  </a:lnTo>
                  <a:lnTo>
                    <a:pt x="2955037" y="200228"/>
                  </a:lnTo>
                  <a:lnTo>
                    <a:pt x="2955037" y="200876"/>
                  </a:lnTo>
                  <a:lnTo>
                    <a:pt x="2955037" y="200228"/>
                  </a:lnTo>
                  <a:lnTo>
                    <a:pt x="2955087" y="200876"/>
                  </a:lnTo>
                  <a:lnTo>
                    <a:pt x="2955087" y="200228"/>
                  </a:lnTo>
                  <a:lnTo>
                    <a:pt x="2955087" y="200876"/>
                  </a:lnTo>
                  <a:lnTo>
                    <a:pt x="2955189" y="200228"/>
                  </a:lnTo>
                  <a:lnTo>
                    <a:pt x="2955189" y="200876"/>
                  </a:lnTo>
                  <a:lnTo>
                    <a:pt x="2955189" y="200228"/>
                  </a:lnTo>
                  <a:lnTo>
                    <a:pt x="2955189" y="200876"/>
                  </a:lnTo>
                  <a:lnTo>
                    <a:pt x="2955189" y="200228"/>
                  </a:lnTo>
                  <a:lnTo>
                    <a:pt x="2955189" y="200876"/>
                  </a:lnTo>
                  <a:lnTo>
                    <a:pt x="2955189" y="199530"/>
                  </a:lnTo>
                  <a:lnTo>
                    <a:pt x="2955240" y="199530"/>
                  </a:lnTo>
                  <a:lnTo>
                    <a:pt x="2955240" y="198831"/>
                  </a:lnTo>
                  <a:lnTo>
                    <a:pt x="2955240" y="199530"/>
                  </a:lnTo>
                  <a:lnTo>
                    <a:pt x="2955240" y="197447"/>
                  </a:lnTo>
                  <a:lnTo>
                    <a:pt x="2955290" y="196799"/>
                  </a:lnTo>
                  <a:lnTo>
                    <a:pt x="2955290" y="196113"/>
                  </a:lnTo>
                  <a:lnTo>
                    <a:pt x="2955290" y="197447"/>
                  </a:lnTo>
                  <a:lnTo>
                    <a:pt x="2955290" y="196799"/>
                  </a:lnTo>
                  <a:lnTo>
                    <a:pt x="2955341" y="196799"/>
                  </a:lnTo>
                  <a:lnTo>
                    <a:pt x="2955341" y="200228"/>
                  </a:lnTo>
                  <a:lnTo>
                    <a:pt x="2955341" y="198831"/>
                  </a:lnTo>
                  <a:lnTo>
                    <a:pt x="2955430" y="198831"/>
                  </a:lnTo>
                  <a:lnTo>
                    <a:pt x="2955430" y="200228"/>
                  </a:lnTo>
                  <a:lnTo>
                    <a:pt x="2955430" y="199530"/>
                  </a:lnTo>
                  <a:lnTo>
                    <a:pt x="2955481" y="199530"/>
                  </a:lnTo>
                  <a:lnTo>
                    <a:pt x="2955481" y="200876"/>
                  </a:lnTo>
                  <a:lnTo>
                    <a:pt x="2955532" y="200228"/>
                  </a:lnTo>
                  <a:lnTo>
                    <a:pt x="2955532" y="200876"/>
                  </a:lnTo>
                  <a:lnTo>
                    <a:pt x="2955532" y="200228"/>
                  </a:lnTo>
                  <a:lnTo>
                    <a:pt x="2955532" y="200876"/>
                  </a:lnTo>
                  <a:lnTo>
                    <a:pt x="2955583" y="200876"/>
                  </a:lnTo>
                  <a:lnTo>
                    <a:pt x="2955583" y="202260"/>
                  </a:lnTo>
                  <a:lnTo>
                    <a:pt x="2955583" y="200876"/>
                  </a:lnTo>
                  <a:lnTo>
                    <a:pt x="2955684" y="200876"/>
                  </a:lnTo>
                  <a:lnTo>
                    <a:pt x="2955684" y="199530"/>
                  </a:lnTo>
                  <a:lnTo>
                    <a:pt x="2955735" y="199530"/>
                  </a:lnTo>
                  <a:lnTo>
                    <a:pt x="2955735" y="200228"/>
                  </a:lnTo>
                  <a:lnTo>
                    <a:pt x="2955735" y="197447"/>
                  </a:lnTo>
                  <a:lnTo>
                    <a:pt x="2955735" y="198831"/>
                  </a:lnTo>
                  <a:lnTo>
                    <a:pt x="2955786" y="197447"/>
                  </a:lnTo>
                  <a:lnTo>
                    <a:pt x="2955786" y="196799"/>
                  </a:lnTo>
                  <a:lnTo>
                    <a:pt x="2955786" y="199530"/>
                  </a:lnTo>
                  <a:lnTo>
                    <a:pt x="2955786" y="197447"/>
                  </a:lnTo>
                  <a:lnTo>
                    <a:pt x="2955887" y="197447"/>
                  </a:lnTo>
                  <a:lnTo>
                    <a:pt x="2955887" y="196799"/>
                  </a:lnTo>
                  <a:lnTo>
                    <a:pt x="2955887" y="199530"/>
                  </a:lnTo>
                  <a:lnTo>
                    <a:pt x="2955887" y="197447"/>
                  </a:lnTo>
                  <a:lnTo>
                    <a:pt x="2955926" y="198831"/>
                  </a:lnTo>
                  <a:lnTo>
                    <a:pt x="2955926" y="200228"/>
                  </a:lnTo>
                  <a:lnTo>
                    <a:pt x="2955926" y="199530"/>
                  </a:lnTo>
                  <a:lnTo>
                    <a:pt x="2955926" y="200228"/>
                  </a:lnTo>
                  <a:lnTo>
                    <a:pt x="2955926" y="199530"/>
                  </a:lnTo>
                  <a:lnTo>
                    <a:pt x="2955976" y="198831"/>
                  </a:lnTo>
                  <a:lnTo>
                    <a:pt x="2955976" y="200228"/>
                  </a:lnTo>
                  <a:lnTo>
                    <a:pt x="2955976" y="199530"/>
                  </a:lnTo>
                  <a:lnTo>
                    <a:pt x="2955976" y="200228"/>
                  </a:lnTo>
                  <a:lnTo>
                    <a:pt x="2955976" y="199530"/>
                  </a:lnTo>
                  <a:lnTo>
                    <a:pt x="2956027" y="200228"/>
                  </a:lnTo>
                  <a:lnTo>
                    <a:pt x="2956027" y="200876"/>
                  </a:lnTo>
                  <a:lnTo>
                    <a:pt x="2956027" y="200228"/>
                  </a:lnTo>
                  <a:lnTo>
                    <a:pt x="2956129" y="200228"/>
                  </a:lnTo>
                  <a:lnTo>
                    <a:pt x="2956129" y="200876"/>
                  </a:lnTo>
                  <a:lnTo>
                    <a:pt x="2956129" y="200228"/>
                  </a:lnTo>
                  <a:lnTo>
                    <a:pt x="2956129" y="202260"/>
                  </a:lnTo>
                  <a:lnTo>
                    <a:pt x="2956129" y="200876"/>
                  </a:lnTo>
                  <a:lnTo>
                    <a:pt x="2956180" y="200876"/>
                  </a:lnTo>
                  <a:lnTo>
                    <a:pt x="2956180" y="200228"/>
                  </a:lnTo>
                  <a:lnTo>
                    <a:pt x="2956180" y="200876"/>
                  </a:lnTo>
                  <a:lnTo>
                    <a:pt x="2956180" y="199530"/>
                  </a:lnTo>
                  <a:lnTo>
                    <a:pt x="2956230" y="199530"/>
                  </a:lnTo>
                  <a:lnTo>
                    <a:pt x="2956230" y="197447"/>
                  </a:lnTo>
                  <a:lnTo>
                    <a:pt x="2956230" y="198831"/>
                  </a:lnTo>
                  <a:lnTo>
                    <a:pt x="2956332" y="197447"/>
                  </a:lnTo>
                  <a:lnTo>
                    <a:pt x="2956332" y="196799"/>
                  </a:lnTo>
                  <a:lnTo>
                    <a:pt x="2956332" y="198831"/>
                  </a:lnTo>
                  <a:lnTo>
                    <a:pt x="2956332" y="197447"/>
                  </a:lnTo>
                  <a:lnTo>
                    <a:pt x="2956383" y="196799"/>
                  </a:lnTo>
                  <a:lnTo>
                    <a:pt x="2956383" y="199530"/>
                  </a:lnTo>
                  <a:lnTo>
                    <a:pt x="2956383" y="197447"/>
                  </a:lnTo>
                  <a:lnTo>
                    <a:pt x="2956383" y="198831"/>
                  </a:lnTo>
                  <a:lnTo>
                    <a:pt x="2956433" y="198831"/>
                  </a:lnTo>
                  <a:lnTo>
                    <a:pt x="2956433" y="199530"/>
                  </a:lnTo>
                  <a:lnTo>
                    <a:pt x="2956433" y="198831"/>
                  </a:lnTo>
                  <a:lnTo>
                    <a:pt x="2956433" y="199530"/>
                  </a:lnTo>
                  <a:lnTo>
                    <a:pt x="2956433" y="198831"/>
                  </a:lnTo>
                  <a:lnTo>
                    <a:pt x="2956433" y="199530"/>
                  </a:lnTo>
                  <a:lnTo>
                    <a:pt x="2956472" y="199530"/>
                  </a:lnTo>
                  <a:lnTo>
                    <a:pt x="2956472" y="200228"/>
                  </a:lnTo>
                  <a:lnTo>
                    <a:pt x="2956472" y="199530"/>
                  </a:lnTo>
                  <a:lnTo>
                    <a:pt x="2956472" y="200228"/>
                  </a:lnTo>
                  <a:lnTo>
                    <a:pt x="2956573" y="199530"/>
                  </a:lnTo>
                  <a:lnTo>
                    <a:pt x="2956573" y="200876"/>
                  </a:lnTo>
                  <a:lnTo>
                    <a:pt x="2956573" y="200228"/>
                  </a:lnTo>
                  <a:lnTo>
                    <a:pt x="2956573" y="200876"/>
                  </a:lnTo>
                  <a:lnTo>
                    <a:pt x="2956624" y="200228"/>
                  </a:lnTo>
                  <a:lnTo>
                    <a:pt x="2956624" y="200876"/>
                  </a:lnTo>
                  <a:lnTo>
                    <a:pt x="2956624" y="200228"/>
                  </a:lnTo>
                  <a:lnTo>
                    <a:pt x="2956675" y="200228"/>
                  </a:lnTo>
                  <a:lnTo>
                    <a:pt x="2956675" y="199530"/>
                  </a:lnTo>
                  <a:lnTo>
                    <a:pt x="2956776" y="199530"/>
                  </a:lnTo>
                  <a:lnTo>
                    <a:pt x="2956776" y="196799"/>
                  </a:lnTo>
                  <a:lnTo>
                    <a:pt x="2956827" y="196799"/>
                  </a:lnTo>
                  <a:lnTo>
                    <a:pt x="2956827" y="199530"/>
                  </a:lnTo>
                  <a:lnTo>
                    <a:pt x="2956827" y="196113"/>
                  </a:lnTo>
                  <a:lnTo>
                    <a:pt x="2956827" y="196799"/>
                  </a:lnTo>
                  <a:lnTo>
                    <a:pt x="2956878" y="196799"/>
                  </a:lnTo>
                  <a:lnTo>
                    <a:pt x="2956878" y="199530"/>
                  </a:lnTo>
                  <a:lnTo>
                    <a:pt x="2956878" y="197447"/>
                  </a:lnTo>
                  <a:lnTo>
                    <a:pt x="2956878" y="198831"/>
                  </a:lnTo>
                  <a:lnTo>
                    <a:pt x="2956929" y="198831"/>
                  </a:lnTo>
                  <a:lnTo>
                    <a:pt x="2956929" y="199530"/>
                  </a:lnTo>
                  <a:lnTo>
                    <a:pt x="2956929" y="198831"/>
                  </a:lnTo>
                  <a:lnTo>
                    <a:pt x="2956929" y="199530"/>
                  </a:lnTo>
                  <a:lnTo>
                    <a:pt x="2956929" y="197447"/>
                  </a:lnTo>
                  <a:lnTo>
                    <a:pt x="2956929" y="198831"/>
                  </a:lnTo>
                  <a:lnTo>
                    <a:pt x="2957018" y="198831"/>
                  </a:lnTo>
                  <a:lnTo>
                    <a:pt x="2957018" y="199530"/>
                  </a:lnTo>
                  <a:lnTo>
                    <a:pt x="2957018" y="198831"/>
                  </a:lnTo>
                  <a:lnTo>
                    <a:pt x="2957018" y="199530"/>
                  </a:lnTo>
                  <a:lnTo>
                    <a:pt x="2957018" y="198831"/>
                  </a:lnTo>
                  <a:lnTo>
                    <a:pt x="2957018" y="199530"/>
                  </a:lnTo>
                  <a:lnTo>
                    <a:pt x="2957069" y="199530"/>
                  </a:lnTo>
                  <a:lnTo>
                    <a:pt x="2957069" y="198831"/>
                  </a:lnTo>
                  <a:lnTo>
                    <a:pt x="2957069" y="200228"/>
                  </a:lnTo>
                  <a:lnTo>
                    <a:pt x="2957069" y="199530"/>
                  </a:lnTo>
                  <a:lnTo>
                    <a:pt x="2957119" y="199530"/>
                  </a:lnTo>
                  <a:lnTo>
                    <a:pt x="2957119" y="200228"/>
                  </a:lnTo>
                  <a:lnTo>
                    <a:pt x="2957170" y="200228"/>
                  </a:lnTo>
                  <a:lnTo>
                    <a:pt x="2957170" y="198831"/>
                  </a:lnTo>
                  <a:lnTo>
                    <a:pt x="2957272" y="198831"/>
                  </a:lnTo>
                  <a:lnTo>
                    <a:pt x="2957272" y="199530"/>
                  </a:lnTo>
                  <a:lnTo>
                    <a:pt x="2957272" y="196799"/>
                  </a:lnTo>
                  <a:lnTo>
                    <a:pt x="2957272" y="199530"/>
                  </a:lnTo>
                  <a:lnTo>
                    <a:pt x="2957322" y="199530"/>
                  </a:lnTo>
                  <a:lnTo>
                    <a:pt x="2957322" y="197447"/>
                  </a:lnTo>
                  <a:lnTo>
                    <a:pt x="2957322" y="200876"/>
                  </a:lnTo>
                  <a:lnTo>
                    <a:pt x="2957373" y="200228"/>
                  </a:lnTo>
                  <a:lnTo>
                    <a:pt x="2957373" y="199530"/>
                  </a:lnTo>
                  <a:lnTo>
                    <a:pt x="2957373" y="200228"/>
                  </a:lnTo>
                  <a:lnTo>
                    <a:pt x="2957475" y="200228"/>
                  </a:lnTo>
                  <a:lnTo>
                    <a:pt x="2957475" y="199530"/>
                  </a:lnTo>
                  <a:lnTo>
                    <a:pt x="2957475" y="200228"/>
                  </a:lnTo>
                  <a:lnTo>
                    <a:pt x="2957475" y="199530"/>
                  </a:lnTo>
                  <a:lnTo>
                    <a:pt x="2957475" y="200228"/>
                  </a:lnTo>
                  <a:lnTo>
                    <a:pt x="2957513" y="200228"/>
                  </a:lnTo>
                  <a:lnTo>
                    <a:pt x="2957513" y="199530"/>
                  </a:lnTo>
                  <a:lnTo>
                    <a:pt x="2957513" y="200876"/>
                  </a:lnTo>
                  <a:lnTo>
                    <a:pt x="2957513" y="200228"/>
                  </a:lnTo>
                  <a:lnTo>
                    <a:pt x="2957564" y="200228"/>
                  </a:lnTo>
                  <a:lnTo>
                    <a:pt x="2957564" y="200876"/>
                  </a:lnTo>
                  <a:lnTo>
                    <a:pt x="2957564" y="200228"/>
                  </a:lnTo>
                  <a:lnTo>
                    <a:pt x="2957564" y="200876"/>
                  </a:lnTo>
                  <a:lnTo>
                    <a:pt x="2957615" y="200876"/>
                  </a:lnTo>
                  <a:lnTo>
                    <a:pt x="2957615" y="199530"/>
                  </a:lnTo>
                  <a:lnTo>
                    <a:pt x="2957716" y="199530"/>
                  </a:lnTo>
                  <a:lnTo>
                    <a:pt x="2957716" y="200228"/>
                  </a:lnTo>
                  <a:lnTo>
                    <a:pt x="2957716" y="198831"/>
                  </a:lnTo>
                  <a:lnTo>
                    <a:pt x="2957767" y="198831"/>
                  </a:lnTo>
                  <a:lnTo>
                    <a:pt x="2957767" y="197447"/>
                  </a:lnTo>
                  <a:lnTo>
                    <a:pt x="2957767" y="200228"/>
                  </a:lnTo>
                  <a:lnTo>
                    <a:pt x="2957767" y="199530"/>
                  </a:lnTo>
                  <a:lnTo>
                    <a:pt x="2957818" y="199530"/>
                  </a:lnTo>
                  <a:lnTo>
                    <a:pt x="2957818" y="198831"/>
                  </a:lnTo>
                  <a:lnTo>
                    <a:pt x="2957818" y="202260"/>
                  </a:lnTo>
                  <a:lnTo>
                    <a:pt x="2957818" y="200228"/>
                  </a:lnTo>
                  <a:lnTo>
                    <a:pt x="2957919" y="200228"/>
                  </a:lnTo>
                  <a:lnTo>
                    <a:pt x="2957919" y="202260"/>
                  </a:lnTo>
                  <a:lnTo>
                    <a:pt x="2957919" y="200228"/>
                  </a:lnTo>
                  <a:lnTo>
                    <a:pt x="2957919" y="200876"/>
                  </a:lnTo>
                  <a:lnTo>
                    <a:pt x="2957919" y="200228"/>
                  </a:lnTo>
                  <a:lnTo>
                    <a:pt x="2957970" y="200228"/>
                  </a:lnTo>
                  <a:lnTo>
                    <a:pt x="2957970" y="200876"/>
                  </a:lnTo>
                  <a:lnTo>
                    <a:pt x="2957970" y="200228"/>
                  </a:lnTo>
                  <a:lnTo>
                    <a:pt x="2957970" y="200876"/>
                  </a:lnTo>
                  <a:lnTo>
                    <a:pt x="2958021" y="200876"/>
                  </a:lnTo>
                  <a:lnTo>
                    <a:pt x="2958021" y="202260"/>
                  </a:lnTo>
                  <a:lnTo>
                    <a:pt x="2958021" y="200228"/>
                  </a:lnTo>
                  <a:lnTo>
                    <a:pt x="2958059" y="200228"/>
                  </a:lnTo>
                  <a:lnTo>
                    <a:pt x="2958059" y="200876"/>
                  </a:lnTo>
                  <a:lnTo>
                    <a:pt x="2958059" y="200228"/>
                  </a:lnTo>
                  <a:lnTo>
                    <a:pt x="2958059" y="200876"/>
                  </a:lnTo>
                  <a:lnTo>
                    <a:pt x="2958161" y="200876"/>
                  </a:lnTo>
                  <a:lnTo>
                    <a:pt x="2958161" y="200228"/>
                  </a:lnTo>
                  <a:lnTo>
                    <a:pt x="2958161" y="200876"/>
                  </a:lnTo>
                  <a:lnTo>
                    <a:pt x="2958161" y="200228"/>
                  </a:lnTo>
                  <a:lnTo>
                    <a:pt x="2958161" y="200876"/>
                  </a:lnTo>
                  <a:lnTo>
                    <a:pt x="2958161" y="199530"/>
                  </a:lnTo>
                  <a:lnTo>
                    <a:pt x="2958161" y="200228"/>
                  </a:lnTo>
                  <a:lnTo>
                    <a:pt x="2958161" y="199530"/>
                  </a:lnTo>
                  <a:lnTo>
                    <a:pt x="2958161" y="200228"/>
                  </a:lnTo>
                  <a:lnTo>
                    <a:pt x="2958161" y="199530"/>
                  </a:lnTo>
                  <a:lnTo>
                    <a:pt x="2958212" y="199530"/>
                  </a:lnTo>
                  <a:lnTo>
                    <a:pt x="2958212" y="196799"/>
                  </a:lnTo>
                  <a:lnTo>
                    <a:pt x="2958262" y="196799"/>
                  </a:lnTo>
                  <a:lnTo>
                    <a:pt x="2958262" y="199530"/>
                  </a:lnTo>
                  <a:lnTo>
                    <a:pt x="2958262" y="197447"/>
                  </a:lnTo>
                  <a:lnTo>
                    <a:pt x="2958364" y="197447"/>
                  </a:lnTo>
                  <a:lnTo>
                    <a:pt x="2958364" y="200228"/>
                  </a:lnTo>
                  <a:lnTo>
                    <a:pt x="2958364" y="199530"/>
                  </a:lnTo>
                  <a:lnTo>
                    <a:pt x="2958415" y="199530"/>
                  </a:lnTo>
                  <a:lnTo>
                    <a:pt x="2958415" y="200876"/>
                  </a:lnTo>
                  <a:lnTo>
                    <a:pt x="2958415" y="200228"/>
                  </a:lnTo>
                  <a:lnTo>
                    <a:pt x="2958415" y="200876"/>
                  </a:lnTo>
                  <a:lnTo>
                    <a:pt x="2958415" y="199530"/>
                  </a:lnTo>
                  <a:lnTo>
                    <a:pt x="2958415" y="200228"/>
                  </a:lnTo>
                  <a:lnTo>
                    <a:pt x="2958415" y="199530"/>
                  </a:lnTo>
                  <a:lnTo>
                    <a:pt x="2958415" y="200228"/>
                  </a:lnTo>
                  <a:lnTo>
                    <a:pt x="2958465" y="200228"/>
                  </a:lnTo>
                  <a:lnTo>
                    <a:pt x="2958465" y="202260"/>
                  </a:lnTo>
                  <a:lnTo>
                    <a:pt x="2958465" y="200228"/>
                  </a:lnTo>
                  <a:lnTo>
                    <a:pt x="2958465" y="200876"/>
                  </a:lnTo>
                  <a:lnTo>
                    <a:pt x="2958516" y="200876"/>
                  </a:lnTo>
                  <a:lnTo>
                    <a:pt x="2958516" y="202260"/>
                  </a:lnTo>
                  <a:lnTo>
                    <a:pt x="2958516" y="200876"/>
                  </a:lnTo>
                  <a:lnTo>
                    <a:pt x="2958516" y="202260"/>
                  </a:lnTo>
                  <a:lnTo>
                    <a:pt x="2958516" y="200876"/>
                  </a:lnTo>
                  <a:lnTo>
                    <a:pt x="2958516" y="202260"/>
                  </a:lnTo>
                  <a:lnTo>
                    <a:pt x="2958516" y="200876"/>
                  </a:lnTo>
                  <a:lnTo>
                    <a:pt x="2958516" y="202260"/>
                  </a:lnTo>
                  <a:lnTo>
                    <a:pt x="2958516" y="200876"/>
                  </a:lnTo>
                  <a:lnTo>
                    <a:pt x="2958605" y="200876"/>
                  </a:lnTo>
                  <a:lnTo>
                    <a:pt x="2958605" y="202260"/>
                  </a:lnTo>
                  <a:lnTo>
                    <a:pt x="2958605" y="200876"/>
                  </a:lnTo>
                  <a:lnTo>
                    <a:pt x="2958656" y="200876"/>
                  </a:lnTo>
                  <a:lnTo>
                    <a:pt x="2958656" y="199530"/>
                  </a:lnTo>
                  <a:lnTo>
                    <a:pt x="2958707" y="199530"/>
                  </a:lnTo>
                  <a:lnTo>
                    <a:pt x="2958707" y="197447"/>
                  </a:lnTo>
                  <a:lnTo>
                    <a:pt x="2958707" y="198831"/>
                  </a:lnTo>
                  <a:lnTo>
                    <a:pt x="2958707" y="197447"/>
                  </a:lnTo>
                  <a:lnTo>
                    <a:pt x="2958758" y="198831"/>
                  </a:lnTo>
                  <a:lnTo>
                    <a:pt x="2958758" y="200228"/>
                  </a:lnTo>
                  <a:lnTo>
                    <a:pt x="2958758" y="197447"/>
                  </a:lnTo>
                  <a:lnTo>
                    <a:pt x="2958758" y="200228"/>
                  </a:lnTo>
                  <a:lnTo>
                    <a:pt x="2958859" y="200876"/>
                  </a:lnTo>
                  <a:lnTo>
                    <a:pt x="2958859" y="199530"/>
                  </a:lnTo>
                  <a:lnTo>
                    <a:pt x="2958859" y="200876"/>
                  </a:lnTo>
                  <a:lnTo>
                    <a:pt x="2958910" y="200228"/>
                  </a:lnTo>
                  <a:lnTo>
                    <a:pt x="2958910" y="199530"/>
                  </a:lnTo>
                  <a:lnTo>
                    <a:pt x="2958910" y="200876"/>
                  </a:lnTo>
                  <a:lnTo>
                    <a:pt x="2958961" y="200876"/>
                  </a:lnTo>
                  <a:lnTo>
                    <a:pt x="2958961" y="200228"/>
                  </a:lnTo>
                  <a:lnTo>
                    <a:pt x="2958961" y="200876"/>
                  </a:lnTo>
                  <a:lnTo>
                    <a:pt x="2959062" y="202260"/>
                  </a:lnTo>
                  <a:lnTo>
                    <a:pt x="2959062" y="200876"/>
                  </a:lnTo>
                  <a:lnTo>
                    <a:pt x="2959062" y="202260"/>
                  </a:lnTo>
                  <a:lnTo>
                    <a:pt x="2959062" y="200876"/>
                  </a:lnTo>
                  <a:lnTo>
                    <a:pt x="2959101" y="200876"/>
                  </a:lnTo>
                  <a:lnTo>
                    <a:pt x="2959101" y="202260"/>
                  </a:lnTo>
                  <a:lnTo>
                    <a:pt x="2959101" y="200228"/>
                  </a:lnTo>
                  <a:lnTo>
                    <a:pt x="2959101" y="200876"/>
                  </a:lnTo>
                  <a:lnTo>
                    <a:pt x="2959101" y="200228"/>
                  </a:lnTo>
                  <a:lnTo>
                    <a:pt x="2959151" y="200228"/>
                  </a:lnTo>
                  <a:lnTo>
                    <a:pt x="2959151" y="199530"/>
                  </a:lnTo>
                  <a:lnTo>
                    <a:pt x="2959151" y="200228"/>
                  </a:lnTo>
                  <a:lnTo>
                    <a:pt x="2959151" y="199530"/>
                  </a:lnTo>
                  <a:lnTo>
                    <a:pt x="2959202" y="198831"/>
                  </a:lnTo>
                  <a:lnTo>
                    <a:pt x="2959202" y="199530"/>
                  </a:lnTo>
                  <a:lnTo>
                    <a:pt x="2959202" y="198831"/>
                  </a:lnTo>
                  <a:lnTo>
                    <a:pt x="2959202" y="199530"/>
                  </a:lnTo>
                  <a:lnTo>
                    <a:pt x="2959202" y="196799"/>
                  </a:lnTo>
                  <a:lnTo>
                    <a:pt x="2959202" y="197447"/>
                  </a:lnTo>
                  <a:lnTo>
                    <a:pt x="2959304" y="198831"/>
                  </a:lnTo>
                  <a:lnTo>
                    <a:pt x="2959304" y="199530"/>
                  </a:lnTo>
                  <a:lnTo>
                    <a:pt x="2959304" y="197447"/>
                  </a:lnTo>
                  <a:lnTo>
                    <a:pt x="2959304" y="199530"/>
                  </a:lnTo>
                  <a:lnTo>
                    <a:pt x="2959355" y="199530"/>
                  </a:lnTo>
                  <a:lnTo>
                    <a:pt x="2959355" y="200228"/>
                  </a:lnTo>
                  <a:lnTo>
                    <a:pt x="2959355" y="199530"/>
                  </a:lnTo>
                  <a:lnTo>
                    <a:pt x="2959355" y="200228"/>
                  </a:lnTo>
                  <a:lnTo>
                    <a:pt x="2959355" y="198831"/>
                  </a:lnTo>
                  <a:lnTo>
                    <a:pt x="2959355" y="199530"/>
                  </a:lnTo>
                  <a:lnTo>
                    <a:pt x="2959405" y="199530"/>
                  </a:lnTo>
                  <a:lnTo>
                    <a:pt x="2959405" y="200228"/>
                  </a:lnTo>
                  <a:lnTo>
                    <a:pt x="2959405" y="199530"/>
                  </a:lnTo>
                  <a:lnTo>
                    <a:pt x="2959405" y="200228"/>
                  </a:lnTo>
                  <a:lnTo>
                    <a:pt x="2959405" y="199530"/>
                  </a:lnTo>
                  <a:lnTo>
                    <a:pt x="2959405" y="200228"/>
                  </a:lnTo>
                  <a:lnTo>
                    <a:pt x="2959507" y="200228"/>
                  </a:lnTo>
                  <a:lnTo>
                    <a:pt x="2959507" y="202260"/>
                  </a:lnTo>
                  <a:lnTo>
                    <a:pt x="2959558" y="202260"/>
                  </a:lnTo>
                  <a:lnTo>
                    <a:pt x="2959558" y="200876"/>
                  </a:lnTo>
                  <a:lnTo>
                    <a:pt x="2959558" y="202260"/>
                  </a:lnTo>
                  <a:lnTo>
                    <a:pt x="2959558" y="200876"/>
                  </a:lnTo>
                  <a:lnTo>
                    <a:pt x="2959558" y="202260"/>
                  </a:lnTo>
                  <a:lnTo>
                    <a:pt x="2959608" y="202260"/>
                  </a:lnTo>
                  <a:lnTo>
                    <a:pt x="2959608" y="200876"/>
                  </a:lnTo>
                  <a:lnTo>
                    <a:pt x="2959608" y="202260"/>
                  </a:lnTo>
                  <a:lnTo>
                    <a:pt x="2959608" y="200876"/>
                  </a:lnTo>
                  <a:lnTo>
                    <a:pt x="2959647" y="200876"/>
                  </a:lnTo>
                  <a:lnTo>
                    <a:pt x="2959647" y="200228"/>
                  </a:lnTo>
                  <a:lnTo>
                    <a:pt x="2959647" y="200876"/>
                  </a:lnTo>
                  <a:lnTo>
                    <a:pt x="2959647" y="199530"/>
                  </a:lnTo>
                  <a:lnTo>
                    <a:pt x="2959748" y="198831"/>
                  </a:lnTo>
                  <a:lnTo>
                    <a:pt x="2959748" y="197447"/>
                  </a:lnTo>
                  <a:lnTo>
                    <a:pt x="2959748" y="198831"/>
                  </a:lnTo>
                  <a:lnTo>
                    <a:pt x="2959799" y="198831"/>
                  </a:lnTo>
                  <a:lnTo>
                    <a:pt x="2959799" y="196799"/>
                  </a:lnTo>
                  <a:lnTo>
                    <a:pt x="2959799" y="197447"/>
                  </a:lnTo>
                  <a:lnTo>
                    <a:pt x="2959799" y="196799"/>
                  </a:lnTo>
                  <a:lnTo>
                    <a:pt x="2959799" y="199530"/>
                  </a:lnTo>
                  <a:lnTo>
                    <a:pt x="2959850" y="199530"/>
                  </a:lnTo>
                  <a:lnTo>
                    <a:pt x="2959850" y="197447"/>
                  </a:lnTo>
                  <a:lnTo>
                    <a:pt x="2959850" y="198831"/>
                  </a:lnTo>
                  <a:lnTo>
                    <a:pt x="2959850" y="197447"/>
                  </a:lnTo>
                  <a:lnTo>
                    <a:pt x="2959850" y="199530"/>
                  </a:lnTo>
                  <a:lnTo>
                    <a:pt x="2959951" y="199530"/>
                  </a:lnTo>
                  <a:lnTo>
                    <a:pt x="2959951" y="198831"/>
                  </a:lnTo>
                  <a:lnTo>
                    <a:pt x="2959951" y="200228"/>
                  </a:lnTo>
                  <a:lnTo>
                    <a:pt x="2959951" y="199530"/>
                  </a:lnTo>
                  <a:lnTo>
                    <a:pt x="2960002" y="199530"/>
                  </a:lnTo>
                  <a:lnTo>
                    <a:pt x="2960002" y="200228"/>
                  </a:lnTo>
                  <a:lnTo>
                    <a:pt x="2960002" y="199530"/>
                  </a:lnTo>
                  <a:lnTo>
                    <a:pt x="2960053" y="200228"/>
                  </a:lnTo>
                  <a:lnTo>
                    <a:pt x="2960053" y="199530"/>
                  </a:lnTo>
                  <a:lnTo>
                    <a:pt x="2960053" y="200228"/>
                  </a:lnTo>
                  <a:lnTo>
                    <a:pt x="2960053" y="199530"/>
                  </a:lnTo>
                  <a:lnTo>
                    <a:pt x="2960053" y="200228"/>
                  </a:lnTo>
                  <a:lnTo>
                    <a:pt x="2960193" y="200228"/>
                  </a:lnTo>
                  <a:lnTo>
                    <a:pt x="2960193" y="200876"/>
                  </a:lnTo>
                  <a:lnTo>
                    <a:pt x="2960193" y="199530"/>
                  </a:lnTo>
                  <a:lnTo>
                    <a:pt x="2960244" y="199530"/>
                  </a:lnTo>
                  <a:lnTo>
                    <a:pt x="2960244" y="197447"/>
                  </a:lnTo>
                  <a:lnTo>
                    <a:pt x="2960244" y="199530"/>
                  </a:lnTo>
                  <a:lnTo>
                    <a:pt x="2960294" y="198831"/>
                  </a:lnTo>
                  <a:lnTo>
                    <a:pt x="2960294" y="200876"/>
                  </a:lnTo>
                  <a:lnTo>
                    <a:pt x="2960294" y="200228"/>
                  </a:lnTo>
                  <a:lnTo>
                    <a:pt x="2960345" y="199530"/>
                  </a:lnTo>
                  <a:lnTo>
                    <a:pt x="2960345" y="200876"/>
                  </a:lnTo>
                  <a:lnTo>
                    <a:pt x="2960345" y="200228"/>
                  </a:lnTo>
                  <a:lnTo>
                    <a:pt x="2960447" y="200228"/>
                  </a:lnTo>
                  <a:lnTo>
                    <a:pt x="2960447" y="200876"/>
                  </a:lnTo>
                  <a:lnTo>
                    <a:pt x="2960447" y="200228"/>
                  </a:lnTo>
                  <a:lnTo>
                    <a:pt x="2960497" y="200228"/>
                  </a:lnTo>
                  <a:lnTo>
                    <a:pt x="2960497" y="200876"/>
                  </a:lnTo>
                  <a:lnTo>
                    <a:pt x="2960497" y="200228"/>
                  </a:lnTo>
                  <a:lnTo>
                    <a:pt x="2960497" y="200876"/>
                  </a:lnTo>
                  <a:lnTo>
                    <a:pt x="2960548" y="200876"/>
                  </a:lnTo>
                  <a:lnTo>
                    <a:pt x="2960548" y="200228"/>
                  </a:lnTo>
                  <a:lnTo>
                    <a:pt x="2960548" y="200876"/>
                  </a:lnTo>
                  <a:lnTo>
                    <a:pt x="2960650" y="200876"/>
                  </a:lnTo>
                  <a:lnTo>
                    <a:pt x="2960650" y="200228"/>
                  </a:lnTo>
                  <a:lnTo>
                    <a:pt x="2960650" y="200876"/>
                  </a:lnTo>
                  <a:lnTo>
                    <a:pt x="2960650" y="200228"/>
                  </a:lnTo>
                  <a:lnTo>
                    <a:pt x="2960688" y="200228"/>
                  </a:lnTo>
                  <a:lnTo>
                    <a:pt x="2960688" y="198831"/>
                  </a:lnTo>
                  <a:lnTo>
                    <a:pt x="2960688" y="199530"/>
                  </a:lnTo>
                  <a:lnTo>
                    <a:pt x="2960739" y="199530"/>
                  </a:lnTo>
                  <a:lnTo>
                    <a:pt x="2960739" y="197447"/>
                  </a:lnTo>
                  <a:lnTo>
                    <a:pt x="2960739" y="200228"/>
                  </a:lnTo>
                  <a:lnTo>
                    <a:pt x="2960739" y="198831"/>
                  </a:lnTo>
                  <a:lnTo>
                    <a:pt x="2960790" y="198831"/>
                  </a:lnTo>
                  <a:lnTo>
                    <a:pt x="2960790" y="200876"/>
                  </a:lnTo>
                  <a:lnTo>
                    <a:pt x="2960790" y="199530"/>
                  </a:lnTo>
                  <a:lnTo>
                    <a:pt x="2960891" y="199530"/>
                  </a:lnTo>
                  <a:lnTo>
                    <a:pt x="2960891" y="200876"/>
                  </a:lnTo>
                  <a:lnTo>
                    <a:pt x="2960891" y="200228"/>
                  </a:lnTo>
                  <a:lnTo>
                    <a:pt x="2960891" y="200876"/>
                  </a:lnTo>
                  <a:lnTo>
                    <a:pt x="2960942" y="200876"/>
                  </a:lnTo>
                  <a:lnTo>
                    <a:pt x="2960942" y="200228"/>
                  </a:lnTo>
                  <a:lnTo>
                    <a:pt x="2960993" y="200228"/>
                  </a:lnTo>
                  <a:lnTo>
                    <a:pt x="2960993" y="200876"/>
                  </a:lnTo>
                  <a:lnTo>
                    <a:pt x="2960993" y="200228"/>
                  </a:lnTo>
                  <a:lnTo>
                    <a:pt x="2960993" y="200876"/>
                  </a:lnTo>
                  <a:lnTo>
                    <a:pt x="2961094" y="200876"/>
                  </a:lnTo>
                  <a:lnTo>
                    <a:pt x="2961094" y="200228"/>
                  </a:lnTo>
                  <a:lnTo>
                    <a:pt x="2961094" y="200876"/>
                  </a:lnTo>
                  <a:lnTo>
                    <a:pt x="2961094" y="200228"/>
                  </a:lnTo>
                  <a:lnTo>
                    <a:pt x="2961094" y="200876"/>
                  </a:lnTo>
                  <a:lnTo>
                    <a:pt x="2961094" y="200228"/>
                  </a:lnTo>
                  <a:lnTo>
                    <a:pt x="2961094" y="200876"/>
                  </a:lnTo>
                  <a:lnTo>
                    <a:pt x="2961094" y="200228"/>
                  </a:lnTo>
                  <a:lnTo>
                    <a:pt x="2961094" y="200876"/>
                  </a:lnTo>
                  <a:lnTo>
                    <a:pt x="2961145" y="200876"/>
                  </a:lnTo>
                  <a:lnTo>
                    <a:pt x="2961145" y="199530"/>
                  </a:lnTo>
                  <a:lnTo>
                    <a:pt x="2961145" y="200228"/>
                  </a:lnTo>
                  <a:lnTo>
                    <a:pt x="2961145" y="199530"/>
                  </a:lnTo>
                  <a:lnTo>
                    <a:pt x="2961145" y="200228"/>
                  </a:lnTo>
                  <a:lnTo>
                    <a:pt x="2961145" y="199530"/>
                  </a:lnTo>
                  <a:lnTo>
                    <a:pt x="2961145" y="200228"/>
                  </a:lnTo>
                  <a:lnTo>
                    <a:pt x="2961145" y="199530"/>
                  </a:lnTo>
                  <a:lnTo>
                    <a:pt x="2961196" y="198831"/>
                  </a:lnTo>
                  <a:lnTo>
                    <a:pt x="2961196" y="200228"/>
                  </a:lnTo>
                  <a:lnTo>
                    <a:pt x="2961196" y="197447"/>
                  </a:lnTo>
                  <a:lnTo>
                    <a:pt x="2961196" y="198831"/>
                  </a:lnTo>
                  <a:lnTo>
                    <a:pt x="2961196" y="197447"/>
                  </a:lnTo>
                  <a:lnTo>
                    <a:pt x="2961196" y="198831"/>
                  </a:lnTo>
                  <a:lnTo>
                    <a:pt x="2961196" y="197447"/>
                  </a:lnTo>
                  <a:lnTo>
                    <a:pt x="2961234" y="196799"/>
                  </a:lnTo>
                  <a:lnTo>
                    <a:pt x="2961234" y="199530"/>
                  </a:lnTo>
                  <a:lnTo>
                    <a:pt x="2961234" y="197447"/>
                  </a:lnTo>
                  <a:lnTo>
                    <a:pt x="2961336" y="197447"/>
                  </a:lnTo>
                  <a:lnTo>
                    <a:pt x="2961336" y="200228"/>
                  </a:lnTo>
                  <a:lnTo>
                    <a:pt x="2961336" y="198831"/>
                  </a:lnTo>
                  <a:lnTo>
                    <a:pt x="2961336" y="199530"/>
                  </a:lnTo>
                  <a:lnTo>
                    <a:pt x="2961387" y="199530"/>
                  </a:lnTo>
                  <a:lnTo>
                    <a:pt x="2961387" y="200228"/>
                  </a:lnTo>
                  <a:lnTo>
                    <a:pt x="2961387" y="199530"/>
                  </a:lnTo>
                  <a:lnTo>
                    <a:pt x="2961387" y="200876"/>
                  </a:lnTo>
                  <a:lnTo>
                    <a:pt x="2961437" y="200876"/>
                  </a:lnTo>
                  <a:lnTo>
                    <a:pt x="2961437" y="202260"/>
                  </a:lnTo>
                  <a:lnTo>
                    <a:pt x="2961437" y="200228"/>
                  </a:lnTo>
                  <a:lnTo>
                    <a:pt x="2961437" y="200876"/>
                  </a:lnTo>
                  <a:lnTo>
                    <a:pt x="2961539" y="200876"/>
                  </a:lnTo>
                  <a:lnTo>
                    <a:pt x="2961539" y="200228"/>
                  </a:lnTo>
                  <a:lnTo>
                    <a:pt x="2961539" y="202260"/>
                  </a:lnTo>
                  <a:lnTo>
                    <a:pt x="2961590" y="202260"/>
                  </a:lnTo>
                  <a:lnTo>
                    <a:pt x="2961590" y="200876"/>
                  </a:lnTo>
                  <a:lnTo>
                    <a:pt x="2961590" y="202260"/>
                  </a:lnTo>
                  <a:lnTo>
                    <a:pt x="2961590" y="200876"/>
                  </a:lnTo>
                  <a:lnTo>
                    <a:pt x="2961640" y="200876"/>
                  </a:lnTo>
                  <a:lnTo>
                    <a:pt x="2961640" y="200228"/>
                  </a:lnTo>
                  <a:lnTo>
                    <a:pt x="2961640" y="200876"/>
                  </a:lnTo>
                  <a:lnTo>
                    <a:pt x="2961640" y="200228"/>
                  </a:lnTo>
                  <a:lnTo>
                    <a:pt x="2961691" y="200228"/>
                  </a:lnTo>
                  <a:lnTo>
                    <a:pt x="2961691" y="196799"/>
                  </a:lnTo>
                  <a:lnTo>
                    <a:pt x="2961691" y="197447"/>
                  </a:lnTo>
                  <a:lnTo>
                    <a:pt x="2961780" y="197447"/>
                  </a:lnTo>
                  <a:lnTo>
                    <a:pt x="2961780" y="199530"/>
                  </a:lnTo>
                  <a:lnTo>
                    <a:pt x="2961780" y="196799"/>
                  </a:lnTo>
                  <a:lnTo>
                    <a:pt x="2961780" y="197447"/>
                  </a:lnTo>
                  <a:lnTo>
                    <a:pt x="2961831" y="198831"/>
                  </a:lnTo>
                  <a:lnTo>
                    <a:pt x="2961831" y="200228"/>
                  </a:lnTo>
                  <a:lnTo>
                    <a:pt x="2961831" y="199530"/>
                  </a:lnTo>
                  <a:lnTo>
                    <a:pt x="2961831" y="200228"/>
                  </a:lnTo>
                  <a:lnTo>
                    <a:pt x="2961882" y="200228"/>
                  </a:lnTo>
                  <a:lnTo>
                    <a:pt x="2961882" y="200876"/>
                  </a:lnTo>
                  <a:lnTo>
                    <a:pt x="2961882" y="200228"/>
                  </a:lnTo>
                  <a:lnTo>
                    <a:pt x="2961882" y="200876"/>
                  </a:lnTo>
                  <a:lnTo>
                    <a:pt x="2961882" y="200228"/>
                  </a:lnTo>
                  <a:lnTo>
                    <a:pt x="2961882" y="200876"/>
                  </a:lnTo>
                  <a:lnTo>
                    <a:pt x="2961882" y="199530"/>
                  </a:lnTo>
                  <a:lnTo>
                    <a:pt x="2961882" y="200876"/>
                  </a:lnTo>
                  <a:lnTo>
                    <a:pt x="2961882" y="200228"/>
                  </a:lnTo>
                  <a:lnTo>
                    <a:pt x="2961933" y="200876"/>
                  </a:lnTo>
                  <a:lnTo>
                    <a:pt x="2961933" y="200228"/>
                  </a:lnTo>
                  <a:lnTo>
                    <a:pt x="2961933" y="200876"/>
                  </a:lnTo>
                  <a:lnTo>
                    <a:pt x="2961933" y="200228"/>
                  </a:lnTo>
                  <a:lnTo>
                    <a:pt x="2961933" y="200876"/>
                  </a:lnTo>
                  <a:lnTo>
                    <a:pt x="2961933" y="200228"/>
                  </a:lnTo>
                  <a:lnTo>
                    <a:pt x="2961933" y="200876"/>
                  </a:lnTo>
                  <a:lnTo>
                    <a:pt x="2962034" y="200876"/>
                  </a:lnTo>
                  <a:lnTo>
                    <a:pt x="2962034" y="200228"/>
                  </a:lnTo>
                  <a:lnTo>
                    <a:pt x="2962034" y="200876"/>
                  </a:lnTo>
                  <a:lnTo>
                    <a:pt x="2962034" y="200228"/>
                  </a:lnTo>
                  <a:lnTo>
                    <a:pt x="2962034" y="200876"/>
                  </a:lnTo>
                  <a:lnTo>
                    <a:pt x="2962034" y="200228"/>
                  </a:lnTo>
                  <a:lnTo>
                    <a:pt x="2962034" y="200876"/>
                  </a:lnTo>
                  <a:lnTo>
                    <a:pt x="2962034" y="200228"/>
                  </a:lnTo>
                  <a:lnTo>
                    <a:pt x="2962034" y="200876"/>
                  </a:lnTo>
                  <a:lnTo>
                    <a:pt x="2962085" y="200876"/>
                  </a:lnTo>
                  <a:lnTo>
                    <a:pt x="2962085" y="202260"/>
                  </a:lnTo>
                  <a:lnTo>
                    <a:pt x="2962085" y="200876"/>
                  </a:lnTo>
                  <a:lnTo>
                    <a:pt x="2962085" y="202260"/>
                  </a:lnTo>
                  <a:lnTo>
                    <a:pt x="2962085" y="200228"/>
                  </a:lnTo>
                  <a:lnTo>
                    <a:pt x="2962085" y="200876"/>
                  </a:lnTo>
                  <a:lnTo>
                    <a:pt x="2962136" y="200228"/>
                  </a:lnTo>
                  <a:lnTo>
                    <a:pt x="2962136" y="200876"/>
                  </a:lnTo>
                  <a:lnTo>
                    <a:pt x="2962136" y="200228"/>
                  </a:lnTo>
                  <a:lnTo>
                    <a:pt x="2962136" y="200876"/>
                  </a:lnTo>
                  <a:lnTo>
                    <a:pt x="2962136" y="199530"/>
                  </a:lnTo>
                  <a:lnTo>
                    <a:pt x="2962237" y="199530"/>
                  </a:lnTo>
                  <a:lnTo>
                    <a:pt x="2962237" y="197447"/>
                  </a:lnTo>
                  <a:lnTo>
                    <a:pt x="2962237" y="198831"/>
                  </a:lnTo>
                  <a:lnTo>
                    <a:pt x="2962237" y="196799"/>
                  </a:lnTo>
                  <a:lnTo>
                    <a:pt x="2962237" y="197447"/>
                  </a:lnTo>
                  <a:lnTo>
                    <a:pt x="2962276" y="197447"/>
                  </a:lnTo>
                  <a:lnTo>
                    <a:pt x="2962276" y="198831"/>
                  </a:lnTo>
                  <a:lnTo>
                    <a:pt x="2962276" y="196799"/>
                  </a:lnTo>
                  <a:lnTo>
                    <a:pt x="2962276" y="198831"/>
                  </a:lnTo>
                  <a:lnTo>
                    <a:pt x="2962326" y="199530"/>
                  </a:lnTo>
                  <a:lnTo>
                    <a:pt x="2962326" y="197447"/>
                  </a:lnTo>
                  <a:lnTo>
                    <a:pt x="2962326" y="199530"/>
                  </a:lnTo>
                  <a:lnTo>
                    <a:pt x="2962377" y="199530"/>
                  </a:lnTo>
                  <a:lnTo>
                    <a:pt x="2962377" y="200228"/>
                  </a:lnTo>
                  <a:lnTo>
                    <a:pt x="2962377" y="199530"/>
                  </a:lnTo>
                  <a:lnTo>
                    <a:pt x="2962377" y="200228"/>
                  </a:lnTo>
                  <a:lnTo>
                    <a:pt x="2962377" y="199530"/>
                  </a:lnTo>
                  <a:lnTo>
                    <a:pt x="2962377" y="200228"/>
                  </a:lnTo>
                  <a:lnTo>
                    <a:pt x="2962479" y="200228"/>
                  </a:lnTo>
                  <a:lnTo>
                    <a:pt x="2962479" y="199530"/>
                  </a:lnTo>
                  <a:lnTo>
                    <a:pt x="2962479" y="200228"/>
                  </a:lnTo>
                  <a:lnTo>
                    <a:pt x="2962479" y="199530"/>
                  </a:lnTo>
                  <a:lnTo>
                    <a:pt x="2962479" y="200228"/>
                  </a:lnTo>
                  <a:lnTo>
                    <a:pt x="2962530" y="200228"/>
                  </a:lnTo>
                  <a:lnTo>
                    <a:pt x="2962530" y="202260"/>
                  </a:lnTo>
                  <a:lnTo>
                    <a:pt x="2962530" y="200876"/>
                  </a:lnTo>
                  <a:lnTo>
                    <a:pt x="2962530" y="202260"/>
                  </a:lnTo>
                  <a:lnTo>
                    <a:pt x="2962530" y="200876"/>
                  </a:lnTo>
                  <a:lnTo>
                    <a:pt x="2962580" y="202260"/>
                  </a:lnTo>
                  <a:lnTo>
                    <a:pt x="2962580" y="200228"/>
                  </a:lnTo>
                  <a:lnTo>
                    <a:pt x="2962580" y="200876"/>
                  </a:lnTo>
                  <a:lnTo>
                    <a:pt x="2962682" y="200876"/>
                  </a:lnTo>
                  <a:lnTo>
                    <a:pt x="2962682" y="200228"/>
                  </a:lnTo>
                  <a:lnTo>
                    <a:pt x="2962682" y="200876"/>
                  </a:lnTo>
                  <a:lnTo>
                    <a:pt x="2962682" y="199530"/>
                  </a:lnTo>
                  <a:lnTo>
                    <a:pt x="2962733" y="199530"/>
                  </a:lnTo>
                  <a:lnTo>
                    <a:pt x="2962733" y="196799"/>
                  </a:lnTo>
                  <a:lnTo>
                    <a:pt x="2962733" y="198831"/>
                  </a:lnTo>
                  <a:lnTo>
                    <a:pt x="2962783" y="198831"/>
                  </a:lnTo>
                  <a:lnTo>
                    <a:pt x="2962783" y="199530"/>
                  </a:lnTo>
                  <a:lnTo>
                    <a:pt x="2962783" y="196799"/>
                  </a:lnTo>
                  <a:lnTo>
                    <a:pt x="2962783" y="199530"/>
                  </a:lnTo>
                  <a:lnTo>
                    <a:pt x="2962822" y="200228"/>
                  </a:lnTo>
                  <a:lnTo>
                    <a:pt x="2962822" y="198831"/>
                  </a:lnTo>
                  <a:lnTo>
                    <a:pt x="2962822" y="200228"/>
                  </a:lnTo>
                  <a:lnTo>
                    <a:pt x="2962822" y="199530"/>
                  </a:lnTo>
                  <a:lnTo>
                    <a:pt x="2962923" y="199530"/>
                  </a:lnTo>
                  <a:lnTo>
                    <a:pt x="2962923" y="200228"/>
                  </a:lnTo>
                  <a:lnTo>
                    <a:pt x="2962923" y="198831"/>
                  </a:lnTo>
                  <a:lnTo>
                    <a:pt x="2962923" y="200228"/>
                  </a:lnTo>
                  <a:lnTo>
                    <a:pt x="2962923" y="199530"/>
                  </a:lnTo>
                  <a:lnTo>
                    <a:pt x="2962923" y="200228"/>
                  </a:lnTo>
                  <a:lnTo>
                    <a:pt x="2962974" y="199530"/>
                  </a:lnTo>
                  <a:lnTo>
                    <a:pt x="2962974" y="200228"/>
                  </a:lnTo>
                  <a:lnTo>
                    <a:pt x="2962974" y="199530"/>
                  </a:lnTo>
                  <a:lnTo>
                    <a:pt x="2962974" y="200228"/>
                  </a:lnTo>
                  <a:lnTo>
                    <a:pt x="2963025" y="199530"/>
                  </a:lnTo>
                  <a:lnTo>
                    <a:pt x="2963025" y="200228"/>
                  </a:lnTo>
                  <a:lnTo>
                    <a:pt x="2963025" y="199530"/>
                  </a:lnTo>
                  <a:lnTo>
                    <a:pt x="2963025" y="200228"/>
                  </a:lnTo>
                  <a:lnTo>
                    <a:pt x="2963025" y="199530"/>
                  </a:lnTo>
                  <a:lnTo>
                    <a:pt x="2963025" y="200228"/>
                  </a:lnTo>
                  <a:lnTo>
                    <a:pt x="2963126" y="200228"/>
                  </a:lnTo>
                  <a:lnTo>
                    <a:pt x="2963126" y="200876"/>
                  </a:lnTo>
                  <a:lnTo>
                    <a:pt x="2963126" y="200228"/>
                  </a:lnTo>
                  <a:lnTo>
                    <a:pt x="2963177" y="200228"/>
                  </a:lnTo>
                  <a:lnTo>
                    <a:pt x="2963177" y="198831"/>
                  </a:lnTo>
                  <a:lnTo>
                    <a:pt x="2963177" y="199530"/>
                  </a:lnTo>
                  <a:lnTo>
                    <a:pt x="2963228" y="199530"/>
                  </a:lnTo>
                  <a:lnTo>
                    <a:pt x="2963228" y="198831"/>
                  </a:lnTo>
                  <a:lnTo>
                    <a:pt x="2963228" y="199530"/>
                  </a:lnTo>
                  <a:lnTo>
                    <a:pt x="2963228" y="198831"/>
                  </a:lnTo>
                  <a:lnTo>
                    <a:pt x="2963228" y="199530"/>
                  </a:lnTo>
                  <a:lnTo>
                    <a:pt x="2963228" y="198831"/>
                  </a:lnTo>
                  <a:lnTo>
                    <a:pt x="2963228" y="199530"/>
                  </a:lnTo>
                  <a:lnTo>
                    <a:pt x="2963228" y="198831"/>
                  </a:lnTo>
                  <a:lnTo>
                    <a:pt x="2963279" y="198831"/>
                  </a:lnTo>
                  <a:lnTo>
                    <a:pt x="2963279" y="202260"/>
                  </a:lnTo>
                  <a:lnTo>
                    <a:pt x="2963279" y="200228"/>
                  </a:lnTo>
                  <a:lnTo>
                    <a:pt x="2963368" y="200228"/>
                  </a:lnTo>
                  <a:lnTo>
                    <a:pt x="2963368" y="202260"/>
                  </a:lnTo>
                  <a:lnTo>
                    <a:pt x="2963368" y="200876"/>
                  </a:lnTo>
                  <a:lnTo>
                    <a:pt x="2963419" y="200228"/>
                  </a:lnTo>
                  <a:lnTo>
                    <a:pt x="2963419" y="200876"/>
                  </a:lnTo>
                  <a:lnTo>
                    <a:pt x="2963469" y="200876"/>
                  </a:lnTo>
                  <a:lnTo>
                    <a:pt x="2963469" y="200228"/>
                  </a:lnTo>
                  <a:lnTo>
                    <a:pt x="2963469" y="202260"/>
                  </a:lnTo>
                  <a:lnTo>
                    <a:pt x="2963520" y="202260"/>
                  </a:lnTo>
                  <a:lnTo>
                    <a:pt x="2963520" y="200876"/>
                  </a:lnTo>
                  <a:lnTo>
                    <a:pt x="2963520" y="202260"/>
                  </a:lnTo>
                  <a:lnTo>
                    <a:pt x="2963520" y="200876"/>
                  </a:lnTo>
                  <a:lnTo>
                    <a:pt x="2963622" y="200876"/>
                  </a:lnTo>
                  <a:lnTo>
                    <a:pt x="2963622" y="202260"/>
                  </a:lnTo>
                  <a:lnTo>
                    <a:pt x="2963622" y="200228"/>
                  </a:lnTo>
                  <a:lnTo>
                    <a:pt x="2963622" y="200876"/>
                  </a:lnTo>
                  <a:lnTo>
                    <a:pt x="2963622" y="200228"/>
                  </a:lnTo>
                  <a:lnTo>
                    <a:pt x="2963672" y="200228"/>
                  </a:lnTo>
                  <a:lnTo>
                    <a:pt x="2963672" y="199530"/>
                  </a:lnTo>
                  <a:lnTo>
                    <a:pt x="2963672" y="200228"/>
                  </a:lnTo>
                  <a:lnTo>
                    <a:pt x="2963672" y="198831"/>
                  </a:lnTo>
                  <a:lnTo>
                    <a:pt x="2963672" y="199530"/>
                  </a:lnTo>
                  <a:lnTo>
                    <a:pt x="2963672" y="198831"/>
                  </a:lnTo>
                  <a:lnTo>
                    <a:pt x="2963723" y="199530"/>
                  </a:lnTo>
                  <a:lnTo>
                    <a:pt x="2963723" y="200228"/>
                  </a:lnTo>
                  <a:lnTo>
                    <a:pt x="2963723" y="198831"/>
                  </a:lnTo>
                  <a:lnTo>
                    <a:pt x="2963723" y="200876"/>
                  </a:lnTo>
                  <a:lnTo>
                    <a:pt x="2963825" y="202260"/>
                  </a:lnTo>
                  <a:lnTo>
                    <a:pt x="2963825" y="200876"/>
                  </a:lnTo>
                  <a:lnTo>
                    <a:pt x="2963825" y="202260"/>
                  </a:lnTo>
                  <a:lnTo>
                    <a:pt x="2963863" y="202260"/>
                  </a:lnTo>
                  <a:lnTo>
                    <a:pt x="2963863" y="202959"/>
                  </a:lnTo>
                  <a:lnTo>
                    <a:pt x="2963863" y="200876"/>
                  </a:lnTo>
                  <a:lnTo>
                    <a:pt x="2963863" y="202959"/>
                  </a:lnTo>
                  <a:lnTo>
                    <a:pt x="2963914" y="202959"/>
                  </a:lnTo>
                  <a:lnTo>
                    <a:pt x="2963914" y="202260"/>
                  </a:lnTo>
                  <a:lnTo>
                    <a:pt x="2963914" y="202959"/>
                  </a:lnTo>
                  <a:lnTo>
                    <a:pt x="2963914" y="202260"/>
                  </a:lnTo>
                  <a:lnTo>
                    <a:pt x="2963914" y="202959"/>
                  </a:lnTo>
                  <a:lnTo>
                    <a:pt x="2963914" y="202260"/>
                  </a:lnTo>
                  <a:lnTo>
                    <a:pt x="2964066" y="202260"/>
                  </a:lnTo>
                  <a:lnTo>
                    <a:pt x="2964066" y="200876"/>
                  </a:lnTo>
                  <a:lnTo>
                    <a:pt x="2964066" y="202260"/>
                  </a:lnTo>
                  <a:lnTo>
                    <a:pt x="2964066" y="200876"/>
                  </a:lnTo>
                  <a:lnTo>
                    <a:pt x="2964117" y="200228"/>
                  </a:lnTo>
                  <a:lnTo>
                    <a:pt x="2964117" y="200876"/>
                  </a:lnTo>
                  <a:lnTo>
                    <a:pt x="2964117" y="199530"/>
                  </a:lnTo>
                  <a:lnTo>
                    <a:pt x="2964168" y="199530"/>
                  </a:lnTo>
                  <a:lnTo>
                    <a:pt x="2964168" y="197447"/>
                  </a:lnTo>
                  <a:lnTo>
                    <a:pt x="2964168" y="200228"/>
                  </a:lnTo>
                  <a:lnTo>
                    <a:pt x="2964269" y="199530"/>
                  </a:lnTo>
                  <a:lnTo>
                    <a:pt x="2964269" y="198831"/>
                  </a:lnTo>
                  <a:lnTo>
                    <a:pt x="2964269" y="199530"/>
                  </a:lnTo>
                  <a:lnTo>
                    <a:pt x="2964269" y="198831"/>
                  </a:lnTo>
                  <a:lnTo>
                    <a:pt x="2964269" y="202260"/>
                  </a:lnTo>
                  <a:lnTo>
                    <a:pt x="2964269" y="200228"/>
                  </a:lnTo>
                  <a:lnTo>
                    <a:pt x="2964320" y="200228"/>
                  </a:lnTo>
                  <a:lnTo>
                    <a:pt x="2964320" y="202260"/>
                  </a:lnTo>
                  <a:lnTo>
                    <a:pt x="2964320" y="200876"/>
                  </a:lnTo>
                  <a:lnTo>
                    <a:pt x="2964371" y="200876"/>
                  </a:lnTo>
                  <a:lnTo>
                    <a:pt x="2964371" y="200228"/>
                  </a:lnTo>
                  <a:lnTo>
                    <a:pt x="2964371" y="202260"/>
                  </a:lnTo>
                  <a:lnTo>
                    <a:pt x="2964409" y="202260"/>
                  </a:lnTo>
                  <a:lnTo>
                    <a:pt x="2964409" y="200876"/>
                  </a:lnTo>
                  <a:lnTo>
                    <a:pt x="2964409" y="202260"/>
                  </a:lnTo>
                  <a:lnTo>
                    <a:pt x="2964409" y="200876"/>
                  </a:lnTo>
                  <a:lnTo>
                    <a:pt x="2964409" y="202959"/>
                  </a:lnTo>
                  <a:lnTo>
                    <a:pt x="2964409" y="202260"/>
                  </a:lnTo>
                  <a:lnTo>
                    <a:pt x="2964511" y="202260"/>
                  </a:lnTo>
                  <a:lnTo>
                    <a:pt x="2964511" y="202959"/>
                  </a:lnTo>
                  <a:lnTo>
                    <a:pt x="2964511" y="202260"/>
                  </a:lnTo>
                  <a:lnTo>
                    <a:pt x="2964511" y="202959"/>
                  </a:lnTo>
                  <a:lnTo>
                    <a:pt x="2964511" y="202260"/>
                  </a:lnTo>
                  <a:lnTo>
                    <a:pt x="2964511" y="202959"/>
                  </a:lnTo>
                  <a:lnTo>
                    <a:pt x="2964562" y="202260"/>
                  </a:lnTo>
                  <a:lnTo>
                    <a:pt x="2964562" y="200876"/>
                  </a:lnTo>
                  <a:lnTo>
                    <a:pt x="2964562" y="202260"/>
                  </a:lnTo>
                  <a:lnTo>
                    <a:pt x="2964562" y="200876"/>
                  </a:lnTo>
                  <a:lnTo>
                    <a:pt x="2964612" y="200876"/>
                  </a:lnTo>
                  <a:lnTo>
                    <a:pt x="2964612" y="200228"/>
                  </a:lnTo>
                  <a:lnTo>
                    <a:pt x="2964612" y="200876"/>
                  </a:lnTo>
                  <a:lnTo>
                    <a:pt x="2964612" y="199530"/>
                  </a:lnTo>
                  <a:lnTo>
                    <a:pt x="2964612" y="200228"/>
                  </a:lnTo>
                  <a:lnTo>
                    <a:pt x="2964612" y="199530"/>
                  </a:lnTo>
                  <a:lnTo>
                    <a:pt x="2964714" y="198831"/>
                  </a:lnTo>
                  <a:lnTo>
                    <a:pt x="2964714" y="200228"/>
                  </a:lnTo>
                  <a:lnTo>
                    <a:pt x="2964714" y="199530"/>
                  </a:lnTo>
                  <a:lnTo>
                    <a:pt x="2964765" y="199530"/>
                  </a:lnTo>
                  <a:lnTo>
                    <a:pt x="2964765" y="200876"/>
                  </a:lnTo>
                  <a:lnTo>
                    <a:pt x="2964765" y="200228"/>
                  </a:lnTo>
                  <a:lnTo>
                    <a:pt x="2964815" y="200876"/>
                  </a:lnTo>
                  <a:lnTo>
                    <a:pt x="2964815" y="200228"/>
                  </a:lnTo>
                  <a:lnTo>
                    <a:pt x="2964815" y="202260"/>
                  </a:lnTo>
                  <a:lnTo>
                    <a:pt x="2964815" y="200876"/>
                  </a:lnTo>
                  <a:lnTo>
                    <a:pt x="2964815" y="202260"/>
                  </a:lnTo>
                  <a:lnTo>
                    <a:pt x="2964815" y="200228"/>
                  </a:lnTo>
                  <a:lnTo>
                    <a:pt x="2964815" y="200876"/>
                  </a:lnTo>
                  <a:lnTo>
                    <a:pt x="2964866" y="200876"/>
                  </a:lnTo>
                  <a:lnTo>
                    <a:pt x="2964866" y="202260"/>
                  </a:lnTo>
                  <a:lnTo>
                    <a:pt x="2964866" y="200876"/>
                  </a:lnTo>
                  <a:lnTo>
                    <a:pt x="2964866" y="202260"/>
                  </a:lnTo>
                  <a:lnTo>
                    <a:pt x="2964866" y="200876"/>
                  </a:lnTo>
                  <a:lnTo>
                    <a:pt x="2964955" y="202260"/>
                  </a:lnTo>
                  <a:lnTo>
                    <a:pt x="2964955" y="200876"/>
                  </a:lnTo>
                  <a:lnTo>
                    <a:pt x="2964955" y="202959"/>
                  </a:lnTo>
                  <a:lnTo>
                    <a:pt x="2964955" y="202260"/>
                  </a:lnTo>
                  <a:lnTo>
                    <a:pt x="2965006" y="200876"/>
                  </a:lnTo>
                  <a:lnTo>
                    <a:pt x="2965006" y="202959"/>
                  </a:lnTo>
                  <a:lnTo>
                    <a:pt x="2965006" y="200876"/>
                  </a:lnTo>
                  <a:lnTo>
                    <a:pt x="2965006" y="202260"/>
                  </a:lnTo>
                  <a:lnTo>
                    <a:pt x="2965057" y="202260"/>
                  </a:lnTo>
                  <a:lnTo>
                    <a:pt x="2965057" y="200876"/>
                  </a:lnTo>
                  <a:lnTo>
                    <a:pt x="2965057" y="202260"/>
                  </a:lnTo>
                  <a:lnTo>
                    <a:pt x="2965057" y="200228"/>
                  </a:lnTo>
                  <a:lnTo>
                    <a:pt x="2965057" y="200876"/>
                  </a:lnTo>
                  <a:lnTo>
                    <a:pt x="2965057" y="200228"/>
                  </a:lnTo>
                  <a:lnTo>
                    <a:pt x="2965057" y="200876"/>
                  </a:lnTo>
                  <a:lnTo>
                    <a:pt x="2965057" y="200228"/>
                  </a:lnTo>
                  <a:lnTo>
                    <a:pt x="2965108" y="200228"/>
                  </a:lnTo>
                  <a:lnTo>
                    <a:pt x="2965108" y="198831"/>
                  </a:lnTo>
                  <a:lnTo>
                    <a:pt x="2965108" y="199530"/>
                  </a:lnTo>
                  <a:lnTo>
                    <a:pt x="2965108" y="198831"/>
                  </a:lnTo>
                  <a:lnTo>
                    <a:pt x="2965108" y="199530"/>
                  </a:lnTo>
                  <a:lnTo>
                    <a:pt x="2965108" y="197447"/>
                  </a:lnTo>
                  <a:lnTo>
                    <a:pt x="2965209" y="196799"/>
                  </a:lnTo>
                  <a:lnTo>
                    <a:pt x="2965209" y="199530"/>
                  </a:lnTo>
                  <a:lnTo>
                    <a:pt x="2965209" y="198831"/>
                  </a:lnTo>
                  <a:lnTo>
                    <a:pt x="2965209" y="199530"/>
                  </a:lnTo>
                  <a:lnTo>
                    <a:pt x="2965209" y="197447"/>
                  </a:lnTo>
                  <a:lnTo>
                    <a:pt x="2965260" y="197447"/>
                  </a:lnTo>
                  <a:lnTo>
                    <a:pt x="2965260" y="200876"/>
                  </a:lnTo>
                  <a:lnTo>
                    <a:pt x="2965260" y="199530"/>
                  </a:lnTo>
                  <a:lnTo>
                    <a:pt x="2965311" y="199530"/>
                  </a:lnTo>
                  <a:lnTo>
                    <a:pt x="2965311" y="200228"/>
                  </a:lnTo>
                  <a:lnTo>
                    <a:pt x="2965311" y="199530"/>
                  </a:lnTo>
                  <a:lnTo>
                    <a:pt x="2965311" y="200228"/>
                  </a:lnTo>
                  <a:lnTo>
                    <a:pt x="2965412" y="200228"/>
                  </a:lnTo>
                  <a:lnTo>
                    <a:pt x="2965412" y="200876"/>
                  </a:lnTo>
                  <a:lnTo>
                    <a:pt x="2965412" y="200228"/>
                  </a:lnTo>
                  <a:lnTo>
                    <a:pt x="2965412" y="200876"/>
                  </a:lnTo>
                  <a:lnTo>
                    <a:pt x="2965451" y="202260"/>
                  </a:lnTo>
                  <a:lnTo>
                    <a:pt x="2965451" y="200876"/>
                  </a:lnTo>
                  <a:lnTo>
                    <a:pt x="2965451" y="202260"/>
                  </a:lnTo>
                  <a:lnTo>
                    <a:pt x="2965451" y="200876"/>
                  </a:lnTo>
                  <a:lnTo>
                    <a:pt x="2965451" y="202260"/>
                  </a:lnTo>
                  <a:lnTo>
                    <a:pt x="2965451" y="200876"/>
                  </a:lnTo>
                  <a:lnTo>
                    <a:pt x="2965451" y="202260"/>
                  </a:lnTo>
                  <a:lnTo>
                    <a:pt x="2965451" y="200876"/>
                  </a:lnTo>
                  <a:lnTo>
                    <a:pt x="2965451" y="202260"/>
                  </a:lnTo>
                  <a:lnTo>
                    <a:pt x="2965451" y="200876"/>
                  </a:lnTo>
                  <a:lnTo>
                    <a:pt x="2965451" y="202260"/>
                  </a:lnTo>
                  <a:lnTo>
                    <a:pt x="2965501" y="202260"/>
                  </a:lnTo>
                  <a:lnTo>
                    <a:pt x="2965501" y="200876"/>
                  </a:lnTo>
                  <a:lnTo>
                    <a:pt x="2965501" y="202260"/>
                  </a:lnTo>
                  <a:lnTo>
                    <a:pt x="2965552" y="202260"/>
                  </a:lnTo>
                  <a:lnTo>
                    <a:pt x="2965552" y="200876"/>
                  </a:lnTo>
                  <a:lnTo>
                    <a:pt x="2965552" y="202260"/>
                  </a:lnTo>
                  <a:lnTo>
                    <a:pt x="2965552" y="200228"/>
                  </a:lnTo>
                  <a:lnTo>
                    <a:pt x="2965654" y="200876"/>
                  </a:lnTo>
                  <a:lnTo>
                    <a:pt x="2965654" y="197447"/>
                  </a:lnTo>
                  <a:lnTo>
                    <a:pt x="2965705" y="197447"/>
                  </a:lnTo>
                  <a:lnTo>
                    <a:pt x="2965705" y="199530"/>
                  </a:lnTo>
                  <a:lnTo>
                    <a:pt x="2965705" y="198831"/>
                  </a:lnTo>
                  <a:lnTo>
                    <a:pt x="2965705" y="199530"/>
                  </a:lnTo>
                  <a:lnTo>
                    <a:pt x="2965705" y="197447"/>
                  </a:lnTo>
                  <a:lnTo>
                    <a:pt x="2965755" y="198831"/>
                  </a:lnTo>
                  <a:lnTo>
                    <a:pt x="2965755" y="199530"/>
                  </a:lnTo>
                  <a:lnTo>
                    <a:pt x="2965755" y="198831"/>
                  </a:lnTo>
                  <a:lnTo>
                    <a:pt x="2965857" y="198831"/>
                  </a:lnTo>
                  <a:lnTo>
                    <a:pt x="2965857" y="200228"/>
                  </a:lnTo>
                  <a:lnTo>
                    <a:pt x="2965857" y="198831"/>
                  </a:lnTo>
                  <a:lnTo>
                    <a:pt x="2965857" y="199530"/>
                  </a:lnTo>
                  <a:lnTo>
                    <a:pt x="2965857" y="198831"/>
                  </a:lnTo>
                  <a:lnTo>
                    <a:pt x="2965857" y="199530"/>
                  </a:lnTo>
                  <a:lnTo>
                    <a:pt x="2965908" y="199530"/>
                  </a:lnTo>
                  <a:lnTo>
                    <a:pt x="2965908" y="200228"/>
                  </a:lnTo>
                  <a:lnTo>
                    <a:pt x="2965908" y="199530"/>
                  </a:lnTo>
                  <a:lnTo>
                    <a:pt x="2965908" y="200228"/>
                  </a:lnTo>
                  <a:lnTo>
                    <a:pt x="2965958" y="200228"/>
                  </a:lnTo>
                  <a:lnTo>
                    <a:pt x="2965958" y="200876"/>
                  </a:lnTo>
                  <a:lnTo>
                    <a:pt x="2965958" y="200228"/>
                  </a:lnTo>
                  <a:lnTo>
                    <a:pt x="2965958" y="200876"/>
                  </a:lnTo>
                  <a:lnTo>
                    <a:pt x="2965958" y="200228"/>
                  </a:lnTo>
                  <a:lnTo>
                    <a:pt x="2965958" y="200876"/>
                  </a:lnTo>
                  <a:lnTo>
                    <a:pt x="2965958" y="200228"/>
                  </a:lnTo>
                  <a:lnTo>
                    <a:pt x="2965958" y="200876"/>
                  </a:lnTo>
                  <a:lnTo>
                    <a:pt x="2965997" y="200228"/>
                  </a:lnTo>
                  <a:lnTo>
                    <a:pt x="2965997" y="200876"/>
                  </a:lnTo>
                  <a:lnTo>
                    <a:pt x="2965997" y="200228"/>
                  </a:lnTo>
                  <a:lnTo>
                    <a:pt x="2965997" y="200876"/>
                  </a:lnTo>
                  <a:lnTo>
                    <a:pt x="2965997" y="200228"/>
                  </a:lnTo>
                  <a:lnTo>
                    <a:pt x="2965997" y="200876"/>
                  </a:lnTo>
                  <a:lnTo>
                    <a:pt x="2966098" y="200228"/>
                  </a:lnTo>
                  <a:lnTo>
                    <a:pt x="2966098" y="200876"/>
                  </a:lnTo>
                  <a:lnTo>
                    <a:pt x="2966098" y="199530"/>
                  </a:lnTo>
                  <a:lnTo>
                    <a:pt x="2966098" y="200228"/>
                  </a:lnTo>
                  <a:lnTo>
                    <a:pt x="2966149" y="200228"/>
                  </a:lnTo>
                  <a:lnTo>
                    <a:pt x="2966149" y="198831"/>
                  </a:lnTo>
                  <a:lnTo>
                    <a:pt x="2966149" y="200228"/>
                  </a:lnTo>
                  <a:lnTo>
                    <a:pt x="2966200" y="200228"/>
                  </a:lnTo>
                  <a:lnTo>
                    <a:pt x="2966200" y="197447"/>
                  </a:lnTo>
                  <a:lnTo>
                    <a:pt x="2966200" y="202260"/>
                  </a:lnTo>
                  <a:lnTo>
                    <a:pt x="2966301" y="202260"/>
                  </a:lnTo>
                  <a:lnTo>
                    <a:pt x="2966301" y="199530"/>
                  </a:lnTo>
                  <a:lnTo>
                    <a:pt x="2966301" y="200876"/>
                  </a:lnTo>
                  <a:lnTo>
                    <a:pt x="2966352" y="200876"/>
                  </a:lnTo>
                  <a:lnTo>
                    <a:pt x="2966352" y="199530"/>
                  </a:lnTo>
                  <a:lnTo>
                    <a:pt x="2966352" y="200876"/>
                  </a:lnTo>
                  <a:lnTo>
                    <a:pt x="2966403" y="200876"/>
                  </a:lnTo>
                  <a:lnTo>
                    <a:pt x="2966403" y="200228"/>
                  </a:lnTo>
                  <a:lnTo>
                    <a:pt x="2966403" y="200876"/>
                  </a:lnTo>
                  <a:lnTo>
                    <a:pt x="2966454" y="200876"/>
                  </a:lnTo>
                  <a:lnTo>
                    <a:pt x="2966454" y="202260"/>
                  </a:lnTo>
                  <a:lnTo>
                    <a:pt x="2966454" y="200228"/>
                  </a:lnTo>
                  <a:lnTo>
                    <a:pt x="2966454" y="202260"/>
                  </a:lnTo>
                  <a:lnTo>
                    <a:pt x="2966454" y="200876"/>
                  </a:lnTo>
                  <a:lnTo>
                    <a:pt x="2966543" y="200876"/>
                  </a:lnTo>
                  <a:lnTo>
                    <a:pt x="2966543" y="200228"/>
                  </a:lnTo>
                  <a:lnTo>
                    <a:pt x="2966594" y="200228"/>
                  </a:lnTo>
                  <a:lnTo>
                    <a:pt x="2966594" y="200876"/>
                  </a:lnTo>
                  <a:lnTo>
                    <a:pt x="2966594" y="199530"/>
                  </a:lnTo>
                  <a:lnTo>
                    <a:pt x="2966594" y="200228"/>
                  </a:lnTo>
                  <a:lnTo>
                    <a:pt x="2966594" y="199530"/>
                  </a:lnTo>
                  <a:lnTo>
                    <a:pt x="2966644" y="198831"/>
                  </a:lnTo>
                  <a:lnTo>
                    <a:pt x="2966644" y="199530"/>
                  </a:lnTo>
                  <a:lnTo>
                    <a:pt x="2966644" y="197447"/>
                  </a:lnTo>
                  <a:lnTo>
                    <a:pt x="2966644" y="198831"/>
                  </a:lnTo>
                  <a:lnTo>
                    <a:pt x="2966644" y="197447"/>
                  </a:lnTo>
                  <a:lnTo>
                    <a:pt x="2966644" y="200228"/>
                  </a:lnTo>
                  <a:lnTo>
                    <a:pt x="2966695" y="200228"/>
                  </a:lnTo>
                  <a:lnTo>
                    <a:pt x="2966695" y="199530"/>
                  </a:lnTo>
                  <a:lnTo>
                    <a:pt x="2966695" y="202260"/>
                  </a:lnTo>
                  <a:lnTo>
                    <a:pt x="2966695" y="200228"/>
                  </a:lnTo>
                  <a:lnTo>
                    <a:pt x="2966797" y="200228"/>
                  </a:lnTo>
                  <a:lnTo>
                    <a:pt x="2966797" y="202260"/>
                  </a:lnTo>
                  <a:lnTo>
                    <a:pt x="2966797" y="200876"/>
                  </a:lnTo>
                  <a:lnTo>
                    <a:pt x="2966847" y="200876"/>
                  </a:lnTo>
                  <a:lnTo>
                    <a:pt x="2966847" y="200228"/>
                  </a:lnTo>
                  <a:lnTo>
                    <a:pt x="2966847" y="202260"/>
                  </a:lnTo>
                  <a:lnTo>
                    <a:pt x="2966847" y="200876"/>
                  </a:lnTo>
                  <a:lnTo>
                    <a:pt x="2966898" y="200876"/>
                  </a:lnTo>
                  <a:lnTo>
                    <a:pt x="2966898" y="200228"/>
                  </a:lnTo>
                  <a:lnTo>
                    <a:pt x="2966898" y="202260"/>
                  </a:lnTo>
                  <a:lnTo>
                    <a:pt x="2966898" y="200876"/>
                  </a:lnTo>
                  <a:lnTo>
                    <a:pt x="2966898" y="202260"/>
                  </a:lnTo>
                  <a:lnTo>
                    <a:pt x="2966898" y="200876"/>
                  </a:lnTo>
                  <a:lnTo>
                    <a:pt x="2966898" y="202260"/>
                  </a:lnTo>
                  <a:lnTo>
                    <a:pt x="2966898" y="200876"/>
                  </a:lnTo>
                  <a:lnTo>
                    <a:pt x="2966898" y="202260"/>
                  </a:lnTo>
                  <a:lnTo>
                    <a:pt x="2966898" y="200876"/>
                  </a:lnTo>
                  <a:lnTo>
                    <a:pt x="2966898" y="202260"/>
                  </a:lnTo>
                  <a:lnTo>
                    <a:pt x="2967000" y="200876"/>
                  </a:lnTo>
                  <a:lnTo>
                    <a:pt x="2967000" y="202260"/>
                  </a:lnTo>
                  <a:lnTo>
                    <a:pt x="2967000" y="200876"/>
                  </a:lnTo>
                  <a:lnTo>
                    <a:pt x="2967000" y="202260"/>
                  </a:lnTo>
                  <a:lnTo>
                    <a:pt x="2967000" y="200228"/>
                  </a:lnTo>
                  <a:lnTo>
                    <a:pt x="2967000" y="200876"/>
                  </a:lnTo>
                  <a:lnTo>
                    <a:pt x="2967038" y="200876"/>
                  </a:lnTo>
                  <a:lnTo>
                    <a:pt x="2967038" y="200228"/>
                  </a:lnTo>
                  <a:lnTo>
                    <a:pt x="2967038" y="200876"/>
                  </a:lnTo>
                  <a:lnTo>
                    <a:pt x="2967038" y="199530"/>
                  </a:lnTo>
                  <a:lnTo>
                    <a:pt x="2967089" y="200228"/>
                  </a:lnTo>
                  <a:lnTo>
                    <a:pt x="2967089" y="199530"/>
                  </a:lnTo>
                  <a:lnTo>
                    <a:pt x="2967089" y="200228"/>
                  </a:lnTo>
                  <a:lnTo>
                    <a:pt x="2967089" y="197447"/>
                  </a:lnTo>
                  <a:lnTo>
                    <a:pt x="2967140" y="197447"/>
                  </a:lnTo>
                  <a:lnTo>
                    <a:pt x="2967140" y="196799"/>
                  </a:lnTo>
                  <a:lnTo>
                    <a:pt x="2967140" y="197447"/>
                  </a:lnTo>
                  <a:lnTo>
                    <a:pt x="2967140" y="196799"/>
                  </a:lnTo>
                  <a:lnTo>
                    <a:pt x="2967140" y="200228"/>
                  </a:lnTo>
                  <a:lnTo>
                    <a:pt x="2967140" y="197447"/>
                  </a:lnTo>
                  <a:lnTo>
                    <a:pt x="2967241" y="197447"/>
                  </a:lnTo>
                  <a:lnTo>
                    <a:pt x="2967241" y="200876"/>
                  </a:lnTo>
                  <a:lnTo>
                    <a:pt x="2967241" y="200228"/>
                  </a:lnTo>
                  <a:lnTo>
                    <a:pt x="2967292" y="199530"/>
                  </a:lnTo>
                  <a:lnTo>
                    <a:pt x="2967292" y="200876"/>
                  </a:lnTo>
                  <a:lnTo>
                    <a:pt x="2967292" y="200228"/>
                  </a:lnTo>
                  <a:lnTo>
                    <a:pt x="2967292" y="200876"/>
                  </a:lnTo>
                  <a:lnTo>
                    <a:pt x="2967292" y="200228"/>
                  </a:lnTo>
                  <a:lnTo>
                    <a:pt x="2967343" y="199530"/>
                  </a:lnTo>
                  <a:lnTo>
                    <a:pt x="2967343" y="200876"/>
                  </a:lnTo>
                  <a:lnTo>
                    <a:pt x="2967343" y="200228"/>
                  </a:lnTo>
                  <a:lnTo>
                    <a:pt x="2967343" y="200876"/>
                  </a:lnTo>
                  <a:lnTo>
                    <a:pt x="2967444" y="200228"/>
                  </a:lnTo>
                  <a:lnTo>
                    <a:pt x="2967444" y="202260"/>
                  </a:lnTo>
                  <a:lnTo>
                    <a:pt x="2967444" y="200876"/>
                  </a:lnTo>
                  <a:lnTo>
                    <a:pt x="2967444" y="202260"/>
                  </a:lnTo>
                  <a:lnTo>
                    <a:pt x="2967495" y="202260"/>
                  </a:lnTo>
                  <a:lnTo>
                    <a:pt x="2967495" y="202959"/>
                  </a:lnTo>
                  <a:lnTo>
                    <a:pt x="2967495" y="200876"/>
                  </a:lnTo>
                  <a:lnTo>
                    <a:pt x="2967546" y="200876"/>
                  </a:lnTo>
                  <a:lnTo>
                    <a:pt x="2967546" y="200228"/>
                  </a:lnTo>
                  <a:lnTo>
                    <a:pt x="2967546" y="200876"/>
                  </a:lnTo>
                  <a:lnTo>
                    <a:pt x="2967546" y="200228"/>
                  </a:lnTo>
                  <a:lnTo>
                    <a:pt x="2967546" y="200876"/>
                  </a:lnTo>
                  <a:lnTo>
                    <a:pt x="2967546" y="199530"/>
                  </a:lnTo>
                  <a:lnTo>
                    <a:pt x="2967584" y="200228"/>
                  </a:lnTo>
                  <a:lnTo>
                    <a:pt x="2967584" y="199530"/>
                  </a:lnTo>
                  <a:lnTo>
                    <a:pt x="2967584" y="200228"/>
                  </a:lnTo>
                  <a:lnTo>
                    <a:pt x="2967584" y="198831"/>
                  </a:lnTo>
                  <a:lnTo>
                    <a:pt x="2967584" y="199530"/>
                  </a:lnTo>
                  <a:lnTo>
                    <a:pt x="2967584" y="197447"/>
                  </a:lnTo>
                  <a:lnTo>
                    <a:pt x="2967584" y="198831"/>
                  </a:lnTo>
                  <a:lnTo>
                    <a:pt x="2967584" y="197447"/>
                  </a:lnTo>
                  <a:lnTo>
                    <a:pt x="2967584" y="198831"/>
                  </a:lnTo>
                  <a:lnTo>
                    <a:pt x="2967584" y="197447"/>
                  </a:lnTo>
                  <a:lnTo>
                    <a:pt x="2967686" y="198831"/>
                  </a:lnTo>
                  <a:lnTo>
                    <a:pt x="2967686" y="199530"/>
                  </a:lnTo>
                  <a:lnTo>
                    <a:pt x="2967686" y="198831"/>
                  </a:lnTo>
                  <a:lnTo>
                    <a:pt x="2967686" y="199530"/>
                  </a:lnTo>
                  <a:lnTo>
                    <a:pt x="2967686" y="198831"/>
                  </a:lnTo>
                  <a:lnTo>
                    <a:pt x="2967737" y="198831"/>
                  </a:lnTo>
                  <a:lnTo>
                    <a:pt x="2967737" y="200228"/>
                  </a:lnTo>
                  <a:lnTo>
                    <a:pt x="2967737" y="199530"/>
                  </a:lnTo>
                  <a:lnTo>
                    <a:pt x="2967787" y="199530"/>
                  </a:lnTo>
                  <a:lnTo>
                    <a:pt x="2967787" y="200228"/>
                  </a:lnTo>
                  <a:lnTo>
                    <a:pt x="2967787" y="199530"/>
                  </a:lnTo>
                  <a:lnTo>
                    <a:pt x="2967787" y="200228"/>
                  </a:lnTo>
                  <a:lnTo>
                    <a:pt x="2967889" y="200228"/>
                  </a:lnTo>
                  <a:lnTo>
                    <a:pt x="2967889" y="200876"/>
                  </a:lnTo>
                  <a:lnTo>
                    <a:pt x="2967889" y="200228"/>
                  </a:lnTo>
                  <a:lnTo>
                    <a:pt x="2967889" y="202260"/>
                  </a:lnTo>
                  <a:lnTo>
                    <a:pt x="2967940" y="202260"/>
                  </a:lnTo>
                  <a:lnTo>
                    <a:pt x="2967940" y="200876"/>
                  </a:lnTo>
                  <a:lnTo>
                    <a:pt x="2967940" y="202260"/>
                  </a:lnTo>
                  <a:lnTo>
                    <a:pt x="2967940" y="200876"/>
                  </a:lnTo>
                  <a:lnTo>
                    <a:pt x="2967940" y="202260"/>
                  </a:lnTo>
                  <a:lnTo>
                    <a:pt x="2967990" y="202260"/>
                  </a:lnTo>
                  <a:lnTo>
                    <a:pt x="2967990" y="200228"/>
                  </a:lnTo>
                  <a:lnTo>
                    <a:pt x="2968041" y="200228"/>
                  </a:lnTo>
                  <a:lnTo>
                    <a:pt x="2968041" y="200876"/>
                  </a:lnTo>
                  <a:lnTo>
                    <a:pt x="2968041" y="200228"/>
                  </a:lnTo>
                  <a:lnTo>
                    <a:pt x="2968041" y="200876"/>
                  </a:lnTo>
                  <a:lnTo>
                    <a:pt x="2968041" y="200228"/>
                  </a:lnTo>
                  <a:lnTo>
                    <a:pt x="2968130" y="200228"/>
                  </a:lnTo>
                  <a:lnTo>
                    <a:pt x="2968130" y="197447"/>
                  </a:lnTo>
                  <a:lnTo>
                    <a:pt x="2968130" y="198831"/>
                  </a:lnTo>
                  <a:lnTo>
                    <a:pt x="2968130" y="197447"/>
                  </a:lnTo>
                  <a:lnTo>
                    <a:pt x="2968181" y="197447"/>
                  </a:lnTo>
                  <a:lnTo>
                    <a:pt x="2968181" y="196799"/>
                  </a:lnTo>
                  <a:lnTo>
                    <a:pt x="2968181" y="198831"/>
                  </a:lnTo>
                  <a:lnTo>
                    <a:pt x="2968181" y="197447"/>
                  </a:lnTo>
                  <a:lnTo>
                    <a:pt x="2968181" y="198831"/>
                  </a:lnTo>
                  <a:lnTo>
                    <a:pt x="2968181" y="197447"/>
                  </a:lnTo>
                  <a:lnTo>
                    <a:pt x="2968232" y="197447"/>
                  </a:lnTo>
                  <a:lnTo>
                    <a:pt x="2968232" y="200228"/>
                  </a:lnTo>
                  <a:lnTo>
                    <a:pt x="2968232" y="198831"/>
                  </a:lnTo>
                  <a:lnTo>
                    <a:pt x="2968283" y="199530"/>
                  </a:lnTo>
                  <a:lnTo>
                    <a:pt x="2968283" y="200228"/>
                  </a:lnTo>
                  <a:lnTo>
                    <a:pt x="2968283" y="199530"/>
                  </a:lnTo>
                  <a:lnTo>
                    <a:pt x="2968283" y="200228"/>
                  </a:lnTo>
                  <a:lnTo>
                    <a:pt x="2968283" y="199530"/>
                  </a:lnTo>
                  <a:lnTo>
                    <a:pt x="2968283" y="200228"/>
                  </a:lnTo>
                  <a:lnTo>
                    <a:pt x="2968384" y="200228"/>
                  </a:lnTo>
                  <a:lnTo>
                    <a:pt x="2968435" y="200876"/>
                  </a:lnTo>
                  <a:lnTo>
                    <a:pt x="2968435" y="202260"/>
                  </a:lnTo>
                  <a:lnTo>
                    <a:pt x="2968435" y="200876"/>
                  </a:lnTo>
                  <a:lnTo>
                    <a:pt x="2968435" y="202260"/>
                  </a:lnTo>
                  <a:lnTo>
                    <a:pt x="2968435" y="200876"/>
                  </a:lnTo>
                  <a:lnTo>
                    <a:pt x="2968587" y="200876"/>
                  </a:lnTo>
                  <a:lnTo>
                    <a:pt x="2968587" y="200228"/>
                  </a:lnTo>
                  <a:lnTo>
                    <a:pt x="2968587" y="200876"/>
                  </a:lnTo>
                  <a:lnTo>
                    <a:pt x="2968587" y="199530"/>
                  </a:lnTo>
                  <a:lnTo>
                    <a:pt x="2968626" y="199530"/>
                  </a:lnTo>
                  <a:lnTo>
                    <a:pt x="2968626" y="198831"/>
                  </a:lnTo>
                  <a:lnTo>
                    <a:pt x="2968626" y="199530"/>
                  </a:lnTo>
                  <a:lnTo>
                    <a:pt x="2968626" y="197447"/>
                  </a:lnTo>
                  <a:lnTo>
                    <a:pt x="2968676" y="198831"/>
                  </a:lnTo>
                  <a:lnTo>
                    <a:pt x="2968676" y="196799"/>
                  </a:lnTo>
                  <a:lnTo>
                    <a:pt x="2968676" y="199530"/>
                  </a:lnTo>
                  <a:lnTo>
                    <a:pt x="2968727" y="199530"/>
                  </a:lnTo>
                  <a:lnTo>
                    <a:pt x="2968727" y="200228"/>
                  </a:lnTo>
                  <a:lnTo>
                    <a:pt x="2968727" y="197447"/>
                  </a:lnTo>
                  <a:lnTo>
                    <a:pt x="2968727" y="199530"/>
                  </a:lnTo>
                  <a:lnTo>
                    <a:pt x="2968829" y="200228"/>
                  </a:lnTo>
                  <a:lnTo>
                    <a:pt x="2968829" y="198831"/>
                  </a:lnTo>
                  <a:lnTo>
                    <a:pt x="2968829" y="199530"/>
                  </a:lnTo>
                  <a:lnTo>
                    <a:pt x="2968829" y="198831"/>
                  </a:lnTo>
                  <a:lnTo>
                    <a:pt x="2968829" y="199530"/>
                  </a:lnTo>
                  <a:lnTo>
                    <a:pt x="2968829" y="198831"/>
                  </a:lnTo>
                  <a:lnTo>
                    <a:pt x="2968829" y="199530"/>
                  </a:lnTo>
                  <a:lnTo>
                    <a:pt x="2968829" y="198831"/>
                  </a:lnTo>
                  <a:lnTo>
                    <a:pt x="2968829" y="199530"/>
                  </a:lnTo>
                  <a:lnTo>
                    <a:pt x="2968880" y="199530"/>
                  </a:lnTo>
                  <a:lnTo>
                    <a:pt x="2968880" y="200228"/>
                  </a:lnTo>
                  <a:lnTo>
                    <a:pt x="2968930" y="200228"/>
                  </a:lnTo>
                  <a:lnTo>
                    <a:pt x="2968930" y="199530"/>
                  </a:lnTo>
                  <a:lnTo>
                    <a:pt x="2968930" y="200876"/>
                  </a:lnTo>
                  <a:lnTo>
                    <a:pt x="2969032" y="200876"/>
                  </a:lnTo>
                  <a:lnTo>
                    <a:pt x="2969032" y="200228"/>
                  </a:lnTo>
                  <a:lnTo>
                    <a:pt x="2969032" y="200876"/>
                  </a:lnTo>
                  <a:lnTo>
                    <a:pt x="2969032" y="200228"/>
                  </a:lnTo>
                  <a:lnTo>
                    <a:pt x="2969083" y="200228"/>
                  </a:lnTo>
                  <a:lnTo>
                    <a:pt x="2969083" y="199530"/>
                  </a:lnTo>
                  <a:lnTo>
                    <a:pt x="2969083" y="200228"/>
                  </a:lnTo>
                  <a:lnTo>
                    <a:pt x="2969083" y="199530"/>
                  </a:lnTo>
                  <a:lnTo>
                    <a:pt x="2969133" y="199530"/>
                  </a:lnTo>
                  <a:lnTo>
                    <a:pt x="2969133" y="198831"/>
                  </a:lnTo>
                  <a:lnTo>
                    <a:pt x="2969133" y="200228"/>
                  </a:lnTo>
                  <a:lnTo>
                    <a:pt x="2969133" y="199530"/>
                  </a:lnTo>
                  <a:lnTo>
                    <a:pt x="2969172" y="199530"/>
                  </a:lnTo>
                  <a:lnTo>
                    <a:pt x="2969172" y="198831"/>
                  </a:lnTo>
                  <a:lnTo>
                    <a:pt x="2969172" y="200876"/>
                  </a:lnTo>
                  <a:lnTo>
                    <a:pt x="2969172" y="199530"/>
                  </a:lnTo>
                  <a:lnTo>
                    <a:pt x="2969273" y="199530"/>
                  </a:lnTo>
                  <a:lnTo>
                    <a:pt x="2969273" y="200228"/>
                  </a:lnTo>
                  <a:lnTo>
                    <a:pt x="2969273" y="199530"/>
                  </a:lnTo>
                  <a:lnTo>
                    <a:pt x="2969273" y="200876"/>
                  </a:lnTo>
                  <a:lnTo>
                    <a:pt x="2969273" y="200228"/>
                  </a:lnTo>
                  <a:lnTo>
                    <a:pt x="2969273" y="200876"/>
                  </a:lnTo>
                  <a:lnTo>
                    <a:pt x="2969324" y="200228"/>
                  </a:lnTo>
                  <a:lnTo>
                    <a:pt x="2969324" y="200876"/>
                  </a:lnTo>
                  <a:lnTo>
                    <a:pt x="2969324" y="200228"/>
                  </a:lnTo>
                  <a:lnTo>
                    <a:pt x="2969324" y="200876"/>
                  </a:lnTo>
                  <a:lnTo>
                    <a:pt x="2969375" y="200876"/>
                  </a:lnTo>
                  <a:lnTo>
                    <a:pt x="2969375" y="200228"/>
                  </a:lnTo>
                  <a:lnTo>
                    <a:pt x="2969375" y="200876"/>
                  </a:lnTo>
                  <a:lnTo>
                    <a:pt x="2969375" y="200228"/>
                  </a:lnTo>
                  <a:lnTo>
                    <a:pt x="2969375" y="200876"/>
                  </a:lnTo>
                  <a:lnTo>
                    <a:pt x="2969476" y="200876"/>
                  </a:lnTo>
                  <a:lnTo>
                    <a:pt x="2969476" y="200228"/>
                  </a:lnTo>
                  <a:lnTo>
                    <a:pt x="2969476" y="202260"/>
                  </a:lnTo>
                  <a:lnTo>
                    <a:pt x="2969476" y="200228"/>
                  </a:lnTo>
                  <a:lnTo>
                    <a:pt x="2969476" y="200876"/>
                  </a:lnTo>
                  <a:lnTo>
                    <a:pt x="2969527" y="200876"/>
                  </a:lnTo>
                  <a:lnTo>
                    <a:pt x="2969527" y="200228"/>
                  </a:lnTo>
                  <a:lnTo>
                    <a:pt x="2969527" y="200876"/>
                  </a:lnTo>
                  <a:lnTo>
                    <a:pt x="2969527" y="200228"/>
                  </a:lnTo>
                  <a:lnTo>
                    <a:pt x="2969527" y="200876"/>
                  </a:lnTo>
                  <a:lnTo>
                    <a:pt x="2969527" y="200228"/>
                  </a:lnTo>
                  <a:lnTo>
                    <a:pt x="2969527" y="200876"/>
                  </a:lnTo>
                  <a:lnTo>
                    <a:pt x="2969527" y="200228"/>
                  </a:lnTo>
                  <a:lnTo>
                    <a:pt x="2969578" y="200228"/>
                  </a:lnTo>
                  <a:lnTo>
                    <a:pt x="2969578" y="200876"/>
                  </a:lnTo>
                  <a:lnTo>
                    <a:pt x="2969578" y="199530"/>
                  </a:lnTo>
                  <a:lnTo>
                    <a:pt x="2969629" y="199530"/>
                  </a:lnTo>
                  <a:lnTo>
                    <a:pt x="2969629" y="200228"/>
                  </a:lnTo>
                  <a:lnTo>
                    <a:pt x="2969629" y="199530"/>
                  </a:lnTo>
                  <a:lnTo>
                    <a:pt x="2969629" y="200228"/>
                  </a:lnTo>
                  <a:lnTo>
                    <a:pt x="2969629" y="199530"/>
                  </a:lnTo>
                  <a:lnTo>
                    <a:pt x="2969718" y="199530"/>
                  </a:lnTo>
                  <a:lnTo>
                    <a:pt x="2969718" y="202260"/>
                  </a:lnTo>
                  <a:lnTo>
                    <a:pt x="2969718" y="200876"/>
                  </a:lnTo>
                  <a:lnTo>
                    <a:pt x="2969718" y="202260"/>
                  </a:lnTo>
                  <a:lnTo>
                    <a:pt x="2969718" y="200876"/>
                  </a:lnTo>
                  <a:lnTo>
                    <a:pt x="2969769" y="200876"/>
                  </a:lnTo>
                  <a:lnTo>
                    <a:pt x="2969769" y="202959"/>
                  </a:lnTo>
                  <a:lnTo>
                    <a:pt x="2969769" y="200876"/>
                  </a:lnTo>
                  <a:lnTo>
                    <a:pt x="2969819" y="202260"/>
                  </a:lnTo>
                  <a:lnTo>
                    <a:pt x="2969819" y="202959"/>
                  </a:lnTo>
                  <a:lnTo>
                    <a:pt x="2969819" y="202260"/>
                  </a:lnTo>
                  <a:lnTo>
                    <a:pt x="2969870" y="202260"/>
                  </a:lnTo>
                  <a:lnTo>
                    <a:pt x="2969870" y="200876"/>
                  </a:lnTo>
                  <a:lnTo>
                    <a:pt x="2969870" y="202260"/>
                  </a:lnTo>
                  <a:lnTo>
                    <a:pt x="2969870" y="200876"/>
                  </a:lnTo>
                  <a:lnTo>
                    <a:pt x="2969972" y="200876"/>
                  </a:lnTo>
                  <a:lnTo>
                    <a:pt x="2969972" y="202260"/>
                  </a:lnTo>
                  <a:lnTo>
                    <a:pt x="2969972" y="200876"/>
                  </a:lnTo>
                  <a:lnTo>
                    <a:pt x="2969972" y="202260"/>
                  </a:lnTo>
                  <a:lnTo>
                    <a:pt x="2969972" y="200228"/>
                  </a:lnTo>
                  <a:lnTo>
                    <a:pt x="2970022" y="200228"/>
                  </a:lnTo>
                  <a:lnTo>
                    <a:pt x="2970022" y="200876"/>
                  </a:lnTo>
                  <a:lnTo>
                    <a:pt x="2970022" y="200228"/>
                  </a:lnTo>
                  <a:lnTo>
                    <a:pt x="2970022" y="200876"/>
                  </a:lnTo>
                  <a:lnTo>
                    <a:pt x="2970022" y="199530"/>
                  </a:lnTo>
                  <a:lnTo>
                    <a:pt x="2970022" y="200228"/>
                  </a:lnTo>
                  <a:lnTo>
                    <a:pt x="2970022" y="199530"/>
                  </a:lnTo>
                  <a:lnTo>
                    <a:pt x="2970073" y="199530"/>
                  </a:lnTo>
                  <a:lnTo>
                    <a:pt x="2970073" y="197447"/>
                  </a:lnTo>
                  <a:lnTo>
                    <a:pt x="2970073" y="198831"/>
                  </a:lnTo>
                  <a:lnTo>
                    <a:pt x="2970175" y="197447"/>
                  </a:lnTo>
                  <a:lnTo>
                    <a:pt x="2970175" y="196799"/>
                  </a:lnTo>
                  <a:lnTo>
                    <a:pt x="2970175" y="199530"/>
                  </a:lnTo>
                  <a:lnTo>
                    <a:pt x="2970175" y="197447"/>
                  </a:lnTo>
                  <a:lnTo>
                    <a:pt x="2970175" y="198831"/>
                  </a:lnTo>
                  <a:lnTo>
                    <a:pt x="2970213" y="198831"/>
                  </a:lnTo>
                  <a:lnTo>
                    <a:pt x="2970213" y="200228"/>
                  </a:lnTo>
                  <a:lnTo>
                    <a:pt x="2970213" y="199530"/>
                  </a:lnTo>
                  <a:lnTo>
                    <a:pt x="2970264" y="200228"/>
                  </a:lnTo>
                  <a:lnTo>
                    <a:pt x="2970264" y="200876"/>
                  </a:lnTo>
                  <a:lnTo>
                    <a:pt x="2970264" y="200228"/>
                  </a:lnTo>
                  <a:lnTo>
                    <a:pt x="2970264" y="200876"/>
                  </a:lnTo>
                  <a:lnTo>
                    <a:pt x="2970315" y="200876"/>
                  </a:lnTo>
                  <a:lnTo>
                    <a:pt x="2970315" y="202260"/>
                  </a:lnTo>
                  <a:lnTo>
                    <a:pt x="2970315" y="200876"/>
                  </a:lnTo>
                  <a:lnTo>
                    <a:pt x="2970315" y="202260"/>
                  </a:lnTo>
                  <a:lnTo>
                    <a:pt x="2970315" y="200228"/>
                  </a:lnTo>
                  <a:lnTo>
                    <a:pt x="2970315" y="202260"/>
                  </a:lnTo>
                  <a:lnTo>
                    <a:pt x="2970315" y="200876"/>
                  </a:lnTo>
                  <a:lnTo>
                    <a:pt x="2970416" y="200876"/>
                  </a:lnTo>
                  <a:lnTo>
                    <a:pt x="2970416" y="202260"/>
                  </a:lnTo>
                  <a:lnTo>
                    <a:pt x="2970416" y="200876"/>
                  </a:lnTo>
                  <a:lnTo>
                    <a:pt x="2970416" y="202260"/>
                  </a:lnTo>
                  <a:lnTo>
                    <a:pt x="2970416" y="200876"/>
                  </a:lnTo>
                  <a:lnTo>
                    <a:pt x="2970416" y="202260"/>
                  </a:lnTo>
                  <a:lnTo>
                    <a:pt x="2970416" y="200876"/>
                  </a:lnTo>
                  <a:lnTo>
                    <a:pt x="2970416" y="202260"/>
                  </a:lnTo>
                  <a:lnTo>
                    <a:pt x="2970467" y="202260"/>
                  </a:lnTo>
                  <a:lnTo>
                    <a:pt x="2970467" y="200876"/>
                  </a:lnTo>
                  <a:lnTo>
                    <a:pt x="2970467" y="202260"/>
                  </a:lnTo>
                  <a:lnTo>
                    <a:pt x="2970467" y="200876"/>
                  </a:lnTo>
                  <a:lnTo>
                    <a:pt x="2970467" y="202260"/>
                  </a:lnTo>
                  <a:lnTo>
                    <a:pt x="2970467" y="200876"/>
                  </a:lnTo>
                  <a:lnTo>
                    <a:pt x="2970518" y="200876"/>
                  </a:lnTo>
                  <a:lnTo>
                    <a:pt x="2970518" y="200228"/>
                  </a:lnTo>
                  <a:lnTo>
                    <a:pt x="2970518" y="200876"/>
                  </a:lnTo>
                  <a:lnTo>
                    <a:pt x="2970518" y="199530"/>
                  </a:lnTo>
                  <a:lnTo>
                    <a:pt x="2970619" y="199530"/>
                  </a:lnTo>
                  <a:lnTo>
                    <a:pt x="2970619" y="200228"/>
                  </a:lnTo>
                  <a:lnTo>
                    <a:pt x="2970619" y="199530"/>
                  </a:lnTo>
                  <a:lnTo>
                    <a:pt x="2970619" y="200228"/>
                  </a:lnTo>
                  <a:lnTo>
                    <a:pt x="2970619" y="197447"/>
                  </a:lnTo>
                  <a:lnTo>
                    <a:pt x="2970670" y="197447"/>
                  </a:lnTo>
                  <a:lnTo>
                    <a:pt x="2970670" y="199530"/>
                  </a:lnTo>
                  <a:lnTo>
                    <a:pt x="2970670" y="198831"/>
                  </a:lnTo>
                  <a:lnTo>
                    <a:pt x="2970670" y="199530"/>
                  </a:lnTo>
                  <a:lnTo>
                    <a:pt x="2970670" y="197447"/>
                  </a:lnTo>
                  <a:lnTo>
                    <a:pt x="2970670" y="200228"/>
                  </a:lnTo>
                  <a:lnTo>
                    <a:pt x="2970721" y="200228"/>
                  </a:lnTo>
                  <a:lnTo>
                    <a:pt x="2970721" y="199530"/>
                  </a:lnTo>
                  <a:lnTo>
                    <a:pt x="2970721" y="200228"/>
                  </a:lnTo>
                  <a:lnTo>
                    <a:pt x="2970721" y="199530"/>
                  </a:lnTo>
                  <a:lnTo>
                    <a:pt x="2970721" y="200228"/>
                  </a:lnTo>
                  <a:lnTo>
                    <a:pt x="2970721" y="199530"/>
                  </a:lnTo>
                  <a:lnTo>
                    <a:pt x="2970721" y="200228"/>
                  </a:lnTo>
                  <a:lnTo>
                    <a:pt x="2970759" y="200228"/>
                  </a:lnTo>
                  <a:lnTo>
                    <a:pt x="2970759" y="199530"/>
                  </a:lnTo>
                  <a:lnTo>
                    <a:pt x="2970759" y="200228"/>
                  </a:lnTo>
                  <a:lnTo>
                    <a:pt x="2970759" y="199530"/>
                  </a:lnTo>
                  <a:lnTo>
                    <a:pt x="2970759" y="200228"/>
                  </a:lnTo>
                  <a:lnTo>
                    <a:pt x="2970861" y="200228"/>
                  </a:lnTo>
                  <a:lnTo>
                    <a:pt x="2970861" y="200876"/>
                  </a:lnTo>
                  <a:lnTo>
                    <a:pt x="2970861" y="200228"/>
                  </a:lnTo>
                  <a:lnTo>
                    <a:pt x="2970861" y="200876"/>
                  </a:lnTo>
                  <a:lnTo>
                    <a:pt x="2970861" y="200228"/>
                  </a:lnTo>
                  <a:lnTo>
                    <a:pt x="2970861" y="200876"/>
                  </a:lnTo>
                  <a:lnTo>
                    <a:pt x="2970912" y="200876"/>
                  </a:lnTo>
                  <a:lnTo>
                    <a:pt x="2970912" y="200228"/>
                  </a:lnTo>
                  <a:lnTo>
                    <a:pt x="2970912" y="202260"/>
                  </a:lnTo>
                  <a:lnTo>
                    <a:pt x="2970912" y="200876"/>
                  </a:lnTo>
                  <a:lnTo>
                    <a:pt x="2970912" y="202260"/>
                  </a:lnTo>
                  <a:lnTo>
                    <a:pt x="2970912" y="200876"/>
                  </a:lnTo>
                  <a:lnTo>
                    <a:pt x="2970912" y="202260"/>
                  </a:lnTo>
                  <a:lnTo>
                    <a:pt x="2970912" y="200876"/>
                  </a:lnTo>
                  <a:lnTo>
                    <a:pt x="2970962" y="200876"/>
                  </a:lnTo>
                  <a:lnTo>
                    <a:pt x="2970962" y="202260"/>
                  </a:lnTo>
                  <a:lnTo>
                    <a:pt x="2970962" y="200228"/>
                  </a:lnTo>
                  <a:lnTo>
                    <a:pt x="2970962" y="200876"/>
                  </a:lnTo>
                  <a:lnTo>
                    <a:pt x="2971064" y="200876"/>
                  </a:lnTo>
                  <a:lnTo>
                    <a:pt x="2971064" y="200228"/>
                  </a:lnTo>
                  <a:lnTo>
                    <a:pt x="2971064" y="200876"/>
                  </a:lnTo>
                  <a:lnTo>
                    <a:pt x="2971064" y="199530"/>
                  </a:lnTo>
                  <a:lnTo>
                    <a:pt x="2971115" y="200228"/>
                  </a:lnTo>
                  <a:lnTo>
                    <a:pt x="2971115" y="197447"/>
                  </a:lnTo>
                  <a:lnTo>
                    <a:pt x="2971115" y="198831"/>
                  </a:lnTo>
                  <a:lnTo>
                    <a:pt x="2971115" y="196113"/>
                  </a:lnTo>
                  <a:lnTo>
                    <a:pt x="2971165" y="196113"/>
                  </a:lnTo>
                  <a:lnTo>
                    <a:pt x="2971165" y="198831"/>
                  </a:lnTo>
                  <a:lnTo>
                    <a:pt x="2971165" y="196113"/>
                  </a:lnTo>
                  <a:lnTo>
                    <a:pt x="2971165" y="197447"/>
                  </a:lnTo>
                  <a:lnTo>
                    <a:pt x="2971216" y="197447"/>
                  </a:lnTo>
                  <a:lnTo>
                    <a:pt x="2971216" y="199530"/>
                  </a:lnTo>
                  <a:lnTo>
                    <a:pt x="2971216" y="197447"/>
                  </a:lnTo>
                  <a:lnTo>
                    <a:pt x="2971216" y="199530"/>
                  </a:lnTo>
                  <a:lnTo>
                    <a:pt x="2971305" y="199530"/>
                  </a:lnTo>
                  <a:lnTo>
                    <a:pt x="2971305" y="198831"/>
                  </a:lnTo>
                  <a:lnTo>
                    <a:pt x="2971305" y="199530"/>
                  </a:lnTo>
                  <a:lnTo>
                    <a:pt x="2971305" y="198831"/>
                  </a:lnTo>
                  <a:lnTo>
                    <a:pt x="2971305" y="200228"/>
                  </a:lnTo>
                  <a:lnTo>
                    <a:pt x="2971305" y="199530"/>
                  </a:lnTo>
                  <a:lnTo>
                    <a:pt x="2971356" y="199530"/>
                  </a:lnTo>
                  <a:lnTo>
                    <a:pt x="2971356" y="200228"/>
                  </a:lnTo>
                  <a:lnTo>
                    <a:pt x="2971356" y="199530"/>
                  </a:lnTo>
                  <a:lnTo>
                    <a:pt x="2971356" y="200228"/>
                  </a:lnTo>
                  <a:lnTo>
                    <a:pt x="2971407" y="200228"/>
                  </a:lnTo>
                  <a:lnTo>
                    <a:pt x="2971407" y="202260"/>
                  </a:lnTo>
                  <a:lnTo>
                    <a:pt x="2971458" y="202260"/>
                  </a:lnTo>
                  <a:lnTo>
                    <a:pt x="2971458" y="200876"/>
                  </a:lnTo>
                  <a:lnTo>
                    <a:pt x="2971458" y="202260"/>
                  </a:lnTo>
                  <a:lnTo>
                    <a:pt x="2971458" y="200228"/>
                  </a:lnTo>
                  <a:lnTo>
                    <a:pt x="2971559" y="200876"/>
                  </a:lnTo>
                  <a:lnTo>
                    <a:pt x="2971559" y="200228"/>
                  </a:lnTo>
                  <a:lnTo>
                    <a:pt x="2971559" y="200876"/>
                  </a:lnTo>
                  <a:lnTo>
                    <a:pt x="2971559" y="200228"/>
                  </a:lnTo>
                  <a:lnTo>
                    <a:pt x="2971610" y="200228"/>
                  </a:lnTo>
                  <a:lnTo>
                    <a:pt x="2971610" y="197447"/>
                  </a:lnTo>
                  <a:lnTo>
                    <a:pt x="2971610" y="199530"/>
                  </a:lnTo>
                  <a:lnTo>
                    <a:pt x="2971661" y="199530"/>
                  </a:lnTo>
                  <a:lnTo>
                    <a:pt x="2971661" y="196799"/>
                  </a:lnTo>
                  <a:lnTo>
                    <a:pt x="2971661" y="200228"/>
                  </a:lnTo>
                  <a:lnTo>
                    <a:pt x="2971762" y="200228"/>
                  </a:lnTo>
                  <a:lnTo>
                    <a:pt x="2971762" y="199530"/>
                  </a:lnTo>
                  <a:lnTo>
                    <a:pt x="2971762" y="200228"/>
                  </a:lnTo>
                  <a:lnTo>
                    <a:pt x="2971762" y="198831"/>
                  </a:lnTo>
                  <a:lnTo>
                    <a:pt x="2971762" y="199530"/>
                  </a:lnTo>
                  <a:lnTo>
                    <a:pt x="2971801" y="200228"/>
                  </a:lnTo>
                  <a:lnTo>
                    <a:pt x="2971801" y="198831"/>
                  </a:lnTo>
                  <a:lnTo>
                    <a:pt x="2971801" y="199530"/>
                  </a:lnTo>
                  <a:lnTo>
                    <a:pt x="2971801" y="198831"/>
                  </a:lnTo>
                  <a:lnTo>
                    <a:pt x="2971801" y="199530"/>
                  </a:lnTo>
                  <a:lnTo>
                    <a:pt x="2971801" y="198831"/>
                  </a:lnTo>
                  <a:lnTo>
                    <a:pt x="2971801" y="199530"/>
                  </a:lnTo>
                  <a:lnTo>
                    <a:pt x="2971851" y="199530"/>
                  </a:lnTo>
                  <a:lnTo>
                    <a:pt x="2971851" y="200228"/>
                  </a:lnTo>
                  <a:lnTo>
                    <a:pt x="2971902" y="199530"/>
                  </a:lnTo>
                  <a:lnTo>
                    <a:pt x="2971902" y="200228"/>
                  </a:lnTo>
                  <a:lnTo>
                    <a:pt x="2971902" y="199530"/>
                  </a:lnTo>
                  <a:lnTo>
                    <a:pt x="2971902" y="200876"/>
                  </a:lnTo>
                  <a:lnTo>
                    <a:pt x="2971902" y="200228"/>
                  </a:lnTo>
                  <a:lnTo>
                    <a:pt x="2971902" y="200876"/>
                  </a:lnTo>
                  <a:lnTo>
                    <a:pt x="2971902" y="200228"/>
                  </a:lnTo>
                  <a:lnTo>
                    <a:pt x="2971902" y="200876"/>
                  </a:lnTo>
                  <a:lnTo>
                    <a:pt x="2972004" y="200876"/>
                  </a:lnTo>
                  <a:lnTo>
                    <a:pt x="2972004" y="200228"/>
                  </a:lnTo>
                  <a:lnTo>
                    <a:pt x="2972055" y="200228"/>
                  </a:lnTo>
                  <a:lnTo>
                    <a:pt x="2972055" y="199530"/>
                  </a:lnTo>
                  <a:lnTo>
                    <a:pt x="2972105" y="199530"/>
                  </a:lnTo>
                  <a:lnTo>
                    <a:pt x="2972105" y="198831"/>
                  </a:lnTo>
                  <a:lnTo>
                    <a:pt x="2972105" y="200228"/>
                  </a:lnTo>
                  <a:lnTo>
                    <a:pt x="2972105" y="199530"/>
                  </a:lnTo>
                  <a:lnTo>
                    <a:pt x="2972207" y="199530"/>
                  </a:lnTo>
                  <a:lnTo>
                    <a:pt x="2972207" y="198831"/>
                  </a:lnTo>
                  <a:lnTo>
                    <a:pt x="2972207" y="202260"/>
                  </a:lnTo>
                  <a:lnTo>
                    <a:pt x="2972207" y="200876"/>
                  </a:lnTo>
                  <a:lnTo>
                    <a:pt x="2972258" y="200228"/>
                  </a:lnTo>
                  <a:lnTo>
                    <a:pt x="2972258" y="202260"/>
                  </a:lnTo>
                  <a:lnTo>
                    <a:pt x="2972258" y="200876"/>
                  </a:lnTo>
                  <a:lnTo>
                    <a:pt x="2972308" y="200228"/>
                  </a:lnTo>
                  <a:lnTo>
                    <a:pt x="2972308" y="200876"/>
                  </a:lnTo>
                  <a:lnTo>
                    <a:pt x="2972347" y="200876"/>
                  </a:lnTo>
                  <a:lnTo>
                    <a:pt x="2972347" y="202260"/>
                  </a:lnTo>
                  <a:lnTo>
                    <a:pt x="2972347" y="200876"/>
                  </a:lnTo>
                  <a:lnTo>
                    <a:pt x="2972347" y="202260"/>
                  </a:lnTo>
                  <a:lnTo>
                    <a:pt x="2972347" y="200876"/>
                  </a:lnTo>
                  <a:lnTo>
                    <a:pt x="2972347" y="202260"/>
                  </a:lnTo>
                  <a:lnTo>
                    <a:pt x="2972448" y="202260"/>
                  </a:lnTo>
                  <a:lnTo>
                    <a:pt x="2972448" y="200876"/>
                  </a:lnTo>
                  <a:lnTo>
                    <a:pt x="2972499" y="200876"/>
                  </a:lnTo>
                  <a:lnTo>
                    <a:pt x="2972499" y="200228"/>
                  </a:lnTo>
                  <a:lnTo>
                    <a:pt x="2972499" y="200876"/>
                  </a:lnTo>
                  <a:lnTo>
                    <a:pt x="2972499" y="200228"/>
                  </a:lnTo>
                  <a:lnTo>
                    <a:pt x="2972499" y="200876"/>
                  </a:lnTo>
                  <a:lnTo>
                    <a:pt x="2972499" y="200228"/>
                  </a:lnTo>
                  <a:lnTo>
                    <a:pt x="2972550" y="200228"/>
                  </a:lnTo>
                  <a:lnTo>
                    <a:pt x="2972550" y="199530"/>
                  </a:lnTo>
                  <a:lnTo>
                    <a:pt x="2972550" y="200228"/>
                  </a:lnTo>
                  <a:lnTo>
                    <a:pt x="2972550" y="198831"/>
                  </a:lnTo>
                  <a:lnTo>
                    <a:pt x="2972651" y="199530"/>
                  </a:lnTo>
                  <a:lnTo>
                    <a:pt x="2972651" y="198831"/>
                  </a:lnTo>
                  <a:lnTo>
                    <a:pt x="2972651" y="200228"/>
                  </a:lnTo>
                  <a:lnTo>
                    <a:pt x="2972651" y="199530"/>
                  </a:lnTo>
                  <a:lnTo>
                    <a:pt x="2972702" y="199530"/>
                  </a:lnTo>
                  <a:lnTo>
                    <a:pt x="2972702" y="202959"/>
                  </a:lnTo>
                  <a:lnTo>
                    <a:pt x="2972702" y="200876"/>
                  </a:lnTo>
                  <a:lnTo>
                    <a:pt x="2972753" y="202260"/>
                  </a:lnTo>
                  <a:lnTo>
                    <a:pt x="2972753" y="200876"/>
                  </a:lnTo>
                  <a:lnTo>
                    <a:pt x="2972753" y="202260"/>
                  </a:lnTo>
                  <a:lnTo>
                    <a:pt x="2972804" y="200876"/>
                  </a:lnTo>
                  <a:lnTo>
                    <a:pt x="2972804" y="202260"/>
                  </a:lnTo>
                  <a:lnTo>
                    <a:pt x="2972804" y="200876"/>
                  </a:lnTo>
                  <a:lnTo>
                    <a:pt x="2972804" y="202260"/>
                  </a:lnTo>
                  <a:lnTo>
                    <a:pt x="2972804" y="200876"/>
                  </a:lnTo>
                  <a:lnTo>
                    <a:pt x="2972804" y="202260"/>
                  </a:lnTo>
                  <a:lnTo>
                    <a:pt x="2972893" y="202260"/>
                  </a:lnTo>
                  <a:lnTo>
                    <a:pt x="2972893" y="202959"/>
                  </a:lnTo>
                  <a:lnTo>
                    <a:pt x="2972893" y="202260"/>
                  </a:lnTo>
                  <a:lnTo>
                    <a:pt x="2972944" y="202260"/>
                  </a:lnTo>
                  <a:lnTo>
                    <a:pt x="2972944" y="200876"/>
                  </a:lnTo>
                  <a:lnTo>
                    <a:pt x="2972944" y="202260"/>
                  </a:lnTo>
                  <a:lnTo>
                    <a:pt x="2972944" y="200876"/>
                  </a:lnTo>
                  <a:lnTo>
                    <a:pt x="2972944" y="202260"/>
                  </a:lnTo>
                  <a:lnTo>
                    <a:pt x="2972994" y="202260"/>
                  </a:lnTo>
                  <a:lnTo>
                    <a:pt x="2972994" y="199530"/>
                  </a:lnTo>
                  <a:lnTo>
                    <a:pt x="2973045" y="199530"/>
                  </a:lnTo>
                  <a:lnTo>
                    <a:pt x="2973045" y="198831"/>
                  </a:lnTo>
                  <a:lnTo>
                    <a:pt x="2973045" y="199530"/>
                  </a:lnTo>
                  <a:lnTo>
                    <a:pt x="2973045" y="197447"/>
                  </a:lnTo>
                  <a:lnTo>
                    <a:pt x="2973147" y="198831"/>
                  </a:lnTo>
                  <a:lnTo>
                    <a:pt x="2973147" y="199530"/>
                  </a:lnTo>
                  <a:lnTo>
                    <a:pt x="2973147" y="198831"/>
                  </a:lnTo>
                  <a:lnTo>
                    <a:pt x="2973147" y="199530"/>
                  </a:lnTo>
                  <a:lnTo>
                    <a:pt x="2973147" y="197447"/>
                  </a:lnTo>
                  <a:lnTo>
                    <a:pt x="2973147" y="200228"/>
                  </a:lnTo>
                  <a:lnTo>
                    <a:pt x="2973197" y="200228"/>
                  </a:lnTo>
                  <a:lnTo>
                    <a:pt x="2973197" y="200876"/>
                  </a:lnTo>
                  <a:lnTo>
                    <a:pt x="2973197" y="200228"/>
                  </a:lnTo>
                  <a:lnTo>
                    <a:pt x="2973197" y="202260"/>
                  </a:lnTo>
                  <a:lnTo>
                    <a:pt x="2973248" y="202260"/>
                  </a:lnTo>
                  <a:lnTo>
                    <a:pt x="2973248" y="200876"/>
                  </a:lnTo>
                  <a:lnTo>
                    <a:pt x="2973248" y="202260"/>
                  </a:lnTo>
                  <a:lnTo>
                    <a:pt x="2973248" y="200876"/>
                  </a:lnTo>
                  <a:lnTo>
                    <a:pt x="2973248" y="202260"/>
                  </a:lnTo>
                  <a:lnTo>
                    <a:pt x="2973248" y="200228"/>
                  </a:lnTo>
                  <a:lnTo>
                    <a:pt x="2973248" y="202260"/>
                  </a:lnTo>
                  <a:lnTo>
                    <a:pt x="2973350" y="202260"/>
                  </a:lnTo>
                  <a:lnTo>
                    <a:pt x="2973350" y="200876"/>
                  </a:lnTo>
                  <a:lnTo>
                    <a:pt x="2973350" y="202959"/>
                  </a:lnTo>
                  <a:lnTo>
                    <a:pt x="2973388" y="202959"/>
                  </a:lnTo>
                  <a:lnTo>
                    <a:pt x="2973388" y="202260"/>
                  </a:lnTo>
                  <a:lnTo>
                    <a:pt x="2973388" y="202959"/>
                  </a:lnTo>
                  <a:lnTo>
                    <a:pt x="2973388" y="202260"/>
                  </a:lnTo>
                  <a:lnTo>
                    <a:pt x="2973388" y="202959"/>
                  </a:lnTo>
                  <a:lnTo>
                    <a:pt x="2973388" y="202260"/>
                  </a:lnTo>
                  <a:lnTo>
                    <a:pt x="2973439" y="202260"/>
                  </a:lnTo>
                  <a:lnTo>
                    <a:pt x="2973439" y="202959"/>
                  </a:lnTo>
                  <a:lnTo>
                    <a:pt x="2973439" y="202260"/>
                  </a:lnTo>
                  <a:lnTo>
                    <a:pt x="2973490" y="202260"/>
                  </a:lnTo>
                  <a:lnTo>
                    <a:pt x="2973490" y="199530"/>
                  </a:lnTo>
                  <a:lnTo>
                    <a:pt x="2973591" y="199530"/>
                  </a:lnTo>
                  <a:lnTo>
                    <a:pt x="2973591" y="200228"/>
                  </a:lnTo>
                  <a:lnTo>
                    <a:pt x="2973591" y="199530"/>
                  </a:lnTo>
                  <a:lnTo>
                    <a:pt x="2973591" y="200228"/>
                  </a:lnTo>
                  <a:lnTo>
                    <a:pt x="2973642" y="200228"/>
                  </a:lnTo>
                  <a:lnTo>
                    <a:pt x="2973642" y="199530"/>
                  </a:lnTo>
                  <a:lnTo>
                    <a:pt x="2973642" y="202260"/>
                  </a:lnTo>
                  <a:lnTo>
                    <a:pt x="2973642" y="200876"/>
                  </a:lnTo>
                  <a:lnTo>
                    <a:pt x="2973642" y="202260"/>
                  </a:lnTo>
                  <a:lnTo>
                    <a:pt x="2973642" y="200876"/>
                  </a:lnTo>
                  <a:lnTo>
                    <a:pt x="2973693" y="200876"/>
                  </a:lnTo>
                  <a:lnTo>
                    <a:pt x="2973693" y="200228"/>
                  </a:lnTo>
                  <a:lnTo>
                    <a:pt x="2973693" y="202959"/>
                  </a:lnTo>
                  <a:lnTo>
                    <a:pt x="2973693" y="200876"/>
                  </a:lnTo>
                  <a:lnTo>
                    <a:pt x="2973794" y="200876"/>
                  </a:lnTo>
                  <a:lnTo>
                    <a:pt x="2973794" y="202260"/>
                  </a:lnTo>
                  <a:lnTo>
                    <a:pt x="2973794" y="200876"/>
                  </a:lnTo>
                  <a:lnTo>
                    <a:pt x="2973794" y="202260"/>
                  </a:lnTo>
                  <a:lnTo>
                    <a:pt x="2973794" y="200876"/>
                  </a:lnTo>
                  <a:lnTo>
                    <a:pt x="2973794" y="202260"/>
                  </a:lnTo>
                  <a:lnTo>
                    <a:pt x="2973794" y="200876"/>
                  </a:lnTo>
                  <a:lnTo>
                    <a:pt x="2973794" y="202260"/>
                  </a:lnTo>
                  <a:lnTo>
                    <a:pt x="2973845" y="200876"/>
                  </a:lnTo>
                  <a:lnTo>
                    <a:pt x="2973845" y="202959"/>
                  </a:lnTo>
                  <a:lnTo>
                    <a:pt x="2973845" y="200876"/>
                  </a:lnTo>
                  <a:lnTo>
                    <a:pt x="2973845" y="202959"/>
                  </a:lnTo>
                  <a:lnTo>
                    <a:pt x="2973845" y="202260"/>
                  </a:lnTo>
                  <a:lnTo>
                    <a:pt x="2973896" y="202260"/>
                  </a:lnTo>
                  <a:lnTo>
                    <a:pt x="2973896" y="202959"/>
                  </a:lnTo>
                  <a:lnTo>
                    <a:pt x="2973896" y="202260"/>
                  </a:lnTo>
                  <a:lnTo>
                    <a:pt x="2973934" y="202260"/>
                  </a:lnTo>
                  <a:lnTo>
                    <a:pt x="2973934" y="202959"/>
                  </a:lnTo>
                  <a:lnTo>
                    <a:pt x="2973934" y="200876"/>
                  </a:lnTo>
                  <a:lnTo>
                    <a:pt x="2974036" y="200876"/>
                  </a:lnTo>
                  <a:lnTo>
                    <a:pt x="2974036" y="198831"/>
                  </a:lnTo>
                  <a:lnTo>
                    <a:pt x="2974087" y="198831"/>
                  </a:lnTo>
                  <a:lnTo>
                    <a:pt x="2974087" y="200228"/>
                  </a:lnTo>
                  <a:lnTo>
                    <a:pt x="2974087" y="198831"/>
                  </a:lnTo>
                  <a:lnTo>
                    <a:pt x="2974087" y="199530"/>
                  </a:lnTo>
                  <a:lnTo>
                    <a:pt x="2974137" y="199530"/>
                  </a:lnTo>
                  <a:lnTo>
                    <a:pt x="2974137" y="202959"/>
                  </a:lnTo>
                  <a:lnTo>
                    <a:pt x="2974137" y="200228"/>
                  </a:lnTo>
                  <a:lnTo>
                    <a:pt x="2974137" y="200876"/>
                  </a:lnTo>
                  <a:lnTo>
                    <a:pt x="2974239" y="200876"/>
                  </a:lnTo>
                  <a:lnTo>
                    <a:pt x="2974239" y="202959"/>
                  </a:lnTo>
                  <a:lnTo>
                    <a:pt x="2974239" y="200876"/>
                  </a:lnTo>
                  <a:lnTo>
                    <a:pt x="2974239" y="202260"/>
                  </a:lnTo>
                  <a:lnTo>
                    <a:pt x="2974290" y="202260"/>
                  </a:lnTo>
                  <a:lnTo>
                    <a:pt x="2974290" y="200876"/>
                  </a:lnTo>
                  <a:lnTo>
                    <a:pt x="2974290" y="202260"/>
                  </a:lnTo>
                  <a:lnTo>
                    <a:pt x="2974340" y="202260"/>
                  </a:lnTo>
                  <a:lnTo>
                    <a:pt x="2974340" y="202959"/>
                  </a:lnTo>
                  <a:lnTo>
                    <a:pt x="2974391" y="202260"/>
                  </a:lnTo>
                  <a:lnTo>
                    <a:pt x="2974480" y="202260"/>
                  </a:lnTo>
                  <a:lnTo>
                    <a:pt x="2974480" y="200228"/>
                  </a:lnTo>
                  <a:lnTo>
                    <a:pt x="2974480" y="200876"/>
                  </a:lnTo>
                  <a:lnTo>
                    <a:pt x="2974531" y="200228"/>
                  </a:lnTo>
                  <a:lnTo>
                    <a:pt x="2974531" y="198831"/>
                  </a:lnTo>
                  <a:lnTo>
                    <a:pt x="2974531" y="200228"/>
                  </a:lnTo>
                  <a:lnTo>
                    <a:pt x="2974582" y="199530"/>
                  </a:lnTo>
                  <a:lnTo>
                    <a:pt x="2974582" y="200228"/>
                  </a:lnTo>
                  <a:lnTo>
                    <a:pt x="2974582" y="198831"/>
                  </a:lnTo>
                  <a:lnTo>
                    <a:pt x="2974582" y="202260"/>
                  </a:lnTo>
                  <a:lnTo>
                    <a:pt x="2974633" y="202260"/>
                  </a:lnTo>
                  <a:lnTo>
                    <a:pt x="2974633" y="199530"/>
                  </a:lnTo>
                  <a:lnTo>
                    <a:pt x="2974633" y="200876"/>
                  </a:lnTo>
                  <a:lnTo>
                    <a:pt x="2974633" y="200228"/>
                  </a:lnTo>
                  <a:lnTo>
                    <a:pt x="2974633" y="200876"/>
                  </a:lnTo>
                  <a:lnTo>
                    <a:pt x="2974734" y="200876"/>
                  </a:lnTo>
                  <a:lnTo>
                    <a:pt x="2974734" y="199530"/>
                  </a:lnTo>
                  <a:lnTo>
                    <a:pt x="2974734" y="200876"/>
                  </a:lnTo>
                  <a:lnTo>
                    <a:pt x="2974734" y="200228"/>
                  </a:lnTo>
                  <a:lnTo>
                    <a:pt x="2974734" y="200876"/>
                  </a:lnTo>
                  <a:lnTo>
                    <a:pt x="2974734" y="200228"/>
                  </a:lnTo>
                  <a:lnTo>
                    <a:pt x="2974734" y="200876"/>
                  </a:lnTo>
                  <a:lnTo>
                    <a:pt x="2974785" y="202260"/>
                  </a:lnTo>
                  <a:lnTo>
                    <a:pt x="2974785" y="200876"/>
                  </a:lnTo>
                  <a:lnTo>
                    <a:pt x="2974785" y="202260"/>
                  </a:lnTo>
                  <a:lnTo>
                    <a:pt x="2974785" y="200228"/>
                  </a:lnTo>
                  <a:lnTo>
                    <a:pt x="2974785" y="200876"/>
                  </a:lnTo>
                  <a:lnTo>
                    <a:pt x="2974836" y="200876"/>
                  </a:lnTo>
                  <a:lnTo>
                    <a:pt x="2974836" y="202260"/>
                  </a:lnTo>
                  <a:lnTo>
                    <a:pt x="2974836" y="200876"/>
                  </a:lnTo>
                  <a:lnTo>
                    <a:pt x="2974937" y="200876"/>
                  </a:lnTo>
                  <a:lnTo>
                    <a:pt x="2974937" y="200228"/>
                  </a:lnTo>
                  <a:lnTo>
                    <a:pt x="2974976" y="200876"/>
                  </a:lnTo>
                  <a:lnTo>
                    <a:pt x="2974976" y="200228"/>
                  </a:lnTo>
                  <a:lnTo>
                    <a:pt x="2974976" y="200876"/>
                  </a:lnTo>
                  <a:lnTo>
                    <a:pt x="2974976" y="199530"/>
                  </a:lnTo>
                  <a:lnTo>
                    <a:pt x="2974976" y="200228"/>
                  </a:lnTo>
                  <a:lnTo>
                    <a:pt x="2974976" y="199530"/>
                  </a:lnTo>
                  <a:lnTo>
                    <a:pt x="2975026" y="199530"/>
                  </a:lnTo>
                  <a:lnTo>
                    <a:pt x="2975026" y="198831"/>
                  </a:lnTo>
                  <a:lnTo>
                    <a:pt x="2975026" y="200228"/>
                  </a:lnTo>
                  <a:lnTo>
                    <a:pt x="2975026" y="198831"/>
                  </a:lnTo>
                  <a:lnTo>
                    <a:pt x="2975077" y="198831"/>
                  </a:lnTo>
                  <a:lnTo>
                    <a:pt x="2975077" y="199530"/>
                  </a:lnTo>
                  <a:lnTo>
                    <a:pt x="2975077" y="198831"/>
                  </a:lnTo>
                  <a:lnTo>
                    <a:pt x="2975077" y="200876"/>
                  </a:lnTo>
                  <a:lnTo>
                    <a:pt x="2975077" y="200228"/>
                  </a:lnTo>
                  <a:lnTo>
                    <a:pt x="2975077" y="200876"/>
                  </a:lnTo>
                  <a:lnTo>
                    <a:pt x="2975179" y="200876"/>
                  </a:lnTo>
                  <a:lnTo>
                    <a:pt x="2975179" y="202260"/>
                  </a:lnTo>
                  <a:lnTo>
                    <a:pt x="2975179" y="200876"/>
                  </a:lnTo>
                  <a:lnTo>
                    <a:pt x="2975230" y="200876"/>
                  </a:lnTo>
                  <a:lnTo>
                    <a:pt x="2975230" y="202260"/>
                  </a:lnTo>
                  <a:lnTo>
                    <a:pt x="2975230" y="200876"/>
                  </a:lnTo>
                  <a:lnTo>
                    <a:pt x="2975230" y="202260"/>
                  </a:lnTo>
                  <a:lnTo>
                    <a:pt x="2975230" y="200876"/>
                  </a:lnTo>
                  <a:lnTo>
                    <a:pt x="2975230" y="202260"/>
                  </a:lnTo>
                  <a:lnTo>
                    <a:pt x="2975280" y="202260"/>
                  </a:lnTo>
                  <a:lnTo>
                    <a:pt x="2975280" y="200876"/>
                  </a:lnTo>
                  <a:lnTo>
                    <a:pt x="2975280" y="202959"/>
                  </a:lnTo>
                  <a:lnTo>
                    <a:pt x="2975280" y="202260"/>
                  </a:lnTo>
                  <a:lnTo>
                    <a:pt x="2975382" y="202260"/>
                  </a:lnTo>
                  <a:lnTo>
                    <a:pt x="2975382" y="202959"/>
                  </a:lnTo>
                  <a:lnTo>
                    <a:pt x="2975382" y="202260"/>
                  </a:lnTo>
                  <a:lnTo>
                    <a:pt x="2975433" y="202260"/>
                  </a:lnTo>
                  <a:lnTo>
                    <a:pt x="2975433" y="200228"/>
                  </a:lnTo>
                  <a:lnTo>
                    <a:pt x="2975483" y="200228"/>
                  </a:lnTo>
                  <a:lnTo>
                    <a:pt x="2975483" y="198831"/>
                  </a:lnTo>
                  <a:lnTo>
                    <a:pt x="2975522" y="198831"/>
                  </a:lnTo>
                  <a:lnTo>
                    <a:pt x="2975522" y="200228"/>
                  </a:lnTo>
                  <a:lnTo>
                    <a:pt x="2975522" y="199530"/>
                  </a:lnTo>
                  <a:lnTo>
                    <a:pt x="2975522" y="200876"/>
                  </a:lnTo>
                  <a:lnTo>
                    <a:pt x="2975522" y="199530"/>
                  </a:lnTo>
                  <a:lnTo>
                    <a:pt x="2975623" y="199530"/>
                  </a:lnTo>
                  <a:lnTo>
                    <a:pt x="2975623" y="202260"/>
                  </a:lnTo>
                  <a:lnTo>
                    <a:pt x="2975623" y="200876"/>
                  </a:lnTo>
                  <a:lnTo>
                    <a:pt x="2975623" y="202260"/>
                  </a:lnTo>
                  <a:lnTo>
                    <a:pt x="2975623" y="200228"/>
                  </a:lnTo>
                  <a:lnTo>
                    <a:pt x="2975674" y="200876"/>
                  </a:lnTo>
                  <a:lnTo>
                    <a:pt x="2975674" y="202260"/>
                  </a:lnTo>
                  <a:lnTo>
                    <a:pt x="2975674" y="200876"/>
                  </a:lnTo>
                  <a:lnTo>
                    <a:pt x="2975725" y="200876"/>
                  </a:lnTo>
                  <a:lnTo>
                    <a:pt x="2975725" y="202260"/>
                  </a:lnTo>
                  <a:lnTo>
                    <a:pt x="2975725" y="200876"/>
                  </a:lnTo>
                  <a:lnTo>
                    <a:pt x="2975725" y="202260"/>
                  </a:lnTo>
                  <a:lnTo>
                    <a:pt x="2975725" y="200876"/>
                  </a:lnTo>
                  <a:lnTo>
                    <a:pt x="2975725" y="202260"/>
                  </a:lnTo>
                  <a:lnTo>
                    <a:pt x="2975725" y="200876"/>
                  </a:lnTo>
                  <a:lnTo>
                    <a:pt x="2975725" y="202260"/>
                  </a:lnTo>
                  <a:lnTo>
                    <a:pt x="2975826" y="202260"/>
                  </a:lnTo>
                  <a:lnTo>
                    <a:pt x="2975826" y="202959"/>
                  </a:lnTo>
                  <a:lnTo>
                    <a:pt x="2975826" y="202260"/>
                  </a:lnTo>
                  <a:lnTo>
                    <a:pt x="2975928" y="202260"/>
                  </a:lnTo>
                  <a:lnTo>
                    <a:pt x="2975928" y="200228"/>
                  </a:lnTo>
                  <a:lnTo>
                    <a:pt x="2975928" y="200876"/>
                  </a:lnTo>
                  <a:lnTo>
                    <a:pt x="2975928" y="199530"/>
                  </a:lnTo>
                  <a:lnTo>
                    <a:pt x="2975979" y="199530"/>
                  </a:lnTo>
                  <a:lnTo>
                    <a:pt x="2975979" y="197447"/>
                  </a:lnTo>
                  <a:lnTo>
                    <a:pt x="2975979" y="198831"/>
                  </a:lnTo>
                  <a:lnTo>
                    <a:pt x="2975979" y="197447"/>
                  </a:lnTo>
                  <a:lnTo>
                    <a:pt x="2976068" y="198831"/>
                  </a:lnTo>
                  <a:lnTo>
                    <a:pt x="2976068" y="200228"/>
                  </a:lnTo>
                  <a:lnTo>
                    <a:pt x="2976068" y="198831"/>
                  </a:lnTo>
                  <a:lnTo>
                    <a:pt x="2976068" y="200228"/>
                  </a:lnTo>
                  <a:lnTo>
                    <a:pt x="2976119" y="200228"/>
                  </a:lnTo>
                  <a:lnTo>
                    <a:pt x="2976119" y="200876"/>
                  </a:lnTo>
                  <a:lnTo>
                    <a:pt x="2976119" y="199530"/>
                  </a:lnTo>
                  <a:lnTo>
                    <a:pt x="2976119" y="200876"/>
                  </a:lnTo>
                  <a:lnTo>
                    <a:pt x="2976169" y="200876"/>
                  </a:lnTo>
                  <a:lnTo>
                    <a:pt x="2976169" y="200228"/>
                  </a:lnTo>
                  <a:lnTo>
                    <a:pt x="2976169" y="200876"/>
                  </a:lnTo>
                  <a:lnTo>
                    <a:pt x="2976169" y="200228"/>
                  </a:lnTo>
                  <a:lnTo>
                    <a:pt x="2976169" y="200876"/>
                  </a:lnTo>
                  <a:lnTo>
                    <a:pt x="2976220" y="200876"/>
                  </a:lnTo>
                  <a:lnTo>
                    <a:pt x="2976220" y="200228"/>
                  </a:lnTo>
                  <a:lnTo>
                    <a:pt x="2976220" y="202260"/>
                  </a:lnTo>
                  <a:lnTo>
                    <a:pt x="2976220" y="200876"/>
                  </a:lnTo>
                  <a:lnTo>
                    <a:pt x="2976220" y="202260"/>
                  </a:lnTo>
                  <a:lnTo>
                    <a:pt x="2976220" y="200876"/>
                  </a:lnTo>
                  <a:lnTo>
                    <a:pt x="2976220" y="202260"/>
                  </a:lnTo>
                  <a:lnTo>
                    <a:pt x="2976322" y="202260"/>
                  </a:lnTo>
                  <a:lnTo>
                    <a:pt x="2976322" y="200876"/>
                  </a:lnTo>
                  <a:lnTo>
                    <a:pt x="2976322" y="202260"/>
                  </a:lnTo>
                  <a:lnTo>
                    <a:pt x="2976322" y="200876"/>
                  </a:lnTo>
                  <a:lnTo>
                    <a:pt x="2976322" y="202260"/>
                  </a:lnTo>
                  <a:lnTo>
                    <a:pt x="2976372" y="202260"/>
                  </a:lnTo>
                  <a:lnTo>
                    <a:pt x="2976372" y="200876"/>
                  </a:lnTo>
                  <a:lnTo>
                    <a:pt x="2976372" y="202260"/>
                  </a:lnTo>
                  <a:lnTo>
                    <a:pt x="2976372" y="200876"/>
                  </a:lnTo>
                  <a:lnTo>
                    <a:pt x="2976372" y="202260"/>
                  </a:lnTo>
                  <a:lnTo>
                    <a:pt x="2976372" y="200876"/>
                  </a:lnTo>
                  <a:lnTo>
                    <a:pt x="2976423" y="200876"/>
                  </a:lnTo>
                  <a:lnTo>
                    <a:pt x="2976423" y="199530"/>
                  </a:lnTo>
                  <a:lnTo>
                    <a:pt x="2976525" y="199530"/>
                  </a:lnTo>
                  <a:lnTo>
                    <a:pt x="2976525" y="197447"/>
                  </a:lnTo>
                  <a:lnTo>
                    <a:pt x="2976525" y="200228"/>
                  </a:lnTo>
                  <a:lnTo>
                    <a:pt x="2976563" y="200228"/>
                  </a:lnTo>
                  <a:lnTo>
                    <a:pt x="2976563" y="197447"/>
                  </a:lnTo>
                  <a:lnTo>
                    <a:pt x="2976563" y="200876"/>
                  </a:lnTo>
                  <a:lnTo>
                    <a:pt x="2976614" y="200876"/>
                  </a:lnTo>
                  <a:lnTo>
                    <a:pt x="2976614" y="199530"/>
                  </a:lnTo>
                  <a:lnTo>
                    <a:pt x="2976614" y="200876"/>
                  </a:lnTo>
                  <a:lnTo>
                    <a:pt x="2976665" y="200876"/>
                  </a:lnTo>
                  <a:lnTo>
                    <a:pt x="2976665" y="200228"/>
                  </a:lnTo>
                  <a:lnTo>
                    <a:pt x="2976665" y="200876"/>
                  </a:lnTo>
                  <a:lnTo>
                    <a:pt x="2976665" y="200228"/>
                  </a:lnTo>
                  <a:lnTo>
                    <a:pt x="2976665" y="200876"/>
                  </a:lnTo>
                  <a:lnTo>
                    <a:pt x="2976665" y="200228"/>
                  </a:lnTo>
                  <a:lnTo>
                    <a:pt x="2976665" y="200876"/>
                  </a:lnTo>
                  <a:lnTo>
                    <a:pt x="2976766" y="200876"/>
                  </a:lnTo>
                  <a:lnTo>
                    <a:pt x="2976766" y="202260"/>
                  </a:lnTo>
                  <a:lnTo>
                    <a:pt x="2976766" y="200876"/>
                  </a:lnTo>
                  <a:lnTo>
                    <a:pt x="2976817" y="200876"/>
                  </a:lnTo>
                  <a:lnTo>
                    <a:pt x="2976817" y="202260"/>
                  </a:lnTo>
                  <a:lnTo>
                    <a:pt x="2976817" y="200876"/>
                  </a:lnTo>
                  <a:lnTo>
                    <a:pt x="2976817" y="202260"/>
                  </a:lnTo>
                  <a:lnTo>
                    <a:pt x="2976817" y="200876"/>
                  </a:lnTo>
                  <a:lnTo>
                    <a:pt x="2976817" y="202260"/>
                  </a:lnTo>
                  <a:lnTo>
                    <a:pt x="2976817" y="200876"/>
                  </a:lnTo>
                  <a:lnTo>
                    <a:pt x="2976868" y="200876"/>
                  </a:lnTo>
                  <a:lnTo>
                    <a:pt x="2976868" y="202260"/>
                  </a:lnTo>
                  <a:lnTo>
                    <a:pt x="2976868" y="200228"/>
                  </a:lnTo>
                  <a:lnTo>
                    <a:pt x="2976969" y="200228"/>
                  </a:lnTo>
                  <a:lnTo>
                    <a:pt x="2976969" y="199530"/>
                  </a:lnTo>
                  <a:lnTo>
                    <a:pt x="2976969" y="200228"/>
                  </a:lnTo>
                  <a:lnTo>
                    <a:pt x="2976969" y="199530"/>
                  </a:lnTo>
                  <a:lnTo>
                    <a:pt x="2976969" y="200228"/>
                  </a:lnTo>
                  <a:lnTo>
                    <a:pt x="2976969" y="198831"/>
                  </a:lnTo>
                  <a:lnTo>
                    <a:pt x="2977020" y="198831"/>
                  </a:lnTo>
                  <a:lnTo>
                    <a:pt x="2977020" y="196113"/>
                  </a:lnTo>
                  <a:lnTo>
                    <a:pt x="2977020" y="196799"/>
                  </a:lnTo>
                  <a:lnTo>
                    <a:pt x="2977020" y="196113"/>
                  </a:lnTo>
                  <a:lnTo>
                    <a:pt x="2977020" y="197447"/>
                  </a:lnTo>
                  <a:lnTo>
                    <a:pt x="2977071" y="197447"/>
                  </a:lnTo>
                  <a:lnTo>
                    <a:pt x="2977071" y="198831"/>
                  </a:lnTo>
                  <a:lnTo>
                    <a:pt x="2977071" y="196113"/>
                  </a:lnTo>
                  <a:lnTo>
                    <a:pt x="2977071" y="196799"/>
                  </a:lnTo>
                  <a:lnTo>
                    <a:pt x="2977071" y="196113"/>
                  </a:lnTo>
                  <a:lnTo>
                    <a:pt x="2977071" y="199530"/>
                  </a:lnTo>
                  <a:lnTo>
                    <a:pt x="2977109" y="199530"/>
                  </a:lnTo>
                  <a:lnTo>
                    <a:pt x="2977109" y="197447"/>
                  </a:lnTo>
                  <a:lnTo>
                    <a:pt x="2977109" y="199530"/>
                  </a:lnTo>
                  <a:lnTo>
                    <a:pt x="2977211" y="198831"/>
                  </a:lnTo>
                  <a:lnTo>
                    <a:pt x="2977211" y="199530"/>
                  </a:lnTo>
                  <a:lnTo>
                    <a:pt x="2977211" y="198831"/>
                  </a:lnTo>
                  <a:lnTo>
                    <a:pt x="2977211" y="200228"/>
                  </a:lnTo>
                  <a:lnTo>
                    <a:pt x="2977262" y="200228"/>
                  </a:lnTo>
                  <a:lnTo>
                    <a:pt x="2977262" y="199530"/>
                  </a:lnTo>
                  <a:lnTo>
                    <a:pt x="2977262" y="200876"/>
                  </a:lnTo>
                  <a:lnTo>
                    <a:pt x="2977262" y="200228"/>
                  </a:lnTo>
                  <a:lnTo>
                    <a:pt x="2977312" y="200228"/>
                  </a:lnTo>
                  <a:lnTo>
                    <a:pt x="2977312" y="200876"/>
                  </a:lnTo>
                  <a:lnTo>
                    <a:pt x="2977312" y="200228"/>
                  </a:lnTo>
                  <a:lnTo>
                    <a:pt x="2977312" y="200876"/>
                  </a:lnTo>
                  <a:lnTo>
                    <a:pt x="2977312" y="200228"/>
                  </a:lnTo>
                  <a:lnTo>
                    <a:pt x="2977312" y="200876"/>
                  </a:lnTo>
                  <a:lnTo>
                    <a:pt x="2977312" y="200228"/>
                  </a:lnTo>
                  <a:lnTo>
                    <a:pt x="2977312" y="200876"/>
                  </a:lnTo>
                  <a:lnTo>
                    <a:pt x="2977312" y="200228"/>
                  </a:lnTo>
                  <a:lnTo>
                    <a:pt x="2977312" y="200876"/>
                  </a:lnTo>
                  <a:lnTo>
                    <a:pt x="2977414" y="200876"/>
                  </a:lnTo>
                  <a:lnTo>
                    <a:pt x="2977414" y="200228"/>
                  </a:lnTo>
                  <a:lnTo>
                    <a:pt x="2977465" y="200876"/>
                  </a:lnTo>
                  <a:lnTo>
                    <a:pt x="2977465" y="200228"/>
                  </a:lnTo>
                  <a:lnTo>
                    <a:pt x="2977465" y="200876"/>
                  </a:lnTo>
                  <a:lnTo>
                    <a:pt x="2977465" y="200228"/>
                  </a:lnTo>
                  <a:lnTo>
                    <a:pt x="2977465" y="200876"/>
                  </a:lnTo>
                  <a:lnTo>
                    <a:pt x="2977465" y="199530"/>
                  </a:lnTo>
                  <a:lnTo>
                    <a:pt x="2977515" y="198831"/>
                  </a:lnTo>
                  <a:lnTo>
                    <a:pt x="2977515" y="197447"/>
                  </a:lnTo>
                  <a:lnTo>
                    <a:pt x="2977566" y="197447"/>
                  </a:lnTo>
                  <a:lnTo>
                    <a:pt x="2977566" y="196113"/>
                  </a:lnTo>
                  <a:lnTo>
                    <a:pt x="2977566" y="198831"/>
                  </a:lnTo>
                  <a:lnTo>
                    <a:pt x="2977655" y="198831"/>
                  </a:lnTo>
                  <a:lnTo>
                    <a:pt x="2977655" y="197447"/>
                  </a:lnTo>
                  <a:lnTo>
                    <a:pt x="2977655" y="198831"/>
                  </a:lnTo>
                  <a:lnTo>
                    <a:pt x="2977655" y="197447"/>
                  </a:lnTo>
                  <a:lnTo>
                    <a:pt x="2977655" y="198831"/>
                  </a:lnTo>
                  <a:lnTo>
                    <a:pt x="2977706" y="198831"/>
                  </a:lnTo>
                  <a:lnTo>
                    <a:pt x="2977706" y="197447"/>
                  </a:lnTo>
                  <a:lnTo>
                    <a:pt x="2977706" y="198831"/>
                  </a:lnTo>
                  <a:lnTo>
                    <a:pt x="2977706" y="197447"/>
                  </a:lnTo>
                  <a:lnTo>
                    <a:pt x="2977706" y="198831"/>
                  </a:lnTo>
                  <a:lnTo>
                    <a:pt x="2977757" y="198831"/>
                  </a:lnTo>
                  <a:lnTo>
                    <a:pt x="2977757" y="199530"/>
                  </a:lnTo>
                  <a:lnTo>
                    <a:pt x="2977757" y="198831"/>
                  </a:lnTo>
                  <a:lnTo>
                    <a:pt x="2977757" y="199530"/>
                  </a:lnTo>
                  <a:lnTo>
                    <a:pt x="2977808" y="199530"/>
                  </a:lnTo>
                  <a:lnTo>
                    <a:pt x="2977808" y="198831"/>
                  </a:lnTo>
                  <a:lnTo>
                    <a:pt x="2977808" y="200228"/>
                  </a:lnTo>
                  <a:lnTo>
                    <a:pt x="2977960" y="200228"/>
                  </a:lnTo>
                  <a:lnTo>
                    <a:pt x="2977960" y="199530"/>
                  </a:lnTo>
                  <a:lnTo>
                    <a:pt x="2978011" y="198831"/>
                  </a:lnTo>
                  <a:lnTo>
                    <a:pt x="2978011" y="197447"/>
                  </a:lnTo>
                  <a:lnTo>
                    <a:pt x="2978011" y="198831"/>
                  </a:lnTo>
                  <a:lnTo>
                    <a:pt x="2978011" y="197447"/>
                  </a:lnTo>
                  <a:lnTo>
                    <a:pt x="2978011" y="199530"/>
                  </a:lnTo>
                  <a:lnTo>
                    <a:pt x="2978011" y="198831"/>
                  </a:lnTo>
                  <a:lnTo>
                    <a:pt x="2978112" y="197447"/>
                  </a:lnTo>
                  <a:lnTo>
                    <a:pt x="2978112" y="198831"/>
                  </a:lnTo>
                  <a:lnTo>
                    <a:pt x="2978112" y="197447"/>
                  </a:lnTo>
                  <a:lnTo>
                    <a:pt x="2978112" y="200228"/>
                  </a:lnTo>
                  <a:lnTo>
                    <a:pt x="2978112" y="199530"/>
                  </a:lnTo>
                  <a:lnTo>
                    <a:pt x="2978151" y="199530"/>
                  </a:lnTo>
                  <a:lnTo>
                    <a:pt x="2978151" y="198831"/>
                  </a:lnTo>
                  <a:lnTo>
                    <a:pt x="2978151" y="200228"/>
                  </a:lnTo>
                  <a:lnTo>
                    <a:pt x="2978151" y="199530"/>
                  </a:lnTo>
                  <a:lnTo>
                    <a:pt x="2978151" y="200228"/>
                  </a:lnTo>
                  <a:lnTo>
                    <a:pt x="2978201" y="200228"/>
                  </a:lnTo>
                  <a:lnTo>
                    <a:pt x="2978201" y="199530"/>
                  </a:lnTo>
                  <a:lnTo>
                    <a:pt x="2978201" y="200228"/>
                  </a:lnTo>
                  <a:lnTo>
                    <a:pt x="2978201" y="199530"/>
                  </a:lnTo>
                  <a:lnTo>
                    <a:pt x="2978201" y="200228"/>
                  </a:lnTo>
                  <a:lnTo>
                    <a:pt x="2978201" y="199530"/>
                  </a:lnTo>
                  <a:lnTo>
                    <a:pt x="2978201" y="200228"/>
                  </a:lnTo>
                  <a:lnTo>
                    <a:pt x="2978201" y="199530"/>
                  </a:lnTo>
                  <a:lnTo>
                    <a:pt x="2978252" y="199530"/>
                  </a:lnTo>
                  <a:lnTo>
                    <a:pt x="2978252" y="200228"/>
                  </a:lnTo>
                  <a:lnTo>
                    <a:pt x="2978252" y="199530"/>
                  </a:lnTo>
                  <a:lnTo>
                    <a:pt x="2978252" y="200228"/>
                  </a:lnTo>
                  <a:lnTo>
                    <a:pt x="2978252" y="199530"/>
                  </a:lnTo>
                  <a:lnTo>
                    <a:pt x="2978252" y="200228"/>
                  </a:lnTo>
                  <a:lnTo>
                    <a:pt x="2978354" y="200228"/>
                  </a:lnTo>
                  <a:lnTo>
                    <a:pt x="2978354" y="199530"/>
                  </a:lnTo>
                  <a:lnTo>
                    <a:pt x="2978354" y="200228"/>
                  </a:lnTo>
                  <a:lnTo>
                    <a:pt x="2978405" y="200876"/>
                  </a:lnTo>
                  <a:lnTo>
                    <a:pt x="2978405" y="200228"/>
                  </a:lnTo>
                  <a:lnTo>
                    <a:pt x="2978405" y="200876"/>
                  </a:lnTo>
                  <a:lnTo>
                    <a:pt x="2978405" y="200228"/>
                  </a:lnTo>
                  <a:lnTo>
                    <a:pt x="2978405" y="200876"/>
                  </a:lnTo>
                  <a:lnTo>
                    <a:pt x="2978405" y="199530"/>
                  </a:lnTo>
                  <a:lnTo>
                    <a:pt x="2978405" y="200228"/>
                  </a:lnTo>
                  <a:lnTo>
                    <a:pt x="2978455" y="200228"/>
                  </a:lnTo>
                  <a:lnTo>
                    <a:pt x="2978455" y="198831"/>
                  </a:lnTo>
                  <a:lnTo>
                    <a:pt x="2978455" y="199530"/>
                  </a:lnTo>
                  <a:lnTo>
                    <a:pt x="2978455" y="197447"/>
                  </a:lnTo>
                  <a:lnTo>
                    <a:pt x="2978557" y="198831"/>
                  </a:lnTo>
                  <a:lnTo>
                    <a:pt x="2978557" y="199530"/>
                  </a:lnTo>
                  <a:lnTo>
                    <a:pt x="2978557" y="198831"/>
                  </a:lnTo>
                  <a:lnTo>
                    <a:pt x="2978557" y="200228"/>
                  </a:lnTo>
                  <a:lnTo>
                    <a:pt x="2978557" y="197447"/>
                  </a:lnTo>
                  <a:lnTo>
                    <a:pt x="2978557" y="198831"/>
                  </a:lnTo>
                  <a:lnTo>
                    <a:pt x="2978608" y="198831"/>
                  </a:lnTo>
                  <a:lnTo>
                    <a:pt x="2978608" y="200876"/>
                  </a:lnTo>
                  <a:lnTo>
                    <a:pt x="2978608" y="200228"/>
                  </a:lnTo>
                  <a:lnTo>
                    <a:pt x="2978658" y="200228"/>
                  </a:lnTo>
                  <a:lnTo>
                    <a:pt x="2978658" y="200876"/>
                  </a:lnTo>
                  <a:lnTo>
                    <a:pt x="2978658" y="200228"/>
                  </a:lnTo>
                  <a:lnTo>
                    <a:pt x="2978658" y="200876"/>
                  </a:lnTo>
                  <a:lnTo>
                    <a:pt x="2978658" y="200228"/>
                  </a:lnTo>
                  <a:lnTo>
                    <a:pt x="2978697" y="200876"/>
                  </a:lnTo>
                  <a:lnTo>
                    <a:pt x="2978697" y="200228"/>
                  </a:lnTo>
                  <a:lnTo>
                    <a:pt x="2978697" y="200876"/>
                  </a:lnTo>
                  <a:lnTo>
                    <a:pt x="2978697" y="200228"/>
                  </a:lnTo>
                  <a:lnTo>
                    <a:pt x="2978697" y="200876"/>
                  </a:lnTo>
                  <a:lnTo>
                    <a:pt x="2978697" y="200228"/>
                  </a:lnTo>
                  <a:lnTo>
                    <a:pt x="2978697" y="200876"/>
                  </a:lnTo>
                  <a:lnTo>
                    <a:pt x="2978697" y="200228"/>
                  </a:lnTo>
                  <a:lnTo>
                    <a:pt x="2978798" y="200228"/>
                  </a:lnTo>
                  <a:lnTo>
                    <a:pt x="2978798" y="200876"/>
                  </a:lnTo>
                  <a:lnTo>
                    <a:pt x="2978798" y="200228"/>
                  </a:lnTo>
                  <a:lnTo>
                    <a:pt x="2978798" y="200876"/>
                  </a:lnTo>
                  <a:lnTo>
                    <a:pt x="2978798" y="200228"/>
                  </a:lnTo>
                  <a:lnTo>
                    <a:pt x="2978798" y="200876"/>
                  </a:lnTo>
                  <a:lnTo>
                    <a:pt x="2978798" y="200228"/>
                  </a:lnTo>
                  <a:lnTo>
                    <a:pt x="2978798" y="200876"/>
                  </a:lnTo>
                  <a:lnTo>
                    <a:pt x="2978798" y="200228"/>
                  </a:lnTo>
                  <a:lnTo>
                    <a:pt x="2978849" y="200228"/>
                  </a:lnTo>
                  <a:lnTo>
                    <a:pt x="2978849" y="199530"/>
                  </a:lnTo>
                  <a:lnTo>
                    <a:pt x="2978849" y="200228"/>
                  </a:lnTo>
                  <a:lnTo>
                    <a:pt x="2978900" y="200876"/>
                  </a:lnTo>
                  <a:lnTo>
                    <a:pt x="2978900" y="199530"/>
                  </a:lnTo>
                  <a:lnTo>
                    <a:pt x="2978900" y="200228"/>
                  </a:lnTo>
                  <a:lnTo>
                    <a:pt x="2978900" y="199530"/>
                  </a:lnTo>
                  <a:lnTo>
                    <a:pt x="2978900" y="200228"/>
                  </a:lnTo>
                  <a:lnTo>
                    <a:pt x="2978900" y="198831"/>
                  </a:lnTo>
                  <a:lnTo>
                    <a:pt x="2978900" y="199530"/>
                  </a:lnTo>
                  <a:lnTo>
                    <a:pt x="2978900" y="198831"/>
                  </a:lnTo>
                  <a:lnTo>
                    <a:pt x="2979001" y="198831"/>
                  </a:lnTo>
                  <a:lnTo>
                    <a:pt x="2979001" y="196799"/>
                  </a:lnTo>
                  <a:lnTo>
                    <a:pt x="2979001" y="197447"/>
                  </a:lnTo>
                  <a:lnTo>
                    <a:pt x="2979001" y="196799"/>
                  </a:lnTo>
                  <a:lnTo>
                    <a:pt x="2979052" y="196799"/>
                  </a:lnTo>
                  <a:lnTo>
                    <a:pt x="2979052" y="199530"/>
                  </a:lnTo>
                  <a:lnTo>
                    <a:pt x="2979052" y="196799"/>
                  </a:lnTo>
                  <a:lnTo>
                    <a:pt x="2979052" y="199530"/>
                  </a:lnTo>
                  <a:lnTo>
                    <a:pt x="2979103" y="199530"/>
                  </a:lnTo>
                  <a:lnTo>
                    <a:pt x="2979103" y="200228"/>
                  </a:lnTo>
                  <a:lnTo>
                    <a:pt x="2979103" y="199530"/>
                  </a:lnTo>
                  <a:lnTo>
                    <a:pt x="2979103" y="200228"/>
                  </a:lnTo>
                  <a:lnTo>
                    <a:pt x="2979103" y="199530"/>
                  </a:lnTo>
                  <a:lnTo>
                    <a:pt x="2979103" y="200876"/>
                  </a:lnTo>
                  <a:lnTo>
                    <a:pt x="2979154" y="200876"/>
                  </a:lnTo>
                  <a:lnTo>
                    <a:pt x="2979154" y="200228"/>
                  </a:lnTo>
                  <a:lnTo>
                    <a:pt x="2979154" y="200876"/>
                  </a:lnTo>
                  <a:lnTo>
                    <a:pt x="2979154" y="199530"/>
                  </a:lnTo>
                  <a:lnTo>
                    <a:pt x="2979154" y="200876"/>
                  </a:lnTo>
                  <a:lnTo>
                    <a:pt x="2979154" y="200228"/>
                  </a:lnTo>
                  <a:lnTo>
                    <a:pt x="2979243" y="200228"/>
                  </a:lnTo>
                  <a:lnTo>
                    <a:pt x="2979243" y="200876"/>
                  </a:lnTo>
                  <a:lnTo>
                    <a:pt x="2979243" y="200228"/>
                  </a:lnTo>
                  <a:lnTo>
                    <a:pt x="2979243" y="200876"/>
                  </a:lnTo>
                  <a:lnTo>
                    <a:pt x="2979294" y="200876"/>
                  </a:lnTo>
                  <a:lnTo>
                    <a:pt x="2979294" y="202260"/>
                  </a:lnTo>
                  <a:lnTo>
                    <a:pt x="2979294" y="200876"/>
                  </a:lnTo>
                  <a:lnTo>
                    <a:pt x="2979294" y="202260"/>
                  </a:lnTo>
                  <a:lnTo>
                    <a:pt x="2979294" y="200876"/>
                  </a:lnTo>
                  <a:lnTo>
                    <a:pt x="2979294" y="202260"/>
                  </a:lnTo>
                  <a:lnTo>
                    <a:pt x="2979344" y="202260"/>
                  </a:lnTo>
                  <a:lnTo>
                    <a:pt x="2979344" y="200228"/>
                  </a:lnTo>
                  <a:lnTo>
                    <a:pt x="2979344" y="200876"/>
                  </a:lnTo>
                  <a:lnTo>
                    <a:pt x="2979395" y="200228"/>
                  </a:lnTo>
                  <a:lnTo>
                    <a:pt x="2979395" y="200876"/>
                  </a:lnTo>
                  <a:lnTo>
                    <a:pt x="2979395" y="200228"/>
                  </a:lnTo>
                  <a:lnTo>
                    <a:pt x="2979395" y="200876"/>
                  </a:lnTo>
                  <a:lnTo>
                    <a:pt x="2979395" y="199530"/>
                  </a:lnTo>
                  <a:lnTo>
                    <a:pt x="2979497" y="198831"/>
                  </a:lnTo>
                  <a:lnTo>
                    <a:pt x="2979497" y="197447"/>
                  </a:lnTo>
                  <a:lnTo>
                    <a:pt x="2979497" y="199530"/>
                  </a:lnTo>
                  <a:lnTo>
                    <a:pt x="2979547" y="199530"/>
                  </a:lnTo>
                  <a:lnTo>
                    <a:pt x="2979547" y="197447"/>
                  </a:lnTo>
                  <a:lnTo>
                    <a:pt x="2979547" y="200228"/>
                  </a:lnTo>
                  <a:lnTo>
                    <a:pt x="2979598" y="200228"/>
                  </a:lnTo>
                  <a:lnTo>
                    <a:pt x="2979598" y="199530"/>
                  </a:lnTo>
                  <a:lnTo>
                    <a:pt x="2979598" y="200876"/>
                  </a:lnTo>
                  <a:lnTo>
                    <a:pt x="2979700" y="200228"/>
                  </a:lnTo>
                  <a:lnTo>
                    <a:pt x="2979700" y="199530"/>
                  </a:lnTo>
                  <a:lnTo>
                    <a:pt x="2979700" y="200876"/>
                  </a:lnTo>
                  <a:lnTo>
                    <a:pt x="2979700" y="200228"/>
                  </a:lnTo>
                  <a:lnTo>
                    <a:pt x="2979700" y="200876"/>
                  </a:lnTo>
                  <a:lnTo>
                    <a:pt x="2979738" y="200876"/>
                  </a:lnTo>
                  <a:lnTo>
                    <a:pt x="2979738" y="200228"/>
                  </a:lnTo>
                  <a:lnTo>
                    <a:pt x="2979738" y="200876"/>
                  </a:lnTo>
                  <a:lnTo>
                    <a:pt x="2979738" y="200228"/>
                  </a:lnTo>
                  <a:lnTo>
                    <a:pt x="2979738" y="200876"/>
                  </a:lnTo>
                  <a:lnTo>
                    <a:pt x="2979789" y="200876"/>
                  </a:lnTo>
                  <a:lnTo>
                    <a:pt x="2979789" y="202260"/>
                  </a:lnTo>
                  <a:lnTo>
                    <a:pt x="2979789" y="200876"/>
                  </a:lnTo>
                  <a:lnTo>
                    <a:pt x="2979789" y="202260"/>
                  </a:lnTo>
                  <a:lnTo>
                    <a:pt x="2979789" y="200876"/>
                  </a:lnTo>
                  <a:lnTo>
                    <a:pt x="2979789" y="202260"/>
                  </a:lnTo>
                  <a:lnTo>
                    <a:pt x="2979789" y="200876"/>
                  </a:lnTo>
                  <a:lnTo>
                    <a:pt x="2979840" y="200876"/>
                  </a:lnTo>
                  <a:lnTo>
                    <a:pt x="2979840" y="200228"/>
                  </a:lnTo>
                  <a:lnTo>
                    <a:pt x="2979840" y="200876"/>
                  </a:lnTo>
                  <a:lnTo>
                    <a:pt x="2979840" y="200228"/>
                  </a:lnTo>
                  <a:lnTo>
                    <a:pt x="2979941" y="200228"/>
                  </a:lnTo>
                  <a:lnTo>
                    <a:pt x="2979941" y="198831"/>
                  </a:lnTo>
                  <a:lnTo>
                    <a:pt x="2979992" y="197447"/>
                  </a:lnTo>
                  <a:lnTo>
                    <a:pt x="2979992" y="198831"/>
                  </a:lnTo>
                  <a:lnTo>
                    <a:pt x="2979992" y="197447"/>
                  </a:lnTo>
                  <a:lnTo>
                    <a:pt x="2979992" y="198831"/>
                  </a:lnTo>
                  <a:lnTo>
                    <a:pt x="2979992" y="196113"/>
                  </a:lnTo>
                  <a:lnTo>
                    <a:pt x="2979992" y="197447"/>
                  </a:lnTo>
                  <a:lnTo>
                    <a:pt x="2980043" y="197447"/>
                  </a:lnTo>
                  <a:lnTo>
                    <a:pt x="2980043" y="196799"/>
                  </a:lnTo>
                  <a:lnTo>
                    <a:pt x="2980043" y="199530"/>
                  </a:lnTo>
                  <a:lnTo>
                    <a:pt x="2980144" y="199530"/>
                  </a:lnTo>
                  <a:lnTo>
                    <a:pt x="2980144" y="197447"/>
                  </a:lnTo>
                  <a:lnTo>
                    <a:pt x="2980144" y="198831"/>
                  </a:lnTo>
                  <a:lnTo>
                    <a:pt x="2980144" y="197447"/>
                  </a:lnTo>
                  <a:lnTo>
                    <a:pt x="2980144" y="200228"/>
                  </a:lnTo>
                  <a:lnTo>
                    <a:pt x="2980195" y="200228"/>
                  </a:lnTo>
                  <a:lnTo>
                    <a:pt x="2980195" y="198831"/>
                  </a:lnTo>
                  <a:lnTo>
                    <a:pt x="2980195" y="199530"/>
                  </a:lnTo>
                  <a:lnTo>
                    <a:pt x="2980195" y="198831"/>
                  </a:lnTo>
                  <a:lnTo>
                    <a:pt x="2980195" y="199530"/>
                  </a:lnTo>
                  <a:lnTo>
                    <a:pt x="2980246" y="199530"/>
                  </a:lnTo>
                  <a:lnTo>
                    <a:pt x="2980246" y="200228"/>
                  </a:lnTo>
                  <a:lnTo>
                    <a:pt x="2980246" y="199530"/>
                  </a:lnTo>
                  <a:lnTo>
                    <a:pt x="2980246" y="200876"/>
                  </a:lnTo>
                  <a:lnTo>
                    <a:pt x="2980246" y="200228"/>
                  </a:lnTo>
                  <a:lnTo>
                    <a:pt x="2980284" y="200228"/>
                  </a:lnTo>
                  <a:lnTo>
                    <a:pt x="2980284" y="200876"/>
                  </a:lnTo>
                  <a:lnTo>
                    <a:pt x="2980284" y="200228"/>
                  </a:lnTo>
                  <a:lnTo>
                    <a:pt x="2980284" y="200876"/>
                  </a:lnTo>
                  <a:lnTo>
                    <a:pt x="2980284" y="200228"/>
                  </a:lnTo>
                  <a:lnTo>
                    <a:pt x="2980284" y="200876"/>
                  </a:lnTo>
                  <a:lnTo>
                    <a:pt x="2980386" y="200876"/>
                  </a:lnTo>
                  <a:lnTo>
                    <a:pt x="2980386" y="202260"/>
                  </a:lnTo>
                  <a:lnTo>
                    <a:pt x="2980386" y="200228"/>
                  </a:lnTo>
                  <a:lnTo>
                    <a:pt x="2980437" y="200228"/>
                  </a:lnTo>
                  <a:lnTo>
                    <a:pt x="2980437" y="199530"/>
                  </a:lnTo>
                  <a:lnTo>
                    <a:pt x="2980437" y="200228"/>
                  </a:lnTo>
                  <a:lnTo>
                    <a:pt x="2980437" y="199530"/>
                  </a:lnTo>
                  <a:lnTo>
                    <a:pt x="2980437" y="200228"/>
                  </a:lnTo>
                  <a:lnTo>
                    <a:pt x="2980437" y="198831"/>
                  </a:lnTo>
                  <a:lnTo>
                    <a:pt x="2980437" y="199530"/>
                  </a:lnTo>
                  <a:lnTo>
                    <a:pt x="2980437" y="198831"/>
                  </a:lnTo>
                  <a:lnTo>
                    <a:pt x="2980487" y="197447"/>
                  </a:lnTo>
                  <a:lnTo>
                    <a:pt x="2980487" y="196799"/>
                  </a:lnTo>
                  <a:lnTo>
                    <a:pt x="2980487" y="197447"/>
                  </a:lnTo>
                  <a:lnTo>
                    <a:pt x="2980487" y="196799"/>
                  </a:lnTo>
                  <a:lnTo>
                    <a:pt x="2980487" y="197447"/>
                  </a:lnTo>
                  <a:lnTo>
                    <a:pt x="2980589" y="197447"/>
                  </a:lnTo>
                  <a:lnTo>
                    <a:pt x="2980589" y="196113"/>
                  </a:lnTo>
                  <a:lnTo>
                    <a:pt x="2980589" y="198831"/>
                  </a:lnTo>
                  <a:lnTo>
                    <a:pt x="2980640" y="198831"/>
                  </a:lnTo>
                  <a:lnTo>
                    <a:pt x="2980640" y="197447"/>
                  </a:lnTo>
                  <a:lnTo>
                    <a:pt x="2980640" y="199530"/>
                  </a:lnTo>
                  <a:lnTo>
                    <a:pt x="2980640" y="198831"/>
                  </a:lnTo>
                  <a:lnTo>
                    <a:pt x="2980690" y="199530"/>
                  </a:lnTo>
                  <a:lnTo>
                    <a:pt x="2980690" y="197447"/>
                  </a:lnTo>
                  <a:lnTo>
                    <a:pt x="2980690" y="198831"/>
                  </a:lnTo>
                  <a:lnTo>
                    <a:pt x="2980741" y="198831"/>
                  </a:lnTo>
                  <a:lnTo>
                    <a:pt x="2980741" y="199530"/>
                  </a:lnTo>
                  <a:lnTo>
                    <a:pt x="2980741" y="198831"/>
                  </a:lnTo>
                  <a:lnTo>
                    <a:pt x="2980741" y="200228"/>
                  </a:lnTo>
                  <a:lnTo>
                    <a:pt x="2980741" y="199530"/>
                  </a:lnTo>
                  <a:lnTo>
                    <a:pt x="2980830" y="199530"/>
                  </a:lnTo>
                  <a:lnTo>
                    <a:pt x="2980830" y="200228"/>
                  </a:lnTo>
                  <a:lnTo>
                    <a:pt x="2980830" y="199530"/>
                  </a:lnTo>
                  <a:lnTo>
                    <a:pt x="2980830" y="200228"/>
                  </a:lnTo>
                  <a:lnTo>
                    <a:pt x="2980830" y="199530"/>
                  </a:lnTo>
                  <a:lnTo>
                    <a:pt x="2980830" y="200228"/>
                  </a:lnTo>
                  <a:lnTo>
                    <a:pt x="2980830" y="199530"/>
                  </a:lnTo>
                  <a:lnTo>
                    <a:pt x="2980830" y="200228"/>
                  </a:lnTo>
                  <a:lnTo>
                    <a:pt x="2980881" y="200228"/>
                  </a:lnTo>
                  <a:lnTo>
                    <a:pt x="2980881" y="199530"/>
                  </a:lnTo>
                  <a:lnTo>
                    <a:pt x="2980881" y="200228"/>
                  </a:lnTo>
                  <a:lnTo>
                    <a:pt x="2980932" y="199530"/>
                  </a:lnTo>
                  <a:lnTo>
                    <a:pt x="2980932" y="197447"/>
                  </a:lnTo>
                  <a:lnTo>
                    <a:pt x="2980983" y="198831"/>
                  </a:lnTo>
                  <a:lnTo>
                    <a:pt x="2980983" y="197447"/>
                  </a:lnTo>
                  <a:lnTo>
                    <a:pt x="2980983" y="199530"/>
                  </a:lnTo>
                  <a:lnTo>
                    <a:pt x="2980983" y="197447"/>
                  </a:lnTo>
                  <a:lnTo>
                    <a:pt x="2980983" y="198831"/>
                  </a:lnTo>
                  <a:lnTo>
                    <a:pt x="2980983" y="197447"/>
                  </a:lnTo>
                  <a:lnTo>
                    <a:pt x="2981084" y="198831"/>
                  </a:lnTo>
                  <a:lnTo>
                    <a:pt x="2981084" y="197447"/>
                  </a:lnTo>
                  <a:lnTo>
                    <a:pt x="2981084" y="200876"/>
                  </a:lnTo>
                  <a:lnTo>
                    <a:pt x="2981084" y="199530"/>
                  </a:lnTo>
                  <a:lnTo>
                    <a:pt x="2981135" y="199530"/>
                  </a:lnTo>
                  <a:lnTo>
                    <a:pt x="2981135" y="200876"/>
                  </a:lnTo>
                  <a:lnTo>
                    <a:pt x="2981135" y="200228"/>
                  </a:lnTo>
                  <a:lnTo>
                    <a:pt x="2981135" y="200876"/>
                  </a:lnTo>
                  <a:lnTo>
                    <a:pt x="2981135" y="199530"/>
                  </a:lnTo>
                  <a:lnTo>
                    <a:pt x="2981135" y="200228"/>
                  </a:lnTo>
                  <a:lnTo>
                    <a:pt x="2981135" y="199530"/>
                  </a:lnTo>
                  <a:lnTo>
                    <a:pt x="2981186" y="200228"/>
                  </a:lnTo>
                  <a:lnTo>
                    <a:pt x="2981186" y="199530"/>
                  </a:lnTo>
                  <a:lnTo>
                    <a:pt x="2981186" y="200228"/>
                  </a:lnTo>
                  <a:lnTo>
                    <a:pt x="2981186" y="199530"/>
                  </a:lnTo>
                  <a:lnTo>
                    <a:pt x="2981186" y="200228"/>
                  </a:lnTo>
                  <a:lnTo>
                    <a:pt x="2981287" y="200228"/>
                  </a:lnTo>
                  <a:lnTo>
                    <a:pt x="2981287" y="200876"/>
                  </a:lnTo>
                  <a:lnTo>
                    <a:pt x="2981287" y="200228"/>
                  </a:lnTo>
                  <a:lnTo>
                    <a:pt x="2981287" y="200876"/>
                  </a:lnTo>
                  <a:lnTo>
                    <a:pt x="2981326" y="200876"/>
                  </a:lnTo>
                  <a:lnTo>
                    <a:pt x="2981326" y="200228"/>
                  </a:lnTo>
                  <a:lnTo>
                    <a:pt x="2981326" y="200876"/>
                  </a:lnTo>
                  <a:lnTo>
                    <a:pt x="2981326" y="200228"/>
                  </a:lnTo>
                  <a:lnTo>
                    <a:pt x="2981326" y="200876"/>
                  </a:lnTo>
                  <a:lnTo>
                    <a:pt x="2981326" y="200228"/>
                  </a:lnTo>
                  <a:lnTo>
                    <a:pt x="2981326" y="200876"/>
                  </a:lnTo>
                  <a:lnTo>
                    <a:pt x="2981376" y="200876"/>
                  </a:lnTo>
                  <a:lnTo>
                    <a:pt x="2981376" y="200228"/>
                  </a:lnTo>
                  <a:lnTo>
                    <a:pt x="2981376" y="200876"/>
                  </a:lnTo>
                  <a:lnTo>
                    <a:pt x="2981376" y="200228"/>
                  </a:lnTo>
                  <a:lnTo>
                    <a:pt x="2981376" y="200876"/>
                  </a:lnTo>
                  <a:lnTo>
                    <a:pt x="2981376" y="200228"/>
                  </a:lnTo>
                  <a:lnTo>
                    <a:pt x="2981427" y="200228"/>
                  </a:lnTo>
                  <a:lnTo>
                    <a:pt x="2981427" y="198831"/>
                  </a:lnTo>
                  <a:lnTo>
                    <a:pt x="2981427" y="199530"/>
                  </a:lnTo>
                  <a:lnTo>
                    <a:pt x="2981427" y="198831"/>
                  </a:lnTo>
                  <a:lnTo>
                    <a:pt x="2981427" y="200228"/>
                  </a:lnTo>
                  <a:lnTo>
                    <a:pt x="2981529" y="200228"/>
                  </a:lnTo>
                  <a:lnTo>
                    <a:pt x="2981529" y="199530"/>
                  </a:lnTo>
                  <a:lnTo>
                    <a:pt x="2981529" y="200228"/>
                  </a:lnTo>
                  <a:lnTo>
                    <a:pt x="2981529" y="199530"/>
                  </a:lnTo>
                  <a:lnTo>
                    <a:pt x="2981529" y="202260"/>
                  </a:lnTo>
                  <a:lnTo>
                    <a:pt x="2981580" y="202959"/>
                  </a:lnTo>
                  <a:lnTo>
                    <a:pt x="2981580" y="200876"/>
                  </a:lnTo>
                  <a:lnTo>
                    <a:pt x="2981580" y="202260"/>
                  </a:lnTo>
                  <a:lnTo>
                    <a:pt x="2981630" y="202260"/>
                  </a:lnTo>
                  <a:lnTo>
                    <a:pt x="2981630" y="200876"/>
                  </a:lnTo>
                  <a:lnTo>
                    <a:pt x="2981630" y="202260"/>
                  </a:lnTo>
                  <a:lnTo>
                    <a:pt x="2981732" y="202260"/>
                  </a:lnTo>
                  <a:lnTo>
                    <a:pt x="2981732" y="200876"/>
                  </a:lnTo>
                  <a:lnTo>
                    <a:pt x="2981732" y="202260"/>
                  </a:lnTo>
                  <a:lnTo>
                    <a:pt x="2981732" y="200876"/>
                  </a:lnTo>
                  <a:lnTo>
                    <a:pt x="2981732" y="202260"/>
                  </a:lnTo>
                  <a:lnTo>
                    <a:pt x="2981732" y="200876"/>
                  </a:lnTo>
                  <a:lnTo>
                    <a:pt x="2981783" y="200876"/>
                  </a:lnTo>
                  <a:lnTo>
                    <a:pt x="2981783" y="202260"/>
                  </a:lnTo>
                  <a:lnTo>
                    <a:pt x="2981783" y="200876"/>
                  </a:lnTo>
                  <a:lnTo>
                    <a:pt x="2981783" y="202260"/>
                  </a:lnTo>
                  <a:lnTo>
                    <a:pt x="2981783" y="200876"/>
                  </a:lnTo>
                  <a:lnTo>
                    <a:pt x="2981783" y="202260"/>
                  </a:lnTo>
                  <a:lnTo>
                    <a:pt x="2981783" y="200876"/>
                  </a:lnTo>
                  <a:lnTo>
                    <a:pt x="2981833" y="200876"/>
                  </a:lnTo>
                  <a:lnTo>
                    <a:pt x="2981833" y="200228"/>
                  </a:lnTo>
                  <a:lnTo>
                    <a:pt x="2981833" y="200876"/>
                  </a:lnTo>
                  <a:lnTo>
                    <a:pt x="2981833" y="200228"/>
                  </a:lnTo>
                  <a:lnTo>
                    <a:pt x="2981872" y="200228"/>
                  </a:lnTo>
                  <a:lnTo>
                    <a:pt x="2981872" y="199530"/>
                  </a:lnTo>
                  <a:lnTo>
                    <a:pt x="2981872" y="200228"/>
                  </a:lnTo>
                  <a:lnTo>
                    <a:pt x="2981872" y="199530"/>
                  </a:lnTo>
                  <a:lnTo>
                    <a:pt x="2981872" y="200228"/>
                  </a:lnTo>
                  <a:lnTo>
                    <a:pt x="2981872" y="198831"/>
                  </a:lnTo>
                  <a:lnTo>
                    <a:pt x="2981973" y="198831"/>
                  </a:lnTo>
                  <a:lnTo>
                    <a:pt x="2981973" y="197447"/>
                  </a:lnTo>
                  <a:lnTo>
                    <a:pt x="2981973" y="198831"/>
                  </a:lnTo>
                  <a:lnTo>
                    <a:pt x="2981973" y="196799"/>
                  </a:lnTo>
                  <a:lnTo>
                    <a:pt x="2981973" y="198831"/>
                  </a:lnTo>
                  <a:lnTo>
                    <a:pt x="2982024" y="198831"/>
                  </a:lnTo>
                  <a:lnTo>
                    <a:pt x="2982024" y="197447"/>
                  </a:lnTo>
                  <a:lnTo>
                    <a:pt x="2982024" y="200228"/>
                  </a:lnTo>
                  <a:lnTo>
                    <a:pt x="2982075" y="200228"/>
                  </a:lnTo>
                  <a:lnTo>
                    <a:pt x="2982075" y="198831"/>
                  </a:lnTo>
                  <a:lnTo>
                    <a:pt x="2982075" y="200228"/>
                  </a:lnTo>
                  <a:lnTo>
                    <a:pt x="2982176" y="200228"/>
                  </a:lnTo>
                  <a:lnTo>
                    <a:pt x="2982176" y="199530"/>
                  </a:lnTo>
                  <a:lnTo>
                    <a:pt x="2982176" y="200228"/>
                  </a:lnTo>
                  <a:lnTo>
                    <a:pt x="2982176" y="199530"/>
                  </a:lnTo>
                  <a:lnTo>
                    <a:pt x="2982176" y="200876"/>
                  </a:lnTo>
                  <a:lnTo>
                    <a:pt x="2982227" y="200228"/>
                  </a:lnTo>
                  <a:lnTo>
                    <a:pt x="2982227" y="200876"/>
                  </a:lnTo>
                  <a:lnTo>
                    <a:pt x="2982227" y="200228"/>
                  </a:lnTo>
                  <a:lnTo>
                    <a:pt x="2982227" y="202260"/>
                  </a:lnTo>
                  <a:lnTo>
                    <a:pt x="2982227" y="200876"/>
                  </a:lnTo>
                  <a:lnTo>
                    <a:pt x="2982278" y="202260"/>
                  </a:lnTo>
                  <a:lnTo>
                    <a:pt x="2982278" y="200876"/>
                  </a:lnTo>
                  <a:lnTo>
                    <a:pt x="2982278" y="202260"/>
                  </a:lnTo>
                  <a:lnTo>
                    <a:pt x="2982329" y="202260"/>
                  </a:lnTo>
                  <a:lnTo>
                    <a:pt x="2982329" y="200876"/>
                  </a:lnTo>
                  <a:lnTo>
                    <a:pt x="2982329" y="202260"/>
                  </a:lnTo>
                  <a:lnTo>
                    <a:pt x="2982329" y="200876"/>
                  </a:lnTo>
                  <a:lnTo>
                    <a:pt x="2982329" y="202260"/>
                  </a:lnTo>
                  <a:lnTo>
                    <a:pt x="2982329" y="200228"/>
                  </a:lnTo>
                  <a:lnTo>
                    <a:pt x="2982329" y="200876"/>
                  </a:lnTo>
                  <a:lnTo>
                    <a:pt x="2982418" y="200228"/>
                  </a:lnTo>
                  <a:lnTo>
                    <a:pt x="2982418" y="199530"/>
                  </a:lnTo>
                  <a:lnTo>
                    <a:pt x="2982469" y="199530"/>
                  </a:lnTo>
                  <a:lnTo>
                    <a:pt x="2982469" y="196799"/>
                  </a:lnTo>
                  <a:lnTo>
                    <a:pt x="2982469" y="199530"/>
                  </a:lnTo>
                  <a:lnTo>
                    <a:pt x="2982469" y="198831"/>
                  </a:lnTo>
                  <a:lnTo>
                    <a:pt x="2982519" y="199530"/>
                  </a:lnTo>
                  <a:lnTo>
                    <a:pt x="2982519" y="197447"/>
                  </a:lnTo>
                  <a:lnTo>
                    <a:pt x="2982519" y="200228"/>
                  </a:lnTo>
                  <a:lnTo>
                    <a:pt x="2982570" y="200228"/>
                  </a:lnTo>
                  <a:lnTo>
                    <a:pt x="2982570" y="198831"/>
                  </a:lnTo>
                  <a:lnTo>
                    <a:pt x="2982570" y="200228"/>
                  </a:lnTo>
                  <a:lnTo>
                    <a:pt x="2982570" y="199530"/>
                  </a:lnTo>
                  <a:lnTo>
                    <a:pt x="2982570" y="200228"/>
                  </a:lnTo>
                  <a:lnTo>
                    <a:pt x="2982672" y="199530"/>
                  </a:lnTo>
                  <a:lnTo>
                    <a:pt x="2982672" y="200228"/>
                  </a:lnTo>
                  <a:lnTo>
                    <a:pt x="2982672" y="199530"/>
                  </a:lnTo>
                  <a:lnTo>
                    <a:pt x="2982672" y="200876"/>
                  </a:lnTo>
                  <a:lnTo>
                    <a:pt x="2982672" y="200228"/>
                  </a:lnTo>
                  <a:lnTo>
                    <a:pt x="2982722" y="200228"/>
                  </a:lnTo>
                  <a:lnTo>
                    <a:pt x="2982722" y="200876"/>
                  </a:lnTo>
                  <a:lnTo>
                    <a:pt x="2982722" y="200228"/>
                  </a:lnTo>
                  <a:lnTo>
                    <a:pt x="2982722" y="200876"/>
                  </a:lnTo>
                  <a:lnTo>
                    <a:pt x="2982773" y="200876"/>
                  </a:lnTo>
                  <a:lnTo>
                    <a:pt x="2982773" y="202260"/>
                  </a:lnTo>
                  <a:lnTo>
                    <a:pt x="2982773" y="200876"/>
                  </a:lnTo>
                  <a:lnTo>
                    <a:pt x="2982773" y="202260"/>
                  </a:lnTo>
                  <a:lnTo>
                    <a:pt x="2982773" y="200876"/>
                  </a:lnTo>
                  <a:lnTo>
                    <a:pt x="2982875" y="200876"/>
                  </a:lnTo>
                  <a:lnTo>
                    <a:pt x="2982875" y="200228"/>
                  </a:lnTo>
                  <a:lnTo>
                    <a:pt x="2982875" y="202260"/>
                  </a:lnTo>
                  <a:lnTo>
                    <a:pt x="2982875" y="200228"/>
                  </a:lnTo>
                  <a:lnTo>
                    <a:pt x="2982913" y="200228"/>
                  </a:lnTo>
                  <a:lnTo>
                    <a:pt x="2982913" y="198831"/>
                  </a:lnTo>
                  <a:lnTo>
                    <a:pt x="2982913" y="199530"/>
                  </a:lnTo>
                  <a:lnTo>
                    <a:pt x="2982913" y="197447"/>
                  </a:lnTo>
                  <a:lnTo>
                    <a:pt x="2982964" y="197447"/>
                  </a:lnTo>
                  <a:lnTo>
                    <a:pt x="2982964" y="196799"/>
                  </a:lnTo>
                  <a:lnTo>
                    <a:pt x="2982964" y="197447"/>
                  </a:lnTo>
                  <a:lnTo>
                    <a:pt x="2982964" y="196799"/>
                  </a:lnTo>
                  <a:lnTo>
                    <a:pt x="2982964" y="197447"/>
                  </a:lnTo>
                  <a:lnTo>
                    <a:pt x="2982964" y="196799"/>
                  </a:lnTo>
                  <a:lnTo>
                    <a:pt x="2982964" y="198831"/>
                  </a:lnTo>
                  <a:lnTo>
                    <a:pt x="2983015" y="198831"/>
                  </a:lnTo>
                  <a:lnTo>
                    <a:pt x="2983015" y="197447"/>
                  </a:lnTo>
                  <a:lnTo>
                    <a:pt x="2983015" y="198831"/>
                  </a:lnTo>
                  <a:lnTo>
                    <a:pt x="2983015" y="196799"/>
                  </a:lnTo>
                  <a:lnTo>
                    <a:pt x="2983015" y="197447"/>
                  </a:lnTo>
                  <a:lnTo>
                    <a:pt x="2983015" y="196799"/>
                  </a:lnTo>
                  <a:lnTo>
                    <a:pt x="2983015" y="197447"/>
                  </a:lnTo>
                  <a:lnTo>
                    <a:pt x="2983015" y="196799"/>
                  </a:lnTo>
                  <a:lnTo>
                    <a:pt x="2983015" y="199530"/>
                  </a:lnTo>
                  <a:lnTo>
                    <a:pt x="2983116" y="199530"/>
                  </a:lnTo>
                  <a:lnTo>
                    <a:pt x="2983116" y="197447"/>
                  </a:lnTo>
                  <a:lnTo>
                    <a:pt x="2983116" y="199530"/>
                  </a:lnTo>
                  <a:lnTo>
                    <a:pt x="2983167" y="199530"/>
                  </a:lnTo>
                  <a:lnTo>
                    <a:pt x="2983167" y="198831"/>
                  </a:lnTo>
                  <a:lnTo>
                    <a:pt x="2983167" y="200228"/>
                  </a:lnTo>
                  <a:lnTo>
                    <a:pt x="2983167" y="199530"/>
                  </a:lnTo>
                  <a:lnTo>
                    <a:pt x="2983218" y="199530"/>
                  </a:lnTo>
                  <a:lnTo>
                    <a:pt x="2983218" y="200876"/>
                  </a:lnTo>
                  <a:lnTo>
                    <a:pt x="2983218" y="200228"/>
                  </a:lnTo>
                  <a:lnTo>
                    <a:pt x="2983218" y="200876"/>
                  </a:lnTo>
                  <a:lnTo>
                    <a:pt x="2983319" y="200876"/>
                  </a:lnTo>
                  <a:lnTo>
                    <a:pt x="2983319" y="200228"/>
                  </a:lnTo>
                  <a:lnTo>
                    <a:pt x="2983319" y="202260"/>
                  </a:lnTo>
                  <a:lnTo>
                    <a:pt x="2983319" y="200876"/>
                  </a:lnTo>
                  <a:lnTo>
                    <a:pt x="2983370" y="200876"/>
                  </a:lnTo>
                  <a:lnTo>
                    <a:pt x="2983370" y="202260"/>
                  </a:lnTo>
                  <a:lnTo>
                    <a:pt x="2983370" y="200876"/>
                  </a:lnTo>
                  <a:lnTo>
                    <a:pt x="2983421" y="200876"/>
                  </a:lnTo>
                  <a:lnTo>
                    <a:pt x="2983421" y="199530"/>
                  </a:lnTo>
                  <a:lnTo>
                    <a:pt x="2983421" y="200228"/>
                  </a:lnTo>
                  <a:lnTo>
                    <a:pt x="2983421" y="199530"/>
                  </a:lnTo>
                  <a:lnTo>
                    <a:pt x="2983421" y="200228"/>
                  </a:lnTo>
                  <a:lnTo>
                    <a:pt x="2983459" y="199530"/>
                  </a:lnTo>
                  <a:lnTo>
                    <a:pt x="2983459" y="197447"/>
                  </a:lnTo>
                  <a:lnTo>
                    <a:pt x="2983459" y="199530"/>
                  </a:lnTo>
                  <a:lnTo>
                    <a:pt x="2983459" y="198831"/>
                  </a:lnTo>
                  <a:lnTo>
                    <a:pt x="2983561" y="198831"/>
                  </a:lnTo>
                  <a:lnTo>
                    <a:pt x="2983561" y="196799"/>
                  </a:lnTo>
                  <a:lnTo>
                    <a:pt x="2983561" y="200228"/>
                  </a:lnTo>
                  <a:lnTo>
                    <a:pt x="2983561" y="199530"/>
                  </a:lnTo>
                  <a:lnTo>
                    <a:pt x="2983612" y="199530"/>
                  </a:lnTo>
                  <a:lnTo>
                    <a:pt x="2983612" y="197447"/>
                  </a:lnTo>
                  <a:lnTo>
                    <a:pt x="2983612" y="200228"/>
                  </a:lnTo>
                  <a:lnTo>
                    <a:pt x="2983612" y="199530"/>
                  </a:lnTo>
                  <a:lnTo>
                    <a:pt x="2983662" y="198831"/>
                  </a:lnTo>
                  <a:lnTo>
                    <a:pt x="2983662" y="200228"/>
                  </a:lnTo>
                  <a:lnTo>
                    <a:pt x="2983662" y="199530"/>
                  </a:lnTo>
                  <a:lnTo>
                    <a:pt x="2983764" y="199530"/>
                  </a:lnTo>
                  <a:lnTo>
                    <a:pt x="2983764" y="200228"/>
                  </a:lnTo>
                  <a:lnTo>
                    <a:pt x="2983764" y="199530"/>
                  </a:lnTo>
                  <a:lnTo>
                    <a:pt x="2983764" y="200228"/>
                  </a:lnTo>
                  <a:lnTo>
                    <a:pt x="2983815" y="200228"/>
                  </a:lnTo>
                  <a:lnTo>
                    <a:pt x="2983815" y="200876"/>
                  </a:lnTo>
                  <a:lnTo>
                    <a:pt x="2983815" y="199530"/>
                  </a:lnTo>
                  <a:lnTo>
                    <a:pt x="2983815" y="200228"/>
                  </a:lnTo>
                  <a:lnTo>
                    <a:pt x="2983865" y="200228"/>
                  </a:lnTo>
                  <a:lnTo>
                    <a:pt x="2983865" y="199530"/>
                  </a:lnTo>
                  <a:lnTo>
                    <a:pt x="2983865" y="200228"/>
                  </a:lnTo>
                  <a:lnTo>
                    <a:pt x="2983916" y="199530"/>
                  </a:lnTo>
                  <a:lnTo>
                    <a:pt x="2983916" y="200228"/>
                  </a:lnTo>
                  <a:lnTo>
                    <a:pt x="2983916" y="199530"/>
                  </a:lnTo>
                  <a:lnTo>
                    <a:pt x="2983916" y="200228"/>
                  </a:lnTo>
                  <a:lnTo>
                    <a:pt x="2983916" y="199530"/>
                  </a:lnTo>
                  <a:lnTo>
                    <a:pt x="2984005" y="199530"/>
                  </a:lnTo>
                  <a:lnTo>
                    <a:pt x="2984005" y="198831"/>
                  </a:lnTo>
                  <a:lnTo>
                    <a:pt x="2984005" y="200228"/>
                  </a:lnTo>
                  <a:lnTo>
                    <a:pt x="2984005" y="198831"/>
                  </a:lnTo>
                  <a:lnTo>
                    <a:pt x="2984056" y="198831"/>
                  </a:lnTo>
                  <a:lnTo>
                    <a:pt x="2984056" y="200876"/>
                  </a:lnTo>
                  <a:lnTo>
                    <a:pt x="2984056" y="200228"/>
                  </a:lnTo>
                  <a:lnTo>
                    <a:pt x="2984107" y="200228"/>
                  </a:lnTo>
                  <a:lnTo>
                    <a:pt x="2984107" y="200876"/>
                  </a:lnTo>
                  <a:lnTo>
                    <a:pt x="2984107" y="200228"/>
                  </a:lnTo>
                  <a:lnTo>
                    <a:pt x="2984107" y="200876"/>
                  </a:lnTo>
                  <a:lnTo>
                    <a:pt x="2984107" y="200228"/>
                  </a:lnTo>
                  <a:lnTo>
                    <a:pt x="2984158" y="200876"/>
                  </a:lnTo>
                  <a:lnTo>
                    <a:pt x="2984158" y="200228"/>
                  </a:lnTo>
                  <a:lnTo>
                    <a:pt x="2984158" y="200876"/>
                  </a:lnTo>
                  <a:lnTo>
                    <a:pt x="2984158" y="200228"/>
                  </a:lnTo>
                  <a:lnTo>
                    <a:pt x="2984158" y="200876"/>
                  </a:lnTo>
                  <a:lnTo>
                    <a:pt x="2984259" y="200228"/>
                  </a:lnTo>
                  <a:lnTo>
                    <a:pt x="2984259" y="202260"/>
                  </a:lnTo>
                  <a:lnTo>
                    <a:pt x="2984259" y="200876"/>
                  </a:lnTo>
                  <a:lnTo>
                    <a:pt x="2984259" y="202260"/>
                  </a:lnTo>
                  <a:lnTo>
                    <a:pt x="2984259" y="200876"/>
                  </a:lnTo>
                  <a:lnTo>
                    <a:pt x="2984310" y="202260"/>
                  </a:lnTo>
                  <a:lnTo>
                    <a:pt x="2984310" y="200228"/>
                  </a:lnTo>
                  <a:lnTo>
                    <a:pt x="2984310" y="200876"/>
                  </a:lnTo>
                  <a:lnTo>
                    <a:pt x="2984361" y="200876"/>
                  </a:lnTo>
                  <a:lnTo>
                    <a:pt x="2984361" y="199530"/>
                  </a:lnTo>
                  <a:lnTo>
                    <a:pt x="2984462" y="199530"/>
                  </a:lnTo>
                  <a:lnTo>
                    <a:pt x="2984462" y="200228"/>
                  </a:lnTo>
                  <a:lnTo>
                    <a:pt x="2984462" y="199530"/>
                  </a:lnTo>
                  <a:lnTo>
                    <a:pt x="2984462" y="200228"/>
                  </a:lnTo>
                  <a:lnTo>
                    <a:pt x="2984462" y="199530"/>
                  </a:lnTo>
                  <a:lnTo>
                    <a:pt x="2984462" y="200228"/>
                  </a:lnTo>
                  <a:lnTo>
                    <a:pt x="2984462" y="199530"/>
                  </a:lnTo>
                  <a:lnTo>
                    <a:pt x="2984501" y="200228"/>
                  </a:lnTo>
                  <a:lnTo>
                    <a:pt x="2984501" y="200876"/>
                  </a:lnTo>
                  <a:lnTo>
                    <a:pt x="2984501" y="199530"/>
                  </a:lnTo>
                  <a:lnTo>
                    <a:pt x="2984501" y="200876"/>
                  </a:lnTo>
                  <a:lnTo>
                    <a:pt x="2984551" y="200876"/>
                  </a:lnTo>
                  <a:lnTo>
                    <a:pt x="2984551" y="202260"/>
                  </a:lnTo>
                  <a:lnTo>
                    <a:pt x="2984551" y="200876"/>
                  </a:lnTo>
                  <a:lnTo>
                    <a:pt x="2984551" y="202260"/>
                  </a:lnTo>
                  <a:lnTo>
                    <a:pt x="2984551" y="200876"/>
                  </a:lnTo>
                  <a:lnTo>
                    <a:pt x="2984551" y="202260"/>
                  </a:lnTo>
                  <a:lnTo>
                    <a:pt x="2984602" y="202260"/>
                  </a:lnTo>
                  <a:lnTo>
                    <a:pt x="2984602" y="202959"/>
                  </a:lnTo>
                  <a:lnTo>
                    <a:pt x="2984704" y="202959"/>
                  </a:lnTo>
                  <a:lnTo>
                    <a:pt x="2984704" y="202260"/>
                  </a:lnTo>
                  <a:lnTo>
                    <a:pt x="2984755" y="202260"/>
                  </a:lnTo>
                  <a:lnTo>
                    <a:pt x="2984755" y="200876"/>
                  </a:lnTo>
                  <a:lnTo>
                    <a:pt x="2984755" y="202260"/>
                  </a:lnTo>
                  <a:lnTo>
                    <a:pt x="2984755" y="200876"/>
                  </a:lnTo>
                  <a:lnTo>
                    <a:pt x="2984755" y="202260"/>
                  </a:lnTo>
                  <a:lnTo>
                    <a:pt x="2984755" y="200876"/>
                  </a:lnTo>
                  <a:lnTo>
                    <a:pt x="2984805" y="202260"/>
                  </a:lnTo>
                  <a:lnTo>
                    <a:pt x="2984805" y="200228"/>
                  </a:lnTo>
                  <a:lnTo>
                    <a:pt x="2984805" y="200876"/>
                  </a:lnTo>
                  <a:lnTo>
                    <a:pt x="2984805" y="200228"/>
                  </a:lnTo>
                  <a:lnTo>
                    <a:pt x="2984907" y="200228"/>
                  </a:lnTo>
                  <a:lnTo>
                    <a:pt x="2984907" y="199530"/>
                  </a:lnTo>
                  <a:lnTo>
                    <a:pt x="2984907" y="200228"/>
                  </a:lnTo>
                  <a:lnTo>
                    <a:pt x="2984907" y="198831"/>
                  </a:lnTo>
                  <a:lnTo>
                    <a:pt x="2984958" y="198831"/>
                  </a:lnTo>
                  <a:lnTo>
                    <a:pt x="2984958" y="197447"/>
                  </a:lnTo>
                  <a:lnTo>
                    <a:pt x="2984958" y="198831"/>
                  </a:lnTo>
                  <a:lnTo>
                    <a:pt x="2984958" y="197447"/>
                  </a:lnTo>
                  <a:lnTo>
                    <a:pt x="2984958" y="199530"/>
                  </a:lnTo>
                  <a:lnTo>
                    <a:pt x="2984958" y="198831"/>
                  </a:lnTo>
                  <a:lnTo>
                    <a:pt x="2985008" y="198831"/>
                  </a:lnTo>
                  <a:lnTo>
                    <a:pt x="2985008" y="200876"/>
                  </a:lnTo>
                  <a:lnTo>
                    <a:pt x="2985008" y="200228"/>
                  </a:lnTo>
                  <a:lnTo>
                    <a:pt x="2985047" y="200876"/>
                  </a:lnTo>
                  <a:lnTo>
                    <a:pt x="2985047" y="200228"/>
                  </a:lnTo>
                  <a:lnTo>
                    <a:pt x="2985047" y="200876"/>
                  </a:lnTo>
                  <a:lnTo>
                    <a:pt x="2985148" y="200876"/>
                  </a:lnTo>
                  <a:lnTo>
                    <a:pt x="2985148" y="200228"/>
                  </a:lnTo>
                  <a:lnTo>
                    <a:pt x="2985148" y="202260"/>
                  </a:lnTo>
                  <a:lnTo>
                    <a:pt x="2985148" y="200876"/>
                  </a:lnTo>
                  <a:lnTo>
                    <a:pt x="2985199" y="200876"/>
                  </a:lnTo>
                  <a:lnTo>
                    <a:pt x="2985199" y="202260"/>
                  </a:lnTo>
                  <a:lnTo>
                    <a:pt x="2985199" y="200876"/>
                  </a:lnTo>
                  <a:lnTo>
                    <a:pt x="2985199" y="202260"/>
                  </a:lnTo>
                  <a:lnTo>
                    <a:pt x="2985199" y="200876"/>
                  </a:lnTo>
                  <a:lnTo>
                    <a:pt x="2985199" y="202260"/>
                  </a:lnTo>
                  <a:lnTo>
                    <a:pt x="2985250" y="202260"/>
                  </a:lnTo>
                  <a:lnTo>
                    <a:pt x="2985250" y="200876"/>
                  </a:lnTo>
                  <a:lnTo>
                    <a:pt x="2985250" y="202260"/>
                  </a:lnTo>
                  <a:lnTo>
                    <a:pt x="2985351" y="202260"/>
                  </a:lnTo>
                  <a:lnTo>
                    <a:pt x="2985351" y="202959"/>
                  </a:lnTo>
                  <a:lnTo>
                    <a:pt x="2985351" y="200876"/>
                  </a:lnTo>
                  <a:lnTo>
                    <a:pt x="2985402" y="200876"/>
                  </a:lnTo>
                  <a:lnTo>
                    <a:pt x="2985402" y="200228"/>
                  </a:lnTo>
                  <a:lnTo>
                    <a:pt x="2985402" y="200876"/>
                  </a:lnTo>
                  <a:lnTo>
                    <a:pt x="2985402" y="199530"/>
                  </a:lnTo>
                  <a:lnTo>
                    <a:pt x="2985453" y="199530"/>
                  </a:lnTo>
                  <a:lnTo>
                    <a:pt x="2985453" y="198831"/>
                  </a:lnTo>
                  <a:lnTo>
                    <a:pt x="2985453" y="200228"/>
                  </a:lnTo>
                  <a:lnTo>
                    <a:pt x="2985453" y="198831"/>
                  </a:lnTo>
                  <a:lnTo>
                    <a:pt x="2985453" y="199530"/>
                  </a:lnTo>
                  <a:lnTo>
                    <a:pt x="2985453" y="198831"/>
                  </a:lnTo>
                  <a:lnTo>
                    <a:pt x="2985504" y="199530"/>
                  </a:lnTo>
                  <a:lnTo>
                    <a:pt x="2985504" y="202260"/>
                  </a:lnTo>
                  <a:lnTo>
                    <a:pt x="2985504" y="200228"/>
                  </a:lnTo>
                  <a:lnTo>
                    <a:pt x="2985593" y="200228"/>
                  </a:lnTo>
                  <a:lnTo>
                    <a:pt x="2985593" y="202260"/>
                  </a:lnTo>
                  <a:lnTo>
                    <a:pt x="2985593" y="200876"/>
                  </a:lnTo>
                  <a:lnTo>
                    <a:pt x="2985593" y="202260"/>
                  </a:lnTo>
                  <a:lnTo>
                    <a:pt x="2985593" y="200876"/>
                  </a:lnTo>
                  <a:lnTo>
                    <a:pt x="2985593" y="202260"/>
                  </a:lnTo>
                  <a:lnTo>
                    <a:pt x="2985694" y="202260"/>
                  </a:lnTo>
                  <a:lnTo>
                    <a:pt x="2985745" y="202959"/>
                  </a:lnTo>
                  <a:lnTo>
                    <a:pt x="2985745" y="202260"/>
                  </a:lnTo>
                  <a:lnTo>
                    <a:pt x="2985745" y="202959"/>
                  </a:lnTo>
                  <a:lnTo>
                    <a:pt x="2985745" y="200876"/>
                  </a:lnTo>
                  <a:lnTo>
                    <a:pt x="2985745" y="202260"/>
                  </a:lnTo>
                  <a:lnTo>
                    <a:pt x="2985847" y="202260"/>
                  </a:lnTo>
                  <a:lnTo>
                    <a:pt x="2985847" y="200876"/>
                  </a:lnTo>
                  <a:lnTo>
                    <a:pt x="2985847" y="202260"/>
                  </a:lnTo>
                  <a:lnTo>
                    <a:pt x="2985847" y="200228"/>
                  </a:lnTo>
                  <a:lnTo>
                    <a:pt x="2985897" y="200228"/>
                  </a:lnTo>
                  <a:lnTo>
                    <a:pt x="2985897" y="199530"/>
                  </a:lnTo>
                  <a:lnTo>
                    <a:pt x="2985897" y="200228"/>
                  </a:lnTo>
                  <a:lnTo>
                    <a:pt x="2985897" y="198831"/>
                  </a:lnTo>
                  <a:lnTo>
                    <a:pt x="2985948" y="198831"/>
                  </a:lnTo>
                  <a:lnTo>
                    <a:pt x="2985948" y="199530"/>
                  </a:lnTo>
                  <a:lnTo>
                    <a:pt x="2985948" y="197447"/>
                  </a:lnTo>
                  <a:lnTo>
                    <a:pt x="2985948" y="198831"/>
                  </a:lnTo>
                  <a:lnTo>
                    <a:pt x="2986050" y="199530"/>
                  </a:lnTo>
                  <a:lnTo>
                    <a:pt x="2986050" y="200876"/>
                  </a:lnTo>
                  <a:lnTo>
                    <a:pt x="2986050" y="200228"/>
                  </a:lnTo>
                  <a:lnTo>
                    <a:pt x="2986050" y="200876"/>
                  </a:lnTo>
                  <a:lnTo>
                    <a:pt x="2986050" y="200228"/>
                  </a:lnTo>
                  <a:lnTo>
                    <a:pt x="2986050" y="200876"/>
                  </a:lnTo>
                  <a:lnTo>
                    <a:pt x="2986050" y="200228"/>
                  </a:lnTo>
                  <a:lnTo>
                    <a:pt x="2986088" y="200228"/>
                  </a:lnTo>
                  <a:lnTo>
                    <a:pt x="2986088" y="202260"/>
                  </a:lnTo>
                  <a:lnTo>
                    <a:pt x="2986088" y="200228"/>
                  </a:lnTo>
                  <a:lnTo>
                    <a:pt x="2986088" y="200876"/>
                  </a:lnTo>
                  <a:lnTo>
                    <a:pt x="2986088" y="200228"/>
                  </a:lnTo>
                  <a:lnTo>
                    <a:pt x="2986088" y="200876"/>
                  </a:lnTo>
                  <a:lnTo>
                    <a:pt x="2986139" y="200876"/>
                  </a:lnTo>
                  <a:lnTo>
                    <a:pt x="2986139" y="202260"/>
                  </a:lnTo>
                  <a:lnTo>
                    <a:pt x="2986139" y="200228"/>
                  </a:lnTo>
                  <a:lnTo>
                    <a:pt x="2986139" y="200876"/>
                  </a:lnTo>
                  <a:lnTo>
                    <a:pt x="2986190" y="202260"/>
                  </a:lnTo>
                  <a:lnTo>
                    <a:pt x="2986190" y="200876"/>
                  </a:lnTo>
                  <a:lnTo>
                    <a:pt x="2986190" y="202260"/>
                  </a:lnTo>
                  <a:lnTo>
                    <a:pt x="2986190" y="200876"/>
                  </a:lnTo>
                  <a:lnTo>
                    <a:pt x="2986190" y="202260"/>
                  </a:lnTo>
                  <a:lnTo>
                    <a:pt x="2986190" y="200876"/>
                  </a:lnTo>
                  <a:lnTo>
                    <a:pt x="2986190" y="202260"/>
                  </a:lnTo>
                  <a:lnTo>
                    <a:pt x="2986291" y="202260"/>
                  </a:lnTo>
                  <a:lnTo>
                    <a:pt x="2986291" y="200876"/>
                  </a:lnTo>
                  <a:lnTo>
                    <a:pt x="2986291" y="202959"/>
                  </a:lnTo>
                  <a:lnTo>
                    <a:pt x="2986342" y="202959"/>
                  </a:lnTo>
                  <a:lnTo>
                    <a:pt x="2986342" y="200228"/>
                  </a:lnTo>
                  <a:lnTo>
                    <a:pt x="2986342" y="200876"/>
                  </a:lnTo>
                  <a:lnTo>
                    <a:pt x="2986393" y="200876"/>
                  </a:lnTo>
                  <a:lnTo>
                    <a:pt x="2986393" y="199530"/>
                  </a:lnTo>
                  <a:lnTo>
                    <a:pt x="2986393" y="200228"/>
                  </a:lnTo>
                  <a:lnTo>
                    <a:pt x="2986393" y="198831"/>
                  </a:lnTo>
                  <a:lnTo>
                    <a:pt x="2986393" y="199530"/>
                  </a:lnTo>
                  <a:lnTo>
                    <a:pt x="2986494" y="199530"/>
                  </a:lnTo>
                  <a:lnTo>
                    <a:pt x="2986494" y="198831"/>
                  </a:lnTo>
                  <a:lnTo>
                    <a:pt x="2986494" y="199530"/>
                  </a:lnTo>
                  <a:lnTo>
                    <a:pt x="2986494" y="197447"/>
                  </a:lnTo>
                  <a:lnTo>
                    <a:pt x="2986494" y="200228"/>
                  </a:lnTo>
                  <a:lnTo>
                    <a:pt x="2986545" y="200228"/>
                  </a:lnTo>
                  <a:lnTo>
                    <a:pt x="2986545" y="199530"/>
                  </a:lnTo>
                  <a:lnTo>
                    <a:pt x="2986545" y="200876"/>
                  </a:lnTo>
                  <a:lnTo>
                    <a:pt x="2986596" y="200228"/>
                  </a:lnTo>
                  <a:lnTo>
                    <a:pt x="2986596" y="199530"/>
                  </a:lnTo>
                  <a:lnTo>
                    <a:pt x="2986596" y="200228"/>
                  </a:lnTo>
                  <a:lnTo>
                    <a:pt x="2986634" y="200228"/>
                  </a:lnTo>
                  <a:lnTo>
                    <a:pt x="2986634" y="200876"/>
                  </a:lnTo>
                  <a:lnTo>
                    <a:pt x="2986634" y="200228"/>
                  </a:lnTo>
                  <a:lnTo>
                    <a:pt x="2986736" y="200228"/>
                  </a:lnTo>
                  <a:lnTo>
                    <a:pt x="2986736" y="200876"/>
                  </a:lnTo>
                  <a:lnTo>
                    <a:pt x="2986736" y="200228"/>
                  </a:lnTo>
                  <a:lnTo>
                    <a:pt x="2986736" y="200876"/>
                  </a:lnTo>
                  <a:lnTo>
                    <a:pt x="2986787" y="200876"/>
                  </a:lnTo>
                  <a:lnTo>
                    <a:pt x="2986787" y="200228"/>
                  </a:lnTo>
                  <a:lnTo>
                    <a:pt x="2986787" y="200876"/>
                  </a:lnTo>
                  <a:lnTo>
                    <a:pt x="2986787" y="200228"/>
                  </a:lnTo>
                  <a:lnTo>
                    <a:pt x="2986837" y="200228"/>
                  </a:lnTo>
                  <a:lnTo>
                    <a:pt x="2986837" y="200876"/>
                  </a:lnTo>
                  <a:lnTo>
                    <a:pt x="2986837" y="199530"/>
                  </a:lnTo>
                  <a:lnTo>
                    <a:pt x="2986837" y="200228"/>
                  </a:lnTo>
                  <a:lnTo>
                    <a:pt x="2986837" y="199530"/>
                  </a:lnTo>
                  <a:lnTo>
                    <a:pt x="2986837" y="200228"/>
                  </a:lnTo>
                  <a:lnTo>
                    <a:pt x="2986837" y="199530"/>
                  </a:lnTo>
                  <a:lnTo>
                    <a:pt x="2986939" y="198831"/>
                  </a:lnTo>
                  <a:lnTo>
                    <a:pt x="2986939" y="199530"/>
                  </a:lnTo>
                  <a:lnTo>
                    <a:pt x="2986939" y="198831"/>
                  </a:lnTo>
                  <a:lnTo>
                    <a:pt x="2986939" y="199530"/>
                  </a:lnTo>
                  <a:lnTo>
                    <a:pt x="2986939" y="198831"/>
                  </a:lnTo>
                  <a:lnTo>
                    <a:pt x="2986990" y="198831"/>
                  </a:lnTo>
                  <a:lnTo>
                    <a:pt x="2986990" y="197447"/>
                  </a:lnTo>
                  <a:lnTo>
                    <a:pt x="2986990" y="202260"/>
                  </a:lnTo>
                  <a:lnTo>
                    <a:pt x="2986990" y="200228"/>
                  </a:lnTo>
                  <a:lnTo>
                    <a:pt x="2987040" y="200228"/>
                  </a:lnTo>
                  <a:lnTo>
                    <a:pt x="2987040" y="202260"/>
                  </a:lnTo>
                  <a:lnTo>
                    <a:pt x="2987040" y="200876"/>
                  </a:lnTo>
                  <a:lnTo>
                    <a:pt x="2987040" y="202260"/>
                  </a:lnTo>
                  <a:lnTo>
                    <a:pt x="2987040" y="200876"/>
                  </a:lnTo>
                  <a:lnTo>
                    <a:pt x="2987091" y="200876"/>
                  </a:lnTo>
                  <a:lnTo>
                    <a:pt x="2987091" y="202260"/>
                  </a:lnTo>
                  <a:lnTo>
                    <a:pt x="2987091" y="200876"/>
                  </a:lnTo>
                  <a:lnTo>
                    <a:pt x="2987180" y="200876"/>
                  </a:lnTo>
                  <a:lnTo>
                    <a:pt x="2987180" y="202260"/>
                  </a:lnTo>
                  <a:lnTo>
                    <a:pt x="2987180" y="200876"/>
                  </a:lnTo>
                  <a:lnTo>
                    <a:pt x="2987231" y="200876"/>
                  </a:lnTo>
                  <a:lnTo>
                    <a:pt x="2987231" y="202260"/>
                  </a:lnTo>
                  <a:lnTo>
                    <a:pt x="2987231" y="200876"/>
                  </a:lnTo>
                  <a:lnTo>
                    <a:pt x="2987231" y="202260"/>
                  </a:lnTo>
                  <a:lnTo>
                    <a:pt x="2987231" y="200876"/>
                  </a:lnTo>
                  <a:lnTo>
                    <a:pt x="2987282" y="200876"/>
                  </a:lnTo>
                  <a:lnTo>
                    <a:pt x="2987282" y="202260"/>
                  </a:lnTo>
                  <a:lnTo>
                    <a:pt x="2987282" y="200876"/>
                  </a:lnTo>
                  <a:lnTo>
                    <a:pt x="2987282" y="202260"/>
                  </a:lnTo>
                  <a:lnTo>
                    <a:pt x="2987282" y="200876"/>
                  </a:lnTo>
                  <a:lnTo>
                    <a:pt x="2987333" y="200876"/>
                  </a:lnTo>
                  <a:lnTo>
                    <a:pt x="2987333" y="199530"/>
                  </a:lnTo>
                  <a:lnTo>
                    <a:pt x="2987333" y="200228"/>
                  </a:lnTo>
                  <a:lnTo>
                    <a:pt x="2987333" y="198831"/>
                  </a:lnTo>
                  <a:lnTo>
                    <a:pt x="2987434" y="198831"/>
                  </a:lnTo>
                  <a:lnTo>
                    <a:pt x="2987434" y="200876"/>
                  </a:lnTo>
                  <a:lnTo>
                    <a:pt x="2987434" y="198831"/>
                  </a:lnTo>
                  <a:lnTo>
                    <a:pt x="2987434" y="199530"/>
                  </a:lnTo>
                  <a:lnTo>
                    <a:pt x="2987485" y="199530"/>
                  </a:lnTo>
                  <a:lnTo>
                    <a:pt x="2987485" y="202959"/>
                  </a:lnTo>
                  <a:lnTo>
                    <a:pt x="2987485" y="200228"/>
                  </a:lnTo>
                  <a:lnTo>
                    <a:pt x="2987485" y="200876"/>
                  </a:lnTo>
                  <a:lnTo>
                    <a:pt x="2987536" y="202260"/>
                  </a:lnTo>
                  <a:lnTo>
                    <a:pt x="2987536" y="200876"/>
                  </a:lnTo>
                  <a:lnTo>
                    <a:pt x="2987536" y="202260"/>
                  </a:lnTo>
                  <a:lnTo>
                    <a:pt x="2987637" y="202260"/>
                  </a:lnTo>
                  <a:lnTo>
                    <a:pt x="2987637" y="202959"/>
                  </a:lnTo>
                  <a:lnTo>
                    <a:pt x="2987637" y="200876"/>
                  </a:lnTo>
                  <a:lnTo>
                    <a:pt x="2987637" y="202260"/>
                  </a:lnTo>
                  <a:lnTo>
                    <a:pt x="2987676" y="200876"/>
                  </a:lnTo>
                  <a:lnTo>
                    <a:pt x="2987676" y="202959"/>
                  </a:lnTo>
                  <a:lnTo>
                    <a:pt x="2987676" y="202260"/>
                  </a:lnTo>
                  <a:lnTo>
                    <a:pt x="2987676" y="202959"/>
                  </a:lnTo>
                  <a:lnTo>
                    <a:pt x="2987676" y="202260"/>
                  </a:lnTo>
                  <a:lnTo>
                    <a:pt x="2987726" y="202260"/>
                  </a:lnTo>
                  <a:lnTo>
                    <a:pt x="2987726" y="200876"/>
                  </a:lnTo>
                  <a:lnTo>
                    <a:pt x="2987726" y="202260"/>
                  </a:lnTo>
                  <a:lnTo>
                    <a:pt x="2987726" y="200876"/>
                  </a:lnTo>
                  <a:lnTo>
                    <a:pt x="2987777" y="200876"/>
                  </a:lnTo>
                  <a:lnTo>
                    <a:pt x="2987777" y="200228"/>
                  </a:lnTo>
                  <a:lnTo>
                    <a:pt x="2987879" y="200228"/>
                  </a:lnTo>
                  <a:lnTo>
                    <a:pt x="2987879" y="197447"/>
                  </a:lnTo>
                  <a:lnTo>
                    <a:pt x="2987879" y="198831"/>
                  </a:lnTo>
                  <a:lnTo>
                    <a:pt x="2987930" y="198831"/>
                  </a:lnTo>
                  <a:lnTo>
                    <a:pt x="2987930" y="200228"/>
                  </a:lnTo>
                  <a:lnTo>
                    <a:pt x="2987930" y="198831"/>
                  </a:lnTo>
                  <a:lnTo>
                    <a:pt x="2987930" y="200876"/>
                  </a:lnTo>
                  <a:lnTo>
                    <a:pt x="2987980" y="200876"/>
                  </a:lnTo>
                  <a:lnTo>
                    <a:pt x="2987980" y="202260"/>
                  </a:lnTo>
                  <a:lnTo>
                    <a:pt x="2987980" y="200228"/>
                  </a:lnTo>
                  <a:lnTo>
                    <a:pt x="2987980" y="202260"/>
                  </a:lnTo>
                  <a:lnTo>
                    <a:pt x="2988082" y="202260"/>
                  </a:lnTo>
                  <a:lnTo>
                    <a:pt x="2988082" y="200876"/>
                  </a:lnTo>
                  <a:lnTo>
                    <a:pt x="2988082" y="202260"/>
                  </a:lnTo>
                  <a:lnTo>
                    <a:pt x="2988133" y="202260"/>
                  </a:lnTo>
                  <a:lnTo>
                    <a:pt x="2988133" y="200876"/>
                  </a:lnTo>
                  <a:lnTo>
                    <a:pt x="2988133" y="202260"/>
                  </a:lnTo>
                  <a:lnTo>
                    <a:pt x="2988133" y="200876"/>
                  </a:lnTo>
                  <a:lnTo>
                    <a:pt x="2988133" y="202260"/>
                  </a:lnTo>
                  <a:lnTo>
                    <a:pt x="2988183" y="202260"/>
                  </a:lnTo>
                  <a:lnTo>
                    <a:pt x="2988183" y="200876"/>
                  </a:lnTo>
                  <a:lnTo>
                    <a:pt x="2988183" y="202260"/>
                  </a:lnTo>
                  <a:lnTo>
                    <a:pt x="2988222" y="202260"/>
                  </a:lnTo>
                  <a:lnTo>
                    <a:pt x="2988222" y="200876"/>
                  </a:lnTo>
                  <a:lnTo>
                    <a:pt x="2988222" y="202260"/>
                  </a:lnTo>
                  <a:lnTo>
                    <a:pt x="2988222" y="200876"/>
                  </a:lnTo>
                  <a:lnTo>
                    <a:pt x="2988222" y="202260"/>
                  </a:lnTo>
                  <a:lnTo>
                    <a:pt x="2988323" y="200876"/>
                  </a:lnTo>
                  <a:lnTo>
                    <a:pt x="2988323" y="202260"/>
                  </a:lnTo>
                  <a:lnTo>
                    <a:pt x="2988323" y="200876"/>
                  </a:lnTo>
                  <a:lnTo>
                    <a:pt x="2988323" y="202260"/>
                  </a:lnTo>
                  <a:lnTo>
                    <a:pt x="2988323" y="199530"/>
                  </a:lnTo>
                  <a:lnTo>
                    <a:pt x="2988374" y="199530"/>
                  </a:lnTo>
                  <a:lnTo>
                    <a:pt x="2988374" y="197447"/>
                  </a:lnTo>
                  <a:lnTo>
                    <a:pt x="2988374" y="200228"/>
                  </a:lnTo>
                  <a:lnTo>
                    <a:pt x="2988425" y="200228"/>
                  </a:lnTo>
                  <a:lnTo>
                    <a:pt x="2988425" y="198831"/>
                  </a:lnTo>
                  <a:lnTo>
                    <a:pt x="2988425" y="202260"/>
                  </a:lnTo>
                  <a:lnTo>
                    <a:pt x="2988425" y="200876"/>
                  </a:lnTo>
                  <a:lnTo>
                    <a:pt x="2988526" y="200228"/>
                  </a:lnTo>
                  <a:lnTo>
                    <a:pt x="2988526" y="199530"/>
                  </a:lnTo>
                  <a:lnTo>
                    <a:pt x="2988526" y="202260"/>
                  </a:lnTo>
                  <a:lnTo>
                    <a:pt x="2988526" y="200876"/>
                  </a:lnTo>
                  <a:lnTo>
                    <a:pt x="2988577" y="200876"/>
                  </a:lnTo>
                  <a:lnTo>
                    <a:pt x="2988577" y="200228"/>
                  </a:lnTo>
                  <a:lnTo>
                    <a:pt x="2988577" y="200876"/>
                  </a:lnTo>
                  <a:lnTo>
                    <a:pt x="2988577" y="200228"/>
                  </a:lnTo>
                  <a:lnTo>
                    <a:pt x="2988577" y="202260"/>
                  </a:lnTo>
                  <a:lnTo>
                    <a:pt x="2988577" y="200876"/>
                  </a:lnTo>
                  <a:lnTo>
                    <a:pt x="2988628" y="200876"/>
                  </a:lnTo>
                  <a:lnTo>
                    <a:pt x="2988628" y="200228"/>
                  </a:lnTo>
                  <a:lnTo>
                    <a:pt x="2988628" y="200876"/>
                  </a:lnTo>
                  <a:lnTo>
                    <a:pt x="2988679" y="200876"/>
                  </a:lnTo>
                  <a:lnTo>
                    <a:pt x="2988679" y="202959"/>
                  </a:lnTo>
                  <a:lnTo>
                    <a:pt x="2988679" y="202260"/>
                  </a:lnTo>
                  <a:lnTo>
                    <a:pt x="2988768" y="202260"/>
                  </a:lnTo>
                  <a:lnTo>
                    <a:pt x="2988768" y="200228"/>
                  </a:lnTo>
                  <a:lnTo>
                    <a:pt x="2988819" y="200228"/>
                  </a:lnTo>
                  <a:lnTo>
                    <a:pt x="2988819" y="200876"/>
                  </a:lnTo>
                  <a:lnTo>
                    <a:pt x="2988819" y="198831"/>
                  </a:lnTo>
                  <a:lnTo>
                    <a:pt x="2988869" y="198831"/>
                  </a:lnTo>
                  <a:lnTo>
                    <a:pt x="2988869" y="196799"/>
                  </a:lnTo>
                  <a:lnTo>
                    <a:pt x="2988869" y="198831"/>
                  </a:lnTo>
                  <a:lnTo>
                    <a:pt x="2988920" y="198831"/>
                  </a:lnTo>
                  <a:lnTo>
                    <a:pt x="2988920" y="196799"/>
                  </a:lnTo>
                  <a:lnTo>
                    <a:pt x="2988920" y="200228"/>
                  </a:lnTo>
                  <a:lnTo>
                    <a:pt x="2988920" y="199530"/>
                  </a:lnTo>
                  <a:lnTo>
                    <a:pt x="2988920" y="200228"/>
                  </a:lnTo>
                  <a:lnTo>
                    <a:pt x="2988920" y="199530"/>
                  </a:lnTo>
                  <a:lnTo>
                    <a:pt x="2988920" y="200228"/>
                  </a:lnTo>
                  <a:lnTo>
                    <a:pt x="2989022" y="200228"/>
                  </a:lnTo>
                  <a:lnTo>
                    <a:pt x="2989022" y="198831"/>
                  </a:lnTo>
                  <a:lnTo>
                    <a:pt x="2989022" y="200228"/>
                  </a:lnTo>
                  <a:lnTo>
                    <a:pt x="2989022" y="199530"/>
                  </a:lnTo>
                  <a:lnTo>
                    <a:pt x="2989022" y="200228"/>
                  </a:lnTo>
                  <a:lnTo>
                    <a:pt x="2989072" y="200228"/>
                  </a:lnTo>
                  <a:lnTo>
                    <a:pt x="2989072" y="200876"/>
                  </a:lnTo>
                  <a:lnTo>
                    <a:pt x="2989072" y="200228"/>
                  </a:lnTo>
                  <a:lnTo>
                    <a:pt x="2989072" y="200876"/>
                  </a:lnTo>
                  <a:lnTo>
                    <a:pt x="2989072" y="200228"/>
                  </a:lnTo>
                  <a:lnTo>
                    <a:pt x="2989123" y="200228"/>
                  </a:lnTo>
                  <a:lnTo>
                    <a:pt x="2989123" y="200876"/>
                  </a:lnTo>
                  <a:lnTo>
                    <a:pt x="2989123" y="200228"/>
                  </a:lnTo>
                  <a:lnTo>
                    <a:pt x="2989123" y="200876"/>
                  </a:lnTo>
                  <a:lnTo>
                    <a:pt x="2989225" y="200876"/>
                  </a:lnTo>
                  <a:lnTo>
                    <a:pt x="2989225" y="202260"/>
                  </a:lnTo>
                  <a:lnTo>
                    <a:pt x="2989225" y="200876"/>
                  </a:lnTo>
                  <a:lnTo>
                    <a:pt x="2989225" y="202260"/>
                  </a:lnTo>
                  <a:lnTo>
                    <a:pt x="2989225" y="200876"/>
                  </a:lnTo>
                  <a:lnTo>
                    <a:pt x="2989225" y="202260"/>
                  </a:lnTo>
                  <a:lnTo>
                    <a:pt x="2989263" y="200876"/>
                  </a:lnTo>
                  <a:lnTo>
                    <a:pt x="2989263" y="202260"/>
                  </a:lnTo>
                  <a:lnTo>
                    <a:pt x="2989263" y="200228"/>
                  </a:lnTo>
                  <a:lnTo>
                    <a:pt x="2989314" y="200228"/>
                  </a:lnTo>
                  <a:lnTo>
                    <a:pt x="2989314" y="198831"/>
                  </a:lnTo>
                  <a:lnTo>
                    <a:pt x="2989365" y="198831"/>
                  </a:lnTo>
                  <a:lnTo>
                    <a:pt x="2989365" y="197447"/>
                  </a:lnTo>
                  <a:lnTo>
                    <a:pt x="2989365" y="199530"/>
                  </a:lnTo>
                  <a:lnTo>
                    <a:pt x="2989365" y="198831"/>
                  </a:lnTo>
                  <a:lnTo>
                    <a:pt x="2989365" y="199530"/>
                  </a:lnTo>
                  <a:lnTo>
                    <a:pt x="2989365" y="198831"/>
                  </a:lnTo>
                  <a:lnTo>
                    <a:pt x="2989466" y="197447"/>
                  </a:lnTo>
                  <a:lnTo>
                    <a:pt x="2989466" y="200228"/>
                  </a:lnTo>
                  <a:lnTo>
                    <a:pt x="2989466" y="198831"/>
                  </a:lnTo>
                  <a:lnTo>
                    <a:pt x="2989517" y="198831"/>
                  </a:lnTo>
                  <a:lnTo>
                    <a:pt x="2989517" y="197447"/>
                  </a:lnTo>
                  <a:lnTo>
                    <a:pt x="2989517" y="199530"/>
                  </a:lnTo>
                  <a:lnTo>
                    <a:pt x="2989517" y="198831"/>
                  </a:lnTo>
                  <a:lnTo>
                    <a:pt x="2989517" y="199530"/>
                  </a:lnTo>
                  <a:lnTo>
                    <a:pt x="2989568" y="199530"/>
                  </a:lnTo>
                  <a:lnTo>
                    <a:pt x="2989568" y="198831"/>
                  </a:lnTo>
                  <a:lnTo>
                    <a:pt x="2989568" y="199530"/>
                  </a:lnTo>
                  <a:lnTo>
                    <a:pt x="2989568" y="198831"/>
                  </a:lnTo>
                  <a:lnTo>
                    <a:pt x="2989568" y="199530"/>
                  </a:lnTo>
                  <a:lnTo>
                    <a:pt x="2989568" y="198831"/>
                  </a:lnTo>
                  <a:lnTo>
                    <a:pt x="2989568" y="199530"/>
                  </a:lnTo>
                  <a:lnTo>
                    <a:pt x="2989669" y="199530"/>
                  </a:lnTo>
                  <a:lnTo>
                    <a:pt x="2989669" y="200228"/>
                  </a:lnTo>
                  <a:lnTo>
                    <a:pt x="2989720" y="200228"/>
                  </a:lnTo>
                  <a:lnTo>
                    <a:pt x="2989720" y="200876"/>
                  </a:lnTo>
                  <a:lnTo>
                    <a:pt x="2989720" y="200228"/>
                  </a:lnTo>
                  <a:lnTo>
                    <a:pt x="2989720" y="200876"/>
                  </a:lnTo>
                  <a:lnTo>
                    <a:pt x="2989720" y="200228"/>
                  </a:lnTo>
                  <a:lnTo>
                    <a:pt x="2989720" y="200876"/>
                  </a:lnTo>
                  <a:lnTo>
                    <a:pt x="2989720" y="200228"/>
                  </a:lnTo>
                  <a:lnTo>
                    <a:pt x="2989720" y="200876"/>
                  </a:lnTo>
                  <a:lnTo>
                    <a:pt x="2989720" y="200228"/>
                  </a:lnTo>
                  <a:lnTo>
                    <a:pt x="2989720" y="200876"/>
                  </a:lnTo>
                  <a:lnTo>
                    <a:pt x="2989771" y="200876"/>
                  </a:lnTo>
                  <a:lnTo>
                    <a:pt x="2989771" y="200228"/>
                  </a:lnTo>
                  <a:lnTo>
                    <a:pt x="2989771" y="200876"/>
                  </a:lnTo>
                  <a:lnTo>
                    <a:pt x="2989771" y="199530"/>
                  </a:lnTo>
                  <a:lnTo>
                    <a:pt x="2989771" y="200228"/>
                  </a:lnTo>
                  <a:lnTo>
                    <a:pt x="2989771" y="199530"/>
                  </a:lnTo>
                  <a:lnTo>
                    <a:pt x="2989809" y="200228"/>
                  </a:lnTo>
                  <a:lnTo>
                    <a:pt x="2989809" y="198831"/>
                  </a:lnTo>
                  <a:lnTo>
                    <a:pt x="2989911" y="199530"/>
                  </a:lnTo>
                  <a:lnTo>
                    <a:pt x="2989911" y="200876"/>
                  </a:lnTo>
                  <a:lnTo>
                    <a:pt x="2989911" y="198831"/>
                  </a:lnTo>
                  <a:lnTo>
                    <a:pt x="2989911" y="200876"/>
                  </a:lnTo>
                  <a:lnTo>
                    <a:pt x="2989962" y="202260"/>
                  </a:lnTo>
                  <a:lnTo>
                    <a:pt x="2989962" y="202959"/>
                  </a:lnTo>
                  <a:lnTo>
                    <a:pt x="2989962" y="200228"/>
                  </a:lnTo>
                  <a:lnTo>
                    <a:pt x="2989962" y="202260"/>
                  </a:lnTo>
                  <a:lnTo>
                    <a:pt x="2990012" y="202260"/>
                  </a:lnTo>
                  <a:lnTo>
                    <a:pt x="2990012" y="202959"/>
                  </a:lnTo>
                  <a:lnTo>
                    <a:pt x="2990012" y="200228"/>
                  </a:lnTo>
                  <a:lnTo>
                    <a:pt x="2990012" y="200876"/>
                  </a:lnTo>
                  <a:lnTo>
                    <a:pt x="2990114" y="200876"/>
                  </a:lnTo>
                  <a:lnTo>
                    <a:pt x="2990114" y="200228"/>
                  </a:lnTo>
                  <a:lnTo>
                    <a:pt x="2990114" y="202260"/>
                  </a:lnTo>
                  <a:lnTo>
                    <a:pt x="2990114" y="200876"/>
                  </a:lnTo>
                  <a:lnTo>
                    <a:pt x="2990165" y="200876"/>
                  </a:lnTo>
                  <a:lnTo>
                    <a:pt x="2990165" y="200228"/>
                  </a:lnTo>
                  <a:lnTo>
                    <a:pt x="2990165" y="202260"/>
                  </a:lnTo>
                  <a:lnTo>
                    <a:pt x="2990165" y="200876"/>
                  </a:lnTo>
                  <a:lnTo>
                    <a:pt x="2990165" y="202260"/>
                  </a:lnTo>
                  <a:lnTo>
                    <a:pt x="2990165" y="200876"/>
                  </a:lnTo>
                  <a:lnTo>
                    <a:pt x="2990165" y="202260"/>
                  </a:lnTo>
                  <a:lnTo>
                    <a:pt x="2990215" y="202260"/>
                  </a:lnTo>
                  <a:lnTo>
                    <a:pt x="2990215" y="200228"/>
                  </a:lnTo>
                  <a:lnTo>
                    <a:pt x="2990215" y="200876"/>
                  </a:lnTo>
                  <a:lnTo>
                    <a:pt x="2990215" y="200228"/>
                  </a:lnTo>
                  <a:lnTo>
                    <a:pt x="2990215" y="200876"/>
                  </a:lnTo>
                  <a:lnTo>
                    <a:pt x="2990266" y="200876"/>
                  </a:lnTo>
                  <a:lnTo>
                    <a:pt x="2990266" y="199530"/>
                  </a:lnTo>
                  <a:lnTo>
                    <a:pt x="2990355" y="199530"/>
                  </a:lnTo>
                  <a:lnTo>
                    <a:pt x="2990355" y="198831"/>
                  </a:lnTo>
                  <a:lnTo>
                    <a:pt x="2990355" y="199530"/>
                  </a:lnTo>
                  <a:lnTo>
                    <a:pt x="2990355" y="198831"/>
                  </a:lnTo>
                  <a:lnTo>
                    <a:pt x="2990355" y="200876"/>
                  </a:lnTo>
                  <a:lnTo>
                    <a:pt x="2990406" y="200876"/>
                  </a:lnTo>
                  <a:lnTo>
                    <a:pt x="2990406" y="198831"/>
                  </a:lnTo>
                  <a:lnTo>
                    <a:pt x="2990406" y="202959"/>
                  </a:lnTo>
                  <a:lnTo>
                    <a:pt x="2990406" y="202260"/>
                  </a:lnTo>
                  <a:lnTo>
                    <a:pt x="2990457" y="202260"/>
                  </a:lnTo>
                  <a:lnTo>
                    <a:pt x="2990457" y="200876"/>
                  </a:lnTo>
                  <a:lnTo>
                    <a:pt x="2990457" y="202959"/>
                  </a:lnTo>
                  <a:lnTo>
                    <a:pt x="2990457" y="200876"/>
                  </a:lnTo>
                  <a:lnTo>
                    <a:pt x="2990508" y="200876"/>
                  </a:lnTo>
                  <a:lnTo>
                    <a:pt x="2990508" y="200228"/>
                  </a:lnTo>
                  <a:lnTo>
                    <a:pt x="2990508" y="202260"/>
                  </a:lnTo>
                  <a:lnTo>
                    <a:pt x="2990508" y="200876"/>
                  </a:lnTo>
                  <a:lnTo>
                    <a:pt x="2990508" y="202260"/>
                  </a:lnTo>
                  <a:lnTo>
                    <a:pt x="2990609" y="202260"/>
                  </a:lnTo>
                  <a:lnTo>
                    <a:pt x="2990609" y="200876"/>
                  </a:lnTo>
                  <a:lnTo>
                    <a:pt x="2990609" y="202260"/>
                  </a:lnTo>
                  <a:lnTo>
                    <a:pt x="2990609" y="200876"/>
                  </a:lnTo>
                  <a:lnTo>
                    <a:pt x="2990609" y="202260"/>
                  </a:lnTo>
                  <a:lnTo>
                    <a:pt x="2990660" y="202260"/>
                  </a:lnTo>
                  <a:lnTo>
                    <a:pt x="2990660" y="200876"/>
                  </a:lnTo>
                  <a:lnTo>
                    <a:pt x="2990660" y="202260"/>
                  </a:lnTo>
                  <a:lnTo>
                    <a:pt x="2990660" y="200876"/>
                  </a:lnTo>
                  <a:lnTo>
                    <a:pt x="2990711" y="202260"/>
                  </a:lnTo>
                  <a:lnTo>
                    <a:pt x="2990711" y="200876"/>
                  </a:lnTo>
                  <a:lnTo>
                    <a:pt x="2990711" y="202260"/>
                  </a:lnTo>
                  <a:lnTo>
                    <a:pt x="2990711" y="200228"/>
                  </a:lnTo>
                  <a:lnTo>
                    <a:pt x="2990812" y="200228"/>
                  </a:lnTo>
                  <a:lnTo>
                    <a:pt x="2990812" y="197447"/>
                  </a:lnTo>
                  <a:lnTo>
                    <a:pt x="2990812" y="198831"/>
                  </a:lnTo>
                  <a:lnTo>
                    <a:pt x="2990812" y="197447"/>
                  </a:lnTo>
                  <a:lnTo>
                    <a:pt x="2990851" y="197447"/>
                  </a:lnTo>
                  <a:lnTo>
                    <a:pt x="2990851" y="196113"/>
                  </a:lnTo>
                  <a:lnTo>
                    <a:pt x="2990851" y="199530"/>
                  </a:lnTo>
                  <a:lnTo>
                    <a:pt x="2990851" y="197447"/>
                  </a:lnTo>
                  <a:lnTo>
                    <a:pt x="2990901" y="198831"/>
                  </a:lnTo>
                  <a:lnTo>
                    <a:pt x="2990901" y="196799"/>
                  </a:lnTo>
                  <a:lnTo>
                    <a:pt x="2990901" y="200876"/>
                  </a:lnTo>
                  <a:lnTo>
                    <a:pt x="2990901" y="199530"/>
                  </a:lnTo>
                  <a:lnTo>
                    <a:pt x="2990952" y="199530"/>
                  </a:lnTo>
                  <a:lnTo>
                    <a:pt x="2990952" y="198831"/>
                  </a:lnTo>
                  <a:lnTo>
                    <a:pt x="2990952" y="200876"/>
                  </a:lnTo>
                  <a:lnTo>
                    <a:pt x="2990952" y="199530"/>
                  </a:lnTo>
                  <a:lnTo>
                    <a:pt x="2990952" y="200228"/>
                  </a:lnTo>
                  <a:lnTo>
                    <a:pt x="2991054" y="199530"/>
                  </a:lnTo>
                  <a:lnTo>
                    <a:pt x="2991054" y="200876"/>
                  </a:lnTo>
                  <a:lnTo>
                    <a:pt x="2991105" y="200876"/>
                  </a:lnTo>
                  <a:lnTo>
                    <a:pt x="2991105" y="202260"/>
                  </a:lnTo>
                  <a:lnTo>
                    <a:pt x="2991105" y="200876"/>
                  </a:lnTo>
                  <a:lnTo>
                    <a:pt x="2991105" y="202260"/>
                  </a:lnTo>
                  <a:lnTo>
                    <a:pt x="2991155" y="202959"/>
                  </a:lnTo>
                  <a:lnTo>
                    <a:pt x="2991155" y="202260"/>
                  </a:lnTo>
                  <a:lnTo>
                    <a:pt x="2991155" y="202959"/>
                  </a:lnTo>
                  <a:lnTo>
                    <a:pt x="2991155" y="200876"/>
                  </a:lnTo>
                  <a:lnTo>
                    <a:pt x="2991155" y="202260"/>
                  </a:lnTo>
                  <a:lnTo>
                    <a:pt x="2991155" y="200876"/>
                  </a:lnTo>
                  <a:lnTo>
                    <a:pt x="2991257" y="200876"/>
                  </a:lnTo>
                  <a:lnTo>
                    <a:pt x="2991257" y="202260"/>
                  </a:lnTo>
                  <a:lnTo>
                    <a:pt x="2991257" y="200876"/>
                  </a:lnTo>
                  <a:lnTo>
                    <a:pt x="2991257" y="202260"/>
                  </a:lnTo>
                  <a:lnTo>
                    <a:pt x="2991257" y="200228"/>
                  </a:lnTo>
                  <a:lnTo>
                    <a:pt x="2991257" y="200876"/>
                  </a:lnTo>
                  <a:lnTo>
                    <a:pt x="2991257" y="200228"/>
                  </a:lnTo>
                  <a:lnTo>
                    <a:pt x="2991257" y="200876"/>
                  </a:lnTo>
                  <a:lnTo>
                    <a:pt x="2991257" y="200228"/>
                  </a:lnTo>
                  <a:lnTo>
                    <a:pt x="2991257" y="200876"/>
                  </a:lnTo>
                  <a:lnTo>
                    <a:pt x="2991308" y="200228"/>
                  </a:lnTo>
                  <a:lnTo>
                    <a:pt x="2991308" y="198831"/>
                  </a:lnTo>
                  <a:lnTo>
                    <a:pt x="2991358" y="198831"/>
                  </a:lnTo>
                  <a:lnTo>
                    <a:pt x="2991358" y="197447"/>
                  </a:lnTo>
                  <a:lnTo>
                    <a:pt x="2991358" y="200228"/>
                  </a:lnTo>
                  <a:lnTo>
                    <a:pt x="2991358" y="197447"/>
                  </a:lnTo>
                  <a:lnTo>
                    <a:pt x="2991397" y="197447"/>
                  </a:lnTo>
                  <a:lnTo>
                    <a:pt x="2991397" y="202260"/>
                  </a:lnTo>
                  <a:lnTo>
                    <a:pt x="2991397" y="199530"/>
                  </a:lnTo>
                  <a:lnTo>
                    <a:pt x="2991498" y="199530"/>
                  </a:lnTo>
                  <a:lnTo>
                    <a:pt x="2991498" y="200876"/>
                  </a:lnTo>
                  <a:lnTo>
                    <a:pt x="2991498" y="199530"/>
                  </a:lnTo>
                  <a:lnTo>
                    <a:pt x="2991498" y="200228"/>
                  </a:lnTo>
                  <a:lnTo>
                    <a:pt x="2991549" y="200228"/>
                  </a:lnTo>
                  <a:lnTo>
                    <a:pt x="2991549" y="200876"/>
                  </a:lnTo>
                  <a:lnTo>
                    <a:pt x="2991549" y="200228"/>
                  </a:lnTo>
                  <a:lnTo>
                    <a:pt x="2991549" y="200876"/>
                  </a:lnTo>
                  <a:lnTo>
                    <a:pt x="2991600" y="200876"/>
                  </a:lnTo>
                  <a:lnTo>
                    <a:pt x="2991600" y="202260"/>
                  </a:lnTo>
                  <a:lnTo>
                    <a:pt x="2991600" y="200876"/>
                  </a:lnTo>
                  <a:lnTo>
                    <a:pt x="2991600" y="202260"/>
                  </a:lnTo>
                  <a:lnTo>
                    <a:pt x="2991600" y="200876"/>
                  </a:lnTo>
                  <a:lnTo>
                    <a:pt x="2991600" y="202260"/>
                  </a:lnTo>
                  <a:lnTo>
                    <a:pt x="2991600" y="200876"/>
                  </a:lnTo>
                  <a:lnTo>
                    <a:pt x="2991600" y="202260"/>
                  </a:lnTo>
                  <a:lnTo>
                    <a:pt x="2991701" y="202260"/>
                  </a:lnTo>
                  <a:lnTo>
                    <a:pt x="2991701" y="200876"/>
                  </a:lnTo>
                  <a:lnTo>
                    <a:pt x="2991701" y="202260"/>
                  </a:lnTo>
                  <a:lnTo>
                    <a:pt x="2991701" y="200876"/>
                  </a:lnTo>
                  <a:lnTo>
                    <a:pt x="2991701" y="202260"/>
                  </a:lnTo>
                  <a:lnTo>
                    <a:pt x="2991701" y="200876"/>
                  </a:lnTo>
                  <a:lnTo>
                    <a:pt x="2991701" y="202260"/>
                  </a:lnTo>
                  <a:lnTo>
                    <a:pt x="2991752" y="202260"/>
                  </a:lnTo>
                  <a:lnTo>
                    <a:pt x="2991752" y="199530"/>
                  </a:lnTo>
                  <a:lnTo>
                    <a:pt x="2991803" y="200228"/>
                  </a:lnTo>
                  <a:lnTo>
                    <a:pt x="2991803" y="198831"/>
                  </a:lnTo>
                  <a:lnTo>
                    <a:pt x="2991803" y="199530"/>
                  </a:lnTo>
                  <a:lnTo>
                    <a:pt x="2991803" y="197447"/>
                  </a:lnTo>
                  <a:lnTo>
                    <a:pt x="2991803" y="198831"/>
                  </a:lnTo>
                  <a:lnTo>
                    <a:pt x="2991854" y="198831"/>
                  </a:lnTo>
                  <a:lnTo>
                    <a:pt x="2991854" y="196799"/>
                  </a:lnTo>
                  <a:lnTo>
                    <a:pt x="2991854" y="199530"/>
                  </a:lnTo>
                  <a:lnTo>
                    <a:pt x="2991854" y="196799"/>
                  </a:lnTo>
                  <a:lnTo>
                    <a:pt x="2991943" y="196799"/>
                  </a:lnTo>
                  <a:lnTo>
                    <a:pt x="2991943" y="200228"/>
                  </a:lnTo>
                  <a:lnTo>
                    <a:pt x="2991943" y="199530"/>
                  </a:lnTo>
                  <a:lnTo>
                    <a:pt x="2991943" y="200228"/>
                  </a:lnTo>
                  <a:lnTo>
                    <a:pt x="2991943" y="197447"/>
                  </a:lnTo>
                  <a:lnTo>
                    <a:pt x="2991994" y="198831"/>
                  </a:lnTo>
                  <a:lnTo>
                    <a:pt x="2991994" y="199530"/>
                  </a:lnTo>
                  <a:lnTo>
                    <a:pt x="2991994" y="198831"/>
                  </a:lnTo>
                  <a:lnTo>
                    <a:pt x="2991994" y="199530"/>
                  </a:lnTo>
                  <a:lnTo>
                    <a:pt x="2992044" y="199530"/>
                  </a:lnTo>
                  <a:lnTo>
                    <a:pt x="2992044" y="200876"/>
                  </a:lnTo>
                  <a:lnTo>
                    <a:pt x="2992095" y="200876"/>
                  </a:lnTo>
                  <a:lnTo>
                    <a:pt x="2992095" y="200228"/>
                  </a:lnTo>
                  <a:lnTo>
                    <a:pt x="2992095" y="200876"/>
                  </a:lnTo>
                  <a:lnTo>
                    <a:pt x="2992095" y="200228"/>
                  </a:lnTo>
                  <a:lnTo>
                    <a:pt x="2992095" y="200876"/>
                  </a:lnTo>
                  <a:lnTo>
                    <a:pt x="2992197" y="200876"/>
                  </a:lnTo>
                  <a:lnTo>
                    <a:pt x="2992197" y="200228"/>
                  </a:lnTo>
                  <a:lnTo>
                    <a:pt x="2992197" y="200876"/>
                  </a:lnTo>
                  <a:lnTo>
                    <a:pt x="2992197" y="200228"/>
                  </a:lnTo>
                  <a:lnTo>
                    <a:pt x="2992197" y="200876"/>
                  </a:lnTo>
                  <a:lnTo>
                    <a:pt x="2992247" y="200876"/>
                  </a:lnTo>
                  <a:lnTo>
                    <a:pt x="2992247" y="200228"/>
                  </a:lnTo>
                  <a:lnTo>
                    <a:pt x="2992247" y="200876"/>
                  </a:lnTo>
                  <a:lnTo>
                    <a:pt x="2992247" y="199530"/>
                  </a:lnTo>
                  <a:lnTo>
                    <a:pt x="2992298" y="199530"/>
                  </a:lnTo>
                  <a:lnTo>
                    <a:pt x="2992298" y="197447"/>
                  </a:lnTo>
                  <a:lnTo>
                    <a:pt x="2992400" y="197447"/>
                  </a:lnTo>
                  <a:lnTo>
                    <a:pt x="2992400" y="199530"/>
                  </a:lnTo>
                  <a:lnTo>
                    <a:pt x="2992400" y="196113"/>
                  </a:lnTo>
                  <a:lnTo>
                    <a:pt x="2992400" y="196799"/>
                  </a:lnTo>
                  <a:lnTo>
                    <a:pt x="2992438" y="197447"/>
                  </a:lnTo>
                  <a:lnTo>
                    <a:pt x="2992438" y="200876"/>
                  </a:lnTo>
                  <a:lnTo>
                    <a:pt x="2992438" y="197447"/>
                  </a:lnTo>
                  <a:lnTo>
                    <a:pt x="2992438" y="198831"/>
                  </a:lnTo>
                  <a:lnTo>
                    <a:pt x="2992489" y="198831"/>
                  </a:lnTo>
                  <a:lnTo>
                    <a:pt x="2992489" y="200228"/>
                  </a:lnTo>
                  <a:lnTo>
                    <a:pt x="2992489" y="198831"/>
                  </a:lnTo>
                  <a:lnTo>
                    <a:pt x="2992540" y="198831"/>
                  </a:lnTo>
                  <a:lnTo>
                    <a:pt x="2992540" y="199530"/>
                  </a:lnTo>
                  <a:lnTo>
                    <a:pt x="2992540" y="198831"/>
                  </a:lnTo>
                  <a:lnTo>
                    <a:pt x="2992540" y="199530"/>
                  </a:lnTo>
                  <a:lnTo>
                    <a:pt x="2992540" y="198831"/>
                  </a:lnTo>
                  <a:lnTo>
                    <a:pt x="2992540" y="199530"/>
                  </a:lnTo>
                  <a:lnTo>
                    <a:pt x="2992641" y="199530"/>
                  </a:lnTo>
                  <a:lnTo>
                    <a:pt x="2992641" y="200228"/>
                  </a:lnTo>
                  <a:lnTo>
                    <a:pt x="2992641" y="199530"/>
                  </a:lnTo>
                  <a:lnTo>
                    <a:pt x="2992641" y="200228"/>
                  </a:lnTo>
                  <a:lnTo>
                    <a:pt x="2992641" y="199530"/>
                  </a:lnTo>
                  <a:lnTo>
                    <a:pt x="2992692" y="200228"/>
                  </a:lnTo>
                  <a:lnTo>
                    <a:pt x="2992743" y="200228"/>
                  </a:lnTo>
                  <a:lnTo>
                    <a:pt x="2992743" y="199530"/>
                  </a:lnTo>
                  <a:lnTo>
                    <a:pt x="2992743" y="200228"/>
                  </a:lnTo>
                  <a:lnTo>
                    <a:pt x="2992743" y="199530"/>
                  </a:lnTo>
                  <a:lnTo>
                    <a:pt x="2992743" y="200228"/>
                  </a:lnTo>
                  <a:lnTo>
                    <a:pt x="2992743" y="199530"/>
                  </a:lnTo>
                  <a:lnTo>
                    <a:pt x="2992844" y="199530"/>
                  </a:lnTo>
                  <a:lnTo>
                    <a:pt x="2992844" y="197447"/>
                  </a:lnTo>
                  <a:lnTo>
                    <a:pt x="2992844" y="198831"/>
                  </a:lnTo>
                  <a:lnTo>
                    <a:pt x="2992844" y="197447"/>
                  </a:lnTo>
                  <a:lnTo>
                    <a:pt x="2992844" y="198831"/>
                  </a:lnTo>
                  <a:lnTo>
                    <a:pt x="2992844" y="197447"/>
                  </a:lnTo>
                  <a:lnTo>
                    <a:pt x="2992844" y="198831"/>
                  </a:lnTo>
                  <a:lnTo>
                    <a:pt x="2992844" y="197447"/>
                  </a:lnTo>
                  <a:lnTo>
                    <a:pt x="2992844" y="198831"/>
                  </a:lnTo>
                  <a:lnTo>
                    <a:pt x="2992844" y="197447"/>
                  </a:lnTo>
                  <a:lnTo>
                    <a:pt x="2992895" y="197447"/>
                  </a:lnTo>
                  <a:lnTo>
                    <a:pt x="2992895" y="198831"/>
                  </a:lnTo>
                  <a:lnTo>
                    <a:pt x="2992895" y="196799"/>
                  </a:lnTo>
                  <a:lnTo>
                    <a:pt x="2992895" y="198831"/>
                  </a:lnTo>
                  <a:lnTo>
                    <a:pt x="2992946" y="199530"/>
                  </a:lnTo>
                  <a:lnTo>
                    <a:pt x="2992946" y="200228"/>
                  </a:lnTo>
                  <a:lnTo>
                    <a:pt x="2992946" y="197447"/>
                  </a:lnTo>
                  <a:lnTo>
                    <a:pt x="2992946" y="199530"/>
                  </a:lnTo>
                  <a:lnTo>
                    <a:pt x="2992984" y="199530"/>
                  </a:lnTo>
                  <a:lnTo>
                    <a:pt x="2992984" y="200228"/>
                  </a:lnTo>
                  <a:lnTo>
                    <a:pt x="2992984" y="199530"/>
                  </a:lnTo>
                  <a:lnTo>
                    <a:pt x="2992984" y="200228"/>
                  </a:lnTo>
                  <a:lnTo>
                    <a:pt x="2992984" y="198831"/>
                  </a:lnTo>
                  <a:lnTo>
                    <a:pt x="2992984" y="200228"/>
                  </a:lnTo>
                  <a:lnTo>
                    <a:pt x="2993086" y="200228"/>
                  </a:lnTo>
                  <a:lnTo>
                    <a:pt x="2993086" y="199530"/>
                  </a:lnTo>
                  <a:lnTo>
                    <a:pt x="2993086" y="200228"/>
                  </a:lnTo>
                  <a:lnTo>
                    <a:pt x="2993086" y="199530"/>
                  </a:lnTo>
                  <a:lnTo>
                    <a:pt x="2993086" y="200876"/>
                  </a:lnTo>
                  <a:lnTo>
                    <a:pt x="2993086" y="200228"/>
                  </a:lnTo>
                  <a:lnTo>
                    <a:pt x="2993187" y="200228"/>
                  </a:lnTo>
                  <a:lnTo>
                    <a:pt x="2993187" y="200876"/>
                  </a:lnTo>
                  <a:lnTo>
                    <a:pt x="2993187" y="200228"/>
                  </a:lnTo>
                  <a:lnTo>
                    <a:pt x="2993187" y="200876"/>
                  </a:lnTo>
                  <a:lnTo>
                    <a:pt x="2993187" y="200228"/>
                  </a:lnTo>
                  <a:lnTo>
                    <a:pt x="2993289" y="200228"/>
                  </a:lnTo>
                  <a:lnTo>
                    <a:pt x="2993289" y="200876"/>
                  </a:lnTo>
                  <a:lnTo>
                    <a:pt x="2993289" y="199530"/>
                  </a:lnTo>
                  <a:lnTo>
                    <a:pt x="2993289" y="200228"/>
                  </a:lnTo>
                  <a:lnTo>
                    <a:pt x="2993289" y="199530"/>
                  </a:lnTo>
                  <a:lnTo>
                    <a:pt x="2993289" y="200228"/>
                  </a:lnTo>
                  <a:lnTo>
                    <a:pt x="2993289" y="199530"/>
                  </a:lnTo>
                  <a:lnTo>
                    <a:pt x="2993340" y="199530"/>
                  </a:lnTo>
                  <a:lnTo>
                    <a:pt x="2993340" y="197447"/>
                  </a:lnTo>
                  <a:lnTo>
                    <a:pt x="2993340" y="200228"/>
                  </a:lnTo>
                  <a:lnTo>
                    <a:pt x="2993390" y="200228"/>
                  </a:lnTo>
                  <a:lnTo>
                    <a:pt x="2993390" y="196799"/>
                  </a:lnTo>
                  <a:lnTo>
                    <a:pt x="2993390" y="200228"/>
                  </a:lnTo>
                  <a:lnTo>
                    <a:pt x="2993441" y="200228"/>
                  </a:lnTo>
                  <a:lnTo>
                    <a:pt x="2993441" y="199530"/>
                  </a:lnTo>
                  <a:lnTo>
                    <a:pt x="2993441" y="200876"/>
                  </a:lnTo>
                  <a:lnTo>
                    <a:pt x="2993530" y="200876"/>
                  </a:lnTo>
                  <a:lnTo>
                    <a:pt x="2993530" y="199530"/>
                  </a:lnTo>
                  <a:lnTo>
                    <a:pt x="2993530" y="200228"/>
                  </a:lnTo>
                  <a:lnTo>
                    <a:pt x="2993581" y="200228"/>
                  </a:lnTo>
                  <a:lnTo>
                    <a:pt x="2993581" y="200876"/>
                  </a:lnTo>
                  <a:lnTo>
                    <a:pt x="2993581" y="200228"/>
                  </a:lnTo>
                  <a:lnTo>
                    <a:pt x="2993581" y="200876"/>
                  </a:lnTo>
                  <a:lnTo>
                    <a:pt x="2993581" y="200228"/>
                  </a:lnTo>
                  <a:lnTo>
                    <a:pt x="2993581" y="200876"/>
                  </a:lnTo>
                  <a:lnTo>
                    <a:pt x="2993581" y="200228"/>
                  </a:lnTo>
                  <a:lnTo>
                    <a:pt x="2993632" y="200228"/>
                  </a:lnTo>
                  <a:lnTo>
                    <a:pt x="2993632" y="200876"/>
                  </a:lnTo>
                  <a:lnTo>
                    <a:pt x="2993632" y="200228"/>
                  </a:lnTo>
                  <a:lnTo>
                    <a:pt x="2993632" y="200876"/>
                  </a:lnTo>
                  <a:lnTo>
                    <a:pt x="2993683" y="200876"/>
                  </a:lnTo>
                  <a:lnTo>
                    <a:pt x="2993683" y="200228"/>
                  </a:lnTo>
                  <a:lnTo>
                    <a:pt x="2993683" y="200876"/>
                  </a:lnTo>
                  <a:lnTo>
                    <a:pt x="2993683" y="200228"/>
                  </a:lnTo>
                  <a:lnTo>
                    <a:pt x="2993784" y="200228"/>
                  </a:lnTo>
                  <a:lnTo>
                    <a:pt x="2993784" y="198831"/>
                  </a:lnTo>
                  <a:lnTo>
                    <a:pt x="2993835" y="198831"/>
                  </a:lnTo>
                  <a:lnTo>
                    <a:pt x="2993835" y="199530"/>
                  </a:lnTo>
                  <a:lnTo>
                    <a:pt x="2993835" y="196799"/>
                  </a:lnTo>
                  <a:lnTo>
                    <a:pt x="2993835" y="197447"/>
                  </a:lnTo>
                  <a:lnTo>
                    <a:pt x="2993886" y="197447"/>
                  </a:lnTo>
                  <a:lnTo>
                    <a:pt x="2993886" y="198831"/>
                  </a:lnTo>
                  <a:lnTo>
                    <a:pt x="2993886" y="196799"/>
                  </a:lnTo>
                  <a:lnTo>
                    <a:pt x="2993886" y="199530"/>
                  </a:lnTo>
                  <a:lnTo>
                    <a:pt x="2993987" y="199530"/>
                  </a:lnTo>
                  <a:lnTo>
                    <a:pt x="2993987" y="198831"/>
                  </a:lnTo>
                  <a:lnTo>
                    <a:pt x="2993987" y="200228"/>
                  </a:lnTo>
                  <a:lnTo>
                    <a:pt x="2994026" y="200228"/>
                  </a:lnTo>
                  <a:lnTo>
                    <a:pt x="2994026" y="199530"/>
                  </a:lnTo>
                  <a:lnTo>
                    <a:pt x="2994026" y="200228"/>
                  </a:lnTo>
                  <a:lnTo>
                    <a:pt x="2994076" y="200228"/>
                  </a:lnTo>
                  <a:lnTo>
                    <a:pt x="2994076" y="199530"/>
                  </a:lnTo>
                  <a:lnTo>
                    <a:pt x="2994076" y="200876"/>
                  </a:lnTo>
                  <a:lnTo>
                    <a:pt x="2994076" y="200228"/>
                  </a:lnTo>
                  <a:lnTo>
                    <a:pt x="2994127" y="200228"/>
                  </a:lnTo>
                  <a:lnTo>
                    <a:pt x="2994127" y="200876"/>
                  </a:lnTo>
                  <a:lnTo>
                    <a:pt x="2994127" y="200228"/>
                  </a:lnTo>
                  <a:lnTo>
                    <a:pt x="2994127" y="200876"/>
                  </a:lnTo>
                  <a:lnTo>
                    <a:pt x="2994127" y="200228"/>
                  </a:lnTo>
                  <a:lnTo>
                    <a:pt x="2994127" y="200876"/>
                  </a:lnTo>
                  <a:lnTo>
                    <a:pt x="2994127" y="200228"/>
                  </a:lnTo>
                  <a:lnTo>
                    <a:pt x="2994127" y="200876"/>
                  </a:lnTo>
                  <a:lnTo>
                    <a:pt x="2994229" y="200876"/>
                  </a:lnTo>
                  <a:lnTo>
                    <a:pt x="2994229" y="200228"/>
                  </a:lnTo>
                  <a:lnTo>
                    <a:pt x="2994280" y="200228"/>
                  </a:lnTo>
                  <a:lnTo>
                    <a:pt x="2994280" y="198831"/>
                  </a:lnTo>
                  <a:lnTo>
                    <a:pt x="2994330" y="199530"/>
                  </a:lnTo>
                  <a:lnTo>
                    <a:pt x="2994330" y="198831"/>
                  </a:lnTo>
                  <a:lnTo>
                    <a:pt x="2994330" y="199530"/>
                  </a:lnTo>
                  <a:lnTo>
                    <a:pt x="2994330" y="198831"/>
                  </a:lnTo>
                  <a:lnTo>
                    <a:pt x="2994330" y="199530"/>
                  </a:lnTo>
                  <a:lnTo>
                    <a:pt x="2994432" y="199530"/>
                  </a:lnTo>
                  <a:lnTo>
                    <a:pt x="2994432" y="198831"/>
                  </a:lnTo>
                  <a:lnTo>
                    <a:pt x="2994432" y="200228"/>
                  </a:lnTo>
                  <a:lnTo>
                    <a:pt x="2994483" y="200228"/>
                  </a:lnTo>
                  <a:lnTo>
                    <a:pt x="2994483" y="199530"/>
                  </a:lnTo>
                  <a:lnTo>
                    <a:pt x="2994483" y="202260"/>
                  </a:lnTo>
                  <a:lnTo>
                    <a:pt x="2994483" y="200228"/>
                  </a:lnTo>
                  <a:lnTo>
                    <a:pt x="2994533" y="200876"/>
                  </a:lnTo>
                  <a:lnTo>
                    <a:pt x="2994533" y="200228"/>
                  </a:lnTo>
                  <a:lnTo>
                    <a:pt x="2994533" y="200876"/>
                  </a:lnTo>
                  <a:lnTo>
                    <a:pt x="2994572" y="200876"/>
                  </a:lnTo>
                  <a:lnTo>
                    <a:pt x="2994572" y="200228"/>
                  </a:lnTo>
                  <a:lnTo>
                    <a:pt x="2994572" y="200876"/>
                  </a:lnTo>
                  <a:lnTo>
                    <a:pt x="2994572" y="200228"/>
                  </a:lnTo>
                  <a:lnTo>
                    <a:pt x="2994572" y="200876"/>
                  </a:lnTo>
                  <a:lnTo>
                    <a:pt x="2994572" y="200228"/>
                  </a:lnTo>
                  <a:lnTo>
                    <a:pt x="2994673" y="200228"/>
                  </a:lnTo>
                  <a:lnTo>
                    <a:pt x="2994673" y="200876"/>
                  </a:lnTo>
                  <a:lnTo>
                    <a:pt x="2994673" y="200228"/>
                  </a:lnTo>
                  <a:lnTo>
                    <a:pt x="2994673" y="200876"/>
                  </a:lnTo>
                  <a:lnTo>
                    <a:pt x="2994673" y="200228"/>
                  </a:lnTo>
                  <a:lnTo>
                    <a:pt x="2994673" y="200876"/>
                  </a:lnTo>
                  <a:lnTo>
                    <a:pt x="2994724" y="200228"/>
                  </a:lnTo>
                  <a:lnTo>
                    <a:pt x="2994724" y="200876"/>
                  </a:lnTo>
                  <a:lnTo>
                    <a:pt x="2994724" y="200228"/>
                  </a:lnTo>
                  <a:lnTo>
                    <a:pt x="2994775" y="200228"/>
                  </a:lnTo>
                  <a:lnTo>
                    <a:pt x="2994775" y="199530"/>
                  </a:lnTo>
                  <a:lnTo>
                    <a:pt x="2994775" y="200228"/>
                  </a:lnTo>
                  <a:lnTo>
                    <a:pt x="2994775" y="197447"/>
                  </a:lnTo>
                  <a:lnTo>
                    <a:pt x="2994775" y="198831"/>
                  </a:lnTo>
                  <a:lnTo>
                    <a:pt x="2994876" y="198831"/>
                  </a:lnTo>
                  <a:lnTo>
                    <a:pt x="2994876" y="197447"/>
                  </a:lnTo>
                  <a:lnTo>
                    <a:pt x="2994876" y="198831"/>
                  </a:lnTo>
                  <a:lnTo>
                    <a:pt x="2994876" y="197447"/>
                  </a:lnTo>
                  <a:lnTo>
                    <a:pt x="2994876" y="198831"/>
                  </a:lnTo>
                  <a:lnTo>
                    <a:pt x="2994876" y="197447"/>
                  </a:lnTo>
                  <a:lnTo>
                    <a:pt x="2994876" y="198831"/>
                  </a:lnTo>
                  <a:lnTo>
                    <a:pt x="2994876" y="196799"/>
                  </a:lnTo>
                  <a:lnTo>
                    <a:pt x="2994927" y="196799"/>
                  </a:lnTo>
                  <a:lnTo>
                    <a:pt x="2994927" y="200228"/>
                  </a:lnTo>
                  <a:lnTo>
                    <a:pt x="2994927" y="198831"/>
                  </a:lnTo>
                  <a:lnTo>
                    <a:pt x="2994978" y="198831"/>
                  </a:lnTo>
                  <a:lnTo>
                    <a:pt x="2994978" y="200876"/>
                  </a:lnTo>
                  <a:lnTo>
                    <a:pt x="2994978" y="200228"/>
                  </a:lnTo>
                  <a:lnTo>
                    <a:pt x="2994978" y="200876"/>
                  </a:lnTo>
                  <a:lnTo>
                    <a:pt x="2995029" y="200876"/>
                  </a:lnTo>
                  <a:lnTo>
                    <a:pt x="2995029" y="200228"/>
                  </a:lnTo>
                  <a:lnTo>
                    <a:pt x="2995029" y="200876"/>
                  </a:lnTo>
                  <a:lnTo>
                    <a:pt x="2995029" y="200228"/>
                  </a:lnTo>
                  <a:lnTo>
                    <a:pt x="2995029" y="200876"/>
                  </a:lnTo>
                  <a:lnTo>
                    <a:pt x="2995118" y="200876"/>
                  </a:lnTo>
                  <a:lnTo>
                    <a:pt x="2995118" y="202260"/>
                  </a:lnTo>
                  <a:lnTo>
                    <a:pt x="2995118" y="200876"/>
                  </a:lnTo>
                  <a:lnTo>
                    <a:pt x="2995118" y="202260"/>
                  </a:lnTo>
                  <a:lnTo>
                    <a:pt x="2995118" y="200876"/>
                  </a:lnTo>
                  <a:lnTo>
                    <a:pt x="2995118" y="202260"/>
                  </a:lnTo>
                  <a:lnTo>
                    <a:pt x="2995118" y="200876"/>
                  </a:lnTo>
                  <a:lnTo>
                    <a:pt x="2995118" y="202260"/>
                  </a:lnTo>
                  <a:lnTo>
                    <a:pt x="2995118" y="200876"/>
                  </a:lnTo>
                  <a:lnTo>
                    <a:pt x="2995169" y="200876"/>
                  </a:lnTo>
                  <a:lnTo>
                    <a:pt x="2995169" y="202260"/>
                  </a:lnTo>
                  <a:lnTo>
                    <a:pt x="2995219" y="202260"/>
                  </a:lnTo>
                  <a:lnTo>
                    <a:pt x="2995219" y="200228"/>
                  </a:lnTo>
                  <a:lnTo>
                    <a:pt x="2995270" y="200228"/>
                  </a:lnTo>
                  <a:lnTo>
                    <a:pt x="2995270" y="198831"/>
                  </a:lnTo>
                  <a:lnTo>
                    <a:pt x="2995270" y="200228"/>
                  </a:lnTo>
                  <a:lnTo>
                    <a:pt x="2995270" y="199530"/>
                  </a:lnTo>
                  <a:lnTo>
                    <a:pt x="2995372" y="199530"/>
                  </a:lnTo>
                  <a:lnTo>
                    <a:pt x="2995372" y="198831"/>
                  </a:lnTo>
                  <a:lnTo>
                    <a:pt x="2995372" y="200876"/>
                  </a:lnTo>
                  <a:lnTo>
                    <a:pt x="2995422" y="200876"/>
                  </a:lnTo>
                  <a:lnTo>
                    <a:pt x="2995422" y="199530"/>
                  </a:lnTo>
                  <a:lnTo>
                    <a:pt x="2995422" y="202260"/>
                  </a:lnTo>
                  <a:lnTo>
                    <a:pt x="2995473" y="200876"/>
                  </a:lnTo>
                  <a:lnTo>
                    <a:pt x="2995473" y="200228"/>
                  </a:lnTo>
                  <a:lnTo>
                    <a:pt x="2995473" y="200876"/>
                  </a:lnTo>
                  <a:lnTo>
                    <a:pt x="2995473" y="200228"/>
                  </a:lnTo>
                  <a:lnTo>
                    <a:pt x="2995575" y="200228"/>
                  </a:lnTo>
                  <a:lnTo>
                    <a:pt x="2995575" y="200876"/>
                  </a:lnTo>
                  <a:lnTo>
                    <a:pt x="2995575" y="200228"/>
                  </a:lnTo>
                  <a:lnTo>
                    <a:pt x="2995613" y="200228"/>
                  </a:lnTo>
                  <a:lnTo>
                    <a:pt x="2995613" y="200876"/>
                  </a:lnTo>
                  <a:lnTo>
                    <a:pt x="2995613" y="200228"/>
                  </a:lnTo>
                  <a:lnTo>
                    <a:pt x="2995613" y="200876"/>
                  </a:lnTo>
                  <a:lnTo>
                    <a:pt x="2995613" y="200228"/>
                  </a:lnTo>
                  <a:lnTo>
                    <a:pt x="2995613" y="200876"/>
                  </a:lnTo>
                  <a:lnTo>
                    <a:pt x="2995613" y="200228"/>
                  </a:lnTo>
                  <a:lnTo>
                    <a:pt x="2995613" y="200876"/>
                  </a:lnTo>
                  <a:lnTo>
                    <a:pt x="2995664" y="200876"/>
                  </a:lnTo>
                  <a:lnTo>
                    <a:pt x="2995664" y="200228"/>
                  </a:lnTo>
                  <a:lnTo>
                    <a:pt x="2995664" y="200876"/>
                  </a:lnTo>
                  <a:lnTo>
                    <a:pt x="2995664" y="200228"/>
                  </a:lnTo>
                  <a:lnTo>
                    <a:pt x="2995715" y="200228"/>
                  </a:lnTo>
                  <a:lnTo>
                    <a:pt x="2995715" y="200876"/>
                  </a:lnTo>
                  <a:lnTo>
                    <a:pt x="2995715" y="199530"/>
                  </a:lnTo>
                  <a:lnTo>
                    <a:pt x="2995816" y="198831"/>
                  </a:lnTo>
                  <a:lnTo>
                    <a:pt x="2995816" y="200228"/>
                  </a:lnTo>
                  <a:lnTo>
                    <a:pt x="2995816" y="198831"/>
                  </a:lnTo>
                  <a:lnTo>
                    <a:pt x="2995867" y="198831"/>
                  </a:lnTo>
                  <a:lnTo>
                    <a:pt x="2995867" y="202260"/>
                  </a:lnTo>
                  <a:lnTo>
                    <a:pt x="2995867" y="200228"/>
                  </a:lnTo>
                  <a:lnTo>
                    <a:pt x="2995918" y="200228"/>
                  </a:lnTo>
                  <a:lnTo>
                    <a:pt x="2995918" y="202260"/>
                  </a:lnTo>
                  <a:lnTo>
                    <a:pt x="2995918" y="200876"/>
                  </a:lnTo>
                  <a:lnTo>
                    <a:pt x="2996019" y="202260"/>
                  </a:lnTo>
                  <a:lnTo>
                    <a:pt x="2996019" y="200876"/>
                  </a:lnTo>
                  <a:lnTo>
                    <a:pt x="2996019" y="202260"/>
                  </a:lnTo>
                  <a:lnTo>
                    <a:pt x="2996019" y="200876"/>
                  </a:lnTo>
                  <a:lnTo>
                    <a:pt x="2996070" y="202260"/>
                  </a:lnTo>
                  <a:lnTo>
                    <a:pt x="2996070" y="200876"/>
                  </a:lnTo>
                  <a:lnTo>
                    <a:pt x="2996070" y="202260"/>
                  </a:lnTo>
                  <a:lnTo>
                    <a:pt x="2996070" y="200876"/>
                  </a:lnTo>
                  <a:lnTo>
                    <a:pt x="2996070" y="202260"/>
                  </a:lnTo>
                  <a:lnTo>
                    <a:pt x="2996070" y="200876"/>
                  </a:lnTo>
                  <a:lnTo>
                    <a:pt x="2996070" y="202260"/>
                  </a:lnTo>
                  <a:lnTo>
                    <a:pt x="2996121" y="202260"/>
                  </a:lnTo>
                  <a:lnTo>
                    <a:pt x="2996121" y="200876"/>
                  </a:lnTo>
                  <a:lnTo>
                    <a:pt x="2996121" y="202260"/>
                  </a:lnTo>
                  <a:lnTo>
                    <a:pt x="2996159" y="202260"/>
                  </a:lnTo>
                  <a:lnTo>
                    <a:pt x="2996159" y="200876"/>
                  </a:lnTo>
                  <a:lnTo>
                    <a:pt x="2996159" y="202260"/>
                  </a:lnTo>
                  <a:lnTo>
                    <a:pt x="2996159" y="200876"/>
                  </a:lnTo>
                  <a:lnTo>
                    <a:pt x="2996261" y="200876"/>
                  </a:lnTo>
                  <a:lnTo>
                    <a:pt x="2996261" y="198831"/>
                  </a:lnTo>
                  <a:lnTo>
                    <a:pt x="2996261" y="199530"/>
                  </a:lnTo>
                  <a:lnTo>
                    <a:pt x="2996261" y="198831"/>
                  </a:lnTo>
                  <a:lnTo>
                    <a:pt x="2996312" y="198831"/>
                  </a:lnTo>
                  <a:lnTo>
                    <a:pt x="2996312" y="200228"/>
                  </a:lnTo>
                  <a:lnTo>
                    <a:pt x="2996312" y="198831"/>
                  </a:lnTo>
                  <a:lnTo>
                    <a:pt x="2996312" y="200228"/>
                  </a:lnTo>
                  <a:lnTo>
                    <a:pt x="2996362" y="202260"/>
                  </a:lnTo>
                  <a:lnTo>
                    <a:pt x="2996362" y="200228"/>
                  </a:lnTo>
                  <a:lnTo>
                    <a:pt x="2996362" y="202260"/>
                  </a:lnTo>
                  <a:lnTo>
                    <a:pt x="2996464" y="202260"/>
                  </a:lnTo>
                  <a:lnTo>
                    <a:pt x="2996464" y="202959"/>
                  </a:lnTo>
                  <a:lnTo>
                    <a:pt x="2996464" y="202260"/>
                  </a:lnTo>
                  <a:lnTo>
                    <a:pt x="2996464" y="202959"/>
                  </a:lnTo>
                  <a:lnTo>
                    <a:pt x="2996464" y="200876"/>
                  </a:lnTo>
                  <a:lnTo>
                    <a:pt x="2996464" y="202959"/>
                  </a:lnTo>
                  <a:lnTo>
                    <a:pt x="2996515" y="203594"/>
                  </a:lnTo>
                  <a:lnTo>
                    <a:pt x="2996515" y="200876"/>
                  </a:lnTo>
                  <a:lnTo>
                    <a:pt x="2996515" y="202260"/>
                  </a:lnTo>
                  <a:lnTo>
                    <a:pt x="2996565" y="202260"/>
                  </a:lnTo>
                  <a:lnTo>
                    <a:pt x="2996565" y="200876"/>
                  </a:lnTo>
                  <a:lnTo>
                    <a:pt x="2996565" y="202260"/>
                  </a:lnTo>
                  <a:lnTo>
                    <a:pt x="2996616" y="202260"/>
                  </a:lnTo>
                  <a:lnTo>
                    <a:pt x="2996616" y="200228"/>
                  </a:lnTo>
                  <a:lnTo>
                    <a:pt x="2996705" y="200876"/>
                  </a:lnTo>
                  <a:lnTo>
                    <a:pt x="2996705" y="200228"/>
                  </a:lnTo>
                  <a:lnTo>
                    <a:pt x="2996705" y="200876"/>
                  </a:lnTo>
                  <a:lnTo>
                    <a:pt x="2996705" y="199530"/>
                  </a:lnTo>
                  <a:lnTo>
                    <a:pt x="2996756" y="199530"/>
                  </a:lnTo>
                  <a:lnTo>
                    <a:pt x="2996756" y="197447"/>
                  </a:lnTo>
                  <a:lnTo>
                    <a:pt x="2996756" y="198831"/>
                  </a:lnTo>
                  <a:lnTo>
                    <a:pt x="2996756" y="196799"/>
                  </a:lnTo>
                  <a:lnTo>
                    <a:pt x="2996756" y="198831"/>
                  </a:lnTo>
                  <a:lnTo>
                    <a:pt x="2996807" y="199530"/>
                  </a:lnTo>
                  <a:lnTo>
                    <a:pt x="2996807" y="200228"/>
                  </a:lnTo>
                  <a:lnTo>
                    <a:pt x="2996807" y="196799"/>
                  </a:lnTo>
                  <a:lnTo>
                    <a:pt x="2996807" y="200876"/>
                  </a:lnTo>
                  <a:lnTo>
                    <a:pt x="2996858" y="200876"/>
                  </a:lnTo>
                  <a:lnTo>
                    <a:pt x="2996858" y="199530"/>
                  </a:lnTo>
                  <a:lnTo>
                    <a:pt x="2996858" y="200876"/>
                  </a:lnTo>
                  <a:lnTo>
                    <a:pt x="2996959" y="200228"/>
                  </a:lnTo>
                  <a:lnTo>
                    <a:pt x="2996959" y="200876"/>
                  </a:lnTo>
                  <a:lnTo>
                    <a:pt x="2996959" y="200228"/>
                  </a:lnTo>
                  <a:lnTo>
                    <a:pt x="2996959" y="202260"/>
                  </a:lnTo>
                  <a:lnTo>
                    <a:pt x="2997010" y="200876"/>
                  </a:lnTo>
                  <a:lnTo>
                    <a:pt x="2997010" y="200228"/>
                  </a:lnTo>
                  <a:lnTo>
                    <a:pt x="2997010" y="202260"/>
                  </a:lnTo>
                  <a:lnTo>
                    <a:pt x="2997061" y="202260"/>
                  </a:lnTo>
                  <a:lnTo>
                    <a:pt x="2997061" y="200876"/>
                  </a:lnTo>
                  <a:lnTo>
                    <a:pt x="2997061" y="202959"/>
                  </a:lnTo>
                  <a:lnTo>
                    <a:pt x="2997061" y="202260"/>
                  </a:lnTo>
                  <a:lnTo>
                    <a:pt x="2997061" y="202959"/>
                  </a:lnTo>
                  <a:lnTo>
                    <a:pt x="2997061" y="202260"/>
                  </a:lnTo>
                  <a:lnTo>
                    <a:pt x="2997162" y="202260"/>
                  </a:lnTo>
                  <a:lnTo>
                    <a:pt x="2997162" y="200876"/>
                  </a:lnTo>
                  <a:lnTo>
                    <a:pt x="2997201" y="202260"/>
                  </a:lnTo>
                  <a:lnTo>
                    <a:pt x="2997201" y="200228"/>
                  </a:lnTo>
                  <a:lnTo>
                    <a:pt x="2997201" y="200876"/>
                  </a:lnTo>
                  <a:lnTo>
                    <a:pt x="2997201" y="200228"/>
                  </a:lnTo>
                  <a:lnTo>
                    <a:pt x="2997201" y="200876"/>
                  </a:lnTo>
                  <a:lnTo>
                    <a:pt x="2997201" y="199530"/>
                  </a:lnTo>
                  <a:lnTo>
                    <a:pt x="2997251" y="198831"/>
                  </a:lnTo>
                  <a:lnTo>
                    <a:pt x="2997251" y="196799"/>
                  </a:lnTo>
                  <a:lnTo>
                    <a:pt x="2997251" y="200228"/>
                  </a:lnTo>
                  <a:lnTo>
                    <a:pt x="2997251" y="199530"/>
                  </a:lnTo>
                  <a:lnTo>
                    <a:pt x="2997302" y="199530"/>
                  </a:lnTo>
                  <a:lnTo>
                    <a:pt x="2997302" y="196799"/>
                  </a:lnTo>
                  <a:lnTo>
                    <a:pt x="2997302" y="200876"/>
                  </a:lnTo>
                  <a:lnTo>
                    <a:pt x="2997404" y="200876"/>
                  </a:lnTo>
                  <a:lnTo>
                    <a:pt x="2997404" y="199530"/>
                  </a:lnTo>
                  <a:lnTo>
                    <a:pt x="2997404" y="200876"/>
                  </a:lnTo>
                  <a:lnTo>
                    <a:pt x="2997404" y="200228"/>
                  </a:lnTo>
                  <a:lnTo>
                    <a:pt x="2997455" y="200228"/>
                  </a:lnTo>
                  <a:lnTo>
                    <a:pt x="2997455" y="200876"/>
                  </a:lnTo>
                  <a:lnTo>
                    <a:pt x="2997455" y="200228"/>
                  </a:lnTo>
                  <a:lnTo>
                    <a:pt x="2997455" y="200876"/>
                  </a:lnTo>
                  <a:lnTo>
                    <a:pt x="2997455" y="200228"/>
                  </a:lnTo>
                  <a:lnTo>
                    <a:pt x="2997455" y="200876"/>
                  </a:lnTo>
                  <a:lnTo>
                    <a:pt x="2997455" y="200228"/>
                  </a:lnTo>
                  <a:lnTo>
                    <a:pt x="2997455" y="200876"/>
                  </a:lnTo>
                  <a:lnTo>
                    <a:pt x="2997455" y="200228"/>
                  </a:lnTo>
                  <a:lnTo>
                    <a:pt x="2997505" y="200228"/>
                  </a:lnTo>
                  <a:lnTo>
                    <a:pt x="2997505" y="200876"/>
                  </a:lnTo>
                  <a:lnTo>
                    <a:pt x="2997505" y="200228"/>
                  </a:lnTo>
                  <a:lnTo>
                    <a:pt x="2997505" y="200876"/>
                  </a:lnTo>
                  <a:lnTo>
                    <a:pt x="2997505" y="200228"/>
                  </a:lnTo>
                  <a:lnTo>
                    <a:pt x="2997505" y="200876"/>
                  </a:lnTo>
                  <a:lnTo>
                    <a:pt x="2997505" y="200228"/>
                  </a:lnTo>
                  <a:lnTo>
                    <a:pt x="2997505" y="200876"/>
                  </a:lnTo>
                  <a:lnTo>
                    <a:pt x="2997607" y="200876"/>
                  </a:lnTo>
                  <a:lnTo>
                    <a:pt x="2997607" y="202260"/>
                  </a:lnTo>
                  <a:lnTo>
                    <a:pt x="2997607" y="200876"/>
                  </a:lnTo>
                  <a:lnTo>
                    <a:pt x="2997607" y="202260"/>
                  </a:lnTo>
                  <a:lnTo>
                    <a:pt x="2997607" y="200876"/>
                  </a:lnTo>
                  <a:lnTo>
                    <a:pt x="2997607" y="202260"/>
                  </a:lnTo>
                  <a:lnTo>
                    <a:pt x="2997658" y="200876"/>
                  </a:lnTo>
                  <a:lnTo>
                    <a:pt x="2997658" y="202260"/>
                  </a:lnTo>
                  <a:lnTo>
                    <a:pt x="2997658" y="200876"/>
                  </a:lnTo>
                  <a:lnTo>
                    <a:pt x="2997658" y="202260"/>
                  </a:lnTo>
                  <a:lnTo>
                    <a:pt x="2997658" y="200228"/>
                  </a:lnTo>
                  <a:lnTo>
                    <a:pt x="2997658" y="200876"/>
                  </a:lnTo>
                  <a:lnTo>
                    <a:pt x="2997708" y="200876"/>
                  </a:lnTo>
                  <a:lnTo>
                    <a:pt x="2997708" y="198831"/>
                  </a:lnTo>
                  <a:lnTo>
                    <a:pt x="2997747" y="198831"/>
                  </a:lnTo>
                  <a:lnTo>
                    <a:pt x="2997747" y="196799"/>
                  </a:lnTo>
                  <a:lnTo>
                    <a:pt x="2997747" y="198831"/>
                  </a:lnTo>
                  <a:lnTo>
                    <a:pt x="2997848" y="198831"/>
                  </a:lnTo>
                  <a:lnTo>
                    <a:pt x="2997848" y="196799"/>
                  </a:lnTo>
                  <a:lnTo>
                    <a:pt x="2997848" y="199530"/>
                  </a:lnTo>
                  <a:lnTo>
                    <a:pt x="2997899" y="199530"/>
                  </a:lnTo>
                  <a:lnTo>
                    <a:pt x="2997899" y="197447"/>
                  </a:lnTo>
                  <a:lnTo>
                    <a:pt x="2997899" y="199530"/>
                  </a:lnTo>
                  <a:lnTo>
                    <a:pt x="2997950" y="199530"/>
                  </a:lnTo>
                  <a:lnTo>
                    <a:pt x="2997950" y="198831"/>
                  </a:lnTo>
                  <a:lnTo>
                    <a:pt x="2997950" y="199530"/>
                  </a:lnTo>
                  <a:lnTo>
                    <a:pt x="2997950" y="198831"/>
                  </a:lnTo>
                  <a:lnTo>
                    <a:pt x="2997950" y="199530"/>
                  </a:lnTo>
                  <a:lnTo>
                    <a:pt x="2998051" y="199530"/>
                  </a:lnTo>
                  <a:lnTo>
                    <a:pt x="2998051" y="200228"/>
                  </a:lnTo>
                  <a:lnTo>
                    <a:pt x="2998102" y="200228"/>
                  </a:lnTo>
                  <a:lnTo>
                    <a:pt x="2998102" y="202260"/>
                  </a:lnTo>
                  <a:lnTo>
                    <a:pt x="2998102" y="200876"/>
                  </a:lnTo>
                  <a:lnTo>
                    <a:pt x="2998153" y="200876"/>
                  </a:lnTo>
                  <a:lnTo>
                    <a:pt x="2998153" y="202260"/>
                  </a:lnTo>
                  <a:lnTo>
                    <a:pt x="2998153" y="200876"/>
                  </a:lnTo>
                  <a:lnTo>
                    <a:pt x="2998153" y="202260"/>
                  </a:lnTo>
                  <a:lnTo>
                    <a:pt x="2998153" y="199530"/>
                  </a:lnTo>
                  <a:lnTo>
                    <a:pt x="2998153" y="200228"/>
                  </a:lnTo>
                  <a:lnTo>
                    <a:pt x="2998204" y="200228"/>
                  </a:lnTo>
                  <a:lnTo>
                    <a:pt x="2998204" y="199530"/>
                  </a:lnTo>
                  <a:lnTo>
                    <a:pt x="2998204" y="200228"/>
                  </a:lnTo>
                  <a:lnTo>
                    <a:pt x="2998204" y="199530"/>
                  </a:lnTo>
                  <a:lnTo>
                    <a:pt x="2998204" y="200228"/>
                  </a:lnTo>
                  <a:lnTo>
                    <a:pt x="2998204" y="197447"/>
                  </a:lnTo>
                  <a:lnTo>
                    <a:pt x="2998293" y="197447"/>
                  </a:lnTo>
                  <a:lnTo>
                    <a:pt x="2998293" y="196113"/>
                  </a:lnTo>
                  <a:lnTo>
                    <a:pt x="2998293" y="197447"/>
                  </a:lnTo>
                  <a:lnTo>
                    <a:pt x="2998344" y="196799"/>
                  </a:lnTo>
                  <a:lnTo>
                    <a:pt x="2998344" y="196113"/>
                  </a:lnTo>
                  <a:lnTo>
                    <a:pt x="2998344" y="198831"/>
                  </a:lnTo>
                  <a:lnTo>
                    <a:pt x="2998394" y="198831"/>
                  </a:lnTo>
                  <a:lnTo>
                    <a:pt x="2998394" y="197447"/>
                  </a:lnTo>
                  <a:lnTo>
                    <a:pt x="2998394" y="198831"/>
                  </a:lnTo>
                  <a:lnTo>
                    <a:pt x="2998445" y="198831"/>
                  </a:lnTo>
                  <a:lnTo>
                    <a:pt x="2998445" y="197447"/>
                  </a:lnTo>
                  <a:lnTo>
                    <a:pt x="2998445" y="198831"/>
                  </a:lnTo>
                  <a:lnTo>
                    <a:pt x="2998445" y="197447"/>
                  </a:lnTo>
                  <a:lnTo>
                    <a:pt x="2998445" y="198831"/>
                  </a:lnTo>
                  <a:lnTo>
                    <a:pt x="2998547" y="198831"/>
                  </a:lnTo>
                  <a:lnTo>
                    <a:pt x="2998547" y="199530"/>
                  </a:lnTo>
                  <a:lnTo>
                    <a:pt x="2998547" y="198831"/>
                  </a:lnTo>
                  <a:lnTo>
                    <a:pt x="2998547" y="199530"/>
                  </a:lnTo>
                  <a:lnTo>
                    <a:pt x="2998597" y="199530"/>
                  </a:lnTo>
                  <a:lnTo>
                    <a:pt x="2998597" y="200228"/>
                  </a:lnTo>
                  <a:lnTo>
                    <a:pt x="2998597" y="199530"/>
                  </a:lnTo>
                  <a:lnTo>
                    <a:pt x="2998597" y="200228"/>
                  </a:lnTo>
                  <a:lnTo>
                    <a:pt x="2998648" y="199530"/>
                  </a:lnTo>
                  <a:lnTo>
                    <a:pt x="2998648" y="200228"/>
                  </a:lnTo>
                  <a:lnTo>
                    <a:pt x="2998750" y="199530"/>
                  </a:lnTo>
                  <a:lnTo>
                    <a:pt x="2998750" y="197447"/>
                  </a:lnTo>
                  <a:lnTo>
                    <a:pt x="2998750" y="198831"/>
                  </a:lnTo>
                  <a:lnTo>
                    <a:pt x="2998788" y="198831"/>
                  </a:lnTo>
                  <a:lnTo>
                    <a:pt x="2998788" y="196799"/>
                  </a:lnTo>
                  <a:lnTo>
                    <a:pt x="2998788" y="199530"/>
                  </a:lnTo>
                  <a:lnTo>
                    <a:pt x="2998788" y="197447"/>
                  </a:lnTo>
                  <a:lnTo>
                    <a:pt x="2998839" y="197447"/>
                  </a:lnTo>
                  <a:lnTo>
                    <a:pt x="2998839" y="200228"/>
                  </a:lnTo>
                  <a:lnTo>
                    <a:pt x="2998839" y="199530"/>
                  </a:lnTo>
                  <a:lnTo>
                    <a:pt x="2998890" y="199530"/>
                  </a:lnTo>
                  <a:lnTo>
                    <a:pt x="2998890" y="198831"/>
                  </a:lnTo>
                  <a:lnTo>
                    <a:pt x="2998890" y="199530"/>
                  </a:lnTo>
                  <a:lnTo>
                    <a:pt x="2998890" y="198831"/>
                  </a:lnTo>
                  <a:lnTo>
                    <a:pt x="2998991" y="198831"/>
                  </a:lnTo>
                  <a:lnTo>
                    <a:pt x="2998991" y="199530"/>
                  </a:lnTo>
                  <a:lnTo>
                    <a:pt x="2998991" y="198831"/>
                  </a:lnTo>
                  <a:lnTo>
                    <a:pt x="2998991" y="199530"/>
                  </a:lnTo>
                  <a:lnTo>
                    <a:pt x="2998991" y="198831"/>
                  </a:lnTo>
                  <a:lnTo>
                    <a:pt x="2998991" y="199530"/>
                  </a:lnTo>
                  <a:lnTo>
                    <a:pt x="2998991" y="198831"/>
                  </a:lnTo>
                  <a:lnTo>
                    <a:pt x="2998991" y="199530"/>
                  </a:lnTo>
                  <a:lnTo>
                    <a:pt x="2998991" y="198831"/>
                  </a:lnTo>
                  <a:lnTo>
                    <a:pt x="2998991" y="199530"/>
                  </a:lnTo>
                  <a:lnTo>
                    <a:pt x="2999042" y="199530"/>
                  </a:lnTo>
                  <a:lnTo>
                    <a:pt x="2999042" y="200228"/>
                  </a:lnTo>
                  <a:lnTo>
                    <a:pt x="2999042" y="199530"/>
                  </a:lnTo>
                  <a:lnTo>
                    <a:pt x="2999042" y="200228"/>
                  </a:lnTo>
                  <a:lnTo>
                    <a:pt x="2999093" y="200228"/>
                  </a:lnTo>
                  <a:lnTo>
                    <a:pt x="2999093" y="200876"/>
                  </a:lnTo>
                  <a:lnTo>
                    <a:pt x="2999093" y="200228"/>
                  </a:lnTo>
                  <a:lnTo>
                    <a:pt x="2999093" y="200876"/>
                  </a:lnTo>
                  <a:lnTo>
                    <a:pt x="2999194" y="200876"/>
                  </a:lnTo>
                  <a:lnTo>
                    <a:pt x="2999194" y="200228"/>
                  </a:lnTo>
                  <a:lnTo>
                    <a:pt x="2999194" y="200876"/>
                  </a:lnTo>
                  <a:lnTo>
                    <a:pt x="2999194" y="199530"/>
                  </a:lnTo>
                  <a:lnTo>
                    <a:pt x="2999245" y="199530"/>
                  </a:lnTo>
                  <a:lnTo>
                    <a:pt x="2999245" y="200228"/>
                  </a:lnTo>
                  <a:lnTo>
                    <a:pt x="2999245" y="198831"/>
                  </a:lnTo>
                  <a:lnTo>
                    <a:pt x="2999245" y="199530"/>
                  </a:lnTo>
                  <a:lnTo>
                    <a:pt x="2999245" y="197447"/>
                  </a:lnTo>
                  <a:lnTo>
                    <a:pt x="2999296" y="198831"/>
                  </a:lnTo>
                  <a:lnTo>
                    <a:pt x="2999296" y="200228"/>
                  </a:lnTo>
                  <a:lnTo>
                    <a:pt x="2999296" y="199530"/>
                  </a:lnTo>
                  <a:lnTo>
                    <a:pt x="2999296" y="200228"/>
                  </a:lnTo>
                  <a:lnTo>
                    <a:pt x="2999334" y="200228"/>
                  </a:lnTo>
                  <a:lnTo>
                    <a:pt x="2999334" y="202260"/>
                  </a:lnTo>
                  <a:lnTo>
                    <a:pt x="2999334" y="200876"/>
                  </a:lnTo>
                  <a:lnTo>
                    <a:pt x="2999436" y="202260"/>
                  </a:lnTo>
                  <a:lnTo>
                    <a:pt x="2999436" y="200228"/>
                  </a:lnTo>
                  <a:lnTo>
                    <a:pt x="2999436" y="200876"/>
                  </a:lnTo>
                  <a:lnTo>
                    <a:pt x="2999436" y="200228"/>
                  </a:lnTo>
                  <a:lnTo>
                    <a:pt x="2999436" y="202260"/>
                  </a:lnTo>
                  <a:lnTo>
                    <a:pt x="2999487" y="202260"/>
                  </a:lnTo>
                  <a:lnTo>
                    <a:pt x="2999487" y="200228"/>
                  </a:lnTo>
                  <a:lnTo>
                    <a:pt x="2999487" y="200876"/>
                  </a:lnTo>
                  <a:lnTo>
                    <a:pt x="2999639" y="200876"/>
                  </a:lnTo>
                  <a:lnTo>
                    <a:pt x="2999639" y="200228"/>
                  </a:lnTo>
                  <a:lnTo>
                    <a:pt x="2999639" y="200876"/>
                  </a:lnTo>
                  <a:lnTo>
                    <a:pt x="2999639" y="200228"/>
                  </a:lnTo>
                  <a:lnTo>
                    <a:pt x="2999690" y="200228"/>
                  </a:lnTo>
                  <a:lnTo>
                    <a:pt x="2999690" y="199530"/>
                  </a:lnTo>
                  <a:lnTo>
                    <a:pt x="2999690" y="200228"/>
                  </a:lnTo>
                  <a:lnTo>
                    <a:pt x="2999690" y="198831"/>
                  </a:lnTo>
                  <a:lnTo>
                    <a:pt x="2999690" y="199530"/>
                  </a:lnTo>
                  <a:lnTo>
                    <a:pt x="2999690" y="198831"/>
                  </a:lnTo>
                  <a:lnTo>
                    <a:pt x="2999690" y="199530"/>
                  </a:lnTo>
                  <a:lnTo>
                    <a:pt x="2999690" y="198831"/>
                  </a:lnTo>
                  <a:lnTo>
                    <a:pt x="2999740" y="198831"/>
                  </a:lnTo>
                  <a:lnTo>
                    <a:pt x="2999740" y="197447"/>
                  </a:lnTo>
                  <a:lnTo>
                    <a:pt x="2999740" y="198831"/>
                  </a:lnTo>
                  <a:lnTo>
                    <a:pt x="2999740" y="197447"/>
                  </a:lnTo>
                  <a:lnTo>
                    <a:pt x="2999740" y="198831"/>
                  </a:lnTo>
                  <a:lnTo>
                    <a:pt x="2999791" y="198831"/>
                  </a:lnTo>
                  <a:lnTo>
                    <a:pt x="2999791" y="199530"/>
                  </a:lnTo>
                  <a:lnTo>
                    <a:pt x="2999791" y="198831"/>
                  </a:lnTo>
                  <a:lnTo>
                    <a:pt x="2999791" y="199530"/>
                  </a:lnTo>
                  <a:lnTo>
                    <a:pt x="2999791" y="198831"/>
                  </a:lnTo>
                  <a:lnTo>
                    <a:pt x="2999791" y="200228"/>
                  </a:lnTo>
                  <a:lnTo>
                    <a:pt x="2999880" y="200228"/>
                  </a:lnTo>
                  <a:lnTo>
                    <a:pt x="2999880" y="199530"/>
                  </a:lnTo>
                  <a:lnTo>
                    <a:pt x="2999880" y="200228"/>
                  </a:lnTo>
                  <a:lnTo>
                    <a:pt x="2999880" y="199530"/>
                  </a:lnTo>
                  <a:lnTo>
                    <a:pt x="2999880" y="200228"/>
                  </a:lnTo>
                  <a:lnTo>
                    <a:pt x="2999931" y="200228"/>
                  </a:lnTo>
                  <a:lnTo>
                    <a:pt x="2999931" y="199530"/>
                  </a:lnTo>
                  <a:lnTo>
                    <a:pt x="2999931" y="200228"/>
                  </a:lnTo>
                  <a:lnTo>
                    <a:pt x="2999931" y="199530"/>
                  </a:lnTo>
                  <a:lnTo>
                    <a:pt x="2999931" y="200876"/>
                  </a:lnTo>
                  <a:lnTo>
                    <a:pt x="2999931" y="200228"/>
                  </a:lnTo>
                  <a:lnTo>
                    <a:pt x="2999982" y="200228"/>
                  </a:lnTo>
                  <a:lnTo>
                    <a:pt x="2999982" y="200876"/>
                  </a:lnTo>
                  <a:lnTo>
                    <a:pt x="2999982" y="200228"/>
                  </a:lnTo>
                  <a:lnTo>
                    <a:pt x="2999982" y="202260"/>
                  </a:lnTo>
                  <a:lnTo>
                    <a:pt x="2999982" y="200876"/>
                  </a:lnTo>
                  <a:lnTo>
                    <a:pt x="3000033" y="200876"/>
                  </a:lnTo>
                  <a:lnTo>
                    <a:pt x="3000033" y="202260"/>
                  </a:lnTo>
                  <a:lnTo>
                    <a:pt x="3000033" y="200876"/>
                  </a:lnTo>
                  <a:lnTo>
                    <a:pt x="3000033" y="202260"/>
                  </a:lnTo>
                  <a:lnTo>
                    <a:pt x="3000033" y="200876"/>
                  </a:lnTo>
                  <a:lnTo>
                    <a:pt x="3000033" y="202260"/>
                  </a:lnTo>
                  <a:lnTo>
                    <a:pt x="3000033" y="200876"/>
                  </a:lnTo>
                  <a:lnTo>
                    <a:pt x="3000134" y="200876"/>
                  </a:lnTo>
                  <a:lnTo>
                    <a:pt x="3000134" y="202260"/>
                  </a:lnTo>
                  <a:lnTo>
                    <a:pt x="3000134" y="200876"/>
                  </a:lnTo>
                  <a:lnTo>
                    <a:pt x="3000134" y="202260"/>
                  </a:lnTo>
                  <a:lnTo>
                    <a:pt x="3000134" y="200876"/>
                  </a:lnTo>
                  <a:lnTo>
                    <a:pt x="3000134" y="202260"/>
                  </a:lnTo>
                  <a:lnTo>
                    <a:pt x="3000134" y="200876"/>
                  </a:lnTo>
                  <a:lnTo>
                    <a:pt x="3000134" y="202260"/>
                  </a:lnTo>
                  <a:lnTo>
                    <a:pt x="3000134" y="200876"/>
                  </a:lnTo>
                  <a:lnTo>
                    <a:pt x="3000185" y="200228"/>
                  </a:lnTo>
                  <a:lnTo>
                    <a:pt x="3000185" y="198831"/>
                  </a:lnTo>
                  <a:lnTo>
                    <a:pt x="3000185" y="200228"/>
                  </a:lnTo>
                  <a:lnTo>
                    <a:pt x="3000185" y="199530"/>
                  </a:lnTo>
                  <a:lnTo>
                    <a:pt x="3000185" y="200228"/>
                  </a:lnTo>
                  <a:lnTo>
                    <a:pt x="3000185" y="199530"/>
                  </a:lnTo>
                  <a:lnTo>
                    <a:pt x="3000236" y="198831"/>
                  </a:lnTo>
                  <a:lnTo>
                    <a:pt x="3000236" y="197447"/>
                  </a:lnTo>
                  <a:lnTo>
                    <a:pt x="3000236" y="200876"/>
                  </a:lnTo>
                  <a:lnTo>
                    <a:pt x="3000236" y="199530"/>
                  </a:lnTo>
                  <a:lnTo>
                    <a:pt x="3000337" y="199530"/>
                  </a:lnTo>
                  <a:lnTo>
                    <a:pt x="3000337" y="198831"/>
                  </a:lnTo>
                  <a:lnTo>
                    <a:pt x="3000337" y="202260"/>
                  </a:lnTo>
                  <a:lnTo>
                    <a:pt x="3000337" y="199530"/>
                  </a:lnTo>
                  <a:lnTo>
                    <a:pt x="3000376" y="199530"/>
                  </a:lnTo>
                  <a:lnTo>
                    <a:pt x="3000376" y="202260"/>
                  </a:lnTo>
                  <a:lnTo>
                    <a:pt x="3000376" y="200228"/>
                  </a:lnTo>
                  <a:lnTo>
                    <a:pt x="3000426" y="200876"/>
                  </a:lnTo>
                  <a:lnTo>
                    <a:pt x="3000426" y="200228"/>
                  </a:lnTo>
                  <a:lnTo>
                    <a:pt x="3000426" y="202260"/>
                  </a:lnTo>
                  <a:lnTo>
                    <a:pt x="3000426" y="200876"/>
                  </a:lnTo>
                  <a:lnTo>
                    <a:pt x="3000477" y="202260"/>
                  </a:lnTo>
                  <a:lnTo>
                    <a:pt x="3000477" y="202959"/>
                  </a:lnTo>
                  <a:lnTo>
                    <a:pt x="3000477" y="202260"/>
                  </a:lnTo>
                  <a:lnTo>
                    <a:pt x="3000579" y="202260"/>
                  </a:lnTo>
                  <a:lnTo>
                    <a:pt x="3000579" y="200876"/>
                  </a:lnTo>
                  <a:lnTo>
                    <a:pt x="3000579" y="202260"/>
                  </a:lnTo>
                  <a:lnTo>
                    <a:pt x="3000579" y="200876"/>
                  </a:lnTo>
                  <a:lnTo>
                    <a:pt x="3000630" y="200876"/>
                  </a:lnTo>
                  <a:lnTo>
                    <a:pt x="3000630" y="202260"/>
                  </a:lnTo>
                  <a:lnTo>
                    <a:pt x="3000630" y="200228"/>
                  </a:lnTo>
                  <a:lnTo>
                    <a:pt x="3000630" y="200876"/>
                  </a:lnTo>
                  <a:lnTo>
                    <a:pt x="3000630" y="200228"/>
                  </a:lnTo>
                  <a:lnTo>
                    <a:pt x="3000630" y="200876"/>
                  </a:lnTo>
                  <a:lnTo>
                    <a:pt x="3000630" y="200228"/>
                  </a:lnTo>
                  <a:lnTo>
                    <a:pt x="3000680" y="200228"/>
                  </a:lnTo>
                  <a:lnTo>
                    <a:pt x="3000680" y="197447"/>
                  </a:lnTo>
                  <a:lnTo>
                    <a:pt x="3000680" y="198831"/>
                  </a:lnTo>
                  <a:lnTo>
                    <a:pt x="3000680" y="197447"/>
                  </a:lnTo>
                  <a:lnTo>
                    <a:pt x="3000782" y="197447"/>
                  </a:lnTo>
                  <a:lnTo>
                    <a:pt x="3000782" y="196113"/>
                  </a:lnTo>
                  <a:lnTo>
                    <a:pt x="3000782" y="197447"/>
                  </a:lnTo>
                  <a:lnTo>
                    <a:pt x="3000833" y="197447"/>
                  </a:lnTo>
                  <a:lnTo>
                    <a:pt x="3000833" y="196799"/>
                  </a:lnTo>
                  <a:lnTo>
                    <a:pt x="3000833" y="197447"/>
                  </a:lnTo>
                  <a:lnTo>
                    <a:pt x="3000833" y="196113"/>
                  </a:lnTo>
                  <a:lnTo>
                    <a:pt x="3000833" y="198831"/>
                  </a:lnTo>
                  <a:lnTo>
                    <a:pt x="3000883" y="199530"/>
                  </a:lnTo>
                  <a:lnTo>
                    <a:pt x="3000883" y="197447"/>
                  </a:lnTo>
                  <a:lnTo>
                    <a:pt x="3000883" y="199530"/>
                  </a:lnTo>
                  <a:lnTo>
                    <a:pt x="3000922" y="199530"/>
                  </a:lnTo>
                  <a:lnTo>
                    <a:pt x="3000922" y="200228"/>
                  </a:lnTo>
                  <a:lnTo>
                    <a:pt x="3001023" y="200228"/>
                  </a:lnTo>
                  <a:lnTo>
                    <a:pt x="3001023" y="200876"/>
                  </a:lnTo>
                  <a:lnTo>
                    <a:pt x="3001023" y="200228"/>
                  </a:lnTo>
                  <a:lnTo>
                    <a:pt x="3001023" y="200876"/>
                  </a:lnTo>
                  <a:lnTo>
                    <a:pt x="3001023" y="200228"/>
                  </a:lnTo>
                  <a:lnTo>
                    <a:pt x="3001023" y="200876"/>
                  </a:lnTo>
                  <a:lnTo>
                    <a:pt x="3001074" y="200876"/>
                  </a:lnTo>
                  <a:lnTo>
                    <a:pt x="3001074" y="202260"/>
                  </a:lnTo>
                  <a:lnTo>
                    <a:pt x="3001074" y="200876"/>
                  </a:lnTo>
                  <a:lnTo>
                    <a:pt x="3001074" y="202260"/>
                  </a:lnTo>
                  <a:lnTo>
                    <a:pt x="3001074" y="200876"/>
                  </a:lnTo>
                  <a:lnTo>
                    <a:pt x="3001125" y="200876"/>
                  </a:lnTo>
                  <a:lnTo>
                    <a:pt x="3001125" y="202260"/>
                  </a:lnTo>
                  <a:lnTo>
                    <a:pt x="3001125" y="200876"/>
                  </a:lnTo>
                  <a:lnTo>
                    <a:pt x="3001125" y="202260"/>
                  </a:lnTo>
                  <a:lnTo>
                    <a:pt x="3001125" y="200876"/>
                  </a:lnTo>
                  <a:lnTo>
                    <a:pt x="3001226" y="200876"/>
                  </a:lnTo>
                  <a:lnTo>
                    <a:pt x="3001226" y="199530"/>
                  </a:lnTo>
                  <a:lnTo>
                    <a:pt x="3001226" y="200228"/>
                  </a:lnTo>
                  <a:lnTo>
                    <a:pt x="3001226" y="199530"/>
                  </a:lnTo>
                  <a:lnTo>
                    <a:pt x="3001226" y="200228"/>
                  </a:lnTo>
                  <a:lnTo>
                    <a:pt x="3001226" y="199530"/>
                  </a:lnTo>
                  <a:lnTo>
                    <a:pt x="3001277" y="199530"/>
                  </a:lnTo>
                  <a:lnTo>
                    <a:pt x="3001277" y="197447"/>
                  </a:lnTo>
                  <a:lnTo>
                    <a:pt x="3001277" y="199530"/>
                  </a:lnTo>
                  <a:lnTo>
                    <a:pt x="3001277" y="197447"/>
                  </a:lnTo>
                  <a:lnTo>
                    <a:pt x="3001328" y="197447"/>
                  </a:lnTo>
                  <a:lnTo>
                    <a:pt x="3001328" y="199530"/>
                  </a:lnTo>
                  <a:lnTo>
                    <a:pt x="3001328" y="197447"/>
                  </a:lnTo>
                  <a:lnTo>
                    <a:pt x="3001379" y="197447"/>
                  </a:lnTo>
                  <a:lnTo>
                    <a:pt x="3001379" y="198831"/>
                  </a:lnTo>
                  <a:lnTo>
                    <a:pt x="3001379" y="197447"/>
                  </a:lnTo>
                  <a:lnTo>
                    <a:pt x="3001379" y="199530"/>
                  </a:lnTo>
                  <a:lnTo>
                    <a:pt x="3001379" y="198831"/>
                  </a:lnTo>
                  <a:lnTo>
                    <a:pt x="3001379" y="199530"/>
                  </a:lnTo>
                  <a:lnTo>
                    <a:pt x="3001379" y="198831"/>
                  </a:lnTo>
                  <a:lnTo>
                    <a:pt x="3001468" y="198831"/>
                  </a:lnTo>
                  <a:lnTo>
                    <a:pt x="3001468" y="199530"/>
                  </a:lnTo>
                  <a:lnTo>
                    <a:pt x="3001519" y="199530"/>
                  </a:lnTo>
                  <a:lnTo>
                    <a:pt x="3001519" y="200228"/>
                  </a:lnTo>
                  <a:lnTo>
                    <a:pt x="3001519" y="199530"/>
                  </a:lnTo>
                  <a:lnTo>
                    <a:pt x="3001519" y="200228"/>
                  </a:lnTo>
                  <a:lnTo>
                    <a:pt x="3001519" y="199530"/>
                  </a:lnTo>
                  <a:lnTo>
                    <a:pt x="3001519" y="200228"/>
                  </a:lnTo>
                  <a:lnTo>
                    <a:pt x="3001569" y="200228"/>
                  </a:lnTo>
                  <a:lnTo>
                    <a:pt x="3001569" y="199530"/>
                  </a:lnTo>
                  <a:lnTo>
                    <a:pt x="3001569" y="200228"/>
                  </a:lnTo>
                  <a:lnTo>
                    <a:pt x="3001620" y="200228"/>
                  </a:lnTo>
                  <a:lnTo>
                    <a:pt x="3001620" y="200876"/>
                  </a:lnTo>
                  <a:lnTo>
                    <a:pt x="3001620" y="200228"/>
                  </a:lnTo>
                  <a:lnTo>
                    <a:pt x="3001620" y="200876"/>
                  </a:lnTo>
                  <a:lnTo>
                    <a:pt x="3001620" y="200228"/>
                  </a:lnTo>
                  <a:lnTo>
                    <a:pt x="3001722" y="200228"/>
                  </a:lnTo>
                  <a:lnTo>
                    <a:pt x="3001722" y="198831"/>
                  </a:lnTo>
                  <a:lnTo>
                    <a:pt x="3001722" y="199530"/>
                  </a:lnTo>
                  <a:lnTo>
                    <a:pt x="3001772" y="199530"/>
                  </a:lnTo>
                  <a:lnTo>
                    <a:pt x="3001772" y="200876"/>
                  </a:lnTo>
                  <a:lnTo>
                    <a:pt x="3001772" y="198831"/>
                  </a:lnTo>
                  <a:lnTo>
                    <a:pt x="3001772" y="200876"/>
                  </a:lnTo>
                  <a:lnTo>
                    <a:pt x="3001823" y="202260"/>
                  </a:lnTo>
                  <a:lnTo>
                    <a:pt x="3001823" y="199530"/>
                  </a:lnTo>
                  <a:lnTo>
                    <a:pt x="3001823" y="200228"/>
                  </a:lnTo>
                  <a:lnTo>
                    <a:pt x="3001823" y="199530"/>
                  </a:lnTo>
                  <a:lnTo>
                    <a:pt x="3001823" y="202260"/>
                  </a:lnTo>
                  <a:lnTo>
                    <a:pt x="3001925" y="202260"/>
                  </a:lnTo>
                  <a:lnTo>
                    <a:pt x="3001925" y="200228"/>
                  </a:lnTo>
                  <a:lnTo>
                    <a:pt x="3001925" y="200876"/>
                  </a:lnTo>
                  <a:lnTo>
                    <a:pt x="3001963" y="200876"/>
                  </a:lnTo>
                  <a:lnTo>
                    <a:pt x="3001963" y="202260"/>
                  </a:lnTo>
                  <a:lnTo>
                    <a:pt x="3001963" y="200876"/>
                  </a:lnTo>
                  <a:lnTo>
                    <a:pt x="3002014" y="200876"/>
                  </a:lnTo>
                  <a:lnTo>
                    <a:pt x="3002014" y="200228"/>
                  </a:lnTo>
                  <a:lnTo>
                    <a:pt x="3002014" y="200876"/>
                  </a:lnTo>
                  <a:lnTo>
                    <a:pt x="3002065" y="200876"/>
                  </a:lnTo>
                  <a:lnTo>
                    <a:pt x="3002065" y="200228"/>
                  </a:lnTo>
                  <a:lnTo>
                    <a:pt x="3002065" y="200876"/>
                  </a:lnTo>
                  <a:lnTo>
                    <a:pt x="3002065" y="200228"/>
                  </a:lnTo>
                  <a:lnTo>
                    <a:pt x="3002166" y="200876"/>
                  </a:lnTo>
                  <a:lnTo>
                    <a:pt x="3002166" y="200228"/>
                  </a:lnTo>
                  <a:lnTo>
                    <a:pt x="3002166" y="200876"/>
                  </a:lnTo>
                  <a:lnTo>
                    <a:pt x="3002166" y="200228"/>
                  </a:lnTo>
                  <a:lnTo>
                    <a:pt x="3002166" y="200876"/>
                  </a:lnTo>
                  <a:lnTo>
                    <a:pt x="3002166" y="199530"/>
                  </a:lnTo>
                  <a:lnTo>
                    <a:pt x="3002217" y="199530"/>
                  </a:lnTo>
                  <a:lnTo>
                    <a:pt x="3002217" y="200228"/>
                  </a:lnTo>
                  <a:lnTo>
                    <a:pt x="3002217" y="198831"/>
                  </a:lnTo>
                  <a:lnTo>
                    <a:pt x="3002217" y="202260"/>
                  </a:lnTo>
                  <a:lnTo>
                    <a:pt x="3002268" y="200876"/>
                  </a:lnTo>
                  <a:lnTo>
                    <a:pt x="3002268" y="199530"/>
                  </a:lnTo>
                  <a:lnTo>
                    <a:pt x="3002268" y="202959"/>
                  </a:lnTo>
                  <a:lnTo>
                    <a:pt x="3002369" y="202260"/>
                  </a:lnTo>
                  <a:lnTo>
                    <a:pt x="3002369" y="200228"/>
                  </a:lnTo>
                  <a:lnTo>
                    <a:pt x="3002369" y="202959"/>
                  </a:lnTo>
                  <a:lnTo>
                    <a:pt x="3002369" y="202260"/>
                  </a:lnTo>
                  <a:lnTo>
                    <a:pt x="3002420" y="202260"/>
                  </a:lnTo>
                  <a:lnTo>
                    <a:pt x="3002420" y="200876"/>
                  </a:lnTo>
                  <a:lnTo>
                    <a:pt x="3002420" y="202959"/>
                  </a:lnTo>
                  <a:lnTo>
                    <a:pt x="3002420" y="202260"/>
                  </a:lnTo>
                  <a:lnTo>
                    <a:pt x="3002420" y="202959"/>
                  </a:lnTo>
                  <a:lnTo>
                    <a:pt x="3002471" y="202959"/>
                  </a:lnTo>
                  <a:lnTo>
                    <a:pt x="3002471" y="202260"/>
                  </a:lnTo>
                  <a:lnTo>
                    <a:pt x="3002509" y="202260"/>
                  </a:lnTo>
                  <a:lnTo>
                    <a:pt x="3002509" y="202959"/>
                  </a:lnTo>
                  <a:lnTo>
                    <a:pt x="3002509" y="200876"/>
                  </a:lnTo>
                  <a:lnTo>
                    <a:pt x="3002611" y="200876"/>
                  </a:lnTo>
                  <a:lnTo>
                    <a:pt x="3002611" y="200228"/>
                  </a:lnTo>
                  <a:lnTo>
                    <a:pt x="3002611" y="200876"/>
                  </a:lnTo>
                  <a:lnTo>
                    <a:pt x="3002611" y="200228"/>
                  </a:lnTo>
                  <a:lnTo>
                    <a:pt x="3002611" y="200876"/>
                  </a:lnTo>
                  <a:lnTo>
                    <a:pt x="3002611" y="200228"/>
                  </a:lnTo>
                  <a:lnTo>
                    <a:pt x="3002662" y="200228"/>
                  </a:lnTo>
                  <a:lnTo>
                    <a:pt x="3002662" y="198831"/>
                  </a:lnTo>
                  <a:lnTo>
                    <a:pt x="3002712" y="197447"/>
                  </a:lnTo>
                  <a:lnTo>
                    <a:pt x="3002712" y="196799"/>
                  </a:lnTo>
                  <a:lnTo>
                    <a:pt x="3002712" y="199530"/>
                  </a:lnTo>
                  <a:lnTo>
                    <a:pt x="3002712" y="198831"/>
                  </a:lnTo>
                  <a:lnTo>
                    <a:pt x="3002814" y="198831"/>
                  </a:lnTo>
                  <a:lnTo>
                    <a:pt x="3002814" y="200876"/>
                  </a:lnTo>
                  <a:lnTo>
                    <a:pt x="3002814" y="200228"/>
                  </a:lnTo>
                  <a:lnTo>
                    <a:pt x="3002865" y="200228"/>
                  </a:lnTo>
                  <a:lnTo>
                    <a:pt x="3002865" y="202260"/>
                  </a:lnTo>
                  <a:lnTo>
                    <a:pt x="3002966" y="202260"/>
                  </a:lnTo>
                  <a:lnTo>
                    <a:pt x="3002966" y="202959"/>
                  </a:lnTo>
                  <a:lnTo>
                    <a:pt x="3002966" y="202260"/>
                  </a:lnTo>
                  <a:lnTo>
                    <a:pt x="3002966" y="202959"/>
                  </a:lnTo>
                  <a:lnTo>
                    <a:pt x="3002966" y="202260"/>
                  </a:lnTo>
                  <a:lnTo>
                    <a:pt x="3003055" y="202260"/>
                  </a:lnTo>
                  <a:lnTo>
                    <a:pt x="3003055" y="200876"/>
                  </a:lnTo>
                  <a:lnTo>
                    <a:pt x="3003055" y="202260"/>
                  </a:lnTo>
                  <a:lnTo>
                    <a:pt x="3003055" y="200876"/>
                  </a:lnTo>
                  <a:lnTo>
                    <a:pt x="3003106" y="202260"/>
                  </a:lnTo>
                  <a:lnTo>
                    <a:pt x="3003106" y="200228"/>
                  </a:lnTo>
                  <a:lnTo>
                    <a:pt x="3003106" y="200876"/>
                  </a:lnTo>
                  <a:lnTo>
                    <a:pt x="3003106" y="200228"/>
                  </a:lnTo>
                  <a:lnTo>
                    <a:pt x="3003157" y="200228"/>
                  </a:lnTo>
                  <a:lnTo>
                    <a:pt x="3003157" y="198831"/>
                  </a:lnTo>
                  <a:lnTo>
                    <a:pt x="3003208" y="199530"/>
                  </a:lnTo>
                  <a:lnTo>
                    <a:pt x="3003208" y="200228"/>
                  </a:lnTo>
                  <a:lnTo>
                    <a:pt x="3003208" y="198831"/>
                  </a:lnTo>
                  <a:lnTo>
                    <a:pt x="3003208" y="200228"/>
                  </a:lnTo>
                  <a:lnTo>
                    <a:pt x="3003309" y="200228"/>
                  </a:lnTo>
                  <a:lnTo>
                    <a:pt x="3003309" y="200876"/>
                  </a:lnTo>
                  <a:lnTo>
                    <a:pt x="3003309" y="199530"/>
                  </a:lnTo>
                  <a:lnTo>
                    <a:pt x="3003309" y="200876"/>
                  </a:lnTo>
                  <a:lnTo>
                    <a:pt x="3003360" y="200876"/>
                  </a:lnTo>
                  <a:lnTo>
                    <a:pt x="3003360" y="200228"/>
                  </a:lnTo>
                  <a:lnTo>
                    <a:pt x="3003360" y="200876"/>
                  </a:lnTo>
                  <a:lnTo>
                    <a:pt x="3003360" y="200228"/>
                  </a:lnTo>
                  <a:lnTo>
                    <a:pt x="3003360" y="200876"/>
                  </a:lnTo>
                  <a:lnTo>
                    <a:pt x="3003360" y="200228"/>
                  </a:lnTo>
                  <a:lnTo>
                    <a:pt x="3003360" y="200876"/>
                  </a:lnTo>
                  <a:lnTo>
                    <a:pt x="3003411" y="200876"/>
                  </a:lnTo>
                  <a:lnTo>
                    <a:pt x="3003411" y="202260"/>
                  </a:lnTo>
                  <a:lnTo>
                    <a:pt x="3003411" y="200876"/>
                  </a:lnTo>
                  <a:lnTo>
                    <a:pt x="3003411" y="202959"/>
                  </a:lnTo>
                  <a:lnTo>
                    <a:pt x="3003411" y="200876"/>
                  </a:lnTo>
                  <a:lnTo>
                    <a:pt x="3003411" y="202260"/>
                  </a:lnTo>
                  <a:lnTo>
                    <a:pt x="3003551" y="202260"/>
                  </a:lnTo>
                  <a:lnTo>
                    <a:pt x="3003551" y="200876"/>
                  </a:lnTo>
                  <a:lnTo>
                    <a:pt x="3003551" y="202260"/>
                  </a:lnTo>
                  <a:lnTo>
                    <a:pt x="3003551" y="200876"/>
                  </a:lnTo>
                  <a:lnTo>
                    <a:pt x="3003551" y="202260"/>
                  </a:lnTo>
                  <a:lnTo>
                    <a:pt x="3003551" y="200876"/>
                  </a:lnTo>
                  <a:lnTo>
                    <a:pt x="3003601" y="200876"/>
                  </a:lnTo>
                  <a:lnTo>
                    <a:pt x="3003601" y="200228"/>
                  </a:lnTo>
                  <a:lnTo>
                    <a:pt x="3003652" y="200228"/>
                  </a:lnTo>
                  <a:lnTo>
                    <a:pt x="3003652" y="198831"/>
                  </a:lnTo>
                  <a:lnTo>
                    <a:pt x="3003652" y="199530"/>
                  </a:lnTo>
                  <a:lnTo>
                    <a:pt x="3003652" y="197447"/>
                  </a:lnTo>
                  <a:lnTo>
                    <a:pt x="3003652" y="198831"/>
                  </a:lnTo>
                  <a:lnTo>
                    <a:pt x="3003652" y="196799"/>
                  </a:lnTo>
                  <a:lnTo>
                    <a:pt x="3003754" y="196799"/>
                  </a:lnTo>
                  <a:lnTo>
                    <a:pt x="3003754" y="198831"/>
                  </a:lnTo>
                  <a:lnTo>
                    <a:pt x="3003754" y="196113"/>
                  </a:lnTo>
                  <a:lnTo>
                    <a:pt x="3003754" y="198831"/>
                  </a:lnTo>
                  <a:lnTo>
                    <a:pt x="3003805" y="198831"/>
                  </a:lnTo>
                  <a:lnTo>
                    <a:pt x="3003805" y="200228"/>
                  </a:lnTo>
                  <a:lnTo>
                    <a:pt x="3003805" y="198831"/>
                  </a:lnTo>
                  <a:lnTo>
                    <a:pt x="3003805" y="200228"/>
                  </a:lnTo>
                  <a:lnTo>
                    <a:pt x="3003855" y="200228"/>
                  </a:lnTo>
                  <a:lnTo>
                    <a:pt x="3003855" y="200876"/>
                  </a:lnTo>
                  <a:lnTo>
                    <a:pt x="3003957" y="200876"/>
                  </a:lnTo>
                  <a:lnTo>
                    <a:pt x="3003957" y="200228"/>
                  </a:lnTo>
                  <a:lnTo>
                    <a:pt x="3003957" y="200876"/>
                  </a:lnTo>
                  <a:lnTo>
                    <a:pt x="3003957" y="200228"/>
                  </a:lnTo>
                  <a:lnTo>
                    <a:pt x="3003957" y="200876"/>
                  </a:lnTo>
                  <a:lnTo>
                    <a:pt x="3003957" y="200228"/>
                  </a:lnTo>
                  <a:lnTo>
                    <a:pt x="3003957" y="200876"/>
                  </a:lnTo>
                  <a:lnTo>
                    <a:pt x="3004008" y="200228"/>
                  </a:lnTo>
                  <a:lnTo>
                    <a:pt x="3004008" y="200876"/>
                  </a:lnTo>
                  <a:lnTo>
                    <a:pt x="3004008" y="200228"/>
                  </a:lnTo>
                  <a:lnTo>
                    <a:pt x="3004008" y="200876"/>
                  </a:lnTo>
                  <a:lnTo>
                    <a:pt x="3004058" y="200228"/>
                  </a:lnTo>
                  <a:lnTo>
                    <a:pt x="3004058" y="202260"/>
                  </a:lnTo>
                  <a:lnTo>
                    <a:pt x="3004058" y="200876"/>
                  </a:lnTo>
                  <a:lnTo>
                    <a:pt x="3004058" y="202260"/>
                  </a:lnTo>
                  <a:lnTo>
                    <a:pt x="3004058" y="200876"/>
                  </a:lnTo>
                  <a:lnTo>
                    <a:pt x="3004097" y="200876"/>
                  </a:lnTo>
                  <a:lnTo>
                    <a:pt x="3004097" y="200228"/>
                  </a:lnTo>
                  <a:lnTo>
                    <a:pt x="3004198" y="200228"/>
                  </a:lnTo>
                  <a:lnTo>
                    <a:pt x="3004198" y="198831"/>
                  </a:lnTo>
                  <a:lnTo>
                    <a:pt x="3004198" y="199530"/>
                  </a:lnTo>
                  <a:lnTo>
                    <a:pt x="3004249" y="199530"/>
                  </a:lnTo>
                  <a:lnTo>
                    <a:pt x="3004249" y="196799"/>
                  </a:lnTo>
                  <a:lnTo>
                    <a:pt x="3004249" y="200876"/>
                  </a:lnTo>
                  <a:lnTo>
                    <a:pt x="3004249" y="200228"/>
                  </a:lnTo>
                  <a:lnTo>
                    <a:pt x="3004300" y="199530"/>
                  </a:lnTo>
                  <a:lnTo>
                    <a:pt x="3004300" y="197447"/>
                  </a:lnTo>
                  <a:lnTo>
                    <a:pt x="3004300" y="200228"/>
                  </a:lnTo>
                  <a:lnTo>
                    <a:pt x="3004300" y="199530"/>
                  </a:lnTo>
                  <a:lnTo>
                    <a:pt x="3004401" y="199530"/>
                  </a:lnTo>
                  <a:lnTo>
                    <a:pt x="3004401" y="198831"/>
                  </a:lnTo>
                  <a:lnTo>
                    <a:pt x="3004401" y="200228"/>
                  </a:lnTo>
                  <a:lnTo>
                    <a:pt x="3004401" y="199530"/>
                  </a:lnTo>
                  <a:lnTo>
                    <a:pt x="3004452" y="200228"/>
                  </a:lnTo>
                  <a:lnTo>
                    <a:pt x="3004452" y="199530"/>
                  </a:lnTo>
                  <a:lnTo>
                    <a:pt x="3004452" y="200228"/>
                  </a:lnTo>
                  <a:lnTo>
                    <a:pt x="3004452" y="199530"/>
                  </a:lnTo>
                  <a:lnTo>
                    <a:pt x="3004452" y="200228"/>
                  </a:lnTo>
                  <a:lnTo>
                    <a:pt x="3004452" y="199530"/>
                  </a:lnTo>
                  <a:lnTo>
                    <a:pt x="3004452" y="200228"/>
                  </a:lnTo>
                  <a:lnTo>
                    <a:pt x="3004503" y="200228"/>
                  </a:lnTo>
                  <a:lnTo>
                    <a:pt x="3004503" y="199530"/>
                  </a:lnTo>
                  <a:lnTo>
                    <a:pt x="3004503" y="200876"/>
                  </a:lnTo>
                  <a:lnTo>
                    <a:pt x="3004503" y="200228"/>
                  </a:lnTo>
                  <a:lnTo>
                    <a:pt x="3004503" y="200876"/>
                  </a:lnTo>
                  <a:lnTo>
                    <a:pt x="3004503" y="200228"/>
                  </a:lnTo>
                  <a:lnTo>
                    <a:pt x="3004554" y="200228"/>
                  </a:lnTo>
                  <a:lnTo>
                    <a:pt x="3004554" y="200876"/>
                  </a:lnTo>
                  <a:lnTo>
                    <a:pt x="3004554" y="199530"/>
                  </a:lnTo>
                  <a:lnTo>
                    <a:pt x="3004643" y="200228"/>
                  </a:lnTo>
                  <a:lnTo>
                    <a:pt x="3004643" y="198831"/>
                  </a:lnTo>
                  <a:lnTo>
                    <a:pt x="3004694" y="198831"/>
                  </a:lnTo>
                  <a:lnTo>
                    <a:pt x="3004694" y="197447"/>
                  </a:lnTo>
                  <a:lnTo>
                    <a:pt x="3004694" y="198831"/>
                  </a:lnTo>
                  <a:lnTo>
                    <a:pt x="3004694" y="197447"/>
                  </a:lnTo>
                  <a:lnTo>
                    <a:pt x="3004694" y="198831"/>
                  </a:lnTo>
                  <a:lnTo>
                    <a:pt x="3004744" y="197447"/>
                  </a:lnTo>
                  <a:lnTo>
                    <a:pt x="3004744" y="196799"/>
                  </a:lnTo>
                  <a:lnTo>
                    <a:pt x="3004744" y="199530"/>
                  </a:lnTo>
                  <a:lnTo>
                    <a:pt x="3004795" y="198831"/>
                  </a:lnTo>
                  <a:lnTo>
                    <a:pt x="3004795" y="200228"/>
                  </a:lnTo>
                  <a:lnTo>
                    <a:pt x="3004795" y="199530"/>
                  </a:lnTo>
                  <a:lnTo>
                    <a:pt x="3004795" y="200228"/>
                  </a:lnTo>
                  <a:lnTo>
                    <a:pt x="3004897" y="199530"/>
                  </a:lnTo>
                  <a:lnTo>
                    <a:pt x="3004897" y="200228"/>
                  </a:lnTo>
                  <a:lnTo>
                    <a:pt x="3004947" y="200228"/>
                  </a:lnTo>
                  <a:lnTo>
                    <a:pt x="3004947" y="199530"/>
                  </a:lnTo>
                  <a:lnTo>
                    <a:pt x="3004947" y="200228"/>
                  </a:lnTo>
                  <a:lnTo>
                    <a:pt x="3004947" y="199530"/>
                  </a:lnTo>
                  <a:lnTo>
                    <a:pt x="3004998" y="199530"/>
                  </a:lnTo>
                  <a:lnTo>
                    <a:pt x="3004998" y="200876"/>
                  </a:lnTo>
                  <a:lnTo>
                    <a:pt x="3005100" y="200876"/>
                  </a:lnTo>
                  <a:lnTo>
                    <a:pt x="3005100" y="200228"/>
                  </a:lnTo>
                  <a:lnTo>
                    <a:pt x="3005100" y="200876"/>
                  </a:lnTo>
                  <a:lnTo>
                    <a:pt x="3005100" y="200228"/>
                  </a:lnTo>
                  <a:lnTo>
                    <a:pt x="3005100" y="200876"/>
                  </a:lnTo>
                  <a:lnTo>
                    <a:pt x="3005100" y="200228"/>
                  </a:lnTo>
                  <a:lnTo>
                    <a:pt x="3005100" y="200876"/>
                  </a:lnTo>
                  <a:lnTo>
                    <a:pt x="3005100" y="200228"/>
                  </a:lnTo>
                  <a:lnTo>
                    <a:pt x="3005138" y="200228"/>
                  </a:lnTo>
                  <a:lnTo>
                    <a:pt x="3005138" y="198831"/>
                  </a:lnTo>
                  <a:lnTo>
                    <a:pt x="3005189" y="199530"/>
                  </a:lnTo>
                  <a:lnTo>
                    <a:pt x="3005189" y="198831"/>
                  </a:lnTo>
                  <a:lnTo>
                    <a:pt x="3005189" y="199530"/>
                  </a:lnTo>
                  <a:lnTo>
                    <a:pt x="3005189" y="197447"/>
                  </a:lnTo>
                  <a:lnTo>
                    <a:pt x="3005240" y="197447"/>
                  </a:lnTo>
                  <a:lnTo>
                    <a:pt x="3005240" y="200228"/>
                  </a:lnTo>
                  <a:lnTo>
                    <a:pt x="3005240" y="199530"/>
                  </a:lnTo>
                  <a:lnTo>
                    <a:pt x="3005341" y="199530"/>
                  </a:lnTo>
                  <a:lnTo>
                    <a:pt x="3005341" y="200876"/>
                  </a:lnTo>
                  <a:lnTo>
                    <a:pt x="3005341" y="200228"/>
                  </a:lnTo>
                  <a:lnTo>
                    <a:pt x="3005392" y="200228"/>
                  </a:lnTo>
                  <a:lnTo>
                    <a:pt x="3005392" y="200876"/>
                  </a:lnTo>
                  <a:lnTo>
                    <a:pt x="3005392" y="200228"/>
                  </a:lnTo>
                  <a:lnTo>
                    <a:pt x="3005392" y="200876"/>
                  </a:lnTo>
                  <a:lnTo>
                    <a:pt x="3005392" y="200228"/>
                  </a:lnTo>
                  <a:lnTo>
                    <a:pt x="3005443" y="200228"/>
                  </a:lnTo>
                  <a:lnTo>
                    <a:pt x="3005443" y="200876"/>
                  </a:lnTo>
                  <a:lnTo>
                    <a:pt x="3005443" y="200228"/>
                  </a:lnTo>
                  <a:lnTo>
                    <a:pt x="3005544" y="200228"/>
                  </a:lnTo>
                  <a:lnTo>
                    <a:pt x="3005544" y="200876"/>
                  </a:lnTo>
                  <a:lnTo>
                    <a:pt x="3005595" y="200876"/>
                  </a:lnTo>
                  <a:lnTo>
                    <a:pt x="3005595" y="199530"/>
                  </a:lnTo>
                  <a:lnTo>
                    <a:pt x="3005646" y="199530"/>
                  </a:lnTo>
                  <a:lnTo>
                    <a:pt x="3005646" y="200228"/>
                  </a:lnTo>
                  <a:lnTo>
                    <a:pt x="3005646" y="197447"/>
                  </a:lnTo>
                  <a:lnTo>
                    <a:pt x="3005646" y="198831"/>
                  </a:lnTo>
                  <a:lnTo>
                    <a:pt x="3005646" y="197447"/>
                  </a:lnTo>
                  <a:lnTo>
                    <a:pt x="3005684" y="197447"/>
                  </a:lnTo>
                  <a:lnTo>
                    <a:pt x="3005684" y="196799"/>
                  </a:lnTo>
                  <a:lnTo>
                    <a:pt x="3005684" y="197447"/>
                  </a:lnTo>
                  <a:lnTo>
                    <a:pt x="3005684" y="196799"/>
                  </a:lnTo>
                  <a:lnTo>
                    <a:pt x="3005684" y="198831"/>
                  </a:lnTo>
                  <a:lnTo>
                    <a:pt x="3005684" y="197447"/>
                  </a:lnTo>
                  <a:lnTo>
                    <a:pt x="3005684" y="198831"/>
                  </a:lnTo>
                  <a:lnTo>
                    <a:pt x="3005684" y="197447"/>
                  </a:lnTo>
                  <a:lnTo>
                    <a:pt x="3005786" y="197447"/>
                  </a:lnTo>
                  <a:lnTo>
                    <a:pt x="3005786" y="200228"/>
                  </a:lnTo>
                  <a:lnTo>
                    <a:pt x="3005786" y="199530"/>
                  </a:lnTo>
                  <a:lnTo>
                    <a:pt x="3005786" y="200228"/>
                  </a:lnTo>
                  <a:lnTo>
                    <a:pt x="3005786" y="199530"/>
                  </a:lnTo>
                  <a:lnTo>
                    <a:pt x="3005837" y="198831"/>
                  </a:lnTo>
                  <a:lnTo>
                    <a:pt x="3005837" y="200228"/>
                  </a:lnTo>
                  <a:lnTo>
                    <a:pt x="3005837" y="199530"/>
                  </a:lnTo>
                  <a:lnTo>
                    <a:pt x="3005837" y="200228"/>
                  </a:lnTo>
                  <a:lnTo>
                    <a:pt x="3005989" y="200228"/>
                  </a:lnTo>
                  <a:lnTo>
                    <a:pt x="3005989" y="200876"/>
                  </a:lnTo>
                  <a:lnTo>
                    <a:pt x="3005989" y="199530"/>
                  </a:lnTo>
                  <a:lnTo>
                    <a:pt x="3005989" y="200228"/>
                  </a:lnTo>
                  <a:lnTo>
                    <a:pt x="3006040" y="200876"/>
                  </a:lnTo>
                  <a:lnTo>
                    <a:pt x="3006090" y="200876"/>
                  </a:lnTo>
                  <a:lnTo>
                    <a:pt x="3006090" y="199530"/>
                  </a:lnTo>
                  <a:lnTo>
                    <a:pt x="3006141" y="199530"/>
                  </a:lnTo>
                  <a:lnTo>
                    <a:pt x="3006141" y="197447"/>
                  </a:lnTo>
                  <a:lnTo>
                    <a:pt x="3006141" y="200876"/>
                  </a:lnTo>
                  <a:lnTo>
                    <a:pt x="3006230" y="200876"/>
                  </a:lnTo>
                  <a:lnTo>
                    <a:pt x="3006230" y="198831"/>
                  </a:lnTo>
                  <a:lnTo>
                    <a:pt x="3006230" y="202260"/>
                  </a:lnTo>
                  <a:lnTo>
                    <a:pt x="3006281" y="200876"/>
                  </a:lnTo>
                  <a:lnTo>
                    <a:pt x="3006281" y="200228"/>
                  </a:lnTo>
                  <a:lnTo>
                    <a:pt x="3006281" y="202260"/>
                  </a:lnTo>
                  <a:lnTo>
                    <a:pt x="3006332" y="202260"/>
                  </a:lnTo>
                  <a:lnTo>
                    <a:pt x="3006332" y="200228"/>
                  </a:lnTo>
                  <a:lnTo>
                    <a:pt x="3006332" y="200876"/>
                  </a:lnTo>
                  <a:lnTo>
                    <a:pt x="3006383" y="200876"/>
                  </a:lnTo>
                  <a:lnTo>
                    <a:pt x="3006383" y="202260"/>
                  </a:lnTo>
                  <a:lnTo>
                    <a:pt x="3006383" y="200876"/>
                  </a:lnTo>
                  <a:lnTo>
                    <a:pt x="3006383" y="202260"/>
                  </a:lnTo>
                  <a:lnTo>
                    <a:pt x="3006383" y="200876"/>
                  </a:lnTo>
                  <a:lnTo>
                    <a:pt x="3006484" y="200876"/>
                  </a:lnTo>
                  <a:lnTo>
                    <a:pt x="3006484" y="202260"/>
                  </a:lnTo>
                  <a:lnTo>
                    <a:pt x="3006484" y="200876"/>
                  </a:lnTo>
                  <a:lnTo>
                    <a:pt x="3006535" y="200876"/>
                  </a:lnTo>
                  <a:lnTo>
                    <a:pt x="3006535" y="202260"/>
                  </a:lnTo>
                  <a:lnTo>
                    <a:pt x="3006535" y="200876"/>
                  </a:lnTo>
                  <a:lnTo>
                    <a:pt x="3006535" y="202260"/>
                  </a:lnTo>
                  <a:lnTo>
                    <a:pt x="3006535" y="200876"/>
                  </a:lnTo>
                  <a:lnTo>
                    <a:pt x="3006586" y="200876"/>
                  </a:lnTo>
                  <a:lnTo>
                    <a:pt x="3006586" y="198831"/>
                  </a:lnTo>
                  <a:lnTo>
                    <a:pt x="3006687" y="198831"/>
                  </a:lnTo>
                  <a:lnTo>
                    <a:pt x="3006687" y="199530"/>
                  </a:lnTo>
                  <a:lnTo>
                    <a:pt x="3006687" y="196799"/>
                  </a:lnTo>
                  <a:lnTo>
                    <a:pt x="3006687" y="198831"/>
                  </a:lnTo>
                  <a:lnTo>
                    <a:pt x="3006687" y="197447"/>
                  </a:lnTo>
                  <a:lnTo>
                    <a:pt x="3006687" y="198831"/>
                  </a:lnTo>
                  <a:lnTo>
                    <a:pt x="3006726" y="197447"/>
                  </a:lnTo>
                  <a:lnTo>
                    <a:pt x="3006726" y="198831"/>
                  </a:lnTo>
                  <a:lnTo>
                    <a:pt x="3006726" y="197447"/>
                  </a:lnTo>
                  <a:lnTo>
                    <a:pt x="3006726" y="199530"/>
                  </a:lnTo>
                  <a:lnTo>
                    <a:pt x="3006776" y="200228"/>
                  </a:lnTo>
                  <a:lnTo>
                    <a:pt x="3006776" y="200876"/>
                  </a:lnTo>
                  <a:lnTo>
                    <a:pt x="3006776" y="200228"/>
                  </a:lnTo>
                  <a:lnTo>
                    <a:pt x="3006827" y="200228"/>
                  </a:lnTo>
                  <a:lnTo>
                    <a:pt x="3006827" y="200876"/>
                  </a:lnTo>
                  <a:lnTo>
                    <a:pt x="3006827" y="200228"/>
                  </a:lnTo>
                  <a:lnTo>
                    <a:pt x="3006827" y="200876"/>
                  </a:lnTo>
                  <a:lnTo>
                    <a:pt x="3006929" y="200876"/>
                  </a:lnTo>
                  <a:lnTo>
                    <a:pt x="3006929" y="200228"/>
                  </a:lnTo>
                  <a:lnTo>
                    <a:pt x="3006929" y="202959"/>
                  </a:lnTo>
                  <a:lnTo>
                    <a:pt x="3006929" y="202260"/>
                  </a:lnTo>
                  <a:lnTo>
                    <a:pt x="3006980" y="202260"/>
                  </a:lnTo>
                  <a:lnTo>
                    <a:pt x="3006980" y="200876"/>
                  </a:lnTo>
                  <a:lnTo>
                    <a:pt x="3006980" y="202260"/>
                  </a:lnTo>
                  <a:lnTo>
                    <a:pt x="3006980" y="200876"/>
                  </a:lnTo>
                  <a:lnTo>
                    <a:pt x="3006980" y="202260"/>
                  </a:lnTo>
                  <a:lnTo>
                    <a:pt x="3007030" y="202260"/>
                  </a:lnTo>
                  <a:lnTo>
                    <a:pt x="3007030" y="200876"/>
                  </a:lnTo>
                  <a:lnTo>
                    <a:pt x="3007030" y="202260"/>
                  </a:lnTo>
                  <a:lnTo>
                    <a:pt x="3007030" y="200876"/>
                  </a:lnTo>
                  <a:lnTo>
                    <a:pt x="3007030" y="202260"/>
                  </a:lnTo>
                  <a:lnTo>
                    <a:pt x="3007030" y="200228"/>
                  </a:lnTo>
                  <a:lnTo>
                    <a:pt x="3007132" y="200876"/>
                  </a:lnTo>
                  <a:lnTo>
                    <a:pt x="3007132" y="198831"/>
                  </a:lnTo>
                  <a:lnTo>
                    <a:pt x="3007183" y="198831"/>
                  </a:lnTo>
                  <a:lnTo>
                    <a:pt x="3007183" y="197447"/>
                  </a:lnTo>
                  <a:lnTo>
                    <a:pt x="3007183" y="199530"/>
                  </a:lnTo>
                  <a:lnTo>
                    <a:pt x="3007183" y="198831"/>
                  </a:lnTo>
                  <a:lnTo>
                    <a:pt x="3007233" y="197447"/>
                  </a:lnTo>
                  <a:lnTo>
                    <a:pt x="3007233" y="200876"/>
                  </a:lnTo>
                  <a:lnTo>
                    <a:pt x="3007233" y="200228"/>
                  </a:lnTo>
                  <a:lnTo>
                    <a:pt x="3007233" y="200876"/>
                  </a:lnTo>
                  <a:lnTo>
                    <a:pt x="3007233" y="199530"/>
                  </a:lnTo>
                  <a:lnTo>
                    <a:pt x="3007272" y="199530"/>
                  </a:lnTo>
                  <a:lnTo>
                    <a:pt x="3007272" y="200876"/>
                  </a:lnTo>
                  <a:lnTo>
                    <a:pt x="3007272" y="199530"/>
                  </a:lnTo>
                  <a:lnTo>
                    <a:pt x="3007373" y="199530"/>
                  </a:lnTo>
                  <a:lnTo>
                    <a:pt x="3007373" y="200228"/>
                  </a:lnTo>
                  <a:lnTo>
                    <a:pt x="3007373" y="199530"/>
                  </a:lnTo>
                  <a:lnTo>
                    <a:pt x="3007373" y="200228"/>
                  </a:lnTo>
                  <a:lnTo>
                    <a:pt x="3007373" y="199530"/>
                  </a:lnTo>
                  <a:lnTo>
                    <a:pt x="3007373" y="200228"/>
                  </a:lnTo>
                  <a:lnTo>
                    <a:pt x="3007424" y="200228"/>
                  </a:lnTo>
                  <a:lnTo>
                    <a:pt x="3007424" y="200876"/>
                  </a:lnTo>
                  <a:lnTo>
                    <a:pt x="3007424" y="200228"/>
                  </a:lnTo>
                  <a:lnTo>
                    <a:pt x="3007424" y="200876"/>
                  </a:lnTo>
                  <a:lnTo>
                    <a:pt x="3007424" y="200228"/>
                  </a:lnTo>
                  <a:lnTo>
                    <a:pt x="3007424" y="200876"/>
                  </a:lnTo>
                  <a:lnTo>
                    <a:pt x="3007475" y="200876"/>
                  </a:lnTo>
                  <a:lnTo>
                    <a:pt x="3007475" y="202260"/>
                  </a:lnTo>
                  <a:lnTo>
                    <a:pt x="3007475" y="200228"/>
                  </a:lnTo>
                  <a:lnTo>
                    <a:pt x="3007475" y="200876"/>
                  </a:lnTo>
                  <a:lnTo>
                    <a:pt x="3007576" y="200876"/>
                  </a:lnTo>
                  <a:lnTo>
                    <a:pt x="3007576" y="202260"/>
                  </a:lnTo>
                  <a:lnTo>
                    <a:pt x="3007576" y="200228"/>
                  </a:lnTo>
                  <a:lnTo>
                    <a:pt x="3007627" y="200228"/>
                  </a:lnTo>
                  <a:lnTo>
                    <a:pt x="3007627" y="197447"/>
                  </a:lnTo>
                  <a:lnTo>
                    <a:pt x="3007678" y="197447"/>
                  </a:lnTo>
                  <a:lnTo>
                    <a:pt x="3007678" y="200228"/>
                  </a:lnTo>
                  <a:lnTo>
                    <a:pt x="3007678" y="199530"/>
                  </a:lnTo>
                  <a:lnTo>
                    <a:pt x="3007678" y="200228"/>
                  </a:lnTo>
                  <a:lnTo>
                    <a:pt x="3007678" y="197447"/>
                  </a:lnTo>
                  <a:lnTo>
                    <a:pt x="3007678" y="199530"/>
                  </a:lnTo>
                  <a:lnTo>
                    <a:pt x="3007729" y="200228"/>
                  </a:lnTo>
                  <a:lnTo>
                    <a:pt x="3007729" y="202260"/>
                  </a:lnTo>
                  <a:lnTo>
                    <a:pt x="3007729" y="199530"/>
                  </a:lnTo>
                  <a:lnTo>
                    <a:pt x="3007729" y="200228"/>
                  </a:lnTo>
                  <a:lnTo>
                    <a:pt x="3007729" y="199530"/>
                  </a:lnTo>
                  <a:lnTo>
                    <a:pt x="3007729" y="200876"/>
                  </a:lnTo>
                  <a:lnTo>
                    <a:pt x="3007818" y="200876"/>
                  </a:lnTo>
                  <a:lnTo>
                    <a:pt x="3007818" y="202260"/>
                  </a:lnTo>
                  <a:lnTo>
                    <a:pt x="3007818" y="200228"/>
                  </a:lnTo>
                  <a:lnTo>
                    <a:pt x="3007818" y="200876"/>
                  </a:lnTo>
                  <a:lnTo>
                    <a:pt x="3007869" y="200876"/>
                  </a:lnTo>
                  <a:lnTo>
                    <a:pt x="3007869" y="202260"/>
                  </a:lnTo>
                  <a:lnTo>
                    <a:pt x="3007869" y="200228"/>
                  </a:lnTo>
                  <a:lnTo>
                    <a:pt x="3007869" y="202260"/>
                  </a:lnTo>
                  <a:lnTo>
                    <a:pt x="3007869" y="200876"/>
                  </a:lnTo>
                  <a:lnTo>
                    <a:pt x="3007919" y="200876"/>
                  </a:lnTo>
                  <a:lnTo>
                    <a:pt x="3007919" y="202260"/>
                  </a:lnTo>
                  <a:lnTo>
                    <a:pt x="3007919" y="200876"/>
                  </a:lnTo>
                  <a:lnTo>
                    <a:pt x="3007919" y="202260"/>
                  </a:lnTo>
                  <a:lnTo>
                    <a:pt x="3007919" y="200876"/>
                  </a:lnTo>
                  <a:lnTo>
                    <a:pt x="3007919" y="202260"/>
                  </a:lnTo>
                  <a:lnTo>
                    <a:pt x="3007970" y="202260"/>
                  </a:lnTo>
                  <a:lnTo>
                    <a:pt x="3007970" y="200876"/>
                  </a:lnTo>
                  <a:lnTo>
                    <a:pt x="3007970" y="202260"/>
                  </a:lnTo>
                  <a:lnTo>
                    <a:pt x="3007970" y="200876"/>
                  </a:lnTo>
                  <a:lnTo>
                    <a:pt x="3007970" y="202260"/>
                  </a:lnTo>
                  <a:lnTo>
                    <a:pt x="3007970" y="200876"/>
                  </a:lnTo>
                  <a:lnTo>
                    <a:pt x="3007970" y="202260"/>
                  </a:lnTo>
                  <a:lnTo>
                    <a:pt x="3007970" y="200876"/>
                  </a:lnTo>
                  <a:lnTo>
                    <a:pt x="3008072" y="200876"/>
                  </a:lnTo>
                  <a:lnTo>
                    <a:pt x="3008072" y="202260"/>
                  </a:lnTo>
                  <a:lnTo>
                    <a:pt x="3008072" y="200228"/>
                  </a:lnTo>
                  <a:lnTo>
                    <a:pt x="3008072" y="200876"/>
                  </a:lnTo>
                  <a:lnTo>
                    <a:pt x="3008072" y="199530"/>
                  </a:lnTo>
                  <a:lnTo>
                    <a:pt x="3008072" y="200228"/>
                  </a:lnTo>
                  <a:lnTo>
                    <a:pt x="3008072" y="199530"/>
                  </a:lnTo>
                  <a:lnTo>
                    <a:pt x="3008122" y="199530"/>
                  </a:lnTo>
                  <a:lnTo>
                    <a:pt x="3008122" y="198831"/>
                  </a:lnTo>
                  <a:lnTo>
                    <a:pt x="3008122" y="200876"/>
                  </a:lnTo>
                  <a:lnTo>
                    <a:pt x="3008122" y="200228"/>
                  </a:lnTo>
                  <a:lnTo>
                    <a:pt x="3008173" y="200876"/>
                  </a:lnTo>
                  <a:lnTo>
                    <a:pt x="3008173" y="199530"/>
                  </a:lnTo>
                  <a:lnTo>
                    <a:pt x="3008173" y="202959"/>
                  </a:lnTo>
                  <a:lnTo>
                    <a:pt x="3008173" y="202260"/>
                  </a:lnTo>
                  <a:lnTo>
                    <a:pt x="3008275" y="202260"/>
                  </a:lnTo>
                  <a:lnTo>
                    <a:pt x="3008275" y="200876"/>
                  </a:lnTo>
                  <a:lnTo>
                    <a:pt x="3008275" y="202959"/>
                  </a:lnTo>
                  <a:lnTo>
                    <a:pt x="3008275" y="202260"/>
                  </a:lnTo>
                  <a:lnTo>
                    <a:pt x="3008275" y="202959"/>
                  </a:lnTo>
                  <a:lnTo>
                    <a:pt x="3008313" y="202260"/>
                  </a:lnTo>
                  <a:lnTo>
                    <a:pt x="3008313" y="202959"/>
                  </a:lnTo>
                  <a:lnTo>
                    <a:pt x="3008313" y="202260"/>
                  </a:lnTo>
                  <a:lnTo>
                    <a:pt x="3008364" y="202260"/>
                  </a:lnTo>
                  <a:lnTo>
                    <a:pt x="3008364" y="200876"/>
                  </a:lnTo>
                  <a:lnTo>
                    <a:pt x="3008364" y="202260"/>
                  </a:lnTo>
                  <a:lnTo>
                    <a:pt x="3008516" y="202260"/>
                  </a:lnTo>
                  <a:lnTo>
                    <a:pt x="3008516" y="200228"/>
                  </a:lnTo>
                  <a:lnTo>
                    <a:pt x="3008567" y="200228"/>
                  </a:lnTo>
                  <a:lnTo>
                    <a:pt x="3008567" y="199530"/>
                  </a:lnTo>
                  <a:lnTo>
                    <a:pt x="3008567" y="200228"/>
                  </a:lnTo>
                  <a:lnTo>
                    <a:pt x="3008567" y="197447"/>
                  </a:lnTo>
                  <a:lnTo>
                    <a:pt x="3008567" y="198831"/>
                  </a:lnTo>
                  <a:lnTo>
                    <a:pt x="3008567" y="197447"/>
                  </a:lnTo>
                  <a:lnTo>
                    <a:pt x="3008618" y="197447"/>
                  </a:lnTo>
                  <a:lnTo>
                    <a:pt x="3008618" y="196799"/>
                  </a:lnTo>
                  <a:lnTo>
                    <a:pt x="3008618" y="198831"/>
                  </a:lnTo>
                  <a:lnTo>
                    <a:pt x="3008719" y="198831"/>
                  </a:lnTo>
                  <a:lnTo>
                    <a:pt x="3008719" y="200876"/>
                  </a:lnTo>
                  <a:lnTo>
                    <a:pt x="3008719" y="200228"/>
                  </a:lnTo>
                  <a:lnTo>
                    <a:pt x="3008770" y="199530"/>
                  </a:lnTo>
                  <a:lnTo>
                    <a:pt x="3008770" y="200228"/>
                  </a:lnTo>
                  <a:lnTo>
                    <a:pt x="3008770" y="199530"/>
                  </a:lnTo>
                  <a:lnTo>
                    <a:pt x="3008770" y="202260"/>
                  </a:lnTo>
                  <a:lnTo>
                    <a:pt x="3008770" y="200228"/>
                  </a:lnTo>
                  <a:lnTo>
                    <a:pt x="3008821" y="200228"/>
                  </a:lnTo>
                  <a:lnTo>
                    <a:pt x="3008821" y="202260"/>
                  </a:lnTo>
                  <a:lnTo>
                    <a:pt x="3008821" y="200876"/>
                  </a:lnTo>
                  <a:lnTo>
                    <a:pt x="3008859" y="202260"/>
                  </a:lnTo>
                  <a:lnTo>
                    <a:pt x="3008859" y="200876"/>
                  </a:lnTo>
                  <a:lnTo>
                    <a:pt x="3008859" y="202959"/>
                  </a:lnTo>
                  <a:lnTo>
                    <a:pt x="3008859" y="202260"/>
                  </a:lnTo>
                  <a:lnTo>
                    <a:pt x="3008961" y="202260"/>
                  </a:lnTo>
                  <a:lnTo>
                    <a:pt x="3008961" y="202959"/>
                  </a:lnTo>
                  <a:lnTo>
                    <a:pt x="3008961" y="202260"/>
                  </a:lnTo>
                  <a:lnTo>
                    <a:pt x="3008961" y="202959"/>
                  </a:lnTo>
                  <a:lnTo>
                    <a:pt x="3008961" y="202260"/>
                  </a:lnTo>
                  <a:lnTo>
                    <a:pt x="3009012" y="202260"/>
                  </a:lnTo>
                  <a:lnTo>
                    <a:pt x="3009012" y="200228"/>
                  </a:lnTo>
                  <a:lnTo>
                    <a:pt x="3009012" y="200876"/>
                  </a:lnTo>
                  <a:lnTo>
                    <a:pt x="3009062" y="200228"/>
                  </a:lnTo>
                  <a:lnTo>
                    <a:pt x="3009062" y="199530"/>
                  </a:lnTo>
                  <a:lnTo>
                    <a:pt x="3009062" y="200228"/>
                  </a:lnTo>
                  <a:lnTo>
                    <a:pt x="3009062" y="197447"/>
                  </a:lnTo>
                  <a:lnTo>
                    <a:pt x="3009164" y="197447"/>
                  </a:lnTo>
                  <a:lnTo>
                    <a:pt x="3009164" y="196799"/>
                  </a:lnTo>
                  <a:lnTo>
                    <a:pt x="3009164" y="198831"/>
                  </a:lnTo>
                  <a:lnTo>
                    <a:pt x="3009215" y="197447"/>
                  </a:lnTo>
                  <a:lnTo>
                    <a:pt x="3009215" y="200228"/>
                  </a:lnTo>
                  <a:lnTo>
                    <a:pt x="3009215" y="199530"/>
                  </a:lnTo>
                  <a:lnTo>
                    <a:pt x="3009265" y="198831"/>
                  </a:lnTo>
                  <a:lnTo>
                    <a:pt x="3009265" y="200228"/>
                  </a:lnTo>
                  <a:lnTo>
                    <a:pt x="3009265" y="198831"/>
                  </a:lnTo>
                  <a:lnTo>
                    <a:pt x="3009265" y="199530"/>
                  </a:lnTo>
                  <a:lnTo>
                    <a:pt x="3009316" y="199530"/>
                  </a:lnTo>
                  <a:lnTo>
                    <a:pt x="3009316" y="200228"/>
                  </a:lnTo>
                  <a:lnTo>
                    <a:pt x="3009316" y="199530"/>
                  </a:lnTo>
                  <a:lnTo>
                    <a:pt x="3009316" y="200228"/>
                  </a:lnTo>
                  <a:lnTo>
                    <a:pt x="3009316" y="199530"/>
                  </a:lnTo>
                  <a:lnTo>
                    <a:pt x="3009316" y="200228"/>
                  </a:lnTo>
                  <a:lnTo>
                    <a:pt x="3009405" y="200228"/>
                  </a:lnTo>
                  <a:lnTo>
                    <a:pt x="3009405" y="202260"/>
                  </a:lnTo>
                  <a:lnTo>
                    <a:pt x="3009405" y="200876"/>
                  </a:lnTo>
                  <a:lnTo>
                    <a:pt x="3009456" y="200876"/>
                  </a:lnTo>
                  <a:lnTo>
                    <a:pt x="3009456" y="202260"/>
                  </a:lnTo>
                  <a:lnTo>
                    <a:pt x="3009456" y="200876"/>
                  </a:lnTo>
                  <a:lnTo>
                    <a:pt x="3009456" y="202260"/>
                  </a:lnTo>
                  <a:lnTo>
                    <a:pt x="3009456" y="200876"/>
                  </a:lnTo>
                  <a:lnTo>
                    <a:pt x="3009507" y="200876"/>
                  </a:lnTo>
                  <a:lnTo>
                    <a:pt x="3009507" y="200228"/>
                  </a:lnTo>
                  <a:lnTo>
                    <a:pt x="3009558" y="200228"/>
                  </a:lnTo>
                  <a:lnTo>
                    <a:pt x="3009558" y="198831"/>
                  </a:lnTo>
                  <a:lnTo>
                    <a:pt x="3009558" y="199530"/>
                  </a:lnTo>
                  <a:lnTo>
                    <a:pt x="3009558" y="196799"/>
                  </a:lnTo>
                  <a:lnTo>
                    <a:pt x="3009659" y="196799"/>
                  </a:lnTo>
                  <a:lnTo>
                    <a:pt x="3009659" y="195415"/>
                  </a:lnTo>
                  <a:lnTo>
                    <a:pt x="3009659" y="197447"/>
                  </a:lnTo>
                  <a:lnTo>
                    <a:pt x="3009710" y="197447"/>
                  </a:lnTo>
                  <a:lnTo>
                    <a:pt x="3009710" y="195415"/>
                  </a:lnTo>
                  <a:lnTo>
                    <a:pt x="3009710" y="198831"/>
                  </a:lnTo>
                  <a:lnTo>
                    <a:pt x="3009710" y="197447"/>
                  </a:lnTo>
                  <a:lnTo>
                    <a:pt x="3009761" y="197447"/>
                  </a:lnTo>
                  <a:lnTo>
                    <a:pt x="3009761" y="196113"/>
                  </a:lnTo>
                  <a:lnTo>
                    <a:pt x="3009761" y="198831"/>
                  </a:lnTo>
                  <a:lnTo>
                    <a:pt x="3009862" y="198831"/>
                  </a:lnTo>
                  <a:lnTo>
                    <a:pt x="3009862" y="196799"/>
                  </a:lnTo>
                  <a:lnTo>
                    <a:pt x="3009862" y="198831"/>
                  </a:lnTo>
                  <a:lnTo>
                    <a:pt x="3009901" y="199530"/>
                  </a:lnTo>
                  <a:lnTo>
                    <a:pt x="3009901" y="200228"/>
                  </a:lnTo>
                  <a:lnTo>
                    <a:pt x="3009901" y="199530"/>
                  </a:lnTo>
                  <a:lnTo>
                    <a:pt x="3009901" y="200228"/>
                  </a:lnTo>
                  <a:lnTo>
                    <a:pt x="3009951" y="200228"/>
                  </a:lnTo>
                  <a:lnTo>
                    <a:pt x="3009951" y="200876"/>
                  </a:lnTo>
                  <a:lnTo>
                    <a:pt x="3009951" y="200228"/>
                  </a:lnTo>
                  <a:lnTo>
                    <a:pt x="3009951" y="200876"/>
                  </a:lnTo>
                  <a:lnTo>
                    <a:pt x="3009951" y="200228"/>
                  </a:lnTo>
                  <a:lnTo>
                    <a:pt x="3009951" y="200876"/>
                  </a:lnTo>
                  <a:lnTo>
                    <a:pt x="3009951" y="200228"/>
                  </a:lnTo>
                  <a:lnTo>
                    <a:pt x="3010002" y="200228"/>
                  </a:lnTo>
                  <a:lnTo>
                    <a:pt x="3010002" y="200876"/>
                  </a:lnTo>
                  <a:lnTo>
                    <a:pt x="3010002" y="199530"/>
                  </a:lnTo>
                  <a:lnTo>
                    <a:pt x="3010104" y="199530"/>
                  </a:lnTo>
                  <a:lnTo>
                    <a:pt x="3010104" y="200228"/>
                  </a:lnTo>
                  <a:lnTo>
                    <a:pt x="3010104" y="197447"/>
                  </a:lnTo>
                  <a:lnTo>
                    <a:pt x="3010155" y="198831"/>
                  </a:lnTo>
                  <a:lnTo>
                    <a:pt x="3010155" y="196113"/>
                  </a:lnTo>
                  <a:lnTo>
                    <a:pt x="3010155" y="197447"/>
                  </a:lnTo>
                  <a:lnTo>
                    <a:pt x="3010205" y="196799"/>
                  </a:lnTo>
                  <a:lnTo>
                    <a:pt x="3010205" y="196113"/>
                  </a:lnTo>
                  <a:lnTo>
                    <a:pt x="3010205" y="196799"/>
                  </a:lnTo>
                  <a:lnTo>
                    <a:pt x="3010205" y="195415"/>
                  </a:lnTo>
                  <a:lnTo>
                    <a:pt x="3010205" y="198831"/>
                  </a:lnTo>
                  <a:lnTo>
                    <a:pt x="3010205" y="197447"/>
                  </a:lnTo>
                  <a:lnTo>
                    <a:pt x="3010307" y="197447"/>
                  </a:lnTo>
                  <a:lnTo>
                    <a:pt x="3010307" y="196113"/>
                  </a:lnTo>
                  <a:lnTo>
                    <a:pt x="3010307" y="197447"/>
                  </a:lnTo>
                  <a:lnTo>
                    <a:pt x="3010307" y="196799"/>
                  </a:lnTo>
                  <a:lnTo>
                    <a:pt x="3010358" y="196799"/>
                  </a:lnTo>
                  <a:lnTo>
                    <a:pt x="3010358" y="197447"/>
                  </a:lnTo>
                  <a:lnTo>
                    <a:pt x="3010408" y="197447"/>
                  </a:lnTo>
                  <a:lnTo>
                    <a:pt x="3010408" y="199530"/>
                  </a:lnTo>
                  <a:lnTo>
                    <a:pt x="3010447" y="198831"/>
                  </a:lnTo>
                  <a:lnTo>
                    <a:pt x="3010447" y="199530"/>
                  </a:lnTo>
                  <a:lnTo>
                    <a:pt x="3010548" y="199530"/>
                  </a:lnTo>
                  <a:lnTo>
                    <a:pt x="3010548" y="200228"/>
                  </a:lnTo>
                  <a:lnTo>
                    <a:pt x="3010548" y="199530"/>
                  </a:lnTo>
                  <a:lnTo>
                    <a:pt x="3010548" y="200228"/>
                  </a:lnTo>
                  <a:lnTo>
                    <a:pt x="3010548" y="199530"/>
                  </a:lnTo>
                  <a:lnTo>
                    <a:pt x="3010548" y="200228"/>
                  </a:lnTo>
                  <a:lnTo>
                    <a:pt x="3010548" y="199530"/>
                  </a:lnTo>
                  <a:lnTo>
                    <a:pt x="3010599" y="199530"/>
                  </a:lnTo>
                  <a:lnTo>
                    <a:pt x="3010599" y="200228"/>
                  </a:lnTo>
                  <a:lnTo>
                    <a:pt x="3010599" y="197447"/>
                  </a:lnTo>
                  <a:lnTo>
                    <a:pt x="3010599" y="198831"/>
                  </a:lnTo>
                  <a:lnTo>
                    <a:pt x="3010650" y="198831"/>
                  </a:lnTo>
                  <a:lnTo>
                    <a:pt x="3010650" y="197447"/>
                  </a:lnTo>
                  <a:lnTo>
                    <a:pt x="3010650" y="198831"/>
                  </a:lnTo>
                  <a:lnTo>
                    <a:pt x="3010650" y="196799"/>
                  </a:lnTo>
                  <a:lnTo>
                    <a:pt x="3010751" y="196799"/>
                  </a:lnTo>
                  <a:lnTo>
                    <a:pt x="3010751" y="197447"/>
                  </a:lnTo>
                  <a:lnTo>
                    <a:pt x="3010751" y="196799"/>
                  </a:lnTo>
                  <a:lnTo>
                    <a:pt x="3010751" y="198831"/>
                  </a:lnTo>
                  <a:lnTo>
                    <a:pt x="3010751" y="197447"/>
                  </a:lnTo>
                  <a:lnTo>
                    <a:pt x="3010802" y="197447"/>
                  </a:lnTo>
                  <a:lnTo>
                    <a:pt x="3010802" y="196799"/>
                  </a:lnTo>
                  <a:lnTo>
                    <a:pt x="3010802" y="199530"/>
                  </a:lnTo>
                  <a:lnTo>
                    <a:pt x="3010802" y="198831"/>
                  </a:lnTo>
                  <a:lnTo>
                    <a:pt x="3010853" y="198831"/>
                  </a:lnTo>
                  <a:lnTo>
                    <a:pt x="3010853" y="197447"/>
                  </a:lnTo>
                  <a:lnTo>
                    <a:pt x="3010853" y="199530"/>
                  </a:lnTo>
                  <a:lnTo>
                    <a:pt x="3010853" y="198831"/>
                  </a:lnTo>
                  <a:lnTo>
                    <a:pt x="3010904" y="198831"/>
                  </a:lnTo>
                  <a:lnTo>
                    <a:pt x="3010904" y="199530"/>
                  </a:lnTo>
                  <a:lnTo>
                    <a:pt x="3010993" y="199530"/>
                  </a:lnTo>
                  <a:lnTo>
                    <a:pt x="3010993" y="200228"/>
                  </a:lnTo>
                  <a:lnTo>
                    <a:pt x="3010993" y="199530"/>
                  </a:lnTo>
                  <a:lnTo>
                    <a:pt x="3010993" y="200228"/>
                  </a:lnTo>
                  <a:lnTo>
                    <a:pt x="3010993" y="199530"/>
                  </a:lnTo>
                  <a:lnTo>
                    <a:pt x="3010993" y="200228"/>
                  </a:lnTo>
                  <a:lnTo>
                    <a:pt x="3011044" y="200228"/>
                  </a:lnTo>
                  <a:lnTo>
                    <a:pt x="3011044" y="199530"/>
                  </a:lnTo>
                  <a:lnTo>
                    <a:pt x="3011044" y="200228"/>
                  </a:lnTo>
                  <a:lnTo>
                    <a:pt x="3011094" y="200228"/>
                  </a:lnTo>
                  <a:lnTo>
                    <a:pt x="3011094" y="199530"/>
                  </a:lnTo>
                  <a:lnTo>
                    <a:pt x="3011094" y="200228"/>
                  </a:lnTo>
                  <a:lnTo>
                    <a:pt x="3011094" y="198831"/>
                  </a:lnTo>
                  <a:lnTo>
                    <a:pt x="3011145" y="198831"/>
                  </a:lnTo>
                  <a:lnTo>
                    <a:pt x="3011145" y="199530"/>
                  </a:lnTo>
                  <a:lnTo>
                    <a:pt x="3011145" y="198831"/>
                  </a:lnTo>
                  <a:lnTo>
                    <a:pt x="3011145" y="199530"/>
                  </a:lnTo>
                  <a:lnTo>
                    <a:pt x="3011247" y="199530"/>
                  </a:lnTo>
                  <a:lnTo>
                    <a:pt x="3011247" y="198831"/>
                  </a:lnTo>
                  <a:lnTo>
                    <a:pt x="3011247" y="200876"/>
                  </a:lnTo>
                  <a:lnTo>
                    <a:pt x="3011247" y="200228"/>
                  </a:lnTo>
                  <a:lnTo>
                    <a:pt x="3011297" y="200228"/>
                  </a:lnTo>
                  <a:lnTo>
                    <a:pt x="3011297" y="199530"/>
                  </a:lnTo>
                  <a:lnTo>
                    <a:pt x="3011297" y="200876"/>
                  </a:lnTo>
                  <a:lnTo>
                    <a:pt x="3011297" y="200228"/>
                  </a:lnTo>
                  <a:lnTo>
                    <a:pt x="3011348" y="200876"/>
                  </a:lnTo>
                  <a:lnTo>
                    <a:pt x="3011348" y="200228"/>
                  </a:lnTo>
                  <a:lnTo>
                    <a:pt x="3011450" y="200228"/>
                  </a:lnTo>
                  <a:lnTo>
                    <a:pt x="3011450" y="200876"/>
                  </a:lnTo>
                  <a:lnTo>
                    <a:pt x="3011450" y="200228"/>
                  </a:lnTo>
                  <a:lnTo>
                    <a:pt x="3011450" y="200876"/>
                  </a:lnTo>
                  <a:lnTo>
                    <a:pt x="3011450" y="200228"/>
                  </a:lnTo>
                  <a:lnTo>
                    <a:pt x="3011488" y="200876"/>
                  </a:lnTo>
                  <a:lnTo>
                    <a:pt x="3011488" y="199530"/>
                  </a:lnTo>
                  <a:lnTo>
                    <a:pt x="3011488" y="200228"/>
                  </a:lnTo>
                  <a:lnTo>
                    <a:pt x="3011539" y="200228"/>
                  </a:lnTo>
                  <a:lnTo>
                    <a:pt x="3011539" y="199530"/>
                  </a:lnTo>
                  <a:lnTo>
                    <a:pt x="3011539" y="200228"/>
                  </a:lnTo>
                  <a:lnTo>
                    <a:pt x="3011539" y="199530"/>
                  </a:lnTo>
                  <a:lnTo>
                    <a:pt x="3011539" y="200228"/>
                  </a:lnTo>
                  <a:lnTo>
                    <a:pt x="3011539" y="199530"/>
                  </a:lnTo>
                  <a:lnTo>
                    <a:pt x="3011590" y="199530"/>
                  </a:lnTo>
                  <a:lnTo>
                    <a:pt x="3011590" y="197447"/>
                  </a:lnTo>
                  <a:lnTo>
                    <a:pt x="3011590" y="198831"/>
                  </a:lnTo>
                  <a:lnTo>
                    <a:pt x="3011590" y="197447"/>
                  </a:lnTo>
                  <a:lnTo>
                    <a:pt x="3011691" y="197447"/>
                  </a:lnTo>
                  <a:lnTo>
                    <a:pt x="3011691" y="199530"/>
                  </a:lnTo>
                  <a:lnTo>
                    <a:pt x="3011691" y="198831"/>
                  </a:lnTo>
                  <a:lnTo>
                    <a:pt x="3011691" y="199530"/>
                  </a:lnTo>
                  <a:lnTo>
                    <a:pt x="3011742" y="199530"/>
                  </a:lnTo>
                  <a:lnTo>
                    <a:pt x="3011742" y="200876"/>
                  </a:lnTo>
                  <a:lnTo>
                    <a:pt x="3011742" y="199530"/>
                  </a:lnTo>
                  <a:lnTo>
                    <a:pt x="3011742" y="200228"/>
                  </a:lnTo>
                  <a:lnTo>
                    <a:pt x="3011793" y="200228"/>
                  </a:lnTo>
                  <a:lnTo>
                    <a:pt x="3011793" y="202260"/>
                  </a:lnTo>
                  <a:lnTo>
                    <a:pt x="3011793" y="200876"/>
                  </a:lnTo>
                  <a:lnTo>
                    <a:pt x="3011894" y="200876"/>
                  </a:lnTo>
                  <a:lnTo>
                    <a:pt x="3011894" y="202260"/>
                  </a:lnTo>
                  <a:lnTo>
                    <a:pt x="3011894" y="200876"/>
                  </a:lnTo>
                  <a:lnTo>
                    <a:pt x="3011894" y="202260"/>
                  </a:lnTo>
                  <a:lnTo>
                    <a:pt x="3011894" y="200876"/>
                  </a:lnTo>
                  <a:lnTo>
                    <a:pt x="3011945" y="202260"/>
                  </a:lnTo>
                  <a:lnTo>
                    <a:pt x="3011945" y="200876"/>
                  </a:lnTo>
                  <a:lnTo>
                    <a:pt x="3011945" y="202260"/>
                  </a:lnTo>
                  <a:lnTo>
                    <a:pt x="3011945" y="200876"/>
                  </a:lnTo>
                  <a:lnTo>
                    <a:pt x="3011945" y="202260"/>
                  </a:lnTo>
                  <a:lnTo>
                    <a:pt x="3011945" y="200876"/>
                  </a:lnTo>
                  <a:lnTo>
                    <a:pt x="3011945" y="202260"/>
                  </a:lnTo>
                  <a:lnTo>
                    <a:pt x="3011945" y="200876"/>
                  </a:lnTo>
                  <a:lnTo>
                    <a:pt x="3011996" y="200876"/>
                  </a:lnTo>
                  <a:lnTo>
                    <a:pt x="3011996" y="200228"/>
                  </a:lnTo>
                  <a:lnTo>
                    <a:pt x="3011996" y="200876"/>
                  </a:lnTo>
                  <a:lnTo>
                    <a:pt x="3011996" y="200228"/>
                  </a:lnTo>
                  <a:lnTo>
                    <a:pt x="3012034" y="200228"/>
                  </a:lnTo>
                  <a:lnTo>
                    <a:pt x="3012034" y="199530"/>
                  </a:lnTo>
                  <a:lnTo>
                    <a:pt x="3012034" y="200228"/>
                  </a:lnTo>
                  <a:lnTo>
                    <a:pt x="3012034" y="199530"/>
                  </a:lnTo>
                  <a:lnTo>
                    <a:pt x="3012136" y="199530"/>
                  </a:lnTo>
                  <a:lnTo>
                    <a:pt x="3012136" y="198831"/>
                  </a:lnTo>
                  <a:lnTo>
                    <a:pt x="3012136" y="199530"/>
                  </a:lnTo>
                  <a:lnTo>
                    <a:pt x="3012136" y="197447"/>
                  </a:lnTo>
                  <a:lnTo>
                    <a:pt x="3012136" y="198831"/>
                  </a:lnTo>
                  <a:lnTo>
                    <a:pt x="3012136" y="197447"/>
                  </a:lnTo>
                  <a:lnTo>
                    <a:pt x="3012136" y="198831"/>
                  </a:lnTo>
                  <a:lnTo>
                    <a:pt x="3012187" y="198831"/>
                  </a:lnTo>
                  <a:lnTo>
                    <a:pt x="3012187" y="199530"/>
                  </a:lnTo>
                  <a:lnTo>
                    <a:pt x="3012187" y="197447"/>
                  </a:lnTo>
                  <a:lnTo>
                    <a:pt x="3012187" y="200228"/>
                  </a:lnTo>
                  <a:lnTo>
                    <a:pt x="3012237" y="200228"/>
                  </a:lnTo>
                  <a:lnTo>
                    <a:pt x="3012237" y="200876"/>
                  </a:lnTo>
                  <a:lnTo>
                    <a:pt x="3012237" y="199530"/>
                  </a:lnTo>
                  <a:lnTo>
                    <a:pt x="3012237" y="200876"/>
                  </a:lnTo>
                  <a:lnTo>
                    <a:pt x="3012339" y="200876"/>
                  </a:lnTo>
                  <a:lnTo>
                    <a:pt x="3012339" y="202260"/>
                  </a:lnTo>
                  <a:lnTo>
                    <a:pt x="3012390" y="202260"/>
                  </a:lnTo>
                  <a:lnTo>
                    <a:pt x="3012390" y="200876"/>
                  </a:lnTo>
                  <a:lnTo>
                    <a:pt x="3012390" y="202260"/>
                  </a:lnTo>
                  <a:lnTo>
                    <a:pt x="3012390" y="200876"/>
                  </a:lnTo>
                  <a:lnTo>
                    <a:pt x="3012440" y="202260"/>
                  </a:lnTo>
                  <a:lnTo>
                    <a:pt x="3012440" y="200876"/>
                  </a:lnTo>
                  <a:lnTo>
                    <a:pt x="3012440" y="202260"/>
                  </a:lnTo>
                  <a:lnTo>
                    <a:pt x="3012440" y="200876"/>
                  </a:lnTo>
                  <a:lnTo>
                    <a:pt x="3012440" y="202260"/>
                  </a:lnTo>
                  <a:lnTo>
                    <a:pt x="3012440" y="200876"/>
                  </a:lnTo>
                  <a:lnTo>
                    <a:pt x="3012491" y="200876"/>
                  </a:lnTo>
                  <a:lnTo>
                    <a:pt x="3012491" y="202260"/>
                  </a:lnTo>
                  <a:lnTo>
                    <a:pt x="3012491" y="200876"/>
                  </a:lnTo>
                  <a:lnTo>
                    <a:pt x="3012580" y="200228"/>
                  </a:lnTo>
                  <a:lnTo>
                    <a:pt x="3012580" y="198831"/>
                  </a:lnTo>
                  <a:lnTo>
                    <a:pt x="3012631" y="198831"/>
                  </a:lnTo>
                  <a:lnTo>
                    <a:pt x="3012631" y="199530"/>
                  </a:lnTo>
                  <a:lnTo>
                    <a:pt x="3012631" y="196799"/>
                  </a:lnTo>
                  <a:lnTo>
                    <a:pt x="3012631" y="197447"/>
                  </a:lnTo>
                  <a:lnTo>
                    <a:pt x="3012631" y="196799"/>
                  </a:lnTo>
                  <a:lnTo>
                    <a:pt x="3012682" y="196799"/>
                  </a:lnTo>
                  <a:lnTo>
                    <a:pt x="3012682" y="196113"/>
                  </a:lnTo>
                  <a:lnTo>
                    <a:pt x="3012682" y="197447"/>
                  </a:lnTo>
                  <a:lnTo>
                    <a:pt x="3012682" y="196799"/>
                  </a:lnTo>
                  <a:lnTo>
                    <a:pt x="3012682" y="197447"/>
                  </a:lnTo>
                  <a:lnTo>
                    <a:pt x="3012733" y="198831"/>
                  </a:lnTo>
                  <a:lnTo>
                    <a:pt x="3012733" y="199530"/>
                  </a:lnTo>
                  <a:lnTo>
                    <a:pt x="3012733" y="198831"/>
                  </a:lnTo>
                  <a:lnTo>
                    <a:pt x="3012733" y="199530"/>
                  </a:lnTo>
                  <a:lnTo>
                    <a:pt x="3012834" y="199530"/>
                  </a:lnTo>
                  <a:lnTo>
                    <a:pt x="3012834" y="200228"/>
                  </a:lnTo>
                  <a:lnTo>
                    <a:pt x="3012834" y="199530"/>
                  </a:lnTo>
                  <a:lnTo>
                    <a:pt x="3012834" y="200228"/>
                  </a:lnTo>
                  <a:lnTo>
                    <a:pt x="3012834" y="199530"/>
                  </a:lnTo>
                  <a:lnTo>
                    <a:pt x="3012834" y="200228"/>
                  </a:lnTo>
                  <a:lnTo>
                    <a:pt x="3012885" y="200228"/>
                  </a:lnTo>
                  <a:lnTo>
                    <a:pt x="3012885" y="200876"/>
                  </a:lnTo>
                  <a:lnTo>
                    <a:pt x="3012885" y="200228"/>
                  </a:lnTo>
                  <a:lnTo>
                    <a:pt x="3012885" y="200876"/>
                  </a:lnTo>
                  <a:lnTo>
                    <a:pt x="3012885" y="200228"/>
                  </a:lnTo>
                  <a:lnTo>
                    <a:pt x="3012885" y="200876"/>
                  </a:lnTo>
                  <a:lnTo>
                    <a:pt x="3012885" y="200228"/>
                  </a:lnTo>
                  <a:lnTo>
                    <a:pt x="3012885" y="200876"/>
                  </a:lnTo>
                  <a:lnTo>
                    <a:pt x="3012936" y="200876"/>
                  </a:lnTo>
                  <a:lnTo>
                    <a:pt x="3012936" y="202260"/>
                  </a:lnTo>
                  <a:lnTo>
                    <a:pt x="3012936" y="200876"/>
                  </a:lnTo>
                  <a:lnTo>
                    <a:pt x="3012936" y="202260"/>
                  </a:lnTo>
                  <a:lnTo>
                    <a:pt x="3012936" y="200876"/>
                  </a:lnTo>
                  <a:lnTo>
                    <a:pt x="3012936" y="202260"/>
                  </a:lnTo>
                  <a:lnTo>
                    <a:pt x="3013037" y="202260"/>
                  </a:lnTo>
                  <a:lnTo>
                    <a:pt x="3013037" y="202959"/>
                  </a:lnTo>
                  <a:lnTo>
                    <a:pt x="3013037" y="200876"/>
                  </a:lnTo>
                  <a:lnTo>
                    <a:pt x="3013076" y="200876"/>
                  </a:lnTo>
                  <a:lnTo>
                    <a:pt x="3013076" y="202260"/>
                  </a:lnTo>
                  <a:lnTo>
                    <a:pt x="3013076" y="200228"/>
                  </a:lnTo>
                  <a:lnTo>
                    <a:pt x="3013076" y="200876"/>
                  </a:lnTo>
                  <a:lnTo>
                    <a:pt x="3013076" y="200228"/>
                  </a:lnTo>
                  <a:lnTo>
                    <a:pt x="3013126" y="200228"/>
                  </a:lnTo>
                  <a:lnTo>
                    <a:pt x="3013126" y="198831"/>
                  </a:lnTo>
                  <a:lnTo>
                    <a:pt x="3013126" y="199530"/>
                  </a:lnTo>
                  <a:lnTo>
                    <a:pt x="3013126" y="197447"/>
                  </a:lnTo>
                  <a:lnTo>
                    <a:pt x="3013126" y="199530"/>
                  </a:lnTo>
                  <a:lnTo>
                    <a:pt x="3013177" y="199530"/>
                  </a:lnTo>
                  <a:lnTo>
                    <a:pt x="3013177" y="197447"/>
                  </a:lnTo>
                  <a:lnTo>
                    <a:pt x="3013177" y="200876"/>
                  </a:lnTo>
                  <a:lnTo>
                    <a:pt x="3013177" y="200228"/>
                  </a:lnTo>
                  <a:lnTo>
                    <a:pt x="3013279" y="200228"/>
                  </a:lnTo>
                  <a:lnTo>
                    <a:pt x="3013279" y="199530"/>
                  </a:lnTo>
                  <a:lnTo>
                    <a:pt x="3013279" y="200228"/>
                  </a:lnTo>
                  <a:lnTo>
                    <a:pt x="3013330" y="200228"/>
                  </a:lnTo>
                  <a:lnTo>
                    <a:pt x="3013330" y="199530"/>
                  </a:lnTo>
                  <a:lnTo>
                    <a:pt x="3013330" y="200228"/>
                  </a:lnTo>
                  <a:lnTo>
                    <a:pt x="3013330" y="199530"/>
                  </a:lnTo>
                  <a:lnTo>
                    <a:pt x="3013330" y="200228"/>
                  </a:lnTo>
                  <a:lnTo>
                    <a:pt x="3013330" y="199530"/>
                  </a:lnTo>
                  <a:lnTo>
                    <a:pt x="3013380" y="199530"/>
                  </a:lnTo>
                  <a:lnTo>
                    <a:pt x="3013380" y="200228"/>
                  </a:lnTo>
                  <a:lnTo>
                    <a:pt x="3013380" y="199530"/>
                  </a:lnTo>
                  <a:lnTo>
                    <a:pt x="3013380" y="200228"/>
                  </a:lnTo>
                  <a:lnTo>
                    <a:pt x="3013380" y="199530"/>
                  </a:lnTo>
                  <a:lnTo>
                    <a:pt x="3013380" y="200228"/>
                  </a:lnTo>
                  <a:lnTo>
                    <a:pt x="3013380" y="199530"/>
                  </a:lnTo>
                  <a:lnTo>
                    <a:pt x="3013380" y="200228"/>
                  </a:lnTo>
                  <a:lnTo>
                    <a:pt x="3013482" y="199530"/>
                  </a:lnTo>
                  <a:lnTo>
                    <a:pt x="3013482" y="200876"/>
                  </a:lnTo>
                  <a:lnTo>
                    <a:pt x="3013482" y="200228"/>
                  </a:lnTo>
                  <a:lnTo>
                    <a:pt x="3013482" y="200876"/>
                  </a:lnTo>
                  <a:lnTo>
                    <a:pt x="3013533" y="200876"/>
                  </a:lnTo>
                  <a:lnTo>
                    <a:pt x="3013533" y="200228"/>
                  </a:lnTo>
                  <a:lnTo>
                    <a:pt x="3013533" y="200876"/>
                  </a:lnTo>
                  <a:lnTo>
                    <a:pt x="3013533" y="200228"/>
                  </a:lnTo>
                  <a:lnTo>
                    <a:pt x="3013583" y="200228"/>
                  </a:lnTo>
                  <a:lnTo>
                    <a:pt x="3013583" y="200876"/>
                  </a:lnTo>
                  <a:lnTo>
                    <a:pt x="3013583" y="198831"/>
                  </a:lnTo>
                  <a:lnTo>
                    <a:pt x="3013622" y="198831"/>
                  </a:lnTo>
                  <a:lnTo>
                    <a:pt x="3013622" y="200876"/>
                  </a:lnTo>
                  <a:lnTo>
                    <a:pt x="3013622" y="198831"/>
                  </a:lnTo>
                  <a:lnTo>
                    <a:pt x="3013622" y="199530"/>
                  </a:lnTo>
                  <a:lnTo>
                    <a:pt x="3013723" y="199530"/>
                  </a:lnTo>
                  <a:lnTo>
                    <a:pt x="3013723" y="202959"/>
                  </a:lnTo>
                  <a:lnTo>
                    <a:pt x="3013723" y="200876"/>
                  </a:lnTo>
                  <a:lnTo>
                    <a:pt x="3013774" y="200876"/>
                  </a:lnTo>
                  <a:lnTo>
                    <a:pt x="3013774" y="202959"/>
                  </a:lnTo>
                  <a:lnTo>
                    <a:pt x="3013774" y="200876"/>
                  </a:lnTo>
                  <a:lnTo>
                    <a:pt x="3013825" y="202260"/>
                  </a:lnTo>
                  <a:lnTo>
                    <a:pt x="3013825" y="202959"/>
                  </a:lnTo>
                  <a:lnTo>
                    <a:pt x="3013825" y="202260"/>
                  </a:lnTo>
                  <a:lnTo>
                    <a:pt x="3013926" y="202260"/>
                  </a:lnTo>
                  <a:lnTo>
                    <a:pt x="3013926" y="200876"/>
                  </a:lnTo>
                  <a:lnTo>
                    <a:pt x="3013926" y="202260"/>
                  </a:lnTo>
                  <a:lnTo>
                    <a:pt x="3013977" y="202959"/>
                  </a:lnTo>
                  <a:lnTo>
                    <a:pt x="3013977" y="202260"/>
                  </a:lnTo>
                  <a:lnTo>
                    <a:pt x="3013977" y="202959"/>
                  </a:lnTo>
                  <a:lnTo>
                    <a:pt x="3013977" y="202260"/>
                  </a:lnTo>
                  <a:lnTo>
                    <a:pt x="3014028" y="202260"/>
                  </a:lnTo>
                  <a:lnTo>
                    <a:pt x="3014028" y="200228"/>
                  </a:lnTo>
                  <a:lnTo>
                    <a:pt x="3014028" y="200876"/>
                  </a:lnTo>
                  <a:lnTo>
                    <a:pt x="3014028" y="200228"/>
                  </a:lnTo>
                  <a:lnTo>
                    <a:pt x="3014028" y="200876"/>
                  </a:lnTo>
                  <a:lnTo>
                    <a:pt x="3014079" y="200228"/>
                  </a:lnTo>
                  <a:lnTo>
                    <a:pt x="3014079" y="200876"/>
                  </a:lnTo>
                  <a:lnTo>
                    <a:pt x="3014079" y="198831"/>
                  </a:lnTo>
                  <a:lnTo>
                    <a:pt x="3014079" y="199530"/>
                  </a:lnTo>
                  <a:lnTo>
                    <a:pt x="3014168" y="200228"/>
                  </a:lnTo>
                  <a:lnTo>
                    <a:pt x="3014168" y="200876"/>
                  </a:lnTo>
                  <a:lnTo>
                    <a:pt x="3014168" y="199530"/>
                  </a:lnTo>
                  <a:lnTo>
                    <a:pt x="3014168" y="202260"/>
                  </a:lnTo>
                  <a:lnTo>
                    <a:pt x="3014219" y="202959"/>
                  </a:lnTo>
                  <a:lnTo>
                    <a:pt x="3014219" y="200876"/>
                  </a:lnTo>
                  <a:lnTo>
                    <a:pt x="3014219" y="202959"/>
                  </a:lnTo>
                  <a:lnTo>
                    <a:pt x="3014269" y="202959"/>
                  </a:lnTo>
                  <a:lnTo>
                    <a:pt x="3014269" y="202260"/>
                  </a:lnTo>
                  <a:lnTo>
                    <a:pt x="3014269" y="202959"/>
                  </a:lnTo>
                  <a:lnTo>
                    <a:pt x="3014320" y="202959"/>
                  </a:lnTo>
                  <a:lnTo>
                    <a:pt x="3014320" y="202260"/>
                  </a:lnTo>
                  <a:lnTo>
                    <a:pt x="3014320" y="202959"/>
                  </a:lnTo>
                  <a:lnTo>
                    <a:pt x="3014422" y="202260"/>
                  </a:lnTo>
                  <a:lnTo>
                    <a:pt x="3014422" y="202959"/>
                  </a:lnTo>
                  <a:lnTo>
                    <a:pt x="3014422" y="200876"/>
                  </a:lnTo>
                  <a:lnTo>
                    <a:pt x="3014422" y="202959"/>
                  </a:lnTo>
                  <a:lnTo>
                    <a:pt x="3014422" y="202260"/>
                  </a:lnTo>
                  <a:lnTo>
                    <a:pt x="3014422" y="202959"/>
                  </a:lnTo>
                  <a:lnTo>
                    <a:pt x="3014472" y="202959"/>
                  </a:lnTo>
                  <a:lnTo>
                    <a:pt x="3014472" y="200876"/>
                  </a:lnTo>
                  <a:lnTo>
                    <a:pt x="3014523" y="200876"/>
                  </a:lnTo>
                  <a:lnTo>
                    <a:pt x="3014523" y="200228"/>
                  </a:lnTo>
                  <a:lnTo>
                    <a:pt x="3014523" y="200876"/>
                  </a:lnTo>
                  <a:lnTo>
                    <a:pt x="3014523" y="199530"/>
                  </a:lnTo>
                  <a:lnTo>
                    <a:pt x="3014523" y="200876"/>
                  </a:lnTo>
                  <a:lnTo>
                    <a:pt x="3014625" y="200228"/>
                  </a:lnTo>
                  <a:lnTo>
                    <a:pt x="3014625" y="197447"/>
                  </a:lnTo>
                  <a:lnTo>
                    <a:pt x="3014625" y="200228"/>
                  </a:lnTo>
                  <a:lnTo>
                    <a:pt x="3014663" y="199530"/>
                  </a:lnTo>
                  <a:lnTo>
                    <a:pt x="3014663" y="198831"/>
                  </a:lnTo>
                  <a:lnTo>
                    <a:pt x="3014663" y="202260"/>
                  </a:lnTo>
                  <a:lnTo>
                    <a:pt x="3014663" y="200876"/>
                  </a:lnTo>
                  <a:lnTo>
                    <a:pt x="3014714" y="200228"/>
                  </a:lnTo>
                  <a:lnTo>
                    <a:pt x="3014714" y="202260"/>
                  </a:lnTo>
                  <a:lnTo>
                    <a:pt x="3014765" y="202260"/>
                  </a:lnTo>
                  <a:lnTo>
                    <a:pt x="3014765" y="200876"/>
                  </a:lnTo>
                  <a:lnTo>
                    <a:pt x="3014765" y="202260"/>
                  </a:lnTo>
                  <a:lnTo>
                    <a:pt x="3014765" y="200876"/>
                  </a:lnTo>
                  <a:lnTo>
                    <a:pt x="3014765" y="202959"/>
                  </a:lnTo>
                  <a:lnTo>
                    <a:pt x="3014765" y="202260"/>
                  </a:lnTo>
                  <a:lnTo>
                    <a:pt x="3014765" y="202959"/>
                  </a:lnTo>
                  <a:lnTo>
                    <a:pt x="3014765" y="202260"/>
                  </a:lnTo>
                  <a:lnTo>
                    <a:pt x="3014866" y="202260"/>
                  </a:lnTo>
                  <a:lnTo>
                    <a:pt x="3014866" y="202959"/>
                  </a:lnTo>
                  <a:lnTo>
                    <a:pt x="3014866" y="202260"/>
                  </a:lnTo>
                  <a:lnTo>
                    <a:pt x="3014866" y="202959"/>
                  </a:lnTo>
                  <a:lnTo>
                    <a:pt x="3014866" y="202260"/>
                  </a:lnTo>
                  <a:lnTo>
                    <a:pt x="3014866" y="202959"/>
                  </a:lnTo>
                  <a:lnTo>
                    <a:pt x="3014917" y="202959"/>
                  </a:lnTo>
                  <a:lnTo>
                    <a:pt x="3014917" y="202260"/>
                  </a:lnTo>
                  <a:lnTo>
                    <a:pt x="3014917" y="202959"/>
                  </a:lnTo>
                  <a:lnTo>
                    <a:pt x="3014968" y="202959"/>
                  </a:lnTo>
                  <a:lnTo>
                    <a:pt x="3014968" y="202260"/>
                  </a:lnTo>
                  <a:lnTo>
                    <a:pt x="3014968" y="202959"/>
                  </a:lnTo>
                  <a:lnTo>
                    <a:pt x="3014968" y="202260"/>
                  </a:lnTo>
                  <a:lnTo>
                    <a:pt x="3015069" y="202260"/>
                  </a:lnTo>
                  <a:lnTo>
                    <a:pt x="3015069" y="200228"/>
                  </a:lnTo>
                  <a:lnTo>
                    <a:pt x="3015069" y="200876"/>
                  </a:lnTo>
                  <a:lnTo>
                    <a:pt x="3015069" y="199530"/>
                  </a:lnTo>
                  <a:lnTo>
                    <a:pt x="3015120" y="199530"/>
                  </a:lnTo>
                  <a:lnTo>
                    <a:pt x="3015120" y="198831"/>
                  </a:lnTo>
                  <a:lnTo>
                    <a:pt x="3015120" y="200876"/>
                  </a:lnTo>
                  <a:lnTo>
                    <a:pt x="3015120" y="200228"/>
                  </a:lnTo>
                  <a:lnTo>
                    <a:pt x="3015120" y="200876"/>
                  </a:lnTo>
                  <a:lnTo>
                    <a:pt x="3015120" y="198831"/>
                  </a:lnTo>
                  <a:lnTo>
                    <a:pt x="3015171" y="198831"/>
                  </a:lnTo>
                  <a:lnTo>
                    <a:pt x="3015171" y="202260"/>
                  </a:lnTo>
                  <a:lnTo>
                    <a:pt x="3015171" y="200228"/>
                  </a:lnTo>
                  <a:lnTo>
                    <a:pt x="3015171" y="200876"/>
                  </a:lnTo>
                  <a:lnTo>
                    <a:pt x="3015209" y="200876"/>
                  </a:lnTo>
                  <a:lnTo>
                    <a:pt x="3015209" y="202959"/>
                  </a:lnTo>
                  <a:lnTo>
                    <a:pt x="3015209" y="202260"/>
                  </a:lnTo>
                  <a:lnTo>
                    <a:pt x="3015311" y="202260"/>
                  </a:lnTo>
                  <a:lnTo>
                    <a:pt x="3015311" y="202959"/>
                  </a:lnTo>
                  <a:lnTo>
                    <a:pt x="3015311" y="202260"/>
                  </a:lnTo>
                  <a:lnTo>
                    <a:pt x="3015311" y="202959"/>
                  </a:lnTo>
                  <a:lnTo>
                    <a:pt x="3015311" y="202260"/>
                  </a:lnTo>
                  <a:lnTo>
                    <a:pt x="3015311" y="202959"/>
                  </a:lnTo>
                  <a:lnTo>
                    <a:pt x="3015311" y="202260"/>
                  </a:lnTo>
                  <a:lnTo>
                    <a:pt x="3015311" y="202959"/>
                  </a:lnTo>
                  <a:lnTo>
                    <a:pt x="3015362" y="202959"/>
                  </a:lnTo>
                  <a:lnTo>
                    <a:pt x="3015362" y="202260"/>
                  </a:lnTo>
                  <a:lnTo>
                    <a:pt x="3015362" y="202959"/>
                  </a:lnTo>
                  <a:lnTo>
                    <a:pt x="3015362" y="202260"/>
                  </a:lnTo>
                  <a:lnTo>
                    <a:pt x="3015362" y="202959"/>
                  </a:lnTo>
                  <a:lnTo>
                    <a:pt x="3015412" y="202260"/>
                  </a:lnTo>
                  <a:lnTo>
                    <a:pt x="3015412" y="202959"/>
                  </a:lnTo>
                  <a:lnTo>
                    <a:pt x="3015412" y="202260"/>
                  </a:lnTo>
                  <a:lnTo>
                    <a:pt x="3015412" y="202959"/>
                  </a:lnTo>
                  <a:lnTo>
                    <a:pt x="3015412" y="202260"/>
                  </a:lnTo>
                  <a:lnTo>
                    <a:pt x="3015412" y="202959"/>
                  </a:lnTo>
                  <a:lnTo>
                    <a:pt x="3015412" y="202260"/>
                  </a:lnTo>
                  <a:lnTo>
                    <a:pt x="3015412" y="202959"/>
                  </a:lnTo>
                  <a:lnTo>
                    <a:pt x="3015514" y="202260"/>
                  </a:lnTo>
                  <a:lnTo>
                    <a:pt x="3015514" y="202959"/>
                  </a:lnTo>
                  <a:lnTo>
                    <a:pt x="3015514" y="200876"/>
                  </a:lnTo>
                  <a:lnTo>
                    <a:pt x="3015514" y="202959"/>
                  </a:lnTo>
                  <a:lnTo>
                    <a:pt x="3015514" y="200228"/>
                  </a:lnTo>
                  <a:lnTo>
                    <a:pt x="3015565" y="200228"/>
                  </a:lnTo>
                  <a:lnTo>
                    <a:pt x="3015565" y="200876"/>
                  </a:lnTo>
                  <a:lnTo>
                    <a:pt x="3015565" y="199530"/>
                  </a:lnTo>
                  <a:lnTo>
                    <a:pt x="3015565" y="200228"/>
                  </a:lnTo>
                  <a:lnTo>
                    <a:pt x="3015565" y="198831"/>
                  </a:lnTo>
                  <a:lnTo>
                    <a:pt x="3015615" y="198831"/>
                  </a:lnTo>
                  <a:lnTo>
                    <a:pt x="3015615" y="200228"/>
                  </a:lnTo>
                  <a:lnTo>
                    <a:pt x="3015615" y="198831"/>
                  </a:lnTo>
                  <a:lnTo>
                    <a:pt x="3015615" y="199530"/>
                  </a:lnTo>
                  <a:lnTo>
                    <a:pt x="3015666" y="200228"/>
                  </a:lnTo>
                  <a:lnTo>
                    <a:pt x="3015666" y="202260"/>
                  </a:lnTo>
                  <a:lnTo>
                    <a:pt x="3015666" y="200228"/>
                  </a:lnTo>
                  <a:lnTo>
                    <a:pt x="3015666" y="202260"/>
                  </a:lnTo>
                  <a:lnTo>
                    <a:pt x="3015755" y="202260"/>
                  </a:lnTo>
                  <a:lnTo>
                    <a:pt x="3015755" y="200228"/>
                  </a:lnTo>
                  <a:lnTo>
                    <a:pt x="3015755" y="202260"/>
                  </a:lnTo>
                  <a:lnTo>
                    <a:pt x="3015755" y="200876"/>
                  </a:lnTo>
                  <a:lnTo>
                    <a:pt x="3015755" y="202260"/>
                  </a:lnTo>
                  <a:lnTo>
                    <a:pt x="3015806" y="200876"/>
                  </a:lnTo>
                  <a:lnTo>
                    <a:pt x="3015806" y="202260"/>
                  </a:lnTo>
                  <a:lnTo>
                    <a:pt x="3015806" y="200876"/>
                  </a:lnTo>
                  <a:lnTo>
                    <a:pt x="3015806" y="202260"/>
                  </a:lnTo>
                  <a:lnTo>
                    <a:pt x="3015908" y="202260"/>
                  </a:lnTo>
                  <a:lnTo>
                    <a:pt x="3015908" y="202959"/>
                  </a:lnTo>
                  <a:lnTo>
                    <a:pt x="3015908" y="202260"/>
                  </a:lnTo>
                  <a:lnTo>
                    <a:pt x="3015908" y="202959"/>
                  </a:lnTo>
                  <a:lnTo>
                    <a:pt x="3015908" y="202260"/>
                  </a:lnTo>
                  <a:lnTo>
                    <a:pt x="3015908" y="202959"/>
                  </a:lnTo>
                  <a:lnTo>
                    <a:pt x="3015908" y="202260"/>
                  </a:lnTo>
                  <a:lnTo>
                    <a:pt x="3016009" y="200876"/>
                  </a:lnTo>
                  <a:lnTo>
                    <a:pt x="3016009" y="202260"/>
                  </a:lnTo>
                  <a:lnTo>
                    <a:pt x="3016009" y="200876"/>
                  </a:lnTo>
                  <a:lnTo>
                    <a:pt x="3016009" y="202260"/>
                  </a:lnTo>
                  <a:lnTo>
                    <a:pt x="3016009" y="200228"/>
                  </a:lnTo>
                  <a:lnTo>
                    <a:pt x="3016060" y="200228"/>
                  </a:lnTo>
                  <a:lnTo>
                    <a:pt x="3016060" y="199530"/>
                  </a:lnTo>
                  <a:lnTo>
                    <a:pt x="3016060" y="200228"/>
                  </a:lnTo>
                  <a:lnTo>
                    <a:pt x="3016060" y="198831"/>
                  </a:lnTo>
                  <a:lnTo>
                    <a:pt x="3016060" y="200228"/>
                  </a:lnTo>
                  <a:lnTo>
                    <a:pt x="3016060" y="199530"/>
                  </a:lnTo>
                  <a:lnTo>
                    <a:pt x="3016111" y="199530"/>
                  </a:lnTo>
                  <a:lnTo>
                    <a:pt x="3016111" y="197447"/>
                  </a:lnTo>
                  <a:lnTo>
                    <a:pt x="3016111" y="200228"/>
                  </a:lnTo>
                  <a:lnTo>
                    <a:pt x="3016212" y="200228"/>
                  </a:lnTo>
                  <a:lnTo>
                    <a:pt x="3016212" y="200876"/>
                  </a:lnTo>
                  <a:lnTo>
                    <a:pt x="3016212" y="199530"/>
                  </a:lnTo>
                  <a:lnTo>
                    <a:pt x="3016212" y="200876"/>
                  </a:lnTo>
                  <a:lnTo>
                    <a:pt x="3016251" y="200876"/>
                  </a:lnTo>
                  <a:lnTo>
                    <a:pt x="3016251" y="200228"/>
                  </a:lnTo>
                  <a:lnTo>
                    <a:pt x="3016251" y="200876"/>
                  </a:lnTo>
                  <a:lnTo>
                    <a:pt x="3016251" y="200228"/>
                  </a:lnTo>
                  <a:lnTo>
                    <a:pt x="3016251" y="200876"/>
                  </a:lnTo>
                  <a:lnTo>
                    <a:pt x="3016301" y="200876"/>
                  </a:lnTo>
                  <a:lnTo>
                    <a:pt x="3016301" y="200228"/>
                  </a:lnTo>
                  <a:lnTo>
                    <a:pt x="3016301" y="200876"/>
                  </a:lnTo>
                  <a:lnTo>
                    <a:pt x="3016301" y="200228"/>
                  </a:lnTo>
                  <a:lnTo>
                    <a:pt x="3016301" y="200876"/>
                  </a:lnTo>
                  <a:lnTo>
                    <a:pt x="3016301" y="200228"/>
                  </a:lnTo>
                  <a:lnTo>
                    <a:pt x="3016301" y="200876"/>
                  </a:lnTo>
                  <a:lnTo>
                    <a:pt x="3016352" y="200876"/>
                  </a:lnTo>
                  <a:lnTo>
                    <a:pt x="3016352" y="202260"/>
                  </a:lnTo>
                  <a:lnTo>
                    <a:pt x="3016352" y="200876"/>
                  </a:lnTo>
                  <a:lnTo>
                    <a:pt x="3016352" y="202260"/>
                  </a:lnTo>
                  <a:lnTo>
                    <a:pt x="3016454" y="200876"/>
                  </a:lnTo>
                  <a:lnTo>
                    <a:pt x="3016454" y="202260"/>
                  </a:lnTo>
                  <a:lnTo>
                    <a:pt x="3016454" y="200876"/>
                  </a:lnTo>
                  <a:lnTo>
                    <a:pt x="3016505" y="200876"/>
                  </a:lnTo>
                  <a:lnTo>
                    <a:pt x="3016505" y="200228"/>
                  </a:lnTo>
                  <a:lnTo>
                    <a:pt x="3016505" y="200876"/>
                  </a:lnTo>
                  <a:lnTo>
                    <a:pt x="3016505" y="199530"/>
                  </a:lnTo>
                  <a:lnTo>
                    <a:pt x="3016505" y="200228"/>
                  </a:lnTo>
                  <a:lnTo>
                    <a:pt x="3016555" y="199530"/>
                  </a:lnTo>
                  <a:lnTo>
                    <a:pt x="3016555" y="200876"/>
                  </a:lnTo>
                  <a:lnTo>
                    <a:pt x="3016555" y="199530"/>
                  </a:lnTo>
                  <a:lnTo>
                    <a:pt x="3016555" y="200228"/>
                  </a:lnTo>
                  <a:lnTo>
                    <a:pt x="3016657" y="200876"/>
                  </a:lnTo>
                  <a:lnTo>
                    <a:pt x="3016657" y="202959"/>
                  </a:lnTo>
                  <a:lnTo>
                    <a:pt x="3016657" y="200876"/>
                  </a:lnTo>
                  <a:lnTo>
                    <a:pt x="3016657" y="202260"/>
                  </a:lnTo>
                  <a:lnTo>
                    <a:pt x="3016708" y="202260"/>
                  </a:lnTo>
                  <a:lnTo>
                    <a:pt x="3016708" y="202959"/>
                  </a:lnTo>
                  <a:lnTo>
                    <a:pt x="3016708" y="202260"/>
                  </a:lnTo>
                  <a:lnTo>
                    <a:pt x="3016708" y="202959"/>
                  </a:lnTo>
                  <a:lnTo>
                    <a:pt x="3016758" y="202959"/>
                  </a:lnTo>
                  <a:lnTo>
                    <a:pt x="3016758" y="202260"/>
                  </a:lnTo>
                  <a:lnTo>
                    <a:pt x="3016758" y="202959"/>
                  </a:lnTo>
                  <a:lnTo>
                    <a:pt x="3016758" y="202260"/>
                  </a:lnTo>
                  <a:lnTo>
                    <a:pt x="3016797" y="202260"/>
                  </a:lnTo>
                  <a:lnTo>
                    <a:pt x="3016797" y="202959"/>
                  </a:lnTo>
                  <a:lnTo>
                    <a:pt x="3016797" y="202260"/>
                  </a:lnTo>
                  <a:lnTo>
                    <a:pt x="3016797" y="202959"/>
                  </a:lnTo>
                  <a:lnTo>
                    <a:pt x="3016797" y="202260"/>
                  </a:lnTo>
                  <a:lnTo>
                    <a:pt x="3016797" y="202959"/>
                  </a:lnTo>
                  <a:lnTo>
                    <a:pt x="3016898" y="202959"/>
                  </a:lnTo>
                  <a:lnTo>
                    <a:pt x="3016898" y="202260"/>
                  </a:lnTo>
                  <a:lnTo>
                    <a:pt x="3016898" y="202959"/>
                  </a:lnTo>
                  <a:lnTo>
                    <a:pt x="3016898" y="202260"/>
                  </a:lnTo>
                  <a:lnTo>
                    <a:pt x="3016898" y="202959"/>
                  </a:lnTo>
                  <a:lnTo>
                    <a:pt x="3016898" y="202260"/>
                  </a:lnTo>
                  <a:lnTo>
                    <a:pt x="3016949" y="202260"/>
                  </a:lnTo>
                  <a:lnTo>
                    <a:pt x="3016949" y="200876"/>
                  </a:lnTo>
                  <a:lnTo>
                    <a:pt x="3017000" y="200876"/>
                  </a:lnTo>
                  <a:lnTo>
                    <a:pt x="3017000" y="199530"/>
                  </a:lnTo>
                  <a:lnTo>
                    <a:pt x="3017000" y="200228"/>
                  </a:lnTo>
                  <a:lnTo>
                    <a:pt x="3017101" y="200876"/>
                  </a:lnTo>
                  <a:lnTo>
                    <a:pt x="3017101" y="200228"/>
                  </a:lnTo>
                  <a:lnTo>
                    <a:pt x="3017101" y="203594"/>
                  </a:lnTo>
                  <a:lnTo>
                    <a:pt x="3017152" y="203594"/>
                  </a:lnTo>
                  <a:lnTo>
                    <a:pt x="3017152" y="200876"/>
                  </a:lnTo>
                  <a:lnTo>
                    <a:pt x="3017152" y="203594"/>
                  </a:lnTo>
                  <a:lnTo>
                    <a:pt x="3017203" y="202959"/>
                  </a:lnTo>
                  <a:lnTo>
                    <a:pt x="3017203" y="202260"/>
                  </a:lnTo>
                  <a:lnTo>
                    <a:pt x="3017203" y="203594"/>
                  </a:lnTo>
                  <a:lnTo>
                    <a:pt x="3017203" y="202959"/>
                  </a:lnTo>
                  <a:lnTo>
                    <a:pt x="3017254" y="202959"/>
                  </a:lnTo>
                  <a:lnTo>
                    <a:pt x="3017254" y="203594"/>
                  </a:lnTo>
                  <a:lnTo>
                    <a:pt x="3017254" y="202959"/>
                  </a:lnTo>
                  <a:lnTo>
                    <a:pt x="3017394" y="202959"/>
                  </a:lnTo>
                  <a:lnTo>
                    <a:pt x="3017394" y="202260"/>
                  </a:lnTo>
                  <a:lnTo>
                    <a:pt x="3017444" y="202260"/>
                  </a:lnTo>
                  <a:lnTo>
                    <a:pt x="3017444" y="200876"/>
                  </a:lnTo>
                  <a:lnTo>
                    <a:pt x="3017444" y="202260"/>
                  </a:lnTo>
                  <a:lnTo>
                    <a:pt x="3017444" y="200876"/>
                  </a:lnTo>
                  <a:lnTo>
                    <a:pt x="3017444" y="202260"/>
                  </a:lnTo>
                  <a:lnTo>
                    <a:pt x="3017444" y="199530"/>
                  </a:lnTo>
                  <a:lnTo>
                    <a:pt x="3017495" y="199530"/>
                  </a:lnTo>
                  <a:lnTo>
                    <a:pt x="3017495" y="197447"/>
                  </a:lnTo>
                  <a:lnTo>
                    <a:pt x="3017495" y="200228"/>
                  </a:lnTo>
                  <a:lnTo>
                    <a:pt x="3017597" y="200228"/>
                  </a:lnTo>
                  <a:lnTo>
                    <a:pt x="3017597" y="198831"/>
                  </a:lnTo>
                  <a:lnTo>
                    <a:pt x="3017597" y="202959"/>
                  </a:lnTo>
                  <a:lnTo>
                    <a:pt x="3017597" y="200876"/>
                  </a:lnTo>
                  <a:lnTo>
                    <a:pt x="3017647" y="200876"/>
                  </a:lnTo>
                  <a:lnTo>
                    <a:pt x="3017647" y="202959"/>
                  </a:lnTo>
                  <a:lnTo>
                    <a:pt x="3017647" y="202260"/>
                  </a:lnTo>
                  <a:lnTo>
                    <a:pt x="3017698" y="202260"/>
                  </a:lnTo>
                  <a:lnTo>
                    <a:pt x="3017698" y="200876"/>
                  </a:lnTo>
                  <a:lnTo>
                    <a:pt x="3017698" y="202959"/>
                  </a:lnTo>
                  <a:lnTo>
                    <a:pt x="3017698" y="202260"/>
                  </a:lnTo>
                  <a:lnTo>
                    <a:pt x="3017800" y="202260"/>
                  </a:lnTo>
                  <a:lnTo>
                    <a:pt x="3017800" y="202959"/>
                  </a:lnTo>
                  <a:lnTo>
                    <a:pt x="3017800" y="202260"/>
                  </a:lnTo>
                  <a:lnTo>
                    <a:pt x="3017800" y="202959"/>
                  </a:lnTo>
                  <a:lnTo>
                    <a:pt x="3017800" y="202260"/>
                  </a:lnTo>
                  <a:lnTo>
                    <a:pt x="3017800" y="202959"/>
                  </a:lnTo>
                  <a:lnTo>
                    <a:pt x="3017800" y="202260"/>
                  </a:lnTo>
                  <a:lnTo>
                    <a:pt x="3017838" y="202260"/>
                  </a:lnTo>
                  <a:lnTo>
                    <a:pt x="3017838" y="202959"/>
                  </a:lnTo>
                  <a:lnTo>
                    <a:pt x="3017838" y="202260"/>
                  </a:lnTo>
                  <a:lnTo>
                    <a:pt x="3017838" y="202959"/>
                  </a:lnTo>
                  <a:lnTo>
                    <a:pt x="3017889" y="202959"/>
                  </a:lnTo>
                  <a:lnTo>
                    <a:pt x="3017889" y="202260"/>
                  </a:lnTo>
                  <a:lnTo>
                    <a:pt x="3017889" y="202959"/>
                  </a:lnTo>
                  <a:lnTo>
                    <a:pt x="3017889" y="202260"/>
                  </a:lnTo>
                  <a:lnTo>
                    <a:pt x="3017940" y="202260"/>
                  </a:lnTo>
                  <a:lnTo>
                    <a:pt x="3017940" y="199530"/>
                  </a:lnTo>
                  <a:lnTo>
                    <a:pt x="3017940" y="200228"/>
                  </a:lnTo>
                  <a:lnTo>
                    <a:pt x="3017940" y="199530"/>
                  </a:lnTo>
                  <a:lnTo>
                    <a:pt x="3018041" y="199530"/>
                  </a:lnTo>
                  <a:lnTo>
                    <a:pt x="3018041" y="200876"/>
                  </a:lnTo>
                  <a:lnTo>
                    <a:pt x="3018041" y="199530"/>
                  </a:lnTo>
                  <a:lnTo>
                    <a:pt x="3018041" y="200228"/>
                  </a:lnTo>
                  <a:lnTo>
                    <a:pt x="3018041" y="199530"/>
                  </a:lnTo>
                  <a:lnTo>
                    <a:pt x="3018041" y="200876"/>
                  </a:lnTo>
                  <a:lnTo>
                    <a:pt x="3018092" y="200876"/>
                  </a:lnTo>
                  <a:lnTo>
                    <a:pt x="3018092" y="202260"/>
                  </a:lnTo>
                  <a:lnTo>
                    <a:pt x="3018092" y="200876"/>
                  </a:lnTo>
                  <a:lnTo>
                    <a:pt x="3018092" y="202260"/>
                  </a:lnTo>
                  <a:lnTo>
                    <a:pt x="3018092" y="200876"/>
                  </a:lnTo>
                  <a:lnTo>
                    <a:pt x="3018092" y="202260"/>
                  </a:lnTo>
                  <a:lnTo>
                    <a:pt x="3018143" y="202260"/>
                  </a:lnTo>
                  <a:lnTo>
                    <a:pt x="3018143" y="200876"/>
                  </a:lnTo>
                  <a:lnTo>
                    <a:pt x="3018143" y="202260"/>
                  </a:lnTo>
                  <a:lnTo>
                    <a:pt x="3018244" y="200876"/>
                  </a:lnTo>
                  <a:lnTo>
                    <a:pt x="3018244" y="202959"/>
                  </a:lnTo>
                  <a:lnTo>
                    <a:pt x="3018244" y="202260"/>
                  </a:lnTo>
                  <a:lnTo>
                    <a:pt x="3018295" y="202260"/>
                  </a:lnTo>
                  <a:lnTo>
                    <a:pt x="3018295" y="202959"/>
                  </a:lnTo>
                  <a:lnTo>
                    <a:pt x="3018295" y="202260"/>
                  </a:lnTo>
                  <a:lnTo>
                    <a:pt x="3018295" y="202959"/>
                  </a:lnTo>
                  <a:lnTo>
                    <a:pt x="3018346" y="202959"/>
                  </a:lnTo>
                  <a:lnTo>
                    <a:pt x="3018346" y="202260"/>
                  </a:lnTo>
                  <a:lnTo>
                    <a:pt x="3018346" y="202959"/>
                  </a:lnTo>
                  <a:lnTo>
                    <a:pt x="3018346" y="202260"/>
                  </a:lnTo>
                  <a:lnTo>
                    <a:pt x="3018384" y="202260"/>
                  </a:lnTo>
                  <a:lnTo>
                    <a:pt x="3018384" y="200876"/>
                  </a:lnTo>
                  <a:lnTo>
                    <a:pt x="3018384" y="202260"/>
                  </a:lnTo>
                  <a:lnTo>
                    <a:pt x="3018384" y="200228"/>
                  </a:lnTo>
                  <a:lnTo>
                    <a:pt x="3018384" y="200876"/>
                  </a:lnTo>
                  <a:lnTo>
                    <a:pt x="3018384" y="200228"/>
                  </a:lnTo>
                  <a:lnTo>
                    <a:pt x="3018486" y="199530"/>
                  </a:lnTo>
                  <a:lnTo>
                    <a:pt x="3018486" y="200228"/>
                  </a:lnTo>
                  <a:lnTo>
                    <a:pt x="3018486" y="197447"/>
                  </a:lnTo>
                  <a:lnTo>
                    <a:pt x="3018537" y="197447"/>
                  </a:lnTo>
                  <a:lnTo>
                    <a:pt x="3018537" y="196799"/>
                  </a:lnTo>
                  <a:lnTo>
                    <a:pt x="3018537" y="199530"/>
                  </a:lnTo>
                  <a:lnTo>
                    <a:pt x="3018537" y="197447"/>
                  </a:lnTo>
                  <a:lnTo>
                    <a:pt x="3018587" y="197447"/>
                  </a:lnTo>
                  <a:lnTo>
                    <a:pt x="3018587" y="200228"/>
                  </a:lnTo>
                  <a:lnTo>
                    <a:pt x="3018587" y="198831"/>
                  </a:lnTo>
                  <a:lnTo>
                    <a:pt x="3018587" y="199530"/>
                  </a:lnTo>
                  <a:lnTo>
                    <a:pt x="3018689" y="199530"/>
                  </a:lnTo>
                  <a:lnTo>
                    <a:pt x="3018689" y="200876"/>
                  </a:lnTo>
                  <a:lnTo>
                    <a:pt x="3018689" y="199530"/>
                  </a:lnTo>
                  <a:lnTo>
                    <a:pt x="3018689" y="200228"/>
                  </a:lnTo>
                  <a:lnTo>
                    <a:pt x="3018740" y="200228"/>
                  </a:lnTo>
                  <a:lnTo>
                    <a:pt x="3018740" y="200876"/>
                  </a:lnTo>
                  <a:lnTo>
                    <a:pt x="3018740" y="200228"/>
                  </a:lnTo>
                  <a:lnTo>
                    <a:pt x="3018740" y="202260"/>
                  </a:lnTo>
                  <a:lnTo>
                    <a:pt x="3018790" y="202260"/>
                  </a:lnTo>
                  <a:lnTo>
                    <a:pt x="3018790" y="200876"/>
                  </a:lnTo>
                  <a:lnTo>
                    <a:pt x="3018790" y="202260"/>
                  </a:lnTo>
                  <a:lnTo>
                    <a:pt x="3018790" y="200876"/>
                  </a:lnTo>
                  <a:lnTo>
                    <a:pt x="3018790" y="202959"/>
                  </a:lnTo>
                  <a:lnTo>
                    <a:pt x="3018841" y="202959"/>
                  </a:lnTo>
                  <a:lnTo>
                    <a:pt x="3018841" y="200876"/>
                  </a:lnTo>
                  <a:lnTo>
                    <a:pt x="3018841" y="202260"/>
                  </a:lnTo>
                  <a:lnTo>
                    <a:pt x="3018930" y="200876"/>
                  </a:lnTo>
                  <a:lnTo>
                    <a:pt x="3018930" y="200228"/>
                  </a:lnTo>
                  <a:lnTo>
                    <a:pt x="3018930" y="200876"/>
                  </a:lnTo>
                  <a:lnTo>
                    <a:pt x="3018930" y="200228"/>
                  </a:lnTo>
                  <a:lnTo>
                    <a:pt x="3018981" y="200228"/>
                  </a:lnTo>
                  <a:lnTo>
                    <a:pt x="3018981" y="199530"/>
                  </a:lnTo>
                  <a:lnTo>
                    <a:pt x="3018981" y="200228"/>
                  </a:lnTo>
                  <a:lnTo>
                    <a:pt x="3018981" y="197447"/>
                  </a:lnTo>
                  <a:lnTo>
                    <a:pt x="3019032" y="197447"/>
                  </a:lnTo>
                  <a:lnTo>
                    <a:pt x="3019032" y="199530"/>
                  </a:lnTo>
                  <a:lnTo>
                    <a:pt x="3019032" y="196113"/>
                  </a:lnTo>
                  <a:lnTo>
                    <a:pt x="3019032" y="198831"/>
                  </a:lnTo>
                  <a:lnTo>
                    <a:pt x="3019083" y="199530"/>
                  </a:lnTo>
                  <a:lnTo>
                    <a:pt x="3019083" y="200876"/>
                  </a:lnTo>
                  <a:lnTo>
                    <a:pt x="3019083" y="197447"/>
                  </a:lnTo>
                  <a:lnTo>
                    <a:pt x="3019083" y="199530"/>
                  </a:lnTo>
                  <a:lnTo>
                    <a:pt x="3019184" y="199530"/>
                  </a:lnTo>
                  <a:lnTo>
                    <a:pt x="3019184" y="200228"/>
                  </a:lnTo>
                  <a:lnTo>
                    <a:pt x="3019184" y="198831"/>
                  </a:lnTo>
                  <a:lnTo>
                    <a:pt x="3019184" y="199530"/>
                  </a:lnTo>
                  <a:lnTo>
                    <a:pt x="3019235" y="199530"/>
                  </a:lnTo>
                  <a:lnTo>
                    <a:pt x="3019235" y="200228"/>
                  </a:lnTo>
                  <a:lnTo>
                    <a:pt x="3019235" y="199530"/>
                  </a:lnTo>
                  <a:lnTo>
                    <a:pt x="3019235" y="200876"/>
                  </a:lnTo>
                  <a:lnTo>
                    <a:pt x="3019235" y="200228"/>
                  </a:lnTo>
                  <a:lnTo>
                    <a:pt x="3019286" y="200228"/>
                  </a:lnTo>
                  <a:lnTo>
                    <a:pt x="3019286" y="200876"/>
                  </a:lnTo>
                  <a:lnTo>
                    <a:pt x="3019286" y="200228"/>
                  </a:lnTo>
                  <a:lnTo>
                    <a:pt x="3019286" y="200876"/>
                  </a:lnTo>
                  <a:lnTo>
                    <a:pt x="3019387" y="200876"/>
                  </a:lnTo>
                  <a:lnTo>
                    <a:pt x="3019387" y="200228"/>
                  </a:lnTo>
                  <a:lnTo>
                    <a:pt x="3019387" y="200876"/>
                  </a:lnTo>
                  <a:lnTo>
                    <a:pt x="3019387" y="200228"/>
                  </a:lnTo>
                  <a:lnTo>
                    <a:pt x="3019387" y="200876"/>
                  </a:lnTo>
                  <a:lnTo>
                    <a:pt x="3019387" y="200228"/>
                  </a:lnTo>
                  <a:lnTo>
                    <a:pt x="3019387" y="200876"/>
                  </a:lnTo>
                  <a:lnTo>
                    <a:pt x="3019387" y="200228"/>
                  </a:lnTo>
                  <a:lnTo>
                    <a:pt x="3019387" y="200876"/>
                  </a:lnTo>
                  <a:lnTo>
                    <a:pt x="3019426" y="200228"/>
                  </a:lnTo>
                  <a:lnTo>
                    <a:pt x="3019426" y="200876"/>
                  </a:lnTo>
                  <a:lnTo>
                    <a:pt x="3019426" y="199530"/>
                  </a:lnTo>
                  <a:lnTo>
                    <a:pt x="3019476" y="199530"/>
                  </a:lnTo>
                  <a:lnTo>
                    <a:pt x="3019476" y="198831"/>
                  </a:lnTo>
                  <a:lnTo>
                    <a:pt x="3019476" y="199530"/>
                  </a:lnTo>
                  <a:lnTo>
                    <a:pt x="3019476" y="197447"/>
                  </a:lnTo>
                  <a:lnTo>
                    <a:pt x="3019476" y="198831"/>
                  </a:lnTo>
                  <a:lnTo>
                    <a:pt x="3019527" y="198831"/>
                  </a:lnTo>
                  <a:lnTo>
                    <a:pt x="3019527" y="199530"/>
                  </a:lnTo>
                  <a:lnTo>
                    <a:pt x="3019527" y="196799"/>
                  </a:lnTo>
                  <a:lnTo>
                    <a:pt x="3019527" y="200876"/>
                  </a:lnTo>
                  <a:lnTo>
                    <a:pt x="3019629" y="200228"/>
                  </a:lnTo>
                  <a:lnTo>
                    <a:pt x="3019629" y="198831"/>
                  </a:lnTo>
                  <a:lnTo>
                    <a:pt x="3019629" y="199530"/>
                  </a:lnTo>
                  <a:lnTo>
                    <a:pt x="3019629" y="198831"/>
                  </a:lnTo>
                  <a:lnTo>
                    <a:pt x="3019629" y="200228"/>
                  </a:lnTo>
                  <a:lnTo>
                    <a:pt x="3019629" y="199530"/>
                  </a:lnTo>
                  <a:lnTo>
                    <a:pt x="3019629" y="200228"/>
                  </a:lnTo>
                  <a:lnTo>
                    <a:pt x="3019680" y="200228"/>
                  </a:lnTo>
                  <a:lnTo>
                    <a:pt x="3019680" y="198831"/>
                  </a:lnTo>
                  <a:lnTo>
                    <a:pt x="3019680" y="200228"/>
                  </a:lnTo>
                  <a:lnTo>
                    <a:pt x="3019730" y="200228"/>
                  </a:lnTo>
                  <a:lnTo>
                    <a:pt x="3019730" y="199530"/>
                  </a:lnTo>
                  <a:lnTo>
                    <a:pt x="3019730" y="200228"/>
                  </a:lnTo>
                  <a:lnTo>
                    <a:pt x="3019730" y="199530"/>
                  </a:lnTo>
                  <a:lnTo>
                    <a:pt x="3019730" y="200228"/>
                  </a:lnTo>
                  <a:lnTo>
                    <a:pt x="3019730" y="199530"/>
                  </a:lnTo>
                  <a:lnTo>
                    <a:pt x="3019730" y="200876"/>
                  </a:lnTo>
                  <a:lnTo>
                    <a:pt x="3019832" y="200876"/>
                  </a:lnTo>
                  <a:lnTo>
                    <a:pt x="3019832" y="200228"/>
                  </a:lnTo>
                  <a:lnTo>
                    <a:pt x="3019832" y="200876"/>
                  </a:lnTo>
                  <a:lnTo>
                    <a:pt x="3019832" y="200228"/>
                  </a:lnTo>
                  <a:lnTo>
                    <a:pt x="3019832" y="200876"/>
                  </a:lnTo>
                  <a:lnTo>
                    <a:pt x="3019832" y="200228"/>
                  </a:lnTo>
                  <a:lnTo>
                    <a:pt x="3019883" y="200228"/>
                  </a:lnTo>
                  <a:lnTo>
                    <a:pt x="3019883" y="200876"/>
                  </a:lnTo>
                  <a:lnTo>
                    <a:pt x="3019883" y="200228"/>
                  </a:lnTo>
                  <a:lnTo>
                    <a:pt x="3019883" y="200876"/>
                  </a:lnTo>
                  <a:lnTo>
                    <a:pt x="3019933" y="200876"/>
                  </a:lnTo>
                  <a:lnTo>
                    <a:pt x="3019933" y="199530"/>
                  </a:lnTo>
                  <a:lnTo>
                    <a:pt x="3019933" y="200228"/>
                  </a:lnTo>
                  <a:lnTo>
                    <a:pt x="3019933" y="199530"/>
                  </a:lnTo>
                  <a:lnTo>
                    <a:pt x="3019972" y="199530"/>
                  </a:lnTo>
                  <a:lnTo>
                    <a:pt x="3019972" y="198831"/>
                  </a:lnTo>
                  <a:lnTo>
                    <a:pt x="3019972" y="199530"/>
                  </a:lnTo>
                  <a:lnTo>
                    <a:pt x="3019972" y="197447"/>
                  </a:lnTo>
                  <a:lnTo>
                    <a:pt x="3019972" y="200228"/>
                  </a:lnTo>
                  <a:lnTo>
                    <a:pt x="3019972" y="199530"/>
                  </a:lnTo>
                  <a:lnTo>
                    <a:pt x="3020073" y="200228"/>
                  </a:lnTo>
                  <a:lnTo>
                    <a:pt x="3020073" y="198831"/>
                  </a:lnTo>
                  <a:lnTo>
                    <a:pt x="3020073" y="200876"/>
                  </a:lnTo>
                  <a:lnTo>
                    <a:pt x="3020073" y="200228"/>
                  </a:lnTo>
                  <a:lnTo>
                    <a:pt x="3020124" y="200228"/>
                  </a:lnTo>
                  <a:lnTo>
                    <a:pt x="3020124" y="199530"/>
                  </a:lnTo>
                  <a:lnTo>
                    <a:pt x="3020124" y="200876"/>
                  </a:lnTo>
                  <a:lnTo>
                    <a:pt x="3020124" y="200228"/>
                  </a:lnTo>
                  <a:lnTo>
                    <a:pt x="3020175" y="200228"/>
                  </a:lnTo>
                  <a:lnTo>
                    <a:pt x="3020175" y="200876"/>
                  </a:lnTo>
                  <a:lnTo>
                    <a:pt x="3020175" y="200228"/>
                  </a:lnTo>
                  <a:lnTo>
                    <a:pt x="3020175" y="200876"/>
                  </a:lnTo>
                  <a:lnTo>
                    <a:pt x="3020175" y="200228"/>
                  </a:lnTo>
                  <a:lnTo>
                    <a:pt x="3020276" y="200228"/>
                  </a:lnTo>
                  <a:lnTo>
                    <a:pt x="3020276" y="200876"/>
                  </a:lnTo>
                  <a:lnTo>
                    <a:pt x="3020276" y="200228"/>
                  </a:lnTo>
                  <a:lnTo>
                    <a:pt x="3020276" y="200876"/>
                  </a:lnTo>
                  <a:lnTo>
                    <a:pt x="3020327" y="200876"/>
                  </a:lnTo>
                  <a:lnTo>
                    <a:pt x="3020327" y="200228"/>
                  </a:lnTo>
                  <a:lnTo>
                    <a:pt x="3020327" y="200876"/>
                  </a:lnTo>
                  <a:lnTo>
                    <a:pt x="3020327" y="200228"/>
                  </a:lnTo>
                  <a:lnTo>
                    <a:pt x="3020378" y="200228"/>
                  </a:lnTo>
                  <a:lnTo>
                    <a:pt x="3020378" y="199530"/>
                  </a:lnTo>
                  <a:lnTo>
                    <a:pt x="3020378" y="200228"/>
                  </a:lnTo>
                  <a:lnTo>
                    <a:pt x="3020429" y="200228"/>
                  </a:lnTo>
                  <a:lnTo>
                    <a:pt x="3020429" y="197447"/>
                  </a:lnTo>
                  <a:lnTo>
                    <a:pt x="3020429" y="198831"/>
                  </a:lnTo>
                  <a:lnTo>
                    <a:pt x="3020429" y="197447"/>
                  </a:lnTo>
                  <a:lnTo>
                    <a:pt x="3020518" y="197447"/>
                  </a:lnTo>
                  <a:lnTo>
                    <a:pt x="3020518" y="196799"/>
                  </a:lnTo>
                  <a:lnTo>
                    <a:pt x="3020518" y="197447"/>
                  </a:lnTo>
                  <a:lnTo>
                    <a:pt x="3020518" y="196799"/>
                  </a:lnTo>
                  <a:lnTo>
                    <a:pt x="3020518" y="198831"/>
                  </a:lnTo>
                  <a:lnTo>
                    <a:pt x="3020569" y="198831"/>
                  </a:lnTo>
                  <a:lnTo>
                    <a:pt x="3020569" y="197447"/>
                  </a:lnTo>
                  <a:lnTo>
                    <a:pt x="3020569" y="198831"/>
                  </a:lnTo>
                  <a:lnTo>
                    <a:pt x="3020569" y="197447"/>
                  </a:lnTo>
                  <a:lnTo>
                    <a:pt x="3020569" y="200228"/>
                  </a:lnTo>
                  <a:lnTo>
                    <a:pt x="3020569" y="199530"/>
                  </a:lnTo>
                  <a:lnTo>
                    <a:pt x="3020619" y="199530"/>
                  </a:lnTo>
                  <a:lnTo>
                    <a:pt x="3020619" y="200228"/>
                  </a:lnTo>
                  <a:lnTo>
                    <a:pt x="3020619" y="199530"/>
                  </a:lnTo>
                  <a:lnTo>
                    <a:pt x="3020670" y="200228"/>
                  </a:lnTo>
                  <a:lnTo>
                    <a:pt x="3020670" y="199530"/>
                  </a:lnTo>
                  <a:lnTo>
                    <a:pt x="3020670" y="200228"/>
                  </a:lnTo>
                  <a:lnTo>
                    <a:pt x="3020670" y="199530"/>
                  </a:lnTo>
                  <a:lnTo>
                    <a:pt x="3020670" y="200228"/>
                  </a:lnTo>
                  <a:lnTo>
                    <a:pt x="3020772" y="200228"/>
                  </a:lnTo>
                  <a:lnTo>
                    <a:pt x="3020772" y="200876"/>
                  </a:lnTo>
                  <a:lnTo>
                    <a:pt x="3020772" y="200228"/>
                  </a:lnTo>
                  <a:lnTo>
                    <a:pt x="3020772" y="200876"/>
                  </a:lnTo>
                  <a:lnTo>
                    <a:pt x="3020772" y="200228"/>
                  </a:lnTo>
                  <a:lnTo>
                    <a:pt x="3020822" y="200228"/>
                  </a:lnTo>
                  <a:lnTo>
                    <a:pt x="3020822" y="200876"/>
                  </a:lnTo>
                  <a:lnTo>
                    <a:pt x="3020822" y="200228"/>
                  </a:lnTo>
                  <a:lnTo>
                    <a:pt x="3020873" y="200228"/>
                  </a:lnTo>
                  <a:lnTo>
                    <a:pt x="3020873" y="200876"/>
                  </a:lnTo>
                  <a:lnTo>
                    <a:pt x="3020873" y="200228"/>
                  </a:lnTo>
                  <a:lnTo>
                    <a:pt x="3020975" y="200228"/>
                  </a:lnTo>
                  <a:lnTo>
                    <a:pt x="3020975" y="198831"/>
                  </a:lnTo>
                  <a:lnTo>
                    <a:pt x="3021013" y="198831"/>
                  </a:lnTo>
                  <a:lnTo>
                    <a:pt x="3021013" y="196799"/>
                  </a:lnTo>
                  <a:lnTo>
                    <a:pt x="3021013" y="199530"/>
                  </a:lnTo>
                  <a:lnTo>
                    <a:pt x="3021013" y="198831"/>
                  </a:lnTo>
                  <a:lnTo>
                    <a:pt x="3021064" y="198831"/>
                  </a:lnTo>
                  <a:lnTo>
                    <a:pt x="3021064" y="196799"/>
                  </a:lnTo>
                  <a:lnTo>
                    <a:pt x="3021064" y="199530"/>
                  </a:lnTo>
                  <a:lnTo>
                    <a:pt x="3021115" y="198831"/>
                  </a:lnTo>
                  <a:lnTo>
                    <a:pt x="3021115" y="197447"/>
                  </a:lnTo>
                  <a:lnTo>
                    <a:pt x="3021115" y="200228"/>
                  </a:lnTo>
                  <a:lnTo>
                    <a:pt x="3021115" y="199530"/>
                  </a:lnTo>
                  <a:lnTo>
                    <a:pt x="3021216" y="199530"/>
                  </a:lnTo>
                  <a:lnTo>
                    <a:pt x="3021216" y="200876"/>
                  </a:lnTo>
                  <a:lnTo>
                    <a:pt x="3021267" y="200876"/>
                  </a:lnTo>
                  <a:lnTo>
                    <a:pt x="3021267" y="200228"/>
                  </a:lnTo>
                  <a:lnTo>
                    <a:pt x="3021267" y="200876"/>
                  </a:lnTo>
                  <a:lnTo>
                    <a:pt x="3021267" y="200228"/>
                  </a:lnTo>
                  <a:lnTo>
                    <a:pt x="3021267" y="202260"/>
                  </a:lnTo>
                  <a:lnTo>
                    <a:pt x="3021267" y="200876"/>
                  </a:lnTo>
                  <a:lnTo>
                    <a:pt x="3021267" y="202260"/>
                  </a:lnTo>
                  <a:lnTo>
                    <a:pt x="3021318" y="202260"/>
                  </a:lnTo>
                  <a:lnTo>
                    <a:pt x="3021318" y="200228"/>
                  </a:lnTo>
                  <a:lnTo>
                    <a:pt x="3021318" y="200876"/>
                  </a:lnTo>
                  <a:lnTo>
                    <a:pt x="3021318" y="200228"/>
                  </a:lnTo>
                  <a:lnTo>
                    <a:pt x="3021419" y="200228"/>
                  </a:lnTo>
                  <a:lnTo>
                    <a:pt x="3021419" y="200876"/>
                  </a:lnTo>
                  <a:lnTo>
                    <a:pt x="3021419" y="199530"/>
                  </a:lnTo>
                  <a:lnTo>
                    <a:pt x="3021419" y="200228"/>
                  </a:lnTo>
                  <a:lnTo>
                    <a:pt x="3021470" y="200228"/>
                  </a:lnTo>
                  <a:lnTo>
                    <a:pt x="3021470" y="198831"/>
                  </a:lnTo>
                  <a:lnTo>
                    <a:pt x="3021521" y="197447"/>
                  </a:lnTo>
                  <a:lnTo>
                    <a:pt x="3021521" y="198831"/>
                  </a:lnTo>
                  <a:lnTo>
                    <a:pt x="3021521" y="197447"/>
                  </a:lnTo>
                  <a:lnTo>
                    <a:pt x="3021521" y="199530"/>
                  </a:lnTo>
                  <a:lnTo>
                    <a:pt x="3021521" y="198831"/>
                  </a:lnTo>
                  <a:lnTo>
                    <a:pt x="3021559" y="197447"/>
                  </a:lnTo>
                  <a:lnTo>
                    <a:pt x="3021559" y="200228"/>
                  </a:lnTo>
                  <a:lnTo>
                    <a:pt x="3021559" y="198831"/>
                  </a:lnTo>
                  <a:lnTo>
                    <a:pt x="3021661" y="198831"/>
                  </a:lnTo>
                  <a:lnTo>
                    <a:pt x="3021661" y="200228"/>
                  </a:lnTo>
                  <a:lnTo>
                    <a:pt x="3021661" y="199530"/>
                  </a:lnTo>
                  <a:lnTo>
                    <a:pt x="3021661" y="200228"/>
                  </a:lnTo>
                  <a:lnTo>
                    <a:pt x="3021661" y="199530"/>
                  </a:lnTo>
                  <a:lnTo>
                    <a:pt x="3021712" y="199530"/>
                  </a:lnTo>
                  <a:lnTo>
                    <a:pt x="3021712" y="200228"/>
                  </a:lnTo>
                  <a:lnTo>
                    <a:pt x="3021712" y="199530"/>
                  </a:lnTo>
                  <a:lnTo>
                    <a:pt x="3021712" y="200228"/>
                  </a:lnTo>
                  <a:lnTo>
                    <a:pt x="3021762" y="200228"/>
                  </a:lnTo>
                  <a:lnTo>
                    <a:pt x="3021762" y="200876"/>
                  </a:lnTo>
                  <a:lnTo>
                    <a:pt x="3021762" y="200228"/>
                  </a:lnTo>
                  <a:lnTo>
                    <a:pt x="3021864" y="200228"/>
                  </a:lnTo>
                  <a:lnTo>
                    <a:pt x="3021864" y="200876"/>
                  </a:lnTo>
                  <a:lnTo>
                    <a:pt x="3021864" y="200228"/>
                  </a:lnTo>
                  <a:lnTo>
                    <a:pt x="3021864" y="200876"/>
                  </a:lnTo>
                  <a:lnTo>
                    <a:pt x="3021864" y="200228"/>
                  </a:lnTo>
                  <a:lnTo>
                    <a:pt x="3021864" y="200876"/>
                  </a:lnTo>
                  <a:lnTo>
                    <a:pt x="3021915" y="200876"/>
                  </a:lnTo>
                  <a:lnTo>
                    <a:pt x="3021915" y="199530"/>
                  </a:lnTo>
                  <a:lnTo>
                    <a:pt x="3021915" y="200228"/>
                  </a:lnTo>
                  <a:lnTo>
                    <a:pt x="3021915" y="199530"/>
                  </a:lnTo>
                  <a:lnTo>
                    <a:pt x="3021965" y="200228"/>
                  </a:lnTo>
                  <a:lnTo>
                    <a:pt x="3021965" y="197447"/>
                  </a:lnTo>
                  <a:lnTo>
                    <a:pt x="3021965" y="198831"/>
                  </a:lnTo>
                  <a:lnTo>
                    <a:pt x="3022016" y="198831"/>
                  </a:lnTo>
                  <a:lnTo>
                    <a:pt x="3022016" y="197447"/>
                  </a:lnTo>
                  <a:lnTo>
                    <a:pt x="3022016" y="199530"/>
                  </a:lnTo>
                  <a:lnTo>
                    <a:pt x="3022105" y="199530"/>
                  </a:lnTo>
                  <a:lnTo>
                    <a:pt x="3022105" y="197447"/>
                  </a:lnTo>
                  <a:lnTo>
                    <a:pt x="3022105" y="199530"/>
                  </a:lnTo>
                  <a:lnTo>
                    <a:pt x="3022156" y="200228"/>
                  </a:lnTo>
                  <a:lnTo>
                    <a:pt x="3022156" y="198831"/>
                  </a:lnTo>
                  <a:lnTo>
                    <a:pt x="3022156" y="199530"/>
                  </a:lnTo>
                  <a:lnTo>
                    <a:pt x="3022207" y="199530"/>
                  </a:lnTo>
                  <a:lnTo>
                    <a:pt x="3022207" y="200228"/>
                  </a:lnTo>
                  <a:lnTo>
                    <a:pt x="3022207" y="199530"/>
                  </a:lnTo>
                  <a:lnTo>
                    <a:pt x="3022207" y="200228"/>
                  </a:lnTo>
                  <a:lnTo>
                    <a:pt x="3022207" y="199530"/>
                  </a:lnTo>
                  <a:lnTo>
                    <a:pt x="3022207" y="200228"/>
                  </a:lnTo>
                  <a:lnTo>
                    <a:pt x="3022207" y="199530"/>
                  </a:lnTo>
                  <a:lnTo>
                    <a:pt x="3022207" y="200228"/>
                  </a:lnTo>
                  <a:lnTo>
                    <a:pt x="3022258" y="200228"/>
                  </a:lnTo>
                  <a:lnTo>
                    <a:pt x="3022258" y="199530"/>
                  </a:lnTo>
                  <a:lnTo>
                    <a:pt x="3022258" y="200228"/>
                  </a:lnTo>
                  <a:lnTo>
                    <a:pt x="3022359" y="200228"/>
                  </a:lnTo>
                  <a:lnTo>
                    <a:pt x="3022359" y="200876"/>
                  </a:lnTo>
                  <a:lnTo>
                    <a:pt x="3022359" y="199530"/>
                  </a:lnTo>
                  <a:lnTo>
                    <a:pt x="3022359" y="200228"/>
                  </a:lnTo>
                  <a:lnTo>
                    <a:pt x="3022359" y="199530"/>
                  </a:lnTo>
                  <a:lnTo>
                    <a:pt x="3022410" y="199530"/>
                  </a:lnTo>
                  <a:lnTo>
                    <a:pt x="3022410" y="200228"/>
                  </a:lnTo>
                  <a:lnTo>
                    <a:pt x="3022410" y="199530"/>
                  </a:lnTo>
                  <a:lnTo>
                    <a:pt x="3022410" y="200228"/>
                  </a:lnTo>
                  <a:lnTo>
                    <a:pt x="3022410" y="199530"/>
                  </a:lnTo>
                  <a:lnTo>
                    <a:pt x="3022461" y="198831"/>
                  </a:lnTo>
                  <a:lnTo>
                    <a:pt x="3022461" y="197447"/>
                  </a:lnTo>
                  <a:lnTo>
                    <a:pt x="3022461" y="200228"/>
                  </a:lnTo>
                  <a:lnTo>
                    <a:pt x="3022461" y="199530"/>
                  </a:lnTo>
                  <a:lnTo>
                    <a:pt x="3022562" y="199530"/>
                  </a:lnTo>
                  <a:lnTo>
                    <a:pt x="3022562" y="198831"/>
                  </a:lnTo>
                  <a:lnTo>
                    <a:pt x="3022562" y="199530"/>
                  </a:lnTo>
                  <a:lnTo>
                    <a:pt x="3022562" y="197447"/>
                  </a:lnTo>
                  <a:lnTo>
                    <a:pt x="3022562" y="202959"/>
                  </a:lnTo>
                  <a:lnTo>
                    <a:pt x="3022562" y="200228"/>
                  </a:lnTo>
                  <a:lnTo>
                    <a:pt x="3022601" y="200228"/>
                  </a:lnTo>
                  <a:lnTo>
                    <a:pt x="3022601" y="202260"/>
                  </a:lnTo>
                  <a:lnTo>
                    <a:pt x="3022601" y="200876"/>
                  </a:lnTo>
                  <a:lnTo>
                    <a:pt x="3022651" y="200876"/>
                  </a:lnTo>
                  <a:lnTo>
                    <a:pt x="3022651" y="202260"/>
                  </a:lnTo>
                  <a:lnTo>
                    <a:pt x="3022651" y="200876"/>
                  </a:lnTo>
                  <a:lnTo>
                    <a:pt x="3022702" y="200876"/>
                  </a:lnTo>
                  <a:lnTo>
                    <a:pt x="3022702" y="202260"/>
                  </a:lnTo>
                  <a:lnTo>
                    <a:pt x="3022702" y="200876"/>
                  </a:lnTo>
                  <a:lnTo>
                    <a:pt x="3022804" y="200876"/>
                  </a:lnTo>
                  <a:lnTo>
                    <a:pt x="3022804" y="202260"/>
                  </a:lnTo>
                  <a:lnTo>
                    <a:pt x="3022804" y="200876"/>
                  </a:lnTo>
                  <a:lnTo>
                    <a:pt x="3022804" y="202260"/>
                  </a:lnTo>
                  <a:lnTo>
                    <a:pt x="3022804" y="200876"/>
                  </a:lnTo>
                  <a:lnTo>
                    <a:pt x="3022804" y="202260"/>
                  </a:lnTo>
                  <a:lnTo>
                    <a:pt x="3022855" y="202260"/>
                  </a:lnTo>
                  <a:lnTo>
                    <a:pt x="3022855" y="200228"/>
                  </a:lnTo>
                  <a:lnTo>
                    <a:pt x="3022855" y="200876"/>
                  </a:lnTo>
                  <a:lnTo>
                    <a:pt x="3022855" y="200228"/>
                  </a:lnTo>
                  <a:lnTo>
                    <a:pt x="3022855" y="200876"/>
                  </a:lnTo>
                  <a:lnTo>
                    <a:pt x="3022855" y="200228"/>
                  </a:lnTo>
                  <a:lnTo>
                    <a:pt x="3022905" y="200228"/>
                  </a:lnTo>
                  <a:lnTo>
                    <a:pt x="3022905" y="199530"/>
                  </a:lnTo>
                  <a:lnTo>
                    <a:pt x="3023007" y="198831"/>
                  </a:lnTo>
                  <a:lnTo>
                    <a:pt x="3023007" y="200228"/>
                  </a:lnTo>
                  <a:lnTo>
                    <a:pt x="3023007" y="198831"/>
                  </a:lnTo>
                  <a:lnTo>
                    <a:pt x="3023058" y="198831"/>
                  </a:lnTo>
                  <a:lnTo>
                    <a:pt x="3023058" y="202260"/>
                  </a:lnTo>
                  <a:lnTo>
                    <a:pt x="3023058" y="200876"/>
                  </a:lnTo>
                  <a:lnTo>
                    <a:pt x="3023058" y="202260"/>
                  </a:lnTo>
                  <a:lnTo>
                    <a:pt x="3023058" y="200228"/>
                  </a:lnTo>
                  <a:lnTo>
                    <a:pt x="3023108" y="200228"/>
                  </a:lnTo>
                  <a:lnTo>
                    <a:pt x="3023108" y="202260"/>
                  </a:lnTo>
                  <a:lnTo>
                    <a:pt x="3023108" y="200228"/>
                  </a:lnTo>
                  <a:lnTo>
                    <a:pt x="3023108" y="200876"/>
                  </a:lnTo>
                  <a:lnTo>
                    <a:pt x="3023108" y="200228"/>
                  </a:lnTo>
                  <a:lnTo>
                    <a:pt x="3023108" y="200876"/>
                  </a:lnTo>
                  <a:lnTo>
                    <a:pt x="3023108" y="200228"/>
                  </a:lnTo>
                  <a:lnTo>
                    <a:pt x="3023108" y="200876"/>
                  </a:lnTo>
                  <a:lnTo>
                    <a:pt x="3023147" y="200876"/>
                  </a:lnTo>
                  <a:lnTo>
                    <a:pt x="3023147" y="202260"/>
                  </a:lnTo>
                  <a:lnTo>
                    <a:pt x="3023147" y="200876"/>
                  </a:lnTo>
                  <a:lnTo>
                    <a:pt x="3023248" y="202260"/>
                  </a:lnTo>
                  <a:lnTo>
                    <a:pt x="3023299" y="202260"/>
                  </a:lnTo>
                  <a:lnTo>
                    <a:pt x="3023299" y="200876"/>
                  </a:lnTo>
                  <a:lnTo>
                    <a:pt x="3023350" y="200876"/>
                  </a:lnTo>
                  <a:lnTo>
                    <a:pt x="3023350" y="200228"/>
                  </a:lnTo>
                  <a:lnTo>
                    <a:pt x="3023451" y="200228"/>
                  </a:lnTo>
                  <a:lnTo>
                    <a:pt x="3023451" y="197447"/>
                  </a:lnTo>
                  <a:lnTo>
                    <a:pt x="3023502" y="198831"/>
                  </a:lnTo>
                  <a:lnTo>
                    <a:pt x="3023502" y="199530"/>
                  </a:lnTo>
                  <a:lnTo>
                    <a:pt x="3023502" y="198831"/>
                  </a:lnTo>
                  <a:lnTo>
                    <a:pt x="3023502" y="199530"/>
                  </a:lnTo>
                  <a:lnTo>
                    <a:pt x="3023502" y="198831"/>
                  </a:lnTo>
                  <a:lnTo>
                    <a:pt x="3023502" y="199530"/>
                  </a:lnTo>
                  <a:lnTo>
                    <a:pt x="3023502" y="197447"/>
                  </a:lnTo>
                  <a:lnTo>
                    <a:pt x="3023502" y="199530"/>
                  </a:lnTo>
                  <a:lnTo>
                    <a:pt x="3023553" y="199530"/>
                  </a:lnTo>
                  <a:lnTo>
                    <a:pt x="3023553" y="200876"/>
                  </a:lnTo>
                  <a:lnTo>
                    <a:pt x="3023553" y="199530"/>
                  </a:lnTo>
                  <a:lnTo>
                    <a:pt x="3023553" y="200876"/>
                  </a:lnTo>
                  <a:lnTo>
                    <a:pt x="3023604" y="200876"/>
                  </a:lnTo>
                  <a:lnTo>
                    <a:pt x="3023604" y="200228"/>
                  </a:lnTo>
                  <a:lnTo>
                    <a:pt x="3023604" y="202260"/>
                  </a:lnTo>
                  <a:lnTo>
                    <a:pt x="3023693" y="202260"/>
                  </a:lnTo>
                  <a:lnTo>
                    <a:pt x="3023693" y="200876"/>
                  </a:lnTo>
                  <a:lnTo>
                    <a:pt x="3023693" y="202260"/>
                  </a:lnTo>
                  <a:lnTo>
                    <a:pt x="3023693" y="200876"/>
                  </a:lnTo>
                  <a:lnTo>
                    <a:pt x="3023693" y="202959"/>
                  </a:lnTo>
                  <a:lnTo>
                    <a:pt x="3023693" y="202260"/>
                  </a:lnTo>
                  <a:lnTo>
                    <a:pt x="3023744" y="202260"/>
                  </a:lnTo>
                  <a:lnTo>
                    <a:pt x="3023744" y="200876"/>
                  </a:lnTo>
                  <a:lnTo>
                    <a:pt x="3023744" y="202260"/>
                  </a:lnTo>
                  <a:lnTo>
                    <a:pt x="3023744" y="200876"/>
                  </a:lnTo>
                  <a:lnTo>
                    <a:pt x="3023744" y="202260"/>
                  </a:lnTo>
                  <a:lnTo>
                    <a:pt x="3023744" y="200876"/>
                  </a:lnTo>
                  <a:lnTo>
                    <a:pt x="3023744" y="202260"/>
                  </a:lnTo>
                  <a:lnTo>
                    <a:pt x="3023794" y="200876"/>
                  </a:lnTo>
                  <a:lnTo>
                    <a:pt x="3023794" y="202260"/>
                  </a:lnTo>
                  <a:lnTo>
                    <a:pt x="3023794" y="200876"/>
                  </a:lnTo>
                  <a:lnTo>
                    <a:pt x="3023794" y="202260"/>
                  </a:lnTo>
                  <a:lnTo>
                    <a:pt x="3023794" y="200876"/>
                  </a:lnTo>
                  <a:lnTo>
                    <a:pt x="3023794" y="202260"/>
                  </a:lnTo>
                  <a:lnTo>
                    <a:pt x="3023794" y="200228"/>
                  </a:lnTo>
                  <a:lnTo>
                    <a:pt x="3023845" y="200228"/>
                  </a:lnTo>
                  <a:lnTo>
                    <a:pt x="3023845" y="200876"/>
                  </a:lnTo>
                  <a:lnTo>
                    <a:pt x="3023845" y="200228"/>
                  </a:lnTo>
                  <a:lnTo>
                    <a:pt x="3023845" y="200876"/>
                  </a:lnTo>
                  <a:lnTo>
                    <a:pt x="3023845" y="199530"/>
                  </a:lnTo>
                  <a:lnTo>
                    <a:pt x="3023845" y="200228"/>
                  </a:lnTo>
                  <a:lnTo>
                    <a:pt x="3023845" y="199530"/>
                  </a:lnTo>
                  <a:lnTo>
                    <a:pt x="3023947" y="199530"/>
                  </a:lnTo>
                  <a:lnTo>
                    <a:pt x="3023947" y="198831"/>
                  </a:lnTo>
                  <a:lnTo>
                    <a:pt x="3023947" y="199530"/>
                  </a:lnTo>
                  <a:lnTo>
                    <a:pt x="3023947" y="198831"/>
                  </a:lnTo>
                  <a:lnTo>
                    <a:pt x="3023947" y="199530"/>
                  </a:lnTo>
                  <a:lnTo>
                    <a:pt x="3023947" y="197447"/>
                  </a:lnTo>
                  <a:lnTo>
                    <a:pt x="3023947" y="199530"/>
                  </a:lnTo>
                  <a:lnTo>
                    <a:pt x="3023997" y="199530"/>
                  </a:lnTo>
                  <a:lnTo>
                    <a:pt x="3023997" y="198831"/>
                  </a:lnTo>
                  <a:lnTo>
                    <a:pt x="3023997" y="200876"/>
                  </a:lnTo>
                  <a:lnTo>
                    <a:pt x="3024048" y="200876"/>
                  </a:lnTo>
                  <a:lnTo>
                    <a:pt x="3024048" y="198831"/>
                  </a:lnTo>
                  <a:lnTo>
                    <a:pt x="3024048" y="200876"/>
                  </a:lnTo>
                  <a:lnTo>
                    <a:pt x="3024048" y="200228"/>
                  </a:lnTo>
                  <a:lnTo>
                    <a:pt x="3024048" y="200876"/>
                  </a:lnTo>
                  <a:lnTo>
                    <a:pt x="3024150" y="200876"/>
                  </a:lnTo>
                  <a:lnTo>
                    <a:pt x="3024150" y="200228"/>
                  </a:lnTo>
                  <a:lnTo>
                    <a:pt x="3024150" y="200876"/>
                  </a:lnTo>
                  <a:lnTo>
                    <a:pt x="3024188" y="200876"/>
                  </a:lnTo>
                  <a:lnTo>
                    <a:pt x="3024188" y="202260"/>
                  </a:lnTo>
                  <a:lnTo>
                    <a:pt x="3024188" y="200876"/>
                  </a:lnTo>
                  <a:lnTo>
                    <a:pt x="3024239" y="200876"/>
                  </a:lnTo>
                  <a:lnTo>
                    <a:pt x="3024239" y="202260"/>
                  </a:lnTo>
                  <a:lnTo>
                    <a:pt x="3024239" y="200876"/>
                  </a:lnTo>
                  <a:lnTo>
                    <a:pt x="3024239" y="202260"/>
                  </a:lnTo>
                  <a:lnTo>
                    <a:pt x="3024290" y="202260"/>
                  </a:lnTo>
                  <a:lnTo>
                    <a:pt x="3024290" y="200876"/>
                  </a:lnTo>
                  <a:lnTo>
                    <a:pt x="3024290" y="202260"/>
                  </a:lnTo>
                  <a:lnTo>
                    <a:pt x="3024290" y="200228"/>
                  </a:lnTo>
                  <a:lnTo>
                    <a:pt x="3024290" y="200876"/>
                  </a:lnTo>
                  <a:lnTo>
                    <a:pt x="3024391" y="200876"/>
                  </a:lnTo>
                  <a:lnTo>
                    <a:pt x="3024391" y="198831"/>
                  </a:lnTo>
                  <a:lnTo>
                    <a:pt x="3024442" y="198831"/>
                  </a:lnTo>
                  <a:lnTo>
                    <a:pt x="3024442" y="196799"/>
                  </a:lnTo>
                  <a:lnTo>
                    <a:pt x="3024493" y="196799"/>
                  </a:lnTo>
                  <a:lnTo>
                    <a:pt x="3024493" y="198831"/>
                  </a:lnTo>
                  <a:lnTo>
                    <a:pt x="3024493" y="196113"/>
                  </a:lnTo>
                  <a:lnTo>
                    <a:pt x="3024493" y="199530"/>
                  </a:lnTo>
                  <a:lnTo>
                    <a:pt x="3024594" y="199530"/>
                  </a:lnTo>
                  <a:lnTo>
                    <a:pt x="3024594" y="198831"/>
                  </a:lnTo>
                  <a:lnTo>
                    <a:pt x="3024594" y="199530"/>
                  </a:lnTo>
                  <a:lnTo>
                    <a:pt x="3024594" y="198831"/>
                  </a:lnTo>
                  <a:lnTo>
                    <a:pt x="3024594" y="199530"/>
                  </a:lnTo>
                  <a:lnTo>
                    <a:pt x="3024645" y="199530"/>
                  </a:lnTo>
                  <a:lnTo>
                    <a:pt x="3024645" y="198831"/>
                  </a:lnTo>
                  <a:lnTo>
                    <a:pt x="3024645" y="200228"/>
                  </a:lnTo>
                  <a:lnTo>
                    <a:pt x="3024696" y="200228"/>
                  </a:lnTo>
                  <a:lnTo>
                    <a:pt x="3024696" y="200876"/>
                  </a:lnTo>
                  <a:lnTo>
                    <a:pt x="3024696" y="200228"/>
                  </a:lnTo>
                  <a:lnTo>
                    <a:pt x="3024696" y="200876"/>
                  </a:lnTo>
                  <a:lnTo>
                    <a:pt x="3024696" y="200228"/>
                  </a:lnTo>
                  <a:lnTo>
                    <a:pt x="3024734" y="200228"/>
                  </a:lnTo>
                  <a:lnTo>
                    <a:pt x="3024734" y="200876"/>
                  </a:lnTo>
                  <a:lnTo>
                    <a:pt x="3024734" y="200228"/>
                  </a:lnTo>
                  <a:lnTo>
                    <a:pt x="3024734" y="200876"/>
                  </a:lnTo>
                  <a:lnTo>
                    <a:pt x="3024734" y="200228"/>
                  </a:lnTo>
                  <a:lnTo>
                    <a:pt x="3024734" y="200876"/>
                  </a:lnTo>
                  <a:lnTo>
                    <a:pt x="3024734" y="200228"/>
                  </a:lnTo>
                  <a:lnTo>
                    <a:pt x="3024734" y="200876"/>
                  </a:lnTo>
                  <a:lnTo>
                    <a:pt x="3024734" y="200228"/>
                  </a:lnTo>
                  <a:lnTo>
                    <a:pt x="3024734" y="200876"/>
                  </a:lnTo>
                  <a:lnTo>
                    <a:pt x="3024836" y="200228"/>
                  </a:lnTo>
                  <a:lnTo>
                    <a:pt x="3024836" y="200876"/>
                  </a:lnTo>
                  <a:lnTo>
                    <a:pt x="3024836" y="200228"/>
                  </a:lnTo>
                  <a:lnTo>
                    <a:pt x="3024836" y="202260"/>
                  </a:lnTo>
                  <a:lnTo>
                    <a:pt x="3024836" y="200228"/>
                  </a:lnTo>
                  <a:lnTo>
                    <a:pt x="3024887" y="200228"/>
                  </a:lnTo>
                  <a:lnTo>
                    <a:pt x="3024887" y="200876"/>
                  </a:lnTo>
                  <a:lnTo>
                    <a:pt x="3024887" y="200228"/>
                  </a:lnTo>
                  <a:lnTo>
                    <a:pt x="3024887" y="200876"/>
                  </a:lnTo>
                  <a:lnTo>
                    <a:pt x="3024887" y="199530"/>
                  </a:lnTo>
                  <a:lnTo>
                    <a:pt x="3024937" y="199530"/>
                  </a:lnTo>
                  <a:lnTo>
                    <a:pt x="3024937" y="198831"/>
                  </a:lnTo>
                  <a:lnTo>
                    <a:pt x="3024937" y="199530"/>
                  </a:lnTo>
                  <a:lnTo>
                    <a:pt x="3024937" y="196799"/>
                  </a:lnTo>
                  <a:lnTo>
                    <a:pt x="3024937" y="198831"/>
                  </a:lnTo>
                  <a:lnTo>
                    <a:pt x="3025039" y="198831"/>
                  </a:lnTo>
                  <a:lnTo>
                    <a:pt x="3025039" y="196113"/>
                  </a:lnTo>
                  <a:lnTo>
                    <a:pt x="3025039" y="199530"/>
                  </a:lnTo>
                  <a:lnTo>
                    <a:pt x="3025090" y="199530"/>
                  </a:lnTo>
                  <a:lnTo>
                    <a:pt x="3025090" y="196799"/>
                  </a:lnTo>
                  <a:lnTo>
                    <a:pt x="3025090" y="199530"/>
                  </a:lnTo>
                  <a:lnTo>
                    <a:pt x="3025140" y="199530"/>
                  </a:lnTo>
                  <a:lnTo>
                    <a:pt x="3025140" y="197447"/>
                  </a:lnTo>
                  <a:lnTo>
                    <a:pt x="3025140" y="199530"/>
                  </a:lnTo>
                  <a:lnTo>
                    <a:pt x="3025191" y="198831"/>
                  </a:lnTo>
                  <a:lnTo>
                    <a:pt x="3025191" y="199530"/>
                  </a:lnTo>
                  <a:lnTo>
                    <a:pt x="3025191" y="198831"/>
                  </a:lnTo>
                  <a:lnTo>
                    <a:pt x="3025191" y="199530"/>
                  </a:lnTo>
                  <a:lnTo>
                    <a:pt x="3025280" y="198831"/>
                  </a:lnTo>
                  <a:lnTo>
                    <a:pt x="3025280" y="199530"/>
                  </a:lnTo>
                  <a:lnTo>
                    <a:pt x="3025280" y="198831"/>
                  </a:lnTo>
                  <a:lnTo>
                    <a:pt x="3025280" y="200228"/>
                  </a:lnTo>
                  <a:lnTo>
                    <a:pt x="3025331" y="200228"/>
                  </a:lnTo>
                  <a:lnTo>
                    <a:pt x="3025331" y="200876"/>
                  </a:lnTo>
                  <a:lnTo>
                    <a:pt x="3025331" y="200228"/>
                  </a:lnTo>
                  <a:lnTo>
                    <a:pt x="3025331" y="200876"/>
                  </a:lnTo>
                  <a:lnTo>
                    <a:pt x="3025331" y="200228"/>
                  </a:lnTo>
                  <a:lnTo>
                    <a:pt x="3025331" y="200876"/>
                  </a:lnTo>
                  <a:lnTo>
                    <a:pt x="3025331" y="200228"/>
                  </a:lnTo>
                  <a:lnTo>
                    <a:pt x="3025382" y="200228"/>
                  </a:lnTo>
                  <a:lnTo>
                    <a:pt x="3025382" y="199530"/>
                  </a:lnTo>
                  <a:lnTo>
                    <a:pt x="3025382" y="200228"/>
                  </a:lnTo>
                  <a:lnTo>
                    <a:pt x="3025382" y="198831"/>
                  </a:lnTo>
                  <a:lnTo>
                    <a:pt x="3025433" y="198831"/>
                  </a:lnTo>
                  <a:lnTo>
                    <a:pt x="3025433" y="197447"/>
                  </a:lnTo>
                  <a:lnTo>
                    <a:pt x="3025433" y="199530"/>
                  </a:lnTo>
                  <a:lnTo>
                    <a:pt x="3025433" y="198831"/>
                  </a:lnTo>
                  <a:lnTo>
                    <a:pt x="3025534" y="199530"/>
                  </a:lnTo>
                  <a:lnTo>
                    <a:pt x="3025534" y="197447"/>
                  </a:lnTo>
                  <a:lnTo>
                    <a:pt x="3025534" y="200228"/>
                  </a:lnTo>
                  <a:lnTo>
                    <a:pt x="3025534" y="199530"/>
                  </a:lnTo>
                  <a:lnTo>
                    <a:pt x="3025585" y="199530"/>
                  </a:lnTo>
                  <a:lnTo>
                    <a:pt x="3025585" y="200876"/>
                  </a:lnTo>
                  <a:lnTo>
                    <a:pt x="3025585" y="200228"/>
                  </a:lnTo>
                  <a:lnTo>
                    <a:pt x="3025585" y="200876"/>
                  </a:lnTo>
                  <a:lnTo>
                    <a:pt x="3025585" y="200228"/>
                  </a:lnTo>
                  <a:lnTo>
                    <a:pt x="3025636" y="200228"/>
                  </a:lnTo>
                  <a:lnTo>
                    <a:pt x="3025636" y="199530"/>
                  </a:lnTo>
                  <a:lnTo>
                    <a:pt x="3025636" y="200228"/>
                  </a:lnTo>
                  <a:lnTo>
                    <a:pt x="3025636" y="199530"/>
                  </a:lnTo>
                  <a:lnTo>
                    <a:pt x="3025737" y="199530"/>
                  </a:lnTo>
                  <a:lnTo>
                    <a:pt x="3025737" y="200228"/>
                  </a:lnTo>
                  <a:lnTo>
                    <a:pt x="3025737" y="199530"/>
                  </a:lnTo>
                  <a:lnTo>
                    <a:pt x="3025737" y="200228"/>
                  </a:lnTo>
                  <a:lnTo>
                    <a:pt x="3025737" y="199530"/>
                  </a:lnTo>
                  <a:lnTo>
                    <a:pt x="3025737" y="200228"/>
                  </a:lnTo>
                  <a:lnTo>
                    <a:pt x="3025776" y="200228"/>
                  </a:lnTo>
                  <a:lnTo>
                    <a:pt x="3025776" y="200876"/>
                  </a:lnTo>
                  <a:lnTo>
                    <a:pt x="3025776" y="200228"/>
                  </a:lnTo>
                  <a:lnTo>
                    <a:pt x="3025776" y="200876"/>
                  </a:lnTo>
                  <a:lnTo>
                    <a:pt x="3025826" y="200876"/>
                  </a:lnTo>
                  <a:lnTo>
                    <a:pt x="3025826" y="200228"/>
                  </a:lnTo>
                  <a:lnTo>
                    <a:pt x="3025826" y="200876"/>
                  </a:lnTo>
                  <a:lnTo>
                    <a:pt x="3025826" y="200228"/>
                  </a:lnTo>
                  <a:lnTo>
                    <a:pt x="3025826" y="200876"/>
                  </a:lnTo>
                  <a:lnTo>
                    <a:pt x="3025826" y="200228"/>
                  </a:lnTo>
                  <a:lnTo>
                    <a:pt x="3025877" y="200228"/>
                  </a:lnTo>
                  <a:lnTo>
                    <a:pt x="3025877" y="199530"/>
                  </a:lnTo>
                  <a:lnTo>
                    <a:pt x="3025877" y="200228"/>
                  </a:lnTo>
                  <a:lnTo>
                    <a:pt x="3025877" y="198831"/>
                  </a:lnTo>
                  <a:lnTo>
                    <a:pt x="3025979" y="198831"/>
                  </a:lnTo>
                  <a:lnTo>
                    <a:pt x="3025979" y="200228"/>
                  </a:lnTo>
                  <a:lnTo>
                    <a:pt x="3025979" y="198831"/>
                  </a:lnTo>
                  <a:lnTo>
                    <a:pt x="3025979" y="199530"/>
                  </a:lnTo>
                  <a:lnTo>
                    <a:pt x="3026030" y="199530"/>
                  </a:lnTo>
                  <a:lnTo>
                    <a:pt x="3026030" y="202260"/>
                  </a:lnTo>
                  <a:lnTo>
                    <a:pt x="3026030" y="200228"/>
                  </a:lnTo>
                  <a:lnTo>
                    <a:pt x="3026080" y="200876"/>
                  </a:lnTo>
                  <a:lnTo>
                    <a:pt x="3026080" y="202260"/>
                  </a:lnTo>
                  <a:lnTo>
                    <a:pt x="3026080" y="200876"/>
                  </a:lnTo>
                  <a:lnTo>
                    <a:pt x="3026182" y="200876"/>
                  </a:lnTo>
                  <a:lnTo>
                    <a:pt x="3026182" y="200228"/>
                  </a:lnTo>
                  <a:lnTo>
                    <a:pt x="3026182" y="200876"/>
                  </a:lnTo>
                  <a:lnTo>
                    <a:pt x="3026233" y="200876"/>
                  </a:lnTo>
                  <a:lnTo>
                    <a:pt x="3026233" y="200228"/>
                  </a:lnTo>
                  <a:lnTo>
                    <a:pt x="3026233" y="200876"/>
                  </a:lnTo>
                  <a:lnTo>
                    <a:pt x="3026233" y="200228"/>
                  </a:lnTo>
                  <a:lnTo>
                    <a:pt x="3026233" y="200876"/>
                  </a:lnTo>
                  <a:lnTo>
                    <a:pt x="3026233" y="200228"/>
                  </a:lnTo>
                  <a:lnTo>
                    <a:pt x="3026283" y="200228"/>
                  </a:lnTo>
                  <a:lnTo>
                    <a:pt x="3026283" y="200876"/>
                  </a:lnTo>
                  <a:lnTo>
                    <a:pt x="3026283" y="200228"/>
                  </a:lnTo>
                  <a:lnTo>
                    <a:pt x="3026283" y="200876"/>
                  </a:lnTo>
                  <a:lnTo>
                    <a:pt x="3026283" y="200228"/>
                  </a:lnTo>
                  <a:lnTo>
                    <a:pt x="3026283" y="200876"/>
                  </a:lnTo>
                  <a:lnTo>
                    <a:pt x="3026283" y="200228"/>
                  </a:lnTo>
                  <a:lnTo>
                    <a:pt x="3026322" y="200228"/>
                  </a:lnTo>
                  <a:lnTo>
                    <a:pt x="3026322" y="200876"/>
                  </a:lnTo>
                  <a:lnTo>
                    <a:pt x="3026322" y="199530"/>
                  </a:lnTo>
                  <a:lnTo>
                    <a:pt x="3026423" y="198831"/>
                  </a:lnTo>
                  <a:lnTo>
                    <a:pt x="3026423" y="196799"/>
                  </a:lnTo>
                  <a:lnTo>
                    <a:pt x="3026423" y="197447"/>
                  </a:lnTo>
                  <a:lnTo>
                    <a:pt x="3026474" y="197447"/>
                  </a:lnTo>
                  <a:lnTo>
                    <a:pt x="3026474" y="198831"/>
                  </a:lnTo>
                  <a:lnTo>
                    <a:pt x="3026474" y="196799"/>
                  </a:lnTo>
                  <a:lnTo>
                    <a:pt x="3026474" y="197447"/>
                  </a:lnTo>
                  <a:lnTo>
                    <a:pt x="3026474" y="196799"/>
                  </a:lnTo>
                  <a:lnTo>
                    <a:pt x="3026474" y="199530"/>
                  </a:lnTo>
                  <a:lnTo>
                    <a:pt x="3026525" y="200228"/>
                  </a:lnTo>
                  <a:lnTo>
                    <a:pt x="3026525" y="199530"/>
                  </a:lnTo>
                  <a:lnTo>
                    <a:pt x="3026525" y="200876"/>
                  </a:lnTo>
                  <a:lnTo>
                    <a:pt x="3026626" y="200876"/>
                  </a:lnTo>
                  <a:lnTo>
                    <a:pt x="3026626" y="200228"/>
                  </a:lnTo>
                  <a:lnTo>
                    <a:pt x="3026626" y="200876"/>
                  </a:lnTo>
                  <a:lnTo>
                    <a:pt x="3026677" y="200876"/>
                  </a:lnTo>
                  <a:lnTo>
                    <a:pt x="3026677" y="200228"/>
                  </a:lnTo>
                  <a:lnTo>
                    <a:pt x="3026677" y="202260"/>
                  </a:lnTo>
                  <a:lnTo>
                    <a:pt x="3026677" y="200876"/>
                  </a:lnTo>
                  <a:lnTo>
                    <a:pt x="3026677" y="202260"/>
                  </a:lnTo>
                  <a:lnTo>
                    <a:pt x="3026677" y="200876"/>
                  </a:lnTo>
                  <a:lnTo>
                    <a:pt x="3026728" y="202260"/>
                  </a:lnTo>
                  <a:lnTo>
                    <a:pt x="3026728" y="200876"/>
                  </a:lnTo>
                  <a:lnTo>
                    <a:pt x="3026728" y="202260"/>
                  </a:lnTo>
                  <a:lnTo>
                    <a:pt x="3026728" y="200876"/>
                  </a:lnTo>
                  <a:lnTo>
                    <a:pt x="3026728" y="202260"/>
                  </a:lnTo>
                  <a:lnTo>
                    <a:pt x="3026728" y="200876"/>
                  </a:lnTo>
                  <a:lnTo>
                    <a:pt x="3026728" y="202260"/>
                  </a:lnTo>
                  <a:lnTo>
                    <a:pt x="3026728" y="200876"/>
                  </a:lnTo>
                  <a:lnTo>
                    <a:pt x="3026728" y="202260"/>
                  </a:lnTo>
                  <a:lnTo>
                    <a:pt x="3026728" y="200876"/>
                  </a:lnTo>
                  <a:lnTo>
                    <a:pt x="3026779" y="200876"/>
                  </a:lnTo>
                  <a:lnTo>
                    <a:pt x="3026779" y="202260"/>
                  </a:lnTo>
                  <a:lnTo>
                    <a:pt x="3026779" y="200876"/>
                  </a:lnTo>
                  <a:lnTo>
                    <a:pt x="3026868" y="200876"/>
                  </a:lnTo>
                  <a:lnTo>
                    <a:pt x="3026868" y="198831"/>
                  </a:lnTo>
                  <a:lnTo>
                    <a:pt x="3026919" y="198831"/>
                  </a:lnTo>
                  <a:lnTo>
                    <a:pt x="3026919" y="196113"/>
                  </a:lnTo>
                  <a:lnTo>
                    <a:pt x="3026969" y="196113"/>
                  </a:lnTo>
                  <a:lnTo>
                    <a:pt x="3026969" y="198831"/>
                  </a:lnTo>
                  <a:lnTo>
                    <a:pt x="3026969" y="196799"/>
                  </a:lnTo>
                  <a:lnTo>
                    <a:pt x="3026969" y="197447"/>
                  </a:lnTo>
                  <a:lnTo>
                    <a:pt x="3027020" y="198831"/>
                  </a:lnTo>
                  <a:lnTo>
                    <a:pt x="3027020" y="200228"/>
                  </a:lnTo>
                  <a:lnTo>
                    <a:pt x="3027020" y="198831"/>
                  </a:lnTo>
                  <a:lnTo>
                    <a:pt x="3027020" y="199530"/>
                  </a:lnTo>
                  <a:lnTo>
                    <a:pt x="3027122" y="200228"/>
                  </a:lnTo>
                  <a:lnTo>
                    <a:pt x="3027122" y="199530"/>
                  </a:lnTo>
                  <a:lnTo>
                    <a:pt x="3027122" y="200228"/>
                  </a:lnTo>
                  <a:lnTo>
                    <a:pt x="3027122" y="199530"/>
                  </a:lnTo>
                  <a:lnTo>
                    <a:pt x="3027122" y="200228"/>
                  </a:lnTo>
                  <a:lnTo>
                    <a:pt x="3027172" y="200228"/>
                  </a:lnTo>
                  <a:lnTo>
                    <a:pt x="3027172" y="199530"/>
                  </a:lnTo>
                  <a:lnTo>
                    <a:pt x="3027172" y="200876"/>
                  </a:lnTo>
                  <a:lnTo>
                    <a:pt x="3027223" y="200876"/>
                  </a:lnTo>
                  <a:lnTo>
                    <a:pt x="3027223" y="200228"/>
                  </a:lnTo>
                  <a:lnTo>
                    <a:pt x="3027223" y="202260"/>
                  </a:lnTo>
                  <a:lnTo>
                    <a:pt x="3027223" y="200876"/>
                  </a:lnTo>
                  <a:lnTo>
                    <a:pt x="3027325" y="200876"/>
                  </a:lnTo>
                  <a:lnTo>
                    <a:pt x="3027325" y="202260"/>
                  </a:lnTo>
                  <a:lnTo>
                    <a:pt x="3027325" y="200876"/>
                  </a:lnTo>
                  <a:lnTo>
                    <a:pt x="3027325" y="202260"/>
                  </a:lnTo>
                  <a:lnTo>
                    <a:pt x="3027325" y="200876"/>
                  </a:lnTo>
                  <a:lnTo>
                    <a:pt x="3027363" y="200876"/>
                  </a:lnTo>
                  <a:lnTo>
                    <a:pt x="3027363" y="199530"/>
                  </a:lnTo>
                  <a:lnTo>
                    <a:pt x="3027363" y="200228"/>
                  </a:lnTo>
                  <a:lnTo>
                    <a:pt x="3027363" y="199530"/>
                  </a:lnTo>
                  <a:lnTo>
                    <a:pt x="3027414" y="199530"/>
                  </a:lnTo>
                  <a:lnTo>
                    <a:pt x="3027414" y="196799"/>
                  </a:lnTo>
                  <a:lnTo>
                    <a:pt x="3027414" y="198831"/>
                  </a:lnTo>
                  <a:lnTo>
                    <a:pt x="3027465" y="198831"/>
                  </a:lnTo>
                  <a:lnTo>
                    <a:pt x="3027465" y="197447"/>
                  </a:lnTo>
                  <a:lnTo>
                    <a:pt x="3027465" y="200228"/>
                  </a:lnTo>
                  <a:lnTo>
                    <a:pt x="3027566" y="200228"/>
                  </a:lnTo>
                  <a:lnTo>
                    <a:pt x="3027566" y="198831"/>
                  </a:lnTo>
                  <a:lnTo>
                    <a:pt x="3027566" y="200228"/>
                  </a:lnTo>
                  <a:lnTo>
                    <a:pt x="3027566" y="199530"/>
                  </a:lnTo>
                  <a:lnTo>
                    <a:pt x="3027617" y="200228"/>
                  </a:lnTo>
                  <a:lnTo>
                    <a:pt x="3027617" y="199530"/>
                  </a:lnTo>
                  <a:lnTo>
                    <a:pt x="3027617" y="200228"/>
                  </a:lnTo>
                  <a:lnTo>
                    <a:pt x="3027617" y="199530"/>
                  </a:lnTo>
                  <a:lnTo>
                    <a:pt x="3027668" y="199530"/>
                  </a:lnTo>
                  <a:lnTo>
                    <a:pt x="3027668" y="200876"/>
                  </a:lnTo>
                  <a:lnTo>
                    <a:pt x="3027668" y="200228"/>
                  </a:lnTo>
                  <a:lnTo>
                    <a:pt x="3027769" y="200876"/>
                  </a:lnTo>
                  <a:lnTo>
                    <a:pt x="3027769" y="200228"/>
                  </a:lnTo>
                  <a:lnTo>
                    <a:pt x="3027769" y="200876"/>
                  </a:lnTo>
                  <a:lnTo>
                    <a:pt x="3027769" y="200228"/>
                  </a:lnTo>
                  <a:lnTo>
                    <a:pt x="3027769" y="200876"/>
                  </a:lnTo>
                  <a:lnTo>
                    <a:pt x="3027820" y="200228"/>
                  </a:lnTo>
                  <a:lnTo>
                    <a:pt x="3027820" y="200876"/>
                  </a:lnTo>
                  <a:lnTo>
                    <a:pt x="3027820" y="200228"/>
                  </a:lnTo>
                  <a:lnTo>
                    <a:pt x="3027871" y="199530"/>
                  </a:lnTo>
                  <a:lnTo>
                    <a:pt x="3027871" y="200228"/>
                  </a:lnTo>
                  <a:lnTo>
                    <a:pt x="3027871" y="199530"/>
                  </a:lnTo>
                  <a:lnTo>
                    <a:pt x="3027871" y="200228"/>
                  </a:lnTo>
                  <a:lnTo>
                    <a:pt x="3027871" y="197447"/>
                  </a:lnTo>
                  <a:lnTo>
                    <a:pt x="3027909" y="197447"/>
                  </a:lnTo>
                  <a:lnTo>
                    <a:pt x="3027909" y="199530"/>
                  </a:lnTo>
                  <a:lnTo>
                    <a:pt x="3027909" y="198831"/>
                  </a:lnTo>
                  <a:lnTo>
                    <a:pt x="3027909" y="199530"/>
                  </a:lnTo>
                  <a:lnTo>
                    <a:pt x="3027909" y="197447"/>
                  </a:lnTo>
                  <a:lnTo>
                    <a:pt x="3027909" y="198831"/>
                  </a:lnTo>
                  <a:lnTo>
                    <a:pt x="3028011" y="199530"/>
                  </a:lnTo>
                  <a:lnTo>
                    <a:pt x="3028011" y="202260"/>
                  </a:lnTo>
                  <a:lnTo>
                    <a:pt x="3028011" y="199530"/>
                  </a:lnTo>
                  <a:lnTo>
                    <a:pt x="3028011" y="200228"/>
                  </a:lnTo>
                  <a:lnTo>
                    <a:pt x="3028062" y="200228"/>
                  </a:lnTo>
                  <a:lnTo>
                    <a:pt x="3028062" y="200876"/>
                  </a:lnTo>
                  <a:lnTo>
                    <a:pt x="3028062" y="200228"/>
                  </a:lnTo>
                  <a:lnTo>
                    <a:pt x="3028062" y="200876"/>
                  </a:lnTo>
                  <a:lnTo>
                    <a:pt x="3028062" y="199530"/>
                  </a:lnTo>
                  <a:lnTo>
                    <a:pt x="3028062" y="200228"/>
                  </a:lnTo>
                  <a:lnTo>
                    <a:pt x="3028112" y="200228"/>
                  </a:lnTo>
                  <a:lnTo>
                    <a:pt x="3028112" y="199530"/>
                  </a:lnTo>
                  <a:lnTo>
                    <a:pt x="3028112" y="200228"/>
                  </a:lnTo>
                  <a:lnTo>
                    <a:pt x="3028214" y="200228"/>
                  </a:lnTo>
                  <a:lnTo>
                    <a:pt x="3028214" y="200876"/>
                  </a:lnTo>
                  <a:lnTo>
                    <a:pt x="3028265" y="200876"/>
                  </a:lnTo>
                  <a:lnTo>
                    <a:pt x="3028265" y="200228"/>
                  </a:lnTo>
                  <a:lnTo>
                    <a:pt x="3028265" y="200876"/>
                  </a:lnTo>
                  <a:lnTo>
                    <a:pt x="3028265" y="200228"/>
                  </a:lnTo>
                  <a:lnTo>
                    <a:pt x="3028315" y="200228"/>
                  </a:lnTo>
                  <a:lnTo>
                    <a:pt x="3028315" y="199530"/>
                  </a:lnTo>
                  <a:lnTo>
                    <a:pt x="3028315" y="200228"/>
                  </a:lnTo>
                  <a:lnTo>
                    <a:pt x="3028315" y="199530"/>
                  </a:lnTo>
                  <a:lnTo>
                    <a:pt x="3028366" y="199530"/>
                  </a:lnTo>
                  <a:lnTo>
                    <a:pt x="3028366" y="198831"/>
                  </a:lnTo>
                  <a:lnTo>
                    <a:pt x="3028366" y="199530"/>
                  </a:lnTo>
                  <a:lnTo>
                    <a:pt x="3028366" y="198831"/>
                  </a:lnTo>
                  <a:lnTo>
                    <a:pt x="3028366" y="200228"/>
                  </a:lnTo>
                  <a:lnTo>
                    <a:pt x="3028455" y="200228"/>
                  </a:lnTo>
                  <a:lnTo>
                    <a:pt x="3028455" y="198831"/>
                  </a:lnTo>
                  <a:lnTo>
                    <a:pt x="3028455" y="202260"/>
                  </a:lnTo>
                  <a:lnTo>
                    <a:pt x="3028506" y="202260"/>
                  </a:lnTo>
                  <a:lnTo>
                    <a:pt x="3028506" y="200228"/>
                  </a:lnTo>
                  <a:lnTo>
                    <a:pt x="3028506" y="202959"/>
                  </a:lnTo>
                  <a:lnTo>
                    <a:pt x="3028506" y="202260"/>
                  </a:lnTo>
                  <a:lnTo>
                    <a:pt x="3028557" y="202260"/>
                  </a:lnTo>
                  <a:lnTo>
                    <a:pt x="3028557" y="200876"/>
                  </a:lnTo>
                  <a:lnTo>
                    <a:pt x="3028557" y="202260"/>
                  </a:lnTo>
                  <a:lnTo>
                    <a:pt x="3028557" y="200876"/>
                  </a:lnTo>
                  <a:lnTo>
                    <a:pt x="3028557" y="202260"/>
                  </a:lnTo>
                  <a:lnTo>
                    <a:pt x="3028557" y="200876"/>
                  </a:lnTo>
                  <a:lnTo>
                    <a:pt x="3028557" y="202959"/>
                  </a:lnTo>
                  <a:lnTo>
                    <a:pt x="3028557" y="202260"/>
                  </a:lnTo>
                  <a:lnTo>
                    <a:pt x="3028608" y="202260"/>
                  </a:lnTo>
                  <a:lnTo>
                    <a:pt x="3028608" y="202959"/>
                  </a:lnTo>
                  <a:lnTo>
                    <a:pt x="3028608" y="202260"/>
                  </a:lnTo>
                  <a:lnTo>
                    <a:pt x="3028709" y="202260"/>
                  </a:lnTo>
                  <a:lnTo>
                    <a:pt x="3028709" y="202959"/>
                  </a:lnTo>
                  <a:lnTo>
                    <a:pt x="3028709" y="202260"/>
                  </a:lnTo>
                  <a:lnTo>
                    <a:pt x="3028760" y="202260"/>
                  </a:lnTo>
                  <a:lnTo>
                    <a:pt x="3028760" y="200876"/>
                  </a:lnTo>
                  <a:lnTo>
                    <a:pt x="3028760" y="202260"/>
                  </a:lnTo>
                  <a:lnTo>
                    <a:pt x="3028760" y="200876"/>
                  </a:lnTo>
                  <a:lnTo>
                    <a:pt x="3028811" y="200876"/>
                  </a:lnTo>
                  <a:lnTo>
                    <a:pt x="3028811" y="199530"/>
                  </a:lnTo>
                  <a:lnTo>
                    <a:pt x="3028811" y="200228"/>
                  </a:lnTo>
                  <a:lnTo>
                    <a:pt x="3028811" y="199530"/>
                  </a:lnTo>
                  <a:lnTo>
                    <a:pt x="3028912" y="199530"/>
                  </a:lnTo>
                  <a:lnTo>
                    <a:pt x="3028912" y="198831"/>
                  </a:lnTo>
                  <a:lnTo>
                    <a:pt x="3028912" y="199530"/>
                  </a:lnTo>
                  <a:lnTo>
                    <a:pt x="3028912" y="196799"/>
                  </a:lnTo>
                  <a:lnTo>
                    <a:pt x="3028912" y="200228"/>
                  </a:lnTo>
                  <a:lnTo>
                    <a:pt x="3028912" y="199530"/>
                  </a:lnTo>
                  <a:lnTo>
                    <a:pt x="3028951" y="199530"/>
                  </a:lnTo>
                  <a:lnTo>
                    <a:pt x="3028951" y="198831"/>
                  </a:lnTo>
                  <a:lnTo>
                    <a:pt x="3028951" y="199530"/>
                  </a:lnTo>
                  <a:lnTo>
                    <a:pt x="3028951" y="198831"/>
                  </a:lnTo>
                  <a:lnTo>
                    <a:pt x="3028951" y="202260"/>
                  </a:lnTo>
                  <a:lnTo>
                    <a:pt x="3028951" y="200876"/>
                  </a:lnTo>
                  <a:lnTo>
                    <a:pt x="3029001" y="200876"/>
                  </a:lnTo>
                  <a:lnTo>
                    <a:pt x="3029001" y="200228"/>
                  </a:lnTo>
                  <a:lnTo>
                    <a:pt x="3029001" y="202260"/>
                  </a:lnTo>
                  <a:lnTo>
                    <a:pt x="3029052" y="202260"/>
                  </a:lnTo>
                  <a:lnTo>
                    <a:pt x="3029052" y="200876"/>
                  </a:lnTo>
                  <a:lnTo>
                    <a:pt x="3029052" y="202959"/>
                  </a:lnTo>
                  <a:lnTo>
                    <a:pt x="3029052" y="200876"/>
                  </a:lnTo>
                  <a:lnTo>
                    <a:pt x="3029052" y="202260"/>
                  </a:lnTo>
                  <a:lnTo>
                    <a:pt x="3029154" y="200876"/>
                  </a:lnTo>
                  <a:lnTo>
                    <a:pt x="3029154" y="199530"/>
                  </a:lnTo>
                  <a:lnTo>
                    <a:pt x="3029205" y="199530"/>
                  </a:lnTo>
                  <a:lnTo>
                    <a:pt x="3029205" y="198831"/>
                  </a:lnTo>
                  <a:lnTo>
                    <a:pt x="3029205" y="199530"/>
                  </a:lnTo>
                  <a:lnTo>
                    <a:pt x="3029205" y="198831"/>
                  </a:lnTo>
                  <a:lnTo>
                    <a:pt x="3029205" y="200876"/>
                  </a:lnTo>
                  <a:lnTo>
                    <a:pt x="3029255" y="200876"/>
                  </a:lnTo>
                  <a:lnTo>
                    <a:pt x="3029255" y="199530"/>
                  </a:lnTo>
                  <a:lnTo>
                    <a:pt x="3029255" y="202260"/>
                  </a:lnTo>
                  <a:lnTo>
                    <a:pt x="3029357" y="202260"/>
                  </a:lnTo>
                  <a:lnTo>
                    <a:pt x="3029357" y="200228"/>
                  </a:lnTo>
                  <a:lnTo>
                    <a:pt x="3029357" y="202260"/>
                  </a:lnTo>
                  <a:lnTo>
                    <a:pt x="3029357" y="200876"/>
                  </a:lnTo>
                  <a:lnTo>
                    <a:pt x="3029408" y="200876"/>
                  </a:lnTo>
                  <a:lnTo>
                    <a:pt x="3029408" y="202260"/>
                  </a:lnTo>
                  <a:lnTo>
                    <a:pt x="3029408" y="200228"/>
                  </a:lnTo>
                  <a:lnTo>
                    <a:pt x="3029408" y="200876"/>
                  </a:lnTo>
                  <a:lnTo>
                    <a:pt x="3029458" y="200876"/>
                  </a:lnTo>
                  <a:lnTo>
                    <a:pt x="3029458" y="202260"/>
                  </a:lnTo>
                  <a:lnTo>
                    <a:pt x="3029458" y="200876"/>
                  </a:lnTo>
                  <a:lnTo>
                    <a:pt x="3029497" y="200876"/>
                  </a:lnTo>
                  <a:lnTo>
                    <a:pt x="3029497" y="202260"/>
                  </a:lnTo>
                  <a:lnTo>
                    <a:pt x="3029497" y="200228"/>
                  </a:lnTo>
                  <a:lnTo>
                    <a:pt x="3029598" y="200228"/>
                  </a:lnTo>
                  <a:lnTo>
                    <a:pt x="3029598" y="200876"/>
                  </a:lnTo>
                  <a:lnTo>
                    <a:pt x="3029598" y="199530"/>
                  </a:lnTo>
                  <a:lnTo>
                    <a:pt x="3029598" y="200228"/>
                  </a:lnTo>
                  <a:lnTo>
                    <a:pt x="3029598" y="199530"/>
                  </a:lnTo>
                  <a:lnTo>
                    <a:pt x="3029649" y="199530"/>
                  </a:lnTo>
                  <a:lnTo>
                    <a:pt x="3029649" y="198831"/>
                  </a:lnTo>
                  <a:lnTo>
                    <a:pt x="3029649" y="199530"/>
                  </a:lnTo>
                  <a:lnTo>
                    <a:pt x="3029649" y="198831"/>
                  </a:lnTo>
                  <a:lnTo>
                    <a:pt x="3029649" y="199530"/>
                  </a:lnTo>
                  <a:lnTo>
                    <a:pt x="3029649" y="197447"/>
                  </a:lnTo>
                  <a:lnTo>
                    <a:pt x="3029700" y="197447"/>
                  </a:lnTo>
                  <a:lnTo>
                    <a:pt x="3029700" y="200228"/>
                  </a:lnTo>
                  <a:lnTo>
                    <a:pt x="3029700" y="198831"/>
                  </a:lnTo>
                  <a:lnTo>
                    <a:pt x="3029700" y="199530"/>
                  </a:lnTo>
                  <a:lnTo>
                    <a:pt x="3029801" y="199530"/>
                  </a:lnTo>
                  <a:lnTo>
                    <a:pt x="3029801" y="202260"/>
                  </a:lnTo>
                  <a:lnTo>
                    <a:pt x="3029801" y="200228"/>
                  </a:lnTo>
                  <a:lnTo>
                    <a:pt x="3029801" y="200876"/>
                  </a:lnTo>
                  <a:lnTo>
                    <a:pt x="3029852" y="200876"/>
                  </a:lnTo>
                  <a:lnTo>
                    <a:pt x="3029852" y="202959"/>
                  </a:lnTo>
                  <a:lnTo>
                    <a:pt x="3029852" y="200876"/>
                  </a:lnTo>
                  <a:lnTo>
                    <a:pt x="3029852" y="202260"/>
                  </a:lnTo>
                  <a:lnTo>
                    <a:pt x="3029903" y="202260"/>
                  </a:lnTo>
                  <a:lnTo>
                    <a:pt x="3029954" y="202959"/>
                  </a:lnTo>
                  <a:lnTo>
                    <a:pt x="3029954" y="202260"/>
                  </a:lnTo>
                  <a:lnTo>
                    <a:pt x="3029954" y="202959"/>
                  </a:lnTo>
                  <a:lnTo>
                    <a:pt x="3029954" y="202260"/>
                  </a:lnTo>
                  <a:lnTo>
                    <a:pt x="3029954" y="202959"/>
                  </a:lnTo>
                  <a:lnTo>
                    <a:pt x="3029954" y="202260"/>
                  </a:lnTo>
                  <a:lnTo>
                    <a:pt x="3029954" y="202959"/>
                  </a:lnTo>
                  <a:lnTo>
                    <a:pt x="3029954" y="202260"/>
                  </a:lnTo>
                  <a:lnTo>
                    <a:pt x="3029954" y="202959"/>
                  </a:lnTo>
                  <a:lnTo>
                    <a:pt x="3029954" y="202260"/>
                  </a:lnTo>
                  <a:lnTo>
                    <a:pt x="3030043" y="202260"/>
                  </a:lnTo>
                  <a:lnTo>
                    <a:pt x="3030043" y="202959"/>
                  </a:lnTo>
                  <a:lnTo>
                    <a:pt x="3030043" y="202260"/>
                  </a:lnTo>
                  <a:lnTo>
                    <a:pt x="3030094" y="202260"/>
                  </a:lnTo>
                  <a:lnTo>
                    <a:pt x="3030094" y="200228"/>
                  </a:lnTo>
                  <a:lnTo>
                    <a:pt x="3030144" y="200228"/>
                  </a:lnTo>
                  <a:lnTo>
                    <a:pt x="3030144" y="198831"/>
                  </a:lnTo>
                  <a:lnTo>
                    <a:pt x="3030195" y="199530"/>
                  </a:lnTo>
                  <a:lnTo>
                    <a:pt x="3030195" y="200228"/>
                  </a:lnTo>
                  <a:lnTo>
                    <a:pt x="3030195" y="199530"/>
                  </a:lnTo>
                  <a:lnTo>
                    <a:pt x="3030195" y="200228"/>
                  </a:lnTo>
                  <a:lnTo>
                    <a:pt x="3030195" y="199530"/>
                  </a:lnTo>
                  <a:lnTo>
                    <a:pt x="3030195" y="200876"/>
                  </a:lnTo>
                  <a:lnTo>
                    <a:pt x="3030297" y="200876"/>
                  </a:lnTo>
                  <a:lnTo>
                    <a:pt x="3030297" y="200228"/>
                  </a:lnTo>
                  <a:lnTo>
                    <a:pt x="3030297" y="200876"/>
                  </a:lnTo>
                  <a:lnTo>
                    <a:pt x="3030297" y="200228"/>
                  </a:lnTo>
                  <a:lnTo>
                    <a:pt x="3030297" y="200876"/>
                  </a:lnTo>
                  <a:lnTo>
                    <a:pt x="3030347" y="202260"/>
                  </a:lnTo>
                  <a:lnTo>
                    <a:pt x="3030347" y="200876"/>
                  </a:lnTo>
                  <a:lnTo>
                    <a:pt x="3030398" y="200876"/>
                  </a:lnTo>
                  <a:lnTo>
                    <a:pt x="3030398" y="202959"/>
                  </a:lnTo>
                  <a:lnTo>
                    <a:pt x="3030398" y="202260"/>
                  </a:lnTo>
                  <a:lnTo>
                    <a:pt x="3030500" y="202260"/>
                  </a:lnTo>
                  <a:lnTo>
                    <a:pt x="3030500" y="202959"/>
                  </a:lnTo>
                  <a:lnTo>
                    <a:pt x="3030538" y="202959"/>
                  </a:lnTo>
                  <a:lnTo>
                    <a:pt x="3030538" y="202260"/>
                  </a:lnTo>
                  <a:lnTo>
                    <a:pt x="3030538" y="202959"/>
                  </a:lnTo>
                  <a:lnTo>
                    <a:pt x="3030538" y="200876"/>
                  </a:lnTo>
                  <a:lnTo>
                    <a:pt x="3030538" y="202260"/>
                  </a:lnTo>
                  <a:lnTo>
                    <a:pt x="3030538" y="200876"/>
                  </a:lnTo>
                  <a:lnTo>
                    <a:pt x="3030589" y="200876"/>
                  </a:lnTo>
                  <a:lnTo>
                    <a:pt x="3030589" y="199530"/>
                  </a:lnTo>
                  <a:lnTo>
                    <a:pt x="3030589" y="200228"/>
                  </a:lnTo>
                  <a:lnTo>
                    <a:pt x="3030589" y="199530"/>
                  </a:lnTo>
                  <a:lnTo>
                    <a:pt x="3030640" y="199530"/>
                  </a:lnTo>
                  <a:lnTo>
                    <a:pt x="3030640" y="198831"/>
                  </a:lnTo>
                  <a:lnTo>
                    <a:pt x="3030640" y="199530"/>
                  </a:lnTo>
                  <a:lnTo>
                    <a:pt x="3030640" y="197447"/>
                  </a:lnTo>
                  <a:lnTo>
                    <a:pt x="3030640" y="199530"/>
                  </a:lnTo>
                  <a:lnTo>
                    <a:pt x="3030741" y="199530"/>
                  </a:lnTo>
                  <a:lnTo>
                    <a:pt x="3030741" y="197447"/>
                  </a:lnTo>
                  <a:lnTo>
                    <a:pt x="3030741" y="200876"/>
                  </a:lnTo>
                  <a:lnTo>
                    <a:pt x="3030792" y="200228"/>
                  </a:lnTo>
                  <a:lnTo>
                    <a:pt x="3030792" y="199530"/>
                  </a:lnTo>
                  <a:lnTo>
                    <a:pt x="3030792" y="200876"/>
                  </a:lnTo>
                  <a:lnTo>
                    <a:pt x="3030792" y="200228"/>
                  </a:lnTo>
                  <a:lnTo>
                    <a:pt x="3030843" y="200228"/>
                  </a:lnTo>
                  <a:lnTo>
                    <a:pt x="3030843" y="200876"/>
                  </a:lnTo>
                  <a:lnTo>
                    <a:pt x="3030843" y="200228"/>
                  </a:lnTo>
                  <a:lnTo>
                    <a:pt x="3030843" y="200876"/>
                  </a:lnTo>
                  <a:lnTo>
                    <a:pt x="3030944" y="200876"/>
                  </a:lnTo>
                  <a:lnTo>
                    <a:pt x="3030944" y="200228"/>
                  </a:lnTo>
                  <a:lnTo>
                    <a:pt x="3030944" y="202260"/>
                  </a:lnTo>
                  <a:lnTo>
                    <a:pt x="3030995" y="202260"/>
                  </a:lnTo>
                  <a:lnTo>
                    <a:pt x="3030995" y="202959"/>
                  </a:lnTo>
                  <a:lnTo>
                    <a:pt x="3030995" y="202260"/>
                  </a:lnTo>
                  <a:lnTo>
                    <a:pt x="3031046" y="202260"/>
                  </a:lnTo>
                  <a:lnTo>
                    <a:pt x="3031046" y="200876"/>
                  </a:lnTo>
                  <a:lnTo>
                    <a:pt x="3031046" y="202260"/>
                  </a:lnTo>
                  <a:lnTo>
                    <a:pt x="3031046" y="200876"/>
                  </a:lnTo>
                  <a:lnTo>
                    <a:pt x="3031084" y="200876"/>
                  </a:lnTo>
                  <a:lnTo>
                    <a:pt x="3031084" y="199530"/>
                  </a:lnTo>
                  <a:lnTo>
                    <a:pt x="3031186" y="199530"/>
                  </a:lnTo>
                  <a:lnTo>
                    <a:pt x="3031186" y="198831"/>
                  </a:lnTo>
                  <a:lnTo>
                    <a:pt x="3031186" y="200228"/>
                  </a:lnTo>
                  <a:lnTo>
                    <a:pt x="3031186" y="198831"/>
                  </a:lnTo>
                  <a:lnTo>
                    <a:pt x="3031237" y="198831"/>
                  </a:lnTo>
                  <a:lnTo>
                    <a:pt x="3031237" y="200876"/>
                  </a:lnTo>
                  <a:lnTo>
                    <a:pt x="3031237" y="200228"/>
                  </a:lnTo>
                  <a:lnTo>
                    <a:pt x="3031237" y="200876"/>
                  </a:lnTo>
                  <a:lnTo>
                    <a:pt x="3031237" y="199530"/>
                  </a:lnTo>
                  <a:lnTo>
                    <a:pt x="3031287" y="199530"/>
                  </a:lnTo>
                  <a:lnTo>
                    <a:pt x="3031287" y="200228"/>
                  </a:lnTo>
                  <a:lnTo>
                    <a:pt x="3031287" y="198831"/>
                  </a:lnTo>
                  <a:lnTo>
                    <a:pt x="3031287" y="199530"/>
                  </a:lnTo>
                  <a:lnTo>
                    <a:pt x="3031389" y="199530"/>
                  </a:lnTo>
                  <a:lnTo>
                    <a:pt x="3031389" y="200228"/>
                  </a:lnTo>
                  <a:lnTo>
                    <a:pt x="3031389" y="199530"/>
                  </a:lnTo>
                  <a:lnTo>
                    <a:pt x="3031389" y="200228"/>
                  </a:lnTo>
                  <a:lnTo>
                    <a:pt x="3031389" y="199530"/>
                  </a:lnTo>
                  <a:lnTo>
                    <a:pt x="3031389" y="200228"/>
                  </a:lnTo>
                  <a:lnTo>
                    <a:pt x="3031389" y="199530"/>
                  </a:lnTo>
                  <a:lnTo>
                    <a:pt x="3031389" y="200228"/>
                  </a:lnTo>
                  <a:lnTo>
                    <a:pt x="3031440" y="200876"/>
                  </a:lnTo>
                  <a:lnTo>
                    <a:pt x="3031440" y="200228"/>
                  </a:lnTo>
                  <a:lnTo>
                    <a:pt x="3031440" y="200876"/>
                  </a:lnTo>
                  <a:lnTo>
                    <a:pt x="3031440" y="200228"/>
                  </a:lnTo>
                  <a:lnTo>
                    <a:pt x="3031440" y="200876"/>
                  </a:lnTo>
                  <a:lnTo>
                    <a:pt x="3031541" y="200876"/>
                  </a:lnTo>
                  <a:lnTo>
                    <a:pt x="3031541" y="200228"/>
                  </a:lnTo>
                  <a:lnTo>
                    <a:pt x="3031630" y="200228"/>
                  </a:lnTo>
                  <a:lnTo>
                    <a:pt x="3031630" y="198831"/>
                  </a:lnTo>
                  <a:lnTo>
                    <a:pt x="3031630" y="199530"/>
                  </a:lnTo>
                  <a:lnTo>
                    <a:pt x="3031630" y="197447"/>
                  </a:lnTo>
                  <a:lnTo>
                    <a:pt x="3031630" y="199530"/>
                  </a:lnTo>
                  <a:lnTo>
                    <a:pt x="3031681" y="199530"/>
                  </a:lnTo>
                  <a:lnTo>
                    <a:pt x="3031681" y="200228"/>
                  </a:lnTo>
                  <a:lnTo>
                    <a:pt x="3031681" y="198831"/>
                  </a:lnTo>
                  <a:lnTo>
                    <a:pt x="3031681" y="202260"/>
                  </a:lnTo>
                  <a:lnTo>
                    <a:pt x="3031732" y="202260"/>
                  </a:lnTo>
                  <a:lnTo>
                    <a:pt x="3031732" y="202959"/>
                  </a:lnTo>
                  <a:lnTo>
                    <a:pt x="3031732" y="200228"/>
                  </a:lnTo>
                  <a:lnTo>
                    <a:pt x="3031732" y="202959"/>
                  </a:lnTo>
                  <a:lnTo>
                    <a:pt x="3031783" y="202959"/>
                  </a:lnTo>
                  <a:lnTo>
                    <a:pt x="3031783" y="199530"/>
                  </a:lnTo>
                  <a:lnTo>
                    <a:pt x="3031783" y="202260"/>
                  </a:lnTo>
                  <a:lnTo>
                    <a:pt x="3031884" y="202260"/>
                  </a:lnTo>
                  <a:lnTo>
                    <a:pt x="3031884" y="200876"/>
                  </a:lnTo>
                  <a:lnTo>
                    <a:pt x="3031884" y="202260"/>
                  </a:lnTo>
                  <a:lnTo>
                    <a:pt x="3031884" y="200876"/>
                  </a:lnTo>
                  <a:lnTo>
                    <a:pt x="3031884" y="202260"/>
                  </a:lnTo>
                  <a:lnTo>
                    <a:pt x="3031935" y="202260"/>
                  </a:lnTo>
                  <a:lnTo>
                    <a:pt x="3031935" y="200876"/>
                  </a:lnTo>
                  <a:lnTo>
                    <a:pt x="3031935" y="202260"/>
                  </a:lnTo>
                  <a:lnTo>
                    <a:pt x="3031935" y="200876"/>
                  </a:lnTo>
                  <a:lnTo>
                    <a:pt x="3031935" y="202260"/>
                  </a:lnTo>
                  <a:lnTo>
                    <a:pt x="3031986" y="202260"/>
                  </a:lnTo>
                  <a:lnTo>
                    <a:pt x="3031986" y="200876"/>
                  </a:lnTo>
                  <a:lnTo>
                    <a:pt x="3031986" y="202260"/>
                  </a:lnTo>
                  <a:lnTo>
                    <a:pt x="3031986" y="200876"/>
                  </a:lnTo>
                  <a:lnTo>
                    <a:pt x="3031986" y="202260"/>
                  </a:lnTo>
                  <a:lnTo>
                    <a:pt x="3031986" y="200876"/>
                  </a:lnTo>
                  <a:lnTo>
                    <a:pt x="3032087" y="200876"/>
                  </a:lnTo>
                  <a:lnTo>
                    <a:pt x="3032087" y="200228"/>
                  </a:lnTo>
                  <a:lnTo>
                    <a:pt x="3032087" y="200876"/>
                  </a:lnTo>
                  <a:lnTo>
                    <a:pt x="3032087" y="199530"/>
                  </a:lnTo>
                  <a:lnTo>
                    <a:pt x="3032087" y="200228"/>
                  </a:lnTo>
                  <a:lnTo>
                    <a:pt x="3032126" y="199530"/>
                  </a:lnTo>
                  <a:lnTo>
                    <a:pt x="3032126" y="198831"/>
                  </a:lnTo>
                  <a:lnTo>
                    <a:pt x="3032126" y="200876"/>
                  </a:lnTo>
                  <a:lnTo>
                    <a:pt x="3032126" y="200228"/>
                  </a:lnTo>
                  <a:lnTo>
                    <a:pt x="3032176" y="200228"/>
                  </a:lnTo>
                  <a:lnTo>
                    <a:pt x="3032176" y="199530"/>
                  </a:lnTo>
                  <a:lnTo>
                    <a:pt x="3032176" y="200228"/>
                  </a:lnTo>
                  <a:lnTo>
                    <a:pt x="3032176" y="199530"/>
                  </a:lnTo>
                  <a:lnTo>
                    <a:pt x="3032176" y="202959"/>
                  </a:lnTo>
                  <a:lnTo>
                    <a:pt x="3032176" y="202260"/>
                  </a:lnTo>
                  <a:lnTo>
                    <a:pt x="3032227" y="202260"/>
                  </a:lnTo>
                  <a:lnTo>
                    <a:pt x="3032227" y="200876"/>
                  </a:lnTo>
                  <a:lnTo>
                    <a:pt x="3032227" y="202959"/>
                  </a:lnTo>
                  <a:lnTo>
                    <a:pt x="3032227" y="202260"/>
                  </a:lnTo>
                  <a:lnTo>
                    <a:pt x="3032227" y="202959"/>
                  </a:lnTo>
                  <a:lnTo>
                    <a:pt x="3032227" y="202260"/>
                  </a:lnTo>
                  <a:lnTo>
                    <a:pt x="3032329" y="202260"/>
                  </a:lnTo>
                  <a:lnTo>
                    <a:pt x="3032329" y="200876"/>
                  </a:lnTo>
                  <a:lnTo>
                    <a:pt x="3032329" y="202260"/>
                  </a:lnTo>
                  <a:lnTo>
                    <a:pt x="3032329" y="200876"/>
                  </a:lnTo>
                  <a:lnTo>
                    <a:pt x="3032329" y="202260"/>
                  </a:lnTo>
                  <a:lnTo>
                    <a:pt x="3032380" y="202260"/>
                  </a:lnTo>
                  <a:lnTo>
                    <a:pt x="3032380" y="202959"/>
                  </a:lnTo>
                  <a:lnTo>
                    <a:pt x="3032380" y="202260"/>
                  </a:lnTo>
                  <a:lnTo>
                    <a:pt x="3032430" y="202260"/>
                  </a:lnTo>
                  <a:lnTo>
                    <a:pt x="3032430" y="202959"/>
                  </a:lnTo>
                  <a:lnTo>
                    <a:pt x="3032430" y="202260"/>
                  </a:lnTo>
                  <a:lnTo>
                    <a:pt x="3032532" y="202260"/>
                  </a:lnTo>
                  <a:lnTo>
                    <a:pt x="3032532" y="200876"/>
                  </a:lnTo>
                  <a:lnTo>
                    <a:pt x="3032532" y="202260"/>
                  </a:lnTo>
                  <a:lnTo>
                    <a:pt x="3032532" y="200876"/>
                  </a:lnTo>
                  <a:lnTo>
                    <a:pt x="3032532" y="202260"/>
                  </a:lnTo>
                  <a:lnTo>
                    <a:pt x="3032532" y="200876"/>
                  </a:lnTo>
                  <a:lnTo>
                    <a:pt x="3032532" y="202260"/>
                  </a:lnTo>
                  <a:lnTo>
                    <a:pt x="3032532" y="200228"/>
                  </a:lnTo>
                  <a:lnTo>
                    <a:pt x="3032583" y="200228"/>
                  </a:lnTo>
                  <a:lnTo>
                    <a:pt x="3032583" y="199530"/>
                  </a:lnTo>
                  <a:lnTo>
                    <a:pt x="3032583" y="200228"/>
                  </a:lnTo>
                  <a:lnTo>
                    <a:pt x="3032583" y="199530"/>
                  </a:lnTo>
                  <a:lnTo>
                    <a:pt x="3032583" y="200228"/>
                  </a:lnTo>
                  <a:lnTo>
                    <a:pt x="3032583" y="198831"/>
                  </a:lnTo>
                  <a:lnTo>
                    <a:pt x="3032633" y="198831"/>
                  </a:lnTo>
                  <a:lnTo>
                    <a:pt x="3032633" y="197447"/>
                  </a:lnTo>
                  <a:lnTo>
                    <a:pt x="3032633" y="199530"/>
                  </a:lnTo>
                  <a:lnTo>
                    <a:pt x="3032633" y="198831"/>
                  </a:lnTo>
                  <a:lnTo>
                    <a:pt x="3032672" y="198831"/>
                  </a:lnTo>
                  <a:lnTo>
                    <a:pt x="3032672" y="196799"/>
                  </a:lnTo>
                  <a:lnTo>
                    <a:pt x="3032672" y="200228"/>
                  </a:lnTo>
                  <a:lnTo>
                    <a:pt x="3032672" y="199530"/>
                  </a:lnTo>
                  <a:lnTo>
                    <a:pt x="3032773" y="199530"/>
                  </a:lnTo>
                  <a:lnTo>
                    <a:pt x="3032773" y="200228"/>
                  </a:lnTo>
                  <a:lnTo>
                    <a:pt x="3032773" y="199530"/>
                  </a:lnTo>
                  <a:lnTo>
                    <a:pt x="3032773" y="200228"/>
                  </a:lnTo>
                  <a:lnTo>
                    <a:pt x="3032773" y="199530"/>
                  </a:lnTo>
                  <a:lnTo>
                    <a:pt x="3032824" y="200228"/>
                  </a:lnTo>
                  <a:lnTo>
                    <a:pt x="3032824" y="199530"/>
                  </a:lnTo>
                  <a:lnTo>
                    <a:pt x="3032824" y="200876"/>
                  </a:lnTo>
                  <a:lnTo>
                    <a:pt x="3032875" y="200876"/>
                  </a:lnTo>
                  <a:lnTo>
                    <a:pt x="3032875" y="202260"/>
                  </a:lnTo>
                  <a:lnTo>
                    <a:pt x="3032875" y="200876"/>
                  </a:lnTo>
                  <a:lnTo>
                    <a:pt x="3032875" y="202260"/>
                  </a:lnTo>
                  <a:lnTo>
                    <a:pt x="3032976" y="202260"/>
                  </a:lnTo>
                  <a:lnTo>
                    <a:pt x="3032976" y="200876"/>
                  </a:lnTo>
                  <a:lnTo>
                    <a:pt x="3032976" y="202260"/>
                  </a:lnTo>
                  <a:lnTo>
                    <a:pt x="3032976" y="200876"/>
                  </a:lnTo>
                  <a:lnTo>
                    <a:pt x="3033027" y="200876"/>
                  </a:lnTo>
                  <a:lnTo>
                    <a:pt x="3033027" y="202260"/>
                  </a:lnTo>
                  <a:lnTo>
                    <a:pt x="3033027" y="200228"/>
                  </a:lnTo>
                  <a:lnTo>
                    <a:pt x="3033027" y="200876"/>
                  </a:lnTo>
                  <a:lnTo>
                    <a:pt x="3033027" y="200228"/>
                  </a:lnTo>
                  <a:lnTo>
                    <a:pt x="3033027" y="200876"/>
                  </a:lnTo>
                  <a:lnTo>
                    <a:pt x="3033027" y="200228"/>
                  </a:lnTo>
                  <a:lnTo>
                    <a:pt x="3033078" y="200228"/>
                  </a:lnTo>
                  <a:lnTo>
                    <a:pt x="3033078" y="199530"/>
                  </a:lnTo>
                  <a:lnTo>
                    <a:pt x="3033078" y="200228"/>
                  </a:lnTo>
                  <a:lnTo>
                    <a:pt x="3033078" y="198831"/>
                  </a:lnTo>
                  <a:lnTo>
                    <a:pt x="3033078" y="199530"/>
                  </a:lnTo>
                  <a:lnTo>
                    <a:pt x="3033078" y="198831"/>
                  </a:lnTo>
                  <a:lnTo>
                    <a:pt x="3033129" y="197447"/>
                  </a:lnTo>
                  <a:lnTo>
                    <a:pt x="3033129" y="198831"/>
                  </a:lnTo>
                  <a:lnTo>
                    <a:pt x="3033129" y="197447"/>
                  </a:lnTo>
                  <a:lnTo>
                    <a:pt x="3033129" y="198831"/>
                  </a:lnTo>
                  <a:lnTo>
                    <a:pt x="3033218" y="198831"/>
                  </a:lnTo>
                  <a:lnTo>
                    <a:pt x="3033218" y="196799"/>
                  </a:lnTo>
                  <a:lnTo>
                    <a:pt x="3033218" y="199530"/>
                  </a:lnTo>
                  <a:lnTo>
                    <a:pt x="3033218" y="198831"/>
                  </a:lnTo>
                  <a:lnTo>
                    <a:pt x="3033269" y="198831"/>
                  </a:lnTo>
                  <a:lnTo>
                    <a:pt x="3033269" y="199530"/>
                  </a:lnTo>
                  <a:lnTo>
                    <a:pt x="3033269" y="198831"/>
                  </a:lnTo>
                  <a:lnTo>
                    <a:pt x="3033319" y="198831"/>
                  </a:lnTo>
                  <a:lnTo>
                    <a:pt x="3033319" y="199530"/>
                  </a:lnTo>
                  <a:lnTo>
                    <a:pt x="3033319" y="198831"/>
                  </a:lnTo>
                  <a:lnTo>
                    <a:pt x="3033319" y="200228"/>
                  </a:lnTo>
                  <a:lnTo>
                    <a:pt x="3033319" y="199530"/>
                  </a:lnTo>
                  <a:lnTo>
                    <a:pt x="3033370" y="199530"/>
                  </a:lnTo>
                  <a:lnTo>
                    <a:pt x="3033370" y="200228"/>
                  </a:lnTo>
                  <a:lnTo>
                    <a:pt x="3033472" y="200228"/>
                  </a:lnTo>
                  <a:lnTo>
                    <a:pt x="3033472" y="202260"/>
                  </a:lnTo>
                  <a:lnTo>
                    <a:pt x="3033472" y="200228"/>
                  </a:lnTo>
                  <a:lnTo>
                    <a:pt x="3033472" y="200876"/>
                  </a:lnTo>
                  <a:lnTo>
                    <a:pt x="3033472" y="200228"/>
                  </a:lnTo>
                  <a:lnTo>
                    <a:pt x="3033522" y="200228"/>
                  </a:lnTo>
                  <a:lnTo>
                    <a:pt x="3033522" y="200876"/>
                  </a:lnTo>
                  <a:lnTo>
                    <a:pt x="3033522" y="200228"/>
                  </a:lnTo>
                  <a:lnTo>
                    <a:pt x="3033573" y="200228"/>
                  </a:lnTo>
                  <a:lnTo>
                    <a:pt x="3033573" y="197447"/>
                  </a:lnTo>
                  <a:lnTo>
                    <a:pt x="3033675" y="197447"/>
                  </a:lnTo>
                  <a:lnTo>
                    <a:pt x="3033675" y="198831"/>
                  </a:lnTo>
                  <a:lnTo>
                    <a:pt x="3033675" y="195415"/>
                  </a:lnTo>
                  <a:lnTo>
                    <a:pt x="3033713" y="195415"/>
                  </a:lnTo>
                  <a:lnTo>
                    <a:pt x="3033713" y="194716"/>
                  </a:lnTo>
                  <a:lnTo>
                    <a:pt x="3033713" y="196113"/>
                  </a:lnTo>
                  <a:lnTo>
                    <a:pt x="3033713" y="194716"/>
                  </a:lnTo>
                  <a:lnTo>
                    <a:pt x="3033764" y="195415"/>
                  </a:lnTo>
                  <a:lnTo>
                    <a:pt x="3033764" y="197447"/>
                  </a:lnTo>
                  <a:lnTo>
                    <a:pt x="3033764" y="196113"/>
                  </a:lnTo>
                  <a:lnTo>
                    <a:pt x="3033764" y="196799"/>
                  </a:lnTo>
                  <a:lnTo>
                    <a:pt x="3033815" y="196799"/>
                  </a:lnTo>
                  <a:lnTo>
                    <a:pt x="3033815" y="197447"/>
                  </a:lnTo>
                  <a:lnTo>
                    <a:pt x="3033815" y="196799"/>
                  </a:lnTo>
                  <a:lnTo>
                    <a:pt x="3033815" y="198831"/>
                  </a:lnTo>
                  <a:lnTo>
                    <a:pt x="3033916" y="198831"/>
                  </a:lnTo>
                  <a:lnTo>
                    <a:pt x="3033916" y="199530"/>
                  </a:lnTo>
                  <a:lnTo>
                    <a:pt x="3033916" y="198831"/>
                  </a:lnTo>
                  <a:lnTo>
                    <a:pt x="3033916" y="199530"/>
                  </a:lnTo>
                  <a:lnTo>
                    <a:pt x="3033916" y="198831"/>
                  </a:lnTo>
                  <a:lnTo>
                    <a:pt x="3033916" y="199530"/>
                  </a:lnTo>
                  <a:lnTo>
                    <a:pt x="3033967" y="199530"/>
                  </a:lnTo>
                  <a:lnTo>
                    <a:pt x="3033967" y="200228"/>
                  </a:lnTo>
                  <a:lnTo>
                    <a:pt x="3033967" y="199530"/>
                  </a:lnTo>
                  <a:lnTo>
                    <a:pt x="3033967" y="200228"/>
                  </a:lnTo>
                  <a:lnTo>
                    <a:pt x="3033967" y="199530"/>
                  </a:lnTo>
                  <a:lnTo>
                    <a:pt x="3033967" y="200228"/>
                  </a:lnTo>
                  <a:lnTo>
                    <a:pt x="3033967" y="199530"/>
                  </a:lnTo>
                  <a:lnTo>
                    <a:pt x="3033967" y="200228"/>
                  </a:lnTo>
                  <a:lnTo>
                    <a:pt x="3034018" y="200876"/>
                  </a:lnTo>
                  <a:lnTo>
                    <a:pt x="3034018" y="200228"/>
                  </a:lnTo>
                  <a:lnTo>
                    <a:pt x="3034018" y="200876"/>
                  </a:lnTo>
                  <a:lnTo>
                    <a:pt x="3034018" y="200228"/>
                  </a:lnTo>
                  <a:lnTo>
                    <a:pt x="3034018" y="200876"/>
                  </a:lnTo>
                  <a:lnTo>
                    <a:pt x="3034018" y="200228"/>
                  </a:lnTo>
                  <a:lnTo>
                    <a:pt x="3034018" y="200876"/>
                  </a:lnTo>
                  <a:lnTo>
                    <a:pt x="3034018" y="200228"/>
                  </a:lnTo>
                  <a:lnTo>
                    <a:pt x="3034119" y="200228"/>
                  </a:lnTo>
                  <a:lnTo>
                    <a:pt x="3034170" y="199530"/>
                  </a:lnTo>
                  <a:lnTo>
                    <a:pt x="3034170" y="196799"/>
                  </a:lnTo>
                  <a:lnTo>
                    <a:pt x="3034221" y="197447"/>
                  </a:lnTo>
                  <a:lnTo>
                    <a:pt x="3034221" y="198831"/>
                  </a:lnTo>
                  <a:lnTo>
                    <a:pt x="3034221" y="195415"/>
                  </a:lnTo>
                  <a:lnTo>
                    <a:pt x="3034221" y="197447"/>
                  </a:lnTo>
                  <a:lnTo>
                    <a:pt x="3034259" y="198831"/>
                  </a:lnTo>
                  <a:lnTo>
                    <a:pt x="3034259" y="196799"/>
                  </a:lnTo>
                  <a:lnTo>
                    <a:pt x="3034259" y="197447"/>
                  </a:lnTo>
                  <a:lnTo>
                    <a:pt x="3034361" y="198831"/>
                  </a:lnTo>
                  <a:lnTo>
                    <a:pt x="3034361" y="197447"/>
                  </a:lnTo>
                  <a:lnTo>
                    <a:pt x="3034361" y="198831"/>
                  </a:lnTo>
                  <a:lnTo>
                    <a:pt x="3034412" y="197447"/>
                  </a:lnTo>
                  <a:lnTo>
                    <a:pt x="3034412" y="198831"/>
                  </a:lnTo>
                  <a:lnTo>
                    <a:pt x="3034412" y="197447"/>
                  </a:lnTo>
                  <a:lnTo>
                    <a:pt x="3034412" y="198831"/>
                  </a:lnTo>
                  <a:lnTo>
                    <a:pt x="3034462" y="198831"/>
                  </a:lnTo>
                  <a:lnTo>
                    <a:pt x="3034462" y="200228"/>
                  </a:lnTo>
                  <a:lnTo>
                    <a:pt x="3034564" y="200228"/>
                  </a:lnTo>
                  <a:lnTo>
                    <a:pt x="3034564" y="199530"/>
                  </a:lnTo>
                  <a:lnTo>
                    <a:pt x="3034564" y="200228"/>
                  </a:lnTo>
                  <a:lnTo>
                    <a:pt x="3034564" y="199530"/>
                  </a:lnTo>
                  <a:lnTo>
                    <a:pt x="3034564" y="200876"/>
                  </a:lnTo>
                  <a:lnTo>
                    <a:pt x="3034564" y="200228"/>
                  </a:lnTo>
                  <a:lnTo>
                    <a:pt x="3034564" y="200876"/>
                  </a:lnTo>
                  <a:lnTo>
                    <a:pt x="3034564" y="200228"/>
                  </a:lnTo>
                  <a:lnTo>
                    <a:pt x="3034615" y="200228"/>
                  </a:lnTo>
                  <a:lnTo>
                    <a:pt x="3034615" y="199530"/>
                  </a:lnTo>
                  <a:lnTo>
                    <a:pt x="3034615" y="200228"/>
                  </a:lnTo>
                  <a:lnTo>
                    <a:pt x="3034615" y="199530"/>
                  </a:lnTo>
                  <a:lnTo>
                    <a:pt x="3034615" y="200228"/>
                  </a:lnTo>
                  <a:lnTo>
                    <a:pt x="3034615" y="199530"/>
                  </a:lnTo>
                  <a:lnTo>
                    <a:pt x="3034665" y="199530"/>
                  </a:lnTo>
                  <a:lnTo>
                    <a:pt x="3034665" y="197447"/>
                  </a:lnTo>
                  <a:lnTo>
                    <a:pt x="3034665" y="199530"/>
                  </a:lnTo>
                  <a:lnTo>
                    <a:pt x="3034716" y="199530"/>
                  </a:lnTo>
                  <a:lnTo>
                    <a:pt x="3034716" y="202260"/>
                  </a:lnTo>
                  <a:lnTo>
                    <a:pt x="3034716" y="200876"/>
                  </a:lnTo>
                  <a:lnTo>
                    <a:pt x="3034805" y="200876"/>
                  </a:lnTo>
                  <a:lnTo>
                    <a:pt x="3034805" y="200228"/>
                  </a:lnTo>
                  <a:lnTo>
                    <a:pt x="3034805" y="200876"/>
                  </a:lnTo>
                  <a:lnTo>
                    <a:pt x="3034805" y="200228"/>
                  </a:lnTo>
                  <a:lnTo>
                    <a:pt x="3034805" y="200876"/>
                  </a:lnTo>
                  <a:lnTo>
                    <a:pt x="3034805" y="200228"/>
                  </a:lnTo>
                  <a:lnTo>
                    <a:pt x="3034805" y="200876"/>
                  </a:lnTo>
                  <a:lnTo>
                    <a:pt x="3034856" y="200876"/>
                  </a:lnTo>
                  <a:lnTo>
                    <a:pt x="3034856" y="200228"/>
                  </a:lnTo>
                  <a:lnTo>
                    <a:pt x="3034856" y="200876"/>
                  </a:lnTo>
                  <a:lnTo>
                    <a:pt x="3034856" y="200228"/>
                  </a:lnTo>
                  <a:lnTo>
                    <a:pt x="3034856" y="200876"/>
                  </a:lnTo>
                  <a:lnTo>
                    <a:pt x="3034907" y="200876"/>
                  </a:lnTo>
                  <a:lnTo>
                    <a:pt x="3034907" y="200228"/>
                  </a:lnTo>
                  <a:lnTo>
                    <a:pt x="3034907" y="200876"/>
                  </a:lnTo>
                  <a:lnTo>
                    <a:pt x="3034907" y="200228"/>
                  </a:lnTo>
                  <a:lnTo>
                    <a:pt x="3034958" y="200228"/>
                  </a:lnTo>
                  <a:lnTo>
                    <a:pt x="3034958" y="200876"/>
                  </a:lnTo>
                  <a:lnTo>
                    <a:pt x="3034958" y="200228"/>
                  </a:lnTo>
                  <a:lnTo>
                    <a:pt x="3034958" y="200876"/>
                  </a:lnTo>
                  <a:lnTo>
                    <a:pt x="3034958" y="200228"/>
                  </a:lnTo>
                  <a:lnTo>
                    <a:pt x="3035059" y="200228"/>
                  </a:lnTo>
                  <a:lnTo>
                    <a:pt x="3035059" y="199530"/>
                  </a:lnTo>
                  <a:lnTo>
                    <a:pt x="3035059" y="200228"/>
                  </a:lnTo>
                  <a:lnTo>
                    <a:pt x="3035059" y="199530"/>
                  </a:lnTo>
                  <a:lnTo>
                    <a:pt x="3035059" y="200228"/>
                  </a:lnTo>
                  <a:lnTo>
                    <a:pt x="3035110" y="199530"/>
                  </a:lnTo>
                  <a:lnTo>
                    <a:pt x="3035110" y="198831"/>
                  </a:lnTo>
                  <a:lnTo>
                    <a:pt x="3035110" y="199530"/>
                  </a:lnTo>
                  <a:lnTo>
                    <a:pt x="3035110" y="198831"/>
                  </a:lnTo>
                  <a:lnTo>
                    <a:pt x="3035161" y="198831"/>
                  </a:lnTo>
                  <a:lnTo>
                    <a:pt x="3035161" y="199530"/>
                  </a:lnTo>
                  <a:lnTo>
                    <a:pt x="3035161" y="198831"/>
                  </a:lnTo>
                  <a:lnTo>
                    <a:pt x="3035161" y="200228"/>
                  </a:lnTo>
                  <a:lnTo>
                    <a:pt x="3035161" y="199530"/>
                  </a:lnTo>
                  <a:lnTo>
                    <a:pt x="3035262" y="199530"/>
                  </a:lnTo>
                  <a:lnTo>
                    <a:pt x="3035262" y="198831"/>
                  </a:lnTo>
                  <a:lnTo>
                    <a:pt x="3035262" y="200876"/>
                  </a:lnTo>
                  <a:lnTo>
                    <a:pt x="3035301" y="200876"/>
                  </a:lnTo>
                  <a:lnTo>
                    <a:pt x="3035301" y="202260"/>
                  </a:lnTo>
                  <a:lnTo>
                    <a:pt x="3035301" y="200876"/>
                  </a:lnTo>
                  <a:lnTo>
                    <a:pt x="3035351" y="200228"/>
                  </a:lnTo>
                  <a:lnTo>
                    <a:pt x="3035351" y="202260"/>
                  </a:lnTo>
                  <a:lnTo>
                    <a:pt x="3035351" y="200876"/>
                  </a:lnTo>
                  <a:lnTo>
                    <a:pt x="3035351" y="202260"/>
                  </a:lnTo>
                  <a:lnTo>
                    <a:pt x="3035351" y="200228"/>
                  </a:lnTo>
                  <a:lnTo>
                    <a:pt x="3035351" y="200876"/>
                  </a:lnTo>
                  <a:lnTo>
                    <a:pt x="3035402" y="200876"/>
                  </a:lnTo>
                  <a:lnTo>
                    <a:pt x="3035402" y="200228"/>
                  </a:lnTo>
                  <a:lnTo>
                    <a:pt x="3035504" y="200876"/>
                  </a:lnTo>
                  <a:lnTo>
                    <a:pt x="3035504" y="200228"/>
                  </a:lnTo>
                  <a:lnTo>
                    <a:pt x="3035504" y="200876"/>
                  </a:lnTo>
                  <a:lnTo>
                    <a:pt x="3035504" y="200228"/>
                  </a:lnTo>
                  <a:lnTo>
                    <a:pt x="3035504" y="200876"/>
                  </a:lnTo>
                  <a:lnTo>
                    <a:pt x="3035555" y="200876"/>
                  </a:lnTo>
                  <a:lnTo>
                    <a:pt x="3035555" y="200228"/>
                  </a:lnTo>
                  <a:lnTo>
                    <a:pt x="3035555" y="200876"/>
                  </a:lnTo>
                  <a:lnTo>
                    <a:pt x="3035555" y="198831"/>
                  </a:lnTo>
                  <a:lnTo>
                    <a:pt x="3035555" y="199530"/>
                  </a:lnTo>
                  <a:lnTo>
                    <a:pt x="3035605" y="199530"/>
                  </a:lnTo>
                  <a:lnTo>
                    <a:pt x="3035605" y="196113"/>
                  </a:lnTo>
                  <a:lnTo>
                    <a:pt x="3035605" y="196799"/>
                  </a:lnTo>
                  <a:lnTo>
                    <a:pt x="3035707" y="197447"/>
                  </a:lnTo>
                  <a:lnTo>
                    <a:pt x="3035707" y="199530"/>
                  </a:lnTo>
                  <a:lnTo>
                    <a:pt x="3035707" y="196799"/>
                  </a:lnTo>
                  <a:lnTo>
                    <a:pt x="3035707" y="199530"/>
                  </a:lnTo>
                  <a:lnTo>
                    <a:pt x="3035758" y="199530"/>
                  </a:lnTo>
                  <a:lnTo>
                    <a:pt x="3035758" y="200876"/>
                  </a:lnTo>
                  <a:lnTo>
                    <a:pt x="3035758" y="199530"/>
                  </a:lnTo>
                  <a:lnTo>
                    <a:pt x="3035758" y="200876"/>
                  </a:lnTo>
                  <a:lnTo>
                    <a:pt x="3035847" y="200876"/>
                  </a:lnTo>
                  <a:lnTo>
                    <a:pt x="3035847" y="202260"/>
                  </a:lnTo>
                  <a:lnTo>
                    <a:pt x="3035847" y="200876"/>
                  </a:lnTo>
                  <a:lnTo>
                    <a:pt x="3035847" y="202260"/>
                  </a:lnTo>
                  <a:lnTo>
                    <a:pt x="3035847" y="200876"/>
                  </a:lnTo>
                  <a:lnTo>
                    <a:pt x="3035847" y="202260"/>
                  </a:lnTo>
                  <a:lnTo>
                    <a:pt x="3035999" y="202260"/>
                  </a:lnTo>
                  <a:lnTo>
                    <a:pt x="3035999" y="200876"/>
                  </a:lnTo>
                  <a:lnTo>
                    <a:pt x="3035999" y="202260"/>
                  </a:lnTo>
                  <a:lnTo>
                    <a:pt x="3035999" y="200876"/>
                  </a:lnTo>
                  <a:lnTo>
                    <a:pt x="3035999" y="202260"/>
                  </a:lnTo>
                  <a:lnTo>
                    <a:pt x="3035999" y="200876"/>
                  </a:lnTo>
                  <a:lnTo>
                    <a:pt x="3035999" y="202260"/>
                  </a:lnTo>
                  <a:lnTo>
                    <a:pt x="3035999" y="200876"/>
                  </a:lnTo>
                  <a:lnTo>
                    <a:pt x="3036050" y="202260"/>
                  </a:lnTo>
                  <a:lnTo>
                    <a:pt x="3036050" y="199530"/>
                  </a:lnTo>
                  <a:lnTo>
                    <a:pt x="3036151" y="199530"/>
                  </a:lnTo>
                  <a:lnTo>
                    <a:pt x="3036151" y="197447"/>
                  </a:lnTo>
                  <a:lnTo>
                    <a:pt x="3036151" y="198831"/>
                  </a:lnTo>
                  <a:lnTo>
                    <a:pt x="3036151" y="196799"/>
                  </a:lnTo>
                  <a:lnTo>
                    <a:pt x="3036151" y="199530"/>
                  </a:lnTo>
                  <a:lnTo>
                    <a:pt x="3036202" y="198831"/>
                  </a:lnTo>
                  <a:lnTo>
                    <a:pt x="3036202" y="199530"/>
                  </a:lnTo>
                  <a:lnTo>
                    <a:pt x="3036202" y="197447"/>
                  </a:lnTo>
                  <a:lnTo>
                    <a:pt x="3036202" y="200876"/>
                  </a:lnTo>
                  <a:lnTo>
                    <a:pt x="3036202" y="200228"/>
                  </a:lnTo>
                  <a:lnTo>
                    <a:pt x="3036253" y="200228"/>
                  </a:lnTo>
                  <a:lnTo>
                    <a:pt x="3036253" y="199530"/>
                  </a:lnTo>
                  <a:lnTo>
                    <a:pt x="3036253" y="200228"/>
                  </a:lnTo>
                  <a:lnTo>
                    <a:pt x="3036253" y="199530"/>
                  </a:lnTo>
                  <a:lnTo>
                    <a:pt x="3036253" y="200876"/>
                  </a:lnTo>
                  <a:lnTo>
                    <a:pt x="3036304" y="200876"/>
                  </a:lnTo>
                  <a:lnTo>
                    <a:pt x="3036304" y="200228"/>
                  </a:lnTo>
                  <a:lnTo>
                    <a:pt x="3036304" y="200876"/>
                  </a:lnTo>
                  <a:lnTo>
                    <a:pt x="3036393" y="200876"/>
                  </a:lnTo>
                  <a:lnTo>
                    <a:pt x="3036393" y="200228"/>
                  </a:lnTo>
                  <a:lnTo>
                    <a:pt x="3036393" y="200876"/>
                  </a:lnTo>
                  <a:lnTo>
                    <a:pt x="3036444" y="200876"/>
                  </a:lnTo>
                  <a:lnTo>
                    <a:pt x="3036444" y="202260"/>
                  </a:lnTo>
                  <a:lnTo>
                    <a:pt x="3036444" y="200876"/>
                  </a:lnTo>
                  <a:lnTo>
                    <a:pt x="3036444" y="202959"/>
                  </a:lnTo>
                  <a:lnTo>
                    <a:pt x="3036444" y="202260"/>
                  </a:lnTo>
                  <a:lnTo>
                    <a:pt x="3036494" y="202260"/>
                  </a:lnTo>
                  <a:lnTo>
                    <a:pt x="3036494" y="200876"/>
                  </a:lnTo>
                  <a:lnTo>
                    <a:pt x="3036545" y="200876"/>
                  </a:lnTo>
                  <a:lnTo>
                    <a:pt x="3036545" y="200228"/>
                  </a:lnTo>
                  <a:lnTo>
                    <a:pt x="3036545" y="200876"/>
                  </a:lnTo>
                  <a:lnTo>
                    <a:pt x="3036545" y="198831"/>
                  </a:lnTo>
                  <a:lnTo>
                    <a:pt x="3036647" y="198831"/>
                  </a:lnTo>
                  <a:lnTo>
                    <a:pt x="3036647" y="197447"/>
                  </a:lnTo>
                  <a:lnTo>
                    <a:pt x="3036647" y="199530"/>
                  </a:lnTo>
                  <a:lnTo>
                    <a:pt x="3036647" y="198831"/>
                  </a:lnTo>
                  <a:lnTo>
                    <a:pt x="3036697" y="198831"/>
                  </a:lnTo>
                  <a:lnTo>
                    <a:pt x="3036697" y="197447"/>
                  </a:lnTo>
                  <a:lnTo>
                    <a:pt x="3036697" y="200876"/>
                  </a:lnTo>
                  <a:lnTo>
                    <a:pt x="3036697" y="199530"/>
                  </a:lnTo>
                  <a:lnTo>
                    <a:pt x="3036748" y="199530"/>
                  </a:lnTo>
                  <a:lnTo>
                    <a:pt x="3036748" y="200876"/>
                  </a:lnTo>
                  <a:lnTo>
                    <a:pt x="3036748" y="200228"/>
                  </a:lnTo>
                  <a:lnTo>
                    <a:pt x="3036748" y="200876"/>
                  </a:lnTo>
                  <a:lnTo>
                    <a:pt x="3036748" y="200228"/>
                  </a:lnTo>
                  <a:lnTo>
                    <a:pt x="3036850" y="200228"/>
                  </a:lnTo>
                  <a:lnTo>
                    <a:pt x="3036850" y="200876"/>
                  </a:lnTo>
                  <a:lnTo>
                    <a:pt x="3036850" y="200228"/>
                  </a:lnTo>
                  <a:lnTo>
                    <a:pt x="3036850" y="200876"/>
                  </a:lnTo>
                  <a:lnTo>
                    <a:pt x="3036850" y="200228"/>
                  </a:lnTo>
                  <a:lnTo>
                    <a:pt x="3036888" y="200228"/>
                  </a:lnTo>
                  <a:lnTo>
                    <a:pt x="3036888" y="202260"/>
                  </a:lnTo>
                  <a:lnTo>
                    <a:pt x="3036888" y="200876"/>
                  </a:lnTo>
                  <a:lnTo>
                    <a:pt x="3036888" y="202260"/>
                  </a:lnTo>
                  <a:lnTo>
                    <a:pt x="3036888" y="200876"/>
                  </a:lnTo>
                  <a:lnTo>
                    <a:pt x="3036888" y="202260"/>
                  </a:lnTo>
                  <a:lnTo>
                    <a:pt x="3036990" y="202260"/>
                  </a:lnTo>
                  <a:lnTo>
                    <a:pt x="3036990" y="200876"/>
                  </a:lnTo>
                  <a:lnTo>
                    <a:pt x="3036990" y="202260"/>
                  </a:lnTo>
                  <a:lnTo>
                    <a:pt x="3036990" y="200876"/>
                  </a:lnTo>
                  <a:lnTo>
                    <a:pt x="3036990" y="202260"/>
                  </a:lnTo>
                  <a:lnTo>
                    <a:pt x="3036990" y="200228"/>
                  </a:lnTo>
                  <a:lnTo>
                    <a:pt x="3037091" y="200228"/>
                  </a:lnTo>
                  <a:lnTo>
                    <a:pt x="3037091" y="198831"/>
                  </a:lnTo>
                  <a:lnTo>
                    <a:pt x="3037091" y="199530"/>
                  </a:lnTo>
                  <a:lnTo>
                    <a:pt x="3037091" y="197447"/>
                  </a:lnTo>
                  <a:lnTo>
                    <a:pt x="3037142" y="197447"/>
                  </a:lnTo>
                  <a:lnTo>
                    <a:pt x="3037142" y="198831"/>
                  </a:lnTo>
                  <a:lnTo>
                    <a:pt x="3037142" y="197447"/>
                  </a:lnTo>
                  <a:lnTo>
                    <a:pt x="3037142" y="198831"/>
                  </a:lnTo>
                  <a:lnTo>
                    <a:pt x="3037142" y="197447"/>
                  </a:lnTo>
                  <a:lnTo>
                    <a:pt x="3037142" y="198831"/>
                  </a:lnTo>
                  <a:lnTo>
                    <a:pt x="3037193" y="198831"/>
                  </a:lnTo>
                  <a:lnTo>
                    <a:pt x="3037193" y="197447"/>
                  </a:lnTo>
                  <a:lnTo>
                    <a:pt x="3037193" y="200228"/>
                  </a:lnTo>
                  <a:lnTo>
                    <a:pt x="3037193" y="199530"/>
                  </a:lnTo>
                  <a:lnTo>
                    <a:pt x="3037294" y="199530"/>
                  </a:lnTo>
                  <a:lnTo>
                    <a:pt x="3037294" y="198831"/>
                  </a:lnTo>
                  <a:lnTo>
                    <a:pt x="3037294" y="199530"/>
                  </a:lnTo>
                  <a:lnTo>
                    <a:pt x="3037294" y="198831"/>
                  </a:lnTo>
                  <a:lnTo>
                    <a:pt x="3037294" y="199530"/>
                  </a:lnTo>
                  <a:lnTo>
                    <a:pt x="3037294" y="198831"/>
                  </a:lnTo>
                  <a:lnTo>
                    <a:pt x="3037294" y="200228"/>
                  </a:lnTo>
                  <a:lnTo>
                    <a:pt x="3037294" y="199530"/>
                  </a:lnTo>
                  <a:lnTo>
                    <a:pt x="3037294" y="200228"/>
                  </a:lnTo>
                  <a:lnTo>
                    <a:pt x="3037294" y="199530"/>
                  </a:lnTo>
                  <a:lnTo>
                    <a:pt x="3037345" y="199530"/>
                  </a:lnTo>
                  <a:lnTo>
                    <a:pt x="3037345" y="198831"/>
                  </a:lnTo>
                  <a:lnTo>
                    <a:pt x="3037345" y="200228"/>
                  </a:lnTo>
                  <a:lnTo>
                    <a:pt x="3037345" y="199530"/>
                  </a:lnTo>
                  <a:lnTo>
                    <a:pt x="3037345" y="200228"/>
                  </a:lnTo>
                  <a:lnTo>
                    <a:pt x="3037345" y="199530"/>
                  </a:lnTo>
                  <a:lnTo>
                    <a:pt x="3037396" y="199530"/>
                  </a:lnTo>
                  <a:lnTo>
                    <a:pt x="3037396" y="200228"/>
                  </a:lnTo>
                  <a:lnTo>
                    <a:pt x="3037396" y="199530"/>
                  </a:lnTo>
                  <a:lnTo>
                    <a:pt x="3037396" y="200876"/>
                  </a:lnTo>
                  <a:lnTo>
                    <a:pt x="3037396" y="200228"/>
                  </a:lnTo>
                  <a:lnTo>
                    <a:pt x="3037434" y="200228"/>
                  </a:lnTo>
                  <a:lnTo>
                    <a:pt x="3037434" y="202260"/>
                  </a:lnTo>
                  <a:lnTo>
                    <a:pt x="3037434" y="200876"/>
                  </a:lnTo>
                  <a:lnTo>
                    <a:pt x="3037434" y="202260"/>
                  </a:lnTo>
                  <a:lnTo>
                    <a:pt x="3037434" y="200876"/>
                  </a:lnTo>
                  <a:lnTo>
                    <a:pt x="3037536" y="200876"/>
                  </a:lnTo>
                  <a:lnTo>
                    <a:pt x="3037536" y="200228"/>
                  </a:lnTo>
                  <a:lnTo>
                    <a:pt x="3037587" y="200228"/>
                  </a:lnTo>
                  <a:lnTo>
                    <a:pt x="3037587" y="199530"/>
                  </a:lnTo>
                  <a:lnTo>
                    <a:pt x="3037587" y="200228"/>
                  </a:lnTo>
                  <a:lnTo>
                    <a:pt x="3037587" y="198831"/>
                  </a:lnTo>
                  <a:lnTo>
                    <a:pt x="3037637" y="198831"/>
                  </a:lnTo>
                  <a:lnTo>
                    <a:pt x="3037637" y="200228"/>
                  </a:lnTo>
                  <a:lnTo>
                    <a:pt x="3037637" y="198831"/>
                  </a:lnTo>
                  <a:lnTo>
                    <a:pt x="3037637" y="199530"/>
                  </a:lnTo>
                  <a:lnTo>
                    <a:pt x="3037739" y="200228"/>
                  </a:lnTo>
                  <a:lnTo>
                    <a:pt x="3037739" y="202260"/>
                  </a:lnTo>
                  <a:lnTo>
                    <a:pt x="3037739" y="200228"/>
                  </a:lnTo>
                  <a:lnTo>
                    <a:pt x="3037739" y="200876"/>
                  </a:lnTo>
                  <a:lnTo>
                    <a:pt x="3037739" y="200228"/>
                  </a:lnTo>
                  <a:lnTo>
                    <a:pt x="3037739" y="200876"/>
                  </a:lnTo>
                  <a:lnTo>
                    <a:pt x="3037790" y="200876"/>
                  </a:lnTo>
                  <a:lnTo>
                    <a:pt x="3037790" y="202260"/>
                  </a:lnTo>
                  <a:lnTo>
                    <a:pt x="3037790" y="200228"/>
                  </a:lnTo>
                  <a:lnTo>
                    <a:pt x="3037790" y="200876"/>
                  </a:lnTo>
                  <a:lnTo>
                    <a:pt x="3037790" y="200228"/>
                  </a:lnTo>
                  <a:lnTo>
                    <a:pt x="3037790" y="200876"/>
                  </a:lnTo>
                  <a:lnTo>
                    <a:pt x="3037790" y="200228"/>
                  </a:lnTo>
                  <a:lnTo>
                    <a:pt x="3037840" y="200228"/>
                  </a:lnTo>
                  <a:lnTo>
                    <a:pt x="3037840" y="202260"/>
                  </a:lnTo>
                  <a:lnTo>
                    <a:pt x="3037840" y="200228"/>
                  </a:lnTo>
                  <a:lnTo>
                    <a:pt x="3037840" y="200876"/>
                  </a:lnTo>
                  <a:lnTo>
                    <a:pt x="3037840" y="200228"/>
                  </a:lnTo>
                  <a:lnTo>
                    <a:pt x="3037840" y="200876"/>
                  </a:lnTo>
                  <a:lnTo>
                    <a:pt x="3037891" y="200876"/>
                  </a:lnTo>
                  <a:lnTo>
                    <a:pt x="3037891" y="202260"/>
                  </a:lnTo>
                  <a:lnTo>
                    <a:pt x="3037891" y="200876"/>
                  </a:lnTo>
                  <a:lnTo>
                    <a:pt x="3037891" y="202260"/>
                  </a:lnTo>
                  <a:lnTo>
                    <a:pt x="3037980" y="202260"/>
                  </a:lnTo>
                  <a:lnTo>
                    <a:pt x="3037980" y="200876"/>
                  </a:lnTo>
                  <a:lnTo>
                    <a:pt x="3037980" y="202260"/>
                  </a:lnTo>
                  <a:lnTo>
                    <a:pt x="3037980" y="200876"/>
                  </a:lnTo>
                  <a:lnTo>
                    <a:pt x="3037980" y="202260"/>
                  </a:lnTo>
                  <a:lnTo>
                    <a:pt x="3037980" y="200876"/>
                  </a:lnTo>
                  <a:lnTo>
                    <a:pt x="3038031" y="200876"/>
                  </a:lnTo>
                  <a:lnTo>
                    <a:pt x="3038031" y="200228"/>
                  </a:lnTo>
                  <a:lnTo>
                    <a:pt x="3038082" y="199530"/>
                  </a:lnTo>
                  <a:lnTo>
                    <a:pt x="3038082" y="200876"/>
                  </a:lnTo>
                  <a:lnTo>
                    <a:pt x="3038082" y="200228"/>
                  </a:lnTo>
                  <a:lnTo>
                    <a:pt x="3038082" y="200876"/>
                  </a:lnTo>
                  <a:lnTo>
                    <a:pt x="3038133" y="200228"/>
                  </a:lnTo>
                  <a:lnTo>
                    <a:pt x="3038133" y="202959"/>
                  </a:lnTo>
                  <a:lnTo>
                    <a:pt x="3038234" y="202260"/>
                  </a:lnTo>
                  <a:lnTo>
                    <a:pt x="3038234" y="203594"/>
                  </a:lnTo>
                  <a:lnTo>
                    <a:pt x="3038234" y="202959"/>
                  </a:lnTo>
                  <a:lnTo>
                    <a:pt x="3038285" y="202959"/>
                  </a:lnTo>
                  <a:lnTo>
                    <a:pt x="3038285" y="202260"/>
                  </a:lnTo>
                  <a:lnTo>
                    <a:pt x="3038285" y="202959"/>
                  </a:lnTo>
                  <a:lnTo>
                    <a:pt x="3038285" y="202260"/>
                  </a:lnTo>
                  <a:lnTo>
                    <a:pt x="3038336" y="202260"/>
                  </a:lnTo>
                  <a:lnTo>
                    <a:pt x="3038336" y="202959"/>
                  </a:lnTo>
                  <a:lnTo>
                    <a:pt x="3038336" y="202260"/>
                  </a:lnTo>
                  <a:lnTo>
                    <a:pt x="3038336" y="202959"/>
                  </a:lnTo>
                  <a:lnTo>
                    <a:pt x="3038336" y="202260"/>
                  </a:lnTo>
                  <a:lnTo>
                    <a:pt x="3038437" y="202959"/>
                  </a:lnTo>
                  <a:lnTo>
                    <a:pt x="3038437" y="202260"/>
                  </a:lnTo>
                  <a:lnTo>
                    <a:pt x="3038437" y="202959"/>
                  </a:lnTo>
                  <a:lnTo>
                    <a:pt x="3038437" y="202260"/>
                  </a:lnTo>
                  <a:lnTo>
                    <a:pt x="3038476" y="202260"/>
                  </a:lnTo>
                  <a:lnTo>
                    <a:pt x="3038476" y="202959"/>
                  </a:lnTo>
                  <a:lnTo>
                    <a:pt x="3038476" y="200228"/>
                  </a:lnTo>
                  <a:lnTo>
                    <a:pt x="3038476" y="200876"/>
                  </a:lnTo>
                  <a:lnTo>
                    <a:pt x="3038526" y="200876"/>
                  </a:lnTo>
                  <a:lnTo>
                    <a:pt x="3038526" y="198831"/>
                  </a:lnTo>
                  <a:lnTo>
                    <a:pt x="3038526" y="199530"/>
                  </a:lnTo>
                  <a:lnTo>
                    <a:pt x="3038577" y="199530"/>
                  </a:lnTo>
                  <a:lnTo>
                    <a:pt x="3038577" y="198831"/>
                  </a:lnTo>
                  <a:lnTo>
                    <a:pt x="3038577" y="200228"/>
                  </a:lnTo>
                  <a:lnTo>
                    <a:pt x="3038577" y="199530"/>
                  </a:lnTo>
                  <a:lnTo>
                    <a:pt x="3038679" y="199530"/>
                  </a:lnTo>
                  <a:lnTo>
                    <a:pt x="3038679" y="202959"/>
                  </a:lnTo>
                  <a:lnTo>
                    <a:pt x="3038679" y="200228"/>
                  </a:lnTo>
                  <a:lnTo>
                    <a:pt x="3038679" y="200876"/>
                  </a:lnTo>
                  <a:lnTo>
                    <a:pt x="3038730" y="200876"/>
                  </a:lnTo>
                  <a:lnTo>
                    <a:pt x="3038730" y="202959"/>
                  </a:lnTo>
                  <a:lnTo>
                    <a:pt x="3038730" y="200876"/>
                  </a:lnTo>
                  <a:lnTo>
                    <a:pt x="3038730" y="202260"/>
                  </a:lnTo>
                  <a:lnTo>
                    <a:pt x="3038780" y="202260"/>
                  </a:lnTo>
                  <a:lnTo>
                    <a:pt x="3038780" y="202959"/>
                  </a:lnTo>
                  <a:lnTo>
                    <a:pt x="3038780" y="202260"/>
                  </a:lnTo>
                  <a:lnTo>
                    <a:pt x="3038780" y="202959"/>
                  </a:lnTo>
                  <a:lnTo>
                    <a:pt x="3038882" y="202260"/>
                  </a:lnTo>
                  <a:lnTo>
                    <a:pt x="3038882" y="202959"/>
                  </a:lnTo>
                  <a:lnTo>
                    <a:pt x="3038882" y="202260"/>
                  </a:lnTo>
                  <a:lnTo>
                    <a:pt x="3038882" y="202959"/>
                  </a:lnTo>
                  <a:lnTo>
                    <a:pt x="3038933" y="202959"/>
                  </a:lnTo>
                  <a:lnTo>
                    <a:pt x="3038933" y="202260"/>
                  </a:lnTo>
                  <a:lnTo>
                    <a:pt x="3038983" y="202959"/>
                  </a:lnTo>
                  <a:lnTo>
                    <a:pt x="3038983" y="200876"/>
                  </a:lnTo>
                  <a:lnTo>
                    <a:pt x="3039022" y="200228"/>
                  </a:lnTo>
                  <a:lnTo>
                    <a:pt x="3039022" y="197447"/>
                  </a:lnTo>
                  <a:lnTo>
                    <a:pt x="3039022" y="198831"/>
                  </a:lnTo>
                  <a:lnTo>
                    <a:pt x="3039123" y="199530"/>
                  </a:lnTo>
                  <a:lnTo>
                    <a:pt x="3039123" y="200228"/>
                  </a:lnTo>
                  <a:lnTo>
                    <a:pt x="3039123" y="198831"/>
                  </a:lnTo>
                  <a:lnTo>
                    <a:pt x="3039123" y="200876"/>
                  </a:lnTo>
                  <a:lnTo>
                    <a:pt x="3039174" y="202260"/>
                  </a:lnTo>
                  <a:lnTo>
                    <a:pt x="3039174" y="200228"/>
                  </a:lnTo>
                  <a:lnTo>
                    <a:pt x="3039174" y="202260"/>
                  </a:lnTo>
                  <a:lnTo>
                    <a:pt x="3039225" y="202260"/>
                  </a:lnTo>
                  <a:lnTo>
                    <a:pt x="3039225" y="200876"/>
                  </a:lnTo>
                  <a:lnTo>
                    <a:pt x="3039225" y="202260"/>
                  </a:lnTo>
                  <a:lnTo>
                    <a:pt x="3039326" y="202260"/>
                  </a:lnTo>
                  <a:lnTo>
                    <a:pt x="3039326" y="202959"/>
                  </a:lnTo>
                  <a:lnTo>
                    <a:pt x="3039326" y="202260"/>
                  </a:lnTo>
                  <a:lnTo>
                    <a:pt x="3039377" y="202260"/>
                  </a:lnTo>
                  <a:lnTo>
                    <a:pt x="3039377" y="202959"/>
                  </a:lnTo>
                  <a:lnTo>
                    <a:pt x="3039377" y="202260"/>
                  </a:lnTo>
                  <a:lnTo>
                    <a:pt x="3039377" y="202959"/>
                  </a:lnTo>
                  <a:lnTo>
                    <a:pt x="3039428" y="202959"/>
                  </a:lnTo>
                  <a:lnTo>
                    <a:pt x="3039428" y="202260"/>
                  </a:lnTo>
                  <a:lnTo>
                    <a:pt x="3039428" y="202959"/>
                  </a:lnTo>
                  <a:lnTo>
                    <a:pt x="3039428" y="202260"/>
                  </a:lnTo>
                  <a:lnTo>
                    <a:pt x="3039428" y="202959"/>
                  </a:lnTo>
                  <a:lnTo>
                    <a:pt x="3039428" y="200876"/>
                  </a:lnTo>
                  <a:lnTo>
                    <a:pt x="3039479" y="200876"/>
                  </a:lnTo>
                  <a:lnTo>
                    <a:pt x="3039479" y="202260"/>
                  </a:lnTo>
                  <a:lnTo>
                    <a:pt x="3039479" y="200228"/>
                  </a:lnTo>
                  <a:lnTo>
                    <a:pt x="3039568" y="200228"/>
                  </a:lnTo>
                  <a:lnTo>
                    <a:pt x="3039568" y="197447"/>
                  </a:lnTo>
                  <a:lnTo>
                    <a:pt x="3039568" y="198831"/>
                  </a:lnTo>
                  <a:lnTo>
                    <a:pt x="3039568" y="196799"/>
                  </a:lnTo>
                  <a:lnTo>
                    <a:pt x="3039568" y="197447"/>
                  </a:lnTo>
                  <a:lnTo>
                    <a:pt x="3039619" y="196799"/>
                  </a:lnTo>
                  <a:lnTo>
                    <a:pt x="3039619" y="198831"/>
                  </a:lnTo>
                  <a:lnTo>
                    <a:pt x="3039619" y="197447"/>
                  </a:lnTo>
                  <a:lnTo>
                    <a:pt x="3039669" y="197447"/>
                  </a:lnTo>
                  <a:lnTo>
                    <a:pt x="3039669" y="199530"/>
                  </a:lnTo>
                  <a:lnTo>
                    <a:pt x="3039669" y="197447"/>
                  </a:lnTo>
                  <a:lnTo>
                    <a:pt x="3039669" y="198831"/>
                  </a:lnTo>
                  <a:lnTo>
                    <a:pt x="3039720" y="198831"/>
                  </a:lnTo>
                  <a:lnTo>
                    <a:pt x="3039720" y="200228"/>
                  </a:lnTo>
                  <a:lnTo>
                    <a:pt x="3039720" y="199530"/>
                  </a:lnTo>
                  <a:lnTo>
                    <a:pt x="3039720" y="200228"/>
                  </a:lnTo>
                  <a:lnTo>
                    <a:pt x="3039720" y="199530"/>
                  </a:lnTo>
                  <a:lnTo>
                    <a:pt x="3039720" y="200228"/>
                  </a:lnTo>
                  <a:lnTo>
                    <a:pt x="3039720" y="199530"/>
                  </a:lnTo>
                  <a:lnTo>
                    <a:pt x="3039822" y="199530"/>
                  </a:lnTo>
                  <a:lnTo>
                    <a:pt x="3039822" y="200876"/>
                  </a:lnTo>
                  <a:lnTo>
                    <a:pt x="3039822" y="200228"/>
                  </a:lnTo>
                  <a:lnTo>
                    <a:pt x="3039822" y="200876"/>
                  </a:lnTo>
                  <a:lnTo>
                    <a:pt x="3039872" y="200876"/>
                  </a:lnTo>
                  <a:lnTo>
                    <a:pt x="3039872" y="202959"/>
                  </a:lnTo>
                  <a:lnTo>
                    <a:pt x="3039872" y="202260"/>
                  </a:lnTo>
                  <a:lnTo>
                    <a:pt x="3039923" y="202260"/>
                  </a:lnTo>
                  <a:lnTo>
                    <a:pt x="3039923" y="202959"/>
                  </a:lnTo>
                  <a:lnTo>
                    <a:pt x="3039923" y="202260"/>
                  </a:lnTo>
                  <a:lnTo>
                    <a:pt x="3040025" y="202260"/>
                  </a:lnTo>
                  <a:lnTo>
                    <a:pt x="3040025" y="200876"/>
                  </a:lnTo>
                  <a:lnTo>
                    <a:pt x="3040025" y="202260"/>
                  </a:lnTo>
                  <a:lnTo>
                    <a:pt x="3040025" y="200228"/>
                  </a:lnTo>
                  <a:lnTo>
                    <a:pt x="3040025" y="200876"/>
                  </a:lnTo>
                  <a:lnTo>
                    <a:pt x="3040025" y="200228"/>
                  </a:lnTo>
                  <a:lnTo>
                    <a:pt x="3040063" y="200228"/>
                  </a:lnTo>
                  <a:lnTo>
                    <a:pt x="3040063" y="200876"/>
                  </a:lnTo>
                  <a:lnTo>
                    <a:pt x="3040063" y="198831"/>
                  </a:lnTo>
                  <a:lnTo>
                    <a:pt x="3040063" y="199530"/>
                  </a:lnTo>
                  <a:lnTo>
                    <a:pt x="3040063" y="197447"/>
                  </a:lnTo>
                  <a:lnTo>
                    <a:pt x="3040114" y="197447"/>
                  </a:lnTo>
                  <a:lnTo>
                    <a:pt x="3040114" y="198831"/>
                  </a:lnTo>
                  <a:lnTo>
                    <a:pt x="3040114" y="196799"/>
                  </a:lnTo>
                  <a:lnTo>
                    <a:pt x="3040165" y="197447"/>
                  </a:lnTo>
                  <a:lnTo>
                    <a:pt x="3040165" y="199530"/>
                  </a:lnTo>
                  <a:lnTo>
                    <a:pt x="3040165" y="197447"/>
                  </a:lnTo>
                  <a:lnTo>
                    <a:pt x="3040165" y="198831"/>
                  </a:lnTo>
                  <a:lnTo>
                    <a:pt x="3040266" y="198831"/>
                  </a:lnTo>
                  <a:lnTo>
                    <a:pt x="3040266" y="199530"/>
                  </a:lnTo>
                  <a:lnTo>
                    <a:pt x="3040266" y="198831"/>
                  </a:lnTo>
                  <a:lnTo>
                    <a:pt x="3040266" y="199530"/>
                  </a:lnTo>
                  <a:lnTo>
                    <a:pt x="3040317" y="199530"/>
                  </a:lnTo>
                  <a:lnTo>
                    <a:pt x="3040317" y="200228"/>
                  </a:lnTo>
                  <a:lnTo>
                    <a:pt x="3040317" y="198831"/>
                  </a:lnTo>
                  <a:lnTo>
                    <a:pt x="3040317" y="199530"/>
                  </a:lnTo>
                  <a:lnTo>
                    <a:pt x="3040368" y="200228"/>
                  </a:lnTo>
                  <a:lnTo>
                    <a:pt x="3040469" y="200228"/>
                  </a:lnTo>
                  <a:lnTo>
                    <a:pt x="3040469" y="200876"/>
                  </a:lnTo>
                  <a:lnTo>
                    <a:pt x="3040469" y="200228"/>
                  </a:lnTo>
                  <a:lnTo>
                    <a:pt x="3040469" y="200876"/>
                  </a:lnTo>
                  <a:lnTo>
                    <a:pt x="3040469" y="200228"/>
                  </a:lnTo>
                  <a:lnTo>
                    <a:pt x="3040469" y="200876"/>
                  </a:lnTo>
                  <a:lnTo>
                    <a:pt x="3040469" y="200228"/>
                  </a:lnTo>
                  <a:lnTo>
                    <a:pt x="3040520" y="200228"/>
                  </a:lnTo>
                  <a:lnTo>
                    <a:pt x="3040520" y="200876"/>
                  </a:lnTo>
                  <a:lnTo>
                    <a:pt x="3040520" y="200228"/>
                  </a:lnTo>
                  <a:lnTo>
                    <a:pt x="3040520" y="200876"/>
                  </a:lnTo>
                  <a:lnTo>
                    <a:pt x="3040520" y="200228"/>
                  </a:lnTo>
                  <a:lnTo>
                    <a:pt x="3040571" y="200228"/>
                  </a:lnTo>
                  <a:lnTo>
                    <a:pt x="3040571" y="199530"/>
                  </a:lnTo>
                  <a:lnTo>
                    <a:pt x="3040571" y="200228"/>
                  </a:lnTo>
                  <a:lnTo>
                    <a:pt x="3040609" y="200228"/>
                  </a:lnTo>
                  <a:lnTo>
                    <a:pt x="3040609" y="198831"/>
                  </a:lnTo>
                  <a:lnTo>
                    <a:pt x="3040609" y="202260"/>
                  </a:lnTo>
                  <a:lnTo>
                    <a:pt x="3040711" y="202260"/>
                  </a:lnTo>
                  <a:lnTo>
                    <a:pt x="3040711" y="200228"/>
                  </a:lnTo>
                  <a:lnTo>
                    <a:pt x="3040711" y="200876"/>
                  </a:lnTo>
                  <a:lnTo>
                    <a:pt x="3040762" y="200876"/>
                  </a:lnTo>
                  <a:lnTo>
                    <a:pt x="3040762" y="200228"/>
                  </a:lnTo>
                  <a:lnTo>
                    <a:pt x="3040762" y="200876"/>
                  </a:lnTo>
                  <a:lnTo>
                    <a:pt x="3040762" y="200228"/>
                  </a:lnTo>
                  <a:lnTo>
                    <a:pt x="3040812" y="200228"/>
                  </a:lnTo>
                  <a:lnTo>
                    <a:pt x="3040812" y="202260"/>
                  </a:lnTo>
                  <a:lnTo>
                    <a:pt x="3040812" y="200876"/>
                  </a:lnTo>
                  <a:lnTo>
                    <a:pt x="3040914" y="200876"/>
                  </a:lnTo>
                  <a:lnTo>
                    <a:pt x="3040914" y="200228"/>
                  </a:lnTo>
                  <a:lnTo>
                    <a:pt x="3040914" y="200876"/>
                  </a:lnTo>
                  <a:lnTo>
                    <a:pt x="3040965" y="200876"/>
                  </a:lnTo>
                  <a:lnTo>
                    <a:pt x="3040965" y="202260"/>
                  </a:lnTo>
                  <a:lnTo>
                    <a:pt x="3040965" y="200876"/>
                  </a:lnTo>
                  <a:lnTo>
                    <a:pt x="3040965" y="202260"/>
                  </a:lnTo>
                  <a:lnTo>
                    <a:pt x="3040965" y="200876"/>
                  </a:lnTo>
                  <a:lnTo>
                    <a:pt x="3041015" y="200876"/>
                  </a:lnTo>
                  <a:lnTo>
                    <a:pt x="3041015" y="199530"/>
                  </a:lnTo>
                  <a:lnTo>
                    <a:pt x="3041015" y="200228"/>
                  </a:lnTo>
                  <a:lnTo>
                    <a:pt x="3041015" y="199530"/>
                  </a:lnTo>
                  <a:lnTo>
                    <a:pt x="3041015" y="200228"/>
                  </a:lnTo>
                  <a:lnTo>
                    <a:pt x="3041015" y="199530"/>
                  </a:lnTo>
                  <a:lnTo>
                    <a:pt x="3041015" y="200228"/>
                  </a:lnTo>
                  <a:lnTo>
                    <a:pt x="3041066" y="200228"/>
                  </a:lnTo>
                  <a:lnTo>
                    <a:pt x="3041066" y="198831"/>
                  </a:lnTo>
                  <a:lnTo>
                    <a:pt x="3041066" y="199530"/>
                  </a:lnTo>
                  <a:lnTo>
                    <a:pt x="3041066" y="198831"/>
                  </a:lnTo>
                  <a:lnTo>
                    <a:pt x="3041066" y="200876"/>
                  </a:lnTo>
                  <a:lnTo>
                    <a:pt x="3041066" y="200228"/>
                  </a:lnTo>
                  <a:lnTo>
                    <a:pt x="3041155" y="200228"/>
                  </a:lnTo>
                  <a:lnTo>
                    <a:pt x="3041155" y="198831"/>
                  </a:lnTo>
                  <a:lnTo>
                    <a:pt x="3041155" y="202260"/>
                  </a:lnTo>
                  <a:lnTo>
                    <a:pt x="3041155" y="200876"/>
                  </a:lnTo>
                  <a:lnTo>
                    <a:pt x="3041155" y="202260"/>
                  </a:lnTo>
                  <a:lnTo>
                    <a:pt x="3041155" y="200876"/>
                  </a:lnTo>
                  <a:lnTo>
                    <a:pt x="3041206" y="200876"/>
                  </a:lnTo>
                  <a:lnTo>
                    <a:pt x="3041206" y="200228"/>
                  </a:lnTo>
                  <a:lnTo>
                    <a:pt x="3041206" y="202260"/>
                  </a:lnTo>
                  <a:lnTo>
                    <a:pt x="3041206" y="200876"/>
                  </a:lnTo>
                  <a:lnTo>
                    <a:pt x="3041257" y="200876"/>
                  </a:lnTo>
                  <a:lnTo>
                    <a:pt x="3041257" y="202260"/>
                  </a:lnTo>
                  <a:lnTo>
                    <a:pt x="3041257" y="200876"/>
                  </a:lnTo>
                  <a:lnTo>
                    <a:pt x="3041257" y="202260"/>
                  </a:lnTo>
                  <a:lnTo>
                    <a:pt x="3041308" y="202260"/>
                  </a:lnTo>
                  <a:lnTo>
                    <a:pt x="3041308" y="200876"/>
                  </a:lnTo>
                  <a:lnTo>
                    <a:pt x="3041308" y="202260"/>
                  </a:lnTo>
                  <a:lnTo>
                    <a:pt x="3041308" y="200876"/>
                  </a:lnTo>
                  <a:lnTo>
                    <a:pt x="3041308" y="202260"/>
                  </a:lnTo>
                  <a:lnTo>
                    <a:pt x="3041308" y="200876"/>
                  </a:lnTo>
                  <a:lnTo>
                    <a:pt x="3041409" y="200876"/>
                  </a:lnTo>
                  <a:lnTo>
                    <a:pt x="3041409" y="200228"/>
                  </a:lnTo>
                  <a:lnTo>
                    <a:pt x="3041409" y="200876"/>
                  </a:lnTo>
                  <a:lnTo>
                    <a:pt x="3041409" y="200228"/>
                  </a:lnTo>
                  <a:lnTo>
                    <a:pt x="3041460" y="200228"/>
                  </a:lnTo>
                  <a:lnTo>
                    <a:pt x="3041460" y="200876"/>
                  </a:lnTo>
                  <a:lnTo>
                    <a:pt x="3041460" y="200228"/>
                  </a:lnTo>
                  <a:lnTo>
                    <a:pt x="3041511" y="200228"/>
                  </a:lnTo>
                  <a:lnTo>
                    <a:pt x="3041511" y="197447"/>
                  </a:lnTo>
                  <a:lnTo>
                    <a:pt x="3041612" y="197447"/>
                  </a:lnTo>
                  <a:lnTo>
                    <a:pt x="3041612" y="200228"/>
                  </a:lnTo>
                  <a:lnTo>
                    <a:pt x="3041612" y="198831"/>
                  </a:lnTo>
                  <a:lnTo>
                    <a:pt x="3041612" y="199530"/>
                  </a:lnTo>
                  <a:lnTo>
                    <a:pt x="3041651" y="199530"/>
                  </a:lnTo>
                  <a:lnTo>
                    <a:pt x="3041651" y="202260"/>
                  </a:lnTo>
                  <a:lnTo>
                    <a:pt x="3041651" y="200228"/>
                  </a:lnTo>
                  <a:lnTo>
                    <a:pt x="3041651" y="200876"/>
                  </a:lnTo>
                  <a:lnTo>
                    <a:pt x="3041701" y="200876"/>
                  </a:lnTo>
                  <a:lnTo>
                    <a:pt x="3041701" y="202260"/>
                  </a:lnTo>
                  <a:lnTo>
                    <a:pt x="3041701" y="200876"/>
                  </a:lnTo>
                  <a:lnTo>
                    <a:pt x="3041701" y="202260"/>
                  </a:lnTo>
                  <a:lnTo>
                    <a:pt x="3041752" y="202260"/>
                  </a:lnTo>
                  <a:lnTo>
                    <a:pt x="3041752" y="200876"/>
                  </a:lnTo>
                  <a:lnTo>
                    <a:pt x="3041752" y="202959"/>
                  </a:lnTo>
                  <a:lnTo>
                    <a:pt x="3041752" y="202260"/>
                  </a:lnTo>
                  <a:lnTo>
                    <a:pt x="3041752" y="202959"/>
                  </a:lnTo>
                  <a:lnTo>
                    <a:pt x="3041752" y="202260"/>
                  </a:lnTo>
                  <a:lnTo>
                    <a:pt x="3041752" y="202959"/>
                  </a:lnTo>
                  <a:lnTo>
                    <a:pt x="3041854" y="202959"/>
                  </a:lnTo>
                  <a:lnTo>
                    <a:pt x="3041854" y="202260"/>
                  </a:lnTo>
                  <a:lnTo>
                    <a:pt x="3041854" y="202959"/>
                  </a:lnTo>
                  <a:lnTo>
                    <a:pt x="3041854" y="202260"/>
                  </a:lnTo>
                  <a:lnTo>
                    <a:pt x="3041854" y="202959"/>
                  </a:lnTo>
                  <a:lnTo>
                    <a:pt x="3041905" y="202959"/>
                  </a:lnTo>
                  <a:lnTo>
                    <a:pt x="3041905" y="202260"/>
                  </a:lnTo>
                  <a:lnTo>
                    <a:pt x="3041905" y="202959"/>
                  </a:lnTo>
                  <a:lnTo>
                    <a:pt x="3041905" y="202260"/>
                  </a:lnTo>
                  <a:lnTo>
                    <a:pt x="3041905" y="202959"/>
                  </a:lnTo>
                  <a:lnTo>
                    <a:pt x="3041905" y="200876"/>
                  </a:lnTo>
                  <a:lnTo>
                    <a:pt x="3041955" y="200876"/>
                  </a:lnTo>
                  <a:lnTo>
                    <a:pt x="3041955" y="200228"/>
                  </a:lnTo>
                  <a:lnTo>
                    <a:pt x="3041955" y="200876"/>
                  </a:lnTo>
                  <a:lnTo>
                    <a:pt x="3041955" y="200228"/>
                  </a:lnTo>
                  <a:lnTo>
                    <a:pt x="3042057" y="200228"/>
                  </a:lnTo>
                  <a:lnTo>
                    <a:pt x="3042057" y="198831"/>
                  </a:lnTo>
                  <a:lnTo>
                    <a:pt x="3042057" y="200228"/>
                  </a:lnTo>
                  <a:lnTo>
                    <a:pt x="3042057" y="199530"/>
                  </a:lnTo>
                  <a:lnTo>
                    <a:pt x="3042108" y="199530"/>
                  </a:lnTo>
                  <a:lnTo>
                    <a:pt x="3042108" y="202260"/>
                  </a:lnTo>
                  <a:lnTo>
                    <a:pt x="3042108" y="200876"/>
                  </a:lnTo>
                  <a:lnTo>
                    <a:pt x="3042158" y="200876"/>
                  </a:lnTo>
                  <a:lnTo>
                    <a:pt x="3042158" y="202260"/>
                  </a:lnTo>
                  <a:lnTo>
                    <a:pt x="3042197" y="200876"/>
                  </a:lnTo>
                  <a:lnTo>
                    <a:pt x="3042197" y="202260"/>
                  </a:lnTo>
                  <a:lnTo>
                    <a:pt x="3042197" y="200876"/>
                  </a:lnTo>
                  <a:lnTo>
                    <a:pt x="3042197" y="202959"/>
                  </a:lnTo>
                  <a:lnTo>
                    <a:pt x="3042197" y="202260"/>
                  </a:lnTo>
                  <a:lnTo>
                    <a:pt x="3042298" y="202260"/>
                  </a:lnTo>
                  <a:lnTo>
                    <a:pt x="3042298" y="202959"/>
                  </a:lnTo>
                  <a:lnTo>
                    <a:pt x="3042298" y="202260"/>
                  </a:lnTo>
                  <a:lnTo>
                    <a:pt x="3042298" y="202959"/>
                  </a:lnTo>
                  <a:lnTo>
                    <a:pt x="3042298" y="202260"/>
                  </a:lnTo>
                  <a:lnTo>
                    <a:pt x="3042298" y="202959"/>
                  </a:lnTo>
                  <a:lnTo>
                    <a:pt x="3042349" y="202959"/>
                  </a:lnTo>
                  <a:lnTo>
                    <a:pt x="3042349" y="202260"/>
                  </a:lnTo>
                  <a:lnTo>
                    <a:pt x="3042349" y="202959"/>
                  </a:lnTo>
                  <a:lnTo>
                    <a:pt x="3042349" y="200876"/>
                  </a:lnTo>
                  <a:lnTo>
                    <a:pt x="3042400" y="200876"/>
                  </a:lnTo>
                  <a:lnTo>
                    <a:pt x="3042400" y="202260"/>
                  </a:lnTo>
                  <a:lnTo>
                    <a:pt x="3042400" y="200876"/>
                  </a:lnTo>
                  <a:lnTo>
                    <a:pt x="3042400" y="202260"/>
                  </a:lnTo>
                  <a:lnTo>
                    <a:pt x="3042400" y="200228"/>
                  </a:lnTo>
                  <a:lnTo>
                    <a:pt x="3042400" y="200876"/>
                  </a:lnTo>
                  <a:lnTo>
                    <a:pt x="3042501" y="200876"/>
                  </a:lnTo>
                  <a:lnTo>
                    <a:pt x="3042501" y="199530"/>
                  </a:lnTo>
                  <a:lnTo>
                    <a:pt x="3042552" y="199530"/>
                  </a:lnTo>
                  <a:lnTo>
                    <a:pt x="3042552" y="198831"/>
                  </a:lnTo>
                  <a:lnTo>
                    <a:pt x="3042552" y="200228"/>
                  </a:lnTo>
                  <a:lnTo>
                    <a:pt x="3042552" y="199530"/>
                  </a:lnTo>
                  <a:lnTo>
                    <a:pt x="3042552" y="200228"/>
                  </a:lnTo>
                  <a:lnTo>
                    <a:pt x="3042552" y="199530"/>
                  </a:lnTo>
                  <a:lnTo>
                    <a:pt x="3042603" y="198831"/>
                  </a:lnTo>
                  <a:lnTo>
                    <a:pt x="3042603" y="202260"/>
                  </a:lnTo>
                  <a:lnTo>
                    <a:pt x="3042603" y="200228"/>
                  </a:lnTo>
                  <a:lnTo>
                    <a:pt x="3042654" y="200228"/>
                  </a:lnTo>
                  <a:lnTo>
                    <a:pt x="3042654" y="199530"/>
                  </a:lnTo>
                  <a:lnTo>
                    <a:pt x="3042654" y="200876"/>
                  </a:lnTo>
                  <a:lnTo>
                    <a:pt x="3042743" y="200876"/>
                  </a:lnTo>
                  <a:lnTo>
                    <a:pt x="3042743" y="202260"/>
                  </a:lnTo>
                  <a:lnTo>
                    <a:pt x="3042743" y="200876"/>
                  </a:lnTo>
                  <a:lnTo>
                    <a:pt x="3042743" y="202260"/>
                  </a:lnTo>
                  <a:lnTo>
                    <a:pt x="3042794" y="202260"/>
                  </a:lnTo>
                  <a:lnTo>
                    <a:pt x="3042794" y="202959"/>
                  </a:lnTo>
                  <a:lnTo>
                    <a:pt x="3042844" y="202959"/>
                  </a:lnTo>
                  <a:lnTo>
                    <a:pt x="3042844" y="202260"/>
                  </a:lnTo>
                  <a:lnTo>
                    <a:pt x="3042895" y="202260"/>
                  </a:lnTo>
                  <a:lnTo>
                    <a:pt x="3042895" y="200876"/>
                  </a:lnTo>
                  <a:lnTo>
                    <a:pt x="3042895" y="202260"/>
                  </a:lnTo>
                  <a:lnTo>
                    <a:pt x="3042895" y="200876"/>
                  </a:lnTo>
                  <a:lnTo>
                    <a:pt x="3042895" y="202260"/>
                  </a:lnTo>
                  <a:lnTo>
                    <a:pt x="3042895" y="200876"/>
                  </a:lnTo>
                  <a:lnTo>
                    <a:pt x="3042997" y="200876"/>
                  </a:lnTo>
                  <a:lnTo>
                    <a:pt x="3042997" y="202260"/>
                  </a:lnTo>
                  <a:lnTo>
                    <a:pt x="3042997" y="200876"/>
                  </a:lnTo>
                  <a:lnTo>
                    <a:pt x="3042997" y="202260"/>
                  </a:lnTo>
                  <a:lnTo>
                    <a:pt x="3042997" y="199530"/>
                  </a:lnTo>
                  <a:lnTo>
                    <a:pt x="3043047" y="198831"/>
                  </a:lnTo>
                  <a:lnTo>
                    <a:pt x="3043047" y="196799"/>
                  </a:lnTo>
                  <a:lnTo>
                    <a:pt x="3043098" y="197447"/>
                  </a:lnTo>
                  <a:lnTo>
                    <a:pt x="3043098" y="198831"/>
                  </a:lnTo>
                  <a:lnTo>
                    <a:pt x="3043098" y="197447"/>
                  </a:lnTo>
                  <a:lnTo>
                    <a:pt x="3043098" y="199530"/>
                  </a:lnTo>
                  <a:lnTo>
                    <a:pt x="3043098" y="198831"/>
                  </a:lnTo>
                  <a:lnTo>
                    <a:pt x="3043200" y="198831"/>
                  </a:lnTo>
                  <a:lnTo>
                    <a:pt x="3043200" y="199530"/>
                  </a:lnTo>
                  <a:lnTo>
                    <a:pt x="3043200" y="198831"/>
                  </a:lnTo>
                  <a:lnTo>
                    <a:pt x="3043200" y="199530"/>
                  </a:lnTo>
                  <a:lnTo>
                    <a:pt x="3043238" y="199530"/>
                  </a:lnTo>
                  <a:lnTo>
                    <a:pt x="3043238" y="200228"/>
                  </a:lnTo>
                  <a:lnTo>
                    <a:pt x="3043289" y="200228"/>
                  </a:lnTo>
                  <a:lnTo>
                    <a:pt x="3043289" y="199530"/>
                  </a:lnTo>
                  <a:lnTo>
                    <a:pt x="3043289" y="200876"/>
                  </a:lnTo>
                  <a:lnTo>
                    <a:pt x="3043289" y="200228"/>
                  </a:lnTo>
                  <a:lnTo>
                    <a:pt x="3043289" y="200876"/>
                  </a:lnTo>
                  <a:lnTo>
                    <a:pt x="3043340" y="200876"/>
                  </a:lnTo>
                  <a:lnTo>
                    <a:pt x="3043340" y="200228"/>
                  </a:lnTo>
                  <a:lnTo>
                    <a:pt x="3043340" y="200876"/>
                  </a:lnTo>
                  <a:lnTo>
                    <a:pt x="3043340" y="200228"/>
                  </a:lnTo>
                  <a:lnTo>
                    <a:pt x="3043340" y="200876"/>
                  </a:lnTo>
                  <a:lnTo>
                    <a:pt x="3043441" y="200876"/>
                  </a:lnTo>
                  <a:lnTo>
                    <a:pt x="3043441" y="200228"/>
                  </a:lnTo>
                  <a:lnTo>
                    <a:pt x="3043441" y="200876"/>
                  </a:lnTo>
                  <a:lnTo>
                    <a:pt x="3043441" y="200228"/>
                  </a:lnTo>
                  <a:lnTo>
                    <a:pt x="3043441" y="200876"/>
                  </a:lnTo>
                  <a:lnTo>
                    <a:pt x="3043441" y="200228"/>
                  </a:lnTo>
                  <a:lnTo>
                    <a:pt x="3043441" y="200876"/>
                  </a:lnTo>
                  <a:lnTo>
                    <a:pt x="3043441" y="200228"/>
                  </a:lnTo>
                  <a:lnTo>
                    <a:pt x="3043492" y="200228"/>
                  </a:lnTo>
                  <a:lnTo>
                    <a:pt x="3043492" y="198831"/>
                  </a:lnTo>
                  <a:lnTo>
                    <a:pt x="3043543" y="199530"/>
                  </a:lnTo>
                  <a:lnTo>
                    <a:pt x="3043543" y="200228"/>
                  </a:lnTo>
                  <a:lnTo>
                    <a:pt x="3043543" y="197447"/>
                  </a:lnTo>
                  <a:lnTo>
                    <a:pt x="3043543" y="200876"/>
                  </a:lnTo>
                  <a:lnTo>
                    <a:pt x="3043644" y="200876"/>
                  </a:lnTo>
                  <a:lnTo>
                    <a:pt x="3043644" y="199530"/>
                  </a:lnTo>
                  <a:lnTo>
                    <a:pt x="3043644" y="200876"/>
                  </a:lnTo>
                  <a:lnTo>
                    <a:pt x="3043695" y="200876"/>
                  </a:lnTo>
                  <a:lnTo>
                    <a:pt x="3043695" y="200228"/>
                  </a:lnTo>
                  <a:lnTo>
                    <a:pt x="3043695" y="200876"/>
                  </a:lnTo>
                  <a:lnTo>
                    <a:pt x="3043746" y="200876"/>
                  </a:lnTo>
                  <a:lnTo>
                    <a:pt x="3043746" y="200228"/>
                  </a:lnTo>
                  <a:lnTo>
                    <a:pt x="3043746" y="200876"/>
                  </a:lnTo>
                  <a:lnTo>
                    <a:pt x="3043746" y="200228"/>
                  </a:lnTo>
                  <a:lnTo>
                    <a:pt x="3043746" y="200876"/>
                  </a:lnTo>
                  <a:lnTo>
                    <a:pt x="3043784" y="200876"/>
                  </a:lnTo>
                  <a:lnTo>
                    <a:pt x="3043784" y="202260"/>
                  </a:lnTo>
                  <a:lnTo>
                    <a:pt x="3043784" y="200876"/>
                  </a:lnTo>
                  <a:lnTo>
                    <a:pt x="3043784" y="202260"/>
                  </a:lnTo>
                  <a:lnTo>
                    <a:pt x="3043886" y="202260"/>
                  </a:lnTo>
                  <a:lnTo>
                    <a:pt x="3043886" y="200876"/>
                  </a:lnTo>
                  <a:lnTo>
                    <a:pt x="3043937" y="200876"/>
                  </a:lnTo>
                  <a:lnTo>
                    <a:pt x="3043937" y="202260"/>
                  </a:lnTo>
                  <a:lnTo>
                    <a:pt x="3043937" y="200228"/>
                  </a:lnTo>
                  <a:lnTo>
                    <a:pt x="3043937" y="200876"/>
                  </a:lnTo>
                  <a:lnTo>
                    <a:pt x="3043937" y="200228"/>
                  </a:lnTo>
                  <a:lnTo>
                    <a:pt x="3043987" y="200228"/>
                  </a:lnTo>
                  <a:lnTo>
                    <a:pt x="3043987" y="198831"/>
                  </a:lnTo>
                  <a:lnTo>
                    <a:pt x="3043987" y="199530"/>
                  </a:lnTo>
                  <a:lnTo>
                    <a:pt x="3044089" y="200228"/>
                  </a:lnTo>
                  <a:lnTo>
                    <a:pt x="3044089" y="199530"/>
                  </a:lnTo>
                  <a:lnTo>
                    <a:pt x="3044089" y="202260"/>
                  </a:lnTo>
                  <a:lnTo>
                    <a:pt x="3044140" y="200876"/>
                  </a:lnTo>
                  <a:lnTo>
                    <a:pt x="3044140" y="200228"/>
                  </a:lnTo>
                  <a:lnTo>
                    <a:pt x="3044140" y="200876"/>
                  </a:lnTo>
                  <a:lnTo>
                    <a:pt x="3044140" y="200228"/>
                  </a:lnTo>
                  <a:lnTo>
                    <a:pt x="3044140" y="202260"/>
                  </a:lnTo>
                  <a:lnTo>
                    <a:pt x="3044190" y="202260"/>
                  </a:lnTo>
                  <a:lnTo>
                    <a:pt x="3044190" y="200876"/>
                  </a:lnTo>
                  <a:lnTo>
                    <a:pt x="3044190" y="202260"/>
                  </a:lnTo>
                  <a:lnTo>
                    <a:pt x="3044190" y="200876"/>
                  </a:lnTo>
                  <a:lnTo>
                    <a:pt x="3044190" y="202260"/>
                  </a:lnTo>
                  <a:lnTo>
                    <a:pt x="3044241" y="202260"/>
                  </a:lnTo>
                  <a:lnTo>
                    <a:pt x="3044241" y="200876"/>
                  </a:lnTo>
                  <a:lnTo>
                    <a:pt x="3044241" y="202260"/>
                  </a:lnTo>
                  <a:lnTo>
                    <a:pt x="3044241" y="200876"/>
                  </a:lnTo>
                  <a:lnTo>
                    <a:pt x="3044241" y="202260"/>
                  </a:lnTo>
                  <a:lnTo>
                    <a:pt x="3044241" y="200876"/>
                  </a:lnTo>
                  <a:lnTo>
                    <a:pt x="3044241" y="202260"/>
                  </a:lnTo>
                  <a:lnTo>
                    <a:pt x="3044330" y="200876"/>
                  </a:lnTo>
                  <a:lnTo>
                    <a:pt x="3044330" y="202260"/>
                  </a:lnTo>
                  <a:lnTo>
                    <a:pt x="3044330" y="200876"/>
                  </a:lnTo>
                  <a:lnTo>
                    <a:pt x="3044330" y="202260"/>
                  </a:lnTo>
                  <a:lnTo>
                    <a:pt x="3044330" y="200876"/>
                  </a:lnTo>
                  <a:lnTo>
                    <a:pt x="3044330" y="202260"/>
                  </a:lnTo>
                  <a:lnTo>
                    <a:pt x="3044330" y="200876"/>
                  </a:lnTo>
                  <a:lnTo>
                    <a:pt x="3044330" y="202260"/>
                  </a:lnTo>
                  <a:lnTo>
                    <a:pt x="3044381" y="202260"/>
                  </a:lnTo>
                  <a:lnTo>
                    <a:pt x="3044381" y="200876"/>
                  </a:lnTo>
                  <a:lnTo>
                    <a:pt x="3044381" y="202260"/>
                  </a:lnTo>
                  <a:lnTo>
                    <a:pt x="3044381" y="200228"/>
                  </a:lnTo>
                  <a:lnTo>
                    <a:pt x="3044381" y="200876"/>
                  </a:lnTo>
                  <a:lnTo>
                    <a:pt x="3044381" y="200228"/>
                  </a:lnTo>
                  <a:lnTo>
                    <a:pt x="3044381" y="200876"/>
                  </a:lnTo>
                  <a:lnTo>
                    <a:pt x="3044432" y="200876"/>
                  </a:lnTo>
                  <a:lnTo>
                    <a:pt x="3044432" y="199530"/>
                  </a:lnTo>
                  <a:lnTo>
                    <a:pt x="3044483" y="199530"/>
                  </a:lnTo>
                  <a:lnTo>
                    <a:pt x="3044483" y="197447"/>
                  </a:lnTo>
                  <a:lnTo>
                    <a:pt x="3044483" y="198831"/>
                  </a:lnTo>
                  <a:lnTo>
                    <a:pt x="3044584" y="198831"/>
                  </a:lnTo>
                  <a:lnTo>
                    <a:pt x="3044584" y="199530"/>
                  </a:lnTo>
                  <a:lnTo>
                    <a:pt x="3044584" y="197447"/>
                  </a:lnTo>
                  <a:lnTo>
                    <a:pt x="3044584" y="200228"/>
                  </a:lnTo>
                  <a:lnTo>
                    <a:pt x="3044635" y="200228"/>
                  </a:lnTo>
                  <a:lnTo>
                    <a:pt x="3044635" y="199530"/>
                  </a:lnTo>
                  <a:lnTo>
                    <a:pt x="3044635" y="200876"/>
                  </a:lnTo>
                  <a:lnTo>
                    <a:pt x="3044686" y="200876"/>
                  </a:lnTo>
                  <a:lnTo>
                    <a:pt x="3044686" y="200228"/>
                  </a:lnTo>
                  <a:lnTo>
                    <a:pt x="3044686" y="200876"/>
                  </a:lnTo>
                  <a:lnTo>
                    <a:pt x="3044787" y="200228"/>
                  </a:lnTo>
                  <a:lnTo>
                    <a:pt x="3044787" y="200876"/>
                  </a:lnTo>
                  <a:lnTo>
                    <a:pt x="3044787" y="200228"/>
                  </a:lnTo>
                  <a:lnTo>
                    <a:pt x="3044787" y="200876"/>
                  </a:lnTo>
                  <a:lnTo>
                    <a:pt x="3044787" y="200228"/>
                  </a:lnTo>
                  <a:lnTo>
                    <a:pt x="3044787" y="200876"/>
                  </a:lnTo>
                  <a:lnTo>
                    <a:pt x="3044826" y="200876"/>
                  </a:lnTo>
                  <a:lnTo>
                    <a:pt x="3044826" y="202260"/>
                  </a:lnTo>
                  <a:lnTo>
                    <a:pt x="3044826" y="200876"/>
                  </a:lnTo>
                  <a:lnTo>
                    <a:pt x="3044826" y="202260"/>
                  </a:lnTo>
                  <a:lnTo>
                    <a:pt x="3044826" y="200876"/>
                  </a:lnTo>
                  <a:lnTo>
                    <a:pt x="3044876" y="200876"/>
                  </a:lnTo>
                  <a:lnTo>
                    <a:pt x="3044876" y="202260"/>
                  </a:lnTo>
                  <a:lnTo>
                    <a:pt x="3044876" y="200876"/>
                  </a:lnTo>
                  <a:lnTo>
                    <a:pt x="3044876" y="202260"/>
                  </a:lnTo>
                  <a:lnTo>
                    <a:pt x="3044876" y="200876"/>
                  </a:lnTo>
                  <a:lnTo>
                    <a:pt x="3044927" y="200876"/>
                  </a:lnTo>
                  <a:lnTo>
                    <a:pt x="3044927" y="198831"/>
                  </a:lnTo>
                  <a:lnTo>
                    <a:pt x="3045029" y="198831"/>
                  </a:lnTo>
                  <a:lnTo>
                    <a:pt x="3045029" y="196799"/>
                  </a:lnTo>
                  <a:lnTo>
                    <a:pt x="3045029" y="199530"/>
                  </a:lnTo>
                  <a:lnTo>
                    <a:pt x="3045029" y="198831"/>
                  </a:lnTo>
                  <a:lnTo>
                    <a:pt x="3045080" y="198831"/>
                  </a:lnTo>
                  <a:lnTo>
                    <a:pt x="3045080" y="197447"/>
                  </a:lnTo>
                  <a:lnTo>
                    <a:pt x="3045080" y="200876"/>
                  </a:lnTo>
                  <a:lnTo>
                    <a:pt x="3045080" y="199530"/>
                  </a:lnTo>
                  <a:lnTo>
                    <a:pt x="3045080" y="200228"/>
                  </a:lnTo>
                  <a:lnTo>
                    <a:pt x="3045130" y="200228"/>
                  </a:lnTo>
                  <a:lnTo>
                    <a:pt x="3045130" y="199530"/>
                  </a:lnTo>
                  <a:lnTo>
                    <a:pt x="3045130" y="200876"/>
                  </a:lnTo>
                  <a:lnTo>
                    <a:pt x="3045130" y="200228"/>
                  </a:lnTo>
                  <a:lnTo>
                    <a:pt x="3045232" y="200228"/>
                  </a:lnTo>
                  <a:lnTo>
                    <a:pt x="3045232" y="200876"/>
                  </a:lnTo>
                  <a:lnTo>
                    <a:pt x="3045232" y="200228"/>
                  </a:lnTo>
                  <a:lnTo>
                    <a:pt x="3045232" y="200876"/>
                  </a:lnTo>
                  <a:lnTo>
                    <a:pt x="3045283" y="200876"/>
                  </a:lnTo>
                  <a:lnTo>
                    <a:pt x="3045283" y="200228"/>
                  </a:lnTo>
                  <a:lnTo>
                    <a:pt x="3045283" y="200876"/>
                  </a:lnTo>
                  <a:lnTo>
                    <a:pt x="3045283" y="200228"/>
                  </a:lnTo>
                  <a:lnTo>
                    <a:pt x="3045283" y="200876"/>
                  </a:lnTo>
                  <a:lnTo>
                    <a:pt x="3045333" y="202260"/>
                  </a:lnTo>
                  <a:lnTo>
                    <a:pt x="3045333" y="200876"/>
                  </a:lnTo>
                  <a:lnTo>
                    <a:pt x="3045333" y="202260"/>
                  </a:lnTo>
                  <a:lnTo>
                    <a:pt x="3045372" y="202260"/>
                  </a:lnTo>
                  <a:lnTo>
                    <a:pt x="3045372" y="200228"/>
                  </a:lnTo>
                  <a:lnTo>
                    <a:pt x="3045372" y="200876"/>
                  </a:lnTo>
                  <a:lnTo>
                    <a:pt x="3045473" y="200876"/>
                  </a:lnTo>
                  <a:lnTo>
                    <a:pt x="3045473" y="197447"/>
                  </a:lnTo>
                  <a:lnTo>
                    <a:pt x="3045524" y="197447"/>
                  </a:lnTo>
                  <a:lnTo>
                    <a:pt x="3045524" y="198831"/>
                  </a:lnTo>
                  <a:lnTo>
                    <a:pt x="3045524" y="196799"/>
                  </a:lnTo>
                  <a:lnTo>
                    <a:pt x="3045524" y="199530"/>
                  </a:lnTo>
                  <a:lnTo>
                    <a:pt x="3045524" y="197447"/>
                  </a:lnTo>
                  <a:lnTo>
                    <a:pt x="3045524" y="198831"/>
                  </a:lnTo>
                  <a:lnTo>
                    <a:pt x="3045575" y="197447"/>
                  </a:lnTo>
                  <a:lnTo>
                    <a:pt x="3045575" y="200876"/>
                  </a:lnTo>
                  <a:lnTo>
                    <a:pt x="3045575" y="200228"/>
                  </a:lnTo>
                  <a:lnTo>
                    <a:pt x="3045575" y="200876"/>
                  </a:lnTo>
                  <a:lnTo>
                    <a:pt x="3045575" y="199530"/>
                  </a:lnTo>
                  <a:lnTo>
                    <a:pt x="3045676" y="199530"/>
                  </a:lnTo>
                  <a:lnTo>
                    <a:pt x="3045676" y="200876"/>
                  </a:lnTo>
                  <a:lnTo>
                    <a:pt x="3045676" y="200228"/>
                  </a:lnTo>
                  <a:lnTo>
                    <a:pt x="3045676" y="200876"/>
                  </a:lnTo>
                  <a:lnTo>
                    <a:pt x="3045676" y="200228"/>
                  </a:lnTo>
                  <a:lnTo>
                    <a:pt x="3045727" y="200228"/>
                  </a:lnTo>
                  <a:lnTo>
                    <a:pt x="3045727" y="200876"/>
                  </a:lnTo>
                  <a:lnTo>
                    <a:pt x="3045727" y="200228"/>
                  </a:lnTo>
                  <a:lnTo>
                    <a:pt x="3045727" y="200876"/>
                  </a:lnTo>
                  <a:lnTo>
                    <a:pt x="3045727" y="200228"/>
                  </a:lnTo>
                  <a:lnTo>
                    <a:pt x="3045727" y="200876"/>
                  </a:lnTo>
                  <a:lnTo>
                    <a:pt x="3045727" y="200228"/>
                  </a:lnTo>
                  <a:lnTo>
                    <a:pt x="3045727" y="200876"/>
                  </a:lnTo>
                  <a:lnTo>
                    <a:pt x="3045778" y="202260"/>
                  </a:lnTo>
                  <a:lnTo>
                    <a:pt x="3045778" y="200876"/>
                  </a:lnTo>
                  <a:lnTo>
                    <a:pt x="3045778" y="202260"/>
                  </a:lnTo>
                  <a:lnTo>
                    <a:pt x="3045778" y="200876"/>
                  </a:lnTo>
                  <a:lnTo>
                    <a:pt x="3045778" y="202260"/>
                  </a:lnTo>
                  <a:lnTo>
                    <a:pt x="3045829" y="202260"/>
                  </a:lnTo>
                  <a:lnTo>
                    <a:pt x="3045829" y="200876"/>
                  </a:lnTo>
                  <a:lnTo>
                    <a:pt x="3045829" y="202260"/>
                  </a:lnTo>
                  <a:lnTo>
                    <a:pt x="3045829" y="200876"/>
                  </a:lnTo>
                  <a:lnTo>
                    <a:pt x="3045829" y="202260"/>
                  </a:lnTo>
                  <a:lnTo>
                    <a:pt x="3045918" y="202260"/>
                  </a:lnTo>
                  <a:lnTo>
                    <a:pt x="3045918" y="200228"/>
                  </a:lnTo>
                  <a:lnTo>
                    <a:pt x="3045969" y="200876"/>
                  </a:lnTo>
                  <a:lnTo>
                    <a:pt x="3045969" y="199530"/>
                  </a:lnTo>
                  <a:lnTo>
                    <a:pt x="3045969" y="200228"/>
                  </a:lnTo>
                  <a:lnTo>
                    <a:pt x="3046019" y="200228"/>
                  </a:lnTo>
                  <a:lnTo>
                    <a:pt x="3046019" y="198831"/>
                  </a:lnTo>
                  <a:lnTo>
                    <a:pt x="3046019" y="199530"/>
                  </a:lnTo>
                  <a:lnTo>
                    <a:pt x="3046019" y="198831"/>
                  </a:lnTo>
                  <a:lnTo>
                    <a:pt x="3046019" y="200876"/>
                  </a:lnTo>
                  <a:lnTo>
                    <a:pt x="3046070" y="200876"/>
                  </a:lnTo>
                  <a:lnTo>
                    <a:pt x="3046070" y="200228"/>
                  </a:lnTo>
                  <a:lnTo>
                    <a:pt x="3046070" y="202260"/>
                  </a:lnTo>
                  <a:lnTo>
                    <a:pt x="3046070" y="200876"/>
                  </a:lnTo>
                  <a:lnTo>
                    <a:pt x="3046172" y="200876"/>
                  </a:lnTo>
                  <a:lnTo>
                    <a:pt x="3046172" y="200228"/>
                  </a:lnTo>
                  <a:lnTo>
                    <a:pt x="3046172" y="200876"/>
                  </a:lnTo>
                  <a:lnTo>
                    <a:pt x="3046222" y="200876"/>
                  </a:lnTo>
                  <a:lnTo>
                    <a:pt x="3046222" y="200228"/>
                  </a:lnTo>
                  <a:lnTo>
                    <a:pt x="3046222" y="200876"/>
                  </a:lnTo>
                  <a:lnTo>
                    <a:pt x="3046222" y="200228"/>
                  </a:lnTo>
                  <a:lnTo>
                    <a:pt x="3046222" y="200876"/>
                  </a:lnTo>
                  <a:lnTo>
                    <a:pt x="3046273" y="200876"/>
                  </a:lnTo>
                  <a:lnTo>
                    <a:pt x="3046273" y="202260"/>
                  </a:lnTo>
                  <a:lnTo>
                    <a:pt x="3046273" y="200876"/>
                  </a:lnTo>
                  <a:lnTo>
                    <a:pt x="3046375" y="200876"/>
                  </a:lnTo>
                  <a:lnTo>
                    <a:pt x="3046375" y="202260"/>
                  </a:lnTo>
                  <a:lnTo>
                    <a:pt x="3046375" y="200228"/>
                  </a:lnTo>
                  <a:lnTo>
                    <a:pt x="3046375" y="200876"/>
                  </a:lnTo>
                  <a:lnTo>
                    <a:pt x="3046375" y="200228"/>
                  </a:lnTo>
                  <a:lnTo>
                    <a:pt x="3046413" y="200228"/>
                  </a:lnTo>
                  <a:lnTo>
                    <a:pt x="3046413" y="198831"/>
                  </a:lnTo>
                  <a:lnTo>
                    <a:pt x="3046464" y="198831"/>
                  </a:lnTo>
                  <a:lnTo>
                    <a:pt x="3046464" y="200228"/>
                  </a:lnTo>
                  <a:lnTo>
                    <a:pt x="3046464" y="198831"/>
                  </a:lnTo>
                  <a:lnTo>
                    <a:pt x="3046464" y="199530"/>
                  </a:lnTo>
                  <a:lnTo>
                    <a:pt x="3046515" y="198831"/>
                  </a:lnTo>
                  <a:lnTo>
                    <a:pt x="3046515" y="203594"/>
                  </a:lnTo>
                  <a:lnTo>
                    <a:pt x="3046515" y="200228"/>
                  </a:lnTo>
                  <a:lnTo>
                    <a:pt x="3046515" y="200876"/>
                  </a:lnTo>
                  <a:lnTo>
                    <a:pt x="3046616" y="200876"/>
                  </a:lnTo>
                  <a:lnTo>
                    <a:pt x="3046616" y="202959"/>
                  </a:lnTo>
                  <a:lnTo>
                    <a:pt x="3046616" y="202260"/>
                  </a:lnTo>
                  <a:lnTo>
                    <a:pt x="3046667" y="202260"/>
                  </a:lnTo>
                  <a:lnTo>
                    <a:pt x="3046667" y="202959"/>
                  </a:lnTo>
                  <a:lnTo>
                    <a:pt x="3046667" y="202260"/>
                  </a:lnTo>
                  <a:lnTo>
                    <a:pt x="3046667" y="202959"/>
                  </a:lnTo>
                  <a:lnTo>
                    <a:pt x="3046667" y="202260"/>
                  </a:lnTo>
                  <a:lnTo>
                    <a:pt x="3046819" y="202260"/>
                  </a:lnTo>
                  <a:lnTo>
                    <a:pt x="3046819" y="202959"/>
                  </a:lnTo>
                  <a:lnTo>
                    <a:pt x="3046870" y="202959"/>
                  </a:lnTo>
                  <a:lnTo>
                    <a:pt x="3046870" y="200876"/>
                  </a:lnTo>
                  <a:lnTo>
                    <a:pt x="3046870" y="202260"/>
                  </a:lnTo>
                  <a:lnTo>
                    <a:pt x="3046870" y="200876"/>
                  </a:lnTo>
                  <a:lnTo>
                    <a:pt x="3046870" y="202260"/>
                  </a:lnTo>
                  <a:lnTo>
                    <a:pt x="3046870" y="200228"/>
                  </a:lnTo>
                  <a:lnTo>
                    <a:pt x="3046921" y="200228"/>
                  </a:lnTo>
                  <a:lnTo>
                    <a:pt x="3046921" y="199530"/>
                  </a:lnTo>
                  <a:lnTo>
                    <a:pt x="3046921" y="200228"/>
                  </a:lnTo>
                  <a:lnTo>
                    <a:pt x="3046921" y="197447"/>
                  </a:lnTo>
                  <a:lnTo>
                    <a:pt x="3046959" y="197447"/>
                  </a:lnTo>
                  <a:lnTo>
                    <a:pt x="3046959" y="200228"/>
                  </a:lnTo>
                  <a:lnTo>
                    <a:pt x="3046959" y="198831"/>
                  </a:lnTo>
                  <a:lnTo>
                    <a:pt x="3047061" y="198831"/>
                  </a:lnTo>
                  <a:lnTo>
                    <a:pt x="3047061" y="200876"/>
                  </a:lnTo>
                  <a:lnTo>
                    <a:pt x="3047061" y="200228"/>
                  </a:lnTo>
                  <a:lnTo>
                    <a:pt x="3047112" y="200228"/>
                  </a:lnTo>
                  <a:lnTo>
                    <a:pt x="3047112" y="202260"/>
                  </a:lnTo>
                  <a:lnTo>
                    <a:pt x="3047112" y="200228"/>
                  </a:lnTo>
                  <a:lnTo>
                    <a:pt x="3047112" y="200876"/>
                  </a:lnTo>
                  <a:lnTo>
                    <a:pt x="3047162" y="200876"/>
                  </a:lnTo>
                  <a:lnTo>
                    <a:pt x="3047162" y="202260"/>
                  </a:lnTo>
                  <a:lnTo>
                    <a:pt x="3047162" y="200876"/>
                  </a:lnTo>
                  <a:lnTo>
                    <a:pt x="3047162" y="202260"/>
                  </a:lnTo>
                  <a:lnTo>
                    <a:pt x="3047162" y="200876"/>
                  </a:lnTo>
                  <a:lnTo>
                    <a:pt x="3047264" y="200876"/>
                  </a:lnTo>
                  <a:lnTo>
                    <a:pt x="3047264" y="202260"/>
                  </a:lnTo>
                  <a:lnTo>
                    <a:pt x="3047264" y="200876"/>
                  </a:lnTo>
                  <a:lnTo>
                    <a:pt x="3047264" y="202260"/>
                  </a:lnTo>
                  <a:lnTo>
                    <a:pt x="3047264" y="200876"/>
                  </a:lnTo>
                  <a:lnTo>
                    <a:pt x="3047264" y="202260"/>
                  </a:lnTo>
                  <a:lnTo>
                    <a:pt x="3047264" y="200876"/>
                  </a:lnTo>
                  <a:lnTo>
                    <a:pt x="3047264" y="202260"/>
                  </a:lnTo>
                  <a:lnTo>
                    <a:pt x="3047315" y="202260"/>
                  </a:lnTo>
                  <a:lnTo>
                    <a:pt x="3047315" y="200876"/>
                  </a:lnTo>
                  <a:lnTo>
                    <a:pt x="3047365" y="200876"/>
                  </a:lnTo>
                  <a:lnTo>
                    <a:pt x="3047365" y="202260"/>
                  </a:lnTo>
                  <a:lnTo>
                    <a:pt x="3047365" y="200228"/>
                  </a:lnTo>
                  <a:lnTo>
                    <a:pt x="3047365" y="200876"/>
                  </a:lnTo>
                  <a:lnTo>
                    <a:pt x="3047365" y="200228"/>
                  </a:lnTo>
                  <a:lnTo>
                    <a:pt x="3047365" y="200876"/>
                  </a:lnTo>
                  <a:lnTo>
                    <a:pt x="3047365" y="200228"/>
                  </a:lnTo>
                  <a:lnTo>
                    <a:pt x="3047365" y="200876"/>
                  </a:lnTo>
                  <a:lnTo>
                    <a:pt x="3047365" y="199530"/>
                  </a:lnTo>
                  <a:lnTo>
                    <a:pt x="3047416" y="199530"/>
                  </a:lnTo>
                  <a:lnTo>
                    <a:pt x="3047416" y="196799"/>
                  </a:lnTo>
                  <a:lnTo>
                    <a:pt x="3047505" y="196113"/>
                  </a:lnTo>
                  <a:lnTo>
                    <a:pt x="3047505" y="198831"/>
                  </a:lnTo>
                  <a:lnTo>
                    <a:pt x="3047505" y="196799"/>
                  </a:lnTo>
                  <a:lnTo>
                    <a:pt x="3047556" y="197447"/>
                  </a:lnTo>
                  <a:lnTo>
                    <a:pt x="3047556" y="200228"/>
                  </a:lnTo>
                  <a:lnTo>
                    <a:pt x="3047556" y="198831"/>
                  </a:lnTo>
                  <a:lnTo>
                    <a:pt x="3047556" y="199530"/>
                  </a:lnTo>
                  <a:lnTo>
                    <a:pt x="3047607" y="199530"/>
                  </a:lnTo>
                  <a:lnTo>
                    <a:pt x="3047607" y="200876"/>
                  </a:lnTo>
                  <a:lnTo>
                    <a:pt x="3047607" y="199530"/>
                  </a:lnTo>
                  <a:lnTo>
                    <a:pt x="3047607" y="200228"/>
                  </a:lnTo>
                  <a:lnTo>
                    <a:pt x="3047658" y="200228"/>
                  </a:lnTo>
                  <a:lnTo>
                    <a:pt x="3047658" y="200876"/>
                  </a:lnTo>
                  <a:lnTo>
                    <a:pt x="3047658" y="200228"/>
                  </a:lnTo>
                  <a:lnTo>
                    <a:pt x="3047658" y="200876"/>
                  </a:lnTo>
                  <a:lnTo>
                    <a:pt x="3047658" y="200228"/>
                  </a:lnTo>
                  <a:lnTo>
                    <a:pt x="3047658" y="200876"/>
                  </a:lnTo>
                  <a:lnTo>
                    <a:pt x="3047759" y="200876"/>
                  </a:lnTo>
                  <a:lnTo>
                    <a:pt x="3047759" y="202260"/>
                  </a:lnTo>
                  <a:lnTo>
                    <a:pt x="3047759" y="200876"/>
                  </a:lnTo>
                  <a:lnTo>
                    <a:pt x="3047759" y="202260"/>
                  </a:lnTo>
                  <a:lnTo>
                    <a:pt x="3047810" y="202260"/>
                  </a:lnTo>
                  <a:lnTo>
                    <a:pt x="3047810" y="200876"/>
                  </a:lnTo>
                  <a:lnTo>
                    <a:pt x="3047810" y="202260"/>
                  </a:lnTo>
                  <a:lnTo>
                    <a:pt x="3047810" y="200876"/>
                  </a:lnTo>
                  <a:lnTo>
                    <a:pt x="3047810" y="202260"/>
                  </a:lnTo>
                  <a:lnTo>
                    <a:pt x="3047861" y="200876"/>
                  </a:lnTo>
                  <a:lnTo>
                    <a:pt x="3047861" y="200228"/>
                  </a:lnTo>
                  <a:lnTo>
                    <a:pt x="3047861" y="200876"/>
                  </a:lnTo>
                  <a:lnTo>
                    <a:pt x="3047861" y="200228"/>
                  </a:lnTo>
                  <a:lnTo>
                    <a:pt x="3047962" y="199530"/>
                  </a:lnTo>
                  <a:lnTo>
                    <a:pt x="3047962" y="200228"/>
                  </a:lnTo>
                  <a:lnTo>
                    <a:pt x="3047962" y="197447"/>
                  </a:lnTo>
                  <a:lnTo>
                    <a:pt x="3048001" y="197447"/>
                  </a:lnTo>
                  <a:lnTo>
                    <a:pt x="3048001" y="199530"/>
                  </a:lnTo>
                  <a:lnTo>
                    <a:pt x="3048001" y="197447"/>
                  </a:lnTo>
                  <a:lnTo>
                    <a:pt x="3048001" y="200228"/>
                  </a:lnTo>
                  <a:lnTo>
                    <a:pt x="3048051" y="200228"/>
                  </a:lnTo>
                  <a:lnTo>
                    <a:pt x="3048051" y="200876"/>
                  </a:lnTo>
                  <a:lnTo>
                    <a:pt x="3048051" y="199530"/>
                  </a:lnTo>
                  <a:lnTo>
                    <a:pt x="3048051" y="200228"/>
                  </a:lnTo>
                  <a:lnTo>
                    <a:pt x="3048102" y="200228"/>
                  </a:lnTo>
                  <a:lnTo>
                    <a:pt x="3048102" y="199530"/>
                  </a:lnTo>
                  <a:lnTo>
                    <a:pt x="3048102" y="200228"/>
                  </a:lnTo>
                  <a:lnTo>
                    <a:pt x="3048102" y="199530"/>
                  </a:lnTo>
                  <a:lnTo>
                    <a:pt x="3048102" y="200228"/>
                  </a:lnTo>
                  <a:lnTo>
                    <a:pt x="3048204" y="200228"/>
                  </a:lnTo>
                  <a:lnTo>
                    <a:pt x="3048204" y="199530"/>
                  </a:lnTo>
                  <a:lnTo>
                    <a:pt x="3048204" y="200876"/>
                  </a:lnTo>
                  <a:lnTo>
                    <a:pt x="3048204" y="200228"/>
                  </a:lnTo>
                  <a:lnTo>
                    <a:pt x="3048204" y="200876"/>
                  </a:lnTo>
                  <a:lnTo>
                    <a:pt x="3048204" y="200228"/>
                  </a:lnTo>
                  <a:lnTo>
                    <a:pt x="3048255" y="200876"/>
                  </a:lnTo>
                  <a:lnTo>
                    <a:pt x="3048255" y="202260"/>
                  </a:lnTo>
                  <a:lnTo>
                    <a:pt x="3048255" y="200876"/>
                  </a:lnTo>
                  <a:lnTo>
                    <a:pt x="3048305" y="200876"/>
                  </a:lnTo>
                  <a:lnTo>
                    <a:pt x="3048305" y="202260"/>
                  </a:lnTo>
                  <a:lnTo>
                    <a:pt x="3048305" y="200228"/>
                  </a:lnTo>
                  <a:lnTo>
                    <a:pt x="3048305" y="200876"/>
                  </a:lnTo>
                  <a:lnTo>
                    <a:pt x="3048407" y="200876"/>
                  </a:lnTo>
                  <a:lnTo>
                    <a:pt x="3048407" y="200228"/>
                  </a:lnTo>
                  <a:lnTo>
                    <a:pt x="3048407" y="200876"/>
                  </a:lnTo>
                  <a:lnTo>
                    <a:pt x="3048407" y="199530"/>
                  </a:lnTo>
                  <a:lnTo>
                    <a:pt x="3048458" y="199530"/>
                  </a:lnTo>
                  <a:lnTo>
                    <a:pt x="3048458" y="198831"/>
                  </a:lnTo>
                  <a:lnTo>
                    <a:pt x="3048458" y="199530"/>
                  </a:lnTo>
                  <a:lnTo>
                    <a:pt x="3048458" y="197447"/>
                  </a:lnTo>
                  <a:lnTo>
                    <a:pt x="3048458" y="198831"/>
                  </a:lnTo>
                  <a:lnTo>
                    <a:pt x="3048458" y="196799"/>
                  </a:lnTo>
                  <a:lnTo>
                    <a:pt x="3048458" y="197447"/>
                  </a:lnTo>
                  <a:lnTo>
                    <a:pt x="3048508" y="197447"/>
                  </a:lnTo>
                  <a:lnTo>
                    <a:pt x="3048508" y="199530"/>
                  </a:lnTo>
                  <a:lnTo>
                    <a:pt x="3048508" y="196799"/>
                  </a:lnTo>
                  <a:lnTo>
                    <a:pt x="3048508" y="199530"/>
                  </a:lnTo>
                  <a:lnTo>
                    <a:pt x="3048547" y="200228"/>
                  </a:lnTo>
                  <a:lnTo>
                    <a:pt x="3048547" y="200876"/>
                  </a:lnTo>
                  <a:lnTo>
                    <a:pt x="3048547" y="198831"/>
                  </a:lnTo>
                  <a:lnTo>
                    <a:pt x="3048547" y="200228"/>
                  </a:lnTo>
                  <a:lnTo>
                    <a:pt x="3048648" y="200228"/>
                  </a:lnTo>
                  <a:lnTo>
                    <a:pt x="3048648" y="199530"/>
                  </a:lnTo>
                  <a:lnTo>
                    <a:pt x="3048699" y="199530"/>
                  </a:lnTo>
                  <a:lnTo>
                    <a:pt x="3048699" y="200228"/>
                  </a:lnTo>
                  <a:lnTo>
                    <a:pt x="3048699" y="199530"/>
                  </a:lnTo>
                  <a:lnTo>
                    <a:pt x="3048699" y="200228"/>
                  </a:lnTo>
                  <a:lnTo>
                    <a:pt x="3048699" y="199530"/>
                  </a:lnTo>
                  <a:lnTo>
                    <a:pt x="3048699" y="200228"/>
                  </a:lnTo>
                  <a:lnTo>
                    <a:pt x="3048699" y="199530"/>
                  </a:lnTo>
                  <a:lnTo>
                    <a:pt x="3048699" y="200228"/>
                  </a:lnTo>
                  <a:lnTo>
                    <a:pt x="3048750" y="200876"/>
                  </a:lnTo>
                  <a:lnTo>
                    <a:pt x="3048750" y="200228"/>
                  </a:lnTo>
                  <a:lnTo>
                    <a:pt x="3048750" y="200876"/>
                  </a:lnTo>
                  <a:lnTo>
                    <a:pt x="3048750" y="200228"/>
                  </a:lnTo>
                  <a:lnTo>
                    <a:pt x="3048750" y="200876"/>
                  </a:lnTo>
                  <a:lnTo>
                    <a:pt x="3048851" y="200876"/>
                  </a:lnTo>
                  <a:lnTo>
                    <a:pt x="3048851" y="200228"/>
                  </a:lnTo>
                  <a:lnTo>
                    <a:pt x="3048851" y="200876"/>
                  </a:lnTo>
                  <a:lnTo>
                    <a:pt x="3048851" y="200228"/>
                  </a:lnTo>
                  <a:lnTo>
                    <a:pt x="3048851" y="200876"/>
                  </a:lnTo>
                  <a:lnTo>
                    <a:pt x="3048902" y="200876"/>
                  </a:lnTo>
                  <a:lnTo>
                    <a:pt x="3048902" y="198831"/>
                  </a:lnTo>
                  <a:lnTo>
                    <a:pt x="3048953" y="198831"/>
                  </a:lnTo>
                  <a:lnTo>
                    <a:pt x="3048953" y="196799"/>
                  </a:lnTo>
                  <a:lnTo>
                    <a:pt x="3048953" y="198831"/>
                  </a:lnTo>
                  <a:lnTo>
                    <a:pt x="3049004" y="198831"/>
                  </a:lnTo>
                  <a:lnTo>
                    <a:pt x="3049004" y="196799"/>
                  </a:lnTo>
                  <a:lnTo>
                    <a:pt x="3049004" y="197447"/>
                  </a:lnTo>
                  <a:lnTo>
                    <a:pt x="3049004" y="196113"/>
                  </a:lnTo>
                  <a:lnTo>
                    <a:pt x="3049004" y="199530"/>
                  </a:lnTo>
                  <a:lnTo>
                    <a:pt x="3049093" y="199530"/>
                  </a:lnTo>
                  <a:lnTo>
                    <a:pt x="3049093" y="196799"/>
                  </a:lnTo>
                  <a:lnTo>
                    <a:pt x="3049093" y="199530"/>
                  </a:lnTo>
                  <a:lnTo>
                    <a:pt x="3049144" y="199530"/>
                  </a:lnTo>
                  <a:lnTo>
                    <a:pt x="3049144" y="197447"/>
                  </a:lnTo>
                  <a:lnTo>
                    <a:pt x="3049144" y="198831"/>
                  </a:lnTo>
                  <a:lnTo>
                    <a:pt x="3049144" y="197447"/>
                  </a:lnTo>
                  <a:lnTo>
                    <a:pt x="3049144" y="198831"/>
                  </a:lnTo>
                  <a:lnTo>
                    <a:pt x="3049144" y="197447"/>
                  </a:lnTo>
                  <a:lnTo>
                    <a:pt x="3049144" y="199530"/>
                  </a:lnTo>
                  <a:lnTo>
                    <a:pt x="3049144" y="198831"/>
                  </a:lnTo>
                  <a:lnTo>
                    <a:pt x="3049194" y="198831"/>
                  </a:lnTo>
                  <a:lnTo>
                    <a:pt x="3049194" y="199530"/>
                  </a:lnTo>
                  <a:lnTo>
                    <a:pt x="3049194" y="198831"/>
                  </a:lnTo>
                  <a:lnTo>
                    <a:pt x="3049194" y="200228"/>
                  </a:lnTo>
                  <a:lnTo>
                    <a:pt x="3049245" y="200228"/>
                  </a:lnTo>
                  <a:lnTo>
                    <a:pt x="3049245" y="199530"/>
                  </a:lnTo>
                  <a:lnTo>
                    <a:pt x="3049245" y="200228"/>
                  </a:lnTo>
                  <a:lnTo>
                    <a:pt x="3049245" y="199530"/>
                  </a:lnTo>
                  <a:lnTo>
                    <a:pt x="3049245" y="200228"/>
                  </a:lnTo>
                  <a:lnTo>
                    <a:pt x="3049347" y="200228"/>
                  </a:lnTo>
                  <a:lnTo>
                    <a:pt x="3049347" y="199530"/>
                  </a:lnTo>
                  <a:lnTo>
                    <a:pt x="3049347" y="200228"/>
                  </a:lnTo>
                  <a:lnTo>
                    <a:pt x="3049397" y="199530"/>
                  </a:lnTo>
                  <a:lnTo>
                    <a:pt x="3049397" y="198831"/>
                  </a:lnTo>
                  <a:lnTo>
                    <a:pt x="3049448" y="197447"/>
                  </a:lnTo>
                  <a:lnTo>
                    <a:pt x="3049448" y="198831"/>
                  </a:lnTo>
                  <a:lnTo>
                    <a:pt x="3049448" y="197447"/>
                  </a:lnTo>
                  <a:lnTo>
                    <a:pt x="3049448" y="199530"/>
                  </a:lnTo>
                  <a:lnTo>
                    <a:pt x="3049448" y="198831"/>
                  </a:lnTo>
                  <a:lnTo>
                    <a:pt x="3049550" y="198831"/>
                  </a:lnTo>
                  <a:lnTo>
                    <a:pt x="3049550" y="197447"/>
                  </a:lnTo>
                  <a:lnTo>
                    <a:pt x="3049550" y="200228"/>
                  </a:lnTo>
                  <a:lnTo>
                    <a:pt x="3049550" y="199530"/>
                  </a:lnTo>
                  <a:lnTo>
                    <a:pt x="3049588" y="199530"/>
                  </a:lnTo>
                  <a:lnTo>
                    <a:pt x="3049588" y="198831"/>
                  </a:lnTo>
                  <a:lnTo>
                    <a:pt x="3049588" y="200228"/>
                  </a:lnTo>
                  <a:lnTo>
                    <a:pt x="3049639" y="199530"/>
                  </a:lnTo>
                  <a:lnTo>
                    <a:pt x="3049639" y="200228"/>
                  </a:lnTo>
                  <a:lnTo>
                    <a:pt x="3049639" y="199530"/>
                  </a:lnTo>
                  <a:lnTo>
                    <a:pt x="3049639" y="200228"/>
                  </a:lnTo>
                  <a:lnTo>
                    <a:pt x="3049639" y="199530"/>
                  </a:lnTo>
                  <a:lnTo>
                    <a:pt x="3049639" y="200228"/>
                  </a:lnTo>
                  <a:lnTo>
                    <a:pt x="3049639" y="199530"/>
                  </a:lnTo>
                  <a:lnTo>
                    <a:pt x="3049690" y="199530"/>
                  </a:lnTo>
                  <a:lnTo>
                    <a:pt x="3049690" y="200876"/>
                  </a:lnTo>
                  <a:lnTo>
                    <a:pt x="3049690" y="200228"/>
                  </a:lnTo>
                  <a:lnTo>
                    <a:pt x="3049791" y="200228"/>
                  </a:lnTo>
                  <a:lnTo>
                    <a:pt x="3049791" y="200876"/>
                  </a:lnTo>
                  <a:lnTo>
                    <a:pt x="3049791" y="200228"/>
                  </a:lnTo>
                  <a:lnTo>
                    <a:pt x="3049791" y="200876"/>
                  </a:lnTo>
                  <a:lnTo>
                    <a:pt x="3049791" y="200228"/>
                  </a:lnTo>
                  <a:lnTo>
                    <a:pt x="3049791" y="200876"/>
                  </a:lnTo>
                  <a:lnTo>
                    <a:pt x="3049791" y="200228"/>
                  </a:lnTo>
                  <a:lnTo>
                    <a:pt x="3049842" y="200228"/>
                  </a:lnTo>
                  <a:lnTo>
                    <a:pt x="3049842" y="200876"/>
                  </a:lnTo>
                  <a:lnTo>
                    <a:pt x="3049842" y="200228"/>
                  </a:lnTo>
                  <a:lnTo>
                    <a:pt x="3049842" y="200876"/>
                  </a:lnTo>
                  <a:lnTo>
                    <a:pt x="3049842" y="200228"/>
                  </a:lnTo>
                  <a:lnTo>
                    <a:pt x="3049842" y="200876"/>
                  </a:lnTo>
                  <a:lnTo>
                    <a:pt x="3049842" y="200228"/>
                  </a:lnTo>
                  <a:lnTo>
                    <a:pt x="3049893" y="200228"/>
                  </a:lnTo>
                  <a:lnTo>
                    <a:pt x="3049893" y="198831"/>
                  </a:lnTo>
                  <a:lnTo>
                    <a:pt x="3049893" y="199530"/>
                  </a:lnTo>
                  <a:lnTo>
                    <a:pt x="3049893" y="198831"/>
                  </a:lnTo>
                  <a:lnTo>
                    <a:pt x="3049994" y="198831"/>
                  </a:lnTo>
                  <a:lnTo>
                    <a:pt x="3049994" y="200876"/>
                  </a:lnTo>
                  <a:lnTo>
                    <a:pt x="3049994" y="199530"/>
                  </a:lnTo>
                  <a:lnTo>
                    <a:pt x="3049994" y="200228"/>
                  </a:lnTo>
                  <a:lnTo>
                    <a:pt x="3050045" y="200876"/>
                  </a:lnTo>
                  <a:lnTo>
                    <a:pt x="3050045" y="202959"/>
                  </a:lnTo>
                  <a:lnTo>
                    <a:pt x="3050045" y="200876"/>
                  </a:lnTo>
                  <a:lnTo>
                    <a:pt x="3050096" y="202260"/>
                  </a:lnTo>
                  <a:lnTo>
                    <a:pt x="3050096" y="202959"/>
                  </a:lnTo>
                  <a:lnTo>
                    <a:pt x="3050096" y="200876"/>
                  </a:lnTo>
                  <a:lnTo>
                    <a:pt x="3050096" y="202260"/>
                  </a:lnTo>
                  <a:lnTo>
                    <a:pt x="3050134" y="202260"/>
                  </a:lnTo>
                  <a:lnTo>
                    <a:pt x="3050134" y="200876"/>
                  </a:lnTo>
                  <a:lnTo>
                    <a:pt x="3050134" y="202260"/>
                  </a:lnTo>
                  <a:lnTo>
                    <a:pt x="3050134" y="200228"/>
                  </a:lnTo>
                  <a:lnTo>
                    <a:pt x="3050134" y="202260"/>
                  </a:lnTo>
                  <a:lnTo>
                    <a:pt x="3050236" y="202260"/>
                  </a:lnTo>
                  <a:lnTo>
                    <a:pt x="3050236" y="200876"/>
                  </a:lnTo>
                  <a:lnTo>
                    <a:pt x="3050236" y="202260"/>
                  </a:lnTo>
                  <a:lnTo>
                    <a:pt x="3050236" y="200876"/>
                  </a:lnTo>
                  <a:lnTo>
                    <a:pt x="3050236" y="202260"/>
                  </a:lnTo>
                  <a:lnTo>
                    <a:pt x="3050287" y="202260"/>
                  </a:lnTo>
                  <a:lnTo>
                    <a:pt x="3050287" y="200228"/>
                  </a:lnTo>
                  <a:lnTo>
                    <a:pt x="3050287" y="200876"/>
                  </a:lnTo>
                  <a:lnTo>
                    <a:pt x="3050287" y="200228"/>
                  </a:lnTo>
                  <a:lnTo>
                    <a:pt x="3050287" y="200876"/>
                  </a:lnTo>
                  <a:lnTo>
                    <a:pt x="3050287" y="200228"/>
                  </a:lnTo>
                  <a:lnTo>
                    <a:pt x="3050337" y="200228"/>
                  </a:lnTo>
                  <a:lnTo>
                    <a:pt x="3050337" y="199530"/>
                  </a:lnTo>
                  <a:lnTo>
                    <a:pt x="3050337" y="200228"/>
                  </a:lnTo>
                  <a:lnTo>
                    <a:pt x="3050337" y="199530"/>
                  </a:lnTo>
                  <a:lnTo>
                    <a:pt x="3050337" y="200228"/>
                  </a:lnTo>
                  <a:lnTo>
                    <a:pt x="3050337" y="199530"/>
                  </a:lnTo>
                  <a:lnTo>
                    <a:pt x="3050337" y="200228"/>
                  </a:lnTo>
                  <a:lnTo>
                    <a:pt x="3050337" y="199530"/>
                  </a:lnTo>
                  <a:lnTo>
                    <a:pt x="3050439" y="199530"/>
                  </a:lnTo>
                  <a:lnTo>
                    <a:pt x="3050439" y="197447"/>
                  </a:lnTo>
                  <a:lnTo>
                    <a:pt x="3050439" y="200228"/>
                  </a:lnTo>
                  <a:lnTo>
                    <a:pt x="3050439" y="199530"/>
                  </a:lnTo>
                  <a:lnTo>
                    <a:pt x="3050490" y="199530"/>
                  </a:lnTo>
                  <a:lnTo>
                    <a:pt x="3050490" y="200876"/>
                  </a:lnTo>
                  <a:lnTo>
                    <a:pt x="3050490" y="200228"/>
                  </a:lnTo>
                  <a:lnTo>
                    <a:pt x="3050490" y="202260"/>
                  </a:lnTo>
                  <a:lnTo>
                    <a:pt x="3050490" y="200876"/>
                  </a:lnTo>
                  <a:lnTo>
                    <a:pt x="3050540" y="200876"/>
                  </a:lnTo>
                  <a:lnTo>
                    <a:pt x="3050540" y="200228"/>
                  </a:lnTo>
                  <a:lnTo>
                    <a:pt x="3050540" y="202260"/>
                  </a:lnTo>
                  <a:lnTo>
                    <a:pt x="3050540" y="200876"/>
                  </a:lnTo>
                  <a:lnTo>
                    <a:pt x="3050540" y="202260"/>
                  </a:lnTo>
                  <a:lnTo>
                    <a:pt x="3050591" y="202260"/>
                  </a:lnTo>
                  <a:lnTo>
                    <a:pt x="3050591" y="200876"/>
                  </a:lnTo>
                  <a:lnTo>
                    <a:pt x="3050591" y="202959"/>
                  </a:lnTo>
                  <a:lnTo>
                    <a:pt x="3050591" y="202260"/>
                  </a:lnTo>
                  <a:lnTo>
                    <a:pt x="3050680" y="202959"/>
                  </a:lnTo>
                  <a:lnTo>
                    <a:pt x="3050680" y="202260"/>
                  </a:lnTo>
                  <a:lnTo>
                    <a:pt x="3050680" y="202959"/>
                  </a:lnTo>
                  <a:lnTo>
                    <a:pt x="3050680" y="202260"/>
                  </a:lnTo>
                  <a:lnTo>
                    <a:pt x="3050680" y="202959"/>
                  </a:lnTo>
                  <a:lnTo>
                    <a:pt x="3050680" y="202260"/>
                  </a:lnTo>
                  <a:lnTo>
                    <a:pt x="3050680" y="202959"/>
                  </a:lnTo>
                  <a:lnTo>
                    <a:pt x="3050731" y="202959"/>
                  </a:lnTo>
                  <a:lnTo>
                    <a:pt x="3050731" y="202260"/>
                  </a:lnTo>
                  <a:lnTo>
                    <a:pt x="3050731" y="202959"/>
                  </a:lnTo>
                  <a:lnTo>
                    <a:pt x="3050731" y="200876"/>
                  </a:lnTo>
                  <a:lnTo>
                    <a:pt x="3050782" y="200876"/>
                  </a:lnTo>
                  <a:lnTo>
                    <a:pt x="3050782" y="200228"/>
                  </a:lnTo>
                  <a:lnTo>
                    <a:pt x="3050782" y="200876"/>
                  </a:lnTo>
                  <a:lnTo>
                    <a:pt x="3050782" y="200228"/>
                  </a:lnTo>
                  <a:lnTo>
                    <a:pt x="3050782" y="200876"/>
                  </a:lnTo>
                  <a:lnTo>
                    <a:pt x="3050782" y="200228"/>
                  </a:lnTo>
                  <a:lnTo>
                    <a:pt x="3050833" y="200228"/>
                  </a:lnTo>
                  <a:lnTo>
                    <a:pt x="3050833" y="200876"/>
                  </a:lnTo>
                  <a:lnTo>
                    <a:pt x="3050833" y="198831"/>
                  </a:lnTo>
                  <a:lnTo>
                    <a:pt x="3050934" y="198831"/>
                  </a:lnTo>
                  <a:lnTo>
                    <a:pt x="3050934" y="197447"/>
                  </a:lnTo>
                  <a:lnTo>
                    <a:pt x="3050934" y="200228"/>
                  </a:lnTo>
                  <a:lnTo>
                    <a:pt x="3050934" y="198831"/>
                  </a:lnTo>
                  <a:lnTo>
                    <a:pt x="3050985" y="197447"/>
                  </a:lnTo>
                  <a:lnTo>
                    <a:pt x="3050985" y="202260"/>
                  </a:lnTo>
                  <a:lnTo>
                    <a:pt x="3050985" y="199530"/>
                  </a:lnTo>
                  <a:lnTo>
                    <a:pt x="3051036" y="200228"/>
                  </a:lnTo>
                  <a:lnTo>
                    <a:pt x="3051036" y="200876"/>
                  </a:lnTo>
                  <a:lnTo>
                    <a:pt x="3051036" y="200228"/>
                  </a:lnTo>
                  <a:lnTo>
                    <a:pt x="3051137" y="200876"/>
                  </a:lnTo>
                  <a:lnTo>
                    <a:pt x="3051137" y="202260"/>
                  </a:lnTo>
                  <a:lnTo>
                    <a:pt x="3051137" y="200876"/>
                  </a:lnTo>
                  <a:lnTo>
                    <a:pt x="3051137" y="202260"/>
                  </a:lnTo>
                  <a:lnTo>
                    <a:pt x="3051137" y="200876"/>
                  </a:lnTo>
                  <a:lnTo>
                    <a:pt x="3051137" y="202260"/>
                  </a:lnTo>
                  <a:lnTo>
                    <a:pt x="3051176" y="202260"/>
                  </a:lnTo>
                  <a:lnTo>
                    <a:pt x="3051176" y="200876"/>
                  </a:lnTo>
                  <a:lnTo>
                    <a:pt x="3051176" y="202959"/>
                  </a:lnTo>
                  <a:lnTo>
                    <a:pt x="3051226" y="202260"/>
                  </a:lnTo>
                  <a:lnTo>
                    <a:pt x="3051226" y="202959"/>
                  </a:lnTo>
                  <a:lnTo>
                    <a:pt x="3051226" y="202260"/>
                  </a:lnTo>
                  <a:lnTo>
                    <a:pt x="3051226" y="202959"/>
                  </a:lnTo>
                  <a:lnTo>
                    <a:pt x="3051226" y="202260"/>
                  </a:lnTo>
                  <a:lnTo>
                    <a:pt x="3051277" y="202260"/>
                  </a:lnTo>
                  <a:lnTo>
                    <a:pt x="3051277" y="200876"/>
                  </a:lnTo>
                  <a:lnTo>
                    <a:pt x="3051277" y="202260"/>
                  </a:lnTo>
                  <a:lnTo>
                    <a:pt x="3051277" y="200228"/>
                  </a:lnTo>
                  <a:lnTo>
                    <a:pt x="3051379" y="200228"/>
                  </a:lnTo>
                  <a:lnTo>
                    <a:pt x="3051379" y="197447"/>
                  </a:lnTo>
                  <a:lnTo>
                    <a:pt x="3051379" y="198831"/>
                  </a:lnTo>
                  <a:lnTo>
                    <a:pt x="3051379" y="196799"/>
                  </a:lnTo>
                  <a:lnTo>
                    <a:pt x="3051430" y="196799"/>
                  </a:lnTo>
                  <a:lnTo>
                    <a:pt x="3051430" y="199530"/>
                  </a:lnTo>
                  <a:lnTo>
                    <a:pt x="3051430" y="196799"/>
                  </a:lnTo>
                  <a:lnTo>
                    <a:pt x="3051480" y="196799"/>
                  </a:lnTo>
                  <a:lnTo>
                    <a:pt x="3051480" y="200228"/>
                  </a:lnTo>
                  <a:lnTo>
                    <a:pt x="3051480" y="197447"/>
                  </a:lnTo>
                  <a:lnTo>
                    <a:pt x="3051480" y="198831"/>
                  </a:lnTo>
                  <a:lnTo>
                    <a:pt x="3051582" y="199530"/>
                  </a:lnTo>
                  <a:lnTo>
                    <a:pt x="3051582" y="200228"/>
                  </a:lnTo>
                  <a:lnTo>
                    <a:pt x="3051582" y="199530"/>
                  </a:lnTo>
                  <a:lnTo>
                    <a:pt x="3051582" y="200228"/>
                  </a:lnTo>
                  <a:lnTo>
                    <a:pt x="3051633" y="200228"/>
                  </a:lnTo>
                  <a:lnTo>
                    <a:pt x="3051633" y="200876"/>
                  </a:lnTo>
                  <a:lnTo>
                    <a:pt x="3051633" y="200228"/>
                  </a:lnTo>
                  <a:lnTo>
                    <a:pt x="3051633" y="200876"/>
                  </a:lnTo>
                  <a:lnTo>
                    <a:pt x="3051683" y="200876"/>
                  </a:lnTo>
                  <a:lnTo>
                    <a:pt x="3051683" y="202260"/>
                  </a:lnTo>
                  <a:lnTo>
                    <a:pt x="3051683" y="200876"/>
                  </a:lnTo>
                  <a:lnTo>
                    <a:pt x="3051683" y="202260"/>
                  </a:lnTo>
                  <a:lnTo>
                    <a:pt x="3051683" y="200876"/>
                  </a:lnTo>
                  <a:lnTo>
                    <a:pt x="3051683" y="202260"/>
                  </a:lnTo>
                  <a:lnTo>
                    <a:pt x="3051683" y="200876"/>
                  </a:lnTo>
                  <a:lnTo>
                    <a:pt x="3051683" y="202260"/>
                  </a:lnTo>
                  <a:lnTo>
                    <a:pt x="3051722" y="202260"/>
                  </a:lnTo>
                  <a:lnTo>
                    <a:pt x="3051722" y="200876"/>
                  </a:lnTo>
                  <a:lnTo>
                    <a:pt x="3051722" y="202260"/>
                  </a:lnTo>
                  <a:lnTo>
                    <a:pt x="3051722" y="200876"/>
                  </a:lnTo>
                  <a:lnTo>
                    <a:pt x="3051823" y="200876"/>
                  </a:lnTo>
                  <a:lnTo>
                    <a:pt x="3051823" y="200228"/>
                  </a:lnTo>
                  <a:lnTo>
                    <a:pt x="3051823" y="200876"/>
                  </a:lnTo>
                  <a:lnTo>
                    <a:pt x="3051823" y="200228"/>
                  </a:lnTo>
                  <a:lnTo>
                    <a:pt x="3051874" y="200228"/>
                  </a:lnTo>
                  <a:lnTo>
                    <a:pt x="3051874" y="197447"/>
                  </a:lnTo>
                  <a:lnTo>
                    <a:pt x="3051925" y="197447"/>
                  </a:lnTo>
                  <a:lnTo>
                    <a:pt x="3051925" y="198831"/>
                  </a:lnTo>
                  <a:lnTo>
                    <a:pt x="3051925" y="196799"/>
                  </a:lnTo>
                  <a:lnTo>
                    <a:pt x="3052026" y="196799"/>
                  </a:lnTo>
                  <a:lnTo>
                    <a:pt x="3052026" y="199530"/>
                  </a:lnTo>
                  <a:lnTo>
                    <a:pt x="3052026" y="197447"/>
                  </a:lnTo>
                  <a:lnTo>
                    <a:pt x="3052077" y="198831"/>
                  </a:lnTo>
                  <a:lnTo>
                    <a:pt x="3052077" y="199530"/>
                  </a:lnTo>
                  <a:lnTo>
                    <a:pt x="3052077" y="197447"/>
                  </a:lnTo>
                  <a:lnTo>
                    <a:pt x="3052077" y="198831"/>
                  </a:lnTo>
                  <a:lnTo>
                    <a:pt x="3052128" y="198831"/>
                  </a:lnTo>
                  <a:lnTo>
                    <a:pt x="3052128" y="199530"/>
                  </a:lnTo>
                  <a:lnTo>
                    <a:pt x="3052128" y="198831"/>
                  </a:lnTo>
                  <a:lnTo>
                    <a:pt x="3052128" y="199530"/>
                  </a:lnTo>
                  <a:lnTo>
                    <a:pt x="3052128" y="198831"/>
                  </a:lnTo>
                  <a:lnTo>
                    <a:pt x="3052179" y="198831"/>
                  </a:lnTo>
                  <a:lnTo>
                    <a:pt x="3052179" y="200228"/>
                  </a:lnTo>
                  <a:lnTo>
                    <a:pt x="3052179" y="199530"/>
                  </a:lnTo>
                  <a:lnTo>
                    <a:pt x="3052179" y="200228"/>
                  </a:lnTo>
                  <a:lnTo>
                    <a:pt x="3052268" y="199530"/>
                  </a:lnTo>
                  <a:lnTo>
                    <a:pt x="3052268" y="200228"/>
                  </a:lnTo>
                  <a:lnTo>
                    <a:pt x="3052319" y="200228"/>
                  </a:lnTo>
                  <a:lnTo>
                    <a:pt x="3052319" y="200876"/>
                  </a:lnTo>
                  <a:lnTo>
                    <a:pt x="3052319" y="200228"/>
                  </a:lnTo>
                  <a:lnTo>
                    <a:pt x="3052369" y="200228"/>
                  </a:lnTo>
                  <a:lnTo>
                    <a:pt x="3052369" y="199530"/>
                  </a:lnTo>
                  <a:lnTo>
                    <a:pt x="3052369" y="200228"/>
                  </a:lnTo>
                  <a:lnTo>
                    <a:pt x="3052369" y="198831"/>
                  </a:lnTo>
                  <a:lnTo>
                    <a:pt x="3052369" y="199530"/>
                  </a:lnTo>
                  <a:lnTo>
                    <a:pt x="3052369" y="198831"/>
                  </a:lnTo>
                  <a:lnTo>
                    <a:pt x="3052369" y="200228"/>
                  </a:lnTo>
                  <a:lnTo>
                    <a:pt x="3052420" y="200228"/>
                  </a:lnTo>
                  <a:lnTo>
                    <a:pt x="3052420" y="197447"/>
                  </a:lnTo>
                  <a:lnTo>
                    <a:pt x="3052420" y="202260"/>
                  </a:lnTo>
                  <a:lnTo>
                    <a:pt x="3052420" y="200876"/>
                  </a:lnTo>
                  <a:lnTo>
                    <a:pt x="3052522" y="200876"/>
                  </a:lnTo>
                  <a:lnTo>
                    <a:pt x="3052522" y="198831"/>
                  </a:lnTo>
                  <a:lnTo>
                    <a:pt x="3052522" y="202260"/>
                  </a:lnTo>
                  <a:lnTo>
                    <a:pt x="3052522" y="200228"/>
                  </a:lnTo>
                  <a:lnTo>
                    <a:pt x="3052572" y="200228"/>
                  </a:lnTo>
                  <a:lnTo>
                    <a:pt x="3052572" y="200876"/>
                  </a:lnTo>
                  <a:lnTo>
                    <a:pt x="3052623" y="200876"/>
                  </a:lnTo>
                  <a:lnTo>
                    <a:pt x="3052623" y="200228"/>
                  </a:lnTo>
                  <a:lnTo>
                    <a:pt x="3052623" y="200876"/>
                  </a:lnTo>
                  <a:lnTo>
                    <a:pt x="3052623" y="200228"/>
                  </a:lnTo>
                  <a:lnTo>
                    <a:pt x="3052623" y="200876"/>
                  </a:lnTo>
                  <a:lnTo>
                    <a:pt x="3052623" y="200228"/>
                  </a:lnTo>
                  <a:lnTo>
                    <a:pt x="3052623" y="200876"/>
                  </a:lnTo>
                  <a:lnTo>
                    <a:pt x="3052725" y="200876"/>
                  </a:lnTo>
                  <a:lnTo>
                    <a:pt x="3052725" y="200228"/>
                  </a:lnTo>
                  <a:lnTo>
                    <a:pt x="3052725" y="200876"/>
                  </a:lnTo>
                  <a:lnTo>
                    <a:pt x="3052725" y="200228"/>
                  </a:lnTo>
                  <a:lnTo>
                    <a:pt x="3052725" y="200876"/>
                  </a:lnTo>
                  <a:lnTo>
                    <a:pt x="3052725" y="200228"/>
                  </a:lnTo>
                  <a:lnTo>
                    <a:pt x="3052725" y="200876"/>
                  </a:lnTo>
                  <a:lnTo>
                    <a:pt x="3052763" y="200228"/>
                  </a:lnTo>
                  <a:lnTo>
                    <a:pt x="3052763" y="200876"/>
                  </a:lnTo>
                  <a:lnTo>
                    <a:pt x="3052763" y="200228"/>
                  </a:lnTo>
                  <a:lnTo>
                    <a:pt x="3052814" y="200228"/>
                  </a:lnTo>
                  <a:lnTo>
                    <a:pt x="3052814" y="198831"/>
                  </a:lnTo>
                  <a:lnTo>
                    <a:pt x="3052865" y="198831"/>
                  </a:lnTo>
                  <a:lnTo>
                    <a:pt x="3052865" y="199530"/>
                  </a:lnTo>
                  <a:lnTo>
                    <a:pt x="3052865" y="198831"/>
                  </a:lnTo>
                  <a:lnTo>
                    <a:pt x="3052865" y="199530"/>
                  </a:lnTo>
                  <a:lnTo>
                    <a:pt x="3052865" y="197447"/>
                  </a:lnTo>
                  <a:lnTo>
                    <a:pt x="3052865" y="198831"/>
                  </a:lnTo>
                  <a:lnTo>
                    <a:pt x="3052865" y="197447"/>
                  </a:lnTo>
                  <a:lnTo>
                    <a:pt x="3052966" y="198831"/>
                  </a:lnTo>
                  <a:lnTo>
                    <a:pt x="3052966" y="199530"/>
                  </a:lnTo>
                  <a:lnTo>
                    <a:pt x="3052966" y="197447"/>
                  </a:lnTo>
                  <a:lnTo>
                    <a:pt x="3052966" y="200228"/>
                  </a:lnTo>
                  <a:lnTo>
                    <a:pt x="3053017" y="200228"/>
                  </a:lnTo>
                  <a:lnTo>
                    <a:pt x="3053017" y="199530"/>
                  </a:lnTo>
                  <a:lnTo>
                    <a:pt x="3053017" y="200228"/>
                  </a:lnTo>
                  <a:lnTo>
                    <a:pt x="3053068" y="200228"/>
                  </a:lnTo>
                  <a:lnTo>
                    <a:pt x="3053068" y="200876"/>
                  </a:lnTo>
                  <a:lnTo>
                    <a:pt x="3053068" y="200228"/>
                  </a:lnTo>
                  <a:lnTo>
                    <a:pt x="3053068" y="200876"/>
                  </a:lnTo>
                  <a:lnTo>
                    <a:pt x="3053068" y="200228"/>
                  </a:lnTo>
                  <a:lnTo>
                    <a:pt x="3053169" y="200228"/>
                  </a:lnTo>
                  <a:lnTo>
                    <a:pt x="3053169" y="200876"/>
                  </a:lnTo>
                  <a:lnTo>
                    <a:pt x="3053169" y="199530"/>
                  </a:lnTo>
                  <a:lnTo>
                    <a:pt x="3053220" y="199530"/>
                  </a:lnTo>
                  <a:lnTo>
                    <a:pt x="3053220" y="200876"/>
                  </a:lnTo>
                  <a:lnTo>
                    <a:pt x="3053220" y="200228"/>
                  </a:lnTo>
                  <a:lnTo>
                    <a:pt x="3053271" y="200228"/>
                  </a:lnTo>
                  <a:lnTo>
                    <a:pt x="3053271" y="199530"/>
                  </a:lnTo>
                  <a:lnTo>
                    <a:pt x="3053271" y="200228"/>
                  </a:lnTo>
                  <a:lnTo>
                    <a:pt x="3053271" y="199530"/>
                  </a:lnTo>
                  <a:lnTo>
                    <a:pt x="3053271" y="200228"/>
                  </a:lnTo>
                  <a:lnTo>
                    <a:pt x="3053271" y="199530"/>
                  </a:lnTo>
                  <a:lnTo>
                    <a:pt x="3053309" y="198831"/>
                  </a:lnTo>
                  <a:lnTo>
                    <a:pt x="3053309" y="199530"/>
                  </a:lnTo>
                  <a:lnTo>
                    <a:pt x="3053309" y="198831"/>
                  </a:lnTo>
                  <a:lnTo>
                    <a:pt x="3053309" y="199530"/>
                  </a:lnTo>
                  <a:lnTo>
                    <a:pt x="3053309" y="198831"/>
                  </a:lnTo>
                  <a:lnTo>
                    <a:pt x="3053411" y="197447"/>
                  </a:lnTo>
                  <a:lnTo>
                    <a:pt x="3053411" y="196113"/>
                  </a:lnTo>
                  <a:lnTo>
                    <a:pt x="3053411" y="197447"/>
                  </a:lnTo>
                  <a:lnTo>
                    <a:pt x="3053462" y="197447"/>
                  </a:lnTo>
                  <a:lnTo>
                    <a:pt x="3053462" y="196799"/>
                  </a:lnTo>
                  <a:lnTo>
                    <a:pt x="3053462" y="197447"/>
                  </a:lnTo>
                  <a:lnTo>
                    <a:pt x="3053462" y="196799"/>
                  </a:lnTo>
                  <a:lnTo>
                    <a:pt x="3053462" y="199530"/>
                  </a:lnTo>
                  <a:lnTo>
                    <a:pt x="3053512" y="199530"/>
                  </a:lnTo>
                  <a:lnTo>
                    <a:pt x="3053512" y="198831"/>
                  </a:lnTo>
                  <a:lnTo>
                    <a:pt x="3053512" y="199530"/>
                  </a:lnTo>
                  <a:lnTo>
                    <a:pt x="3053512" y="197447"/>
                  </a:lnTo>
                  <a:lnTo>
                    <a:pt x="3053512" y="200228"/>
                  </a:lnTo>
                  <a:lnTo>
                    <a:pt x="3053512" y="199530"/>
                  </a:lnTo>
                  <a:lnTo>
                    <a:pt x="3053614" y="199530"/>
                  </a:lnTo>
                  <a:lnTo>
                    <a:pt x="3053614" y="198831"/>
                  </a:lnTo>
                  <a:lnTo>
                    <a:pt x="3053614" y="200228"/>
                  </a:lnTo>
                  <a:lnTo>
                    <a:pt x="3053665" y="200228"/>
                  </a:lnTo>
                  <a:lnTo>
                    <a:pt x="3053665" y="199530"/>
                  </a:lnTo>
                  <a:lnTo>
                    <a:pt x="3053665" y="200228"/>
                  </a:lnTo>
                  <a:lnTo>
                    <a:pt x="3053715" y="200228"/>
                  </a:lnTo>
                  <a:lnTo>
                    <a:pt x="3053715" y="200876"/>
                  </a:lnTo>
                  <a:lnTo>
                    <a:pt x="3053715" y="200228"/>
                  </a:lnTo>
                  <a:lnTo>
                    <a:pt x="3053715" y="200876"/>
                  </a:lnTo>
                  <a:lnTo>
                    <a:pt x="3053715" y="200228"/>
                  </a:lnTo>
                  <a:lnTo>
                    <a:pt x="3053766" y="200228"/>
                  </a:lnTo>
                  <a:lnTo>
                    <a:pt x="3053766" y="200876"/>
                  </a:lnTo>
                  <a:lnTo>
                    <a:pt x="3053766" y="199530"/>
                  </a:lnTo>
                  <a:lnTo>
                    <a:pt x="3053855" y="199530"/>
                  </a:lnTo>
                  <a:lnTo>
                    <a:pt x="3053855" y="200228"/>
                  </a:lnTo>
                  <a:lnTo>
                    <a:pt x="3053855" y="199530"/>
                  </a:lnTo>
                  <a:lnTo>
                    <a:pt x="3053855" y="200228"/>
                  </a:lnTo>
                  <a:lnTo>
                    <a:pt x="3053855" y="198831"/>
                  </a:lnTo>
                  <a:lnTo>
                    <a:pt x="3053906" y="197447"/>
                  </a:lnTo>
                  <a:lnTo>
                    <a:pt x="3053906" y="196799"/>
                  </a:lnTo>
                  <a:lnTo>
                    <a:pt x="3053906" y="197447"/>
                  </a:lnTo>
                  <a:lnTo>
                    <a:pt x="3053906" y="196799"/>
                  </a:lnTo>
                  <a:lnTo>
                    <a:pt x="3053906" y="197447"/>
                  </a:lnTo>
                  <a:lnTo>
                    <a:pt x="3053957" y="197447"/>
                  </a:lnTo>
                  <a:lnTo>
                    <a:pt x="3053957" y="196799"/>
                  </a:lnTo>
                  <a:lnTo>
                    <a:pt x="3053957" y="199530"/>
                  </a:lnTo>
                  <a:lnTo>
                    <a:pt x="3054008" y="199530"/>
                  </a:lnTo>
                  <a:lnTo>
                    <a:pt x="3054008" y="197447"/>
                  </a:lnTo>
                  <a:lnTo>
                    <a:pt x="3054008" y="200228"/>
                  </a:lnTo>
                  <a:lnTo>
                    <a:pt x="3054008" y="198831"/>
                  </a:lnTo>
                  <a:lnTo>
                    <a:pt x="3054109" y="199530"/>
                  </a:lnTo>
                  <a:lnTo>
                    <a:pt x="3054109" y="198831"/>
                  </a:lnTo>
                  <a:lnTo>
                    <a:pt x="3054109" y="199530"/>
                  </a:lnTo>
                  <a:lnTo>
                    <a:pt x="3054109" y="198831"/>
                  </a:lnTo>
                  <a:lnTo>
                    <a:pt x="3054109" y="199530"/>
                  </a:lnTo>
                  <a:lnTo>
                    <a:pt x="3054160" y="199530"/>
                  </a:lnTo>
                  <a:lnTo>
                    <a:pt x="3054160" y="200228"/>
                  </a:lnTo>
                  <a:lnTo>
                    <a:pt x="3054160" y="199530"/>
                  </a:lnTo>
                  <a:lnTo>
                    <a:pt x="3054160" y="200228"/>
                  </a:lnTo>
                  <a:lnTo>
                    <a:pt x="3054160" y="199530"/>
                  </a:lnTo>
                  <a:lnTo>
                    <a:pt x="3054211" y="200228"/>
                  </a:lnTo>
                  <a:lnTo>
                    <a:pt x="3054211" y="200876"/>
                  </a:lnTo>
                  <a:lnTo>
                    <a:pt x="3054211" y="200228"/>
                  </a:lnTo>
                  <a:lnTo>
                    <a:pt x="3054211" y="200876"/>
                  </a:lnTo>
                  <a:lnTo>
                    <a:pt x="3054312" y="200228"/>
                  </a:lnTo>
                  <a:lnTo>
                    <a:pt x="3054312" y="200876"/>
                  </a:lnTo>
                  <a:lnTo>
                    <a:pt x="3054312" y="200228"/>
                  </a:lnTo>
                  <a:lnTo>
                    <a:pt x="3054312" y="200876"/>
                  </a:lnTo>
                  <a:lnTo>
                    <a:pt x="3054312" y="199530"/>
                  </a:lnTo>
                  <a:lnTo>
                    <a:pt x="3054351" y="199530"/>
                  </a:lnTo>
                  <a:lnTo>
                    <a:pt x="3054351" y="198831"/>
                  </a:lnTo>
                  <a:lnTo>
                    <a:pt x="3054351" y="199530"/>
                  </a:lnTo>
                  <a:lnTo>
                    <a:pt x="3054351" y="198831"/>
                  </a:lnTo>
                  <a:lnTo>
                    <a:pt x="3054401" y="198831"/>
                  </a:lnTo>
                  <a:lnTo>
                    <a:pt x="3054401" y="196113"/>
                  </a:lnTo>
                  <a:lnTo>
                    <a:pt x="3054401" y="197447"/>
                  </a:lnTo>
                  <a:lnTo>
                    <a:pt x="3054401" y="196799"/>
                  </a:lnTo>
                  <a:lnTo>
                    <a:pt x="3054452" y="196799"/>
                  </a:lnTo>
                  <a:lnTo>
                    <a:pt x="3054452" y="198831"/>
                  </a:lnTo>
                  <a:lnTo>
                    <a:pt x="3054452" y="197447"/>
                  </a:lnTo>
                  <a:lnTo>
                    <a:pt x="3054554" y="197447"/>
                  </a:lnTo>
                  <a:lnTo>
                    <a:pt x="3054554" y="198831"/>
                  </a:lnTo>
                  <a:lnTo>
                    <a:pt x="3054554" y="197447"/>
                  </a:lnTo>
                  <a:lnTo>
                    <a:pt x="3054554" y="199530"/>
                  </a:lnTo>
                  <a:lnTo>
                    <a:pt x="3054554" y="198831"/>
                  </a:lnTo>
                  <a:lnTo>
                    <a:pt x="3054605" y="198831"/>
                  </a:lnTo>
                  <a:lnTo>
                    <a:pt x="3054605" y="197447"/>
                  </a:lnTo>
                  <a:lnTo>
                    <a:pt x="3054605" y="199530"/>
                  </a:lnTo>
                  <a:lnTo>
                    <a:pt x="3054655" y="199530"/>
                  </a:lnTo>
                  <a:lnTo>
                    <a:pt x="3054655" y="200228"/>
                  </a:lnTo>
                  <a:lnTo>
                    <a:pt x="3054655" y="199530"/>
                  </a:lnTo>
                  <a:lnTo>
                    <a:pt x="3054655" y="200228"/>
                  </a:lnTo>
                  <a:lnTo>
                    <a:pt x="3054655" y="199530"/>
                  </a:lnTo>
                  <a:lnTo>
                    <a:pt x="3054655" y="200228"/>
                  </a:lnTo>
                  <a:lnTo>
                    <a:pt x="3054655" y="199530"/>
                  </a:lnTo>
                  <a:lnTo>
                    <a:pt x="3054655" y="200228"/>
                  </a:lnTo>
                  <a:lnTo>
                    <a:pt x="3054808" y="200228"/>
                  </a:lnTo>
                  <a:lnTo>
                    <a:pt x="3054808" y="199530"/>
                  </a:lnTo>
                  <a:lnTo>
                    <a:pt x="3054808" y="200228"/>
                  </a:lnTo>
                  <a:lnTo>
                    <a:pt x="3054808" y="199530"/>
                  </a:lnTo>
                  <a:lnTo>
                    <a:pt x="3054858" y="199530"/>
                  </a:lnTo>
                  <a:lnTo>
                    <a:pt x="3054858" y="197447"/>
                  </a:lnTo>
                  <a:lnTo>
                    <a:pt x="3054858" y="198831"/>
                  </a:lnTo>
                  <a:lnTo>
                    <a:pt x="3054858" y="197447"/>
                  </a:lnTo>
                  <a:lnTo>
                    <a:pt x="3054897" y="197447"/>
                  </a:lnTo>
                  <a:lnTo>
                    <a:pt x="3054897" y="198831"/>
                  </a:lnTo>
                  <a:lnTo>
                    <a:pt x="3054897" y="196799"/>
                  </a:lnTo>
                  <a:lnTo>
                    <a:pt x="3054897" y="197447"/>
                  </a:lnTo>
                  <a:lnTo>
                    <a:pt x="3054998" y="197447"/>
                  </a:lnTo>
                  <a:lnTo>
                    <a:pt x="3054998" y="199530"/>
                  </a:lnTo>
                  <a:lnTo>
                    <a:pt x="3054998" y="198831"/>
                  </a:lnTo>
                  <a:lnTo>
                    <a:pt x="3054998" y="199530"/>
                  </a:lnTo>
                  <a:lnTo>
                    <a:pt x="3055049" y="199530"/>
                  </a:lnTo>
                  <a:lnTo>
                    <a:pt x="3055049" y="198831"/>
                  </a:lnTo>
                  <a:lnTo>
                    <a:pt x="3055049" y="199530"/>
                  </a:lnTo>
                  <a:lnTo>
                    <a:pt x="3055100" y="199530"/>
                  </a:lnTo>
                  <a:lnTo>
                    <a:pt x="3055100" y="198831"/>
                  </a:lnTo>
                  <a:lnTo>
                    <a:pt x="3055100" y="199530"/>
                  </a:lnTo>
                  <a:lnTo>
                    <a:pt x="3055201" y="199530"/>
                  </a:lnTo>
                  <a:lnTo>
                    <a:pt x="3055201" y="198831"/>
                  </a:lnTo>
                  <a:lnTo>
                    <a:pt x="3055201" y="199530"/>
                  </a:lnTo>
                  <a:lnTo>
                    <a:pt x="3055201" y="198831"/>
                  </a:lnTo>
                  <a:lnTo>
                    <a:pt x="3055201" y="200228"/>
                  </a:lnTo>
                  <a:lnTo>
                    <a:pt x="3055201" y="199530"/>
                  </a:lnTo>
                  <a:lnTo>
                    <a:pt x="3055252" y="199530"/>
                  </a:lnTo>
                  <a:lnTo>
                    <a:pt x="3055252" y="200228"/>
                  </a:lnTo>
                  <a:lnTo>
                    <a:pt x="3055252" y="199530"/>
                  </a:lnTo>
                  <a:lnTo>
                    <a:pt x="3055252" y="200228"/>
                  </a:lnTo>
                  <a:lnTo>
                    <a:pt x="3055252" y="199530"/>
                  </a:lnTo>
                  <a:lnTo>
                    <a:pt x="3055303" y="199530"/>
                  </a:lnTo>
                  <a:lnTo>
                    <a:pt x="3055303" y="198831"/>
                  </a:lnTo>
                  <a:lnTo>
                    <a:pt x="3055354" y="198831"/>
                  </a:lnTo>
                  <a:lnTo>
                    <a:pt x="3055354" y="200228"/>
                  </a:lnTo>
                  <a:lnTo>
                    <a:pt x="3055354" y="199530"/>
                  </a:lnTo>
                  <a:lnTo>
                    <a:pt x="3055354" y="200228"/>
                  </a:lnTo>
                  <a:lnTo>
                    <a:pt x="3055354" y="199530"/>
                  </a:lnTo>
                  <a:lnTo>
                    <a:pt x="3055443" y="200228"/>
                  </a:lnTo>
                  <a:lnTo>
                    <a:pt x="3055443" y="202959"/>
                  </a:lnTo>
                  <a:lnTo>
                    <a:pt x="3055443" y="200876"/>
                  </a:lnTo>
                  <a:lnTo>
                    <a:pt x="3055494" y="200876"/>
                  </a:lnTo>
                  <a:lnTo>
                    <a:pt x="3055494" y="202959"/>
                  </a:lnTo>
                  <a:lnTo>
                    <a:pt x="3055494" y="202260"/>
                  </a:lnTo>
                  <a:lnTo>
                    <a:pt x="3055494" y="202959"/>
                  </a:lnTo>
                  <a:lnTo>
                    <a:pt x="3055494" y="202260"/>
                  </a:lnTo>
                  <a:lnTo>
                    <a:pt x="3055494" y="202959"/>
                  </a:lnTo>
                  <a:lnTo>
                    <a:pt x="3055494" y="202260"/>
                  </a:lnTo>
                  <a:lnTo>
                    <a:pt x="3055697" y="202260"/>
                  </a:lnTo>
                  <a:lnTo>
                    <a:pt x="3055697" y="200876"/>
                  </a:lnTo>
                  <a:lnTo>
                    <a:pt x="3055697" y="202260"/>
                  </a:lnTo>
                  <a:lnTo>
                    <a:pt x="3055697" y="200228"/>
                  </a:lnTo>
                  <a:lnTo>
                    <a:pt x="3055697" y="200876"/>
                  </a:lnTo>
                  <a:lnTo>
                    <a:pt x="3055747" y="202260"/>
                  </a:lnTo>
                  <a:lnTo>
                    <a:pt x="3055747" y="200228"/>
                  </a:lnTo>
                  <a:lnTo>
                    <a:pt x="3055747" y="200876"/>
                  </a:lnTo>
                  <a:lnTo>
                    <a:pt x="3055747" y="200228"/>
                  </a:lnTo>
                  <a:lnTo>
                    <a:pt x="3055747" y="200876"/>
                  </a:lnTo>
                  <a:lnTo>
                    <a:pt x="3055747" y="200228"/>
                  </a:lnTo>
                  <a:lnTo>
                    <a:pt x="3055798" y="200228"/>
                  </a:lnTo>
                  <a:lnTo>
                    <a:pt x="3055798" y="199530"/>
                  </a:lnTo>
                  <a:lnTo>
                    <a:pt x="3055798" y="200876"/>
                  </a:lnTo>
                  <a:lnTo>
                    <a:pt x="3055798" y="200228"/>
                  </a:lnTo>
                  <a:lnTo>
                    <a:pt x="3055900" y="200228"/>
                  </a:lnTo>
                  <a:lnTo>
                    <a:pt x="3055900" y="199530"/>
                  </a:lnTo>
                  <a:lnTo>
                    <a:pt x="3055900" y="203594"/>
                  </a:lnTo>
                  <a:lnTo>
                    <a:pt x="3055900" y="202959"/>
                  </a:lnTo>
                  <a:lnTo>
                    <a:pt x="3055900" y="203594"/>
                  </a:lnTo>
                  <a:lnTo>
                    <a:pt x="3055900" y="202260"/>
                  </a:lnTo>
                  <a:lnTo>
                    <a:pt x="3055938" y="202260"/>
                  </a:lnTo>
                  <a:lnTo>
                    <a:pt x="3055938" y="203594"/>
                  </a:lnTo>
                  <a:lnTo>
                    <a:pt x="3055938" y="202260"/>
                  </a:lnTo>
                  <a:lnTo>
                    <a:pt x="3055938" y="202959"/>
                  </a:lnTo>
                  <a:lnTo>
                    <a:pt x="3055989" y="202959"/>
                  </a:lnTo>
                  <a:lnTo>
                    <a:pt x="3055989" y="203594"/>
                  </a:lnTo>
                  <a:lnTo>
                    <a:pt x="3055989" y="202959"/>
                  </a:lnTo>
                  <a:lnTo>
                    <a:pt x="3055989" y="203594"/>
                  </a:lnTo>
                  <a:lnTo>
                    <a:pt x="3055989" y="202959"/>
                  </a:lnTo>
                  <a:lnTo>
                    <a:pt x="3056040" y="203594"/>
                  </a:lnTo>
                  <a:lnTo>
                    <a:pt x="3056040" y="202959"/>
                  </a:lnTo>
                  <a:lnTo>
                    <a:pt x="3056040" y="203594"/>
                  </a:lnTo>
                  <a:lnTo>
                    <a:pt x="3056040" y="202959"/>
                  </a:lnTo>
                  <a:lnTo>
                    <a:pt x="3056040" y="203594"/>
                  </a:lnTo>
                  <a:lnTo>
                    <a:pt x="3056040" y="202959"/>
                  </a:lnTo>
                  <a:lnTo>
                    <a:pt x="3056040" y="203594"/>
                  </a:lnTo>
                  <a:lnTo>
                    <a:pt x="3056040" y="202959"/>
                  </a:lnTo>
                  <a:lnTo>
                    <a:pt x="3056141" y="202959"/>
                  </a:lnTo>
                  <a:lnTo>
                    <a:pt x="3056141" y="203594"/>
                  </a:lnTo>
                  <a:lnTo>
                    <a:pt x="3056141" y="202260"/>
                  </a:lnTo>
                  <a:lnTo>
                    <a:pt x="3056141" y="202959"/>
                  </a:lnTo>
                  <a:lnTo>
                    <a:pt x="3056192" y="202260"/>
                  </a:lnTo>
                  <a:lnTo>
                    <a:pt x="3056192" y="202959"/>
                  </a:lnTo>
                  <a:lnTo>
                    <a:pt x="3056192" y="200876"/>
                  </a:lnTo>
                  <a:lnTo>
                    <a:pt x="3056192" y="202260"/>
                  </a:lnTo>
                  <a:lnTo>
                    <a:pt x="3056192" y="200228"/>
                  </a:lnTo>
                  <a:lnTo>
                    <a:pt x="3056243" y="200228"/>
                  </a:lnTo>
                  <a:lnTo>
                    <a:pt x="3056243" y="199530"/>
                  </a:lnTo>
                  <a:lnTo>
                    <a:pt x="3056243" y="200228"/>
                  </a:lnTo>
                  <a:lnTo>
                    <a:pt x="3056243" y="198831"/>
                  </a:lnTo>
                  <a:lnTo>
                    <a:pt x="3056344" y="198831"/>
                  </a:lnTo>
                  <a:lnTo>
                    <a:pt x="3056344" y="199530"/>
                  </a:lnTo>
                  <a:lnTo>
                    <a:pt x="3056344" y="198831"/>
                  </a:lnTo>
                  <a:lnTo>
                    <a:pt x="3056344" y="199530"/>
                  </a:lnTo>
                  <a:lnTo>
                    <a:pt x="3056344" y="198831"/>
                  </a:lnTo>
                  <a:lnTo>
                    <a:pt x="3056395" y="199530"/>
                  </a:lnTo>
                  <a:lnTo>
                    <a:pt x="3056395" y="202260"/>
                  </a:lnTo>
                  <a:lnTo>
                    <a:pt x="3056395" y="199530"/>
                  </a:lnTo>
                  <a:lnTo>
                    <a:pt x="3056395" y="200876"/>
                  </a:lnTo>
                  <a:lnTo>
                    <a:pt x="3056446" y="200876"/>
                  </a:lnTo>
                  <a:lnTo>
                    <a:pt x="3056446" y="202260"/>
                  </a:lnTo>
                  <a:lnTo>
                    <a:pt x="3056446" y="200876"/>
                  </a:lnTo>
                  <a:lnTo>
                    <a:pt x="3056484" y="202260"/>
                  </a:lnTo>
                  <a:lnTo>
                    <a:pt x="3056484" y="200876"/>
                  </a:lnTo>
                  <a:lnTo>
                    <a:pt x="3056484" y="202260"/>
                  </a:lnTo>
                  <a:lnTo>
                    <a:pt x="3056484" y="200876"/>
                  </a:lnTo>
                  <a:lnTo>
                    <a:pt x="3056484" y="202260"/>
                  </a:lnTo>
                  <a:lnTo>
                    <a:pt x="3056637" y="202260"/>
                  </a:lnTo>
                  <a:lnTo>
                    <a:pt x="3056637" y="202959"/>
                  </a:lnTo>
                  <a:lnTo>
                    <a:pt x="3056637" y="202260"/>
                  </a:lnTo>
                  <a:lnTo>
                    <a:pt x="3056637" y="202959"/>
                  </a:lnTo>
                  <a:lnTo>
                    <a:pt x="3056637" y="202260"/>
                  </a:lnTo>
                  <a:lnTo>
                    <a:pt x="3056637" y="202959"/>
                  </a:lnTo>
                  <a:lnTo>
                    <a:pt x="3056637" y="202260"/>
                  </a:lnTo>
                  <a:lnTo>
                    <a:pt x="3056687" y="202260"/>
                  </a:lnTo>
                  <a:lnTo>
                    <a:pt x="3056687" y="200876"/>
                  </a:lnTo>
                  <a:lnTo>
                    <a:pt x="3056687" y="202260"/>
                  </a:lnTo>
                  <a:lnTo>
                    <a:pt x="3056687" y="200228"/>
                  </a:lnTo>
                  <a:lnTo>
                    <a:pt x="3056687" y="200876"/>
                  </a:lnTo>
                  <a:lnTo>
                    <a:pt x="3056789" y="200876"/>
                  </a:lnTo>
                  <a:lnTo>
                    <a:pt x="3056789" y="198831"/>
                  </a:lnTo>
                  <a:lnTo>
                    <a:pt x="3056789" y="199530"/>
                  </a:lnTo>
                  <a:lnTo>
                    <a:pt x="3056789" y="198831"/>
                  </a:lnTo>
                  <a:lnTo>
                    <a:pt x="3056789" y="199530"/>
                  </a:lnTo>
                  <a:lnTo>
                    <a:pt x="3056840" y="199530"/>
                  </a:lnTo>
                  <a:lnTo>
                    <a:pt x="3056840" y="197447"/>
                  </a:lnTo>
                  <a:lnTo>
                    <a:pt x="3056840" y="200876"/>
                  </a:lnTo>
                  <a:lnTo>
                    <a:pt x="3056890" y="200876"/>
                  </a:lnTo>
                  <a:lnTo>
                    <a:pt x="3056890" y="199530"/>
                  </a:lnTo>
                  <a:lnTo>
                    <a:pt x="3056890" y="200228"/>
                  </a:lnTo>
                  <a:lnTo>
                    <a:pt x="3056890" y="199530"/>
                  </a:lnTo>
                  <a:lnTo>
                    <a:pt x="3056890" y="200876"/>
                  </a:lnTo>
                  <a:lnTo>
                    <a:pt x="3056941" y="200228"/>
                  </a:lnTo>
                  <a:lnTo>
                    <a:pt x="3056941" y="200876"/>
                  </a:lnTo>
                  <a:lnTo>
                    <a:pt x="3056941" y="199530"/>
                  </a:lnTo>
                  <a:lnTo>
                    <a:pt x="3056941" y="200228"/>
                  </a:lnTo>
                  <a:lnTo>
                    <a:pt x="3056941" y="199530"/>
                  </a:lnTo>
                  <a:lnTo>
                    <a:pt x="3056941" y="200876"/>
                  </a:lnTo>
                  <a:lnTo>
                    <a:pt x="3057030" y="200876"/>
                  </a:lnTo>
                  <a:lnTo>
                    <a:pt x="3057030" y="202260"/>
                  </a:lnTo>
                  <a:lnTo>
                    <a:pt x="3057030" y="200876"/>
                  </a:lnTo>
                  <a:lnTo>
                    <a:pt x="3057081" y="200876"/>
                  </a:lnTo>
                  <a:lnTo>
                    <a:pt x="3057081" y="202260"/>
                  </a:lnTo>
                  <a:lnTo>
                    <a:pt x="3057081" y="200876"/>
                  </a:lnTo>
                  <a:lnTo>
                    <a:pt x="3057081" y="202260"/>
                  </a:lnTo>
                  <a:lnTo>
                    <a:pt x="3057081" y="200876"/>
                  </a:lnTo>
                  <a:lnTo>
                    <a:pt x="3057132" y="200876"/>
                  </a:lnTo>
                  <a:lnTo>
                    <a:pt x="3057132" y="202260"/>
                  </a:lnTo>
                  <a:lnTo>
                    <a:pt x="3057132" y="200876"/>
                  </a:lnTo>
                  <a:lnTo>
                    <a:pt x="3057132" y="202260"/>
                  </a:lnTo>
                  <a:lnTo>
                    <a:pt x="3057132" y="200228"/>
                  </a:lnTo>
                  <a:lnTo>
                    <a:pt x="3057183" y="200228"/>
                  </a:lnTo>
                  <a:lnTo>
                    <a:pt x="3057183" y="199530"/>
                  </a:lnTo>
                  <a:lnTo>
                    <a:pt x="3057284" y="199530"/>
                  </a:lnTo>
                  <a:lnTo>
                    <a:pt x="3057284" y="196799"/>
                  </a:lnTo>
                  <a:lnTo>
                    <a:pt x="3057284" y="197447"/>
                  </a:lnTo>
                  <a:lnTo>
                    <a:pt x="3057284" y="196113"/>
                  </a:lnTo>
                  <a:lnTo>
                    <a:pt x="3057284" y="196799"/>
                  </a:lnTo>
                  <a:lnTo>
                    <a:pt x="3057335" y="196113"/>
                  </a:lnTo>
                  <a:lnTo>
                    <a:pt x="3057335" y="196799"/>
                  </a:lnTo>
                  <a:lnTo>
                    <a:pt x="3057335" y="196113"/>
                  </a:lnTo>
                  <a:lnTo>
                    <a:pt x="3057386" y="196113"/>
                  </a:lnTo>
                  <a:lnTo>
                    <a:pt x="3057386" y="198831"/>
                  </a:lnTo>
                  <a:lnTo>
                    <a:pt x="3057386" y="197447"/>
                  </a:lnTo>
                  <a:lnTo>
                    <a:pt x="3057487" y="197447"/>
                  </a:lnTo>
                  <a:lnTo>
                    <a:pt x="3057487" y="198831"/>
                  </a:lnTo>
                  <a:lnTo>
                    <a:pt x="3057526" y="198831"/>
                  </a:lnTo>
                  <a:lnTo>
                    <a:pt x="3057526" y="197447"/>
                  </a:lnTo>
                  <a:lnTo>
                    <a:pt x="3057526" y="199530"/>
                  </a:lnTo>
                  <a:lnTo>
                    <a:pt x="3057576" y="199530"/>
                  </a:lnTo>
                  <a:lnTo>
                    <a:pt x="3057576" y="200228"/>
                  </a:lnTo>
                  <a:lnTo>
                    <a:pt x="3057576" y="199530"/>
                  </a:lnTo>
                  <a:lnTo>
                    <a:pt x="3057576" y="200876"/>
                  </a:lnTo>
                  <a:lnTo>
                    <a:pt x="3057627" y="200876"/>
                  </a:lnTo>
                  <a:lnTo>
                    <a:pt x="3057627" y="200228"/>
                  </a:lnTo>
                  <a:lnTo>
                    <a:pt x="3057627" y="200876"/>
                  </a:lnTo>
                  <a:lnTo>
                    <a:pt x="3057627" y="200228"/>
                  </a:lnTo>
                  <a:lnTo>
                    <a:pt x="3057729" y="200876"/>
                  </a:lnTo>
                  <a:lnTo>
                    <a:pt x="3057729" y="199530"/>
                  </a:lnTo>
                  <a:lnTo>
                    <a:pt x="3057729" y="200228"/>
                  </a:lnTo>
                  <a:lnTo>
                    <a:pt x="3057780" y="200228"/>
                  </a:lnTo>
                  <a:lnTo>
                    <a:pt x="3057780" y="196799"/>
                  </a:lnTo>
                  <a:lnTo>
                    <a:pt x="3057830" y="196113"/>
                  </a:lnTo>
                  <a:lnTo>
                    <a:pt x="3057830" y="195415"/>
                  </a:lnTo>
                  <a:lnTo>
                    <a:pt x="3057830" y="196113"/>
                  </a:lnTo>
                  <a:lnTo>
                    <a:pt x="3057830" y="195415"/>
                  </a:lnTo>
                  <a:lnTo>
                    <a:pt x="3057932" y="195415"/>
                  </a:lnTo>
                  <a:lnTo>
                    <a:pt x="3057932" y="194716"/>
                  </a:lnTo>
                  <a:lnTo>
                    <a:pt x="3057932" y="197447"/>
                  </a:lnTo>
                  <a:lnTo>
                    <a:pt x="3057932" y="195415"/>
                  </a:lnTo>
                  <a:lnTo>
                    <a:pt x="3057983" y="195415"/>
                  </a:lnTo>
                  <a:lnTo>
                    <a:pt x="3057983" y="197447"/>
                  </a:lnTo>
                  <a:lnTo>
                    <a:pt x="3057983" y="196113"/>
                  </a:lnTo>
                  <a:lnTo>
                    <a:pt x="3058033" y="196113"/>
                  </a:lnTo>
                  <a:lnTo>
                    <a:pt x="3058033" y="197447"/>
                  </a:lnTo>
                  <a:lnTo>
                    <a:pt x="3058033" y="196799"/>
                  </a:lnTo>
                  <a:lnTo>
                    <a:pt x="3058033" y="197447"/>
                  </a:lnTo>
                  <a:lnTo>
                    <a:pt x="3058033" y="196799"/>
                  </a:lnTo>
                  <a:lnTo>
                    <a:pt x="3058072" y="196799"/>
                  </a:lnTo>
                  <a:lnTo>
                    <a:pt x="3058072" y="198831"/>
                  </a:lnTo>
                  <a:lnTo>
                    <a:pt x="3058072" y="197447"/>
                  </a:lnTo>
                  <a:lnTo>
                    <a:pt x="3058072" y="199530"/>
                  </a:lnTo>
                  <a:lnTo>
                    <a:pt x="3058173" y="199530"/>
                  </a:lnTo>
                  <a:lnTo>
                    <a:pt x="3058173" y="200228"/>
                  </a:lnTo>
                  <a:lnTo>
                    <a:pt x="3058173" y="198831"/>
                  </a:lnTo>
                  <a:lnTo>
                    <a:pt x="3058173" y="199530"/>
                  </a:lnTo>
                  <a:lnTo>
                    <a:pt x="3058173" y="198831"/>
                  </a:lnTo>
                  <a:lnTo>
                    <a:pt x="3058173" y="199530"/>
                  </a:lnTo>
                  <a:lnTo>
                    <a:pt x="3058224" y="199530"/>
                  </a:lnTo>
                  <a:lnTo>
                    <a:pt x="3058224" y="198831"/>
                  </a:lnTo>
                  <a:lnTo>
                    <a:pt x="3058224" y="199530"/>
                  </a:lnTo>
                  <a:lnTo>
                    <a:pt x="3058224" y="198831"/>
                  </a:lnTo>
                  <a:lnTo>
                    <a:pt x="3058275" y="198831"/>
                  </a:lnTo>
                  <a:lnTo>
                    <a:pt x="3058275" y="197447"/>
                  </a:lnTo>
                  <a:lnTo>
                    <a:pt x="3058275" y="198831"/>
                  </a:lnTo>
                  <a:lnTo>
                    <a:pt x="3058275" y="196113"/>
                  </a:lnTo>
                  <a:lnTo>
                    <a:pt x="3058275" y="196799"/>
                  </a:lnTo>
                  <a:lnTo>
                    <a:pt x="3058376" y="196113"/>
                  </a:lnTo>
                  <a:lnTo>
                    <a:pt x="3058376" y="196799"/>
                  </a:lnTo>
                  <a:lnTo>
                    <a:pt x="3058376" y="196113"/>
                  </a:lnTo>
                  <a:lnTo>
                    <a:pt x="3058376" y="197447"/>
                  </a:lnTo>
                  <a:lnTo>
                    <a:pt x="3058376" y="196799"/>
                  </a:lnTo>
                  <a:lnTo>
                    <a:pt x="3058376" y="197447"/>
                  </a:lnTo>
                  <a:lnTo>
                    <a:pt x="3058376" y="196113"/>
                  </a:lnTo>
                  <a:lnTo>
                    <a:pt x="3058427" y="196113"/>
                  </a:lnTo>
                  <a:lnTo>
                    <a:pt x="3058427" y="199530"/>
                  </a:lnTo>
                  <a:lnTo>
                    <a:pt x="3058427" y="196799"/>
                  </a:lnTo>
                  <a:lnTo>
                    <a:pt x="3058427" y="197447"/>
                  </a:lnTo>
                  <a:lnTo>
                    <a:pt x="3058427" y="196113"/>
                  </a:lnTo>
                  <a:lnTo>
                    <a:pt x="3058427" y="196799"/>
                  </a:lnTo>
                  <a:lnTo>
                    <a:pt x="3058478" y="196113"/>
                  </a:lnTo>
                  <a:lnTo>
                    <a:pt x="3058478" y="198831"/>
                  </a:lnTo>
                  <a:lnTo>
                    <a:pt x="3058478" y="196799"/>
                  </a:lnTo>
                  <a:lnTo>
                    <a:pt x="3058529" y="196799"/>
                  </a:lnTo>
                  <a:lnTo>
                    <a:pt x="3058529" y="197447"/>
                  </a:lnTo>
                  <a:lnTo>
                    <a:pt x="3058529" y="196799"/>
                  </a:lnTo>
                  <a:lnTo>
                    <a:pt x="3058529" y="197447"/>
                  </a:lnTo>
                  <a:lnTo>
                    <a:pt x="3058529" y="196799"/>
                  </a:lnTo>
                  <a:lnTo>
                    <a:pt x="3058529" y="197447"/>
                  </a:lnTo>
                  <a:lnTo>
                    <a:pt x="3058618" y="197447"/>
                  </a:lnTo>
                  <a:lnTo>
                    <a:pt x="3058618" y="198831"/>
                  </a:lnTo>
                  <a:lnTo>
                    <a:pt x="3058618" y="197447"/>
                  </a:lnTo>
                  <a:lnTo>
                    <a:pt x="3058618" y="198831"/>
                  </a:lnTo>
                  <a:lnTo>
                    <a:pt x="3058669" y="198831"/>
                  </a:lnTo>
                  <a:lnTo>
                    <a:pt x="3058669" y="200228"/>
                  </a:lnTo>
                  <a:lnTo>
                    <a:pt x="3058669" y="199530"/>
                  </a:lnTo>
                  <a:lnTo>
                    <a:pt x="3058669" y="200228"/>
                  </a:lnTo>
                  <a:lnTo>
                    <a:pt x="3058669" y="199530"/>
                  </a:lnTo>
                  <a:lnTo>
                    <a:pt x="3058669" y="200228"/>
                  </a:lnTo>
                  <a:lnTo>
                    <a:pt x="3058669" y="198831"/>
                  </a:lnTo>
                  <a:lnTo>
                    <a:pt x="3058669" y="199530"/>
                  </a:lnTo>
                  <a:lnTo>
                    <a:pt x="3058719" y="199530"/>
                  </a:lnTo>
                  <a:lnTo>
                    <a:pt x="3058719" y="198831"/>
                  </a:lnTo>
                  <a:lnTo>
                    <a:pt x="3058719" y="199530"/>
                  </a:lnTo>
                  <a:lnTo>
                    <a:pt x="3058719" y="198831"/>
                  </a:lnTo>
                  <a:lnTo>
                    <a:pt x="3058719" y="199530"/>
                  </a:lnTo>
                  <a:lnTo>
                    <a:pt x="3058770" y="199530"/>
                  </a:lnTo>
                  <a:lnTo>
                    <a:pt x="3058770" y="196799"/>
                  </a:lnTo>
                  <a:lnTo>
                    <a:pt x="3058872" y="196799"/>
                  </a:lnTo>
                  <a:lnTo>
                    <a:pt x="3058872" y="196113"/>
                  </a:lnTo>
                  <a:lnTo>
                    <a:pt x="3058872" y="196799"/>
                  </a:lnTo>
                  <a:lnTo>
                    <a:pt x="3058872" y="196113"/>
                  </a:lnTo>
                  <a:lnTo>
                    <a:pt x="3058872" y="196799"/>
                  </a:lnTo>
                  <a:lnTo>
                    <a:pt x="3058922" y="196799"/>
                  </a:lnTo>
                  <a:lnTo>
                    <a:pt x="3058922" y="196113"/>
                  </a:lnTo>
                  <a:lnTo>
                    <a:pt x="3058922" y="198831"/>
                  </a:lnTo>
                  <a:lnTo>
                    <a:pt x="3058922" y="197447"/>
                  </a:lnTo>
                  <a:lnTo>
                    <a:pt x="3058922" y="198831"/>
                  </a:lnTo>
                  <a:lnTo>
                    <a:pt x="3058922" y="197447"/>
                  </a:lnTo>
                  <a:lnTo>
                    <a:pt x="3058973" y="197447"/>
                  </a:lnTo>
                  <a:lnTo>
                    <a:pt x="3058973" y="196799"/>
                  </a:lnTo>
                  <a:lnTo>
                    <a:pt x="3058973" y="197447"/>
                  </a:lnTo>
                  <a:lnTo>
                    <a:pt x="3058973" y="196799"/>
                  </a:lnTo>
                  <a:lnTo>
                    <a:pt x="3058973" y="198831"/>
                  </a:lnTo>
                  <a:lnTo>
                    <a:pt x="3058973" y="197447"/>
                  </a:lnTo>
                  <a:lnTo>
                    <a:pt x="3059075" y="197447"/>
                  </a:lnTo>
                  <a:lnTo>
                    <a:pt x="3059075" y="198831"/>
                  </a:lnTo>
                  <a:lnTo>
                    <a:pt x="3059075" y="197447"/>
                  </a:lnTo>
                  <a:lnTo>
                    <a:pt x="3059075" y="198831"/>
                  </a:lnTo>
                  <a:lnTo>
                    <a:pt x="3059113" y="198831"/>
                  </a:lnTo>
                  <a:lnTo>
                    <a:pt x="3059113" y="197447"/>
                  </a:lnTo>
                  <a:lnTo>
                    <a:pt x="3059113" y="198831"/>
                  </a:lnTo>
                  <a:lnTo>
                    <a:pt x="3059113" y="197447"/>
                  </a:lnTo>
                  <a:lnTo>
                    <a:pt x="3059113" y="198831"/>
                  </a:lnTo>
                  <a:lnTo>
                    <a:pt x="3059113" y="197447"/>
                  </a:lnTo>
                  <a:lnTo>
                    <a:pt x="3059113" y="198831"/>
                  </a:lnTo>
                  <a:lnTo>
                    <a:pt x="3059164" y="198831"/>
                  </a:lnTo>
                  <a:lnTo>
                    <a:pt x="3059164" y="199530"/>
                  </a:lnTo>
                  <a:lnTo>
                    <a:pt x="3059164" y="198831"/>
                  </a:lnTo>
                  <a:lnTo>
                    <a:pt x="3059215" y="197447"/>
                  </a:lnTo>
                  <a:lnTo>
                    <a:pt x="3059215" y="198831"/>
                  </a:lnTo>
                  <a:lnTo>
                    <a:pt x="3059215" y="197447"/>
                  </a:lnTo>
                  <a:lnTo>
                    <a:pt x="3059215" y="198831"/>
                  </a:lnTo>
                  <a:lnTo>
                    <a:pt x="3059215" y="197447"/>
                  </a:lnTo>
                  <a:lnTo>
                    <a:pt x="3059215" y="198831"/>
                  </a:lnTo>
                  <a:lnTo>
                    <a:pt x="3059215" y="197447"/>
                  </a:lnTo>
                  <a:lnTo>
                    <a:pt x="3059215" y="198831"/>
                  </a:lnTo>
                  <a:lnTo>
                    <a:pt x="3059215" y="197447"/>
                  </a:lnTo>
                  <a:lnTo>
                    <a:pt x="3059215" y="198831"/>
                  </a:lnTo>
                  <a:lnTo>
                    <a:pt x="3059316" y="197447"/>
                  </a:lnTo>
                  <a:lnTo>
                    <a:pt x="3059316" y="198831"/>
                  </a:lnTo>
                  <a:lnTo>
                    <a:pt x="3059316" y="196113"/>
                  </a:lnTo>
                  <a:lnTo>
                    <a:pt x="3059367" y="196113"/>
                  </a:lnTo>
                  <a:lnTo>
                    <a:pt x="3059367" y="197447"/>
                  </a:lnTo>
                  <a:lnTo>
                    <a:pt x="3059367" y="196799"/>
                  </a:lnTo>
                  <a:lnTo>
                    <a:pt x="3059367" y="197447"/>
                  </a:lnTo>
                  <a:lnTo>
                    <a:pt x="3059367" y="196799"/>
                  </a:lnTo>
                  <a:lnTo>
                    <a:pt x="3059418" y="196799"/>
                  </a:lnTo>
                  <a:lnTo>
                    <a:pt x="3059418" y="199530"/>
                  </a:lnTo>
                  <a:lnTo>
                    <a:pt x="3059418" y="197447"/>
                  </a:lnTo>
                  <a:lnTo>
                    <a:pt x="3059519" y="197447"/>
                  </a:lnTo>
                  <a:lnTo>
                    <a:pt x="3059519" y="198831"/>
                  </a:lnTo>
                  <a:lnTo>
                    <a:pt x="3059570" y="198831"/>
                  </a:lnTo>
                  <a:lnTo>
                    <a:pt x="3059570" y="199530"/>
                  </a:lnTo>
                  <a:lnTo>
                    <a:pt x="3059570" y="198831"/>
                  </a:lnTo>
                  <a:lnTo>
                    <a:pt x="3059570" y="199530"/>
                  </a:lnTo>
                  <a:lnTo>
                    <a:pt x="3059570" y="198831"/>
                  </a:lnTo>
                  <a:lnTo>
                    <a:pt x="3059570" y="199530"/>
                  </a:lnTo>
                  <a:lnTo>
                    <a:pt x="3059621" y="199530"/>
                  </a:lnTo>
                  <a:lnTo>
                    <a:pt x="3059621" y="198831"/>
                  </a:lnTo>
                  <a:lnTo>
                    <a:pt x="3059621" y="200228"/>
                  </a:lnTo>
                  <a:lnTo>
                    <a:pt x="3059621" y="199530"/>
                  </a:lnTo>
                  <a:lnTo>
                    <a:pt x="3059659" y="199530"/>
                  </a:lnTo>
                  <a:lnTo>
                    <a:pt x="3059659" y="200228"/>
                  </a:lnTo>
                  <a:lnTo>
                    <a:pt x="3059659" y="199530"/>
                  </a:lnTo>
                  <a:lnTo>
                    <a:pt x="3059659" y="200228"/>
                  </a:lnTo>
                  <a:lnTo>
                    <a:pt x="3059659" y="198831"/>
                  </a:lnTo>
                  <a:lnTo>
                    <a:pt x="3059659" y="199530"/>
                  </a:lnTo>
                  <a:lnTo>
                    <a:pt x="3059761" y="199530"/>
                  </a:lnTo>
                  <a:lnTo>
                    <a:pt x="3059761" y="198831"/>
                  </a:lnTo>
                  <a:lnTo>
                    <a:pt x="3059761" y="199530"/>
                  </a:lnTo>
                  <a:lnTo>
                    <a:pt x="3059761" y="198831"/>
                  </a:lnTo>
                  <a:lnTo>
                    <a:pt x="3059812" y="198831"/>
                  </a:lnTo>
                  <a:lnTo>
                    <a:pt x="3059812" y="196799"/>
                  </a:lnTo>
                  <a:lnTo>
                    <a:pt x="3059812" y="197447"/>
                  </a:lnTo>
                  <a:lnTo>
                    <a:pt x="3059812" y="196113"/>
                  </a:lnTo>
                  <a:lnTo>
                    <a:pt x="3059812" y="197447"/>
                  </a:lnTo>
                  <a:lnTo>
                    <a:pt x="3059812" y="196799"/>
                  </a:lnTo>
                  <a:lnTo>
                    <a:pt x="3059812" y="197447"/>
                  </a:lnTo>
                  <a:lnTo>
                    <a:pt x="3059862" y="197447"/>
                  </a:lnTo>
                  <a:lnTo>
                    <a:pt x="3059862" y="198831"/>
                  </a:lnTo>
                  <a:lnTo>
                    <a:pt x="3059862" y="197447"/>
                  </a:lnTo>
                  <a:lnTo>
                    <a:pt x="3059862" y="198831"/>
                  </a:lnTo>
                  <a:lnTo>
                    <a:pt x="3059862" y="197447"/>
                  </a:lnTo>
                  <a:lnTo>
                    <a:pt x="3059862" y="198831"/>
                  </a:lnTo>
                  <a:lnTo>
                    <a:pt x="3059862" y="196799"/>
                  </a:lnTo>
                  <a:lnTo>
                    <a:pt x="3059862" y="199530"/>
                  </a:lnTo>
                  <a:lnTo>
                    <a:pt x="3059964" y="199530"/>
                  </a:lnTo>
                  <a:lnTo>
                    <a:pt x="3059964" y="198831"/>
                  </a:lnTo>
                  <a:lnTo>
                    <a:pt x="3059964" y="200228"/>
                  </a:lnTo>
                  <a:lnTo>
                    <a:pt x="3060015" y="199530"/>
                  </a:lnTo>
                  <a:lnTo>
                    <a:pt x="3060015" y="200228"/>
                  </a:lnTo>
                  <a:lnTo>
                    <a:pt x="3060015" y="199530"/>
                  </a:lnTo>
                  <a:lnTo>
                    <a:pt x="3060015" y="200228"/>
                  </a:lnTo>
                  <a:lnTo>
                    <a:pt x="3060116" y="200228"/>
                  </a:lnTo>
                  <a:lnTo>
                    <a:pt x="3060116" y="199530"/>
                  </a:lnTo>
                  <a:lnTo>
                    <a:pt x="3060116" y="200876"/>
                  </a:lnTo>
                  <a:lnTo>
                    <a:pt x="3060116" y="200228"/>
                  </a:lnTo>
                  <a:lnTo>
                    <a:pt x="3060205" y="200228"/>
                  </a:lnTo>
                  <a:lnTo>
                    <a:pt x="3060205" y="199530"/>
                  </a:lnTo>
                  <a:lnTo>
                    <a:pt x="3060205" y="200228"/>
                  </a:lnTo>
                  <a:lnTo>
                    <a:pt x="3060205" y="199530"/>
                  </a:lnTo>
                  <a:lnTo>
                    <a:pt x="3060205" y="200228"/>
                  </a:lnTo>
                  <a:lnTo>
                    <a:pt x="3060205" y="199530"/>
                  </a:lnTo>
                  <a:lnTo>
                    <a:pt x="3060205" y="200228"/>
                  </a:lnTo>
                  <a:lnTo>
                    <a:pt x="3060205" y="198831"/>
                  </a:lnTo>
                  <a:lnTo>
                    <a:pt x="3060256" y="198831"/>
                  </a:lnTo>
                  <a:lnTo>
                    <a:pt x="3060256" y="197447"/>
                  </a:lnTo>
                  <a:lnTo>
                    <a:pt x="3060307" y="197447"/>
                  </a:lnTo>
                  <a:lnTo>
                    <a:pt x="3060307" y="196799"/>
                  </a:lnTo>
                  <a:lnTo>
                    <a:pt x="3060358" y="196799"/>
                  </a:lnTo>
                  <a:lnTo>
                    <a:pt x="3060358" y="197447"/>
                  </a:lnTo>
                  <a:lnTo>
                    <a:pt x="3060358" y="196799"/>
                  </a:lnTo>
                  <a:lnTo>
                    <a:pt x="3060358" y="199530"/>
                  </a:lnTo>
                  <a:lnTo>
                    <a:pt x="3060459" y="199530"/>
                  </a:lnTo>
                  <a:lnTo>
                    <a:pt x="3060459" y="198831"/>
                  </a:lnTo>
                  <a:lnTo>
                    <a:pt x="3060459" y="199530"/>
                  </a:lnTo>
                  <a:lnTo>
                    <a:pt x="3060459" y="197447"/>
                  </a:lnTo>
                  <a:lnTo>
                    <a:pt x="3060459" y="199530"/>
                  </a:lnTo>
                  <a:lnTo>
                    <a:pt x="3060510" y="199530"/>
                  </a:lnTo>
                  <a:lnTo>
                    <a:pt x="3060510" y="198831"/>
                  </a:lnTo>
                  <a:lnTo>
                    <a:pt x="3060510" y="199530"/>
                  </a:lnTo>
                  <a:lnTo>
                    <a:pt x="3060510" y="198831"/>
                  </a:lnTo>
                  <a:lnTo>
                    <a:pt x="3060510" y="199530"/>
                  </a:lnTo>
                  <a:lnTo>
                    <a:pt x="3060561" y="199530"/>
                  </a:lnTo>
                  <a:lnTo>
                    <a:pt x="3060561" y="200228"/>
                  </a:lnTo>
                  <a:lnTo>
                    <a:pt x="3060561" y="199530"/>
                  </a:lnTo>
                  <a:lnTo>
                    <a:pt x="3060561" y="200228"/>
                  </a:lnTo>
                  <a:lnTo>
                    <a:pt x="3060561" y="199530"/>
                  </a:lnTo>
                  <a:lnTo>
                    <a:pt x="3060561" y="200228"/>
                  </a:lnTo>
                  <a:lnTo>
                    <a:pt x="3060561" y="199530"/>
                  </a:lnTo>
                  <a:lnTo>
                    <a:pt x="3060662" y="199530"/>
                  </a:lnTo>
                  <a:lnTo>
                    <a:pt x="3060662" y="200228"/>
                  </a:lnTo>
                  <a:lnTo>
                    <a:pt x="3060662" y="199530"/>
                  </a:lnTo>
                  <a:lnTo>
                    <a:pt x="3060662" y="200876"/>
                  </a:lnTo>
                  <a:lnTo>
                    <a:pt x="3060701" y="200228"/>
                  </a:lnTo>
                  <a:lnTo>
                    <a:pt x="3060701" y="199530"/>
                  </a:lnTo>
                  <a:lnTo>
                    <a:pt x="3060701" y="200228"/>
                  </a:lnTo>
                  <a:lnTo>
                    <a:pt x="3060701" y="199530"/>
                  </a:lnTo>
                  <a:lnTo>
                    <a:pt x="3060751" y="199530"/>
                  </a:lnTo>
                  <a:lnTo>
                    <a:pt x="3060751" y="200228"/>
                  </a:lnTo>
                  <a:lnTo>
                    <a:pt x="3060751" y="198831"/>
                  </a:lnTo>
                  <a:lnTo>
                    <a:pt x="3060751" y="199530"/>
                  </a:lnTo>
                  <a:lnTo>
                    <a:pt x="3060751" y="197447"/>
                  </a:lnTo>
                  <a:lnTo>
                    <a:pt x="3060751" y="198831"/>
                  </a:lnTo>
                  <a:lnTo>
                    <a:pt x="3060751" y="197447"/>
                  </a:lnTo>
                  <a:lnTo>
                    <a:pt x="3060802" y="197447"/>
                  </a:lnTo>
                  <a:lnTo>
                    <a:pt x="3060802" y="196113"/>
                  </a:lnTo>
                  <a:lnTo>
                    <a:pt x="3060802" y="197447"/>
                  </a:lnTo>
                  <a:lnTo>
                    <a:pt x="3060802" y="196799"/>
                  </a:lnTo>
                  <a:lnTo>
                    <a:pt x="3060904" y="197447"/>
                  </a:lnTo>
                  <a:lnTo>
                    <a:pt x="3060904" y="195415"/>
                  </a:lnTo>
                  <a:lnTo>
                    <a:pt x="3060904" y="198831"/>
                  </a:lnTo>
                  <a:lnTo>
                    <a:pt x="3060955" y="198831"/>
                  </a:lnTo>
                  <a:lnTo>
                    <a:pt x="3060955" y="196799"/>
                  </a:lnTo>
                  <a:lnTo>
                    <a:pt x="3060955" y="198831"/>
                  </a:lnTo>
                  <a:lnTo>
                    <a:pt x="3060955" y="197447"/>
                  </a:lnTo>
                  <a:lnTo>
                    <a:pt x="3060955" y="198831"/>
                  </a:lnTo>
                  <a:lnTo>
                    <a:pt x="3061005" y="198831"/>
                  </a:lnTo>
                  <a:lnTo>
                    <a:pt x="3061005" y="197447"/>
                  </a:lnTo>
                  <a:lnTo>
                    <a:pt x="3061005" y="199530"/>
                  </a:lnTo>
                  <a:lnTo>
                    <a:pt x="3061005" y="198831"/>
                  </a:lnTo>
                  <a:lnTo>
                    <a:pt x="3061107" y="199530"/>
                  </a:lnTo>
                  <a:lnTo>
                    <a:pt x="3061107" y="198831"/>
                  </a:lnTo>
                  <a:lnTo>
                    <a:pt x="3061107" y="200228"/>
                  </a:lnTo>
                  <a:lnTo>
                    <a:pt x="3061107" y="199530"/>
                  </a:lnTo>
                  <a:lnTo>
                    <a:pt x="3061158" y="199530"/>
                  </a:lnTo>
                  <a:lnTo>
                    <a:pt x="3061158" y="200228"/>
                  </a:lnTo>
                  <a:lnTo>
                    <a:pt x="3061158" y="199530"/>
                  </a:lnTo>
                  <a:lnTo>
                    <a:pt x="3061158" y="200228"/>
                  </a:lnTo>
                  <a:lnTo>
                    <a:pt x="3061208" y="200228"/>
                  </a:lnTo>
                  <a:lnTo>
                    <a:pt x="3061208" y="199530"/>
                  </a:lnTo>
                  <a:lnTo>
                    <a:pt x="3061208" y="200228"/>
                  </a:lnTo>
                  <a:lnTo>
                    <a:pt x="3061208" y="198831"/>
                  </a:lnTo>
                  <a:lnTo>
                    <a:pt x="3061208" y="199530"/>
                  </a:lnTo>
                  <a:lnTo>
                    <a:pt x="3061208" y="198831"/>
                  </a:lnTo>
                  <a:lnTo>
                    <a:pt x="3061247" y="199530"/>
                  </a:lnTo>
                  <a:lnTo>
                    <a:pt x="3061247" y="197447"/>
                  </a:lnTo>
                  <a:lnTo>
                    <a:pt x="3061348" y="197447"/>
                  </a:lnTo>
                  <a:lnTo>
                    <a:pt x="3061348" y="196799"/>
                  </a:lnTo>
                  <a:lnTo>
                    <a:pt x="3061348" y="198831"/>
                  </a:lnTo>
                  <a:lnTo>
                    <a:pt x="3061399" y="198831"/>
                  </a:lnTo>
                  <a:lnTo>
                    <a:pt x="3061399" y="196799"/>
                  </a:lnTo>
                  <a:lnTo>
                    <a:pt x="3061399" y="199530"/>
                  </a:lnTo>
                  <a:lnTo>
                    <a:pt x="3061399" y="198831"/>
                  </a:lnTo>
                  <a:lnTo>
                    <a:pt x="3061450" y="198831"/>
                  </a:lnTo>
                  <a:lnTo>
                    <a:pt x="3061450" y="199530"/>
                  </a:lnTo>
                  <a:lnTo>
                    <a:pt x="3061450" y="198831"/>
                  </a:lnTo>
                  <a:lnTo>
                    <a:pt x="3061551" y="198831"/>
                  </a:lnTo>
                  <a:lnTo>
                    <a:pt x="3061551" y="199530"/>
                  </a:lnTo>
                  <a:lnTo>
                    <a:pt x="3061602" y="199530"/>
                  </a:lnTo>
                  <a:lnTo>
                    <a:pt x="3061602" y="200228"/>
                  </a:lnTo>
                  <a:lnTo>
                    <a:pt x="3061602" y="199530"/>
                  </a:lnTo>
                  <a:lnTo>
                    <a:pt x="3061602" y="200228"/>
                  </a:lnTo>
                  <a:lnTo>
                    <a:pt x="3061653" y="200228"/>
                  </a:lnTo>
                  <a:lnTo>
                    <a:pt x="3061653" y="199530"/>
                  </a:lnTo>
                  <a:lnTo>
                    <a:pt x="3061653" y="200876"/>
                  </a:lnTo>
                  <a:lnTo>
                    <a:pt x="3061704" y="200876"/>
                  </a:lnTo>
                  <a:lnTo>
                    <a:pt x="3061704" y="200228"/>
                  </a:lnTo>
                  <a:lnTo>
                    <a:pt x="3061793" y="199530"/>
                  </a:lnTo>
                  <a:lnTo>
                    <a:pt x="3061793" y="200228"/>
                  </a:lnTo>
                  <a:lnTo>
                    <a:pt x="3061793" y="198831"/>
                  </a:lnTo>
                  <a:lnTo>
                    <a:pt x="3061793" y="199530"/>
                  </a:lnTo>
                  <a:lnTo>
                    <a:pt x="3061793" y="198831"/>
                  </a:lnTo>
                  <a:lnTo>
                    <a:pt x="3061844" y="198831"/>
                  </a:lnTo>
                  <a:lnTo>
                    <a:pt x="3061844" y="196799"/>
                  </a:lnTo>
                  <a:lnTo>
                    <a:pt x="3061844" y="199530"/>
                  </a:lnTo>
                  <a:lnTo>
                    <a:pt x="3061844" y="198831"/>
                  </a:lnTo>
                  <a:lnTo>
                    <a:pt x="3061894" y="197447"/>
                  </a:lnTo>
                  <a:lnTo>
                    <a:pt x="3061894" y="200228"/>
                  </a:lnTo>
                  <a:lnTo>
                    <a:pt x="3061894" y="199530"/>
                  </a:lnTo>
                  <a:lnTo>
                    <a:pt x="3061945" y="198831"/>
                  </a:lnTo>
                  <a:lnTo>
                    <a:pt x="3061945" y="200228"/>
                  </a:lnTo>
                  <a:lnTo>
                    <a:pt x="3061945" y="199530"/>
                  </a:lnTo>
                  <a:lnTo>
                    <a:pt x="3062047" y="199530"/>
                  </a:lnTo>
                  <a:lnTo>
                    <a:pt x="3062047" y="200876"/>
                  </a:lnTo>
                  <a:lnTo>
                    <a:pt x="3062047" y="199530"/>
                  </a:lnTo>
                  <a:lnTo>
                    <a:pt x="3062047" y="200876"/>
                  </a:lnTo>
                  <a:lnTo>
                    <a:pt x="3062047" y="200228"/>
                  </a:lnTo>
                  <a:lnTo>
                    <a:pt x="3062097" y="200228"/>
                  </a:lnTo>
                  <a:lnTo>
                    <a:pt x="3062097" y="200876"/>
                  </a:lnTo>
                  <a:lnTo>
                    <a:pt x="3062097" y="199530"/>
                  </a:lnTo>
                  <a:lnTo>
                    <a:pt x="3062097" y="200228"/>
                  </a:lnTo>
                  <a:lnTo>
                    <a:pt x="3062250" y="200228"/>
                  </a:lnTo>
                  <a:lnTo>
                    <a:pt x="3062250" y="199530"/>
                  </a:lnTo>
                  <a:lnTo>
                    <a:pt x="3062288" y="199530"/>
                  </a:lnTo>
                  <a:lnTo>
                    <a:pt x="3062288" y="198831"/>
                  </a:lnTo>
                  <a:lnTo>
                    <a:pt x="3062288" y="199530"/>
                  </a:lnTo>
                  <a:lnTo>
                    <a:pt x="3062288" y="196799"/>
                  </a:lnTo>
                  <a:lnTo>
                    <a:pt x="3062339" y="196799"/>
                  </a:lnTo>
                  <a:lnTo>
                    <a:pt x="3062339" y="199530"/>
                  </a:lnTo>
                  <a:lnTo>
                    <a:pt x="3062339" y="196799"/>
                  </a:lnTo>
                  <a:lnTo>
                    <a:pt x="3062339" y="197447"/>
                  </a:lnTo>
                  <a:lnTo>
                    <a:pt x="3062390" y="197447"/>
                  </a:lnTo>
                  <a:lnTo>
                    <a:pt x="3062390" y="200228"/>
                  </a:lnTo>
                  <a:lnTo>
                    <a:pt x="3062390" y="198831"/>
                  </a:lnTo>
                  <a:lnTo>
                    <a:pt x="3062491" y="198831"/>
                  </a:lnTo>
                  <a:lnTo>
                    <a:pt x="3062491" y="200228"/>
                  </a:lnTo>
                  <a:lnTo>
                    <a:pt x="3062491" y="199530"/>
                  </a:lnTo>
                  <a:lnTo>
                    <a:pt x="3062491" y="200228"/>
                  </a:lnTo>
                  <a:lnTo>
                    <a:pt x="3062491" y="199530"/>
                  </a:lnTo>
                  <a:lnTo>
                    <a:pt x="3062491" y="200228"/>
                  </a:lnTo>
                  <a:lnTo>
                    <a:pt x="3062542" y="200228"/>
                  </a:lnTo>
                  <a:lnTo>
                    <a:pt x="3062542" y="200876"/>
                  </a:lnTo>
                  <a:lnTo>
                    <a:pt x="3062542" y="200228"/>
                  </a:lnTo>
                  <a:lnTo>
                    <a:pt x="3062593" y="200228"/>
                  </a:lnTo>
                  <a:lnTo>
                    <a:pt x="3062593" y="200876"/>
                  </a:lnTo>
                  <a:lnTo>
                    <a:pt x="3062593" y="200228"/>
                  </a:lnTo>
                  <a:lnTo>
                    <a:pt x="3062694" y="200228"/>
                  </a:lnTo>
                  <a:lnTo>
                    <a:pt x="3062694" y="200876"/>
                  </a:lnTo>
                  <a:lnTo>
                    <a:pt x="3062694" y="200228"/>
                  </a:lnTo>
                  <a:lnTo>
                    <a:pt x="3062694" y="200876"/>
                  </a:lnTo>
                  <a:lnTo>
                    <a:pt x="3062694" y="200228"/>
                  </a:lnTo>
                  <a:lnTo>
                    <a:pt x="3062745" y="200228"/>
                  </a:lnTo>
                  <a:lnTo>
                    <a:pt x="3062745" y="199530"/>
                  </a:lnTo>
                  <a:lnTo>
                    <a:pt x="3062745" y="200228"/>
                  </a:lnTo>
                  <a:lnTo>
                    <a:pt x="3062745" y="199530"/>
                  </a:lnTo>
                  <a:lnTo>
                    <a:pt x="3062745" y="200228"/>
                  </a:lnTo>
                  <a:lnTo>
                    <a:pt x="3062745" y="199530"/>
                  </a:lnTo>
                  <a:lnTo>
                    <a:pt x="3062796" y="199530"/>
                  </a:lnTo>
                  <a:lnTo>
                    <a:pt x="3062796" y="197447"/>
                  </a:lnTo>
                  <a:lnTo>
                    <a:pt x="3062796" y="199530"/>
                  </a:lnTo>
                  <a:lnTo>
                    <a:pt x="3062834" y="199530"/>
                  </a:lnTo>
                  <a:lnTo>
                    <a:pt x="3062834" y="200228"/>
                  </a:lnTo>
                  <a:lnTo>
                    <a:pt x="3062834" y="196799"/>
                  </a:lnTo>
                  <a:lnTo>
                    <a:pt x="3062834" y="200876"/>
                  </a:lnTo>
                  <a:lnTo>
                    <a:pt x="3062936" y="200876"/>
                  </a:lnTo>
                  <a:lnTo>
                    <a:pt x="3062936" y="199530"/>
                  </a:lnTo>
                  <a:lnTo>
                    <a:pt x="3062936" y="200876"/>
                  </a:lnTo>
                  <a:lnTo>
                    <a:pt x="3062987" y="200876"/>
                  </a:lnTo>
                  <a:lnTo>
                    <a:pt x="3062987" y="199530"/>
                  </a:lnTo>
                  <a:lnTo>
                    <a:pt x="3062987" y="200876"/>
                  </a:lnTo>
                  <a:lnTo>
                    <a:pt x="3062987" y="200228"/>
                  </a:lnTo>
                  <a:lnTo>
                    <a:pt x="3062987" y="200876"/>
                  </a:lnTo>
                  <a:lnTo>
                    <a:pt x="3062987" y="200228"/>
                  </a:lnTo>
                  <a:lnTo>
                    <a:pt x="3063037" y="200876"/>
                  </a:lnTo>
                  <a:lnTo>
                    <a:pt x="3063037" y="200228"/>
                  </a:lnTo>
                  <a:lnTo>
                    <a:pt x="3063037" y="200876"/>
                  </a:lnTo>
                  <a:lnTo>
                    <a:pt x="3063190" y="200876"/>
                  </a:lnTo>
                  <a:lnTo>
                    <a:pt x="3063190" y="200228"/>
                  </a:lnTo>
                  <a:lnTo>
                    <a:pt x="3063190" y="200876"/>
                  </a:lnTo>
                  <a:lnTo>
                    <a:pt x="3063190" y="200228"/>
                  </a:lnTo>
                  <a:lnTo>
                    <a:pt x="3063240" y="200228"/>
                  </a:lnTo>
                  <a:lnTo>
                    <a:pt x="3063240" y="199530"/>
                  </a:lnTo>
                  <a:lnTo>
                    <a:pt x="3063240" y="200228"/>
                  </a:lnTo>
                  <a:lnTo>
                    <a:pt x="3063240" y="198831"/>
                  </a:lnTo>
                  <a:lnTo>
                    <a:pt x="3063240" y="199530"/>
                  </a:lnTo>
                  <a:lnTo>
                    <a:pt x="3063240" y="198831"/>
                  </a:lnTo>
                  <a:lnTo>
                    <a:pt x="3063291" y="197447"/>
                  </a:lnTo>
                  <a:lnTo>
                    <a:pt x="3063291" y="198831"/>
                  </a:lnTo>
                  <a:lnTo>
                    <a:pt x="3063291" y="197447"/>
                  </a:lnTo>
                  <a:lnTo>
                    <a:pt x="3063291" y="200228"/>
                  </a:lnTo>
                  <a:lnTo>
                    <a:pt x="3063380" y="199530"/>
                  </a:lnTo>
                  <a:lnTo>
                    <a:pt x="3063380" y="197447"/>
                  </a:lnTo>
                  <a:lnTo>
                    <a:pt x="3063380" y="200876"/>
                  </a:lnTo>
                  <a:lnTo>
                    <a:pt x="3063431" y="200876"/>
                  </a:lnTo>
                  <a:lnTo>
                    <a:pt x="3063431" y="199530"/>
                  </a:lnTo>
                  <a:lnTo>
                    <a:pt x="3063431" y="200228"/>
                  </a:lnTo>
                  <a:lnTo>
                    <a:pt x="3063431" y="199530"/>
                  </a:lnTo>
                  <a:lnTo>
                    <a:pt x="3063431" y="200876"/>
                  </a:lnTo>
                  <a:lnTo>
                    <a:pt x="3063482" y="200876"/>
                  </a:lnTo>
                  <a:lnTo>
                    <a:pt x="3063482" y="200228"/>
                  </a:lnTo>
                  <a:lnTo>
                    <a:pt x="3063482" y="200876"/>
                  </a:lnTo>
                  <a:lnTo>
                    <a:pt x="3063482" y="200228"/>
                  </a:lnTo>
                  <a:lnTo>
                    <a:pt x="3063482" y="200876"/>
                  </a:lnTo>
                  <a:lnTo>
                    <a:pt x="3063482" y="200228"/>
                  </a:lnTo>
                  <a:lnTo>
                    <a:pt x="3063482" y="200876"/>
                  </a:lnTo>
                  <a:lnTo>
                    <a:pt x="3063482" y="200228"/>
                  </a:lnTo>
                  <a:lnTo>
                    <a:pt x="3063482" y="200876"/>
                  </a:lnTo>
                  <a:lnTo>
                    <a:pt x="3063533" y="200876"/>
                  </a:lnTo>
                  <a:lnTo>
                    <a:pt x="3063533" y="202260"/>
                  </a:lnTo>
                  <a:lnTo>
                    <a:pt x="3063533" y="200876"/>
                  </a:lnTo>
                  <a:lnTo>
                    <a:pt x="3063533" y="202260"/>
                  </a:lnTo>
                  <a:lnTo>
                    <a:pt x="3063533" y="200876"/>
                  </a:lnTo>
                  <a:lnTo>
                    <a:pt x="3063634" y="200876"/>
                  </a:lnTo>
                  <a:lnTo>
                    <a:pt x="3063634" y="202260"/>
                  </a:lnTo>
                  <a:lnTo>
                    <a:pt x="3063634" y="200876"/>
                  </a:lnTo>
                  <a:lnTo>
                    <a:pt x="3063634" y="202260"/>
                  </a:lnTo>
                  <a:lnTo>
                    <a:pt x="3063634" y="200876"/>
                  </a:lnTo>
                  <a:lnTo>
                    <a:pt x="3063685" y="200876"/>
                  </a:lnTo>
                  <a:lnTo>
                    <a:pt x="3063685" y="202260"/>
                  </a:lnTo>
                  <a:lnTo>
                    <a:pt x="3063685" y="200876"/>
                  </a:lnTo>
                  <a:lnTo>
                    <a:pt x="3063685" y="202260"/>
                  </a:lnTo>
                  <a:lnTo>
                    <a:pt x="3063685" y="200876"/>
                  </a:lnTo>
                  <a:lnTo>
                    <a:pt x="3063736" y="200876"/>
                  </a:lnTo>
                  <a:lnTo>
                    <a:pt x="3063736" y="199530"/>
                  </a:lnTo>
                  <a:lnTo>
                    <a:pt x="3063736" y="200228"/>
                  </a:lnTo>
                  <a:lnTo>
                    <a:pt x="3063736" y="199530"/>
                  </a:lnTo>
                  <a:lnTo>
                    <a:pt x="3063837" y="199530"/>
                  </a:lnTo>
                  <a:lnTo>
                    <a:pt x="3063837" y="198831"/>
                  </a:lnTo>
                  <a:lnTo>
                    <a:pt x="3063837" y="199530"/>
                  </a:lnTo>
                  <a:lnTo>
                    <a:pt x="3063837" y="198831"/>
                  </a:lnTo>
                  <a:lnTo>
                    <a:pt x="3063876" y="198831"/>
                  </a:lnTo>
                  <a:lnTo>
                    <a:pt x="3063876" y="197447"/>
                  </a:lnTo>
                  <a:lnTo>
                    <a:pt x="3063876" y="200228"/>
                  </a:lnTo>
                  <a:lnTo>
                    <a:pt x="3063876" y="198831"/>
                  </a:lnTo>
                  <a:lnTo>
                    <a:pt x="3063926" y="198831"/>
                  </a:lnTo>
                  <a:lnTo>
                    <a:pt x="3063926" y="200228"/>
                  </a:lnTo>
                  <a:lnTo>
                    <a:pt x="3063926" y="199530"/>
                  </a:lnTo>
                  <a:lnTo>
                    <a:pt x="3063977" y="199530"/>
                  </a:lnTo>
                  <a:lnTo>
                    <a:pt x="3063977" y="200876"/>
                  </a:lnTo>
                  <a:lnTo>
                    <a:pt x="3063977" y="200228"/>
                  </a:lnTo>
                  <a:lnTo>
                    <a:pt x="3064079" y="200228"/>
                  </a:lnTo>
                  <a:lnTo>
                    <a:pt x="3064079" y="200876"/>
                  </a:lnTo>
                  <a:lnTo>
                    <a:pt x="3064079" y="200228"/>
                  </a:lnTo>
                  <a:lnTo>
                    <a:pt x="3064079" y="202260"/>
                  </a:lnTo>
                  <a:lnTo>
                    <a:pt x="3064079" y="200876"/>
                  </a:lnTo>
                  <a:lnTo>
                    <a:pt x="3064130" y="200876"/>
                  </a:lnTo>
                  <a:lnTo>
                    <a:pt x="3064130" y="200228"/>
                  </a:lnTo>
                  <a:lnTo>
                    <a:pt x="3064130" y="200876"/>
                  </a:lnTo>
                  <a:lnTo>
                    <a:pt x="3064130" y="200228"/>
                  </a:lnTo>
                  <a:lnTo>
                    <a:pt x="3064130" y="202260"/>
                  </a:lnTo>
                  <a:lnTo>
                    <a:pt x="3064130" y="200876"/>
                  </a:lnTo>
                  <a:lnTo>
                    <a:pt x="3064130" y="202260"/>
                  </a:lnTo>
                  <a:lnTo>
                    <a:pt x="3064130" y="200876"/>
                  </a:lnTo>
                  <a:lnTo>
                    <a:pt x="3064180" y="200876"/>
                  </a:lnTo>
                  <a:lnTo>
                    <a:pt x="3064180" y="200228"/>
                  </a:lnTo>
                  <a:lnTo>
                    <a:pt x="3064180" y="200876"/>
                  </a:lnTo>
                  <a:lnTo>
                    <a:pt x="3064180" y="200228"/>
                  </a:lnTo>
                  <a:lnTo>
                    <a:pt x="3064282" y="200228"/>
                  </a:lnTo>
                  <a:lnTo>
                    <a:pt x="3064282" y="198831"/>
                  </a:lnTo>
                  <a:lnTo>
                    <a:pt x="3064282" y="199530"/>
                  </a:lnTo>
                  <a:lnTo>
                    <a:pt x="3064282" y="198831"/>
                  </a:lnTo>
                  <a:lnTo>
                    <a:pt x="3064282" y="199530"/>
                  </a:lnTo>
                  <a:lnTo>
                    <a:pt x="3064333" y="199530"/>
                  </a:lnTo>
                  <a:lnTo>
                    <a:pt x="3064333" y="200228"/>
                  </a:lnTo>
                  <a:lnTo>
                    <a:pt x="3064333" y="199530"/>
                  </a:lnTo>
                  <a:lnTo>
                    <a:pt x="3064333" y="200228"/>
                  </a:lnTo>
                  <a:lnTo>
                    <a:pt x="3064383" y="200876"/>
                  </a:lnTo>
                  <a:lnTo>
                    <a:pt x="3064383" y="202260"/>
                  </a:lnTo>
                  <a:lnTo>
                    <a:pt x="3064383" y="200228"/>
                  </a:lnTo>
                  <a:lnTo>
                    <a:pt x="3064383" y="202959"/>
                  </a:lnTo>
                  <a:lnTo>
                    <a:pt x="3064422" y="202959"/>
                  </a:lnTo>
                  <a:lnTo>
                    <a:pt x="3064422" y="200876"/>
                  </a:lnTo>
                  <a:lnTo>
                    <a:pt x="3064422" y="202260"/>
                  </a:lnTo>
                  <a:lnTo>
                    <a:pt x="3064523" y="202260"/>
                  </a:lnTo>
                  <a:lnTo>
                    <a:pt x="3064523" y="200876"/>
                  </a:lnTo>
                  <a:lnTo>
                    <a:pt x="3064523" y="202260"/>
                  </a:lnTo>
                  <a:lnTo>
                    <a:pt x="3064574" y="202260"/>
                  </a:lnTo>
                  <a:lnTo>
                    <a:pt x="3064574" y="200876"/>
                  </a:lnTo>
                  <a:lnTo>
                    <a:pt x="3064574" y="202260"/>
                  </a:lnTo>
                  <a:lnTo>
                    <a:pt x="3064574" y="200876"/>
                  </a:lnTo>
                  <a:lnTo>
                    <a:pt x="3064625" y="200876"/>
                  </a:lnTo>
                  <a:lnTo>
                    <a:pt x="3064625" y="202260"/>
                  </a:lnTo>
                  <a:lnTo>
                    <a:pt x="3064625" y="200876"/>
                  </a:lnTo>
                  <a:lnTo>
                    <a:pt x="3064625" y="202260"/>
                  </a:lnTo>
                  <a:lnTo>
                    <a:pt x="3064726" y="200876"/>
                  </a:lnTo>
                  <a:lnTo>
                    <a:pt x="3064726" y="202260"/>
                  </a:lnTo>
                  <a:lnTo>
                    <a:pt x="3064726" y="200228"/>
                  </a:lnTo>
                  <a:lnTo>
                    <a:pt x="3064726" y="200876"/>
                  </a:lnTo>
                  <a:lnTo>
                    <a:pt x="3064726" y="200228"/>
                  </a:lnTo>
                  <a:lnTo>
                    <a:pt x="3064777" y="200228"/>
                  </a:lnTo>
                  <a:lnTo>
                    <a:pt x="3064777" y="199530"/>
                  </a:lnTo>
                  <a:lnTo>
                    <a:pt x="3064777" y="200228"/>
                  </a:lnTo>
                  <a:lnTo>
                    <a:pt x="3064777" y="199530"/>
                  </a:lnTo>
                  <a:lnTo>
                    <a:pt x="3064777" y="200228"/>
                  </a:lnTo>
                  <a:lnTo>
                    <a:pt x="3064777" y="198831"/>
                  </a:lnTo>
                  <a:lnTo>
                    <a:pt x="3064777" y="200228"/>
                  </a:lnTo>
                  <a:lnTo>
                    <a:pt x="3064828" y="200228"/>
                  </a:lnTo>
                  <a:lnTo>
                    <a:pt x="3064828" y="198831"/>
                  </a:lnTo>
                  <a:lnTo>
                    <a:pt x="3064828" y="200876"/>
                  </a:lnTo>
                  <a:lnTo>
                    <a:pt x="3064879" y="202260"/>
                  </a:lnTo>
                  <a:lnTo>
                    <a:pt x="3064879" y="200228"/>
                  </a:lnTo>
                  <a:lnTo>
                    <a:pt x="3064879" y="200876"/>
                  </a:lnTo>
                  <a:lnTo>
                    <a:pt x="3064879" y="200228"/>
                  </a:lnTo>
                  <a:lnTo>
                    <a:pt x="3064879" y="202260"/>
                  </a:lnTo>
                  <a:lnTo>
                    <a:pt x="3064968" y="200876"/>
                  </a:lnTo>
                  <a:lnTo>
                    <a:pt x="3064968" y="200228"/>
                  </a:lnTo>
                  <a:lnTo>
                    <a:pt x="3064968" y="202260"/>
                  </a:lnTo>
                  <a:lnTo>
                    <a:pt x="3064968" y="200876"/>
                  </a:lnTo>
                  <a:lnTo>
                    <a:pt x="3065019" y="200876"/>
                  </a:lnTo>
                  <a:lnTo>
                    <a:pt x="3065019" y="202260"/>
                  </a:lnTo>
                  <a:lnTo>
                    <a:pt x="3065019" y="200876"/>
                  </a:lnTo>
                  <a:lnTo>
                    <a:pt x="3065019" y="202260"/>
                  </a:lnTo>
                  <a:lnTo>
                    <a:pt x="3065019" y="200876"/>
                  </a:lnTo>
                  <a:lnTo>
                    <a:pt x="3065069" y="200876"/>
                  </a:lnTo>
                  <a:lnTo>
                    <a:pt x="3065069" y="202260"/>
                  </a:lnTo>
                  <a:lnTo>
                    <a:pt x="3065069" y="200876"/>
                  </a:lnTo>
                  <a:lnTo>
                    <a:pt x="3065069" y="202260"/>
                  </a:lnTo>
                  <a:lnTo>
                    <a:pt x="3065069" y="200876"/>
                  </a:lnTo>
                  <a:lnTo>
                    <a:pt x="3065120" y="200876"/>
                  </a:lnTo>
                  <a:lnTo>
                    <a:pt x="3065120" y="202260"/>
                  </a:lnTo>
                  <a:lnTo>
                    <a:pt x="3065120" y="200228"/>
                  </a:lnTo>
                  <a:lnTo>
                    <a:pt x="3065120" y="200876"/>
                  </a:lnTo>
                  <a:lnTo>
                    <a:pt x="3065120" y="200228"/>
                  </a:lnTo>
                  <a:lnTo>
                    <a:pt x="3065120" y="200876"/>
                  </a:lnTo>
                  <a:lnTo>
                    <a:pt x="3065120" y="200228"/>
                  </a:lnTo>
                  <a:lnTo>
                    <a:pt x="3065222" y="200876"/>
                  </a:lnTo>
                  <a:lnTo>
                    <a:pt x="3065222" y="200228"/>
                  </a:lnTo>
                  <a:lnTo>
                    <a:pt x="3065222" y="200876"/>
                  </a:lnTo>
                  <a:lnTo>
                    <a:pt x="3065222" y="197447"/>
                  </a:lnTo>
                  <a:lnTo>
                    <a:pt x="3065222" y="198831"/>
                  </a:lnTo>
                  <a:lnTo>
                    <a:pt x="3065272" y="199530"/>
                  </a:lnTo>
                  <a:lnTo>
                    <a:pt x="3065272" y="198831"/>
                  </a:lnTo>
                  <a:lnTo>
                    <a:pt x="3065272" y="199530"/>
                  </a:lnTo>
                  <a:lnTo>
                    <a:pt x="3065323" y="198831"/>
                  </a:lnTo>
                  <a:lnTo>
                    <a:pt x="3065323" y="200876"/>
                  </a:lnTo>
                  <a:lnTo>
                    <a:pt x="3065323" y="200228"/>
                  </a:lnTo>
                  <a:lnTo>
                    <a:pt x="3065425" y="200228"/>
                  </a:lnTo>
                  <a:lnTo>
                    <a:pt x="3065425" y="202260"/>
                  </a:lnTo>
                  <a:lnTo>
                    <a:pt x="3065425" y="200876"/>
                  </a:lnTo>
                  <a:lnTo>
                    <a:pt x="3065425" y="202260"/>
                  </a:lnTo>
                  <a:lnTo>
                    <a:pt x="3065425" y="200876"/>
                  </a:lnTo>
                  <a:lnTo>
                    <a:pt x="3065425" y="202260"/>
                  </a:lnTo>
                  <a:lnTo>
                    <a:pt x="3065425" y="200876"/>
                  </a:lnTo>
                  <a:lnTo>
                    <a:pt x="3065463" y="200876"/>
                  </a:lnTo>
                  <a:lnTo>
                    <a:pt x="3065463" y="202260"/>
                  </a:lnTo>
                  <a:lnTo>
                    <a:pt x="3065463" y="200876"/>
                  </a:lnTo>
                  <a:lnTo>
                    <a:pt x="3065463" y="202260"/>
                  </a:lnTo>
                  <a:lnTo>
                    <a:pt x="3065463" y="200876"/>
                  </a:lnTo>
                  <a:lnTo>
                    <a:pt x="3065514" y="200876"/>
                  </a:lnTo>
                  <a:lnTo>
                    <a:pt x="3065514" y="202260"/>
                  </a:lnTo>
                  <a:lnTo>
                    <a:pt x="3065514" y="200876"/>
                  </a:lnTo>
                  <a:lnTo>
                    <a:pt x="3065514" y="202260"/>
                  </a:lnTo>
                  <a:lnTo>
                    <a:pt x="3065514" y="200876"/>
                  </a:lnTo>
                  <a:lnTo>
                    <a:pt x="3065514" y="202260"/>
                  </a:lnTo>
                  <a:lnTo>
                    <a:pt x="3065565" y="202260"/>
                  </a:lnTo>
                  <a:lnTo>
                    <a:pt x="3065565" y="200876"/>
                  </a:lnTo>
                  <a:lnTo>
                    <a:pt x="3065565" y="202260"/>
                  </a:lnTo>
                  <a:lnTo>
                    <a:pt x="3065565" y="200876"/>
                  </a:lnTo>
                  <a:lnTo>
                    <a:pt x="3065565" y="202260"/>
                  </a:lnTo>
                  <a:lnTo>
                    <a:pt x="3065565" y="200876"/>
                  </a:lnTo>
                  <a:lnTo>
                    <a:pt x="3065565" y="202260"/>
                  </a:lnTo>
                  <a:lnTo>
                    <a:pt x="3065666" y="200876"/>
                  </a:lnTo>
                  <a:lnTo>
                    <a:pt x="3065666" y="200228"/>
                  </a:lnTo>
                  <a:lnTo>
                    <a:pt x="3065666" y="200876"/>
                  </a:lnTo>
                  <a:lnTo>
                    <a:pt x="3065717" y="200228"/>
                  </a:lnTo>
                  <a:lnTo>
                    <a:pt x="3065717" y="199530"/>
                  </a:lnTo>
                  <a:lnTo>
                    <a:pt x="3065717" y="200228"/>
                  </a:lnTo>
                  <a:lnTo>
                    <a:pt x="3065717" y="198831"/>
                  </a:lnTo>
                  <a:lnTo>
                    <a:pt x="3065768" y="198831"/>
                  </a:lnTo>
                  <a:lnTo>
                    <a:pt x="3065768" y="200228"/>
                  </a:lnTo>
                  <a:lnTo>
                    <a:pt x="3065768" y="198831"/>
                  </a:lnTo>
                  <a:lnTo>
                    <a:pt x="3065768" y="199530"/>
                  </a:lnTo>
                  <a:lnTo>
                    <a:pt x="3065869" y="200228"/>
                  </a:lnTo>
                  <a:lnTo>
                    <a:pt x="3065869" y="200876"/>
                  </a:lnTo>
                  <a:lnTo>
                    <a:pt x="3065869" y="200228"/>
                  </a:lnTo>
                  <a:lnTo>
                    <a:pt x="3065869" y="200876"/>
                  </a:lnTo>
                  <a:lnTo>
                    <a:pt x="3065869" y="200228"/>
                  </a:lnTo>
                  <a:lnTo>
                    <a:pt x="3065920" y="200876"/>
                  </a:lnTo>
                  <a:lnTo>
                    <a:pt x="3065920" y="202260"/>
                  </a:lnTo>
                  <a:lnTo>
                    <a:pt x="3065920" y="200876"/>
                  </a:lnTo>
                  <a:lnTo>
                    <a:pt x="3065920" y="202260"/>
                  </a:lnTo>
                  <a:lnTo>
                    <a:pt x="3065971" y="202260"/>
                  </a:lnTo>
                  <a:lnTo>
                    <a:pt x="3065971" y="200876"/>
                  </a:lnTo>
                  <a:lnTo>
                    <a:pt x="3065971" y="202260"/>
                  </a:lnTo>
                  <a:lnTo>
                    <a:pt x="3065971" y="200876"/>
                  </a:lnTo>
                  <a:lnTo>
                    <a:pt x="3066009" y="200876"/>
                  </a:lnTo>
                  <a:lnTo>
                    <a:pt x="3066009" y="202260"/>
                  </a:lnTo>
                  <a:lnTo>
                    <a:pt x="3066009" y="200876"/>
                  </a:lnTo>
                  <a:lnTo>
                    <a:pt x="3066009" y="202260"/>
                  </a:lnTo>
                  <a:lnTo>
                    <a:pt x="3066111" y="202959"/>
                  </a:lnTo>
                  <a:lnTo>
                    <a:pt x="3066111" y="200876"/>
                  </a:lnTo>
                  <a:lnTo>
                    <a:pt x="3066111" y="202260"/>
                  </a:lnTo>
                  <a:lnTo>
                    <a:pt x="3066111" y="200876"/>
                  </a:lnTo>
                  <a:lnTo>
                    <a:pt x="3066162" y="200876"/>
                  </a:lnTo>
                  <a:lnTo>
                    <a:pt x="3066162" y="202260"/>
                  </a:lnTo>
                  <a:lnTo>
                    <a:pt x="3066162" y="200228"/>
                  </a:lnTo>
                  <a:lnTo>
                    <a:pt x="3066162" y="200876"/>
                  </a:lnTo>
                  <a:lnTo>
                    <a:pt x="3066162" y="200228"/>
                  </a:lnTo>
                  <a:lnTo>
                    <a:pt x="3066162" y="200876"/>
                  </a:lnTo>
                  <a:lnTo>
                    <a:pt x="3066162" y="200228"/>
                  </a:lnTo>
                  <a:lnTo>
                    <a:pt x="3066212" y="200228"/>
                  </a:lnTo>
                  <a:lnTo>
                    <a:pt x="3066212" y="198831"/>
                  </a:lnTo>
                  <a:lnTo>
                    <a:pt x="3066212" y="199530"/>
                  </a:lnTo>
                  <a:lnTo>
                    <a:pt x="3066212" y="196799"/>
                  </a:lnTo>
                  <a:lnTo>
                    <a:pt x="3066212" y="197447"/>
                  </a:lnTo>
                  <a:lnTo>
                    <a:pt x="3066314" y="197447"/>
                  </a:lnTo>
                  <a:lnTo>
                    <a:pt x="3066314" y="198831"/>
                  </a:lnTo>
                  <a:lnTo>
                    <a:pt x="3066314" y="196799"/>
                  </a:lnTo>
                  <a:lnTo>
                    <a:pt x="3066314" y="197447"/>
                  </a:lnTo>
                  <a:lnTo>
                    <a:pt x="3066365" y="198831"/>
                  </a:lnTo>
                  <a:lnTo>
                    <a:pt x="3066365" y="200876"/>
                  </a:lnTo>
                  <a:lnTo>
                    <a:pt x="3066365" y="198831"/>
                  </a:lnTo>
                  <a:lnTo>
                    <a:pt x="3066365" y="199530"/>
                  </a:lnTo>
                  <a:lnTo>
                    <a:pt x="3066415" y="200228"/>
                  </a:lnTo>
                  <a:lnTo>
                    <a:pt x="3066415" y="200876"/>
                  </a:lnTo>
                  <a:lnTo>
                    <a:pt x="3066415" y="199530"/>
                  </a:lnTo>
                  <a:lnTo>
                    <a:pt x="3066415" y="200228"/>
                  </a:lnTo>
                  <a:lnTo>
                    <a:pt x="3066415" y="199530"/>
                  </a:lnTo>
                  <a:lnTo>
                    <a:pt x="3066415" y="200228"/>
                  </a:lnTo>
                  <a:lnTo>
                    <a:pt x="3066466" y="200228"/>
                  </a:lnTo>
                  <a:lnTo>
                    <a:pt x="3066466" y="200876"/>
                  </a:lnTo>
                  <a:lnTo>
                    <a:pt x="3066466" y="200228"/>
                  </a:lnTo>
                  <a:lnTo>
                    <a:pt x="3066466" y="200876"/>
                  </a:lnTo>
                  <a:lnTo>
                    <a:pt x="3066555" y="200876"/>
                  </a:lnTo>
                  <a:lnTo>
                    <a:pt x="3066555" y="200228"/>
                  </a:lnTo>
                  <a:lnTo>
                    <a:pt x="3066555" y="202260"/>
                  </a:lnTo>
                  <a:lnTo>
                    <a:pt x="3066555" y="200876"/>
                  </a:lnTo>
                  <a:lnTo>
                    <a:pt x="3066555" y="202260"/>
                  </a:lnTo>
                  <a:lnTo>
                    <a:pt x="3066606" y="200876"/>
                  </a:lnTo>
                  <a:lnTo>
                    <a:pt x="3066606" y="202260"/>
                  </a:lnTo>
                  <a:lnTo>
                    <a:pt x="3066606" y="200876"/>
                  </a:lnTo>
                  <a:lnTo>
                    <a:pt x="3066606" y="202260"/>
                  </a:lnTo>
                  <a:lnTo>
                    <a:pt x="3066606" y="200876"/>
                  </a:lnTo>
                  <a:lnTo>
                    <a:pt x="3066657" y="200876"/>
                  </a:lnTo>
                  <a:lnTo>
                    <a:pt x="3066657" y="200228"/>
                  </a:lnTo>
                  <a:lnTo>
                    <a:pt x="3066657" y="200876"/>
                  </a:lnTo>
                  <a:lnTo>
                    <a:pt x="3066657" y="199530"/>
                  </a:lnTo>
                  <a:lnTo>
                    <a:pt x="3066708" y="199530"/>
                  </a:lnTo>
                  <a:lnTo>
                    <a:pt x="3066708" y="198831"/>
                  </a:lnTo>
                  <a:lnTo>
                    <a:pt x="3066708" y="199530"/>
                  </a:lnTo>
                  <a:lnTo>
                    <a:pt x="3066708" y="197447"/>
                  </a:lnTo>
                  <a:lnTo>
                    <a:pt x="3066708" y="198831"/>
                  </a:lnTo>
                  <a:lnTo>
                    <a:pt x="3066708" y="196799"/>
                  </a:lnTo>
                  <a:lnTo>
                    <a:pt x="3066809" y="196799"/>
                  </a:lnTo>
                  <a:lnTo>
                    <a:pt x="3066809" y="197447"/>
                  </a:lnTo>
                  <a:lnTo>
                    <a:pt x="3066809" y="196113"/>
                  </a:lnTo>
                  <a:lnTo>
                    <a:pt x="3066860" y="196113"/>
                  </a:lnTo>
                  <a:lnTo>
                    <a:pt x="3066860" y="199530"/>
                  </a:lnTo>
                  <a:lnTo>
                    <a:pt x="3066860" y="196799"/>
                  </a:lnTo>
                  <a:lnTo>
                    <a:pt x="3066860" y="198831"/>
                  </a:lnTo>
                  <a:lnTo>
                    <a:pt x="3066911" y="198831"/>
                  </a:lnTo>
                  <a:lnTo>
                    <a:pt x="3066911" y="199530"/>
                  </a:lnTo>
                  <a:lnTo>
                    <a:pt x="3066911" y="197447"/>
                  </a:lnTo>
                  <a:lnTo>
                    <a:pt x="3066911" y="198831"/>
                  </a:lnTo>
                  <a:lnTo>
                    <a:pt x="3066911" y="197447"/>
                  </a:lnTo>
                  <a:lnTo>
                    <a:pt x="3067012" y="198831"/>
                  </a:lnTo>
                  <a:lnTo>
                    <a:pt x="3067012" y="199530"/>
                  </a:lnTo>
                  <a:lnTo>
                    <a:pt x="3067012" y="198831"/>
                  </a:lnTo>
                  <a:lnTo>
                    <a:pt x="3067012" y="199530"/>
                  </a:lnTo>
                  <a:lnTo>
                    <a:pt x="3067051" y="199530"/>
                  </a:lnTo>
                  <a:lnTo>
                    <a:pt x="3067051" y="200228"/>
                  </a:lnTo>
                  <a:lnTo>
                    <a:pt x="3067051" y="199530"/>
                  </a:lnTo>
                  <a:lnTo>
                    <a:pt x="3067051" y="200876"/>
                  </a:lnTo>
                  <a:lnTo>
                    <a:pt x="3067101" y="200876"/>
                  </a:lnTo>
                  <a:lnTo>
                    <a:pt x="3067101" y="200228"/>
                  </a:lnTo>
                  <a:lnTo>
                    <a:pt x="3067101" y="200876"/>
                  </a:lnTo>
                  <a:lnTo>
                    <a:pt x="3067101" y="200228"/>
                  </a:lnTo>
                  <a:lnTo>
                    <a:pt x="3067101" y="200876"/>
                  </a:lnTo>
                  <a:lnTo>
                    <a:pt x="3067101" y="200228"/>
                  </a:lnTo>
                  <a:lnTo>
                    <a:pt x="3067101" y="200876"/>
                  </a:lnTo>
                  <a:lnTo>
                    <a:pt x="3067152" y="200876"/>
                  </a:lnTo>
                  <a:lnTo>
                    <a:pt x="3067152" y="199530"/>
                  </a:lnTo>
                  <a:lnTo>
                    <a:pt x="3067152" y="200228"/>
                  </a:lnTo>
                  <a:lnTo>
                    <a:pt x="3067254" y="199530"/>
                  </a:lnTo>
                  <a:lnTo>
                    <a:pt x="3067254" y="197447"/>
                  </a:lnTo>
                  <a:lnTo>
                    <a:pt x="3067254" y="198831"/>
                  </a:lnTo>
                  <a:lnTo>
                    <a:pt x="3067305" y="199530"/>
                  </a:lnTo>
                  <a:lnTo>
                    <a:pt x="3067305" y="197447"/>
                  </a:lnTo>
                  <a:lnTo>
                    <a:pt x="3067305" y="200876"/>
                  </a:lnTo>
                  <a:lnTo>
                    <a:pt x="3067355" y="200876"/>
                  </a:lnTo>
                  <a:lnTo>
                    <a:pt x="3067355" y="198831"/>
                  </a:lnTo>
                  <a:lnTo>
                    <a:pt x="3067355" y="200876"/>
                  </a:lnTo>
                  <a:lnTo>
                    <a:pt x="3067457" y="200228"/>
                  </a:lnTo>
                  <a:lnTo>
                    <a:pt x="3067457" y="200876"/>
                  </a:lnTo>
                  <a:lnTo>
                    <a:pt x="3067457" y="199530"/>
                  </a:lnTo>
                  <a:lnTo>
                    <a:pt x="3067457" y="200876"/>
                  </a:lnTo>
                  <a:lnTo>
                    <a:pt x="3067457" y="200228"/>
                  </a:lnTo>
                  <a:lnTo>
                    <a:pt x="3067508" y="200228"/>
                  </a:lnTo>
                  <a:lnTo>
                    <a:pt x="3067508" y="200876"/>
                  </a:lnTo>
                  <a:lnTo>
                    <a:pt x="3067508" y="200228"/>
                  </a:lnTo>
                  <a:lnTo>
                    <a:pt x="3067508" y="200876"/>
                  </a:lnTo>
                  <a:lnTo>
                    <a:pt x="3067508" y="200228"/>
                  </a:lnTo>
                  <a:lnTo>
                    <a:pt x="3067508" y="200876"/>
                  </a:lnTo>
                  <a:lnTo>
                    <a:pt x="3067558" y="200876"/>
                  </a:lnTo>
                  <a:lnTo>
                    <a:pt x="3067558" y="200228"/>
                  </a:lnTo>
                  <a:lnTo>
                    <a:pt x="3067558" y="200876"/>
                  </a:lnTo>
                  <a:lnTo>
                    <a:pt x="3067558" y="200228"/>
                  </a:lnTo>
                  <a:lnTo>
                    <a:pt x="3067558" y="200876"/>
                  </a:lnTo>
                  <a:lnTo>
                    <a:pt x="3067558" y="200228"/>
                  </a:lnTo>
                  <a:lnTo>
                    <a:pt x="3067558" y="200876"/>
                  </a:lnTo>
                  <a:lnTo>
                    <a:pt x="3067597" y="200876"/>
                  </a:lnTo>
                  <a:lnTo>
                    <a:pt x="3067597" y="200228"/>
                  </a:lnTo>
                  <a:lnTo>
                    <a:pt x="3067597" y="200876"/>
                  </a:lnTo>
                  <a:lnTo>
                    <a:pt x="3067597" y="200228"/>
                  </a:lnTo>
                  <a:lnTo>
                    <a:pt x="3067597" y="200876"/>
                  </a:lnTo>
                  <a:lnTo>
                    <a:pt x="3067698" y="200228"/>
                  </a:lnTo>
                  <a:lnTo>
                    <a:pt x="3067749" y="199530"/>
                  </a:lnTo>
                  <a:lnTo>
                    <a:pt x="3067749" y="200228"/>
                  </a:lnTo>
                  <a:lnTo>
                    <a:pt x="3067749" y="198831"/>
                  </a:lnTo>
                  <a:lnTo>
                    <a:pt x="3067749" y="200228"/>
                  </a:lnTo>
                  <a:lnTo>
                    <a:pt x="3067800" y="200228"/>
                  </a:lnTo>
                  <a:lnTo>
                    <a:pt x="3067800" y="199530"/>
                  </a:lnTo>
                  <a:lnTo>
                    <a:pt x="3067800" y="202260"/>
                  </a:lnTo>
                  <a:lnTo>
                    <a:pt x="3067800" y="200876"/>
                  </a:lnTo>
                  <a:lnTo>
                    <a:pt x="3067901" y="200876"/>
                  </a:lnTo>
                  <a:lnTo>
                    <a:pt x="3067901" y="200228"/>
                  </a:lnTo>
                  <a:lnTo>
                    <a:pt x="3067901" y="202260"/>
                  </a:lnTo>
                  <a:lnTo>
                    <a:pt x="3067901" y="200876"/>
                  </a:lnTo>
                  <a:lnTo>
                    <a:pt x="3067952" y="200876"/>
                  </a:lnTo>
                  <a:lnTo>
                    <a:pt x="3067952" y="202260"/>
                  </a:lnTo>
                  <a:lnTo>
                    <a:pt x="3067952" y="200876"/>
                  </a:lnTo>
                  <a:lnTo>
                    <a:pt x="3068003" y="200876"/>
                  </a:lnTo>
                  <a:lnTo>
                    <a:pt x="3068003" y="202260"/>
                  </a:lnTo>
                  <a:lnTo>
                    <a:pt x="3068003" y="200876"/>
                  </a:lnTo>
                  <a:lnTo>
                    <a:pt x="3068003" y="202260"/>
                  </a:lnTo>
                  <a:lnTo>
                    <a:pt x="3068003" y="200876"/>
                  </a:lnTo>
                  <a:lnTo>
                    <a:pt x="3068003" y="202260"/>
                  </a:lnTo>
                  <a:lnTo>
                    <a:pt x="3068054" y="202260"/>
                  </a:lnTo>
                  <a:lnTo>
                    <a:pt x="3068054" y="200876"/>
                  </a:lnTo>
                  <a:lnTo>
                    <a:pt x="3068054" y="202260"/>
                  </a:lnTo>
                  <a:lnTo>
                    <a:pt x="3068054" y="200876"/>
                  </a:lnTo>
                  <a:lnTo>
                    <a:pt x="3068054" y="202260"/>
                  </a:lnTo>
                  <a:lnTo>
                    <a:pt x="3068054" y="200876"/>
                  </a:lnTo>
                  <a:lnTo>
                    <a:pt x="3068143" y="200876"/>
                  </a:lnTo>
                  <a:lnTo>
                    <a:pt x="3068143" y="202260"/>
                  </a:lnTo>
                  <a:lnTo>
                    <a:pt x="3068143" y="200228"/>
                  </a:lnTo>
                  <a:lnTo>
                    <a:pt x="3068143" y="200876"/>
                  </a:lnTo>
                  <a:lnTo>
                    <a:pt x="3068143" y="200228"/>
                  </a:lnTo>
                  <a:lnTo>
                    <a:pt x="3068194" y="200228"/>
                  </a:lnTo>
                  <a:lnTo>
                    <a:pt x="3068194" y="198831"/>
                  </a:lnTo>
                  <a:lnTo>
                    <a:pt x="3068194" y="199530"/>
                  </a:lnTo>
                  <a:lnTo>
                    <a:pt x="3068194" y="198831"/>
                  </a:lnTo>
                  <a:lnTo>
                    <a:pt x="3068194" y="199530"/>
                  </a:lnTo>
                  <a:lnTo>
                    <a:pt x="3068194" y="197447"/>
                  </a:lnTo>
                  <a:lnTo>
                    <a:pt x="3068244" y="198831"/>
                  </a:lnTo>
                  <a:lnTo>
                    <a:pt x="3068244" y="196799"/>
                  </a:lnTo>
                  <a:lnTo>
                    <a:pt x="3068244" y="199530"/>
                  </a:lnTo>
                  <a:lnTo>
                    <a:pt x="3068244" y="198831"/>
                  </a:lnTo>
                  <a:lnTo>
                    <a:pt x="3068244" y="199530"/>
                  </a:lnTo>
                  <a:lnTo>
                    <a:pt x="3068295" y="198831"/>
                  </a:lnTo>
                  <a:lnTo>
                    <a:pt x="3068295" y="197447"/>
                  </a:lnTo>
                  <a:lnTo>
                    <a:pt x="3068295" y="200876"/>
                  </a:lnTo>
                  <a:lnTo>
                    <a:pt x="3068295" y="200228"/>
                  </a:lnTo>
                  <a:lnTo>
                    <a:pt x="3068295" y="200876"/>
                  </a:lnTo>
                  <a:lnTo>
                    <a:pt x="3068295" y="200228"/>
                  </a:lnTo>
                  <a:lnTo>
                    <a:pt x="3068397" y="200228"/>
                  </a:lnTo>
                  <a:lnTo>
                    <a:pt x="3068397" y="202260"/>
                  </a:lnTo>
                  <a:lnTo>
                    <a:pt x="3068397" y="200228"/>
                  </a:lnTo>
                  <a:lnTo>
                    <a:pt x="3068397" y="200876"/>
                  </a:lnTo>
                  <a:lnTo>
                    <a:pt x="3068397" y="200228"/>
                  </a:lnTo>
                  <a:lnTo>
                    <a:pt x="3068447" y="200876"/>
                  </a:lnTo>
                  <a:lnTo>
                    <a:pt x="3068498" y="202260"/>
                  </a:lnTo>
                  <a:lnTo>
                    <a:pt x="3068498" y="200876"/>
                  </a:lnTo>
                  <a:lnTo>
                    <a:pt x="3068498" y="202959"/>
                  </a:lnTo>
                  <a:lnTo>
                    <a:pt x="3068498" y="202260"/>
                  </a:lnTo>
                  <a:lnTo>
                    <a:pt x="3068600" y="202959"/>
                  </a:lnTo>
                  <a:lnTo>
                    <a:pt x="3068600" y="200876"/>
                  </a:lnTo>
                  <a:lnTo>
                    <a:pt x="3068600" y="202260"/>
                  </a:lnTo>
                  <a:lnTo>
                    <a:pt x="3068600" y="200876"/>
                  </a:lnTo>
                  <a:lnTo>
                    <a:pt x="3068638" y="200876"/>
                  </a:lnTo>
                  <a:lnTo>
                    <a:pt x="3068638" y="200228"/>
                  </a:lnTo>
                  <a:lnTo>
                    <a:pt x="3068689" y="200228"/>
                  </a:lnTo>
                  <a:lnTo>
                    <a:pt x="3068689" y="197447"/>
                  </a:lnTo>
                  <a:lnTo>
                    <a:pt x="3068689" y="198831"/>
                  </a:lnTo>
                  <a:lnTo>
                    <a:pt x="3068689" y="197447"/>
                  </a:lnTo>
                  <a:lnTo>
                    <a:pt x="3068740" y="197447"/>
                  </a:lnTo>
                  <a:lnTo>
                    <a:pt x="3068740" y="199530"/>
                  </a:lnTo>
                  <a:lnTo>
                    <a:pt x="3068740" y="198831"/>
                  </a:lnTo>
                  <a:lnTo>
                    <a:pt x="3068740" y="199530"/>
                  </a:lnTo>
                  <a:lnTo>
                    <a:pt x="3068740" y="198831"/>
                  </a:lnTo>
                  <a:lnTo>
                    <a:pt x="3068841" y="198831"/>
                  </a:lnTo>
                  <a:lnTo>
                    <a:pt x="3068841" y="200876"/>
                  </a:lnTo>
                  <a:lnTo>
                    <a:pt x="3068841" y="200228"/>
                  </a:lnTo>
                  <a:lnTo>
                    <a:pt x="3068892" y="200228"/>
                  </a:lnTo>
                  <a:lnTo>
                    <a:pt x="3068892" y="200876"/>
                  </a:lnTo>
                  <a:lnTo>
                    <a:pt x="3068892" y="200228"/>
                  </a:lnTo>
                  <a:lnTo>
                    <a:pt x="3068943" y="200228"/>
                  </a:lnTo>
                  <a:lnTo>
                    <a:pt x="3068943" y="200876"/>
                  </a:lnTo>
                  <a:lnTo>
                    <a:pt x="3068943" y="200228"/>
                  </a:lnTo>
                  <a:lnTo>
                    <a:pt x="3068943" y="200876"/>
                  </a:lnTo>
                  <a:lnTo>
                    <a:pt x="3068943" y="200228"/>
                  </a:lnTo>
                  <a:lnTo>
                    <a:pt x="3068943" y="202260"/>
                  </a:lnTo>
                  <a:lnTo>
                    <a:pt x="3069044" y="200876"/>
                  </a:lnTo>
                  <a:lnTo>
                    <a:pt x="3069044" y="202260"/>
                  </a:lnTo>
                  <a:lnTo>
                    <a:pt x="3069044" y="200876"/>
                  </a:lnTo>
                  <a:lnTo>
                    <a:pt x="3069044" y="202260"/>
                  </a:lnTo>
                  <a:lnTo>
                    <a:pt x="3069044" y="200876"/>
                  </a:lnTo>
                  <a:lnTo>
                    <a:pt x="3069044" y="202260"/>
                  </a:lnTo>
                  <a:lnTo>
                    <a:pt x="3069095" y="202260"/>
                  </a:lnTo>
                  <a:lnTo>
                    <a:pt x="3069095" y="200876"/>
                  </a:lnTo>
                  <a:lnTo>
                    <a:pt x="3069146" y="200876"/>
                  </a:lnTo>
                  <a:lnTo>
                    <a:pt x="3069146" y="199530"/>
                  </a:lnTo>
                  <a:lnTo>
                    <a:pt x="3069184" y="199530"/>
                  </a:lnTo>
                  <a:lnTo>
                    <a:pt x="3069184" y="197447"/>
                  </a:lnTo>
                  <a:lnTo>
                    <a:pt x="3069286" y="197447"/>
                  </a:lnTo>
                  <a:lnTo>
                    <a:pt x="3069286" y="199530"/>
                  </a:lnTo>
                  <a:lnTo>
                    <a:pt x="3069286" y="197447"/>
                  </a:lnTo>
                  <a:lnTo>
                    <a:pt x="3069286" y="198831"/>
                  </a:lnTo>
                  <a:lnTo>
                    <a:pt x="3069337" y="198831"/>
                  </a:lnTo>
                  <a:lnTo>
                    <a:pt x="3069337" y="200228"/>
                  </a:lnTo>
                  <a:lnTo>
                    <a:pt x="3069337" y="199530"/>
                  </a:lnTo>
                  <a:lnTo>
                    <a:pt x="3069337" y="200228"/>
                  </a:lnTo>
                  <a:lnTo>
                    <a:pt x="3069337" y="199530"/>
                  </a:lnTo>
                  <a:lnTo>
                    <a:pt x="3069387" y="199530"/>
                  </a:lnTo>
                  <a:lnTo>
                    <a:pt x="3069387" y="200228"/>
                  </a:lnTo>
                  <a:lnTo>
                    <a:pt x="3069387" y="199530"/>
                  </a:lnTo>
                  <a:lnTo>
                    <a:pt x="3069387" y="200228"/>
                  </a:lnTo>
                  <a:lnTo>
                    <a:pt x="3069387" y="199530"/>
                  </a:lnTo>
                  <a:lnTo>
                    <a:pt x="3069387" y="200228"/>
                  </a:lnTo>
                  <a:lnTo>
                    <a:pt x="3069489" y="200228"/>
                  </a:lnTo>
                  <a:lnTo>
                    <a:pt x="3069489" y="200876"/>
                  </a:lnTo>
                  <a:lnTo>
                    <a:pt x="3069489" y="200228"/>
                  </a:lnTo>
                  <a:lnTo>
                    <a:pt x="3069489" y="200876"/>
                  </a:lnTo>
                  <a:lnTo>
                    <a:pt x="3069489" y="200228"/>
                  </a:lnTo>
                  <a:lnTo>
                    <a:pt x="3069489" y="200876"/>
                  </a:lnTo>
                  <a:lnTo>
                    <a:pt x="3069489" y="200228"/>
                  </a:lnTo>
                  <a:lnTo>
                    <a:pt x="3069489" y="200876"/>
                  </a:lnTo>
                  <a:lnTo>
                    <a:pt x="3069489" y="200228"/>
                  </a:lnTo>
                  <a:lnTo>
                    <a:pt x="3069540" y="200876"/>
                  </a:lnTo>
                  <a:lnTo>
                    <a:pt x="3069540" y="202959"/>
                  </a:lnTo>
                  <a:lnTo>
                    <a:pt x="3069540" y="200876"/>
                  </a:lnTo>
                  <a:lnTo>
                    <a:pt x="3069540" y="202260"/>
                  </a:lnTo>
                  <a:lnTo>
                    <a:pt x="3069590" y="202260"/>
                  </a:lnTo>
                  <a:lnTo>
                    <a:pt x="3069590" y="200876"/>
                  </a:lnTo>
                  <a:lnTo>
                    <a:pt x="3069641" y="200876"/>
                  </a:lnTo>
                  <a:lnTo>
                    <a:pt x="3069641" y="200228"/>
                  </a:lnTo>
                  <a:lnTo>
                    <a:pt x="3069730" y="200228"/>
                  </a:lnTo>
                  <a:lnTo>
                    <a:pt x="3069730" y="198831"/>
                  </a:lnTo>
                  <a:lnTo>
                    <a:pt x="3069730" y="199530"/>
                  </a:lnTo>
                  <a:lnTo>
                    <a:pt x="3069730" y="198831"/>
                  </a:lnTo>
                  <a:lnTo>
                    <a:pt x="3069781" y="198831"/>
                  </a:lnTo>
                  <a:lnTo>
                    <a:pt x="3069781" y="199530"/>
                  </a:lnTo>
                  <a:lnTo>
                    <a:pt x="3069781" y="197447"/>
                  </a:lnTo>
                  <a:lnTo>
                    <a:pt x="3069781" y="199530"/>
                  </a:lnTo>
                  <a:lnTo>
                    <a:pt x="3069832" y="200228"/>
                  </a:lnTo>
                  <a:lnTo>
                    <a:pt x="3069832" y="198831"/>
                  </a:lnTo>
                  <a:lnTo>
                    <a:pt x="3069832" y="199530"/>
                  </a:lnTo>
                  <a:lnTo>
                    <a:pt x="3069883" y="199530"/>
                  </a:lnTo>
                  <a:lnTo>
                    <a:pt x="3069984" y="200228"/>
                  </a:lnTo>
                  <a:lnTo>
                    <a:pt x="3069984" y="199530"/>
                  </a:lnTo>
                  <a:lnTo>
                    <a:pt x="3069984" y="200228"/>
                  </a:lnTo>
                  <a:lnTo>
                    <a:pt x="3069984" y="199530"/>
                  </a:lnTo>
                  <a:lnTo>
                    <a:pt x="3069984" y="200228"/>
                  </a:lnTo>
                  <a:lnTo>
                    <a:pt x="3070035" y="199530"/>
                  </a:lnTo>
                  <a:lnTo>
                    <a:pt x="3070035" y="200228"/>
                  </a:lnTo>
                  <a:lnTo>
                    <a:pt x="3070086" y="200228"/>
                  </a:lnTo>
                  <a:lnTo>
                    <a:pt x="3070086" y="200876"/>
                  </a:lnTo>
                  <a:lnTo>
                    <a:pt x="3070086" y="200228"/>
                  </a:lnTo>
                  <a:lnTo>
                    <a:pt x="3070086" y="200876"/>
                  </a:lnTo>
                  <a:lnTo>
                    <a:pt x="3070086" y="200228"/>
                  </a:lnTo>
                  <a:lnTo>
                    <a:pt x="3070086" y="200876"/>
                  </a:lnTo>
                  <a:lnTo>
                    <a:pt x="3070086" y="200228"/>
                  </a:lnTo>
                  <a:lnTo>
                    <a:pt x="3070187" y="200228"/>
                  </a:lnTo>
                  <a:lnTo>
                    <a:pt x="3070187" y="199530"/>
                  </a:lnTo>
                  <a:lnTo>
                    <a:pt x="3070187" y="200228"/>
                  </a:lnTo>
                  <a:lnTo>
                    <a:pt x="3070187" y="199530"/>
                  </a:lnTo>
                  <a:lnTo>
                    <a:pt x="3070187" y="200228"/>
                  </a:lnTo>
                  <a:lnTo>
                    <a:pt x="3070187" y="199530"/>
                  </a:lnTo>
                  <a:lnTo>
                    <a:pt x="3070187" y="200228"/>
                  </a:lnTo>
                  <a:lnTo>
                    <a:pt x="3070187" y="199530"/>
                  </a:lnTo>
                  <a:lnTo>
                    <a:pt x="3070226" y="199530"/>
                  </a:lnTo>
                  <a:lnTo>
                    <a:pt x="3070226" y="200228"/>
                  </a:lnTo>
                  <a:lnTo>
                    <a:pt x="3070226" y="199530"/>
                  </a:lnTo>
                  <a:lnTo>
                    <a:pt x="3070226" y="200228"/>
                  </a:lnTo>
                  <a:lnTo>
                    <a:pt x="3070226" y="199530"/>
                  </a:lnTo>
                  <a:lnTo>
                    <a:pt x="3070226" y="200228"/>
                  </a:lnTo>
                  <a:lnTo>
                    <a:pt x="3070226" y="199530"/>
                  </a:lnTo>
                  <a:lnTo>
                    <a:pt x="3070226" y="200228"/>
                  </a:lnTo>
                  <a:lnTo>
                    <a:pt x="3070226" y="199530"/>
                  </a:lnTo>
                  <a:lnTo>
                    <a:pt x="3070226" y="200228"/>
                  </a:lnTo>
                  <a:lnTo>
                    <a:pt x="3070276" y="200228"/>
                  </a:lnTo>
                  <a:lnTo>
                    <a:pt x="3070276" y="202260"/>
                  </a:lnTo>
                  <a:lnTo>
                    <a:pt x="3070276" y="200228"/>
                  </a:lnTo>
                  <a:lnTo>
                    <a:pt x="3070327" y="200228"/>
                  </a:lnTo>
                  <a:lnTo>
                    <a:pt x="3070327" y="202260"/>
                  </a:lnTo>
                  <a:lnTo>
                    <a:pt x="3070327" y="200876"/>
                  </a:lnTo>
                  <a:lnTo>
                    <a:pt x="3070429" y="200876"/>
                  </a:lnTo>
                  <a:lnTo>
                    <a:pt x="3070429" y="202260"/>
                  </a:lnTo>
                  <a:lnTo>
                    <a:pt x="3070429" y="200876"/>
                  </a:lnTo>
                  <a:lnTo>
                    <a:pt x="3070429" y="202260"/>
                  </a:lnTo>
                  <a:lnTo>
                    <a:pt x="3070429" y="200876"/>
                  </a:lnTo>
                  <a:lnTo>
                    <a:pt x="3070429" y="202260"/>
                  </a:lnTo>
                  <a:lnTo>
                    <a:pt x="3070480" y="202260"/>
                  </a:lnTo>
                  <a:lnTo>
                    <a:pt x="3070480" y="200876"/>
                  </a:lnTo>
                  <a:lnTo>
                    <a:pt x="3070480" y="202959"/>
                  </a:lnTo>
                  <a:lnTo>
                    <a:pt x="3070480" y="200876"/>
                  </a:lnTo>
                  <a:lnTo>
                    <a:pt x="3070480" y="202260"/>
                  </a:lnTo>
                  <a:lnTo>
                    <a:pt x="3070530" y="202260"/>
                  </a:lnTo>
                  <a:lnTo>
                    <a:pt x="3070530" y="200876"/>
                  </a:lnTo>
                  <a:lnTo>
                    <a:pt x="3070530" y="202260"/>
                  </a:lnTo>
                  <a:lnTo>
                    <a:pt x="3070530" y="200876"/>
                  </a:lnTo>
                  <a:lnTo>
                    <a:pt x="3070530" y="202260"/>
                  </a:lnTo>
                  <a:lnTo>
                    <a:pt x="3070530" y="200876"/>
                  </a:lnTo>
                  <a:lnTo>
                    <a:pt x="3070632" y="200876"/>
                  </a:lnTo>
                  <a:lnTo>
                    <a:pt x="3070632" y="202260"/>
                  </a:lnTo>
                  <a:lnTo>
                    <a:pt x="3070632" y="199530"/>
                  </a:lnTo>
                  <a:lnTo>
                    <a:pt x="3070683" y="199530"/>
                  </a:lnTo>
                  <a:lnTo>
                    <a:pt x="3070683" y="198831"/>
                  </a:lnTo>
                  <a:lnTo>
                    <a:pt x="3070683" y="199530"/>
                  </a:lnTo>
                  <a:lnTo>
                    <a:pt x="3070733" y="198831"/>
                  </a:lnTo>
                  <a:lnTo>
                    <a:pt x="3070733" y="200876"/>
                  </a:lnTo>
                  <a:lnTo>
                    <a:pt x="3070733" y="199530"/>
                  </a:lnTo>
                  <a:lnTo>
                    <a:pt x="3070772" y="199530"/>
                  </a:lnTo>
                  <a:lnTo>
                    <a:pt x="3070772" y="202959"/>
                  </a:lnTo>
                  <a:lnTo>
                    <a:pt x="3070772" y="200876"/>
                  </a:lnTo>
                  <a:lnTo>
                    <a:pt x="3070772" y="202260"/>
                  </a:lnTo>
                  <a:lnTo>
                    <a:pt x="3070772" y="200876"/>
                  </a:lnTo>
                  <a:lnTo>
                    <a:pt x="3070873" y="202260"/>
                  </a:lnTo>
                  <a:lnTo>
                    <a:pt x="3070873" y="200876"/>
                  </a:lnTo>
                  <a:lnTo>
                    <a:pt x="3070924" y="200876"/>
                  </a:lnTo>
                  <a:lnTo>
                    <a:pt x="3070924" y="202260"/>
                  </a:lnTo>
                  <a:lnTo>
                    <a:pt x="3070924" y="200876"/>
                  </a:lnTo>
                  <a:lnTo>
                    <a:pt x="3070924" y="202260"/>
                  </a:lnTo>
                  <a:lnTo>
                    <a:pt x="3070975" y="202260"/>
                  </a:lnTo>
                  <a:lnTo>
                    <a:pt x="3070975" y="200876"/>
                  </a:lnTo>
                  <a:lnTo>
                    <a:pt x="3070975" y="202260"/>
                  </a:lnTo>
                  <a:lnTo>
                    <a:pt x="3071076" y="202260"/>
                  </a:lnTo>
                  <a:lnTo>
                    <a:pt x="3071076" y="200876"/>
                  </a:lnTo>
                  <a:lnTo>
                    <a:pt x="3071127" y="200228"/>
                  </a:lnTo>
                  <a:lnTo>
                    <a:pt x="3071127" y="200876"/>
                  </a:lnTo>
                  <a:lnTo>
                    <a:pt x="3071127" y="200228"/>
                  </a:lnTo>
                  <a:lnTo>
                    <a:pt x="3071127" y="200876"/>
                  </a:lnTo>
                  <a:lnTo>
                    <a:pt x="3071127" y="198831"/>
                  </a:lnTo>
                  <a:lnTo>
                    <a:pt x="3071178" y="198831"/>
                  </a:lnTo>
                  <a:lnTo>
                    <a:pt x="3071178" y="197447"/>
                  </a:lnTo>
                  <a:lnTo>
                    <a:pt x="3071178" y="200228"/>
                  </a:lnTo>
                  <a:lnTo>
                    <a:pt x="3071229" y="200228"/>
                  </a:lnTo>
                  <a:lnTo>
                    <a:pt x="3071229" y="199530"/>
                  </a:lnTo>
                  <a:lnTo>
                    <a:pt x="3071229" y="202260"/>
                  </a:lnTo>
                  <a:lnTo>
                    <a:pt x="3071229" y="200876"/>
                  </a:lnTo>
                  <a:lnTo>
                    <a:pt x="3071229" y="202260"/>
                  </a:lnTo>
                  <a:lnTo>
                    <a:pt x="3071318" y="200876"/>
                  </a:lnTo>
                  <a:lnTo>
                    <a:pt x="3071318" y="200228"/>
                  </a:lnTo>
                  <a:lnTo>
                    <a:pt x="3071318" y="202260"/>
                  </a:lnTo>
                  <a:lnTo>
                    <a:pt x="3071318" y="200876"/>
                  </a:lnTo>
                  <a:lnTo>
                    <a:pt x="3071318" y="202260"/>
                  </a:lnTo>
                  <a:lnTo>
                    <a:pt x="3071318" y="200876"/>
                  </a:lnTo>
                  <a:lnTo>
                    <a:pt x="3071369" y="200876"/>
                  </a:lnTo>
                  <a:lnTo>
                    <a:pt x="3071369" y="200228"/>
                  </a:lnTo>
                  <a:lnTo>
                    <a:pt x="3071369" y="202260"/>
                  </a:lnTo>
                  <a:lnTo>
                    <a:pt x="3071419" y="202260"/>
                  </a:lnTo>
                  <a:lnTo>
                    <a:pt x="3071419" y="200876"/>
                  </a:lnTo>
                  <a:lnTo>
                    <a:pt x="3071419" y="202959"/>
                  </a:lnTo>
                  <a:lnTo>
                    <a:pt x="3071419" y="202260"/>
                  </a:lnTo>
                  <a:lnTo>
                    <a:pt x="3071419" y="202959"/>
                  </a:lnTo>
                  <a:lnTo>
                    <a:pt x="3071419" y="202260"/>
                  </a:lnTo>
                  <a:lnTo>
                    <a:pt x="3071470" y="202959"/>
                  </a:lnTo>
                  <a:lnTo>
                    <a:pt x="3071470" y="203594"/>
                  </a:lnTo>
                  <a:lnTo>
                    <a:pt x="3071470" y="202260"/>
                  </a:lnTo>
                  <a:lnTo>
                    <a:pt x="3071572" y="202260"/>
                  </a:lnTo>
                  <a:lnTo>
                    <a:pt x="3071572" y="200876"/>
                  </a:lnTo>
                  <a:lnTo>
                    <a:pt x="3071622" y="200876"/>
                  </a:lnTo>
                  <a:lnTo>
                    <a:pt x="3071622" y="199530"/>
                  </a:lnTo>
                  <a:lnTo>
                    <a:pt x="3071622" y="200228"/>
                  </a:lnTo>
                  <a:lnTo>
                    <a:pt x="3071622" y="198831"/>
                  </a:lnTo>
                  <a:lnTo>
                    <a:pt x="3071673" y="198831"/>
                  </a:lnTo>
                  <a:lnTo>
                    <a:pt x="3071673" y="199530"/>
                  </a:lnTo>
                  <a:lnTo>
                    <a:pt x="3071673" y="197447"/>
                  </a:lnTo>
                  <a:lnTo>
                    <a:pt x="3071673" y="200228"/>
                  </a:lnTo>
                  <a:lnTo>
                    <a:pt x="3071673" y="199530"/>
                  </a:lnTo>
                  <a:lnTo>
                    <a:pt x="3071775" y="198831"/>
                  </a:lnTo>
                  <a:lnTo>
                    <a:pt x="3071775" y="202260"/>
                  </a:lnTo>
                  <a:lnTo>
                    <a:pt x="3071775" y="200228"/>
                  </a:lnTo>
                  <a:lnTo>
                    <a:pt x="3071813" y="200228"/>
                  </a:lnTo>
                  <a:lnTo>
                    <a:pt x="3071813" y="199530"/>
                  </a:lnTo>
                  <a:lnTo>
                    <a:pt x="3071813" y="202260"/>
                  </a:lnTo>
                  <a:lnTo>
                    <a:pt x="3071813" y="200876"/>
                  </a:lnTo>
                  <a:lnTo>
                    <a:pt x="3071813" y="202260"/>
                  </a:lnTo>
                  <a:lnTo>
                    <a:pt x="3071813" y="200876"/>
                  </a:lnTo>
                  <a:lnTo>
                    <a:pt x="3071864" y="200876"/>
                  </a:lnTo>
                  <a:lnTo>
                    <a:pt x="3071864" y="202260"/>
                  </a:lnTo>
                  <a:lnTo>
                    <a:pt x="3071864" y="200876"/>
                  </a:lnTo>
                  <a:lnTo>
                    <a:pt x="3071864" y="202260"/>
                  </a:lnTo>
                  <a:lnTo>
                    <a:pt x="3071915" y="202260"/>
                  </a:lnTo>
                  <a:lnTo>
                    <a:pt x="3071915" y="202959"/>
                  </a:lnTo>
                  <a:lnTo>
                    <a:pt x="3071915" y="202260"/>
                  </a:lnTo>
                  <a:lnTo>
                    <a:pt x="3072016" y="202260"/>
                  </a:lnTo>
                  <a:lnTo>
                    <a:pt x="3072016" y="202959"/>
                  </a:lnTo>
                  <a:lnTo>
                    <a:pt x="3072016" y="200876"/>
                  </a:lnTo>
                  <a:lnTo>
                    <a:pt x="3072016" y="202260"/>
                  </a:lnTo>
                  <a:lnTo>
                    <a:pt x="3072016" y="200876"/>
                  </a:lnTo>
                  <a:lnTo>
                    <a:pt x="3072016" y="202260"/>
                  </a:lnTo>
                  <a:lnTo>
                    <a:pt x="3072067" y="202260"/>
                  </a:lnTo>
                  <a:lnTo>
                    <a:pt x="3072067" y="200876"/>
                  </a:lnTo>
                  <a:lnTo>
                    <a:pt x="3072067" y="202260"/>
                  </a:lnTo>
                  <a:lnTo>
                    <a:pt x="3072067" y="200228"/>
                  </a:lnTo>
                  <a:lnTo>
                    <a:pt x="3072067" y="200876"/>
                  </a:lnTo>
                  <a:lnTo>
                    <a:pt x="3072118" y="200876"/>
                  </a:lnTo>
                  <a:lnTo>
                    <a:pt x="3072118" y="199530"/>
                  </a:lnTo>
                  <a:lnTo>
                    <a:pt x="3072118" y="200228"/>
                  </a:lnTo>
                  <a:lnTo>
                    <a:pt x="3072118" y="198831"/>
                  </a:lnTo>
                  <a:lnTo>
                    <a:pt x="3072118" y="199530"/>
                  </a:lnTo>
                  <a:lnTo>
                    <a:pt x="3072118" y="198831"/>
                  </a:lnTo>
                  <a:lnTo>
                    <a:pt x="3072219" y="199530"/>
                  </a:lnTo>
                  <a:lnTo>
                    <a:pt x="3072219" y="197447"/>
                  </a:lnTo>
                  <a:lnTo>
                    <a:pt x="3072219" y="199530"/>
                  </a:lnTo>
                  <a:lnTo>
                    <a:pt x="3072219" y="198831"/>
                  </a:lnTo>
                  <a:lnTo>
                    <a:pt x="3072270" y="198831"/>
                  </a:lnTo>
                  <a:lnTo>
                    <a:pt x="3072270" y="197447"/>
                  </a:lnTo>
                  <a:lnTo>
                    <a:pt x="3072270" y="200228"/>
                  </a:lnTo>
                  <a:lnTo>
                    <a:pt x="3072270" y="198831"/>
                  </a:lnTo>
                  <a:lnTo>
                    <a:pt x="3072321" y="198831"/>
                  </a:lnTo>
                  <a:lnTo>
                    <a:pt x="3072321" y="200228"/>
                  </a:lnTo>
                  <a:lnTo>
                    <a:pt x="3072321" y="199530"/>
                  </a:lnTo>
                  <a:lnTo>
                    <a:pt x="3072321" y="200228"/>
                  </a:lnTo>
                  <a:lnTo>
                    <a:pt x="3072359" y="200228"/>
                  </a:lnTo>
                  <a:lnTo>
                    <a:pt x="3072359" y="200876"/>
                  </a:lnTo>
                  <a:lnTo>
                    <a:pt x="3072359" y="200228"/>
                  </a:lnTo>
                  <a:lnTo>
                    <a:pt x="3072461" y="200876"/>
                  </a:lnTo>
                  <a:lnTo>
                    <a:pt x="3072461" y="202260"/>
                  </a:lnTo>
                  <a:lnTo>
                    <a:pt x="3072461" y="200876"/>
                  </a:lnTo>
                  <a:lnTo>
                    <a:pt x="3072461" y="202260"/>
                  </a:lnTo>
                  <a:lnTo>
                    <a:pt x="3072461" y="200876"/>
                  </a:lnTo>
                  <a:lnTo>
                    <a:pt x="3072461" y="202260"/>
                  </a:lnTo>
                  <a:lnTo>
                    <a:pt x="3072512" y="202260"/>
                  </a:lnTo>
                  <a:lnTo>
                    <a:pt x="3072512" y="200876"/>
                  </a:lnTo>
                  <a:lnTo>
                    <a:pt x="3072562" y="200876"/>
                  </a:lnTo>
                  <a:lnTo>
                    <a:pt x="3072562" y="200228"/>
                  </a:lnTo>
                  <a:lnTo>
                    <a:pt x="3072562" y="200876"/>
                  </a:lnTo>
                  <a:lnTo>
                    <a:pt x="3072562" y="200228"/>
                  </a:lnTo>
                  <a:lnTo>
                    <a:pt x="3072664" y="199530"/>
                  </a:lnTo>
                  <a:lnTo>
                    <a:pt x="3072664" y="200228"/>
                  </a:lnTo>
                  <a:lnTo>
                    <a:pt x="3072664" y="198831"/>
                  </a:lnTo>
                  <a:lnTo>
                    <a:pt x="3072664" y="199530"/>
                  </a:lnTo>
                  <a:lnTo>
                    <a:pt x="3072664" y="198831"/>
                  </a:lnTo>
                  <a:lnTo>
                    <a:pt x="3072715" y="198831"/>
                  </a:lnTo>
                  <a:lnTo>
                    <a:pt x="3072715" y="197447"/>
                  </a:lnTo>
                  <a:lnTo>
                    <a:pt x="3072715" y="199530"/>
                  </a:lnTo>
                  <a:lnTo>
                    <a:pt x="3072715" y="197447"/>
                  </a:lnTo>
                  <a:lnTo>
                    <a:pt x="3072765" y="196799"/>
                  </a:lnTo>
                  <a:lnTo>
                    <a:pt x="3072765" y="196113"/>
                  </a:lnTo>
                  <a:lnTo>
                    <a:pt x="3072765" y="200228"/>
                  </a:lnTo>
                  <a:lnTo>
                    <a:pt x="3072765" y="197447"/>
                  </a:lnTo>
                  <a:lnTo>
                    <a:pt x="3072816" y="197447"/>
                  </a:lnTo>
                  <a:lnTo>
                    <a:pt x="3072816" y="196799"/>
                  </a:lnTo>
                  <a:lnTo>
                    <a:pt x="3072816" y="199530"/>
                  </a:lnTo>
                  <a:lnTo>
                    <a:pt x="3072816" y="198831"/>
                  </a:lnTo>
                  <a:lnTo>
                    <a:pt x="3072905" y="198831"/>
                  </a:lnTo>
                  <a:lnTo>
                    <a:pt x="3072905" y="199530"/>
                  </a:lnTo>
                  <a:lnTo>
                    <a:pt x="3072905" y="198831"/>
                  </a:lnTo>
                  <a:lnTo>
                    <a:pt x="3072905" y="199530"/>
                  </a:lnTo>
                  <a:lnTo>
                    <a:pt x="3072956" y="199530"/>
                  </a:lnTo>
                  <a:lnTo>
                    <a:pt x="3072956" y="200228"/>
                  </a:lnTo>
                  <a:lnTo>
                    <a:pt x="3073007" y="200228"/>
                  </a:lnTo>
                  <a:lnTo>
                    <a:pt x="3073007" y="200876"/>
                  </a:lnTo>
                  <a:lnTo>
                    <a:pt x="3073007" y="200228"/>
                  </a:lnTo>
                  <a:lnTo>
                    <a:pt x="3073007" y="200876"/>
                  </a:lnTo>
                  <a:lnTo>
                    <a:pt x="3073007" y="200228"/>
                  </a:lnTo>
                  <a:lnTo>
                    <a:pt x="3073058" y="200228"/>
                  </a:lnTo>
                  <a:lnTo>
                    <a:pt x="3073058" y="200876"/>
                  </a:lnTo>
                  <a:lnTo>
                    <a:pt x="3073058" y="200228"/>
                  </a:lnTo>
                  <a:lnTo>
                    <a:pt x="3073159" y="200228"/>
                  </a:lnTo>
                  <a:lnTo>
                    <a:pt x="3073159" y="199530"/>
                  </a:lnTo>
                  <a:lnTo>
                    <a:pt x="3073159" y="200228"/>
                  </a:lnTo>
                  <a:lnTo>
                    <a:pt x="3073159" y="199530"/>
                  </a:lnTo>
                  <a:lnTo>
                    <a:pt x="3073159" y="200228"/>
                  </a:lnTo>
                  <a:lnTo>
                    <a:pt x="3073159" y="198831"/>
                  </a:lnTo>
                  <a:lnTo>
                    <a:pt x="3073210" y="199530"/>
                  </a:lnTo>
                  <a:lnTo>
                    <a:pt x="3073210" y="200228"/>
                  </a:lnTo>
                  <a:lnTo>
                    <a:pt x="3073210" y="197447"/>
                  </a:lnTo>
                  <a:lnTo>
                    <a:pt x="3073210" y="198831"/>
                  </a:lnTo>
                  <a:lnTo>
                    <a:pt x="3073210" y="197447"/>
                  </a:lnTo>
                  <a:lnTo>
                    <a:pt x="3073210" y="200228"/>
                  </a:lnTo>
                  <a:lnTo>
                    <a:pt x="3073261" y="200876"/>
                  </a:lnTo>
                  <a:lnTo>
                    <a:pt x="3073261" y="199530"/>
                  </a:lnTo>
                  <a:lnTo>
                    <a:pt x="3073261" y="200228"/>
                  </a:lnTo>
                  <a:lnTo>
                    <a:pt x="3073362" y="200228"/>
                  </a:lnTo>
                  <a:lnTo>
                    <a:pt x="3073362" y="200876"/>
                  </a:lnTo>
                  <a:lnTo>
                    <a:pt x="3073362" y="200228"/>
                  </a:lnTo>
                  <a:lnTo>
                    <a:pt x="3073362" y="200876"/>
                  </a:lnTo>
                  <a:lnTo>
                    <a:pt x="3073401" y="200876"/>
                  </a:lnTo>
                  <a:lnTo>
                    <a:pt x="3073401" y="200228"/>
                  </a:lnTo>
                  <a:lnTo>
                    <a:pt x="3073401" y="200876"/>
                  </a:lnTo>
                  <a:lnTo>
                    <a:pt x="3073451" y="200228"/>
                  </a:lnTo>
                  <a:lnTo>
                    <a:pt x="3073451" y="200876"/>
                  </a:lnTo>
                  <a:lnTo>
                    <a:pt x="3073451" y="200228"/>
                  </a:lnTo>
                  <a:lnTo>
                    <a:pt x="3073451" y="200876"/>
                  </a:lnTo>
                  <a:lnTo>
                    <a:pt x="3073502" y="200876"/>
                  </a:lnTo>
                  <a:lnTo>
                    <a:pt x="3073502" y="200228"/>
                  </a:lnTo>
                  <a:lnTo>
                    <a:pt x="3073502" y="200876"/>
                  </a:lnTo>
                  <a:lnTo>
                    <a:pt x="3073604" y="200876"/>
                  </a:lnTo>
                  <a:lnTo>
                    <a:pt x="3073604" y="200228"/>
                  </a:lnTo>
                  <a:lnTo>
                    <a:pt x="3073604" y="200876"/>
                  </a:lnTo>
                  <a:lnTo>
                    <a:pt x="3073604" y="200228"/>
                  </a:lnTo>
                  <a:lnTo>
                    <a:pt x="3073604" y="200876"/>
                  </a:lnTo>
                  <a:lnTo>
                    <a:pt x="3073604" y="199530"/>
                  </a:lnTo>
                  <a:lnTo>
                    <a:pt x="3073604" y="200228"/>
                  </a:lnTo>
                  <a:lnTo>
                    <a:pt x="3073604" y="199530"/>
                  </a:lnTo>
                  <a:lnTo>
                    <a:pt x="3073604" y="200228"/>
                  </a:lnTo>
                  <a:lnTo>
                    <a:pt x="3073655" y="200228"/>
                  </a:lnTo>
                  <a:lnTo>
                    <a:pt x="3073655" y="199530"/>
                  </a:lnTo>
                  <a:lnTo>
                    <a:pt x="3073655" y="200228"/>
                  </a:lnTo>
                  <a:lnTo>
                    <a:pt x="3073655" y="198831"/>
                  </a:lnTo>
                  <a:lnTo>
                    <a:pt x="3073655" y="200228"/>
                  </a:lnTo>
                  <a:lnTo>
                    <a:pt x="3073705" y="200876"/>
                  </a:lnTo>
                  <a:lnTo>
                    <a:pt x="3073705" y="198831"/>
                  </a:lnTo>
                  <a:lnTo>
                    <a:pt x="3073705" y="200876"/>
                  </a:lnTo>
                  <a:lnTo>
                    <a:pt x="3073807" y="200876"/>
                  </a:lnTo>
                  <a:lnTo>
                    <a:pt x="3073807" y="200228"/>
                  </a:lnTo>
                  <a:lnTo>
                    <a:pt x="3073807" y="202260"/>
                  </a:lnTo>
                  <a:lnTo>
                    <a:pt x="3073807" y="200876"/>
                  </a:lnTo>
                  <a:lnTo>
                    <a:pt x="3073858" y="200876"/>
                  </a:lnTo>
                  <a:lnTo>
                    <a:pt x="3073858" y="202260"/>
                  </a:lnTo>
                  <a:lnTo>
                    <a:pt x="3073858" y="200876"/>
                  </a:lnTo>
                  <a:lnTo>
                    <a:pt x="3073858" y="202260"/>
                  </a:lnTo>
                  <a:lnTo>
                    <a:pt x="3073858" y="200876"/>
                  </a:lnTo>
                  <a:lnTo>
                    <a:pt x="3073858" y="202260"/>
                  </a:lnTo>
                  <a:lnTo>
                    <a:pt x="3073908" y="200876"/>
                  </a:lnTo>
                  <a:lnTo>
                    <a:pt x="3073908" y="202260"/>
                  </a:lnTo>
                  <a:lnTo>
                    <a:pt x="3073908" y="200876"/>
                  </a:lnTo>
                  <a:lnTo>
                    <a:pt x="3073908" y="202260"/>
                  </a:lnTo>
                  <a:lnTo>
                    <a:pt x="3073908" y="200876"/>
                  </a:lnTo>
                  <a:lnTo>
                    <a:pt x="3073947" y="200876"/>
                  </a:lnTo>
                  <a:lnTo>
                    <a:pt x="3073947" y="200228"/>
                  </a:lnTo>
                  <a:lnTo>
                    <a:pt x="3073947" y="202260"/>
                  </a:lnTo>
                  <a:lnTo>
                    <a:pt x="3073947" y="200228"/>
                  </a:lnTo>
                  <a:lnTo>
                    <a:pt x="3074048" y="200876"/>
                  </a:lnTo>
                  <a:lnTo>
                    <a:pt x="3074048" y="200228"/>
                  </a:lnTo>
                  <a:lnTo>
                    <a:pt x="3074048" y="200876"/>
                  </a:lnTo>
                  <a:lnTo>
                    <a:pt x="3074048" y="200228"/>
                  </a:lnTo>
                  <a:lnTo>
                    <a:pt x="3074099" y="200228"/>
                  </a:lnTo>
                  <a:lnTo>
                    <a:pt x="3074099" y="199530"/>
                  </a:lnTo>
                  <a:lnTo>
                    <a:pt x="3074099" y="200228"/>
                  </a:lnTo>
                  <a:lnTo>
                    <a:pt x="3074099" y="199530"/>
                  </a:lnTo>
                  <a:lnTo>
                    <a:pt x="3074099" y="200228"/>
                  </a:lnTo>
                  <a:lnTo>
                    <a:pt x="3074099" y="199530"/>
                  </a:lnTo>
                  <a:lnTo>
                    <a:pt x="3074099" y="200228"/>
                  </a:lnTo>
                  <a:lnTo>
                    <a:pt x="3074099" y="199530"/>
                  </a:lnTo>
                  <a:lnTo>
                    <a:pt x="3074099" y="200228"/>
                  </a:lnTo>
                  <a:lnTo>
                    <a:pt x="3074099" y="199530"/>
                  </a:lnTo>
                  <a:lnTo>
                    <a:pt x="3074150" y="199530"/>
                  </a:lnTo>
                  <a:lnTo>
                    <a:pt x="3074150" y="196799"/>
                  </a:lnTo>
                  <a:lnTo>
                    <a:pt x="3074150" y="199530"/>
                  </a:lnTo>
                  <a:lnTo>
                    <a:pt x="3074251" y="199530"/>
                  </a:lnTo>
                  <a:lnTo>
                    <a:pt x="3074251" y="196799"/>
                  </a:lnTo>
                  <a:lnTo>
                    <a:pt x="3074251" y="200228"/>
                  </a:lnTo>
                  <a:lnTo>
                    <a:pt x="3074302" y="200228"/>
                  </a:lnTo>
                  <a:lnTo>
                    <a:pt x="3074302" y="198831"/>
                  </a:lnTo>
                  <a:lnTo>
                    <a:pt x="3074302" y="200876"/>
                  </a:lnTo>
                  <a:lnTo>
                    <a:pt x="3074353" y="200876"/>
                  </a:lnTo>
                  <a:lnTo>
                    <a:pt x="3074353" y="200228"/>
                  </a:lnTo>
                  <a:lnTo>
                    <a:pt x="3074353" y="200876"/>
                  </a:lnTo>
                  <a:lnTo>
                    <a:pt x="3074404" y="200876"/>
                  </a:lnTo>
                  <a:lnTo>
                    <a:pt x="3074404" y="202260"/>
                  </a:lnTo>
                  <a:lnTo>
                    <a:pt x="3074493" y="202260"/>
                  </a:lnTo>
                  <a:lnTo>
                    <a:pt x="3074493" y="200876"/>
                  </a:lnTo>
                  <a:lnTo>
                    <a:pt x="3074493" y="202260"/>
                  </a:lnTo>
                  <a:lnTo>
                    <a:pt x="3074493" y="200876"/>
                  </a:lnTo>
                  <a:lnTo>
                    <a:pt x="3074493" y="202260"/>
                  </a:lnTo>
                  <a:lnTo>
                    <a:pt x="3074493" y="200876"/>
                  </a:lnTo>
                  <a:lnTo>
                    <a:pt x="3074544" y="200876"/>
                  </a:lnTo>
                  <a:lnTo>
                    <a:pt x="3074544" y="200228"/>
                  </a:lnTo>
                  <a:lnTo>
                    <a:pt x="3074544" y="200876"/>
                  </a:lnTo>
                  <a:lnTo>
                    <a:pt x="3074544" y="200228"/>
                  </a:lnTo>
                  <a:lnTo>
                    <a:pt x="3074544" y="200876"/>
                  </a:lnTo>
                  <a:lnTo>
                    <a:pt x="3074594" y="200876"/>
                  </a:lnTo>
                  <a:lnTo>
                    <a:pt x="3074594" y="198831"/>
                  </a:lnTo>
                  <a:lnTo>
                    <a:pt x="3074645" y="198831"/>
                  </a:lnTo>
                  <a:lnTo>
                    <a:pt x="3074645" y="196799"/>
                  </a:lnTo>
                  <a:lnTo>
                    <a:pt x="3074645" y="199530"/>
                  </a:lnTo>
                  <a:lnTo>
                    <a:pt x="3074645" y="198831"/>
                  </a:lnTo>
                  <a:lnTo>
                    <a:pt x="3074747" y="197447"/>
                  </a:lnTo>
                  <a:lnTo>
                    <a:pt x="3074747" y="196799"/>
                  </a:lnTo>
                  <a:lnTo>
                    <a:pt x="3074747" y="200228"/>
                  </a:lnTo>
                  <a:lnTo>
                    <a:pt x="3074747" y="199530"/>
                  </a:lnTo>
                  <a:lnTo>
                    <a:pt x="3074797" y="199530"/>
                  </a:lnTo>
                  <a:lnTo>
                    <a:pt x="3074797" y="198831"/>
                  </a:lnTo>
                  <a:lnTo>
                    <a:pt x="3074797" y="200228"/>
                  </a:lnTo>
                  <a:lnTo>
                    <a:pt x="3074848" y="199530"/>
                  </a:lnTo>
                  <a:lnTo>
                    <a:pt x="3074848" y="200876"/>
                  </a:lnTo>
                  <a:lnTo>
                    <a:pt x="3074848" y="200228"/>
                  </a:lnTo>
                  <a:lnTo>
                    <a:pt x="3074950" y="200228"/>
                  </a:lnTo>
                  <a:lnTo>
                    <a:pt x="3074950" y="200876"/>
                  </a:lnTo>
                  <a:lnTo>
                    <a:pt x="3074950" y="200228"/>
                  </a:lnTo>
                  <a:lnTo>
                    <a:pt x="3074950" y="200876"/>
                  </a:lnTo>
                  <a:lnTo>
                    <a:pt x="3074950" y="200228"/>
                  </a:lnTo>
                  <a:lnTo>
                    <a:pt x="3074988" y="200876"/>
                  </a:lnTo>
                  <a:lnTo>
                    <a:pt x="3074988" y="200228"/>
                  </a:lnTo>
                  <a:lnTo>
                    <a:pt x="3074988" y="200876"/>
                  </a:lnTo>
                  <a:lnTo>
                    <a:pt x="3074988" y="200228"/>
                  </a:lnTo>
                  <a:lnTo>
                    <a:pt x="3074988" y="202260"/>
                  </a:lnTo>
                  <a:lnTo>
                    <a:pt x="3074988" y="200876"/>
                  </a:lnTo>
                  <a:lnTo>
                    <a:pt x="3075039" y="200876"/>
                  </a:lnTo>
                  <a:lnTo>
                    <a:pt x="3075039" y="200228"/>
                  </a:lnTo>
                  <a:lnTo>
                    <a:pt x="3075039" y="200876"/>
                  </a:lnTo>
                  <a:lnTo>
                    <a:pt x="3075090" y="200876"/>
                  </a:lnTo>
                  <a:lnTo>
                    <a:pt x="3075090" y="199530"/>
                  </a:lnTo>
                  <a:lnTo>
                    <a:pt x="3075090" y="200228"/>
                  </a:lnTo>
                  <a:lnTo>
                    <a:pt x="3075090" y="198831"/>
                  </a:lnTo>
                  <a:lnTo>
                    <a:pt x="3075090" y="199530"/>
                  </a:lnTo>
                  <a:lnTo>
                    <a:pt x="3075191" y="198831"/>
                  </a:lnTo>
                  <a:lnTo>
                    <a:pt x="3075191" y="196799"/>
                  </a:lnTo>
                  <a:lnTo>
                    <a:pt x="3075191" y="197447"/>
                  </a:lnTo>
                  <a:lnTo>
                    <a:pt x="3075191" y="196799"/>
                  </a:lnTo>
                  <a:lnTo>
                    <a:pt x="3075191" y="198831"/>
                  </a:lnTo>
                  <a:lnTo>
                    <a:pt x="3075191" y="197447"/>
                  </a:lnTo>
                  <a:lnTo>
                    <a:pt x="3075242" y="197447"/>
                  </a:lnTo>
                  <a:lnTo>
                    <a:pt x="3075242" y="196113"/>
                  </a:lnTo>
                  <a:lnTo>
                    <a:pt x="3075242" y="200228"/>
                  </a:lnTo>
                  <a:lnTo>
                    <a:pt x="3075242" y="198831"/>
                  </a:lnTo>
                  <a:lnTo>
                    <a:pt x="3075242" y="199530"/>
                  </a:lnTo>
                  <a:lnTo>
                    <a:pt x="3075293" y="199530"/>
                  </a:lnTo>
                  <a:lnTo>
                    <a:pt x="3075293" y="197447"/>
                  </a:lnTo>
                  <a:lnTo>
                    <a:pt x="3075293" y="200228"/>
                  </a:lnTo>
                  <a:lnTo>
                    <a:pt x="3075293" y="199530"/>
                  </a:lnTo>
                  <a:lnTo>
                    <a:pt x="3075293" y="200228"/>
                  </a:lnTo>
                  <a:lnTo>
                    <a:pt x="3075394" y="199530"/>
                  </a:lnTo>
                  <a:lnTo>
                    <a:pt x="3075394" y="200228"/>
                  </a:lnTo>
                  <a:lnTo>
                    <a:pt x="3075394" y="199530"/>
                  </a:lnTo>
                  <a:lnTo>
                    <a:pt x="3075394" y="200228"/>
                  </a:lnTo>
                  <a:lnTo>
                    <a:pt x="3075394" y="199530"/>
                  </a:lnTo>
                  <a:lnTo>
                    <a:pt x="3075445" y="199530"/>
                  </a:lnTo>
                  <a:lnTo>
                    <a:pt x="3075445" y="200876"/>
                  </a:lnTo>
                  <a:lnTo>
                    <a:pt x="3075445" y="200228"/>
                  </a:lnTo>
                  <a:lnTo>
                    <a:pt x="3075445" y="200876"/>
                  </a:lnTo>
                  <a:lnTo>
                    <a:pt x="3075496" y="200876"/>
                  </a:lnTo>
                  <a:lnTo>
                    <a:pt x="3075496" y="200228"/>
                  </a:lnTo>
                  <a:lnTo>
                    <a:pt x="3075496" y="200876"/>
                  </a:lnTo>
                  <a:lnTo>
                    <a:pt x="3075534" y="200876"/>
                  </a:lnTo>
                  <a:lnTo>
                    <a:pt x="3075534" y="202260"/>
                  </a:lnTo>
                  <a:lnTo>
                    <a:pt x="3075534" y="200876"/>
                  </a:lnTo>
                  <a:lnTo>
                    <a:pt x="3075534" y="202260"/>
                  </a:lnTo>
                  <a:lnTo>
                    <a:pt x="3075534" y="200876"/>
                  </a:lnTo>
                  <a:lnTo>
                    <a:pt x="3075534" y="202260"/>
                  </a:lnTo>
                  <a:lnTo>
                    <a:pt x="3075534" y="200876"/>
                  </a:lnTo>
                  <a:lnTo>
                    <a:pt x="3075636" y="200228"/>
                  </a:lnTo>
                  <a:lnTo>
                    <a:pt x="3075636" y="197447"/>
                  </a:lnTo>
                  <a:lnTo>
                    <a:pt x="3075687" y="197447"/>
                  </a:lnTo>
                  <a:lnTo>
                    <a:pt x="3075687" y="199530"/>
                  </a:lnTo>
                  <a:lnTo>
                    <a:pt x="3075687" y="197447"/>
                  </a:lnTo>
                  <a:lnTo>
                    <a:pt x="3075737" y="197447"/>
                  </a:lnTo>
                  <a:lnTo>
                    <a:pt x="3075737" y="196799"/>
                  </a:lnTo>
                  <a:lnTo>
                    <a:pt x="3075737" y="200228"/>
                  </a:lnTo>
                  <a:lnTo>
                    <a:pt x="3075737" y="198831"/>
                  </a:lnTo>
                  <a:lnTo>
                    <a:pt x="3075839" y="198831"/>
                  </a:lnTo>
                  <a:lnTo>
                    <a:pt x="3075839" y="200228"/>
                  </a:lnTo>
                  <a:lnTo>
                    <a:pt x="3075839" y="199530"/>
                  </a:lnTo>
                  <a:lnTo>
                    <a:pt x="3075890" y="199530"/>
                  </a:lnTo>
                  <a:lnTo>
                    <a:pt x="3075890" y="200228"/>
                  </a:lnTo>
                  <a:lnTo>
                    <a:pt x="3075890" y="198831"/>
                  </a:lnTo>
                  <a:lnTo>
                    <a:pt x="3075890" y="199530"/>
                  </a:lnTo>
                  <a:lnTo>
                    <a:pt x="3075890" y="198831"/>
                  </a:lnTo>
                  <a:lnTo>
                    <a:pt x="3075940" y="199530"/>
                  </a:lnTo>
                  <a:lnTo>
                    <a:pt x="3075940" y="200228"/>
                  </a:lnTo>
                  <a:lnTo>
                    <a:pt x="3075991" y="199530"/>
                  </a:lnTo>
                  <a:lnTo>
                    <a:pt x="3075991" y="200876"/>
                  </a:lnTo>
                  <a:lnTo>
                    <a:pt x="3075991" y="200228"/>
                  </a:lnTo>
                  <a:lnTo>
                    <a:pt x="3075991" y="200876"/>
                  </a:lnTo>
                  <a:lnTo>
                    <a:pt x="3075991" y="200228"/>
                  </a:lnTo>
                  <a:lnTo>
                    <a:pt x="3076080" y="200228"/>
                  </a:lnTo>
                  <a:lnTo>
                    <a:pt x="3076080" y="199530"/>
                  </a:lnTo>
                  <a:lnTo>
                    <a:pt x="3076080" y="200228"/>
                  </a:lnTo>
                  <a:lnTo>
                    <a:pt x="3076131" y="200228"/>
                  </a:lnTo>
                  <a:lnTo>
                    <a:pt x="3076131" y="199530"/>
                  </a:lnTo>
                  <a:lnTo>
                    <a:pt x="3076131" y="200228"/>
                  </a:lnTo>
                  <a:lnTo>
                    <a:pt x="3076131" y="197447"/>
                  </a:lnTo>
                  <a:lnTo>
                    <a:pt x="3076131" y="199530"/>
                  </a:lnTo>
                  <a:lnTo>
                    <a:pt x="3076182" y="199530"/>
                  </a:lnTo>
                  <a:lnTo>
                    <a:pt x="3076182" y="200228"/>
                  </a:lnTo>
                  <a:lnTo>
                    <a:pt x="3076182" y="198831"/>
                  </a:lnTo>
                  <a:lnTo>
                    <a:pt x="3076182" y="200876"/>
                  </a:lnTo>
                  <a:lnTo>
                    <a:pt x="3076233" y="200876"/>
                  </a:lnTo>
                  <a:lnTo>
                    <a:pt x="3076233" y="202959"/>
                  </a:lnTo>
                  <a:lnTo>
                    <a:pt x="3076233" y="200228"/>
                  </a:lnTo>
                  <a:lnTo>
                    <a:pt x="3076233" y="202260"/>
                  </a:lnTo>
                  <a:lnTo>
                    <a:pt x="3076233" y="200876"/>
                  </a:lnTo>
                  <a:lnTo>
                    <a:pt x="3076334" y="200876"/>
                  </a:lnTo>
                  <a:lnTo>
                    <a:pt x="3076334" y="202260"/>
                  </a:lnTo>
                  <a:lnTo>
                    <a:pt x="3076334" y="200228"/>
                  </a:lnTo>
                  <a:lnTo>
                    <a:pt x="3076334" y="202260"/>
                  </a:lnTo>
                  <a:lnTo>
                    <a:pt x="3076334" y="200876"/>
                  </a:lnTo>
                  <a:lnTo>
                    <a:pt x="3076385" y="202260"/>
                  </a:lnTo>
                  <a:lnTo>
                    <a:pt x="3076385" y="200876"/>
                  </a:lnTo>
                  <a:lnTo>
                    <a:pt x="3076436" y="200876"/>
                  </a:lnTo>
                  <a:lnTo>
                    <a:pt x="3076436" y="202260"/>
                  </a:lnTo>
                  <a:lnTo>
                    <a:pt x="3076436" y="200876"/>
                  </a:lnTo>
                  <a:lnTo>
                    <a:pt x="3076436" y="202260"/>
                  </a:lnTo>
                  <a:lnTo>
                    <a:pt x="3076436" y="200876"/>
                  </a:lnTo>
                  <a:lnTo>
                    <a:pt x="3076436" y="202260"/>
                  </a:lnTo>
                  <a:lnTo>
                    <a:pt x="3076436" y="200876"/>
                  </a:lnTo>
                  <a:lnTo>
                    <a:pt x="3076436" y="202260"/>
                  </a:lnTo>
                  <a:lnTo>
                    <a:pt x="3076537" y="202260"/>
                  </a:lnTo>
                  <a:lnTo>
                    <a:pt x="3076537" y="200876"/>
                  </a:lnTo>
                  <a:lnTo>
                    <a:pt x="3076537" y="202260"/>
                  </a:lnTo>
                  <a:lnTo>
                    <a:pt x="3076537" y="200876"/>
                  </a:lnTo>
                  <a:lnTo>
                    <a:pt x="3076537" y="202260"/>
                  </a:lnTo>
                  <a:lnTo>
                    <a:pt x="3076537" y="200876"/>
                  </a:lnTo>
                  <a:lnTo>
                    <a:pt x="3076537" y="202260"/>
                  </a:lnTo>
                  <a:lnTo>
                    <a:pt x="3076537" y="200876"/>
                  </a:lnTo>
                  <a:lnTo>
                    <a:pt x="3076537" y="202260"/>
                  </a:lnTo>
                  <a:lnTo>
                    <a:pt x="3076537" y="200876"/>
                  </a:lnTo>
                  <a:lnTo>
                    <a:pt x="3076537" y="202260"/>
                  </a:lnTo>
                  <a:lnTo>
                    <a:pt x="3076537" y="200876"/>
                  </a:lnTo>
                  <a:lnTo>
                    <a:pt x="3076576" y="200876"/>
                  </a:lnTo>
                  <a:lnTo>
                    <a:pt x="3076576" y="200228"/>
                  </a:lnTo>
                  <a:lnTo>
                    <a:pt x="3076576" y="200876"/>
                  </a:lnTo>
                  <a:lnTo>
                    <a:pt x="3076576" y="199530"/>
                  </a:lnTo>
                  <a:lnTo>
                    <a:pt x="3076626" y="199530"/>
                  </a:lnTo>
                  <a:lnTo>
                    <a:pt x="3076626" y="200228"/>
                  </a:lnTo>
                  <a:lnTo>
                    <a:pt x="3076626" y="197447"/>
                  </a:lnTo>
                  <a:lnTo>
                    <a:pt x="3076626" y="200228"/>
                  </a:lnTo>
                  <a:lnTo>
                    <a:pt x="3076677" y="200228"/>
                  </a:lnTo>
                  <a:lnTo>
                    <a:pt x="3076677" y="198831"/>
                  </a:lnTo>
                  <a:lnTo>
                    <a:pt x="3076677" y="202959"/>
                  </a:lnTo>
                  <a:lnTo>
                    <a:pt x="3076779" y="202959"/>
                  </a:lnTo>
                  <a:lnTo>
                    <a:pt x="3076779" y="200228"/>
                  </a:lnTo>
                  <a:lnTo>
                    <a:pt x="3076779" y="200876"/>
                  </a:lnTo>
                  <a:lnTo>
                    <a:pt x="3076779" y="200228"/>
                  </a:lnTo>
                  <a:lnTo>
                    <a:pt x="3076779" y="202959"/>
                  </a:lnTo>
                  <a:lnTo>
                    <a:pt x="3076830" y="202260"/>
                  </a:lnTo>
                  <a:lnTo>
                    <a:pt x="3076830" y="200876"/>
                  </a:lnTo>
                  <a:lnTo>
                    <a:pt x="3076830" y="202260"/>
                  </a:lnTo>
                  <a:lnTo>
                    <a:pt x="3076830" y="200876"/>
                  </a:lnTo>
                  <a:lnTo>
                    <a:pt x="3076830" y="202260"/>
                  </a:lnTo>
                  <a:lnTo>
                    <a:pt x="3076830" y="200876"/>
                  </a:lnTo>
                  <a:lnTo>
                    <a:pt x="3076880" y="200876"/>
                  </a:lnTo>
                  <a:lnTo>
                    <a:pt x="3076880" y="202260"/>
                  </a:lnTo>
                  <a:lnTo>
                    <a:pt x="3076880" y="200876"/>
                  </a:lnTo>
                  <a:lnTo>
                    <a:pt x="3076982" y="200876"/>
                  </a:lnTo>
                  <a:lnTo>
                    <a:pt x="3076982" y="202260"/>
                  </a:lnTo>
                  <a:lnTo>
                    <a:pt x="3076982" y="200876"/>
                  </a:lnTo>
                  <a:lnTo>
                    <a:pt x="3076982" y="202260"/>
                  </a:lnTo>
                  <a:lnTo>
                    <a:pt x="3076982" y="200876"/>
                  </a:lnTo>
                  <a:lnTo>
                    <a:pt x="3077033" y="200876"/>
                  </a:lnTo>
                  <a:lnTo>
                    <a:pt x="3077033" y="199530"/>
                  </a:lnTo>
                  <a:lnTo>
                    <a:pt x="3077033" y="200876"/>
                  </a:lnTo>
                  <a:lnTo>
                    <a:pt x="3077033" y="200228"/>
                  </a:lnTo>
                  <a:lnTo>
                    <a:pt x="3077083" y="200228"/>
                  </a:lnTo>
                  <a:lnTo>
                    <a:pt x="3077083" y="198831"/>
                  </a:lnTo>
                  <a:lnTo>
                    <a:pt x="3077083" y="199530"/>
                  </a:lnTo>
                  <a:lnTo>
                    <a:pt x="3077083" y="198831"/>
                  </a:lnTo>
                  <a:lnTo>
                    <a:pt x="3077083" y="199530"/>
                  </a:lnTo>
                  <a:lnTo>
                    <a:pt x="3077083" y="198831"/>
                  </a:lnTo>
                  <a:lnTo>
                    <a:pt x="3077122" y="198831"/>
                  </a:lnTo>
                  <a:lnTo>
                    <a:pt x="3077122" y="197447"/>
                  </a:lnTo>
                  <a:lnTo>
                    <a:pt x="3077122" y="199530"/>
                  </a:lnTo>
                  <a:lnTo>
                    <a:pt x="3077122" y="198831"/>
                  </a:lnTo>
                  <a:lnTo>
                    <a:pt x="3077223" y="198831"/>
                  </a:lnTo>
                  <a:lnTo>
                    <a:pt x="3077223" y="200876"/>
                  </a:lnTo>
                  <a:lnTo>
                    <a:pt x="3077274" y="200228"/>
                  </a:lnTo>
                  <a:lnTo>
                    <a:pt x="3077274" y="202260"/>
                  </a:lnTo>
                  <a:lnTo>
                    <a:pt x="3077274" y="200228"/>
                  </a:lnTo>
                  <a:lnTo>
                    <a:pt x="3077325" y="200876"/>
                  </a:lnTo>
                  <a:lnTo>
                    <a:pt x="3077325" y="202260"/>
                  </a:lnTo>
                  <a:lnTo>
                    <a:pt x="3077325" y="200876"/>
                  </a:lnTo>
                  <a:lnTo>
                    <a:pt x="3077325" y="202260"/>
                  </a:lnTo>
                  <a:lnTo>
                    <a:pt x="3077325" y="200876"/>
                  </a:lnTo>
                  <a:lnTo>
                    <a:pt x="3077426" y="200876"/>
                  </a:lnTo>
                  <a:lnTo>
                    <a:pt x="3077426" y="202260"/>
                  </a:lnTo>
                  <a:lnTo>
                    <a:pt x="3077477" y="202959"/>
                  </a:lnTo>
                  <a:lnTo>
                    <a:pt x="3077477" y="202260"/>
                  </a:lnTo>
                  <a:lnTo>
                    <a:pt x="3077477" y="202959"/>
                  </a:lnTo>
                  <a:lnTo>
                    <a:pt x="3077477" y="202260"/>
                  </a:lnTo>
                  <a:lnTo>
                    <a:pt x="3077528" y="202260"/>
                  </a:lnTo>
                  <a:lnTo>
                    <a:pt x="3077528" y="200876"/>
                  </a:lnTo>
                  <a:lnTo>
                    <a:pt x="3077579" y="200228"/>
                  </a:lnTo>
                  <a:lnTo>
                    <a:pt x="3077579" y="198831"/>
                  </a:lnTo>
                  <a:lnTo>
                    <a:pt x="3077579" y="199530"/>
                  </a:lnTo>
                  <a:lnTo>
                    <a:pt x="3077579" y="198831"/>
                  </a:lnTo>
                  <a:lnTo>
                    <a:pt x="3077668" y="198831"/>
                  </a:lnTo>
                  <a:lnTo>
                    <a:pt x="3077668" y="199530"/>
                  </a:lnTo>
                  <a:lnTo>
                    <a:pt x="3077668" y="198831"/>
                  </a:lnTo>
                  <a:lnTo>
                    <a:pt x="3077719" y="198831"/>
                  </a:lnTo>
                  <a:lnTo>
                    <a:pt x="3077719" y="200876"/>
                  </a:lnTo>
                  <a:lnTo>
                    <a:pt x="3077719" y="200228"/>
                  </a:lnTo>
                  <a:lnTo>
                    <a:pt x="3077719" y="200876"/>
                  </a:lnTo>
                  <a:lnTo>
                    <a:pt x="3077719" y="200228"/>
                  </a:lnTo>
                  <a:lnTo>
                    <a:pt x="3077769" y="200228"/>
                  </a:lnTo>
                  <a:lnTo>
                    <a:pt x="3077769" y="200876"/>
                  </a:lnTo>
                  <a:lnTo>
                    <a:pt x="3077769" y="200228"/>
                  </a:lnTo>
                  <a:lnTo>
                    <a:pt x="3077769" y="200876"/>
                  </a:lnTo>
                  <a:lnTo>
                    <a:pt x="3077820" y="200876"/>
                  </a:lnTo>
                  <a:lnTo>
                    <a:pt x="3077820" y="202260"/>
                  </a:lnTo>
                  <a:lnTo>
                    <a:pt x="3077922" y="200876"/>
                  </a:lnTo>
                  <a:lnTo>
                    <a:pt x="3077922" y="202260"/>
                  </a:lnTo>
                  <a:lnTo>
                    <a:pt x="3077922" y="200876"/>
                  </a:lnTo>
                  <a:lnTo>
                    <a:pt x="3077922" y="202260"/>
                  </a:lnTo>
                  <a:lnTo>
                    <a:pt x="3077922" y="200876"/>
                  </a:lnTo>
                  <a:lnTo>
                    <a:pt x="3077922" y="202260"/>
                  </a:lnTo>
                  <a:lnTo>
                    <a:pt x="3077972" y="202260"/>
                  </a:lnTo>
                  <a:lnTo>
                    <a:pt x="3077972" y="200876"/>
                  </a:lnTo>
                  <a:lnTo>
                    <a:pt x="3077972" y="202260"/>
                  </a:lnTo>
                  <a:lnTo>
                    <a:pt x="3077972" y="200876"/>
                  </a:lnTo>
                  <a:lnTo>
                    <a:pt x="3078023" y="200876"/>
                  </a:lnTo>
                  <a:lnTo>
                    <a:pt x="3078023" y="200228"/>
                  </a:lnTo>
                  <a:lnTo>
                    <a:pt x="3078125" y="200228"/>
                  </a:lnTo>
                  <a:lnTo>
                    <a:pt x="3078125" y="197447"/>
                  </a:lnTo>
                  <a:lnTo>
                    <a:pt x="3078125" y="199530"/>
                  </a:lnTo>
                  <a:lnTo>
                    <a:pt x="3078163" y="199530"/>
                  </a:lnTo>
                  <a:lnTo>
                    <a:pt x="3078163" y="200228"/>
                  </a:lnTo>
                  <a:lnTo>
                    <a:pt x="3078163" y="197447"/>
                  </a:lnTo>
                  <a:lnTo>
                    <a:pt x="3078163" y="200876"/>
                  </a:lnTo>
                  <a:lnTo>
                    <a:pt x="3078214" y="200876"/>
                  </a:lnTo>
                  <a:lnTo>
                    <a:pt x="3078214" y="200228"/>
                  </a:lnTo>
                  <a:lnTo>
                    <a:pt x="3078214" y="200876"/>
                  </a:lnTo>
                  <a:lnTo>
                    <a:pt x="3078214" y="199530"/>
                  </a:lnTo>
                  <a:lnTo>
                    <a:pt x="3078214" y="202260"/>
                  </a:lnTo>
                  <a:lnTo>
                    <a:pt x="3078214" y="200876"/>
                  </a:lnTo>
                  <a:lnTo>
                    <a:pt x="3078265" y="200876"/>
                  </a:lnTo>
                  <a:lnTo>
                    <a:pt x="3078265" y="200228"/>
                  </a:lnTo>
                  <a:lnTo>
                    <a:pt x="3078265" y="200876"/>
                  </a:lnTo>
                  <a:lnTo>
                    <a:pt x="3078265" y="200228"/>
                  </a:lnTo>
                  <a:lnTo>
                    <a:pt x="3078366" y="200228"/>
                  </a:lnTo>
                  <a:lnTo>
                    <a:pt x="3078366" y="200876"/>
                  </a:lnTo>
                  <a:lnTo>
                    <a:pt x="3078366" y="200228"/>
                  </a:lnTo>
                  <a:lnTo>
                    <a:pt x="3078366" y="200876"/>
                  </a:lnTo>
                  <a:lnTo>
                    <a:pt x="3078417" y="200876"/>
                  </a:lnTo>
                  <a:lnTo>
                    <a:pt x="3078417" y="202260"/>
                  </a:lnTo>
                  <a:lnTo>
                    <a:pt x="3078417" y="200876"/>
                  </a:lnTo>
                  <a:lnTo>
                    <a:pt x="3078417" y="202260"/>
                  </a:lnTo>
                  <a:lnTo>
                    <a:pt x="3078468" y="202260"/>
                  </a:lnTo>
                  <a:lnTo>
                    <a:pt x="3078468" y="200876"/>
                  </a:lnTo>
                  <a:lnTo>
                    <a:pt x="3078468" y="202959"/>
                  </a:lnTo>
                  <a:lnTo>
                    <a:pt x="3078468" y="200876"/>
                  </a:lnTo>
                  <a:lnTo>
                    <a:pt x="3078468" y="202260"/>
                  </a:lnTo>
                  <a:lnTo>
                    <a:pt x="3078468" y="200876"/>
                  </a:lnTo>
                  <a:lnTo>
                    <a:pt x="3078468" y="202260"/>
                  </a:lnTo>
                  <a:lnTo>
                    <a:pt x="3078468" y="200876"/>
                  </a:lnTo>
                  <a:lnTo>
                    <a:pt x="3078569" y="200876"/>
                  </a:lnTo>
                  <a:lnTo>
                    <a:pt x="3078569" y="200228"/>
                  </a:lnTo>
                  <a:lnTo>
                    <a:pt x="3078569" y="200876"/>
                  </a:lnTo>
                  <a:lnTo>
                    <a:pt x="3078569" y="199530"/>
                  </a:lnTo>
                  <a:lnTo>
                    <a:pt x="3078569" y="200228"/>
                  </a:lnTo>
                  <a:lnTo>
                    <a:pt x="3078569" y="199530"/>
                  </a:lnTo>
                  <a:lnTo>
                    <a:pt x="3078569" y="200228"/>
                  </a:lnTo>
                  <a:lnTo>
                    <a:pt x="3078569" y="199530"/>
                  </a:lnTo>
                  <a:lnTo>
                    <a:pt x="3078620" y="199530"/>
                  </a:lnTo>
                  <a:lnTo>
                    <a:pt x="3078620" y="198831"/>
                  </a:lnTo>
                  <a:lnTo>
                    <a:pt x="3078620" y="199530"/>
                  </a:lnTo>
                  <a:lnTo>
                    <a:pt x="3078620" y="197447"/>
                  </a:lnTo>
                  <a:lnTo>
                    <a:pt x="3078620" y="198831"/>
                  </a:lnTo>
                  <a:lnTo>
                    <a:pt x="3078620" y="197447"/>
                  </a:lnTo>
                  <a:lnTo>
                    <a:pt x="3078620" y="198831"/>
                  </a:lnTo>
                  <a:lnTo>
                    <a:pt x="3078671" y="198831"/>
                  </a:lnTo>
                  <a:lnTo>
                    <a:pt x="3078671" y="197447"/>
                  </a:lnTo>
                  <a:lnTo>
                    <a:pt x="3078671" y="198831"/>
                  </a:lnTo>
                  <a:lnTo>
                    <a:pt x="3078671" y="197447"/>
                  </a:lnTo>
                  <a:lnTo>
                    <a:pt x="3078671" y="200228"/>
                  </a:lnTo>
                  <a:lnTo>
                    <a:pt x="3078709" y="200228"/>
                  </a:lnTo>
                  <a:lnTo>
                    <a:pt x="3078709" y="199530"/>
                  </a:lnTo>
                  <a:lnTo>
                    <a:pt x="3078709" y="200228"/>
                  </a:lnTo>
                  <a:lnTo>
                    <a:pt x="3078811" y="200228"/>
                  </a:lnTo>
                  <a:lnTo>
                    <a:pt x="3078811" y="199530"/>
                  </a:lnTo>
                  <a:lnTo>
                    <a:pt x="3078811" y="200228"/>
                  </a:lnTo>
                  <a:lnTo>
                    <a:pt x="3078811" y="199530"/>
                  </a:lnTo>
                  <a:lnTo>
                    <a:pt x="3078811" y="200228"/>
                  </a:lnTo>
                  <a:lnTo>
                    <a:pt x="3078811" y="199530"/>
                  </a:lnTo>
                  <a:lnTo>
                    <a:pt x="3078862" y="199530"/>
                  </a:lnTo>
                  <a:lnTo>
                    <a:pt x="3078862" y="200876"/>
                  </a:lnTo>
                  <a:lnTo>
                    <a:pt x="3078862" y="200228"/>
                  </a:lnTo>
                  <a:lnTo>
                    <a:pt x="3078862" y="200876"/>
                  </a:lnTo>
                  <a:lnTo>
                    <a:pt x="3078912" y="200876"/>
                  </a:lnTo>
                  <a:lnTo>
                    <a:pt x="3078912" y="200228"/>
                  </a:lnTo>
                  <a:lnTo>
                    <a:pt x="3078912" y="202260"/>
                  </a:lnTo>
                  <a:lnTo>
                    <a:pt x="3078912" y="200876"/>
                  </a:lnTo>
                  <a:lnTo>
                    <a:pt x="3079014" y="200876"/>
                  </a:lnTo>
                  <a:lnTo>
                    <a:pt x="3079014" y="202260"/>
                  </a:lnTo>
                  <a:lnTo>
                    <a:pt x="3079014" y="200228"/>
                  </a:lnTo>
                  <a:lnTo>
                    <a:pt x="3079065" y="200228"/>
                  </a:lnTo>
                  <a:lnTo>
                    <a:pt x="3079065" y="198831"/>
                  </a:lnTo>
                  <a:lnTo>
                    <a:pt x="3079115" y="198831"/>
                  </a:lnTo>
                  <a:lnTo>
                    <a:pt x="3079115" y="200876"/>
                  </a:lnTo>
                  <a:lnTo>
                    <a:pt x="3079115" y="198831"/>
                  </a:lnTo>
                  <a:lnTo>
                    <a:pt x="3079166" y="199530"/>
                  </a:lnTo>
                  <a:lnTo>
                    <a:pt x="3079166" y="202959"/>
                  </a:lnTo>
                  <a:lnTo>
                    <a:pt x="3079166" y="200876"/>
                  </a:lnTo>
                  <a:lnTo>
                    <a:pt x="3079255" y="200876"/>
                  </a:lnTo>
                  <a:lnTo>
                    <a:pt x="3079255" y="202260"/>
                  </a:lnTo>
                  <a:lnTo>
                    <a:pt x="3079255" y="200876"/>
                  </a:lnTo>
                  <a:lnTo>
                    <a:pt x="3079255" y="202260"/>
                  </a:lnTo>
                  <a:lnTo>
                    <a:pt x="3079306" y="202260"/>
                  </a:lnTo>
                  <a:lnTo>
                    <a:pt x="3079306" y="200876"/>
                  </a:lnTo>
                  <a:lnTo>
                    <a:pt x="3079306" y="202260"/>
                  </a:lnTo>
                  <a:lnTo>
                    <a:pt x="3079306" y="200876"/>
                  </a:lnTo>
                  <a:lnTo>
                    <a:pt x="3079306" y="202260"/>
                  </a:lnTo>
                  <a:lnTo>
                    <a:pt x="3079357" y="202260"/>
                  </a:lnTo>
                  <a:lnTo>
                    <a:pt x="3079357" y="200876"/>
                  </a:lnTo>
                  <a:lnTo>
                    <a:pt x="3079357" y="202260"/>
                  </a:lnTo>
                  <a:lnTo>
                    <a:pt x="3079357" y="200876"/>
                  </a:lnTo>
                  <a:lnTo>
                    <a:pt x="3079357" y="202260"/>
                  </a:lnTo>
                  <a:lnTo>
                    <a:pt x="3079408" y="202260"/>
                  </a:lnTo>
                  <a:lnTo>
                    <a:pt x="3079408" y="200876"/>
                  </a:lnTo>
                  <a:lnTo>
                    <a:pt x="3079408" y="202260"/>
                  </a:lnTo>
                  <a:lnTo>
                    <a:pt x="3079509" y="202260"/>
                  </a:lnTo>
                  <a:lnTo>
                    <a:pt x="3079509" y="200876"/>
                  </a:lnTo>
                  <a:lnTo>
                    <a:pt x="3079509" y="202260"/>
                  </a:lnTo>
                  <a:lnTo>
                    <a:pt x="3079509" y="200228"/>
                  </a:lnTo>
                  <a:lnTo>
                    <a:pt x="3079560" y="200228"/>
                  </a:lnTo>
                  <a:lnTo>
                    <a:pt x="3079560" y="199530"/>
                  </a:lnTo>
                  <a:lnTo>
                    <a:pt x="3079560" y="200228"/>
                  </a:lnTo>
                  <a:lnTo>
                    <a:pt x="3079560" y="199530"/>
                  </a:lnTo>
                  <a:lnTo>
                    <a:pt x="3079560" y="200876"/>
                  </a:lnTo>
                  <a:lnTo>
                    <a:pt x="3079611" y="202260"/>
                  </a:lnTo>
                  <a:lnTo>
                    <a:pt x="3079611" y="199530"/>
                  </a:lnTo>
                  <a:lnTo>
                    <a:pt x="3079611" y="200228"/>
                  </a:lnTo>
                  <a:lnTo>
                    <a:pt x="3079611" y="199530"/>
                  </a:lnTo>
                  <a:lnTo>
                    <a:pt x="3079611" y="202959"/>
                  </a:lnTo>
                  <a:lnTo>
                    <a:pt x="3079712" y="202959"/>
                  </a:lnTo>
                  <a:lnTo>
                    <a:pt x="3079712" y="202260"/>
                  </a:lnTo>
                  <a:lnTo>
                    <a:pt x="3079712" y="202959"/>
                  </a:lnTo>
                  <a:lnTo>
                    <a:pt x="3079751" y="202959"/>
                  </a:lnTo>
                  <a:lnTo>
                    <a:pt x="3079751" y="200876"/>
                  </a:lnTo>
                  <a:lnTo>
                    <a:pt x="3079751" y="202260"/>
                  </a:lnTo>
                  <a:lnTo>
                    <a:pt x="3079751" y="200876"/>
                  </a:lnTo>
                  <a:lnTo>
                    <a:pt x="3079751" y="202959"/>
                  </a:lnTo>
                  <a:lnTo>
                    <a:pt x="3079751" y="202260"/>
                  </a:lnTo>
                  <a:lnTo>
                    <a:pt x="3079801" y="202260"/>
                  </a:lnTo>
                  <a:lnTo>
                    <a:pt x="3079801" y="202959"/>
                  </a:lnTo>
                  <a:lnTo>
                    <a:pt x="3079852" y="202959"/>
                  </a:lnTo>
                  <a:lnTo>
                    <a:pt x="3079852" y="202260"/>
                  </a:lnTo>
                  <a:lnTo>
                    <a:pt x="3079852" y="202959"/>
                  </a:lnTo>
                  <a:lnTo>
                    <a:pt x="3079852" y="202260"/>
                  </a:lnTo>
                  <a:lnTo>
                    <a:pt x="3079954" y="202260"/>
                  </a:lnTo>
                  <a:lnTo>
                    <a:pt x="3079954" y="202959"/>
                  </a:lnTo>
                  <a:lnTo>
                    <a:pt x="3079954" y="202260"/>
                  </a:lnTo>
                  <a:lnTo>
                    <a:pt x="3079954" y="202959"/>
                  </a:lnTo>
                  <a:lnTo>
                    <a:pt x="3079954" y="200876"/>
                  </a:lnTo>
                  <a:lnTo>
                    <a:pt x="3079954" y="202260"/>
                  </a:lnTo>
                  <a:lnTo>
                    <a:pt x="3079954" y="200876"/>
                  </a:lnTo>
                  <a:lnTo>
                    <a:pt x="3080005" y="200228"/>
                  </a:lnTo>
                  <a:lnTo>
                    <a:pt x="3080005" y="200876"/>
                  </a:lnTo>
                  <a:lnTo>
                    <a:pt x="3080005" y="200228"/>
                  </a:lnTo>
                  <a:lnTo>
                    <a:pt x="3080005" y="200876"/>
                  </a:lnTo>
                  <a:lnTo>
                    <a:pt x="3080005" y="199530"/>
                  </a:lnTo>
                  <a:lnTo>
                    <a:pt x="3080005" y="200228"/>
                  </a:lnTo>
                  <a:lnTo>
                    <a:pt x="3080005" y="198831"/>
                  </a:lnTo>
                  <a:lnTo>
                    <a:pt x="3080055" y="198831"/>
                  </a:lnTo>
                  <a:lnTo>
                    <a:pt x="3080055" y="197447"/>
                  </a:lnTo>
                  <a:lnTo>
                    <a:pt x="3080055" y="200876"/>
                  </a:lnTo>
                  <a:lnTo>
                    <a:pt x="3080055" y="200228"/>
                  </a:lnTo>
                  <a:lnTo>
                    <a:pt x="3080157" y="199530"/>
                  </a:lnTo>
                  <a:lnTo>
                    <a:pt x="3080157" y="198831"/>
                  </a:lnTo>
                  <a:lnTo>
                    <a:pt x="3080157" y="202959"/>
                  </a:lnTo>
                  <a:lnTo>
                    <a:pt x="3080157" y="200228"/>
                  </a:lnTo>
                  <a:lnTo>
                    <a:pt x="3080208" y="200228"/>
                  </a:lnTo>
                  <a:lnTo>
                    <a:pt x="3080208" y="202260"/>
                  </a:lnTo>
                  <a:lnTo>
                    <a:pt x="3080208" y="200876"/>
                  </a:lnTo>
                  <a:lnTo>
                    <a:pt x="3080258" y="202260"/>
                  </a:lnTo>
                  <a:lnTo>
                    <a:pt x="3080258" y="200876"/>
                  </a:lnTo>
                  <a:lnTo>
                    <a:pt x="3080258" y="202260"/>
                  </a:lnTo>
                  <a:lnTo>
                    <a:pt x="3080297" y="202260"/>
                  </a:lnTo>
                  <a:lnTo>
                    <a:pt x="3080297" y="200876"/>
                  </a:lnTo>
                  <a:lnTo>
                    <a:pt x="3080297" y="202959"/>
                  </a:lnTo>
                  <a:lnTo>
                    <a:pt x="3080297" y="202260"/>
                  </a:lnTo>
                  <a:lnTo>
                    <a:pt x="3080297" y="202959"/>
                  </a:lnTo>
                  <a:lnTo>
                    <a:pt x="3080297" y="202260"/>
                  </a:lnTo>
                  <a:lnTo>
                    <a:pt x="3080398" y="202260"/>
                  </a:lnTo>
                  <a:lnTo>
                    <a:pt x="3080398" y="202959"/>
                  </a:lnTo>
                  <a:lnTo>
                    <a:pt x="3080398" y="202260"/>
                  </a:lnTo>
                  <a:lnTo>
                    <a:pt x="3080449" y="202260"/>
                  </a:lnTo>
                  <a:lnTo>
                    <a:pt x="3080449" y="200876"/>
                  </a:lnTo>
                  <a:lnTo>
                    <a:pt x="3080500" y="200876"/>
                  </a:lnTo>
                  <a:lnTo>
                    <a:pt x="3080500" y="198831"/>
                  </a:lnTo>
                  <a:lnTo>
                    <a:pt x="3080500" y="199530"/>
                  </a:lnTo>
                  <a:lnTo>
                    <a:pt x="3080601" y="199530"/>
                  </a:lnTo>
                  <a:lnTo>
                    <a:pt x="3080601" y="200228"/>
                  </a:lnTo>
                  <a:lnTo>
                    <a:pt x="3080601" y="199530"/>
                  </a:lnTo>
                  <a:lnTo>
                    <a:pt x="3080601" y="200876"/>
                  </a:lnTo>
                  <a:lnTo>
                    <a:pt x="3080652" y="200876"/>
                  </a:lnTo>
                  <a:lnTo>
                    <a:pt x="3080652" y="202260"/>
                  </a:lnTo>
                  <a:lnTo>
                    <a:pt x="3080652" y="200876"/>
                  </a:lnTo>
                  <a:lnTo>
                    <a:pt x="3080652" y="202260"/>
                  </a:lnTo>
                  <a:lnTo>
                    <a:pt x="3080703" y="202260"/>
                  </a:lnTo>
                  <a:lnTo>
                    <a:pt x="3080703" y="200876"/>
                  </a:lnTo>
                  <a:lnTo>
                    <a:pt x="3080703" y="202260"/>
                  </a:lnTo>
                  <a:lnTo>
                    <a:pt x="3080703" y="200876"/>
                  </a:lnTo>
                  <a:lnTo>
                    <a:pt x="3080703" y="202260"/>
                  </a:lnTo>
                  <a:lnTo>
                    <a:pt x="3080754" y="202260"/>
                  </a:lnTo>
                  <a:lnTo>
                    <a:pt x="3080754" y="200876"/>
                  </a:lnTo>
                  <a:lnTo>
                    <a:pt x="3080754" y="202260"/>
                  </a:lnTo>
                  <a:lnTo>
                    <a:pt x="3080754" y="200876"/>
                  </a:lnTo>
                  <a:lnTo>
                    <a:pt x="3080754" y="202260"/>
                  </a:lnTo>
                  <a:lnTo>
                    <a:pt x="3080843" y="202260"/>
                  </a:lnTo>
                  <a:lnTo>
                    <a:pt x="3080843" y="202959"/>
                  </a:lnTo>
                  <a:lnTo>
                    <a:pt x="3080894" y="202959"/>
                  </a:lnTo>
                  <a:lnTo>
                    <a:pt x="3080894" y="202260"/>
                  </a:lnTo>
                  <a:lnTo>
                    <a:pt x="3080894" y="202959"/>
                  </a:lnTo>
                  <a:lnTo>
                    <a:pt x="3080894" y="202260"/>
                  </a:lnTo>
                  <a:lnTo>
                    <a:pt x="3080944" y="202260"/>
                  </a:lnTo>
                  <a:lnTo>
                    <a:pt x="3080944" y="199530"/>
                  </a:lnTo>
                  <a:lnTo>
                    <a:pt x="3080944" y="200228"/>
                  </a:lnTo>
                  <a:lnTo>
                    <a:pt x="3080944" y="199530"/>
                  </a:lnTo>
                  <a:lnTo>
                    <a:pt x="3080944" y="200228"/>
                  </a:lnTo>
                  <a:lnTo>
                    <a:pt x="3080995" y="199530"/>
                  </a:lnTo>
                  <a:lnTo>
                    <a:pt x="3080995" y="200228"/>
                  </a:lnTo>
                  <a:lnTo>
                    <a:pt x="3080995" y="197447"/>
                  </a:lnTo>
                  <a:lnTo>
                    <a:pt x="3081097" y="198831"/>
                  </a:lnTo>
                  <a:lnTo>
                    <a:pt x="3081097" y="199530"/>
                  </a:lnTo>
                  <a:lnTo>
                    <a:pt x="3081097" y="198831"/>
                  </a:lnTo>
                  <a:lnTo>
                    <a:pt x="3081097" y="200228"/>
                  </a:lnTo>
                  <a:lnTo>
                    <a:pt x="3081147" y="200876"/>
                  </a:lnTo>
                  <a:lnTo>
                    <a:pt x="3081147" y="199530"/>
                  </a:lnTo>
                  <a:lnTo>
                    <a:pt x="3081147" y="200876"/>
                  </a:lnTo>
                  <a:lnTo>
                    <a:pt x="3081198" y="200876"/>
                  </a:lnTo>
                  <a:lnTo>
                    <a:pt x="3081198" y="200228"/>
                  </a:lnTo>
                  <a:lnTo>
                    <a:pt x="3081198" y="202260"/>
                  </a:lnTo>
                  <a:lnTo>
                    <a:pt x="3081300" y="200876"/>
                  </a:lnTo>
                  <a:lnTo>
                    <a:pt x="3081300" y="200228"/>
                  </a:lnTo>
                  <a:lnTo>
                    <a:pt x="3081300" y="202260"/>
                  </a:lnTo>
                  <a:lnTo>
                    <a:pt x="3081300" y="200876"/>
                  </a:lnTo>
                  <a:lnTo>
                    <a:pt x="3081300" y="202260"/>
                  </a:lnTo>
                  <a:lnTo>
                    <a:pt x="3081300" y="200876"/>
                  </a:lnTo>
                  <a:lnTo>
                    <a:pt x="3081300" y="202260"/>
                  </a:lnTo>
                  <a:lnTo>
                    <a:pt x="3081338" y="202260"/>
                  </a:lnTo>
                  <a:lnTo>
                    <a:pt x="3081338" y="200876"/>
                  </a:lnTo>
                  <a:lnTo>
                    <a:pt x="3081338" y="202260"/>
                  </a:lnTo>
                  <a:lnTo>
                    <a:pt x="3081389" y="202260"/>
                  </a:lnTo>
                  <a:lnTo>
                    <a:pt x="3081389" y="200876"/>
                  </a:lnTo>
                  <a:lnTo>
                    <a:pt x="3081389" y="202260"/>
                  </a:lnTo>
                  <a:lnTo>
                    <a:pt x="3081389" y="200876"/>
                  </a:lnTo>
                  <a:lnTo>
                    <a:pt x="3081389" y="202260"/>
                  </a:lnTo>
                  <a:lnTo>
                    <a:pt x="3081389" y="200876"/>
                  </a:lnTo>
                  <a:lnTo>
                    <a:pt x="3081440" y="200228"/>
                  </a:lnTo>
                  <a:lnTo>
                    <a:pt x="3081440" y="200876"/>
                  </a:lnTo>
                  <a:lnTo>
                    <a:pt x="3081440" y="199530"/>
                  </a:lnTo>
                  <a:lnTo>
                    <a:pt x="3081541" y="199530"/>
                  </a:lnTo>
                  <a:lnTo>
                    <a:pt x="3081541" y="197447"/>
                  </a:lnTo>
                  <a:lnTo>
                    <a:pt x="3081541" y="199530"/>
                  </a:lnTo>
                  <a:lnTo>
                    <a:pt x="3081592" y="198831"/>
                  </a:lnTo>
                  <a:lnTo>
                    <a:pt x="3081592" y="197447"/>
                  </a:lnTo>
                  <a:lnTo>
                    <a:pt x="3081592" y="200228"/>
                  </a:lnTo>
                  <a:lnTo>
                    <a:pt x="3081643" y="200228"/>
                  </a:lnTo>
                  <a:lnTo>
                    <a:pt x="3081643" y="197447"/>
                  </a:lnTo>
                  <a:lnTo>
                    <a:pt x="3081643" y="200228"/>
                  </a:lnTo>
                  <a:lnTo>
                    <a:pt x="3081744" y="199530"/>
                  </a:lnTo>
                  <a:lnTo>
                    <a:pt x="3081744" y="198831"/>
                  </a:lnTo>
                  <a:lnTo>
                    <a:pt x="3081744" y="200228"/>
                  </a:lnTo>
                  <a:lnTo>
                    <a:pt x="3081744" y="199530"/>
                  </a:lnTo>
                  <a:lnTo>
                    <a:pt x="3081744" y="200228"/>
                  </a:lnTo>
                  <a:lnTo>
                    <a:pt x="3081795" y="199530"/>
                  </a:lnTo>
                  <a:lnTo>
                    <a:pt x="3081795" y="200228"/>
                  </a:lnTo>
                  <a:lnTo>
                    <a:pt x="3081795" y="199530"/>
                  </a:lnTo>
                  <a:lnTo>
                    <a:pt x="3081795" y="200228"/>
                  </a:lnTo>
                  <a:lnTo>
                    <a:pt x="3081846" y="200876"/>
                  </a:lnTo>
                  <a:lnTo>
                    <a:pt x="3081846" y="200228"/>
                  </a:lnTo>
                  <a:lnTo>
                    <a:pt x="3081846" y="200876"/>
                  </a:lnTo>
                  <a:lnTo>
                    <a:pt x="3081884" y="200876"/>
                  </a:lnTo>
                  <a:lnTo>
                    <a:pt x="3081884" y="200228"/>
                  </a:lnTo>
                  <a:lnTo>
                    <a:pt x="3081884" y="200876"/>
                  </a:lnTo>
                  <a:lnTo>
                    <a:pt x="3081884" y="200228"/>
                  </a:lnTo>
                  <a:lnTo>
                    <a:pt x="3081884" y="200876"/>
                  </a:lnTo>
                  <a:lnTo>
                    <a:pt x="3081884" y="200228"/>
                  </a:lnTo>
                  <a:lnTo>
                    <a:pt x="3081986" y="200228"/>
                  </a:lnTo>
                  <a:lnTo>
                    <a:pt x="3081986" y="199530"/>
                  </a:lnTo>
                  <a:lnTo>
                    <a:pt x="3081986" y="200228"/>
                  </a:lnTo>
                  <a:lnTo>
                    <a:pt x="3081986" y="198831"/>
                  </a:lnTo>
                  <a:lnTo>
                    <a:pt x="3081986" y="199530"/>
                  </a:lnTo>
                  <a:lnTo>
                    <a:pt x="3081986" y="198831"/>
                  </a:lnTo>
                  <a:lnTo>
                    <a:pt x="3082037" y="199530"/>
                  </a:lnTo>
                  <a:lnTo>
                    <a:pt x="3082037" y="198831"/>
                  </a:lnTo>
                  <a:lnTo>
                    <a:pt x="3082037" y="199530"/>
                  </a:lnTo>
                  <a:lnTo>
                    <a:pt x="3082087" y="199530"/>
                  </a:lnTo>
                  <a:lnTo>
                    <a:pt x="3082087" y="197447"/>
                  </a:lnTo>
                  <a:lnTo>
                    <a:pt x="3082087" y="200876"/>
                  </a:lnTo>
                  <a:lnTo>
                    <a:pt x="3082087" y="199530"/>
                  </a:lnTo>
                  <a:lnTo>
                    <a:pt x="3082189" y="199530"/>
                  </a:lnTo>
                  <a:lnTo>
                    <a:pt x="3082189" y="198831"/>
                  </a:lnTo>
                  <a:lnTo>
                    <a:pt x="3082189" y="200228"/>
                  </a:lnTo>
                  <a:lnTo>
                    <a:pt x="3082189" y="199530"/>
                  </a:lnTo>
                  <a:lnTo>
                    <a:pt x="3082189" y="200228"/>
                  </a:lnTo>
                  <a:lnTo>
                    <a:pt x="3082240" y="200228"/>
                  </a:lnTo>
                  <a:lnTo>
                    <a:pt x="3082240" y="200876"/>
                  </a:lnTo>
                  <a:lnTo>
                    <a:pt x="3082240" y="200228"/>
                  </a:lnTo>
                  <a:lnTo>
                    <a:pt x="3082290" y="200876"/>
                  </a:lnTo>
                  <a:lnTo>
                    <a:pt x="3082290" y="200228"/>
                  </a:lnTo>
                  <a:lnTo>
                    <a:pt x="3082290" y="202260"/>
                  </a:lnTo>
                  <a:lnTo>
                    <a:pt x="3082290" y="200876"/>
                  </a:lnTo>
                  <a:lnTo>
                    <a:pt x="3082341" y="200876"/>
                  </a:lnTo>
                  <a:lnTo>
                    <a:pt x="3082341" y="202260"/>
                  </a:lnTo>
                  <a:lnTo>
                    <a:pt x="3082341" y="200876"/>
                  </a:lnTo>
                  <a:lnTo>
                    <a:pt x="3082430" y="200876"/>
                  </a:lnTo>
                  <a:lnTo>
                    <a:pt x="3082430" y="200228"/>
                  </a:lnTo>
                  <a:lnTo>
                    <a:pt x="3082430" y="200876"/>
                  </a:lnTo>
                  <a:lnTo>
                    <a:pt x="3082430" y="200228"/>
                  </a:lnTo>
                  <a:lnTo>
                    <a:pt x="3082481" y="200228"/>
                  </a:lnTo>
                  <a:lnTo>
                    <a:pt x="3082481" y="199530"/>
                  </a:lnTo>
                  <a:lnTo>
                    <a:pt x="3082481" y="200228"/>
                  </a:lnTo>
                  <a:lnTo>
                    <a:pt x="3082481" y="198831"/>
                  </a:lnTo>
                  <a:lnTo>
                    <a:pt x="3082532" y="198831"/>
                  </a:lnTo>
                  <a:lnTo>
                    <a:pt x="3082532" y="196799"/>
                  </a:lnTo>
                  <a:lnTo>
                    <a:pt x="3082532" y="200228"/>
                  </a:lnTo>
                  <a:lnTo>
                    <a:pt x="3082532" y="199530"/>
                  </a:lnTo>
                  <a:lnTo>
                    <a:pt x="3082532" y="200228"/>
                  </a:lnTo>
                  <a:lnTo>
                    <a:pt x="3082532" y="199530"/>
                  </a:lnTo>
                  <a:lnTo>
                    <a:pt x="3082583" y="198831"/>
                  </a:lnTo>
                  <a:lnTo>
                    <a:pt x="3082583" y="197447"/>
                  </a:lnTo>
                  <a:lnTo>
                    <a:pt x="3082583" y="200876"/>
                  </a:lnTo>
                  <a:lnTo>
                    <a:pt x="3082583" y="198831"/>
                  </a:lnTo>
                  <a:lnTo>
                    <a:pt x="3082684" y="198831"/>
                  </a:lnTo>
                  <a:lnTo>
                    <a:pt x="3082684" y="200228"/>
                  </a:lnTo>
                  <a:lnTo>
                    <a:pt x="3082684" y="199530"/>
                  </a:lnTo>
                  <a:lnTo>
                    <a:pt x="3082735" y="199530"/>
                  </a:lnTo>
                  <a:lnTo>
                    <a:pt x="3082735" y="200228"/>
                  </a:lnTo>
                  <a:lnTo>
                    <a:pt x="3082735" y="199530"/>
                  </a:lnTo>
                  <a:lnTo>
                    <a:pt x="3082735" y="200876"/>
                  </a:lnTo>
                  <a:lnTo>
                    <a:pt x="3082735" y="200228"/>
                  </a:lnTo>
                  <a:lnTo>
                    <a:pt x="3082786" y="200228"/>
                  </a:lnTo>
                  <a:lnTo>
                    <a:pt x="3082786" y="200876"/>
                  </a:lnTo>
                  <a:lnTo>
                    <a:pt x="3082786" y="200228"/>
                  </a:lnTo>
                  <a:lnTo>
                    <a:pt x="3082786" y="200876"/>
                  </a:lnTo>
                  <a:lnTo>
                    <a:pt x="3082786" y="200228"/>
                  </a:lnTo>
                  <a:lnTo>
                    <a:pt x="3082926" y="200228"/>
                  </a:lnTo>
                  <a:lnTo>
                    <a:pt x="3082926" y="198831"/>
                  </a:lnTo>
                  <a:lnTo>
                    <a:pt x="3082976" y="198831"/>
                  </a:lnTo>
                  <a:lnTo>
                    <a:pt x="3082976" y="199530"/>
                  </a:lnTo>
                  <a:lnTo>
                    <a:pt x="3082976" y="196799"/>
                  </a:lnTo>
                  <a:lnTo>
                    <a:pt x="3083027" y="196799"/>
                  </a:lnTo>
                  <a:lnTo>
                    <a:pt x="3083027" y="198831"/>
                  </a:lnTo>
                  <a:lnTo>
                    <a:pt x="3083027" y="197447"/>
                  </a:lnTo>
                  <a:lnTo>
                    <a:pt x="3083129" y="198831"/>
                  </a:lnTo>
                  <a:lnTo>
                    <a:pt x="3083129" y="200228"/>
                  </a:lnTo>
                  <a:lnTo>
                    <a:pt x="3083129" y="199530"/>
                  </a:lnTo>
                  <a:lnTo>
                    <a:pt x="3083129" y="200228"/>
                  </a:lnTo>
                  <a:lnTo>
                    <a:pt x="3083129" y="198831"/>
                  </a:lnTo>
                  <a:lnTo>
                    <a:pt x="3083180" y="198831"/>
                  </a:lnTo>
                  <a:lnTo>
                    <a:pt x="3083180" y="200228"/>
                  </a:lnTo>
                  <a:lnTo>
                    <a:pt x="3083180" y="199530"/>
                  </a:lnTo>
                  <a:lnTo>
                    <a:pt x="3083180" y="200228"/>
                  </a:lnTo>
                  <a:lnTo>
                    <a:pt x="3083180" y="199530"/>
                  </a:lnTo>
                  <a:lnTo>
                    <a:pt x="3083180" y="200228"/>
                  </a:lnTo>
                  <a:lnTo>
                    <a:pt x="3083230" y="200228"/>
                  </a:lnTo>
                  <a:lnTo>
                    <a:pt x="3083230" y="200876"/>
                  </a:lnTo>
                  <a:lnTo>
                    <a:pt x="3083230" y="200228"/>
                  </a:lnTo>
                  <a:lnTo>
                    <a:pt x="3083230" y="200876"/>
                  </a:lnTo>
                  <a:lnTo>
                    <a:pt x="3083230" y="200228"/>
                  </a:lnTo>
                  <a:lnTo>
                    <a:pt x="3083230" y="200876"/>
                  </a:lnTo>
                  <a:lnTo>
                    <a:pt x="3083230" y="200228"/>
                  </a:lnTo>
                  <a:lnTo>
                    <a:pt x="3083230" y="200876"/>
                  </a:lnTo>
                  <a:lnTo>
                    <a:pt x="3083332" y="200876"/>
                  </a:lnTo>
                  <a:lnTo>
                    <a:pt x="3083332" y="200228"/>
                  </a:lnTo>
                  <a:lnTo>
                    <a:pt x="3083332" y="200876"/>
                  </a:lnTo>
                  <a:lnTo>
                    <a:pt x="3083332" y="200228"/>
                  </a:lnTo>
                  <a:lnTo>
                    <a:pt x="3083332" y="200876"/>
                  </a:lnTo>
                  <a:lnTo>
                    <a:pt x="3083383" y="200876"/>
                  </a:lnTo>
                  <a:lnTo>
                    <a:pt x="3083383" y="200228"/>
                  </a:lnTo>
                  <a:lnTo>
                    <a:pt x="3083383" y="200876"/>
                  </a:lnTo>
                  <a:lnTo>
                    <a:pt x="3083383" y="200228"/>
                  </a:lnTo>
                  <a:lnTo>
                    <a:pt x="3083433" y="200228"/>
                  </a:lnTo>
                  <a:lnTo>
                    <a:pt x="3083433" y="199530"/>
                  </a:lnTo>
                  <a:lnTo>
                    <a:pt x="3083433" y="200228"/>
                  </a:lnTo>
                  <a:lnTo>
                    <a:pt x="3083433" y="199530"/>
                  </a:lnTo>
                  <a:lnTo>
                    <a:pt x="3083433" y="200228"/>
                  </a:lnTo>
                  <a:lnTo>
                    <a:pt x="3083433" y="199530"/>
                  </a:lnTo>
                  <a:lnTo>
                    <a:pt x="3083472" y="198831"/>
                  </a:lnTo>
                  <a:lnTo>
                    <a:pt x="3083472" y="196799"/>
                  </a:lnTo>
                  <a:lnTo>
                    <a:pt x="3083573" y="196799"/>
                  </a:lnTo>
                  <a:lnTo>
                    <a:pt x="3083573" y="198831"/>
                  </a:lnTo>
                  <a:lnTo>
                    <a:pt x="3083573" y="196799"/>
                  </a:lnTo>
                  <a:lnTo>
                    <a:pt x="3083624" y="197447"/>
                  </a:lnTo>
                  <a:lnTo>
                    <a:pt x="3083624" y="200228"/>
                  </a:lnTo>
                  <a:lnTo>
                    <a:pt x="3083624" y="197447"/>
                  </a:lnTo>
                  <a:lnTo>
                    <a:pt x="3083624" y="198831"/>
                  </a:lnTo>
                  <a:lnTo>
                    <a:pt x="3083675" y="198831"/>
                  </a:lnTo>
                  <a:lnTo>
                    <a:pt x="3083675" y="199530"/>
                  </a:lnTo>
                  <a:lnTo>
                    <a:pt x="3083675" y="198831"/>
                  </a:lnTo>
                  <a:lnTo>
                    <a:pt x="3083675" y="199530"/>
                  </a:lnTo>
                  <a:lnTo>
                    <a:pt x="3083776" y="199530"/>
                  </a:lnTo>
                  <a:lnTo>
                    <a:pt x="3083776" y="200228"/>
                  </a:lnTo>
                  <a:lnTo>
                    <a:pt x="3083776" y="199530"/>
                  </a:lnTo>
                  <a:lnTo>
                    <a:pt x="3083776" y="200228"/>
                  </a:lnTo>
                  <a:lnTo>
                    <a:pt x="3083776" y="199530"/>
                  </a:lnTo>
                  <a:lnTo>
                    <a:pt x="3083776" y="200228"/>
                  </a:lnTo>
                  <a:lnTo>
                    <a:pt x="3083776" y="199530"/>
                  </a:lnTo>
                  <a:lnTo>
                    <a:pt x="3083776" y="200228"/>
                  </a:lnTo>
                  <a:lnTo>
                    <a:pt x="3083827" y="200228"/>
                  </a:lnTo>
                  <a:lnTo>
                    <a:pt x="3083827" y="199530"/>
                  </a:lnTo>
                  <a:lnTo>
                    <a:pt x="3083827" y="200228"/>
                  </a:lnTo>
                  <a:lnTo>
                    <a:pt x="3083878" y="200228"/>
                  </a:lnTo>
                  <a:lnTo>
                    <a:pt x="3083878" y="200876"/>
                  </a:lnTo>
                  <a:lnTo>
                    <a:pt x="3083878" y="199530"/>
                  </a:lnTo>
                  <a:lnTo>
                    <a:pt x="3083878" y="200228"/>
                  </a:lnTo>
                  <a:lnTo>
                    <a:pt x="3083878" y="199530"/>
                  </a:lnTo>
                  <a:lnTo>
                    <a:pt x="3083929" y="199530"/>
                  </a:lnTo>
                  <a:lnTo>
                    <a:pt x="3083929" y="200228"/>
                  </a:lnTo>
                  <a:lnTo>
                    <a:pt x="3083929" y="199530"/>
                  </a:lnTo>
                  <a:lnTo>
                    <a:pt x="3084018" y="199530"/>
                  </a:lnTo>
                  <a:lnTo>
                    <a:pt x="3084018" y="197447"/>
                  </a:lnTo>
                  <a:lnTo>
                    <a:pt x="3084018" y="198831"/>
                  </a:lnTo>
                  <a:lnTo>
                    <a:pt x="3084018" y="196799"/>
                  </a:lnTo>
                  <a:lnTo>
                    <a:pt x="3084069" y="196113"/>
                  </a:lnTo>
                  <a:lnTo>
                    <a:pt x="3084069" y="195415"/>
                  </a:lnTo>
                  <a:lnTo>
                    <a:pt x="3084069" y="196799"/>
                  </a:lnTo>
                  <a:lnTo>
                    <a:pt x="3084069" y="195415"/>
                  </a:lnTo>
                  <a:lnTo>
                    <a:pt x="3084069" y="196113"/>
                  </a:lnTo>
                  <a:lnTo>
                    <a:pt x="3084069" y="195415"/>
                  </a:lnTo>
                  <a:lnTo>
                    <a:pt x="3084119" y="195415"/>
                  </a:lnTo>
                  <a:lnTo>
                    <a:pt x="3084119" y="198831"/>
                  </a:lnTo>
                  <a:lnTo>
                    <a:pt x="3084119" y="196113"/>
                  </a:lnTo>
                  <a:lnTo>
                    <a:pt x="3084119" y="196799"/>
                  </a:lnTo>
                  <a:lnTo>
                    <a:pt x="3084170" y="196799"/>
                  </a:lnTo>
                  <a:lnTo>
                    <a:pt x="3084170" y="199530"/>
                  </a:lnTo>
                  <a:lnTo>
                    <a:pt x="3084170" y="198831"/>
                  </a:lnTo>
                  <a:lnTo>
                    <a:pt x="3084170" y="199530"/>
                  </a:lnTo>
                  <a:lnTo>
                    <a:pt x="3084272" y="199530"/>
                  </a:lnTo>
                  <a:lnTo>
                    <a:pt x="3084272" y="200228"/>
                  </a:lnTo>
                  <a:lnTo>
                    <a:pt x="3084272" y="198831"/>
                  </a:lnTo>
                  <a:lnTo>
                    <a:pt x="3084272" y="200228"/>
                  </a:lnTo>
                  <a:lnTo>
                    <a:pt x="3084322" y="200228"/>
                  </a:lnTo>
                  <a:lnTo>
                    <a:pt x="3084322" y="198831"/>
                  </a:lnTo>
                  <a:lnTo>
                    <a:pt x="3084322" y="200228"/>
                  </a:lnTo>
                  <a:lnTo>
                    <a:pt x="3084475" y="200228"/>
                  </a:lnTo>
                  <a:lnTo>
                    <a:pt x="3084475" y="199530"/>
                  </a:lnTo>
                  <a:lnTo>
                    <a:pt x="3084475" y="200228"/>
                  </a:lnTo>
                  <a:lnTo>
                    <a:pt x="3084475" y="199530"/>
                  </a:lnTo>
                  <a:lnTo>
                    <a:pt x="3084513" y="199530"/>
                  </a:lnTo>
                  <a:lnTo>
                    <a:pt x="3084513" y="197447"/>
                  </a:lnTo>
                  <a:lnTo>
                    <a:pt x="3084513" y="198831"/>
                  </a:lnTo>
                  <a:lnTo>
                    <a:pt x="3084513" y="197447"/>
                  </a:lnTo>
                  <a:lnTo>
                    <a:pt x="3084513" y="198831"/>
                  </a:lnTo>
                  <a:lnTo>
                    <a:pt x="3084513" y="196113"/>
                  </a:lnTo>
                  <a:lnTo>
                    <a:pt x="3084564" y="196113"/>
                  </a:lnTo>
                  <a:lnTo>
                    <a:pt x="3084564" y="196799"/>
                  </a:lnTo>
                  <a:lnTo>
                    <a:pt x="3084564" y="195415"/>
                  </a:lnTo>
                  <a:lnTo>
                    <a:pt x="3084615" y="195415"/>
                  </a:lnTo>
                  <a:lnTo>
                    <a:pt x="3084615" y="197447"/>
                  </a:lnTo>
                  <a:lnTo>
                    <a:pt x="3084615" y="196113"/>
                  </a:lnTo>
                  <a:lnTo>
                    <a:pt x="3084615" y="196799"/>
                  </a:lnTo>
                  <a:lnTo>
                    <a:pt x="3084716" y="196799"/>
                  </a:lnTo>
                  <a:lnTo>
                    <a:pt x="3084716" y="197447"/>
                  </a:lnTo>
                  <a:lnTo>
                    <a:pt x="3084716" y="196799"/>
                  </a:lnTo>
                  <a:lnTo>
                    <a:pt x="3084716" y="197447"/>
                  </a:lnTo>
                  <a:lnTo>
                    <a:pt x="3084767" y="197447"/>
                  </a:lnTo>
                  <a:lnTo>
                    <a:pt x="3084767" y="198831"/>
                  </a:lnTo>
                  <a:lnTo>
                    <a:pt x="3084767" y="197447"/>
                  </a:lnTo>
                  <a:lnTo>
                    <a:pt x="3084767" y="198831"/>
                  </a:lnTo>
                  <a:lnTo>
                    <a:pt x="3084767" y="197447"/>
                  </a:lnTo>
                  <a:lnTo>
                    <a:pt x="3084818" y="197447"/>
                  </a:lnTo>
                  <a:lnTo>
                    <a:pt x="3084818" y="198831"/>
                  </a:lnTo>
                  <a:lnTo>
                    <a:pt x="3084818" y="197447"/>
                  </a:lnTo>
                  <a:lnTo>
                    <a:pt x="3084818" y="199530"/>
                  </a:lnTo>
                  <a:lnTo>
                    <a:pt x="3084919" y="199530"/>
                  </a:lnTo>
                  <a:lnTo>
                    <a:pt x="3084919" y="198831"/>
                  </a:lnTo>
                  <a:lnTo>
                    <a:pt x="3084919" y="200228"/>
                  </a:lnTo>
                  <a:lnTo>
                    <a:pt x="3084919" y="199530"/>
                  </a:lnTo>
                  <a:lnTo>
                    <a:pt x="3084970" y="199530"/>
                  </a:lnTo>
                  <a:lnTo>
                    <a:pt x="3084970" y="200228"/>
                  </a:lnTo>
                  <a:lnTo>
                    <a:pt x="3084970" y="199530"/>
                  </a:lnTo>
                  <a:lnTo>
                    <a:pt x="3084970" y="200228"/>
                  </a:lnTo>
                  <a:lnTo>
                    <a:pt x="3084970" y="199530"/>
                  </a:lnTo>
                  <a:lnTo>
                    <a:pt x="3085021" y="198831"/>
                  </a:lnTo>
                  <a:lnTo>
                    <a:pt x="3085021" y="199530"/>
                  </a:lnTo>
                  <a:lnTo>
                    <a:pt x="3085021" y="196799"/>
                  </a:lnTo>
                  <a:lnTo>
                    <a:pt x="3085059" y="197447"/>
                  </a:lnTo>
                  <a:lnTo>
                    <a:pt x="3085059" y="196799"/>
                  </a:lnTo>
                  <a:lnTo>
                    <a:pt x="3085059" y="199530"/>
                  </a:lnTo>
                  <a:lnTo>
                    <a:pt x="3085161" y="199530"/>
                  </a:lnTo>
                  <a:lnTo>
                    <a:pt x="3085161" y="197447"/>
                  </a:lnTo>
                  <a:lnTo>
                    <a:pt x="3085161" y="200228"/>
                  </a:lnTo>
                  <a:lnTo>
                    <a:pt x="3085212" y="200228"/>
                  </a:lnTo>
                  <a:lnTo>
                    <a:pt x="3085212" y="198831"/>
                  </a:lnTo>
                  <a:lnTo>
                    <a:pt x="3085212" y="199530"/>
                  </a:lnTo>
                  <a:lnTo>
                    <a:pt x="3085212" y="198831"/>
                  </a:lnTo>
                  <a:lnTo>
                    <a:pt x="3085262" y="199530"/>
                  </a:lnTo>
                  <a:lnTo>
                    <a:pt x="3085262" y="200228"/>
                  </a:lnTo>
                  <a:lnTo>
                    <a:pt x="3085262" y="198831"/>
                  </a:lnTo>
                  <a:lnTo>
                    <a:pt x="3085262" y="200228"/>
                  </a:lnTo>
                  <a:lnTo>
                    <a:pt x="3085262" y="198831"/>
                  </a:lnTo>
                  <a:lnTo>
                    <a:pt x="3085364" y="198831"/>
                  </a:lnTo>
                  <a:lnTo>
                    <a:pt x="3085364" y="200228"/>
                  </a:lnTo>
                  <a:lnTo>
                    <a:pt x="3085364" y="199530"/>
                  </a:lnTo>
                  <a:lnTo>
                    <a:pt x="3085364" y="200228"/>
                  </a:lnTo>
                  <a:lnTo>
                    <a:pt x="3085364" y="199530"/>
                  </a:lnTo>
                  <a:lnTo>
                    <a:pt x="3085415" y="199530"/>
                  </a:lnTo>
                  <a:lnTo>
                    <a:pt x="3085415" y="200228"/>
                  </a:lnTo>
                  <a:lnTo>
                    <a:pt x="3085415" y="199530"/>
                  </a:lnTo>
                  <a:lnTo>
                    <a:pt x="3085415" y="200228"/>
                  </a:lnTo>
                  <a:lnTo>
                    <a:pt x="3085465" y="200228"/>
                  </a:lnTo>
                  <a:lnTo>
                    <a:pt x="3085465" y="199530"/>
                  </a:lnTo>
                  <a:lnTo>
                    <a:pt x="3085465" y="200228"/>
                  </a:lnTo>
                  <a:lnTo>
                    <a:pt x="3085465" y="199530"/>
                  </a:lnTo>
                  <a:lnTo>
                    <a:pt x="3085465" y="200228"/>
                  </a:lnTo>
                  <a:lnTo>
                    <a:pt x="3085465" y="198831"/>
                  </a:lnTo>
                  <a:lnTo>
                    <a:pt x="3085516" y="198831"/>
                  </a:lnTo>
                  <a:lnTo>
                    <a:pt x="3085516" y="197447"/>
                  </a:lnTo>
                  <a:lnTo>
                    <a:pt x="3085516" y="199530"/>
                  </a:lnTo>
                  <a:lnTo>
                    <a:pt x="3085605" y="199530"/>
                  </a:lnTo>
                  <a:lnTo>
                    <a:pt x="3085605" y="197447"/>
                  </a:lnTo>
                  <a:lnTo>
                    <a:pt x="3085605" y="200876"/>
                  </a:lnTo>
                  <a:lnTo>
                    <a:pt x="3085656" y="200228"/>
                  </a:lnTo>
                  <a:lnTo>
                    <a:pt x="3085656" y="199530"/>
                  </a:lnTo>
                  <a:lnTo>
                    <a:pt x="3085656" y="200876"/>
                  </a:lnTo>
                  <a:lnTo>
                    <a:pt x="3085707" y="200876"/>
                  </a:lnTo>
                  <a:lnTo>
                    <a:pt x="3085707" y="200228"/>
                  </a:lnTo>
                  <a:lnTo>
                    <a:pt x="3085707" y="200876"/>
                  </a:lnTo>
                  <a:lnTo>
                    <a:pt x="3085707" y="200228"/>
                  </a:lnTo>
                  <a:lnTo>
                    <a:pt x="3085707" y="200876"/>
                  </a:lnTo>
                  <a:lnTo>
                    <a:pt x="3085758" y="200876"/>
                  </a:lnTo>
                  <a:lnTo>
                    <a:pt x="3085758" y="199530"/>
                  </a:lnTo>
                  <a:lnTo>
                    <a:pt x="3085758" y="200228"/>
                  </a:lnTo>
                  <a:lnTo>
                    <a:pt x="3085758" y="199530"/>
                  </a:lnTo>
                  <a:lnTo>
                    <a:pt x="3085758" y="200228"/>
                  </a:lnTo>
                  <a:lnTo>
                    <a:pt x="3085859" y="200228"/>
                  </a:lnTo>
                  <a:lnTo>
                    <a:pt x="3085859" y="200876"/>
                  </a:lnTo>
                  <a:lnTo>
                    <a:pt x="3085859" y="200228"/>
                  </a:lnTo>
                  <a:lnTo>
                    <a:pt x="3085910" y="200228"/>
                  </a:lnTo>
                  <a:lnTo>
                    <a:pt x="3085910" y="199530"/>
                  </a:lnTo>
                  <a:lnTo>
                    <a:pt x="3085961" y="199530"/>
                  </a:lnTo>
                  <a:lnTo>
                    <a:pt x="3085961" y="196799"/>
                  </a:lnTo>
                  <a:lnTo>
                    <a:pt x="3086062" y="197447"/>
                  </a:lnTo>
                  <a:lnTo>
                    <a:pt x="3086062" y="196799"/>
                  </a:lnTo>
                  <a:lnTo>
                    <a:pt x="3086062" y="198831"/>
                  </a:lnTo>
                  <a:lnTo>
                    <a:pt x="3086062" y="197447"/>
                  </a:lnTo>
                  <a:lnTo>
                    <a:pt x="3086101" y="197447"/>
                  </a:lnTo>
                  <a:lnTo>
                    <a:pt x="3086101" y="196799"/>
                  </a:lnTo>
                  <a:lnTo>
                    <a:pt x="3086101" y="200228"/>
                  </a:lnTo>
                  <a:lnTo>
                    <a:pt x="3086101" y="199530"/>
                  </a:lnTo>
                  <a:lnTo>
                    <a:pt x="3086151" y="199530"/>
                  </a:lnTo>
                  <a:lnTo>
                    <a:pt x="3086151" y="200228"/>
                  </a:lnTo>
                  <a:lnTo>
                    <a:pt x="3086151" y="199530"/>
                  </a:lnTo>
                  <a:lnTo>
                    <a:pt x="3086151" y="200876"/>
                  </a:lnTo>
                  <a:lnTo>
                    <a:pt x="3086151" y="199530"/>
                  </a:lnTo>
                  <a:lnTo>
                    <a:pt x="3086202" y="200228"/>
                  </a:lnTo>
                  <a:lnTo>
                    <a:pt x="3086202" y="199530"/>
                  </a:lnTo>
                  <a:lnTo>
                    <a:pt x="3086202" y="200876"/>
                  </a:lnTo>
                  <a:lnTo>
                    <a:pt x="3086202" y="200228"/>
                  </a:lnTo>
                  <a:lnTo>
                    <a:pt x="3086202" y="200876"/>
                  </a:lnTo>
                  <a:lnTo>
                    <a:pt x="3086202" y="200228"/>
                  </a:lnTo>
                  <a:lnTo>
                    <a:pt x="3086304" y="199530"/>
                  </a:lnTo>
                  <a:lnTo>
                    <a:pt x="3086304" y="200876"/>
                  </a:lnTo>
                  <a:lnTo>
                    <a:pt x="3086304" y="200228"/>
                  </a:lnTo>
                  <a:lnTo>
                    <a:pt x="3086304" y="200876"/>
                  </a:lnTo>
                  <a:lnTo>
                    <a:pt x="3086304" y="200228"/>
                  </a:lnTo>
                  <a:lnTo>
                    <a:pt x="3086304" y="200876"/>
                  </a:lnTo>
                  <a:lnTo>
                    <a:pt x="3086355" y="200228"/>
                  </a:lnTo>
                  <a:lnTo>
                    <a:pt x="3086355" y="202260"/>
                  </a:lnTo>
                  <a:lnTo>
                    <a:pt x="3086355" y="200876"/>
                  </a:lnTo>
                  <a:lnTo>
                    <a:pt x="3086405" y="200876"/>
                  </a:lnTo>
                  <a:lnTo>
                    <a:pt x="3086405" y="200228"/>
                  </a:lnTo>
                  <a:lnTo>
                    <a:pt x="3086405" y="202260"/>
                  </a:lnTo>
                  <a:lnTo>
                    <a:pt x="3086405" y="199530"/>
                  </a:lnTo>
                  <a:lnTo>
                    <a:pt x="3086405" y="200228"/>
                  </a:lnTo>
                  <a:lnTo>
                    <a:pt x="3086405" y="199530"/>
                  </a:lnTo>
                  <a:lnTo>
                    <a:pt x="3086405" y="200228"/>
                  </a:lnTo>
                  <a:lnTo>
                    <a:pt x="3086507" y="200228"/>
                  </a:lnTo>
                  <a:lnTo>
                    <a:pt x="3086507" y="197447"/>
                  </a:lnTo>
                  <a:lnTo>
                    <a:pt x="3086558" y="197447"/>
                  </a:lnTo>
                  <a:lnTo>
                    <a:pt x="3086558" y="196799"/>
                  </a:lnTo>
                  <a:lnTo>
                    <a:pt x="3086558" y="198831"/>
                  </a:lnTo>
                  <a:lnTo>
                    <a:pt x="3086558" y="196799"/>
                  </a:lnTo>
                  <a:lnTo>
                    <a:pt x="3086608" y="197447"/>
                  </a:lnTo>
                  <a:lnTo>
                    <a:pt x="3086608" y="200228"/>
                  </a:lnTo>
                  <a:lnTo>
                    <a:pt x="3086608" y="199530"/>
                  </a:lnTo>
                  <a:lnTo>
                    <a:pt x="3086608" y="200228"/>
                  </a:lnTo>
                  <a:lnTo>
                    <a:pt x="3086647" y="200228"/>
                  </a:lnTo>
                  <a:lnTo>
                    <a:pt x="3086647" y="200876"/>
                  </a:lnTo>
                  <a:lnTo>
                    <a:pt x="3086647" y="200228"/>
                  </a:lnTo>
                  <a:lnTo>
                    <a:pt x="3086647" y="200876"/>
                  </a:lnTo>
                  <a:lnTo>
                    <a:pt x="3086748" y="200876"/>
                  </a:lnTo>
                  <a:lnTo>
                    <a:pt x="3086748" y="200228"/>
                  </a:lnTo>
                  <a:lnTo>
                    <a:pt x="3086748" y="200876"/>
                  </a:lnTo>
                  <a:lnTo>
                    <a:pt x="3086748" y="200228"/>
                  </a:lnTo>
                  <a:lnTo>
                    <a:pt x="3086748" y="200876"/>
                  </a:lnTo>
                  <a:lnTo>
                    <a:pt x="3086748" y="200228"/>
                  </a:lnTo>
                  <a:lnTo>
                    <a:pt x="3086799" y="200228"/>
                  </a:lnTo>
                  <a:lnTo>
                    <a:pt x="3086799" y="200876"/>
                  </a:lnTo>
                  <a:lnTo>
                    <a:pt x="3086799" y="200228"/>
                  </a:lnTo>
                  <a:lnTo>
                    <a:pt x="3086799" y="200876"/>
                  </a:lnTo>
                  <a:lnTo>
                    <a:pt x="3086799" y="200228"/>
                  </a:lnTo>
                  <a:lnTo>
                    <a:pt x="3086799" y="202260"/>
                  </a:lnTo>
                  <a:lnTo>
                    <a:pt x="3086799" y="200876"/>
                  </a:lnTo>
                  <a:lnTo>
                    <a:pt x="3086951" y="200876"/>
                  </a:lnTo>
                  <a:lnTo>
                    <a:pt x="3086951" y="199530"/>
                  </a:lnTo>
                  <a:lnTo>
                    <a:pt x="3086951" y="200228"/>
                  </a:lnTo>
                  <a:lnTo>
                    <a:pt x="3086951" y="199530"/>
                  </a:lnTo>
                  <a:lnTo>
                    <a:pt x="3087002" y="199530"/>
                  </a:lnTo>
                  <a:lnTo>
                    <a:pt x="3087002" y="197447"/>
                  </a:lnTo>
                  <a:lnTo>
                    <a:pt x="3087002" y="198831"/>
                  </a:lnTo>
                  <a:lnTo>
                    <a:pt x="3087002" y="197447"/>
                  </a:lnTo>
                  <a:lnTo>
                    <a:pt x="3087053" y="196799"/>
                  </a:lnTo>
                  <a:lnTo>
                    <a:pt x="3087053" y="198831"/>
                  </a:lnTo>
                  <a:lnTo>
                    <a:pt x="3087053" y="196799"/>
                  </a:lnTo>
                  <a:lnTo>
                    <a:pt x="3087104" y="196799"/>
                  </a:lnTo>
                  <a:lnTo>
                    <a:pt x="3087104" y="200228"/>
                  </a:lnTo>
                  <a:lnTo>
                    <a:pt x="3087104" y="198831"/>
                  </a:lnTo>
                  <a:lnTo>
                    <a:pt x="3087104" y="199530"/>
                  </a:lnTo>
                  <a:lnTo>
                    <a:pt x="3087193" y="199530"/>
                  </a:lnTo>
                  <a:lnTo>
                    <a:pt x="3087193" y="200228"/>
                  </a:lnTo>
                  <a:lnTo>
                    <a:pt x="3087193" y="199530"/>
                  </a:lnTo>
                  <a:lnTo>
                    <a:pt x="3087244" y="199530"/>
                  </a:lnTo>
                  <a:lnTo>
                    <a:pt x="3087244" y="200876"/>
                  </a:lnTo>
                  <a:lnTo>
                    <a:pt x="3087244" y="200228"/>
                  </a:lnTo>
                  <a:lnTo>
                    <a:pt x="3087244" y="200876"/>
                  </a:lnTo>
                  <a:lnTo>
                    <a:pt x="3087294" y="200876"/>
                  </a:lnTo>
                  <a:lnTo>
                    <a:pt x="3087294" y="200228"/>
                  </a:lnTo>
                  <a:lnTo>
                    <a:pt x="3087294" y="202260"/>
                  </a:lnTo>
                  <a:lnTo>
                    <a:pt x="3087294" y="200876"/>
                  </a:lnTo>
                  <a:lnTo>
                    <a:pt x="3087294" y="202260"/>
                  </a:lnTo>
                  <a:lnTo>
                    <a:pt x="3087294" y="200876"/>
                  </a:lnTo>
                  <a:lnTo>
                    <a:pt x="3087345" y="200876"/>
                  </a:lnTo>
                  <a:lnTo>
                    <a:pt x="3087345" y="202260"/>
                  </a:lnTo>
                  <a:lnTo>
                    <a:pt x="3087345" y="200228"/>
                  </a:lnTo>
                  <a:lnTo>
                    <a:pt x="3087345" y="202260"/>
                  </a:lnTo>
                  <a:lnTo>
                    <a:pt x="3087345" y="200876"/>
                  </a:lnTo>
                  <a:lnTo>
                    <a:pt x="3087345" y="202260"/>
                  </a:lnTo>
                  <a:lnTo>
                    <a:pt x="3087345" y="200876"/>
                  </a:lnTo>
                  <a:lnTo>
                    <a:pt x="3087447" y="200876"/>
                  </a:lnTo>
                  <a:lnTo>
                    <a:pt x="3087447" y="199530"/>
                  </a:lnTo>
                  <a:lnTo>
                    <a:pt x="3087447" y="200228"/>
                  </a:lnTo>
                  <a:lnTo>
                    <a:pt x="3087497" y="200228"/>
                  </a:lnTo>
                  <a:lnTo>
                    <a:pt x="3087497" y="198831"/>
                  </a:lnTo>
                  <a:lnTo>
                    <a:pt x="3087497" y="199530"/>
                  </a:lnTo>
                  <a:lnTo>
                    <a:pt x="3087497" y="198831"/>
                  </a:lnTo>
                  <a:lnTo>
                    <a:pt x="3087497" y="199530"/>
                  </a:lnTo>
                  <a:lnTo>
                    <a:pt x="3087497" y="197447"/>
                  </a:lnTo>
                  <a:lnTo>
                    <a:pt x="3087497" y="198831"/>
                  </a:lnTo>
                  <a:lnTo>
                    <a:pt x="3087497" y="197447"/>
                  </a:lnTo>
                  <a:lnTo>
                    <a:pt x="3087497" y="198831"/>
                  </a:lnTo>
                  <a:lnTo>
                    <a:pt x="3087548" y="198831"/>
                  </a:lnTo>
                  <a:lnTo>
                    <a:pt x="3087548" y="199530"/>
                  </a:lnTo>
                  <a:lnTo>
                    <a:pt x="3087548" y="196799"/>
                  </a:lnTo>
                  <a:lnTo>
                    <a:pt x="3087548" y="199530"/>
                  </a:lnTo>
                  <a:lnTo>
                    <a:pt x="3087650" y="200228"/>
                  </a:lnTo>
                  <a:lnTo>
                    <a:pt x="3087650" y="198831"/>
                  </a:lnTo>
                  <a:lnTo>
                    <a:pt x="3087650" y="200228"/>
                  </a:lnTo>
                  <a:lnTo>
                    <a:pt x="3087650" y="199530"/>
                  </a:lnTo>
                  <a:lnTo>
                    <a:pt x="3087688" y="199530"/>
                  </a:lnTo>
                  <a:lnTo>
                    <a:pt x="3087688" y="200228"/>
                  </a:lnTo>
                  <a:lnTo>
                    <a:pt x="3087688" y="199530"/>
                  </a:lnTo>
                  <a:lnTo>
                    <a:pt x="3087739" y="199530"/>
                  </a:lnTo>
                  <a:lnTo>
                    <a:pt x="3087739" y="200228"/>
                  </a:lnTo>
                  <a:lnTo>
                    <a:pt x="3087739" y="199530"/>
                  </a:lnTo>
                  <a:lnTo>
                    <a:pt x="3087739" y="200228"/>
                  </a:lnTo>
                  <a:lnTo>
                    <a:pt x="3087739" y="199530"/>
                  </a:lnTo>
                  <a:lnTo>
                    <a:pt x="3087739" y="200228"/>
                  </a:lnTo>
                  <a:lnTo>
                    <a:pt x="3087739" y="199530"/>
                  </a:lnTo>
                  <a:lnTo>
                    <a:pt x="3087790" y="199530"/>
                  </a:lnTo>
                  <a:lnTo>
                    <a:pt x="3087790" y="200876"/>
                  </a:lnTo>
                  <a:lnTo>
                    <a:pt x="3087790" y="200228"/>
                  </a:lnTo>
                  <a:lnTo>
                    <a:pt x="3087790" y="200876"/>
                  </a:lnTo>
                  <a:lnTo>
                    <a:pt x="3087790" y="200228"/>
                  </a:lnTo>
                  <a:lnTo>
                    <a:pt x="3087891" y="200228"/>
                  </a:lnTo>
                  <a:lnTo>
                    <a:pt x="3087891" y="200876"/>
                  </a:lnTo>
                  <a:lnTo>
                    <a:pt x="3087891" y="200228"/>
                  </a:lnTo>
                  <a:lnTo>
                    <a:pt x="3087891" y="200876"/>
                  </a:lnTo>
                  <a:lnTo>
                    <a:pt x="3087891" y="200228"/>
                  </a:lnTo>
                  <a:lnTo>
                    <a:pt x="3087942" y="200228"/>
                  </a:lnTo>
                  <a:lnTo>
                    <a:pt x="3087942" y="199530"/>
                  </a:lnTo>
                  <a:lnTo>
                    <a:pt x="3087942" y="200228"/>
                  </a:lnTo>
                  <a:lnTo>
                    <a:pt x="3087942" y="198831"/>
                  </a:lnTo>
                  <a:lnTo>
                    <a:pt x="3087942" y="199530"/>
                  </a:lnTo>
                  <a:lnTo>
                    <a:pt x="3087942" y="198831"/>
                  </a:lnTo>
                  <a:lnTo>
                    <a:pt x="3087993" y="198831"/>
                  </a:lnTo>
                  <a:lnTo>
                    <a:pt x="3087993" y="200228"/>
                  </a:lnTo>
                  <a:lnTo>
                    <a:pt x="3087993" y="199530"/>
                  </a:lnTo>
                  <a:lnTo>
                    <a:pt x="3088094" y="199530"/>
                  </a:lnTo>
                  <a:lnTo>
                    <a:pt x="3088094" y="202959"/>
                  </a:lnTo>
                  <a:lnTo>
                    <a:pt x="3088094" y="200876"/>
                  </a:lnTo>
                  <a:lnTo>
                    <a:pt x="3088145" y="200876"/>
                  </a:lnTo>
                  <a:lnTo>
                    <a:pt x="3088145" y="202959"/>
                  </a:lnTo>
                  <a:lnTo>
                    <a:pt x="3088145" y="200876"/>
                  </a:lnTo>
                  <a:lnTo>
                    <a:pt x="3088145" y="202260"/>
                  </a:lnTo>
                  <a:lnTo>
                    <a:pt x="3088196" y="202260"/>
                  </a:lnTo>
                  <a:lnTo>
                    <a:pt x="3088196" y="200876"/>
                  </a:lnTo>
                  <a:lnTo>
                    <a:pt x="3088196" y="202260"/>
                  </a:lnTo>
                  <a:lnTo>
                    <a:pt x="3088196" y="200876"/>
                  </a:lnTo>
                  <a:lnTo>
                    <a:pt x="3088234" y="200876"/>
                  </a:lnTo>
                  <a:lnTo>
                    <a:pt x="3088234" y="202260"/>
                  </a:lnTo>
                  <a:lnTo>
                    <a:pt x="3088234" y="200876"/>
                  </a:lnTo>
                  <a:lnTo>
                    <a:pt x="3088234" y="202260"/>
                  </a:lnTo>
                  <a:lnTo>
                    <a:pt x="3088234" y="200876"/>
                  </a:lnTo>
                  <a:lnTo>
                    <a:pt x="3088234" y="202260"/>
                  </a:lnTo>
                  <a:lnTo>
                    <a:pt x="3088336" y="202260"/>
                  </a:lnTo>
                  <a:lnTo>
                    <a:pt x="3088336" y="200876"/>
                  </a:lnTo>
                  <a:lnTo>
                    <a:pt x="3088336" y="202260"/>
                  </a:lnTo>
                  <a:lnTo>
                    <a:pt x="3088336" y="200876"/>
                  </a:lnTo>
                  <a:lnTo>
                    <a:pt x="3088387" y="200876"/>
                  </a:lnTo>
                  <a:lnTo>
                    <a:pt x="3088387" y="200228"/>
                  </a:lnTo>
                  <a:lnTo>
                    <a:pt x="3088387" y="200876"/>
                  </a:lnTo>
                  <a:lnTo>
                    <a:pt x="3088387" y="200228"/>
                  </a:lnTo>
                  <a:lnTo>
                    <a:pt x="3088437" y="200228"/>
                  </a:lnTo>
                  <a:lnTo>
                    <a:pt x="3088437" y="198831"/>
                  </a:lnTo>
                  <a:lnTo>
                    <a:pt x="3088437" y="199530"/>
                  </a:lnTo>
                  <a:lnTo>
                    <a:pt x="3088539" y="200228"/>
                  </a:lnTo>
                  <a:lnTo>
                    <a:pt x="3088539" y="200876"/>
                  </a:lnTo>
                  <a:lnTo>
                    <a:pt x="3088539" y="200228"/>
                  </a:lnTo>
                  <a:lnTo>
                    <a:pt x="3088539" y="202959"/>
                  </a:lnTo>
                  <a:lnTo>
                    <a:pt x="3088590" y="202959"/>
                  </a:lnTo>
                  <a:lnTo>
                    <a:pt x="3088590" y="200876"/>
                  </a:lnTo>
                  <a:lnTo>
                    <a:pt x="3088590" y="202959"/>
                  </a:lnTo>
                  <a:lnTo>
                    <a:pt x="3088590" y="202260"/>
                  </a:lnTo>
                  <a:lnTo>
                    <a:pt x="3088640" y="202260"/>
                  </a:lnTo>
                  <a:lnTo>
                    <a:pt x="3088640" y="202959"/>
                  </a:lnTo>
                  <a:lnTo>
                    <a:pt x="3088640" y="202260"/>
                  </a:lnTo>
                  <a:lnTo>
                    <a:pt x="3088640" y="202959"/>
                  </a:lnTo>
                  <a:lnTo>
                    <a:pt x="3088640" y="202260"/>
                  </a:lnTo>
                  <a:lnTo>
                    <a:pt x="3088640" y="202959"/>
                  </a:lnTo>
                  <a:lnTo>
                    <a:pt x="3088691" y="202959"/>
                  </a:lnTo>
                  <a:lnTo>
                    <a:pt x="3088691" y="202260"/>
                  </a:lnTo>
                  <a:lnTo>
                    <a:pt x="3088691" y="202959"/>
                  </a:lnTo>
                  <a:lnTo>
                    <a:pt x="3088691" y="202260"/>
                  </a:lnTo>
                  <a:lnTo>
                    <a:pt x="3088691" y="202959"/>
                  </a:lnTo>
                  <a:lnTo>
                    <a:pt x="3088780" y="202260"/>
                  </a:lnTo>
                  <a:lnTo>
                    <a:pt x="3088780" y="202959"/>
                  </a:lnTo>
                  <a:lnTo>
                    <a:pt x="3088780" y="202260"/>
                  </a:lnTo>
                  <a:lnTo>
                    <a:pt x="3088780" y="202959"/>
                  </a:lnTo>
                  <a:lnTo>
                    <a:pt x="3088831" y="202959"/>
                  </a:lnTo>
                  <a:lnTo>
                    <a:pt x="3088831" y="200876"/>
                  </a:lnTo>
                  <a:lnTo>
                    <a:pt x="3088831" y="202260"/>
                  </a:lnTo>
                  <a:lnTo>
                    <a:pt x="3088831" y="200876"/>
                  </a:lnTo>
                  <a:lnTo>
                    <a:pt x="3088831" y="202260"/>
                  </a:lnTo>
                  <a:lnTo>
                    <a:pt x="3088831" y="200876"/>
                  </a:lnTo>
                  <a:lnTo>
                    <a:pt x="3088882" y="200876"/>
                  </a:lnTo>
                  <a:lnTo>
                    <a:pt x="3088882" y="199530"/>
                  </a:lnTo>
                  <a:lnTo>
                    <a:pt x="3088882" y="200228"/>
                  </a:lnTo>
                  <a:lnTo>
                    <a:pt x="3088882" y="199530"/>
                  </a:lnTo>
                  <a:lnTo>
                    <a:pt x="3088933" y="198831"/>
                  </a:lnTo>
                  <a:lnTo>
                    <a:pt x="3088933" y="197447"/>
                  </a:lnTo>
                  <a:lnTo>
                    <a:pt x="3088933" y="199530"/>
                  </a:lnTo>
                  <a:lnTo>
                    <a:pt x="3089034" y="199530"/>
                  </a:lnTo>
                  <a:lnTo>
                    <a:pt x="3089034" y="197447"/>
                  </a:lnTo>
                  <a:lnTo>
                    <a:pt x="3089034" y="202260"/>
                  </a:lnTo>
                  <a:lnTo>
                    <a:pt x="3089034" y="200876"/>
                  </a:lnTo>
                  <a:lnTo>
                    <a:pt x="3089085" y="200228"/>
                  </a:lnTo>
                  <a:lnTo>
                    <a:pt x="3089085" y="199530"/>
                  </a:lnTo>
                  <a:lnTo>
                    <a:pt x="3089085" y="202260"/>
                  </a:lnTo>
                  <a:lnTo>
                    <a:pt x="3089085" y="200876"/>
                  </a:lnTo>
                  <a:lnTo>
                    <a:pt x="3089136" y="200228"/>
                  </a:lnTo>
                  <a:lnTo>
                    <a:pt x="3089136" y="202260"/>
                  </a:lnTo>
                  <a:lnTo>
                    <a:pt x="3089136" y="200876"/>
                  </a:lnTo>
                  <a:lnTo>
                    <a:pt x="3089136" y="202260"/>
                  </a:lnTo>
                  <a:lnTo>
                    <a:pt x="3089237" y="200876"/>
                  </a:lnTo>
                  <a:lnTo>
                    <a:pt x="3089237" y="200228"/>
                  </a:lnTo>
                  <a:lnTo>
                    <a:pt x="3089237" y="202260"/>
                  </a:lnTo>
                  <a:lnTo>
                    <a:pt x="3089276" y="202260"/>
                  </a:lnTo>
                  <a:lnTo>
                    <a:pt x="3089276" y="202959"/>
                  </a:lnTo>
                  <a:lnTo>
                    <a:pt x="3089276" y="202260"/>
                  </a:lnTo>
                  <a:lnTo>
                    <a:pt x="3089276" y="202959"/>
                  </a:lnTo>
                  <a:lnTo>
                    <a:pt x="3089276" y="202260"/>
                  </a:lnTo>
                  <a:lnTo>
                    <a:pt x="3089276" y="203594"/>
                  </a:lnTo>
                  <a:lnTo>
                    <a:pt x="3089276" y="202959"/>
                  </a:lnTo>
                  <a:lnTo>
                    <a:pt x="3089326" y="202959"/>
                  </a:lnTo>
                  <a:lnTo>
                    <a:pt x="3089326" y="202260"/>
                  </a:lnTo>
                  <a:lnTo>
                    <a:pt x="3089326" y="202959"/>
                  </a:lnTo>
                  <a:lnTo>
                    <a:pt x="3089326" y="202260"/>
                  </a:lnTo>
                  <a:lnTo>
                    <a:pt x="3089326" y="202959"/>
                  </a:lnTo>
                  <a:lnTo>
                    <a:pt x="3089326" y="200876"/>
                  </a:lnTo>
                  <a:lnTo>
                    <a:pt x="3089377" y="200876"/>
                  </a:lnTo>
                  <a:lnTo>
                    <a:pt x="3089377" y="200228"/>
                  </a:lnTo>
                  <a:lnTo>
                    <a:pt x="3089377" y="200876"/>
                  </a:lnTo>
                  <a:lnTo>
                    <a:pt x="3089377" y="200228"/>
                  </a:lnTo>
                  <a:lnTo>
                    <a:pt x="3089377" y="200876"/>
                  </a:lnTo>
                  <a:lnTo>
                    <a:pt x="3089377" y="199530"/>
                  </a:lnTo>
                  <a:lnTo>
                    <a:pt x="3089479" y="199530"/>
                  </a:lnTo>
                  <a:lnTo>
                    <a:pt x="3089479" y="198831"/>
                  </a:lnTo>
                  <a:lnTo>
                    <a:pt x="3089479" y="199530"/>
                  </a:lnTo>
                  <a:lnTo>
                    <a:pt x="3089479" y="197447"/>
                  </a:lnTo>
                  <a:lnTo>
                    <a:pt x="3089479" y="200228"/>
                  </a:lnTo>
                  <a:lnTo>
                    <a:pt x="3089479" y="198831"/>
                  </a:lnTo>
                  <a:lnTo>
                    <a:pt x="3089530" y="197447"/>
                  </a:lnTo>
                  <a:lnTo>
                    <a:pt x="3089530" y="200876"/>
                  </a:lnTo>
                  <a:lnTo>
                    <a:pt x="3089530" y="199530"/>
                  </a:lnTo>
                  <a:lnTo>
                    <a:pt x="3089580" y="199530"/>
                  </a:lnTo>
                  <a:lnTo>
                    <a:pt x="3089580" y="200876"/>
                  </a:lnTo>
                  <a:lnTo>
                    <a:pt x="3089580" y="199530"/>
                  </a:lnTo>
                  <a:lnTo>
                    <a:pt x="3089580" y="200228"/>
                  </a:lnTo>
                  <a:lnTo>
                    <a:pt x="3089682" y="200228"/>
                  </a:lnTo>
                  <a:lnTo>
                    <a:pt x="3089682" y="200876"/>
                  </a:lnTo>
                  <a:lnTo>
                    <a:pt x="3089733" y="200876"/>
                  </a:lnTo>
                  <a:lnTo>
                    <a:pt x="3089733" y="200228"/>
                  </a:lnTo>
                  <a:lnTo>
                    <a:pt x="3089733" y="202260"/>
                  </a:lnTo>
                  <a:lnTo>
                    <a:pt x="3089733" y="200876"/>
                  </a:lnTo>
                  <a:lnTo>
                    <a:pt x="3089733" y="202260"/>
                  </a:lnTo>
                  <a:lnTo>
                    <a:pt x="3089783" y="202260"/>
                  </a:lnTo>
                  <a:lnTo>
                    <a:pt x="3089783" y="202959"/>
                  </a:lnTo>
                  <a:lnTo>
                    <a:pt x="3089783" y="202260"/>
                  </a:lnTo>
                  <a:lnTo>
                    <a:pt x="3089783" y="202959"/>
                  </a:lnTo>
                  <a:lnTo>
                    <a:pt x="3089783" y="202260"/>
                  </a:lnTo>
                  <a:lnTo>
                    <a:pt x="3089822" y="202260"/>
                  </a:lnTo>
                  <a:lnTo>
                    <a:pt x="3089822" y="200228"/>
                  </a:lnTo>
                  <a:lnTo>
                    <a:pt x="3089923" y="200228"/>
                  </a:lnTo>
                  <a:lnTo>
                    <a:pt x="3089923" y="199530"/>
                  </a:lnTo>
                  <a:lnTo>
                    <a:pt x="3089923" y="200228"/>
                  </a:lnTo>
                  <a:lnTo>
                    <a:pt x="3089923" y="198831"/>
                  </a:lnTo>
                  <a:lnTo>
                    <a:pt x="3089923" y="199530"/>
                  </a:lnTo>
                  <a:lnTo>
                    <a:pt x="3089923" y="198831"/>
                  </a:lnTo>
                  <a:lnTo>
                    <a:pt x="3089974" y="198831"/>
                  </a:lnTo>
                  <a:lnTo>
                    <a:pt x="3089974" y="197447"/>
                  </a:lnTo>
                  <a:lnTo>
                    <a:pt x="3089974" y="198831"/>
                  </a:lnTo>
                  <a:lnTo>
                    <a:pt x="3089974" y="197447"/>
                  </a:lnTo>
                  <a:lnTo>
                    <a:pt x="3089974" y="198831"/>
                  </a:lnTo>
                  <a:lnTo>
                    <a:pt x="3090025" y="197447"/>
                  </a:lnTo>
                  <a:lnTo>
                    <a:pt x="3090025" y="200228"/>
                  </a:lnTo>
                  <a:lnTo>
                    <a:pt x="3090025" y="199530"/>
                  </a:lnTo>
                  <a:lnTo>
                    <a:pt x="3090126" y="199530"/>
                  </a:lnTo>
                  <a:lnTo>
                    <a:pt x="3090126" y="198831"/>
                  </a:lnTo>
                  <a:lnTo>
                    <a:pt x="3090126" y="200228"/>
                  </a:lnTo>
                  <a:lnTo>
                    <a:pt x="3090126" y="198831"/>
                  </a:lnTo>
                  <a:lnTo>
                    <a:pt x="3090177" y="199530"/>
                  </a:lnTo>
                  <a:lnTo>
                    <a:pt x="3090177" y="198831"/>
                  </a:lnTo>
                  <a:lnTo>
                    <a:pt x="3090177" y="200228"/>
                  </a:lnTo>
                  <a:lnTo>
                    <a:pt x="3090177" y="199530"/>
                  </a:lnTo>
                  <a:lnTo>
                    <a:pt x="3090177" y="200228"/>
                  </a:lnTo>
                  <a:lnTo>
                    <a:pt x="3090228" y="200876"/>
                  </a:lnTo>
                  <a:lnTo>
                    <a:pt x="3090228" y="200228"/>
                  </a:lnTo>
                  <a:lnTo>
                    <a:pt x="3090228" y="200876"/>
                  </a:lnTo>
                  <a:lnTo>
                    <a:pt x="3090228" y="200228"/>
                  </a:lnTo>
                  <a:lnTo>
                    <a:pt x="3090228" y="200876"/>
                  </a:lnTo>
                  <a:lnTo>
                    <a:pt x="3090279" y="200876"/>
                  </a:lnTo>
                  <a:lnTo>
                    <a:pt x="3090279" y="202260"/>
                  </a:lnTo>
                  <a:lnTo>
                    <a:pt x="3090279" y="200876"/>
                  </a:lnTo>
                  <a:lnTo>
                    <a:pt x="3090368" y="200876"/>
                  </a:lnTo>
                  <a:lnTo>
                    <a:pt x="3090368" y="200228"/>
                  </a:lnTo>
                  <a:lnTo>
                    <a:pt x="3090368" y="200876"/>
                  </a:lnTo>
                  <a:lnTo>
                    <a:pt x="3090368" y="200228"/>
                  </a:lnTo>
                  <a:lnTo>
                    <a:pt x="3090419" y="200228"/>
                  </a:lnTo>
                  <a:lnTo>
                    <a:pt x="3090419" y="199530"/>
                  </a:lnTo>
                  <a:lnTo>
                    <a:pt x="3090419" y="200228"/>
                  </a:lnTo>
                  <a:lnTo>
                    <a:pt x="3090419" y="197447"/>
                  </a:lnTo>
                  <a:lnTo>
                    <a:pt x="3090469" y="197447"/>
                  </a:lnTo>
                  <a:lnTo>
                    <a:pt x="3090469" y="198831"/>
                  </a:lnTo>
                  <a:lnTo>
                    <a:pt x="3090469" y="196799"/>
                  </a:lnTo>
                  <a:lnTo>
                    <a:pt x="3090469" y="197447"/>
                  </a:lnTo>
                  <a:lnTo>
                    <a:pt x="3090520" y="197447"/>
                  </a:lnTo>
                  <a:lnTo>
                    <a:pt x="3090520" y="200228"/>
                  </a:lnTo>
                  <a:lnTo>
                    <a:pt x="3090520" y="197447"/>
                  </a:lnTo>
                  <a:lnTo>
                    <a:pt x="3090520" y="198831"/>
                  </a:lnTo>
                  <a:lnTo>
                    <a:pt x="3090622" y="199530"/>
                  </a:lnTo>
                  <a:lnTo>
                    <a:pt x="3090622" y="200228"/>
                  </a:lnTo>
                  <a:lnTo>
                    <a:pt x="3090622" y="198831"/>
                  </a:lnTo>
                  <a:lnTo>
                    <a:pt x="3090622" y="199530"/>
                  </a:lnTo>
                  <a:lnTo>
                    <a:pt x="3090672" y="199530"/>
                  </a:lnTo>
                  <a:lnTo>
                    <a:pt x="3090672" y="200228"/>
                  </a:lnTo>
                  <a:lnTo>
                    <a:pt x="3090672" y="199530"/>
                  </a:lnTo>
                  <a:lnTo>
                    <a:pt x="3090723" y="199530"/>
                  </a:lnTo>
                  <a:lnTo>
                    <a:pt x="3090723" y="200228"/>
                  </a:lnTo>
                  <a:lnTo>
                    <a:pt x="3090723" y="199530"/>
                  </a:lnTo>
                  <a:lnTo>
                    <a:pt x="3090723" y="200228"/>
                  </a:lnTo>
                  <a:lnTo>
                    <a:pt x="3090723" y="199530"/>
                  </a:lnTo>
                  <a:lnTo>
                    <a:pt x="3090723" y="200228"/>
                  </a:lnTo>
                  <a:lnTo>
                    <a:pt x="3090723" y="199530"/>
                  </a:lnTo>
                  <a:lnTo>
                    <a:pt x="3090723" y="200228"/>
                  </a:lnTo>
                  <a:lnTo>
                    <a:pt x="3090825" y="200228"/>
                  </a:lnTo>
                  <a:lnTo>
                    <a:pt x="3090825" y="199530"/>
                  </a:lnTo>
                  <a:lnTo>
                    <a:pt x="3090825" y="200228"/>
                  </a:lnTo>
                  <a:lnTo>
                    <a:pt x="3090825" y="199530"/>
                  </a:lnTo>
                  <a:lnTo>
                    <a:pt x="3090825" y="200228"/>
                  </a:lnTo>
                  <a:lnTo>
                    <a:pt x="3090863" y="200228"/>
                  </a:lnTo>
                  <a:lnTo>
                    <a:pt x="3090863" y="199530"/>
                  </a:lnTo>
                  <a:lnTo>
                    <a:pt x="3090863" y="200228"/>
                  </a:lnTo>
                  <a:lnTo>
                    <a:pt x="3090863" y="199530"/>
                  </a:lnTo>
                  <a:lnTo>
                    <a:pt x="3090863" y="200228"/>
                  </a:lnTo>
                  <a:lnTo>
                    <a:pt x="3090863" y="199530"/>
                  </a:lnTo>
                  <a:lnTo>
                    <a:pt x="3090863" y="200228"/>
                  </a:lnTo>
                  <a:lnTo>
                    <a:pt x="3090863" y="199530"/>
                  </a:lnTo>
                  <a:lnTo>
                    <a:pt x="3090914" y="199530"/>
                  </a:lnTo>
                  <a:lnTo>
                    <a:pt x="3090914" y="197447"/>
                  </a:lnTo>
                  <a:lnTo>
                    <a:pt x="3090965" y="198831"/>
                  </a:lnTo>
                  <a:lnTo>
                    <a:pt x="3090965" y="199530"/>
                  </a:lnTo>
                  <a:lnTo>
                    <a:pt x="3090965" y="198831"/>
                  </a:lnTo>
                  <a:lnTo>
                    <a:pt x="3090965" y="199530"/>
                  </a:lnTo>
                  <a:lnTo>
                    <a:pt x="3090965" y="198831"/>
                  </a:lnTo>
                  <a:lnTo>
                    <a:pt x="3090965" y="199530"/>
                  </a:lnTo>
                  <a:lnTo>
                    <a:pt x="3090965" y="197447"/>
                  </a:lnTo>
                  <a:lnTo>
                    <a:pt x="3090965" y="200228"/>
                  </a:lnTo>
                  <a:lnTo>
                    <a:pt x="3091066" y="200876"/>
                  </a:lnTo>
                  <a:lnTo>
                    <a:pt x="3091066" y="198831"/>
                  </a:lnTo>
                  <a:lnTo>
                    <a:pt x="3091066" y="199530"/>
                  </a:lnTo>
                  <a:lnTo>
                    <a:pt x="3091066" y="198831"/>
                  </a:lnTo>
                  <a:lnTo>
                    <a:pt x="3091066" y="200228"/>
                  </a:lnTo>
                  <a:lnTo>
                    <a:pt x="3091066" y="199530"/>
                  </a:lnTo>
                  <a:lnTo>
                    <a:pt x="3091066" y="200228"/>
                  </a:lnTo>
                  <a:lnTo>
                    <a:pt x="3091117" y="200228"/>
                  </a:lnTo>
                  <a:lnTo>
                    <a:pt x="3091117" y="200876"/>
                  </a:lnTo>
                  <a:lnTo>
                    <a:pt x="3091117" y="199530"/>
                  </a:lnTo>
                  <a:lnTo>
                    <a:pt x="3091117" y="200228"/>
                  </a:lnTo>
                  <a:lnTo>
                    <a:pt x="3091168" y="200228"/>
                  </a:lnTo>
                  <a:lnTo>
                    <a:pt x="3091168" y="200876"/>
                  </a:lnTo>
                  <a:lnTo>
                    <a:pt x="3091269" y="200876"/>
                  </a:lnTo>
                  <a:lnTo>
                    <a:pt x="3091320" y="200228"/>
                  </a:lnTo>
                  <a:lnTo>
                    <a:pt x="3091320" y="200876"/>
                  </a:lnTo>
                  <a:lnTo>
                    <a:pt x="3091320" y="200228"/>
                  </a:lnTo>
                  <a:lnTo>
                    <a:pt x="3091320" y="200876"/>
                  </a:lnTo>
                  <a:lnTo>
                    <a:pt x="3091320" y="200228"/>
                  </a:lnTo>
                  <a:lnTo>
                    <a:pt x="3091371" y="200876"/>
                  </a:lnTo>
                  <a:lnTo>
                    <a:pt x="3091371" y="200228"/>
                  </a:lnTo>
                  <a:lnTo>
                    <a:pt x="3091371" y="200876"/>
                  </a:lnTo>
                  <a:lnTo>
                    <a:pt x="3091371" y="199530"/>
                  </a:lnTo>
                  <a:lnTo>
                    <a:pt x="3091409" y="199530"/>
                  </a:lnTo>
                  <a:lnTo>
                    <a:pt x="3091409" y="197447"/>
                  </a:lnTo>
                  <a:lnTo>
                    <a:pt x="3091409" y="198831"/>
                  </a:lnTo>
                  <a:lnTo>
                    <a:pt x="3091409" y="197447"/>
                  </a:lnTo>
                  <a:lnTo>
                    <a:pt x="3091409" y="198831"/>
                  </a:lnTo>
                  <a:lnTo>
                    <a:pt x="3091511" y="198831"/>
                  </a:lnTo>
                  <a:lnTo>
                    <a:pt x="3091511" y="199530"/>
                  </a:lnTo>
                  <a:lnTo>
                    <a:pt x="3091511" y="197447"/>
                  </a:lnTo>
                  <a:lnTo>
                    <a:pt x="3091511" y="200228"/>
                  </a:lnTo>
                  <a:lnTo>
                    <a:pt x="3091562" y="200228"/>
                  </a:lnTo>
                  <a:lnTo>
                    <a:pt x="3091562" y="200876"/>
                  </a:lnTo>
                  <a:lnTo>
                    <a:pt x="3091562" y="200228"/>
                  </a:lnTo>
                  <a:lnTo>
                    <a:pt x="3091562" y="200876"/>
                  </a:lnTo>
                  <a:lnTo>
                    <a:pt x="3091562" y="199530"/>
                  </a:lnTo>
                  <a:lnTo>
                    <a:pt x="3091562" y="200876"/>
                  </a:lnTo>
                  <a:lnTo>
                    <a:pt x="3091562" y="200228"/>
                  </a:lnTo>
                  <a:lnTo>
                    <a:pt x="3091612" y="200876"/>
                  </a:lnTo>
                  <a:lnTo>
                    <a:pt x="3091612" y="199530"/>
                  </a:lnTo>
                  <a:lnTo>
                    <a:pt x="3091612" y="200876"/>
                  </a:lnTo>
                  <a:lnTo>
                    <a:pt x="3091714" y="200876"/>
                  </a:lnTo>
                  <a:lnTo>
                    <a:pt x="3091714" y="200228"/>
                  </a:lnTo>
                  <a:lnTo>
                    <a:pt x="3091714" y="200876"/>
                  </a:lnTo>
                  <a:lnTo>
                    <a:pt x="3091714" y="200228"/>
                  </a:lnTo>
                  <a:lnTo>
                    <a:pt x="3091714" y="200876"/>
                  </a:lnTo>
                  <a:lnTo>
                    <a:pt x="3091765" y="200876"/>
                  </a:lnTo>
                  <a:lnTo>
                    <a:pt x="3091765" y="200228"/>
                  </a:lnTo>
                  <a:lnTo>
                    <a:pt x="3091765" y="200876"/>
                  </a:lnTo>
                  <a:lnTo>
                    <a:pt x="3091765" y="200228"/>
                  </a:lnTo>
                  <a:lnTo>
                    <a:pt x="3091765" y="200876"/>
                  </a:lnTo>
                  <a:lnTo>
                    <a:pt x="3091765" y="200228"/>
                  </a:lnTo>
                  <a:lnTo>
                    <a:pt x="3091765" y="202260"/>
                  </a:lnTo>
                  <a:lnTo>
                    <a:pt x="3091815" y="202260"/>
                  </a:lnTo>
                  <a:lnTo>
                    <a:pt x="3091815" y="200228"/>
                  </a:lnTo>
                  <a:lnTo>
                    <a:pt x="3091815" y="200876"/>
                  </a:lnTo>
                  <a:lnTo>
                    <a:pt x="3091815" y="199530"/>
                  </a:lnTo>
                  <a:lnTo>
                    <a:pt x="3091866" y="199530"/>
                  </a:lnTo>
                  <a:lnTo>
                    <a:pt x="3091866" y="200228"/>
                  </a:lnTo>
                  <a:lnTo>
                    <a:pt x="3091866" y="198831"/>
                  </a:lnTo>
                  <a:lnTo>
                    <a:pt x="3091866" y="199530"/>
                  </a:lnTo>
                  <a:lnTo>
                    <a:pt x="3091866" y="198831"/>
                  </a:lnTo>
                  <a:lnTo>
                    <a:pt x="3091955" y="198831"/>
                  </a:lnTo>
                  <a:lnTo>
                    <a:pt x="3091955" y="197447"/>
                  </a:lnTo>
                  <a:lnTo>
                    <a:pt x="3091955" y="198831"/>
                  </a:lnTo>
                  <a:lnTo>
                    <a:pt x="3092006" y="198831"/>
                  </a:lnTo>
                  <a:lnTo>
                    <a:pt x="3092006" y="197447"/>
                  </a:lnTo>
                  <a:lnTo>
                    <a:pt x="3092006" y="200876"/>
                  </a:lnTo>
                  <a:lnTo>
                    <a:pt x="3092006" y="200228"/>
                  </a:lnTo>
                  <a:lnTo>
                    <a:pt x="3092057" y="199530"/>
                  </a:lnTo>
                  <a:lnTo>
                    <a:pt x="3092057" y="198831"/>
                  </a:lnTo>
                  <a:lnTo>
                    <a:pt x="3092057" y="200876"/>
                  </a:lnTo>
                  <a:lnTo>
                    <a:pt x="3092057" y="200228"/>
                  </a:lnTo>
                  <a:lnTo>
                    <a:pt x="3092108" y="199530"/>
                  </a:lnTo>
                  <a:lnTo>
                    <a:pt x="3092108" y="200876"/>
                  </a:lnTo>
                  <a:lnTo>
                    <a:pt x="3092209" y="200876"/>
                  </a:lnTo>
                  <a:lnTo>
                    <a:pt x="3092209" y="200228"/>
                  </a:lnTo>
                  <a:lnTo>
                    <a:pt x="3092209" y="202260"/>
                  </a:lnTo>
                  <a:lnTo>
                    <a:pt x="3092209" y="200228"/>
                  </a:lnTo>
                  <a:lnTo>
                    <a:pt x="3092209" y="200876"/>
                  </a:lnTo>
                  <a:lnTo>
                    <a:pt x="3092209" y="200228"/>
                  </a:lnTo>
                  <a:lnTo>
                    <a:pt x="3092209" y="200876"/>
                  </a:lnTo>
                  <a:lnTo>
                    <a:pt x="3092260" y="200876"/>
                  </a:lnTo>
                  <a:lnTo>
                    <a:pt x="3092260" y="202260"/>
                  </a:lnTo>
                  <a:lnTo>
                    <a:pt x="3092260" y="200228"/>
                  </a:lnTo>
                  <a:lnTo>
                    <a:pt x="3092260" y="200876"/>
                  </a:lnTo>
                  <a:lnTo>
                    <a:pt x="3092260" y="200228"/>
                  </a:lnTo>
                  <a:lnTo>
                    <a:pt x="3092311" y="200228"/>
                  </a:lnTo>
                  <a:lnTo>
                    <a:pt x="3092311" y="200876"/>
                  </a:lnTo>
                  <a:lnTo>
                    <a:pt x="3092311" y="200228"/>
                  </a:lnTo>
                  <a:lnTo>
                    <a:pt x="3092412" y="199530"/>
                  </a:lnTo>
                  <a:lnTo>
                    <a:pt x="3092412" y="200228"/>
                  </a:lnTo>
                  <a:lnTo>
                    <a:pt x="3092412" y="198831"/>
                  </a:lnTo>
                  <a:lnTo>
                    <a:pt x="3092412" y="199530"/>
                  </a:lnTo>
                  <a:lnTo>
                    <a:pt x="3092412" y="198831"/>
                  </a:lnTo>
                  <a:lnTo>
                    <a:pt x="3092451" y="198831"/>
                  </a:lnTo>
                  <a:lnTo>
                    <a:pt x="3092451" y="197447"/>
                  </a:lnTo>
                  <a:lnTo>
                    <a:pt x="3092451" y="199530"/>
                  </a:lnTo>
                  <a:lnTo>
                    <a:pt x="3092451" y="198831"/>
                  </a:lnTo>
                  <a:lnTo>
                    <a:pt x="3092501" y="198831"/>
                  </a:lnTo>
                  <a:lnTo>
                    <a:pt x="3092501" y="197447"/>
                  </a:lnTo>
                  <a:lnTo>
                    <a:pt x="3092501" y="200876"/>
                  </a:lnTo>
                  <a:lnTo>
                    <a:pt x="3092501" y="199530"/>
                  </a:lnTo>
                  <a:lnTo>
                    <a:pt x="3092501" y="200228"/>
                  </a:lnTo>
                  <a:lnTo>
                    <a:pt x="3092501" y="199530"/>
                  </a:lnTo>
                  <a:lnTo>
                    <a:pt x="3092552" y="199530"/>
                  </a:lnTo>
                  <a:lnTo>
                    <a:pt x="3092552" y="200876"/>
                  </a:lnTo>
                  <a:lnTo>
                    <a:pt x="3092552" y="200228"/>
                  </a:lnTo>
                  <a:lnTo>
                    <a:pt x="3092552" y="200876"/>
                  </a:lnTo>
                  <a:lnTo>
                    <a:pt x="3092552" y="199530"/>
                  </a:lnTo>
                  <a:lnTo>
                    <a:pt x="3092552" y="200228"/>
                  </a:lnTo>
                  <a:lnTo>
                    <a:pt x="3092654" y="200876"/>
                  </a:lnTo>
                  <a:lnTo>
                    <a:pt x="3092654" y="200228"/>
                  </a:lnTo>
                  <a:lnTo>
                    <a:pt x="3092654" y="202260"/>
                  </a:lnTo>
                  <a:lnTo>
                    <a:pt x="3092705" y="200876"/>
                  </a:lnTo>
                  <a:lnTo>
                    <a:pt x="3092705" y="202260"/>
                  </a:lnTo>
                  <a:lnTo>
                    <a:pt x="3092705" y="200228"/>
                  </a:lnTo>
                  <a:lnTo>
                    <a:pt x="3092705" y="200876"/>
                  </a:lnTo>
                  <a:lnTo>
                    <a:pt x="3092755" y="200876"/>
                  </a:lnTo>
                  <a:lnTo>
                    <a:pt x="3092755" y="202260"/>
                  </a:lnTo>
                  <a:lnTo>
                    <a:pt x="3092755" y="200228"/>
                  </a:lnTo>
                  <a:lnTo>
                    <a:pt x="3092755" y="200876"/>
                  </a:lnTo>
                  <a:lnTo>
                    <a:pt x="3092755" y="200228"/>
                  </a:lnTo>
                  <a:lnTo>
                    <a:pt x="3092755" y="200876"/>
                  </a:lnTo>
                  <a:lnTo>
                    <a:pt x="3092857" y="200876"/>
                  </a:lnTo>
                  <a:lnTo>
                    <a:pt x="3092857" y="200228"/>
                  </a:lnTo>
                  <a:lnTo>
                    <a:pt x="3092857" y="200876"/>
                  </a:lnTo>
                  <a:lnTo>
                    <a:pt x="3092857" y="200228"/>
                  </a:lnTo>
                  <a:lnTo>
                    <a:pt x="3092908" y="200228"/>
                  </a:lnTo>
                  <a:lnTo>
                    <a:pt x="3092908" y="199530"/>
                  </a:lnTo>
                  <a:lnTo>
                    <a:pt x="3092908" y="200228"/>
                  </a:lnTo>
                  <a:lnTo>
                    <a:pt x="3092908" y="196799"/>
                  </a:lnTo>
                  <a:lnTo>
                    <a:pt x="3092958" y="197447"/>
                  </a:lnTo>
                  <a:lnTo>
                    <a:pt x="3092958" y="196799"/>
                  </a:lnTo>
                  <a:lnTo>
                    <a:pt x="3092958" y="198831"/>
                  </a:lnTo>
                  <a:lnTo>
                    <a:pt x="3092958" y="196799"/>
                  </a:lnTo>
                  <a:lnTo>
                    <a:pt x="3092997" y="196799"/>
                  </a:lnTo>
                  <a:lnTo>
                    <a:pt x="3092997" y="196113"/>
                  </a:lnTo>
                  <a:lnTo>
                    <a:pt x="3092997" y="199530"/>
                  </a:lnTo>
                  <a:lnTo>
                    <a:pt x="3092997" y="198831"/>
                  </a:lnTo>
                  <a:lnTo>
                    <a:pt x="3093098" y="198831"/>
                  </a:lnTo>
                  <a:lnTo>
                    <a:pt x="3093098" y="199530"/>
                  </a:lnTo>
                  <a:lnTo>
                    <a:pt x="3093149" y="199530"/>
                  </a:lnTo>
                  <a:lnTo>
                    <a:pt x="3093149" y="200228"/>
                  </a:lnTo>
                  <a:lnTo>
                    <a:pt x="3093149" y="199530"/>
                  </a:lnTo>
                  <a:lnTo>
                    <a:pt x="3093149" y="200876"/>
                  </a:lnTo>
                  <a:lnTo>
                    <a:pt x="3093149" y="200228"/>
                  </a:lnTo>
                  <a:lnTo>
                    <a:pt x="3093200" y="200228"/>
                  </a:lnTo>
                  <a:lnTo>
                    <a:pt x="3093200" y="200876"/>
                  </a:lnTo>
                  <a:lnTo>
                    <a:pt x="3093200" y="200228"/>
                  </a:lnTo>
                  <a:lnTo>
                    <a:pt x="3093200" y="202260"/>
                  </a:lnTo>
                  <a:lnTo>
                    <a:pt x="3093200" y="200876"/>
                  </a:lnTo>
                  <a:lnTo>
                    <a:pt x="3093301" y="200876"/>
                  </a:lnTo>
                  <a:lnTo>
                    <a:pt x="3093301" y="202260"/>
                  </a:lnTo>
                  <a:lnTo>
                    <a:pt x="3093301" y="200876"/>
                  </a:lnTo>
                  <a:lnTo>
                    <a:pt x="3093301" y="202260"/>
                  </a:lnTo>
                  <a:lnTo>
                    <a:pt x="3093301" y="200876"/>
                  </a:lnTo>
                  <a:lnTo>
                    <a:pt x="3093352" y="200876"/>
                  </a:lnTo>
                  <a:lnTo>
                    <a:pt x="3093352" y="202260"/>
                  </a:lnTo>
                  <a:lnTo>
                    <a:pt x="3093352" y="200228"/>
                  </a:lnTo>
                  <a:lnTo>
                    <a:pt x="3093352" y="200876"/>
                  </a:lnTo>
                  <a:lnTo>
                    <a:pt x="3093352" y="199530"/>
                  </a:lnTo>
                  <a:lnTo>
                    <a:pt x="3093403" y="200228"/>
                  </a:lnTo>
                  <a:lnTo>
                    <a:pt x="3093403" y="198831"/>
                  </a:lnTo>
                  <a:lnTo>
                    <a:pt x="3093403" y="199530"/>
                  </a:lnTo>
                  <a:lnTo>
                    <a:pt x="3093403" y="197447"/>
                  </a:lnTo>
                  <a:lnTo>
                    <a:pt x="3093403" y="198831"/>
                  </a:lnTo>
                  <a:lnTo>
                    <a:pt x="3093454" y="197447"/>
                  </a:lnTo>
                  <a:lnTo>
                    <a:pt x="3093454" y="196799"/>
                  </a:lnTo>
                  <a:lnTo>
                    <a:pt x="3093454" y="197447"/>
                  </a:lnTo>
                  <a:lnTo>
                    <a:pt x="3093454" y="196799"/>
                  </a:lnTo>
                  <a:lnTo>
                    <a:pt x="3093454" y="197447"/>
                  </a:lnTo>
                  <a:lnTo>
                    <a:pt x="3093454" y="196799"/>
                  </a:lnTo>
                  <a:lnTo>
                    <a:pt x="3093543" y="196113"/>
                  </a:lnTo>
                  <a:lnTo>
                    <a:pt x="3093543" y="198831"/>
                  </a:lnTo>
                  <a:lnTo>
                    <a:pt x="3093543" y="197447"/>
                  </a:lnTo>
                  <a:lnTo>
                    <a:pt x="3093594" y="196799"/>
                  </a:lnTo>
                  <a:lnTo>
                    <a:pt x="3093594" y="199530"/>
                  </a:lnTo>
                  <a:lnTo>
                    <a:pt x="3093594" y="197447"/>
                  </a:lnTo>
                  <a:lnTo>
                    <a:pt x="3093644" y="197447"/>
                  </a:lnTo>
                  <a:lnTo>
                    <a:pt x="3093644" y="199530"/>
                  </a:lnTo>
                  <a:lnTo>
                    <a:pt x="3093644" y="198831"/>
                  </a:lnTo>
                  <a:lnTo>
                    <a:pt x="3093695" y="198831"/>
                  </a:lnTo>
                  <a:lnTo>
                    <a:pt x="3093695" y="200228"/>
                  </a:lnTo>
                  <a:lnTo>
                    <a:pt x="3093695" y="199530"/>
                  </a:lnTo>
                  <a:lnTo>
                    <a:pt x="3093695" y="200228"/>
                  </a:lnTo>
                  <a:lnTo>
                    <a:pt x="3093695" y="199530"/>
                  </a:lnTo>
                  <a:lnTo>
                    <a:pt x="3093695" y="200228"/>
                  </a:lnTo>
                  <a:lnTo>
                    <a:pt x="3093695" y="199530"/>
                  </a:lnTo>
                  <a:lnTo>
                    <a:pt x="3093797" y="199530"/>
                  </a:lnTo>
                  <a:lnTo>
                    <a:pt x="3093797" y="200228"/>
                  </a:lnTo>
                  <a:lnTo>
                    <a:pt x="3093847" y="199530"/>
                  </a:lnTo>
                  <a:lnTo>
                    <a:pt x="3093847" y="200876"/>
                  </a:lnTo>
                  <a:lnTo>
                    <a:pt x="3093847" y="200228"/>
                  </a:lnTo>
                  <a:lnTo>
                    <a:pt x="3093898" y="200228"/>
                  </a:lnTo>
                  <a:lnTo>
                    <a:pt x="3093898" y="198831"/>
                  </a:lnTo>
                  <a:lnTo>
                    <a:pt x="3093898" y="199530"/>
                  </a:lnTo>
                  <a:lnTo>
                    <a:pt x="3093898" y="197447"/>
                  </a:lnTo>
                  <a:lnTo>
                    <a:pt x="3093898" y="198831"/>
                  </a:lnTo>
                  <a:lnTo>
                    <a:pt x="3094000" y="199530"/>
                  </a:lnTo>
                  <a:lnTo>
                    <a:pt x="3094000" y="200228"/>
                  </a:lnTo>
                  <a:lnTo>
                    <a:pt x="3094000" y="197447"/>
                  </a:lnTo>
                  <a:lnTo>
                    <a:pt x="3094000" y="200228"/>
                  </a:lnTo>
                  <a:lnTo>
                    <a:pt x="3094038" y="200228"/>
                  </a:lnTo>
                  <a:lnTo>
                    <a:pt x="3094038" y="200876"/>
                  </a:lnTo>
                  <a:lnTo>
                    <a:pt x="3094038" y="199530"/>
                  </a:lnTo>
                  <a:lnTo>
                    <a:pt x="3094038" y="200228"/>
                  </a:lnTo>
                  <a:lnTo>
                    <a:pt x="3094089" y="200228"/>
                  </a:lnTo>
                  <a:lnTo>
                    <a:pt x="3094089" y="200876"/>
                  </a:lnTo>
                  <a:lnTo>
                    <a:pt x="3094089" y="200228"/>
                  </a:lnTo>
                  <a:lnTo>
                    <a:pt x="3094089" y="200876"/>
                  </a:lnTo>
                  <a:lnTo>
                    <a:pt x="3094089" y="200228"/>
                  </a:lnTo>
                  <a:lnTo>
                    <a:pt x="3094089" y="200876"/>
                  </a:lnTo>
                  <a:lnTo>
                    <a:pt x="3094089" y="200228"/>
                  </a:lnTo>
                  <a:lnTo>
                    <a:pt x="3094089" y="200876"/>
                  </a:lnTo>
                  <a:lnTo>
                    <a:pt x="3094140" y="200228"/>
                  </a:lnTo>
                  <a:lnTo>
                    <a:pt x="3094140" y="200876"/>
                  </a:lnTo>
                  <a:lnTo>
                    <a:pt x="3094140" y="200228"/>
                  </a:lnTo>
                  <a:lnTo>
                    <a:pt x="3094140" y="200876"/>
                  </a:lnTo>
                  <a:lnTo>
                    <a:pt x="3094140" y="200228"/>
                  </a:lnTo>
                  <a:lnTo>
                    <a:pt x="3094241" y="200876"/>
                  </a:lnTo>
                  <a:lnTo>
                    <a:pt x="3094241" y="200228"/>
                  </a:lnTo>
                  <a:lnTo>
                    <a:pt x="3094241" y="200876"/>
                  </a:lnTo>
                  <a:lnTo>
                    <a:pt x="3094241" y="200228"/>
                  </a:lnTo>
                  <a:lnTo>
                    <a:pt x="3094241" y="200876"/>
                  </a:lnTo>
                  <a:lnTo>
                    <a:pt x="3094241" y="200228"/>
                  </a:lnTo>
                  <a:lnTo>
                    <a:pt x="3094241" y="200876"/>
                  </a:lnTo>
                  <a:lnTo>
                    <a:pt x="3094292" y="200876"/>
                  </a:lnTo>
                  <a:lnTo>
                    <a:pt x="3094292" y="200228"/>
                  </a:lnTo>
                  <a:lnTo>
                    <a:pt x="3094292" y="200876"/>
                  </a:lnTo>
                  <a:lnTo>
                    <a:pt x="3094292" y="200228"/>
                  </a:lnTo>
                  <a:lnTo>
                    <a:pt x="3094292" y="200876"/>
                  </a:lnTo>
                  <a:lnTo>
                    <a:pt x="3094343" y="200876"/>
                  </a:lnTo>
                  <a:lnTo>
                    <a:pt x="3094343" y="199530"/>
                  </a:lnTo>
                  <a:lnTo>
                    <a:pt x="3094343" y="200228"/>
                  </a:lnTo>
                  <a:lnTo>
                    <a:pt x="3094444" y="199530"/>
                  </a:lnTo>
                  <a:lnTo>
                    <a:pt x="3094444" y="197447"/>
                  </a:lnTo>
                  <a:lnTo>
                    <a:pt x="3094444" y="200228"/>
                  </a:lnTo>
                  <a:lnTo>
                    <a:pt x="3094495" y="199530"/>
                  </a:lnTo>
                  <a:lnTo>
                    <a:pt x="3094495" y="198831"/>
                  </a:lnTo>
                  <a:lnTo>
                    <a:pt x="3094495" y="202260"/>
                  </a:lnTo>
                  <a:lnTo>
                    <a:pt x="3094495" y="200876"/>
                  </a:lnTo>
                  <a:lnTo>
                    <a:pt x="3094546" y="200876"/>
                  </a:lnTo>
                  <a:lnTo>
                    <a:pt x="3094546" y="200228"/>
                  </a:lnTo>
                  <a:lnTo>
                    <a:pt x="3094546" y="202959"/>
                  </a:lnTo>
                  <a:lnTo>
                    <a:pt x="3094546" y="202260"/>
                  </a:lnTo>
                  <a:lnTo>
                    <a:pt x="3094584" y="202260"/>
                  </a:lnTo>
                  <a:lnTo>
                    <a:pt x="3094584" y="200228"/>
                  </a:lnTo>
                  <a:lnTo>
                    <a:pt x="3094584" y="202260"/>
                  </a:lnTo>
                  <a:lnTo>
                    <a:pt x="3094584" y="200876"/>
                  </a:lnTo>
                  <a:lnTo>
                    <a:pt x="3094686" y="200876"/>
                  </a:lnTo>
                  <a:lnTo>
                    <a:pt x="3094686" y="200228"/>
                  </a:lnTo>
                  <a:lnTo>
                    <a:pt x="3094686" y="200876"/>
                  </a:lnTo>
                  <a:lnTo>
                    <a:pt x="3094686" y="200228"/>
                  </a:lnTo>
                  <a:lnTo>
                    <a:pt x="3094686" y="200876"/>
                  </a:lnTo>
                  <a:lnTo>
                    <a:pt x="3094737" y="200876"/>
                  </a:lnTo>
                  <a:lnTo>
                    <a:pt x="3094737" y="200228"/>
                  </a:lnTo>
                  <a:lnTo>
                    <a:pt x="3094737" y="200876"/>
                  </a:lnTo>
                  <a:lnTo>
                    <a:pt x="3094737" y="200228"/>
                  </a:lnTo>
                  <a:lnTo>
                    <a:pt x="3094787" y="200228"/>
                  </a:lnTo>
                  <a:lnTo>
                    <a:pt x="3094787" y="199530"/>
                  </a:lnTo>
                  <a:lnTo>
                    <a:pt x="3094787" y="200228"/>
                  </a:lnTo>
                  <a:lnTo>
                    <a:pt x="3094889" y="199530"/>
                  </a:lnTo>
                  <a:lnTo>
                    <a:pt x="3094889" y="197447"/>
                  </a:lnTo>
                  <a:lnTo>
                    <a:pt x="3094940" y="197447"/>
                  </a:lnTo>
                  <a:lnTo>
                    <a:pt x="3094940" y="196799"/>
                  </a:lnTo>
                  <a:lnTo>
                    <a:pt x="3094940" y="199530"/>
                  </a:lnTo>
                  <a:lnTo>
                    <a:pt x="3094940" y="198831"/>
                  </a:lnTo>
                  <a:lnTo>
                    <a:pt x="3094990" y="197447"/>
                  </a:lnTo>
                  <a:lnTo>
                    <a:pt x="3094990" y="196799"/>
                  </a:lnTo>
                  <a:lnTo>
                    <a:pt x="3094990" y="200228"/>
                  </a:lnTo>
                  <a:lnTo>
                    <a:pt x="3094990" y="199530"/>
                  </a:lnTo>
                  <a:lnTo>
                    <a:pt x="3095041" y="199530"/>
                  </a:lnTo>
                  <a:lnTo>
                    <a:pt x="3095041" y="198831"/>
                  </a:lnTo>
                  <a:lnTo>
                    <a:pt x="3095041" y="202260"/>
                  </a:lnTo>
                  <a:lnTo>
                    <a:pt x="3095041" y="200228"/>
                  </a:lnTo>
                  <a:lnTo>
                    <a:pt x="3095130" y="200228"/>
                  </a:lnTo>
                  <a:lnTo>
                    <a:pt x="3095130" y="202260"/>
                  </a:lnTo>
                  <a:lnTo>
                    <a:pt x="3095130" y="200228"/>
                  </a:lnTo>
                  <a:lnTo>
                    <a:pt x="3095130" y="200876"/>
                  </a:lnTo>
                  <a:lnTo>
                    <a:pt x="3095181" y="200876"/>
                  </a:lnTo>
                  <a:lnTo>
                    <a:pt x="3095181" y="202260"/>
                  </a:lnTo>
                  <a:lnTo>
                    <a:pt x="3095181" y="200876"/>
                  </a:lnTo>
                  <a:lnTo>
                    <a:pt x="3095181" y="202260"/>
                  </a:lnTo>
                  <a:lnTo>
                    <a:pt x="3095181" y="200876"/>
                  </a:lnTo>
                  <a:lnTo>
                    <a:pt x="3095181" y="202260"/>
                  </a:lnTo>
                  <a:lnTo>
                    <a:pt x="3095181" y="200876"/>
                  </a:lnTo>
                  <a:lnTo>
                    <a:pt x="3095181" y="202260"/>
                  </a:lnTo>
                  <a:lnTo>
                    <a:pt x="3095232" y="202260"/>
                  </a:lnTo>
                  <a:lnTo>
                    <a:pt x="3095232" y="200876"/>
                  </a:lnTo>
                  <a:lnTo>
                    <a:pt x="3095232" y="202260"/>
                  </a:lnTo>
                  <a:lnTo>
                    <a:pt x="3095232" y="200876"/>
                  </a:lnTo>
                  <a:lnTo>
                    <a:pt x="3095232" y="202260"/>
                  </a:lnTo>
                  <a:lnTo>
                    <a:pt x="3095232" y="200876"/>
                  </a:lnTo>
                  <a:lnTo>
                    <a:pt x="3095283" y="200876"/>
                  </a:lnTo>
                  <a:lnTo>
                    <a:pt x="3095283" y="200228"/>
                  </a:lnTo>
                  <a:lnTo>
                    <a:pt x="3095283" y="200876"/>
                  </a:lnTo>
                  <a:lnTo>
                    <a:pt x="3095283" y="200228"/>
                  </a:lnTo>
                  <a:lnTo>
                    <a:pt x="3095283" y="200876"/>
                  </a:lnTo>
                  <a:lnTo>
                    <a:pt x="3095283" y="200228"/>
                  </a:lnTo>
                  <a:lnTo>
                    <a:pt x="3095283" y="200876"/>
                  </a:lnTo>
                  <a:lnTo>
                    <a:pt x="3095283" y="200228"/>
                  </a:lnTo>
                  <a:lnTo>
                    <a:pt x="3095384" y="200228"/>
                  </a:lnTo>
                  <a:lnTo>
                    <a:pt x="3095384" y="199530"/>
                  </a:lnTo>
                  <a:lnTo>
                    <a:pt x="3095384" y="200228"/>
                  </a:lnTo>
                  <a:lnTo>
                    <a:pt x="3095384" y="198831"/>
                  </a:lnTo>
                  <a:lnTo>
                    <a:pt x="3095384" y="199530"/>
                  </a:lnTo>
                  <a:lnTo>
                    <a:pt x="3095384" y="196799"/>
                  </a:lnTo>
                  <a:lnTo>
                    <a:pt x="3095384" y="197447"/>
                  </a:lnTo>
                  <a:lnTo>
                    <a:pt x="3095435" y="197447"/>
                  </a:lnTo>
                  <a:lnTo>
                    <a:pt x="3095435" y="198831"/>
                  </a:lnTo>
                  <a:lnTo>
                    <a:pt x="3095435" y="197447"/>
                  </a:lnTo>
                  <a:lnTo>
                    <a:pt x="3095486" y="198831"/>
                  </a:lnTo>
                  <a:lnTo>
                    <a:pt x="3095486" y="200228"/>
                  </a:lnTo>
                  <a:lnTo>
                    <a:pt x="3095486" y="199530"/>
                  </a:lnTo>
                  <a:lnTo>
                    <a:pt x="3095587" y="199530"/>
                  </a:lnTo>
                  <a:lnTo>
                    <a:pt x="3095587" y="200876"/>
                  </a:lnTo>
                  <a:lnTo>
                    <a:pt x="3095587" y="200228"/>
                  </a:lnTo>
                  <a:lnTo>
                    <a:pt x="3095626" y="200228"/>
                  </a:lnTo>
                  <a:lnTo>
                    <a:pt x="3095626" y="200876"/>
                  </a:lnTo>
                  <a:lnTo>
                    <a:pt x="3095626" y="200228"/>
                  </a:lnTo>
                  <a:lnTo>
                    <a:pt x="3095626" y="200876"/>
                  </a:lnTo>
                  <a:lnTo>
                    <a:pt x="3095676" y="200876"/>
                  </a:lnTo>
                  <a:lnTo>
                    <a:pt x="3095676" y="202260"/>
                  </a:lnTo>
                  <a:lnTo>
                    <a:pt x="3095676" y="200876"/>
                  </a:lnTo>
                  <a:lnTo>
                    <a:pt x="3095727" y="200876"/>
                  </a:lnTo>
                  <a:lnTo>
                    <a:pt x="3095727" y="202260"/>
                  </a:lnTo>
                  <a:lnTo>
                    <a:pt x="3095727" y="200876"/>
                  </a:lnTo>
                  <a:lnTo>
                    <a:pt x="3095829" y="200876"/>
                  </a:lnTo>
                  <a:lnTo>
                    <a:pt x="3095829" y="200228"/>
                  </a:lnTo>
                  <a:lnTo>
                    <a:pt x="3095829" y="200876"/>
                  </a:lnTo>
                  <a:lnTo>
                    <a:pt x="3095829" y="200228"/>
                  </a:lnTo>
                  <a:lnTo>
                    <a:pt x="3095880" y="200228"/>
                  </a:lnTo>
                  <a:lnTo>
                    <a:pt x="3095880" y="198831"/>
                  </a:lnTo>
                  <a:lnTo>
                    <a:pt x="3095880" y="199530"/>
                  </a:lnTo>
                  <a:lnTo>
                    <a:pt x="3095880" y="197447"/>
                  </a:lnTo>
                  <a:lnTo>
                    <a:pt x="3095880" y="198831"/>
                  </a:lnTo>
                  <a:lnTo>
                    <a:pt x="3095880" y="197447"/>
                  </a:lnTo>
                  <a:lnTo>
                    <a:pt x="3095930" y="197447"/>
                  </a:lnTo>
                  <a:lnTo>
                    <a:pt x="3095930" y="198831"/>
                  </a:lnTo>
                  <a:lnTo>
                    <a:pt x="3095930" y="197447"/>
                  </a:lnTo>
                  <a:lnTo>
                    <a:pt x="3096032" y="198831"/>
                  </a:lnTo>
                  <a:lnTo>
                    <a:pt x="3096032" y="200228"/>
                  </a:lnTo>
                  <a:lnTo>
                    <a:pt x="3096032" y="198831"/>
                  </a:lnTo>
                  <a:lnTo>
                    <a:pt x="3096032" y="200228"/>
                  </a:lnTo>
                  <a:lnTo>
                    <a:pt x="3096083" y="200228"/>
                  </a:lnTo>
                  <a:lnTo>
                    <a:pt x="3096083" y="199530"/>
                  </a:lnTo>
                  <a:lnTo>
                    <a:pt x="3096083" y="200228"/>
                  </a:lnTo>
                  <a:lnTo>
                    <a:pt x="3096133" y="200228"/>
                  </a:lnTo>
                  <a:lnTo>
                    <a:pt x="3096133" y="199530"/>
                  </a:lnTo>
                  <a:lnTo>
                    <a:pt x="3096133" y="200228"/>
                  </a:lnTo>
                  <a:lnTo>
                    <a:pt x="3096172" y="200228"/>
                  </a:lnTo>
                  <a:lnTo>
                    <a:pt x="3096172" y="202260"/>
                  </a:lnTo>
                  <a:lnTo>
                    <a:pt x="3096273" y="202260"/>
                  </a:lnTo>
                  <a:lnTo>
                    <a:pt x="3096273" y="200876"/>
                  </a:lnTo>
                  <a:lnTo>
                    <a:pt x="3096273" y="202260"/>
                  </a:lnTo>
                  <a:lnTo>
                    <a:pt x="3096273" y="200876"/>
                  </a:lnTo>
                  <a:lnTo>
                    <a:pt x="3096324" y="200876"/>
                  </a:lnTo>
                  <a:lnTo>
                    <a:pt x="3096324" y="199530"/>
                  </a:lnTo>
                  <a:lnTo>
                    <a:pt x="3096324" y="200228"/>
                  </a:lnTo>
                  <a:lnTo>
                    <a:pt x="3096324" y="199530"/>
                  </a:lnTo>
                  <a:lnTo>
                    <a:pt x="3096375" y="199530"/>
                  </a:lnTo>
                  <a:lnTo>
                    <a:pt x="3096375" y="197447"/>
                  </a:lnTo>
                  <a:lnTo>
                    <a:pt x="3096375" y="199530"/>
                  </a:lnTo>
                  <a:lnTo>
                    <a:pt x="3096476" y="199530"/>
                  </a:lnTo>
                  <a:lnTo>
                    <a:pt x="3096476" y="196799"/>
                  </a:lnTo>
                  <a:lnTo>
                    <a:pt x="3096476" y="200228"/>
                  </a:lnTo>
                  <a:lnTo>
                    <a:pt x="3096527" y="200228"/>
                  </a:lnTo>
                  <a:lnTo>
                    <a:pt x="3096527" y="198831"/>
                  </a:lnTo>
                  <a:lnTo>
                    <a:pt x="3096527" y="200228"/>
                  </a:lnTo>
                  <a:lnTo>
                    <a:pt x="3096578" y="200228"/>
                  </a:lnTo>
                  <a:lnTo>
                    <a:pt x="3096578" y="199530"/>
                  </a:lnTo>
                  <a:lnTo>
                    <a:pt x="3096578" y="200228"/>
                  </a:lnTo>
                  <a:lnTo>
                    <a:pt x="3096629" y="200228"/>
                  </a:lnTo>
                  <a:lnTo>
                    <a:pt x="3096629" y="199530"/>
                  </a:lnTo>
                  <a:lnTo>
                    <a:pt x="3096629" y="200228"/>
                  </a:lnTo>
                  <a:lnTo>
                    <a:pt x="3096629" y="199530"/>
                  </a:lnTo>
                  <a:lnTo>
                    <a:pt x="3096718" y="199530"/>
                  </a:lnTo>
                  <a:lnTo>
                    <a:pt x="3096718" y="200876"/>
                  </a:lnTo>
                  <a:lnTo>
                    <a:pt x="3096718" y="200228"/>
                  </a:lnTo>
                  <a:lnTo>
                    <a:pt x="3096718" y="200876"/>
                  </a:lnTo>
                  <a:lnTo>
                    <a:pt x="3096718" y="200228"/>
                  </a:lnTo>
                  <a:lnTo>
                    <a:pt x="3096718" y="200876"/>
                  </a:lnTo>
                  <a:lnTo>
                    <a:pt x="3096718" y="200228"/>
                  </a:lnTo>
                  <a:lnTo>
                    <a:pt x="3096718" y="200876"/>
                  </a:lnTo>
                  <a:lnTo>
                    <a:pt x="3096718" y="200228"/>
                  </a:lnTo>
                  <a:lnTo>
                    <a:pt x="3096718" y="200876"/>
                  </a:lnTo>
                  <a:lnTo>
                    <a:pt x="3096718" y="200228"/>
                  </a:lnTo>
                  <a:lnTo>
                    <a:pt x="3096769" y="200228"/>
                  </a:lnTo>
                  <a:lnTo>
                    <a:pt x="3096769" y="200876"/>
                  </a:lnTo>
                  <a:lnTo>
                    <a:pt x="3096769" y="199530"/>
                  </a:lnTo>
                  <a:lnTo>
                    <a:pt x="3096769" y="200228"/>
                  </a:lnTo>
                  <a:lnTo>
                    <a:pt x="3096819" y="200228"/>
                  </a:lnTo>
                  <a:lnTo>
                    <a:pt x="3096819" y="198831"/>
                  </a:lnTo>
                  <a:lnTo>
                    <a:pt x="3096870" y="197447"/>
                  </a:lnTo>
                  <a:lnTo>
                    <a:pt x="3096870" y="198831"/>
                  </a:lnTo>
                  <a:lnTo>
                    <a:pt x="3096870" y="197447"/>
                  </a:lnTo>
                  <a:lnTo>
                    <a:pt x="3096870" y="199530"/>
                  </a:lnTo>
                  <a:lnTo>
                    <a:pt x="3096870" y="197447"/>
                  </a:lnTo>
                  <a:lnTo>
                    <a:pt x="3096972" y="197447"/>
                  </a:lnTo>
                  <a:lnTo>
                    <a:pt x="3096972" y="200228"/>
                  </a:lnTo>
                  <a:lnTo>
                    <a:pt x="3096972" y="199530"/>
                  </a:lnTo>
                  <a:lnTo>
                    <a:pt x="3096972" y="200876"/>
                  </a:lnTo>
                  <a:lnTo>
                    <a:pt x="3096972" y="199530"/>
                  </a:lnTo>
                  <a:lnTo>
                    <a:pt x="3097022" y="199530"/>
                  </a:lnTo>
                  <a:lnTo>
                    <a:pt x="3097022" y="202260"/>
                  </a:lnTo>
                  <a:lnTo>
                    <a:pt x="3097022" y="200228"/>
                  </a:lnTo>
                  <a:lnTo>
                    <a:pt x="3097073" y="200228"/>
                  </a:lnTo>
                  <a:lnTo>
                    <a:pt x="3097073" y="200876"/>
                  </a:lnTo>
                  <a:lnTo>
                    <a:pt x="3097073" y="200228"/>
                  </a:lnTo>
                  <a:lnTo>
                    <a:pt x="3097073" y="200876"/>
                  </a:lnTo>
                  <a:lnTo>
                    <a:pt x="3097073" y="200228"/>
                  </a:lnTo>
                  <a:lnTo>
                    <a:pt x="3097073" y="200876"/>
                  </a:lnTo>
                  <a:lnTo>
                    <a:pt x="3097073" y="200228"/>
                  </a:lnTo>
                  <a:lnTo>
                    <a:pt x="3097175" y="200228"/>
                  </a:lnTo>
                  <a:lnTo>
                    <a:pt x="3097175" y="202260"/>
                  </a:lnTo>
                  <a:lnTo>
                    <a:pt x="3097175" y="200228"/>
                  </a:lnTo>
                  <a:lnTo>
                    <a:pt x="3097175" y="200876"/>
                  </a:lnTo>
                  <a:lnTo>
                    <a:pt x="3097175" y="200228"/>
                  </a:lnTo>
                  <a:lnTo>
                    <a:pt x="3097175" y="200876"/>
                  </a:lnTo>
                  <a:lnTo>
                    <a:pt x="3097213" y="200876"/>
                  </a:lnTo>
                  <a:lnTo>
                    <a:pt x="3097213" y="202260"/>
                  </a:lnTo>
                  <a:lnTo>
                    <a:pt x="3097213" y="200876"/>
                  </a:lnTo>
                  <a:lnTo>
                    <a:pt x="3097213" y="202260"/>
                  </a:lnTo>
                  <a:lnTo>
                    <a:pt x="3097213" y="200876"/>
                  </a:lnTo>
                  <a:lnTo>
                    <a:pt x="3097264" y="200876"/>
                  </a:lnTo>
                  <a:lnTo>
                    <a:pt x="3097264" y="202260"/>
                  </a:lnTo>
                  <a:lnTo>
                    <a:pt x="3097264" y="200228"/>
                  </a:lnTo>
                  <a:lnTo>
                    <a:pt x="3097315" y="200228"/>
                  </a:lnTo>
                  <a:lnTo>
                    <a:pt x="3097315" y="197447"/>
                  </a:lnTo>
                  <a:lnTo>
                    <a:pt x="3097315" y="198831"/>
                  </a:lnTo>
                  <a:lnTo>
                    <a:pt x="3097416" y="198831"/>
                  </a:lnTo>
                  <a:lnTo>
                    <a:pt x="3097416" y="200228"/>
                  </a:lnTo>
                  <a:lnTo>
                    <a:pt x="3097416" y="198831"/>
                  </a:lnTo>
                  <a:lnTo>
                    <a:pt x="3097467" y="199530"/>
                  </a:lnTo>
                  <a:lnTo>
                    <a:pt x="3097467" y="202260"/>
                  </a:lnTo>
                  <a:lnTo>
                    <a:pt x="3097467" y="200228"/>
                  </a:lnTo>
                  <a:lnTo>
                    <a:pt x="3097467" y="200876"/>
                  </a:lnTo>
                  <a:lnTo>
                    <a:pt x="3097518" y="200876"/>
                  </a:lnTo>
                  <a:lnTo>
                    <a:pt x="3097518" y="202260"/>
                  </a:lnTo>
                  <a:lnTo>
                    <a:pt x="3097518" y="200876"/>
                  </a:lnTo>
                  <a:lnTo>
                    <a:pt x="3097518" y="202260"/>
                  </a:lnTo>
                  <a:lnTo>
                    <a:pt x="3097619" y="202260"/>
                  </a:lnTo>
                  <a:lnTo>
                    <a:pt x="3097619" y="200876"/>
                  </a:lnTo>
                  <a:lnTo>
                    <a:pt x="3097619" y="202260"/>
                  </a:lnTo>
                  <a:lnTo>
                    <a:pt x="3097619" y="200876"/>
                  </a:lnTo>
                  <a:lnTo>
                    <a:pt x="3097619" y="202260"/>
                  </a:lnTo>
                  <a:lnTo>
                    <a:pt x="3097619" y="200876"/>
                  </a:lnTo>
                  <a:lnTo>
                    <a:pt x="3097619" y="202260"/>
                  </a:lnTo>
                  <a:lnTo>
                    <a:pt x="3097670" y="202260"/>
                  </a:lnTo>
                  <a:lnTo>
                    <a:pt x="3097670" y="200876"/>
                  </a:lnTo>
                  <a:lnTo>
                    <a:pt x="3097670" y="202260"/>
                  </a:lnTo>
                  <a:lnTo>
                    <a:pt x="3097721" y="202260"/>
                  </a:lnTo>
                  <a:lnTo>
                    <a:pt x="3097721" y="200876"/>
                  </a:lnTo>
                  <a:lnTo>
                    <a:pt x="3097721" y="202260"/>
                  </a:lnTo>
                  <a:lnTo>
                    <a:pt x="3097721" y="200876"/>
                  </a:lnTo>
                  <a:lnTo>
                    <a:pt x="3097721" y="202260"/>
                  </a:lnTo>
                  <a:lnTo>
                    <a:pt x="3097721" y="200876"/>
                  </a:lnTo>
                  <a:lnTo>
                    <a:pt x="3097721" y="202260"/>
                  </a:lnTo>
                  <a:lnTo>
                    <a:pt x="3097721" y="200876"/>
                  </a:lnTo>
                  <a:lnTo>
                    <a:pt x="3097759" y="200876"/>
                  </a:lnTo>
                  <a:lnTo>
                    <a:pt x="3097759" y="200228"/>
                  </a:lnTo>
                  <a:lnTo>
                    <a:pt x="3097759" y="200876"/>
                  </a:lnTo>
                  <a:lnTo>
                    <a:pt x="3097759" y="199530"/>
                  </a:lnTo>
                  <a:lnTo>
                    <a:pt x="3097861" y="199530"/>
                  </a:lnTo>
                  <a:lnTo>
                    <a:pt x="3097861" y="197447"/>
                  </a:lnTo>
                  <a:lnTo>
                    <a:pt x="3097861" y="198831"/>
                  </a:lnTo>
                  <a:lnTo>
                    <a:pt x="3097861" y="197447"/>
                  </a:lnTo>
                  <a:lnTo>
                    <a:pt x="3097861" y="198831"/>
                  </a:lnTo>
                  <a:lnTo>
                    <a:pt x="3097912" y="198831"/>
                  </a:lnTo>
                  <a:lnTo>
                    <a:pt x="3097912" y="199530"/>
                  </a:lnTo>
                  <a:lnTo>
                    <a:pt x="3097912" y="198831"/>
                  </a:lnTo>
                  <a:lnTo>
                    <a:pt x="3097912" y="199530"/>
                  </a:lnTo>
                  <a:lnTo>
                    <a:pt x="3097912" y="198831"/>
                  </a:lnTo>
                  <a:lnTo>
                    <a:pt x="3097912" y="200228"/>
                  </a:lnTo>
                  <a:lnTo>
                    <a:pt x="3097962" y="200876"/>
                  </a:lnTo>
                  <a:lnTo>
                    <a:pt x="3097962" y="199530"/>
                  </a:lnTo>
                  <a:lnTo>
                    <a:pt x="3097962" y="200876"/>
                  </a:lnTo>
                  <a:lnTo>
                    <a:pt x="3098064" y="200876"/>
                  </a:lnTo>
                  <a:lnTo>
                    <a:pt x="3098064" y="199530"/>
                  </a:lnTo>
                  <a:lnTo>
                    <a:pt x="3098064" y="200876"/>
                  </a:lnTo>
                  <a:lnTo>
                    <a:pt x="3098115" y="200228"/>
                  </a:lnTo>
                  <a:lnTo>
                    <a:pt x="3098115" y="200876"/>
                  </a:lnTo>
                  <a:lnTo>
                    <a:pt x="3098115" y="200228"/>
                  </a:lnTo>
                  <a:lnTo>
                    <a:pt x="3098115" y="200876"/>
                  </a:lnTo>
                  <a:lnTo>
                    <a:pt x="3098115" y="200228"/>
                  </a:lnTo>
                  <a:lnTo>
                    <a:pt x="3098115" y="202260"/>
                  </a:lnTo>
                  <a:lnTo>
                    <a:pt x="3098115" y="200876"/>
                  </a:lnTo>
                  <a:lnTo>
                    <a:pt x="3098115" y="202260"/>
                  </a:lnTo>
                  <a:lnTo>
                    <a:pt x="3098115" y="200876"/>
                  </a:lnTo>
                  <a:lnTo>
                    <a:pt x="3098165" y="200876"/>
                  </a:lnTo>
                  <a:lnTo>
                    <a:pt x="3098165" y="202260"/>
                  </a:lnTo>
                  <a:lnTo>
                    <a:pt x="3098165" y="200876"/>
                  </a:lnTo>
                </a:path>
              </a:pathLst>
            </a:custGeom>
            <a:noFill/>
            <a:ln w="6350" cap="flat" cmpd="sng">
              <a:solidFill>
                <a:srgbClr val="0000FF">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72" name="Freeform 157"/>
            <p:cNvSpPr/>
            <p:nvPr/>
          </p:nvSpPr>
          <p:spPr>
            <a:xfrm flipV="1">
              <a:off x="3679380" y="469697"/>
              <a:ext cx="226263" cy="0"/>
            </a:xfrm>
            <a:custGeom>
              <a:avLst/>
              <a:gdLst/>
              <a:ahLst/>
              <a:cxnLst/>
              <a:rect l="0" t="0" r="0" b="0"/>
              <a:pathLst>
                <a:path w="226263">
                  <a:moveTo>
                    <a:pt x="0" y="0"/>
                  </a:moveTo>
                  <a:lnTo>
                    <a:pt x="226263" y="0"/>
                  </a:lnTo>
                </a:path>
              </a:pathLst>
            </a:custGeom>
            <a:noFill/>
            <a:ln w="6350" cap="flat" cmpd="sng">
              <a:solidFill>
                <a:srgbClr val="FF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73" name="Freeform 158"/>
            <p:cNvSpPr/>
            <p:nvPr/>
          </p:nvSpPr>
          <p:spPr>
            <a:xfrm flipV="1">
              <a:off x="609345" y="1266432"/>
              <a:ext cx="3099448" cy="125654"/>
            </a:xfrm>
            <a:custGeom>
              <a:avLst/>
              <a:gdLst/>
              <a:ahLst/>
              <a:cxnLst/>
              <a:rect l="0" t="0" r="0" b="0"/>
              <a:pathLst>
                <a:path w="3099448" h="125654">
                  <a:moveTo>
                    <a:pt x="0" y="77191"/>
                  </a:moveTo>
                  <a:lnTo>
                    <a:pt x="0" y="77839"/>
                  </a:lnTo>
                  <a:lnTo>
                    <a:pt x="102" y="77839"/>
                  </a:lnTo>
                  <a:lnTo>
                    <a:pt x="102" y="77191"/>
                  </a:lnTo>
                  <a:lnTo>
                    <a:pt x="510680" y="77191"/>
                  </a:lnTo>
                  <a:lnTo>
                    <a:pt x="510680" y="77839"/>
                  </a:lnTo>
                  <a:lnTo>
                    <a:pt x="512522" y="77839"/>
                  </a:lnTo>
                  <a:lnTo>
                    <a:pt x="512572" y="78524"/>
                  </a:lnTo>
                  <a:lnTo>
                    <a:pt x="514160" y="78524"/>
                  </a:lnTo>
                  <a:lnTo>
                    <a:pt x="514160" y="79223"/>
                  </a:lnTo>
                  <a:lnTo>
                    <a:pt x="515900" y="79223"/>
                  </a:lnTo>
                  <a:lnTo>
                    <a:pt x="515900" y="79922"/>
                  </a:lnTo>
                  <a:lnTo>
                    <a:pt x="518033" y="79922"/>
                  </a:lnTo>
                  <a:lnTo>
                    <a:pt x="518033" y="80557"/>
                  </a:lnTo>
                  <a:lnTo>
                    <a:pt x="520066" y="80557"/>
                  </a:lnTo>
                  <a:lnTo>
                    <a:pt x="520066" y="81255"/>
                  </a:lnTo>
                  <a:lnTo>
                    <a:pt x="522250" y="81255"/>
                  </a:lnTo>
                  <a:lnTo>
                    <a:pt x="522250" y="81953"/>
                  </a:lnTo>
                  <a:lnTo>
                    <a:pt x="524726" y="81953"/>
                  </a:lnTo>
                  <a:lnTo>
                    <a:pt x="524726" y="82652"/>
                  </a:lnTo>
                  <a:lnTo>
                    <a:pt x="529146" y="82652"/>
                  </a:lnTo>
                  <a:lnTo>
                    <a:pt x="529184" y="83287"/>
                  </a:lnTo>
                  <a:lnTo>
                    <a:pt x="530975" y="83287"/>
                  </a:lnTo>
                  <a:lnTo>
                    <a:pt x="530975" y="83985"/>
                  </a:lnTo>
                  <a:lnTo>
                    <a:pt x="542189" y="83985"/>
                  </a:lnTo>
                  <a:lnTo>
                    <a:pt x="542240" y="84684"/>
                  </a:lnTo>
                  <a:lnTo>
                    <a:pt x="542341" y="84684"/>
                  </a:lnTo>
                  <a:lnTo>
                    <a:pt x="542341" y="83985"/>
                  </a:lnTo>
                  <a:lnTo>
                    <a:pt x="545212" y="83985"/>
                  </a:lnTo>
                  <a:lnTo>
                    <a:pt x="545212" y="84684"/>
                  </a:lnTo>
                  <a:lnTo>
                    <a:pt x="545262" y="84684"/>
                  </a:lnTo>
                  <a:lnTo>
                    <a:pt x="545262" y="83985"/>
                  </a:lnTo>
                  <a:lnTo>
                    <a:pt x="545466" y="83985"/>
                  </a:lnTo>
                  <a:lnTo>
                    <a:pt x="545466" y="84684"/>
                  </a:lnTo>
                  <a:lnTo>
                    <a:pt x="549276" y="84684"/>
                  </a:lnTo>
                  <a:lnTo>
                    <a:pt x="549276" y="83985"/>
                  </a:lnTo>
                  <a:lnTo>
                    <a:pt x="564109" y="83985"/>
                  </a:lnTo>
                  <a:lnTo>
                    <a:pt x="564109" y="83287"/>
                  </a:lnTo>
                  <a:lnTo>
                    <a:pt x="571501" y="83287"/>
                  </a:lnTo>
                  <a:lnTo>
                    <a:pt x="571501" y="82652"/>
                  </a:lnTo>
                  <a:lnTo>
                    <a:pt x="583464" y="82652"/>
                  </a:lnTo>
                  <a:lnTo>
                    <a:pt x="583464" y="81953"/>
                  </a:lnTo>
                  <a:lnTo>
                    <a:pt x="624637" y="81953"/>
                  </a:lnTo>
                  <a:lnTo>
                    <a:pt x="624637" y="81255"/>
                  </a:lnTo>
                  <a:lnTo>
                    <a:pt x="643192" y="81255"/>
                  </a:lnTo>
                  <a:lnTo>
                    <a:pt x="643192" y="80557"/>
                  </a:lnTo>
                  <a:lnTo>
                    <a:pt x="645719" y="80557"/>
                  </a:lnTo>
                  <a:lnTo>
                    <a:pt x="645719" y="81255"/>
                  </a:lnTo>
                  <a:lnTo>
                    <a:pt x="651130" y="81255"/>
                  </a:lnTo>
                  <a:lnTo>
                    <a:pt x="651130" y="80557"/>
                  </a:lnTo>
                  <a:lnTo>
                    <a:pt x="682829" y="80557"/>
                  </a:lnTo>
                  <a:lnTo>
                    <a:pt x="682880" y="79922"/>
                  </a:lnTo>
                  <a:lnTo>
                    <a:pt x="683032" y="79922"/>
                  </a:lnTo>
                  <a:lnTo>
                    <a:pt x="683032" y="80557"/>
                  </a:lnTo>
                  <a:lnTo>
                    <a:pt x="683172" y="80557"/>
                  </a:lnTo>
                  <a:lnTo>
                    <a:pt x="683273" y="79922"/>
                  </a:lnTo>
                  <a:lnTo>
                    <a:pt x="687896" y="79922"/>
                  </a:lnTo>
                  <a:lnTo>
                    <a:pt x="687896" y="80557"/>
                  </a:lnTo>
                  <a:lnTo>
                    <a:pt x="688734" y="80557"/>
                  </a:lnTo>
                  <a:lnTo>
                    <a:pt x="688785" y="79922"/>
                  </a:lnTo>
                  <a:lnTo>
                    <a:pt x="714579" y="79922"/>
                  </a:lnTo>
                  <a:lnTo>
                    <a:pt x="714579" y="80557"/>
                  </a:lnTo>
                  <a:lnTo>
                    <a:pt x="732587" y="80557"/>
                  </a:lnTo>
                  <a:lnTo>
                    <a:pt x="732587" y="79922"/>
                  </a:lnTo>
                  <a:lnTo>
                    <a:pt x="742062" y="79922"/>
                  </a:lnTo>
                  <a:lnTo>
                    <a:pt x="742062" y="79223"/>
                  </a:lnTo>
                  <a:lnTo>
                    <a:pt x="744297" y="79223"/>
                  </a:lnTo>
                  <a:lnTo>
                    <a:pt x="744297" y="79922"/>
                  </a:lnTo>
                  <a:lnTo>
                    <a:pt x="752780" y="79922"/>
                  </a:lnTo>
                  <a:lnTo>
                    <a:pt x="752882" y="79223"/>
                  </a:lnTo>
                  <a:lnTo>
                    <a:pt x="753720" y="79223"/>
                  </a:lnTo>
                  <a:lnTo>
                    <a:pt x="753720" y="79922"/>
                  </a:lnTo>
                  <a:lnTo>
                    <a:pt x="753872" y="79922"/>
                  </a:lnTo>
                  <a:lnTo>
                    <a:pt x="753872" y="79223"/>
                  </a:lnTo>
                  <a:lnTo>
                    <a:pt x="754025" y="79223"/>
                  </a:lnTo>
                  <a:lnTo>
                    <a:pt x="754025" y="79922"/>
                  </a:lnTo>
                  <a:lnTo>
                    <a:pt x="756793" y="79922"/>
                  </a:lnTo>
                  <a:lnTo>
                    <a:pt x="756793" y="79223"/>
                  </a:lnTo>
                  <a:lnTo>
                    <a:pt x="767512" y="79223"/>
                  </a:lnTo>
                  <a:lnTo>
                    <a:pt x="767512" y="79922"/>
                  </a:lnTo>
                  <a:lnTo>
                    <a:pt x="795744" y="79922"/>
                  </a:lnTo>
                  <a:lnTo>
                    <a:pt x="795744" y="80557"/>
                  </a:lnTo>
                  <a:lnTo>
                    <a:pt x="798564" y="80557"/>
                  </a:lnTo>
                  <a:lnTo>
                    <a:pt x="798564" y="79922"/>
                  </a:lnTo>
                  <a:lnTo>
                    <a:pt x="807098" y="79922"/>
                  </a:lnTo>
                  <a:lnTo>
                    <a:pt x="807098" y="80557"/>
                  </a:lnTo>
                  <a:lnTo>
                    <a:pt x="807200" y="80557"/>
                  </a:lnTo>
                  <a:lnTo>
                    <a:pt x="807200" y="79922"/>
                  </a:lnTo>
                  <a:lnTo>
                    <a:pt x="808444" y="79922"/>
                  </a:lnTo>
                  <a:lnTo>
                    <a:pt x="808444" y="80557"/>
                  </a:lnTo>
                  <a:lnTo>
                    <a:pt x="816877" y="80557"/>
                  </a:lnTo>
                  <a:lnTo>
                    <a:pt x="816928" y="79922"/>
                  </a:lnTo>
                  <a:lnTo>
                    <a:pt x="820344" y="79922"/>
                  </a:lnTo>
                  <a:lnTo>
                    <a:pt x="820344" y="80557"/>
                  </a:lnTo>
                  <a:lnTo>
                    <a:pt x="838658" y="80557"/>
                  </a:lnTo>
                  <a:lnTo>
                    <a:pt x="838658" y="79922"/>
                  </a:lnTo>
                  <a:lnTo>
                    <a:pt x="841134" y="79922"/>
                  </a:lnTo>
                  <a:lnTo>
                    <a:pt x="841134" y="80557"/>
                  </a:lnTo>
                  <a:lnTo>
                    <a:pt x="843916" y="80557"/>
                  </a:lnTo>
                  <a:lnTo>
                    <a:pt x="843916" y="81255"/>
                  </a:lnTo>
                  <a:lnTo>
                    <a:pt x="857758" y="81255"/>
                  </a:lnTo>
                  <a:lnTo>
                    <a:pt x="857797" y="80557"/>
                  </a:lnTo>
                  <a:lnTo>
                    <a:pt x="880822" y="80557"/>
                  </a:lnTo>
                  <a:lnTo>
                    <a:pt x="880822" y="81255"/>
                  </a:lnTo>
                  <a:lnTo>
                    <a:pt x="880872" y="81255"/>
                  </a:lnTo>
                  <a:lnTo>
                    <a:pt x="880872" y="80557"/>
                  </a:lnTo>
                  <a:lnTo>
                    <a:pt x="881025" y="80557"/>
                  </a:lnTo>
                  <a:lnTo>
                    <a:pt x="881025" y="81255"/>
                  </a:lnTo>
                  <a:lnTo>
                    <a:pt x="893763" y="81255"/>
                  </a:lnTo>
                  <a:lnTo>
                    <a:pt x="893763" y="80557"/>
                  </a:lnTo>
                  <a:lnTo>
                    <a:pt x="898284" y="80557"/>
                  </a:lnTo>
                  <a:lnTo>
                    <a:pt x="898284" y="81255"/>
                  </a:lnTo>
                  <a:lnTo>
                    <a:pt x="901116" y="81255"/>
                  </a:lnTo>
                  <a:lnTo>
                    <a:pt x="901205" y="80557"/>
                  </a:lnTo>
                  <a:lnTo>
                    <a:pt x="926212" y="80557"/>
                  </a:lnTo>
                  <a:lnTo>
                    <a:pt x="926262" y="81255"/>
                  </a:lnTo>
                  <a:lnTo>
                    <a:pt x="926415" y="81255"/>
                  </a:lnTo>
                  <a:lnTo>
                    <a:pt x="926415" y="80557"/>
                  </a:lnTo>
                  <a:lnTo>
                    <a:pt x="926961" y="80557"/>
                  </a:lnTo>
                  <a:lnTo>
                    <a:pt x="926961" y="81255"/>
                  </a:lnTo>
                  <a:lnTo>
                    <a:pt x="929831" y="81255"/>
                  </a:lnTo>
                  <a:lnTo>
                    <a:pt x="929831" y="80557"/>
                  </a:lnTo>
                  <a:lnTo>
                    <a:pt x="933451" y="80557"/>
                  </a:lnTo>
                  <a:lnTo>
                    <a:pt x="933501" y="81255"/>
                  </a:lnTo>
                  <a:lnTo>
                    <a:pt x="938670" y="81255"/>
                  </a:lnTo>
                  <a:lnTo>
                    <a:pt x="938670" y="80557"/>
                  </a:lnTo>
                  <a:lnTo>
                    <a:pt x="938721" y="80557"/>
                  </a:lnTo>
                  <a:lnTo>
                    <a:pt x="938721" y="81255"/>
                  </a:lnTo>
                  <a:lnTo>
                    <a:pt x="938721" y="80557"/>
                  </a:lnTo>
                  <a:lnTo>
                    <a:pt x="938721" y="81255"/>
                  </a:lnTo>
                  <a:lnTo>
                    <a:pt x="942734" y="81255"/>
                  </a:lnTo>
                  <a:lnTo>
                    <a:pt x="942734" y="80557"/>
                  </a:lnTo>
                  <a:lnTo>
                    <a:pt x="955091" y="80557"/>
                  </a:lnTo>
                  <a:lnTo>
                    <a:pt x="955180" y="81255"/>
                  </a:lnTo>
                  <a:lnTo>
                    <a:pt x="985889" y="81255"/>
                  </a:lnTo>
                  <a:lnTo>
                    <a:pt x="986041" y="80557"/>
                  </a:lnTo>
                  <a:lnTo>
                    <a:pt x="994779" y="80557"/>
                  </a:lnTo>
                  <a:lnTo>
                    <a:pt x="994779" y="79922"/>
                  </a:lnTo>
                  <a:lnTo>
                    <a:pt x="996760" y="79922"/>
                  </a:lnTo>
                  <a:lnTo>
                    <a:pt x="996760" y="80557"/>
                  </a:lnTo>
                  <a:lnTo>
                    <a:pt x="1031240" y="80557"/>
                  </a:lnTo>
                  <a:lnTo>
                    <a:pt x="1031240" y="81255"/>
                  </a:lnTo>
                  <a:lnTo>
                    <a:pt x="1050925" y="81255"/>
                  </a:lnTo>
                  <a:lnTo>
                    <a:pt x="1050976" y="80557"/>
                  </a:lnTo>
                  <a:lnTo>
                    <a:pt x="1067499" y="80557"/>
                  </a:lnTo>
                  <a:lnTo>
                    <a:pt x="1067550" y="79922"/>
                  </a:lnTo>
                  <a:lnTo>
                    <a:pt x="1073900" y="79922"/>
                  </a:lnTo>
                  <a:lnTo>
                    <a:pt x="1073900" y="80557"/>
                  </a:lnTo>
                  <a:lnTo>
                    <a:pt x="1086701" y="80557"/>
                  </a:lnTo>
                  <a:lnTo>
                    <a:pt x="1086701" y="79922"/>
                  </a:lnTo>
                  <a:lnTo>
                    <a:pt x="1089127" y="79922"/>
                  </a:lnTo>
                  <a:lnTo>
                    <a:pt x="1089229" y="80557"/>
                  </a:lnTo>
                  <a:lnTo>
                    <a:pt x="1106945" y="80557"/>
                  </a:lnTo>
                  <a:lnTo>
                    <a:pt x="1106996" y="79922"/>
                  </a:lnTo>
                  <a:lnTo>
                    <a:pt x="1163054" y="79922"/>
                  </a:lnTo>
                  <a:lnTo>
                    <a:pt x="1163054" y="79223"/>
                  </a:lnTo>
                  <a:lnTo>
                    <a:pt x="1174611" y="79223"/>
                  </a:lnTo>
                  <a:lnTo>
                    <a:pt x="1174611" y="78524"/>
                  </a:lnTo>
                  <a:lnTo>
                    <a:pt x="1176389" y="78524"/>
                  </a:lnTo>
                  <a:lnTo>
                    <a:pt x="1176389" y="79223"/>
                  </a:lnTo>
                  <a:lnTo>
                    <a:pt x="1178573" y="79223"/>
                  </a:lnTo>
                  <a:lnTo>
                    <a:pt x="1178573" y="79922"/>
                  </a:lnTo>
                  <a:lnTo>
                    <a:pt x="1190384" y="79922"/>
                  </a:lnTo>
                  <a:lnTo>
                    <a:pt x="1190384" y="79223"/>
                  </a:lnTo>
                  <a:lnTo>
                    <a:pt x="1191032" y="79223"/>
                  </a:lnTo>
                  <a:lnTo>
                    <a:pt x="1191083" y="79922"/>
                  </a:lnTo>
                  <a:lnTo>
                    <a:pt x="1196340" y="79922"/>
                  </a:lnTo>
                  <a:lnTo>
                    <a:pt x="1196340" y="79223"/>
                  </a:lnTo>
                  <a:lnTo>
                    <a:pt x="1212355" y="79223"/>
                  </a:lnTo>
                  <a:lnTo>
                    <a:pt x="1212355" y="78524"/>
                  </a:lnTo>
                  <a:lnTo>
                    <a:pt x="1216076" y="78524"/>
                  </a:lnTo>
                  <a:lnTo>
                    <a:pt x="1216076" y="77839"/>
                  </a:lnTo>
                  <a:lnTo>
                    <a:pt x="1216076" y="78524"/>
                  </a:lnTo>
                  <a:lnTo>
                    <a:pt x="1221042" y="78524"/>
                  </a:lnTo>
                  <a:lnTo>
                    <a:pt x="1221042" y="79223"/>
                  </a:lnTo>
                  <a:lnTo>
                    <a:pt x="1224217" y="79223"/>
                  </a:lnTo>
                  <a:lnTo>
                    <a:pt x="1224217" y="78524"/>
                  </a:lnTo>
                  <a:lnTo>
                    <a:pt x="1244359" y="78524"/>
                  </a:lnTo>
                  <a:lnTo>
                    <a:pt x="1244410" y="79223"/>
                  </a:lnTo>
                  <a:lnTo>
                    <a:pt x="1245744" y="79223"/>
                  </a:lnTo>
                  <a:lnTo>
                    <a:pt x="1245744" y="79922"/>
                  </a:lnTo>
                  <a:lnTo>
                    <a:pt x="1246836" y="79922"/>
                  </a:lnTo>
                  <a:lnTo>
                    <a:pt x="1246836" y="80557"/>
                  </a:lnTo>
                  <a:lnTo>
                    <a:pt x="1247737" y="80557"/>
                  </a:lnTo>
                  <a:lnTo>
                    <a:pt x="1247775" y="81255"/>
                  </a:lnTo>
                  <a:lnTo>
                    <a:pt x="1248525" y="81255"/>
                  </a:lnTo>
                  <a:lnTo>
                    <a:pt x="1248525" y="81953"/>
                  </a:lnTo>
                  <a:lnTo>
                    <a:pt x="1249363" y="81953"/>
                  </a:lnTo>
                  <a:lnTo>
                    <a:pt x="1249363" y="82652"/>
                  </a:lnTo>
                  <a:lnTo>
                    <a:pt x="1250112" y="82652"/>
                  </a:lnTo>
                  <a:lnTo>
                    <a:pt x="1250112" y="83287"/>
                  </a:lnTo>
                  <a:lnTo>
                    <a:pt x="1250811" y="83287"/>
                  </a:lnTo>
                  <a:lnTo>
                    <a:pt x="1250811" y="83985"/>
                  </a:lnTo>
                  <a:lnTo>
                    <a:pt x="1251497" y="83985"/>
                  </a:lnTo>
                  <a:lnTo>
                    <a:pt x="1251497" y="84684"/>
                  </a:lnTo>
                  <a:lnTo>
                    <a:pt x="1252144" y="84684"/>
                  </a:lnTo>
                  <a:lnTo>
                    <a:pt x="1252144" y="85370"/>
                  </a:lnTo>
                  <a:lnTo>
                    <a:pt x="1252792" y="85370"/>
                  </a:lnTo>
                  <a:lnTo>
                    <a:pt x="1252792" y="86018"/>
                  </a:lnTo>
                  <a:lnTo>
                    <a:pt x="1253237" y="86018"/>
                  </a:lnTo>
                  <a:lnTo>
                    <a:pt x="1253389" y="86716"/>
                  </a:lnTo>
                  <a:lnTo>
                    <a:pt x="1253783" y="86716"/>
                  </a:lnTo>
                  <a:lnTo>
                    <a:pt x="1253884" y="87414"/>
                  </a:lnTo>
                  <a:lnTo>
                    <a:pt x="1254380" y="87414"/>
                  </a:lnTo>
                  <a:lnTo>
                    <a:pt x="1254380" y="88100"/>
                  </a:lnTo>
                  <a:lnTo>
                    <a:pt x="1254976" y="88100"/>
                  </a:lnTo>
                  <a:lnTo>
                    <a:pt x="1254976" y="88748"/>
                  </a:lnTo>
                  <a:lnTo>
                    <a:pt x="1255522" y="88748"/>
                  </a:lnTo>
                  <a:lnTo>
                    <a:pt x="1255522" y="89447"/>
                  </a:lnTo>
                  <a:lnTo>
                    <a:pt x="1256170" y="89447"/>
                  </a:lnTo>
                  <a:lnTo>
                    <a:pt x="1256170" y="90132"/>
                  </a:lnTo>
                  <a:lnTo>
                    <a:pt x="1256665" y="90132"/>
                  </a:lnTo>
                  <a:lnTo>
                    <a:pt x="1256665" y="90831"/>
                  </a:lnTo>
                  <a:lnTo>
                    <a:pt x="1257161" y="90831"/>
                  </a:lnTo>
                  <a:lnTo>
                    <a:pt x="1257161" y="91478"/>
                  </a:lnTo>
                  <a:lnTo>
                    <a:pt x="1257605" y="91478"/>
                  </a:lnTo>
                  <a:lnTo>
                    <a:pt x="1257605" y="92177"/>
                  </a:lnTo>
                  <a:lnTo>
                    <a:pt x="1258151" y="92177"/>
                  </a:lnTo>
                  <a:lnTo>
                    <a:pt x="1258151" y="92863"/>
                  </a:lnTo>
                  <a:lnTo>
                    <a:pt x="1258545" y="92863"/>
                  </a:lnTo>
                  <a:lnTo>
                    <a:pt x="1258545" y="93561"/>
                  </a:lnTo>
                  <a:lnTo>
                    <a:pt x="1258990" y="93561"/>
                  </a:lnTo>
                  <a:lnTo>
                    <a:pt x="1258990" y="94209"/>
                  </a:lnTo>
                  <a:lnTo>
                    <a:pt x="1259434" y="94209"/>
                  </a:lnTo>
                  <a:lnTo>
                    <a:pt x="1259434" y="94895"/>
                  </a:lnTo>
                  <a:lnTo>
                    <a:pt x="1259891" y="94895"/>
                  </a:lnTo>
                  <a:lnTo>
                    <a:pt x="1259891" y="95593"/>
                  </a:lnTo>
                  <a:lnTo>
                    <a:pt x="1260336" y="95593"/>
                  </a:lnTo>
                  <a:lnTo>
                    <a:pt x="1260336" y="96292"/>
                  </a:lnTo>
                  <a:lnTo>
                    <a:pt x="1260730" y="96292"/>
                  </a:lnTo>
                  <a:lnTo>
                    <a:pt x="1260730" y="96978"/>
                  </a:lnTo>
                  <a:lnTo>
                    <a:pt x="1261174" y="96978"/>
                  </a:lnTo>
                  <a:lnTo>
                    <a:pt x="1261225" y="97625"/>
                  </a:lnTo>
                  <a:lnTo>
                    <a:pt x="1261669" y="97625"/>
                  </a:lnTo>
                  <a:lnTo>
                    <a:pt x="1261720" y="98324"/>
                  </a:lnTo>
                  <a:lnTo>
                    <a:pt x="1262114" y="98324"/>
                  </a:lnTo>
                  <a:lnTo>
                    <a:pt x="1262165" y="99022"/>
                  </a:lnTo>
                  <a:lnTo>
                    <a:pt x="1262571" y="99022"/>
                  </a:lnTo>
                  <a:lnTo>
                    <a:pt x="1262609" y="99708"/>
                  </a:lnTo>
                  <a:lnTo>
                    <a:pt x="1263066" y="99708"/>
                  </a:lnTo>
                  <a:lnTo>
                    <a:pt x="1263155" y="100356"/>
                  </a:lnTo>
                  <a:lnTo>
                    <a:pt x="1263612" y="100356"/>
                  </a:lnTo>
                  <a:lnTo>
                    <a:pt x="1263612" y="101054"/>
                  </a:lnTo>
                  <a:lnTo>
                    <a:pt x="1264108" y="101054"/>
                  </a:lnTo>
                  <a:lnTo>
                    <a:pt x="1264108" y="101740"/>
                  </a:lnTo>
                  <a:lnTo>
                    <a:pt x="1264603" y="101740"/>
                  </a:lnTo>
                  <a:lnTo>
                    <a:pt x="1264654" y="102439"/>
                  </a:lnTo>
                  <a:lnTo>
                    <a:pt x="1265098" y="102439"/>
                  </a:lnTo>
                  <a:lnTo>
                    <a:pt x="1265200" y="103086"/>
                  </a:lnTo>
                  <a:lnTo>
                    <a:pt x="1265644" y="103086"/>
                  </a:lnTo>
                  <a:lnTo>
                    <a:pt x="1265695" y="103785"/>
                  </a:lnTo>
                  <a:lnTo>
                    <a:pt x="1266190" y="103785"/>
                  </a:lnTo>
                  <a:lnTo>
                    <a:pt x="1266190" y="104471"/>
                  </a:lnTo>
                  <a:lnTo>
                    <a:pt x="1266686" y="104471"/>
                  </a:lnTo>
                  <a:lnTo>
                    <a:pt x="1266686" y="105220"/>
                  </a:lnTo>
                  <a:lnTo>
                    <a:pt x="1267283" y="105220"/>
                  </a:lnTo>
                  <a:lnTo>
                    <a:pt x="1267283" y="105817"/>
                  </a:lnTo>
                  <a:lnTo>
                    <a:pt x="1267918" y="105817"/>
                  </a:lnTo>
                  <a:lnTo>
                    <a:pt x="1267918" y="106503"/>
                  </a:lnTo>
                  <a:lnTo>
                    <a:pt x="1268464" y="106503"/>
                  </a:lnTo>
                  <a:lnTo>
                    <a:pt x="1268464" y="107201"/>
                  </a:lnTo>
                  <a:lnTo>
                    <a:pt x="1269061" y="107201"/>
                  </a:lnTo>
                  <a:lnTo>
                    <a:pt x="1269162" y="107950"/>
                  </a:lnTo>
                  <a:lnTo>
                    <a:pt x="1269759" y="107950"/>
                  </a:lnTo>
                  <a:lnTo>
                    <a:pt x="1269759" y="108547"/>
                  </a:lnTo>
                  <a:lnTo>
                    <a:pt x="1270509" y="108547"/>
                  </a:lnTo>
                  <a:lnTo>
                    <a:pt x="1270509" y="109233"/>
                  </a:lnTo>
                  <a:lnTo>
                    <a:pt x="1271245" y="109233"/>
                  </a:lnTo>
                  <a:lnTo>
                    <a:pt x="1271245" y="109982"/>
                  </a:lnTo>
                  <a:lnTo>
                    <a:pt x="1272045" y="109982"/>
                  </a:lnTo>
                  <a:lnTo>
                    <a:pt x="1272096" y="110681"/>
                  </a:lnTo>
                  <a:lnTo>
                    <a:pt x="1272782" y="110681"/>
                  </a:lnTo>
                  <a:lnTo>
                    <a:pt x="1272782" y="111265"/>
                  </a:lnTo>
                  <a:lnTo>
                    <a:pt x="1273582" y="111265"/>
                  </a:lnTo>
                  <a:lnTo>
                    <a:pt x="1273633" y="111964"/>
                  </a:lnTo>
                  <a:lnTo>
                    <a:pt x="1274319" y="111964"/>
                  </a:lnTo>
                  <a:lnTo>
                    <a:pt x="1274319" y="112713"/>
                  </a:lnTo>
                  <a:lnTo>
                    <a:pt x="1275017" y="112713"/>
                  </a:lnTo>
                  <a:lnTo>
                    <a:pt x="1275017" y="113399"/>
                  </a:lnTo>
                  <a:lnTo>
                    <a:pt x="1275715" y="113399"/>
                  </a:lnTo>
                  <a:lnTo>
                    <a:pt x="1275715" y="114097"/>
                  </a:lnTo>
                  <a:lnTo>
                    <a:pt x="1276554" y="114097"/>
                  </a:lnTo>
                  <a:lnTo>
                    <a:pt x="1276605" y="114745"/>
                  </a:lnTo>
                  <a:lnTo>
                    <a:pt x="1277354" y="114745"/>
                  </a:lnTo>
                  <a:lnTo>
                    <a:pt x="1277354" y="115443"/>
                  </a:lnTo>
                  <a:lnTo>
                    <a:pt x="1278141" y="115443"/>
                  </a:lnTo>
                  <a:lnTo>
                    <a:pt x="1278141" y="116129"/>
                  </a:lnTo>
                  <a:lnTo>
                    <a:pt x="1278941" y="116129"/>
                  </a:lnTo>
                  <a:lnTo>
                    <a:pt x="1279030" y="116828"/>
                  </a:lnTo>
                  <a:lnTo>
                    <a:pt x="1279932" y="116828"/>
                  </a:lnTo>
                  <a:lnTo>
                    <a:pt x="1279932" y="117475"/>
                  </a:lnTo>
                  <a:lnTo>
                    <a:pt x="1280770" y="117475"/>
                  </a:lnTo>
                  <a:lnTo>
                    <a:pt x="1280770" y="118161"/>
                  </a:lnTo>
                  <a:lnTo>
                    <a:pt x="1281659" y="118161"/>
                  </a:lnTo>
                  <a:lnTo>
                    <a:pt x="1281659" y="118860"/>
                  </a:lnTo>
                  <a:lnTo>
                    <a:pt x="1282700" y="118860"/>
                  </a:lnTo>
                  <a:lnTo>
                    <a:pt x="1282700" y="119558"/>
                  </a:lnTo>
                  <a:lnTo>
                    <a:pt x="1283653" y="119558"/>
                  </a:lnTo>
                  <a:lnTo>
                    <a:pt x="1283704" y="120206"/>
                  </a:lnTo>
                  <a:lnTo>
                    <a:pt x="1284796" y="120206"/>
                  </a:lnTo>
                  <a:lnTo>
                    <a:pt x="1284834" y="120892"/>
                  </a:lnTo>
                  <a:lnTo>
                    <a:pt x="1286180" y="120892"/>
                  </a:lnTo>
                  <a:lnTo>
                    <a:pt x="1286180" y="121590"/>
                  </a:lnTo>
                  <a:lnTo>
                    <a:pt x="1287565" y="121590"/>
                  </a:lnTo>
                  <a:lnTo>
                    <a:pt x="1287565" y="122289"/>
                  </a:lnTo>
                  <a:lnTo>
                    <a:pt x="1289152" y="122289"/>
                  </a:lnTo>
                  <a:lnTo>
                    <a:pt x="1289152" y="122924"/>
                  </a:lnTo>
                  <a:lnTo>
                    <a:pt x="1290943" y="122924"/>
                  </a:lnTo>
                  <a:lnTo>
                    <a:pt x="1291044" y="123622"/>
                  </a:lnTo>
                  <a:lnTo>
                    <a:pt x="1292975" y="123622"/>
                  </a:lnTo>
                  <a:lnTo>
                    <a:pt x="1293076" y="124321"/>
                  </a:lnTo>
                  <a:lnTo>
                    <a:pt x="1295807" y="124321"/>
                  </a:lnTo>
                  <a:lnTo>
                    <a:pt x="1295807" y="125007"/>
                  </a:lnTo>
                  <a:lnTo>
                    <a:pt x="1298880" y="125007"/>
                  </a:lnTo>
                  <a:lnTo>
                    <a:pt x="1298880" y="125654"/>
                  </a:lnTo>
                  <a:lnTo>
                    <a:pt x="1306564" y="125654"/>
                  </a:lnTo>
                  <a:lnTo>
                    <a:pt x="1306564" y="125007"/>
                  </a:lnTo>
                  <a:lnTo>
                    <a:pt x="1309942" y="125007"/>
                  </a:lnTo>
                  <a:lnTo>
                    <a:pt x="1309942" y="124321"/>
                  </a:lnTo>
                  <a:lnTo>
                    <a:pt x="1312279" y="124321"/>
                  </a:lnTo>
                  <a:lnTo>
                    <a:pt x="1312279" y="123622"/>
                  </a:lnTo>
                  <a:lnTo>
                    <a:pt x="1315898" y="123622"/>
                  </a:lnTo>
                  <a:lnTo>
                    <a:pt x="1315898" y="122924"/>
                  </a:lnTo>
                  <a:lnTo>
                    <a:pt x="1318870" y="122924"/>
                  </a:lnTo>
                  <a:lnTo>
                    <a:pt x="1318870" y="122289"/>
                  </a:lnTo>
                  <a:lnTo>
                    <a:pt x="1320851" y="122289"/>
                  </a:lnTo>
                  <a:lnTo>
                    <a:pt x="1320851" y="121590"/>
                  </a:lnTo>
                  <a:lnTo>
                    <a:pt x="1323137" y="121590"/>
                  </a:lnTo>
                  <a:lnTo>
                    <a:pt x="1323239" y="120892"/>
                  </a:lnTo>
                  <a:lnTo>
                    <a:pt x="1325614" y="120892"/>
                  </a:lnTo>
                  <a:lnTo>
                    <a:pt x="1325614" y="120206"/>
                  </a:lnTo>
                  <a:lnTo>
                    <a:pt x="1327011" y="120206"/>
                  </a:lnTo>
                  <a:lnTo>
                    <a:pt x="1327011" y="119558"/>
                  </a:lnTo>
                  <a:lnTo>
                    <a:pt x="1328344" y="119558"/>
                  </a:lnTo>
                  <a:lnTo>
                    <a:pt x="1328344" y="118860"/>
                  </a:lnTo>
                  <a:lnTo>
                    <a:pt x="1329741" y="118860"/>
                  </a:lnTo>
                  <a:lnTo>
                    <a:pt x="1329741" y="118161"/>
                  </a:lnTo>
                  <a:lnTo>
                    <a:pt x="1331227" y="118161"/>
                  </a:lnTo>
                  <a:lnTo>
                    <a:pt x="1331227" y="117475"/>
                  </a:lnTo>
                  <a:lnTo>
                    <a:pt x="1332421" y="117475"/>
                  </a:lnTo>
                  <a:lnTo>
                    <a:pt x="1332421" y="116828"/>
                  </a:lnTo>
                  <a:lnTo>
                    <a:pt x="1333755" y="116828"/>
                  </a:lnTo>
                  <a:lnTo>
                    <a:pt x="1333755" y="116129"/>
                  </a:lnTo>
                  <a:lnTo>
                    <a:pt x="1334694" y="116129"/>
                  </a:lnTo>
                  <a:lnTo>
                    <a:pt x="1334694" y="115443"/>
                  </a:lnTo>
                  <a:lnTo>
                    <a:pt x="1334948" y="115443"/>
                  </a:lnTo>
                  <a:lnTo>
                    <a:pt x="1335050" y="114745"/>
                  </a:lnTo>
                  <a:lnTo>
                    <a:pt x="1335139" y="114745"/>
                  </a:lnTo>
                  <a:lnTo>
                    <a:pt x="1335190" y="114097"/>
                  </a:lnTo>
                  <a:lnTo>
                    <a:pt x="1335342" y="114097"/>
                  </a:lnTo>
                  <a:lnTo>
                    <a:pt x="1335342" y="113399"/>
                  </a:lnTo>
                  <a:lnTo>
                    <a:pt x="1335494" y="113399"/>
                  </a:lnTo>
                  <a:lnTo>
                    <a:pt x="1335494" y="112713"/>
                  </a:lnTo>
                  <a:lnTo>
                    <a:pt x="1335596" y="112713"/>
                  </a:lnTo>
                  <a:lnTo>
                    <a:pt x="1335596" y="111964"/>
                  </a:lnTo>
                  <a:lnTo>
                    <a:pt x="1335736" y="111964"/>
                  </a:lnTo>
                  <a:lnTo>
                    <a:pt x="1335736" y="111265"/>
                  </a:lnTo>
                  <a:lnTo>
                    <a:pt x="1335787" y="111265"/>
                  </a:lnTo>
                  <a:lnTo>
                    <a:pt x="1335837" y="110681"/>
                  </a:lnTo>
                  <a:lnTo>
                    <a:pt x="1335939" y="110681"/>
                  </a:lnTo>
                  <a:lnTo>
                    <a:pt x="1335939" y="109982"/>
                  </a:lnTo>
                  <a:lnTo>
                    <a:pt x="1336040" y="109982"/>
                  </a:lnTo>
                  <a:lnTo>
                    <a:pt x="1336040" y="109233"/>
                  </a:lnTo>
                  <a:lnTo>
                    <a:pt x="1336091" y="109233"/>
                  </a:lnTo>
                  <a:lnTo>
                    <a:pt x="1336091" y="108547"/>
                  </a:lnTo>
                  <a:lnTo>
                    <a:pt x="1336180" y="108547"/>
                  </a:lnTo>
                  <a:lnTo>
                    <a:pt x="1336180" y="107950"/>
                  </a:lnTo>
                  <a:lnTo>
                    <a:pt x="1336282" y="107950"/>
                  </a:lnTo>
                  <a:lnTo>
                    <a:pt x="1336282" y="107201"/>
                  </a:lnTo>
                  <a:lnTo>
                    <a:pt x="1336333" y="107201"/>
                  </a:lnTo>
                  <a:lnTo>
                    <a:pt x="1336333" y="106503"/>
                  </a:lnTo>
                  <a:lnTo>
                    <a:pt x="1336434" y="106503"/>
                  </a:lnTo>
                  <a:lnTo>
                    <a:pt x="1336485" y="105817"/>
                  </a:lnTo>
                  <a:lnTo>
                    <a:pt x="1336536" y="105817"/>
                  </a:lnTo>
                  <a:lnTo>
                    <a:pt x="1336536" y="105220"/>
                  </a:lnTo>
                  <a:lnTo>
                    <a:pt x="1336637" y="105220"/>
                  </a:lnTo>
                  <a:lnTo>
                    <a:pt x="1336637" y="104471"/>
                  </a:lnTo>
                  <a:lnTo>
                    <a:pt x="1336675" y="104471"/>
                  </a:lnTo>
                  <a:lnTo>
                    <a:pt x="1336675" y="103785"/>
                  </a:lnTo>
                  <a:lnTo>
                    <a:pt x="1336726" y="103785"/>
                  </a:lnTo>
                  <a:lnTo>
                    <a:pt x="1336777" y="103086"/>
                  </a:lnTo>
                  <a:lnTo>
                    <a:pt x="1336879" y="103086"/>
                  </a:lnTo>
                  <a:lnTo>
                    <a:pt x="1336879" y="102439"/>
                  </a:lnTo>
                  <a:lnTo>
                    <a:pt x="1336930" y="102439"/>
                  </a:lnTo>
                  <a:lnTo>
                    <a:pt x="1336930" y="101740"/>
                  </a:lnTo>
                  <a:lnTo>
                    <a:pt x="1336980" y="101740"/>
                  </a:lnTo>
                  <a:lnTo>
                    <a:pt x="1336980" y="101054"/>
                  </a:lnTo>
                  <a:lnTo>
                    <a:pt x="1337082" y="101054"/>
                  </a:lnTo>
                  <a:lnTo>
                    <a:pt x="1337082" y="100356"/>
                  </a:lnTo>
                  <a:lnTo>
                    <a:pt x="1337133" y="100356"/>
                  </a:lnTo>
                  <a:lnTo>
                    <a:pt x="1337133" y="99708"/>
                  </a:lnTo>
                  <a:lnTo>
                    <a:pt x="1337184" y="99708"/>
                  </a:lnTo>
                  <a:lnTo>
                    <a:pt x="1337184" y="99022"/>
                  </a:lnTo>
                  <a:lnTo>
                    <a:pt x="1337222" y="99022"/>
                  </a:lnTo>
                  <a:lnTo>
                    <a:pt x="1337222" y="98324"/>
                  </a:lnTo>
                  <a:lnTo>
                    <a:pt x="1337323" y="98324"/>
                  </a:lnTo>
                  <a:lnTo>
                    <a:pt x="1337323" y="97625"/>
                  </a:lnTo>
                  <a:lnTo>
                    <a:pt x="1337374" y="97625"/>
                  </a:lnTo>
                  <a:lnTo>
                    <a:pt x="1337374" y="96978"/>
                  </a:lnTo>
                  <a:lnTo>
                    <a:pt x="1337425" y="96978"/>
                  </a:lnTo>
                  <a:lnTo>
                    <a:pt x="1337425" y="96292"/>
                  </a:lnTo>
                  <a:lnTo>
                    <a:pt x="1337526" y="96292"/>
                  </a:lnTo>
                  <a:lnTo>
                    <a:pt x="1337526" y="95593"/>
                  </a:lnTo>
                  <a:lnTo>
                    <a:pt x="1337577" y="95593"/>
                  </a:lnTo>
                  <a:lnTo>
                    <a:pt x="1337577" y="94895"/>
                  </a:lnTo>
                  <a:lnTo>
                    <a:pt x="1337628" y="94895"/>
                  </a:lnTo>
                  <a:lnTo>
                    <a:pt x="1337628" y="94209"/>
                  </a:lnTo>
                  <a:lnTo>
                    <a:pt x="1337679" y="94209"/>
                  </a:lnTo>
                  <a:lnTo>
                    <a:pt x="1337679" y="93561"/>
                  </a:lnTo>
                  <a:lnTo>
                    <a:pt x="1337768" y="93561"/>
                  </a:lnTo>
                  <a:lnTo>
                    <a:pt x="1337768" y="92863"/>
                  </a:lnTo>
                  <a:lnTo>
                    <a:pt x="1337819" y="92863"/>
                  </a:lnTo>
                  <a:lnTo>
                    <a:pt x="1337819" y="92177"/>
                  </a:lnTo>
                  <a:lnTo>
                    <a:pt x="1337869" y="92177"/>
                  </a:lnTo>
                  <a:lnTo>
                    <a:pt x="1337869" y="91478"/>
                  </a:lnTo>
                  <a:lnTo>
                    <a:pt x="1337920" y="91478"/>
                  </a:lnTo>
                  <a:lnTo>
                    <a:pt x="1337920" y="90831"/>
                  </a:lnTo>
                  <a:lnTo>
                    <a:pt x="1338022" y="90132"/>
                  </a:lnTo>
                  <a:lnTo>
                    <a:pt x="1338072" y="89447"/>
                  </a:lnTo>
                  <a:lnTo>
                    <a:pt x="1338072" y="88748"/>
                  </a:lnTo>
                  <a:lnTo>
                    <a:pt x="1338123" y="88748"/>
                  </a:lnTo>
                  <a:lnTo>
                    <a:pt x="1338123" y="88100"/>
                  </a:lnTo>
                  <a:lnTo>
                    <a:pt x="1338225" y="88100"/>
                  </a:lnTo>
                  <a:lnTo>
                    <a:pt x="1338225" y="87414"/>
                  </a:lnTo>
                  <a:lnTo>
                    <a:pt x="1338263" y="87414"/>
                  </a:lnTo>
                  <a:lnTo>
                    <a:pt x="1338263" y="86716"/>
                  </a:lnTo>
                  <a:lnTo>
                    <a:pt x="1338314" y="86716"/>
                  </a:lnTo>
                  <a:lnTo>
                    <a:pt x="1338314" y="86018"/>
                  </a:lnTo>
                  <a:lnTo>
                    <a:pt x="1338365" y="85370"/>
                  </a:lnTo>
                  <a:lnTo>
                    <a:pt x="1338466" y="84684"/>
                  </a:lnTo>
                  <a:lnTo>
                    <a:pt x="1338466" y="83985"/>
                  </a:lnTo>
                  <a:lnTo>
                    <a:pt x="1338517" y="83985"/>
                  </a:lnTo>
                  <a:lnTo>
                    <a:pt x="1338517" y="83287"/>
                  </a:lnTo>
                  <a:lnTo>
                    <a:pt x="1338568" y="83287"/>
                  </a:lnTo>
                  <a:lnTo>
                    <a:pt x="1338568" y="82652"/>
                  </a:lnTo>
                  <a:lnTo>
                    <a:pt x="1338669" y="82652"/>
                  </a:lnTo>
                  <a:lnTo>
                    <a:pt x="1338669" y="81953"/>
                  </a:lnTo>
                  <a:lnTo>
                    <a:pt x="1338771" y="80557"/>
                  </a:lnTo>
                  <a:lnTo>
                    <a:pt x="1338771" y="79922"/>
                  </a:lnTo>
                  <a:lnTo>
                    <a:pt x="1338809" y="79922"/>
                  </a:lnTo>
                  <a:lnTo>
                    <a:pt x="1338809" y="79223"/>
                  </a:lnTo>
                  <a:lnTo>
                    <a:pt x="1338911" y="79223"/>
                  </a:lnTo>
                  <a:lnTo>
                    <a:pt x="1338911" y="78524"/>
                  </a:lnTo>
                  <a:lnTo>
                    <a:pt x="1338962" y="77839"/>
                  </a:lnTo>
                  <a:lnTo>
                    <a:pt x="1339012" y="77191"/>
                  </a:lnTo>
                  <a:lnTo>
                    <a:pt x="1339114" y="77191"/>
                  </a:lnTo>
                  <a:lnTo>
                    <a:pt x="1339114" y="76493"/>
                  </a:lnTo>
                  <a:lnTo>
                    <a:pt x="1339165" y="76493"/>
                  </a:lnTo>
                  <a:lnTo>
                    <a:pt x="1339165" y="75794"/>
                  </a:lnTo>
                  <a:lnTo>
                    <a:pt x="1339215" y="75794"/>
                  </a:lnTo>
                  <a:lnTo>
                    <a:pt x="1339215" y="75108"/>
                  </a:lnTo>
                  <a:lnTo>
                    <a:pt x="1339266" y="74410"/>
                  </a:lnTo>
                  <a:lnTo>
                    <a:pt x="1339266" y="73762"/>
                  </a:lnTo>
                  <a:lnTo>
                    <a:pt x="1339355" y="73762"/>
                  </a:lnTo>
                  <a:lnTo>
                    <a:pt x="1339355" y="73076"/>
                  </a:lnTo>
                  <a:lnTo>
                    <a:pt x="1339406" y="73076"/>
                  </a:lnTo>
                  <a:lnTo>
                    <a:pt x="1339406" y="72378"/>
                  </a:lnTo>
                  <a:lnTo>
                    <a:pt x="1339457" y="72378"/>
                  </a:lnTo>
                  <a:lnTo>
                    <a:pt x="1339457" y="71679"/>
                  </a:lnTo>
                  <a:lnTo>
                    <a:pt x="1339508" y="71679"/>
                  </a:lnTo>
                  <a:lnTo>
                    <a:pt x="1339508" y="71032"/>
                  </a:lnTo>
                  <a:lnTo>
                    <a:pt x="1339609" y="70346"/>
                  </a:lnTo>
                  <a:lnTo>
                    <a:pt x="1339660" y="69647"/>
                  </a:lnTo>
                  <a:lnTo>
                    <a:pt x="1339660" y="68949"/>
                  </a:lnTo>
                  <a:lnTo>
                    <a:pt x="1339711" y="68949"/>
                  </a:lnTo>
                  <a:lnTo>
                    <a:pt x="1339711" y="68314"/>
                  </a:lnTo>
                  <a:lnTo>
                    <a:pt x="1339812" y="68314"/>
                  </a:lnTo>
                  <a:lnTo>
                    <a:pt x="1339812" y="67615"/>
                  </a:lnTo>
                  <a:lnTo>
                    <a:pt x="1339850" y="67615"/>
                  </a:lnTo>
                  <a:lnTo>
                    <a:pt x="1339850" y="66917"/>
                  </a:lnTo>
                  <a:lnTo>
                    <a:pt x="1339901" y="66917"/>
                  </a:lnTo>
                  <a:lnTo>
                    <a:pt x="1339901" y="66231"/>
                  </a:lnTo>
                  <a:lnTo>
                    <a:pt x="1339952" y="65583"/>
                  </a:lnTo>
                  <a:lnTo>
                    <a:pt x="1339952" y="64885"/>
                  </a:lnTo>
                  <a:lnTo>
                    <a:pt x="1340054" y="64885"/>
                  </a:lnTo>
                  <a:lnTo>
                    <a:pt x="1340054" y="64186"/>
                  </a:lnTo>
                  <a:lnTo>
                    <a:pt x="1340105" y="64186"/>
                  </a:lnTo>
                  <a:lnTo>
                    <a:pt x="1340105" y="63500"/>
                  </a:lnTo>
                  <a:lnTo>
                    <a:pt x="1340155" y="63500"/>
                  </a:lnTo>
                  <a:lnTo>
                    <a:pt x="1340155" y="62853"/>
                  </a:lnTo>
                  <a:lnTo>
                    <a:pt x="1340257" y="62853"/>
                  </a:lnTo>
                  <a:lnTo>
                    <a:pt x="1340257" y="62154"/>
                  </a:lnTo>
                  <a:lnTo>
                    <a:pt x="1340359" y="60770"/>
                  </a:lnTo>
                  <a:lnTo>
                    <a:pt x="1340359" y="60122"/>
                  </a:lnTo>
                  <a:lnTo>
                    <a:pt x="1340397" y="60122"/>
                  </a:lnTo>
                  <a:lnTo>
                    <a:pt x="1340397" y="59424"/>
                  </a:lnTo>
                  <a:lnTo>
                    <a:pt x="1340498" y="59424"/>
                  </a:lnTo>
                  <a:lnTo>
                    <a:pt x="1340498" y="58738"/>
                  </a:lnTo>
                  <a:lnTo>
                    <a:pt x="1340549" y="58738"/>
                  </a:lnTo>
                  <a:lnTo>
                    <a:pt x="1340549" y="57989"/>
                  </a:lnTo>
                  <a:lnTo>
                    <a:pt x="1340600" y="57989"/>
                  </a:lnTo>
                  <a:lnTo>
                    <a:pt x="1340600" y="57290"/>
                  </a:lnTo>
                  <a:lnTo>
                    <a:pt x="1340701" y="57290"/>
                  </a:lnTo>
                  <a:lnTo>
                    <a:pt x="1340701" y="56706"/>
                  </a:lnTo>
                  <a:lnTo>
                    <a:pt x="1340752" y="56007"/>
                  </a:lnTo>
                  <a:lnTo>
                    <a:pt x="1340803" y="55258"/>
                  </a:lnTo>
                  <a:lnTo>
                    <a:pt x="1340803" y="54572"/>
                  </a:lnTo>
                  <a:lnTo>
                    <a:pt x="1340854" y="54572"/>
                  </a:lnTo>
                  <a:lnTo>
                    <a:pt x="1340854" y="53975"/>
                  </a:lnTo>
                  <a:lnTo>
                    <a:pt x="1340943" y="53975"/>
                  </a:lnTo>
                  <a:lnTo>
                    <a:pt x="1340943" y="53226"/>
                  </a:lnTo>
                  <a:lnTo>
                    <a:pt x="1340994" y="53226"/>
                  </a:lnTo>
                  <a:lnTo>
                    <a:pt x="1340994" y="52528"/>
                  </a:lnTo>
                  <a:lnTo>
                    <a:pt x="1341044" y="52528"/>
                  </a:lnTo>
                  <a:lnTo>
                    <a:pt x="1341044" y="51842"/>
                  </a:lnTo>
                  <a:lnTo>
                    <a:pt x="1341095" y="51842"/>
                  </a:lnTo>
                  <a:lnTo>
                    <a:pt x="1341095" y="51245"/>
                  </a:lnTo>
                  <a:lnTo>
                    <a:pt x="1341197" y="51245"/>
                  </a:lnTo>
                  <a:lnTo>
                    <a:pt x="1341197" y="50496"/>
                  </a:lnTo>
                  <a:lnTo>
                    <a:pt x="1341247" y="50496"/>
                  </a:lnTo>
                  <a:lnTo>
                    <a:pt x="1341247" y="49810"/>
                  </a:lnTo>
                  <a:lnTo>
                    <a:pt x="1341298" y="49111"/>
                  </a:lnTo>
                  <a:lnTo>
                    <a:pt x="1341400" y="49111"/>
                  </a:lnTo>
                  <a:lnTo>
                    <a:pt x="1341438" y="48464"/>
                  </a:lnTo>
                  <a:lnTo>
                    <a:pt x="1341438" y="47765"/>
                  </a:lnTo>
                  <a:lnTo>
                    <a:pt x="1341489" y="47765"/>
                  </a:lnTo>
                  <a:lnTo>
                    <a:pt x="1341489" y="47079"/>
                  </a:lnTo>
                  <a:lnTo>
                    <a:pt x="1341540" y="47079"/>
                  </a:lnTo>
                  <a:lnTo>
                    <a:pt x="1341540" y="46381"/>
                  </a:lnTo>
                  <a:lnTo>
                    <a:pt x="1341641" y="46381"/>
                  </a:lnTo>
                  <a:lnTo>
                    <a:pt x="1341641" y="45733"/>
                  </a:lnTo>
                  <a:lnTo>
                    <a:pt x="1341692" y="45733"/>
                  </a:lnTo>
                  <a:lnTo>
                    <a:pt x="1341692" y="45047"/>
                  </a:lnTo>
                  <a:lnTo>
                    <a:pt x="1341743" y="45047"/>
                  </a:lnTo>
                  <a:lnTo>
                    <a:pt x="1341743" y="44349"/>
                  </a:lnTo>
                  <a:lnTo>
                    <a:pt x="1341844" y="44349"/>
                  </a:lnTo>
                  <a:lnTo>
                    <a:pt x="1341844" y="43650"/>
                  </a:lnTo>
                  <a:lnTo>
                    <a:pt x="1341895" y="43003"/>
                  </a:lnTo>
                  <a:lnTo>
                    <a:pt x="1341946" y="43003"/>
                  </a:lnTo>
                  <a:lnTo>
                    <a:pt x="1341946" y="42317"/>
                  </a:lnTo>
                  <a:lnTo>
                    <a:pt x="1341984" y="41618"/>
                  </a:lnTo>
                  <a:lnTo>
                    <a:pt x="1342086" y="41618"/>
                  </a:lnTo>
                  <a:lnTo>
                    <a:pt x="1342086" y="40920"/>
                  </a:lnTo>
                  <a:lnTo>
                    <a:pt x="1342137" y="40920"/>
                  </a:lnTo>
                  <a:lnTo>
                    <a:pt x="1342137" y="40234"/>
                  </a:lnTo>
                  <a:lnTo>
                    <a:pt x="1342187" y="40234"/>
                  </a:lnTo>
                  <a:lnTo>
                    <a:pt x="1342187" y="39586"/>
                  </a:lnTo>
                  <a:lnTo>
                    <a:pt x="1342289" y="39586"/>
                  </a:lnTo>
                  <a:lnTo>
                    <a:pt x="1342289" y="38888"/>
                  </a:lnTo>
                  <a:lnTo>
                    <a:pt x="1342340" y="38888"/>
                  </a:lnTo>
                  <a:lnTo>
                    <a:pt x="1342340" y="38202"/>
                  </a:lnTo>
                  <a:lnTo>
                    <a:pt x="1342390" y="38202"/>
                  </a:lnTo>
                  <a:lnTo>
                    <a:pt x="1342441" y="37503"/>
                  </a:lnTo>
                  <a:lnTo>
                    <a:pt x="1342530" y="36856"/>
                  </a:lnTo>
                  <a:lnTo>
                    <a:pt x="1342581" y="36856"/>
                  </a:lnTo>
                  <a:lnTo>
                    <a:pt x="1342581" y="36157"/>
                  </a:lnTo>
                  <a:lnTo>
                    <a:pt x="1342632" y="36157"/>
                  </a:lnTo>
                  <a:lnTo>
                    <a:pt x="1342632" y="35472"/>
                  </a:lnTo>
                  <a:lnTo>
                    <a:pt x="1342683" y="35472"/>
                  </a:lnTo>
                  <a:lnTo>
                    <a:pt x="1342683" y="34773"/>
                  </a:lnTo>
                  <a:lnTo>
                    <a:pt x="1342784" y="34773"/>
                  </a:lnTo>
                  <a:lnTo>
                    <a:pt x="1342784" y="34125"/>
                  </a:lnTo>
                  <a:lnTo>
                    <a:pt x="1342835" y="34125"/>
                  </a:lnTo>
                  <a:lnTo>
                    <a:pt x="1342835" y="33439"/>
                  </a:lnTo>
                  <a:lnTo>
                    <a:pt x="1342886" y="33439"/>
                  </a:lnTo>
                  <a:lnTo>
                    <a:pt x="1342886" y="32741"/>
                  </a:lnTo>
                  <a:lnTo>
                    <a:pt x="1343025" y="32741"/>
                  </a:lnTo>
                  <a:lnTo>
                    <a:pt x="1343025" y="32043"/>
                  </a:lnTo>
                  <a:lnTo>
                    <a:pt x="1343076" y="32043"/>
                  </a:lnTo>
                  <a:lnTo>
                    <a:pt x="1343076" y="31395"/>
                  </a:lnTo>
                  <a:lnTo>
                    <a:pt x="1343127" y="31395"/>
                  </a:lnTo>
                  <a:lnTo>
                    <a:pt x="1343127" y="30709"/>
                  </a:lnTo>
                  <a:lnTo>
                    <a:pt x="1343229" y="30709"/>
                  </a:lnTo>
                  <a:lnTo>
                    <a:pt x="1343229" y="30010"/>
                  </a:lnTo>
                  <a:lnTo>
                    <a:pt x="1343280" y="30010"/>
                  </a:lnTo>
                  <a:lnTo>
                    <a:pt x="1343330" y="29312"/>
                  </a:lnTo>
                  <a:lnTo>
                    <a:pt x="1343432" y="29312"/>
                  </a:lnTo>
                  <a:lnTo>
                    <a:pt x="1343432" y="28677"/>
                  </a:lnTo>
                  <a:lnTo>
                    <a:pt x="1343483" y="28677"/>
                  </a:lnTo>
                  <a:lnTo>
                    <a:pt x="1343483" y="27978"/>
                  </a:lnTo>
                  <a:lnTo>
                    <a:pt x="1343534" y="27978"/>
                  </a:lnTo>
                  <a:lnTo>
                    <a:pt x="1343534" y="27280"/>
                  </a:lnTo>
                  <a:lnTo>
                    <a:pt x="1343673" y="27280"/>
                  </a:lnTo>
                  <a:lnTo>
                    <a:pt x="1343673" y="26582"/>
                  </a:lnTo>
                  <a:lnTo>
                    <a:pt x="1343724" y="26582"/>
                  </a:lnTo>
                  <a:lnTo>
                    <a:pt x="1343724" y="25947"/>
                  </a:lnTo>
                  <a:lnTo>
                    <a:pt x="1343775" y="25947"/>
                  </a:lnTo>
                  <a:lnTo>
                    <a:pt x="1343775" y="25248"/>
                  </a:lnTo>
                  <a:lnTo>
                    <a:pt x="1343876" y="25248"/>
                  </a:lnTo>
                  <a:lnTo>
                    <a:pt x="1343927" y="24549"/>
                  </a:lnTo>
                  <a:lnTo>
                    <a:pt x="1343978" y="24549"/>
                  </a:lnTo>
                  <a:lnTo>
                    <a:pt x="1343978" y="23864"/>
                  </a:lnTo>
                  <a:lnTo>
                    <a:pt x="1344029" y="23864"/>
                  </a:lnTo>
                  <a:lnTo>
                    <a:pt x="1344029" y="23165"/>
                  </a:lnTo>
                  <a:lnTo>
                    <a:pt x="1344118" y="23165"/>
                  </a:lnTo>
                  <a:lnTo>
                    <a:pt x="1344169" y="22518"/>
                  </a:lnTo>
                  <a:lnTo>
                    <a:pt x="1344219" y="22518"/>
                  </a:lnTo>
                  <a:lnTo>
                    <a:pt x="1344219" y="21819"/>
                  </a:lnTo>
                  <a:lnTo>
                    <a:pt x="1344270" y="21819"/>
                  </a:lnTo>
                  <a:lnTo>
                    <a:pt x="1344372" y="21133"/>
                  </a:lnTo>
                  <a:lnTo>
                    <a:pt x="1344422" y="21133"/>
                  </a:lnTo>
                  <a:lnTo>
                    <a:pt x="1344473" y="20435"/>
                  </a:lnTo>
                  <a:lnTo>
                    <a:pt x="1344473" y="19787"/>
                  </a:lnTo>
                  <a:lnTo>
                    <a:pt x="1344613" y="19787"/>
                  </a:lnTo>
                  <a:lnTo>
                    <a:pt x="1344613" y="19101"/>
                  </a:lnTo>
                  <a:lnTo>
                    <a:pt x="1344664" y="19101"/>
                  </a:lnTo>
                  <a:lnTo>
                    <a:pt x="1344715" y="18403"/>
                  </a:lnTo>
                  <a:lnTo>
                    <a:pt x="1344816" y="18403"/>
                  </a:lnTo>
                  <a:lnTo>
                    <a:pt x="1344867" y="17704"/>
                  </a:lnTo>
                  <a:lnTo>
                    <a:pt x="1344918" y="17704"/>
                  </a:lnTo>
                  <a:lnTo>
                    <a:pt x="1344918" y="17057"/>
                  </a:lnTo>
                  <a:lnTo>
                    <a:pt x="1345070" y="17057"/>
                  </a:lnTo>
                  <a:lnTo>
                    <a:pt x="1345070" y="16371"/>
                  </a:lnTo>
                  <a:lnTo>
                    <a:pt x="1345121" y="16371"/>
                  </a:lnTo>
                  <a:lnTo>
                    <a:pt x="1345159" y="15672"/>
                  </a:lnTo>
                  <a:lnTo>
                    <a:pt x="1345261" y="15672"/>
                  </a:lnTo>
                  <a:lnTo>
                    <a:pt x="1345261" y="14974"/>
                  </a:lnTo>
                  <a:lnTo>
                    <a:pt x="1345362" y="14974"/>
                  </a:lnTo>
                  <a:lnTo>
                    <a:pt x="1345362" y="14339"/>
                  </a:lnTo>
                  <a:lnTo>
                    <a:pt x="1345515" y="14339"/>
                  </a:lnTo>
                  <a:lnTo>
                    <a:pt x="1345515" y="13640"/>
                  </a:lnTo>
                  <a:lnTo>
                    <a:pt x="1345616" y="13640"/>
                  </a:lnTo>
                  <a:lnTo>
                    <a:pt x="1345616" y="12942"/>
                  </a:lnTo>
                  <a:lnTo>
                    <a:pt x="1345756" y="12942"/>
                  </a:lnTo>
                  <a:lnTo>
                    <a:pt x="1345756" y="12256"/>
                  </a:lnTo>
                  <a:lnTo>
                    <a:pt x="1345807" y="12256"/>
                  </a:lnTo>
                  <a:lnTo>
                    <a:pt x="1345858" y="11608"/>
                  </a:lnTo>
                  <a:lnTo>
                    <a:pt x="1346061" y="11608"/>
                  </a:lnTo>
                  <a:lnTo>
                    <a:pt x="1346061" y="10910"/>
                  </a:lnTo>
                  <a:lnTo>
                    <a:pt x="1346162" y="10910"/>
                  </a:lnTo>
                  <a:lnTo>
                    <a:pt x="1346200" y="10211"/>
                  </a:lnTo>
                  <a:lnTo>
                    <a:pt x="1346302" y="10211"/>
                  </a:lnTo>
                  <a:lnTo>
                    <a:pt x="1346404" y="9525"/>
                  </a:lnTo>
                  <a:lnTo>
                    <a:pt x="1346505" y="9525"/>
                  </a:lnTo>
                  <a:lnTo>
                    <a:pt x="1346505" y="8878"/>
                  </a:lnTo>
                  <a:lnTo>
                    <a:pt x="1346658" y="8878"/>
                  </a:lnTo>
                  <a:lnTo>
                    <a:pt x="1346709" y="8179"/>
                  </a:lnTo>
                  <a:lnTo>
                    <a:pt x="1346848" y="8179"/>
                  </a:lnTo>
                  <a:lnTo>
                    <a:pt x="1346848" y="7493"/>
                  </a:lnTo>
                  <a:lnTo>
                    <a:pt x="1347051" y="7493"/>
                  </a:lnTo>
                  <a:lnTo>
                    <a:pt x="1347051" y="6795"/>
                  </a:lnTo>
                  <a:lnTo>
                    <a:pt x="1347204" y="6795"/>
                  </a:lnTo>
                  <a:lnTo>
                    <a:pt x="1347204" y="6046"/>
                  </a:lnTo>
                  <a:lnTo>
                    <a:pt x="1347394" y="6046"/>
                  </a:lnTo>
                  <a:lnTo>
                    <a:pt x="1347394" y="5449"/>
                  </a:lnTo>
                  <a:lnTo>
                    <a:pt x="1347648" y="5449"/>
                  </a:lnTo>
                  <a:lnTo>
                    <a:pt x="1347648" y="4763"/>
                  </a:lnTo>
                  <a:lnTo>
                    <a:pt x="1347788" y="4763"/>
                  </a:lnTo>
                  <a:lnTo>
                    <a:pt x="1347839" y="4014"/>
                  </a:lnTo>
                  <a:lnTo>
                    <a:pt x="1348093" y="4014"/>
                  </a:lnTo>
                  <a:lnTo>
                    <a:pt x="1348093" y="3315"/>
                  </a:lnTo>
                  <a:lnTo>
                    <a:pt x="1348436" y="3315"/>
                  </a:lnTo>
                  <a:lnTo>
                    <a:pt x="1348436" y="2731"/>
                  </a:lnTo>
                  <a:lnTo>
                    <a:pt x="1348740" y="2731"/>
                  </a:lnTo>
                  <a:lnTo>
                    <a:pt x="1348740" y="2032"/>
                  </a:lnTo>
                  <a:lnTo>
                    <a:pt x="1349134" y="2032"/>
                  </a:lnTo>
                  <a:lnTo>
                    <a:pt x="1349185" y="1283"/>
                  </a:lnTo>
                  <a:lnTo>
                    <a:pt x="1349782" y="1283"/>
                  </a:lnTo>
                  <a:lnTo>
                    <a:pt x="1349782" y="597"/>
                  </a:lnTo>
                  <a:lnTo>
                    <a:pt x="1350772" y="597"/>
                  </a:lnTo>
                  <a:lnTo>
                    <a:pt x="1350823" y="0"/>
                  </a:lnTo>
                  <a:lnTo>
                    <a:pt x="1351712" y="0"/>
                  </a:lnTo>
                  <a:lnTo>
                    <a:pt x="1351712" y="597"/>
                  </a:lnTo>
                  <a:lnTo>
                    <a:pt x="1353198" y="597"/>
                  </a:lnTo>
                  <a:lnTo>
                    <a:pt x="1353198" y="1283"/>
                  </a:lnTo>
                  <a:lnTo>
                    <a:pt x="1353947" y="1283"/>
                  </a:lnTo>
                  <a:lnTo>
                    <a:pt x="1353947" y="2032"/>
                  </a:lnTo>
                  <a:lnTo>
                    <a:pt x="1354392" y="2032"/>
                  </a:lnTo>
                  <a:lnTo>
                    <a:pt x="1354443" y="2731"/>
                  </a:lnTo>
                  <a:lnTo>
                    <a:pt x="1354887" y="2731"/>
                  </a:lnTo>
                  <a:lnTo>
                    <a:pt x="1354887" y="3315"/>
                  </a:lnTo>
                  <a:lnTo>
                    <a:pt x="1355281" y="3315"/>
                  </a:lnTo>
                  <a:lnTo>
                    <a:pt x="1355281" y="4014"/>
                  </a:lnTo>
                  <a:lnTo>
                    <a:pt x="1355687" y="4014"/>
                  </a:lnTo>
                  <a:lnTo>
                    <a:pt x="1355687" y="4763"/>
                  </a:lnTo>
                  <a:lnTo>
                    <a:pt x="1356030" y="4763"/>
                  </a:lnTo>
                  <a:lnTo>
                    <a:pt x="1356030" y="5449"/>
                  </a:lnTo>
                  <a:lnTo>
                    <a:pt x="1356424" y="5449"/>
                  </a:lnTo>
                  <a:lnTo>
                    <a:pt x="1356475" y="6046"/>
                  </a:lnTo>
                  <a:lnTo>
                    <a:pt x="1356818" y="6046"/>
                  </a:lnTo>
                  <a:lnTo>
                    <a:pt x="1356818" y="6795"/>
                  </a:lnTo>
                  <a:lnTo>
                    <a:pt x="1356970" y="6795"/>
                  </a:lnTo>
                  <a:lnTo>
                    <a:pt x="1357122" y="7493"/>
                  </a:lnTo>
                  <a:lnTo>
                    <a:pt x="1357415" y="7493"/>
                  </a:lnTo>
                  <a:lnTo>
                    <a:pt x="1357415" y="8179"/>
                  </a:lnTo>
                  <a:lnTo>
                    <a:pt x="1357770" y="8179"/>
                  </a:lnTo>
                  <a:lnTo>
                    <a:pt x="1357821" y="8878"/>
                  </a:lnTo>
                  <a:lnTo>
                    <a:pt x="1358062" y="8878"/>
                  </a:lnTo>
                  <a:lnTo>
                    <a:pt x="1358164" y="9525"/>
                  </a:lnTo>
                  <a:lnTo>
                    <a:pt x="1358405" y="9525"/>
                  </a:lnTo>
                  <a:lnTo>
                    <a:pt x="1358405" y="10211"/>
                  </a:lnTo>
                  <a:lnTo>
                    <a:pt x="1358710" y="10211"/>
                  </a:lnTo>
                  <a:lnTo>
                    <a:pt x="1358710" y="10910"/>
                  </a:lnTo>
                  <a:lnTo>
                    <a:pt x="1359002" y="10910"/>
                  </a:lnTo>
                  <a:lnTo>
                    <a:pt x="1359002" y="11608"/>
                  </a:lnTo>
                  <a:lnTo>
                    <a:pt x="1359307" y="11608"/>
                  </a:lnTo>
                  <a:lnTo>
                    <a:pt x="1359358" y="12256"/>
                  </a:lnTo>
                  <a:lnTo>
                    <a:pt x="1359548" y="12256"/>
                  </a:lnTo>
                  <a:lnTo>
                    <a:pt x="1359599" y="12942"/>
                  </a:lnTo>
                  <a:lnTo>
                    <a:pt x="1359853" y="12942"/>
                  </a:lnTo>
                  <a:lnTo>
                    <a:pt x="1359904" y="13640"/>
                  </a:lnTo>
                  <a:lnTo>
                    <a:pt x="1360145" y="13640"/>
                  </a:lnTo>
                  <a:lnTo>
                    <a:pt x="1360145" y="14339"/>
                  </a:lnTo>
                  <a:lnTo>
                    <a:pt x="1360450" y="14339"/>
                  </a:lnTo>
                  <a:lnTo>
                    <a:pt x="1360488" y="14974"/>
                  </a:lnTo>
                  <a:lnTo>
                    <a:pt x="1360742" y="14974"/>
                  </a:lnTo>
                  <a:lnTo>
                    <a:pt x="1360742" y="15672"/>
                  </a:lnTo>
                  <a:lnTo>
                    <a:pt x="1360996" y="15672"/>
                  </a:lnTo>
                  <a:lnTo>
                    <a:pt x="1360996" y="16371"/>
                  </a:lnTo>
                  <a:lnTo>
                    <a:pt x="1361237" y="16371"/>
                  </a:lnTo>
                  <a:lnTo>
                    <a:pt x="1361237" y="17057"/>
                  </a:lnTo>
                  <a:lnTo>
                    <a:pt x="1361491" y="17057"/>
                  </a:lnTo>
                  <a:lnTo>
                    <a:pt x="1361631" y="17704"/>
                  </a:lnTo>
                  <a:lnTo>
                    <a:pt x="1361834" y="17704"/>
                  </a:lnTo>
                  <a:lnTo>
                    <a:pt x="1361834" y="18403"/>
                  </a:lnTo>
                  <a:lnTo>
                    <a:pt x="1362075" y="18403"/>
                  </a:lnTo>
                  <a:lnTo>
                    <a:pt x="1362075" y="19101"/>
                  </a:lnTo>
                  <a:lnTo>
                    <a:pt x="1362330" y="19101"/>
                  </a:lnTo>
                  <a:lnTo>
                    <a:pt x="1362380" y="19787"/>
                  </a:lnTo>
                  <a:lnTo>
                    <a:pt x="1362622" y="19787"/>
                  </a:lnTo>
                  <a:lnTo>
                    <a:pt x="1362622" y="20435"/>
                  </a:lnTo>
                  <a:lnTo>
                    <a:pt x="1362926" y="20435"/>
                  </a:lnTo>
                  <a:lnTo>
                    <a:pt x="1362926" y="21133"/>
                  </a:lnTo>
                  <a:lnTo>
                    <a:pt x="1363168" y="21133"/>
                  </a:lnTo>
                  <a:lnTo>
                    <a:pt x="1363168" y="21819"/>
                  </a:lnTo>
                  <a:lnTo>
                    <a:pt x="1363422" y="21819"/>
                  </a:lnTo>
                  <a:lnTo>
                    <a:pt x="1363422" y="22518"/>
                  </a:lnTo>
                  <a:lnTo>
                    <a:pt x="1363663" y="22518"/>
                  </a:lnTo>
                  <a:lnTo>
                    <a:pt x="1363663" y="23165"/>
                  </a:lnTo>
                  <a:lnTo>
                    <a:pt x="1363917" y="23165"/>
                  </a:lnTo>
                  <a:lnTo>
                    <a:pt x="1363917" y="23864"/>
                  </a:lnTo>
                  <a:lnTo>
                    <a:pt x="1364209" y="23864"/>
                  </a:lnTo>
                  <a:lnTo>
                    <a:pt x="1364209" y="24549"/>
                  </a:lnTo>
                  <a:lnTo>
                    <a:pt x="1364514" y="24549"/>
                  </a:lnTo>
                  <a:lnTo>
                    <a:pt x="1364514" y="25248"/>
                  </a:lnTo>
                  <a:lnTo>
                    <a:pt x="1364755" y="25248"/>
                  </a:lnTo>
                  <a:lnTo>
                    <a:pt x="1364755" y="25947"/>
                  </a:lnTo>
                  <a:lnTo>
                    <a:pt x="1365009" y="25947"/>
                  </a:lnTo>
                  <a:lnTo>
                    <a:pt x="1365060" y="26582"/>
                  </a:lnTo>
                  <a:lnTo>
                    <a:pt x="1365250" y="26582"/>
                  </a:lnTo>
                  <a:lnTo>
                    <a:pt x="1365301" y="27280"/>
                  </a:lnTo>
                  <a:lnTo>
                    <a:pt x="1365555" y="27280"/>
                  </a:lnTo>
                  <a:lnTo>
                    <a:pt x="1365555" y="27978"/>
                  </a:lnTo>
                  <a:lnTo>
                    <a:pt x="1365759" y="27978"/>
                  </a:lnTo>
                  <a:lnTo>
                    <a:pt x="1365797" y="28677"/>
                  </a:lnTo>
                  <a:lnTo>
                    <a:pt x="1366101" y="28677"/>
                  </a:lnTo>
                  <a:lnTo>
                    <a:pt x="1366152" y="29312"/>
                  </a:lnTo>
                  <a:lnTo>
                    <a:pt x="1366343" y="29312"/>
                  </a:lnTo>
                  <a:lnTo>
                    <a:pt x="1366394" y="30010"/>
                  </a:lnTo>
                  <a:lnTo>
                    <a:pt x="1366647" y="30010"/>
                  </a:lnTo>
                  <a:lnTo>
                    <a:pt x="1366647" y="30709"/>
                  </a:lnTo>
                  <a:lnTo>
                    <a:pt x="1366940" y="30709"/>
                  </a:lnTo>
                  <a:lnTo>
                    <a:pt x="1366940" y="31395"/>
                  </a:lnTo>
                  <a:lnTo>
                    <a:pt x="1367244" y="31395"/>
                  </a:lnTo>
                  <a:lnTo>
                    <a:pt x="1367295" y="32043"/>
                  </a:lnTo>
                  <a:lnTo>
                    <a:pt x="1367486" y="32043"/>
                  </a:lnTo>
                  <a:lnTo>
                    <a:pt x="1367537" y="32741"/>
                  </a:lnTo>
                  <a:lnTo>
                    <a:pt x="1367790" y="32741"/>
                  </a:lnTo>
                  <a:lnTo>
                    <a:pt x="1367790" y="33439"/>
                  </a:lnTo>
                  <a:lnTo>
                    <a:pt x="1368083" y="33439"/>
                  </a:lnTo>
                  <a:lnTo>
                    <a:pt x="1368083" y="34125"/>
                  </a:lnTo>
                  <a:lnTo>
                    <a:pt x="1368425" y="34125"/>
                  </a:lnTo>
                  <a:lnTo>
                    <a:pt x="1368476" y="34773"/>
                  </a:lnTo>
                  <a:lnTo>
                    <a:pt x="1368680" y="34773"/>
                  </a:lnTo>
                  <a:lnTo>
                    <a:pt x="1368730" y="35472"/>
                  </a:lnTo>
                  <a:lnTo>
                    <a:pt x="1368972" y="35472"/>
                  </a:lnTo>
                  <a:lnTo>
                    <a:pt x="1368972" y="36157"/>
                  </a:lnTo>
                  <a:lnTo>
                    <a:pt x="1369327" y="36157"/>
                  </a:lnTo>
                  <a:lnTo>
                    <a:pt x="1369378" y="36856"/>
                  </a:lnTo>
                  <a:lnTo>
                    <a:pt x="1369619" y="36856"/>
                  </a:lnTo>
                  <a:lnTo>
                    <a:pt x="1369619" y="37503"/>
                  </a:lnTo>
                  <a:lnTo>
                    <a:pt x="1369873" y="37503"/>
                  </a:lnTo>
                  <a:lnTo>
                    <a:pt x="1369975" y="38202"/>
                  </a:lnTo>
                  <a:lnTo>
                    <a:pt x="1370216" y="38202"/>
                  </a:lnTo>
                  <a:lnTo>
                    <a:pt x="1370216" y="38888"/>
                  </a:lnTo>
                  <a:lnTo>
                    <a:pt x="1370521" y="38888"/>
                  </a:lnTo>
                  <a:lnTo>
                    <a:pt x="1370521" y="39586"/>
                  </a:lnTo>
                  <a:lnTo>
                    <a:pt x="1370762" y="39586"/>
                  </a:lnTo>
                  <a:lnTo>
                    <a:pt x="1370762" y="40234"/>
                  </a:lnTo>
                  <a:lnTo>
                    <a:pt x="1371105" y="40234"/>
                  </a:lnTo>
                  <a:lnTo>
                    <a:pt x="1371105" y="40920"/>
                  </a:lnTo>
                  <a:lnTo>
                    <a:pt x="1371359" y="40920"/>
                  </a:lnTo>
                  <a:lnTo>
                    <a:pt x="1371359" y="41618"/>
                  </a:lnTo>
                  <a:lnTo>
                    <a:pt x="1371651" y="41618"/>
                  </a:lnTo>
                  <a:lnTo>
                    <a:pt x="1371651" y="42317"/>
                  </a:lnTo>
                  <a:lnTo>
                    <a:pt x="1371905" y="42317"/>
                  </a:lnTo>
                  <a:lnTo>
                    <a:pt x="1372007" y="43003"/>
                  </a:lnTo>
                  <a:lnTo>
                    <a:pt x="1372147" y="43003"/>
                  </a:lnTo>
                  <a:lnTo>
                    <a:pt x="1372248" y="43650"/>
                  </a:lnTo>
                  <a:lnTo>
                    <a:pt x="1372502" y="43650"/>
                  </a:lnTo>
                  <a:lnTo>
                    <a:pt x="1372553" y="44349"/>
                  </a:lnTo>
                  <a:lnTo>
                    <a:pt x="1372794" y="44349"/>
                  </a:lnTo>
                  <a:lnTo>
                    <a:pt x="1372794" y="45047"/>
                  </a:lnTo>
                  <a:lnTo>
                    <a:pt x="1373150" y="45047"/>
                  </a:lnTo>
                  <a:lnTo>
                    <a:pt x="1373150" y="45733"/>
                  </a:lnTo>
                  <a:lnTo>
                    <a:pt x="1373391" y="45733"/>
                  </a:lnTo>
                  <a:lnTo>
                    <a:pt x="1373442" y="46381"/>
                  </a:lnTo>
                  <a:lnTo>
                    <a:pt x="1373645" y="46381"/>
                  </a:lnTo>
                  <a:lnTo>
                    <a:pt x="1373734" y="47079"/>
                  </a:lnTo>
                  <a:lnTo>
                    <a:pt x="1374090" y="47079"/>
                  </a:lnTo>
                  <a:lnTo>
                    <a:pt x="1374090" y="47765"/>
                  </a:lnTo>
                  <a:lnTo>
                    <a:pt x="1374382" y="47765"/>
                  </a:lnTo>
                  <a:lnTo>
                    <a:pt x="1374382" y="48464"/>
                  </a:lnTo>
                  <a:lnTo>
                    <a:pt x="1374737" y="48464"/>
                  </a:lnTo>
                  <a:lnTo>
                    <a:pt x="1374737" y="49111"/>
                  </a:lnTo>
                  <a:lnTo>
                    <a:pt x="1375030" y="49111"/>
                  </a:lnTo>
                  <a:lnTo>
                    <a:pt x="1375030" y="49810"/>
                  </a:lnTo>
                  <a:lnTo>
                    <a:pt x="1375284" y="49810"/>
                  </a:lnTo>
                  <a:lnTo>
                    <a:pt x="1375423" y="50496"/>
                  </a:lnTo>
                  <a:lnTo>
                    <a:pt x="1375677" y="50496"/>
                  </a:lnTo>
                  <a:lnTo>
                    <a:pt x="1375728" y="51245"/>
                  </a:lnTo>
                  <a:lnTo>
                    <a:pt x="1376020" y="51245"/>
                  </a:lnTo>
                  <a:lnTo>
                    <a:pt x="1376020" y="51842"/>
                  </a:lnTo>
                  <a:lnTo>
                    <a:pt x="1376363" y="51842"/>
                  </a:lnTo>
                  <a:lnTo>
                    <a:pt x="1376363" y="52528"/>
                  </a:lnTo>
                  <a:lnTo>
                    <a:pt x="1376769" y="52528"/>
                  </a:lnTo>
                  <a:lnTo>
                    <a:pt x="1376769" y="53226"/>
                  </a:lnTo>
                  <a:lnTo>
                    <a:pt x="1377062" y="53226"/>
                  </a:lnTo>
                  <a:lnTo>
                    <a:pt x="1377112" y="53975"/>
                  </a:lnTo>
                  <a:lnTo>
                    <a:pt x="1377366" y="53975"/>
                  </a:lnTo>
                  <a:lnTo>
                    <a:pt x="1377455" y="54572"/>
                  </a:lnTo>
                  <a:lnTo>
                    <a:pt x="1377760" y="54572"/>
                  </a:lnTo>
                  <a:lnTo>
                    <a:pt x="1377912" y="55258"/>
                  </a:lnTo>
                  <a:lnTo>
                    <a:pt x="1378154" y="55258"/>
                  </a:lnTo>
                  <a:lnTo>
                    <a:pt x="1378154" y="56007"/>
                  </a:lnTo>
                  <a:lnTo>
                    <a:pt x="1378497" y="56007"/>
                  </a:lnTo>
                  <a:lnTo>
                    <a:pt x="1378497" y="56706"/>
                  </a:lnTo>
                  <a:lnTo>
                    <a:pt x="1378852" y="56706"/>
                  </a:lnTo>
                  <a:lnTo>
                    <a:pt x="1378852" y="57290"/>
                  </a:lnTo>
                  <a:lnTo>
                    <a:pt x="1379195" y="57290"/>
                  </a:lnTo>
                  <a:lnTo>
                    <a:pt x="1379195" y="57989"/>
                  </a:lnTo>
                  <a:lnTo>
                    <a:pt x="1379589" y="57989"/>
                  </a:lnTo>
                  <a:lnTo>
                    <a:pt x="1379640" y="58738"/>
                  </a:lnTo>
                  <a:lnTo>
                    <a:pt x="1380046" y="58738"/>
                  </a:lnTo>
                  <a:lnTo>
                    <a:pt x="1380084" y="59424"/>
                  </a:lnTo>
                  <a:lnTo>
                    <a:pt x="1380440" y="59424"/>
                  </a:lnTo>
                  <a:lnTo>
                    <a:pt x="1380490" y="60122"/>
                  </a:lnTo>
                  <a:lnTo>
                    <a:pt x="1380884" y="60122"/>
                  </a:lnTo>
                  <a:lnTo>
                    <a:pt x="1380884" y="60770"/>
                  </a:lnTo>
                  <a:lnTo>
                    <a:pt x="1381227" y="60770"/>
                  </a:lnTo>
                  <a:lnTo>
                    <a:pt x="1381227" y="61468"/>
                  </a:lnTo>
                  <a:lnTo>
                    <a:pt x="1381634" y="61468"/>
                  </a:lnTo>
                  <a:lnTo>
                    <a:pt x="1381634" y="62154"/>
                  </a:lnTo>
                  <a:lnTo>
                    <a:pt x="1382027" y="62154"/>
                  </a:lnTo>
                  <a:lnTo>
                    <a:pt x="1382027" y="62853"/>
                  </a:lnTo>
                  <a:lnTo>
                    <a:pt x="1382319" y="62853"/>
                  </a:lnTo>
                  <a:lnTo>
                    <a:pt x="1382370" y="63500"/>
                  </a:lnTo>
                  <a:lnTo>
                    <a:pt x="1382713" y="63500"/>
                  </a:lnTo>
                  <a:lnTo>
                    <a:pt x="1382713" y="64186"/>
                  </a:lnTo>
                  <a:lnTo>
                    <a:pt x="1383119" y="64186"/>
                  </a:lnTo>
                  <a:lnTo>
                    <a:pt x="1383170" y="64885"/>
                  </a:lnTo>
                  <a:lnTo>
                    <a:pt x="1383564" y="64885"/>
                  </a:lnTo>
                  <a:lnTo>
                    <a:pt x="1383564" y="65583"/>
                  </a:lnTo>
                  <a:lnTo>
                    <a:pt x="1383958" y="65583"/>
                  </a:lnTo>
                  <a:lnTo>
                    <a:pt x="1383958" y="66231"/>
                  </a:lnTo>
                  <a:lnTo>
                    <a:pt x="1384351" y="66231"/>
                  </a:lnTo>
                  <a:lnTo>
                    <a:pt x="1384351" y="66917"/>
                  </a:lnTo>
                  <a:lnTo>
                    <a:pt x="1384809" y="66917"/>
                  </a:lnTo>
                  <a:lnTo>
                    <a:pt x="1384809" y="67615"/>
                  </a:lnTo>
                  <a:lnTo>
                    <a:pt x="1385253" y="67615"/>
                  </a:lnTo>
                  <a:lnTo>
                    <a:pt x="1385253" y="68314"/>
                  </a:lnTo>
                  <a:lnTo>
                    <a:pt x="1385697" y="68314"/>
                  </a:lnTo>
                  <a:lnTo>
                    <a:pt x="1385748" y="68949"/>
                  </a:lnTo>
                  <a:lnTo>
                    <a:pt x="1386193" y="68949"/>
                  </a:lnTo>
                  <a:lnTo>
                    <a:pt x="1386294" y="69647"/>
                  </a:lnTo>
                  <a:lnTo>
                    <a:pt x="1386637" y="69647"/>
                  </a:lnTo>
                  <a:lnTo>
                    <a:pt x="1386739" y="70346"/>
                  </a:lnTo>
                  <a:lnTo>
                    <a:pt x="1387082" y="70346"/>
                  </a:lnTo>
                  <a:lnTo>
                    <a:pt x="1387133" y="71032"/>
                  </a:lnTo>
                  <a:lnTo>
                    <a:pt x="1387577" y="71032"/>
                  </a:lnTo>
                  <a:lnTo>
                    <a:pt x="1387577" y="71679"/>
                  </a:lnTo>
                  <a:lnTo>
                    <a:pt x="1388123" y="71679"/>
                  </a:lnTo>
                  <a:lnTo>
                    <a:pt x="1388123" y="72378"/>
                  </a:lnTo>
                  <a:lnTo>
                    <a:pt x="1388619" y="72378"/>
                  </a:lnTo>
                  <a:lnTo>
                    <a:pt x="1388619" y="73076"/>
                  </a:lnTo>
                  <a:lnTo>
                    <a:pt x="1389114" y="73076"/>
                  </a:lnTo>
                  <a:lnTo>
                    <a:pt x="1389114" y="73762"/>
                  </a:lnTo>
                  <a:lnTo>
                    <a:pt x="1389711" y="73762"/>
                  </a:lnTo>
                  <a:lnTo>
                    <a:pt x="1389711" y="74410"/>
                  </a:lnTo>
                  <a:lnTo>
                    <a:pt x="1390257" y="74410"/>
                  </a:lnTo>
                  <a:lnTo>
                    <a:pt x="1390257" y="75108"/>
                  </a:lnTo>
                  <a:lnTo>
                    <a:pt x="1390854" y="75108"/>
                  </a:lnTo>
                  <a:lnTo>
                    <a:pt x="1390854" y="75794"/>
                  </a:lnTo>
                  <a:lnTo>
                    <a:pt x="1391400" y="75794"/>
                  </a:lnTo>
                  <a:lnTo>
                    <a:pt x="1391501" y="76493"/>
                  </a:lnTo>
                  <a:lnTo>
                    <a:pt x="1392098" y="76493"/>
                  </a:lnTo>
                  <a:lnTo>
                    <a:pt x="1392200" y="77191"/>
                  </a:lnTo>
                  <a:lnTo>
                    <a:pt x="1393483" y="77191"/>
                  </a:lnTo>
                  <a:lnTo>
                    <a:pt x="1393483" y="77839"/>
                  </a:lnTo>
                  <a:lnTo>
                    <a:pt x="1394130" y="77839"/>
                  </a:lnTo>
                  <a:lnTo>
                    <a:pt x="1394130" y="78524"/>
                  </a:lnTo>
                  <a:lnTo>
                    <a:pt x="1394829" y="78524"/>
                  </a:lnTo>
                  <a:lnTo>
                    <a:pt x="1394829" y="79223"/>
                  </a:lnTo>
                  <a:lnTo>
                    <a:pt x="1395413" y="79223"/>
                  </a:lnTo>
                  <a:lnTo>
                    <a:pt x="1395464" y="79922"/>
                  </a:lnTo>
                  <a:lnTo>
                    <a:pt x="1396061" y="79922"/>
                  </a:lnTo>
                  <a:lnTo>
                    <a:pt x="1396061" y="80557"/>
                  </a:lnTo>
                  <a:lnTo>
                    <a:pt x="1396658" y="80557"/>
                  </a:lnTo>
                  <a:lnTo>
                    <a:pt x="1396759" y="81255"/>
                  </a:lnTo>
                  <a:lnTo>
                    <a:pt x="1397407" y="81255"/>
                  </a:lnTo>
                  <a:lnTo>
                    <a:pt x="1397458" y="81953"/>
                  </a:lnTo>
                  <a:lnTo>
                    <a:pt x="1398245" y="81953"/>
                  </a:lnTo>
                  <a:lnTo>
                    <a:pt x="1398245" y="82652"/>
                  </a:lnTo>
                  <a:lnTo>
                    <a:pt x="1399096" y="82652"/>
                  </a:lnTo>
                  <a:lnTo>
                    <a:pt x="1399134" y="83287"/>
                  </a:lnTo>
                  <a:lnTo>
                    <a:pt x="1400175" y="83287"/>
                  </a:lnTo>
                  <a:lnTo>
                    <a:pt x="1400175" y="83985"/>
                  </a:lnTo>
                  <a:lnTo>
                    <a:pt x="1401369" y="83985"/>
                  </a:lnTo>
                  <a:lnTo>
                    <a:pt x="1401420" y="84684"/>
                  </a:lnTo>
                  <a:lnTo>
                    <a:pt x="1402614" y="84684"/>
                  </a:lnTo>
                  <a:lnTo>
                    <a:pt x="1402614" y="85370"/>
                  </a:lnTo>
                  <a:lnTo>
                    <a:pt x="1404252" y="85370"/>
                  </a:lnTo>
                  <a:lnTo>
                    <a:pt x="1404252" y="86018"/>
                  </a:lnTo>
                  <a:lnTo>
                    <a:pt x="1406932" y="86018"/>
                  </a:lnTo>
                  <a:lnTo>
                    <a:pt x="1406932" y="85370"/>
                  </a:lnTo>
                  <a:lnTo>
                    <a:pt x="1407529" y="85370"/>
                  </a:lnTo>
                  <a:lnTo>
                    <a:pt x="1407529" y="84684"/>
                  </a:lnTo>
                  <a:lnTo>
                    <a:pt x="1408075" y="84684"/>
                  </a:lnTo>
                  <a:lnTo>
                    <a:pt x="1408075" y="83985"/>
                  </a:lnTo>
                  <a:lnTo>
                    <a:pt x="1408519" y="83985"/>
                  </a:lnTo>
                  <a:lnTo>
                    <a:pt x="1408519" y="83287"/>
                  </a:lnTo>
                  <a:lnTo>
                    <a:pt x="1408862" y="83287"/>
                  </a:lnTo>
                  <a:lnTo>
                    <a:pt x="1408862" y="82652"/>
                  </a:lnTo>
                  <a:lnTo>
                    <a:pt x="1409256" y="82652"/>
                  </a:lnTo>
                  <a:lnTo>
                    <a:pt x="1409256" y="81953"/>
                  </a:lnTo>
                  <a:lnTo>
                    <a:pt x="1409561" y="81953"/>
                  </a:lnTo>
                  <a:lnTo>
                    <a:pt x="1409561" y="81255"/>
                  </a:lnTo>
                  <a:lnTo>
                    <a:pt x="1409955" y="81255"/>
                  </a:lnTo>
                  <a:lnTo>
                    <a:pt x="1409955" y="80557"/>
                  </a:lnTo>
                  <a:lnTo>
                    <a:pt x="1410247" y="80557"/>
                  </a:lnTo>
                  <a:lnTo>
                    <a:pt x="1410247" y="79922"/>
                  </a:lnTo>
                  <a:lnTo>
                    <a:pt x="1410602" y="79922"/>
                  </a:lnTo>
                  <a:lnTo>
                    <a:pt x="1410602" y="79223"/>
                  </a:lnTo>
                  <a:lnTo>
                    <a:pt x="1410894" y="79223"/>
                  </a:lnTo>
                  <a:lnTo>
                    <a:pt x="1410894" y="78524"/>
                  </a:lnTo>
                  <a:lnTo>
                    <a:pt x="1411250" y="78524"/>
                  </a:lnTo>
                  <a:lnTo>
                    <a:pt x="1411250" y="77839"/>
                  </a:lnTo>
                  <a:lnTo>
                    <a:pt x="1411593" y="77839"/>
                  </a:lnTo>
                  <a:lnTo>
                    <a:pt x="1411593" y="77191"/>
                  </a:lnTo>
                  <a:lnTo>
                    <a:pt x="1412190" y="77191"/>
                  </a:lnTo>
                  <a:lnTo>
                    <a:pt x="1412240" y="76493"/>
                  </a:lnTo>
                  <a:lnTo>
                    <a:pt x="1412482" y="76493"/>
                  </a:lnTo>
                  <a:lnTo>
                    <a:pt x="1412482" y="75794"/>
                  </a:lnTo>
                  <a:lnTo>
                    <a:pt x="1412837" y="75794"/>
                  </a:lnTo>
                  <a:lnTo>
                    <a:pt x="1412837" y="75108"/>
                  </a:lnTo>
                  <a:lnTo>
                    <a:pt x="1413130" y="75108"/>
                  </a:lnTo>
                  <a:lnTo>
                    <a:pt x="1413130" y="74410"/>
                  </a:lnTo>
                  <a:lnTo>
                    <a:pt x="1413422" y="74410"/>
                  </a:lnTo>
                  <a:lnTo>
                    <a:pt x="1413422" y="73762"/>
                  </a:lnTo>
                  <a:lnTo>
                    <a:pt x="1413726" y="73762"/>
                  </a:lnTo>
                  <a:lnTo>
                    <a:pt x="1413777" y="73076"/>
                  </a:lnTo>
                  <a:lnTo>
                    <a:pt x="1414019" y="73076"/>
                  </a:lnTo>
                  <a:lnTo>
                    <a:pt x="1414019" y="72378"/>
                  </a:lnTo>
                  <a:lnTo>
                    <a:pt x="1414272" y="72378"/>
                  </a:lnTo>
                  <a:lnTo>
                    <a:pt x="1414323" y="71679"/>
                  </a:lnTo>
                  <a:lnTo>
                    <a:pt x="1414565" y="71679"/>
                  </a:lnTo>
                  <a:lnTo>
                    <a:pt x="1414565" y="71032"/>
                  </a:lnTo>
                  <a:lnTo>
                    <a:pt x="1414869" y="71032"/>
                  </a:lnTo>
                  <a:lnTo>
                    <a:pt x="1414869" y="70346"/>
                  </a:lnTo>
                  <a:lnTo>
                    <a:pt x="1415162" y="70346"/>
                  </a:lnTo>
                  <a:lnTo>
                    <a:pt x="1415162" y="69647"/>
                  </a:lnTo>
                  <a:lnTo>
                    <a:pt x="1415415" y="69647"/>
                  </a:lnTo>
                  <a:lnTo>
                    <a:pt x="1415466" y="68949"/>
                  </a:lnTo>
                  <a:lnTo>
                    <a:pt x="1415708" y="68949"/>
                  </a:lnTo>
                  <a:lnTo>
                    <a:pt x="1415708" y="68314"/>
                  </a:lnTo>
                  <a:lnTo>
                    <a:pt x="1416012" y="68314"/>
                  </a:lnTo>
                  <a:lnTo>
                    <a:pt x="1416050" y="67615"/>
                  </a:lnTo>
                  <a:lnTo>
                    <a:pt x="1416355" y="67615"/>
                  </a:lnTo>
                  <a:lnTo>
                    <a:pt x="1416355" y="66917"/>
                  </a:lnTo>
                  <a:lnTo>
                    <a:pt x="1416698" y="66917"/>
                  </a:lnTo>
                  <a:lnTo>
                    <a:pt x="1416698" y="66231"/>
                  </a:lnTo>
                  <a:lnTo>
                    <a:pt x="1417003" y="66231"/>
                  </a:lnTo>
                  <a:lnTo>
                    <a:pt x="1417003" y="65583"/>
                  </a:lnTo>
                  <a:lnTo>
                    <a:pt x="1417397" y="65583"/>
                  </a:lnTo>
                  <a:lnTo>
                    <a:pt x="1417397" y="64885"/>
                  </a:lnTo>
                  <a:lnTo>
                    <a:pt x="1417841" y="64885"/>
                  </a:lnTo>
                  <a:lnTo>
                    <a:pt x="1417841" y="64186"/>
                  </a:lnTo>
                  <a:lnTo>
                    <a:pt x="1418184" y="64186"/>
                  </a:lnTo>
                  <a:lnTo>
                    <a:pt x="1418184" y="63500"/>
                  </a:lnTo>
                  <a:lnTo>
                    <a:pt x="1418540" y="63500"/>
                  </a:lnTo>
                  <a:lnTo>
                    <a:pt x="1418590" y="62853"/>
                  </a:lnTo>
                  <a:lnTo>
                    <a:pt x="1418984" y="62853"/>
                  </a:lnTo>
                  <a:lnTo>
                    <a:pt x="1418984" y="62154"/>
                  </a:lnTo>
                  <a:lnTo>
                    <a:pt x="1419327" y="62154"/>
                  </a:lnTo>
                  <a:lnTo>
                    <a:pt x="1419327" y="61468"/>
                  </a:lnTo>
                  <a:lnTo>
                    <a:pt x="1419683" y="61468"/>
                  </a:lnTo>
                  <a:lnTo>
                    <a:pt x="1419734" y="60770"/>
                  </a:lnTo>
                  <a:lnTo>
                    <a:pt x="1420076" y="60770"/>
                  </a:lnTo>
                  <a:lnTo>
                    <a:pt x="1420076" y="60122"/>
                  </a:lnTo>
                  <a:lnTo>
                    <a:pt x="1420419" y="60122"/>
                  </a:lnTo>
                  <a:lnTo>
                    <a:pt x="1420470" y="59424"/>
                  </a:lnTo>
                  <a:lnTo>
                    <a:pt x="1420864" y="59424"/>
                  </a:lnTo>
                  <a:lnTo>
                    <a:pt x="1420864" y="58738"/>
                  </a:lnTo>
                  <a:lnTo>
                    <a:pt x="1421270" y="58738"/>
                  </a:lnTo>
                  <a:lnTo>
                    <a:pt x="1421270" y="57989"/>
                  </a:lnTo>
                  <a:lnTo>
                    <a:pt x="1421664" y="57989"/>
                  </a:lnTo>
                  <a:lnTo>
                    <a:pt x="1421715" y="57290"/>
                  </a:lnTo>
                  <a:lnTo>
                    <a:pt x="1422058" y="57290"/>
                  </a:lnTo>
                  <a:lnTo>
                    <a:pt x="1422159" y="56706"/>
                  </a:lnTo>
                  <a:lnTo>
                    <a:pt x="1422502" y="56706"/>
                  </a:lnTo>
                  <a:lnTo>
                    <a:pt x="1422604" y="56007"/>
                  </a:lnTo>
                  <a:lnTo>
                    <a:pt x="1422947" y="56007"/>
                  </a:lnTo>
                  <a:lnTo>
                    <a:pt x="1423048" y="55258"/>
                  </a:lnTo>
                  <a:lnTo>
                    <a:pt x="1423493" y="55258"/>
                  </a:lnTo>
                  <a:lnTo>
                    <a:pt x="1423493" y="54572"/>
                  </a:lnTo>
                  <a:lnTo>
                    <a:pt x="1423950" y="54572"/>
                  </a:lnTo>
                  <a:lnTo>
                    <a:pt x="1423950" y="53975"/>
                  </a:lnTo>
                  <a:lnTo>
                    <a:pt x="1424394" y="53975"/>
                  </a:lnTo>
                  <a:lnTo>
                    <a:pt x="1424445" y="53226"/>
                  </a:lnTo>
                  <a:lnTo>
                    <a:pt x="1424890" y="53226"/>
                  </a:lnTo>
                  <a:lnTo>
                    <a:pt x="1424890" y="52528"/>
                  </a:lnTo>
                  <a:lnTo>
                    <a:pt x="1425436" y="52528"/>
                  </a:lnTo>
                  <a:lnTo>
                    <a:pt x="1425436" y="51842"/>
                  </a:lnTo>
                  <a:lnTo>
                    <a:pt x="1425982" y="51842"/>
                  </a:lnTo>
                  <a:lnTo>
                    <a:pt x="1426033" y="51245"/>
                  </a:lnTo>
                  <a:lnTo>
                    <a:pt x="1426668" y="51245"/>
                  </a:lnTo>
                  <a:lnTo>
                    <a:pt x="1426668" y="50496"/>
                  </a:lnTo>
                  <a:lnTo>
                    <a:pt x="1427366" y="50496"/>
                  </a:lnTo>
                  <a:lnTo>
                    <a:pt x="1427366" y="49810"/>
                  </a:lnTo>
                  <a:lnTo>
                    <a:pt x="1428115" y="49810"/>
                  </a:lnTo>
                  <a:lnTo>
                    <a:pt x="1428115" y="49111"/>
                  </a:lnTo>
                  <a:lnTo>
                    <a:pt x="1428801" y="49111"/>
                  </a:lnTo>
                  <a:lnTo>
                    <a:pt x="1428852" y="48464"/>
                  </a:lnTo>
                  <a:lnTo>
                    <a:pt x="1429601" y="48464"/>
                  </a:lnTo>
                  <a:lnTo>
                    <a:pt x="1429601" y="47765"/>
                  </a:lnTo>
                  <a:lnTo>
                    <a:pt x="1430300" y="47765"/>
                  </a:lnTo>
                  <a:lnTo>
                    <a:pt x="1430300" y="47079"/>
                  </a:lnTo>
                  <a:lnTo>
                    <a:pt x="1431189" y="47079"/>
                  </a:lnTo>
                  <a:lnTo>
                    <a:pt x="1431189" y="46381"/>
                  </a:lnTo>
                  <a:lnTo>
                    <a:pt x="1432230" y="46381"/>
                  </a:lnTo>
                  <a:lnTo>
                    <a:pt x="1432332" y="45733"/>
                  </a:lnTo>
                  <a:lnTo>
                    <a:pt x="1433322" y="45733"/>
                  </a:lnTo>
                  <a:lnTo>
                    <a:pt x="1433322" y="45047"/>
                  </a:lnTo>
                  <a:lnTo>
                    <a:pt x="1434516" y="45047"/>
                  </a:lnTo>
                  <a:lnTo>
                    <a:pt x="1434605" y="44349"/>
                  </a:lnTo>
                  <a:lnTo>
                    <a:pt x="1436244" y="44349"/>
                  </a:lnTo>
                  <a:lnTo>
                    <a:pt x="1436294" y="43650"/>
                  </a:lnTo>
                  <a:lnTo>
                    <a:pt x="1443990" y="43650"/>
                  </a:lnTo>
                  <a:lnTo>
                    <a:pt x="1443990" y="44349"/>
                  </a:lnTo>
                  <a:lnTo>
                    <a:pt x="1445870" y="44349"/>
                  </a:lnTo>
                  <a:lnTo>
                    <a:pt x="1445870" y="45047"/>
                  </a:lnTo>
                  <a:lnTo>
                    <a:pt x="1448309" y="45047"/>
                  </a:lnTo>
                  <a:lnTo>
                    <a:pt x="1448309" y="45733"/>
                  </a:lnTo>
                  <a:lnTo>
                    <a:pt x="1450036" y="45733"/>
                  </a:lnTo>
                  <a:lnTo>
                    <a:pt x="1450036" y="46381"/>
                  </a:lnTo>
                  <a:lnTo>
                    <a:pt x="1451877" y="46381"/>
                  </a:lnTo>
                  <a:lnTo>
                    <a:pt x="1451877" y="47079"/>
                  </a:lnTo>
                  <a:lnTo>
                    <a:pt x="1453706" y="47079"/>
                  </a:lnTo>
                  <a:lnTo>
                    <a:pt x="1453706" y="47765"/>
                  </a:lnTo>
                  <a:lnTo>
                    <a:pt x="1455547" y="47765"/>
                  </a:lnTo>
                  <a:lnTo>
                    <a:pt x="1455598" y="48464"/>
                  </a:lnTo>
                  <a:lnTo>
                    <a:pt x="1457580" y="48464"/>
                  </a:lnTo>
                  <a:lnTo>
                    <a:pt x="1457580" y="49111"/>
                  </a:lnTo>
                  <a:lnTo>
                    <a:pt x="1459612" y="49111"/>
                  </a:lnTo>
                  <a:lnTo>
                    <a:pt x="1459612" y="49810"/>
                  </a:lnTo>
                  <a:lnTo>
                    <a:pt x="1461897" y="49810"/>
                  </a:lnTo>
                  <a:lnTo>
                    <a:pt x="1461897" y="50496"/>
                  </a:lnTo>
                  <a:lnTo>
                    <a:pt x="1463777" y="50496"/>
                  </a:lnTo>
                  <a:lnTo>
                    <a:pt x="1463777" y="51245"/>
                  </a:lnTo>
                  <a:lnTo>
                    <a:pt x="1466215" y="51245"/>
                  </a:lnTo>
                  <a:lnTo>
                    <a:pt x="1466215" y="51842"/>
                  </a:lnTo>
                  <a:lnTo>
                    <a:pt x="1468400" y="51842"/>
                  </a:lnTo>
                  <a:lnTo>
                    <a:pt x="1468400" y="52528"/>
                  </a:lnTo>
                  <a:lnTo>
                    <a:pt x="1470432" y="52528"/>
                  </a:lnTo>
                  <a:lnTo>
                    <a:pt x="1470483" y="53226"/>
                  </a:lnTo>
                  <a:lnTo>
                    <a:pt x="1472807" y="53226"/>
                  </a:lnTo>
                  <a:lnTo>
                    <a:pt x="1472858" y="53975"/>
                  </a:lnTo>
                  <a:lnTo>
                    <a:pt x="1475690" y="53975"/>
                  </a:lnTo>
                  <a:lnTo>
                    <a:pt x="1475690" y="54572"/>
                  </a:lnTo>
                  <a:lnTo>
                    <a:pt x="1478662" y="54572"/>
                  </a:lnTo>
                  <a:lnTo>
                    <a:pt x="1478814" y="55258"/>
                  </a:lnTo>
                  <a:lnTo>
                    <a:pt x="1483272" y="55258"/>
                  </a:lnTo>
                  <a:lnTo>
                    <a:pt x="1483272" y="56007"/>
                  </a:lnTo>
                  <a:lnTo>
                    <a:pt x="1488580" y="56007"/>
                  </a:lnTo>
                  <a:lnTo>
                    <a:pt x="1488580" y="56706"/>
                  </a:lnTo>
                  <a:lnTo>
                    <a:pt x="1494346" y="56706"/>
                  </a:lnTo>
                  <a:lnTo>
                    <a:pt x="1494346" y="56007"/>
                  </a:lnTo>
                  <a:lnTo>
                    <a:pt x="1494486" y="56007"/>
                  </a:lnTo>
                  <a:lnTo>
                    <a:pt x="1494587" y="56706"/>
                  </a:lnTo>
                  <a:lnTo>
                    <a:pt x="1494740" y="56706"/>
                  </a:lnTo>
                  <a:lnTo>
                    <a:pt x="1494790" y="56007"/>
                  </a:lnTo>
                  <a:lnTo>
                    <a:pt x="1499058" y="56007"/>
                  </a:lnTo>
                  <a:lnTo>
                    <a:pt x="1499058" y="55258"/>
                  </a:lnTo>
                  <a:lnTo>
                    <a:pt x="1501877" y="55258"/>
                  </a:lnTo>
                  <a:lnTo>
                    <a:pt x="1501979" y="54572"/>
                  </a:lnTo>
                  <a:lnTo>
                    <a:pt x="1504557" y="54572"/>
                  </a:lnTo>
                  <a:lnTo>
                    <a:pt x="1504557" y="53975"/>
                  </a:lnTo>
                  <a:lnTo>
                    <a:pt x="1507389" y="53975"/>
                  </a:lnTo>
                  <a:lnTo>
                    <a:pt x="1507389" y="53226"/>
                  </a:lnTo>
                  <a:lnTo>
                    <a:pt x="1511555" y="53226"/>
                  </a:lnTo>
                  <a:lnTo>
                    <a:pt x="1511605" y="53975"/>
                  </a:lnTo>
                  <a:lnTo>
                    <a:pt x="1513091" y="53975"/>
                  </a:lnTo>
                  <a:lnTo>
                    <a:pt x="1513091" y="54572"/>
                  </a:lnTo>
                  <a:lnTo>
                    <a:pt x="1514234" y="54572"/>
                  </a:lnTo>
                  <a:lnTo>
                    <a:pt x="1514234" y="55258"/>
                  </a:lnTo>
                  <a:lnTo>
                    <a:pt x="1515174" y="55258"/>
                  </a:lnTo>
                  <a:lnTo>
                    <a:pt x="1515174" y="56007"/>
                  </a:lnTo>
                  <a:lnTo>
                    <a:pt x="1516165" y="56007"/>
                  </a:lnTo>
                  <a:lnTo>
                    <a:pt x="1516165" y="56706"/>
                  </a:lnTo>
                  <a:lnTo>
                    <a:pt x="1517206" y="56706"/>
                  </a:lnTo>
                  <a:lnTo>
                    <a:pt x="1517206" y="57290"/>
                  </a:lnTo>
                  <a:lnTo>
                    <a:pt x="1518197" y="57290"/>
                  </a:lnTo>
                  <a:lnTo>
                    <a:pt x="1518197" y="57989"/>
                  </a:lnTo>
                  <a:lnTo>
                    <a:pt x="1519238" y="57989"/>
                  </a:lnTo>
                  <a:lnTo>
                    <a:pt x="1519238" y="58738"/>
                  </a:lnTo>
                  <a:lnTo>
                    <a:pt x="1520190" y="58738"/>
                  </a:lnTo>
                  <a:lnTo>
                    <a:pt x="1520241" y="59424"/>
                  </a:lnTo>
                  <a:lnTo>
                    <a:pt x="1521283" y="59424"/>
                  </a:lnTo>
                  <a:lnTo>
                    <a:pt x="1521334" y="60122"/>
                  </a:lnTo>
                  <a:lnTo>
                    <a:pt x="1522464" y="60122"/>
                  </a:lnTo>
                  <a:lnTo>
                    <a:pt x="1522464" y="60770"/>
                  </a:lnTo>
                  <a:lnTo>
                    <a:pt x="1523505" y="60770"/>
                  </a:lnTo>
                  <a:lnTo>
                    <a:pt x="1523505" y="61468"/>
                  </a:lnTo>
                  <a:lnTo>
                    <a:pt x="1524458" y="61468"/>
                  </a:lnTo>
                  <a:lnTo>
                    <a:pt x="1524458" y="62154"/>
                  </a:lnTo>
                  <a:lnTo>
                    <a:pt x="1525588" y="62154"/>
                  </a:lnTo>
                  <a:lnTo>
                    <a:pt x="1525639" y="62853"/>
                  </a:lnTo>
                  <a:lnTo>
                    <a:pt x="1526731" y="62853"/>
                  </a:lnTo>
                  <a:lnTo>
                    <a:pt x="1526731" y="63500"/>
                  </a:lnTo>
                  <a:lnTo>
                    <a:pt x="1528128" y="63500"/>
                  </a:lnTo>
                  <a:lnTo>
                    <a:pt x="1528319" y="64186"/>
                  </a:lnTo>
                  <a:lnTo>
                    <a:pt x="1529665" y="64186"/>
                  </a:lnTo>
                  <a:lnTo>
                    <a:pt x="1529665" y="64885"/>
                  </a:lnTo>
                  <a:lnTo>
                    <a:pt x="1531201" y="64885"/>
                  </a:lnTo>
                  <a:lnTo>
                    <a:pt x="1531252" y="65583"/>
                  </a:lnTo>
                  <a:lnTo>
                    <a:pt x="1533081" y="65583"/>
                  </a:lnTo>
                  <a:lnTo>
                    <a:pt x="1533081" y="66231"/>
                  </a:lnTo>
                  <a:lnTo>
                    <a:pt x="1535113" y="66231"/>
                  </a:lnTo>
                  <a:lnTo>
                    <a:pt x="1535113" y="66917"/>
                  </a:lnTo>
                  <a:lnTo>
                    <a:pt x="1536802" y="66917"/>
                  </a:lnTo>
                  <a:lnTo>
                    <a:pt x="1536904" y="67615"/>
                  </a:lnTo>
                  <a:lnTo>
                    <a:pt x="1539431" y="67615"/>
                  </a:lnTo>
                  <a:lnTo>
                    <a:pt x="1539431" y="68314"/>
                  </a:lnTo>
                  <a:lnTo>
                    <a:pt x="1542162" y="68314"/>
                  </a:lnTo>
                  <a:lnTo>
                    <a:pt x="1542162" y="68949"/>
                  </a:lnTo>
                  <a:lnTo>
                    <a:pt x="1545641" y="68949"/>
                  </a:lnTo>
                  <a:lnTo>
                    <a:pt x="1545641" y="69647"/>
                  </a:lnTo>
                  <a:lnTo>
                    <a:pt x="1548461" y="69647"/>
                  </a:lnTo>
                  <a:lnTo>
                    <a:pt x="1548512" y="70346"/>
                  </a:lnTo>
                  <a:lnTo>
                    <a:pt x="1551191" y="70346"/>
                  </a:lnTo>
                  <a:lnTo>
                    <a:pt x="1551242" y="71032"/>
                  </a:lnTo>
                  <a:lnTo>
                    <a:pt x="1557884" y="71032"/>
                  </a:lnTo>
                  <a:lnTo>
                    <a:pt x="1557884" y="71679"/>
                  </a:lnTo>
                  <a:lnTo>
                    <a:pt x="1558087" y="71679"/>
                  </a:lnTo>
                  <a:lnTo>
                    <a:pt x="1558087" y="71032"/>
                  </a:lnTo>
                  <a:lnTo>
                    <a:pt x="1558087" y="71679"/>
                  </a:lnTo>
                  <a:lnTo>
                    <a:pt x="1565682" y="71679"/>
                  </a:lnTo>
                  <a:lnTo>
                    <a:pt x="1565682" y="72378"/>
                  </a:lnTo>
                  <a:lnTo>
                    <a:pt x="1577391" y="72378"/>
                  </a:lnTo>
                  <a:lnTo>
                    <a:pt x="1577480" y="73076"/>
                  </a:lnTo>
                  <a:lnTo>
                    <a:pt x="1588897" y="73076"/>
                  </a:lnTo>
                  <a:lnTo>
                    <a:pt x="1588948" y="73762"/>
                  </a:lnTo>
                  <a:lnTo>
                    <a:pt x="1647190" y="73762"/>
                  </a:lnTo>
                  <a:lnTo>
                    <a:pt x="1647190" y="74410"/>
                  </a:lnTo>
                  <a:lnTo>
                    <a:pt x="1677353" y="74410"/>
                  </a:lnTo>
                  <a:lnTo>
                    <a:pt x="1677353" y="75108"/>
                  </a:lnTo>
                  <a:lnTo>
                    <a:pt x="1679131" y="75108"/>
                  </a:lnTo>
                  <a:lnTo>
                    <a:pt x="1679131" y="74410"/>
                  </a:lnTo>
                  <a:lnTo>
                    <a:pt x="1733601" y="74410"/>
                  </a:lnTo>
                  <a:lnTo>
                    <a:pt x="1733652" y="75108"/>
                  </a:lnTo>
                  <a:lnTo>
                    <a:pt x="1783614" y="75108"/>
                  </a:lnTo>
                  <a:lnTo>
                    <a:pt x="1783614" y="74410"/>
                  </a:lnTo>
                  <a:lnTo>
                    <a:pt x="1790510" y="74410"/>
                  </a:lnTo>
                  <a:lnTo>
                    <a:pt x="1790561" y="75108"/>
                  </a:lnTo>
                  <a:lnTo>
                    <a:pt x="1795323" y="75108"/>
                  </a:lnTo>
                  <a:lnTo>
                    <a:pt x="1795323" y="74410"/>
                  </a:lnTo>
                  <a:lnTo>
                    <a:pt x="1795323" y="75108"/>
                  </a:lnTo>
                  <a:lnTo>
                    <a:pt x="1882191" y="75108"/>
                  </a:lnTo>
                  <a:lnTo>
                    <a:pt x="1882280" y="75794"/>
                  </a:lnTo>
                  <a:lnTo>
                    <a:pt x="1895031" y="75794"/>
                  </a:lnTo>
                  <a:lnTo>
                    <a:pt x="1895031" y="75108"/>
                  </a:lnTo>
                  <a:lnTo>
                    <a:pt x="1918602" y="75108"/>
                  </a:lnTo>
                  <a:lnTo>
                    <a:pt x="1918653" y="75794"/>
                  </a:lnTo>
                  <a:lnTo>
                    <a:pt x="1918844" y="75794"/>
                  </a:lnTo>
                  <a:lnTo>
                    <a:pt x="1918844" y="75108"/>
                  </a:lnTo>
                  <a:lnTo>
                    <a:pt x="1919148" y="75108"/>
                  </a:lnTo>
                  <a:lnTo>
                    <a:pt x="1919250" y="75794"/>
                  </a:lnTo>
                  <a:lnTo>
                    <a:pt x="1919288" y="75794"/>
                  </a:lnTo>
                  <a:lnTo>
                    <a:pt x="1919339" y="75108"/>
                  </a:lnTo>
                  <a:lnTo>
                    <a:pt x="1919987" y="75108"/>
                  </a:lnTo>
                  <a:lnTo>
                    <a:pt x="1919987" y="75794"/>
                  </a:lnTo>
                  <a:lnTo>
                    <a:pt x="1943748" y="75794"/>
                  </a:lnTo>
                  <a:lnTo>
                    <a:pt x="1943748" y="75108"/>
                  </a:lnTo>
                  <a:lnTo>
                    <a:pt x="1950594" y="75108"/>
                  </a:lnTo>
                  <a:lnTo>
                    <a:pt x="1950594" y="75794"/>
                  </a:lnTo>
                  <a:lnTo>
                    <a:pt x="1986814" y="75794"/>
                  </a:lnTo>
                  <a:lnTo>
                    <a:pt x="1986814" y="75108"/>
                  </a:lnTo>
                  <a:lnTo>
                    <a:pt x="1988795" y="75108"/>
                  </a:lnTo>
                  <a:lnTo>
                    <a:pt x="1988947" y="75794"/>
                  </a:lnTo>
                  <a:lnTo>
                    <a:pt x="1991183" y="75794"/>
                  </a:lnTo>
                  <a:lnTo>
                    <a:pt x="1991183" y="76493"/>
                  </a:lnTo>
                  <a:lnTo>
                    <a:pt x="2000009" y="76493"/>
                  </a:lnTo>
                  <a:lnTo>
                    <a:pt x="2000009" y="75794"/>
                  </a:lnTo>
                  <a:lnTo>
                    <a:pt x="2087169" y="75794"/>
                  </a:lnTo>
                  <a:lnTo>
                    <a:pt x="2087169" y="76493"/>
                  </a:lnTo>
                  <a:lnTo>
                    <a:pt x="2087220" y="76493"/>
                  </a:lnTo>
                  <a:lnTo>
                    <a:pt x="2087322" y="75794"/>
                  </a:lnTo>
                  <a:lnTo>
                    <a:pt x="2087372" y="75794"/>
                  </a:lnTo>
                  <a:lnTo>
                    <a:pt x="2087372" y="76493"/>
                  </a:lnTo>
                  <a:lnTo>
                    <a:pt x="2093773" y="76493"/>
                  </a:lnTo>
                  <a:lnTo>
                    <a:pt x="2093773" y="75794"/>
                  </a:lnTo>
                  <a:lnTo>
                    <a:pt x="2096009" y="75794"/>
                  </a:lnTo>
                  <a:lnTo>
                    <a:pt x="2096009" y="76493"/>
                  </a:lnTo>
                  <a:lnTo>
                    <a:pt x="2096199" y="76493"/>
                  </a:lnTo>
                  <a:lnTo>
                    <a:pt x="2096199" y="75794"/>
                  </a:lnTo>
                  <a:lnTo>
                    <a:pt x="2096199" y="76493"/>
                  </a:lnTo>
                  <a:lnTo>
                    <a:pt x="2096250" y="76493"/>
                  </a:lnTo>
                  <a:lnTo>
                    <a:pt x="2096250" y="75794"/>
                  </a:lnTo>
                  <a:lnTo>
                    <a:pt x="2096250" y="76493"/>
                  </a:lnTo>
                  <a:lnTo>
                    <a:pt x="2096745" y="76493"/>
                  </a:lnTo>
                  <a:lnTo>
                    <a:pt x="2096745" y="75794"/>
                  </a:lnTo>
                  <a:lnTo>
                    <a:pt x="2096948" y="75794"/>
                  </a:lnTo>
                  <a:lnTo>
                    <a:pt x="2097050" y="76493"/>
                  </a:lnTo>
                  <a:lnTo>
                    <a:pt x="2097088" y="76493"/>
                  </a:lnTo>
                  <a:lnTo>
                    <a:pt x="2097139" y="75794"/>
                  </a:lnTo>
                  <a:lnTo>
                    <a:pt x="2107312" y="75794"/>
                  </a:lnTo>
                  <a:lnTo>
                    <a:pt x="2107362" y="76493"/>
                  </a:lnTo>
                  <a:lnTo>
                    <a:pt x="2108505" y="76493"/>
                  </a:lnTo>
                  <a:lnTo>
                    <a:pt x="2108505" y="75794"/>
                  </a:lnTo>
                  <a:lnTo>
                    <a:pt x="2131619" y="75794"/>
                  </a:lnTo>
                  <a:lnTo>
                    <a:pt x="2131619" y="76493"/>
                  </a:lnTo>
                  <a:lnTo>
                    <a:pt x="2137080" y="76493"/>
                  </a:lnTo>
                  <a:lnTo>
                    <a:pt x="2137080" y="75794"/>
                  </a:lnTo>
                  <a:lnTo>
                    <a:pt x="2165008" y="75794"/>
                  </a:lnTo>
                  <a:lnTo>
                    <a:pt x="2165109" y="76493"/>
                  </a:lnTo>
                  <a:lnTo>
                    <a:pt x="2230743" y="76493"/>
                  </a:lnTo>
                  <a:lnTo>
                    <a:pt x="2230844" y="75794"/>
                  </a:lnTo>
                  <a:lnTo>
                    <a:pt x="2231390" y="75794"/>
                  </a:lnTo>
                  <a:lnTo>
                    <a:pt x="2231441" y="76493"/>
                  </a:lnTo>
                  <a:lnTo>
                    <a:pt x="2254212" y="76493"/>
                  </a:lnTo>
                  <a:lnTo>
                    <a:pt x="2254212" y="77191"/>
                  </a:lnTo>
                  <a:lnTo>
                    <a:pt x="2271078" y="77191"/>
                  </a:lnTo>
                  <a:lnTo>
                    <a:pt x="2271078" y="76493"/>
                  </a:lnTo>
                  <a:lnTo>
                    <a:pt x="2298015" y="76493"/>
                  </a:lnTo>
                  <a:lnTo>
                    <a:pt x="2298065" y="77191"/>
                  </a:lnTo>
                  <a:lnTo>
                    <a:pt x="2298205" y="77191"/>
                  </a:lnTo>
                  <a:lnTo>
                    <a:pt x="2298256" y="76493"/>
                  </a:lnTo>
                  <a:lnTo>
                    <a:pt x="2311909" y="76493"/>
                  </a:lnTo>
                  <a:lnTo>
                    <a:pt x="2311909" y="77191"/>
                  </a:lnTo>
                  <a:lnTo>
                    <a:pt x="2312048" y="77191"/>
                  </a:lnTo>
                  <a:lnTo>
                    <a:pt x="2312099" y="76493"/>
                  </a:lnTo>
                  <a:lnTo>
                    <a:pt x="2312353" y="76493"/>
                  </a:lnTo>
                  <a:lnTo>
                    <a:pt x="2312493" y="77191"/>
                  </a:lnTo>
                  <a:lnTo>
                    <a:pt x="2312544" y="77191"/>
                  </a:lnTo>
                  <a:lnTo>
                    <a:pt x="2312594" y="76493"/>
                  </a:lnTo>
                  <a:lnTo>
                    <a:pt x="2312645" y="76493"/>
                  </a:lnTo>
                  <a:lnTo>
                    <a:pt x="2312747" y="77191"/>
                  </a:lnTo>
                  <a:lnTo>
                    <a:pt x="2313090" y="77191"/>
                  </a:lnTo>
                  <a:lnTo>
                    <a:pt x="2313090" y="76493"/>
                  </a:lnTo>
                  <a:lnTo>
                    <a:pt x="2313394" y="76493"/>
                  </a:lnTo>
                  <a:lnTo>
                    <a:pt x="2313394" y="77191"/>
                  </a:lnTo>
                  <a:lnTo>
                    <a:pt x="2313534" y="77191"/>
                  </a:lnTo>
                  <a:lnTo>
                    <a:pt x="2313534" y="76493"/>
                  </a:lnTo>
                  <a:lnTo>
                    <a:pt x="2332584" y="76493"/>
                  </a:lnTo>
                  <a:lnTo>
                    <a:pt x="2332584" y="77191"/>
                  </a:lnTo>
                  <a:lnTo>
                    <a:pt x="2332889" y="77191"/>
                  </a:lnTo>
                  <a:lnTo>
                    <a:pt x="2332889" y="76493"/>
                  </a:lnTo>
                  <a:lnTo>
                    <a:pt x="2333041" y="76493"/>
                  </a:lnTo>
                  <a:lnTo>
                    <a:pt x="2333041" y="77191"/>
                  </a:lnTo>
                  <a:lnTo>
                    <a:pt x="2334375" y="77191"/>
                  </a:lnTo>
                  <a:lnTo>
                    <a:pt x="2334375" y="76493"/>
                  </a:lnTo>
                  <a:lnTo>
                    <a:pt x="2335416" y="76493"/>
                  </a:lnTo>
                  <a:lnTo>
                    <a:pt x="2335416" y="77191"/>
                  </a:lnTo>
                  <a:lnTo>
                    <a:pt x="2340230" y="77191"/>
                  </a:lnTo>
                  <a:lnTo>
                    <a:pt x="2340280" y="76493"/>
                  </a:lnTo>
                  <a:lnTo>
                    <a:pt x="2345589" y="76493"/>
                  </a:lnTo>
                  <a:lnTo>
                    <a:pt x="2345589" y="77191"/>
                  </a:lnTo>
                  <a:lnTo>
                    <a:pt x="2372373" y="77191"/>
                  </a:lnTo>
                  <a:lnTo>
                    <a:pt x="2372424" y="76493"/>
                  </a:lnTo>
                  <a:lnTo>
                    <a:pt x="2376488" y="76493"/>
                  </a:lnTo>
                  <a:lnTo>
                    <a:pt x="2376590" y="77191"/>
                  </a:lnTo>
                  <a:lnTo>
                    <a:pt x="2385175" y="77191"/>
                  </a:lnTo>
                  <a:lnTo>
                    <a:pt x="2385276" y="76493"/>
                  </a:lnTo>
                  <a:lnTo>
                    <a:pt x="2397634" y="76493"/>
                  </a:lnTo>
                  <a:lnTo>
                    <a:pt x="2397634" y="77191"/>
                  </a:lnTo>
                  <a:lnTo>
                    <a:pt x="2414842" y="77191"/>
                  </a:lnTo>
                  <a:lnTo>
                    <a:pt x="2414842" y="76493"/>
                  </a:lnTo>
                  <a:lnTo>
                    <a:pt x="2443163" y="76493"/>
                  </a:lnTo>
                  <a:lnTo>
                    <a:pt x="2443214" y="77191"/>
                  </a:lnTo>
                  <a:lnTo>
                    <a:pt x="2474176" y="77191"/>
                  </a:lnTo>
                  <a:lnTo>
                    <a:pt x="2474176" y="76493"/>
                  </a:lnTo>
                  <a:lnTo>
                    <a:pt x="2475370" y="76493"/>
                  </a:lnTo>
                  <a:lnTo>
                    <a:pt x="2475421" y="77191"/>
                  </a:lnTo>
                  <a:lnTo>
                    <a:pt x="2481123" y="77191"/>
                  </a:lnTo>
                  <a:lnTo>
                    <a:pt x="2481123" y="76493"/>
                  </a:lnTo>
                  <a:lnTo>
                    <a:pt x="2490293" y="76493"/>
                  </a:lnTo>
                  <a:lnTo>
                    <a:pt x="2490293" y="77191"/>
                  </a:lnTo>
                  <a:lnTo>
                    <a:pt x="2490394" y="77191"/>
                  </a:lnTo>
                  <a:lnTo>
                    <a:pt x="2490394" y="76493"/>
                  </a:lnTo>
                  <a:lnTo>
                    <a:pt x="2490445" y="76493"/>
                  </a:lnTo>
                  <a:lnTo>
                    <a:pt x="2490445" y="77191"/>
                  </a:lnTo>
                  <a:lnTo>
                    <a:pt x="2492922" y="77191"/>
                  </a:lnTo>
                  <a:lnTo>
                    <a:pt x="2492922" y="76493"/>
                  </a:lnTo>
                  <a:lnTo>
                    <a:pt x="2493023" y="77191"/>
                  </a:lnTo>
                  <a:lnTo>
                    <a:pt x="2493468" y="77191"/>
                  </a:lnTo>
                  <a:lnTo>
                    <a:pt x="2493468" y="76493"/>
                  </a:lnTo>
                  <a:lnTo>
                    <a:pt x="2499183" y="76493"/>
                  </a:lnTo>
                  <a:lnTo>
                    <a:pt x="2499234" y="77191"/>
                  </a:lnTo>
                  <a:lnTo>
                    <a:pt x="2509343" y="77191"/>
                  </a:lnTo>
                  <a:lnTo>
                    <a:pt x="2509394" y="76493"/>
                  </a:lnTo>
                  <a:lnTo>
                    <a:pt x="2510092" y="76493"/>
                  </a:lnTo>
                  <a:lnTo>
                    <a:pt x="2510143" y="77191"/>
                  </a:lnTo>
                  <a:lnTo>
                    <a:pt x="2510244" y="77191"/>
                  </a:lnTo>
                  <a:lnTo>
                    <a:pt x="2510244" y="76493"/>
                  </a:lnTo>
                  <a:lnTo>
                    <a:pt x="2510346" y="76493"/>
                  </a:lnTo>
                  <a:lnTo>
                    <a:pt x="2510384" y="77191"/>
                  </a:lnTo>
                  <a:lnTo>
                    <a:pt x="2530577" y="77191"/>
                  </a:lnTo>
                  <a:lnTo>
                    <a:pt x="2530577" y="76493"/>
                  </a:lnTo>
                  <a:lnTo>
                    <a:pt x="2536584" y="76493"/>
                  </a:lnTo>
                  <a:lnTo>
                    <a:pt x="2536635" y="77191"/>
                  </a:lnTo>
                  <a:lnTo>
                    <a:pt x="3099448" y="77191"/>
                  </a:lnTo>
                </a:path>
              </a:pathLst>
            </a:custGeom>
            <a:noFill/>
            <a:ln w="6350" cap="flat" cmpd="sng">
              <a:solidFill>
                <a:srgbClr val="FF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74" name="Freeform 159"/>
            <p:cNvSpPr/>
            <p:nvPr/>
          </p:nvSpPr>
          <p:spPr>
            <a:xfrm flipV="1">
              <a:off x="3679380" y="564262"/>
              <a:ext cx="226263" cy="0"/>
            </a:xfrm>
            <a:custGeom>
              <a:avLst/>
              <a:gdLst/>
              <a:ahLst/>
              <a:cxnLst/>
              <a:rect l="0" t="0" r="0" b="0"/>
              <a:pathLst>
                <a:path w="226263">
                  <a:moveTo>
                    <a:pt x="0" y="0"/>
                  </a:moveTo>
                  <a:lnTo>
                    <a:pt x="226263" y="0"/>
                  </a:lnTo>
                </a:path>
              </a:pathLst>
            </a:custGeom>
            <a:noFill/>
            <a:ln w="6350" cap="flat" cmpd="sng">
              <a:solidFill>
                <a:srgbClr val="009E73">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75" name="Freeform 160"/>
            <p:cNvSpPr/>
            <p:nvPr/>
          </p:nvSpPr>
          <p:spPr>
            <a:xfrm flipV="1">
              <a:off x="529628" y="672656"/>
              <a:ext cx="2806801" cy="642239"/>
            </a:xfrm>
            <a:custGeom>
              <a:avLst/>
              <a:gdLst/>
              <a:ahLst/>
              <a:cxnLst/>
              <a:rect l="0" t="0" r="0" b="0"/>
              <a:pathLst>
                <a:path w="2806801" h="642239">
                  <a:moveTo>
                    <a:pt x="0" y="0"/>
                  </a:moveTo>
                  <a:lnTo>
                    <a:pt x="594817" y="0"/>
                  </a:lnTo>
                  <a:lnTo>
                    <a:pt x="594817" y="394"/>
                  </a:lnTo>
                  <a:lnTo>
                    <a:pt x="595312" y="394"/>
                  </a:lnTo>
                  <a:lnTo>
                    <a:pt x="595312" y="838"/>
                  </a:lnTo>
                  <a:lnTo>
                    <a:pt x="595858" y="838"/>
                  </a:lnTo>
                  <a:lnTo>
                    <a:pt x="595858" y="1283"/>
                  </a:lnTo>
                  <a:lnTo>
                    <a:pt x="596201" y="1283"/>
                  </a:lnTo>
                  <a:lnTo>
                    <a:pt x="596201" y="1638"/>
                  </a:lnTo>
                  <a:lnTo>
                    <a:pt x="596608" y="1638"/>
                  </a:lnTo>
                  <a:lnTo>
                    <a:pt x="596608" y="2083"/>
                  </a:lnTo>
                  <a:lnTo>
                    <a:pt x="596900" y="2083"/>
                  </a:lnTo>
                  <a:lnTo>
                    <a:pt x="596900" y="2527"/>
                  </a:lnTo>
                  <a:lnTo>
                    <a:pt x="597243" y="2527"/>
                  </a:lnTo>
                  <a:lnTo>
                    <a:pt x="597243" y="2972"/>
                  </a:lnTo>
                  <a:lnTo>
                    <a:pt x="597547" y="2972"/>
                  </a:lnTo>
                  <a:lnTo>
                    <a:pt x="597547" y="3366"/>
                  </a:lnTo>
                  <a:lnTo>
                    <a:pt x="597890" y="3366"/>
                  </a:lnTo>
                  <a:lnTo>
                    <a:pt x="597890" y="3823"/>
                  </a:lnTo>
                  <a:lnTo>
                    <a:pt x="598144" y="3823"/>
                  </a:lnTo>
                  <a:lnTo>
                    <a:pt x="598195" y="4267"/>
                  </a:lnTo>
                  <a:lnTo>
                    <a:pt x="598436" y="4267"/>
                  </a:lnTo>
                  <a:lnTo>
                    <a:pt x="598487" y="4610"/>
                  </a:lnTo>
                  <a:lnTo>
                    <a:pt x="598792" y="4610"/>
                  </a:lnTo>
                  <a:lnTo>
                    <a:pt x="598830" y="5055"/>
                  </a:lnTo>
                  <a:lnTo>
                    <a:pt x="599084" y="5055"/>
                  </a:lnTo>
                  <a:lnTo>
                    <a:pt x="599084" y="5499"/>
                  </a:lnTo>
                  <a:lnTo>
                    <a:pt x="599376" y="5499"/>
                  </a:lnTo>
                  <a:lnTo>
                    <a:pt x="599376" y="5956"/>
                  </a:lnTo>
                  <a:lnTo>
                    <a:pt x="599681" y="5956"/>
                  </a:lnTo>
                  <a:lnTo>
                    <a:pt x="599681" y="6350"/>
                  </a:lnTo>
                  <a:lnTo>
                    <a:pt x="599973" y="6350"/>
                  </a:lnTo>
                  <a:lnTo>
                    <a:pt x="599973" y="6794"/>
                  </a:lnTo>
                  <a:lnTo>
                    <a:pt x="600227" y="6794"/>
                  </a:lnTo>
                  <a:lnTo>
                    <a:pt x="600227" y="7239"/>
                  </a:lnTo>
                  <a:lnTo>
                    <a:pt x="600519" y="7239"/>
                  </a:lnTo>
                  <a:lnTo>
                    <a:pt x="600519" y="7683"/>
                  </a:lnTo>
                  <a:lnTo>
                    <a:pt x="600875" y="7683"/>
                  </a:lnTo>
                  <a:lnTo>
                    <a:pt x="600875" y="8090"/>
                  </a:lnTo>
                  <a:lnTo>
                    <a:pt x="601116" y="8090"/>
                  </a:lnTo>
                  <a:lnTo>
                    <a:pt x="601116" y="8534"/>
                  </a:lnTo>
                  <a:lnTo>
                    <a:pt x="601370" y="8534"/>
                  </a:lnTo>
                  <a:lnTo>
                    <a:pt x="601421" y="8979"/>
                  </a:lnTo>
                  <a:lnTo>
                    <a:pt x="601662" y="8979"/>
                  </a:lnTo>
                  <a:lnTo>
                    <a:pt x="601662" y="9322"/>
                  </a:lnTo>
                  <a:lnTo>
                    <a:pt x="602005" y="9322"/>
                  </a:lnTo>
                  <a:lnTo>
                    <a:pt x="602005" y="9766"/>
                  </a:lnTo>
                  <a:lnTo>
                    <a:pt x="602259" y="9766"/>
                  </a:lnTo>
                  <a:lnTo>
                    <a:pt x="602259" y="10223"/>
                  </a:lnTo>
                  <a:lnTo>
                    <a:pt x="602513" y="10223"/>
                  </a:lnTo>
                  <a:lnTo>
                    <a:pt x="602551" y="10668"/>
                  </a:lnTo>
                  <a:lnTo>
                    <a:pt x="602856" y="10668"/>
                  </a:lnTo>
                  <a:lnTo>
                    <a:pt x="602856" y="11062"/>
                  </a:lnTo>
                  <a:lnTo>
                    <a:pt x="603097" y="11062"/>
                  </a:lnTo>
                  <a:lnTo>
                    <a:pt x="603097" y="11506"/>
                  </a:lnTo>
                  <a:lnTo>
                    <a:pt x="603351" y="11506"/>
                  </a:lnTo>
                  <a:lnTo>
                    <a:pt x="603351" y="11951"/>
                  </a:lnTo>
                  <a:lnTo>
                    <a:pt x="603643" y="11951"/>
                  </a:lnTo>
                  <a:lnTo>
                    <a:pt x="603643" y="12395"/>
                  </a:lnTo>
                  <a:lnTo>
                    <a:pt x="603847" y="12395"/>
                  </a:lnTo>
                  <a:lnTo>
                    <a:pt x="603897" y="12751"/>
                  </a:lnTo>
                  <a:lnTo>
                    <a:pt x="604139" y="12751"/>
                  </a:lnTo>
                  <a:lnTo>
                    <a:pt x="604139" y="13195"/>
                  </a:lnTo>
                  <a:lnTo>
                    <a:pt x="604443" y="13195"/>
                  </a:lnTo>
                  <a:lnTo>
                    <a:pt x="604443" y="13640"/>
                  </a:lnTo>
                  <a:lnTo>
                    <a:pt x="604685" y="13640"/>
                  </a:lnTo>
                  <a:lnTo>
                    <a:pt x="604685" y="14033"/>
                  </a:lnTo>
                  <a:lnTo>
                    <a:pt x="604939" y="14033"/>
                  </a:lnTo>
                  <a:lnTo>
                    <a:pt x="604939" y="14478"/>
                  </a:lnTo>
                  <a:lnTo>
                    <a:pt x="605180" y="14478"/>
                  </a:lnTo>
                  <a:lnTo>
                    <a:pt x="605180" y="14935"/>
                  </a:lnTo>
                  <a:lnTo>
                    <a:pt x="605586" y="14935"/>
                  </a:lnTo>
                  <a:lnTo>
                    <a:pt x="605637" y="15380"/>
                  </a:lnTo>
                  <a:lnTo>
                    <a:pt x="605929" y="15380"/>
                  </a:lnTo>
                  <a:lnTo>
                    <a:pt x="605929" y="15723"/>
                  </a:lnTo>
                  <a:lnTo>
                    <a:pt x="606272" y="15723"/>
                  </a:lnTo>
                  <a:lnTo>
                    <a:pt x="606272" y="16167"/>
                  </a:lnTo>
                  <a:lnTo>
                    <a:pt x="606628" y="16167"/>
                  </a:lnTo>
                  <a:lnTo>
                    <a:pt x="606628" y="16612"/>
                  </a:lnTo>
                  <a:lnTo>
                    <a:pt x="606971" y="16612"/>
                  </a:lnTo>
                  <a:lnTo>
                    <a:pt x="606971" y="17018"/>
                  </a:lnTo>
                  <a:lnTo>
                    <a:pt x="607275" y="17018"/>
                  </a:lnTo>
                  <a:lnTo>
                    <a:pt x="607275" y="17462"/>
                  </a:lnTo>
                  <a:lnTo>
                    <a:pt x="607720" y="17462"/>
                  </a:lnTo>
                  <a:lnTo>
                    <a:pt x="607720" y="17907"/>
                  </a:lnTo>
                  <a:lnTo>
                    <a:pt x="608012" y="17907"/>
                  </a:lnTo>
                  <a:lnTo>
                    <a:pt x="608012" y="18352"/>
                  </a:lnTo>
                  <a:lnTo>
                    <a:pt x="608406" y="18352"/>
                  </a:lnTo>
                  <a:lnTo>
                    <a:pt x="608406" y="18745"/>
                  </a:lnTo>
                  <a:lnTo>
                    <a:pt x="608812" y="18745"/>
                  </a:lnTo>
                  <a:lnTo>
                    <a:pt x="608812" y="19202"/>
                  </a:lnTo>
                  <a:lnTo>
                    <a:pt x="609104" y="19202"/>
                  </a:lnTo>
                  <a:lnTo>
                    <a:pt x="609104" y="19647"/>
                  </a:lnTo>
                  <a:lnTo>
                    <a:pt x="609549" y="19647"/>
                  </a:lnTo>
                  <a:lnTo>
                    <a:pt x="609549" y="20091"/>
                  </a:lnTo>
                  <a:lnTo>
                    <a:pt x="609943" y="20091"/>
                  </a:lnTo>
                  <a:lnTo>
                    <a:pt x="609943" y="20434"/>
                  </a:lnTo>
                  <a:lnTo>
                    <a:pt x="610247" y="20434"/>
                  </a:lnTo>
                  <a:lnTo>
                    <a:pt x="610247" y="20879"/>
                  </a:lnTo>
                  <a:lnTo>
                    <a:pt x="610641" y="20879"/>
                  </a:lnTo>
                  <a:lnTo>
                    <a:pt x="610641" y="21336"/>
                  </a:lnTo>
                  <a:lnTo>
                    <a:pt x="610946" y="21336"/>
                  </a:lnTo>
                  <a:lnTo>
                    <a:pt x="611035" y="21730"/>
                  </a:lnTo>
                  <a:lnTo>
                    <a:pt x="611390" y="21730"/>
                  </a:lnTo>
                  <a:lnTo>
                    <a:pt x="611390" y="22174"/>
                  </a:lnTo>
                  <a:lnTo>
                    <a:pt x="611784" y="22174"/>
                  </a:lnTo>
                  <a:lnTo>
                    <a:pt x="611784" y="22619"/>
                  </a:lnTo>
                  <a:lnTo>
                    <a:pt x="612076" y="22619"/>
                  </a:lnTo>
                  <a:lnTo>
                    <a:pt x="612178" y="23063"/>
                  </a:lnTo>
                  <a:lnTo>
                    <a:pt x="612533" y="23063"/>
                  </a:lnTo>
                  <a:lnTo>
                    <a:pt x="612533" y="23419"/>
                  </a:lnTo>
                  <a:lnTo>
                    <a:pt x="612927" y="23419"/>
                  </a:lnTo>
                  <a:lnTo>
                    <a:pt x="612927" y="23863"/>
                  </a:lnTo>
                  <a:lnTo>
                    <a:pt x="613321" y="23863"/>
                  </a:lnTo>
                  <a:lnTo>
                    <a:pt x="613321" y="24308"/>
                  </a:lnTo>
                  <a:lnTo>
                    <a:pt x="613664" y="24308"/>
                  </a:lnTo>
                  <a:lnTo>
                    <a:pt x="613664" y="24752"/>
                  </a:lnTo>
                  <a:lnTo>
                    <a:pt x="614019" y="24752"/>
                  </a:lnTo>
                  <a:lnTo>
                    <a:pt x="614070" y="25146"/>
                  </a:lnTo>
                  <a:lnTo>
                    <a:pt x="614464" y="25146"/>
                  </a:lnTo>
                  <a:lnTo>
                    <a:pt x="614464" y="25591"/>
                  </a:lnTo>
                  <a:lnTo>
                    <a:pt x="614807" y="25591"/>
                  </a:lnTo>
                  <a:lnTo>
                    <a:pt x="614807" y="26048"/>
                  </a:lnTo>
                  <a:lnTo>
                    <a:pt x="615213" y="26048"/>
                  </a:lnTo>
                  <a:lnTo>
                    <a:pt x="615213" y="26441"/>
                  </a:lnTo>
                  <a:lnTo>
                    <a:pt x="615658" y="26441"/>
                  </a:lnTo>
                  <a:lnTo>
                    <a:pt x="615658" y="26835"/>
                  </a:lnTo>
                  <a:lnTo>
                    <a:pt x="615950" y="26835"/>
                  </a:lnTo>
                  <a:lnTo>
                    <a:pt x="616051" y="27280"/>
                  </a:lnTo>
                  <a:lnTo>
                    <a:pt x="616394" y="27280"/>
                  </a:lnTo>
                  <a:lnTo>
                    <a:pt x="616394" y="27724"/>
                  </a:lnTo>
                  <a:lnTo>
                    <a:pt x="616839" y="27724"/>
                  </a:lnTo>
                  <a:lnTo>
                    <a:pt x="616839" y="28131"/>
                  </a:lnTo>
                  <a:lnTo>
                    <a:pt x="617245" y="28131"/>
                  </a:lnTo>
                  <a:lnTo>
                    <a:pt x="617245" y="28575"/>
                  </a:lnTo>
                  <a:lnTo>
                    <a:pt x="617740" y="28575"/>
                  </a:lnTo>
                  <a:lnTo>
                    <a:pt x="617740" y="29019"/>
                  </a:lnTo>
                  <a:lnTo>
                    <a:pt x="618134" y="29019"/>
                  </a:lnTo>
                  <a:lnTo>
                    <a:pt x="618134" y="29464"/>
                  </a:lnTo>
                  <a:lnTo>
                    <a:pt x="618579" y="29464"/>
                  </a:lnTo>
                  <a:lnTo>
                    <a:pt x="618579" y="29858"/>
                  </a:lnTo>
                  <a:lnTo>
                    <a:pt x="618972" y="29858"/>
                  </a:lnTo>
                  <a:lnTo>
                    <a:pt x="618972" y="30315"/>
                  </a:lnTo>
                  <a:lnTo>
                    <a:pt x="619429" y="30315"/>
                  </a:lnTo>
                  <a:lnTo>
                    <a:pt x="619429" y="30759"/>
                  </a:lnTo>
                  <a:lnTo>
                    <a:pt x="619874" y="30759"/>
                  </a:lnTo>
                  <a:lnTo>
                    <a:pt x="619874" y="31102"/>
                  </a:lnTo>
                  <a:lnTo>
                    <a:pt x="620318" y="31102"/>
                  </a:lnTo>
                  <a:lnTo>
                    <a:pt x="620318" y="31547"/>
                  </a:lnTo>
                  <a:lnTo>
                    <a:pt x="620712" y="31547"/>
                  </a:lnTo>
                  <a:lnTo>
                    <a:pt x="620712" y="31991"/>
                  </a:lnTo>
                  <a:lnTo>
                    <a:pt x="621157" y="31991"/>
                  </a:lnTo>
                  <a:lnTo>
                    <a:pt x="621157" y="32448"/>
                  </a:lnTo>
                  <a:lnTo>
                    <a:pt x="621601" y="32448"/>
                  </a:lnTo>
                  <a:lnTo>
                    <a:pt x="621601" y="32842"/>
                  </a:lnTo>
                  <a:lnTo>
                    <a:pt x="622058" y="32842"/>
                  </a:lnTo>
                  <a:lnTo>
                    <a:pt x="622058" y="33287"/>
                  </a:lnTo>
                  <a:lnTo>
                    <a:pt x="622503" y="33287"/>
                  </a:lnTo>
                  <a:lnTo>
                    <a:pt x="622503" y="33731"/>
                  </a:lnTo>
                  <a:lnTo>
                    <a:pt x="622947" y="33731"/>
                  </a:lnTo>
                  <a:lnTo>
                    <a:pt x="623049" y="34074"/>
                  </a:lnTo>
                  <a:lnTo>
                    <a:pt x="623493" y="34074"/>
                  </a:lnTo>
                  <a:lnTo>
                    <a:pt x="623493" y="34531"/>
                  </a:lnTo>
                  <a:lnTo>
                    <a:pt x="623887" y="34531"/>
                  </a:lnTo>
                  <a:lnTo>
                    <a:pt x="623887" y="34976"/>
                  </a:lnTo>
                  <a:lnTo>
                    <a:pt x="624484" y="34976"/>
                  </a:lnTo>
                  <a:lnTo>
                    <a:pt x="624484" y="35420"/>
                  </a:lnTo>
                  <a:lnTo>
                    <a:pt x="624929" y="35420"/>
                  </a:lnTo>
                  <a:lnTo>
                    <a:pt x="624929" y="35814"/>
                  </a:lnTo>
                  <a:lnTo>
                    <a:pt x="625373" y="35814"/>
                  </a:lnTo>
                  <a:lnTo>
                    <a:pt x="625373" y="36258"/>
                  </a:lnTo>
                  <a:lnTo>
                    <a:pt x="625868" y="36258"/>
                  </a:lnTo>
                  <a:lnTo>
                    <a:pt x="625919" y="36703"/>
                  </a:lnTo>
                  <a:lnTo>
                    <a:pt x="626364" y="36703"/>
                  </a:lnTo>
                  <a:lnTo>
                    <a:pt x="626364" y="37160"/>
                  </a:lnTo>
                  <a:lnTo>
                    <a:pt x="626960" y="37160"/>
                  </a:lnTo>
                  <a:lnTo>
                    <a:pt x="626960" y="37554"/>
                  </a:lnTo>
                  <a:lnTo>
                    <a:pt x="627456" y="37554"/>
                  </a:lnTo>
                  <a:lnTo>
                    <a:pt x="627456" y="37948"/>
                  </a:lnTo>
                  <a:lnTo>
                    <a:pt x="627913" y="37948"/>
                  </a:lnTo>
                  <a:lnTo>
                    <a:pt x="627913" y="38392"/>
                  </a:lnTo>
                  <a:lnTo>
                    <a:pt x="628497" y="38392"/>
                  </a:lnTo>
                  <a:lnTo>
                    <a:pt x="628497" y="38798"/>
                  </a:lnTo>
                  <a:lnTo>
                    <a:pt x="628954" y="38798"/>
                  </a:lnTo>
                  <a:lnTo>
                    <a:pt x="628954" y="39243"/>
                  </a:lnTo>
                  <a:lnTo>
                    <a:pt x="629500" y="39243"/>
                  </a:lnTo>
                  <a:lnTo>
                    <a:pt x="629500" y="39687"/>
                  </a:lnTo>
                  <a:lnTo>
                    <a:pt x="629894" y="39687"/>
                  </a:lnTo>
                  <a:lnTo>
                    <a:pt x="629945" y="40132"/>
                  </a:lnTo>
                  <a:lnTo>
                    <a:pt x="630542" y="40132"/>
                  </a:lnTo>
                  <a:lnTo>
                    <a:pt x="630542" y="40526"/>
                  </a:lnTo>
                  <a:lnTo>
                    <a:pt x="630986" y="40526"/>
                  </a:lnTo>
                  <a:lnTo>
                    <a:pt x="630986" y="40970"/>
                  </a:lnTo>
                  <a:lnTo>
                    <a:pt x="631482" y="40970"/>
                  </a:lnTo>
                  <a:lnTo>
                    <a:pt x="631482" y="41427"/>
                  </a:lnTo>
                  <a:lnTo>
                    <a:pt x="631977" y="41427"/>
                  </a:lnTo>
                  <a:lnTo>
                    <a:pt x="631977" y="41872"/>
                  </a:lnTo>
                  <a:lnTo>
                    <a:pt x="632574" y="41872"/>
                  </a:lnTo>
                  <a:lnTo>
                    <a:pt x="632625" y="42215"/>
                  </a:lnTo>
                  <a:lnTo>
                    <a:pt x="633069" y="42215"/>
                  </a:lnTo>
                  <a:lnTo>
                    <a:pt x="633069" y="42659"/>
                  </a:lnTo>
                  <a:lnTo>
                    <a:pt x="633615" y="42659"/>
                  </a:lnTo>
                  <a:lnTo>
                    <a:pt x="633615" y="43104"/>
                  </a:lnTo>
                  <a:lnTo>
                    <a:pt x="634161" y="43104"/>
                  </a:lnTo>
                  <a:lnTo>
                    <a:pt x="634161" y="43510"/>
                  </a:lnTo>
                  <a:lnTo>
                    <a:pt x="634758" y="43510"/>
                  </a:lnTo>
                  <a:lnTo>
                    <a:pt x="634758" y="43955"/>
                  </a:lnTo>
                  <a:lnTo>
                    <a:pt x="635203" y="43955"/>
                  </a:lnTo>
                  <a:lnTo>
                    <a:pt x="635203" y="44399"/>
                  </a:lnTo>
                  <a:lnTo>
                    <a:pt x="635800" y="44399"/>
                  </a:lnTo>
                  <a:lnTo>
                    <a:pt x="635800" y="44844"/>
                  </a:lnTo>
                  <a:lnTo>
                    <a:pt x="636435" y="44844"/>
                  </a:lnTo>
                  <a:lnTo>
                    <a:pt x="636435" y="45187"/>
                  </a:lnTo>
                  <a:lnTo>
                    <a:pt x="636981" y="45187"/>
                  </a:lnTo>
                  <a:lnTo>
                    <a:pt x="636981" y="45644"/>
                  </a:lnTo>
                  <a:lnTo>
                    <a:pt x="637679" y="45644"/>
                  </a:lnTo>
                  <a:lnTo>
                    <a:pt x="637679" y="46088"/>
                  </a:lnTo>
                  <a:lnTo>
                    <a:pt x="638276" y="46088"/>
                  </a:lnTo>
                  <a:lnTo>
                    <a:pt x="638276" y="46533"/>
                  </a:lnTo>
                  <a:lnTo>
                    <a:pt x="638822" y="46533"/>
                  </a:lnTo>
                  <a:lnTo>
                    <a:pt x="638822" y="46927"/>
                  </a:lnTo>
                  <a:lnTo>
                    <a:pt x="639610" y="46927"/>
                  </a:lnTo>
                  <a:lnTo>
                    <a:pt x="639610" y="47371"/>
                  </a:lnTo>
                  <a:lnTo>
                    <a:pt x="640105" y="47371"/>
                  </a:lnTo>
                  <a:lnTo>
                    <a:pt x="640156" y="47816"/>
                  </a:lnTo>
                  <a:lnTo>
                    <a:pt x="640854" y="47816"/>
                  </a:lnTo>
                  <a:lnTo>
                    <a:pt x="640854" y="48222"/>
                  </a:lnTo>
                  <a:lnTo>
                    <a:pt x="641654" y="48222"/>
                  </a:lnTo>
                  <a:lnTo>
                    <a:pt x="641654" y="48666"/>
                  </a:lnTo>
                  <a:lnTo>
                    <a:pt x="642442" y="48666"/>
                  </a:lnTo>
                  <a:lnTo>
                    <a:pt x="642442" y="49060"/>
                  </a:lnTo>
                  <a:lnTo>
                    <a:pt x="643331" y="49060"/>
                  </a:lnTo>
                  <a:lnTo>
                    <a:pt x="643331" y="49505"/>
                  </a:lnTo>
                  <a:lnTo>
                    <a:pt x="644182" y="49505"/>
                  </a:lnTo>
                  <a:lnTo>
                    <a:pt x="644182" y="49911"/>
                  </a:lnTo>
                  <a:lnTo>
                    <a:pt x="644868" y="49911"/>
                  </a:lnTo>
                  <a:lnTo>
                    <a:pt x="644868" y="50356"/>
                  </a:lnTo>
                  <a:lnTo>
                    <a:pt x="645617" y="50356"/>
                  </a:lnTo>
                  <a:lnTo>
                    <a:pt x="645617" y="50800"/>
                  </a:lnTo>
                  <a:lnTo>
                    <a:pt x="646709" y="50800"/>
                  </a:lnTo>
                  <a:lnTo>
                    <a:pt x="646709" y="51194"/>
                  </a:lnTo>
                  <a:lnTo>
                    <a:pt x="647649" y="51194"/>
                  </a:lnTo>
                  <a:lnTo>
                    <a:pt x="647649" y="51638"/>
                  </a:lnTo>
                  <a:lnTo>
                    <a:pt x="648297" y="51638"/>
                  </a:lnTo>
                  <a:lnTo>
                    <a:pt x="648297" y="52083"/>
                  </a:lnTo>
                  <a:lnTo>
                    <a:pt x="649135" y="52083"/>
                  </a:lnTo>
                  <a:lnTo>
                    <a:pt x="649135" y="52540"/>
                  </a:lnTo>
                  <a:lnTo>
                    <a:pt x="650036" y="52540"/>
                  </a:lnTo>
                  <a:lnTo>
                    <a:pt x="650036" y="52883"/>
                  </a:lnTo>
                  <a:lnTo>
                    <a:pt x="650824" y="52883"/>
                  </a:lnTo>
                  <a:lnTo>
                    <a:pt x="650824" y="53327"/>
                  </a:lnTo>
                  <a:lnTo>
                    <a:pt x="651865" y="53327"/>
                  </a:lnTo>
                  <a:lnTo>
                    <a:pt x="651865" y="53772"/>
                  </a:lnTo>
                  <a:lnTo>
                    <a:pt x="652856" y="53772"/>
                  </a:lnTo>
                  <a:lnTo>
                    <a:pt x="652856" y="54216"/>
                  </a:lnTo>
                  <a:lnTo>
                    <a:pt x="653504" y="54216"/>
                  </a:lnTo>
                  <a:lnTo>
                    <a:pt x="653504" y="54623"/>
                  </a:lnTo>
                  <a:lnTo>
                    <a:pt x="654354" y="54623"/>
                  </a:lnTo>
                  <a:lnTo>
                    <a:pt x="654354" y="55067"/>
                  </a:lnTo>
                  <a:lnTo>
                    <a:pt x="655637" y="55067"/>
                  </a:lnTo>
                  <a:lnTo>
                    <a:pt x="655637" y="55512"/>
                  </a:lnTo>
                  <a:lnTo>
                    <a:pt x="656285" y="55512"/>
                  </a:lnTo>
                  <a:lnTo>
                    <a:pt x="656285" y="55855"/>
                  </a:lnTo>
                  <a:lnTo>
                    <a:pt x="657174" y="55855"/>
                  </a:lnTo>
                  <a:lnTo>
                    <a:pt x="657174" y="56299"/>
                  </a:lnTo>
                  <a:lnTo>
                    <a:pt x="658025" y="56299"/>
                  </a:lnTo>
                  <a:lnTo>
                    <a:pt x="658025" y="56756"/>
                  </a:lnTo>
                  <a:lnTo>
                    <a:pt x="658964" y="56756"/>
                  </a:lnTo>
                  <a:lnTo>
                    <a:pt x="658964" y="57201"/>
                  </a:lnTo>
                  <a:lnTo>
                    <a:pt x="659015" y="57201"/>
                  </a:lnTo>
                  <a:lnTo>
                    <a:pt x="659015" y="56756"/>
                  </a:lnTo>
                  <a:lnTo>
                    <a:pt x="659117" y="56756"/>
                  </a:lnTo>
                  <a:lnTo>
                    <a:pt x="659117" y="57201"/>
                  </a:lnTo>
                  <a:lnTo>
                    <a:pt x="659904" y="57201"/>
                  </a:lnTo>
                  <a:lnTo>
                    <a:pt x="660006" y="57594"/>
                  </a:lnTo>
                  <a:lnTo>
                    <a:pt x="660844" y="57594"/>
                  </a:lnTo>
                  <a:lnTo>
                    <a:pt x="660844" y="58039"/>
                  </a:lnTo>
                  <a:lnTo>
                    <a:pt x="661047" y="58039"/>
                  </a:lnTo>
                  <a:lnTo>
                    <a:pt x="661047" y="57594"/>
                  </a:lnTo>
                  <a:lnTo>
                    <a:pt x="661149" y="57594"/>
                  </a:lnTo>
                  <a:lnTo>
                    <a:pt x="661149" y="58039"/>
                  </a:lnTo>
                  <a:lnTo>
                    <a:pt x="661644" y="58039"/>
                  </a:lnTo>
                  <a:lnTo>
                    <a:pt x="661695" y="58483"/>
                  </a:lnTo>
                  <a:lnTo>
                    <a:pt x="662139" y="58483"/>
                  </a:lnTo>
                  <a:lnTo>
                    <a:pt x="662139" y="58928"/>
                  </a:lnTo>
                  <a:lnTo>
                    <a:pt x="663029" y="58928"/>
                  </a:lnTo>
                  <a:lnTo>
                    <a:pt x="663029" y="59334"/>
                  </a:lnTo>
                  <a:lnTo>
                    <a:pt x="663422" y="59334"/>
                  </a:lnTo>
                  <a:lnTo>
                    <a:pt x="663473" y="59779"/>
                  </a:lnTo>
                  <a:lnTo>
                    <a:pt x="664375" y="59779"/>
                  </a:lnTo>
                  <a:lnTo>
                    <a:pt x="664375" y="60173"/>
                  </a:lnTo>
                  <a:lnTo>
                    <a:pt x="665264" y="60173"/>
                  </a:lnTo>
                  <a:lnTo>
                    <a:pt x="665264" y="60566"/>
                  </a:lnTo>
                  <a:lnTo>
                    <a:pt x="666153" y="60566"/>
                  </a:lnTo>
                  <a:lnTo>
                    <a:pt x="666153" y="61023"/>
                  </a:lnTo>
                  <a:lnTo>
                    <a:pt x="666458" y="61023"/>
                  </a:lnTo>
                  <a:lnTo>
                    <a:pt x="666458" y="61468"/>
                  </a:lnTo>
                  <a:lnTo>
                    <a:pt x="668185" y="61468"/>
                  </a:lnTo>
                  <a:lnTo>
                    <a:pt x="668185" y="61912"/>
                  </a:lnTo>
                  <a:lnTo>
                    <a:pt x="669226" y="61912"/>
                  </a:lnTo>
                  <a:lnTo>
                    <a:pt x="669226" y="62306"/>
                  </a:lnTo>
                  <a:lnTo>
                    <a:pt x="670128" y="62306"/>
                  </a:lnTo>
                  <a:lnTo>
                    <a:pt x="670128" y="62751"/>
                  </a:lnTo>
                  <a:lnTo>
                    <a:pt x="671461" y="62751"/>
                  </a:lnTo>
                  <a:lnTo>
                    <a:pt x="671461" y="63195"/>
                  </a:lnTo>
                  <a:lnTo>
                    <a:pt x="671855" y="63195"/>
                  </a:lnTo>
                  <a:lnTo>
                    <a:pt x="671855" y="63551"/>
                  </a:lnTo>
                  <a:lnTo>
                    <a:pt x="672160" y="63551"/>
                  </a:lnTo>
                  <a:lnTo>
                    <a:pt x="672261" y="63995"/>
                  </a:lnTo>
                  <a:lnTo>
                    <a:pt x="673404" y="63995"/>
                  </a:lnTo>
                  <a:lnTo>
                    <a:pt x="673404" y="64440"/>
                  </a:lnTo>
                  <a:lnTo>
                    <a:pt x="673849" y="64440"/>
                  </a:lnTo>
                  <a:lnTo>
                    <a:pt x="673849" y="64884"/>
                  </a:lnTo>
                  <a:lnTo>
                    <a:pt x="674789" y="64884"/>
                  </a:lnTo>
                  <a:lnTo>
                    <a:pt x="674789" y="65278"/>
                  </a:lnTo>
                  <a:lnTo>
                    <a:pt x="675881" y="65278"/>
                  </a:lnTo>
                  <a:lnTo>
                    <a:pt x="675881" y="65735"/>
                  </a:lnTo>
                  <a:lnTo>
                    <a:pt x="676478" y="65735"/>
                  </a:lnTo>
                  <a:lnTo>
                    <a:pt x="676478" y="66180"/>
                  </a:lnTo>
                  <a:lnTo>
                    <a:pt x="677164" y="66180"/>
                  </a:lnTo>
                  <a:lnTo>
                    <a:pt x="677164" y="66624"/>
                  </a:lnTo>
                  <a:lnTo>
                    <a:pt x="678408" y="66624"/>
                  </a:lnTo>
                  <a:lnTo>
                    <a:pt x="678408" y="66967"/>
                  </a:lnTo>
                  <a:lnTo>
                    <a:pt x="679158" y="66967"/>
                  </a:lnTo>
                  <a:lnTo>
                    <a:pt x="679158" y="67412"/>
                  </a:lnTo>
                  <a:lnTo>
                    <a:pt x="679793" y="67412"/>
                  </a:lnTo>
                  <a:lnTo>
                    <a:pt x="679793" y="67869"/>
                  </a:lnTo>
                  <a:lnTo>
                    <a:pt x="680440" y="67869"/>
                  </a:lnTo>
                  <a:lnTo>
                    <a:pt x="680440" y="68262"/>
                  </a:lnTo>
                  <a:lnTo>
                    <a:pt x="680796" y="68262"/>
                  </a:lnTo>
                  <a:lnTo>
                    <a:pt x="680796" y="68707"/>
                  </a:lnTo>
                  <a:lnTo>
                    <a:pt x="681926" y="68707"/>
                  </a:lnTo>
                  <a:lnTo>
                    <a:pt x="681926" y="69152"/>
                  </a:lnTo>
                  <a:lnTo>
                    <a:pt x="682625" y="69152"/>
                  </a:lnTo>
                  <a:lnTo>
                    <a:pt x="682625" y="69596"/>
                  </a:lnTo>
                  <a:lnTo>
                    <a:pt x="683475" y="69596"/>
                  </a:lnTo>
                  <a:lnTo>
                    <a:pt x="683475" y="70002"/>
                  </a:lnTo>
                  <a:lnTo>
                    <a:pt x="684161" y="70002"/>
                  </a:lnTo>
                  <a:lnTo>
                    <a:pt x="684161" y="70447"/>
                  </a:lnTo>
                  <a:lnTo>
                    <a:pt x="684809" y="70447"/>
                  </a:lnTo>
                  <a:lnTo>
                    <a:pt x="684809" y="70891"/>
                  </a:lnTo>
                  <a:lnTo>
                    <a:pt x="685203" y="70891"/>
                  </a:lnTo>
                  <a:lnTo>
                    <a:pt x="685203" y="71285"/>
                  </a:lnTo>
                  <a:lnTo>
                    <a:pt x="686104" y="71285"/>
                  </a:lnTo>
                  <a:lnTo>
                    <a:pt x="686104" y="71679"/>
                  </a:lnTo>
                  <a:lnTo>
                    <a:pt x="686143" y="71679"/>
                  </a:lnTo>
                  <a:lnTo>
                    <a:pt x="686143" y="71285"/>
                  </a:lnTo>
                  <a:lnTo>
                    <a:pt x="686549" y="71285"/>
                  </a:lnTo>
                  <a:lnTo>
                    <a:pt x="686549" y="71679"/>
                  </a:lnTo>
                  <a:lnTo>
                    <a:pt x="687095" y="71679"/>
                  </a:lnTo>
                  <a:lnTo>
                    <a:pt x="687095" y="72136"/>
                  </a:lnTo>
                  <a:lnTo>
                    <a:pt x="687489" y="72136"/>
                  </a:lnTo>
                  <a:lnTo>
                    <a:pt x="687489" y="72581"/>
                  </a:lnTo>
                  <a:lnTo>
                    <a:pt x="687489" y="72136"/>
                  </a:lnTo>
                  <a:lnTo>
                    <a:pt x="687539" y="72136"/>
                  </a:lnTo>
                  <a:lnTo>
                    <a:pt x="687539" y="72581"/>
                  </a:lnTo>
                  <a:lnTo>
                    <a:pt x="688581" y="72581"/>
                  </a:lnTo>
                  <a:lnTo>
                    <a:pt x="688581" y="72974"/>
                  </a:lnTo>
                  <a:lnTo>
                    <a:pt x="689318" y="72974"/>
                  </a:lnTo>
                  <a:lnTo>
                    <a:pt x="689318" y="73419"/>
                  </a:lnTo>
                  <a:lnTo>
                    <a:pt x="689572" y="73419"/>
                  </a:lnTo>
                  <a:lnTo>
                    <a:pt x="689572" y="72974"/>
                  </a:lnTo>
                  <a:lnTo>
                    <a:pt x="689775" y="72974"/>
                  </a:lnTo>
                  <a:lnTo>
                    <a:pt x="689775" y="73419"/>
                  </a:lnTo>
                  <a:lnTo>
                    <a:pt x="690765" y="73419"/>
                  </a:lnTo>
                  <a:lnTo>
                    <a:pt x="690765" y="73863"/>
                  </a:lnTo>
                  <a:lnTo>
                    <a:pt x="691108" y="73863"/>
                  </a:lnTo>
                  <a:lnTo>
                    <a:pt x="691108" y="73419"/>
                  </a:lnTo>
                  <a:lnTo>
                    <a:pt x="691159" y="73419"/>
                  </a:lnTo>
                  <a:lnTo>
                    <a:pt x="691159" y="73863"/>
                  </a:lnTo>
                  <a:lnTo>
                    <a:pt x="691210" y="73863"/>
                  </a:lnTo>
                  <a:lnTo>
                    <a:pt x="691210" y="73419"/>
                  </a:lnTo>
                  <a:lnTo>
                    <a:pt x="691362" y="73419"/>
                  </a:lnTo>
                  <a:lnTo>
                    <a:pt x="691362" y="73863"/>
                  </a:lnTo>
                  <a:lnTo>
                    <a:pt x="692696" y="73863"/>
                  </a:lnTo>
                  <a:lnTo>
                    <a:pt x="692696" y="74308"/>
                  </a:lnTo>
                  <a:lnTo>
                    <a:pt x="693394" y="74308"/>
                  </a:lnTo>
                  <a:lnTo>
                    <a:pt x="693445" y="74663"/>
                  </a:lnTo>
                  <a:lnTo>
                    <a:pt x="694042" y="74663"/>
                  </a:lnTo>
                  <a:lnTo>
                    <a:pt x="694042" y="75108"/>
                  </a:lnTo>
                  <a:lnTo>
                    <a:pt x="694931" y="75108"/>
                  </a:lnTo>
                  <a:lnTo>
                    <a:pt x="694931" y="75552"/>
                  </a:lnTo>
                  <a:lnTo>
                    <a:pt x="695871" y="75552"/>
                  </a:lnTo>
                  <a:lnTo>
                    <a:pt x="695871" y="75997"/>
                  </a:lnTo>
                  <a:lnTo>
                    <a:pt x="696315" y="75997"/>
                  </a:lnTo>
                  <a:lnTo>
                    <a:pt x="696315" y="76391"/>
                  </a:lnTo>
                  <a:lnTo>
                    <a:pt x="697357" y="76391"/>
                  </a:lnTo>
                  <a:lnTo>
                    <a:pt x="697357" y="76848"/>
                  </a:lnTo>
                  <a:lnTo>
                    <a:pt x="698157" y="76848"/>
                  </a:lnTo>
                  <a:lnTo>
                    <a:pt x="698157" y="77292"/>
                  </a:lnTo>
                  <a:lnTo>
                    <a:pt x="699350" y="77292"/>
                  </a:lnTo>
                  <a:lnTo>
                    <a:pt x="699350" y="77635"/>
                  </a:lnTo>
                  <a:lnTo>
                    <a:pt x="699389" y="77635"/>
                  </a:lnTo>
                  <a:lnTo>
                    <a:pt x="699389" y="77292"/>
                  </a:lnTo>
                  <a:lnTo>
                    <a:pt x="699490" y="77292"/>
                  </a:lnTo>
                  <a:lnTo>
                    <a:pt x="699490" y="77635"/>
                  </a:lnTo>
                  <a:lnTo>
                    <a:pt x="699935" y="77635"/>
                  </a:lnTo>
                  <a:lnTo>
                    <a:pt x="699935" y="78080"/>
                  </a:lnTo>
                  <a:lnTo>
                    <a:pt x="700430" y="78080"/>
                  </a:lnTo>
                  <a:lnTo>
                    <a:pt x="700430" y="78524"/>
                  </a:lnTo>
                  <a:lnTo>
                    <a:pt x="701776" y="78524"/>
                  </a:lnTo>
                  <a:lnTo>
                    <a:pt x="701776" y="78981"/>
                  </a:lnTo>
                  <a:lnTo>
                    <a:pt x="702868" y="78981"/>
                  </a:lnTo>
                  <a:lnTo>
                    <a:pt x="702868" y="79375"/>
                  </a:lnTo>
                  <a:lnTo>
                    <a:pt x="704011" y="79375"/>
                  </a:lnTo>
                  <a:lnTo>
                    <a:pt x="704062" y="79819"/>
                  </a:lnTo>
                  <a:lnTo>
                    <a:pt x="705396" y="79819"/>
                  </a:lnTo>
                  <a:lnTo>
                    <a:pt x="705447" y="80264"/>
                  </a:lnTo>
                  <a:lnTo>
                    <a:pt x="706145" y="80264"/>
                  </a:lnTo>
                  <a:lnTo>
                    <a:pt x="706145" y="80658"/>
                  </a:lnTo>
                  <a:lnTo>
                    <a:pt x="707085" y="80658"/>
                  </a:lnTo>
                  <a:lnTo>
                    <a:pt x="707085" y="81115"/>
                  </a:lnTo>
                  <a:lnTo>
                    <a:pt x="707682" y="81115"/>
                  </a:lnTo>
                  <a:lnTo>
                    <a:pt x="707733" y="81559"/>
                  </a:lnTo>
                  <a:lnTo>
                    <a:pt x="709320" y="81559"/>
                  </a:lnTo>
                  <a:lnTo>
                    <a:pt x="709320" y="82004"/>
                  </a:lnTo>
                  <a:lnTo>
                    <a:pt x="710057" y="82004"/>
                  </a:lnTo>
                  <a:lnTo>
                    <a:pt x="710057" y="82347"/>
                  </a:lnTo>
                  <a:lnTo>
                    <a:pt x="710158" y="82347"/>
                  </a:lnTo>
                  <a:lnTo>
                    <a:pt x="710158" y="82004"/>
                  </a:lnTo>
                  <a:lnTo>
                    <a:pt x="710209" y="82004"/>
                  </a:lnTo>
                  <a:lnTo>
                    <a:pt x="710209" y="82347"/>
                  </a:lnTo>
                  <a:lnTo>
                    <a:pt x="711644" y="82347"/>
                  </a:lnTo>
                  <a:lnTo>
                    <a:pt x="711644" y="82791"/>
                  </a:lnTo>
                  <a:lnTo>
                    <a:pt x="711746" y="82791"/>
                  </a:lnTo>
                  <a:lnTo>
                    <a:pt x="711746" y="82347"/>
                  </a:lnTo>
                  <a:lnTo>
                    <a:pt x="711797" y="82347"/>
                  </a:lnTo>
                  <a:lnTo>
                    <a:pt x="711797" y="82791"/>
                  </a:lnTo>
                  <a:lnTo>
                    <a:pt x="711847" y="82791"/>
                  </a:lnTo>
                  <a:lnTo>
                    <a:pt x="711847" y="82347"/>
                  </a:lnTo>
                  <a:lnTo>
                    <a:pt x="712000" y="82347"/>
                  </a:lnTo>
                  <a:lnTo>
                    <a:pt x="712050" y="82791"/>
                  </a:lnTo>
                  <a:lnTo>
                    <a:pt x="712050" y="82347"/>
                  </a:lnTo>
                  <a:lnTo>
                    <a:pt x="712190" y="82347"/>
                  </a:lnTo>
                  <a:lnTo>
                    <a:pt x="712190" y="82791"/>
                  </a:lnTo>
                  <a:lnTo>
                    <a:pt x="713536" y="82791"/>
                  </a:lnTo>
                  <a:lnTo>
                    <a:pt x="713536" y="83248"/>
                  </a:lnTo>
                  <a:lnTo>
                    <a:pt x="714718" y="83248"/>
                  </a:lnTo>
                  <a:lnTo>
                    <a:pt x="714718" y="83693"/>
                  </a:lnTo>
                  <a:lnTo>
                    <a:pt x="715670" y="83693"/>
                  </a:lnTo>
                  <a:lnTo>
                    <a:pt x="715670" y="84087"/>
                  </a:lnTo>
                  <a:lnTo>
                    <a:pt x="717258" y="84087"/>
                  </a:lnTo>
                  <a:lnTo>
                    <a:pt x="717258" y="84531"/>
                  </a:lnTo>
                  <a:lnTo>
                    <a:pt x="717258" y="84087"/>
                  </a:lnTo>
                  <a:lnTo>
                    <a:pt x="717651" y="84087"/>
                  </a:lnTo>
                  <a:lnTo>
                    <a:pt x="717651" y="84531"/>
                  </a:lnTo>
                  <a:lnTo>
                    <a:pt x="717753" y="84531"/>
                  </a:lnTo>
                  <a:lnTo>
                    <a:pt x="717753" y="84087"/>
                  </a:lnTo>
                  <a:lnTo>
                    <a:pt x="717854" y="84531"/>
                  </a:lnTo>
                  <a:lnTo>
                    <a:pt x="718350" y="84531"/>
                  </a:lnTo>
                  <a:lnTo>
                    <a:pt x="718350" y="84976"/>
                  </a:lnTo>
                  <a:lnTo>
                    <a:pt x="718439" y="84976"/>
                  </a:lnTo>
                  <a:lnTo>
                    <a:pt x="718439" y="84531"/>
                  </a:lnTo>
                  <a:lnTo>
                    <a:pt x="719035" y="84531"/>
                  </a:lnTo>
                  <a:lnTo>
                    <a:pt x="719035" y="84976"/>
                  </a:lnTo>
                  <a:lnTo>
                    <a:pt x="719683" y="84976"/>
                  </a:lnTo>
                  <a:lnTo>
                    <a:pt x="719683" y="85331"/>
                  </a:lnTo>
                  <a:lnTo>
                    <a:pt x="721322" y="85331"/>
                  </a:lnTo>
                  <a:lnTo>
                    <a:pt x="721322" y="85776"/>
                  </a:lnTo>
                  <a:lnTo>
                    <a:pt x="721372" y="85776"/>
                  </a:lnTo>
                  <a:lnTo>
                    <a:pt x="721372" y="85331"/>
                  </a:lnTo>
                  <a:lnTo>
                    <a:pt x="721525" y="85331"/>
                  </a:lnTo>
                  <a:lnTo>
                    <a:pt x="721525" y="85776"/>
                  </a:lnTo>
                  <a:lnTo>
                    <a:pt x="722757" y="85776"/>
                  </a:lnTo>
                  <a:lnTo>
                    <a:pt x="722757" y="86220"/>
                  </a:lnTo>
                  <a:lnTo>
                    <a:pt x="723163" y="86220"/>
                  </a:lnTo>
                  <a:lnTo>
                    <a:pt x="723163" y="86665"/>
                  </a:lnTo>
                  <a:lnTo>
                    <a:pt x="723747" y="86665"/>
                  </a:lnTo>
                  <a:lnTo>
                    <a:pt x="723747" y="87058"/>
                  </a:lnTo>
                  <a:lnTo>
                    <a:pt x="723900" y="87058"/>
                  </a:lnTo>
                  <a:lnTo>
                    <a:pt x="723900" y="86665"/>
                  </a:lnTo>
                  <a:lnTo>
                    <a:pt x="724001" y="86665"/>
                  </a:lnTo>
                  <a:lnTo>
                    <a:pt x="724001" y="87058"/>
                  </a:lnTo>
                  <a:lnTo>
                    <a:pt x="724103" y="87058"/>
                  </a:lnTo>
                  <a:lnTo>
                    <a:pt x="724103" y="86665"/>
                  </a:lnTo>
                  <a:lnTo>
                    <a:pt x="724204" y="86665"/>
                  </a:lnTo>
                  <a:lnTo>
                    <a:pt x="724204" y="87058"/>
                  </a:lnTo>
                  <a:lnTo>
                    <a:pt x="726833" y="87058"/>
                  </a:lnTo>
                  <a:lnTo>
                    <a:pt x="726833" y="87503"/>
                  </a:lnTo>
                  <a:lnTo>
                    <a:pt x="727227" y="87503"/>
                  </a:lnTo>
                  <a:lnTo>
                    <a:pt x="727227" y="87960"/>
                  </a:lnTo>
                  <a:lnTo>
                    <a:pt x="729310" y="87960"/>
                  </a:lnTo>
                  <a:lnTo>
                    <a:pt x="729310" y="88405"/>
                  </a:lnTo>
                  <a:lnTo>
                    <a:pt x="730847" y="88405"/>
                  </a:lnTo>
                  <a:lnTo>
                    <a:pt x="730847" y="88748"/>
                  </a:lnTo>
                  <a:lnTo>
                    <a:pt x="731837" y="88748"/>
                  </a:lnTo>
                  <a:lnTo>
                    <a:pt x="731837" y="89192"/>
                  </a:lnTo>
                  <a:lnTo>
                    <a:pt x="733183" y="89192"/>
                  </a:lnTo>
                  <a:lnTo>
                    <a:pt x="733183" y="89637"/>
                  </a:lnTo>
                  <a:lnTo>
                    <a:pt x="733729" y="89637"/>
                  </a:lnTo>
                  <a:lnTo>
                    <a:pt x="733729" y="90043"/>
                  </a:lnTo>
                  <a:lnTo>
                    <a:pt x="734072" y="90043"/>
                  </a:lnTo>
                  <a:lnTo>
                    <a:pt x="734072" y="90487"/>
                  </a:lnTo>
                  <a:lnTo>
                    <a:pt x="734174" y="90043"/>
                  </a:lnTo>
                  <a:lnTo>
                    <a:pt x="734174" y="90487"/>
                  </a:lnTo>
                  <a:lnTo>
                    <a:pt x="734314" y="90487"/>
                  </a:lnTo>
                  <a:lnTo>
                    <a:pt x="734314" y="90043"/>
                  </a:lnTo>
                  <a:lnTo>
                    <a:pt x="734517" y="90043"/>
                  </a:lnTo>
                  <a:lnTo>
                    <a:pt x="734517" y="90487"/>
                  </a:lnTo>
                  <a:lnTo>
                    <a:pt x="734961" y="90487"/>
                  </a:lnTo>
                  <a:lnTo>
                    <a:pt x="734961" y="90932"/>
                  </a:lnTo>
                  <a:lnTo>
                    <a:pt x="736904" y="90932"/>
                  </a:lnTo>
                  <a:lnTo>
                    <a:pt x="736904" y="91377"/>
                  </a:lnTo>
                  <a:lnTo>
                    <a:pt x="736943" y="91377"/>
                  </a:lnTo>
                  <a:lnTo>
                    <a:pt x="736943" y="90932"/>
                  </a:lnTo>
                  <a:lnTo>
                    <a:pt x="737044" y="90932"/>
                  </a:lnTo>
                  <a:lnTo>
                    <a:pt x="737044" y="91377"/>
                  </a:lnTo>
                  <a:lnTo>
                    <a:pt x="737844" y="91377"/>
                  </a:lnTo>
                  <a:lnTo>
                    <a:pt x="737844" y="91770"/>
                  </a:lnTo>
                  <a:lnTo>
                    <a:pt x="738581" y="91770"/>
                  </a:lnTo>
                  <a:lnTo>
                    <a:pt x="738581" y="91377"/>
                  </a:lnTo>
                  <a:lnTo>
                    <a:pt x="738632" y="91377"/>
                  </a:lnTo>
                  <a:lnTo>
                    <a:pt x="738632" y="91770"/>
                  </a:lnTo>
                  <a:lnTo>
                    <a:pt x="739038" y="91770"/>
                  </a:lnTo>
                  <a:lnTo>
                    <a:pt x="739038" y="91377"/>
                  </a:lnTo>
                  <a:lnTo>
                    <a:pt x="740168" y="91377"/>
                  </a:lnTo>
                  <a:lnTo>
                    <a:pt x="740168" y="91770"/>
                  </a:lnTo>
                  <a:lnTo>
                    <a:pt x="741210" y="91770"/>
                  </a:lnTo>
                  <a:lnTo>
                    <a:pt x="741210" y="92227"/>
                  </a:lnTo>
                  <a:lnTo>
                    <a:pt x="743051" y="92227"/>
                  </a:lnTo>
                  <a:lnTo>
                    <a:pt x="743051" y="92672"/>
                  </a:lnTo>
                  <a:lnTo>
                    <a:pt x="745579" y="92672"/>
                  </a:lnTo>
                  <a:lnTo>
                    <a:pt x="745579" y="93116"/>
                  </a:lnTo>
                  <a:lnTo>
                    <a:pt x="746671" y="93116"/>
                  </a:lnTo>
                  <a:lnTo>
                    <a:pt x="746671" y="93459"/>
                  </a:lnTo>
                  <a:lnTo>
                    <a:pt x="748309" y="93459"/>
                  </a:lnTo>
                  <a:lnTo>
                    <a:pt x="748309" y="93904"/>
                  </a:lnTo>
                  <a:lnTo>
                    <a:pt x="749249" y="93904"/>
                  </a:lnTo>
                  <a:lnTo>
                    <a:pt x="749249" y="94361"/>
                  </a:lnTo>
                  <a:lnTo>
                    <a:pt x="750100" y="94361"/>
                  </a:lnTo>
                  <a:lnTo>
                    <a:pt x="750150" y="94755"/>
                  </a:lnTo>
                  <a:lnTo>
                    <a:pt x="750341" y="94755"/>
                  </a:lnTo>
                  <a:lnTo>
                    <a:pt x="750341" y="94361"/>
                  </a:lnTo>
                  <a:lnTo>
                    <a:pt x="750341" y="94755"/>
                  </a:lnTo>
                  <a:lnTo>
                    <a:pt x="750544" y="94755"/>
                  </a:lnTo>
                  <a:lnTo>
                    <a:pt x="750544" y="94361"/>
                  </a:lnTo>
                  <a:lnTo>
                    <a:pt x="750595" y="94361"/>
                  </a:lnTo>
                  <a:lnTo>
                    <a:pt x="750595" y="94755"/>
                  </a:lnTo>
                  <a:lnTo>
                    <a:pt x="750595" y="94361"/>
                  </a:lnTo>
                  <a:lnTo>
                    <a:pt x="750646" y="94361"/>
                  </a:lnTo>
                  <a:lnTo>
                    <a:pt x="750646" y="94755"/>
                  </a:lnTo>
                  <a:lnTo>
                    <a:pt x="751878" y="94755"/>
                  </a:lnTo>
                  <a:lnTo>
                    <a:pt x="751878" y="95199"/>
                  </a:lnTo>
                  <a:lnTo>
                    <a:pt x="751929" y="95199"/>
                  </a:lnTo>
                  <a:lnTo>
                    <a:pt x="751929" y="94755"/>
                  </a:lnTo>
                  <a:lnTo>
                    <a:pt x="752627" y="94755"/>
                  </a:lnTo>
                  <a:lnTo>
                    <a:pt x="752627" y="95199"/>
                  </a:lnTo>
                  <a:lnTo>
                    <a:pt x="754062" y="95199"/>
                  </a:lnTo>
                  <a:lnTo>
                    <a:pt x="754062" y="95644"/>
                  </a:lnTo>
                  <a:lnTo>
                    <a:pt x="755104" y="95644"/>
                  </a:lnTo>
                  <a:lnTo>
                    <a:pt x="755104" y="96088"/>
                  </a:lnTo>
                  <a:lnTo>
                    <a:pt x="756945" y="96088"/>
                  </a:lnTo>
                  <a:lnTo>
                    <a:pt x="756945" y="96444"/>
                  </a:lnTo>
                  <a:lnTo>
                    <a:pt x="757885" y="96444"/>
                  </a:lnTo>
                  <a:lnTo>
                    <a:pt x="757885" y="96888"/>
                  </a:lnTo>
                  <a:lnTo>
                    <a:pt x="758279" y="96888"/>
                  </a:lnTo>
                  <a:lnTo>
                    <a:pt x="758279" y="97333"/>
                  </a:lnTo>
                  <a:lnTo>
                    <a:pt x="759028" y="97333"/>
                  </a:lnTo>
                  <a:lnTo>
                    <a:pt x="759028" y="96888"/>
                  </a:lnTo>
                  <a:lnTo>
                    <a:pt x="760018" y="96888"/>
                  </a:lnTo>
                  <a:lnTo>
                    <a:pt x="760018" y="97333"/>
                  </a:lnTo>
                  <a:lnTo>
                    <a:pt x="760361" y="97333"/>
                  </a:lnTo>
                  <a:lnTo>
                    <a:pt x="760361" y="97727"/>
                  </a:lnTo>
                  <a:lnTo>
                    <a:pt x="761009" y="97727"/>
                  </a:lnTo>
                  <a:lnTo>
                    <a:pt x="761009" y="97333"/>
                  </a:lnTo>
                  <a:lnTo>
                    <a:pt x="761606" y="97333"/>
                  </a:lnTo>
                  <a:lnTo>
                    <a:pt x="761606" y="97727"/>
                  </a:lnTo>
                  <a:lnTo>
                    <a:pt x="762343" y="97727"/>
                  </a:lnTo>
                  <a:lnTo>
                    <a:pt x="762343" y="97333"/>
                  </a:lnTo>
                  <a:lnTo>
                    <a:pt x="762647" y="97333"/>
                  </a:lnTo>
                  <a:lnTo>
                    <a:pt x="762647" y="97727"/>
                  </a:lnTo>
                  <a:lnTo>
                    <a:pt x="762850" y="97727"/>
                  </a:lnTo>
                  <a:lnTo>
                    <a:pt x="762850" y="97333"/>
                  </a:lnTo>
                  <a:lnTo>
                    <a:pt x="762889" y="97333"/>
                  </a:lnTo>
                  <a:lnTo>
                    <a:pt x="762990" y="97727"/>
                  </a:lnTo>
                  <a:lnTo>
                    <a:pt x="763981" y="97727"/>
                  </a:lnTo>
                  <a:lnTo>
                    <a:pt x="763981" y="97333"/>
                  </a:lnTo>
                  <a:lnTo>
                    <a:pt x="764032" y="97333"/>
                  </a:lnTo>
                  <a:lnTo>
                    <a:pt x="764032" y="97727"/>
                  </a:lnTo>
                  <a:lnTo>
                    <a:pt x="765772" y="97727"/>
                  </a:lnTo>
                  <a:lnTo>
                    <a:pt x="765772" y="98171"/>
                  </a:lnTo>
                  <a:lnTo>
                    <a:pt x="765822" y="98171"/>
                  </a:lnTo>
                  <a:lnTo>
                    <a:pt x="765822" y="97727"/>
                  </a:lnTo>
                  <a:lnTo>
                    <a:pt x="765975" y="97727"/>
                  </a:lnTo>
                  <a:lnTo>
                    <a:pt x="765975" y="98171"/>
                  </a:lnTo>
                  <a:lnTo>
                    <a:pt x="766762" y="98171"/>
                  </a:lnTo>
                  <a:lnTo>
                    <a:pt x="766762" y="98616"/>
                  </a:lnTo>
                  <a:lnTo>
                    <a:pt x="767067" y="98616"/>
                  </a:lnTo>
                  <a:lnTo>
                    <a:pt x="767067" y="98171"/>
                  </a:lnTo>
                  <a:lnTo>
                    <a:pt x="767308" y="98171"/>
                  </a:lnTo>
                  <a:lnTo>
                    <a:pt x="767308" y="98616"/>
                  </a:lnTo>
                  <a:lnTo>
                    <a:pt x="768058" y="98616"/>
                  </a:lnTo>
                  <a:lnTo>
                    <a:pt x="768058" y="99073"/>
                  </a:lnTo>
                  <a:lnTo>
                    <a:pt x="769886" y="99073"/>
                  </a:lnTo>
                  <a:lnTo>
                    <a:pt x="769886" y="99466"/>
                  </a:lnTo>
                  <a:lnTo>
                    <a:pt x="770979" y="99466"/>
                  </a:lnTo>
                  <a:lnTo>
                    <a:pt x="770979" y="99860"/>
                  </a:lnTo>
                  <a:lnTo>
                    <a:pt x="771474" y="99860"/>
                  </a:lnTo>
                  <a:lnTo>
                    <a:pt x="771474" y="99466"/>
                  </a:lnTo>
                  <a:lnTo>
                    <a:pt x="771525" y="99466"/>
                  </a:lnTo>
                  <a:lnTo>
                    <a:pt x="771626" y="99860"/>
                  </a:lnTo>
                  <a:lnTo>
                    <a:pt x="773417" y="99860"/>
                  </a:lnTo>
                  <a:lnTo>
                    <a:pt x="773417" y="100305"/>
                  </a:lnTo>
                  <a:lnTo>
                    <a:pt x="774357" y="100305"/>
                  </a:lnTo>
                  <a:lnTo>
                    <a:pt x="774357" y="100749"/>
                  </a:lnTo>
                  <a:lnTo>
                    <a:pt x="774547" y="100749"/>
                  </a:lnTo>
                  <a:lnTo>
                    <a:pt x="774547" y="100305"/>
                  </a:lnTo>
                  <a:lnTo>
                    <a:pt x="774547" y="100749"/>
                  </a:lnTo>
                  <a:lnTo>
                    <a:pt x="776185" y="100749"/>
                  </a:lnTo>
                  <a:lnTo>
                    <a:pt x="776236" y="101156"/>
                  </a:lnTo>
                  <a:lnTo>
                    <a:pt x="776287" y="101156"/>
                  </a:lnTo>
                  <a:lnTo>
                    <a:pt x="776389" y="100749"/>
                  </a:lnTo>
                  <a:lnTo>
                    <a:pt x="777176" y="100749"/>
                  </a:lnTo>
                  <a:lnTo>
                    <a:pt x="777176" y="101156"/>
                  </a:lnTo>
                  <a:lnTo>
                    <a:pt x="778078" y="101156"/>
                  </a:lnTo>
                  <a:lnTo>
                    <a:pt x="778078" y="101600"/>
                  </a:lnTo>
                  <a:lnTo>
                    <a:pt x="779068" y="101600"/>
                  </a:lnTo>
                  <a:lnTo>
                    <a:pt x="779068" y="102044"/>
                  </a:lnTo>
                  <a:lnTo>
                    <a:pt x="779068" y="101600"/>
                  </a:lnTo>
                  <a:lnTo>
                    <a:pt x="779221" y="101600"/>
                  </a:lnTo>
                  <a:lnTo>
                    <a:pt x="779221" y="102044"/>
                  </a:lnTo>
                  <a:lnTo>
                    <a:pt x="779360" y="102044"/>
                  </a:lnTo>
                  <a:lnTo>
                    <a:pt x="779360" y="101600"/>
                  </a:lnTo>
                  <a:lnTo>
                    <a:pt x="779411" y="102044"/>
                  </a:lnTo>
                  <a:lnTo>
                    <a:pt x="780008" y="102044"/>
                  </a:lnTo>
                  <a:lnTo>
                    <a:pt x="780008" y="101600"/>
                  </a:lnTo>
                  <a:lnTo>
                    <a:pt x="780351" y="101600"/>
                  </a:lnTo>
                  <a:lnTo>
                    <a:pt x="780351" y="102044"/>
                  </a:lnTo>
                  <a:lnTo>
                    <a:pt x="780808" y="102044"/>
                  </a:lnTo>
                  <a:lnTo>
                    <a:pt x="780808" y="101600"/>
                  </a:lnTo>
                  <a:lnTo>
                    <a:pt x="780999" y="101600"/>
                  </a:lnTo>
                  <a:lnTo>
                    <a:pt x="780999" y="102044"/>
                  </a:lnTo>
                  <a:lnTo>
                    <a:pt x="782396" y="102044"/>
                  </a:lnTo>
                  <a:lnTo>
                    <a:pt x="782396" y="102438"/>
                  </a:lnTo>
                  <a:lnTo>
                    <a:pt x="784123" y="102438"/>
                  </a:lnTo>
                  <a:lnTo>
                    <a:pt x="784123" y="102883"/>
                  </a:lnTo>
                  <a:lnTo>
                    <a:pt x="786155" y="102883"/>
                  </a:lnTo>
                  <a:lnTo>
                    <a:pt x="786155" y="103340"/>
                  </a:lnTo>
                  <a:lnTo>
                    <a:pt x="787501" y="103340"/>
                  </a:lnTo>
                  <a:lnTo>
                    <a:pt x="787501" y="103784"/>
                  </a:lnTo>
                  <a:lnTo>
                    <a:pt x="788695" y="103784"/>
                  </a:lnTo>
                  <a:lnTo>
                    <a:pt x="788695" y="104127"/>
                  </a:lnTo>
                  <a:lnTo>
                    <a:pt x="789736" y="104127"/>
                  </a:lnTo>
                  <a:lnTo>
                    <a:pt x="789736" y="104572"/>
                  </a:lnTo>
                  <a:lnTo>
                    <a:pt x="790727" y="104572"/>
                  </a:lnTo>
                  <a:lnTo>
                    <a:pt x="790727" y="105016"/>
                  </a:lnTo>
                  <a:lnTo>
                    <a:pt x="791172" y="105016"/>
                  </a:lnTo>
                  <a:lnTo>
                    <a:pt x="791172" y="104572"/>
                  </a:lnTo>
                  <a:lnTo>
                    <a:pt x="791222" y="104572"/>
                  </a:lnTo>
                  <a:lnTo>
                    <a:pt x="791222" y="105016"/>
                  </a:lnTo>
                  <a:lnTo>
                    <a:pt x="791222" y="104572"/>
                  </a:lnTo>
                  <a:lnTo>
                    <a:pt x="791768" y="104572"/>
                  </a:lnTo>
                  <a:lnTo>
                    <a:pt x="791768" y="105016"/>
                  </a:lnTo>
                  <a:lnTo>
                    <a:pt x="793254" y="105016"/>
                  </a:lnTo>
                  <a:lnTo>
                    <a:pt x="793356" y="105473"/>
                  </a:lnTo>
                  <a:lnTo>
                    <a:pt x="794639" y="105473"/>
                  </a:lnTo>
                  <a:lnTo>
                    <a:pt x="794639" y="105867"/>
                  </a:lnTo>
                  <a:lnTo>
                    <a:pt x="796328" y="105867"/>
                  </a:lnTo>
                  <a:lnTo>
                    <a:pt x="796328" y="106312"/>
                  </a:lnTo>
                  <a:lnTo>
                    <a:pt x="796772" y="106312"/>
                  </a:lnTo>
                  <a:lnTo>
                    <a:pt x="796772" y="106756"/>
                  </a:lnTo>
                  <a:lnTo>
                    <a:pt x="796823" y="106312"/>
                  </a:lnTo>
                  <a:lnTo>
                    <a:pt x="797268" y="106312"/>
                  </a:lnTo>
                  <a:lnTo>
                    <a:pt x="797268" y="106756"/>
                  </a:lnTo>
                  <a:lnTo>
                    <a:pt x="798271" y="106756"/>
                  </a:lnTo>
                  <a:lnTo>
                    <a:pt x="798271" y="107099"/>
                  </a:lnTo>
                  <a:lnTo>
                    <a:pt x="798360" y="107099"/>
                  </a:lnTo>
                  <a:lnTo>
                    <a:pt x="798360" y="106756"/>
                  </a:lnTo>
                  <a:lnTo>
                    <a:pt x="798410" y="106756"/>
                  </a:lnTo>
                  <a:lnTo>
                    <a:pt x="798461" y="107099"/>
                  </a:lnTo>
                  <a:lnTo>
                    <a:pt x="798906" y="107099"/>
                  </a:lnTo>
                  <a:lnTo>
                    <a:pt x="798906" y="106756"/>
                  </a:lnTo>
                  <a:lnTo>
                    <a:pt x="799058" y="106756"/>
                  </a:lnTo>
                  <a:lnTo>
                    <a:pt x="799058" y="107099"/>
                  </a:lnTo>
                  <a:lnTo>
                    <a:pt x="799312" y="107099"/>
                  </a:lnTo>
                  <a:lnTo>
                    <a:pt x="799312" y="106756"/>
                  </a:lnTo>
                  <a:lnTo>
                    <a:pt x="799706" y="106756"/>
                  </a:lnTo>
                  <a:lnTo>
                    <a:pt x="799706" y="107099"/>
                  </a:lnTo>
                  <a:lnTo>
                    <a:pt x="799947" y="107099"/>
                  </a:lnTo>
                  <a:lnTo>
                    <a:pt x="799947" y="106756"/>
                  </a:lnTo>
                  <a:lnTo>
                    <a:pt x="800849" y="106756"/>
                  </a:lnTo>
                  <a:lnTo>
                    <a:pt x="800849" y="107099"/>
                  </a:lnTo>
                  <a:lnTo>
                    <a:pt x="802729" y="107099"/>
                  </a:lnTo>
                  <a:lnTo>
                    <a:pt x="802729" y="107556"/>
                  </a:lnTo>
                  <a:lnTo>
                    <a:pt x="803821" y="107556"/>
                  </a:lnTo>
                  <a:lnTo>
                    <a:pt x="803821" y="107099"/>
                  </a:lnTo>
                  <a:lnTo>
                    <a:pt x="803872" y="107099"/>
                  </a:lnTo>
                  <a:lnTo>
                    <a:pt x="803872" y="107556"/>
                  </a:lnTo>
                  <a:lnTo>
                    <a:pt x="804964" y="107556"/>
                  </a:lnTo>
                  <a:lnTo>
                    <a:pt x="804964" y="108001"/>
                  </a:lnTo>
                  <a:lnTo>
                    <a:pt x="805954" y="108001"/>
                  </a:lnTo>
                  <a:lnTo>
                    <a:pt x="805954" y="108445"/>
                  </a:lnTo>
                  <a:lnTo>
                    <a:pt x="807300" y="108445"/>
                  </a:lnTo>
                  <a:lnTo>
                    <a:pt x="807300" y="108839"/>
                  </a:lnTo>
                  <a:lnTo>
                    <a:pt x="807643" y="108839"/>
                  </a:lnTo>
                  <a:lnTo>
                    <a:pt x="807643" y="109283"/>
                  </a:lnTo>
                  <a:lnTo>
                    <a:pt x="809333" y="109283"/>
                  </a:lnTo>
                  <a:lnTo>
                    <a:pt x="809333" y="109728"/>
                  </a:lnTo>
                  <a:lnTo>
                    <a:pt x="809828" y="109728"/>
                  </a:lnTo>
                  <a:lnTo>
                    <a:pt x="809828" y="110134"/>
                  </a:lnTo>
                  <a:lnTo>
                    <a:pt x="809929" y="109728"/>
                  </a:lnTo>
                  <a:lnTo>
                    <a:pt x="810514" y="109728"/>
                  </a:lnTo>
                  <a:lnTo>
                    <a:pt x="810514" y="110134"/>
                  </a:lnTo>
                  <a:lnTo>
                    <a:pt x="810615" y="110134"/>
                  </a:lnTo>
                  <a:lnTo>
                    <a:pt x="810615" y="109728"/>
                  </a:lnTo>
                  <a:lnTo>
                    <a:pt x="810818" y="109728"/>
                  </a:lnTo>
                  <a:lnTo>
                    <a:pt x="810818" y="110134"/>
                  </a:lnTo>
                  <a:lnTo>
                    <a:pt x="810818" y="109728"/>
                  </a:lnTo>
                  <a:lnTo>
                    <a:pt x="810869" y="109728"/>
                  </a:lnTo>
                  <a:lnTo>
                    <a:pt x="810869" y="110134"/>
                  </a:lnTo>
                  <a:lnTo>
                    <a:pt x="812254" y="110134"/>
                  </a:lnTo>
                  <a:lnTo>
                    <a:pt x="812254" y="110579"/>
                  </a:lnTo>
                  <a:lnTo>
                    <a:pt x="813104" y="110579"/>
                  </a:lnTo>
                  <a:lnTo>
                    <a:pt x="813104" y="110973"/>
                  </a:lnTo>
                  <a:lnTo>
                    <a:pt x="814235" y="110973"/>
                  </a:lnTo>
                  <a:lnTo>
                    <a:pt x="814235" y="110579"/>
                  </a:lnTo>
                  <a:lnTo>
                    <a:pt x="814933" y="110579"/>
                  </a:lnTo>
                  <a:lnTo>
                    <a:pt x="814933" y="110973"/>
                  </a:lnTo>
                  <a:lnTo>
                    <a:pt x="815975" y="110973"/>
                  </a:lnTo>
                  <a:lnTo>
                    <a:pt x="815975" y="110579"/>
                  </a:lnTo>
                  <a:lnTo>
                    <a:pt x="816127" y="110579"/>
                  </a:lnTo>
                  <a:lnTo>
                    <a:pt x="816127" y="110973"/>
                  </a:lnTo>
                  <a:lnTo>
                    <a:pt x="818108" y="110973"/>
                  </a:lnTo>
                  <a:lnTo>
                    <a:pt x="818108" y="111417"/>
                  </a:lnTo>
                  <a:lnTo>
                    <a:pt x="818413" y="111417"/>
                  </a:lnTo>
                  <a:lnTo>
                    <a:pt x="818413" y="111823"/>
                  </a:lnTo>
                  <a:lnTo>
                    <a:pt x="818807" y="111823"/>
                  </a:lnTo>
                  <a:lnTo>
                    <a:pt x="818807" y="111417"/>
                  </a:lnTo>
                  <a:lnTo>
                    <a:pt x="819251" y="111417"/>
                  </a:lnTo>
                  <a:lnTo>
                    <a:pt x="819251" y="111823"/>
                  </a:lnTo>
                  <a:lnTo>
                    <a:pt x="819251" y="111417"/>
                  </a:lnTo>
                  <a:lnTo>
                    <a:pt x="819302" y="111417"/>
                  </a:lnTo>
                  <a:lnTo>
                    <a:pt x="819302" y="111823"/>
                  </a:lnTo>
                  <a:lnTo>
                    <a:pt x="819454" y="111823"/>
                  </a:lnTo>
                  <a:lnTo>
                    <a:pt x="819454" y="111417"/>
                  </a:lnTo>
                  <a:lnTo>
                    <a:pt x="819594" y="111417"/>
                  </a:lnTo>
                  <a:lnTo>
                    <a:pt x="819594" y="111823"/>
                  </a:lnTo>
                  <a:lnTo>
                    <a:pt x="819747" y="111823"/>
                  </a:lnTo>
                  <a:lnTo>
                    <a:pt x="819747" y="111417"/>
                  </a:lnTo>
                  <a:lnTo>
                    <a:pt x="819747" y="111823"/>
                  </a:lnTo>
                  <a:lnTo>
                    <a:pt x="823214" y="111823"/>
                  </a:lnTo>
                  <a:lnTo>
                    <a:pt x="823214" y="112268"/>
                  </a:lnTo>
                  <a:lnTo>
                    <a:pt x="823620" y="112268"/>
                  </a:lnTo>
                  <a:lnTo>
                    <a:pt x="823620" y="111823"/>
                  </a:lnTo>
                  <a:lnTo>
                    <a:pt x="824217" y="111823"/>
                  </a:lnTo>
                  <a:lnTo>
                    <a:pt x="824217" y="112268"/>
                  </a:lnTo>
                  <a:lnTo>
                    <a:pt x="824509" y="112268"/>
                  </a:lnTo>
                  <a:lnTo>
                    <a:pt x="824509" y="112712"/>
                  </a:lnTo>
                  <a:lnTo>
                    <a:pt x="825157" y="112712"/>
                  </a:lnTo>
                  <a:lnTo>
                    <a:pt x="825157" y="112268"/>
                  </a:lnTo>
                  <a:lnTo>
                    <a:pt x="826389" y="112268"/>
                  </a:lnTo>
                  <a:lnTo>
                    <a:pt x="826490" y="112712"/>
                  </a:lnTo>
                  <a:lnTo>
                    <a:pt x="826541" y="112712"/>
                  </a:lnTo>
                  <a:lnTo>
                    <a:pt x="826541" y="112268"/>
                  </a:lnTo>
                  <a:lnTo>
                    <a:pt x="826592" y="112268"/>
                  </a:lnTo>
                  <a:lnTo>
                    <a:pt x="826592" y="112712"/>
                  </a:lnTo>
                  <a:lnTo>
                    <a:pt x="827735" y="112712"/>
                  </a:lnTo>
                  <a:lnTo>
                    <a:pt x="827735" y="113157"/>
                  </a:lnTo>
                  <a:lnTo>
                    <a:pt x="827836" y="113157"/>
                  </a:lnTo>
                  <a:lnTo>
                    <a:pt x="827836" y="112712"/>
                  </a:lnTo>
                  <a:lnTo>
                    <a:pt x="827887" y="112712"/>
                  </a:lnTo>
                  <a:lnTo>
                    <a:pt x="827887" y="113157"/>
                  </a:lnTo>
                  <a:lnTo>
                    <a:pt x="827938" y="113157"/>
                  </a:lnTo>
                  <a:lnTo>
                    <a:pt x="827938" y="112712"/>
                  </a:lnTo>
                  <a:lnTo>
                    <a:pt x="827938" y="113157"/>
                  </a:lnTo>
                  <a:lnTo>
                    <a:pt x="828332" y="113157"/>
                  </a:lnTo>
                  <a:lnTo>
                    <a:pt x="828332" y="112712"/>
                  </a:lnTo>
                  <a:lnTo>
                    <a:pt x="828383" y="112712"/>
                  </a:lnTo>
                  <a:lnTo>
                    <a:pt x="828383" y="113157"/>
                  </a:lnTo>
                  <a:lnTo>
                    <a:pt x="828433" y="113157"/>
                  </a:lnTo>
                  <a:lnTo>
                    <a:pt x="828522" y="112712"/>
                  </a:lnTo>
                  <a:lnTo>
                    <a:pt x="828624" y="112712"/>
                  </a:lnTo>
                  <a:lnTo>
                    <a:pt x="828624" y="113157"/>
                  </a:lnTo>
                  <a:lnTo>
                    <a:pt x="828776" y="113157"/>
                  </a:lnTo>
                  <a:lnTo>
                    <a:pt x="828776" y="112712"/>
                  </a:lnTo>
                  <a:lnTo>
                    <a:pt x="828827" y="112712"/>
                  </a:lnTo>
                  <a:lnTo>
                    <a:pt x="828878" y="113157"/>
                  </a:lnTo>
                  <a:lnTo>
                    <a:pt x="830707" y="113157"/>
                  </a:lnTo>
                  <a:lnTo>
                    <a:pt x="830707" y="113551"/>
                  </a:lnTo>
                  <a:lnTo>
                    <a:pt x="830808" y="113551"/>
                  </a:lnTo>
                  <a:lnTo>
                    <a:pt x="830808" y="113157"/>
                  </a:lnTo>
                  <a:lnTo>
                    <a:pt x="830859" y="113551"/>
                  </a:lnTo>
                  <a:lnTo>
                    <a:pt x="831011" y="113551"/>
                  </a:lnTo>
                  <a:lnTo>
                    <a:pt x="831011" y="113157"/>
                  </a:lnTo>
                  <a:lnTo>
                    <a:pt x="831113" y="113157"/>
                  </a:lnTo>
                  <a:lnTo>
                    <a:pt x="831113" y="113551"/>
                  </a:lnTo>
                  <a:lnTo>
                    <a:pt x="831151" y="113551"/>
                  </a:lnTo>
                  <a:lnTo>
                    <a:pt x="831151" y="113157"/>
                  </a:lnTo>
                  <a:lnTo>
                    <a:pt x="831558" y="113157"/>
                  </a:lnTo>
                  <a:lnTo>
                    <a:pt x="831558" y="113551"/>
                  </a:lnTo>
                  <a:lnTo>
                    <a:pt x="831697" y="113551"/>
                  </a:lnTo>
                  <a:lnTo>
                    <a:pt x="831748" y="113157"/>
                  </a:lnTo>
                  <a:lnTo>
                    <a:pt x="831951" y="113157"/>
                  </a:lnTo>
                  <a:lnTo>
                    <a:pt x="831951" y="113551"/>
                  </a:lnTo>
                  <a:lnTo>
                    <a:pt x="832243" y="113551"/>
                  </a:lnTo>
                  <a:lnTo>
                    <a:pt x="832243" y="113995"/>
                  </a:lnTo>
                  <a:lnTo>
                    <a:pt x="832700" y="113995"/>
                  </a:lnTo>
                  <a:lnTo>
                    <a:pt x="832700" y="114452"/>
                  </a:lnTo>
                  <a:lnTo>
                    <a:pt x="834682" y="114452"/>
                  </a:lnTo>
                  <a:lnTo>
                    <a:pt x="834682" y="114795"/>
                  </a:lnTo>
                  <a:lnTo>
                    <a:pt x="834783" y="114795"/>
                  </a:lnTo>
                  <a:lnTo>
                    <a:pt x="834783" y="114452"/>
                  </a:lnTo>
                  <a:lnTo>
                    <a:pt x="834872" y="114452"/>
                  </a:lnTo>
                  <a:lnTo>
                    <a:pt x="834872" y="114795"/>
                  </a:lnTo>
                  <a:lnTo>
                    <a:pt x="834923" y="114795"/>
                  </a:lnTo>
                  <a:lnTo>
                    <a:pt x="834923" y="114452"/>
                  </a:lnTo>
                  <a:lnTo>
                    <a:pt x="835418" y="114452"/>
                  </a:lnTo>
                  <a:lnTo>
                    <a:pt x="835418" y="114795"/>
                  </a:lnTo>
                  <a:lnTo>
                    <a:pt x="835825" y="114795"/>
                  </a:lnTo>
                  <a:lnTo>
                    <a:pt x="835825" y="115240"/>
                  </a:lnTo>
                  <a:lnTo>
                    <a:pt x="835875" y="115240"/>
                  </a:lnTo>
                  <a:lnTo>
                    <a:pt x="835875" y="114795"/>
                  </a:lnTo>
                  <a:lnTo>
                    <a:pt x="836612" y="114795"/>
                  </a:lnTo>
                  <a:lnTo>
                    <a:pt x="836612" y="114452"/>
                  </a:lnTo>
                  <a:lnTo>
                    <a:pt x="836917" y="114452"/>
                  </a:lnTo>
                  <a:lnTo>
                    <a:pt x="836917" y="114795"/>
                  </a:lnTo>
                  <a:lnTo>
                    <a:pt x="838504" y="114795"/>
                  </a:lnTo>
                  <a:lnTo>
                    <a:pt x="838504" y="115240"/>
                  </a:lnTo>
                  <a:lnTo>
                    <a:pt x="838593" y="115240"/>
                  </a:lnTo>
                  <a:lnTo>
                    <a:pt x="838593" y="114795"/>
                  </a:lnTo>
                  <a:lnTo>
                    <a:pt x="838644" y="114795"/>
                  </a:lnTo>
                  <a:lnTo>
                    <a:pt x="838644" y="115240"/>
                  </a:lnTo>
                  <a:lnTo>
                    <a:pt x="838847" y="115240"/>
                  </a:lnTo>
                  <a:lnTo>
                    <a:pt x="838847" y="114795"/>
                  </a:lnTo>
                  <a:lnTo>
                    <a:pt x="839050" y="114795"/>
                  </a:lnTo>
                  <a:lnTo>
                    <a:pt x="839050" y="115240"/>
                  </a:lnTo>
                  <a:lnTo>
                    <a:pt x="839089" y="115240"/>
                  </a:lnTo>
                  <a:lnTo>
                    <a:pt x="839089" y="114795"/>
                  </a:lnTo>
                  <a:lnTo>
                    <a:pt x="839241" y="114795"/>
                  </a:lnTo>
                  <a:lnTo>
                    <a:pt x="839241" y="115240"/>
                  </a:lnTo>
                  <a:lnTo>
                    <a:pt x="839444" y="115240"/>
                  </a:lnTo>
                  <a:lnTo>
                    <a:pt x="839444" y="114795"/>
                  </a:lnTo>
                  <a:lnTo>
                    <a:pt x="839495" y="114795"/>
                  </a:lnTo>
                  <a:lnTo>
                    <a:pt x="839495" y="115240"/>
                  </a:lnTo>
                  <a:lnTo>
                    <a:pt x="839939" y="115240"/>
                  </a:lnTo>
                  <a:lnTo>
                    <a:pt x="839939" y="114795"/>
                  </a:lnTo>
                  <a:lnTo>
                    <a:pt x="839990" y="114795"/>
                  </a:lnTo>
                  <a:lnTo>
                    <a:pt x="839990" y="115240"/>
                  </a:lnTo>
                  <a:lnTo>
                    <a:pt x="840130" y="115240"/>
                  </a:lnTo>
                  <a:lnTo>
                    <a:pt x="840130" y="114795"/>
                  </a:lnTo>
                  <a:lnTo>
                    <a:pt x="840384" y="114795"/>
                  </a:lnTo>
                  <a:lnTo>
                    <a:pt x="840384" y="115240"/>
                  </a:lnTo>
                  <a:lnTo>
                    <a:pt x="841032" y="115240"/>
                  </a:lnTo>
                  <a:lnTo>
                    <a:pt x="841032" y="115684"/>
                  </a:lnTo>
                  <a:lnTo>
                    <a:pt x="841273" y="115684"/>
                  </a:lnTo>
                  <a:lnTo>
                    <a:pt x="841273" y="116129"/>
                  </a:lnTo>
                  <a:lnTo>
                    <a:pt x="842264" y="116129"/>
                  </a:lnTo>
                  <a:lnTo>
                    <a:pt x="842264" y="115684"/>
                  </a:lnTo>
                  <a:lnTo>
                    <a:pt x="842721" y="115684"/>
                  </a:lnTo>
                  <a:lnTo>
                    <a:pt x="842721" y="116129"/>
                  </a:lnTo>
                  <a:lnTo>
                    <a:pt x="843064" y="116129"/>
                  </a:lnTo>
                  <a:lnTo>
                    <a:pt x="843064" y="115684"/>
                  </a:lnTo>
                  <a:lnTo>
                    <a:pt x="843305" y="115684"/>
                  </a:lnTo>
                  <a:lnTo>
                    <a:pt x="843305" y="116129"/>
                  </a:lnTo>
                  <a:lnTo>
                    <a:pt x="843305" y="115684"/>
                  </a:lnTo>
                  <a:lnTo>
                    <a:pt x="843559" y="115684"/>
                  </a:lnTo>
                  <a:lnTo>
                    <a:pt x="843559" y="116129"/>
                  </a:lnTo>
                  <a:lnTo>
                    <a:pt x="843762" y="116129"/>
                  </a:lnTo>
                  <a:lnTo>
                    <a:pt x="843813" y="115684"/>
                  </a:lnTo>
                  <a:lnTo>
                    <a:pt x="843813" y="116129"/>
                  </a:lnTo>
                  <a:lnTo>
                    <a:pt x="843851" y="116129"/>
                  </a:lnTo>
                  <a:lnTo>
                    <a:pt x="843851" y="115684"/>
                  </a:lnTo>
                  <a:lnTo>
                    <a:pt x="844550" y="115684"/>
                  </a:lnTo>
                  <a:lnTo>
                    <a:pt x="844550" y="116129"/>
                  </a:lnTo>
                  <a:lnTo>
                    <a:pt x="844651" y="116129"/>
                  </a:lnTo>
                  <a:lnTo>
                    <a:pt x="844651" y="115684"/>
                  </a:lnTo>
                  <a:lnTo>
                    <a:pt x="844753" y="115684"/>
                  </a:lnTo>
                  <a:lnTo>
                    <a:pt x="844753" y="116129"/>
                  </a:lnTo>
                  <a:lnTo>
                    <a:pt x="846137" y="116129"/>
                  </a:lnTo>
                  <a:lnTo>
                    <a:pt x="846137" y="115684"/>
                  </a:lnTo>
                  <a:lnTo>
                    <a:pt x="846734" y="115684"/>
                  </a:lnTo>
                  <a:lnTo>
                    <a:pt x="846734" y="116129"/>
                  </a:lnTo>
                  <a:lnTo>
                    <a:pt x="847026" y="116129"/>
                  </a:lnTo>
                  <a:lnTo>
                    <a:pt x="847026" y="116535"/>
                  </a:lnTo>
                  <a:lnTo>
                    <a:pt x="847623" y="116535"/>
                  </a:lnTo>
                  <a:lnTo>
                    <a:pt x="847623" y="116980"/>
                  </a:lnTo>
                  <a:lnTo>
                    <a:pt x="847674" y="116980"/>
                  </a:lnTo>
                  <a:lnTo>
                    <a:pt x="847674" y="116535"/>
                  </a:lnTo>
                  <a:lnTo>
                    <a:pt x="847725" y="116535"/>
                  </a:lnTo>
                  <a:lnTo>
                    <a:pt x="847725" y="116980"/>
                  </a:lnTo>
                  <a:lnTo>
                    <a:pt x="850506" y="116980"/>
                  </a:lnTo>
                  <a:lnTo>
                    <a:pt x="850506" y="116535"/>
                  </a:lnTo>
                  <a:lnTo>
                    <a:pt x="850658" y="116535"/>
                  </a:lnTo>
                  <a:lnTo>
                    <a:pt x="850658" y="116980"/>
                  </a:lnTo>
                  <a:lnTo>
                    <a:pt x="851204" y="116980"/>
                  </a:lnTo>
                  <a:lnTo>
                    <a:pt x="851243" y="117424"/>
                  </a:lnTo>
                  <a:lnTo>
                    <a:pt x="851243" y="116980"/>
                  </a:lnTo>
                  <a:lnTo>
                    <a:pt x="851293" y="116980"/>
                  </a:lnTo>
                  <a:lnTo>
                    <a:pt x="851293" y="117424"/>
                  </a:lnTo>
                  <a:lnTo>
                    <a:pt x="851446" y="117424"/>
                  </a:lnTo>
                  <a:lnTo>
                    <a:pt x="851446" y="116980"/>
                  </a:lnTo>
                  <a:lnTo>
                    <a:pt x="851789" y="116980"/>
                  </a:lnTo>
                  <a:lnTo>
                    <a:pt x="851789" y="117424"/>
                  </a:lnTo>
                  <a:lnTo>
                    <a:pt x="852195" y="117424"/>
                  </a:lnTo>
                  <a:lnTo>
                    <a:pt x="852195" y="117869"/>
                  </a:lnTo>
                  <a:lnTo>
                    <a:pt x="853681" y="117869"/>
                  </a:lnTo>
                  <a:lnTo>
                    <a:pt x="853681" y="118212"/>
                  </a:lnTo>
                  <a:lnTo>
                    <a:pt x="855421" y="118212"/>
                  </a:lnTo>
                  <a:lnTo>
                    <a:pt x="855421" y="118669"/>
                  </a:lnTo>
                  <a:lnTo>
                    <a:pt x="857554" y="118669"/>
                  </a:lnTo>
                  <a:lnTo>
                    <a:pt x="857554" y="119113"/>
                  </a:lnTo>
                  <a:lnTo>
                    <a:pt x="857643" y="119113"/>
                  </a:lnTo>
                  <a:lnTo>
                    <a:pt x="857643" y="118669"/>
                  </a:lnTo>
                  <a:lnTo>
                    <a:pt x="857694" y="118669"/>
                  </a:lnTo>
                  <a:lnTo>
                    <a:pt x="857796" y="119113"/>
                  </a:lnTo>
                  <a:lnTo>
                    <a:pt x="858342" y="119113"/>
                  </a:lnTo>
                  <a:lnTo>
                    <a:pt x="858342" y="118669"/>
                  </a:lnTo>
                  <a:lnTo>
                    <a:pt x="859231" y="118669"/>
                  </a:lnTo>
                  <a:lnTo>
                    <a:pt x="859231" y="119113"/>
                  </a:lnTo>
                  <a:lnTo>
                    <a:pt x="860183" y="119113"/>
                  </a:lnTo>
                  <a:lnTo>
                    <a:pt x="860183" y="119507"/>
                  </a:lnTo>
                  <a:lnTo>
                    <a:pt x="860869" y="119507"/>
                  </a:lnTo>
                  <a:lnTo>
                    <a:pt x="860971" y="119113"/>
                  </a:lnTo>
                  <a:lnTo>
                    <a:pt x="861174" y="119113"/>
                  </a:lnTo>
                  <a:lnTo>
                    <a:pt x="861174" y="119507"/>
                  </a:lnTo>
                  <a:lnTo>
                    <a:pt x="861961" y="119507"/>
                  </a:lnTo>
                  <a:lnTo>
                    <a:pt x="861961" y="119113"/>
                  </a:lnTo>
                  <a:lnTo>
                    <a:pt x="862012" y="119113"/>
                  </a:lnTo>
                  <a:lnTo>
                    <a:pt x="862012" y="119507"/>
                  </a:lnTo>
                  <a:lnTo>
                    <a:pt x="862761" y="119507"/>
                  </a:lnTo>
                  <a:lnTo>
                    <a:pt x="862761" y="119952"/>
                  </a:lnTo>
                  <a:lnTo>
                    <a:pt x="864247" y="119952"/>
                  </a:lnTo>
                  <a:lnTo>
                    <a:pt x="864247" y="120396"/>
                  </a:lnTo>
                  <a:lnTo>
                    <a:pt x="865936" y="120396"/>
                  </a:lnTo>
                  <a:lnTo>
                    <a:pt x="865936" y="120841"/>
                  </a:lnTo>
                  <a:lnTo>
                    <a:pt x="866876" y="120841"/>
                  </a:lnTo>
                  <a:lnTo>
                    <a:pt x="866876" y="121247"/>
                  </a:lnTo>
                  <a:lnTo>
                    <a:pt x="868121" y="121247"/>
                  </a:lnTo>
                  <a:lnTo>
                    <a:pt x="868121" y="121691"/>
                  </a:lnTo>
                  <a:lnTo>
                    <a:pt x="868565" y="121691"/>
                  </a:lnTo>
                  <a:lnTo>
                    <a:pt x="868565" y="121247"/>
                  </a:lnTo>
                  <a:lnTo>
                    <a:pt x="868807" y="121247"/>
                  </a:lnTo>
                  <a:lnTo>
                    <a:pt x="868807" y="121691"/>
                  </a:lnTo>
                  <a:lnTo>
                    <a:pt x="870293" y="121691"/>
                  </a:lnTo>
                  <a:lnTo>
                    <a:pt x="870293" y="122085"/>
                  </a:lnTo>
                  <a:lnTo>
                    <a:pt x="871042" y="122085"/>
                  </a:lnTo>
                  <a:lnTo>
                    <a:pt x="871042" y="122530"/>
                  </a:lnTo>
                  <a:lnTo>
                    <a:pt x="871143" y="122530"/>
                  </a:lnTo>
                  <a:lnTo>
                    <a:pt x="871143" y="122085"/>
                  </a:lnTo>
                  <a:lnTo>
                    <a:pt x="871143" y="122530"/>
                  </a:lnTo>
                  <a:lnTo>
                    <a:pt x="871296" y="122530"/>
                  </a:lnTo>
                  <a:lnTo>
                    <a:pt x="871296" y="122085"/>
                  </a:lnTo>
                  <a:lnTo>
                    <a:pt x="871296" y="122530"/>
                  </a:lnTo>
                  <a:lnTo>
                    <a:pt x="872528" y="122530"/>
                  </a:lnTo>
                  <a:lnTo>
                    <a:pt x="872528" y="122936"/>
                  </a:lnTo>
                  <a:lnTo>
                    <a:pt x="873874" y="122936"/>
                  </a:lnTo>
                  <a:lnTo>
                    <a:pt x="873874" y="123381"/>
                  </a:lnTo>
                  <a:lnTo>
                    <a:pt x="874814" y="123381"/>
                  </a:lnTo>
                  <a:lnTo>
                    <a:pt x="874864" y="123825"/>
                  </a:lnTo>
                  <a:lnTo>
                    <a:pt x="875258" y="123825"/>
                  </a:lnTo>
                  <a:lnTo>
                    <a:pt x="875258" y="123381"/>
                  </a:lnTo>
                  <a:lnTo>
                    <a:pt x="875461" y="123381"/>
                  </a:lnTo>
                  <a:lnTo>
                    <a:pt x="875461" y="123825"/>
                  </a:lnTo>
                  <a:lnTo>
                    <a:pt x="876744" y="123825"/>
                  </a:lnTo>
                  <a:lnTo>
                    <a:pt x="876744" y="124219"/>
                  </a:lnTo>
                  <a:lnTo>
                    <a:pt x="877735" y="124219"/>
                  </a:lnTo>
                  <a:lnTo>
                    <a:pt x="877735" y="124663"/>
                  </a:lnTo>
                  <a:lnTo>
                    <a:pt x="877836" y="124663"/>
                  </a:lnTo>
                  <a:lnTo>
                    <a:pt x="877836" y="124219"/>
                  </a:lnTo>
                  <a:lnTo>
                    <a:pt x="878192" y="124219"/>
                  </a:lnTo>
                  <a:lnTo>
                    <a:pt x="878230" y="124663"/>
                  </a:lnTo>
                  <a:lnTo>
                    <a:pt x="878230" y="124219"/>
                  </a:lnTo>
                  <a:lnTo>
                    <a:pt x="878433" y="124219"/>
                  </a:lnTo>
                  <a:lnTo>
                    <a:pt x="878433" y="124663"/>
                  </a:lnTo>
                  <a:lnTo>
                    <a:pt x="878636" y="124663"/>
                  </a:lnTo>
                  <a:lnTo>
                    <a:pt x="878636" y="124219"/>
                  </a:lnTo>
                  <a:lnTo>
                    <a:pt x="878738" y="124219"/>
                  </a:lnTo>
                  <a:lnTo>
                    <a:pt x="878738" y="124663"/>
                  </a:lnTo>
                  <a:lnTo>
                    <a:pt x="878878" y="124663"/>
                  </a:lnTo>
                  <a:lnTo>
                    <a:pt x="878878" y="124219"/>
                  </a:lnTo>
                  <a:lnTo>
                    <a:pt x="880021" y="124219"/>
                  </a:lnTo>
                  <a:lnTo>
                    <a:pt x="880021" y="124663"/>
                  </a:lnTo>
                  <a:lnTo>
                    <a:pt x="880770" y="124663"/>
                  </a:lnTo>
                  <a:lnTo>
                    <a:pt x="880770" y="125108"/>
                  </a:lnTo>
                  <a:lnTo>
                    <a:pt x="881862" y="125108"/>
                  </a:lnTo>
                  <a:lnTo>
                    <a:pt x="881913" y="125565"/>
                  </a:lnTo>
                  <a:lnTo>
                    <a:pt x="883043" y="125565"/>
                  </a:lnTo>
                  <a:lnTo>
                    <a:pt x="883043" y="125908"/>
                  </a:lnTo>
                  <a:lnTo>
                    <a:pt x="883297" y="125908"/>
                  </a:lnTo>
                  <a:lnTo>
                    <a:pt x="883399" y="126352"/>
                  </a:lnTo>
                  <a:lnTo>
                    <a:pt x="883640" y="126352"/>
                  </a:lnTo>
                  <a:lnTo>
                    <a:pt x="883640" y="125908"/>
                  </a:lnTo>
                  <a:lnTo>
                    <a:pt x="883742" y="125908"/>
                  </a:lnTo>
                  <a:lnTo>
                    <a:pt x="883742" y="126352"/>
                  </a:lnTo>
                  <a:lnTo>
                    <a:pt x="885329" y="126352"/>
                  </a:lnTo>
                  <a:lnTo>
                    <a:pt x="885329" y="126797"/>
                  </a:lnTo>
                  <a:lnTo>
                    <a:pt x="886168" y="126797"/>
                  </a:lnTo>
                  <a:lnTo>
                    <a:pt x="886218" y="126352"/>
                  </a:lnTo>
                  <a:lnTo>
                    <a:pt x="886625" y="126352"/>
                  </a:lnTo>
                  <a:lnTo>
                    <a:pt x="886625" y="126797"/>
                  </a:lnTo>
                  <a:lnTo>
                    <a:pt x="888060" y="126797"/>
                  </a:lnTo>
                  <a:lnTo>
                    <a:pt x="888161" y="126352"/>
                  </a:lnTo>
                  <a:lnTo>
                    <a:pt x="888263" y="126352"/>
                  </a:lnTo>
                  <a:lnTo>
                    <a:pt x="888263" y="126797"/>
                  </a:lnTo>
                  <a:lnTo>
                    <a:pt x="889101" y="126797"/>
                  </a:lnTo>
                  <a:lnTo>
                    <a:pt x="889101" y="127191"/>
                  </a:lnTo>
                  <a:lnTo>
                    <a:pt x="889800" y="127191"/>
                  </a:lnTo>
                  <a:lnTo>
                    <a:pt x="889800" y="127648"/>
                  </a:lnTo>
                  <a:lnTo>
                    <a:pt x="890587" y="127648"/>
                  </a:lnTo>
                  <a:lnTo>
                    <a:pt x="890587" y="128092"/>
                  </a:lnTo>
                  <a:lnTo>
                    <a:pt x="891781" y="128092"/>
                  </a:lnTo>
                  <a:lnTo>
                    <a:pt x="891781" y="128537"/>
                  </a:lnTo>
                  <a:lnTo>
                    <a:pt x="892022" y="128537"/>
                  </a:lnTo>
                  <a:lnTo>
                    <a:pt x="892022" y="128092"/>
                  </a:lnTo>
                  <a:lnTo>
                    <a:pt x="892378" y="128092"/>
                  </a:lnTo>
                  <a:lnTo>
                    <a:pt x="892479" y="128537"/>
                  </a:lnTo>
                  <a:lnTo>
                    <a:pt x="893025" y="128537"/>
                  </a:lnTo>
                  <a:lnTo>
                    <a:pt x="893025" y="128880"/>
                  </a:lnTo>
                  <a:lnTo>
                    <a:pt x="893064" y="128537"/>
                  </a:lnTo>
                  <a:lnTo>
                    <a:pt x="893216" y="128537"/>
                  </a:lnTo>
                  <a:lnTo>
                    <a:pt x="893216" y="128880"/>
                  </a:lnTo>
                  <a:lnTo>
                    <a:pt x="893216" y="128537"/>
                  </a:lnTo>
                  <a:lnTo>
                    <a:pt x="894562" y="128537"/>
                  </a:lnTo>
                  <a:lnTo>
                    <a:pt x="894562" y="128880"/>
                  </a:lnTo>
                  <a:lnTo>
                    <a:pt x="895197" y="128880"/>
                  </a:lnTo>
                  <a:lnTo>
                    <a:pt x="895197" y="129324"/>
                  </a:lnTo>
                  <a:lnTo>
                    <a:pt x="897089" y="129324"/>
                  </a:lnTo>
                  <a:lnTo>
                    <a:pt x="897089" y="129781"/>
                  </a:lnTo>
                  <a:lnTo>
                    <a:pt x="897483" y="129781"/>
                  </a:lnTo>
                  <a:lnTo>
                    <a:pt x="897483" y="130226"/>
                  </a:lnTo>
                  <a:lnTo>
                    <a:pt x="897826" y="130226"/>
                  </a:lnTo>
                  <a:lnTo>
                    <a:pt x="897826" y="129781"/>
                  </a:lnTo>
                  <a:lnTo>
                    <a:pt x="898182" y="129781"/>
                  </a:lnTo>
                  <a:lnTo>
                    <a:pt x="898182" y="130226"/>
                  </a:lnTo>
                  <a:lnTo>
                    <a:pt x="898474" y="130226"/>
                  </a:lnTo>
                  <a:lnTo>
                    <a:pt x="898474" y="130619"/>
                  </a:lnTo>
                  <a:lnTo>
                    <a:pt x="899820" y="130619"/>
                  </a:lnTo>
                  <a:lnTo>
                    <a:pt x="899820" y="131064"/>
                  </a:lnTo>
                  <a:lnTo>
                    <a:pt x="901700" y="131064"/>
                  </a:lnTo>
                  <a:lnTo>
                    <a:pt x="901700" y="131508"/>
                  </a:lnTo>
                  <a:lnTo>
                    <a:pt x="901852" y="131508"/>
                  </a:lnTo>
                  <a:lnTo>
                    <a:pt x="901852" y="131064"/>
                  </a:lnTo>
                  <a:lnTo>
                    <a:pt x="901903" y="131064"/>
                  </a:lnTo>
                  <a:lnTo>
                    <a:pt x="902004" y="131508"/>
                  </a:lnTo>
                  <a:lnTo>
                    <a:pt x="902043" y="131508"/>
                  </a:lnTo>
                  <a:lnTo>
                    <a:pt x="902043" y="131064"/>
                  </a:lnTo>
                  <a:lnTo>
                    <a:pt x="902144" y="131064"/>
                  </a:lnTo>
                  <a:lnTo>
                    <a:pt x="902144" y="131508"/>
                  </a:lnTo>
                  <a:lnTo>
                    <a:pt x="902500" y="131508"/>
                  </a:lnTo>
                  <a:lnTo>
                    <a:pt x="902500" y="131064"/>
                  </a:lnTo>
                  <a:lnTo>
                    <a:pt x="902792" y="131064"/>
                  </a:lnTo>
                  <a:lnTo>
                    <a:pt x="902792" y="131508"/>
                  </a:lnTo>
                  <a:lnTo>
                    <a:pt x="903135" y="131508"/>
                  </a:lnTo>
                  <a:lnTo>
                    <a:pt x="903135" y="131915"/>
                  </a:lnTo>
                  <a:lnTo>
                    <a:pt x="905916" y="131915"/>
                  </a:lnTo>
                  <a:lnTo>
                    <a:pt x="905916" y="132359"/>
                  </a:lnTo>
                  <a:lnTo>
                    <a:pt x="906856" y="132359"/>
                  </a:lnTo>
                  <a:lnTo>
                    <a:pt x="906856" y="132804"/>
                  </a:lnTo>
                  <a:lnTo>
                    <a:pt x="907211" y="132804"/>
                  </a:lnTo>
                  <a:lnTo>
                    <a:pt x="907211" y="132359"/>
                  </a:lnTo>
                  <a:lnTo>
                    <a:pt x="907999" y="132359"/>
                  </a:lnTo>
                  <a:lnTo>
                    <a:pt x="907999" y="132804"/>
                  </a:lnTo>
                  <a:lnTo>
                    <a:pt x="908050" y="132804"/>
                  </a:lnTo>
                  <a:lnTo>
                    <a:pt x="908151" y="132359"/>
                  </a:lnTo>
                  <a:lnTo>
                    <a:pt x="908202" y="132359"/>
                  </a:lnTo>
                  <a:lnTo>
                    <a:pt x="908202" y="132804"/>
                  </a:lnTo>
                  <a:lnTo>
                    <a:pt x="909243" y="132804"/>
                  </a:lnTo>
                  <a:lnTo>
                    <a:pt x="909243" y="133198"/>
                  </a:lnTo>
                  <a:lnTo>
                    <a:pt x="910882" y="133198"/>
                  </a:lnTo>
                  <a:lnTo>
                    <a:pt x="910882" y="133591"/>
                  </a:lnTo>
                  <a:lnTo>
                    <a:pt x="911618" y="133591"/>
                  </a:lnTo>
                  <a:lnTo>
                    <a:pt x="911618" y="134048"/>
                  </a:lnTo>
                  <a:lnTo>
                    <a:pt x="911669" y="134048"/>
                  </a:lnTo>
                  <a:lnTo>
                    <a:pt x="911669" y="133591"/>
                  </a:lnTo>
                  <a:lnTo>
                    <a:pt x="911771" y="133591"/>
                  </a:lnTo>
                  <a:lnTo>
                    <a:pt x="911771" y="134048"/>
                  </a:lnTo>
                  <a:lnTo>
                    <a:pt x="912761" y="134048"/>
                  </a:lnTo>
                  <a:lnTo>
                    <a:pt x="912761" y="134493"/>
                  </a:lnTo>
                  <a:lnTo>
                    <a:pt x="912964" y="134493"/>
                  </a:lnTo>
                  <a:lnTo>
                    <a:pt x="912964" y="134048"/>
                  </a:lnTo>
                  <a:lnTo>
                    <a:pt x="913117" y="134048"/>
                  </a:lnTo>
                  <a:lnTo>
                    <a:pt x="913117" y="134493"/>
                  </a:lnTo>
                  <a:lnTo>
                    <a:pt x="913117" y="134048"/>
                  </a:lnTo>
                  <a:lnTo>
                    <a:pt x="913206" y="134048"/>
                  </a:lnTo>
                  <a:lnTo>
                    <a:pt x="913206" y="134493"/>
                  </a:lnTo>
                  <a:lnTo>
                    <a:pt x="913409" y="134493"/>
                  </a:lnTo>
                  <a:lnTo>
                    <a:pt x="913409" y="134048"/>
                  </a:lnTo>
                  <a:lnTo>
                    <a:pt x="913460" y="134048"/>
                  </a:lnTo>
                  <a:lnTo>
                    <a:pt x="913460" y="134493"/>
                  </a:lnTo>
                  <a:lnTo>
                    <a:pt x="913460" y="134048"/>
                  </a:lnTo>
                  <a:lnTo>
                    <a:pt x="914006" y="134048"/>
                  </a:lnTo>
                  <a:lnTo>
                    <a:pt x="914006" y="134493"/>
                  </a:lnTo>
                  <a:lnTo>
                    <a:pt x="914298" y="134493"/>
                  </a:lnTo>
                  <a:lnTo>
                    <a:pt x="914298" y="134048"/>
                  </a:lnTo>
                  <a:lnTo>
                    <a:pt x="914400" y="134048"/>
                  </a:lnTo>
                  <a:lnTo>
                    <a:pt x="914400" y="134493"/>
                  </a:lnTo>
                  <a:lnTo>
                    <a:pt x="916876" y="134493"/>
                  </a:lnTo>
                  <a:lnTo>
                    <a:pt x="916876" y="134937"/>
                  </a:lnTo>
                  <a:lnTo>
                    <a:pt x="918616" y="134937"/>
                  </a:lnTo>
                  <a:lnTo>
                    <a:pt x="918616" y="135331"/>
                  </a:lnTo>
                  <a:lnTo>
                    <a:pt x="918667" y="135331"/>
                  </a:lnTo>
                  <a:lnTo>
                    <a:pt x="918667" y="134937"/>
                  </a:lnTo>
                  <a:lnTo>
                    <a:pt x="918870" y="134937"/>
                  </a:lnTo>
                  <a:lnTo>
                    <a:pt x="918870" y="135331"/>
                  </a:lnTo>
                  <a:lnTo>
                    <a:pt x="918921" y="135331"/>
                  </a:lnTo>
                  <a:lnTo>
                    <a:pt x="918921" y="134937"/>
                  </a:lnTo>
                  <a:lnTo>
                    <a:pt x="919060" y="134937"/>
                  </a:lnTo>
                  <a:lnTo>
                    <a:pt x="919060" y="135331"/>
                  </a:lnTo>
                  <a:lnTo>
                    <a:pt x="919314" y="135331"/>
                  </a:lnTo>
                  <a:lnTo>
                    <a:pt x="919314" y="134937"/>
                  </a:lnTo>
                  <a:lnTo>
                    <a:pt x="919314" y="135331"/>
                  </a:lnTo>
                  <a:lnTo>
                    <a:pt x="920902" y="135331"/>
                  </a:lnTo>
                  <a:lnTo>
                    <a:pt x="920902" y="135776"/>
                  </a:lnTo>
                  <a:lnTo>
                    <a:pt x="922985" y="135776"/>
                  </a:lnTo>
                  <a:lnTo>
                    <a:pt x="922985" y="136220"/>
                  </a:lnTo>
                  <a:lnTo>
                    <a:pt x="924471" y="136220"/>
                  </a:lnTo>
                  <a:lnTo>
                    <a:pt x="924471" y="136576"/>
                  </a:lnTo>
                  <a:lnTo>
                    <a:pt x="925017" y="136576"/>
                  </a:lnTo>
                  <a:lnTo>
                    <a:pt x="925017" y="136220"/>
                  </a:lnTo>
                  <a:lnTo>
                    <a:pt x="925118" y="136220"/>
                  </a:lnTo>
                  <a:lnTo>
                    <a:pt x="925118" y="136576"/>
                  </a:lnTo>
                  <a:lnTo>
                    <a:pt x="926261" y="136576"/>
                  </a:lnTo>
                  <a:lnTo>
                    <a:pt x="926261" y="137020"/>
                  </a:lnTo>
                  <a:lnTo>
                    <a:pt x="926312" y="137020"/>
                  </a:lnTo>
                  <a:lnTo>
                    <a:pt x="926312" y="136576"/>
                  </a:lnTo>
                  <a:lnTo>
                    <a:pt x="926363" y="136576"/>
                  </a:lnTo>
                  <a:lnTo>
                    <a:pt x="926363" y="137020"/>
                  </a:lnTo>
                  <a:lnTo>
                    <a:pt x="926858" y="137020"/>
                  </a:lnTo>
                  <a:lnTo>
                    <a:pt x="926858" y="137465"/>
                  </a:lnTo>
                  <a:lnTo>
                    <a:pt x="926947" y="137465"/>
                  </a:lnTo>
                  <a:lnTo>
                    <a:pt x="926947" y="137020"/>
                  </a:lnTo>
                  <a:lnTo>
                    <a:pt x="926998" y="137020"/>
                  </a:lnTo>
                  <a:lnTo>
                    <a:pt x="926998" y="137465"/>
                  </a:lnTo>
                  <a:lnTo>
                    <a:pt x="927900" y="137465"/>
                  </a:lnTo>
                  <a:lnTo>
                    <a:pt x="927900" y="137909"/>
                  </a:lnTo>
                  <a:lnTo>
                    <a:pt x="929132" y="137909"/>
                  </a:lnTo>
                  <a:lnTo>
                    <a:pt x="929132" y="138303"/>
                  </a:lnTo>
                  <a:lnTo>
                    <a:pt x="930376" y="138303"/>
                  </a:lnTo>
                  <a:lnTo>
                    <a:pt x="930376" y="138760"/>
                  </a:lnTo>
                  <a:lnTo>
                    <a:pt x="930618" y="138760"/>
                  </a:lnTo>
                  <a:lnTo>
                    <a:pt x="930618" y="138303"/>
                  </a:lnTo>
                  <a:lnTo>
                    <a:pt x="931621" y="138303"/>
                  </a:lnTo>
                  <a:lnTo>
                    <a:pt x="931621" y="138760"/>
                  </a:lnTo>
                  <a:lnTo>
                    <a:pt x="932713" y="138760"/>
                  </a:lnTo>
                  <a:lnTo>
                    <a:pt x="932713" y="139205"/>
                  </a:lnTo>
                  <a:lnTo>
                    <a:pt x="933208" y="139205"/>
                  </a:lnTo>
                  <a:lnTo>
                    <a:pt x="933297" y="139649"/>
                  </a:lnTo>
                  <a:lnTo>
                    <a:pt x="934440" y="139649"/>
                  </a:lnTo>
                  <a:lnTo>
                    <a:pt x="934440" y="139992"/>
                  </a:lnTo>
                  <a:lnTo>
                    <a:pt x="934796" y="139992"/>
                  </a:lnTo>
                  <a:lnTo>
                    <a:pt x="934796" y="140437"/>
                  </a:lnTo>
                  <a:lnTo>
                    <a:pt x="936333" y="140437"/>
                  </a:lnTo>
                  <a:lnTo>
                    <a:pt x="936333" y="140894"/>
                  </a:lnTo>
                  <a:lnTo>
                    <a:pt x="936383" y="140894"/>
                  </a:lnTo>
                  <a:lnTo>
                    <a:pt x="936383" y="140437"/>
                  </a:lnTo>
                  <a:lnTo>
                    <a:pt x="936574" y="140437"/>
                  </a:lnTo>
                  <a:lnTo>
                    <a:pt x="936574" y="140894"/>
                  </a:lnTo>
                  <a:lnTo>
                    <a:pt x="936574" y="140437"/>
                  </a:lnTo>
                  <a:lnTo>
                    <a:pt x="936625" y="140437"/>
                  </a:lnTo>
                  <a:lnTo>
                    <a:pt x="936726" y="140894"/>
                  </a:lnTo>
                  <a:lnTo>
                    <a:pt x="936929" y="140894"/>
                  </a:lnTo>
                  <a:lnTo>
                    <a:pt x="936929" y="140437"/>
                  </a:lnTo>
                  <a:lnTo>
                    <a:pt x="937018" y="140437"/>
                  </a:lnTo>
                  <a:lnTo>
                    <a:pt x="937018" y="140894"/>
                  </a:lnTo>
                  <a:lnTo>
                    <a:pt x="937425" y="140894"/>
                  </a:lnTo>
                  <a:lnTo>
                    <a:pt x="937425" y="141287"/>
                  </a:lnTo>
                  <a:lnTo>
                    <a:pt x="939063" y="141287"/>
                  </a:lnTo>
                  <a:lnTo>
                    <a:pt x="939063" y="141732"/>
                  </a:lnTo>
                  <a:lnTo>
                    <a:pt x="939558" y="141732"/>
                  </a:lnTo>
                  <a:lnTo>
                    <a:pt x="939558" y="142177"/>
                  </a:lnTo>
                  <a:lnTo>
                    <a:pt x="941095" y="142177"/>
                  </a:lnTo>
                  <a:lnTo>
                    <a:pt x="941095" y="142621"/>
                  </a:lnTo>
                  <a:lnTo>
                    <a:pt x="941146" y="142621"/>
                  </a:lnTo>
                  <a:lnTo>
                    <a:pt x="941146" y="142177"/>
                  </a:lnTo>
                  <a:lnTo>
                    <a:pt x="941235" y="142177"/>
                  </a:lnTo>
                  <a:lnTo>
                    <a:pt x="941235" y="142621"/>
                  </a:lnTo>
                  <a:lnTo>
                    <a:pt x="941387" y="142621"/>
                  </a:lnTo>
                  <a:lnTo>
                    <a:pt x="941387" y="142177"/>
                  </a:lnTo>
                  <a:lnTo>
                    <a:pt x="941539" y="142177"/>
                  </a:lnTo>
                  <a:lnTo>
                    <a:pt x="941539" y="142621"/>
                  </a:lnTo>
                  <a:lnTo>
                    <a:pt x="941590" y="142621"/>
                  </a:lnTo>
                  <a:lnTo>
                    <a:pt x="941590" y="142177"/>
                  </a:lnTo>
                  <a:lnTo>
                    <a:pt x="941984" y="142177"/>
                  </a:lnTo>
                  <a:lnTo>
                    <a:pt x="941984" y="142621"/>
                  </a:lnTo>
                  <a:lnTo>
                    <a:pt x="943864" y="142621"/>
                  </a:lnTo>
                  <a:lnTo>
                    <a:pt x="943864" y="143027"/>
                  </a:lnTo>
                  <a:lnTo>
                    <a:pt x="945210" y="143027"/>
                  </a:lnTo>
                  <a:lnTo>
                    <a:pt x="945210" y="143472"/>
                  </a:lnTo>
                  <a:lnTo>
                    <a:pt x="947191" y="143472"/>
                  </a:lnTo>
                  <a:lnTo>
                    <a:pt x="947191" y="143916"/>
                  </a:lnTo>
                  <a:lnTo>
                    <a:pt x="948385" y="143916"/>
                  </a:lnTo>
                  <a:lnTo>
                    <a:pt x="948385" y="144259"/>
                  </a:lnTo>
                  <a:lnTo>
                    <a:pt x="950074" y="144259"/>
                  </a:lnTo>
                  <a:lnTo>
                    <a:pt x="950074" y="144704"/>
                  </a:lnTo>
                  <a:lnTo>
                    <a:pt x="951115" y="144704"/>
                  </a:lnTo>
                  <a:lnTo>
                    <a:pt x="951115" y="145161"/>
                  </a:lnTo>
                  <a:lnTo>
                    <a:pt x="952004" y="145161"/>
                  </a:lnTo>
                  <a:lnTo>
                    <a:pt x="952004" y="145606"/>
                  </a:lnTo>
                  <a:lnTo>
                    <a:pt x="952843" y="145606"/>
                  </a:lnTo>
                  <a:lnTo>
                    <a:pt x="952843" y="145999"/>
                  </a:lnTo>
                  <a:lnTo>
                    <a:pt x="953147" y="145999"/>
                  </a:lnTo>
                  <a:lnTo>
                    <a:pt x="953147" y="146444"/>
                  </a:lnTo>
                  <a:lnTo>
                    <a:pt x="953249" y="146444"/>
                  </a:lnTo>
                  <a:lnTo>
                    <a:pt x="953249" y="145999"/>
                  </a:lnTo>
                  <a:lnTo>
                    <a:pt x="953300" y="145999"/>
                  </a:lnTo>
                  <a:lnTo>
                    <a:pt x="953350" y="146444"/>
                  </a:lnTo>
                  <a:lnTo>
                    <a:pt x="954239" y="146444"/>
                  </a:lnTo>
                  <a:lnTo>
                    <a:pt x="954239" y="146888"/>
                  </a:lnTo>
                  <a:lnTo>
                    <a:pt x="956564" y="146888"/>
                  </a:lnTo>
                  <a:lnTo>
                    <a:pt x="956665" y="147333"/>
                  </a:lnTo>
                  <a:lnTo>
                    <a:pt x="957465" y="147333"/>
                  </a:lnTo>
                  <a:lnTo>
                    <a:pt x="957465" y="147688"/>
                  </a:lnTo>
                  <a:lnTo>
                    <a:pt x="958799" y="147688"/>
                  </a:lnTo>
                  <a:lnTo>
                    <a:pt x="958799" y="148133"/>
                  </a:lnTo>
                  <a:lnTo>
                    <a:pt x="959942" y="148133"/>
                  </a:lnTo>
                  <a:lnTo>
                    <a:pt x="959942" y="148577"/>
                  </a:lnTo>
                  <a:lnTo>
                    <a:pt x="961326" y="148577"/>
                  </a:lnTo>
                  <a:lnTo>
                    <a:pt x="961326" y="148971"/>
                  </a:lnTo>
                  <a:lnTo>
                    <a:pt x="962875" y="148971"/>
                  </a:lnTo>
                  <a:lnTo>
                    <a:pt x="962875" y="149416"/>
                  </a:lnTo>
                  <a:lnTo>
                    <a:pt x="963612" y="149416"/>
                  </a:lnTo>
                  <a:lnTo>
                    <a:pt x="963612" y="149873"/>
                  </a:lnTo>
                  <a:lnTo>
                    <a:pt x="964412" y="149873"/>
                  </a:lnTo>
                  <a:lnTo>
                    <a:pt x="964412" y="150317"/>
                  </a:lnTo>
                  <a:lnTo>
                    <a:pt x="964704" y="150317"/>
                  </a:lnTo>
                  <a:lnTo>
                    <a:pt x="964704" y="150660"/>
                  </a:lnTo>
                  <a:lnTo>
                    <a:pt x="964857" y="150660"/>
                  </a:lnTo>
                  <a:lnTo>
                    <a:pt x="964857" y="150317"/>
                  </a:lnTo>
                  <a:lnTo>
                    <a:pt x="965301" y="150317"/>
                  </a:lnTo>
                  <a:lnTo>
                    <a:pt x="965301" y="150660"/>
                  </a:lnTo>
                  <a:lnTo>
                    <a:pt x="967435" y="150660"/>
                  </a:lnTo>
                  <a:lnTo>
                    <a:pt x="967435" y="151105"/>
                  </a:lnTo>
                  <a:lnTo>
                    <a:pt x="967536" y="151105"/>
                  </a:lnTo>
                  <a:lnTo>
                    <a:pt x="967536" y="150660"/>
                  </a:lnTo>
                  <a:lnTo>
                    <a:pt x="967638" y="150660"/>
                  </a:lnTo>
                  <a:lnTo>
                    <a:pt x="967638" y="151105"/>
                  </a:lnTo>
                  <a:lnTo>
                    <a:pt x="968375" y="151105"/>
                  </a:lnTo>
                  <a:lnTo>
                    <a:pt x="968375" y="151549"/>
                  </a:lnTo>
                  <a:lnTo>
                    <a:pt x="969124" y="151549"/>
                  </a:lnTo>
                  <a:lnTo>
                    <a:pt x="969124" y="152006"/>
                  </a:lnTo>
                  <a:lnTo>
                    <a:pt x="970356" y="152006"/>
                  </a:lnTo>
                  <a:lnTo>
                    <a:pt x="970356" y="152400"/>
                  </a:lnTo>
                  <a:lnTo>
                    <a:pt x="972197" y="152400"/>
                  </a:lnTo>
                  <a:lnTo>
                    <a:pt x="972197" y="152844"/>
                  </a:lnTo>
                  <a:lnTo>
                    <a:pt x="973035" y="152844"/>
                  </a:lnTo>
                  <a:lnTo>
                    <a:pt x="973035" y="153289"/>
                  </a:lnTo>
                  <a:lnTo>
                    <a:pt x="974026" y="153289"/>
                  </a:lnTo>
                  <a:lnTo>
                    <a:pt x="974026" y="153683"/>
                  </a:lnTo>
                  <a:lnTo>
                    <a:pt x="974433" y="153683"/>
                  </a:lnTo>
                  <a:lnTo>
                    <a:pt x="974433" y="154140"/>
                  </a:lnTo>
                  <a:lnTo>
                    <a:pt x="974483" y="154140"/>
                  </a:lnTo>
                  <a:lnTo>
                    <a:pt x="974483" y="153683"/>
                  </a:lnTo>
                  <a:lnTo>
                    <a:pt x="974826" y="153683"/>
                  </a:lnTo>
                  <a:lnTo>
                    <a:pt x="974826" y="154140"/>
                  </a:lnTo>
                  <a:lnTo>
                    <a:pt x="975817" y="154140"/>
                  </a:lnTo>
                  <a:lnTo>
                    <a:pt x="975817" y="154584"/>
                  </a:lnTo>
                  <a:lnTo>
                    <a:pt x="976757" y="154584"/>
                  </a:lnTo>
                  <a:lnTo>
                    <a:pt x="976757" y="155029"/>
                  </a:lnTo>
                  <a:lnTo>
                    <a:pt x="976960" y="155029"/>
                  </a:lnTo>
                  <a:lnTo>
                    <a:pt x="976960" y="154584"/>
                  </a:lnTo>
                  <a:lnTo>
                    <a:pt x="977061" y="154584"/>
                  </a:lnTo>
                  <a:lnTo>
                    <a:pt x="977061" y="155029"/>
                  </a:lnTo>
                  <a:lnTo>
                    <a:pt x="977163" y="155029"/>
                  </a:lnTo>
                  <a:lnTo>
                    <a:pt x="977163" y="154584"/>
                  </a:lnTo>
                  <a:lnTo>
                    <a:pt x="977354" y="154584"/>
                  </a:lnTo>
                  <a:lnTo>
                    <a:pt x="977354" y="155029"/>
                  </a:lnTo>
                  <a:lnTo>
                    <a:pt x="977506" y="155029"/>
                  </a:lnTo>
                  <a:lnTo>
                    <a:pt x="977506" y="154584"/>
                  </a:lnTo>
                  <a:lnTo>
                    <a:pt x="977608" y="154584"/>
                  </a:lnTo>
                  <a:lnTo>
                    <a:pt x="977608" y="155029"/>
                  </a:lnTo>
                  <a:lnTo>
                    <a:pt x="977798" y="155029"/>
                  </a:lnTo>
                  <a:lnTo>
                    <a:pt x="977798" y="154584"/>
                  </a:lnTo>
                  <a:lnTo>
                    <a:pt x="978243" y="154584"/>
                  </a:lnTo>
                  <a:lnTo>
                    <a:pt x="978243" y="155029"/>
                  </a:lnTo>
                  <a:lnTo>
                    <a:pt x="979792" y="155029"/>
                  </a:lnTo>
                  <a:lnTo>
                    <a:pt x="979792" y="155372"/>
                  </a:lnTo>
                  <a:lnTo>
                    <a:pt x="980681" y="155372"/>
                  </a:lnTo>
                  <a:lnTo>
                    <a:pt x="980732" y="155029"/>
                  </a:lnTo>
                  <a:lnTo>
                    <a:pt x="980783" y="155029"/>
                  </a:lnTo>
                  <a:lnTo>
                    <a:pt x="980783" y="155372"/>
                  </a:lnTo>
                  <a:lnTo>
                    <a:pt x="981672" y="155372"/>
                  </a:lnTo>
                  <a:lnTo>
                    <a:pt x="981672" y="155816"/>
                  </a:lnTo>
                  <a:lnTo>
                    <a:pt x="983551" y="155816"/>
                  </a:lnTo>
                  <a:lnTo>
                    <a:pt x="983551" y="156273"/>
                  </a:lnTo>
                  <a:lnTo>
                    <a:pt x="984453" y="156273"/>
                  </a:lnTo>
                  <a:lnTo>
                    <a:pt x="984554" y="156667"/>
                  </a:lnTo>
                  <a:lnTo>
                    <a:pt x="985443" y="156667"/>
                  </a:lnTo>
                  <a:lnTo>
                    <a:pt x="985443" y="157112"/>
                  </a:lnTo>
                  <a:lnTo>
                    <a:pt x="986231" y="157112"/>
                  </a:lnTo>
                  <a:lnTo>
                    <a:pt x="986231" y="157556"/>
                  </a:lnTo>
                  <a:lnTo>
                    <a:pt x="986828" y="157556"/>
                  </a:lnTo>
                  <a:lnTo>
                    <a:pt x="986828" y="157112"/>
                  </a:lnTo>
                  <a:lnTo>
                    <a:pt x="987729" y="157112"/>
                  </a:lnTo>
                  <a:lnTo>
                    <a:pt x="987729" y="157556"/>
                  </a:lnTo>
                  <a:lnTo>
                    <a:pt x="988072" y="157556"/>
                  </a:lnTo>
                  <a:lnTo>
                    <a:pt x="988072" y="158001"/>
                  </a:lnTo>
                  <a:lnTo>
                    <a:pt x="989901" y="158001"/>
                  </a:lnTo>
                  <a:lnTo>
                    <a:pt x="989901" y="158356"/>
                  </a:lnTo>
                  <a:lnTo>
                    <a:pt x="990752" y="158356"/>
                  </a:lnTo>
                  <a:lnTo>
                    <a:pt x="990752" y="158801"/>
                  </a:lnTo>
                  <a:lnTo>
                    <a:pt x="990993" y="158801"/>
                  </a:lnTo>
                  <a:lnTo>
                    <a:pt x="990993" y="158356"/>
                  </a:lnTo>
                  <a:lnTo>
                    <a:pt x="991400" y="158356"/>
                  </a:lnTo>
                  <a:lnTo>
                    <a:pt x="991400" y="158801"/>
                  </a:lnTo>
                  <a:lnTo>
                    <a:pt x="992733" y="158801"/>
                  </a:lnTo>
                  <a:lnTo>
                    <a:pt x="992784" y="159245"/>
                  </a:lnTo>
                  <a:lnTo>
                    <a:pt x="993724" y="159245"/>
                  </a:lnTo>
                  <a:lnTo>
                    <a:pt x="993724" y="159690"/>
                  </a:lnTo>
                  <a:lnTo>
                    <a:pt x="994422" y="159690"/>
                  </a:lnTo>
                  <a:lnTo>
                    <a:pt x="994422" y="160083"/>
                  </a:lnTo>
                  <a:lnTo>
                    <a:pt x="994664" y="160083"/>
                  </a:lnTo>
                  <a:lnTo>
                    <a:pt x="994664" y="159690"/>
                  </a:lnTo>
                  <a:lnTo>
                    <a:pt x="994816" y="159690"/>
                  </a:lnTo>
                  <a:lnTo>
                    <a:pt x="994816" y="160083"/>
                  </a:lnTo>
                  <a:lnTo>
                    <a:pt x="995565" y="160083"/>
                  </a:lnTo>
                  <a:lnTo>
                    <a:pt x="995565" y="160528"/>
                  </a:lnTo>
                  <a:lnTo>
                    <a:pt x="996404" y="160528"/>
                  </a:lnTo>
                  <a:lnTo>
                    <a:pt x="996404" y="160985"/>
                  </a:lnTo>
                  <a:lnTo>
                    <a:pt x="996454" y="160985"/>
                  </a:lnTo>
                  <a:lnTo>
                    <a:pt x="996454" y="160528"/>
                  </a:lnTo>
                  <a:lnTo>
                    <a:pt x="996556" y="160528"/>
                  </a:lnTo>
                  <a:lnTo>
                    <a:pt x="996556" y="160985"/>
                  </a:lnTo>
                  <a:lnTo>
                    <a:pt x="997547" y="160985"/>
                  </a:lnTo>
                  <a:lnTo>
                    <a:pt x="997547" y="160528"/>
                  </a:lnTo>
                  <a:lnTo>
                    <a:pt x="997839" y="160528"/>
                  </a:lnTo>
                  <a:lnTo>
                    <a:pt x="997839" y="160985"/>
                  </a:lnTo>
                  <a:lnTo>
                    <a:pt x="998245" y="160985"/>
                  </a:lnTo>
                  <a:lnTo>
                    <a:pt x="998296" y="161379"/>
                  </a:lnTo>
                  <a:lnTo>
                    <a:pt x="999185" y="161379"/>
                  </a:lnTo>
                  <a:lnTo>
                    <a:pt x="999286" y="160985"/>
                  </a:lnTo>
                  <a:lnTo>
                    <a:pt x="999528" y="160985"/>
                  </a:lnTo>
                  <a:lnTo>
                    <a:pt x="999528" y="161379"/>
                  </a:lnTo>
                  <a:lnTo>
                    <a:pt x="1001014" y="161379"/>
                  </a:lnTo>
                  <a:lnTo>
                    <a:pt x="1001014" y="161773"/>
                  </a:lnTo>
                  <a:lnTo>
                    <a:pt x="1001712" y="161773"/>
                  </a:lnTo>
                  <a:lnTo>
                    <a:pt x="1001814" y="162217"/>
                  </a:lnTo>
                  <a:lnTo>
                    <a:pt x="1002906" y="162217"/>
                  </a:lnTo>
                  <a:lnTo>
                    <a:pt x="1002906" y="162662"/>
                  </a:lnTo>
                  <a:lnTo>
                    <a:pt x="1002957" y="162662"/>
                  </a:lnTo>
                  <a:lnTo>
                    <a:pt x="1002957" y="162217"/>
                  </a:lnTo>
                  <a:lnTo>
                    <a:pt x="1003401" y="162217"/>
                  </a:lnTo>
                  <a:lnTo>
                    <a:pt x="1003401" y="162662"/>
                  </a:lnTo>
                  <a:lnTo>
                    <a:pt x="1003452" y="162662"/>
                  </a:lnTo>
                  <a:lnTo>
                    <a:pt x="1003452" y="162217"/>
                  </a:lnTo>
                  <a:lnTo>
                    <a:pt x="1003604" y="162217"/>
                  </a:lnTo>
                  <a:lnTo>
                    <a:pt x="1003604" y="162662"/>
                  </a:lnTo>
                  <a:lnTo>
                    <a:pt x="1005090" y="162662"/>
                  </a:lnTo>
                  <a:lnTo>
                    <a:pt x="1005090" y="163068"/>
                  </a:lnTo>
                  <a:lnTo>
                    <a:pt x="1005535" y="163068"/>
                  </a:lnTo>
                  <a:lnTo>
                    <a:pt x="1005535" y="162662"/>
                  </a:lnTo>
                  <a:lnTo>
                    <a:pt x="1005636" y="162662"/>
                  </a:lnTo>
                  <a:lnTo>
                    <a:pt x="1005636" y="163068"/>
                  </a:lnTo>
                  <a:lnTo>
                    <a:pt x="1006818" y="163068"/>
                  </a:lnTo>
                  <a:lnTo>
                    <a:pt x="1006868" y="162662"/>
                  </a:lnTo>
                  <a:lnTo>
                    <a:pt x="1007122" y="162662"/>
                  </a:lnTo>
                  <a:lnTo>
                    <a:pt x="1007122" y="163068"/>
                  </a:lnTo>
                  <a:lnTo>
                    <a:pt x="1007465" y="163068"/>
                  </a:lnTo>
                  <a:lnTo>
                    <a:pt x="1007465" y="163512"/>
                  </a:lnTo>
                  <a:lnTo>
                    <a:pt x="1007770" y="163512"/>
                  </a:lnTo>
                  <a:lnTo>
                    <a:pt x="1007770" y="163957"/>
                  </a:lnTo>
                  <a:lnTo>
                    <a:pt x="1008608" y="163957"/>
                  </a:lnTo>
                  <a:lnTo>
                    <a:pt x="1008608" y="163512"/>
                  </a:lnTo>
                  <a:lnTo>
                    <a:pt x="1008659" y="163512"/>
                  </a:lnTo>
                  <a:lnTo>
                    <a:pt x="1008659" y="163957"/>
                  </a:lnTo>
                  <a:lnTo>
                    <a:pt x="1009104" y="163957"/>
                  </a:lnTo>
                  <a:lnTo>
                    <a:pt x="1009104" y="164402"/>
                  </a:lnTo>
                  <a:lnTo>
                    <a:pt x="1009993" y="164402"/>
                  </a:lnTo>
                  <a:lnTo>
                    <a:pt x="1009993" y="163957"/>
                  </a:lnTo>
                  <a:lnTo>
                    <a:pt x="1010043" y="163957"/>
                  </a:lnTo>
                  <a:lnTo>
                    <a:pt x="1010043" y="164402"/>
                  </a:lnTo>
                  <a:lnTo>
                    <a:pt x="1010500" y="164402"/>
                  </a:lnTo>
                  <a:lnTo>
                    <a:pt x="1010500" y="164795"/>
                  </a:lnTo>
                  <a:lnTo>
                    <a:pt x="1011542" y="164795"/>
                  </a:lnTo>
                  <a:lnTo>
                    <a:pt x="1011542" y="164402"/>
                  </a:lnTo>
                  <a:lnTo>
                    <a:pt x="1011834" y="164402"/>
                  </a:lnTo>
                  <a:lnTo>
                    <a:pt x="1011834" y="164795"/>
                  </a:lnTo>
                  <a:lnTo>
                    <a:pt x="1012672" y="164795"/>
                  </a:lnTo>
                  <a:lnTo>
                    <a:pt x="1012672" y="165252"/>
                  </a:lnTo>
                  <a:lnTo>
                    <a:pt x="1013028" y="165252"/>
                  </a:lnTo>
                  <a:lnTo>
                    <a:pt x="1013028" y="165697"/>
                  </a:lnTo>
                  <a:lnTo>
                    <a:pt x="1013866" y="165697"/>
                  </a:lnTo>
                  <a:lnTo>
                    <a:pt x="1013866" y="166040"/>
                  </a:lnTo>
                  <a:lnTo>
                    <a:pt x="1015708" y="166040"/>
                  </a:lnTo>
                  <a:lnTo>
                    <a:pt x="1015708" y="166484"/>
                  </a:lnTo>
                  <a:lnTo>
                    <a:pt x="1015949" y="166484"/>
                  </a:lnTo>
                  <a:lnTo>
                    <a:pt x="1015949" y="166040"/>
                  </a:lnTo>
                  <a:lnTo>
                    <a:pt x="1016850" y="166040"/>
                  </a:lnTo>
                  <a:lnTo>
                    <a:pt x="1016850" y="166484"/>
                  </a:lnTo>
                  <a:lnTo>
                    <a:pt x="1017892" y="166484"/>
                  </a:lnTo>
                  <a:lnTo>
                    <a:pt x="1017892" y="166929"/>
                  </a:lnTo>
                  <a:lnTo>
                    <a:pt x="1019276" y="166929"/>
                  </a:lnTo>
                  <a:lnTo>
                    <a:pt x="1019276" y="167386"/>
                  </a:lnTo>
                  <a:lnTo>
                    <a:pt x="1019721" y="167386"/>
                  </a:lnTo>
                  <a:lnTo>
                    <a:pt x="1019721" y="166929"/>
                  </a:lnTo>
                  <a:lnTo>
                    <a:pt x="1020216" y="166929"/>
                  </a:lnTo>
                  <a:lnTo>
                    <a:pt x="1020216" y="167386"/>
                  </a:lnTo>
                  <a:lnTo>
                    <a:pt x="1020610" y="167386"/>
                  </a:lnTo>
                  <a:lnTo>
                    <a:pt x="1020610" y="167780"/>
                  </a:lnTo>
                  <a:lnTo>
                    <a:pt x="1020864" y="167780"/>
                  </a:lnTo>
                  <a:lnTo>
                    <a:pt x="1020914" y="168224"/>
                  </a:lnTo>
                  <a:lnTo>
                    <a:pt x="1021651" y="168224"/>
                  </a:lnTo>
                  <a:lnTo>
                    <a:pt x="1021651" y="167780"/>
                  </a:lnTo>
                  <a:lnTo>
                    <a:pt x="1021804" y="167780"/>
                  </a:lnTo>
                  <a:lnTo>
                    <a:pt x="1021854" y="168224"/>
                  </a:lnTo>
                  <a:lnTo>
                    <a:pt x="1022654" y="168224"/>
                  </a:lnTo>
                  <a:lnTo>
                    <a:pt x="1022654" y="168669"/>
                  </a:lnTo>
                  <a:lnTo>
                    <a:pt x="1022693" y="168669"/>
                  </a:lnTo>
                  <a:lnTo>
                    <a:pt x="1022693" y="168224"/>
                  </a:lnTo>
                  <a:lnTo>
                    <a:pt x="1023099" y="168224"/>
                  </a:lnTo>
                  <a:lnTo>
                    <a:pt x="1023099" y="168669"/>
                  </a:lnTo>
                  <a:lnTo>
                    <a:pt x="1024928" y="168669"/>
                  </a:lnTo>
                  <a:lnTo>
                    <a:pt x="1024928" y="169113"/>
                  </a:lnTo>
                  <a:lnTo>
                    <a:pt x="1025677" y="169113"/>
                  </a:lnTo>
                  <a:lnTo>
                    <a:pt x="1025677" y="169469"/>
                  </a:lnTo>
                  <a:lnTo>
                    <a:pt x="1026871" y="169469"/>
                  </a:lnTo>
                  <a:lnTo>
                    <a:pt x="1026871" y="169913"/>
                  </a:lnTo>
                  <a:lnTo>
                    <a:pt x="1028598" y="169913"/>
                  </a:lnTo>
                  <a:lnTo>
                    <a:pt x="1028598" y="170358"/>
                  </a:lnTo>
                  <a:lnTo>
                    <a:pt x="1029893" y="170358"/>
                  </a:lnTo>
                  <a:lnTo>
                    <a:pt x="1029893" y="170752"/>
                  </a:lnTo>
                  <a:lnTo>
                    <a:pt x="1030389" y="170752"/>
                  </a:lnTo>
                  <a:lnTo>
                    <a:pt x="1030389" y="170358"/>
                  </a:lnTo>
                  <a:lnTo>
                    <a:pt x="1030439" y="170358"/>
                  </a:lnTo>
                  <a:lnTo>
                    <a:pt x="1030439" y="170752"/>
                  </a:lnTo>
                  <a:lnTo>
                    <a:pt x="1030490" y="170752"/>
                  </a:lnTo>
                  <a:lnTo>
                    <a:pt x="1030490" y="170358"/>
                  </a:lnTo>
                  <a:lnTo>
                    <a:pt x="1030630" y="170358"/>
                  </a:lnTo>
                  <a:lnTo>
                    <a:pt x="1030630" y="170752"/>
                  </a:lnTo>
                  <a:lnTo>
                    <a:pt x="1031138" y="170752"/>
                  </a:lnTo>
                  <a:lnTo>
                    <a:pt x="1031138" y="170358"/>
                  </a:lnTo>
                  <a:lnTo>
                    <a:pt x="1031532" y="170358"/>
                  </a:lnTo>
                  <a:lnTo>
                    <a:pt x="1031532" y="170752"/>
                  </a:lnTo>
                  <a:lnTo>
                    <a:pt x="1032472" y="170752"/>
                  </a:lnTo>
                  <a:lnTo>
                    <a:pt x="1032472" y="171196"/>
                  </a:lnTo>
                  <a:lnTo>
                    <a:pt x="1033564" y="171196"/>
                  </a:lnTo>
                  <a:lnTo>
                    <a:pt x="1033564" y="171641"/>
                  </a:lnTo>
                  <a:lnTo>
                    <a:pt x="1034707" y="171641"/>
                  </a:lnTo>
                  <a:lnTo>
                    <a:pt x="1034707" y="172098"/>
                  </a:lnTo>
                  <a:lnTo>
                    <a:pt x="1037082" y="172098"/>
                  </a:lnTo>
                  <a:lnTo>
                    <a:pt x="1037082" y="172491"/>
                  </a:lnTo>
                  <a:lnTo>
                    <a:pt x="1037183" y="172491"/>
                  </a:lnTo>
                  <a:lnTo>
                    <a:pt x="1037183" y="172098"/>
                  </a:lnTo>
                  <a:lnTo>
                    <a:pt x="1037729" y="172098"/>
                  </a:lnTo>
                  <a:lnTo>
                    <a:pt x="1037729" y="172491"/>
                  </a:lnTo>
                  <a:lnTo>
                    <a:pt x="1038669" y="172491"/>
                  </a:lnTo>
                  <a:lnTo>
                    <a:pt x="1038669" y="172885"/>
                  </a:lnTo>
                  <a:lnTo>
                    <a:pt x="1038771" y="172885"/>
                  </a:lnTo>
                  <a:lnTo>
                    <a:pt x="1038771" y="172491"/>
                  </a:lnTo>
                  <a:lnTo>
                    <a:pt x="1038822" y="172491"/>
                  </a:lnTo>
                  <a:lnTo>
                    <a:pt x="1038872" y="172885"/>
                  </a:lnTo>
                  <a:lnTo>
                    <a:pt x="1039520" y="172885"/>
                  </a:lnTo>
                  <a:lnTo>
                    <a:pt x="1039571" y="172491"/>
                  </a:lnTo>
                  <a:lnTo>
                    <a:pt x="1040206" y="172491"/>
                  </a:lnTo>
                  <a:lnTo>
                    <a:pt x="1040206" y="172885"/>
                  </a:lnTo>
                  <a:lnTo>
                    <a:pt x="1040561" y="172885"/>
                  </a:lnTo>
                  <a:lnTo>
                    <a:pt x="1040561" y="173330"/>
                  </a:lnTo>
                  <a:lnTo>
                    <a:pt x="1040854" y="173330"/>
                  </a:lnTo>
                  <a:lnTo>
                    <a:pt x="1040854" y="172885"/>
                  </a:lnTo>
                  <a:lnTo>
                    <a:pt x="1041006" y="172885"/>
                  </a:lnTo>
                  <a:lnTo>
                    <a:pt x="1041006" y="173330"/>
                  </a:lnTo>
                  <a:lnTo>
                    <a:pt x="1041108" y="173330"/>
                  </a:lnTo>
                  <a:lnTo>
                    <a:pt x="1041108" y="172885"/>
                  </a:lnTo>
                  <a:lnTo>
                    <a:pt x="1041793" y="172885"/>
                  </a:lnTo>
                  <a:lnTo>
                    <a:pt x="1041793" y="173330"/>
                  </a:lnTo>
                  <a:lnTo>
                    <a:pt x="1042695" y="173330"/>
                  </a:lnTo>
                  <a:lnTo>
                    <a:pt x="1042695" y="173736"/>
                  </a:lnTo>
                  <a:lnTo>
                    <a:pt x="1043432" y="173736"/>
                  </a:lnTo>
                  <a:lnTo>
                    <a:pt x="1043533" y="174181"/>
                  </a:lnTo>
                  <a:lnTo>
                    <a:pt x="1045222" y="174181"/>
                  </a:lnTo>
                  <a:lnTo>
                    <a:pt x="1045222" y="174625"/>
                  </a:lnTo>
                  <a:lnTo>
                    <a:pt x="1045616" y="174625"/>
                  </a:lnTo>
                  <a:lnTo>
                    <a:pt x="1045616" y="175069"/>
                  </a:lnTo>
                  <a:lnTo>
                    <a:pt x="1046162" y="175069"/>
                  </a:lnTo>
                  <a:lnTo>
                    <a:pt x="1046162" y="175463"/>
                  </a:lnTo>
                  <a:lnTo>
                    <a:pt x="1047407" y="175463"/>
                  </a:lnTo>
                  <a:lnTo>
                    <a:pt x="1047407" y="175069"/>
                  </a:lnTo>
                  <a:lnTo>
                    <a:pt x="1047407" y="175463"/>
                  </a:lnTo>
                  <a:lnTo>
                    <a:pt x="1048296" y="175463"/>
                  </a:lnTo>
                  <a:lnTo>
                    <a:pt x="1048347" y="175908"/>
                  </a:lnTo>
                  <a:lnTo>
                    <a:pt x="1050137" y="175908"/>
                  </a:lnTo>
                  <a:lnTo>
                    <a:pt x="1050137" y="176365"/>
                  </a:lnTo>
                  <a:lnTo>
                    <a:pt x="1051522" y="176365"/>
                  </a:lnTo>
                  <a:lnTo>
                    <a:pt x="1051522" y="176809"/>
                  </a:lnTo>
                  <a:lnTo>
                    <a:pt x="1053757" y="176809"/>
                  </a:lnTo>
                  <a:lnTo>
                    <a:pt x="1053757" y="177152"/>
                  </a:lnTo>
                  <a:lnTo>
                    <a:pt x="1054252" y="177152"/>
                  </a:lnTo>
                  <a:lnTo>
                    <a:pt x="1054252" y="177597"/>
                  </a:lnTo>
                  <a:lnTo>
                    <a:pt x="1055293" y="177597"/>
                  </a:lnTo>
                  <a:lnTo>
                    <a:pt x="1055293" y="178041"/>
                  </a:lnTo>
                  <a:lnTo>
                    <a:pt x="1055293" y="177597"/>
                  </a:lnTo>
                  <a:lnTo>
                    <a:pt x="1055585" y="177597"/>
                  </a:lnTo>
                  <a:lnTo>
                    <a:pt x="1055585" y="178041"/>
                  </a:lnTo>
                  <a:lnTo>
                    <a:pt x="1055636" y="178041"/>
                  </a:lnTo>
                  <a:lnTo>
                    <a:pt x="1055636" y="177597"/>
                  </a:lnTo>
                  <a:lnTo>
                    <a:pt x="1055839" y="177597"/>
                  </a:lnTo>
                  <a:lnTo>
                    <a:pt x="1055839" y="178041"/>
                  </a:lnTo>
                  <a:lnTo>
                    <a:pt x="1056081" y="178041"/>
                  </a:lnTo>
                  <a:lnTo>
                    <a:pt x="1056081" y="177597"/>
                  </a:lnTo>
                  <a:lnTo>
                    <a:pt x="1057275" y="177597"/>
                  </a:lnTo>
                  <a:lnTo>
                    <a:pt x="1057275" y="178041"/>
                  </a:lnTo>
                  <a:lnTo>
                    <a:pt x="1057618" y="178041"/>
                  </a:lnTo>
                  <a:lnTo>
                    <a:pt x="1057618" y="178448"/>
                  </a:lnTo>
                  <a:lnTo>
                    <a:pt x="1058125" y="178448"/>
                  </a:lnTo>
                  <a:lnTo>
                    <a:pt x="1058125" y="178041"/>
                  </a:lnTo>
                  <a:lnTo>
                    <a:pt x="1058265" y="178041"/>
                  </a:lnTo>
                  <a:lnTo>
                    <a:pt x="1058265" y="178448"/>
                  </a:lnTo>
                  <a:lnTo>
                    <a:pt x="1059167" y="178448"/>
                  </a:lnTo>
                  <a:lnTo>
                    <a:pt x="1059167" y="178892"/>
                  </a:lnTo>
                  <a:lnTo>
                    <a:pt x="1059751" y="178892"/>
                  </a:lnTo>
                  <a:lnTo>
                    <a:pt x="1059751" y="179337"/>
                  </a:lnTo>
                  <a:lnTo>
                    <a:pt x="1060348" y="179337"/>
                  </a:lnTo>
                  <a:lnTo>
                    <a:pt x="1060348" y="178892"/>
                  </a:lnTo>
                  <a:lnTo>
                    <a:pt x="1060551" y="178892"/>
                  </a:lnTo>
                  <a:lnTo>
                    <a:pt x="1060551" y="179337"/>
                  </a:lnTo>
                  <a:lnTo>
                    <a:pt x="1061694" y="179337"/>
                  </a:lnTo>
                  <a:lnTo>
                    <a:pt x="1061694" y="179781"/>
                  </a:lnTo>
                  <a:lnTo>
                    <a:pt x="1061745" y="179337"/>
                  </a:lnTo>
                  <a:lnTo>
                    <a:pt x="1062037" y="179337"/>
                  </a:lnTo>
                  <a:lnTo>
                    <a:pt x="1062037" y="179781"/>
                  </a:lnTo>
                  <a:lnTo>
                    <a:pt x="1062583" y="179781"/>
                  </a:lnTo>
                  <a:lnTo>
                    <a:pt x="1062583" y="180124"/>
                  </a:lnTo>
                  <a:lnTo>
                    <a:pt x="1064920" y="180124"/>
                  </a:lnTo>
                  <a:lnTo>
                    <a:pt x="1064920" y="180581"/>
                  </a:lnTo>
                  <a:lnTo>
                    <a:pt x="1065161" y="180581"/>
                  </a:lnTo>
                  <a:lnTo>
                    <a:pt x="1065161" y="180124"/>
                  </a:lnTo>
                  <a:lnTo>
                    <a:pt x="1065364" y="180124"/>
                  </a:lnTo>
                  <a:lnTo>
                    <a:pt x="1065364" y="180581"/>
                  </a:lnTo>
                  <a:lnTo>
                    <a:pt x="1065657" y="180581"/>
                  </a:lnTo>
                  <a:lnTo>
                    <a:pt x="1065657" y="181026"/>
                  </a:lnTo>
                  <a:lnTo>
                    <a:pt x="1067689" y="181026"/>
                  </a:lnTo>
                  <a:lnTo>
                    <a:pt x="1067689" y="181470"/>
                  </a:lnTo>
                  <a:lnTo>
                    <a:pt x="1068933" y="181470"/>
                  </a:lnTo>
                  <a:lnTo>
                    <a:pt x="1068933" y="181864"/>
                  </a:lnTo>
                  <a:lnTo>
                    <a:pt x="1069238" y="181864"/>
                  </a:lnTo>
                  <a:lnTo>
                    <a:pt x="1069238" y="181470"/>
                  </a:lnTo>
                  <a:lnTo>
                    <a:pt x="1069632" y="181470"/>
                  </a:lnTo>
                  <a:lnTo>
                    <a:pt x="1069683" y="181864"/>
                  </a:lnTo>
                  <a:lnTo>
                    <a:pt x="1070318" y="181864"/>
                  </a:lnTo>
                  <a:lnTo>
                    <a:pt x="1070318" y="182308"/>
                  </a:lnTo>
                  <a:lnTo>
                    <a:pt x="1071460" y="182308"/>
                  </a:lnTo>
                  <a:lnTo>
                    <a:pt x="1071460" y="182753"/>
                  </a:lnTo>
                  <a:lnTo>
                    <a:pt x="1071511" y="182308"/>
                  </a:lnTo>
                  <a:lnTo>
                    <a:pt x="1071664" y="182308"/>
                  </a:lnTo>
                  <a:lnTo>
                    <a:pt x="1071664" y="182753"/>
                  </a:lnTo>
                  <a:lnTo>
                    <a:pt x="1071956" y="182753"/>
                  </a:lnTo>
                  <a:lnTo>
                    <a:pt x="1071956" y="182308"/>
                  </a:lnTo>
                  <a:lnTo>
                    <a:pt x="1074039" y="182308"/>
                  </a:lnTo>
                  <a:lnTo>
                    <a:pt x="1074039" y="182753"/>
                  </a:lnTo>
                  <a:lnTo>
                    <a:pt x="1075042" y="182753"/>
                  </a:lnTo>
                  <a:lnTo>
                    <a:pt x="1075042" y="183159"/>
                  </a:lnTo>
                  <a:lnTo>
                    <a:pt x="1076274" y="183159"/>
                  </a:lnTo>
                  <a:lnTo>
                    <a:pt x="1076325" y="183604"/>
                  </a:lnTo>
                  <a:lnTo>
                    <a:pt x="1079804" y="183604"/>
                  </a:lnTo>
                  <a:lnTo>
                    <a:pt x="1079804" y="183998"/>
                  </a:lnTo>
                  <a:lnTo>
                    <a:pt x="1080389" y="183998"/>
                  </a:lnTo>
                  <a:lnTo>
                    <a:pt x="1080389" y="184442"/>
                  </a:lnTo>
                  <a:lnTo>
                    <a:pt x="1080592" y="184442"/>
                  </a:lnTo>
                  <a:lnTo>
                    <a:pt x="1080592" y="183998"/>
                  </a:lnTo>
                  <a:lnTo>
                    <a:pt x="1080985" y="183998"/>
                  </a:lnTo>
                  <a:lnTo>
                    <a:pt x="1080985" y="184442"/>
                  </a:lnTo>
                  <a:lnTo>
                    <a:pt x="1081189" y="184442"/>
                  </a:lnTo>
                  <a:lnTo>
                    <a:pt x="1081189" y="183998"/>
                  </a:lnTo>
                  <a:lnTo>
                    <a:pt x="1082573" y="183998"/>
                  </a:lnTo>
                  <a:lnTo>
                    <a:pt x="1082573" y="184442"/>
                  </a:lnTo>
                  <a:lnTo>
                    <a:pt x="1083322" y="184442"/>
                  </a:lnTo>
                  <a:lnTo>
                    <a:pt x="1083322" y="184848"/>
                  </a:lnTo>
                  <a:lnTo>
                    <a:pt x="1084567" y="184848"/>
                  </a:lnTo>
                  <a:lnTo>
                    <a:pt x="1084567" y="185293"/>
                  </a:lnTo>
                  <a:lnTo>
                    <a:pt x="1085113" y="185293"/>
                  </a:lnTo>
                  <a:lnTo>
                    <a:pt x="1085113" y="184848"/>
                  </a:lnTo>
                  <a:lnTo>
                    <a:pt x="1085151" y="184848"/>
                  </a:lnTo>
                  <a:lnTo>
                    <a:pt x="1085151" y="185293"/>
                  </a:lnTo>
                  <a:lnTo>
                    <a:pt x="1086193" y="185293"/>
                  </a:lnTo>
                  <a:lnTo>
                    <a:pt x="1086193" y="185737"/>
                  </a:lnTo>
                  <a:lnTo>
                    <a:pt x="1086447" y="185737"/>
                  </a:lnTo>
                  <a:lnTo>
                    <a:pt x="1086497" y="185293"/>
                  </a:lnTo>
                  <a:lnTo>
                    <a:pt x="1086497" y="185737"/>
                  </a:lnTo>
                  <a:lnTo>
                    <a:pt x="1087043" y="185737"/>
                  </a:lnTo>
                  <a:lnTo>
                    <a:pt x="1087043" y="186182"/>
                  </a:lnTo>
                  <a:lnTo>
                    <a:pt x="1088186" y="186182"/>
                  </a:lnTo>
                  <a:lnTo>
                    <a:pt x="1088186" y="186576"/>
                  </a:lnTo>
                  <a:lnTo>
                    <a:pt x="1088479" y="186576"/>
                  </a:lnTo>
                  <a:lnTo>
                    <a:pt x="1088479" y="187020"/>
                  </a:lnTo>
                  <a:lnTo>
                    <a:pt x="1089126" y="187020"/>
                  </a:lnTo>
                  <a:lnTo>
                    <a:pt x="1089126" y="186576"/>
                  </a:lnTo>
                  <a:lnTo>
                    <a:pt x="1089469" y="186576"/>
                  </a:lnTo>
                  <a:lnTo>
                    <a:pt x="1089469" y="187020"/>
                  </a:lnTo>
                  <a:lnTo>
                    <a:pt x="1090269" y="187020"/>
                  </a:lnTo>
                  <a:lnTo>
                    <a:pt x="1090269" y="187477"/>
                  </a:lnTo>
                  <a:lnTo>
                    <a:pt x="1090320" y="187020"/>
                  </a:lnTo>
                  <a:lnTo>
                    <a:pt x="1091057" y="187020"/>
                  </a:lnTo>
                  <a:lnTo>
                    <a:pt x="1091057" y="187477"/>
                  </a:lnTo>
                  <a:lnTo>
                    <a:pt x="1091908" y="187477"/>
                  </a:lnTo>
                  <a:lnTo>
                    <a:pt x="1091908" y="187820"/>
                  </a:lnTo>
                  <a:lnTo>
                    <a:pt x="1092593" y="187820"/>
                  </a:lnTo>
                  <a:lnTo>
                    <a:pt x="1092593" y="187477"/>
                  </a:lnTo>
                  <a:lnTo>
                    <a:pt x="1094435" y="187477"/>
                  </a:lnTo>
                  <a:lnTo>
                    <a:pt x="1094435" y="187820"/>
                  </a:lnTo>
                  <a:lnTo>
                    <a:pt x="1094829" y="187820"/>
                  </a:lnTo>
                  <a:lnTo>
                    <a:pt x="1094829" y="188265"/>
                  </a:lnTo>
                  <a:lnTo>
                    <a:pt x="1095375" y="188265"/>
                  </a:lnTo>
                  <a:lnTo>
                    <a:pt x="1095375" y="187820"/>
                  </a:lnTo>
                  <a:lnTo>
                    <a:pt x="1095476" y="187820"/>
                  </a:lnTo>
                  <a:lnTo>
                    <a:pt x="1095476" y="188265"/>
                  </a:lnTo>
                  <a:lnTo>
                    <a:pt x="1096568" y="188265"/>
                  </a:lnTo>
                  <a:lnTo>
                    <a:pt x="1096568" y="188709"/>
                  </a:lnTo>
                  <a:lnTo>
                    <a:pt x="1096568" y="188265"/>
                  </a:lnTo>
                  <a:lnTo>
                    <a:pt x="1096861" y="188265"/>
                  </a:lnTo>
                  <a:lnTo>
                    <a:pt x="1096861" y="188709"/>
                  </a:lnTo>
                  <a:lnTo>
                    <a:pt x="1097165" y="188709"/>
                  </a:lnTo>
                  <a:lnTo>
                    <a:pt x="1097165" y="188265"/>
                  </a:lnTo>
                  <a:lnTo>
                    <a:pt x="1097267" y="188265"/>
                  </a:lnTo>
                  <a:lnTo>
                    <a:pt x="1097267" y="188709"/>
                  </a:lnTo>
                  <a:lnTo>
                    <a:pt x="1098550" y="188709"/>
                  </a:lnTo>
                  <a:lnTo>
                    <a:pt x="1098550" y="189154"/>
                  </a:lnTo>
                  <a:lnTo>
                    <a:pt x="1100036" y="189154"/>
                  </a:lnTo>
                  <a:lnTo>
                    <a:pt x="1100036" y="189560"/>
                  </a:lnTo>
                  <a:lnTo>
                    <a:pt x="1101179" y="189560"/>
                  </a:lnTo>
                  <a:lnTo>
                    <a:pt x="1101179" y="190005"/>
                  </a:lnTo>
                  <a:lnTo>
                    <a:pt x="1101623" y="190005"/>
                  </a:lnTo>
                  <a:lnTo>
                    <a:pt x="1101623" y="190449"/>
                  </a:lnTo>
                  <a:lnTo>
                    <a:pt x="1103020" y="190449"/>
                  </a:lnTo>
                  <a:lnTo>
                    <a:pt x="1103020" y="190792"/>
                  </a:lnTo>
                  <a:lnTo>
                    <a:pt x="1103757" y="190792"/>
                  </a:lnTo>
                  <a:lnTo>
                    <a:pt x="1103757" y="191237"/>
                  </a:lnTo>
                  <a:lnTo>
                    <a:pt x="1104354" y="191237"/>
                  </a:lnTo>
                  <a:lnTo>
                    <a:pt x="1104354" y="190792"/>
                  </a:lnTo>
                  <a:lnTo>
                    <a:pt x="1104747" y="190792"/>
                  </a:lnTo>
                  <a:lnTo>
                    <a:pt x="1104747" y="191237"/>
                  </a:lnTo>
                  <a:lnTo>
                    <a:pt x="1105293" y="191237"/>
                  </a:lnTo>
                  <a:lnTo>
                    <a:pt x="1105293" y="191694"/>
                  </a:lnTo>
                  <a:lnTo>
                    <a:pt x="1105446" y="191694"/>
                  </a:lnTo>
                  <a:lnTo>
                    <a:pt x="1105446" y="191237"/>
                  </a:lnTo>
                  <a:lnTo>
                    <a:pt x="1105751" y="191237"/>
                  </a:lnTo>
                  <a:lnTo>
                    <a:pt x="1105751" y="191694"/>
                  </a:lnTo>
                  <a:lnTo>
                    <a:pt x="1106195" y="191694"/>
                  </a:lnTo>
                  <a:lnTo>
                    <a:pt x="1106195" y="192138"/>
                  </a:lnTo>
                  <a:lnTo>
                    <a:pt x="1106881" y="192138"/>
                  </a:lnTo>
                  <a:lnTo>
                    <a:pt x="1106881" y="192532"/>
                  </a:lnTo>
                  <a:lnTo>
                    <a:pt x="1107338" y="192532"/>
                  </a:lnTo>
                  <a:lnTo>
                    <a:pt x="1107338" y="192138"/>
                  </a:lnTo>
                  <a:lnTo>
                    <a:pt x="1107681" y="192138"/>
                  </a:lnTo>
                  <a:lnTo>
                    <a:pt x="1107681" y="192532"/>
                  </a:lnTo>
                  <a:lnTo>
                    <a:pt x="1108621" y="192532"/>
                  </a:lnTo>
                  <a:lnTo>
                    <a:pt x="1108621" y="192977"/>
                  </a:lnTo>
                  <a:lnTo>
                    <a:pt x="1109370" y="192977"/>
                  </a:lnTo>
                  <a:lnTo>
                    <a:pt x="1109421" y="193421"/>
                  </a:lnTo>
                  <a:lnTo>
                    <a:pt x="1109510" y="193421"/>
                  </a:lnTo>
                  <a:lnTo>
                    <a:pt x="1109510" y="192977"/>
                  </a:lnTo>
                  <a:lnTo>
                    <a:pt x="1109561" y="192977"/>
                  </a:lnTo>
                  <a:lnTo>
                    <a:pt x="1109561" y="193421"/>
                  </a:lnTo>
                  <a:lnTo>
                    <a:pt x="1109611" y="193421"/>
                  </a:lnTo>
                  <a:lnTo>
                    <a:pt x="1109611" y="192977"/>
                  </a:lnTo>
                  <a:lnTo>
                    <a:pt x="1110856" y="192977"/>
                  </a:lnTo>
                  <a:lnTo>
                    <a:pt x="1110856" y="193421"/>
                  </a:lnTo>
                  <a:lnTo>
                    <a:pt x="1112545" y="193421"/>
                  </a:lnTo>
                  <a:lnTo>
                    <a:pt x="1112545" y="193866"/>
                  </a:lnTo>
                  <a:lnTo>
                    <a:pt x="1112939" y="193866"/>
                  </a:lnTo>
                  <a:lnTo>
                    <a:pt x="1112939" y="194272"/>
                  </a:lnTo>
                  <a:lnTo>
                    <a:pt x="1113282" y="194272"/>
                  </a:lnTo>
                  <a:lnTo>
                    <a:pt x="1113282" y="194716"/>
                  </a:lnTo>
                  <a:lnTo>
                    <a:pt x="1113637" y="194716"/>
                  </a:lnTo>
                  <a:lnTo>
                    <a:pt x="1113637" y="194272"/>
                  </a:lnTo>
                  <a:lnTo>
                    <a:pt x="1114031" y="194272"/>
                  </a:lnTo>
                  <a:lnTo>
                    <a:pt x="1114031" y="194716"/>
                  </a:lnTo>
                  <a:lnTo>
                    <a:pt x="1115618" y="194716"/>
                  </a:lnTo>
                  <a:lnTo>
                    <a:pt x="1115618" y="195110"/>
                  </a:lnTo>
                  <a:lnTo>
                    <a:pt x="1116215" y="195110"/>
                  </a:lnTo>
                  <a:lnTo>
                    <a:pt x="1116215" y="195504"/>
                  </a:lnTo>
                  <a:lnTo>
                    <a:pt x="1117104" y="195504"/>
                  </a:lnTo>
                  <a:lnTo>
                    <a:pt x="1117104" y="195110"/>
                  </a:lnTo>
                  <a:lnTo>
                    <a:pt x="1117358" y="195110"/>
                  </a:lnTo>
                  <a:lnTo>
                    <a:pt x="1117358" y="195504"/>
                  </a:lnTo>
                  <a:lnTo>
                    <a:pt x="1117600" y="195504"/>
                  </a:lnTo>
                  <a:lnTo>
                    <a:pt x="1117600" y="195110"/>
                  </a:lnTo>
                  <a:lnTo>
                    <a:pt x="1117993" y="195110"/>
                  </a:lnTo>
                  <a:lnTo>
                    <a:pt x="1117993" y="195504"/>
                  </a:lnTo>
                  <a:lnTo>
                    <a:pt x="1118400" y="195504"/>
                  </a:lnTo>
                  <a:lnTo>
                    <a:pt x="1118400" y="195961"/>
                  </a:lnTo>
                  <a:lnTo>
                    <a:pt x="1118946" y="195961"/>
                  </a:lnTo>
                  <a:lnTo>
                    <a:pt x="1118946" y="196406"/>
                  </a:lnTo>
                  <a:lnTo>
                    <a:pt x="1119492" y="196406"/>
                  </a:lnTo>
                  <a:lnTo>
                    <a:pt x="1119492" y="195961"/>
                  </a:lnTo>
                  <a:lnTo>
                    <a:pt x="1119936" y="195961"/>
                  </a:lnTo>
                  <a:lnTo>
                    <a:pt x="1119936" y="195504"/>
                  </a:lnTo>
                  <a:lnTo>
                    <a:pt x="1119987" y="195504"/>
                  </a:lnTo>
                  <a:lnTo>
                    <a:pt x="1119987" y="195961"/>
                  </a:lnTo>
                  <a:lnTo>
                    <a:pt x="1120533" y="195961"/>
                  </a:lnTo>
                  <a:lnTo>
                    <a:pt x="1120533" y="196406"/>
                  </a:lnTo>
                  <a:lnTo>
                    <a:pt x="1120978" y="196406"/>
                  </a:lnTo>
                  <a:lnTo>
                    <a:pt x="1120978" y="196850"/>
                  </a:lnTo>
                  <a:lnTo>
                    <a:pt x="1121575" y="196850"/>
                  </a:lnTo>
                  <a:lnTo>
                    <a:pt x="1121575" y="196406"/>
                  </a:lnTo>
                  <a:lnTo>
                    <a:pt x="1122121" y="196406"/>
                  </a:lnTo>
                  <a:lnTo>
                    <a:pt x="1122121" y="196850"/>
                  </a:lnTo>
                  <a:lnTo>
                    <a:pt x="1122210" y="196850"/>
                  </a:lnTo>
                  <a:lnTo>
                    <a:pt x="1122210" y="196406"/>
                  </a:lnTo>
                  <a:lnTo>
                    <a:pt x="1122261" y="196406"/>
                  </a:lnTo>
                  <a:lnTo>
                    <a:pt x="1122261" y="196850"/>
                  </a:lnTo>
                  <a:lnTo>
                    <a:pt x="1123404" y="196850"/>
                  </a:lnTo>
                  <a:lnTo>
                    <a:pt x="1123404" y="197244"/>
                  </a:lnTo>
                  <a:lnTo>
                    <a:pt x="1124699" y="197244"/>
                  </a:lnTo>
                  <a:lnTo>
                    <a:pt x="1124699" y="197688"/>
                  </a:lnTo>
                  <a:lnTo>
                    <a:pt x="1125385" y="197688"/>
                  </a:lnTo>
                  <a:lnTo>
                    <a:pt x="1125385" y="198133"/>
                  </a:lnTo>
                  <a:lnTo>
                    <a:pt x="1125880" y="198133"/>
                  </a:lnTo>
                  <a:lnTo>
                    <a:pt x="1125880" y="197688"/>
                  </a:lnTo>
                  <a:lnTo>
                    <a:pt x="1126832" y="197688"/>
                  </a:lnTo>
                  <a:lnTo>
                    <a:pt x="1126832" y="198133"/>
                  </a:lnTo>
                  <a:lnTo>
                    <a:pt x="1128217" y="198133"/>
                  </a:lnTo>
                  <a:lnTo>
                    <a:pt x="1128217" y="198590"/>
                  </a:lnTo>
                  <a:lnTo>
                    <a:pt x="1129106" y="198590"/>
                  </a:lnTo>
                  <a:lnTo>
                    <a:pt x="1129157" y="198133"/>
                  </a:lnTo>
                  <a:lnTo>
                    <a:pt x="1129563" y="198133"/>
                  </a:lnTo>
                  <a:lnTo>
                    <a:pt x="1129563" y="198590"/>
                  </a:lnTo>
                  <a:lnTo>
                    <a:pt x="1129906" y="198590"/>
                  </a:lnTo>
                  <a:lnTo>
                    <a:pt x="1129906" y="198933"/>
                  </a:lnTo>
                  <a:lnTo>
                    <a:pt x="1130007" y="198933"/>
                  </a:lnTo>
                  <a:lnTo>
                    <a:pt x="1130007" y="198590"/>
                  </a:lnTo>
                  <a:lnTo>
                    <a:pt x="1130058" y="198590"/>
                  </a:lnTo>
                  <a:lnTo>
                    <a:pt x="1130058" y="198933"/>
                  </a:lnTo>
                  <a:lnTo>
                    <a:pt x="1130401" y="198933"/>
                  </a:lnTo>
                  <a:lnTo>
                    <a:pt x="1130401" y="198590"/>
                  </a:lnTo>
                  <a:lnTo>
                    <a:pt x="1130693" y="198590"/>
                  </a:lnTo>
                  <a:lnTo>
                    <a:pt x="1130693" y="198933"/>
                  </a:lnTo>
                  <a:lnTo>
                    <a:pt x="1130693" y="198590"/>
                  </a:lnTo>
                  <a:lnTo>
                    <a:pt x="1130744" y="198590"/>
                  </a:lnTo>
                  <a:lnTo>
                    <a:pt x="1130744" y="198933"/>
                  </a:lnTo>
                  <a:lnTo>
                    <a:pt x="1131735" y="198933"/>
                  </a:lnTo>
                  <a:lnTo>
                    <a:pt x="1131735" y="199377"/>
                  </a:lnTo>
                  <a:lnTo>
                    <a:pt x="1132281" y="199377"/>
                  </a:lnTo>
                  <a:lnTo>
                    <a:pt x="1132281" y="199822"/>
                  </a:lnTo>
                  <a:lnTo>
                    <a:pt x="1133475" y="199822"/>
                  </a:lnTo>
                  <a:lnTo>
                    <a:pt x="1133475" y="199377"/>
                  </a:lnTo>
                  <a:lnTo>
                    <a:pt x="1133919" y="199377"/>
                  </a:lnTo>
                  <a:lnTo>
                    <a:pt x="1133919" y="199822"/>
                  </a:lnTo>
                  <a:lnTo>
                    <a:pt x="1134567" y="199822"/>
                  </a:lnTo>
                  <a:lnTo>
                    <a:pt x="1134567" y="200216"/>
                  </a:lnTo>
                  <a:lnTo>
                    <a:pt x="1134668" y="200216"/>
                  </a:lnTo>
                  <a:lnTo>
                    <a:pt x="1134719" y="199822"/>
                  </a:lnTo>
                  <a:lnTo>
                    <a:pt x="1134821" y="199822"/>
                  </a:lnTo>
                  <a:lnTo>
                    <a:pt x="1134821" y="200216"/>
                  </a:lnTo>
                  <a:lnTo>
                    <a:pt x="1134910" y="200216"/>
                  </a:lnTo>
                  <a:lnTo>
                    <a:pt x="1134910" y="199822"/>
                  </a:lnTo>
                  <a:lnTo>
                    <a:pt x="1135214" y="199822"/>
                  </a:lnTo>
                  <a:lnTo>
                    <a:pt x="1135265" y="200216"/>
                  </a:lnTo>
                  <a:lnTo>
                    <a:pt x="1136802" y="200216"/>
                  </a:lnTo>
                  <a:lnTo>
                    <a:pt x="1136802" y="200673"/>
                  </a:lnTo>
                  <a:lnTo>
                    <a:pt x="1138237" y="200673"/>
                  </a:lnTo>
                  <a:lnTo>
                    <a:pt x="1138237" y="201117"/>
                  </a:lnTo>
                  <a:lnTo>
                    <a:pt x="1138986" y="201117"/>
                  </a:lnTo>
                  <a:lnTo>
                    <a:pt x="1138986" y="200673"/>
                  </a:lnTo>
                  <a:lnTo>
                    <a:pt x="1139037" y="200673"/>
                  </a:lnTo>
                  <a:lnTo>
                    <a:pt x="1139037" y="201117"/>
                  </a:lnTo>
                  <a:lnTo>
                    <a:pt x="1140028" y="201117"/>
                  </a:lnTo>
                  <a:lnTo>
                    <a:pt x="1140028" y="200673"/>
                  </a:lnTo>
                  <a:lnTo>
                    <a:pt x="1140028" y="201117"/>
                  </a:lnTo>
                  <a:lnTo>
                    <a:pt x="1140625" y="201117"/>
                  </a:lnTo>
                  <a:lnTo>
                    <a:pt x="1140625" y="201562"/>
                  </a:lnTo>
                  <a:lnTo>
                    <a:pt x="1141171" y="201562"/>
                  </a:lnTo>
                  <a:lnTo>
                    <a:pt x="1141171" y="201905"/>
                  </a:lnTo>
                  <a:lnTo>
                    <a:pt x="1141311" y="201905"/>
                  </a:lnTo>
                  <a:lnTo>
                    <a:pt x="1141311" y="201562"/>
                  </a:lnTo>
                  <a:lnTo>
                    <a:pt x="1141361" y="201562"/>
                  </a:lnTo>
                  <a:lnTo>
                    <a:pt x="1141412" y="201905"/>
                  </a:lnTo>
                  <a:lnTo>
                    <a:pt x="1144092" y="201905"/>
                  </a:lnTo>
                  <a:lnTo>
                    <a:pt x="1144092" y="202349"/>
                  </a:lnTo>
                  <a:lnTo>
                    <a:pt x="1144739" y="202349"/>
                  </a:lnTo>
                  <a:lnTo>
                    <a:pt x="1144739" y="201905"/>
                  </a:lnTo>
                  <a:lnTo>
                    <a:pt x="1144892" y="201905"/>
                  </a:lnTo>
                  <a:lnTo>
                    <a:pt x="1144892" y="202349"/>
                  </a:lnTo>
                  <a:lnTo>
                    <a:pt x="1146568" y="202349"/>
                  </a:lnTo>
                  <a:lnTo>
                    <a:pt x="1146568" y="201905"/>
                  </a:lnTo>
                  <a:lnTo>
                    <a:pt x="1146568" y="202349"/>
                  </a:lnTo>
                  <a:lnTo>
                    <a:pt x="1146721" y="202349"/>
                  </a:lnTo>
                  <a:lnTo>
                    <a:pt x="1146721" y="201905"/>
                  </a:lnTo>
                  <a:lnTo>
                    <a:pt x="1146822" y="201905"/>
                  </a:lnTo>
                  <a:lnTo>
                    <a:pt x="1146822" y="202349"/>
                  </a:lnTo>
                  <a:lnTo>
                    <a:pt x="1147267" y="202349"/>
                  </a:lnTo>
                  <a:lnTo>
                    <a:pt x="1147267" y="202806"/>
                  </a:lnTo>
                  <a:lnTo>
                    <a:pt x="1147470" y="202806"/>
                  </a:lnTo>
                  <a:lnTo>
                    <a:pt x="1147470" y="202349"/>
                  </a:lnTo>
                  <a:lnTo>
                    <a:pt x="1147711" y="202349"/>
                  </a:lnTo>
                  <a:lnTo>
                    <a:pt x="1147711" y="202806"/>
                  </a:lnTo>
                  <a:lnTo>
                    <a:pt x="1149197" y="202806"/>
                  </a:lnTo>
                  <a:lnTo>
                    <a:pt x="1149197" y="203251"/>
                  </a:lnTo>
                  <a:lnTo>
                    <a:pt x="1151039" y="203251"/>
                  </a:lnTo>
                  <a:lnTo>
                    <a:pt x="1151039" y="203644"/>
                  </a:lnTo>
                  <a:lnTo>
                    <a:pt x="1151089" y="203644"/>
                  </a:lnTo>
                  <a:lnTo>
                    <a:pt x="1151089" y="203251"/>
                  </a:lnTo>
                  <a:lnTo>
                    <a:pt x="1151331" y="203251"/>
                  </a:lnTo>
                  <a:lnTo>
                    <a:pt x="1151331" y="202806"/>
                  </a:lnTo>
                  <a:lnTo>
                    <a:pt x="1151585" y="202806"/>
                  </a:lnTo>
                  <a:lnTo>
                    <a:pt x="1151585" y="203251"/>
                  </a:lnTo>
                  <a:lnTo>
                    <a:pt x="1152029" y="203251"/>
                  </a:lnTo>
                  <a:lnTo>
                    <a:pt x="1152029" y="203644"/>
                  </a:lnTo>
                  <a:lnTo>
                    <a:pt x="1152829" y="203644"/>
                  </a:lnTo>
                  <a:lnTo>
                    <a:pt x="1152829" y="204089"/>
                  </a:lnTo>
                  <a:lnTo>
                    <a:pt x="1153122" y="204089"/>
                  </a:lnTo>
                  <a:lnTo>
                    <a:pt x="1153122" y="203644"/>
                  </a:lnTo>
                  <a:lnTo>
                    <a:pt x="1154061" y="203644"/>
                  </a:lnTo>
                  <a:lnTo>
                    <a:pt x="1154061" y="204089"/>
                  </a:lnTo>
                  <a:lnTo>
                    <a:pt x="1154658" y="204089"/>
                  </a:lnTo>
                  <a:lnTo>
                    <a:pt x="1154658" y="203644"/>
                  </a:lnTo>
                  <a:lnTo>
                    <a:pt x="1155001" y="203644"/>
                  </a:lnTo>
                  <a:lnTo>
                    <a:pt x="1155001" y="204089"/>
                  </a:lnTo>
                  <a:lnTo>
                    <a:pt x="1155154" y="204089"/>
                  </a:lnTo>
                  <a:lnTo>
                    <a:pt x="1155154" y="203644"/>
                  </a:lnTo>
                  <a:lnTo>
                    <a:pt x="1155204" y="204089"/>
                  </a:lnTo>
                  <a:lnTo>
                    <a:pt x="1155801" y="204089"/>
                  </a:lnTo>
                  <a:lnTo>
                    <a:pt x="1155801" y="204533"/>
                  </a:lnTo>
                  <a:lnTo>
                    <a:pt x="1156893" y="204533"/>
                  </a:lnTo>
                  <a:lnTo>
                    <a:pt x="1156893" y="204089"/>
                  </a:lnTo>
                  <a:lnTo>
                    <a:pt x="1157186" y="204089"/>
                  </a:lnTo>
                  <a:lnTo>
                    <a:pt x="1157186" y="204533"/>
                  </a:lnTo>
                  <a:lnTo>
                    <a:pt x="1157681" y="204533"/>
                  </a:lnTo>
                  <a:lnTo>
                    <a:pt x="1157732" y="204940"/>
                  </a:lnTo>
                  <a:lnTo>
                    <a:pt x="1158278" y="204940"/>
                  </a:lnTo>
                  <a:lnTo>
                    <a:pt x="1158278" y="205384"/>
                  </a:lnTo>
                  <a:lnTo>
                    <a:pt x="1158481" y="205384"/>
                  </a:lnTo>
                  <a:lnTo>
                    <a:pt x="1158481" y="204940"/>
                  </a:lnTo>
                  <a:lnTo>
                    <a:pt x="1159027" y="204940"/>
                  </a:lnTo>
                  <a:lnTo>
                    <a:pt x="1159027" y="205384"/>
                  </a:lnTo>
                  <a:lnTo>
                    <a:pt x="1160462" y="205384"/>
                  </a:lnTo>
                  <a:lnTo>
                    <a:pt x="1160462" y="205829"/>
                  </a:lnTo>
                  <a:lnTo>
                    <a:pt x="1160856" y="205829"/>
                  </a:lnTo>
                  <a:lnTo>
                    <a:pt x="1160856" y="206223"/>
                  </a:lnTo>
                  <a:lnTo>
                    <a:pt x="1161948" y="206223"/>
                  </a:lnTo>
                  <a:lnTo>
                    <a:pt x="1161948" y="206616"/>
                  </a:lnTo>
                  <a:lnTo>
                    <a:pt x="1162799" y="206616"/>
                  </a:lnTo>
                  <a:lnTo>
                    <a:pt x="1162799" y="207073"/>
                  </a:lnTo>
                  <a:lnTo>
                    <a:pt x="1163091" y="207073"/>
                  </a:lnTo>
                  <a:lnTo>
                    <a:pt x="1163091" y="207518"/>
                  </a:lnTo>
                  <a:lnTo>
                    <a:pt x="1163396" y="207518"/>
                  </a:lnTo>
                  <a:lnTo>
                    <a:pt x="1163396" y="207912"/>
                  </a:lnTo>
                  <a:lnTo>
                    <a:pt x="1164386" y="207912"/>
                  </a:lnTo>
                  <a:lnTo>
                    <a:pt x="1164437" y="207518"/>
                  </a:lnTo>
                  <a:lnTo>
                    <a:pt x="1164983" y="207518"/>
                  </a:lnTo>
                  <a:lnTo>
                    <a:pt x="1164983" y="207912"/>
                  </a:lnTo>
                  <a:lnTo>
                    <a:pt x="1165123" y="207912"/>
                  </a:lnTo>
                  <a:lnTo>
                    <a:pt x="1165174" y="207518"/>
                  </a:lnTo>
                  <a:lnTo>
                    <a:pt x="1165225" y="207518"/>
                  </a:lnTo>
                  <a:lnTo>
                    <a:pt x="1165225" y="207912"/>
                  </a:lnTo>
                  <a:lnTo>
                    <a:pt x="1165974" y="207912"/>
                  </a:lnTo>
                  <a:lnTo>
                    <a:pt x="1165974" y="208356"/>
                  </a:lnTo>
                  <a:lnTo>
                    <a:pt x="1166711" y="208356"/>
                  </a:lnTo>
                  <a:lnTo>
                    <a:pt x="1166761" y="207912"/>
                  </a:lnTo>
                  <a:lnTo>
                    <a:pt x="1167409" y="207912"/>
                  </a:lnTo>
                  <a:lnTo>
                    <a:pt x="1167409" y="208356"/>
                  </a:lnTo>
                  <a:lnTo>
                    <a:pt x="1168006" y="208356"/>
                  </a:lnTo>
                  <a:lnTo>
                    <a:pt x="1168006" y="208801"/>
                  </a:lnTo>
                  <a:lnTo>
                    <a:pt x="1168107" y="208801"/>
                  </a:lnTo>
                  <a:lnTo>
                    <a:pt x="1168107" y="208356"/>
                  </a:lnTo>
                  <a:lnTo>
                    <a:pt x="1168349" y="208356"/>
                  </a:lnTo>
                  <a:lnTo>
                    <a:pt x="1168349" y="207912"/>
                  </a:lnTo>
                  <a:lnTo>
                    <a:pt x="1168704" y="207912"/>
                  </a:lnTo>
                  <a:lnTo>
                    <a:pt x="1168742" y="208356"/>
                  </a:lnTo>
                  <a:lnTo>
                    <a:pt x="1169441" y="208356"/>
                  </a:lnTo>
                  <a:lnTo>
                    <a:pt x="1169441" y="208801"/>
                  </a:lnTo>
                  <a:lnTo>
                    <a:pt x="1169593" y="208801"/>
                  </a:lnTo>
                  <a:lnTo>
                    <a:pt x="1169593" y="208356"/>
                  </a:lnTo>
                  <a:lnTo>
                    <a:pt x="1170089" y="208356"/>
                  </a:lnTo>
                  <a:lnTo>
                    <a:pt x="1170089" y="208801"/>
                  </a:lnTo>
                  <a:lnTo>
                    <a:pt x="1173010" y="208801"/>
                  </a:lnTo>
                  <a:lnTo>
                    <a:pt x="1173010" y="209245"/>
                  </a:lnTo>
                  <a:lnTo>
                    <a:pt x="1174013" y="209245"/>
                  </a:lnTo>
                  <a:lnTo>
                    <a:pt x="1174013" y="209601"/>
                  </a:lnTo>
                  <a:lnTo>
                    <a:pt x="1175943" y="209601"/>
                  </a:lnTo>
                  <a:lnTo>
                    <a:pt x="1175943" y="209245"/>
                  </a:lnTo>
                  <a:lnTo>
                    <a:pt x="1176439" y="209245"/>
                  </a:lnTo>
                  <a:lnTo>
                    <a:pt x="1176439" y="209601"/>
                  </a:lnTo>
                  <a:lnTo>
                    <a:pt x="1177188" y="209601"/>
                  </a:lnTo>
                  <a:lnTo>
                    <a:pt x="1177188" y="210045"/>
                  </a:lnTo>
                  <a:lnTo>
                    <a:pt x="1178674" y="210045"/>
                  </a:lnTo>
                  <a:lnTo>
                    <a:pt x="1178674" y="210490"/>
                  </a:lnTo>
                  <a:lnTo>
                    <a:pt x="1178966" y="210490"/>
                  </a:lnTo>
                  <a:lnTo>
                    <a:pt x="1178966" y="210045"/>
                  </a:lnTo>
                  <a:lnTo>
                    <a:pt x="1179271" y="210045"/>
                  </a:lnTo>
                  <a:lnTo>
                    <a:pt x="1179271" y="210490"/>
                  </a:lnTo>
                  <a:lnTo>
                    <a:pt x="1179614" y="210490"/>
                  </a:lnTo>
                  <a:lnTo>
                    <a:pt x="1179614" y="210045"/>
                  </a:lnTo>
                  <a:lnTo>
                    <a:pt x="1179817" y="210045"/>
                  </a:lnTo>
                  <a:lnTo>
                    <a:pt x="1179817" y="210490"/>
                  </a:lnTo>
                  <a:lnTo>
                    <a:pt x="1180261" y="210490"/>
                  </a:lnTo>
                  <a:lnTo>
                    <a:pt x="1180261" y="210934"/>
                  </a:lnTo>
                  <a:lnTo>
                    <a:pt x="1180706" y="210934"/>
                  </a:lnTo>
                  <a:lnTo>
                    <a:pt x="1180757" y="210490"/>
                  </a:lnTo>
                  <a:lnTo>
                    <a:pt x="1180858" y="210490"/>
                  </a:lnTo>
                  <a:lnTo>
                    <a:pt x="1180858" y="210934"/>
                  </a:lnTo>
                  <a:lnTo>
                    <a:pt x="1181404" y="210934"/>
                  </a:lnTo>
                  <a:lnTo>
                    <a:pt x="1181404" y="210490"/>
                  </a:lnTo>
                  <a:lnTo>
                    <a:pt x="1181849" y="210490"/>
                  </a:lnTo>
                  <a:lnTo>
                    <a:pt x="1181849" y="210934"/>
                  </a:lnTo>
                  <a:lnTo>
                    <a:pt x="1182141" y="210934"/>
                  </a:lnTo>
                  <a:lnTo>
                    <a:pt x="1182141" y="211328"/>
                  </a:lnTo>
                  <a:lnTo>
                    <a:pt x="1182586" y="211328"/>
                  </a:lnTo>
                  <a:lnTo>
                    <a:pt x="1182586" y="211785"/>
                  </a:lnTo>
                  <a:lnTo>
                    <a:pt x="1182992" y="211785"/>
                  </a:lnTo>
                  <a:lnTo>
                    <a:pt x="1182992" y="211328"/>
                  </a:lnTo>
                  <a:lnTo>
                    <a:pt x="1183932" y="211328"/>
                  </a:lnTo>
                  <a:lnTo>
                    <a:pt x="1183932" y="211785"/>
                  </a:lnTo>
                  <a:lnTo>
                    <a:pt x="1185468" y="211785"/>
                  </a:lnTo>
                  <a:lnTo>
                    <a:pt x="1185468" y="212230"/>
                  </a:lnTo>
                  <a:lnTo>
                    <a:pt x="1185811" y="212230"/>
                  </a:lnTo>
                  <a:lnTo>
                    <a:pt x="1185811" y="212573"/>
                  </a:lnTo>
                  <a:lnTo>
                    <a:pt x="1186408" y="212573"/>
                  </a:lnTo>
                  <a:lnTo>
                    <a:pt x="1186408" y="212230"/>
                  </a:lnTo>
                  <a:lnTo>
                    <a:pt x="1187107" y="212230"/>
                  </a:lnTo>
                  <a:lnTo>
                    <a:pt x="1187107" y="212573"/>
                  </a:lnTo>
                  <a:lnTo>
                    <a:pt x="1188097" y="212573"/>
                  </a:lnTo>
                  <a:lnTo>
                    <a:pt x="1188097" y="213017"/>
                  </a:lnTo>
                  <a:lnTo>
                    <a:pt x="1188796" y="213017"/>
                  </a:lnTo>
                  <a:lnTo>
                    <a:pt x="1188796" y="213462"/>
                  </a:lnTo>
                  <a:lnTo>
                    <a:pt x="1191666" y="213462"/>
                  </a:lnTo>
                  <a:lnTo>
                    <a:pt x="1191666" y="213017"/>
                  </a:lnTo>
                  <a:lnTo>
                    <a:pt x="1192415" y="213017"/>
                  </a:lnTo>
                  <a:lnTo>
                    <a:pt x="1192415" y="213462"/>
                  </a:lnTo>
                  <a:lnTo>
                    <a:pt x="1192961" y="213462"/>
                  </a:lnTo>
                  <a:lnTo>
                    <a:pt x="1192961" y="213017"/>
                  </a:lnTo>
                  <a:lnTo>
                    <a:pt x="1193012" y="213017"/>
                  </a:lnTo>
                  <a:lnTo>
                    <a:pt x="1193012" y="213462"/>
                  </a:lnTo>
                  <a:lnTo>
                    <a:pt x="1193012" y="213017"/>
                  </a:lnTo>
                  <a:lnTo>
                    <a:pt x="1193647" y="213017"/>
                  </a:lnTo>
                  <a:lnTo>
                    <a:pt x="1193647" y="213462"/>
                  </a:lnTo>
                  <a:lnTo>
                    <a:pt x="1194397" y="213462"/>
                  </a:lnTo>
                  <a:lnTo>
                    <a:pt x="1194397" y="213919"/>
                  </a:lnTo>
                  <a:lnTo>
                    <a:pt x="1195095" y="213919"/>
                  </a:lnTo>
                  <a:lnTo>
                    <a:pt x="1195095" y="213462"/>
                  </a:lnTo>
                  <a:lnTo>
                    <a:pt x="1195146" y="213462"/>
                  </a:lnTo>
                  <a:lnTo>
                    <a:pt x="1195146" y="213919"/>
                  </a:lnTo>
                  <a:lnTo>
                    <a:pt x="1195286" y="213919"/>
                  </a:lnTo>
                  <a:lnTo>
                    <a:pt x="1195286" y="213462"/>
                  </a:lnTo>
                  <a:lnTo>
                    <a:pt x="1195781" y="213462"/>
                  </a:lnTo>
                  <a:lnTo>
                    <a:pt x="1195781" y="213017"/>
                  </a:lnTo>
                  <a:lnTo>
                    <a:pt x="1197724" y="213017"/>
                  </a:lnTo>
                  <a:lnTo>
                    <a:pt x="1197724" y="213462"/>
                  </a:lnTo>
                  <a:lnTo>
                    <a:pt x="1197965" y="213462"/>
                  </a:lnTo>
                  <a:lnTo>
                    <a:pt x="1197965" y="213919"/>
                  </a:lnTo>
                  <a:lnTo>
                    <a:pt x="1199807" y="213919"/>
                  </a:lnTo>
                  <a:lnTo>
                    <a:pt x="1199807" y="214312"/>
                  </a:lnTo>
                  <a:lnTo>
                    <a:pt x="1201039" y="214312"/>
                  </a:lnTo>
                  <a:lnTo>
                    <a:pt x="1201039" y="213919"/>
                  </a:lnTo>
                  <a:lnTo>
                    <a:pt x="1201191" y="213919"/>
                  </a:lnTo>
                  <a:lnTo>
                    <a:pt x="1201191" y="214312"/>
                  </a:lnTo>
                  <a:lnTo>
                    <a:pt x="1201889" y="214312"/>
                  </a:lnTo>
                  <a:lnTo>
                    <a:pt x="1201889" y="213919"/>
                  </a:lnTo>
                  <a:lnTo>
                    <a:pt x="1204125" y="213919"/>
                  </a:lnTo>
                  <a:lnTo>
                    <a:pt x="1204125" y="214312"/>
                  </a:lnTo>
                  <a:lnTo>
                    <a:pt x="1204417" y="214312"/>
                  </a:lnTo>
                  <a:lnTo>
                    <a:pt x="1204417" y="213919"/>
                  </a:lnTo>
                  <a:lnTo>
                    <a:pt x="1204671" y="213919"/>
                  </a:lnTo>
                  <a:lnTo>
                    <a:pt x="1204671" y="214312"/>
                  </a:lnTo>
                  <a:lnTo>
                    <a:pt x="1206157" y="214312"/>
                  </a:lnTo>
                  <a:lnTo>
                    <a:pt x="1206157" y="214757"/>
                  </a:lnTo>
                  <a:lnTo>
                    <a:pt x="1206347" y="214757"/>
                  </a:lnTo>
                  <a:lnTo>
                    <a:pt x="1206347" y="214312"/>
                  </a:lnTo>
                  <a:lnTo>
                    <a:pt x="1207046" y="214312"/>
                  </a:lnTo>
                  <a:lnTo>
                    <a:pt x="1207046" y="214757"/>
                  </a:lnTo>
                  <a:lnTo>
                    <a:pt x="1207795" y="214757"/>
                  </a:lnTo>
                  <a:lnTo>
                    <a:pt x="1207795" y="214312"/>
                  </a:lnTo>
                  <a:lnTo>
                    <a:pt x="1210424" y="214312"/>
                  </a:lnTo>
                  <a:lnTo>
                    <a:pt x="1210424" y="213919"/>
                  </a:lnTo>
                  <a:lnTo>
                    <a:pt x="1210564" y="213919"/>
                  </a:lnTo>
                  <a:lnTo>
                    <a:pt x="1210564" y="214312"/>
                  </a:lnTo>
                  <a:lnTo>
                    <a:pt x="1210716" y="214312"/>
                  </a:lnTo>
                  <a:lnTo>
                    <a:pt x="1210716" y="213919"/>
                  </a:lnTo>
                  <a:lnTo>
                    <a:pt x="1211161" y="213919"/>
                  </a:lnTo>
                  <a:lnTo>
                    <a:pt x="1211161" y="214312"/>
                  </a:lnTo>
                  <a:lnTo>
                    <a:pt x="1212062" y="214312"/>
                  </a:lnTo>
                  <a:lnTo>
                    <a:pt x="1212062" y="214757"/>
                  </a:lnTo>
                  <a:lnTo>
                    <a:pt x="1213650" y="214757"/>
                  </a:lnTo>
                  <a:lnTo>
                    <a:pt x="1213701" y="215202"/>
                  </a:lnTo>
                  <a:lnTo>
                    <a:pt x="1213840" y="215202"/>
                  </a:lnTo>
                  <a:lnTo>
                    <a:pt x="1213840" y="214757"/>
                  </a:lnTo>
                  <a:lnTo>
                    <a:pt x="1214589" y="214757"/>
                  </a:lnTo>
                  <a:lnTo>
                    <a:pt x="1214589" y="215202"/>
                  </a:lnTo>
                  <a:lnTo>
                    <a:pt x="1215186" y="215202"/>
                  </a:lnTo>
                  <a:lnTo>
                    <a:pt x="1215186" y="215646"/>
                  </a:lnTo>
                  <a:lnTo>
                    <a:pt x="1217511" y="215646"/>
                  </a:lnTo>
                  <a:lnTo>
                    <a:pt x="1217511" y="216052"/>
                  </a:lnTo>
                  <a:lnTo>
                    <a:pt x="1218209" y="216052"/>
                  </a:lnTo>
                  <a:lnTo>
                    <a:pt x="1218260" y="216497"/>
                  </a:lnTo>
                  <a:lnTo>
                    <a:pt x="1218361" y="216052"/>
                  </a:lnTo>
                  <a:lnTo>
                    <a:pt x="1219847" y="216052"/>
                  </a:lnTo>
                  <a:lnTo>
                    <a:pt x="1219949" y="216497"/>
                  </a:lnTo>
                  <a:lnTo>
                    <a:pt x="1220444" y="216497"/>
                  </a:lnTo>
                  <a:lnTo>
                    <a:pt x="1220444" y="216052"/>
                  </a:lnTo>
                  <a:lnTo>
                    <a:pt x="1220889" y="216052"/>
                  </a:lnTo>
                  <a:lnTo>
                    <a:pt x="1220889" y="216497"/>
                  </a:lnTo>
                  <a:lnTo>
                    <a:pt x="1221638" y="216497"/>
                  </a:lnTo>
                  <a:lnTo>
                    <a:pt x="1221638" y="216941"/>
                  </a:lnTo>
                  <a:lnTo>
                    <a:pt x="1223861" y="216941"/>
                  </a:lnTo>
                  <a:lnTo>
                    <a:pt x="1223861" y="217284"/>
                  </a:lnTo>
                  <a:lnTo>
                    <a:pt x="1224813" y="217284"/>
                  </a:lnTo>
                  <a:lnTo>
                    <a:pt x="1224813" y="217729"/>
                  </a:lnTo>
                  <a:lnTo>
                    <a:pt x="1224851" y="217729"/>
                  </a:lnTo>
                  <a:lnTo>
                    <a:pt x="1224851" y="217284"/>
                  </a:lnTo>
                  <a:lnTo>
                    <a:pt x="1225156" y="217284"/>
                  </a:lnTo>
                  <a:lnTo>
                    <a:pt x="1225156" y="217729"/>
                  </a:lnTo>
                  <a:lnTo>
                    <a:pt x="1226540" y="217729"/>
                  </a:lnTo>
                  <a:lnTo>
                    <a:pt x="1226540" y="218186"/>
                  </a:lnTo>
                  <a:lnTo>
                    <a:pt x="1227036" y="218186"/>
                  </a:lnTo>
                  <a:lnTo>
                    <a:pt x="1227036" y="217729"/>
                  </a:lnTo>
                  <a:lnTo>
                    <a:pt x="1227289" y="217729"/>
                  </a:lnTo>
                  <a:lnTo>
                    <a:pt x="1227289" y="218186"/>
                  </a:lnTo>
                  <a:lnTo>
                    <a:pt x="1227340" y="218186"/>
                  </a:lnTo>
                  <a:lnTo>
                    <a:pt x="1227442" y="217729"/>
                  </a:lnTo>
                  <a:lnTo>
                    <a:pt x="1227531" y="217729"/>
                  </a:lnTo>
                  <a:lnTo>
                    <a:pt x="1227531" y="218186"/>
                  </a:lnTo>
                  <a:lnTo>
                    <a:pt x="1229969" y="218186"/>
                  </a:lnTo>
                  <a:lnTo>
                    <a:pt x="1230020" y="218631"/>
                  </a:lnTo>
                  <a:lnTo>
                    <a:pt x="1231557" y="218631"/>
                  </a:lnTo>
                  <a:lnTo>
                    <a:pt x="1231607" y="219024"/>
                  </a:lnTo>
                  <a:lnTo>
                    <a:pt x="1231658" y="219024"/>
                  </a:lnTo>
                  <a:lnTo>
                    <a:pt x="1231658" y="218631"/>
                  </a:lnTo>
                  <a:lnTo>
                    <a:pt x="1232751" y="218631"/>
                  </a:lnTo>
                  <a:lnTo>
                    <a:pt x="1232751" y="219024"/>
                  </a:lnTo>
                  <a:lnTo>
                    <a:pt x="1232751" y="218631"/>
                  </a:lnTo>
                  <a:lnTo>
                    <a:pt x="1234033" y="218631"/>
                  </a:lnTo>
                  <a:lnTo>
                    <a:pt x="1234084" y="219024"/>
                  </a:lnTo>
                  <a:lnTo>
                    <a:pt x="1234376" y="219024"/>
                  </a:lnTo>
                  <a:lnTo>
                    <a:pt x="1234376" y="219469"/>
                  </a:lnTo>
                  <a:lnTo>
                    <a:pt x="1234579" y="219469"/>
                  </a:lnTo>
                  <a:lnTo>
                    <a:pt x="1234579" y="219024"/>
                  </a:lnTo>
                  <a:lnTo>
                    <a:pt x="1236319" y="219024"/>
                  </a:lnTo>
                  <a:lnTo>
                    <a:pt x="1236319" y="219469"/>
                  </a:lnTo>
                  <a:lnTo>
                    <a:pt x="1236764" y="219469"/>
                  </a:lnTo>
                  <a:lnTo>
                    <a:pt x="1236764" y="219913"/>
                  </a:lnTo>
                  <a:lnTo>
                    <a:pt x="1236967" y="219913"/>
                  </a:lnTo>
                  <a:lnTo>
                    <a:pt x="1236967" y="219469"/>
                  </a:lnTo>
                  <a:lnTo>
                    <a:pt x="1237005" y="219469"/>
                  </a:lnTo>
                  <a:lnTo>
                    <a:pt x="1237005" y="219913"/>
                  </a:lnTo>
                  <a:lnTo>
                    <a:pt x="1238453" y="219913"/>
                  </a:lnTo>
                  <a:lnTo>
                    <a:pt x="1238453" y="220269"/>
                  </a:lnTo>
                  <a:lnTo>
                    <a:pt x="1239050" y="220269"/>
                  </a:lnTo>
                  <a:lnTo>
                    <a:pt x="1239050" y="219913"/>
                  </a:lnTo>
                  <a:lnTo>
                    <a:pt x="1239443" y="219913"/>
                  </a:lnTo>
                  <a:lnTo>
                    <a:pt x="1239443" y="220269"/>
                  </a:lnTo>
                  <a:lnTo>
                    <a:pt x="1239494" y="220269"/>
                  </a:lnTo>
                  <a:lnTo>
                    <a:pt x="1239494" y="219913"/>
                  </a:lnTo>
                  <a:lnTo>
                    <a:pt x="1240142" y="219913"/>
                  </a:lnTo>
                  <a:lnTo>
                    <a:pt x="1240142" y="219469"/>
                  </a:lnTo>
                  <a:lnTo>
                    <a:pt x="1240688" y="219469"/>
                  </a:lnTo>
                  <a:lnTo>
                    <a:pt x="1240688" y="219024"/>
                  </a:lnTo>
                  <a:lnTo>
                    <a:pt x="1241082" y="219024"/>
                  </a:lnTo>
                  <a:lnTo>
                    <a:pt x="1241132" y="219469"/>
                  </a:lnTo>
                  <a:lnTo>
                    <a:pt x="1241767" y="219469"/>
                  </a:lnTo>
                  <a:lnTo>
                    <a:pt x="1241767" y="219024"/>
                  </a:lnTo>
                  <a:lnTo>
                    <a:pt x="1242771" y="219024"/>
                  </a:lnTo>
                  <a:lnTo>
                    <a:pt x="1242771" y="219469"/>
                  </a:lnTo>
                  <a:lnTo>
                    <a:pt x="1243164" y="219469"/>
                  </a:lnTo>
                  <a:lnTo>
                    <a:pt x="1243164" y="219913"/>
                  </a:lnTo>
                  <a:lnTo>
                    <a:pt x="1243901" y="219913"/>
                  </a:lnTo>
                  <a:lnTo>
                    <a:pt x="1244003" y="219469"/>
                  </a:lnTo>
                  <a:lnTo>
                    <a:pt x="1244549" y="219469"/>
                  </a:lnTo>
                  <a:lnTo>
                    <a:pt x="1244549" y="219913"/>
                  </a:lnTo>
                  <a:lnTo>
                    <a:pt x="1245400" y="219913"/>
                  </a:lnTo>
                  <a:lnTo>
                    <a:pt x="1245400" y="220269"/>
                  </a:lnTo>
                  <a:lnTo>
                    <a:pt x="1245451" y="220269"/>
                  </a:lnTo>
                  <a:lnTo>
                    <a:pt x="1245451" y="219913"/>
                  </a:lnTo>
                  <a:lnTo>
                    <a:pt x="1245844" y="219913"/>
                  </a:lnTo>
                  <a:lnTo>
                    <a:pt x="1245844" y="220269"/>
                  </a:lnTo>
                  <a:lnTo>
                    <a:pt x="1246390" y="220269"/>
                  </a:lnTo>
                  <a:lnTo>
                    <a:pt x="1246390" y="219913"/>
                  </a:lnTo>
                  <a:lnTo>
                    <a:pt x="1246581" y="219913"/>
                  </a:lnTo>
                  <a:lnTo>
                    <a:pt x="1246581" y="220269"/>
                  </a:lnTo>
                  <a:lnTo>
                    <a:pt x="1248816" y="220269"/>
                  </a:lnTo>
                  <a:lnTo>
                    <a:pt x="1248867" y="219913"/>
                  </a:lnTo>
                  <a:lnTo>
                    <a:pt x="1248968" y="219913"/>
                  </a:lnTo>
                  <a:lnTo>
                    <a:pt x="1248968" y="220269"/>
                  </a:lnTo>
                  <a:lnTo>
                    <a:pt x="1248968" y="219913"/>
                  </a:lnTo>
                  <a:lnTo>
                    <a:pt x="1249019" y="219913"/>
                  </a:lnTo>
                  <a:lnTo>
                    <a:pt x="1249019" y="220269"/>
                  </a:lnTo>
                  <a:lnTo>
                    <a:pt x="1249565" y="220269"/>
                  </a:lnTo>
                  <a:lnTo>
                    <a:pt x="1249565" y="219913"/>
                  </a:lnTo>
                  <a:lnTo>
                    <a:pt x="1250251" y="219913"/>
                  </a:lnTo>
                  <a:lnTo>
                    <a:pt x="1250251" y="220269"/>
                  </a:lnTo>
                  <a:lnTo>
                    <a:pt x="1250454" y="220269"/>
                  </a:lnTo>
                  <a:lnTo>
                    <a:pt x="1250454" y="219913"/>
                  </a:lnTo>
                  <a:lnTo>
                    <a:pt x="1250797" y="219913"/>
                  </a:lnTo>
                  <a:lnTo>
                    <a:pt x="1250797" y="220269"/>
                  </a:lnTo>
                  <a:lnTo>
                    <a:pt x="1251940" y="220269"/>
                  </a:lnTo>
                  <a:lnTo>
                    <a:pt x="1251940" y="219913"/>
                  </a:lnTo>
                  <a:lnTo>
                    <a:pt x="1252296" y="219913"/>
                  </a:lnTo>
                  <a:lnTo>
                    <a:pt x="1252296" y="220269"/>
                  </a:lnTo>
                  <a:lnTo>
                    <a:pt x="1252537" y="220269"/>
                  </a:lnTo>
                  <a:lnTo>
                    <a:pt x="1252537" y="220713"/>
                  </a:lnTo>
                  <a:lnTo>
                    <a:pt x="1253083" y="220713"/>
                  </a:lnTo>
                  <a:lnTo>
                    <a:pt x="1253083" y="220269"/>
                  </a:lnTo>
                  <a:lnTo>
                    <a:pt x="1253388" y="220269"/>
                  </a:lnTo>
                  <a:lnTo>
                    <a:pt x="1253426" y="220713"/>
                  </a:lnTo>
                  <a:lnTo>
                    <a:pt x="1253972" y="220713"/>
                  </a:lnTo>
                  <a:lnTo>
                    <a:pt x="1253972" y="221158"/>
                  </a:lnTo>
                  <a:lnTo>
                    <a:pt x="1254023" y="221158"/>
                  </a:lnTo>
                  <a:lnTo>
                    <a:pt x="1254023" y="220713"/>
                  </a:lnTo>
                  <a:lnTo>
                    <a:pt x="1254671" y="220713"/>
                  </a:lnTo>
                  <a:lnTo>
                    <a:pt x="1254671" y="220269"/>
                  </a:lnTo>
                  <a:lnTo>
                    <a:pt x="1254874" y="220269"/>
                  </a:lnTo>
                  <a:lnTo>
                    <a:pt x="1254874" y="220713"/>
                  </a:lnTo>
                  <a:lnTo>
                    <a:pt x="1255661" y="220713"/>
                  </a:lnTo>
                  <a:lnTo>
                    <a:pt x="1255661" y="221158"/>
                  </a:lnTo>
                  <a:lnTo>
                    <a:pt x="1256754" y="221158"/>
                  </a:lnTo>
                  <a:lnTo>
                    <a:pt x="1256804" y="221602"/>
                  </a:lnTo>
                  <a:lnTo>
                    <a:pt x="1256957" y="221602"/>
                  </a:lnTo>
                  <a:lnTo>
                    <a:pt x="1256957" y="221158"/>
                  </a:lnTo>
                  <a:lnTo>
                    <a:pt x="1257058" y="221158"/>
                  </a:lnTo>
                  <a:lnTo>
                    <a:pt x="1257058" y="221602"/>
                  </a:lnTo>
                  <a:lnTo>
                    <a:pt x="1257147" y="221602"/>
                  </a:lnTo>
                  <a:lnTo>
                    <a:pt x="1257147" y="221158"/>
                  </a:lnTo>
                  <a:lnTo>
                    <a:pt x="1257147" y="221602"/>
                  </a:lnTo>
                  <a:lnTo>
                    <a:pt x="1257503" y="221602"/>
                  </a:lnTo>
                  <a:lnTo>
                    <a:pt x="1257503" y="221996"/>
                  </a:lnTo>
                  <a:lnTo>
                    <a:pt x="1257744" y="221996"/>
                  </a:lnTo>
                  <a:lnTo>
                    <a:pt x="1257744" y="221602"/>
                  </a:lnTo>
                  <a:lnTo>
                    <a:pt x="1258189" y="221602"/>
                  </a:lnTo>
                  <a:lnTo>
                    <a:pt x="1258189" y="221158"/>
                  </a:lnTo>
                  <a:lnTo>
                    <a:pt x="1258646" y="221158"/>
                  </a:lnTo>
                  <a:lnTo>
                    <a:pt x="1258646" y="221602"/>
                  </a:lnTo>
                  <a:lnTo>
                    <a:pt x="1258989" y="221602"/>
                  </a:lnTo>
                  <a:lnTo>
                    <a:pt x="1258989" y="221996"/>
                  </a:lnTo>
                  <a:lnTo>
                    <a:pt x="1259090" y="221996"/>
                  </a:lnTo>
                  <a:lnTo>
                    <a:pt x="1259090" y="221602"/>
                  </a:lnTo>
                  <a:lnTo>
                    <a:pt x="1261072" y="221602"/>
                  </a:lnTo>
                  <a:lnTo>
                    <a:pt x="1261072" y="221996"/>
                  </a:lnTo>
                  <a:lnTo>
                    <a:pt x="1262367" y="221996"/>
                  </a:lnTo>
                  <a:lnTo>
                    <a:pt x="1262367" y="222441"/>
                  </a:lnTo>
                  <a:lnTo>
                    <a:pt x="1262811" y="222441"/>
                  </a:lnTo>
                  <a:lnTo>
                    <a:pt x="1262811" y="221996"/>
                  </a:lnTo>
                  <a:lnTo>
                    <a:pt x="1263053" y="221996"/>
                  </a:lnTo>
                  <a:lnTo>
                    <a:pt x="1263053" y="222441"/>
                  </a:lnTo>
                  <a:lnTo>
                    <a:pt x="1263357" y="222441"/>
                  </a:lnTo>
                  <a:lnTo>
                    <a:pt x="1263357" y="221996"/>
                  </a:lnTo>
                  <a:lnTo>
                    <a:pt x="1263650" y="221996"/>
                  </a:lnTo>
                  <a:lnTo>
                    <a:pt x="1263650" y="222441"/>
                  </a:lnTo>
                  <a:lnTo>
                    <a:pt x="1264742" y="222441"/>
                  </a:lnTo>
                  <a:lnTo>
                    <a:pt x="1264742" y="221996"/>
                  </a:lnTo>
                  <a:lnTo>
                    <a:pt x="1265237" y="221996"/>
                  </a:lnTo>
                  <a:lnTo>
                    <a:pt x="1265237" y="222441"/>
                  </a:lnTo>
                  <a:lnTo>
                    <a:pt x="1265542" y="222441"/>
                  </a:lnTo>
                  <a:lnTo>
                    <a:pt x="1265542" y="221996"/>
                  </a:lnTo>
                  <a:lnTo>
                    <a:pt x="1265682" y="221996"/>
                  </a:lnTo>
                  <a:lnTo>
                    <a:pt x="1265682" y="222441"/>
                  </a:lnTo>
                  <a:lnTo>
                    <a:pt x="1265783" y="222441"/>
                  </a:lnTo>
                  <a:lnTo>
                    <a:pt x="1265783" y="221996"/>
                  </a:lnTo>
                  <a:lnTo>
                    <a:pt x="1265834" y="221996"/>
                  </a:lnTo>
                  <a:lnTo>
                    <a:pt x="1265885" y="222441"/>
                  </a:lnTo>
                  <a:lnTo>
                    <a:pt x="1266431" y="222441"/>
                  </a:lnTo>
                  <a:lnTo>
                    <a:pt x="1266431" y="221996"/>
                  </a:lnTo>
                  <a:lnTo>
                    <a:pt x="1266482" y="221996"/>
                  </a:lnTo>
                  <a:lnTo>
                    <a:pt x="1266532" y="222441"/>
                  </a:lnTo>
                  <a:lnTo>
                    <a:pt x="1267625" y="222441"/>
                  </a:lnTo>
                  <a:lnTo>
                    <a:pt x="1267625" y="222898"/>
                  </a:lnTo>
                  <a:lnTo>
                    <a:pt x="1269606" y="222898"/>
                  </a:lnTo>
                  <a:lnTo>
                    <a:pt x="1269606" y="222441"/>
                  </a:lnTo>
                  <a:lnTo>
                    <a:pt x="1271346" y="222441"/>
                  </a:lnTo>
                  <a:lnTo>
                    <a:pt x="1271346" y="222898"/>
                  </a:lnTo>
                  <a:lnTo>
                    <a:pt x="1271790" y="222898"/>
                  </a:lnTo>
                  <a:lnTo>
                    <a:pt x="1271790" y="222441"/>
                  </a:lnTo>
                  <a:lnTo>
                    <a:pt x="1272235" y="222441"/>
                  </a:lnTo>
                  <a:lnTo>
                    <a:pt x="1272235" y="222898"/>
                  </a:lnTo>
                  <a:lnTo>
                    <a:pt x="1273568" y="222898"/>
                  </a:lnTo>
                  <a:lnTo>
                    <a:pt x="1273568" y="223342"/>
                  </a:lnTo>
                  <a:lnTo>
                    <a:pt x="1273924" y="223342"/>
                  </a:lnTo>
                  <a:lnTo>
                    <a:pt x="1273924" y="222898"/>
                  </a:lnTo>
                  <a:lnTo>
                    <a:pt x="1274165" y="222898"/>
                  </a:lnTo>
                  <a:lnTo>
                    <a:pt x="1274165" y="222441"/>
                  </a:lnTo>
                  <a:lnTo>
                    <a:pt x="1274521" y="222441"/>
                  </a:lnTo>
                  <a:lnTo>
                    <a:pt x="1274521" y="222898"/>
                  </a:lnTo>
                  <a:lnTo>
                    <a:pt x="1275562" y="222898"/>
                  </a:lnTo>
                  <a:lnTo>
                    <a:pt x="1275562" y="222441"/>
                  </a:lnTo>
                  <a:lnTo>
                    <a:pt x="1276108" y="222441"/>
                  </a:lnTo>
                  <a:lnTo>
                    <a:pt x="1276108" y="222898"/>
                  </a:lnTo>
                  <a:lnTo>
                    <a:pt x="1276794" y="222898"/>
                  </a:lnTo>
                  <a:lnTo>
                    <a:pt x="1276794" y="223342"/>
                  </a:lnTo>
                  <a:lnTo>
                    <a:pt x="1277340" y="223342"/>
                  </a:lnTo>
                  <a:lnTo>
                    <a:pt x="1277340" y="223685"/>
                  </a:lnTo>
                  <a:lnTo>
                    <a:pt x="1277594" y="223685"/>
                  </a:lnTo>
                  <a:lnTo>
                    <a:pt x="1277594" y="223342"/>
                  </a:lnTo>
                  <a:lnTo>
                    <a:pt x="1278331" y="223342"/>
                  </a:lnTo>
                  <a:lnTo>
                    <a:pt x="1278382" y="223685"/>
                  </a:lnTo>
                  <a:lnTo>
                    <a:pt x="1280871" y="223685"/>
                  </a:lnTo>
                  <a:lnTo>
                    <a:pt x="1280871" y="223342"/>
                  </a:lnTo>
                  <a:lnTo>
                    <a:pt x="1281061" y="223342"/>
                  </a:lnTo>
                  <a:lnTo>
                    <a:pt x="1281061" y="223685"/>
                  </a:lnTo>
                  <a:lnTo>
                    <a:pt x="1281861" y="223685"/>
                  </a:lnTo>
                  <a:lnTo>
                    <a:pt x="1281861" y="223342"/>
                  </a:lnTo>
                  <a:lnTo>
                    <a:pt x="1282204" y="223342"/>
                  </a:lnTo>
                  <a:lnTo>
                    <a:pt x="1282204" y="223685"/>
                  </a:lnTo>
                  <a:lnTo>
                    <a:pt x="1285176" y="223685"/>
                  </a:lnTo>
                  <a:lnTo>
                    <a:pt x="1285176" y="223342"/>
                  </a:lnTo>
                  <a:lnTo>
                    <a:pt x="1286319" y="223342"/>
                  </a:lnTo>
                  <a:lnTo>
                    <a:pt x="1286319" y="223685"/>
                  </a:lnTo>
                  <a:lnTo>
                    <a:pt x="1287221" y="223685"/>
                  </a:lnTo>
                  <a:lnTo>
                    <a:pt x="1287221" y="223342"/>
                  </a:lnTo>
                  <a:lnTo>
                    <a:pt x="1288262" y="223342"/>
                  </a:lnTo>
                  <a:lnTo>
                    <a:pt x="1288262" y="223685"/>
                  </a:lnTo>
                  <a:lnTo>
                    <a:pt x="1288707" y="223685"/>
                  </a:lnTo>
                  <a:lnTo>
                    <a:pt x="1288707" y="223342"/>
                  </a:lnTo>
                  <a:lnTo>
                    <a:pt x="1288999" y="223342"/>
                  </a:lnTo>
                  <a:lnTo>
                    <a:pt x="1288999" y="223685"/>
                  </a:lnTo>
                  <a:lnTo>
                    <a:pt x="1290091" y="223685"/>
                  </a:lnTo>
                  <a:lnTo>
                    <a:pt x="1290091" y="223342"/>
                  </a:lnTo>
                  <a:lnTo>
                    <a:pt x="1290396" y="223342"/>
                  </a:lnTo>
                  <a:lnTo>
                    <a:pt x="1290396" y="223685"/>
                  </a:lnTo>
                  <a:lnTo>
                    <a:pt x="1291526" y="223685"/>
                  </a:lnTo>
                  <a:lnTo>
                    <a:pt x="1291526" y="224130"/>
                  </a:lnTo>
                  <a:lnTo>
                    <a:pt x="1291882" y="224130"/>
                  </a:lnTo>
                  <a:lnTo>
                    <a:pt x="1291882" y="223685"/>
                  </a:lnTo>
                  <a:lnTo>
                    <a:pt x="1292072" y="223685"/>
                  </a:lnTo>
                  <a:lnTo>
                    <a:pt x="1292072" y="223342"/>
                  </a:lnTo>
                  <a:lnTo>
                    <a:pt x="1292377" y="223342"/>
                  </a:lnTo>
                  <a:lnTo>
                    <a:pt x="1292377" y="223685"/>
                  </a:lnTo>
                  <a:lnTo>
                    <a:pt x="1293469" y="223685"/>
                  </a:lnTo>
                  <a:lnTo>
                    <a:pt x="1293520" y="223342"/>
                  </a:lnTo>
                  <a:lnTo>
                    <a:pt x="1294701" y="223342"/>
                  </a:lnTo>
                  <a:lnTo>
                    <a:pt x="1294701" y="223685"/>
                  </a:lnTo>
                  <a:lnTo>
                    <a:pt x="1296149" y="223685"/>
                  </a:lnTo>
                  <a:lnTo>
                    <a:pt x="1296149" y="223342"/>
                  </a:lnTo>
                  <a:lnTo>
                    <a:pt x="1296644" y="223342"/>
                  </a:lnTo>
                  <a:lnTo>
                    <a:pt x="1296644" y="222898"/>
                  </a:lnTo>
                  <a:lnTo>
                    <a:pt x="1296835" y="222898"/>
                  </a:lnTo>
                  <a:lnTo>
                    <a:pt x="1296835" y="223342"/>
                  </a:lnTo>
                  <a:lnTo>
                    <a:pt x="1297381" y="223342"/>
                  </a:lnTo>
                  <a:lnTo>
                    <a:pt x="1297381" y="223685"/>
                  </a:lnTo>
                  <a:lnTo>
                    <a:pt x="1298473" y="223685"/>
                  </a:lnTo>
                  <a:lnTo>
                    <a:pt x="1298473" y="224130"/>
                  </a:lnTo>
                  <a:lnTo>
                    <a:pt x="1298917" y="224130"/>
                  </a:lnTo>
                  <a:lnTo>
                    <a:pt x="1298917" y="223685"/>
                  </a:lnTo>
                  <a:lnTo>
                    <a:pt x="1300467" y="223685"/>
                  </a:lnTo>
                  <a:lnTo>
                    <a:pt x="1300467" y="224130"/>
                  </a:lnTo>
                  <a:lnTo>
                    <a:pt x="1300505" y="224130"/>
                  </a:lnTo>
                  <a:lnTo>
                    <a:pt x="1300505" y="223685"/>
                  </a:lnTo>
                  <a:lnTo>
                    <a:pt x="1300759" y="223685"/>
                  </a:lnTo>
                  <a:lnTo>
                    <a:pt x="1300759" y="224130"/>
                  </a:lnTo>
                  <a:lnTo>
                    <a:pt x="1301407" y="224130"/>
                  </a:lnTo>
                  <a:lnTo>
                    <a:pt x="1301407" y="223685"/>
                  </a:lnTo>
                  <a:lnTo>
                    <a:pt x="1301699" y="223685"/>
                  </a:lnTo>
                  <a:lnTo>
                    <a:pt x="1301699" y="224130"/>
                  </a:lnTo>
                  <a:lnTo>
                    <a:pt x="1301750" y="224130"/>
                  </a:lnTo>
                  <a:lnTo>
                    <a:pt x="1301750" y="223685"/>
                  </a:lnTo>
                  <a:lnTo>
                    <a:pt x="1301851" y="223685"/>
                  </a:lnTo>
                  <a:lnTo>
                    <a:pt x="1301851" y="224130"/>
                  </a:lnTo>
                  <a:lnTo>
                    <a:pt x="1301902" y="223685"/>
                  </a:lnTo>
                  <a:lnTo>
                    <a:pt x="1302499" y="223685"/>
                  </a:lnTo>
                  <a:lnTo>
                    <a:pt x="1302499" y="224130"/>
                  </a:lnTo>
                  <a:lnTo>
                    <a:pt x="1302499" y="223685"/>
                  </a:lnTo>
                  <a:lnTo>
                    <a:pt x="1303782" y="223685"/>
                  </a:lnTo>
                  <a:lnTo>
                    <a:pt x="1303782" y="224130"/>
                  </a:lnTo>
                  <a:lnTo>
                    <a:pt x="1304226" y="224130"/>
                  </a:lnTo>
                  <a:lnTo>
                    <a:pt x="1304328" y="223685"/>
                  </a:lnTo>
                  <a:lnTo>
                    <a:pt x="1304429" y="223685"/>
                  </a:lnTo>
                  <a:lnTo>
                    <a:pt x="1304429" y="224130"/>
                  </a:lnTo>
                  <a:lnTo>
                    <a:pt x="1305522" y="224130"/>
                  </a:lnTo>
                  <a:lnTo>
                    <a:pt x="1305522" y="223685"/>
                  </a:lnTo>
                  <a:lnTo>
                    <a:pt x="1305814" y="223685"/>
                  </a:lnTo>
                  <a:lnTo>
                    <a:pt x="1305814" y="223342"/>
                  </a:lnTo>
                  <a:lnTo>
                    <a:pt x="1306715" y="223342"/>
                  </a:lnTo>
                  <a:lnTo>
                    <a:pt x="1306715" y="223685"/>
                  </a:lnTo>
                  <a:lnTo>
                    <a:pt x="1307757" y="223685"/>
                  </a:lnTo>
                  <a:lnTo>
                    <a:pt x="1307757" y="223342"/>
                  </a:lnTo>
                  <a:lnTo>
                    <a:pt x="1307858" y="223342"/>
                  </a:lnTo>
                  <a:lnTo>
                    <a:pt x="1307858" y="223685"/>
                  </a:lnTo>
                  <a:lnTo>
                    <a:pt x="1308303" y="223685"/>
                  </a:lnTo>
                  <a:lnTo>
                    <a:pt x="1308303" y="224130"/>
                  </a:lnTo>
                  <a:lnTo>
                    <a:pt x="1308442" y="224130"/>
                  </a:lnTo>
                  <a:lnTo>
                    <a:pt x="1308442" y="223685"/>
                  </a:lnTo>
                  <a:lnTo>
                    <a:pt x="1308493" y="223685"/>
                  </a:lnTo>
                  <a:lnTo>
                    <a:pt x="1308493" y="224130"/>
                  </a:lnTo>
                  <a:lnTo>
                    <a:pt x="1308646" y="224130"/>
                  </a:lnTo>
                  <a:lnTo>
                    <a:pt x="1308646" y="223685"/>
                  </a:lnTo>
                  <a:lnTo>
                    <a:pt x="1308697" y="223685"/>
                  </a:lnTo>
                  <a:lnTo>
                    <a:pt x="1308697" y="224130"/>
                  </a:lnTo>
                  <a:lnTo>
                    <a:pt x="1310779" y="224130"/>
                  </a:lnTo>
                  <a:lnTo>
                    <a:pt x="1310779" y="223685"/>
                  </a:lnTo>
                  <a:lnTo>
                    <a:pt x="1312316" y="223685"/>
                  </a:lnTo>
                  <a:lnTo>
                    <a:pt x="1312316" y="223342"/>
                  </a:lnTo>
                  <a:lnTo>
                    <a:pt x="1313065" y="223342"/>
                  </a:lnTo>
                  <a:lnTo>
                    <a:pt x="1313065" y="223685"/>
                  </a:lnTo>
                  <a:lnTo>
                    <a:pt x="1313307" y="223685"/>
                  </a:lnTo>
                  <a:lnTo>
                    <a:pt x="1313307" y="223342"/>
                  </a:lnTo>
                  <a:lnTo>
                    <a:pt x="1314754" y="223342"/>
                  </a:lnTo>
                  <a:lnTo>
                    <a:pt x="1314754" y="223685"/>
                  </a:lnTo>
                  <a:lnTo>
                    <a:pt x="1315491" y="223685"/>
                  </a:lnTo>
                  <a:lnTo>
                    <a:pt x="1315491" y="223342"/>
                  </a:lnTo>
                  <a:lnTo>
                    <a:pt x="1315745" y="223342"/>
                  </a:lnTo>
                  <a:lnTo>
                    <a:pt x="1315745" y="222898"/>
                  </a:lnTo>
                  <a:lnTo>
                    <a:pt x="1317282" y="222898"/>
                  </a:lnTo>
                  <a:lnTo>
                    <a:pt x="1317282" y="223342"/>
                  </a:lnTo>
                  <a:lnTo>
                    <a:pt x="1317777" y="223342"/>
                  </a:lnTo>
                  <a:lnTo>
                    <a:pt x="1317828" y="222898"/>
                  </a:lnTo>
                  <a:lnTo>
                    <a:pt x="1317967" y="222898"/>
                  </a:lnTo>
                  <a:lnTo>
                    <a:pt x="1317967" y="223342"/>
                  </a:lnTo>
                  <a:lnTo>
                    <a:pt x="1318374" y="223342"/>
                  </a:lnTo>
                  <a:lnTo>
                    <a:pt x="1318374" y="223685"/>
                  </a:lnTo>
                  <a:lnTo>
                    <a:pt x="1318514" y="223685"/>
                  </a:lnTo>
                  <a:lnTo>
                    <a:pt x="1318514" y="223342"/>
                  </a:lnTo>
                  <a:lnTo>
                    <a:pt x="1318615" y="223342"/>
                  </a:lnTo>
                  <a:lnTo>
                    <a:pt x="1318615" y="223685"/>
                  </a:lnTo>
                  <a:lnTo>
                    <a:pt x="1318615" y="223342"/>
                  </a:lnTo>
                  <a:lnTo>
                    <a:pt x="1319606" y="223342"/>
                  </a:lnTo>
                  <a:lnTo>
                    <a:pt x="1319606" y="223685"/>
                  </a:lnTo>
                  <a:lnTo>
                    <a:pt x="1319657" y="223685"/>
                  </a:lnTo>
                  <a:lnTo>
                    <a:pt x="1319657" y="223342"/>
                  </a:lnTo>
                  <a:lnTo>
                    <a:pt x="1319961" y="223342"/>
                  </a:lnTo>
                  <a:lnTo>
                    <a:pt x="1319961" y="223685"/>
                  </a:lnTo>
                  <a:lnTo>
                    <a:pt x="1320254" y="223685"/>
                  </a:lnTo>
                  <a:lnTo>
                    <a:pt x="1320254" y="223342"/>
                  </a:lnTo>
                  <a:lnTo>
                    <a:pt x="1320406" y="223342"/>
                  </a:lnTo>
                  <a:lnTo>
                    <a:pt x="1320457" y="223685"/>
                  </a:lnTo>
                  <a:lnTo>
                    <a:pt x="1321193" y="223685"/>
                  </a:lnTo>
                  <a:lnTo>
                    <a:pt x="1321193" y="224130"/>
                  </a:lnTo>
                  <a:lnTo>
                    <a:pt x="1323136" y="224130"/>
                  </a:lnTo>
                  <a:lnTo>
                    <a:pt x="1323136" y="223685"/>
                  </a:lnTo>
                  <a:lnTo>
                    <a:pt x="1323733" y="223685"/>
                  </a:lnTo>
                  <a:lnTo>
                    <a:pt x="1323733" y="223342"/>
                  </a:lnTo>
                  <a:lnTo>
                    <a:pt x="1324368" y="223342"/>
                  </a:lnTo>
                  <a:lnTo>
                    <a:pt x="1324419" y="223685"/>
                  </a:lnTo>
                  <a:lnTo>
                    <a:pt x="1325067" y="223685"/>
                  </a:lnTo>
                  <a:lnTo>
                    <a:pt x="1325067" y="224130"/>
                  </a:lnTo>
                  <a:lnTo>
                    <a:pt x="1326311" y="224130"/>
                  </a:lnTo>
                  <a:lnTo>
                    <a:pt x="1326311" y="223685"/>
                  </a:lnTo>
                  <a:lnTo>
                    <a:pt x="1326654" y="223685"/>
                  </a:lnTo>
                  <a:lnTo>
                    <a:pt x="1326654" y="224130"/>
                  </a:lnTo>
                  <a:lnTo>
                    <a:pt x="1329080" y="224130"/>
                  </a:lnTo>
                  <a:lnTo>
                    <a:pt x="1329080" y="224574"/>
                  </a:lnTo>
                  <a:lnTo>
                    <a:pt x="1329131" y="224574"/>
                  </a:lnTo>
                  <a:lnTo>
                    <a:pt x="1329131" y="224130"/>
                  </a:lnTo>
                  <a:lnTo>
                    <a:pt x="1329829" y="224130"/>
                  </a:lnTo>
                  <a:lnTo>
                    <a:pt x="1329829" y="224574"/>
                  </a:lnTo>
                  <a:lnTo>
                    <a:pt x="1330032" y="224574"/>
                  </a:lnTo>
                  <a:lnTo>
                    <a:pt x="1330083" y="224981"/>
                  </a:lnTo>
                  <a:lnTo>
                    <a:pt x="1330223" y="224981"/>
                  </a:lnTo>
                  <a:lnTo>
                    <a:pt x="1330223" y="225425"/>
                  </a:lnTo>
                  <a:lnTo>
                    <a:pt x="1330477" y="225425"/>
                  </a:lnTo>
                  <a:lnTo>
                    <a:pt x="1330477" y="225869"/>
                  </a:lnTo>
                  <a:lnTo>
                    <a:pt x="1330629" y="225869"/>
                  </a:lnTo>
                  <a:lnTo>
                    <a:pt x="1330629" y="226314"/>
                  </a:lnTo>
                  <a:lnTo>
                    <a:pt x="1330769" y="226314"/>
                  </a:lnTo>
                  <a:lnTo>
                    <a:pt x="1330769" y="226708"/>
                  </a:lnTo>
                  <a:lnTo>
                    <a:pt x="1330922" y="226708"/>
                  </a:lnTo>
                  <a:lnTo>
                    <a:pt x="1330922" y="227165"/>
                  </a:lnTo>
                  <a:lnTo>
                    <a:pt x="1331176" y="227165"/>
                  </a:lnTo>
                  <a:lnTo>
                    <a:pt x="1331176" y="227609"/>
                  </a:lnTo>
                  <a:lnTo>
                    <a:pt x="1331366" y="227609"/>
                  </a:lnTo>
                  <a:lnTo>
                    <a:pt x="1331366" y="228054"/>
                  </a:lnTo>
                  <a:lnTo>
                    <a:pt x="1331518" y="228054"/>
                  </a:lnTo>
                  <a:lnTo>
                    <a:pt x="1331518" y="228397"/>
                  </a:lnTo>
                  <a:lnTo>
                    <a:pt x="1331620" y="228397"/>
                  </a:lnTo>
                  <a:lnTo>
                    <a:pt x="1331620" y="228841"/>
                  </a:lnTo>
                  <a:lnTo>
                    <a:pt x="1331760" y="228841"/>
                  </a:lnTo>
                  <a:lnTo>
                    <a:pt x="1331811" y="229298"/>
                  </a:lnTo>
                  <a:lnTo>
                    <a:pt x="1331861" y="229298"/>
                  </a:lnTo>
                  <a:lnTo>
                    <a:pt x="1331861" y="229692"/>
                  </a:lnTo>
                  <a:lnTo>
                    <a:pt x="1331912" y="229692"/>
                  </a:lnTo>
                  <a:lnTo>
                    <a:pt x="1331912" y="229298"/>
                  </a:lnTo>
                  <a:lnTo>
                    <a:pt x="1332014" y="229298"/>
                  </a:lnTo>
                  <a:lnTo>
                    <a:pt x="1332014" y="229692"/>
                  </a:lnTo>
                  <a:lnTo>
                    <a:pt x="1332217" y="229692"/>
                  </a:lnTo>
                  <a:lnTo>
                    <a:pt x="1332217" y="230137"/>
                  </a:lnTo>
                  <a:lnTo>
                    <a:pt x="1332306" y="230137"/>
                  </a:lnTo>
                  <a:lnTo>
                    <a:pt x="1332306" y="230581"/>
                  </a:lnTo>
                  <a:lnTo>
                    <a:pt x="1332458" y="230581"/>
                  </a:lnTo>
                  <a:lnTo>
                    <a:pt x="1332458" y="231026"/>
                  </a:lnTo>
                  <a:lnTo>
                    <a:pt x="1332560" y="231026"/>
                  </a:lnTo>
                  <a:lnTo>
                    <a:pt x="1332560" y="231381"/>
                  </a:lnTo>
                  <a:lnTo>
                    <a:pt x="1332801" y="231381"/>
                  </a:lnTo>
                  <a:lnTo>
                    <a:pt x="1332801" y="231826"/>
                  </a:lnTo>
                  <a:lnTo>
                    <a:pt x="1333004" y="231826"/>
                  </a:lnTo>
                  <a:lnTo>
                    <a:pt x="1333004" y="232270"/>
                  </a:lnTo>
                  <a:lnTo>
                    <a:pt x="1333207" y="232270"/>
                  </a:lnTo>
                  <a:lnTo>
                    <a:pt x="1333207" y="232715"/>
                  </a:lnTo>
                  <a:lnTo>
                    <a:pt x="1333258" y="232715"/>
                  </a:lnTo>
                  <a:lnTo>
                    <a:pt x="1333347" y="233108"/>
                  </a:lnTo>
                  <a:lnTo>
                    <a:pt x="1333500" y="233108"/>
                  </a:lnTo>
                  <a:lnTo>
                    <a:pt x="1333500" y="233553"/>
                  </a:lnTo>
                  <a:lnTo>
                    <a:pt x="1333652" y="233553"/>
                  </a:lnTo>
                  <a:lnTo>
                    <a:pt x="1333652" y="234010"/>
                  </a:lnTo>
                  <a:lnTo>
                    <a:pt x="1333804" y="234010"/>
                  </a:lnTo>
                  <a:lnTo>
                    <a:pt x="1333804" y="234404"/>
                  </a:lnTo>
                  <a:lnTo>
                    <a:pt x="1333842" y="234404"/>
                  </a:lnTo>
                  <a:lnTo>
                    <a:pt x="1333842" y="234798"/>
                  </a:lnTo>
                  <a:lnTo>
                    <a:pt x="1333944" y="234798"/>
                  </a:lnTo>
                  <a:lnTo>
                    <a:pt x="1333944" y="235242"/>
                  </a:lnTo>
                  <a:lnTo>
                    <a:pt x="1334249" y="235242"/>
                  </a:lnTo>
                  <a:lnTo>
                    <a:pt x="1334300" y="235687"/>
                  </a:lnTo>
                  <a:lnTo>
                    <a:pt x="1334351" y="235687"/>
                  </a:lnTo>
                  <a:lnTo>
                    <a:pt x="1334351" y="236093"/>
                  </a:lnTo>
                  <a:lnTo>
                    <a:pt x="1334490" y="236093"/>
                  </a:lnTo>
                  <a:lnTo>
                    <a:pt x="1334490" y="236537"/>
                  </a:lnTo>
                  <a:lnTo>
                    <a:pt x="1334541" y="236537"/>
                  </a:lnTo>
                  <a:lnTo>
                    <a:pt x="1334541" y="236982"/>
                  </a:lnTo>
                  <a:lnTo>
                    <a:pt x="1334592" y="236982"/>
                  </a:lnTo>
                  <a:lnTo>
                    <a:pt x="1334693" y="237376"/>
                  </a:lnTo>
                  <a:lnTo>
                    <a:pt x="1334744" y="237376"/>
                  </a:lnTo>
                  <a:lnTo>
                    <a:pt x="1334744" y="237820"/>
                  </a:lnTo>
                  <a:lnTo>
                    <a:pt x="1334795" y="237820"/>
                  </a:lnTo>
                  <a:lnTo>
                    <a:pt x="1334795" y="238277"/>
                  </a:lnTo>
                  <a:lnTo>
                    <a:pt x="1334935" y="238277"/>
                  </a:lnTo>
                  <a:lnTo>
                    <a:pt x="1334935" y="238722"/>
                  </a:lnTo>
                  <a:lnTo>
                    <a:pt x="1335036" y="238722"/>
                  </a:lnTo>
                  <a:lnTo>
                    <a:pt x="1335036" y="239065"/>
                  </a:lnTo>
                  <a:lnTo>
                    <a:pt x="1335189" y="239065"/>
                  </a:lnTo>
                  <a:lnTo>
                    <a:pt x="1335189" y="239509"/>
                  </a:lnTo>
                  <a:lnTo>
                    <a:pt x="1335290" y="239509"/>
                  </a:lnTo>
                  <a:lnTo>
                    <a:pt x="1335290" y="239954"/>
                  </a:lnTo>
                  <a:lnTo>
                    <a:pt x="1335392" y="239954"/>
                  </a:lnTo>
                  <a:lnTo>
                    <a:pt x="1335392" y="240411"/>
                  </a:lnTo>
                  <a:lnTo>
                    <a:pt x="1335481" y="240411"/>
                  </a:lnTo>
                  <a:lnTo>
                    <a:pt x="1335481" y="240805"/>
                  </a:lnTo>
                  <a:lnTo>
                    <a:pt x="1335532" y="240805"/>
                  </a:lnTo>
                  <a:lnTo>
                    <a:pt x="1335633" y="241249"/>
                  </a:lnTo>
                  <a:lnTo>
                    <a:pt x="1335684" y="241249"/>
                  </a:lnTo>
                  <a:lnTo>
                    <a:pt x="1335684" y="241694"/>
                  </a:lnTo>
                  <a:lnTo>
                    <a:pt x="1335836" y="241694"/>
                  </a:lnTo>
                  <a:lnTo>
                    <a:pt x="1335836" y="242037"/>
                  </a:lnTo>
                  <a:lnTo>
                    <a:pt x="1335938" y="242037"/>
                  </a:lnTo>
                  <a:lnTo>
                    <a:pt x="1335938" y="242494"/>
                  </a:lnTo>
                  <a:lnTo>
                    <a:pt x="1335976" y="242494"/>
                  </a:lnTo>
                  <a:lnTo>
                    <a:pt x="1335976" y="242938"/>
                  </a:lnTo>
                  <a:lnTo>
                    <a:pt x="1336078" y="242938"/>
                  </a:lnTo>
                  <a:lnTo>
                    <a:pt x="1336129" y="243383"/>
                  </a:lnTo>
                  <a:lnTo>
                    <a:pt x="1336179" y="243383"/>
                  </a:lnTo>
                  <a:lnTo>
                    <a:pt x="1336179" y="243777"/>
                  </a:lnTo>
                  <a:lnTo>
                    <a:pt x="1336332" y="243777"/>
                  </a:lnTo>
                  <a:lnTo>
                    <a:pt x="1336332" y="244221"/>
                  </a:lnTo>
                  <a:lnTo>
                    <a:pt x="1336433" y="244221"/>
                  </a:lnTo>
                  <a:lnTo>
                    <a:pt x="1336433" y="244666"/>
                  </a:lnTo>
                  <a:lnTo>
                    <a:pt x="1336522" y="244666"/>
                  </a:lnTo>
                  <a:lnTo>
                    <a:pt x="1336522" y="245123"/>
                  </a:lnTo>
                  <a:lnTo>
                    <a:pt x="1336624" y="245123"/>
                  </a:lnTo>
                  <a:lnTo>
                    <a:pt x="1336624" y="245516"/>
                  </a:lnTo>
                  <a:lnTo>
                    <a:pt x="1336675" y="245516"/>
                  </a:lnTo>
                  <a:lnTo>
                    <a:pt x="1336675" y="245910"/>
                  </a:lnTo>
                  <a:lnTo>
                    <a:pt x="1336776" y="245910"/>
                  </a:lnTo>
                  <a:lnTo>
                    <a:pt x="1336776" y="246355"/>
                  </a:lnTo>
                  <a:lnTo>
                    <a:pt x="1336878" y="246355"/>
                  </a:lnTo>
                  <a:lnTo>
                    <a:pt x="1336878" y="246761"/>
                  </a:lnTo>
                  <a:lnTo>
                    <a:pt x="1336979" y="246761"/>
                  </a:lnTo>
                  <a:lnTo>
                    <a:pt x="1336979" y="247206"/>
                  </a:lnTo>
                  <a:lnTo>
                    <a:pt x="1337017" y="247206"/>
                  </a:lnTo>
                  <a:lnTo>
                    <a:pt x="1337017" y="247650"/>
                  </a:lnTo>
                  <a:lnTo>
                    <a:pt x="1337221" y="247650"/>
                  </a:lnTo>
                  <a:lnTo>
                    <a:pt x="1337221" y="248094"/>
                  </a:lnTo>
                  <a:lnTo>
                    <a:pt x="1337322" y="248094"/>
                  </a:lnTo>
                  <a:lnTo>
                    <a:pt x="1337322" y="248488"/>
                  </a:lnTo>
                  <a:lnTo>
                    <a:pt x="1337475" y="248488"/>
                  </a:lnTo>
                  <a:lnTo>
                    <a:pt x="1337475" y="248933"/>
                  </a:lnTo>
                  <a:lnTo>
                    <a:pt x="1337526" y="248933"/>
                  </a:lnTo>
                  <a:lnTo>
                    <a:pt x="1337526" y="249390"/>
                  </a:lnTo>
                  <a:lnTo>
                    <a:pt x="1337564" y="249390"/>
                  </a:lnTo>
                  <a:lnTo>
                    <a:pt x="1337564" y="249834"/>
                  </a:lnTo>
                  <a:lnTo>
                    <a:pt x="1337716" y="249834"/>
                  </a:lnTo>
                  <a:lnTo>
                    <a:pt x="1337716" y="250177"/>
                  </a:lnTo>
                  <a:lnTo>
                    <a:pt x="1337868" y="250177"/>
                  </a:lnTo>
                  <a:lnTo>
                    <a:pt x="1337868" y="250622"/>
                  </a:lnTo>
                  <a:lnTo>
                    <a:pt x="1337919" y="250622"/>
                  </a:lnTo>
                  <a:lnTo>
                    <a:pt x="1337970" y="251066"/>
                  </a:lnTo>
                  <a:lnTo>
                    <a:pt x="1338021" y="251066"/>
                  </a:lnTo>
                  <a:lnTo>
                    <a:pt x="1338021" y="251473"/>
                  </a:lnTo>
                  <a:lnTo>
                    <a:pt x="1338110" y="251473"/>
                  </a:lnTo>
                  <a:lnTo>
                    <a:pt x="1338110" y="251917"/>
                  </a:lnTo>
                  <a:lnTo>
                    <a:pt x="1338161" y="251917"/>
                  </a:lnTo>
                  <a:lnTo>
                    <a:pt x="1338161" y="252362"/>
                  </a:lnTo>
                  <a:lnTo>
                    <a:pt x="1338262" y="252362"/>
                  </a:lnTo>
                  <a:lnTo>
                    <a:pt x="1338262" y="252806"/>
                  </a:lnTo>
                  <a:lnTo>
                    <a:pt x="1338364" y="252806"/>
                  </a:lnTo>
                  <a:lnTo>
                    <a:pt x="1338364" y="253149"/>
                  </a:lnTo>
                  <a:lnTo>
                    <a:pt x="1338465" y="253149"/>
                  </a:lnTo>
                  <a:lnTo>
                    <a:pt x="1338465" y="253606"/>
                  </a:lnTo>
                  <a:lnTo>
                    <a:pt x="1338567" y="253606"/>
                  </a:lnTo>
                  <a:lnTo>
                    <a:pt x="1338567" y="254051"/>
                  </a:lnTo>
                  <a:lnTo>
                    <a:pt x="1338656" y="254051"/>
                  </a:lnTo>
                  <a:lnTo>
                    <a:pt x="1338656" y="254444"/>
                  </a:lnTo>
                  <a:lnTo>
                    <a:pt x="1338808" y="254444"/>
                  </a:lnTo>
                  <a:lnTo>
                    <a:pt x="1338808" y="254889"/>
                  </a:lnTo>
                  <a:lnTo>
                    <a:pt x="1338910" y="254889"/>
                  </a:lnTo>
                  <a:lnTo>
                    <a:pt x="1338910" y="255333"/>
                  </a:lnTo>
                  <a:lnTo>
                    <a:pt x="1339011" y="255333"/>
                  </a:lnTo>
                  <a:lnTo>
                    <a:pt x="1339011" y="255778"/>
                  </a:lnTo>
                  <a:lnTo>
                    <a:pt x="1339062" y="255778"/>
                  </a:lnTo>
                  <a:lnTo>
                    <a:pt x="1339062" y="256184"/>
                  </a:lnTo>
                  <a:lnTo>
                    <a:pt x="1339151" y="256184"/>
                  </a:lnTo>
                  <a:lnTo>
                    <a:pt x="1339151" y="256629"/>
                  </a:lnTo>
                  <a:lnTo>
                    <a:pt x="1339304" y="256629"/>
                  </a:lnTo>
                  <a:lnTo>
                    <a:pt x="1339304" y="257023"/>
                  </a:lnTo>
                  <a:lnTo>
                    <a:pt x="1339456" y="257023"/>
                  </a:lnTo>
                  <a:lnTo>
                    <a:pt x="1339456" y="257467"/>
                  </a:lnTo>
                  <a:lnTo>
                    <a:pt x="1339507" y="257467"/>
                  </a:lnTo>
                  <a:lnTo>
                    <a:pt x="1339507" y="257873"/>
                  </a:lnTo>
                  <a:lnTo>
                    <a:pt x="1339557" y="257873"/>
                  </a:lnTo>
                  <a:lnTo>
                    <a:pt x="1339557" y="258318"/>
                  </a:lnTo>
                  <a:lnTo>
                    <a:pt x="1339608" y="258318"/>
                  </a:lnTo>
                  <a:lnTo>
                    <a:pt x="1339608" y="258762"/>
                  </a:lnTo>
                  <a:lnTo>
                    <a:pt x="1339697" y="258762"/>
                  </a:lnTo>
                  <a:lnTo>
                    <a:pt x="1339748" y="259156"/>
                  </a:lnTo>
                  <a:lnTo>
                    <a:pt x="1339799" y="259156"/>
                  </a:lnTo>
                  <a:lnTo>
                    <a:pt x="1339799" y="259601"/>
                  </a:lnTo>
                  <a:lnTo>
                    <a:pt x="1339850" y="259601"/>
                  </a:lnTo>
                  <a:lnTo>
                    <a:pt x="1339850" y="260045"/>
                  </a:lnTo>
                  <a:lnTo>
                    <a:pt x="1339951" y="260045"/>
                  </a:lnTo>
                  <a:lnTo>
                    <a:pt x="1339951" y="260502"/>
                  </a:lnTo>
                  <a:lnTo>
                    <a:pt x="1340053" y="260502"/>
                  </a:lnTo>
                  <a:lnTo>
                    <a:pt x="1340053" y="260845"/>
                  </a:lnTo>
                  <a:lnTo>
                    <a:pt x="1340154" y="260845"/>
                  </a:lnTo>
                  <a:lnTo>
                    <a:pt x="1340154" y="261290"/>
                  </a:lnTo>
                  <a:lnTo>
                    <a:pt x="1340192" y="261290"/>
                  </a:lnTo>
                  <a:lnTo>
                    <a:pt x="1340192" y="261734"/>
                  </a:lnTo>
                  <a:lnTo>
                    <a:pt x="1340243" y="261734"/>
                  </a:lnTo>
                  <a:lnTo>
                    <a:pt x="1340243" y="262179"/>
                  </a:lnTo>
                  <a:lnTo>
                    <a:pt x="1340396" y="262179"/>
                  </a:lnTo>
                  <a:lnTo>
                    <a:pt x="1340396" y="262585"/>
                  </a:lnTo>
                  <a:lnTo>
                    <a:pt x="1340447" y="262585"/>
                  </a:lnTo>
                  <a:lnTo>
                    <a:pt x="1340447" y="263030"/>
                  </a:lnTo>
                  <a:lnTo>
                    <a:pt x="1340497" y="263030"/>
                  </a:lnTo>
                  <a:lnTo>
                    <a:pt x="1340497" y="263474"/>
                  </a:lnTo>
                  <a:lnTo>
                    <a:pt x="1340650" y="263474"/>
                  </a:lnTo>
                  <a:lnTo>
                    <a:pt x="1340650" y="263817"/>
                  </a:lnTo>
                  <a:lnTo>
                    <a:pt x="1340701" y="263817"/>
                  </a:lnTo>
                  <a:lnTo>
                    <a:pt x="1340701" y="264262"/>
                  </a:lnTo>
                  <a:lnTo>
                    <a:pt x="1340739" y="264262"/>
                  </a:lnTo>
                  <a:lnTo>
                    <a:pt x="1340739" y="264719"/>
                  </a:lnTo>
                  <a:lnTo>
                    <a:pt x="1340891" y="264719"/>
                  </a:lnTo>
                  <a:lnTo>
                    <a:pt x="1340891" y="265163"/>
                  </a:lnTo>
                  <a:lnTo>
                    <a:pt x="1340942" y="265163"/>
                  </a:lnTo>
                  <a:lnTo>
                    <a:pt x="1341043" y="265557"/>
                  </a:lnTo>
                  <a:lnTo>
                    <a:pt x="1341145" y="265557"/>
                  </a:lnTo>
                  <a:lnTo>
                    <a:pt x="1341145" y="266002"/>
                  </a:lnTo>
                  <a:lnTo>
                    <a:pt x="1341196" y="266002"/>
                  </a:lnTo>
                  <a:lnTo>
                    <a:pt x="1341196" y="266446"/>
                  </a:lnTo>
                  <a:lnTo>
                    <a:pt x="1341336" y="266446"/>
                  </a:lnTo>
                  <a:lnTo>
                    <a:pt x="1341336" y="266852"/>
                  </a:lnTo>
                  <a:lnTo>
                    <a:pt x="1341386" y="266852"/>
                  </a:lnTo>
                  <a:lnTo>
                    <a:pt x="1341386" y="267297"/>
                  </a:lnTo>
                  <a:lnTo>
                    <a:pt x="1341437" y="267297"/>
                  </a:lnTo>
                  <a:lnTo>
                    <a:pt x="1341437" y="267741"/>
                  </a:lnTo>
                  <a:lnTo>
                    <a:pt x="1341539" y="267741"/>
                  </a:lnTo>
                  <a:lnTo>
                    <a:pt x="1341589" y="268135"/>
                  </a:lnTo>
                  <a:lnTo>
                    <a:pt x="1341640" y="268135"/>
                  </a:lnTo>
                  <a:lnTo>
                    <a:pt x="1341640" y="268529"/>
                  </a:lnTo>
                  <a:lnTo>
                    <a:pt x="1341742" y="268529"/>
                  </a:lnTo>
                  <a:lnTo>
                    <a:pt x="1341742" y="268986"/>
                  </a:lnTo>
                  <a:lnTo>
                    <a:pt x="1341780" y="268986"/>
                  </a:lnTo>
                  <a:lnTo>
                    <a:pt x="1341831" y="269431"/>
                  </a:lnTo>
                  <a:lnTo>
                    <a:pt x="1341882" y="269431"/>
                  </a:lnTo>
                  <a:lnTo>
                    <a:pt x="1341882" y="269875"/>
                  </a:lnTo>
                  <a:lnTo>
                    <a:pt x="1341983" y="269875"/>
                  </a:lnTo>
                  <a:lnTo>
                    <a:pt x="1341983" y="270269"/>
                  </a:lnTo>
                  <a:lnTo>
                    <a:pt x="1342085" y="270269"/>
                  </a:lnTo>
                  <a:lnTo>
                    <a:pt x="1342085" y="270713"/>
                  </a:lnTo>
                  <a:lnTo>
                    <a:pt x="1342186" y="270713"/>
                  </a:lnTo>
                  <a:lnTo>
                    <a:pt x="1342186" y="271158"/>
                  </a:lnTo>
                  <a:lnTo>
                    <a:pt x="1342237" y="271158"/>
                  </a:lnTo>
                  <a:lnTo>
                    <a:pt x="1342237" y="271513"/>
                  </a:lnTo>
                  <a:lnTo>
                    <a:pt x="1342288" y="271513"/>
                  </a:lnTo>
                  <a:lnTo>
                    <a:pt x="1342288" y="271958"/>
                  </a:lnTo>
                  <a:lnTo>
                    <a:pt x="1342428" y="271958"/>
                  </a:lnTo>
                  <a:lnTo>
                    <a:pt x="1342428" y="272402"/>
                  </a:lnTo>
                  <a:lnTo>
                    <a:pt x="1342479" y="272402"/>
                  </a:lnTo>
                  <a:lnTo>
                    <a:pt x="1342479" y="272847"/>
                  </a:lnTo>
                  <a:lnTo>
                    <a:pt x="1342631" y="272847"/>
                  </a:lnTo>
                  <a:lnTo>
                    <a:pt x="1342631" y="273241"/>
                  </a:lnTo>
                  <a:lnTo>
                    <a:pt x="1342732" y="273241"/>
                  </a:lnTo>
                  <a:lnTo>
                    <a:pt x="1342732" y="273698"/>
                  </a:lnTo>
                  <a:lnTo>
                    <a:pt x="1342783" y="273698"/>
                  </a:lnTo>
                  <a:lnTo>
                    <a:pt x="1342783" y="274142"/>
                  </a:lnTo>
                  <a:lnTo>
                    <a:pt x="1342923" y="274142"/>
                  </a:lnTo>
                  <a:lnTo>
                    <a:pt x="1342923" y="274587"/>
                  </a:lnTo>
                  <a:lnTo>
                    <a:pt x="1342974" y="274587"/>
                  </a:lnTo>
                  <a:lnTo>
                    <a:pt x="1342974" y="274930"/>
                  </a:lnTo>
                  <a:lnTo>
                    <a:pt x="1343025" y="274930"/>
                  </a:lnTo>
                  <a:lnTo>
                    <a:pt x="1343126" y="275374"/>
                  </a:lnTo>
                  <a:lnTo>
                    <a:pt x="1343177" y="275374"/>
                  </a:lnTo>
                  <a:lnTo>
                    <a:pt x="1343177" y="275831"/>
                  </a:lnTo>
                  <a:lnTo>
                    <a:pt x="1343228" y="275831"/>
                  </a:lnTo>
                  <a:lnTo>
                    <a:pt x="1343228" y="276225"/>
                  </a:lnTo>
                  <a:lnTo>
                    <a:pt x="1343329" y="276225"/>
                  </a:lnTo>
                  <a:lnTo>
                    <a:pt x="1343329" y="276669"/>
                  </a:lnTo>
                  <a:lnTo>
                    <a:pt x="1343367" y="276669"/>
                  </a:lnTo>
                  <a:lnTo>
                    <a:pt x="1343367" y="277114"/>
                  </a:lnTo>
                  <a:lnTo>
                    <a:pt x="1343418" y="277114"/>
                  </a:lnTo>
                  <a:lnTo>
                    <a:pt x="1343418" y="277558"/>
                  </a:lnTo>
                  <a:lnTo>
                    <a:pt x="1343571" y="277558"/>
                  </a:lnTo>
                  <a:lnTo>
                    <a:pt x="1343571" y="277965"/>
                  </a:lnTo>
                  <a:lnTo>
                    <a:pt x="1343622" y="277965"/>
                  </a:lnTo>
                  <a:lnTo>
                    <a:pt x="1343622" y="278409"/>
                  </a:lnTo>
                  <a:lnTo>
                    <a:pt x="1343672" y="278409"/>
                  </a:lnTo>
                  <a:lnTo>
                    <a:pt x="1343672" y="278854"/>
                  </a:lnTo>
                  <a:lnTo>
                    <a:pt x="1343774" y="278854"/>
                  </a:lnTo>
                  <a:lnTo>
                    <a:pt x="1343774" y="279248"/>
                  </a:lnTo>
                  <a:lnTo>
                    <a:pt x="1343825" y="279248"/>
                  </a:lnTo>
                  <a:lnTo>
                    <a:pt x="1343876" y="279641"/>
                  </a:lnTo>
                  <a:lnTo>
                    <a:pt x="1343914" y="279641"/>
                  </a:lnTo>
                  <a:lnTo>
                    <a:pt x="1343914" y="280098"/>
                  </a:lnTo>
                  <a:lnTo>
                    <a:pt x="1344015" y="280098"/>
                  </a:lnTo>
                  <a:lnTo>
                    <a:pt x="1344015" y="280543"/>
                  </a:lnTo>
                  <a:lnTo>
                    <a:pt x="1344066" y="280543"/>
                  </a:lnTo>
                  <a:lnTo>
                    <a:pt x="1344066" y="280937"/>
                  </a:lnTo>
                  <a:lnTo>
                    <a:pt x="1344117" y="280937"/>
                  </a:lnTo>
                  <a:lnTo>
                    <a:pt x="1344117" y="281381"/>
                  </a:lnTo>
                  <a:lnTo>
                    <a:pt x="1344218" y="281381"/>
                  </a:lnTo>
                  <a:lnTo>
                    <a:pt x="1344218" y="281826"/>
                  </a:lnTo>
                  <a:lnTo>
                    <a:pt x="1344269" y="281826"/>
                  </a:lnTo>
                  <a:lnTo>
                    <a:pt x="1344269" y="282270"/>
                  </a:lnTo>
                  <a:lnTo>
                    <a:pt x="1344371" y="282270"/>
                  </a:lnTo>
                  <a:lnTo>
                    <a:pt x="1344371" y="282626"/>
                  </a:lnTo>
                  <a:lnTo>
                    <a:pt x="1344460" y="282626"/>
                  </a:lnTo>
                  <a:lnTo>
                    <a:pt x="1344460" y="283070"/>
                  </a:lnTo>
                  <a:lnTo>
                    <a:pt x="1344511" y="283070"/>
                  </a:lnTo>
                  <a:lnTo>
                    <a:pt x="1344511" y="283515"/>
                  </a:lnTo>
                  <a:lnTo>
                    <a:pt x="1344561" y="283515"/>
                  </a:lnTo>
                  <a:lnTo>
                    <a:pt x="1344561" y="283908"/>
                  </a:lnTo>
                  <a:lnTo>
                    <a:pt x="1344714" y="283908"/>
                  </a:lnTo>
                  <a:lnTo>
                    <a:pt x="1344714" y="284353"/>
                  </a:lnTo>
                  <a:lnTo>
                    <a:pt x="1344764" y="284353"/>
                  </a:lnTo>
                  <a:lnTo>
                    <a:pt x="1344764" y="284810"/>
                  </a:lnTo>
                  <a:lnTo>
                    <a:pt x="1344815" y="284810"/>
                  </a:lnTo>
                  <a:lnTo>
                    <a:pt x="1344815" y="285255"/>
                  </a:lnTo>
                  <a:lnTo>
                    <a:pt x="1344917" y="285255"/>
                  </a:lnTo>
                  <a:lnTo>
                    <a:pt x="1344955" y="285598"/>
                  </a:lnTo>
                  <a:lnTo>
                    <a:pt x="1345057" y="286487"/>
                  </a:lnTo>
                  <a:lnTo>
                    <a:pt x="1345158" y="286944"/>
                  </a:lnTo>
                  <a:lnTo>
                    <a:pt x="1345209" y="286944"/>
                  </a:lnTo>
                  <a:lnTo>
                    <a:pt x="1345209" y="287337"/>
                  </a:lnTo>
                  <a:lnTo>
                    <a:pt x="1345260" y="287337"/>
                  </a:lnTo>
                  <a:lnTo>
                    <a:pt x="1345260" y="287782"/>
                  </a:lnTo>
                  <a:lnTo>
                    <a:pt x="1345361" y="287782"/>
                  </a:lnTo>
                  <a:lnTo>
                    <a:pt x="1345361" y="288227"/>
                  </a:lnTo>
                  <a:lnTo>
                    <a:pt x="1345412" y="288227"/>
                  </a:lnTo>
                  <a:lnTo>
                    <a:pt x="1345412" y="288620"/>
                  </a:lnTo>
                  <a:lnTo>
                    <a:pt x="1345501" y="288620"/>
                  </a:lnTo>
                  <a:lnTo>
                    <a:pt x="1345501" y="289077"/>
                  </a:lnTo>
                  <a:lnTo>
                    <a:pt x="1345603" y="289077"/>
                  </a:lnTo>
                  <a:lnTo>
                    <a:pt x="1345603" y="289522"/>
                  </a:lnTo>
                  <a:lnTo>
                    <a:pt x="1345654" y="289522"/>
                  </a:lnTo>
                  <a:lnTo>
                    <a:pt x="1345654" y="289966"/>
                  </a:lnTo>
                  <a:lnTo>
                    <a:pt x="1345704" y="289966"/>
                  </a:lnTo>
                  <a:lnTo>
                    <a:pt x="1345704" y="290309"/>
                  </a:lnTo>
                  <a:lnTo>
                    <a:pt x="1345806" y="290309"/>
                  </a:lnTo>
                  <a:lnTo>
                    <a:pt x="1345806" y="290754"/>
                  </a:lnTo>
                  <a:lnTo>
                    <a:pt x="1345907" y="290754"/>
                  </a:lnTo>
                  <a:lnTo>
                    <a:pt x="1345907" y="291211"/>
                  </a:lnTo>
                  <a:lnTo>
                    <a:pt x="1345958" y="291211"/>
                  </a:lnTo>
                  <a:lnTo>
                    <a:pt x="1345958" y="291656"/>
                  </a:lnTo>
                  <a:lnTo>
                    <a:pt x="1346047" y="291656"/>
                  </a:lnTo>
                  <a:lnTo>
                    <a:pt x="1346047" y="292049"/>
                  </a:lnTo>
                  <a:lnTo>
                    <a:pt x="1346098" y="292049"/>
                  </a:lnTo>
                  <a:lnTo>
                    <a:pt x="1346098" y="292494"/>
                  </a:lnTo>
                  <a:lnTo>
                    <a:pt x="1346149" y="292494"/>
                  </a:lnTo>
                  <a:lnTo>
                    <a:pt x="1346149" y="292938"/>
                  </a:lnTo>
                  <a:lnTo>
                    <a:pt x="1346200" y="292938"/>
                  </a:lnTo>
                  <a:lnTo>
                    <a:pt x="1346200" y="293294"/>
                  </a:lnTo>
                  <a:lnTo>
                    <a:pt x="1346301" y="293294"/>
                  </a:lnTo>
                  <a:lnTo>
                    <a:pt x="1346301" y="293738"/>
                  </a:lnTo>
                  <a:lnTo>
                    <a:pt x="1346352" y="293738"/>
                  </a:lnTo>
                  <a:lnTo>
                    <a:pt x="1346352" y="294183"/>
                  </a:lnTo>
                  <a:lnTo>
                    <a:pt x="1346504" y="294183"/>
                  </a:lnTo>
                  <a:lnTo>
                    <a:pt x="1346504" y="294627"/>
                  </a:lnTo>
                  <a:lnTo>
                    <a:pt x="1346542" y="294627"/>
                  </a:lnTo>
                  <a:lnTo>
                    <a:pt x="1346542" y="295021"/>
                  </a:lnTo>
                  <a:lnTo>
                    <a:pt x="1346593" y="295021"/>
                  </a:lnTo>
                  <a:lnTo>
                    <a:pt x="1346593" y="295466"/>
                  </a:lnTo>
                  <a:lnTo>
                    <a:pt x="1346644" y="295466"/>
                  </a:lnTo>
                  <a:lnTo>
                    <a:pt x="1346644" y="295923"/>
                  </a:lnTo>
                  <a:lnTo>
                    <a:pt x="1346746" y="295923"/>
                  </a:lnTo>
                  <a:lnTo>
                    <a:pt x="1346746" y="296367"/>
                  </a:lnTo>
                  <a:lnTo>
                    <a:pt x="1346797" y="296367"/>
                  </a:lnTo>
                  <a:lnTo>
                    <a:pt x="1346797" y="296710"/>
                  </a:lnTo>
                  <a:lnTo>
                    <a:pt x="1346847" y="296710"/>
                  </a:lnTo>
                  <a:lnTo>
                    <a:pt x="1346847" y="297155"/>
                  </a:lnTo>
                  <a:lnTo>
                    <a:pt x="1346949" y="297155"/>
                  </a:lnTo>
                  <a:lnTo>
                    <a:pt x="1347000" y="297599"/>
                  </a:lnTo>
                  <a:lnTo>
                    <a:pt x="1347051" y="297599"/>
                  </a:lnTo>
                  <a:lnTo>
                    <a:pt x="1347051" y="298006"/>
                  </a:lnTo>
                  <a:lnTo>
                    <a:pt x="1347089" y="298006"/>
                  </a:lnTo>
                  <a:lnTo>
                    <a:pt x="1347089" y="298450"/>
                  </a:lnTo>
                  <a:lnTo>
                    <a:pt x="1347190" y="298450"/>
                  </a:lnTo>
                  <a:lnTo>
                    <a:pt x="1347190" y="298894"/>
                  </a:lnTo>
                  <a:lnTo>
                    <a:pt x="1347241" y="298894"/>
                  </a:lnTo>
                  <a:lnTo>
                    <a:pt x="1347241" y="299339"/>
                  </a:lnTo>
                  <a:lnTo>
                    <a:pt x="1347292" y="299339"/>
                  </a:lnTo>
                  <a:lnTo>
                    <a:pt x="1347393" y="299733"/>
                  </a:lnTo>
                  <a:lnTo>
                    <a:pt x="1347444" y="299733"/>
                  </a:lnTo>
                  <a:lnTo>
                    <a:pt x="1347444" y="300190"/>
                  </a:lnTo>
                  <a:lnTo>
                    <a:pt x="1347495" y="300190"/>
                  </a:lnTo>
                  <a:lnTo>
                    <a:pt x="1347495" y="300634"/>
                  </a:lnTo>
                  <a:lnTo>
                    <a:pt x="1347546" y="300634"/>
                  </a:lnTo>
                  <a:lnTo>
                    <a:pt x="1347546" y="300977"/>
                  </a:lnTo>
                  <a:lnTo>
                    <a:pt x="1347635" y="300977"/>
                  </a:lnTo>
                  <a:lnTo>
                    <a:pt x="1347635" y="301422"/>
                  </a:lnTo>
                  <a:lnTo>
                    <a:pt x="1347686" y="301422"/>
                  </a:lnTo>
                  <a:lnTo>
                    <a:pt x="1347686" y="301866"/>
                  </a:lnTo>
                  <a:lnTo>
                    <a:pt x="1347736" y="301866"/>
                  </a:lnTo>
                  <a:lnTo>
                    <a:pt x="1347736" y="302323"/>
                  </a:lnTo>
                  <a:lnTo>
                    <a:pt x="1347787" y="302323"/>
                  </a:lnTo>
                  <a:lnTo>
                    <a:pt x="1347889" y="302717"/>
                  </a:lnTo>
                  <a:lnTo>
                    <a:pt x="1347939" y="302717"/>
                  </a:lnTo>
                  <a:lnTo>
                    <a:pt x="1347939" y="303162"/>
                  </a:lnTo>
                  <a:lnTo>
                    <a:pt x="1347990" y="303162"/>
                  </a:lnTo>
                  <a:lnTo>
                    <a:pt x="1347990" y="303606"/>
                  </a:lnTo>
                  <a:lnTo>
                    <a:pt x="1348092" y="303606"/>
                  </a:lnTo>
                  <a:lnTo>
                    <a:pt x="1348092" y="304051"/>
                  </a:lnTo>
                  <a:lnTo>
                    <a:pt x="1348130" y="304051"/>
                  </a:lnTo>
                  <a:lnTo>
                    <a:pt x="1348130" y="304406"/>
                  </a:lnTo>
                  <a:lnTo>
                    <a:pt x="1348181" y="304406"/>
                  </a:lnTo>
                  <a:lnTo>
                    <a:pt x="1348181" y="304851"/>
                  </a:lnTo>
                  <a:lnTo>
                    <a:pt x="1348333" y="304851"/>
                  </a:lnTo>
                  <a:lnTo>
                    <a:pt x="1348333" y="305295"/>
                  </a:lnTo>
                  <a:lnTo>
                    <a:pt x="1348384" y="305295"/>
                  </a:lnTo>
                  <a:lnTo>
                    <a:pt x="1348384" y="305689"/>
                  </a:lnTo>
                  <a:lnTo>
                    <a:pt x="1348435" y="305689"/>
                  </a:lnTo>
                  <a:lnTo>
                    <a:pt x="1348536" y="306133"/>
                  </a:lnTo>
                  <a:lnTo>
                    <a:pt x="1348587" y="306133"/>
                  </a:lnTo>
                  <a:lnTo>
                    <a:pt x="1348587" y="306578"/>
                  </a:lnTo>
                  <a:lnTo>
                    <a:pt x="1348638" y="306578"/>
                  </a:lnTo>
                  <a:lnTo>
                    <a:pt x="1348638" y="307035"/>
                  </a:lnTo>
                  <a:lnTo>
                    <a:pt x="1348676" y="307035"/>
                  </a:lnTo>
                  <a:lnTo>
                    <a:pt x="1348676" y="307429"/>
                  </a:lnTo>
                  <a:lnTo>
                    <a:pt x="1348778" y="307429"/>
                  </a:lnTo>
                  <a:lnTo>
                    <a:pt x="1348778" y="307823"/>
                  </a:lnTo>
                  <a:lnTo>
                    <a:pt x="1348879" y="307823"/>
                  </a:lnTo>
                  <a:lnTo>
                    <a:pt x="1348879" y="308267"/>
                  </a:lnTo>
                  <a:lnTo>
                    <a:pt x="1348981" y="308267"/>
                  </a:lnTo>
                  <a:lnTo>
                    <a:pt x="1348981" y="308712"/>
                  </a:lnTo>
                  <a:lnTo>
                    <a:pt x="1349032" y="308712"/>
                  </a:lnTo>
                  <a:lnTo>
                    <a:pt x="1349032" y="309118"/>
                  </a:lnTo>
                  <a:lnTo>
                    <a:pt x="1349082" y="309118"/>
                  </a:lnTo>
                  <a:lnTo>
                    <a:pt x="1349082" y="309562"/>
                  </a:lnTo>
                  <a:lnTo>
                    <a:pt x="1349133" y="309562"/>
                  </a:lnTo>
                  <a:lnTo>
                    <a:pt x="1349133" y="310007"/>
                  </a:lnTo>
                  <a:lnTo>
                    <a:pt x="1349222" y="310007"/>
                  </a:lnTo>
                  <a:lnTo>
                    <a:pt x="1349222" y="310401"/>
                  </a:lnTo>
                  <a:lnTo>
                    <a:pt x="1349273" y="310401"/>
                  </a:lnTo>
                  <a:lnTo>
                    <a:pt x="1349273" y="310845"/>
                  </a:lnTo>
                  <a:lnTo>
                    <a:pt x="1349324" y="310845"/>
                  </a:lnTo>
                  <a:lnTo>
                    <a:pt x="1349324" y="311302"/>
                  </a:lnTo>
                  <a:lnTo>
                    <a:pt x="1349375" y="311302"/>
                  </a:lnTo>
                  <a:lnTo>
                    <a:pt x="1349375" y="311747"/>
                  </a:lnTo>
                  <a:lnTo>
                    <a:pt x="1349476" y="311747"/>
                  </a:lnTo>
                  <a:lnTo>
                    <a:pt x="1349476" y="312090"/>
                  </a:lnTo>
                  <a:lnTo>
                    <a:pt x="1349527" y="312090"/>
                  </a:lnTo>
                  <a:lnTo>
                    <a:pt x="1349527" y="312534"/>
                  </a:lnTo>
                  <a:lnTo>
                    <a:pt x="1349679" y="312534"/>
                  </a:lnTo>
                  <a:lnTo>
                    <a:pt x="1349679" y="312979"/>
                  </a:lnTo>
                  <a:lnTo>
                    <a:pt x="1349717" y="312979"/>
                  </a:lnTo>
                  <a:lnTo>
                    <a:pt x="1349717" y="313385"/>
                  </a:lnTo>
                  <a:lnTo>
                    <a:pt x="1349768" y="313385"/>
                  </a:lnTo>
                  <a:lnTo>
                    <a:pt x="1349768" y="313830"/>
                  </a:lnTo>
                  <a:lnTo>
                    <a:pt x="1349819" y="313830"/>
                  </a:lnTo>
                  <a:lnTo>
                    <a:pt x="1349819" y="314274"/>
                  </a:lnTo>
                  <a:lnTo>
                    <a:pt x="1349921" y="314274"/>
                  </a:lnTo>
                  <a:lnTo>
                    <a:pt x="1349921" y="314719"/>
                  </a:lnTo>
                  <a:lnTo>
                    <a:pt x="1349972" y="314719"/>
                  </a:lnTo>
                  <a:lnTo>
                    <a:pt x="1349972" y="315062"/>
                  </a:lnTo>
                  <a:lnTo>
                    <a:pt x="1350022" y="315062"/>
                  </a:lnTo>
                  <a:lnTo>
                    <a:pt x="1350022" y="315519"/>
                  </a:lnTo>
                  <a:lnTo>
                    <a:pt x="1350124" y="315519"/>
                  </a:lnTo>
                  <a:lnTo>
                    <a:pt x="1350124" y="315963"/>
                  </a:lnTo>
                  <a:lnTo>
                    <a:pt x="1350175" y="315963"/>
                  </a:lnTo>
                  <a:lnTo>
                    <a:pt x="1350175" y="316408"/>
                  </a:lnTo>
                  <a:lnTo>
                    <a:pt x="1350226" y="316408"/>
                  </a:lnTo>
                  <a:lnTo>
                    <a:pt x="1350226" y="316802"/>
                  </a:lnTo>
                  <a:lnTo>
                    <a:pt x="1350264" y="316802"/>
                  </a:lnTo>
                  <a:lnTo>
                    <a:pt x="1350264" y="317246"/>
                  </a:lnTo>
                  <a:lnTo>
                    <a:pt x="1350416" y="317246"/>
                  </a:lnTo>
                  <a:lnTo>
                    <a:pt x="1350416" y="317691"/>
                  </a:lnTo>
                  <a:lnTo>
                    <a:pt x="1350467" y="317691"/>
                  </a:lnTo>
                  <a:lnTo>
                    <a:pt x="1350467" y="318097"/>
                  </a:lnTo>
                  <a:lnTo>
                    <a:pt x="1350619" y="318097"/>
                  </a:lnTo>
                  <a:lnTo>
                    <a:pt x="1350619" y="318541"/>
                  </a:lnTo>
                  <a:lnTo>
                    <a:pt x="1350670" y="318541"/>
                  </a:lnTo>
                  <a:lnTo>
                    <a:pt x="1350670" y="318935"/>
                  </a:lnTo>
                  <a:lnTo>
                    <a:pt x="1350721" y="318935"/>
                  </a:lnTo>
                  <a:lnTo>
                    <a:pt x="1350721" y="319380"/>
                  </a:lnTo>
                  <a:lnTo>
                    <a:pt x="1350810" y="319380"/>
                  </a:lnTo>
                  <a:lnTo>
                    <a:pt x="1350861" y="319786"/>
                  </a:lnTo>
                  <a:lnTo>
                    <a:pt x="1350911" y="319786"/>
                  </a:lnTo>
                  <a:lnTo>
                    <a:pt x="1350911" y="320231"/>
                  </a:lnTo>
                  <a:lnTo>
                    <a:pt x="1350962" y="320231"/>
                  </a:lnTo>
                  <a:lnTo>
                    <a:pt x="1350962" y="320675"/>
                  </a:lnTo>
                  <a:lnTo>
                    <a:pt x="1351064" y="320675"/>
                  </a:lnTo>
                  <a:lnTo>
                    <a:pt x="1351064" y="321119"/>
                  </a:lnTo>
                  <a:lnTo>
                    <a:pt x="1351114" y="321119"/>
                  </a:lnTo>
                  <a:lnTo>
                    <a:pt x="1351114" y="321513"/>
                  </a:lnTo>
                  <a:lnTo>
                    <a:pt x="1351267" y="321513"/>
                  </a:lnTo>
                  <a:lnTo>
                    <a:pt x="1351267" y="321958"/>
                  </a:lnTo>
                  <a:lnTo>
                    <a:pt x="1351305" y="321958"/>
                  </a:lnTo>
                  <a:lnTo>
                    <a:pt x="1351305" y="322415"/>
                  </a:lnTo>
                  <a:lnTo>
                    <a:pt x="1351356" y="322415"/>
                  </a:lnTo>
                  <a:lnTo>
                    <a:pt x="1351356" y="322758"/>
                  </a:lnTo>
                  <a:lnTo>
                    <a:pt x="1351407" y="322758"/>
                  </a:lnTo>
                  <a:lnTo>
                    <a:pt x="1351407" y="323202"/>
                  </a:lnTo>
                  <a:lnTo>
                    <a:pt x="1351508" y="323202"/>
                  </a:lnTo>
                  <a:lnTo>
                    <a:pt x="1351508" y="323647"/>
                  </a:lnTo>
                  <a:lnTo>
                    <a:pt x="1351559" y="323647"/>
                  </a:lnTo>
                  <a:lnTo>
                    <a:pt x="1351559" y="324091"/>
                  </a:lnTo>
                  <a:lnTo>
                    <a:pt x="1351610" y="324091"/>
                  </a:lnTo>
                  <a:lnTo>
                    <a:pt x="1351610" y="324498"/>
                  </a:lnTo>
                  <a:lnTo>
                    <a:pt x="1351711" y="324498"/>
                  </a:lnTo>
                  <a:lnTo>
                    <a:pt x="1351711" y="324942"/>
                  </a:lnTo>
                  <a:lnTo>
                    <a:pt x="1351762" y="324942"/>
                  </a:lnTo>
                  <a:lnTo>
                    <a:pt x="1351762" y="325387"/>
                  </a:lnTo>
                  <a:lnTo>
                    <a:pt x="1351813" y="325387"/>
                  </a:lnTo>
                  <a:lnTo>
                    <a:pt x="1351813" y="325831"/>
                  </a:lnTo>
                  <a:lnTo>
                    <a:pt x="1351851" y="325831"/>
                  </a:lnTo>
                  <a:lnTo>
                    <a:pt x="1351851" y="326174"/>
                  </a:lnTo>
                  <a:lnTo>
                    <a:pt x="1351953" y="326174"/>
                  </a:lnTo>
                  <a:lnTo>
                    <a:pt x="1351953" y="326631"/>
                  </a:lnTo>
                  <a:lnTo>
                    <a:pt x="1352004" y="326631"/>
                  </a:lnTo>
                  <a:lnTo>
                    <a:pt x="1352004" y="327076"/>
                  </a:lnTo>
                  <a:lnTo>
                    <a:pt x="1352054" y="327076"/>
                  </a:lnTo>
                  <a:lnTo>
                    <a:pt x="1352054" y="327469"/>
                  </a:lnTo>
                  <a:lnTo>
                    <a:pt x="1352156" y="327469"/>
                  </a:lnTo>
                  <a:lnTo>
                    <a:pt x="1352156" y="327914"/>
                  </a:lnTo>
                  <a:lnTo>
                    <a:pt x="1352207" y="327914"/>
                  </a:lnTo>
                  <a:lnTo>
                    <a:pt x="1352207" y="328358"/>
                  </a:lnTo>
                  <a:lnTo>
                    <a:pt x="1352308" y="328358"/>
                  </a:lnTo>
                  <a:lnTo>
                    <a:pt x="1352308" y="328803"/>
                  </a:lnTo>
                  <a:lnTo>
                    <a:pt x="1352397" y="328803"/>
                  </a:lnTo>
                  <a:lnTo>
                    <a:pt x="1352397" y="329209"/>
                  </a:lnTo>
                  <a:lnTo>
                    <a:pt x="1352448" y="329209"/>
                  </a:lnTo>
                  <a:lnTo>
                    <a:pt x="1352448" y="329654"/>
                  </a:lnTo>
                  <a:lnTo>
                    <a:pt x="1352499" y="329654"/>
                  </a:lnTo>
                  <a:lnTo>
                    <a:pt x="1352499" y="330048"/>
                  </a:lnTo>
                  <a:lnTo>
                    <a:pt x="1352550" y="330048"/>
                  </a:lnTo>
                  <a:lnTo>
                    <a:pt x="1352550" y="330441"/>
                  </a:lnTo>
                  <a:lnTo>
                    <a:pt x="1352651" y="330441"/>
                  </a:lnTo>
                  <a:lnTo>
                    <a:pt x="1352651" y="330898"/>
                  </a:lnTo>
                  <a:lnTo>
                    <a:pt x="1352753" y="330898"/>
                  </a:lnTo>
                  <a:lnTo>
                    <a:pt x="1352753" y="331343"/>
                  </a:lnTo>
                  <a:lnTo>
                    <a:pt x="1352854" y="331343"/>
                  </a:lnTo>
                  <a:lnTo>
                    <a:pt x="1352854" y="331787"/>
                  </a:lnTo>
                  <a:lnTo>
                    <a:pt x="1352892" y="331787"/>
                  </a:lnTo>
                  <a:lnTo>
                    <a:pt x="1352892" y="332181"/>
                  </a:lnTo>
                  <a:lnTo>
                    <a:pt x="1352943" y="332181"/>
                  </a:lnTo>
                  <a:lnTo>
                    <a:pt x="1352943" y="332626"/>
                  </a:lnTo>
                  <a:lnTo>
                    <a:pt x="1352994" y="332626"/>
                  </a:lnTo>
                  <a:lnTo>
                    <a:pt x="1353096" y="333070"/>
                  </a:lnTo>
                  <a:lnTo>
                    <a:pt x="1353147" y="333070"/>
                  </a:lnTo>
                  <a:lnTo>
                    <a:pt x="1353147" y="333527"/>
                  </a:lnTo>
                  <a:lnTo>
                    <a:pt x="1353197" y="333527"/>
                  </a:lnTo>
                  <a:lnTo>
                    <a:pt x="1353197" y="333870"/>
                  </a:lnTo>
                  <a:lnTo>
                    <a:pt x="1353299" y="333870"/>
                  </a:lnTo>
                  <a:lnTo>
                    <a:pt x="1353299" y="334315"/>
                  </a:lnTo>
                  <a:lnTo>
                    <a:pt x="1353350" y="334315"/>
                  </a:lnTo>
                  <a:lnTo>
                    <a:pt x="1353350" y="334759"/>
                  </a:lnTo>
                  <a:lnTo>
                    <a:pt x="1353401" y="334759"/>
                  </a:lnTo>
                  <a:lnTo>
                    <a:pt x="1353401" y="335153"/>
                  </a:lnTo>
                  <a:lnTo>
                    <a:pt x="1353439" y="335153"/>
                  </a:lnTo>
                  <a:lnTo>
                    <a:pt x="1353439" y="335610"/>
                  </a:lnTo>
                  <a:lnTo>
                    <a:pt x="1353540" y="335610"/>
                  </a:lnTo>
                  <a:lnTo>
                    <a:pt x="1353540" y="336055"/>
                  </a:lnTo>
                  <a:lnTo>
                    <a:pt x="1353591" y="336055"/>
                  </a:lnTo>
                  <a:lnTo>
                    <a:pt x="1353591" y="336499"/>
                  </a:lnTo>
                  <a:lnTo>
                    <a:pt x="1353642" y="336499"/>
                  </a:lnTo>
                  <a:lnTo>
                    <a:pt x="1353642" y="336842"/>
                  </a:lnTo>
                  <a:lnTo>
                    <a:pt x="1353743" y="336842"/>
                  </a:lnTo>
                  <a:lnTo>
                    <a:pt x="1353743" y="337287"/>
                  </a:lnTo>
                  <a:lnTo>
                    <a:pt x="1353845" y="337287"/>
                  </a:lnTo>
                  <a:lnTo>
                    <a:pt x="1353845" y="337744"/>
                  </a:lnTo>
                  <a:lnTo>
                    <a:pt x="1353896" y="337744"/>
                  </a:lnTo>
                  <a:lnTo>
                    <a:pt x="1353896" y="338188"/>
                  </a:lnTo>
                  <a:lnTo>
                    <a:pt x="1353985" y="338188"/>
                  </a:lnTo>
                  <a:lnTo>
                    <a:pt x="1354036" y="338582"/>
                  </a:lnTo>
                  <a:lnTo>
                    <a:pt x="1354086" y="338582"/>
                  </a:lnTo>
                  <a:lnTo>
                    <a:pt x="1354086" y="339027"/>
                  </a:lnTo>
                  <a:lnTo>
                    <a:pt x="1354137" y="339027"/>
                  </a:lnTo>
                  <a:lnTo>
                    <a:pt x="1354137" y="339471"/>
                  </a:lnTo>
                  <a:lnTo>
                    <a:pt x="1354239" y="339471"/>
                  </a:lnTo>
                  <a:lnTo>
                    <a:pt x="1354239" y="339877"/>
                  </a:lnTo>
                  <a:lnTo>
                    <a:pt x="1354289" y="339877"/>
                  </a:lnTo>
                  <a:lnTo>
                    <a:pt x="1354289" y="340322"/>
                  </a:lnTo>
                  <a:lnTo>
                    <a:pt x="1354340" y="340322"/>
                  </a:lnTo>
                  <a:lnTo>
                    <a:pt x="1354340" y="340766"/>
                  </a:lnTo>
                  <a:lnTo>
                    <a:pt x="1354442" y="340766"/>
                  </a:lnTo>
                  <a:lnTo>
                    <a:pt x="1354442" y="341160"/>
                  </a:lnTo>
                  <a:lnTo>
                    <a:pt x="1354531" y="341160"/>
                  </a:lnTo>
                  <a:lnTo>
                    <a:pt x="1354531" y="341554"/>
                  </a:lnTo>
                  <a:lnTo>
                    <a:pt x="1354582" y="341554"/>
                  </a:lnTo>
                  <a:lnTo>
                    <a:pt x="1354582" y="342011"/>
                  </a:lnTo>
                  <a:lnTo>
                    <a:pt x="1354683" y="342011"/>
                  </a:lnTo>
                  <a:lnTo>
                    <a:pt x="1354683" y="342456"/>
                  </a:lnTo>
                  <a:lnTo>
                    <a:pt x="1354734" y="342456"/>
                  </a:lnTo>
                  <a:lnTo>
                    <a:pt x="1354734" y="342900"/>
                  </a:lnTo>
                  <a:lnTo>
                    <a:pt x="1354785" y="342900"/>
                  </a:lnTo>
                  <a:lnTo>
                    <a:pt x="1354785" y="343294"/>
                  </a:lnTo>
                  <a:lnTo>
                    <a:pt x="1354886" y="343294"/>
                  </a:lnTo>
                  <a:lnTo>
                    <a:pt x="1354937" y="343738"/>
                  </a:lnTo>
                  <a:lnTo>
                    <a:pt x="1354988" y="343738"/>
                  </a:lnTo>
                  <a:lnTo>
                    <a:pt x="1354988" y="344183"/>
                  </a:lnTo>
                  <a:lnTo>
                    <a:pt x="1355026" y="344183"/>
                  </a:lnTo>
                  <a:lnTo>
                    <a:pt x="1355026" y="344538"/>
                  </a:lnTo>
                  <a:lnTo>
                    <a:pt x="1355128" y="344538"/>
                  </a:lnTo>
                  <a:lnTo>
                    <a:pt x="1355128" y="344983"/>
                  </a:lnTo>
                  <a:lnTo>
                    <a:pt x="1355179" y="344983"/>
                  </a:lnTo>
                  <a:lnTo>
                    <a:pt x="1355179" y="345427"/>
                  </a:lnTo>
                  <a:lnTo>
                    <a:pt x="1355229" y="345427"/>
                  </a:lnTo>
                  <a:lnTo>
                    <a:pt x="1355229" y="345872"/>
                  </a:lnTo>
                  <a:lnTo>
                    <a:pt x="1355331" y="345872"/>
                  </a:lnTo>
                  <a:lnTo>
                    <a:pt x="1355331" y="346266"/>
                  </a:lnTo>
                  <a:lnTo>
                    <a:pt x="1355382" y="346266"/>
                  </a:lnTo>
                  <a:lnTo>
                    <a:pt x="1355382" y="346723"/>
                  </a:lnTo>
                  <a:lnTo>
                    <a:pt x="1355432" y="346723"/>
                  </a:lnTo>
                  <a:lnTo>
                    <a:pt x="1355432" y="347167"/>
                  </a:lnTo>
                  <a:lnTo>
                    <a:pt x="1355483" y="347167"/>
                  </a:lnTo>
                  <a:lnTo>
                    <a:pt x="1355483" y="347510"/>
                  </a:lnTo>
                  <a:lnTo>
                    <a:pt x="1355623" y="347510"/>
                  </a:lnTo>
                  <a:lnTo>
                    <a:pt x="1355623" y="347955"/>
                  </a:lnTo>
                  <a:lnTo>
                    <a:pt x="1355674" y="347955"/>
                  </a:lnTo>
                  <a:lnTo>
                    <a:pt x="1355674" y="348399"/>
                  </a:lnTo>
                  <a:lnTo>
                    <a:pt x="1355725" y="348399"/>
                  </a:lnTo>
                  <a:lnTo>
                    <a:pt x="1355826" y="348856"/>
                  </a:lnTo>
                  <a:lnTo>
                    <a:pt x="1355877" y="348856"/>
                  </a:lnTo>
                  <a:lnTo>
                    <a:pt x="1355877" y="349250"/>
                  </a:lnTo>
                  <a:lnTo>
                    <a:pt x="1355928" y="349250"/>
                  </a:lnTo>
                  <a:lnTo>
                    <a:pt x="1355928" y="349694"/>
                  </a:lnTo>
                  <a:lnTo>
                    <a:pt x="1356029" y="349694"/>
                  </a:lnTo>
                  <a:lnTo>
                    <a:pt x="1356029" y="350139"/>
                  </a:lnTo>
                  <a:lnTo>
                    <a:pt x="1356067" y="350139"/>
                  </a:lnTo>
                  <a:lnTo>
                    <a:pt x="1356067" y="350583"/>
                  </a:lnTo>
                  <a:lnTo>
                    <a:pt x="1356169" y="350583"/>
                  </a:lnTo>
                  <a:lnTo>
                    <a:pt x="1356169" y="350990"/>
                  </a:lnTo>
                  <a:lnTo>
                    <a:pt x="1356271" y="350990"/>
                  </a:lnTo>
                  <a:lnTo>
                    <a:pt x="1356271" y="351434"/>
                  </a:lnTo>
                  <a:lnTo>
                    <a:pt x="1356322" y="351434"/>
                  </a:lnTo>
                  <a:lnTo>
                    <a:pt x="1356322" y="351879"/>
                  </a:lnTo>
                  <a:lnTo>
                    <a:pt x="1356372" y="351879"/>
                  </a:lnTo>
                  <a:lnTo>
                    <a:pt x="1356372" y="352222"/>
                  </a:lnTo>
                  <a:lnTo>
                    <a:pt x="1356474" y="352222"/>
                  </a:lnTo>
                  <a:lnTo>
                    <a:pt x="1356474" y="352666"/>
                  </a:lnTo>
                  <a:lnTo>
                    <a:pt x="1356525" y="352666"/>
                  </a:lnTo>
                  <a:lnTo>
                    <a:pt x="1356525" y="353123"/>
                  </a:lnTo>
                  <a:lnTo>
                    <a:pt x="1356576" y="353123"/>
                  </a:lnTo>
                  <a:lnTo>
                    <a:pt x="1356576" y="353568"/>
                  </a:lnTo>
                  <a:lnTo>
                    <a:pt x="1356715" y="353568"/>
                  </a:lnTo>
                  <a:lnTo>
                    <a:pt x="1356715" y="353962"/>
                  </a:lnTo>
                  <a:lnTo>
                    <a:pt x="1356766" y="353962"/>
                  </a:lnTo>
                  <a:lnTo>
                    <a:pt x="1356766" y="354406"/>
                  </a:lnTo>
                  <a:lnTo>
                    <a:pt x="1356817" y="354406"/>
                  </a:lnTo>
                  <a:lnTo>
                    <a:pt x="1356817" y="354851"/>
                  </a:lnTo>
                  <a:lnTo>
                    <a:pt x="1356918" y="354851"/>
                  </a:lnTo>
                  <a:lnTo>
                    <a:pt x="1356918" y="355295"/>
                  </a:lnTo>
                  <a:lnTo>
                    <a:pt x="1356969" y="355295"/>
                  </a:lnTo>
                  <a:lnTo>
                    <a:pt x="1356969" y="355651"/>
                  </a:lnTo>
                  <a:lnTo>
                    <a:pt x="1357020" y="355651"/>
                  </a:lnTo>
                  <a:lnTo>
                    <a:pt x="1357020" y="356095"/>
                  </a:lnTo>
                  <a:lnTo>
                    <a:pt x="1357071" y="356095"/>
                  </a:lnTo>
                  <a:lnTo>
                    <a:pt x="1357071" y="356540"/>
                  </a:lnTo>
                  <a:lnTo>
                    <a:pt x="1357160" y="356540"/>
                  </a:lnTo>
                  <a:lnTo>
                    <a:pt x="1357160" y="356933"/>
                  </a:lnTo>
                  <a:lnTo>
                    <a:pt x="1357211" y="356933"/>
                  </a:lnTo>
                  <a:lnTo>
                    <a:pt x="1357261" y="357378"/>
                  </a:lnTo>
                  <a:lnTo>
                    <a:pt x="1357312" y="357378"/>
                  </a:lnTo>
                  <a:lnTo>
                    <a:pt x="1357312" y="357835"/>
                  </a:lnTo>
                  <a:lnTo>
                    <a:pt x="1357414" y="357835"/>
                  </a:lnTo>
                  <a:lnTo>
                    <a:pt x="1357414" y="358280"/>
                  </a:lnTo>
                  <a:lnTo>
                    <a:pt x="1357515" y="358280"/>
                  </a:lnTo>
                  <a:lnTo>
                    <a:pt x="1357515" y="358623"/>
                  </a:lnTo>
                  <a:lnTo>
                    <a:pt x="1357617" y="358623"/>
                  </a:lnTo>
                  <a:lnTo>
                    <a:pt x="1357617" y="359067"/>
                  </a:lnTo>
                  <a:lnTo>
                    <a:pt x="1357655" y="359067"/>
                  </a:lnTo>
                  <a:lnTo>
                    <a:pt x="1357655" y="359512"/>
                  </a:lnTo>
                  <a:lnTo>
                    <a:pt x="1357706" y="359512"/>
                  </a:lnTo>
                  <a:lnTo>
                    <a:pt x="1357706" y="359918"/>
                  </a:lnTo>
                  <a:lnTo>
                    <a:pt x="1357757" y="359918"/>
                  </a:lnTo>
                  <a:lnTo>
                    <a:pt x="1357757" y="360362"/>
                  </a:lnTo>
                  <a:lnTo>
                    <a:pt x="1357858" y="360362"/>
                  </a:lnTo>
                  <a:lnTo>
                    <a:pt x="1357858" y="360807"/>
                  </a:lnTo>
                  <a:lnTo>
                    <a:pt x="1357909" y="360807"/>
                  </a:lnTo>
                  <a:lnTo>
                    <a:pt x="1357909" y="361252"/>
                  </a:lnTo>
                  <a:lnTo>
                    <a:pt x="1358061" y="361252"/>
                  </a:lnTo>
                  <a:lnTo>
                    <a:pt x="1358061" y="361645"/>
                  </a:lnTo>
                  <a:lnTo>
                    <a:pt x="1358112" y="361645"/>
                  </a:lnTo>
                  <a:lnTo>
                    <a:pt x="1358112" y="362102"/>
                  </a:lnTo>
                  <a:lnTo>
                    <a:pt x="1358163" y="362102"/>
                  </a:lnTo>
                  <a:lnTo>
                    <a:pt x="1358201" y="362547"/>
                  </a:lnTo>
                  <a:lnTo>
                    <a:pt x="1358303" y="362547"/>
                  </a:lnTo>
                  <a:lnTo>
                    <a:pt x="1358303" y="362991"/>
                  </a:lnTo>
                  <a:lnTo>
                    <a:pt x="1358354" y="362991"/>
                  </a:lnTo>
                  <a:lnTo>
                    <a:pt x="1358354" y="363334"/>
                  </a:lnTo>
                  <a:lnTo>
                    <a:pt x="1358404" y="363334"/>
                  </a:lnTo>
                  <a:lnTo>
                    <a:pt x="1358404" y="363779"/>
                  </a:lnTo>
                  <a:lnTo>
                    <a:pt x="1358557" y="363779"/>
                  </a:lnTo>
                  <a:lnTo>
                    <a:pt x="1358557" y="364236"/>
                  </a:lnTo>
                  <a:lnTo>
                    <a:pt x="1358607" y="364236"/>
                  </a:lnTo>
                  <a:lnTo>
                    <a:pt x="1358607" y="364630"/>
                  </a:lnTo>
                  <a:lnTo>
                    <a:pt x="1358658" y="364630"/>
                  </a:lnTo>
                  <a:lnTo>
                    <a:pt x="1358658" y="365074"/>
                  </a:lnTo>
                  <a:lnTo>
                    <a:pt x="1358747" y="365074"/>
                  </a:lnTo>
                  <a:lnTo>
                    <a:pt x="1358747" y="365519"/>
                  </a:lnTo>
                  <a:lnTo>
                    <a:pt x="1358798" y="365519"/>
                  </a:lnTo>
                  <a:lnTo>
                    <a:pt x="1358798" y="365963"/>
                  </a:lnTo>
                  <a:lnTo>
                    <a:pt x="1358849" y="365963"/>
                  </a:lnTo>
                  <a:lnTo>
                    <a:pt x="1358900" y="366319"/>
                  </a:lnTo>
                  <a:lnTo>
                    <a:pt x="1359001" y="366319"/>
                  </a:lnTo>
                  <a:lnTo>
                    <a:pt x="1359001" y="366763"/>
                  </a:lnTo>
                  <a:lnTo>
                    <a:pt x="1359052" y="366763"/>
                  </a:lnTo>
                  <a:lnTo>
                    <a:pt x="1359052" y="367208"/>
                  </a:lnTo>
                  <a:lnTo>
                    <a:pt x="1359103" y="367208"/>
                  </a:lnTo>
                  <a:lnTo>
                    <a:pt x="1359103" y="367652"/>
                  </a:lnTo>
                  <a:lnTo>
                    <a:pt x="1359204" y="367652"/>
                  </a:lnTo>
                  <a:lnTo>
                    <a:pt x="1359204" y="368046"/>
                  </a:lnTo>
                  <a:lnTo>
                    <a:pt x="1359242" y="368046"/>
                  </a:lnTo>
                  <a:lnTo>
                    <a:pt x="1359242" y="368491"/>
                  </a:lnTo>
                  <a:lnTo>
                    <a:pt x="1359293" y="368491"/>
                  </a:lnTo>
                  <a:lnTo>
                    <a:pt x="1359293" y="368948"/>
                  </a:lnTo>
                  <a:lnTo>
                    <a:pt x="1359344" y="368948"/>
                  </a:lnTo>
                  <a:lnTo>
                    <a:pt x="1359344" y="369341"/>
                  </a:lnTo>
                  <a:lnTo>
                    <a:pt x="1359446" y="369341"/>
                  </a:lnTo>
                  <a:lnTo>
                    <a:pt x="1359446" y="369735"/>
                  </a:lnTo>
                  <a:lnTo>
                    <a:pt x="1359547" y="369735"/>
                  </a:lnTo>
                  <a:lnTo>
                    <a:pt x="1359547" y="370180"/>
                  </a:lnTo>
                  <a:lnTo>
                    <a:pt x="1359649" y="370180"/>
                  </a:lnTo>
                  <a:lnTo>
                    <a:pt x="1359649" y="370624"/>
                  </a:lnTo>
                  <a:lnTo>
                    <a:pt x="1359700" y="370624"/>
                  </a:lnTo>
                  <a:lnTo>
                    <a:pt x="1359700" y="371031"/>
                  </a:lnTo>
                  <a:lnTo>
                    <a:pt x="1359751" y="371031"/>
                  </a:lnTo>
                  <a:lnTo>
                    <a:pt x="1359751" y="371475"/>
                  </a:lnTo>
                  <a:lnTo>
                    <a:pt x="1359789" y="371475"/>
                  </a:lnTo>
                  <a:lnTo>
                    <a:pt x="1359789" y="371919"/>
                  </a:lnTo>
                  <a:lnTo>
                    <a:pt x="1359941" y="371919"/>
                  </a:lnTo>
                  <a:lnTo>
                    <a:pt x="1359941" y="372364"/>
                  </a:lnTo>
                  <a:lnTo>
                    <a:pt x="1359992" y="372364"/>
                  </a:lnTo>
                  <a:lnTo>
                    <a:pt x="1359992" y="372758"/>
                  </a:lnTo>
                  <a:lnTo>
                    <a:pt x="1360093" y="372758"/>
                  </a:lnTo>
                  <a:lnTo>
                    <a:pt x="1360093" y="373215"/>
                  </a:lnTo>
                  <a:lnTo>
                    <a:pt x="1360144" y="373215"/>
                  </a:lnTo>
                  <a:lnTo>
                    <a:pt x="1360144" y="373659"/>
                  </a:lnTo>
                  <a:lnTo>
                    <a:pt x="1360195" y="373659"/>
                  </a:lnTo>
                  <a:lnTo>
                    <a:pt x="1360195" y="374002"/>
                  </a:lnTo>
                  <a:lnTo>
                    <a:pt x="1360246" y="374002"/>
                  </a:lnTo>
                  <a:lnTo>
                    <a:pt x="1360246" y="374447"/>
                  </a:lnTo>
                  <a:lnTo>
                    <a:pt x="1360335" y="374447"/>
                  </a:lnTo>
                  <a:lnTo>
                    <a:pt x="1360335" y="374891"/>
                  </a:lnTo>
                  <a:lnTo>
                    <a:pt x="1360386" y="374891"/>
                  </a:lnTo>
                  <a:lnTo>
                    <a:pt x="1360386" y="375348"/>
                  </a:lnTo>
                  <a:lnTo>
                    <a:pt x="1360436" y="375348"/>
                  </a:lnTo>
                  <a:lnTo>
                    <a:pt x="1360436" y="375742"/>
                  </a:lnTo>
                  <a:lnTo>
                    <a:pt x="1360487" y="375742"/>
                  </a:lnTo>
                  <a:lnTo>
                    <a:pt x="1360487" y="376187"/>
                  </a:lnTo>
                  <a:lnTo>
                    <a:pt x="1360589" y="376187"/>
                  </a:lnTo>
                  <a:lnTo>
                    <a:pt x="1360589" y="376631"/>
                  </a:lnTo>
                  <a:lnTo>
                    <a:pt x="1360639" y="376631"/>
                  </a:lnTo>
                  <a:lnTo>
                    <a:pt x="1360639" y="376974"/>
                  </a:lnTo>
                  <a:lnTo>
                    <a:pt x="1360690" y="376974"/>
                  </a:lnTo>
                  <a:lnTo>
                    <a:pt x="1360690" y="377431"/>
                  </a:lnTo>
                  <a:lnTo>
                    <a:pt x="1360830" y="377431"/>
                  </a:lnTo>
                  <a:lnTo>
                    <a:pt x="1360830" y="377876"/>
                  </a:lnTo>
                  <a:lnTo>
                    <a:pt x="1360881" y="377876"/>
                  </a:lnTo>
                  <a:lnTo>
                    <a:pt x="1360881" y="378320"/>
                  </a:lnTo>
                  <a:lnTo>
                    <a:pt x="1360932" y="378320"/>
                  </a:lnTo>
                  <a:lnTo>
                    <a:pt x="1360932" y="378714"/>
                  </a:lnTo>
                  <a:lnTo>
                    <a:pt x="1361033" y="378714"/>
                  </a:lnTo>
                  <a:lnTo>
                    <a:pt x="1361033" y="379158"/>
                  </a:lnTo>
                  <a:lnTo>
                    <a:pt x="1361084" y="379158"/>
                  </a:lnTo>
                  <a:lnTo>
                    <a:pt x="1361084" y="379603"/>
                  </a:lnTo>
                  <a:lnTo>
                    <a:pt x="1361135" y="379603"/>
                  </a:lnTo>
                  <a:lnTo>
                    <a:pt x="1361135" y="380060"/>
                  </a:lnTo>
                  <a:lnTo>
                    <a:pt x="1361236" y="380060"/>
                  </a:lnTo>
                  <a:lnTo>
                    <a:pt x="1361236" y="380454"/>
                  </a:lnTo>
                  <a:lnTo>
                    <a:pt x="1361287" y="380848"/>
                  </a:lnTo>
                  <a:lnTo>
                    <a:pt x="1361287" y="381292"/>
                  </a:lnTo>
                  <a:lnTo>
                    <a:pt x="1361376" y="381292"/>
                  </a:lnTo>
                  <a:lnTo>
                    <a:pt x="1361376" y="381698"/>
                  </a:lnTo>
                  <a:lnTo>
                    <a:pt x="1361478" y="381698"/>
                  </a:lnTo>
                  <a:lnTo>
                    <a:pt x="1361478" y="382143"/>
                  </a:lnTo>
                  <a:lnTo>
                    <a:pt x="1361529" y="382143"/>
                  </a:lnTo>
                  <a:lnTo>
                    <a:pt x="1361529" y="382587"/>
                  </a:lnTo>
                  <a:lnTo>
                    <a:pt x="1361579" y="382587"/>
                  </a:lnTo>
                  <a:lnTo>
                    <a:pt x="1361579" y="383032"/>
                  </a:lnTo>
                  <a:lnTo>
                    <a:pt x="1361681" y="383032"/>
                  </a:lnTo>
                  <a:lnTo>
                    <a:pt x="1361681" y="383426"/>
                  </a:lnTo>
                  <a:lnTo>
                    <a:pt x="1361732" y="383426"/>
                  </a:lnTo>
                  <a:lnTo>
                    <a:pt x="1361732" y="383870"/>
                  </a:lnTo>
                  <a:lnTo>
                    <a:pt x="1361833" y="383870"/>
                  </a:lnTo>
                  <a:lnTo>
                    <a:pt x="1361833" y="384327"/>
                  </a:lnTo>
                  <a:lnTo>
                    <a:pt x="1361922" y="384327"/>
                  </a:lnTo>
                  <a:lnTo>
                    <a:pt x="1361922" y="384772"/>
                  </a:lnTo>
                  <a:lnTo>
                    <a:pt x="1361973" y="384772"/>
                  </a:lnTo>
                  <a:lnTo>
                    <a:pt x="1361973" y="385115"/>
                  </a:lnTo>
                  <a:lnTo>
                    <a:pt x="1362024" y="385115"/>
                  </a:lnTo>
                  <a:lnTo>
                    <a:pt x="1362024" y="385559"/>
                  </a:lnTo>
                  <a:lnTo>
                    <a:pt x="1362075" y="385559"/>
                  </a:lnTo>
                  <a:lnTo>
                    <a:pt x="1362075" y="386004"/>
                  </a:lnTo>
                  <a:lnTo>
                    <a:pt x="1362176" y="386004"/>
                  </a:lnTo>
                  <a:lnTo>
                    <a:pt x="1362227" y="386410"/>
                  </a:lnTo>
                  <a:lnTo>
                    <a:pt x="1362278" y="386410"/>
                  </a:lnTo>
                  <a:lnTo>
                    <a:pt x="1362278" y="386855"/>
                  </a:lnTo>
                  <a:lnTo>
                    <a:pt x="1362379" y="386855"/>
                  </a:lnTo>
                  <a:lnTo>
                    <a:pt x="1362379" y="387299"/>
                  </a:lnTo>
                  <a:lnTo>
                    <a:pt x="1362468" y="387299"/>
                  </a:lnTo>
                  <a:lnTo>
                    <a:pt x="1362468" y="387744"/>
                  </a:lnTo>
                  <a:lnTo>
                    <a:pt x="1362519" y="387744"/>
                  </a:lnTo>
                  <a:lnTo>
                    <a:pt x="1362519" y="388087"/>
                  </a:lnTo>
                  <a:lnTo>
                    <a:pt x="1362672" y="388087"/>
                  </a:lnTo>
                  <a:lnTo>
                    <a:pt x="1362672" y="388544"/>
                  </a:lnTo>
                  <a:lnTo>
                    <a:pt x="1362722" y="388544"/>
                  </a:lnTo>
                  <a:lnTo>
                    <a:pt x="1362722" y="388988"/>
                  </a:lnTo>
                  <a:lnTo>
                    <a:pt x="1362824" y="388988"/>
                  </a:lnTo>
                  <a:lnTo>
                    <a:pt x="1362824" y="389433"/>
                  </a:lnTo>
                  <a:lnTo>
                    <a:pt x="1362875" y="389433"/>
                  </a:lnTo>
                  <a:lnTo>
                    <a:pt x="1362875" y="389827"/>
                  </a:lnTo>
                  <a:lnTo>
                    <a:pt x="1362926" y="389827"/>
                  </a:lnTo>
                  <a:lnTo>
                    <a:pt x="1362926" y="390271"/>
                  </a:lnTo>
                  <a:lnTo>
                    <a:pt x="1362964" y="390271"/>
                  </a:lnTo>
                  <a:lnTo>
                    <a:pt x="1362964" y="390716"/>
                  </a:lnTo>
                  <a:lnTo>
                    <a:pt x="1363065" y="390716"/>
                  </a:lnTo>
                  <a:lnTo>
                    <a:pt x="1363065" y="391122"/>
                  </a:lnTo>
                  <a:lnTo>
                    <a:pt x="1363116" y="391122"/>
                  </a:lnTo>
                  <a:lnTo>
                    <a:pt x="1363116" y="391566"/>
                  </a:lnTo>
                  <a:lnTo>
                    <a:pt x="1363167" y="391566"/>
                  </a:lnTo>
                  <a:lnTo>
                    <a:pt x="1363167" y="391960"/>
                  </a:lnTo>
                  <a:lnTo>
                    <a:pt x="1363268" y="391960"/>
                  </a:lnTo>
                  <a:lnTo>
                    <a:pt x="1363268" y="392405"/>
                  </a:lnTo>
                  <a:lnTo>
                    <a:pt x="1363319" y="392405"/>
                  </a:lnTo>
                  <a:lnTo>
                    <a:pt x="1363319" y="392811"/>
                  </a:lnTo>
                  <a:lnTo>
                    <a:pt x="1363370" y="392811"/>
                  </a:lnTo>
                  <a:lnTo>
                    <a:pt x="1363421" y="393256"/>
                  </a:lnTo>
                  <a:lnTo>
                    <a:pt x="1363510" y="393700"/>
                  </a:lnTo>
                  <a:lnTo>
                    <a:pt x="1363561" y="393700"/>
                  </a:lnTo>
                  <a:lnTo>
                    <a:pt x="1363561" y="394094"/>
                  </a:lnTo>
                  <a:lnTo>
                    <a:pt x="1363611" y="394094"/>
                  </a:lnTo>
                  <a:lnTo>
                    <a:pt x="1363611" y="394538"/>
                  </a:lnTo>
                  <a:lnTo>
                    <a:pt x="1363662" y="394538"/>
                  </a:lnTo>
                  <a:lnTo>
                    <a:pt x="1363662" y="394983"/>
                  </a:lnTo>
                  <a:lnTo>
                    <a:pt x="1363764" y="394983"/>
                  </a:lnTo>
                  <a:lnTo>
                    <a:pt x="1363764" y="395440"/>
                  </a:lnTo>
                  <a:lnTo>
                    <a:pt x="1363814" y="395440"/>
                  </a:lnTo>
                  <a:lnTo>
                    <a:pt x="1363814" y="395783"/>
                  </a:lnTo>
                  <a:lnTo>
                    <a:pt x="1363865" y="395783"/>
                  </a:lnTo>
                  <a:lnTo>
                    <a:pt x="1363865" y="396227"/>
                  </a:lnTo>
                  <a:lnTo>
                    <a:pt x="1363967" y="396227"/>
                  </a:lnTo>
                  <a:lnTo>
                    <a:pt x="1364005" y="396672"/>
                  </a:lnTo>
                  <a:lnTo>
                    <a:pt x="1364056" y="396672"/>
                  </a:lnTo>
                  <a:lnTo>
                    <a:pt x="1364056" y="397116"/>
                  </a:lnTo>
                  <a:lnTo>
                    <a:pt x="1364107" y="397116"/>
                  </a:lnTo>
                  <a:lnTo>
                    <a:pt x="1364107" y="397523"/>
                  </a:lnTo>
                  <a:lnTo>
                    <a:pt x="1364208" y="397523"/>
                  </a:lnTo>
                  <a:lnTo>
                    <a:pt x="1364208" y="397967"/>
                  </a:lnTo>
                  <a:lnTo>
                    <a:pt x="1364259" y="397967"/>
                  </a:lnTo>
                  <a:lnTo>
                    <a:pt x="1364259" y="398412"/>
                  </a:lnTo>
                  <a:lnTo>
                    <a:pt x="1364310" y="398412"/>
                  </a:lnTo>
                  <a:lnTo>
                    <a:pt x="1364310" y="398755"/>
                  </a:lnTo>
                  <a:lnTo>
                    <a:pt x="1364411" y="398755"/>
                  </a:lnTo>
                  <a:lnTo>
                    <a:pt x="1364411" y="399199"/>
                  </a:lnTo>
                  <a:lnTo>
                    <a:pt x="1364462" y="399199"/>
                  </a:lnTo>
                  <a:lnTo>
                    <a:pt x="1364462" y="399656"/>
                  </a:lnTo>
                  <a:lnTo>
                    <a:pt x="1364513" y="399656"/>
                  </a:lnTo>
                  <a:lnTo>
                    <a:pt x="1364551" y="400101"/>
                  </a:lnTo>
                  <a:lnTo>
                    <a:pt x="1364653" y="400101"/>
                  </a:lnTo>
                  <a:lnTo>
                    <a:pt x="1364653" y="400494"/>
                  </a:lnTo>
                  <a:lnTo>
                    <a:pt x="1364704" y="400494"/>
                  </a:lnTo>
                  <a:lnTo>
                    <a:pt x="1364704" y="400939"/>
                  </a:lnTo>
                  <a:lnTo>
                    <a:pt x="1364754" y="400939"/>
                  </a:lnTo>
                  <a:lnTo>
                    <a:pt x="1364754" y="401383"/>
                  </a:lnTo>
                  <a:lnTo>
                    <a:pt x="1364856" y="401383"/>
                  </a:lnTo>
                  <a:lnTo>
                    <a:pt x="1364856" y="401828"/>
                  </a:lnTo>
                  <a:lnTo>
                    <a:pt x="1364907" y="401828"/>
                  </a:lnTo>
                  <a:lnTo>
                    <a:pt x="1364907" y="402234"/>
                  </a:lnTo>
                  <a:lnTo>
                    <a:pt x="1364957" y="402234"/>
                  </a:lnTo>
                  <a:lnTo>
                    <a:pt x="1364957" y="402679"/>
                  </a:lnTo>
                  <a:lnTo>
                    <a:pt x="1365008" y="402679"/>
                  </a:lnTo>
                  <a:lnTo>
                    <a:pt x="1365008" y="403073"/>
                  </a:lnTo>
                  <a:lnTo>
                    <a:pt x="1365097" y="403073"/>
                  </a:lnTo>
                  <a:lnTo>
                    <a:pt x="1365097" y="403466"/>
                  </a:lnTo>
                  <a:lnTo>
                    <a:pt x="1365199" y="403466"/>
                  </a:lnTo>
                  <a:lnTo>
                    <a:pt x="1365199" y="403923"/>
                  </a:lnTo>
                  <a:lnTo>
                    <a:pt x="1365250" y="403923"/>
                  </a:lnTo>
                  <a:lnTo>
                    <a:pt x="1365250" y="404368"/>
                  </a:lnTo>
                  <a:lnTo>
                    <a:pt x="1365351" y="404368"/>
                  </a:lnTo>
                  <a:lnTo>
                    <a:pt x="1365351" y="404812"/>
                  </a:lnTo>
                  <a:lnTo>
                    <a:pt x="1365402" y="404812"/>
                  </a:lnTo>
                  <a:lnTo>
                    <a:pt x="1365402" y="405206"/>
                  </a:lnTo>
                  <a:lnTo>
                    <a:pt x="1365453" y="405206"/>
                  </a:lnTo>
                  <a:lnTo>
                    <a:pt x="1365453" y="405651"/>
                  </a:lnTo>
                  <a:lnTo>
                    <a:pt x="1365554" y="405651"/>
                  </a:lnTo>
                  <a:lnTo>
                    <a:pt x="1365554" y="406095"/>
                  </a:lnTo>
                  <a:lnTo>
                    <a:pt x="1365592" y="406095"/>
                  </a:lnTo>
                  <a:lnTo>
                    <a:pt x="1365592" y="406552"/>
                  </a:lnTo>
                  <a:lnTo>
                    <a:pt x="1365643" y="406552"/>
                  </a:lnTo>
                  <a:lnTo>
                    <a:pt x="1365643" y="406895"/>
                  </a:lnTo>
                  <a:lnTo>
                    <a:pt x="1365694" y="406895"/>
                  </a:lnTo>
                  <a:lnTo>
                    <a:pt x="1365694" y="407340"/>
                  </a:lnTo>
                  <a:lnTo>
                    <a:pt x="1365847" y="407340"/>
                  </a:lnTo>
                  <a:lnTo>
                    <a:pt x="1365847" y="407784"/>
                  </a:lnTo>
                  <a:lnTo>
                    <a:pt x="1365897" y="407784"/>
                  </a:lnTo>
                  <a:lnTo>
                    <a:pt x="1365897" y="408178"/>
                  </a:lnTo>
                  <a:lnTo>
                    <a:pt x="1365999" y="408178"/>
                  </a:lnTo>
                  <a:lnTo>
                    <a:pt x="1365999" y="408635"/>
                  </a:lnTo>
                  <a:lnTo>
                    <a:pt x="1366101" y="408635"/>
                  </a:lnTo>
                  <a:lnTo>
                    <a:pt x="1366101" y="409080"/>
                  </a:lnTo>
                  <a:lnTo>
                    <a:pt x="1366139" y="409080"/>
                  </a:lnTo>
                  <a:lnTo>
                    <a:pt x="1366139" y="409524"/>
                  </a:lnTo>
                  <a:lnTo>
                    <a:pt x="1366240" y="409524"/>
                  </a:lnTo>
                  <a:lnTo>
                    <a:pt x="1366240" y="409867"/>
                  </a:lnTo>
                  <a:lnTo>
                    <a:pt x="1366291" y="409867"/>
                  </a:lnTo>
                  <a:lnTo>
                    <a:pt x="1366291" y="410312"/>
                  </a:lnTo>
                  <a:lnTo>
                    <a:pt x="1366342" y="410312"/>
                  </a:lnTo>
                  <a:lnTo>
                    <a:pt x="1366342" y="410769"/>
                  </a:lnTo>
                  <a:lnTo>
                    <a:pt x="1366443" y="410769"/>
                  </a:lnTo>
                  <a:lnTo>
                    <a:pt x="1366443" y="411162"/>
                  </a:lnTo>
                  <a:lnTo>
                    <a:pt x="1366494" y="411162"/>
                  </a:lnTo>
                  <a:lnTo>
                    <a:pt x="1366545" y="411607"/>
                  </a:lnTo>
                  <a:lnTo>
                    <a:pt x="1366596" y="411607"/>
                  </a:lnTo>
                  <a:lnTo>
                    <a:pt x="1366596" y="412052"/>
                  </a:lnTo>
                  <a:lnTo>
                    <a:pt x="1366685" y="412052"/>
                  </a:lnTo>
                  <a:lnTo>
                    <a:pt x="1366685" y="412496"/>
                  </a:lnTo>
                  <a:lnTo>
                    <a:pt x="1366736" y="412496"/>
                  </a:lnTo>
                  <a:lnTo>
                    <a:pt x="1366736" y="412902"/>
                  </a:lnTo>
                  <a:lnTo>
                    <a:pt x="1366786" y="412902"/>
                  </a:lnTo>
                  <a:lnTo>
                    <a:pt x="1366786" y="413347"/>
                  </a:lnTo>
                  <a:lnTo>
                    <a:pt x="1366837" y="413347"/>
                  </a:lnTo>
                  <a:lnTo>
                    <a:pt x="1366837" y="413791"/>
                  </a:lnTo>
                  <a:lnTo>
                    <a:pt x="1366939" y="413791"/>
                  </a:lnTo>
                  <a:lnTo>
                    <a:pt x="1366939" y="414185"/>
                  </a:lnTo>
                  <a:lnTo>
                    <a:pt x="1366989" y="414185"/>
                  </a:lnTo>
                  <a:lnTo>
                    <a:pt x="1366989" y="414579"/>
                  </a:lnTo>
                  <a:lnTo>
                    <a:pt x="1367142" y="414579"/>
                  </a:lnTo>
                  <a:lnTo>
                    <a:pt x="1367142" y="415036"/>
                  </a:lnTo>
                  <a:lnTo>
                    <a:pt x="1367180" y="415036"/>
                  </a:lnTo>
                  <a:lnTo>
                    <a:pt x="1367180" y="415481"/>
                  </a:lnTo>
                  <a:lnTo>
                    <a:pt x="1367231" y="415481"/>
                  </a:lnTo>
                  <a:lnTo>
                    <a:pt x="1367231" y="415874"/>
                  </a:lnTo>
                  <a:lnTo>
                    <a:pt x="1367282" y="415874"/>
                  </a:lnTo>
                  <a:lnTo>
                    <a:pt x="1367282" y="416319"/>
                  </a:lnTo>
                  <a:lnTo>
                    <a:pt x="1367383" y="416319"/>
                  </a:lnTo>
                  <a:lnTo>
                    <a:pt x="1367485" y="417208"/>
                  </a:lnTo>
                  <a:lnTo>
                    <a:pt x="1367586" y="417563"/>
                  </a:lnTo>
                  <a:lnTo>
                    <a:pt x="1367726" y="418897"/>
                  </a:lnTo>
                  <a:lnTo>
                    <a:pt x="1367828" y="419291"/>
                  </a:lnTo>
                  <a:lnTo>
                    <a:pt x="1367879" y="419748"/>
                  </a:lnTo>
                  <a:lnTo>
                    <a:pt x="1367929" y="419748"/>
                  </a:lnTo>
                  <a:lnTo>
                    <a:pt x="1367929" y="420192"/>
                  </a:lnTo>
                  <a:lnTo>
                    <a:pt x="1368031" y="420192"/>
                  </a:lnTo>
                  <a:lnTo>
                    <a:pt x="1368031" y="420535"/>
                  </a:lnTo>
                  <a:lnTo>
                    <a:pt x="1368132" y="420535"/>
                  </a:lnTo>
                  <a:lnTo>
                    <a:pt x="1368132" y="420980"/>
                  </a:lnTo>
                  <a:lnTo>
                    <a:pt x="1368183" y="420980"/>
                  </a:lnTo>
                  <a:lnTo>
                    <a:pt x="1368183" y="421424"/>
                  </a:lnTo>
                  <a:lnTo>
                    <a:pt x="1368272" y="421424"/>
                  </a:lnTo>
                  <a:lnTo>
                    <a:pt x="1368272" y="421881"/>
                  </a:lnTo>
                  <a:lnTo>
                    <a:pt x="1368323" y="421881"/>
                  </a:lnTo>
                  <a:lnTo>
                    <a:pt x="1368323" y="422275"/>
                  </a:lnTo>
                  <a:lnTo>
                    <a:pt x="1368374" y="422275"/>
                  </a:lnTo>
                  <a:lnTo>
                    <a:pt x="1368425" y="422719"/>
                  </a:lnTo>
                  <a:lnTo>
                    <a:pt x="1368526" y="422719"/>
                  </a:lnTo>
                  <a:lnTo>
                    <a:pt x="1368526" y="423164"/>
                  </a:lnTo>
                  <a:lnTo>
                    <a:pt x="1368577" y="423164"/>
                  </a:lnTo>
                  <a:lnTo>
                    <a:pt x="1368577" y="423558"/>
                  </a:lnTo>
                  <a:lnTo>
                    <a:pt x="1368628" y="423558"/>
                  </a:lnTo>
                  <a:lnTo>
                    <a:pt x="1368628" y="424015"/>
                  </a:lnTo>
                  <a:lnTo>
                    <a:pt x="1368729" y="424015"/>
                  </a:lnTo>
                  <a:lnTo>
                    <a:pt x="1368729" y="424459"/>
                  </a:lnTo>
                  <a:lnTo>
                    <a:pt x="1368767" y="424459"/>
                  </a:lnTo>
                  <a:lnTo>
                    <a:pt x="1368767" y="424904"/>
                  </a:lnTo>
                  <a:lnTo>
                    <a:pt x="1368869" y="424904"/>
                  </a:lnTo>
                  <a:lnTo>
                    <a:pt x="1368869" y="425247"/>
                  </a:lnTo>
                  <a:lnTo>
                    <a:pt x="1368971" y="425247"/>
                  </a:lnTo>
                  <a:lnTo>
                    <a:pt x="1368971" y="425691"/>
                  </a:lnTo>
                  <a:lnTo>
                    <a:pt x="1369022" y="425691"/>
                  </a:lnTo>
                  <a:lnTo>
                    <a:pt x="1369022" y="426148"/>
                  </a:lnTo>
                  <a:lnTo>
                    <a:pt x="1369072" y="426148"/>
                  </a:lnTo>
                  <a:lnTo>
                    <a:pt x="1369072" y="426593"/>
                  </a:lnTo>
                  <a:lnTo>
                    <a:pt x="1369174" y="426593"/>
                  </a:lnTo>
                  <a:lnTo>
                    <a:pt x="1369174" y="426987"/>
                  </a:lnTo>
                  <a:lnTo>
                    <a:pt x="1369225" y="426987"/>
                  </a:lnTo>
                  <a:lnTo>
                    <a:pt x="1369225" y="427431"/>
                  </a:lnTo>
                  <a:lnTo>
                    <a:pt x="1369276" y="427431"/>
                  </a:lnTo>
                  <a:lnTo>
                    <a:pt x="1369276" y="427876"/>
                  </a:lnTo>
                  <a:lnTo>
                    <a:pt x="1369314" y="427876"/>
                  </a:lnTo>
                  <a:lnTo>
                    <a:pt x="1369314" y="428231"/>
                  </a:lnTo>
                  <a:lnTo>
                    <a:pt x="1369415" y="428231"/>
                  </a:lnTo>
                  <a:lnTo>
                    <a:pt x="1369415" y="428676"/>
                  </a:lnTo>
                  <a:lnTo>
                    <a:pt x="1369517" y="428676"/>
                  </a:lnTo>
                  <a:lnTo>
                    <a:pt x="1369517" y="429120"/>
                  </a:lnTo>
                  <a:lnTo>
                    <a:pt x="1369669" y="429120"/>
                  </a:lnTo>
                  <a:lnTo>
                    <a:pt x="1369669" y="429565"/>
                  </a:lnTo>
                  <a:lnTo>
                    <a:pt x="1369720" y="429565"/>
                  </a:lnTo>
                  <a:lnTo>
                    <a:pt x="1369720" y="429958"/>
                  </a:lnTo>
                  <a:lnTo>
                    <a:pt x="1369771" y="429958"/>
                  </a:lnTo>
                  <a:lnTo>
                    <a:pt x="1369771" y="430403"/>
                  </a:lnTo>
                  <a:lnTo>
                    <a:pt x="1369860" y="430403"/>
                  </a:lnTo>
                  <a:lnTo>
                    <a:pt x="1369860" y="430860"/>
                  </a:lnTo>
                  <a:lnTo>
                    <a:pt x="1369911" y="430860"/>
                  </a:lnTo>
                  <a:lnTo>
                    <a:pt x="1369911" y="431305"/>
                  </a:lnTo>
                  <a:lnTo>
                    <a:pt x="1369961" y="431305"/>
                  </a:lnTo>
                  <a:lnTo>
                    <a:pt x="1370012" y="431648"/>
                  </a:lnTo>
                  <a:lnTo>
                    <a:pt x="1370114" y="432092"/>
                  </a:lnTo>
                  <a:lnTo>
                    <a:pt x="1370164" y="432092"/>
                  </a:lnTo>
                  <a:lnTo>
                    <a:pt x="1370164" y="432537"/>
                  </a:lnTo>
                  <a:lnTo>
                    <a:pt x="1370215" y="432537"/>
                  </a:lnTo>
                  <a:lnTo>
                    <a:pt x="1370215" y="432943"/>
                  </a:lnTo>
                  <a:lnTo>
                    <a:pt x="1370317" y="432943"/>
                  </a:lnTo>
                  <a:lnTo>
                    <a:pt x="1370317" y="433387"/>
                  </a:lnTo>
                  <a:lnTo>
                    <a:pt x="1370355" y="433387"/>
                  </a:lnTo>
                  <a:lnTo>
                    <a:pt x="1370355" y="433832"/>
                  </a:lnTo>
                  <a:lnTo>
                    <a:pt x="1370406" y="433832"/>
                  </a:lnTo>
                  <a:lnTo>
                    <a:pt x="1370406" y="434277"/>
                  </a:lnTo>
                  <a:lnTo>
                    <a:pt x="1370457" y="434277"/>
                  </a:lnTo>
                  <a:lnTo>
                    <a:pt x="1370457" y="434670"/>
                  </a:lnTo>
                  <a:lnTo>
                    <a:pt x="1370558" y="434670"/>
                  </a:lnTo>
                  <a:lnTo>
                    <a:pt x="1370558" y="435127"/>
                  </a:lnTo>
                  <a:lnTo>
                    <a:pt x="1370660" y="435127"/>
                  </a:lnTo>
                  <a:lnTo>
                    <a:pt x="1370660" y="435572"/>
                  </a:lnTo>
                  <a:lnTo>
                    <a:pt x="1370761" y="435572"/>
                  </a:lnTo>
                  <a:lnTo>
                    <a:pt x="1370761" y="436016"/>
                  </a:lnTo>
                  <a:lnTo>
                    <a:pt x="1370812" y="436016"/>
                  </a:lnTo>
                  <a:lnTo>
                    <a:pt x="1370812" y="436359"/>
                  </a:lnTo>
                  <a:lnTo>
                    <a:pt x="1370863" y="436359"/>
                  </a:lnTo>
                  <a:lnTo>
                    <a:pt x="1370863" y="436804"/>
                  </a:lnTo>
                  <a:lnTo>
                    <a:pt x="1370901" y="436804"/>
                  </a:lnTo>
                  <a:lnTo>
                    <a:pt x="1370901" y="437261"/>
                  </a:lnTo>
                  <a:lnTo>
                    <a:pt x="1371003" y="437261"/>
                  </a:lnTo>
                  <a:lnTo>
                    <a:pt x="1371003" y="437655"/>
                  </a:lnTo>
                  <a:lnTo>
                    <a:pt x="1371054" y="437655"/>
                  </a:lnTo>
                  <a:lnTo>
                    <a:pt x="1371054" y="438099"/>
                  </a:lnTo>
                  <a:lnTo>
                    <a:pt x="1371104" y="438099"/>
                  </a:lnTo>
                  <a:lnTo>
                    <a:pt x="1371104" y="438544"/>
                  </a:lnTo>
                  <a:lnTo>
                    <a:pt x="1371206" y="438544"/>
                  </a:lnTo>
                  <a:lnTo>
                    <a:pt x="1371206" y="438988"/>
                  </a:lnTo>
                  <a:lnTo>
                    <a:pt x="1371307" y="438988"/>
                  </a:lnTo>
                  <a:lnTo>
                    <a:pt x="1371307" y="439344"/>
                  </a:lnTo>
                  <a:lnTo>
                    <a:pt x="1371358" y="439344"/>
                  </a:lnTo>
                  <a:lnTo>
                    <a:pt x="1371358" y="439788"/>
                  </a:lnTo>
                  <a:lnTo>
                    <a:pt x="1371447" y="439788"/>
                  </a:lnTo>
                  <a:lnTo>
                    <a:pt x="1371447" y="440233"/>
                  </a:lnTo>
                  <a:lnTo>
                    <a:pt x="1371549" y="440233"/>
                  </a:lnTo>
                  <a:lnTo>
                    <a:pt x="1371549" y="440627"/>
                  </a:lnTo>
                  <a:lnTo>
                    <a:pt x="1371701" y="440627"/>
                  </a:lnTo>
                  <a:lnTo>
                    <a:pt x="1371701" y="441071"/>
                  </a:lnTo>
                  <a:lnTo>
                    <a:pt x="1371803" y="441071"/>
                  </a:lnTo>
                  <a:lnTo>
                    <a:pt x="1371803" y="441516"/>
                  </a:lnTo>
                  <a:lnTo>
                    <a:pt x="1371904" y="441516"/>
                  </a:lnTo>
                  <a:lnTo>
                    <a:pt x="1371904" y="441973"/>
                  </a:lnTo>
                  <a:lnTo>
                    <a:pt x="1371993" y="441973"/>
                  </a:lnTo>
                  <a:lnTo>
                    <a:pt x="1371993" y="442366"/>
                  </a:lnTo>
                  <a:lnTo>
                    <a:pt x="1372044" y="442366"/>
                  </a:lnTo>
                  <a:lnTo>
                    <a:pt x="1372044" y="442760"/>
                  </a:lnTo>
                  <a:lnTo>
                    <a:pt x="1372146" y="442760"/>
                  </a:lnTo>
                  <a:lnTo>
                    <a:pt x="1372146" y="443205"/>
                  </a:lnTo>
                  <a:lnTo>
                    <a:pt x="1372197" y="443205"/>
                  </a:lnTo>
                  <a:lnTo>
                    <a:pt x="1372197" y="443649"/>
                  </a:lnTo>
                  <a:lnTo>
                    <a:pt x="1372247" y="443649"/>
                  </a:lnTo>
                  <a:lnTo>
                    <a:pt x="1372247" y="444056"/>
                  </a:lnTo>
                  <a:lnTo>
                    <a:pt x="1372349" y="444056"/>
                  </a:lnTo>
                  <a:lnTo>
                    <a:pt x="1372349" y="444500"/>
                  </a:lnTo>
                  <a:lnTo>
                    <a:pt x="1372400" y="444500"/>
                  </a:lnTo>
                  <a:lnTo>
                    <a:pt x="1372400" y="444944"/>
                  </a:lnTo>
                  <a:lnTo>
                    <a:pt x="1372451" y="444944"/>
                  </a:lnTo>
                  <a:lnTo>
                    <a:pt x="1372451" y="445338"/>
                  </a:lnTo>
                  <a:lnTo>
                    <a:pt x="1372489" y="445338"/>
                  </a:lnTo>
                  <a:lnTo>
                    <a:pt x="1372489" y="445783"/>
                  </a:lnTo>
                  <a:lnTo>
                    <a:pt x="1372590" y="445783"/>
                  </a:lnTo>
                  <a:lnTo>
                    <a:pt x="1372590" y="446240"/>
                  </a:lnTo>
                  <a:lnTo>
                    <a:pt x="1372641" y="446240"/>
                  </a:lnTo>
                  <a:lnTo>
                    <a:pt x="1372692" y="446684"/>
                  </a:lnTo>
                  <a:lnTo>
                    <a:pt x="1372793" y="446684"/>
                  </a:lnTo>
                  <a:lnTo>
                    <a:pt x="1372793" y="447027"/>
                  </a:lnTo>
                  <a:lnTo>
                    <a:pt x="1372844" y="447027"/>
                  </a:lnTo>
                  <a:lnTo>
                    <a:pt x="1372844" y="447472"/>
                  </a:lnTo>
                  <a:lnTo>
                    <a:pt x="1372895" y="447472"/>
                  </a:lnTo>
                  <a:lnTo>
                    <a:pt x="1372895" y="447916"/>
                  </a:lnTo>
                  <a:lnTo>
                    <a:pt x="1372946" y="447916"/>
                  </a:lnTo>
                  <a:lnTo>
                    <a:pt x="1372946" y="448373"/>
                  </a:lnTo>
                  <a:lnTo>
                    <a:pt x="1373035" y="448373"/>
                  </a:lnTo>
                  <a:lnTo>
                    <a:pt x="1373035" y="448767"/>
                  </a:lnTo>
                  <a:lnTo>
                    <a:pt x="1373086" y="448767"/>
                  </a:lnTo>
                  <a:lnTo>
                    <a:pt x="1373086" y="449212"/>
                  </a:lnTo>
                  <a:lnTo>
                    <a:pt x="1373136" y="449212"/>
                  </a:lnTo>
                  <a:lnTo>
                    <a:pt x="1373187" y="449656"/>
                  </a:lnTo>
                  <a:lnTo>
                    <a:pt x="1373289" y="449656"/>
                  </a:lnTo>
                  <a:lnTo>
                    <a:pt x="1373289" y="449999"/>
                  </a:lnTo>
                  <a:lnTo>
                    <a:pt x="1373339" y="449999"/>
                  </a:lnTo>
                  <a:lnTo>
                    <a:pt x="1373339" y="450456"/>
                  </a:lnTo>
                  <a:lnTo>
                    <a:pt x="1373492" y="450456"/>
                  </a:lnTo>
                  <a:lnTo>
                    <a:pt x="1373492" y="450901"/>
                  </a:lnTo>
                  <a:lnTo>
                    <a:pt x="1373530" y="450901"/>
                  </a:lnTo>
                  <a:lnTo>
                    <a:pt x="1373530" y="451345"/>
                  </a:lnTo>
                  <a:lnTo>
                    <a:pt x="1373581" y="451345"/>
                  </a:lnTo>
                  <a:lnTo>
                    <a:pt x="1373581" y="451739"/>
                  </a:lnTo>
                  <a:lnTo>
                    <a:pt x="1373632" y="451739"/>
                  </a:lnTo>
                  <a:lnTo>
                    <a:pt x="1373632" y="452183"/>
                  </a:lnTo>
                  <a:lnTo>
                    <a:pt x="1373733" y="452183"/>
                  </a:lnTo>
                  <a:lnTo>
                    <a:pt x="1373784" y="452628"/>
                  </a:lnTo>
                  <a:lnTo>
                    <a:pt x="1373835" y="452628"/>
                  </a:lnTo>
                  <a:lnTo>
                    <a:pt x="1373835" y="453085"/>
                  </a:lnTo>
                  <a:lnTo>
                    <a:pt x="1373936" y="453085"/>
                  </a:lnTo>
                  <a:lnTo>
                    <a:pt x="1373936" y="453479"/>
                  </a:lnTo>
                  <a:lnTo>
                    <a:pt x="1373987" y="453479"/>
                  </a:lnTo>
                  <a:lnTo>
                    <a:pt x="1373987" y="453873"/>
                  </a:lnTo>
                  <a:lnTo>
                    <a:pt x="1374038" y="453873"/>
                  </a:lnTo>
                  <a:lnTo>
                    <a:pt x="1374076" y="454317"/>
                  </a:lnTo>
                  <a:lnTo>
                    <a:pt x="1374178" y="454317"/>
                  </a:lnTo>
                  <a:lnTo>
                    <a:pt x="1374178" y="454723"/>
                  </a:lnTo>
                  <a:lnTo>
                    <a:pt x="1374229" y="454723"/>
                  </a:lnTo>
                  <a:lnTo>
                    <a:pt x="1374229" y="455168"/>
                  </a:lnTo>
                  <a:lnTo>
                    <a:pt x="1374279" y="455168"/>
                  </a:lnTo>
                  <a:lnTo>
                    <a:pt x="1374279" y="455612"/>
                  </a:lnTo>
                  <a:lnTo>
                    <a:pt x="1374381" y="455612"/>
                  </a:lnTo>
                  <a:lnTo>
                    <a:pt x="1374381" y="456057"/>
                  </a:lnTo>
                  <a:lnTo>
                    <a:pt x="1374432" y="456057"/>
                  </a:lnTo>
                  <a:lnTo>
                    <a:pt x="1374432" y="456451"/>
                  </a:lnTo>
                  <a:lnTo>
                    <a:pt x="1374482" y="456451"/>
                  </a:lnTo>
                  <a:lnTo>
                    <a:pt x="1374482" y="456895"/>
                  </a:lnTo>
                  <a:lnTo>
                    <a:pt x="1374533" y="456895"/>
                  </a:lnTo>
                  <a:lnTo>
                    <a:pt x="1374533" y="457352"/>
                  </a:lnTo>
                  <a:lnTo>
                    <a:pt x="1374622" y="457352"/>
                  </a:lnTo>
                  <a:lnTo>
                    <a:pt x="1374622" y="457695"/>
                  </a:lnTo>
                  <a:lnTo>
                    <a:pt x="1374673" y="457695"/>
                  </a:lnTo>
                  <a:lnTo>
                    <a:pt x="1374673" y="458140"/>
                  </a:lnTo>
                  <a:lnTo>
                    <a:pt x="1374724" y="458140"/>
                  </a:lnTo>
                  <a:lnTo>
                    <a:pt x="1374724" y="458584"/>
                  </a:lnTo>
                  <a:lnTo>
                    <a:pt x="1374775" y="458584"/>
                  </a:lnTo>
                  <a:lnTo>
                    <a:pt x="1374775" y="459029"/>
                  </a:lnTo>
                  <a:lnTo>
                    <a:pt x="1374876" y="459029"/>
                  </a:lnTo>
                  <a:lnTo>
                    <a:pt x="1374876" y="459435"/>
                  </a:lnTo>
                  <a:lnTo>
                    <a:pt x="1374978" y="459435"/>
                  </a:lnTo>
                  <a:lnTo>
                    <a:pt x="1374978" y="459880"/>
                  </a:lnTo>
                  <a:lnTo>
                    <a:pt x="1375079" y="459880"/>
                  </a:lnTo>
                  <a:lnTo>
                    <a:pt x="1375079" y="460324"/>
                  </a:lnTo>
                  <a:lnTo>
                    <a:pt x="1375117" y="460324"/>
                  </a:lnTo>
                  <a:lnTo>
                    <a:pt x="1375117" y="460769"/>
                  </a:lnTo>
                  <a:lnTo>
                    <a:pt x="1375321" y="460769"/>
                  </a:lnTo>
                  <a:lnTo>
                    <a:pt x="1375321" y="461112"/>
                  </a:lnTo>
                  <a:lnTo>
                    <a:pt x="1375372" y="461112"/>
                  </a:lnTo>
                  <a:lnTo>
                    <a:pt x="1375422" y="461569"/>
                  </a:lnTo>
                  <a:lnTo>
                    <a:pt x="1375524" y="461569"/>
                  </a:lnTo>
                  <a:lnTo>
                    <a:pt x="1375524" y="462013"/>
                  </a:lnTo>
                  <a:lnTo>
                    <a:pt x="1375575" y="462013"/>
                  </a:lnTo>
                  <a:lnTo>
                    <a:pt x="1375575" y="462407"/>
                  </a:lnTo>
                  <a:lnTo>
                    <a:pt x="1375626" y="462407"/>
                  </a:lnTo>
                  <a:lnTo>
                    <a:pt x="1375626" y="462852"/>
                  </a:lnTo>
                  <a:lnTo>
                    <a:pt x="1375664" y="462852"/>
                  </a:lnTo>
                  <a:lnTo>
                    <a:pt x="1375765" y="463296"/>
                  </a:lnTo>
                  <a:lnTo>
                    <a:pt x="1375816" y="463296"/>
                  </a:lnTo>
                  <a:lnTo>
                    <a:pt x="1375816" y="463741"/>
                  </a:lnTo>
                  <a:lnTo>
                    <a:pt x="1375867" y="463741"/>
                  </a:lnTo>
                  <a:lnTo>
                    <a:pt x="1375867" y="464147"/>
                  </a:lnTo>
                  <a:lnTo>
                    <a:pt x="1375968" y="464147"/>
                  </a:lnTo>
                  <a:lnTo>
                    <a:pt x="1375968" y="464591"/>
                  </a:lnTo>
                  <a:lnTo>
                    <a:pt x="1376019" y="464591"/>
                  </a:lnTo>
                  <a:lnTo>
                    <a:pt x="1376019" y="464985"/>
                  </a:lnTo>
                  <a:lnTo>
                    <a:pt x="1376121" y="464985"/>
                  </a:lnTo>
                  <a:lnTo>
                    <a:pt x="1376121" y="465430"/>
                  </a:lnTo>
                  <a:lnTo>
                    <a:pt x="1376210" y="465430"/>
                  </a:lnTo>
                  <a:lnTo>
                    <a:pt x="1376210" y="465836"/>
                  </a:lnTo>
                  <a:lnTo>
                    <a:pt x="1376261" y="465836"/>
                  </a:lnTo>
                  <a:lnTo>
                    <a:pt x="1376261" y="466281"/>
                  </a:lnTo>
                  <a:lnTo>
                    <a:pt x="1376311" y="466281"/>
                  </a:lnTo>
                  <a:lnTo>
                    <a:pt x="1376311" y="466725"/>
                  </a:lnTo>
                  <a:lnTo>
                    <a:pt x="1376362" y="466725"/>
                  </a:lnTo>
                  <a:lnTo>
                    <a:pt x="1376362" y="467119"/>
                  </a:lnTo>
                  <a:lnTo>
                    <a:pt x="1376464" y="467119"/>
                  </a:lnTo>
                  <a:lnTo>
                    <a:pt x="1376464" y="467563"/>
                  </a:lnTo>
                  <a:lnTo>
                    <a:pt x="1376514" y="467563"/>
                  </a:lnTo>
                  <a:lnTo>
                    <a:pt x="1376514" y="468008"/>
                  </a:lnTo>
                  <a:lnTo>
                    <a:pt x="1376667" y="468008"/>
                  </a:lnTo>
                  <a:lnTo>
                    <a:pt x="1376667" y="468465"/>
                  </a:lnTo>
                  <a:lnTo>
                    <a:pt x="1376705" y="468465"/>
                  </a:lnTo>
                  <a:lnTo>
                    <a:pt x="1376705" y="468808"/>
                  </a:lnTo>
                  <a:lnTo>
                    <a:pt x="1376756" y="468808"/>
                  </a:lnTo>
                  <a:lnTo>
                    <a:pt x="1376756" y="469252"/>
                  </a:lnTo>
                  <a:lnTo>
                    <a:pt x="1376807" y="469252"/>
                  </a:lnTo>
                  <a:lnTo>
                    <a:pt x="1376908" y="469697"/>
                  </a:lnTo>
                  <a:lnTo>
                    <a:pt x="1376959" y="470091"/>
                  </a:lnTo>
                  <a:lnTo>
                    <a:pt x="1377010" y="470091"/>
                  </a:lnTo>
                  <a:lnTo>
                    <a:pt x="1377010" y="470548"/>
                  </a:lnTo>
                  <a:lnTo>
                    <a:pt x="1377111" y="470548"/>
                  </a:lnTo>
                  <a:lnTo>
                    <a:pt x="1377111" y="470992"/>
                  </a:lnTo>
                  <a:lnTo>
                    <a:pt x="1377213" y="470992"/>
                  </a:lnTo>
                  <a:lnTo>
                    <a:pt x="1377213" y="471437"/>
                  </a:lnTo>
                  <a:lnTo>
                    <a:pt x="1377251" y="471437"/>
                  </a:lnTo>
                  <a:lnTo>
                    <a:pt x="1377251" y="471780"/>
                  </a:lnTo>
                  <a:lnTo>
                    <a:pt x="1377353" y="471780"/>
                  </a:lnTo>
                  <a:lnTo>
                    <a:pt x="1377353" y="472224"/>
                  </a:lnTo>
                  <a:lnTo>
                    <a:pt x="1377454" y="472224"/>
                  </a:lnTo>
                  <a:lnTo>
                    <a:pt x="1377454" y="472681"/>
                  </a:lnTo>
                  <a:lnTo>
                    <a:pt x="1377556" y="472681"/>
                  </a:lnTo>
                  <a:lnTo>
                    <a:pt x="1377556" y="473126"/>
                  </a:lnTo>
                  <a:lnTo>
                    <a:pt x="1377657" y="473126"/>
                  </a:lnTo>
                  <a:lnTo>
                    <a:pt x="1377657" y="473519"/>
                  </a:lnTo>
                  <a:lnTo>
                    <a:pt x="1377708" y="473519"/>
                  </a:lnTo>
                  <a:lnTo>
                    <a:pt x="1377708" y="473964"/>
                  </a:lnTo>
                  <a:lnTo>
                    <a:pt x="1377797" y="473964"/>
                  </a:lnTo>
                  <a:lnTo>
                    <a:pt x="1377848" y="474408"/>
                  </a:lnTo>
                  <a:lnTo>
                    <a:pt x="1377899" y="474408"/>
                  </a:lnTo>
                  <a:lnTo>
                    <a:pt x="1377899" y="474815"/>
                  </a:lnTo>
                  <a:lnTo>
                    <a:pt x="1377950" y="474815"/>
                  </a:lnTo>
                  <a:lnTo>
                    <a:pt x="1377950" y="475259"/>
                  </a:lnTo>
                  <a:lnTo>
                    <a:pt x="1378102" y="475259"/>
                  </a:lnTo>
                  <a:lnTo>
                    <a:pt x="1378102" y="475704"/>
                  </a:lnTo>
                  <a:lnTo>
                    <a:pt x="1378153" y="475704"/>
                  </a:lnTo>
                  <a:lnTo>
                    <a:pt x="1378254" y="476098"/>
                  </a:lnTo>
                  <a:lnTo>
                    <a:pt x="1378292" y="476098"/>
                  </a:lnTo>
                  <a:lnTo>
                    <a:pt x="1378292" y="476491"/>
                  </a:lnTo>
                  <a:lnTo>
                    <a:pt x="1378343" y="476491"/>
                  </a:lnTo>
                  <a:lnTo>
                    <a:pt x="1378343" y="476948"/>
                  </a:lnTo>
                  <a:lnTo>
                    <a:pt x="1378394" y="476948"/>
                  </a:lnTo>
                  <a:lnTo>
                    <a:pt x="1378394" y="477393"/>
                  </a:lnTo>
                  <a:lnTo>
                    <a:pt x="1378496" y="477393"/>
                  </a:lnTo>
                  <a:lnTo>
                    <a:pt x="1378496" y="477837"/>
                  </a:lnTo>
                  <a:lnTo>
                    <a:pt x="1378547" y="477837"/>
                  </a:lnTo>
                  <a:lnTo>
                    <a:pt x="1378547" y="478231"/>
                  </a:lnTo>
                  <a:lnTo>
                    <a:pt x="1378597" y="478231"/>
                  </a:lnTo>
                  <a:lnTo>
                    <a:pt x="1378597" y="478676"/>
                  </a:lnTo>
                  <a:lnTo>
                    <a:pt x="1378699" y="478676"/>
                  </a:lnTo>
                  <a:lnTo>
                    <a:pt x="1378699" y="479120"/>
                  </a:lnTo>
                  <a:lnTo>
                    <a:pt x="1378750" y="479120"/>
                  </a:lnTo>
                  <a:lnTo>
                    <a:pt x="1378750" y="479476"/>
                  </a:lnTo>
                  <a:lnTo>
                    <a:pt x="1378801" y="479476"/>
                  </a:lnTo>
                  <a:lnTo>
                    <a:pt x="1378801" y="479920"/>
                  </a:lnTo>
                  <a:lnTo>
                    <a:pt x="1378940" y="479920"/>
                  </a:lnTo>
                  <a:lnTo>
                    <a:pt x="1378940" y="480365"/>
                  </a:lnTo>
                  <a:lnTo>
                    <a:pt x="1378991" y="480365"/>
                  </a:lnTo>
                  <a:lnTo>
                    <a:pt x="1378991" y="480809"/>
                  </a:lnTo>
                  <a:lnTo>
                    <a:pt x="1379042" y="480809"/>
                  </a:lnTo>
                  <a:lnTo>
                    <a:pt x="1379143" y="481203"/>
                  </a:lnTo>
                  <a:lnTo>
                    <a:pt x="1379194" y="481203"/>
                  </a:lnTo>
                  <a:lnTo>
                    <a:pt x="1379194" y="481660"/>
                  </a:lnTo>
                  <a:lnTo>
                    <a:pt x="1379245" y="481660"/>
                  </a:lnTo>
                  <a:lnTo>
                    <a:pt x="1379245" y="482105"/>
                  </a:lnTo>
                  <a:lnTo>
                    <a:pt x="1379296" y="482105"/>
                  </a:lnTo>
                  <a:lnTo>
                    <a:pt x="1379296" y="482549"/>
                  </a:lnTo>
                  <a:lnTo>
                    <a:pt x="1379385" y="482549"/>
                  </a:lnTo>
                  <a:lnTo>
                    <a:pt x="1379385" y="482892"/>
                  </a:lnTo>
                  <a:lnTo>
                    <a:pt x="1379436" y="482892"/>
                  </a:lnTo>
                  <a:lnTo>
                    <a:pt x="1379486" y="483337"/>
                  </a:lnTo>
                  <a:lnTo>
                    <a:pt x="1379537" y="483337"/>
                  </a:lnTo>
                  <a:lnTo>
                    <a:pt x="1379639" y="483794"/>
                  </a:lnTo>
                  <a:lnTo>
                    <a:pt x="1379689" y="483794"/>
                  </a:lnTo>
                  <a:lnTo>
                    <a:pt x="1379740" y="484187"/>
                  </a:lnTo>
                  <a:lnTo>
                    <a:pt x="1379842" y="484187"/>
                  </a:lnTo>
                  <a:lnTo>
                    <a:pt x="1379842" y="484632"/>
                  </a:lnTo>
                  <a:lnTo>
                    <a:pt x="1379931" y="484632"/>
                  </a:lnTo>
                  <a:lnTo>
                    <a:pt x="1379931" y="485077"/>
                  </a:lnTo>
                  <a:lnTo>
                    <a:pt x="1379982" y="485077"/>
                  </a:lnTo>
                  <a:lnTo>
                    <a:pt x="1379982" y="485521"/>
                  </a:lnTo>
                  <a:lnTo>
                    <a:pt x="1380083" y="485521"/>
                  </a:lnTo>
                  <a:lnTo>
                    <a:pt x="1380083" y="485927"/>
                  </a:lnTo>
                  <a:lnTo>
                    <a:pt x="1380134" y="485927"/>
                  </a:lnTo>
                  <a:lnTo>
                    <a:pt x="1380134" y="486372"/>
                  </a:lnTo>
                  <a:lnTo>
                    <a:pt x="1380185" y="486372"/>
                  </a:lnTo>
                  <a:lnTo>
                    <a:pt x="1380185" y="486816"/>
                  </a:lnTo>
                  <a:lnTo>
                    <a:pt x="1380286" y="486816"/>
                  </a:lnTo>
                  <a:lnTo>
                    <a:pt x="1380286" y="487159"/>
                  </a:lnTo>
                  <a:lnTo>
                    <a:pt x="1380337" y="487159"/>
                  </a:lnTo>
                  <a:lnTo>
                    <a:pt x="1380337" y="487604"/>
                  </a:lnTo>
                  <a:lnTo>
                    <a:pt x="1380388" y="487604"/>
                  </a:lnTo>
                  <a:lnTo>
                    <a:pt x="1380388" y="488061"/>
                  </a:lnTo>
                  <a:lnTo>
                    <a:pt x="1380426" y="488061"/>
                  </a:lnTo>
                  <a:lnTo>
                    <a:pt x="1380528" y="488506"/>
                  </a:lnTo>
                  <a:lnTo>
                    <a:pt x="1380579" y="488899"/>
                  </a:lnTo>
                  <a:lnTo>
                    <a:pt x="1380629" y="488899"/>
                  </a:lnTo>
                  <a:lnTo>
                    <a:pt x="1380629" y="489344"/>
                  </a:lnTo>
                  <a:lnTo>
                    <a:pt x="1380731" y="489344"/>
                  </a:lnTo>
                  <a:lnTo>
                    <a:pt x="1380731" y="489788"/>
                  </a:lnTo>
                  <a:lnTo>
                    <a:pt x="1380782" y="489788"/>
                  </a:lnTo>
                  <a:lnTo>
                    <a:pt x="1380782" y="490233"/>
                  </a:lnTo>
                  <a:lnTo>
                    <a:pt x="1380832" y="490233"/>
                  </a:lnTo>
                  <a:lnTo>
                    <a:pt x="1380883" y="490588"/>
                  </a:lnTo>
                  <a:lnTo>
                    <a:pt x="1380972" y="490588"/>
                  </a:lnTo>
                  <a:lnTo>
                    <a:pt x="1380972" y="491033"/>
                  </a:lnTo>
                  <a:lnTo>
                    <a:pt x="1381023" y="491033"/>
                  </a:lnTo>
                  <a:lnTo>
                    <a:pt x="1381023" y="491477"/>
                  </a:lnTo>
                  <a:lnTo>
                    <a:pt x="1381125" y="491477"/>
                  </a:lnTo>
                  <a:lnTo>
                    <a:pt x="1381125" y="491871"/>
                  </a:lnTo>
                  <a:lnTo>
                    <a:pt x="1381226" y="491871"/>
                  </a:lnTo>
                  <a:lnTo>
                    <a:pt x="1381226" y="492316"/>
                  </a:lnTo>
                  <a:lnTo>
                    <a:pt x="1381328" y="492316"/>
                  </a:lnTo>
                  <a:lnTo>
                    <a:pt x="1381328" y="492773"/>
                  </a:lnTo>
                  <a:lnTo>
                    <a:pt x="1381429" y="492773"/>
                  </a:lnTo>
                  <a:lnTo>
                    <a:pt x="1381429" y="493217"/>
                  </a:lnTo>
                  <a:lnTo>
                    <a:pt x="1381467" y="493217"/>
                  </a:lnTo>
                  <a:lnTo>
                    <a:pt x="1381467" y="493560"/>
                  </a:lnTo>
                  <a:lnTo>
                    <a:pt x="1381518" y="493560"/>
                  </a:lnTo>
                  <a:lnTo>
                    <a:pt x="1381518" y="494005"/>
                  </a:lnTo>
                  <a:lnTo>
                    <a:pt x="1381569" y="494005"/>
                  </a:lnTo>
                  <a:lnTo>
                    <a:pt x="1381671" y="494449"/>
                  </a:lnTo>
                  <a:lnTo>
                    <a:pt x="1381722" y="494449"/>
                  </a:lnTo>
                  <a:lnTo>
                    <a:pt x="1381722" y="494906"/>
                  </a:lnTo>
                  <a:lnTo>
                    <a:pt x="1381772" y="494906"/>
                  </a:lnTo>
                  <a:lnTo>
                    <a:pt x="1381772" y="495300"/>
                  </a:lnTo>
                  <a:lnTo>
                    <a:pt x="1381874" y="495300"/>
                  </a:lnTo>
                  <a:lnTo>
                    <a:pt x="1381874" y="495744"/>
                  </a:lnTo>
                  <a:lnTo>
                    <a:pt x="1381925" y="495744"/>
                  </a:lnTo>
                  <a:lnTo>
                    <a:pt x="1381925" y="496189"/>
                  </a:lnTo>
                  <a:lnTo>
                    <a:pt x="1382014" y="496189"/>
                  </a:lnTo>
                  <a:lnTo>
                    <a:pt x="1382014" y="496583"/>
                  </a:lnTo>
                  <a:lnTo>
                    <a:pt x="1382115" y="496583"/>
                  </a:lnTo>
                  <a:lnTo>
                    <a:pt x="1382115" y="497040"/>
                  </a:lnTo>
                  <a:lnTo>
                    <a:pt x="1382166" y="497040"/>
                  </a:lnTo>
                  <a:lnTo>
                    <a:pt x="1382166" y="497484"/>
                  </a:lnTo>
                  <a:lnTo>
                    <a:pt x="1382318" y="497484"/>
                  </a:lnTo>
                  <a:lnTo>
                    <a:pt x="1382318" y="497929"/>
                  </a:lnTo>
                  <a:lnTo>
                    <a:pt x="1382369" y="497929"/>
                  </a:lnTo>
                  <a:lnTo>
                    <a:pt x="1382369" y="498272"/>
                  </a:lnTo>
                  <a:lnTo>
                    <a:pt x="1382471" y="498272"/>
                  </a:lnTo>
                  <a:lnTo>
                    <a:pt x="1382471" y="498716"/>
                  </a:lnTo>
                  <a:lnTo>
                    <a:pt x="1382560" y="498716"/>
                  </a:lnTo>
                  <a:lnTo>
                    <a:pt x="1382560" y="499173"/>
                  </a:lnTo>
                  <a:lnTo>
                    <a:pt x="1382611" y="499173"/>
                  </a:lnTo>
                  <a:lnTo>
                    <a:pt x="1382611" y="499618"/>
                  </a:lnTo>
                  <a:lnTo>
                    <a:pt x="1382661" y="499618"/>
                  </a:lnTo>
                  <a:lnTo>
                    <a:pt x="1382661" y="500012"/>
                  </a:lnTo>
                  <a:lnTo>
                    <a:pt x="1382712" y="500012"/>
                  </a:lnTo>
                  <a:lnTo>
                    <a:pt x="1382712" y="500456"/>
                  </a:lnTo>
                  <a:lnTo>
                    <a:pt x="1382814" y="500456"/>
                  </a:lnTo>
                  <a:lnTo>
                    <a:pt x="1382864" y="500901"/>
                  </a:lnTo>
                  <a:lnTo>
                    <a:pt x="1382915" y="500901"/>
                  </a:lnTo>
                  <a:lnTo>
                    <a:pt x="1382915" y="501256"/>
                  </a:lnTo>
                  <a:lnTo>
                    <a:pt x="1383017" y="501256"/>
                  </a:lnTo>
                  <a:lnTo>
                    <a:pt x="1383017" y="501701"/>
                  </a:lnTo>
                  <a:lnTo>
                    <a:pt x="1383055" y="501701"/>
                  </a:lnTo>
                  <a:lnTo>
                    <a:pt x="1383055" y="502145"/>
                  </a:lnTo>
                  <a:lnTo>
                    <a:pt x="1383106" y="502145"/>
                  </a:lnTo>
                  <a:lnTo>
                    <a:pt x="1383106" y="502590"/>
                  </a:lnTo>
                  <a:lnTo>
                    <a:pt x="1383157" y="502590"/>
                  </a:lnTo>
                  <a:lnTo>
                    <a:pt x="1383157" y="502983"/>
                  </a:lnTo>
                  <a:lnTo>
                    <a:pt x="1383309" y="502983"/>
                  </a:lnTo>
                  <a:lnTo>
                    <a:pt x="1383309" y="503428"/>
                  </a:lnTo>
                  <a:lnTo>
                    <a:pt x="1383360" y="503428"/>
                  </a:lnTo>
                  <a:lnTo>
                    <a:pt x="1383360" y="503885"/>
                  </a:lnTo>
                  <a:lnTo>
                    <a:pt x="1383512" y="503885"/>
                  </a:lnTo>
                  <a:lnTo>
                    <a:pt x="1383512" y="504279"/>
                  </a:lnTo>
                  <a:lnTo>
                    <a:pt x="1383563" y="504279"/>
                  </a:lnTo>
                  <a:lnTo>
                    <a:pt x="1383563" y="504673"/>
                  </a:lnTo>
                  <a:lnTo>
                    <a:pt x="1383601" y="504673"/>
                  </a:lnTo>
                  <a:lnTo>
                    <a:pt x="1383601" y="505117"/>
                  </a:lnTo>
                  <a:lnTo>
                    <a:pt x="1383703" y="505117"/>
                  </a:lnTo>
                  <a:lnTo>
                    <a:pt x="1383703" y="505562"/>
                  </a:lnTo>
                  <a:lnTo>
                    <a:pt x="1383754" y="505562"/>
                  </a:lnTo>
                  <a:lnTo>
                    <a:pt x="1383754" y="505968"/>
                  </a:lnTo>
                  <a:lnTo>
                    <a:pt x="1383906" y="505968"/>
                  </a:lnTo>
                  <a:lnTo>
                    <a:pt x="1383906" y="506413"/>
                  </a:lnTo>
                  <a:lnTo>
                    <a:pt x="1383957" y="506413"/>
                  </a:lnTo>
                  <a:lnTo>
                    <a:pt x="1383957" y="506857"/>
                  </a:lnTo>
                  <a:lnTo>
                    <a:pt x="1384007" y="506857"/>
                  </a:lnTo>
                  <a:lnTo>
                    <a:pt x="1384007" y="507301"/>
                  </a:lnTo>
                  <a:lnTo>
                    <a:pt x="1384198" y="507301"/>
                  </a:lnTo>
                  <a:lnTo>
                    <a:pt x="1384198" y="507695"/>
                  </a:lnTo>
                  <a:lnTo>
                    <a:pt x="1384300" y="507695"/>
                  </a:lnTo>
                  <a:lnTo>
                    <a:pt x="1384300" y="508152"/>
                  </a:lnTo>
                  <a:lnTo>
                    <a:pt x="1384401" y="508152"/>
                  </a:lnTo>
                  <a:lnTo>
                    <a:pt x="1384401" y="508597"/>
                  </a:lnTo>
                  <a:lnTo>
                    <a:pt x="1384503" y="508597"/>
                  </a:lnTo>
                  <a:lnTo>
                    <a:pt x="1384503" y="508940"/>
                  </a:lnTo>
                  <a:lnTo>
                    <a:pt x="1384604" y="508940"/>
                  </a:lnTo>
                  <a:lnTo>
                    <a:pt x="1384604" y="509384"/>
                  </a:lnTo>
                  <a:lnTo>
                    <a:pt x="1384693" y="509384"/>
                  </a:lnTo>
                  <a:lnTo>
                    <a:pt x="1384693" y="509829"/>
                  </a:lnTo>
                  <a:lnTo>
                    <a:pt x="1384846" y="509829"/>
                  </a:lnTo>
                  <a:lnTo>
                    <a:pt x="1384846" y="510286"/>
                  </a:lnTo>
                  <a:lnTo>
                    <a:pt x="1384897" y="510286"/>
                  </a:lnTo>
                  <a:lnTo>
                    <a:pt x="1384897" y="510680"/>
                  </a:lnTo>
                  <a:lnTo>
                    <a:pt x="1384947" y="510680"/>
                  </a:lnTo>
                  <a:lnTo>
                    <a:pt x="1384947" y="511124"/>
                  </a:lnTo>
                  <a:lnTo>
                    <a:pt x="1385100" y="511124"/>
                  </a:lnTo>
                  <a:lnTo>
                    <a:pt x="1385100" y="511569"/>
                  </a:lnTo>
                  <a:lnTo>
                    <a:pt x="1385151" y="511569"/>
                  </a:lnTo>
                  <a:lnTo>
                    <a:pt x="1385151" y="512013"/>
                  </a:lnTo>
                  <a:lnTo>
                    <a:pt x="1385290" y="512013"/>
                  </a:lnTo>
                  <a:lnTo>
                    <a:pt x="1385290" y="512369"/>
                  </a:lnTo>
                  <a:lnTo>
                    <a:pt x="1385341" y="512369"/>
                  </a:lnTo>
                  <a:lnTo>
                    <a:pt x="1385341" y="512813"/>
                  </a:lnTo>
                  <a:lnTo>
                    <a:pt x="1385493" y="512813"/>
                  </a:lnTo>
                  <a:lnTo>
                    <a:pt x="1385493" y="513258"/>
                  </a:lnTo>
                  <a:lnTo>
                    <a:pt x="1385544" y="513258"/>
                  </a:lnTo>
                  <a:lnTo>
                    <a:pt x="1385544" y="513651"/>
                  </a:lnTo>
                  <a:lnTo>
                    <a:pt x="1385646" y="513651"/>
                  </a:lnTo>
                  <a:lnTo>
                    <a:pt x="1385646" y="514096"/>
                  </a:lnTo>
                  <a:lnTo>
                    <a:pt x="1385735" y="514096"/>
                  </a:lnTo>
                  <a:lnTo>
                    <a:pt x="1385735" y="514540"/>
                  </a:lnTo>
                  <a:lnTo>
                    <a:pt x="1385786" y="514540"/>
                  </a:lnTo>
                  <a:lnTo>
                    <a:pt x="1385786" y="514998"/>
                  </a:lnTo>
                  <a:lnTo>
                    <a:pt x="1385836" y="514998"/>
                  </a:lnTo>
                  <a:lnTo>
                    <a:pt x="1385836" y="515391"/>
                  </a:lnTo>
                  <a:lnTo>
                    <a:pt x="1385887" y="515391"/>
                  </a:lnTo>
                  <a:lnTo>
                    <a:pt x="1385887" y="515785"/>
                  </a:lnTo>
                  <a:lnTo>
                    <a:pt x="1386039" y="515785"/>
                  </a:lnTo>
                  <a:lnTo>
                    <a:pt x="1386039" y="516230"/>
                  </a:lnTo>
                  <a:lnTo>
                    <a:pt x="1386192" y="516230"/>
                  </a:lnTo>
                  <a:lnTo>
                    <a:pt x="1386192" y="516636"/>
                  </a:lnTo>
                  <a:lnTo>
                    <a:pt x="1386230" y="516636"/>
                  </a:lnTo>
                  <a:lnTo>
                    <a:pt x="1386230" y="517081"/>
                  </a:lnTo>
                  <a:lnTo>
                    <a:pt x="1386332" y="517081"/>
                  </a:lnTo>
                  <a:lnTo>
                    <a:pt x="1386332" y="517525"/>
                  </a:lnTo>
                  <a:lnTo>
                    <a:pt x="1386433" y="517525"/>
                  </a:lnTo>
                  <a:lnTo>
                    <a:pt x="1386433" y="517969"/>
                  </a:lnTo>
                  <a:lnTo>
                    <a:pt x="1386484" y="517969"/>
                  </a:lnTo>
                  <a:lnTo>
                    <a:pt x="1386484" y="518363"/>
                  </a:lnTo>
                  <a:lnTo>
                    <a:pt x="1386535" y="518363"/>
                  </a:lnTo>
                  <a:lnTo>
                    <a:pt x="1386535" y="518808"/>
                  </a:lnTo>
                  <a:lnTo>
                    <a:pt x="1386687" y="518808"/>
                  </a:lnTo>
                  <a:lnTo>
                    <a:pt x="1386687" y="519265"/>
                  </a:lnTo>
                  <a:lnTo>
                    <a:pt x="1386776" y="519265"/>
                  </a:lnTo>
                  <a:lnTo>
                    <a:pt x="1386776" y="519709"/>
                  </a:lnTo>
                  <a:lnTo>
                    <a:pt x="1386878" y="519709"/>
                  </a:lnTo>
                  <a:lnTo>
                    <a:pt x="1386878" y="520052"/>
                  </a:lnTo>
                  <a:lnTo>
                    <a:pt x="1386929" y="520052"/>
                  </a:lnTo>
                  <a:lnTo>
                    <a:pt x="1386929" y="520497"/>
                  </a:lnTo>
                  <a:lnTo>
                    <a:pt x="1386979" y="520497"/>
                  </a:lnTo>
                  <a:lnTo>
                    <a:pt x="1386979" y="520941"/>
                  </a:lnTo>
                  <a:lnTo>
                    <a:pt x="1387081" y="520941"/>
                  </a:lnTo>
                  <a:lnTo>
                    <a:pt x="1387081" y="521348"/>
                  </a:lnTo>
                  <a:lnTo>
                    <a:pt x="1387132" y="521348"/>
                  </a:lnTo>
                  <a:lnTo>
                    <a:pt x="1387132" y="521792"/>
                  </a:lnTo>
                  <a:lnTo>
                    <a:pt x="1387233" y="521792"/>
                  </a:lnTo>
                  <a:lnTo>
                    <a:pt x="1387233" y="522237"/>
                  </a:lnTo>
                  <a:lnTo>
                    <a:pt x="1387322" y="522237"/>
                  </a:lnTo>
                  <a:lnTo>
                    <a:pt x="1387322" y="522681"/>
                  </a:lnTo>
                  <a:lnTo>
                    <a:pt x="1387373" y="522681"/>
                  </a:lnTo>
                  <a:lnTo>
                    <a:pt x="1387424" y="523024"/>
                  </a:lnTo>
                  <a:lnTo>
                    <a:pt x="1387475" y="523024"/>
                  </a:lnTo>
                  <a:lnTo>
                    <a:pt x="1387475" y="523481"/>
                  </a:lnTo>
                  <a:lnTo>
                    <a:pt x="1387576" y="523481"/>
                  </a:lnTo>
                  <a:lnTo>
                    <a:pt x="1387576" y="523926"/>
                  </a:lnTo>
                  <a:lnTo>
                    <a:pt x="1387627" y="523926"/>
                  </a:lnTo>
                  <a:lnTo>
                    <a:pt x="1387627" y="524370"/>
                  </a:lnTo>
                  <a:lnTo>
                    <a:pt x="1387779" y="524370"/>
                  </a:lnTo>
                  <a:lnTo>
                    <a:pt x="1387779" y="524764"/>
                  </a:lnTo>
                  <a:lnTo>
                    <a:pt x="1387868" y="524764"/>
                  </a:lnTo>
                  <a:lnTo>
                    <a:pt x="1387868" y="525208"/>
                  </a:lnTo>
                  <a:lnTo>
                    <a:pt x="1388021" y="525208"/>
                  </a:lnTo>
                  <a:lnTo>
                    <a:pt x="1388021" y="525653"/>
                  </a:lnTo>
                  <a:lnTo>
                    <a:pt x="1388072" y="525653"/>
                  </a:lnTo>
                  <a:lnTo>
                    <a:pt x="1388072" y="526059"/>
                  </a:lnTo>
                  <a:lnTo>
                    <a:pt x="1388224" y="526059"/>
                  </a:lnTo>
                  <a:lnTo>
                    <a:pt x="1388224" y="526504"/>
                  </a:lnTo>
                  <a:lnTo>
                    <a:pt x="1388275" y="526504"/>
                  </a:lnTo>
                  <a:lnTo>
                    <a:pt x="1388275" y="526898"/>
                  </a:lnTo>
                  <a:lnTo>
                    <a:pt x="1388364" y="526898"/>
                  </a:lnTo>
                  <a:lnTo>
                    <a:pt x="1388364" y="527342"/>
                  </a:lnTo>
                  <a:lnTo>
                    <a:pt x="1388465" y="527342"/>
                  </a:lnTo>
                  <a:lnTo>
                    <a:pt x="1388465" y="527749"/>
                  </a:lnTo>
                  <a:lnTo>
                    <a:pt x="1388516" y="527749"/>
                  </a:lnTo>
                  <a:lnTo>
                    <a:pt x="1388516" y="528193"/>
                  </a:lnTo>
                  <a:lnTo>
                    <a:pt x="1388567" y="528193"/>
                  </a:lnTo>
                  <a:lnTo>
                    <a:pt x="1388567" y="528638"/>
                  </a:lnTo>
                  <a:lnTo>
                    <a:pt x="1388719" y="528638"/>
                  </a:lnTo>
                  <a:lnTo>
                    <a:pt x="1388719" y="529082"/>
                  </a:lnTo>
                  <a:lnTo>
                    <a:pt x="1388821" y="529082"/>
                  </a:lnTo>
                  <a:lnTo>
                    <a:pt x="1388821" y="529476"/>
                  </a:lnTo>
                  <a:lnTo>
                    <a:pt x="1388910" y="529476"/>
                  </a:lnTo>
                  <a:lnTo>
                    <a:pt x="1388910" y="529920"/>
                  </a:lnTo>
                  <a:lnTo>
                    <a:pt x="1389011" y="529920"/>
                  </a:lnTo>
                  <a:lnTo>
                    <a:pt x="1389011" y="530377"/>
                  </a:lnTo>
                  <a:lnTo>
                    <a:pt x="1389062" y="530377"/>
                  </a:lnTo>
                  <a:lnTo>
                    <a:pt x="1389062" y="530720"/>
                  </a:lnTo>
                  <a:lnTo>
                    <a:pt x="1389164" y="530720"/>
                  </a:lnTo>
                  <a:lnTo>
                    <a:pt x="1389164" y="531165"/>
                  </a:lnTo>
                  <a:lnTo>
                    <a:pt x="1389214" y="531165"/>
                  </a:lnTo>
                  <a:lnTo>
                    <a:pt x="1389214" y="531609"/>
                  </a:lnTo>
                  <a:lnTo>
                    <a:pt x="1389265" y="531609"/>
                  </a:lnTo>
                  <a:lnTo>
                    <a:pt x="1389265" y="532054"/>
                  </a:lnTo>
                  <a:lnTo>
                    <a:pt x="1389367" y="532054"/>
                  </a:lnTo>
                  <a:lnTo>
                    <a:pt x="1389367" y="532460"/>
                  </a:lnTo>
                  <a:lnTo>
                    <a:pt x="1389456" y="532460"/>
                  </a:lnTo>
                  <a:lnTo>
                    <a:pt x="1389456" y="532905"/>
                  </a:lnTo>
                  <a:lnTo>
                    <a:pt x="1389659" y="532905"/>
                  </a:lnTo>
                  <a:lnTo>
                    <a:pt x="1389659" y="533349"/>
                  </a:lnTo>
                  <a:lnTo>
                    <a:pt x="1389811" y="533349"/>
                  </a:lnTo>
                  <a:lnTo>
                    <a:pt x="1389811" y="533692"/>
                  </a:lnTo>
                  <a:lnTo>
                    <a:pt x="1389913" y="533692"/>
                  </a:lnTo>
                  <a:lnTo>
                    <a:pt x="1389913" y="534137"/>
                  </a:lnTo>
                  <a:lnTo>
                    <a:pt x="1389951" y="534137"/>
                  </a:lnTo>
                  <a:lnTo>
                    <a:pt x="1390053" y="534594"/>
                  </a:lnTo>
                  <a:lnTo>
                    <a:pt x="1390104" y="534594"/>
                  </a:lnTo>
                  <a:lnTo>
                    <a:pt x="1390104" y="535038"/>
                  </a:lnTo>
                  <a:lnTo>
                    <a:pt x="1390154" y="535038"/>
                  </a:lnTo>
                  <a:lnTo>
                    <a:pt x="1390154" y="535432"/>
                  </a:lnTo>
                  <a:lnTo>
                    <a:pt x="1390256" y="535432"/>
                  </a:lnTo>
                  <a:lnTo>
                    <a:pt x="1390307" y="535876"/>
                  </a:lnTo>
                  <a:lnTo>
                    <a:pt x="1390548" y="535876"/>
                  </a:lnTo>
                  <a:lnTo>
                    <a:pt x="1390548" y="536321"/>
                  </a:lnTo>
                  <a:lnTo>
                    <a:pt x="1390650" y="536321"/>
                  </a:lnTo>
                  <a:lnTo>
                    <a:pt x="1390650" y="536765"/>
                  </a:lnTo>
                  <a:lnTo>
                    <a:pt x="1390751" y="536765"/>
                  </a:lnTo>
                  <a:lnTo>
                    <a:pt x="1390751" y="537172"/>
                  </a:lnTo>
                  <a:lnTo>
                    <a:pt x="1390802" y="537172"/>
                  </a:lnTo>
                  <a:lnTo>
                    <a:pt x="1390853" y="537616"/>
                  </a:lnTo>
                  <a:lnTo>
                    <a:pt x="1390954" y="537616"/>
                  </a:lnTo>
                  <a:lnTo>
                    <a:pt x="1390954" y="538010"/>
                  </a:lnTo>
                  <a:lnTo>
                    <a:pt x="1390992" y="538010"/>
                  </a:lnTo>
                  <a:lnTo>
                    <a:pt x="1390992" y="538404"/>
                  </a:lnTo>
                  <a:lnTo>
                    <a:pt x="1391043" y="538404"/>
                  </a:lnTo>
                  <a:lnTo>
                    <a:pt x="1391043" y="538861"/>
                  </a:lnTo>
                  <a:lnTo>
                    <a:pt x="1391094" y="538861"/>
                  </a:lnTo>
                  <a:lnTo>
                    <a:pt x="1391094" y="539306"/>
                  </a:lnTo>
                  <a:lnTo>
                    <a:pt x="1391247" y="539306"/>
                  </a:lnTo>
                  <a:lnTo>
                    <a:pt x="1391247" y="539750"/>
                  </a:lnTo>
                  <a:lnTo>
                    <a:pt x="1391399" y="539750"/>
                  </a:lnTo>
                  <a:lnTo>
                    <a:pt x="1391399" y="540144"/>
                  </a:lnTo>
                  <a:lnTo>
                    <a:pt x="1391501" y="540144"/>
                  </a:lnTo>
                  <a:lnTo>
                    <a:pt x="1391501" y="540588"/>
                  </a:lnTo>
                  <a:lnTo>
                    <a:pt x="1391539" y="540588"/>
                  </a:lnTo>
                  <a:lnTo>
                    <a:pt x="1391539" y="541033"/>
                  </a:lnTo>
                  <a:lnTo>
                    <a:pt x="1391640" y="541033"/>
                  </a:lnTo>
                  <a:lnTo>
                    <a:pt x="1391640" y="541490"/>
                  </a:lnTo>
                  <a:lnTo>
                    <a:pt x="1391742" y="541490"/>
                  </a:lnTo>
                  <a:lnTo>
                    <a:pt x="1391742" y="541833"/>
                  </a:lnTo>
                  <a:lnTo>
                    <a:pt x="1391843" y="541833"/>
                  </a:lnTo>
                  <a:lnTo>
                    <a:pt x="1391843" y="542277"/>
                  </a:lnTo>
                  <a:lnTo>
                    <a:pt x="1391894" y="542277"/>
                  </a:lnTo>
                  <a:lnTo>
                    <a:pt x="1391894" y="542722"/>
                  </a:lnTo>
                  <a:lnTo>
                    <a:pt x="1391996" y="542722"/>
                  </a:lnTo>
                  <a:lnTo>
                    <a:pt x="1391996" y="543115"/>
                  </a:lnTo>
                  <a:lnTo>
                    <a:pt x="1392085" y="543115"/>
                  </a:lnTo>
                  <a:lnTo>
                    <a:pt x="1392085" y="543573"/>
                  </a:lnTo>
                  <a:lnTo>
                    <a:pt x="1392136" y="543573"/>
                  </a:lnTo>
                  <a:lnTo>
                    <a:pt x="1392136" y="544017"/>
                  </a:lnTo>
                  <a:lnTo>
                    <a:pt x="1392237" y="544017"/>
                  </a:lnTo>
                  <a:lnTo>
                    <a:pt x="1392237" y="544462"/>
                  </a:lnTo>
                  <a:lnTo>
                    <a:pt x="1392389" y="544462"/>
                  </a:lnTo>
                  <a:lnTo>
                    <a:pt x="1392389" y="544805"/>
                  </a:lnTo>
                  <a:lnTo>
                    <a:pt x="1392542" y="544805"/>
                  </a:lnTo>
                  <a:lnTo>
                    <a:pt x="1392542" y="545249"/>
                  </a:lnTo>
                  <a:lnTo>
                    <a:pt x="1392580" y="545249"/>
                  </a:lnTo>
                  <a:lnTo>
                    <a:pt x="1392580" y="545706"/>
                  </a:lnTo>
                  <a:lnTo>
                    <a:pt x="1392631" y="545706"/>
                  </a:lnTo>
                  <a:lnTo>
                    <a:pt x="1392631" y="546151"/>
                  </a:lnTo>
                  <a:lnTo>
                    <a:pt x="1392682" y="546151"/>
                  </a:lnTo>
                  <a:lnTo>
                    <a:pt x="1392682" y="546544"/>
                  </a:lnTo>
                  <a:lnTo>
                    <a:pt x="1392834" y="546544"/>
                  </a:lnTo>
                  <a:lnTo>
                    <a:pt x="1392834" y="546989"/>
                  </a:lnTo>
                  <a:lnTo>
                    <a:pt x="1393037" y="546989"/>
                  </a:lnTo>
                  <a:lnTo>
                    <a:pt x="1393037" y="547433"/>
                  </a:lnTo>
                  <a:lnTo>
                    <a:pt x="1393126" y="547433"/>
                  </a:lnTo>
                  <a:lnTo>
                    <a:pt x="1393126" y="547840"/>
                  </a:lnTo>
                  <a:lnTo>
                    <a:pt x="1393228" y="547840"/>
                  </a:lnTo>
                  <a:lnTo>
                    <a:pt x="1393279" y="548284"/>
                  </a:lnTo>
                  <a:lnTo>
                    <a:pt x="1393329" y="548284"/>
                  </a:lnTo>
                  <a:lnTo>
                    <a:pt x="1393329" y="548729"/>
                  </a:lnTo>
                  <a:lnTo>
                    <a:pt x="1393431" y="548729"/>
                  </a:lnTo>
                  <a:lnTo>
                    <a:pt x="1393431" y="549123"/>
                  </a:lnTo>
                  <a:lnTo>
                    <a:pt x="1393482" y="549123"/>
                  </a:lnTo>
                  <a:lnTo>
                    <a:pt x="1393482" y="549516"/>
                  </a:lnTo>
                  <a:lnTo>
                    <a:pt x="1393583" y="549516"/>
                  </a:lnTo>
                  <a:lnTo>
                    <a:pt x="1393583" y="549974"/>
                  </a:lnTo>
                  <a:lnTo>
                    <a:pt x="1393723" y="549974"/>
                  </a:lnTo>
                  <a:lnTo>
                    <a:pt x="1393723" y="550418"/>
                  </a:lnTo>
                  <a:lnTo>
                    <a:pt x="1393825" y="550418"/>
                  </a:lnTo>
                  <a:lnTo>
                    <a:pt x="1393825" y="550812"/>
                  </a:lnTo>
                  <a:lnTo>
                    <a:pt x="1393926" y="550812"/>
                  </a:lnTo>
                  <a:lnTo>
                    <a:pt x="1393926" y="551256"/>
                  </a:lnTo>
                  <a:lnTo>
                    <a:pt x="1394129" y="551256"/>
                  </a:lnTo>
                  <a:lnTo>
                    <a:pt x="1394129" y="551701"/>
                  </a:lnTo>
                  <a:lnTo>
                    <a:pt x="1394218" y="551701"/>
                  </a:lnTo>
                  <a:lnTo>
                    <a:pt x="1394218" y="552145"/>
                  </a:lnTo>
                  <a:lnTo>
                    <a:pt x="1394269" y="552145"/>
                  </a:lnTo>
                  <a:lnTo>
                    <a:pt x="1394269" y="552501"/>
                  </a:lnTo>
                  <a:lnTo>
                    <a:pt x="1394371" y="552501"/>
                  </a:lnTo>
                  <a:lnTo>
                    <a:pt x="1394371" y="552945"/>
                  </a:lnTo>
                  <a:lnTo>
                    <a:pt x="1394422" y="552945"/>
                  </a:lnTo>
                  <a:lnTo>
                    <a:pt x="1394472" y="553390"/>
                  </a:lnTo>
                  <a:lnTo>
                    <a:pt x="1394574" y="553390"/>
                  </a:lnTo>
                  <a:lnTo>
                    <a:pt x="1394574" y="553834"/>
                  </a:lnTo>
                  <a:lnTo>
                    <a:pt x="1394676" y="553834"/>
                  </a:lnTo>
                  <a:lnTo>
                    <a:pt x="1394676" y="554228"/>
                  </a:lnTo>
                  <a:lnTo>
                    <a:pt x="1394714" y="554228"/>
                  </a:lnTo>
                  <a:lnTo>
                    <a:pt x="1394714" y="554685"/>
                  </a:lnTo>
                  <a:lnTo>
                    <a:pt x="1394815" y="554685"/>
                  </a:lnTo>
                  <a:lnTo>
                    <a:pt x="1394866" y="555130"/>
                  </a:lnTo>
                  <a:lnTo>
                    <a:pt x="1394917" y="555130"/>
                  </a:lnTo>
                  <a:lnTo>
                    <a:pt x="1394917" y="555473"/>
                  </a:lnTo>
                  <a:lnTo>
                    <a:pt x="1395018" y="555473"/>
                  </a:lnTo>
                  <a:lnTo>
                    <a:pt x="1395018" y="555917"/>
                  </a:lnTo>
                  <a:lnTo>
                    <a:pt x="1395120" y="555917"/>
                  </a:lnTo>
                  <a:lnTo>
                    <a:pt x="1395120" y="556362"/>
                  </a:lnTo>
                  <a:lnTo>
                    <a:pt x="1395260" y="556362"/>
                  </a:lnTo>
                  <a:lnTo>
                    <a:pt x="1395260" y="556819"/>
                  </a:lnTo>
                  <a:lnTo>
                    <a:pt x="1395361" y="556819"/>
                  </a:lnTo>
                  <a:lnTo>
                    <a:pt x="1395361" y="557213"/>
                  </a:lnTo>
                  <a:lnTo>
                    <a:pt x="1395514" y="557213"/>
                  </a:lnTo>
                  <a:lnTo>
                    <a:pt x="1395514" y="557657"/>
                  </a:lnTo>
                  <a:lnTo>
                    <a:pt x="1395564" y="557657"/>
                  </a:lnTo>
                  <a:lnTo>
                    <a:pt x="1395564" y="558101"/>
                  </a:lnTo>
                  <a:lnTo>
                    <a:pt x="1395615" y="558101"/>
                  </a:lnTo>
                  <a:lnTo>
                    <a:pt x="1395717" y="558546"/>
                  </a:lnTo>
                  <a:lnTo>
                    <a:pt x="1395755" y="558546"/>
                  </a:lnTo>
                  <a:lnTo>
                    <a:pt x="1395755" y="558952"/>
                  </a:lnTo>
                  <a:lnTo>
                    <a:pt x="1395806" y="558952"/>
                  </a:lnTo>
                  <a:lnTo>
                    <a:pt x="1395806" y="559397"/>
                  </a:lnTo>
                  <a:lnTo>
                    <a:pt x="1395857" y="559397"/>
                  </a:lnTo>
                  <a:lnTo>
                    <a:pt x="1395857" y="559841"/>
                  </a:lnTo>
                  <a:lnTo>
                    <a:pt x="1395958" y="559841"/>
                  </a:lnTo>
                  <a:lnTo>
                    <a:pt x="1395958" y="560184"/>
                  </a:lnTo>
                  <a:lnTo>
                    <a:pt x="1396009" y="560184"/>
                  </a:lnTo>
                  <a:lnTo>
                    <a:pt x="1396009" y="560629"/>
                  </a:lnTo>
                  <a:lnTo>
                    <a:pt x="1396060" y="560629"/>
                  </a:lnTo>
                  <a:lnTo>
                    <a:pt x="1396161" y="561086"/>
                  </a:lnTo>
                  <a:lnTo>
                    <a:pt x="1396212" y="561086"/>
                  </a:lnTo>
                  <a:lnTo>
                    <a:pt x="1396212" y="561531"/>
                  </a:lnTo>
                  <a:lnTo>
                    <a:pt x="1396263" y="561531"/>
                  </a:lnTo>
                  <a:lnTo>
                    <a:pt x="1396263" y="561086"/>
                  </a:lnTo>
                  <a:lnTo>
                    <a:pt x="1396454" y="561086"/>
                  </a:lnTo>
                  <a:lnTo>
                    <a:pt x="1396504" y="560629"/>
                  </a:lnTo>
                  <a:lnTo>
                    <a:pt x="1396504" y="561086"/>
                  </a:lnTo>
                  <a:lnTo>
                    <a:pt x="1396707" y="561086"/>
                  </a:lnTo>
                  <a:lnTo>
                    <a:pt x="1396707" y="561531"/>
                  </a:lnTo>
                  <a:lnTo>
                    <a:pt x="1396758" y="561531"/>
                  </a:lnTo>
                  <a:lnTo>
                    <a:pt x="1396847" y="561924"/>
                  </a:lnTo>
                  <a:lnTo>
                    <a:pt x="1396898" y="561924"/>
                  </a:lnTo>
                  <a:lnTo>
                    <a:pt x="1396898" y="562369"/>
                  </a:lnTo>
                  <a:lnTo>
                    <a:pt x="1397000" y="562369"/>
                  </a:lnTo>
                  <a:lnTo>
                    <a:pt x="1397000" y="562813"/>
                  </a:lnTo>
                  <a:lnTo>
                    <a:pt x="1397101" y="562813"/>
                  </a:lnTo>
                  <a:lnTo>
                    <a:pt x="1397101" y="563258"/>
                  </a:lnTo>
                  <a:lnTo>
                    <a:pt x="1397203" y="563258"/>
                  </a:lnTo>
                  <a:lnTo>
                    <a:pt x="1397203" y="563613"/>
                  </a:lnTo>
                  <a:lnTo>
                    <a:pt x="1397342" y="563613"/>
                  </a:lnTo>
                  <a:lnTo>
                    <a:pt x="1397342" y="564058"/>
                  </a:lnTo>
                  <a:lnTo>
                    <a:pt x="1397393" y="564058"/>
                  </a:lnTo>
                  <a:lnTo>
                    <a:pt x="1397393" y="564502"/>
                  </a:lnTo>
                  <a:lnTo>
                    <a:pt x="1397444" y="564502"/>
                  </a:lnTo>
                  <a:lnTo>
                    <a:pt x="1397444" y="564896"/>
                  </a:lnTo>
                  <a:lnTo>
                    <a:pt x="1397546" y="564896"/>
                  </a:lnTo>
                  <a:lnTo>
                    <a:pt x="1397546" y="565340"/>
                  </a:lnTo>
                  <a:lnTo>
                    <a:pt x="1397597" y="565340"/>
                  </a:lnTo>
                  <a:lnTo>
                    <a:pt x="1397597" y="565798"/>
                  </a:lnTo>
                  <a:lnTo>
                    <a:pt x="1397749" y="565798"/>
                  </a:lnTo>
                  <a:lnTo>
                    <a:pt x="1397749" y="566242"/>
                  </a:lnTo>
                  <a:lnTo>
                    <a:pt x="1397851" y="566242"/>
                  </a:lnTo>
                  <a:lnTo>
                    <a:pt x="1397851" y="566585"/>
                  </a:lnTo>
                  <a:lnTo>
                    <a:pt x="1397990" y="566585"/>
                  </a:lnTo>
                  <a:lnTo>
                    <a:pt x="1397990" y="567030"/>
                  </a:lnTo>
                  <a:lnTo>
                    <a:pt x="1398092" y="567030"/>
                  </a:lnTo>
                  <a:lnTo>
                    <a:pt x="1398092" y="567474"/>
                  </a:lnTo>
                  <a:lnTo>
                    <a:pt x="1398244" y="567474"/>
                  </a:lnTo>
                  <a:lnTo>
                    <a:pt x="1398244" y="567881"/>
                  </a:lnTo>
                  <a:lnTo>
                    <a:pt x="1398346" y="567881"/>
                  </a:lnTo>
                  <a:lnTo>
                    <a:pt x="1398346" y="568325"/>
                  </a:lnTo>
                  <a:lnTo>
                    <a:pt x="1398435" y="568325"/>
                  </a:lnTo>
                  <a:lnTo>
                    <a:pt x="1398435" y="568769"/>
                  </a:lnTo>
                  <a:lnTo>
                    <a:pt x="1398486" y="568769"/>
                  </a:lnTo>
                  <a:lnTo>
                    <a:pt x="1398486" y="569214"/>
                  </a:lnTo>
                  <a:lnTo>
                    <a:pt x="1398587" y="569214"/>
                  </a:lnTo>
                  <a:lnTo>
                    <a:pt x="1398587" y="569608"/>
                  </a:lnTo>
                  <a:lnTo>
                    <a:pt x="1398689" y="569608"/>
                  </a:lnTo>
                  <a:lnTo>
                    <a:pt x="1398689" y="570065"/>
                  </a:lnTo>
                  <a:lnTo>
                    <a:pt x="1398739" y="570065"/>
                  </a:lnTo>
                  <a:lnTo>
                    <a:pt x="1398739" y="570509"/>
                  </a:lnTo>
                  <a:lnTo>
                    <a:pt x="1398790" y="570509"/>
                  </a:lnTo>
                  <a:lnTo>
                    <a:pt x="1398790" y="570954"/>
                  </a:lnTo>
                  <a:lnTo>
                    <a:pt x="1398930" y="570954"/>
                  </a:lnTo>
                  <a:lnTo>
                    <a:pt x="1398930" y="571297"/>
                  </a:lnTo>
                  <a:lnTo>
                    <a:pt x="1399032" y="571297"/>
                  </a:lnTo>
                  <a:lnTo>
                    <a:pt x="1399032" y="571741"/>
                  </a:lnTo>
                  <a:lnTo>
                    <a:pt x="1399184" y="571741"/>
                  </a:lnTo>
                  <a:lnTo>
                    <a:pt x="1399184" y="572199"/>
                  </a:lnTo>
                  <a:lnTo>
                    <a:pt x="1399235" y="572199"/>
                  </a:lnTo>
                  <a:lnTo>
                    <a:pt x="1399235" y="572592"/>
                  </a:lnTo>
                  <a:lnTo>
                    <a:pt x="1399387" y="572592"/>
                  </a:lnTo>
                  <a:lnTo>
                    <a:pt x="1399387" y="573037"/>
                  </a:lnTo>
                  <a:lnTo>
                    <a:pt x="1399438" y="573037"/>
                  </a:lnTo>
                  <a:lnTo>
                    <a:pt x="1399438" y="573481"/>
                  </a:lnTo>
                  <a:lnTo>
                    <a:pt x="1399578" y="573481"/>
                  </a:lnTo>
                  <a:lnTo>
                    <a:pt x="1399578" y="573926"/>
                  </a:lnTo>
                  <a:lnTo>
                    <a:pt x="1399679" y="573926"/>
                  </a:lnTo>
                  <a:lnTo>
                    <a:pt x="1399679" y="574281"/>
                  </a:lnTo>
                  <a:lnTo>
                    <a:pt x="1399781" y="574281"/>
                  </a:lnTo>
                  <a:lnTo>
                    <a:pt x="1399781" y="574726"/>
                  </a:lnTo>
                  <a:lnTo>
                    <a:pt x="1399882" y="574726"/>
                  </a:lnTo>
                  <a:lnTo>
                    <a:pt x="1399882" y="575170"/>
                  </a:lnTo>
                  <a:lnTo>
                    <a:pt x="1399933" y="575170"/>
                  </a:lnTo>
                  <a:lnTo>
                    <a:pt x="1399933" y="575615"/>
                  </a:lnTo>
                  <a:lnTo>
                    <a:pt x="1400073" y="575615"/>
                  </a:lnTo>
                  <a:lnTo>
                    <a:pt x="1400073" y="576008"/>
                  </a:lnTo>
                  <a:lnTo>
                    <a:pt x="1400124" y="576008"/>
                  </a:lnTo>
                  <a:lnTo>
                    <a:pt x="1400175" y="576453"/>
                  </a:lnTo>
                  <a:lnTo>
                    <a:pt x="1400276" y="576453"/>
                  </a:lnTo>
                  <a:lnTo>
                    <a:pt x="1400276" y="576910"/>
                  </a:lnTo>
                  <a:lnTo>
                    <a:pt x="1400378" y="576910"/>
                  </a:lnTo>
                  <a:lnTo>
                    <a:pt x="1400378" y="577304"/>
                  </a:lnTo>
                  <a:lnTo>
                    <a:pt x="1400479" y="577304"/>
                  </a:lnTo>
                  <a:lnTo>
                    <a:pt x="1400479" y="577698"/>
                  </a:lnTo>
                  <a:lnTo>
                    <a:pt x="1400517" y="577698"/>
                  </a:lnTo>
                  <a:lnTo>
                    <a:pt x="1400517" y="578142"/>
                  </a:lnTo>
                  <a:lnTo>
                    <a:pt x="1400619" y="578142"/>
                  </a:lnTo>
                  <a:lnTo>
                    <a:pt x="1400619" y="578587"/>
                  </a:lnTo>
                  <a:lnTo>
                    <a:pt x="1400721" y="578587"/>
                  </a:lnTo>
                  <a:lnTo>
                    <a:pt x="1400721" y="578993"/>
                  </a:lnTo>
                  <a:lnTo>
                    <a:pt x="1400975" y="578993"/>
                  </a:lnTo>
                  <a:lnTo>
                    <a:pt x="1400975" y="579438"/>
                  </a:lnTo>
                  <a:lnTo>
                    <a:pt x="1401026" y="579438"/>
                  </a:lnTo>
                  <a:lnTo>
                    <a:pt x="1401026" y="579882"/>
                  </a:lnTo>
                  <a:lnTo>
                    <a:pt x="1401165" y="579882"/>
                  </a:lnTo>
                  <a:lnTo>
                    <a:pt x="1401165" y="580276"/>
                  </a:lnTo>
                  <a:lnTo>
                    <a:pt x="1401216" y="580276"/>
                  </a:lnTo>
                  <a:lnTo>
                    <a:pt x="1401216" y="580720"/>
                  </a:lnTo>
                  <a:lnTo>
                    <a:pt x="1401368" y="580720"/>
                  </a:lnTo>
                  <a:lnTo>
                    <a:pt x="1401368" y="581177"/>
                  </a:lnTo>
                  <a:lnTo>
                    <a:pt x="1401419" y="581177"/>
                  </a:lnTo>
                  <a:lnTo>
                    <a:pt x="1401419" y="581622"/>
                  </a:lnTo>
                  <a:lnTo>
                    <a:pt x="1401470" y="581622"/>
                  </a:lnTo>
                  <a:lnTo>
                    <a:pt x="1401521" y="581965"/>
                  </a:lnTo>
                  <a:lnTo>
                    <a:pt x="1401711" y="581965"/>
                  </a:lnTo>
                  <a:lnTo>
                    <a:pt x="1401711" y="582409"/>
                  </a:lnTo>
                  <a:lnTo>
                    <a:pt x="1401762" y="582409"/>
                  </a:lnTo>
                  <a:lnTo>
                    <a:pt x="1401762" y="582854"/>
                  </a:lnTo>
                  <a:lnTo>
                    <a:pt x="1401914" y="582854"/>
                  </a:lnTo>
                  <a:lnTo>
                    <a:pt x="1401914" y="583311"/>
                  </a:lnTo>
                  <a:lnTo>
                    <a:pt x="1401965" y="583311"/>
                  </a:lnTo>
                  <a:lnTo>
                    <a:pt x="1401965" y="583705"/>
                  </a:lnTo>
                  <a:lnTo>
                    <a:pt x="1402067" y="583705"/>
                  </a:lnTo>
                  <a:lnTo>
                    <a:pt x="1402067" y="584149"/>
                  </a:lnTo>
                  <a:lnTo>
                    <a:pt x="1402156" y="584149"/>
                  </a:lnTo>
                  <a:lnTo>
                    <a:pt x="1402156" y="584594"/>
                  </a:lnTo>
                  <a:lnTo>
                    <a:pt x="1402308" y="584594"/>
                  </a:lnTo>
                  <a:lnTo>
                    <a:pt x="1402308" y="584937"/>
                  </a:lnTo>
                  <a:lnTo>
                    <a:pt x="1402410" y="584937"/>
                  </a:lnTo>
                  <a:lnTo>
                    <a:pt x="1402410" y="585394"/>
                  </a:lnTo>
                  <a:lnTo>
                    <a:pt x="1402562" y="585394"/>
                  </a:lnTo>
                  <a:lnTo>
                    <a:pt x="1402562" y="585838"/>
                  </a:lnTo>
                  <a:lnTo>
                    <a:pt x="1402651" y="585838"/>
                  </a:lnTo>
                  <a:lnTo>
                    <a:pt x="1402651" y="586283"/>
                  </a:lnTo>
                  <a:lnTo>
                    <a:pt x="1402804" y="586283"/>
                  </a:lnTo>
                  <a:lnTo>
                    <a:pt x="1402804" y="586676"/>
                  </a:lnTo>
                  <a:lnTo>
                    <a:pt x="1402854" y="586676"/>
                  </a:lnTo>
                  <a:lnTo>
                    <a:pt x="1402854" y="587121"/>
                  </a:lnTo>
                  <a:lnTo>
                    <a:pt x="1403007" y="587121"/>
                  </a:lnTo>
                  <a:lnTo>
                    <a:pt x="1403007" y="587565"/>
                  </a:lnTo>
                  <a:lnTo>
                    <a:pt x="1403057" y="587565"/>
                  </a:lnTo>
                  <a:lnTo>
                    <a:pt x="1403057" y="588023"/>
                  </a:lnTo>
                  <a:lnTo>
                    <a:pt x="1403197" y="588023"/>
                  </a:lnTo>
                  <a:lnTo>
                    <a:pt x="1403197" y="588416"/>
                  </a:lnTo>
                  <a:lnTo>
                    <a:pt x="1403502" y="588416"/>
                  </a:lnTo>
                  <a:lnTo>
                    <a:pt x="1403502" y="588810"/>
                  </a:lnTo>
                  <a:lnTo>
                    <a:pt x="1403654" y="588810"/>
                  </a:lnTo>
                  <a:lnTo>
                    <a:pt x="1403692" y="589255"/>
                  </a:lnTo>
                  <a:lnTo>
                    <a:pt x="1403743" y="589255"/>
                  </a:lnTo>
                  <a:lnTo>
                    <a:pt x="1403743" y="589661"/>
                  </a:lnTo>
                  <a:lnTo>
                    <a:pt x="1403896" y="589661"/>
                  </a:lnTo>
                  <a:lnTo>
                    <a:pt x="1403896" y="590106"/>
                  </a:lnTo>
                  <a:lnTo>
                    <a:pt x="1403997" y="590106"/>
                  </a:lnTo>
                  <a:lnTo>
                    <a:pt x="1403997" y="590550"/>
                  </a:lnTo>
                  <a:lnTo>
                    <a:pt x="1404099" y="590550"/>
                  </a:lnTo>
                  <a:lnTo>
                    <a:pt x="1404099" y="590994"/>
                  </a:lnTo>
                  <a:lnTo>
                    <a:pt x="1404201" y="590994"/>
                  </a:lnTo>
                  <a:lnTo>
                    <a:pt x="1404201" y="591388"/>
                  </a:lnTo>
                  <a:lnTo>
                    <a:pt x="1404340" y="591388"/>
                  </a:lnTo>
                  <a:lnTo>
                    <a:pt x="1404340" y="591833"/>
                  </a:lnTo>
                  <a:lnTo>
                    <a:pt x="1404391" y="591833"/>
                  </a:lnTo>
                  <a:lnTo>
                    <a:pt x="1404391" y="592290"/>
                  </a:lnTo>
                  <a:lnTo>
                    <a:pt x="1404442" y="592290"/>
                  </a:lnTo>
                  <a:lnTo>
                    <a:pt x="1404543" y="592734"/>
                  </a:lnTo>
                  <a:lnTo>
                    <a:pt x="1404594" y="592734"/>
                  </a:lnTo>
                  <a:lnTo>
                    <a:pt x="1404594" y="593077"/>
                  </a:lnTo>
                  <a:lnTo>
                    <a:pt x="1404696" y="593077"/>
                  </a:lnTo>
                  <a:lnTo>
                    <a:pt x="1404696" y="593522"/>
                  </a:lnTo>
                  <a:lnTo>
                    <a:pt x="1404785" y="593522"/>
                  </a:lnTo>
                  <a:lnTo>
                    <a:pt x="1404785" y="593966"/>
                  </a:lnTo>
                  <a:lnTo>
                    <a:pt x="1404836" y="593966"/>
                  </a:lnTo>
                  <a:lnTo>
                    <a:pt x="1404836" y="594373"/>
                  </a:lnTo>
                  <a:lnTo>
                    <a:pt x="1404937" y="594373"/>
                  </a:lnTo>
                  <a:lnTo>
                    <a:pt x="1404937" y="594817"/>
                  </a:lnTo>
                  <a:lnTo>
                    <a:pt x="1405140" y="594817"/>
                  </a:lnTo>
                  <a:lnTo>
                    <a:pt x="1405140" y="595262"/>
                  </a:lnTo>
                  <a:lnTo>
                    <a:pt x="1405242" y="595262"/>
                  </a:lnTo>
                  <a:lnTo>
                    <a:pt x="1405242" y="595706"/>
                  </a:lnTo>
                  <a:lnTo>
                    <a:pt x="1405331" y="595706"/>
                  </a:lnTo>
                  <a:lnTo>
                    <a:pt x="1405331" y="596049"/>
                  </a:lnTo>
                  <a:lnTo>
                    <a:pt x="1405534" y="596049"/>
                  </a:lnTo>
                  <a:lnTo>
                    <a:pt x="1405534" y="596506"/>
                  </a:lnTo>
                  <a:lnTo>
                    <a:pt x="1405686" y="596506"/>
                  </a:lnTo>
                  <a:lnTo>
                    <a:pt x="1405686" y="596951"/>
                  </a:lnTo>
                  <a:lnTo>
                    <a:pt x="1405737" y="596951"/>
                  </a:lnTo>
                  <a:lnTo>
                    <a:pt x="1405788" y="597344"/>
                  </a:lnTo>
                  <a:lnTo>
                    <a:pt x="1405928" y="597344"/>
                  </a:lnTo>
                  <a:lnTo>
                    <a:pt x="1405928" y="597789"/>
                  </a:lnTo>
                  <a:lnTo>
                    <a:pt x="1406029" y="597789"/>
                  </a:lnTo>
                  <a:lnTo>
                    <a:pt x="1406029" y="598233"/>
                  </a:lnTo>
                  <a:lnTo>
                    <a:pt x="1406131" y="598233"/>
                  </a:lnTo>
                  <a:lnTo>
                    <a:pt x="1406131" y="598678"/>
                  </a:lnTo>
                  <a:lnTo>
                    <a:pt x="1406232" y="598678"/>
                  </a:lnTo>
                  <a:lnTo>
                    <a:pt x="1406232" y="599084"/>
                  </a:lnTo>
                  <a:lnTo>
                    <a:pt x="1406283" y="599084"/>
                  </a:lnTo>
                  <a:lnTo>
                    <a:pt x="1406283" y="599529"/>
                  </a:lnTo>
                  <a:lnTo>
                    <a:pt x="1406423" y="599529"/>
                  </a:lnTo>
                  <a:lnTo>
                    <a:pt x="1406423" y="599923"/>
                  </a:lnTo>
                  <a:lnTo>
                    <a:pt x="1406626" y="599923"/>
                  </a:lnTo>
                  <a:lnTo>
                    <a:pt x="1406626" y="600367"/>
                  </a:lnTo>
                  <a:lnTo>
                    <a:pt x="1406829" y="600367"/>
                  </a:lnTo>
                  <a:lnTo>
                    <a:pt x="1406829" y="600774"/>
                  </a:lnTo>
                  <a:lnTo>
                    <a:pt x="1406918" y="600774"/>
                  </a:lnTo>
                  <a:lnTo>
                    <a:pt x="1406918" y="601218"/>
                  </a:lnTo>
                  <a:lnTo>
                    <a:pt x="1406969" y="601218"/>
                  </a:lnTo>
                  <a:lnTo>
                    <a:pt x="1407071" y="601663"/>
                  </a:lnTo>
                  <a:lnTo>
                    <a:pt x="1407274" y="601663"/>
                  </a:lnTo>
                  <a:lnTo>
                    <a:pt x="1407274" y="602056"/>
                  </a:lnTo>
                  <a:lnTo>
                    <a:pt x="1407376" y="602056"/>
                  </a:lnTo>
                  <a:lnTo>
                    <a:pt x="1407376" y="602501"/>
                  </a:lnTo>
                  <a:lnTo>
                    <a:pt x="1407414" y="602501"/>
                  </a:lnTo>
                  <a:lnTo>
                    <a:pt x="1407414" y="602945"/>
                  </a:lnTo>
                  <a:lnTo>
                    <a:pt x="1407515" y="602945"/>
                  </a:lnTo>
                  <a:lnTo>
                    <a:pt x="1407515" y="603402"/>
                  </a:lnTo>
                  <a:lnTo>
                    <a:pt x="1407566" y="603402"/>
                  </a:lnTo>
                  <a:lnTo>
                    <a:pt x="1407566" y="603745"/>
                  </a:lnTo>
                  <a:lnTo>
                    <a:pt x="1407718" y="603745"/>
                  </a:lnTo>
                  <a:lnTo>
                    <a:pt x="1407718" y="604190"/>
                  </a:lnTo>
                  <a:lnTo>
                    <a:pt x="1407769" y="604190"/>
                  </a:lnTo>
                  <a:lnTo>
                    <a:pt x="1407769" y="604634"/>
                  </a:lnTo>
                  <a:lnTo>
                    <a:pt x="1407871" y="604634"/>
                  </a:lnTo>
                  <a:lnTo>
                    <a:pt x="1407871" y="605079"/>
                  </a:lnTo>
                  <a:lnTo>
                    <a:pt x="1408011" y="605079"/>
                  </a:lnTo>
                  <a:lnTo>
                    <a:pt x="1408011" y="605485"/>
                  </a:lnTo>
                  <a:lnTo>
                    <a:pt x="1408112" y="605485"/>
                  </a:lnTo>
                  <a:lnTo>
                    <a:pt x="1408112" y="605930"/>
                  </a:lnTo>
                  <a:lnTo>
                    <a:pt x="1408214" y="605930"/>
                  </a:lnTo>
                  <a:lnTo>
                    <a:pt x="1408214" y="606374"/>
                  </a:lnTo>
                  <a:lnTo>
                    <a:pt x="1408315" y="606374"/>
                  </a:lnTo>
                  <a:lnTo>
                    <a:pt x="1408315" y="606717"/>
                  </a:lnTo>
                  <a:lnTo>
                    <a:pt x="1408455" y="606717"/>
                  </a:lnTo>
                  <a:lnTo>
                    <a:pt x="1408455" y="607162"/>
                  </a:lnTo>
                  <a:lnTo>
                    <a:pt x="1408506" y="607162"/>
                  </a:lnTo>
                  <a:lnTo>
                    <a:pt x="1408506" y="607619"/>
                  </a:lnTo>
                  <a:lnTo>
                    <a:pt x="1408861" y="607619"/>
                  </a:lnTo>
                  <a:lnTo>
                    <a:pt x="1408861" y="608063"/>
                  </a:lnTo>
                  <a:lnTo>
                    <a:pt x="1408912" y="608063"/>
                  </a:lnTo>
                  <a:lnTo>
                    <a:pt x="1408963" y="608457"/>
                  </a:lnTo>
                  <a:lnTo>
                    <a:pt x="1409001" y="608457"/>
                  </a:lnTo>
                  <a:lnTo>
                    <a:pt x="1409001" y="608901"/>
                  </a:lnTo>
                  <a:lnTo>
                    <a:pt x="1409103" y="608901"/>
                  </a:lnTo>
                  <a:lnTo>
                    <a:pt x="1409103" y="609346"/>
                  </a:lnTo>
                  <a:lnTo>
                    <a:pt x="1409547" y="609346"/>
                  </a:lnTo>
                  <a:lnTo>
                    <a:pt x="1409547" y="609790"/>
                  </a:lnTo>
                  <a:lnTo>
                    <a:pt x="1409649" y="609790"/>
                  </a:lnTo>
                  <a:lnTo>
                    <a:pt x="1409649" y="610197"/>
                  </a:lnTo>
                  <a:lnTo>
                    <a:pt x="1409700" y="610197"/>
                  </a:lnTo>
                  <a:lnTo>
                    <a:pt x="1409700" y="610641"/>
                  </a:lnTo>
                  <a:lnTo>
                    <a:pt x="1409852" y="610641"/>
                  </a:lnTo>
                  <a:lnTo>
                    <a:pt x="1409852" y="611035"/>
                  </a:lnTo>
                  <a:lnTo>
                    <a:pt x="1409903" y="611035"/>
                  </a:lnTo>
                  <a:lnTo>
                    <a:pt x="1409903" y="611429"/>
                  </a:lnTo>
                  <a:lnTo>
                    <a:pt x="1410004" y="611429"/>
                  </a:lnTo>
                  <a:lnTo>
                    <a:pt x="1410004" y="611886"/>
                  </a:lnTo>
                  <a:lnTo>
                    <a:pt x="1410093" y="611886"/>
                  </a:lnTo>
                  <a:lnTo>
                    <a:pt x="1410093" y="612331"/>
                  </a:lnTo>
                  <a:lnTo>
                    <a:pt x="1410347" y="612331"/>
                  </a:lnTo>
                  <a:lnTo>
                    <a:pt x="1410347" y="612775"/>
                  </a:lnTo>
                  <a:lnTo>
                    <a:pt x="1410500" y="612775"/>
                  </a:lnTo>
                  <a:lnTo>
                    <a:pt x="1410500" y="613169"/>
                  </a:lnTo>
                  <a:lnTo>
                    <a:pt x="1410589" y="613169"/>
                  </a:lnTo>
                  <a:lnTo>
                    <a:pt x="1410589" y="613613"/>
                  </a:lnTo>
                  <a:lnTo>
                    <a:pt x="1410690" y="613613"/>
                  </a:lnTo>
                  <a:lnTo>
                    <a:pt x="1410741" y="614058"/>
                  </a:lnTo>
                  <a:lnTo>
                    <a:pt x="1410792" y="614058"/>
                  </a:lnTo>
                  <a:lnTo>
                    <a:pt x="1410792" y="614413"/>
                  </a:lnTo>
                  <a:lnTo>
                    <a:pt x="1410944" y="614413"/>
                  </a:lnTo>
                  <a:lnTo>
                    <a:pt x="1410944" y="614858"/>
                  </a:lnTo>
                  <a:lnTo>
                    <a:pt x="1411046" y="614858"/>
                  </a:lnTo>
                  <a:lnTo>
                    <a:pt x="1411046" y="615302"/>
                  </a:lnTo>
                  <a:lnTo>
                    <a:pt x="1411186" y="615302"/>
                  </a:lnTo>
                  <a:lnTo>
                    <a:pt x="1411186" y="615747"/>
                  </a:lnTo>
                  <a:lnTo>
                    <a:pt x="1411236" y="615747"/>
                  </a:lnTo>
                  <a:lnTo>
                    <a:pt x="1411236" y="616140"/>
                  </a:lnTo>
                  <a:lnTo>
                    <a:pt x="1411592" y="616140"/>
                  </a:lnTo>
                  <a:lnTo>
                    <a:pt x="1411592" y="616598"/>
                  </a:lnTo>
                  <a:lnTo>
                    <a:pt x="1411681" y="616598"/>
                  </a:lnTo>
                  <a:lnTo>
                    <a:pt x="1411681" y="617042"/>
                  </a:lnTo>
                  <a:lnTo>
                    <a:pt x="1411884" y="617042"/>
                  </a:lnTo>
                  <a:lnTo>
                    <a:pt x="1411884" y="617487"/>
                  </a:lnTo>
                  <a:lnTo>
                    <a:pt x="1412036" y="617487"/>
                  </a:lnTo>
                  <a:lnTo>
                    <a:pt x="1412036" y="617830"/>
                  </a:lnTo>
                  <a:lnTo>
                    <a:pt x="1412138" y="617830"/>
                  </a:lnTo>
                  <a:lnTo>
                    <a:pt x="1412138" y="618274"/>
                  </a:lnTo>
                  <a:lnTo>
                    <a:pt x="1412176" y="618274"/>
                  </a:lnTo>
                  <a:lnTo>
                    <a:pt x="1412176" y="618731"/>
                  </a:lnTo>
                  <a:lnTo>
                    <a:pt x="1412278" y="618731"/>
                  </a:lnTo>
                  <a:lnTo>
                    <a:pt x="1412278" y="619125"/>
                  </a:lnTo>
                  <a:lnTo>
                    <a:pt x="1412329" y="619125"/>
                  </a:lnTo>
                  <a:lnTo>
                    <a:pt x="1412329" y="619569"/>
                  </a:lnTo>
                  <a:lnTo>
                    <a:pt x="1412532" y="619569"/>
                  </a:lnTo>
                  <a:lnTo>
                    <a:pt x="1412532" y="620014"/>
                  </a:lnTo>
                  <a:lnTo>
                    <a:pt x="1412633" y="620014"/>
                  </a:lnTo>
                  <a:lnTo>
                    <a:pt x="1412633" y="620458"/>
                  </a:lnTo>
                  <a:lnTo>
                    <a:pt x="1412773" y="620458"/>
                  </a:lnTo>
                  <a:lnTo>
                    <a:pt x="1412773" y="620865"/>
                  </a:lnTo>
                  <a:lnTo>
                    <a:pt x="1412824" y="620865"/>
                  </a:lnTo>
                  <a:lnTo>
                    <a:pt x="1412824" y="620458"/>
                  </a:lnTo>
                  <a:lnTo>
                    <a:pt x="1412976" y="620458"/>
                  </a:lnTo>
                  <a:lnTo>
                    <a:pt x="1412976" y="620014"/>
                  </a:lnTo>
                  <a:lnTo>
                    <a:pt x="1413179" y="620014"/>
                  </a:lnTo>
                  <a:lnTo>
                    <a:pt x="1413179" y="620458"/>
                  </a:lnTo>
                  <a:lnTo>
                    <a:pt x="1413268" y="620458"/>
                  </a:lnTo>
                  <a:lnTo>
                    <a:pt x="1413268" y="620865"/>
                  </a:lnTo>
                  <a:lnTo>
                    <a:pt x="1413421" y="620865"/>
                  </a:lnTo>
                  <a:lnTo>
                    <a:pt x="1413421" y="621309"/>
                  </a:lnTo>
                  <a:lnTo>
                    <a:pt x="1413522" y="621309"/>
                  </a:lnTo>
                  <a:lnTo>
                    <a:pt x="1413522" y="621754"/>
                  </a:lnTo>
                  <a:lnTo>
                    <a:pt x="1413675" y="621754"/>
                  </a:lnTo>
                  <a:lnTo>
                    <a:pt x="1413675" y="622148"/>
                  </a:lnTo>
                  <a:lnTo>
                    <a:pt x="1413764" y="622148"/>
                  </a:lnTo>
                  <a:lnTo>
                    <a:pt x="1413764" y="622541"/>
                  </a:lnTo>
                  <a:lnTo>
                    <a:pt x="1413916" y="622541"/>
                  </a:lnTo>
                  <a:lnTo>
                    <a:pt x="1413967" y="622999"/>
                  </a:lnTo>
                  <a:lnTo>
                    <a:pt x="1414068" y="622999"/>
                  </a:lnTo>
                  <a:lnTo>
                    <a:pt x="1414068" y="623443"/>
                  </a:lnTo>
                  <a:lnTo>
                    <a:pt x="1414119" y="623443"/>
                  </a:lnTo>
                  <a:lnTo>
                    <a:pt x="1414119" y="623837"/>
                  </a:lnTo>
                  <a:lnTo>
                    <a:pt x="1414310" y="623837"/>
                  </a:lnTo>
                  <a:lnTo>
                    <a:pt x="1414310" y="624281"/>
                  </a:lnTo>
                  <a:lnTo>
                    <a:pt x="1414411" y="624281"/>
                  </a:lnTo>
                  <a:lnTo>
                    <a:pt x="1414411" y="624726"/>
                  </a:lnTo>
                  <a:lnTo>
                    <a:pt x="1414665" y="624726"/>
                  </a:lnTo>
                  <a:lnTo>
                    <a:pt x="1414665" y="625170"/>
                  </a:lnTo>
                  <a:lnTo>
                    <a:pt x="1414805" y="625170"/>
                  </a:lnTo>
                  <a:lnTo>
                    <a:pt x="1414805" y="625526"/>
                  </a:lnTo>
                  <a:lnTo>
                    <a:pt x="1414856" y="625526"/>
                  </a:lnTo>
                  <a:lnTo>
                    <a:pt x="1414856" y="625170"/>
                  </a:lnTo>
                  <a:lnTo>
                    <a:pt x="1415110" y="625170"/>
                  </a:lnTo>
                  <a:lnTo>
                    <a:pt x="1415110" y="624726"/>
                  </a:lnTo>
                  <a:lnTo>
                    <a:pt x="1415110" y="625170"/>
                  </a:lnTo>
                  <a:lnTo>
                    <a:pt x="1415262" y="625170"/>
                  </a:lnTo>
                  <a:lnTo>
                    <a:pt x="1415262" y="625526"/>
                  </a:lnTo>
                  <a:lnTo>
                    <a:pt x="1415351" y="625526"/>
                  </a:lnTo>
                  <a:lnTo>
                    <a:pt x="1415351" y="625970"/>
                  </a:lnTo>
                  <a:lnTo>
                    <a:pt x="1415453" y="625970"/>
                  </a:lnTo>
                  <a:lnTo>
                    <a:pt x="1415453" y="626415"/>
                  </a:lnTo>
                  <a:lnTo>
                    <a:pt x="1415554" y="626415"/>
                  </a:lnTo>
                  <a:lnTo>
                    <a:pt x="1415554" y="626808"/>
                  </a:lnTo>
                  <a:lnTo>
                    <a:pt x="1415707" y="626808"/>
                  </a:lnTo>
                  <a:lnTo>
                    <a:pt x="1415707" y="627253"/>
                  </a:lnTo>
                  <a:lnTo>
                    <a:pt x="1415757" y="627253"/>
                  </a:lnTo>
                  <a:lnTo>
                    <a:pt x="1415808" y="627710"/>
                  </a:lnTo>
                  <a:lnTo>
                    <a:pt x="1415897" y="627710"/>
                  </a:lnTo>
                  <a:lnTo>
                    <a:pt x="1415948" y="628155"/>
                  </a:lnTo>
                  <a:lnTo>
                    <a:pt x="1415999" y="628155"/>
                  </a:lnTo>
                  <a:lnTo>
                    <a:pt x="1415999" y="628498"/>
                  </a:lnTo>
                  <a:lnTo>
                    <a:pt x="1416151" y="628498"/>
                  </a:lnTo>
                  <a:lnTo>
                    <a:pt x="1416151" y="628942"/>
                  </a:lnTo>
                  <a:lnTo>
                    <a:pt x="1416253" y="628942"/>
                  </a:lnTo>
                  <a:lnTo>
                    <a:pt x="1416253" y="629387"/>
                  </a:lnTo>
                  <a:lnTo>
                    <a:pt x="1416443" y="629387"/>
                  </a:lnTo>
                  <a:lnTo>
                    <a:pt x="1416443" y="629844"/>
                  </a:lnTo>
                  <a:lnTo>
                    <a:pt x="1416494" y="629844"/>
                  </a:lnTo>
                  <a:lnTo>
                    <a:pt x="1416494" y="630238"/>
                  </a:lnTo>
                  <a:lnTo>
                    <a:pt x="1416596" y="630238"/>
                  </a:lnTo>
                  <a:lnTo>
                    <a:pt x="1416596" y="629844"/>
                  </a:lnTo>
                  <a:lnTo>
                    <a:pt x="1416647" y="629844"/>
                  </a:lnTo>
                  <a:lnTo>
                    <a:pt x="1416647" y="630238"/>
                  </a:lnTo>
                  <a:lnTo>
                    <a:pt x="1416850" y="630238"/>
                  </a:lnTo>
                  <a:lnTo>
                    <a:pt x="1416850" y="630682"/>
                  </a:lnTo>
                  <a:lnTo>
                    <a:pt x="1417040" y="630682"/>
                  </a:lnTo>
                  <a:lnTo>
                    <a:pt x="1417040" y="631126"/>
                  </a:lnTo>
                  <a:lnTo>
                    <a:pt x="1417142" y="631126"/>
                  </a:lnTo>
                  <a:lnTo>
                    <a:pt x="1417243" y="631520"/>
                  </a:lnTo>
                  <a:lnTo>
                    <a:pt x="1417345" y="631520"/>
                  </a:lnTo>
                  <a:lnTo>
                    <a:pt x="1417396" y="631977"/>
                  </a:lnTo>
                  <a:lnTo>
                    <a:pt x="1417536" y="631977"/>
                  </a:lnTo>
                  <a:lnTo>
                    <a:pt x="1417536" y="632422"/>
                  </a:lnTo>
                  <a:lnTo>
                    <a:pt x="1417637" y="632422"/>
                  </a:lnTo>
                  <a:lnTo>
                    <a:pt x="1417637" y="632866"/>
                  </a:lnTo>
                  <a:lnTo>
                    <a:pt x="1417840" y="632866"/>
                  </a:lnTo>
                  <a:lnTo>
                    <a:pt x="1417840" y="633209"/>
                  </a:lnTo>
                  <a:lnTo>
                    <a:pt x="1418031" y="633209"/>
                  </a:lnTo>
                  <a:lnTo>
                    <a:pt x="1418031" y="633654"/>
                  </a:lnTo>
                  <a:lnTo>
                    <a:pt x="1418234" y="633654"/>
                  </a:lnTo>
                  <a:lnTo>
                    <a:pt x="1418234" y="634111"/>
                  </a:lnTo>
                  <a:lnTo>
                    <a:pt x="1418488" y="634111"/>
                  </a:lnTo>
                  <a:lnTo>
                    <a:pt x="1418488" y="634556"/>
                  </a:lnTo>
                  <a:lnTo>
                    <a:pt x="1418679" y="634556"/>
                  </a:lnTo>
                  <a:lnTo>
                    <a:pt x="1418679" y="634949"/>
                  </a:lnTo>
                  <a:lnTo>
                    <a:pt x="1418831" y="634949"/>
                  </a:lnTo>
                  <a:lnTo>
                    <a:pt x="1418831" y="635394"/>
                  </a:lnTo>
                  <a:lnTo>
                    <a:pt x="1418932" y="635394"/>
                  </a:lnTo>
                  <a:lnTo>
                    <a:pt x="1418932" y="635838"/>
                  </a:lnTo>
                  <a:lnTo>
                    <a:pt x="1418983" y="635838"/>
                  </a:lnTo>
                  <a:lnTo>
                    <a:pt x="1418983" y="636194"/>
                  </a:lnTo>
                  <a:lnTo>
                    <a:pt x="1419326" y="636194"/>
                  </a:lnTo>
                  <a:lnTo>
                    <a:pt x="1419326" y="636638"/>
                  </a:lnTo>
                  <a:lnTo>
                    <a:pt x="1419529" y="636638"/>
                  </a:lnTo>
                  <a:lnTo>
                    <a:pt x="1419529" y="637083"/>
                  </a:lnTo>
                  <a:lnTo>
                    <a:pt x="1419567" y="637083"/>
                  </a:lnTo>
                  <a:lnTo>
                    <a:pt x="1419618" y="637527"/>
                  </a:lnTo>
                  <a:lnTo>
                    <a:pt x="1419669" y="637527"/>
                  </a:lnTo>
                  <a:lnTo>
                    <a:pt x="1419669" y="637921"/>
                  </a:lnTo>
                  <a:lnTo>
                    <a:pt x="1419822" y="637921"/>
                  </a:lnTo>
                  <a:lnTo>
                    <a:pt x="1419822" y="638365"/>
                  </a:lnTo>
                  <a:lnTo>
                    <a:pt x="1419974" y="638365"/>
                  </a:lnTo>
                  <a:lnTo>
                    <a:pt x="1419974" y="638823"/>
                  </a:lnTo>
                  <a:lnTo>
                    <a:pt x="1420076" y="638823"/>
                  </a:lnTo>
                  <a:lnTo>
                    <a:pt x="1420076" y="639267"/>
                  </a:lnTo>
                  <a:lnTo>
                    <a:pt x="1420266" y="639267"/>
                  </a:lnTo>
                  <a:lnTo>
                    <a:pt x="1420266" y="638823"/>
                  </a:lnTo>
                  <a:lnTo>
                    <a:pt x="1420418" y="638823"/>
                  </a:lnTo>
                  <a:lnTo>
                    <a:pt x="1420418" y="639267"/>
                  </a:lnTo>
                  <a:lnTo>
                    <a:pt x="1420520" y="639267"/>
                  </a:lnTo>
                  <a:lnTo>
                    <a:pt x="1420520" y="639610"/>
                  </a:lnTo>
                  <a:lnTo>
                    <a:pt x="1420660" y="639610"/>
                  </a:lnTo>
                  <a:lnTo>
                    <a:pt x="1420660" y="640055"/>
                  </a:lnTo>
                  <a:lnTo>
                    <a:pt x="1420761" y="640055"/>
                  </a:lnTo>
                  <a:lnTo>
                    <a:pt x="1420761" y="640499"/>
                  </a:lnTo>
                  <a:lnTo>
                    <a:pt x="1420812" y="640499"/>
                  </a:lnTo>
                  <a:lnTo>
                    <a:pt x="1420914" y="640906"/>
                  </a:lnTo>
                  <a:lnTo>
                    <a:pt x="1421117" y="640906"/>
                  </a:lnTo>
                  <a:lnTo>
                    <a:pt x="1421155" y="641350"/>
                  </a:lnTo>
                  <a:lnTo>
                    <a:pt x="1421257" y="641350"/>
                  </a:lnTo>
                  <a:lnTo>
                    <a:pt x="1421257" y="641794"/>
                  </a:lnTo>
                  <a:lnTo>
                    <a:pt x="1421460" y="641794"/>
                  </a:lnTo>
                  <a:lnTo>
                    <a:pt x="1421460" y="642239"/>
                  </a:lnTo>
                  <a:lnTo>
                    <a:pt x="1421612" y="642239"/>
                  </a:lnTo>
                  <a:lnTo>
                    <a:pt x="1421612" y="640499"/>
                  </a:lnTo>
                  <a:lnTo>
                    <a:pt x="1421663" y="640499"/>
                  </a:lnTo>
                  <a:lnTo>
                    <a:pt x="1421663" y="634556"/>
                  </a:lnTo>
                  <a:lnTo>
                    <a:pt x="1421701" y="634111"/>
                  </a:lnTo>
                  <a:lnTo>
                    <a:pt x="1421701" y="628155"/>
                  </a:lnTo>
                  <a:lnTo>
                    <a:pt x="1421803" y="627710"/>
                  </a:lnTo>
                  <a:lnTo>
                    <a:pt x="1421803" y="623443"/>
                  </a:lnTo>
                  <a:lnTo>
                    <a:pt x="1421854" y="622999"/>
                  </a:lnTo>
                  <a:lnTo>
                    <a:pt x="1421854" y="619125"/>
                  </a:lnTo>
                  <a:lnTo>
                    <a:pt x="1421904" y="619125"/>
                  </a:lnTo>
                  <a:lnTo>
                    <a:pt x="1421904" y="616140"/>
                  </a:lnTo>
                  <a:lnTo>
                    <a:pt x="1422006" y="616140"/>
                  </a:lnTo>
                  <a:lnTo>
                    <a:pt x="1422006" y="613169"/>
                  </a:lnTo>
                  <a:lnTo>
                    <a:pt x="1422057" y="613169"/>
                  </a:lnTo>
                  <a:lnTo>
                    <a:pt x="1422057" y="610197"/>
                  </a:lnTo>
                  <a:lnTo>
                    <a:pt x="1422107" y="609790"/>
                  </a:lnTo>
                  <a:lnTo>
                    <a:pt x="1422107" y="606717"/>
                  </a:lnTo>
                  <a:lnTo>
                    <a:pt x="1422158" y="606374"/>
                  </a:lnTo>
                  <a:lnTo>
                    <a:pt x="1422158" y="602945"/>
                  </a:lnTo>
                  <a:lnTo>
                    <a:pt x="1422247" y="602501"/>
                  </a:lnTo>
                  <a:lnTo>
                    <a:pt x="1422247" y="599084"/>
                  </a:lnTo>
                  <a:lnTo>
                    <a:pt x="1422298" y="598678"/>
                  </a:lnTo>
                  <a:lnTo>
                    <a:pt x="1422298" y="596049"/>
                  </a:lnTo>
                  <a:lnTo>
                    <a:pt x="1422349" y="596049"/>
                  </a:lnTo>
                  <a:lnTo>
                    <a:pt x="1422349" y="593522"/>
                  </a:lnTo>
                  <a:lnTo>
                    <a:pt x="1422400" y="593522"/>
                  </a:lnTo>
                  <a:lnTo>
                    <a:pt x="1422400" y="590994"/>
                  </a:lnTo>
                  <a:lnTo>
                    <a:pt x="1422501" y="590994"/>
                  </a:lnTo>
                  <a:lnTo>
                    <a:pt x="1422501" y="588810"/>
                  </a:lnTo>
                  <a:lnTo>
                    <a:pt x="1422552" y="588416"/>
                  </a:lnTo>
                  <a:lnTo>
                    <a:pt x="1422552" y="586676"/>
                  </a:lnTo>
                  <a:lnTo>
                    <a:pt x="1422603" y="586676"/>
                  </a:lnTo>
                  <a:lnTo>
                    <a:pt x="1422603" y="584937"/>
                  </a:lnTo>
                  <a:lnTo>
                    <a:pt x="1422704" y="584594"/>
                  </a:lnTo>
                  <a:lnTo>
                    <a:pt x="1422704" y="582409"/>
                  </a:lnTo>
                  <a:lnTo>
                    <a:pt x="1422742" y="581965"/>
                  </a:lnTo>
                  <a:lnTo>
                    <a:pt x="1422742" y="578587"/>
                  </a:lnTo>
                  <a:lnTo>
                    <a:pt x="1422793" y="578587"/>
                  </a:lnTo>
                  <a:lnTo>
                    <a:pt x="1422793" y="575615"/>
                  </a:lnTo>
                  <a:lnTo>
                    <a:pt x="1422844" y="575170"/>
                  </a:lnTo>
                  <a:lnTo>
                    <a:pt x="1422844" y="573037"/>
                  </a:lnTo>
                  <a:lnTo>
                    <a:pt x="1422946" y="573037"/>
                  </a:lnTo>
                  <a:lnTo>
                    <a:pt x="1422946" y="570065"/>
                  </a:lnTo>
                  <a:lnTo>
                    <a:pt x="1422997" y="569608"/>
                  </a:lnTo>
                  <a:lnTo>
                    <a:pt x="1422997" y="567030"/>
                  </a:lnTo>
                  <a:lnTo>
                    <a:pt x="1423047" y="566585"/>
                  </a:lnTo>
                  <a:lnTo>
                    <a:pt x="1423047" y="564896"/>
                  </a:lnTo>
                  <a:lnTo>
                    <a:pt x="1423149" y="564502"/>
                  </a:lnTo>
                  <a:lnTo>
                    <a:pt x="1423149" y="562813"/>
                  </a:lnTo>
                  <a:lnTo>
                    <a:pt x="1423200" y="562813"/>
                  </a:lnTo>
                  <a:lnTo>
                    <a:pt x="1423200" y="560629"/>
                  </a:lnTo>
                  <a:lnTo>
                    <a:pt x="1423251" y="560184"/>
                  </a:lnTo>
                  <a:lnTo>
                    <a:pt x="1423251" y="558546"/>
                  </a:lnTo>
                  <a:lnTo>
                    <a:pt x="1423289" y="558101"/>
                  </a:lnTo>
                  <a:lnTo>
                    <a:pt x="1423289" y="556362"/>
                  </a:lnTo>
                  <a:lnTo>
                    <a:pt x="1423390" y="556362"/>
                  </a:lnTo>
                  <a:lnTo>
                    <a:pt x="1423390" y="554228"/>
                  </a:lnTo>
                  <a:lnTo>
                    <a:pt x="1423441" y="554228"/>
                  </a:lnTo>
                  <a:lnTo>
                    <a:pt x="1423441" y="552501"/>
                  </a:lnTo>
                  <a:lnTo>
                    <a:pt x="1423492" y="552501"/>
                  </a:lnTo>
                  <a:lnTo>
                    <a:pt x="1423492" y="550812"/>
                  </a:lnTo>
                  <a:lnTo>
                    <a:pt x="1423593" y="550418"/>
                  </a:lnTo>
                  <a:lnTo>
                    <a:pt x="1423593" y="549516"/>
                  </a:lnTo>
                  <a:lnTo>
                    <a:pt x="1423644" y="549123"/>
                  </a:lnTo>
                  <a:lnTo>
                    <a:pt x="1423644" y="547433"/>
                  </a:lnTo>
                  <a:lnTo>
                    <a:pt x="1423695" y="547433"/>
                  </a:lnTo>
                  <a:lnTo>
                    <a:pt x="1423695" y="545249"/>
                  </a:lnTo>
                  <a:lnTo>
                    <a:pt x="1423746" y="545249"/>
                  </a:lnTo>
                  <a:lnTo>
                    <a:pt x="1423746" y="543573"/>
                  </a:lnTo>
                  <a:lnTo>
                    <a:pt x="1423835" y="543573"/>
                  </a:lnTo>
                  <a:lnTo>
                    <a:pt x="1423835" y="541833"/>
                  </a:lnTo>
                  <a:lnTo>
                    <a:pt x="1423886" y="541833"/>
                  </a:lnTo>
                  <a:lnTo>
                    <a:pt x="1423886" y="539750"/>
                  </a:lnTo>
                  <a:lnTo>
                    <a:pt x="1423936" y="539750"/>
                  </a:lnTo>
                  <a:lnTo>
                    <a:pt x="1423936" y="537616"/>
                  </a:lnTo>
                  <a:lnTo>
                    <a:pt x="1423987" y="537616"/>
                  </a:lnTo>
                  <a:lnTo>
                    <a:pt x="1423987" y="535432"/>
                  </a:lnTo>
                  <a:lnTo>
                    <a:pt x="1424089" y="535038"/>
                  </a:lnTo>
                  <a:lnTo>
                    <a:pt x="1424089" y="532460"/>
                  </a:lnTo>
                  <a:lnTo>
                    <a:pt x="1424139" y="532460"/>
                  </a:lnTo>
                  <a:lnTo>
                    <a:pt x="1424139" y="528638"/>
                  </a:lnTo>
                  <a:lnTo>
                    <a:pt x="1424190" y="528638"/>
                  </a:lnTo>
                  <a:lnTo>
                    <a:pt x="1424190" y="524764"/>
                  </a:lnTo>
                  <a:lnTo>
                    <a:pt x="1424292" y="524370"/>
                  </a:lnTo>
                  <a:lnTo>
                    <a:pt x="1424292" y="520941"/>
                  </a:lnTo>
                  <a:lnTo>
                    <a:pt x="1424330" y="520941"/>
                  </a:lnTo>
                  <a:lnTo>
                    <a:pt x="1424330" y="516636"/>
                  </a:lnTo>
                  <a:lnTo>
                    <a:pt x="1424381" y="516636"/>
                  </a:lnTo>
                  <a:lnTo>
                    <a:pt x="1424381" y="513258"/>
                  </a:lnTo>
                  <a:lnTo>
                    <a:pt x="1424432" y="512813"/>
                  </a:lnTo>
                  <a:lnTo>
                    <a:pt x="1424432" y="509829"/>
                  </a:lnTo>
                  <a:lnTo>
                    <a:pt x="1424533" y="509384"/>
                  </a:lnTo>
                  <a:lnTo>
                    <a:pt x="1424533" y="506413"/>
                  </a:lnTo>
                  <a:lnTo>
                    <a:pt x="1424584" y="505968"/>
                  </a:lnTo>
                  <a:lnTo>
                    <a:pt x="1424584" y="502983"/>
                  </a:lnTo>
                  <a:lnTo>
                    <a:pt x="1424635" y="502983"/>
                  </a:lnTo>
                  <a:lnTo>
                    <a:pt x="1424635" y="500012"/>
                  </a:lnTo>
                  <a:lnTo>
                    <a:pt x="1424736" y="500012"/>
                  </a:lnTo>
                  <a:lnTo>
                    <a:pt x="1424736" y="497929"/>
                  </a:lnTo>
                  <a:lnTo>
                    <a:pt x="1424787" y="497484"/>
                  </a:lnTo>
                  <a:lnTo>
                    <a:pt x="1424787" y="495300"/>
                  </a:lnTo>
                  <a:lnTo>
                    <a:pt x="1424838" y="495300"/>
                  </a:lnTo>
                  <a:lnTo>
                    <a:pt x="1424838" y="493217"/>
                  </a:lnTo>
                  <a:lnTo>
                    <a:pt x="1424876" y="492773"/>
                  </a:lnTo>
                  <a:lnTo>
                    <a:pt x="1424876" y="491033"/>
                  </a:lnTo>
                  <a:lnTo>
                    <a:pt x="1424978" y="490588"/>
                  </a:lnTo>
                  <a:lnTo>
                    <a:pt x="1424978" y="488899"/>
                  </a:lnTo>
                  <a:lnTo>
                    <a:pt x="1425029" y="488506"/>
                  </a:lnTo>
                  <a:lnTo>
                    <a:pt x="1425029" y="486816"/>
                  </a:lnTo>
                  <a:lnTo>
                    <a:pt x="1425079" y="486372"/>
                  </a:lnTo>
                  <a:lnTo>
                    <a:pt x="1425079" y="484187"/>
                  </a:lnTo>
                  <a:lnTo>
                    <a:pt x="1425181" y="483794"/>
                  </a:lnTo>
                  <a:lnTo>
                    <a:pt x="1425181" y="481203"/>
                  </a:lnTo>
                  <a:lnTo>
                    <a:pt x="1425232" y="480809"/>
                  </a:lnTo>
                  <a:lnTo>
                    <a:pt x="1425232" y="478231"/>
                  </a:lnTo>
                  <a:lnTo>
                    <a:pt x="1425282" y="478231"/>
                  </a:lnTo>
                  <a:lnTo>
                    <a:pt x="1425282" y="476098"/>
                  </a:lnTo>
                  <a:lnTo>
                    <a:pt x="1425333" y="475704"/>
                  </a:lnTo>
                  <a:lnTo>
                    <a:pt x="1425333" y="473519"/>
                  </a:lnTo>
                  <a:lnTo>
                    <a:pt x="1425422" y="473126"/>
                  </a:lnTo>
                  <a:lnTo>
                    <a:pt x="1425422" y="470992"/>
                  </a:lnTo>
                  <a:lnTo>
                    <a:pt x="1425473" y="470992"/>
                  </a:lnTo>
                  <a:lnTo>
                    <a:pt x="1425473" y="468465"/>
                  </a:lnTo>
                  <a:lnTo>
                    <a:pt x="1425524" y="468008"/>
                  </a:lnTo>
                  <a:lnTo>
                    <a:pt x="1425524" y="465836"/>
                  </a:lnTo>
                  <a:lnTo>
                    <a:pt x="1425575" y="465836"/>
                  </a:lnTo>
                  <a:lnTo>
                    <a:pt x="1425575" y="463741"/>
                  </a:lnTo>
                  <a:lnTo>
                    <a:pt x="1425676" y="463741"/>
                  </a:lnTo>
                  <a:lnTo>
                    <a:pt x="1425676" y="461569"/>
                  </a:lnTo>
                  <a:lnTo>
                    <a:pt x="1425727" y="461569"/>
                  </a:lnTo>
                  <a:lnTo>
                    <a:pt x="1425727" y="459435"/>
                  </a:lnTo>
                  <a:lnTo>
                    <a:pt x="1425778" y="459435"/>
                  </a:lnTo>
                  <a:lnTo>
                    <a:pt x="1425778" y="457695"/>
                  </a:lnTo>
                  <a:lnTo>
                    <a:pt x="1425879" y="457352"/>
                  </a:lnTo>
                  <a:lnTo>
                    <a:pt x="1425879" y="456057"/>
                  </a:lnTo>
                  <a:lnTo>
                    <a:pt x="1425917" y="455612"/>
                  </a:lnTo>
                  <a:lnTo>
                    <a:pt x="1425917" y="453873"/>
                  </a:lnTo>
                  <a:lnTo>
                    <a:pt x="1425968" y="453873"/>
                  </a:lnTo>
                  <a:lnTo>
                    <a:pt x="1425968" y="452183"/>
                  </a:lnTo>
                  <a:lnTo>
                    <a:pt x="1426019" y="452183"/>
                  </a:lnTo>
                  <a:lnTo>
                    <a:pt x="1426019" y="450901"/>
                  </a:lnTo>
                  <a:lnTo>
                    <a:pt x="1426121" y="450456"/>
                  </a:lnTo>
                  <a:lnTo>
                    <a:pt x="1426121" y="448767"/>
                  </a:lnTo>
                  <a:lnTo>
                    <a:pt x="1426172" y="448767"/>
                  </a:lnTo>
                  <a:lnTo>
                    <a:pt x="1426172" y="446684"/>
                  </a:lnTo>
                  <a:lnTo>
                    <a:pt x="1426222" y="446684"/>
                  </a:lnTo>
                  <a:lnTo>
                    <a:pt x="1426222" y="444500"/>
                  </a:lnTo>
                  <a:lnTo>
                    <a:pt x="1426324" y="444500"/>
                  </a:lnTo>
                  <a:lnTo>
                    <a:pt x="1426324" y="442366"/>
                  </a:lnTo>
                  <a:lnTo>
                    <a:pt x="1426375" y="442366"/>
                  </a:lnTo>
                  <a:lnTo>
                    <a:pt x="1426375" y="440233"/>
                  </a:lnTo>
                  <a:lnTo>
                    <a:pt x="1426426" y="440233"/>
                  </a:lnTo>
                  <a:lnTo>
                    <a:pt x="1426426" y="438544"/>
                  </a:lnTo>
                  <a:lnTo>
                    <a:pt x="1426464" y="438544"/>
                  </a:lnTo>
                  <a:lnTo>
                    <a:pt x="1426464" y="436804"/>
                  </a:lnTo>
                  <a:lnTo>
                    <a:pt x="1426565" y="436359"/>
                  </a:lnTo>
                  <a:lnTo>
                    <a:pt x="1426565" y="435127"/>
                  </a:lnTo>
                  <a:lnTo>
                    <a:pt x="1426616" y="434670"/>
                  </a:lnTo>
                  <a:lnTo>
                    <a:pt x="1426616" y="432943"/>
                  </a:lnTo>
                  <a:lnTo>
                    <a:pt x="1426667" y="432943"/>
                  </a:lnTo>
                  <a:lnTo>
                    <a:pt x="1426667" y="431305"/>
                  </a:lnTo>
                  <a:lnTo>
                    <a:pt x="1426768" y="431305"/>
                  </a:lnTo>
                  <a:lnTo>
                    <a:pt x="1426768" y="429565"/>
                  </a:lnTo>
                  <a:lnTo>
                    <a:pt x="1426819" y="429565"/>
                  </a:lnTo>
                  <a:lnTo>
                    <a:pt x="1426819" y="428231"/>
                  </a:lnTo>
                  <a:lnTo>
                    <a:pt x="1426870" y="428231"/>
                  </a:lnTo>
                  <a:lnTo>
                    <a:pt x="1426870" y="426593"/>
                  </a:lnTo>
                  <a:lnTo>
                    <a:pt x="1426921" y="426593"/>
                  </a:lnTo>
                  <a:lnTo>
                    <a:pt x="1426921" y="424904"/>
                  </a:lnTo>
                  <a:lnTo>
                    <a:pt x="1427010" y="424459"/>
                  </a:lnTo>
                  <a:lnTo>
                    <a:pt x="1427010" y="422719"/>
                  </a:lnTo>
                  <a:lnTo>
                    <a:pt x="1427061" y="422275"/>
                  </a:lnTo>
                  <a:lnTo>
                    <a:pt x="1427061" y="420535"/>
                  </a:lnTo>
                  <a:lnTo>
                    <a:pt x="1427111" y="420192"/>
                  </a:lnTo>
                  <a:lnTo>
                    <a:pt x="1427111" y="418452"/>
                  </a:lnTo>
                  <a:lnTo>
                    <a:pt x="1427162" y="418008"/>
                  </a:lnTo>
                  <a:lnTo>
                    <a:pt x="1427162" y="416763"/>
                  </a:lnTo>
                  <a:lnTo>
                    <a:pt x="1427264" y="416763"/>
                  </a:lnTo>
                  <a:lnTo>
                    <a:pt x="1427264" y="415481"/>
                  </a:lnTo>
                  <a:lnTo>
                    <a:pt x="1427314" y="415036"/>
                  </a:lnTo>
                  <a:lnTo>
                    <a:pt x="1427314" y="414185"/>
                  </a:lnTo>
                  <a:lnTo>
                    <a:pt x="1427365" y="413791"/>
                  </a:lnTo>
                  <a:lnTo>
                    <a:pt x="1427365" y="412902"/>
                  </a:lnTo>
                  <a:lnTo>
                    <a:pt x="1427467" y="412496"/>
                  </a:lnTo>
                  <a:lnTo>
                    <a:pt x="1427467" y="411162"/>
                  </a:lnTo>
                  <a:lnTo>
                    <a:pt x="1427505" y="411162"/>
                  </a:lnTo>
                  <a:lnTo>
                    <a:pt x="1427505" y="409867"/>
                  </a:lnTo>
                  <a:lnTo>
                    <a:pt x="1427556" y="409867"/>
                  </a:lnTo>
                  <a:lnTo>
                    <a:pt x="1427556" y="408635"/>
                  </a:lnTo>
                  <a:lnTo>
                    <a:pt x="1427607" y="408635"/>
                  </a:lnTo>
                  <a:lnTo>
                    <a:pt x="1427607" y="407340"/>
                  </a:lnTo>
                  <a:lnTo>
                    <a:pt x="1427708" y="407340"/>
                  </a:lnTo>
                  <a:lnTo>
                    <a:pt x="1427708" y="406095"/>
                  </a:lnTo>
                  <a:lnTo>
                    <a:pt x="1427759" y="406095"/>
                  </a:lnTo>
                  <a:lnTo>
                    <a:pt x="1427759" y="404368"/>
                  </a:lnTo>
                  <a:lnTo>
                    <a:pt x="1427810" y="404368"/>
                  </a:lnTo>
                  <a:lnTo>
                    <a:pt x="1427810" y="403073"/>
                  </a:lnTo>
                  <a:lnTo>
                    <a:pt x="1427911" y="402679"/>
                  </a:lnTo>
                  <a:lnTo>
                    <a:pt x="1427911" y="401383"/>
                  </a:lnTo>
                  <a:lnTo>
                    <a:pt x="1427962" y="401383"/>
                  </a:lnTo>
                  <a:lnTo>
                    <a:pt x="1427962" y="400101"/>
                  </a:lnTo>
                  <a:lnTo>
                    <a:pt x="1428013" y="400101"/>
                  </a:lnTo>
                  <a:lnTo>
                    <a:pt x="1428013" y="399199"/>
                  </a:lnTo>
                  <a:lnTo>
                    <a:pt x="1428051" y="398755"/>
                  </a:lnTo>
                  <a:lnTo>
                    <a:pt x="1428051" y="397523"/>
                  </a:lnTo>
                  <a:lnTo>
                    <a:pt x="1428153" y="397523"/>
                  </a:lnTo>
                  <a:lnTo>
                    <a:pt x="1428153" y="396672"/>
                  </a:lnTo>
                  <a:lnTo>
                    <a:pt x="1428204" y="396227"/>
                  </a:lnTo>
                  <a:lnTo>
                    <a:pt x="1428204" y="394983"/>
                  </a:lnTo>
                  <a:lnTo>
                    <a:pt x="1428254" y="394983"/>
                  </a:lnTo>
                  <a:lnTo>
                    <a:pt x="1428254" y="393700"/>
                  </a:lnTo>
                  <a:lnTo>
                    <a:pt x="1428356" y="393256"/>
                  </a:lnTo>
                  <a:lnTo>
                    <a:pt x="1428356" y="391960"/>
                  </a:lnTo>
                  <a:lnTo>
                    <a:pt x="1428407" y="391566"/>
                  </a:lnTo>
                  <a:lnTo>
                    <a:pt x="1428407" y="390716"/>
                  </a:lnTo>
                  <a:lnTo>
                    <a:pt x="1428457" y="390271"/>
                  </a:lnTo>
                  <a:lnTo>
                    <a:pt x="1428457" y="389433"/>
                  </a:lnTo>
                  <a:lnTo>
                    <a:pt x="1428508" y="388988"/>
                  </a:lnTo>
                  <a:lnTo>
                    <a:pt x="1428508" y="387744"/>
                  </a:lnTo>
                  <a:lnTo>
                    <a:pt x="1428597" y="387744"/>
                  </a:lnTo>
                  <a:lnTo>
                    <a:pt x="1428597" y="386410"/>
                  </a:lnTo>
                  <a:lnTo>
                    <a:pt x="1428648" y="386410"/>
                  </a:lnTo>
                  <a:lnTo>
                    <a:pt x="1428648" y="385115"/>
                  </a:lnTo>
                  <a:lnTo>
                    <a:pt x="1428699" y="385115"/>
                  </a:lnTo>
                  <a:lnTo>
                    <a:pt x="1428699" y="383870"/>
                  </a:lnTo>
                  <a:lnTo>
                    <a:pt x="1428750" y="383870"/>
                  </a:lnTo>
                  <a:lnTo>
                    <a:pt x="1428750" y="383032"/>
                  </a:lnTo>
                  <a:lnTo>
                    <a:pt x="1428851" y="382587"/>
                  </a:lnTo>
                  <a:lnTo>
                    <a:pt x="1428851" y="381698"/>
                  </a:lnTo>
                  <a:lnTo>
                    <a:pt x="1428902" y="381698"/>
                  </a:lnTo>
                  <a:lnTo>
                    <a:pt x="1428902" y="380454"/>
                  </a:lnTo>
                  <a:lnTo>
                    <a:pt x="1428953" y="380454"/>
                  </a:lnTo>
                  <a:lnTo>
                    <a:pt x="1428953" y="379603"/>
                  </a:lnTo>
                  <a:lnTo>
                    <a:pt x="1429054" y="379158"/>
                  </a:lnTo>
                  <a:lnTo>
                    <a:pt x="1429054" y="378714"/>
                  </a:lnTo>
                  <a:lnTo>
                    <a:pt x="1429092" y="378714"/>
                  </a:lnTo>
                  <a:lnTo>
                    <a:pt x="1429092" y="377876"/>
                  </a:lnTo>
                  <a:lnTo>
                    <a:pt x="1429143" y="377431"/>
                  </a:lnTo>
                  <a:lnTo>
                    <a:pt x="1429143" y="376631"/>
                  </a:lnTo>
                  <a:lnTo>
                    <a:pt x="1429194" y="376631"/>
                  </a:lnTo>
                  <a:lnTo>
                    <a:pt x="1429194" y="375742"/>
                  </a:lnTo>
                  <a:lnTo>
                    <a:pt x="1429296" y="375742"/>
                  </a:lnTo>
                  <a:lnTo>
                    <a:pt x="1429296" y="374891"/>
                  </a:lnTo>
                  <a:lnTo>
                    <a:pt x="1429347" y="374891"/>
                  </a:lnTo>
                  <a:lnTo>
                    <a:pt x="1429347" y="374002"/>
                  </a:lnTo>
                  <a:lnTo>
                    <a:pt x="1429397" y="374002"/>
                  </a:lnTo>
                  <a:lnTo>
                    <a:pt x="1429397" y="372758"/>
                  </a:lnTo>
                  <a:lnTo>
                    <a:pt x="1429499" y="372364"/>
                  </a:lnTo>
                  <a:lnTo>
                    <a:pt x="1429499" y="371031"/>
                  </a:lnTo>
                  <a:lnTo>
                    <a:pt x="1429550" y="371031"/>
                  </a:lnTo>
                  <a:lnTo>
                    <a:pt x="1429550" y="369341"/>
                  </a:lnTo>
                  <a:lnTo>
                    <a:pt x="1429601" y="369341"/>
                  </a:lnTo>
                  <a:lnTo>
                    <a:pt x="1429601" y="368046"/>
                  </a:lnTo>
                  <a:lnTo>
                    <a:pt x="1429639" y="368046"/>
                  </a:lnTo>
                  <a:lnTo>
                    <a:pt x="1429639" y="366763"/>
                  </a:lnTo>
                  <a:lnTo>
                    <a:pt x="1429740" y="366763"/>
                  </a:lnTo>
                  <a:lnTo>
                    <a:pt x="1429740" y="365074"/>
                  </a:lnTo>
                  <a:lnTo>
                    <a:pt x="1429791" y="365074"/>
                  </a:lnTo>
                  <a:lnTo>
                    <a:pt x="1429791" y="363334"/>
                  </a:lnTo>
                  <a:lnTo>
                    <a:pt x="1429842" y="363334"/>
                  </a:lnTo>
                  <a:lnTo>
                    <a:pt x="1429842" y="361645"/>
                  </a:lnTo>
                  <a:lnTo>
                    <a:pt x="1429943" y="361645"/>
                  </a:lnTo>
                  <a:lnTo>
                    <a:pt x="1429943" y="360362"/>
                  </a:lnTo>
                  <a:lnTo>
                    <a:pt x="1429994" y="360362"/>
                  </a:lnTo>
                  <a:lnTo>
                    <a:pt x="1429994" y="359512"/>
                  </a:lnTo>
                  <a:lnTo>
                    <a:pt x="1430045" y="359067"/>
                  </a:lnTo>
                  <a:lnTo>
                    <a:pt x="1430045" y="357835"/>
                  </a:lnTo>
                  <a:lnTo>
                    <a:pt x="1430096" y="357835"/>
                  </a:lnTo>
                  <a:lnTo>
                    <a:pt x="1430096" y="356540"/>
                  </a:lnTo>
                  <a:lnTo>
                    <a:pt x="1430185" y="356540"/>
                  </a:lnTo>
                  <a:lnTo>
                    <a:pt x="1430185" y="355295"/>
                  </a:lnTo>
                  <a:lnTo>
                    <a:pt x="1430236" y="354851"/>
                  </a:lnTo>
                  <a:lnTo>
                    <a:pt x="1430236" y="353568"/>
                  </a:lnTo>
                  <a:lnTo>
                    <a:pt x="1430286" y="353568"/>
                  </a:lnTo>
                  <a:lnTo>
                    <a:pt x="1430286" y="352222"/>
                  </a:lnTo>
                  <a:lnTo>
                    <a:pt x="1430337" y="352222"/>
                  </a:lnTo>
                  <a:lnTo>
                    <a:pt x="1430337" y="350990"/>
                  </a:lnTo>
                  <a:lnTo>
                    <a:pt x="1430439" y="350990"/>
                  </a:lnTo>
                  <a:lnTo>
                    <a:pt x="1430439" y="349694"/>
                  </a:lnTo>
                  <a:lnTo>
                    <a:pt x="1430489" y="349694"/>
                  </a:lnTo>
                  <a:lnTo>
                    <a:pt x="1430489" y="348856"/>
                  </a:lnTo>
                  <a:lnTo>
                    <a:pt x="1430540" y="348856"/>
                  </a:lnTo>
                  <a:lnTo>
                    <a:pt x="1430540" y="347955"/>
                  </a:lnTo>
                  <a:lnTo>
                    <a:pt x="1430642" y="347955"/>
                  </a:lnTo>
                  <a:lnTo>
                    <a:pt x="1430642" y="346723"/>
                  </a:lnTo>
                  <a:lnTo>
                    <a:pt x="1430680" y="346723"/>
                  </a:lnTo>
                  <a:lnTo>
                    <a:pt x="1430680" y="345872"/>
                  </a:lnTo>
                  <a:lnTo>
                    <a:pt x="1430731" y="345872"/>
                  </a:lnTo>
                  <a:lnTo>
                    <a:pt x="1430731" y="344983"/>
                  </a:lnTo>
                  <a:lnTo>
                    <a:pt x="1430782" y="344983"/>
                  </a:lnTo>
                  <a:lnTo>
                    <a:pt x="1430782" y="344183"/>
                  </a:lnTo>
                  <a:lnTo>
                    <a:pt x="1430883" y="344183"/>
                  </a:lnTo>
                  <a:lnTo>
                    <a:pt x="1430883" y="343738"/>
                  </a:lnTo>
                  <a:lnTo>
                    <a:pt x="1430934" y="343294"/>
                  </a:lnTo>
                  <a:lnTo>
                    <a:pt x="1430934" y="342900"/>
                  </a:lnTo>
                  <a:lnTo>
                    <a:pt x="1430985" y="342900"/>
                  </a:lnTo>
                  <a:lnTo>
                    <a:pt x="1430985" y="342011"/>
                  </a:lnTo>
                  <a:lnTo>
                    <a:pt x="1431086" y="342011"/>
                  </a:lnTo>
                  <a:lnTo>
                    <a:pt x="1431086" y="341554"/>
                  </a:lnTo>
                  <a:lnTo>
                    <a:pt x="1431137" y="341554"/>
                  </a:lnTo>
                  <a:lnTo>
                    <a:pt x="1431137" y="340766"/>
                  </a:lnTo>
                  <a:lnTo>
                    <a:pt x="1431188" y="340766"/>
                  </a:lnTo>
                  <a:lnTo>
                    <a:pt x="1431188" y="339471"/>
                  </a:lnTo>
                  <a:lnTo>
                    <a:pt x="1431226" y="339471"/>
                  </a:lnTo>
                  <a:lnTo>
                    <a:pt x="1431226" y="338582"/>
                  </a:lnTo>
                  <a:lnTo>
                    <a:pt x="1431328" y="338582"/>
                  </a:lnTo>
                  <a:lnTo>
                    <a:pt x="1431328" y="337744"/>
                  </a:lnTo>
                  <a:lnTo>
                    <a:pt x="1431379" y="337744"/>
                  </a:lnTo>
                  <a:lnTo>
                    <a:pt x="1431379" y="336499"/>
                  </a:lnTo>
                  <a:lnTo>
                    <a:pt x="1431429" y="336499"/>
                  </a:lnTo>
                  <a:lnTo>
                    <a:pt x="1431429" y="335610"/>
                  </a:lnTo>
                  <a:lnTo>
                    <a:pt x="1431531" y="335610"/>
                  </a:lnTo>
                  <a:lnTo>
                    <a:pt x="1431531" y="335153"/>
                  </a:lnTo>
                  <a:lnTo>
                    <a:pt x="1431582" y="335153"/>
                  </a:lnTo>
                  <a:lnTo>
                    <a:pt x="1431582" y="334759"/>
                  </a:lnTo>
                  <a:lnTo>
                    <a:pt x="1431632" y="334759"/>
                  </a:lnTo>
                  <a:lnTo>
                    <a:pt x="1431632" y="333870"/>
                  </a:lnTo>
                  <a:lnTo>
                    <a:pt x="1431683" y="333870"/>
                  </a:lnTo>
                  <a:lnTo>
                    <a:pt x="1431683" y="333527"/>
                  </a:lnTo>
                  <a:lnTo>
                    <a:pt x="1431772" y="333527"/>
                  </a:lnTo>
                  <a:lnTo>
                    <a:pt x="1431772" y="333070"/>
                  </a:lnTo>
                  <a:lnTo>
                    <a:pt x="1431823" y="333070"/>
                  </a:lnTo>
                  <a:lnTo>
                    <a:pt x="1431823" y="332181"/>
                  </a:lnTo>
                  <a:lnTo>
                    <a:pt x="1431874" y="332181"/>
                  </a:lnTo>
                  <a:lnTo>
                    <a:pt x="1431874" y="331787"/>
                  </a:lnTo>
                  <a:lnTo>
                    <a:pt x="1431925" y="331787"/>
                  </a:lnTo>
                  <a:lnTo>
                    <a:pt x="1431925" y="330898"/>
                  </a:lnTo>
                  <a:lnTo>
                    <a:pt x="1432026" y="330898"/>
                  </a:lnTo>
                  <a:lnTo>
                    <a:pt x="1432026" y="330048"/>
                  </a:lnTo>
                  <a:lnTo>
                    <a:pt x="1432077" y="330048"/>
                  </a:lnTo>
                  <a:lnTo>
                    <a:pt x="1432077" y="329209"/>
                  </a:lnTo>
                  <a:lnTo>
                    <a:pt x="1432128" y="329209"/>
                  </a:lnTo>
                  <a:lnTo>
                    <a:pt x="1432128" y="328358"/>
                  </a:lnTo>
                  <a:lnTo>
                    <a:pt x="1432229" y="328358"/>
                  </a:lnTo>
                  <a:lnTo>
                    <a:pt x="1432229" y="327469"/>
                  </a:lnTo>
                  <a:lnTo>
                    <a:pt x="1432267" y="327469"/>
                  </a:lnTo>
                  <a:lnTo>
                    <a:pt x="1432267" y="326631"/>
                  </a:lnTo>
                  <a:lnTo>
                    <a:pt x="1432318" y="326631"/>
                  </a:lnTo>
                  <a:lnTo>
                    <a:pt x="1432318" y="326174"/>
                  </a:lnTo>
                  <a:lnTo>
                    <a:pt x="1432369" y="326174"/>
                  </a:lnTo>
                  <a:lnTo>
                    <a:pt x="1432369" y="325387"/>
                  </a:lnTo>
                  <a:lnTo>
                    <a:pt x="1432471" y="325387"/>
                  </a:lnTo>
                  <a:lnTo>
                    <a:pt x="1432471" y="324498"/>
                  </a:lnTo>
                  <a:lnTo>
                    <a:pt x="1432522" y="324498"/>
                  </a:lnTo>
                  <a:lnTo>
                    <a:pt x="1432522" y="324091"/>
                  </a:lnTo>
                  <a:lnTo>
                    <a:pt x="1432572" y="324091"/>
                  </a:lnTo>
                  <a:lnTo>
                    <a:pt x="1432572" y="323647"/>
                  </a:lnTo>
                  <a:lnTo>
                    <a:pt x="1432674" y="323202"/>
                  </a:lnTo>
                  <a:lnTo>
                    <a:pt x="1432674" y="322758"/>
                  </a:lnTo>
                  <a:lnTo>
                    <a:pt x="1432725" y="322758"/>
                  </a:lnTo>
                  <a:lnTo>
                    <a:pt x="1432725" y="322415"/>
                  </a:lnTo>
                  <a:lnTo>
                    <a:pt x="1432776" y="322415"/>
                  </a:lnTo>
                  <a:lnTo>
                    <a:pt x="1432776" y="321958"/>
                  </a:lnTo>
                  <a:lnTo>
                    <a:pt x="1432814" y="321958"/>
                  </a:lnTo>
                  <a:lnTo>
                    <a:pt x="1432814" y="321513"/>
                  </a:lnTo>
                  <a:lnTo>
                    <a:pt x="1432915" y="321513"/>
                  </a:lnTo>
                  <a:lnTo>
                    <a:pt x="1432915" y="321119"/>
                  </a:lnTo>
                  <a:lnTo>
                    <a:pt x="1432966" y="321119"/>
                  </a:lnTo>
                  <a:lnTo>
                    <a:pt x="1432966" y="320675"/>
                  </a:lnTo>
                  <a:lnTo>
                    <a:pt x="1433017" y="320675"/>
                  </a:lnTo>
                  <a:lnTo>
                    <a:pt x="1433017" y="320231"/>
                  </a:lnTo>
                  <a:lnTo>
                    <a:pt x="1433118" y="320231"/>
                  </a:lnTo>
                  <a:lnTo>
                    <a:pt x="1433118" y="319786"/>
                  </a:lnTo>
                  <a:lnTo>
                    <a:pt x="1433169" y="319786"/>
                  </a:lnTo>
                  <a:lnTo>
                    <a:pt x="1433169" y="319380"/>
                  </a:lnTo>
                  <a:lnTo>
                    <a:pt x="1433220" y="319380"/>
                  </a:lnTo>
                  <a:lnTo>
                    <a:pt x="1433220" y="318935"/>
                  </a:lnTo>
                  <a:lnTo>
                    <a:pt x="1433271" y="318935"/>
                  </a:lnTo>
                  <a:lnTo>
                    <a:pt x="1433271" y="317691"/>
                  </a:lnTo>
                  <a:lnTo>
                    <a:pt x="1433360" y="317691"/>
                  </a:lnTo>
                  <a:lnTo>
                    <a:pt x="1433360" y="317246"/>
                  </a:lnTo>
                  <a:lnTo>
                    <a:pt x="1433411" y="317246"/>
                  </a:lnTo>
                  <a:lnTo>
                    <a:pt x="1433411" y="316408"/>
                  </a:lnTo>
                  <a:lnTo>
                    <a:pt x="1433461" y="316408"/>
                  </a:lnTo>
                  <a:lnTo>
                    <a:pt x="1433461" y="315519"/>
                  </a:lnTo>
                  <a:lnTo>
                    <a:pt x="1433512" y="315519"/>
                  </a:lnTo>
                  <a:lnTo>
                    <a:pt x="1433512" y="314719"/>
                  </a:lnTo>
                  <a:lnTo>
                    <a:pt x="1433614" y="314274"/>
                  </a:lnTo>
                  <a:lnTo>
                    <a:pt x="1433614" y="313830"/>
                  </a:lnTo>
                  <a:lnTo>
                    <a:pt x="1433664" y="313385"/>
                  </a:lnTo>
                  <a:lnTo>
                    <a:pt x="1433664" y="312979"/>
                  </a:lnTo>
                  <a:lnTo>
                    <a:pt x="1433715" y="312979"/>
                  </a:lnTo>
                  <a:lnTo>
                    <a:pt x="1433715" y="312090"/>
                  </a:lnTo>
                  <a:lnTo>
                    <a:pt x="1433817" y="312090"/>
                  </a:lnTo>
                  <a:lnTo>
                    <a:pt x="1433817" y="311302"/>
                  </a:lnTo>
                  <a:lnTo>
                    <a:pt x="1433855" y="310845"/>
                  </a:lnTo>
                  <a:lnTo>
                    <a:pt x="1433855" y="310007"/>
                  </a:lnTo>
                  <a:lnTo>
                    <a:pt x="1433906" y="310007"/>
                  </a:lnTo>
                  <a:lnTo>
                    <a:pt x="1433906" y="309562"/>
                  </a:lnTo>
                  <a:lnTo>
                    <a:pt x="1433957" y="309562"/>
                  </a:lnTo>
                  <a:lnTo>
                    <a:pt x="1433957" y="308712"/>
                  </a:lnTo>
                  <a:lnTo>
                    <a:pt x="1434058" y="308712"/>
                  </a:lnTo>
                  <a:lnTo>
                    <a:pt x="1434058" y="308267"/>
                  </a:lnTo>
                  <a:lnTo>
                    <a:pt x="1434109" y="308267"/>
                  </a:lnTo>
                  <a:lnTo>
                    <a:pt x="1434109" y="307823"/>
                  </a:lnTo>
                  <a:lnTo>
                    <a:pt x="1434160" y="307429"/>
                  </a:lnTo>
                  <a:lnTo>
                    <a:pt x="1434160" y="307035"/>
                  </a:lnTo>
                  <a:lnTo>
                    <a:pt x="1434312" y="307035"/>
                  </a:lnTo>
                  <a:lnTo>
                    <a:pt x="1434312" y="306578"/>
                  </a:lnTo>
                  <a:lnTo>
                    <a:pt x="1434363" y="306578"/>
                  </a:lnTo>
                  <a:lnTo>
                    <a:pt x="1434363" y="305689"/>
                  </a:lnTo>
                  <a:lnTo>
                    <a:pt x="1434401" y="305689"/>
                  </a:lnTo>
                  <a:lnTo>
                    <a:pt x="1434401" y="304851"/>
                  </a:lnTo>
                  <a:lnTo>
                    <a:pt x="1434503" y="304851"/>
                  </a:lnTo>
                  <a:lnTo>
                    <a:pt x="1434503" y="304051"/>
                  </a:lnTo>
                  <a:lnTo>
                    <a:pt x="1434554" y="304051"/>
                  </a:lnTo>
                  <a:lnTo>
                    <a:pt x="1434554" y="303162"/>
                  </a:lnTo>
                  <a:lnTo>
                    <a:pt x="1434604" y="303162"/>
                  </a:lnTo>
                  <a:lnTo>
                    <a:pt x="1434604" y="302717"/>
                  </a:lnTo>
                  <a:lnTo>
                    <a:pt x="1434706" y="302717"/>
                  </a:lnTo>
                  <a:lnTo>
                    <a:pt x="1434706" y="301866"/>
                  </a:lnTo>
                  <a:lnTo>
                    <a:pt x="1434757" y="301866"/>
                  </a:lnTo>
                  <a:lnTo>
                    <a:pt x="1434757" y="301422"/>
                  </a:lnTo>
                  <a:lnTo>
                    <a:pt x="1434807" y="301422"/>
                  </a:lnTo>
                  <a:lnTo>
                    <a:pt x="1434807" y="300634"/>
                  </a:lnTo>
                  <a:lnTo>
                    <a:pt x="1434858" y="300634"/>
                  </a:lnTo>
                  <a:lnTo>
                    <a:pt x="1434858" y="300190"/>
                  </a:lnTo>
                  <a:lnTo>
                    <a:pt x="1434947" y="300190"/>
                  </a:lnTo>
                  <a:lnTo>
                    <a:pt x="1434947" y="299339"/>
                  </a:lnTo>
                  <a:lnTo>
                    <a:pt x="1434998" y="299339"/>
                  </a:lnTo>
                  <a:lnTo>
                    <a:pt x="1434998" y="298894"/>
                  </a:lnTo>
                  <a:lnTo>
                    <a:pt x="1435049" y="298894"/>
                  </a:lnTo>
                  <a:lnTo>
                    <a:pt x="1435049" y="298450"/>
                  </a:lnTo>
                  <a:lnTo>
                    <a:pt x="1435100" y="298450"/>
                  </a:lnTo>
                  <a:lnTo>
                    <a:pt x="1435100" y="298006"/>
                  </a:lnTo>
                  <a:lnTo>
                    <a:pt x="1435201" y="298006"/>
                  </a:lnTo>
                  <a:lnTo>
                    <a:pt x="1435201" y="297155"/>
                  </a:lnTo>
                  <a:lnTo>
                    <a:pt x="1435252" y="297155"/>
                  </a:lnTo>
                  <a:lnTo>
                    <a:pt x="1435252" y="296710"/>
                  </a:lnTo>
                  <a:lnTo>
                    <a:pt x="1435303" y="296710"/>
                  </a:lnTo>
                  <a:lnTo>
                    <a:pt x="1435303" y="296367"/>
                  </a:lnTo>
                  <a:lnTo>
                    <a:pt x="1435404" y="296367"/>
                  </a:lnTo>
                  <a:lnTo>
                    <a:pt x="1435404" y="295923"/>
                  </a:lnTo>
                  <a:lnTo>
                    <a:pt x="1435442" y="295923"/>
                  </a:lnTo>
                  <a:lnTo>
                    <a:pt x="1435442" y="295021"/>
                  </a:lnTo>
                  <a:lnTo>
                    <a:pt x="1435493" y="295021"/>
                  </a:lnTo>
                  <a:lnTo>
                    <a:pt x="1435493" y="294627"/>
                  </a:lnTo>
                  <a:lnTo>
                    <a:pt x="1435544" y="294627"/>
                  </a:lnTo>
                  <a:lnTo>
                    <a:pt x="1435544" y="294183"/>
                  </a:lnTo>
                  <a:lnTo>
                    <a:pt x="1435697" y="294183"/>
                  </a:lnTo>
                  <a:lnTo>
                    <a:pt x="1435697" y="293294"/>
                  </a:lnTo>
                  <a:lnTo>
                    <a:pt x="1435747" y="293294"/>
                  </a:lnTo>
                  <a:lnTo>
                    <a:pt x="1435747" y="292938"/>
                  </a:lnTo>
                  <a:lnTo>
                    <a:pt x="1435849" y="292494"/>
                  </a:lnTo>
                  <a:lnTo>
                    <a:pt x="1435900" y="292494"/>
                  </a:lnTo>
                  <a:lnTo>
                    <a:pt x="1435900" y="292049"/>
                  </a:lnTo>
                  <a:lnTo>
                    <a:pt x="1435951" y="291656"/>
                  </a:lnTo>
                  <a:lnTo>
                    <a:pt x="1435989" y="291656"/>
                  </a:lnTo>
                  <a:lnTo>
                    <a:pt x="1435989" y="291211"/>
                  </a:lnTo>
                  <a:lnTo>
                    <a:pt x="1436141" y="291211"/>
                  </a:lnTo>
                  <a:lnTo>
                    <a:pt x="1436141" y="290309"/>
                  </a:lnTo>
                  <a:lnTo>
                    <a:pt x="1436192" y="290309"/>
                  </a:lnTo>
                  <a:lnTo>
                    <a:pt x="1436192" y="289966"/>
                  </a:lnTo>
                  <a:lnTo>
                    <a:pt x="1436293" y="289966"/>
                  </a:lnTo>
                  <a:lnTo>
                    <a:pt x="1436293" y="289522"/>
                  </a:lnTo>
                  <a:lnTo>
                    <a:pt x="1436344" y="289522"/>
                  </a:lnTo>
                  <a:lnTo>
                    <a:pt x="1436344" y="289077"/>
                  </a:lnTo>
                  <a:lnTo>
                    <a:pt x="1436395" y="289077"/>
                  </a:lnTo>
                  <a:lnTo>
                    <a:pt x="1436395" y="288620"/>
                  </a:lnTo>
                  <a:lnTo>
                    <a:pt x="1436446" y="288620"/>
                  </a:lnTo>
                  <a:lnTo>
                    <a:pt x="1436446" y="288227"/>
                  </a:lnTo>
                  <a:lnTo>
                    <a:pt x="1436535" y="288227"/>
                  </a:lnTo>
                  <a:lnTo>
                    <a:pt x="1436535" y="287782"/>
                  </a:lnTo>
                  <a:lnTo>
                    <a:pt x="1436586" y="287337"/>
                  </a:lnTo>
                  <a:lnTo>
                    <a:pt x="1436586" y="286944"/>
                  </a:lnTo>
                  <a:lnTo>
                    <a:pt x="1436687" y="286944"/>
                  </a:lnTo>
                  <a:lnTo>
                    <a:pt x="1436687" y="286487"/>
                  </a:lnTo>
                  <a:lnTo>
                    <a:pt x="1436839" y="286487"/>
                  </a:lnTo>
                  <a:lnTo>
                    <a:pt x="1436839" y="286042"/>
                  </a:lnTo>
                  <a:lnTo>
                    <a:pt x="1436992" y="286042"/>
                  </a:lnTo>
                  <a:lnTo>
                    <a:pt x="1436992" y="285598"/>
                  </a:lnTo>
                  <a:lnTo>
                    <a:pt x="1437030" y="285598"/>
                  </a:lnTo>
                  <a:lnTo>
                    <a:pt x="1437081" y="285255"/>
                  </a:lnTo>
                  <a:lnTo>
                    <a:pt x="1437233" y="285255"/>
                  </a:lnTo>
                  <a:lnTo>
                    <a:pt x="1437233" y="284810"/>
                  </a:lnTo>
                  <a:lnTo>
                    <a:pt x="1437284" y="284353"/>
                  </a:lnTo>
                  <a:lnTo>
                    <a:pt x="1437335" y="284353"/>
                  </a:lnTo>
                  <a:lnTo>
                    <a:pt x="1437335" y="283908"/>
                  </a:lnTo>
                  <a:lnTo>
                    <a:pt x="1437436" y="283908"/>
                  </a:lnTo>
                  <a:lnTo>
                    <a:pt x="1437436" y="283515"/>
                  </a:lnTo>
                  <a:lnTo>
                    <a:pt x="1437538" y="283515"/>
                  </a:lnTo>
                  <a:lnTo>
                    <a:pt x="1437538" y="283070"/>
                  </a:lnTo>
                  <a:lnTo>
                    <a:pt x="1437729" y="283070"/>
                  </a:lnTo>
                  <a:lnTo>
                    <a:pt x="1437729" y="282626"/>
                  </a:lnTo>
                  <a:lnTo>
                    <a:pt x="1437881" y="282626"/>
                  </a:lnTo>
                  <a:lnTo>
                    <a:pt x="1437881" y="282270"/>
                  </a:lnTo>
                  <a:lnTo>
                    <a:pt x="1437982" y="282270"/>
                  </a:lnTo>
                  <a:lnTo>
                    <a:pt x="1437982" y="281826"/>
                  </a:lnTo>
                  <a:lnTo>
                    <a:pt x="1438122" y="281826"/>
                  </a:lnTo>
                  <a:lnTo>
                    <a:pt x="1438122" y="281381"/>
                  </a:lnTo>
                  <a:lnTo>
                    <a:pt x="1438224" y="281381"/>
                  </a:lnTo>
                  <a:lnTo>
                    <a:pt x="1438224" y="280543"/>
                  </a:lnTo>
                  <a:lnTo>
                    <a:pt x="1438275" y="280543"/>
                  </a:lnTo>
                  <a:lnTo>
                    <a:pt x="1438275" y="280098"/>
                  </a:lnTo>
                  <a:lnTo>
                    <a:pt x="1438478" y="280098"/>
                  </a:lnTo>
                  <a:lnTo>
                    <a:pt x="1438478" y="279641"/>
                  </a:lnTo>
                  <a:lnTo>
                    <a:pt x="1438579" y="279248"/>
                  </a:lnTo>
                  <a:lnTo>
                    <a:pt x="1438617" y="279248"/>
                  </a:lnTo>
                  <a:lnTo>
                    <a:pt x="1438617" y="278854"/>
                  </a:lnTo>
                  <a:lnTo>
                    <a:pt x="1438719" y="278854"/>
                  </a:lnTo>
                  <a:lnTo>
                    <a:pt x="1438719" y="278409"/>
                  </a:lnTo>
                  <a:lnTo>
                    <a:pt x="1438922" y="278409"/>
                  </a:lnTo>
                  <a:lnTo>
                    <a:pt x="1438922" y="277965"/>
                  </a:lnTo>
                  <a:lnTo>
                    <a:pt x="1439024" y="277965"/>
                  </a:lnTo>
                  <a:lnTo>
                    <a:pt x="1439024" y="277558"/>
                  </a:lnTo>
                  <a:lnTo>
                    <a:pt x="1439075" y="277558"/>
                  </a:lnTo>
                  <a:lnTo>
                    <a:pt x="1439075" y="277114"/>
                  </a:lnTo>
                  <a:lnTo>
                    <a:pt x="1439164" y="277114"/>
                  </a:lnTo>
                  <a:lnTo>
                    <a:pt x="1439164" y="276669"/>
                  </a:lnTo>
                  <a:lnTo>
                    <a:pt x="1439265" y="276669"/>
                  </a:lnTo>
                  <a:lnTo>
                    <a:pt x="1439265" y="276225"/>
                  </a:lnTo>
                  <a:lnTo>
                    <a:pt x="1439316" y="276225"/>
                  </a:lnTo>
                  <a:lnTo>
                    <a:pt x="1439316" y="275831"/>
                  </a:lnTo>
                  <a:lnTo>
                    <a:pt x="1439367" y="275831"/>
                  </a:lnTo>
                  <a:lnTo>
                    <a:pt x="1439367" y="275374"/>
                  </a:lnTo>
                  <a:lnTo>
                    <a:pt x="1439570" y="275374"/>
                  </a:lnTo>
                  <a:lnTo>
                    <a:pt x="1439570" y="274930"/>
                  </a:lnTo>
                  <a:lnTo>
                    <a:pt x="1439621" y="274930"/>
                  </a:lnTo>
                  <a:lnTo>
                    <a:pt x="1439621" y="274587"/>
                  </a:lnTo>
                  <a:lnTo>
                    <a:pt x="1439710" y="274587"/>
                  </a:lnTo>
                  <a:lnTo>
                    <a:pt x="1439710" y="274142"/>
                  </a:lnTo>
                  <a:lnTo>
                    <a:pt x="1439862" y="274142"/>
                  </a:lnTo>
                  <a:lnTo>
                    <a:pt x="1439862" y="273698"/>
                  </a:lnTo>
                  <a:lnTo>
                    <a:pt x="1440014" y="273698"/>
                  </a:lnTo>
                  <a:lnTo>
                    <a:pt x="1440014" y="273241"/>
                  </a:lnTo>
                  <a:lnTo>
                    <a:pt x="1440167" y="273241"/>
                  </a:lnTo>
                  <a:lnTo>
                    <a:pt x="1440167" y="272847"/>
                  </a:lnTo>
                  <a:lnTo>
                    <a:pt x="1440256" y="272847"/>
                  </a:lnTo>
                  <a:lnTo>
                    <a:pt x="1440256" y="272402"/>
                  </a:lnTo>
                  <a:lnTo>
                    <a:pt x="1440510" y="272402"/>
                  </a:lnTo>
                  <a:lnTo>
                    <a:pt x="1440510" y="271958"/>
                  </a:lnTo>
                  <a:lnTo>
                    <a:pt x="1440751" y="271958"/>
                  </a:lnTo>
                  <a:lnTo>
                    <a:pt x="1440751" y="271513"/>
                  </a:lnTo>
                  <a:lnTo>
                    <a:pt x="1440904" y="271513"/>
                  </a:lnTo>
                  <a:lnTo>
                    <a:pt x="1440904" y="271158"/>
                  </a:lnTo>
                  <a:lnTo>
                    <a:pt x="1441107" y="271158"/>
                  </a:lnTo>
                  <a:lnTo>
                    <a:pt x="1441157" y="270713"/>
                  </a:lnTo>
                  <a:lnTo>
                    <a:pt x="1441297" y="270713"/>
                  </a:lnTo>
                  <a:lnTo>
                    <a:pt x="1441297" y="270269"/>
                  </a:lnTo>
                  <a:lnTo>
                    <a:pt x="1441348" y="270269"/>
                  </a:lnTo>
                  <a:lnTo>
                    <a:pt x="1441348" y="269875"/>
                  </a:lnTo>
                  <a:lnTo>
                    <a:pt x="1441450" y="269875"/>
                  </a:lnTo>
                  <a:lnTo>
                    <a:pt x="1441551" y="269431"/>
                  </a:lnTo>
                  <a:lnTo>
                    <a:pt x="1441602" y="269431"/>
                  </a:lnTo>
                  <a:lnTo>
                    <a:pt x="1441602" y="268986"/>
                  </a:lnTo>
                  <a:lnTo>
                    <a:pt x="1441792" y="268986"/>
                  </a:lnTo>
                  <a:lnTo>
                    <a:pt x="1441792" y="268529"/>
                  </a:lnTo>
                  <a:lnTo>
                    <a:pt x="1442250" y="268529"/>
                  </a:lnTo>
                  <a:lnTo>
                    <a:pt x="1442250" y="268135"/>
                  </a:lnTo>
                  <a:lnTo>
                    <a:pt x="1442491" y="268135"/>
                  </a:lnTo>
                  <a:lnTo>
                    <a:pt x="1442491" y="267741"/>
                  </a:lnTo>
                  <a:lnTo>
                    <a:pt x="1442491" y="268135"/>
                  </a:lnTo>
                  <a:lnTo>
                    <a:pt x="1442694" y="268135"/>
                  </a:lnTo>
                  <a:lnTo>
                    <a:pt x="1442694" y="267741"/>
                  </a:lnTo>
                  <a:lnTo>
                    <a:pt x="1442796" y="267741"/>
                  </a:lnTo>
                  <a:lnTo>
                    <a:pt x="1442796" y="267297"/>
                  </a:lnTo>
                  <a:lnTo>
                    <a:pt x="1442936" y="267297"/>
                  </a:lnTo>
                  <a:lnTo>
                    <a:pt x="1442936" y="266852"/>
                  </a:lnTo>
                  <a:lnTo>
                    <a:pt x="1442986" y="266852"/>
                  </a:lnTo>
                  <a:lnTo>
                    <a:pt x="1442986" y="266446"/>
                  </a:lnTo>
                  <a:lnTo>
                    <a:pt x="1443189" y="266446"/>
                  </a:lnTo>
                  <a:lnTo>
                    <a:pt x="1443189" y="266002"/>
                  </a:lnTo>
                  <a:lnTo>
                    <a:pt x="1443380" y="266002"/>
                  </a:lnTo>
                  <a:lnTo>
                    <a:pt x="1443380" y="265557"/>
                  </a:lnTo>
                  <a:lnTo>
                    <a:pt x="1444079" y="265557"/>
                  </a:lnTo>
                  <a:lnTo>
                    <a:pt x="1444079" y="265163"/>
                  </a:lnTo>
                  <a:lnTo>
                    <a:pt x="1444574" y="265163"/>
                  </a:lnTo>
                  <a:lnTo>
                    <a:pt x="1444574" y="264719"/>
                  </a:lnTo>
                  <a:lnTo>
                    <a:pt x="1444777" y="264719"/>
                  </a:lnTo>
                  <a:lnTo>
                    <a:pt x="1444777" y="264262"/>
                  </a:lnTo>
                  <a:lnTo>
                    <a:pt x="1445171" y="264262"/>
                  </a:lnTo>
                  <a:lnTo>
                    <a:pt x="1445171" y="263817"/>
                  </a:lnTo>
                  <a:lnTo>
                    <a:pt x="1445222" y="263817"/>
                  </a:lnTo>
                  <a:lnTo>
                    <a:pt x="1445222" y="264262"/>
                  </a:lnTo>
                  <a:lnTo>
                    <a:pt x="1445272" y="264262"/>
                  </a:lnTo>
                  <a:lnTo>
                    <a:pt x="1445272" y="263817"/>
                  </a:lnTo>
                  <a:lnTo>
                    <a:pt x="1446212" y="263817"/>
                  </a:lnTo>
                  <a:lnTo>
                    <a:pt x="1446212" y="263474"/>
                  </a:lnTo>
                  <a:lnTo>
                    <a:pt x="1446555" y="263474"/>
                  </a:lnTo>
                  <a:lnTo>
                    <a:pt x="1446555" y="263030"/>
                  </a:lnTo>
                  <a:lnTo>
                    <a:pt x="1446606" y="263030"/>
                  </a:lnTo>
                  <a:lnTo>
                    <a:pt x="1446606" y="262585"/>
                  </a:lnTo>
                  <a:lnTo>
                    <a:pt x="1447101" y="262585"/>
                  </a:lnTo>
                  <a:lnTo>
                    <a:pt x="1447101" y="262179"/>
                  </a:lnTo>
                  <a:lnTo>
                    <a:pt x="1447457" y="262179"/>
                  </a:lnTo>
                  <a:lnTo>
                    <a:pt x="1447457" y="262585"/>
                  </a:lnTo>
                  <a:lnTo>
                    <a:pt x="1447507" y="262585"/>
                  </a:lnTo>
                  <a:lnTo>
                    <a:pt x="1447507" y="262179"/>
                  </a:lnTo>
                  <a:lnTo>
                    <a:pt x="1447647" y="262179"/>
                  </a:lnTo>
                  <a:lnTo>
                    <a:pt x="1447647" y="262585"/>
                  </a:lnTo>
                  <a:lnTo>
                    <a:pt x="1448193" y="262585"/>
                  </a:lnTo>
                  <a:lnTo>
                    <a:pt x="1448193" y="263030"/>
                  </a:lnTo>
                  <a:lnTo>
                    <a:pt x="1448244" y="263030"/>
                  </a:lnTo>
                  <a:lnTo>
                    <a:pt x="1448244" y="262585"/>
                  </a:lnTo>
                  <a:lnTo>
                    <a:pt x="1448346" y="262585"/>
                  </a:lnTo>
                  <a:lnTo>
                    <a:pt x="1448397" y="262179"/>
                  </a:lnTo>
                  <a:lnTo>
                    <a:pt x="1448600" y="262179"/>
                  </a:lnTo>
                  <a:lnTo>
                    <a:pt x="1448600" y="262585"/>
                  </a:lnTo>
                  <a:lnTo>
                    <a:pt x="1448600" y="262179"/>
                  </a:lnTo>
                  <a:lnTo>
                    <a:pt x="1449539" y="262179"/>
                  </a:lnTo>
                  <a:lnTo>
                    <a:pt x="1449539" y="261734"/>
                  </a:lnTo>
                  <a:lnTo>
                    <a:pt x="1450238" y="261734"/>
                  </a:lnTo>
                  <a:lnTo>
                    <a:pt x="1450238" y="262179"/>
                  </a:lnTo>
                  <a:lnTo>
                    <a:pt x="1450632" y="262179"/>
                  </a:lnTo>
                  <a:lnTo>
                    <a:pt x="1450632" y="262585"/>
                  </a:lnTo>
                  <a:lnTo>
                    <a:pt x="1451279" y="262585"/>
                  </a:lnTo>
                  <a:lnTo>
                    <a:pt x="1451317" y="263030"/>
                  </a:lnTo>
                  <a:lnTo>
                    <a:pt x="1451965" y="263030"/>
                  </a:lnTo>
                  <a:lnTo>
                    <a:pt x="1452016" y="263474"/>
                  </a:lnTo>
                  <a:lnTo>
                    <a:pt x="1452562" y="263474"/>
                  </a:lnTo>
                  <a:lnTo>
                    <a:pt x="1452562" y="263817"/>
                  </a:lnTo>
                  <a:lnTo>
                    <a:pt x="1452562" y="263474"/>
                  </a:lnTo>
                  <a:lnTo>
                    <a:pt x="1452714" y="263474"/>
                  </a:lnTo>
                  <a:lnTo>
                    <a:pt x="1452714" y="263030"/>
                  </a:lnTo>
                  <a:lnTo>
                    <a:pt x="1452867" y="263030"/>
                  </a:lnTo>
                  <a:lnTo>
                    <a:pt x="1452867" y="263474"/>
                  </a:lnTo>
                  <a:lnTo>
                    <a:pt x="1452956" y="263474"/>
                  </a:lnTo>
                  <a:lnTo>
                    <a:pt x="1452956" y="263030"/>
                  </a:lnTo>
                  <a:lnTo>
                    <a:pt x="1453159" y="263030"/>
                  </a:lnTo>
                  <a:lnTo>
                    <a:pt x="1453159" y="263474"/>
                  </a:lnTo>
                  <a:lnTo>
                    <a:pt x="1453857" y="263474"/>
                  </a:lnTo>
                  <a:lnTo>
                    <a:pt x="1453908" y="263817"/>
                  </a:lnTo>
                  <a:lnTo>
                    <a:pt x="1454353" y="263817"/>
                  </a:lnTo>
                  <a:lnTo>
                    <a:pt x="1454353" y="264262"/>
                  </a:lnTo>
                  <a:lnTo>
                    <a:pt x="1454797" y="264262"/>
                  </a:lnTo>
                  <a:lnTo>
                    <a:pt x="1454797" y="264719"/>
                  </a:lnTo>
                  <a:lnTo>
                    <a:pt x="1454950" y="264719"/>
                  </a:lnTo>
                  <a:lnTo>
                    <a:pt x="1454950" y="264262"/>
                  </a:lnTo>
                  <a:lnTo>
                    <a:pt x="1455343" y="264262"/>
                  </a:lnTo>
                  <a:lnTo>
                    <a:pt x="1455343" y="264719"/>
                  </a:lnTo>
                  <a:lnTo>
                    <a:pt x="1455636" y="264719"/>
                  </a:lnTo>
                  <a:lnTo>
                    <a:pt x="1455636" y="264262"/>
                  </a:lnTo>
                  <a:lnTo>
                    <a:pt x="1455686" y="264262"/>
                  </a:lnTo>
                  <a:lnTo>
                    <a:pt x="1455686" y="264719"/>
                  </a:lnTo>
                  <a:lnTo>
                    <a:pt x="1455737" y="264719"/>
                  </a:lnTo>
                  <a:lnTo>
                    <a:pt x="1455737" y="264262"/>
                  </a:lnTo>
                  <a:lnTo>
                    <a:pt x="1455889" y="264262"/>
                  </a:lnTo>
                  <a:lnTo>
                    <a:pt x="1455889" y="264719"/>
                  </a:lnTo>
                  <a:lnTo>
                    <a:pt x="1456283" y="264719"/>
                  </a:lnTo>
                  <a:lnTo>
                    <a:pt x="1456283" y="265163"/>
                  </a:lnTo>
                  <a:lnTo>
                    <a:pt x="1456486" y="265163"/>
                  </a:lnTo>
                  <a:lnTo>
                    <a:pt x="1456486" y="265557"/>
                  </a:lnTo>
                  <a:lnTo>
                    <a:pt x="1456626" y="265557"/>
                  </a:lnTo>
                  <a:lnTo>
                    <a:pt x="1456626" y="266002"/>
                  </a:lnTo>
                  <a:lnTo>
                    <a:pt x="1456779" y="266002"/>
                  </a:lnTo>
                  <a:lnTo>
                    <a:pt x="1456779" y="265557"/>
                  </a:lnTo>
                  <a:lnTo>
                    <a:pt x="1456829" y="265557"/>
                  </a:lnTo>
                  <a:lnTo>
                    <a:pt x="1456829" y="266002"/>
                  </a:lnTo>
                  <a:lnTo>
                    <a:pt x="1457223" y="266002"/>
                  </a:lnTo>
                  <a:lnTo>
                    <a:pt x="1457223" y="266446"/>
                  </a:lnTo>
                  <a:lnTo>
                    <a:pt x="1457528" y="266446"/>
                  </a:lnTo>
                  <a:lnTo>
                    <a:pt x="1457528" y="266852"/>
                  </a:lnTo>
                  <a:lnTo>
                    <a:pt x="1457718" y="266852"/>
                  </a:lnTo>
                  <a:lnTo>
                    <a:pt x="1457718" y="267297"/>
                  </a:lnTo>
                  <a:lnTo>
                    <a:pt x="1457922" y="267297"/>
                  </a:lnTo>
                  <a:lnTo>
                    <a:pt x="1457922" y="267741"/>
                  </a:lnTo>
                  <a:lnTo>
                    <a:pt x="1458074" y="267741"/>
                  </a:lnTo>
                  <a:lnTo>
                    <a:pt x="1458074" y="268135"/>
                  </a:lnTo>
                  <a:lnTo>
                    <a:pt x="1458176" y="268135"/>
                  </a:lnTo>
                  <a:lnTo>
                    <a:pt x="1458176" y="268529"/>
                  </a:lnTo>
                  <a:lnTo>
                    <a:pt x="1458366" y="268529"/>
                  </a:lnTo>
                  <a:lnTo>
                    <a:pt x="1458366" y="268986"/>
                  </a:lnTo>
                  <a:lnTo>
                    <a:pt x="1458569" y="268986"/>
                  </a:lnTo>
                  <a:lnTo>
                    <a:pt x="1458569" y="269431"/>
                  </a:lnTo>
                  <a:lnTo>
                    <a:pt x="1458861" y="269431"/>
                  </a:lnTo>
                  <a:lnTo>
                    <a:pt x="1458861" y="268986"/>
                  </a:lnTo>
                  <a:lnTo>
                    <a:pt x="1458912" y="268986"/>
                  </a:lnTo>
                  <a:lnTo>
                    <a:pt x="1458912" y="269431"/>
                  </a:lnTo>
                  <a:lnTo>
                    <a:pt x="1459357" y="269431"/>
                  </a:lnTo>
                  <a:lnTo>
                    <a:pt x="1459357" y="269875"/>
                  </a:lnTo>
                  <a:lnTo>
                    <a:pt x="1459763" y="269875"/>
                  </a:lnTo>
                  <a:lnTo>
                    <a:pt x="1459763" y="270269"/>
                  </a:lnTo>
                  <a:lnTo>
                    <a:pt x="1460106" y="270269"/>
                  </a:lnTo>
                  <a:lnTo>
                    <a:pt x="1460106" y="270713"/>
                  </a:lnTo>
                  <a:lnTo>
                    <a:pt x="1460207" y="270713"/>
                  </a:lnTo>
                  <a:lnTo>
                    <a:pt x="1460207" y="271158"/>
                  </a:lnTo>
                  <a:lnTo>
                    <a:pt x="1460449" y="271158"/>
                  </a:lnTo>
                  <a:lnTo>
                    <a:pt x="1460449" y="271513"/>
                  </a:lnTo>
                  <a:lnTo>
                    <a:pt x="1460652" y="271513"/>
                  </a:lnTo>
                  <a:lnTo>
                    <a:pt x="1460652" y="271958"/>
                  </a:lnTo>
                  <a:lnTo>
                    <a:pt x="1460842" y="271958"/>
                  </a:lnTo>
                  <a:lnTo>
                    <a:pt x="1460842" y="272402"/>
                  </a:lnTo>
                  <a:lnTo>
                    <a:pt x="1461097" y="272402"/>
                  </a:lnTo>
                  <a:lnTo>
                    <a:pt x="1461097" y="272847"/>
                  </a:lnTo>
                  <a:lnTo>
                    <a:pt x="1461351" y="272847"/>
                  </a:lnTo>
                  <a:lnTo>
                    <a:pt x="1461351" y="273241"/>
                  </a:lnTo>
                  <a:lnTo>
                    <a:pt x="1461541" y="273241"/>
                  </a:lnTo>
                  <a:lnTo>
                    <a:pt x="1461541" y="273698"/>
                  </a:lnTo>
                  <a:lnTo>
                    <a:pt x="1461693" y="273698"/>
                  </a:lnTo>
                  <a:lnTo>
                    <a:pt x="1461693" y="274142"/>
                  </a:lnTo>
                  <a:lnTo>
                    <a:pt x="1462087" y="274142"/>
                  </a:lnTo>
                  <a:lnTo>
                    <a:pt x="1462087" y="274587"/>
                  </a:lnTo>
                  <a:lnTo>
                    <a:pt x="1462684" y="274587"/>
                  </a:lnTo>
                  <a:lnTo>
                    <a:pt x="1462684" y="274930"/>
                  </a:lnTo>
                  <a:lnTo>
                    <a:pt x="1463078" y="274930"/>
                  </a:lnTo>
                  <a:lnTo>
                    <a:pt x="1463078" y="275374"/>
                  </a:lnTo>
                  <a:lnTo>
                    <a:pt x="1463281" y="275374"/>
                  </a:lnTo>
                  <a:lnTo>
                    <a:pt x="1463281" y="275831"/>
                  </a:lnTo>
                  <a:lnTo>
                    <a:pt x="1463433" y="275831"/>
                  </a:lnTo>
                  <a:lnTo>
                    <a:pt x="1463433" y="276225"/>
                  </a:lnTo>
                  <a:lnTo>
                    <a:pt x="1463624" y="276225"/>
                  </a:lnTo>
                  <a:lnTo>
                    <a:pt x="1463624" y="276669"/>
                  </a:lnTo>
                  <a:lnTo>
                    <a:pt x="1463827" y="276669"/>
                  </a:lnTo>
                  <a:lnTo>
                    <a:pt x="1463827" y="277114"/>
                  </a:lnTo>
                  <a:lnTo>
                    <a:pt x="1464119" y="277114"/>
                  </a:lnTo>
                  <a:lnTo>
                    <a:pt x="1464119" y="277558"/>
                  </a:lnTo>
                  <a:lnTo>
                    <a:pt x="1464475" y="277558"/>
                  </a:lnTo>
                  <a:lnTo>
                    <a:pt x="1464526" y="277965"/>
                  </a:lnTo>
                  <a:lnTo>
                    <a:pt x="1464665" y="277965"/>
                  </a:lnTo>
                  <a:lnTo>
                    <a:pt x="1464665" y="278409"/>
                  </a:lnTo>
                  <a:lnTo>
                    <a:pt x="1464767" y="278409"/>
                  </a:lnTo>
                  <a:lnTo>
                    <a:pt x="1464767" y="278854"/>
                  </a:lnTo>
                  <a:lnTo>
                    <a:pt x="1465021" y="278854"/>
                  </a:lnTo>
                  <a:lnTo>
                    <a:pt x="1465021" y="279248"/>
                  </a:lnTo>
                  <a:lnTo>
                    <a:pt x="1465465" y="279248"/>
                  </a:lnTo>
                  <a:lnTo>
                    <a:pt x="1465465" y="279641"/>
                  </a:lnTo>
                  <a:lnTo>
                    <a:pt x="1465859" y="279641"/>
                  </a:lnTo>
                  <a:lnTo>
                    <a:pt x="1465859" y="280098"/>
                  </a:lnTo>
                  <a:lnTo>
                    <a:pt x="1466304" y="280098"/>
                  </a:lnTo>
                  <a:lnTo>
                    <a:pt x="1466304" y="280543"/>
                  </a:lnTo>
                  <a:lnTo>
                    <a:pt x="1466507" y="280543"/>
                  </a:lnTo>
                  <a:lnTo>
                    <a:pt x="1466557" y="280937"/>
                  </a:lnTo>
                  <a:lnTo>
                    <a:pt x="1466697" y="280937"/>
                  </a:lnTo>
                  <a:lnTo>
                    <a:pt x="1466697" y="281381"/>
                  </a:lnTo>
                  <a:lnTo>
                    <a:pt x="1466850" y="281381"/>
                  </a:lnTo>
                  <a:lnTo>
                    <a:pt x="1466850" y="281826"/>
                  </a:lnTo>
                  <a:lnTo>
                    <a:pt x="1467002" y="281826"/>
                  </a:lnTo>
                  <a:lnTo>
                    <a:pt x="1467053" y="282270"/>
                  </a:lnTo>
                  <a:lnTo>
                    <a:pt x="1467243" y="282270"/>
                  </a:lnTo>
                  <a:lnTo>
                    <a:pt x="1467243" y="282626"/>
                  </a:lnTo>
                  <a:lnTo>
                    <a:pt x="1467396" y="282626"/>
                  </a:lnTo>
                  <a:lnTo>
                    <a:pt x="1467396" y="283070"/>
                  </a:lnTo>
                  <a:lnTo>
                    <a:pt x="1467599" y="283070"/>
                  </a:lnTo>
                  <a:lnTo>
                    <a:pt x="1467599" y="283515"/>
                  </a:lnTo>
                  <a:lnTo>
                    <a:pt x="1467701" y="283515"/>
                  </a:lnTo>
                  <a:lnTo>
                    <a:pt x="1467701" y="283908"/>
                  </a:lnTo>
                  <a:lnTo>
                    <a:pt x="1467840" y="283908"/>
                  </a:lnTo>
                  <a:lnTo>
                    <a:pt x="1467840" y="284353"/>
                  </a:lnTo>
                  <a:lnTo>
                    <a:pt x="1467942" y="284353"/>
                  </a:lnTo>
                  <a:lnTo>
                    <a:pt x="1467942" y="284810"/>
                  </a:lnTo>
                  <a:lnTo>
                    <a:pt x="1468094" y="284810"/>
                  </a:lnTo>
                  <a:lnTo>
                    <a:pt x="1468094" y="285255"/>
                  </a:lnTo>
                  <a:lnTo>
                    <a:pt x="1468196" y="285255"/>
                  </a:lnTo>
                  <a:lnTo>
                    <a:pt x="1468196" y="285598"/>
                  </a:lnTo>
                  <a:lnTo>
                    <a:pt x="1468336" y="285598"/>
                  </a:lnTo>
                  <a:lnTo>
                    <a:pt x="1468336" y="286042"/>
                  </a:lnTo>
                  <a:lnTo>
                    <a:pt x="1468386" y="286042"/>
                  </a:lnTo>
                  <a:lnTo>
                    <a:pt x="1468437" y="286487"/>
                  </a:lnTo>
                  <a:lnTo>
                    <a:pt x="1468539" y="286487"/>
                  </a:lnTo>
                  <a:lnTo>
                    <a:pt x="1468539" y="286944"/>
                  </a:lnTo>
                  <a:lnTo>
                    <a:pt x="1468640" y="286944"/>
                  </a:lnTo>
                  <a:lnTo>
                    <a:pt x="1468640" y="287337"/>
                  </a:lnTo>
                  <a:lnTo>
                    <a:pt x="1468780" y="287337"/>
                  </a:lnTo>
                  <a:lnTo>
                    <a:pt x="1468780" y="287782"/>
                  </a:lnTo>
                  <a:lnTo>
                    <a:pt x="1468882" y="287782"/>
                  </a:lnTo>
                  <a:lnTo>
                    <a:pt x="1468882" y="288227"/>
                  </a:lnTo>
                  <a:lnTo>
                    <a:pt x="1469034" y="288227"/>
                  </a:lnTo>
                  <a:lnTo>
                    <a:pt x="1469034" y="288620"/>
                  </a:lnTo>
                  <a:lnTo>
                    <a:pt x="1469085" y="288620"/>
                  </a:lnTo>
                  <a:lnTo>
                    <a:pt x="1469085" y="289077"/>
                  </a:lnTo>
                  <a:lnTo>
                    <a:pt x="1469237" y="289077"/>
                  </a:lnTo>
                  <a:lnTo>
                    <a:pt x="1469237" y="289522"/>
                  </a:lnTo>
                  <a:lnTo>
                    <a:pt x="1469428" y="289522"/>
                  </a:lnTo>
                  <a:lnTo>
                    <a:pt x="1469428" y="289966"/>
                  </a:lnTo>
                  <a:lnTo>
                    <a:pt x="1469529" y="289966"/>
                  </a:lnTo>
                  <a:lnTo>
                    <a:pt x="1469529" y="290309"/>
                  </a:lnTo>
                  <a:lnTo>
                    <a:pt x="1470177" y="290309"/>
                  </a:lnTo>
                  <a:lnTo>
                    <a:pt x="1470228" y="290754"/>
                  </a:lnTo>
                  <a:lnTo>
                    <a:pt x="1470418" y="290754"/>
                  </a:lnTo>
                  <a:lnTo>
                    <a:pt x="1470418" y="291211"/>
                  </a:lnTo>
                  <a:lnTo>
                    <a:pt x="1470672" y="291211"/>
                  </a:lnTo>
                  <a:lnTo>
                    <a:pt x="1470672" y="291656"/>
                  </a:lnTo>
                  <a:lnTo>
                    <a:pt x="1470825" y="291656"/>
                  </a:lnTo>
                  <a:lnTo>
                    <a:pt x="1470825" y="292049"/>
                  </a:lnTo>
                  <a:lnTo>
                    <a:pt x="1470914" y="292049"/>
                  </a:lnTo>
                  <a:lnTo>
                    <a:pt x="1470914" y="292494"/>
                  </a:lnTo>
                  <a:lnTo>
                    <a:pt x="1471066" y="292494"/>
                  </a:lnTo>
                  <a:lnTo>
                    <a:pt x="1471066" y="292938"/>
                  </a:lnTo>
                  <a:lnTo>
                    <a:pt x="1471218" y="292938"/>
                  </a:lnTo>
                  <a:lnTo>
                    <a:pt x="1471218" y="293294"/>
                  </a:lnTo>
                  <a:lnTo>
                    <a:pt x="1471371" y="293294"/>
                  </a:lnTo>
                  <a:lnTo>
                    <a:pt x="1471371" y="293738"/>
                  </a:lnTo>
                  <a:lnTo>
                    <a:pt x="1471511" y="293738"/>
                  </a:lnTo>
                  <a:lnTo>
                    <a:pt x="1471511" y="294183"/>
                  </a:lnTo>
                  <a:lnTo>
                    <a:pt x="1471612" y="294183"/>
                  </a:lnTo>
                  <a:lnTo>
                    <a:pt x="1471612" y="294627"/>
                  </a:lnTo>
                  <a:lnTo>
                    <a:pt x="1471764" y="294627"/>
                  </a:lnTo>
                  <a:lnTo>
                    <a:pt x="1471764" y="295021"/>
                  </a:lnTo>
                  <a:lnTo>
                    <a:pt x="1471917" y="295021"/>
                  </a:lnTo>
                  <a:lnTo>
                    <a:pt x="1471917" y="295466"/>
                  </a:lnTo>
                  <a:lnTo>
                    <a:pt x="1472057" y="295466"/>
                  </a:lnTo>
                  <a:lnTo>
                    <a:pt x="1472057" y="295923"/>
                  </a:lnTo>
                  <a:lnTo>
                    <a:pt x="1472361" y="295923"/>
                  </a:lnTo>
                  <a:lnTo>
                    <a:pt x="1472361" y="296367"/>
                  </a:lnTo>
                  <a:lnTo>
                    <a:pt x="1472463" y="296367"/>
                  </a:lnTo>
                  <a:lnTo>
                    <a:pt x="1472463" y="296710"/>
                  </a:lnTo>
                  <a:lnTo>
                    <a:pt x="1472654" y="296710"/>
                  </a:lnTo>
                  <a:lnTo>
                    <a:pt x="1472654" y="297155"/>
                  </a:lnTo>
                  <a:lnTo>
                    <a:pt x="1472857" y="297155"/>
                  </a:lnTo>
                  <a:lnTo>
                    <a:pt x="1472857" y="297599"/>
                  </a:lnTo>
                  <a:lnTo>
                    <a:pt x="1473047" y="297599"/>
                  </a:lnTo>
                  <a:lnTo>
                    <a:pt x="1473047" y="298006"/>
                  </a:lnTo>
                  <a:lnTo>
                    <a:pt x="1473149" y="298006"/>
                  </a:lnTo>
                  <a:lnTo>
                    <a:pt x="1473149" y="298450"/>
                  </a:lnTo>
                  <a:lnTo>
                    <a:pt x="1473352" y="298450"/>
                  </a:lnTo>
                  <a:lnTo>
                    <a:pt x="1473352" y="298894"/>
                  </a:lnTo>
                  <a:lnTo>
                    <a:pt x="1473644" y="298894"/>
                  </a:lnTo>
                  <a:lnTo>
                    <a:pt x="1473644" y="299339"/>
                  </a:lnTo>
                  <a:lnTo>
                    <a:pt x="1473797" y="299339"/>
                  </a:lnTo>
                  <a:lnTo>
                    <a:pt x="1473797" y="299733"/>
                  </a:lnTo>
                  <a:lnTo>
                    <a:pt x="1474089" y="299733"/>
                  </a:lnTo>
                  <a:lnTo>
                    <a:pt x="1474089" y="300190"/>
                  </a:lnTo>
                  <a:lnTo>
                    <a:pt x="1474444" y="300190"/>
                  </a:lnTo>
                  <a:lnTo>
                    <a:pt x="1474444" y="300634"/>
                  </a:lnTo>
                  <a:lnTo>
                    <a:pt x="1474686" y="300634"/>
                  </a:lnTo>
                  <a:lnTo>
                    <a:pt x="1474686" y="300977"/>
                  </a:lnTo>
                  <a:lnTo>
                    <a:pt x="1474787" y="300977"/>
                  </a:lnTo>
                  <a:lnTo>
                    <a:pt x="1474787" y="301422"/>
                  </a:lnTo>
                  <a:lnTo>
                    <a:pt x="1475092" y="301422"/>
                  </a:lnTo>
                  <a:lnTo>
                    <a:pt x="1475092" y="301866"/>
                  </a:lnTo>
                  <a:lnTo>
                    <a:pt x="1475232" y="301866"/>
                  </a:lnTo>
                  <a:lnTo>
                    <a:pt x="1475232" y="302323"/>
                  </a:lnTo>
                  <a:lnTo>
                    <a:pt x="1475384" y="302323"/>
                  </a:lnTo>
                  <a:lnTo>
                    <a:pt x="1475384" y="302717"/>
                  </a:lnTo>
                  <a:lnTo>
                    <a:pt x="1475536" y="302717"/>
                  </a:lnTo>
                  <a:lnTo>
                    <a:pt x="1475587" y="303162"/>
                  </a:lnTo>
                  <a:lnTo>
                    <a:pt x="1475676" y="303162"/>
                  </a:lnTo>
                  <a:lnTo>
                    <a:pt x="1475676" y="303606"/>
                  </a:lnTo>
                  <a:lnTo>
                    <a:pt x="1475879" y="303606"/>
                  </a:lnTo>
                  <a:lnTo>
                    <a:pt x="1475879" y="304051"/>
                  </a:lnTo>
                  <a:lnTo>
                    <a:pt x="1476032" y="304051"/>
                  </a:lnTo>
                  <a:lnTo>
                    <a:pt x="1476082" y="304406"/>
                  </a:lnTo>
                  <a:lnTo>
                    <a:pt x="1476273" y="304406"/>
                  </a:lnTo>
                  <a:lnTo>
                    <a:pt x="1476273" y="304851"/>
                  </a:lnTo>
                  <a:lnTo>
                    <a:pt x="1476476" y="304851"/>
                  </a:lnTo>
                  <a:lnTo>
                    <a:pt x="1476476" y="305295"/>
                  </a:lnTo>
                  <a:lnTo>
                    <a:pt x="1476679" y="305295"/>
                  </a:lnTo>
                  <a:lnTo>
                    <a:pt x="1476679" y="305689"/>
                  </a:lnTo>
                  <a:lnTo>
                    <a:pt x="1476921" y="305689"/>
                  </a:lnTo>
                  <a:lnTo>
                    <a:pt x="1476921" y="306133"/>
                  </a:lnTo>
                  <a:lnTo>
                    <a:pt x="1477022" y="306133"/>
                  </a:lnTo>
                  <a:lnTo>
                    <a:pt x="1477124" y="306578"/>
                  </a:lnTo>
                  <a:lnTo>
                    <a:pt x="1477175" y="306578"/>
                  </a:lnTo>
                  <a:lnTo>
                    <a:pt x="1477226" y="307035"/>
                  </a:lnTo>
                  <a:lnTo>
                    <a:pt x="1477264" y="307035"/>
                  </a:lnTo>
                  <a:lnTo>
                    <a:pt x="1477264" y="307429"/>
                  </a:lnTo>
                  <a:lnTo>
                    <a:pt x="1477416" y="307429"/>
                  </a:lnTo>
                  <a:lnTo>
                    <a:pt x="1477416" y="307823"/>
                  </a:lnTo>
                  <a:lnTo>
                    <a:pt x="1477568" y="307823"/>
                  </a:lnTo>
                  <a:lnTo>
                    <a:pt x="1477568" y="308267"/>
                  </a:lnTo>
                  <a:lnTo>
                    <a:pt x="1477670" y="308267"/>
                  </a:lnTo>
                  <a:lnTo>
                    <a:pt x="1477670" y="308712"/>
                  </a:lnTo>
                  <a:lnTo>
                    <a:pt x="1477721" y="308712"/>
                  </a:lnTo>
                  <a:lnTo>
                    <a:pt x="1477721" y="309118"/>
                  </a:lnTo>
                  <a:lnTo>
                    <a:pt x="1477962" y="309118"/>
                  </a:lnTo>
                  <a:lnTo>
                    <a:pt x="1477962" y="309562"/>
                  </a:lnTo>
                  <a:lnTo>
                    <a:pt x="1478305" y="309562"/>
                  </a:lnTo>
                  <a:lnTo>
                    <a:pt x="1478305" y="310007"/>
                  </a:lnTo>
                  <a:lnTo>
                    <a:pt x="1478508" y="310007"/>
                  </a:lnTo>
                  <a:lnTo>
                    <a:pt x="1478508" y="310401"/>
                  </a:lnTo>
                  <a:lnTo>
                    <a:pt x="1478610" y="310401"/>
                  </a:lnTo>
                  <a:lnTo>
                    <a:pt x="1478610" y="310845"/>
                  </a:lnTo>
                  <a:lnTo>
                    <a:pt x="1478851" y="310845"/>
                  </a:lnTo>
                  <a:lnTo>
                    <a:pt x="1478953" y="311302"/>
                  </a:lnTo>
                  <a:lnTo>
                    <a:pt x="1479156" y="311302"/>
                  </a:lnTo>
                  <a:lnTo>
                    <a:pt x="1479156" y="311747"/>
                  </a:lnTo>
                  <a:lnTo>
                    <a:pt x="1479257" y="311747"/>
                  </a:lnTo>
                  <a:lnTo>
                    <a:pt x="1479257" y="312090"/>
                  </a:lnTo>
                  <a:lnTo>
                    <a:pt x="1479499" y="312090"/>
                  </a:lnTo>
                  <a:lnTo>
                    <a:pt x="1479499" y="312534"/>
                  </a:lnTo>
                  <a:lnTo>
                    <a:pt x="1479651" y="312534"/>
                  </a:lnTo>
                  <a:lnTo>
                    <a:pt x="1479651" y="312979"/>
                  </a:lnTo>
                  <a:lnTo>
                    <a:pt x="1479854" y="312979"/>
                  </a:lnTo>
                  <a:lnTo>
                    <a:pt x="1479854" y="313385"/>
                  </a:lnTo>
                  <a:lnTo>
                    <a:pt x="1479994" y="313385"/>
                  </a:lnTo>
                  <a:lnTo>
                    <a:pt x="1479994" y="313830"/>
                  </a:lnTo>
                  <a:lnTo>
                    <a:pt x="1480197" y="313830"/>
                  </a:lnTo>
                  <a:lnTo>
                    <a:pt x="1480299" y="314274"/>
                  </a:lnTo>
                  <a:lnTo>
                    <a:pt x="1480401" y="314274"/>
                  </a:lnTo>
                  <a:lnTo>
                    <a:pt x="1480439" y="314719"/>
                  </a:lnTo>
                  <a:lnTo>
                    <a:pt x="1480591" y="314719"/>
                  </a:lnTo>
                  <a:lnTo>
                    <a:pt x="1480642" y="315062"/>
                  </a:lnTo>
                  <a:lnTo>
                    <a:pt x="1480794" y="315062"/>
                  </a:lnTo>
                  <a:lnTo>
                    <a:pt x="1480794" y="315519"/>
                  </a:lnTo>
                  <a:lnTo>
                    <a:pt x="1480896" y="315519"/>
                  </a:lnTo>
                  <a:lnTo>
                    <a:pt x="1480896" y="315963"/>
                  </a:lnTo>
                  <a:lnTo>
                    <a:pt x="1481036" y="315963"/>
                  </a:lnTo>
                  <a:lnTo>
                    <a:pt x="1481036" y="316408"/>
                  </a:lnTo>
                  <a:lnTo>
                    <a:pt x="1481137" y="316408"/>
                  </a:lnTo>
                  <a:lnTo>
                    <a:pt x="1481239" y="316802"/>
                  </a:lnTo>
                  <a:lnTo>
                    <a:pt x="1481340" y="316802"/>
                  </a:lnTo>
                  <a:lnTo>
                    <a:pt x="1481340" y="317246"/>
                  </a:lnTo>
                  <a:lnTo>
                    <a:pt x="1481480" y="317246"/>
                  </a:lnTo>
                  <a:lnTo>
                    <a:pt x="1481480" y="317691"/>
                  </a:lnTo>
                  <a:lnTo>
                    <a:pt x="1481582" y="317691"/>
                  </a:lnTo>
                  <a:lnTo>
                    <a:pt x="1481582" y="318097"/>
                  </a:lnTo>
                  <a:lnTo>
                    <a:pt x="1481734" y="318097"/>
                  </a:lnTo>
                  <a:lnTo>
                    <a:pt x="1481734" y="318541"/>
                  </a:lnTo>
                  <a:lnTo>
                    <a:pt x="1481886" y="318541"/>
                  </a:lnTo>
                  <a:lnTo>
                    <a:pt x="1481937" y="318935"/>
                  </a:lnTo>
                  <a:lnTo>
                    <a:pt x="1482026" y="318935"/>
                  </a:lnTo>
                  <a:lnTo>
                    <a:pt x="1482026" y="319380"/>
                  </a:lnTo>
                  <a:lnTo>
                    <a:pt x="1482229" y="319380"/>
                  </a:lnTo>
                  <a:lnTo>
                    <a:pt x="1482229" y="319786"/>
                  </a:lnTo>
                  <a:lnTo>
                    <a:pt x="1482382" y="319786"/>
                  </a:lnTo>
                  <a:lnTo>
                    <a:pt x="1482382" y="320231"/>
                  </a:lnTo>
                  <a:lnTo>
                    <a:pt x="1482483" y="320231"/>
                  </a:lnTo>
                  <a:lnTo>
                    <a:pt x="1482483" y="320675"/>
                  </a:lnTo>
                  <a:lnTo>
                    <a:pt x="1482674" y="320675"/>
                  </a:lnTo>
                  <a:lnTo>
                    <a:pt x="1482674" y="321119"/>
                  </a:lnTo>
                  <a:lnTo>
                    <a:pt x="1482877" y="321119"/>
                  </a:lnTo>
                  <a:lnTo>
                    <a:pt x="1482877" y="321513"/>
                  </a:lnTo>
                  <a:lnTo>
                    <a:pt x="1483067" y="321513"/>
                  </a:lnTo>
                  <a:lnTo>
                    <a:pt x="1483067" y="321958"/>
                  </a:lnTo>
                  <a:lnTo>
                    <a:pt x="1483271" y="321958"/>
                  </a:lnTo>
                  <a:lnTo>
                    <a:pt x="1483271" y="322415"/>
                  </a:lnTo>
                  <a:lnTo>
                    <a:pt x="1483474" y="322415"/>
                  </a:lnTo>
                  <a:lnTo>
                    <a:pt x="1483474" y="322758"/>
                  </a:lnTo>
                  <a:lnTo>
                    <a:pt x="1483715" y="322758"/>
                  </a:lnTo>
                  <a:lnTo>
                    <a:pt x="1483715" y="323202"/>
                  </a:lnTo>
                  <a:lnTo>
                    <a:pt x="1483918" y="323202"/>
                  </a:lnTo>
                  <a:lnTo>
                    <a:pt x="1483918" y="323647"/>
                  </a:lnTo>
                  <a:lnTo>
                    <a:pt x="1484071" y="323647"/>
                  </a:lnTo>
                  <a:lnTo>
                    <a:pt x="1484071" y="324091"/>
                  </a:lnTo>
                  <a:lnTo>
                    <a:pt x="1484261" y="324091"/>
                  </a:lnTo>
                  <a:lnTo>
                    <a:pt x="1484312" y="324498"/>
                  </a:lnTo>
                  <a:lnTo>
                    <a:pt x="1484515" y="324498"/>
                  </a:lnTo>
                  <a:lnTo>
                    <a:pt x="1484515" y="324942"/>
                  </a:lnTo>
                  <a:lnTo>
                    <a:pt x="1484655" y="324942"/>
                  </a:lnTo>
                  <a:lnTo>
                    <a:pt x="1484655" y="325387"/>
                  </a:lnTo>
                  <a:lnTo>
                    <a:pt x="1484858" y="325387"/>
                  </a:lnTo>
                  <a:lnTo>
                    <a:pt x="1484858" y="325831"/>
                  </a:lnTo>
                  <a:lnTo>
                    <a:pt x="1484960" y="325831"/>
                  </a:lnTo>
                  <a:lnTo>
                    <a:pt x="1484960" y="326174"/>
                  </a:lnTo>
                  <a:lnTo>
                    <a:pt x="1485112" y="326174"/>
                  </a:lnTo>
                  <a:lnTo>
                    <a:pt x="1485112" y="326631"/>
                  </a:lnTo>
                  <a:lnTo>
                    <a:pt x="1485201" y="326631"/>
                  </a:lnTo>
                  <a:lnTo>
                    <a:pt x="1485201" y="327076"/>
                  </a:lnTo>
                  <a:lnTo>
                    <a:pt x="1485404" y="327076"/>
                  </a:lnTo>
                  <a:lnTo>
                    <a:pt x="1485404" y="327469"/>
                  </a:lnTo>
                  <a:lnTo>
                    <a:pt x="1485747" y="327469"/>
                  </a:lnTo>
                  <a:lnTo>
                    <a:pt x="1485747" y="327914"/>
                  </a:lnTo>
                  <a:lnTo>
                    <a:pt x="1486204" y="327914"/>
                  </a:lnTo>
                  <a:lnTo>
                    <a:pt x="1486204" y="328358"/>
                  </a:lnTo>
                  <a:lnTo>
                    <a:pt x="1486547" y="328358"/>
                  </a:lnTo>
                  <a:lnTo>
                    <a:pt x="1486547" y="328803"/>
                  </a:lnTo>
                  <a:lnTo>
                    <a:pt x="1486751" y="328803"/>
                  </a:lnTo>
                  <a:lnTo>
                    <a:pt x="1486751" y="329209"/>
                  </a:lnTo>
                  <a:lnTo>
                    <a:pt x="1486941" y="329209"/>
                  </a:lnTo>
                  <a:lnTo>
                    <a:pt x="1486941" y="329654"/>
                  </a:lnTo>
                  <a:lnTo>
                    <a:pt x="1487093" y="329654"/>
                  </a:lnTo>
                  <a:lnTo>
                    <a:pt x="1487144" y="330048"/>
                  </a:lnTo>
                  <a:lnTo>
                    <a:pt x="1487246" y="330048"/>
                  </a:lnTo>
                  <a:lnTo>
                    <a:pt x="1487246" y="330441"/>
                  </a:lnTo>
                  <a:lnTo>
                    <a:pt x="1487487" y="330441"/>
                  </a:lnTo>
                  <a:lnTo>
                    <a:pt x="1487487" y="330898"/>
                  </a:lnTo>
                  <a:lnTo>
                    <a:pt x="1487690" y="330898"/>
                  </a:lnTo>
                  <a:lnTo>
                    <a:pt x="1487690" y="331343"/>
                  </a:lnTo>
                  <a:lnTo>
                    <a:pt x="1487932" y="331343"/>
                  </a:lnTo>
                  <a:lnTo>
                    <a:pt x="1487932" y="331787"/>
                  </a:lnTo>
                  <a:lnTo>
                    <a:pt x="1488236" y="331787"/>
                  </a:lnTo>
                  <a:lnTo>
                    <a:pt x="1488236" y="332181"/>
                  </a:lnTo>
                  <a:lnTo>
                    <a:pt x="1488376" y="332181"/>
                  </a:lnTo>
                  <a:lnTo>
                    <a:pt x="1488376" y="332626"/>
                  </a:lnTo>
                  <a:lnTo>
                    <a:pt x="1488529" y="332626"/>
                  </a:lnTo>
                  <a:lnTo>
                    <a:pt x="1488529" y="333070"/>
                  </a:lnTo>
                  <a:lnTo>
                    <a:pt x="1488732" y="333070"/>
                  </a:lnTo>
                  <a:lnTo>
                    <a:pt x="1488732" y="333527"/>
                  </a:lnTo>
                  <a:lnTo>
                    <a:pt x="1488833" y="333527"/>
                  </a:lnTo>
                  <a:lnTo>
                    <a:pt x="1488833" y="333870"/>
                  </a:lnTo>
                  <a:lnTo>
                    <a:pt x="1489024" y="333870"/>
                  </a:lnTo>
                  <a:lnTo>
                    <a:pt x="1489024" y="334315"/>
                  </a:lnTo>
                  <a:lnTo>
                    <a:pt x="1489672" y="334315"/>
                  </a:lnTo>
                  <a:lnTo>
                    <a:pt x="1489672" y="334759"/>
                  </a:lnTo>
                  <a:lnTo>
                    <a:pt x="1490167" y="334759"/>
                  </a:lnTo>
                  <a:lnTo>
                    <a:pt x="1490167" y="335153"/>
                  </a:lnTo>
                  <a:lnTo>
                    <a:pt x="1490370" y="335153"/>
                  </a:lnTo>
                  <a:lnTo>
                    <a:pt x="1490370" y="335610"/>
                  </a:lnTo>
                  <a:lnTo>
                    <a:pt x="1490561" y="335610"/>
                  </a:lnTo>
                  <a:lnTo>
                    <a:pt x="1490561" y="336055"/>
                  </a:lnTo>
                  <a:lnTo>
                    <a:pt x="1490764" y="336055"/>
                  </a:lnTo>
                  <a:lnTo>
                    <a:pt x="1490764" y="336499"/>
                  </a:lnTo>
                  <a:lnTo>
                    <a:pt x="1491005" y="336499"/>
                  </a:lnTo>
                  <a:lnTo>
                    <a:pt x="1491005" y="336842"/>
                  </a:lnTo>
                  <a:lnTo>
                    <a:pt x="1491411" y="336842"/>
                  </a:lnTo>
                  <a:lnTo>
                    <a:pt x="1491411" y="337287"/>
                  </a:lnTo>
                  <a:lnTo>
                    <a:pt x="1491653" y="337287"/>
                  </a:lnTo>
                  <a:lnTo>
                    <a:pt x="1491653" y="337744"/>
                  </a:lnTo>
                  <a:lnTo>
                    <a:pt x="1491907" y="337744"/>
                  </a:lnTo>
                  <a:lnTo>
                    <a:pt x="1491907" y="338188"/>
                  </a:lnTo>
                  <a:lnTo>
                    <a:pt x="1492008" y="338188"/>
                  </a:lnTo>
                  <a:lnTo>
                    <a:pt x="1492008" y="338582"/>
                  </a:lnTo>
                  <a:lnTo>
                    <a:pt x="1492148" y="338582"/>
                  </a:lnTo>
                  <a:lnTo>
                    <a:pt x="1492148" y="338188"/>
                  </a:lnTo>
                  <a:lnTo>
                    <a:pt x="1492250" y="338188"/>
                  </a:lnTo>
                  <a:lnTo>
                    <a:pt x="1492250" y="337744"/>
                  </a:lnTo>
                  <a:lnTo>
                    <a:pt x="1492351" y="337744"/>
                  </a:lnTo>
                  <a:lnTo>
                    <a:pt x="1492351" y="337287"/>
                  </a:lnTo>
                  <a:lnTo>
                    <a:pt x="1492453" y="337287"/>
                  </a:lnTo>
                  <a:lnTo>
                    <a:pt x="1492453" y="336842"/>
                  </a:lnTo>
                  <a:lnTo>
                    <a:pt x="1492554" y="336842"/>
                  </a:lnTo>
                  <a:lnTo>
                    <a:pt x="1492554" y="336499"/>
                  </a:lnTo>
                  <a:lnTo>
                    <a:pt x="1492592" y="336499"/>
                  </a:lnTo>
                  <a:lnTo>
                    <a:pt x="1492643" y="336055"/>
                  </a:lnTo>
                  <a:lnTo>
                    <a:pt x="1492694" y="336055"/>
                  </a:lnTo>
                  <a:lnTo>
                    <a:pt x="1492694" y="335610"/>
                  </a:lnTo>
                  <a:lnTo>
                    <a:pt x="1492796" y="335610"/>
                  </a:lnTo>
                  <a:lnTo>
                    <a:pt x="1492796" y="335153"/>
                  </a:lnTo>
                  <a:lnTo>
                    <a:pt x="1492847" y="335153"/>
                  </a:lnTo>
                  <a:lnTo>
                    <a:pt x="1492897" y="334759"/>
                  </a:lnTo>
                  <a:lnTo>
                    <a:pt x="1492999" y="334759"/>
                  </a:lnTo>
                  <a:lnTo>
                    <a:pt x="1492999" y="334315"/>
                  </a:lnTo>
                  <a:lnTo>
                    <a:pt x="1493050" y="334315"/>
                  </a:lnTo>
                  <a:lnTo>
                    <a:pt x="1493050" y="333870"/>
                  </a:lnTo>
                  <a:lnTo>
                    <a:pt x="1493101" y="333870"/>
                  </a:lnTo>
                  <a:lnTo>
                    <a:pt x="1493101" y="333527"/>
                  </a:lnTo>
                  <a:lnTo>
                    <a:pt x="1493139" y="333527"/>
                  </a:lnTo>
                  <a:lnTo>
                    <a:pt x="1493139" y="333070"/>
                  </a:lnTo>
                  <a:lnTo>
                    <a:pt x="1493240" y="333070"/>
                  </a:lnTo>
                  <a:lnTo>
                    <a:pt x="1493240" y="332626"/>
                  </a:lnTo>
                  <a:lnTo>
                    <a:pt x="1493291" y="332626"/>
                  </a:lnTo>
                  <a:lnTo>
                    <a:pt x="1493291" y="332181"/>
                  </a:lnTo>
                  <a:lnTo>
                    <a:pt x="1493443" y="332181"/>
                  </a:lnTo>
                  <a:lnTo>
                    <a:pt x="1493443" y="331787"/>
                  </a:lnTo>
                  <a:lnTo>
                    <a:pt x="1493494" y="331787"/>
                  </a:lnTo>
                  <a:lnTo>
                    <a:pt x="1493494" y="331343"/>
                  </a:lnTo>
                  <a:lnTo>
                    <a:pt x="1493545" y="331343"/>
                  </a:lnTo>
                  <a:lnTo>
                    <a:pt x="1493545" y="330898"/>
                  </a:lnTo>
                  <a:lnTo>
                    <a:pt x="1493596" y="330898"/>
                  </a:lnTo>
                  <a:lnTo>
                    <a:pt x="1493596" y="330441"/>
                  </a:lnTo>
                  <a:lnTo>
                    <a:pt x="1493685" y="330441"/>
                  </a:lnTo>
                  <a:lnTo>
                    <a:pt x="1493685" y="330048"/>
                  </a:lnTo>
                  <a:lnTo>
                    <a:pt x="1493736" y="330048"/>
                  </a:lnTo>
                  <a:lnTo>
                    <a:pt x="1493736" y="329654"/>
                  </a:lnTo>
                  <a:lnTo>
                    <a:pt x="1493786" y="329654"/>
                  </a:lnTo>
                  <a:lnTo>
                    <a:pt x="1493786" y="329209"/>
                  </a:lnTo>
                  <a:lnTo>
                    <a:pt x="1493837" y="329209"/>
                  </a:lnTo>
                  <a:lnTo>
                    <a:pt x="1493837" y="328803"/>
                  </a:lnTo>
                  <a:lnTo>
                    <a:pt x="1493939" y="328803"/>
                  </a:lnTo>
                  <a:lnTo>
                    <a:pt x="1493939" y="328358"/>
                  </a:lnTo>
                  <a:lnTo>
                    <a:pt x="1493989" y="328358"/>
                  </a:lnTo>
                  <a:lnTo>
                    <a:pt x="1493989" y="327914"/>
                  </a:lnTo>
                  <a:lnTo>
                    <a:pt x="1494040" y="327914"/>
                  </a:lnTo>
                  <a:lnTo>
                    <a:pt x="1494040" y="327469"/>
                  </a:lnTo>
                  <a:lnTo>
                    <a:pt x="1494142" y="327469"/>
                  </a:lnTo>
                  <a:lnTo>
                    <a:pt x="1494142" y="327076"/>
                  </a:lnTo>
                  <a:lnTo>
                    <a:pt x="1494180" y="327076"/>
                  </a:lnTo>
                  <a:lnTo>
                    <a:pt x="1494180" y="326631"/>
                  </a:lnTo>
                  <a:lnTo>
                    <a:pt x="1494231" y="326631"/>
                  </a:lnTo>
                  <a:lnTo>
                    <a:pt x="1494282" y="326174"/>
                  </a:lnTo>
                  <a:lnTo>
                    <a:pt x="1494383" y="326174"/>
                  </a:lnTo>
                  <a:lnTo>
                    <a:pt x="1494383" y="325831"/>
                  </a:lnTo>
                  <a:lnTo>
                    <a:pt x="1494434" y="325831"/>
                  </a:lnTo>
                  <a:lnTo>
                    <a:pt x="1494434" y="325387"/>
                  </a:lnTo>
                  <a:lnTo>
                    <a:pt x="1494485" y="325387"/>
                  </a:lnTo>
                  <a:lnTo>
                    <a:pt x="1494485" y="324942"/>
                  </a:lnTo>
                  <a:lnTo>
                    <a:pt x="1494586" y="324942"/>
                  </a:lnTo>
                  <a:lnTo>
                    <a:pt x="1494586" y="324498"/>
                  </a:lnTo>
                  <a:lnTo>
                    <a:pt x="1494637" y="324498"/>
                  </a:lnTo>
                  <a:lnTo>
                    <a:pt x="1494637" y="324091"/>
                  </a:lnTo>
                  <a:lnTo>
                    <a:pt x="1494688" y="324091"/>
                  </a:lnTo>
                  <a:lnTo>
                    <a:pt x="1494688" y="323647"/>
                  </a:lnTo>
                  <a:lnTo>
                    <a:pt x="1494726" y="323647"/>
                  </a:lnTo>
                  <a:lnTo>
                    <a:pt x="1494726" y="323202"/>
                  </a:lnTo>
                  <a:lnTo>
                    <a:pt x="1494828" y="323202"/>
                  </a:lnTo>
                  <a:lnTo>
                    <a:pt x="1494828" y="322758"/>
                  </a:lnTo>
                  <a:lnTo>
                    <a:pt x="1494879" y="322758"/>
                  </a:lnTo>
                  <a:lnTo>
                    <a:pt x="1494879" y="322415"/>
                  </a:lnTo>
                  <a:lnTo>
                    <a:pt x="1494929" y="322415"/>
                  </a:lnTo>
                  <a:lnTo>
                    <a:pt x="1494929" y="321958"/>
                  </a:lnTo>
                  <a:lnTo>
                    <a:pt x="1495031" y="321958"/>
                  </a:lnTo>
                  <a:lnTo>
                    <a:pt x="1495082" y="321513"/>
                  </a:lnTo>
                  <a:lnTo>
                    <a:pt x="1495132" y="321513"/>
                  </a:lnTo>
                  <a:lnTo>
                    <a:pt x="1495132" y="321119"/>
                  </a:lnTo>
                  <a:lnTo>
                    <a:pt x="1495183" y="321119"/>
                  </a:lnTo>
                  <a:lnTo>
                    <a:pt x="1495183" y="320675"/>
                  </a:lnTo>
                  <a:lnTo>
                    <a:pt x="1495272" y="320675"/>
                  </a:lnTo>
                  <a:lnTo>
                    <a:pt x="1495272" y="320231"/>
                  </a:lnTo>
                  <a:lnTo>
                    <a:pt x="1495323" y="320231"/>
                  </a:lnTo>
                  <a:lnTo>
                    <a:pt x="1495323" y="319786"/>
                  </a:lnTo>
                  <a:lnTo>
                    <a:pt x="1495374" y="319786"/>
                  </a:lnTo>
                  <a:lnTo>
                    <a:pt x="1495374" y="319380"/>
                  </a:lnTo>
                  <a:lnTo>
                    <a:pt x="1495425" y="319380"/>
                  </a:lnTo>
                  <a:lnTo>
                    <a:pt x="1495425" y="318935"/>
                  </a:lnTo>
                  <a:lnTo>
                    <a:pt x="1495526" y="318935"/>
                  </a:lnTo>
                  <a:lnTo>
                    <a:pt x="1495526" y="318541"/>
                  </a:lnTo>
                  <a:lnTo>
                    <a:pt x="1495577" y="318541"/>
                  </a:lnTo>
                  <a:lnTo>
                    <a:pt x="1495577" y="318097"/>
                  </a:lnTo>
                  <a:lnTo>
                    <a:pt x="1495628" y="318097"/>
                  </a:lnTo>
                  <a:lnTo>
                    <a:pt x="1495628" y="317691"/>
                  </a:lnTo>
                  <a:lnTo>
                    <a:pt x="1495729" y="317691"/>
                  </a:lnTo>
                  <a:lnTo>
                    <a:pt x="1495729" y="317246"/>
                  </a:lnTo>
                  <a:lnTo>
                    <a:pt x="1495767" y="317246"/>
                  </a:lnTo>
                  <a:lnTo>
                    <a:pt x="1495818" y="316802"/>
                  </a:lnTo>
                  <a:lnTo>
                    <a:pt x="1495869" y="316802"/>
                  </a:lnTo>
                  <a:lnTo>
                    <a:pt x="1495869" y="316408"/>
                  </a:lnTo>
                  <a:lnTo>
                    <a:pt x="1495971" y="316408"/>
                  </a:lnTo>
                  <a:lnTo>
                    <a:pt x="1495971" y="315963"/>
                  </a:lnTo>
                  <a:lnTo>
                    <a:pt x="1496022" y="315963"/>
                  </a:lnTo>
                  <a:lnTo>
                    <a:pt x="1496022" y="315519"/>
                  </a:lnTo>
                  <a:lnTo>
                    <a:pt x="1496072" y="315519"/>
                  </a:lnTo>
                  <a:lnTo>
                    <a:pt x="1496072" y="315062"/>
                  </a:lnTo>
                  <a:lnTo>
                    <a:pt x="1496174" y="315062"/>
                  </a:lnTo>
                  <a:lnTo>
                    <a:pt x="1496174" y="314719"/>
                  </a:lnTo>
                  <a:lnTo>
                    <a:pt x="1496225" y="314719"/>
                  </a:lnTo>
                  <a:lnTo>
                    <a:pt x="1496225" y="314274"/>
                  </a:lnTo>
                  <a:lnTo>
                    <a:pt x="1496276" y="314274"/>
                  </a:lnTo>
                  <a:lnTo>
                    <a:pt x="1496276" y="313830"/>
                  </a:lnTo>
                  <a:lnTo>
                    <a:pt x="1496314" y="313830"/>
                  </a:lnTo>
                  <a:lnTo>
                    <a:pt x="1496314" y="313385"/>
                  </a:lnTo>
                  <a:lnTo>
                    <a:pt x="1496415" y="313385"/>
                  </a:lnTo>
                  <a:lnTo>
                    <a:pt x="1496415" y="312979"/>
                  </a:lnTo>
                  <a:lnTo>
                    <a:pt x="1496466" y="312979"/>
                  </a:lnTo>
                  <a:lnTo>
                    <a:pt x="1496466" y="312090"/>
                  </a:lnTo>
                  <a:lnTo>
                    <a:pt x="1496517" y="312090"/>
                  </a:lnTo>
                  <a:lnTo>
                    <a:pt x="1496517" y="311747"/>
                  </a:lnTo>
                  <a:lnTo>
                    <a:pt x="1496618" y="311747"/>
                  </a:lnTo>
                  <a:lnTo>
                    <a:pt x="1496618" y="311302"/>
                  </a:lnTo>
                  <a:lnTo>
                    <a:pt x="1496669" y="311302"/>
                  </a:lnTo>
                  <a:lnTo>
                    <a:pt x="1496669" y="310845"/>
                  </a:lnTo>
                  <a:lnTo>
                    <a:pt x="1496720" y="310845"/>
                  </a:lnTo>
                  <a:lnTo>
                    <a:pt x="1496720" y="310401"/>
                  </a:lnTo>
                  <a:lnTo>
                    <a:pt x="1496771" y="310401"/>
                  </a:lnTo>
                  <a:lnTo>
                    <a:pt x="1496771" y="310007"/>
                  </a:lnTo>
                  <a:lnTo>
                    <a:pt x="1496860" y="310007"/>
                  </a:lnTo>
                  <a:lnTo>
                    <a:pt x="1496860" y="309562"/>
                  </a:lnTo>
                  <a:lnTo>
                    <a:pt x="1496911" y="309562"/>
                  </a:lnTo>
                  <a:lnTo>
                    <a:pt x="1496911" y="309118"/>
                  </a:lnTo>
                  <a:lnTo>
                    <a:pt x="1496961" y="309118"/>
                  </a:lnTo>
                  <a:lnTo>
                    <a:pt x="1497012" y="308712"/>
                  </a:lnTo>
                  <a:lnTo>
                    <a:pt x="1497012" y="308267"/>
                  </a:lnTo>
                  <a:lnTo>
                    <a:pt x="1497114" y="308267"/>
                  </a:lnTo>
                  <a:lnTo>
                    <a:pt x="1497164" y="307823"/>
                  </a:lnTo>
                  <a:lnTo>
                    <a:pt x="1497215" y="307823"/>
                  </a:lnTo>
                  <a:lnTo>
                    <a:pt x="1497215" y="307429"/>
                  </a:lnTo>
                  <a:lnTo>
                    <a:pt x="1497317" y="307429"/>
                  </a:lnTo>
                  <a:lnTo>
                    <a:pt x="1497317" y="307035"/>
                  </a:lnTo>
                  <a:lnTo>
                    <a:pt x="1497355" y="307035"/>
                  </a:lnTo>
                  <a:lnTo>
                    <a:pt x="1497355" y="306578"/>
                  </a:lnTo>
                  <a:lnTo>
                    <a:pt x="1497406" y="306578"/>
                  </a:lnTo>
                  <a:lnTo>
                    <a:pt x="1497406" y="306133"/>
                  </a:lnTo>
                  <a:lnTo>
                    <a:pt x="1497457" y="306133"/>
                  </a:lnTo>
                  <a:lnTo>
                    <a:pt x="1497457" y="305689"/>
                  </a:lnTo>
                  <a:lnTo>
                    <a:pt x="1497558" y="305689"/>
                  </a:lnTo>
                  <a:lnTo>
                    <a:pt x="1497558" y="305295"/>
                  </a:lnTo>
                  <a:lnTo>
                    <a:pt x="1497609" y="305295"/>
                  </a:lnTo>
                  <a:lnTo>
                    <a:pt x="1497609" y="304851"/>
                  </a:lnTo>
                  <a:lnTo>
                    <a:pt x="1497660" y="304851"/>
                  </a:lnTo>
                  <a:lnTo>
                    <a:pt x="1497660" y="304406"/>
                  </a:lnTo>
                  <a:lnTo>
                    <a:pt x="1497761" y="304051"/>
                  </a:lnTo>
                  <a:lnTo>
                    <a:pt x="1497761" y="303606"/>
                  </a:lnTo>
                  <a:lnTo>
                    <a:pt x="1497812" y="303606"/>
                  </a:lnTo>
                  <a:lnTo>
                    <a:pt x="1497863" y="303162"/>
                  </a:lnTo>
                  <a:lnTo>
                    <a:pt x="1497901" y="303162"/>
                  </a:lnTo>
                  <a:lnTo>
                    <a:pt x="1497901" y="302717"/>
                  </a:lnTo>
                  <a:lnTo>
                    <a:pt x="1498003" y="302717"/>
                  </a:lnTo>
                  <a:lnTo>
                    <a:pt x="1498003" y="302323"/>
                  </a:lnTo>
                  <a:lnTo>
                    <a:pt x="1498054" y="302323"/>
                  </a:lnTo>
                  <a:lnTo>
                    <a:pt x="1498054" y="301866"/>
                  </a:lnTo>
                  <a:lnTo>
                    <a:pt x="1498104" y="301866"/>
                  </a:lnTo>
                  <a:lnTo>
                    <a:pt x="1498104" y="301422"/>
                  </a:lnTo>
                  <a:lnTo>
                    <a:pt x="1498206" y="301422"/>
                  </a:lnTo>
                  <a:lnTo>
                    <a:pt x="1498206" y="300977"/>
                  </a:lnTo>
                  <a:lnTo>
                    <a:pt x="1498257" y="300977"/>
                  </a:lnTo>
                  <a:lnTo>
                    <a:pt x="1498257" y="300634"/>
                  </a:lnTo>
                  <a:lnTo>
                    <a:pt x="1498307" y="300634"/>
                  </a:lnTo>
                  <a:lnTo>
                    <a:pt x="1498307" y="300190"/>
                  </a:lnTo>
                  <a:lnTo>
                    <a:pt x="1498358" y="300190"/>
                  </a:lnTo>
                  <a:lnTo>
                    <a:pt x="1498447" y="299733"/>
                  </a:lnTo>
                  <a:lnTo>
                    <a:pt x="1498498" y="299733"/>
                  </a:lnTo>
                  <a:lnTo>
                    <a:pt x="1498498" y="299339"/>
                  </a:lnTo>
                  <a:lnTo>
                    <a:pt x="1498549" y="299339"/>
                  </a:lnTo>
                  <a:lnTo>
                    <a:pt x="1498549" y="298894"/>
                  </a:lnTo>
                  <a:lnTo>
                    <a:pt x="1498600" y="298894"/>
                  </a:lnTo>
                  <a:lnTo>
                    <a:pt x="1498600" y="298450"/>
                  </a:lnTo>
                  <a:lnTo>
                    <a:pt x="1498701" y="298450"/>
                  </a:lnTo>
                  <a:lnTo>
                    <a:pt x="1498701" y="298006"/>
                  </a:lnTo>
                  <a:lnTo>
                    <a:pt x="1498752" y="298006"/>
                  </a:lnTo>
                  <a:lnTo>
                    <a:pt x="1498803" y="297599"/>
                  </a:lnTo>
                  <a:lnTo>
                    <a:pt x="1498904" y="297155"/>
                  </a:lnTo>
                  <a:lnTo>
                    <a:pt x="1498942" y="297155"/>
                  </a:lnTo>
                  <a:lnTo>
                    <a:pt x="1498942" y="296710"/>
                  </a:lnTo>
                  <a:lnTo>
                    <a:pt x="1498993" y="296710"/>
                  </a:lnTo>
                  <a:lnTo>
                    <a:pt x="1498993" y="296367"/>
                  </a:lnTo>
                  <a:lnTo>
                    <a:pt x="1499044" y="296367"/>
                  </a:lnTo>
                  <a:lnTo>
                    <a:pt x="1499044" y="295923"/>
                  </a:lnTo>
                  <a:lnTo>
                    <a:pt x="1499146" y="295923"/>
                  </a:lnTo>
                  <a:lnTo>
                    <a:pt x="1499146" y="295466"/>
                  </a:lnTo>
                  <a:lnTo>
                    <a:pt x="1499197" y="295021"/>
                  </a:lnTo>
                  <a:lnTo>
                    <a:pt x="1499247" y="295021"/>
                  </a:lnTo>
                  <a:lnTo>
                    <a:pt x="1499247" y="294627"/>
                  </a:lnTo>
                  <a:lnTo>
                    <a:pt x="1499349" y="294183"/>
                  </a:lnTo>
                  <a:lnTo>
                    <a:pt x="1499349" y="293738"/>
                  </a:lnTo>
                  <a:lnTo>
                    <a:pt x="1499400" y="293738"/>
                  </a:lnTo>
                  <a:lnTo>
                    <a:pt x="1499400" y="293294"/>
                  </a:lnTo>
                  <a:lnTo>
                    <a:pt x="1499451" y="293294"/>
                  </a:lnTo>
                  <a:lnTo>
                    <a:pt x="1499451" y="292938"/>
                  </a:lnTo>
                  <a:lnTo>
                    <a:pt x="1499489" y="292938"/>
                  </a:lnTo>
                  <a:lnTo>
                    <a:pt x="1499489" y="292494"/>
                  </a:lnTo>
                  <a:lnTo>
                    <a:pt x="1499590" y="292494"/>
                  </a:lnTo>
                  <a:lnTo>
                    <a:pt x="1499590" y="292049"/>
                  </a:lnTo>
                  <a:lnTo>
                    <a:pt x="1499641" y="292049"/>
                  </a:lnTo>
                  <a:lnTo>
                    <a:pt x="1499641" y="291656"/>
                  </a:lnTo>
                  <a:lnTo>
                    <a:pt x="1499692" y="291656"/>
                  </a:lnTo>
                  <a:lnTo>
                    <a:pt x="1499692" y="291211"/>
                  </a:lnTo>
                  <a:lnTo>
                    <a:pt x="1499793" y="291211"/>
                  </a:lnTo>
                  <a:lnTo>
                    <a:pt x="1499793" y="290754"/>
                  </a:lnTo>
                  <a:lnTo>
                    <a:pt x="1499844" y="290754"/>
                  </a:lnTo>
                  <a:lnTo>
                    <a:pt x="1499844" y="290309"/>
                  </a:lnTo>
                  <a:lnTo>
                    <a:pt x="1499895" y="290309"/>
                  </a:lnTo>
                  <a:lnTo>
                    <a:pt x="1499895" y="289966"/>
                  </a:lnTo>
                  <a:lnTo>
                    <a:pt x="1499946" y="289966"/>
                  </a:lnTo>
                  <a:lnTo>
                    <a:pt x="1500035" y="289522"/>
                  </a:lnTo>
                  <a:lnTo>
                    <a:pt x="1500086" y="289522"/>
                  </a:lnTo>
                  <a:lnTo>
                    <a:pt x="1500086" y="289077"/>
                  </a:lnTo>
                  <a:lnTo>
                    <a:pt x="1500136" y="289077"/>
                  </a:lnTo>
                  <a:lnTo>
                    <a:pt x="1500136" y="288620"/>
                  </a:lnTo>
                  <a:lnTo>
                    <a:pt x="1500187" y="288620"/>
                  </a:lnTo>
                  <a:lnTo>
                    <a:pt x="1500187" y="288227"/>
                  </a:lnTo>
                  <a:lnTo>
                    <a:pt x="1500289" y="288227"/>
                  </a:lnTo>
                  <a:lnTo>
                    <a:pt x="1500289" y="287782"/>
                  </a:lnTo>
                  <a:lnTo>
                    <a:pt x="1500339" y="287782"/>
                  </a:lnTo>
                  <a:lnTo>
                    <a:pt x="1500339" y="287337"/>
                  </a:lnTo>
                  <a:lnTo>
                    <a:pt x="1500390" y="287337"/>
                  </a:lnTo>
                  <a:lnTo>
                    <a:pt x="1500390" y="286944"/>
                  </a:lnTo>
                  <a:lnTo>
                    <a:pt x="1500530" y="286944"/>
                  </a:lnTo>
                  <a:lnTo>
                    <a:pt x="1500530" y="286487"/>
                  </a:lnTo>
                  <a:lnTo>
                    <a:pt x="1500581" y="286487"/>
                  </a:lnTo>
                  <a:lnTo>
                    <a:pt x="1500581" y="286042"/>
                  </a:lnTo>
                  <a:lnTo>
                    <a:pt x="1500632" y="286042"/>
                  </a:lnTo>
                  <a:lnTo>
                    <a:pt x="1500632" y="285598"/>
                  </a:lnTo>
                  <a:lnTo>
                    <a:pt x="1500733" y="285598"/>
                  </a:lnTo>
                  <a:lnTo>
                    <a:pt x="1500733" y="285255"/>
                  </a:lnTo>
                  <a:lnTo>
                    <a:pt x="1500784" y="285255"/>
                  </a:lnTo>
                  <a:lnTo>
                    <a:pt x="1500784" y="284810"/>
                  </a:lnTo>
                  <a:lnTo>
                    <a:pt x="1500835" y="284810"/>
                  </a:lnTo>
                  <a:lnTo>
                    <a:pt x="1500835" y="284353"/>
                  </a:lnTo>
                  <a:lnTo>
                    <a:pt x="1500936" y="284353"/>
                  </a:lnTo>
                  <a:lnTo>
                    <a:pt x="1500936" y="283908"/>
                  </a:lnTo>
                  <a:lnTo>
                    <a:pt x="1501038" y="283908"/>
                  </a:lnTo>
                  <a:lnTo>
                    <a:pt x="1501038" y="283515"/>
                  </a:lnTo>
                  <a:lnTo>
                    <a:pt x="1501076" y="283515"/>
                  </a:lnTo>
                  <a:lnTo>
                    <a:pt x="1501076" y="283070"/>
                  </a:lnTo>
                  <a:lnTo>
                    <a:pt x="1501178" y="283070"/>
                  </a:lnTo>
                  <a:lnTo>
                    <a:pt x="1501178" y="282270"/>
                  </a:lnTo>
                  <a:lnTo>
                    <a:pt x="1501229" y="282270"/>
                  </a:lnTo>
                  <a:lnTo>
                    <a:pt x="1501229" y="281826"/>
                  </a:lnTo>
                  <a:lnTo>
                    <a:pt x="1501279" y="281826"/>
                  </a:lnTo>
                  <a:lnTo>
                    <a:pt x="1501279" y="281381"/>
                  </a:lnTo>
                  <a:lnTo>
                    <a:pt x="1501381" y="281381"/>
                  </a:lnTo>
                  <a:lnTo>
                    <a:pt x="1501381" y="280937"/>
                  </a:lnTo>
                  <a:lnTo>
                    <a:pt x="1501432" y="280937"/>
                  </a:lnTo>
                  <a:lnTo>
                    <a:pt x="1501432" y="280543"/>
                  </a:lnTo>
                  <a:lnTo>
                    <a:pt x="1501482" y="280543"/>
                  </a:lnTo>
                  <a:lnTo>
                    <a:pt x="1501482" y="280098"/>
                  </a:lnTo>
                  <a:lnTo>
                    <a:pt x="1501533" y="280098"/>
                  </a:lnTo>
                  <a:lnTo>
                    <a:pt x="1501533" y="279641"/>
                  </a:lnTo>
                  <a:lnTo>
                    <a:pt x="1501622" y="279641"/>
                  </a:lnTo>
                  <a:lnTo>
                    <a:pt x="1501622" y="279248"/>
                  </a:lnTo>
                  <a:lnTo>
                    <a:pt x="1501673" y="279248"/>
                  </a:lnTo>
                  <a:lnTo>
                    <a:pt x="1501673" y="278854"/>
                  </a:lnTo>
                  <a:lnTo>
                    <a:pt x="1501724" y="278854"/>
                  </a:lnTo>
                  <a:lnTo>
                    <a:pt x="1501724" y="278409"/>
                  </a:lnTo>
                  <a:lnTo>
                    <a:pt x="1501775" y="278409"/>
                  </a:lnTo>
                  <a:lnTo>
                    <a:pt x="1501775" y="277965"/>
                  </a:lnTo>
                  <a:lnTo>
                    <a:pt x="1501876" y="277965"/>
                  </a:lnTo>
                  <a:lnTo>
                    <a:pt x="1501876" y="277558"/>
                  </a:lnTo>
                  <a:lnTo>
                    <a:pt x="1501927" y="277558"/>
                  </a:lnTo>
                  <a:lnTo>
                    <a:pt x="1501927" y="277114"/>
                  </a:lnTo>
                  <a:lnTo>
                    <a:pt x="1501978" y="277114"/>
                  </a:lnTo>
                  <a:lnTo>
                    <a:pt x="1502079" y="276669"/>
                  </a:lnTo>
                  <a:lnTo>
                    <a:pt x="1502117" y="276225"/>
                  </a:lnTo>
                  <a:lnTo>
                    <a:pt x="1502117" y="275831"/>
                  </a:lnTo>
                  <a:lnTo>
                    <a:pt x="1502168" y="275831"/>
                  </a:lnTo>
                  <a:lnTo>
                    <a:pt x="1502219" y="275374"/>
                  </a:lnTo>
                  <a:lnTo>
                    <a:pt x="1502321" y="275374"/>
                  </a:lnTo>
                  <a:lnTo>
                    <a:pt x="1502321" y="274930"/>
                  </a:lnTo>
                  <a:lnTo>
                    <a:pt x="1502372" y="274930"/>
                  </a:lnTo>
                  <a:lnTo>
                    <a:pt x="1502372" y="274587"/>
                  </a:lnTo>
                  <a:lnTo>
                    <a:pt x="1502422" y="274587"/>
                  </a:lnTo>
                  <a:lnTo>
                    <a:pt x="1502422" y="274142"/>
                  </a:lnTo>
                  <a:lnTo>
                    <a:pt x="1502524" y="274142"/>
                  </a:lnTo>
                  <a:lnTo>
                    <a:pt x="1502524" y="273698"/>
                  </a:lnTo>
                  <a:lnTo>
                    <a:pt x="1502575" y="273698"/>
                  </a:lnTo>
                  <a:lnTo>
                    <a:pt x="1502575" y="273241"/>
                  </a:lnTo>
                  <a:lnTo>
                    <a:pt x="1502626" y="273241"/>
                  </a:lnTo>
                  <a:lnTo>
                    <a:pt x="1502626" y="272847"/>
                  </a:lnTo>
                  <a:lnTo>
                    <a:pt x="1502664" y="272847"/>
                  </a:lnTo>
                  <a:lnTo>
                    <a:pt x="1502664" y="272402"/>
                  </a:lnTo>
                  <a:lnTo>
                    <a:pt x="1502765" y="272402"/>
                  </a:lnTo>
                  <a:lnTo>
                    <a:pt x="1502765" y="271958"/>
                  </a:lnTo>
                  <a:lnTo>
                    <a:pt x="1502816" y="271958"/>
                  </a:lnTo>
                  <a:lnTo>
                    <a:pt x="1502816" y="271513"/>
                  </a:lnTo>
                  <a:lnTo>
                    <a:pt x="1502867" y="271513"/>
                  </a:lnTo>
                  <a:lnTo>
                    <a:pt x="1502867" y="271158"/>
                  </a:lnTo>
                  <a:lnTo>
                    <a:pt x="1502968" y="271158"/>
                  </a:lnTo>
                  <a:lnTo>
                    <a:pt x="1502968" y="270713"/>
                  </a:lnTo>
                  <a:lnTo>
                    <a:pt x="1503019" y="270713"/>
                  </a:lnTo>
                  <a:lnTo>
                    <a:pt x="1503019" y="270269"/>
                  </a:lnTo>
                  <a:lnTo>
                    <a:pt x="1503070" y="270269"/>
                  </a:lnTo>
                  <a:lnTo>
                    <a:pt x="1503070" y="269875"/>
                  </a:lnTo>
                  <a:lnTo>
                    <a:pt x="1503121" y="269875"/>
                  </a:lnTo>
                  <a:lnTo>
                    <a:pt x="1503121" y="269431"/>
                  </a:lnTo>
                  <a:lnTo>
                    <a:pt x="1503210" y="269431"/>
                  </a:lnTo>
                  <a:lnTo>
                    <a:pt x="1503210" y="268986"/>
                  </a:lnTo>
                  <a:lnTo>
                    <a:pt x="1503311" y="268986"/>
                  </a:lnTo>
                  <a:lnTo>
                    <a:pt x="1503311" y="268529"/>
                  </a:lnTo>
                  <a:lnTo>
                    <a:pt x="1503362" y="268529"/>
                  </a:lnTo>
                  <a:lnTo>
                    <a:pt x="1503362" y="268135"/>
                  </a:lnTo>
                  <a:lnTo>
                    <a:pt x="1503464" y="268135"/>
                  </a:lnTo>
                  <a:lnTo>
                    <a:pt x="1503514" y="267741"/>
                  </a:lnTo>
                  <a:lnTo>
                    <a:pt x="1503565" y="267741"/>
                  </a:lnTo>
                  <a:lnTo>
                    <a:pt x="1503565" y="267297"/>
                  </a:lnTo>
                  <a:lnTo>
                    <a:pt x="1503667" y="267297"/>
                  </a:lnTo>
                  <a:lnTo>
                    <a:pt x="1503667" y="266852"/>
                  </a:lnTo>
                  <a:lnTo>
                    <a:pt x="1503705" y="266852"/>
                  </a:lnTo>
                  <a:lnTo>
                    <a:pt x="1503705" y="266446"/>
                  </a:lnTo>
                  <a:lnTo>
                    <a:pt x="1503807" y="266446"/>
                  </a:lnTo>
                  <a:lnTo>
                    <a:pt x="1503807" y="266002"/>
                  </a:lnTo>
                  <a:lnTo>
                    <a:pt x="1503908" y="266002"/>
                  </a:lnTo>
                  <a:lnTo>
                    <a:pt x="1503908" y="265557"/>
                  </a:lnTo>
                  <a:lnTo>
                    <a:pt x="1503959" y="265557"/>
                  </a:lnTo>
                  <a:lnTo>
                    <a:pt x="1503959" y="265163"/>
                  </a:lnTo>
                  <a:lnTo>
                    <a:pt x="1504010" y="265163"/>
                  </a:lnTo>
                  <a:lnTo>
                    <a:pt x="1504010" y="264719"/>
                  </a:lnTo>
                  <a:lnTo>
                    <a:pt x="1504111" y="264719"/>
                  </a:lnTo>
                  <a:lnTo>
                    <a:pt x="1504111" y="264262"/>
                  </a:lnTo>
                  <a:lnTo>
                    <a:pt x="1504162" y="264262"/>
                  </a:lnTo>
                  <a:lnTo>
                    <a:pt x="1504162" y="263817"/>
                  </a:lnTo>
                  <a:lnTo>
                    <a:pt x="1504213" y="263817"/>
                  </a:lnTo>
                  <a:lnTo>
                    <a:pt x="1504251" y="263474"/>
                  </a:lnTo>
                  <a:lnTo>
                    <a:pt x="1504353" y="263030"/>
                  </a:lnTo>
                  <a:lnTo>
                    <a:pt x="1504404" y="263030"/>
                  </a:lnTo>
                  <a:lnTo>
                    <a:pt x="1504404" y="262585"/>
                  </a:lnTo>
                  <a:lnTo>
                    <a:pt x="1504454" y="262585"/>
                  </a:lnTo>
                  <a:lnTo>
                    <a:pt x="1504454" y="262179"/>
                  </a:lnTo>
                  <a:lnTo>
                    <a:pt x="1504556" y="262179"/>
                  </a:lnTo>
                  <a:lnTo>
                    <a:pt x="1504556" y="261290"/>
                  </a:lnTo>
                  <a:lnTo>
                    <a:pt x="1504607" y="261290"/>
                  </a:lnTo>
                  <a:lnTo>
                    <a:pt x="1504607" y="260845"/>
                  </a:lnTo>
                  <a:lnTo>
                    <a:pt x="1504657" y="260845"/>
                  </a:lnTo>
                  <a:lnTo>
                    <a:pt x="1504657" y="260502"/>
                  </a:lnTo>
                  <a:lnTo>
                    <a:pt x="1504708" y="260502"/>
                  </a:lnTo>
                  <a:lnTo>
                    <a:pt x="1504708" y="260045"/>
                  </a:lnTo>
                  <a:lnTo>
                    <a:pt x="1504797" y="260045"/>
                  </a:lnTo>
                  <a:lnTo>
                    <a:pt x="1504797" y="259601"/>
                  </a:lnTo>
                  <a:lnTo>
                    <a:pt x="1504848" y="259601"/>
                  </a:lnTo>
                  <a:lnTo>
                    <a:pt x="1504848" y="259156"/>
                  </a:lnTo>
                  <a:lnTo>
                    <a:pt x="1504899" y="259156"/>
                  </a:lnTo>
                  <a:lnTo>
                    <a:pt x="1504899" y="258762"/>
                  </a:lnTo>
                  <a:lnTo>
                    <a:pt x="1504950" y="258762"/>
                  </a:lnTo>
                  <a:lnTo>
                    <a:pt x="1504950" y="258318"/>
                  </a:lnTo>
                  <a:lnTo>
                    <a:pt x="1505051" y="258318"/>
                  </a:lnTo>
                  <a:lnTo>
                    <a:pt x="1505051" y="257873"/>
                  </a:lnTo>
                  <a:lnTo>
                    <a:pt x="1505102" y="257873"/>
                  </a:lnTo>
                  <a:lnTo>
                    <a:pt x="1505102" y="257467"/>
                  </a:lnTo>
                  <a:lnTo>
                    <a:pt x="1505153" y="257467"/>
                  </a:lnTo>
                  <a:lnTo>
                    <a:pt x="1505153" y="257023"/>
                  </a:lnTo>
                  <a:lnTo>
                    <a:pt x="1505254" y="257023"/>
                  </a:lnTo>
                  <a:lnTo>
                    <a:pt x="1505254" y="256629"/>
                  </a:lnTo>
                  <a:lnTo>
                    <a:pt x="1505292" y="256629"/>
                  </a:lnTo>
                  <a:lnTo>
                    <a:pt x="1505292" y="256184"/>
                  </a:lnTo>
                  <a:lnTo>
                    <a:pt x="1505343" y="256184"/>
                  </a:lnTo>
                  <a:lnTo>
                    <a:pt x="1505394" y="255778"/>
                  </a:lnTo>
                  <a:lnTo>
                    <a:pt x="1505496" y="255778"/>
                  </a:lnTo>
                  <a:lnTo>
                    <a:pt x="1505496" y="255333"/>
                  </a:lnTo>
                  <a:lnTo>
                    <a:pt x="1505547" y="255333"/>
                  </a:lnTo>
                  <a:lnTo>
                    <a:pt x="1505547" y="254889"/>
                  </a:lnTo>
                  <a:lnTo>
                    <a:pt x="1505597" y="254889"/>
                  </a:lnTo>
                  <a:lnTo>
                    <a:pt x="1505597" y="254444"/>
                  </a:lnTo>
                  <a:lnTo>
                    <a:pt x="1505699" y="254444"/>
                  </a:lnTo>
                  <a:lnTo>
                    <a:pt x="1505699" y="254051"/>
                  </a:lnTo>
                  <a:lnTo>
                    <a:pt x="1505750" y="254051"/>
                  </a:lnTo>
                  <a:lnTo>
                    <a:pt x="1505750" y="253606"/>
                  </a:lnTo>
                  <a:lnTo>
                    <a:pt x="1505801" y="253606"/>
                  </a:lnTo>
                  <a:lnTo>
                    <a:pt x="1505801" y="253149"/>
                  </a:lnTo>
                  <a:lnTo>
                    <a:pt x="1505940" y="253149"/>
                  </a:lnTo>
                  <a:lnTo>
                    <a:pt x="1505940" y="252806"/>
                  </a:lnTo>
                  <a:lnTo>
                    <a:pt x="1505991" y="252806"/>
                  </a:lnTo>
                  <a:lnTo>
                    <a:pt x="1505991" y="252362"/>
                  </a:lnTo>
                  <a:lnTo>
                    <a:pt x="1506042" y="252362"/>
                  </a:lnTo>
                  <a:lnTo>
                    <a:pt x="1506042" y="251917"/>
                  </a:lnTo>
                  <a:lnTo>
                    <a:pt x="1506143" y="251917"/>
                  </a:lnTo>
                  <a:lnTo>
                    <a:pt x="1506143" y="251473"/>
                  </a:lnTo>
                  <a:lnTo>
                    <a:pt x="1506194" y="251473"/>
                  </a:lnTo>
                  <a:lnTo>
                    <a:pt x="1506194" y="251066"/>
                  </a:lnTo>
                  <a:lnTo>
                    <a:pt x="1506245" y="251066"/>
                  </a:lnTo>
                  <a:lnTo>
                    <a:pt x="1506296" y="250622"/>
                  </a:lnTo>
                  <a:lnTo>
                    <a:pt x="1506385" y="250622"/>
                  </a:lnTo>
                  <a:lnTo>
                    <a:pt x="1506385" y="250177"/>
                  </a:lnTo>
                  <a:lnTo>
                    <a:pt x="1506436" y="250177"/>
                  </a:lnTo>
                  <a:lnTo>
                    <a:pt x="1506436" y="249834"/>
                  </a:lnTo>
                  <a:lnTo>
                    <a:pt x="1506537" y="249834"/>
                  </a:lnTo>
                  <a:lnTo>
                    <a:pt x="1506537" y="249390"/>
                  </a:lnTo>
                  <a:lnTo>
                    <a:pt x="1506639" y="249390"/>
                  </a:lnTo>
                  <a:lnTo>
                    <a:pt x="1506639" y="248933"/>
                  </a:lnTo>
                  <a:lnTo>
                    <a:pt x="1506689" y="248933"/>
                  </a:lnTo>
                  <a:lnTo>
                    <a:pt x="1506689" y="248488"/>
                  </a:lnTo>
                  <a:lnTo>
                    <a:pt x="1506740" y="248488"/>
                  </a:lnTo>
                  <a:lnTo>
                    <a:pt x="1506842" y="248094"/>
                  </a:lnTo>
                  <a:lnTo>
                    <a:pt x="1506880" y="248094"/>
                  </a:lnTo>
                  <a:lnTo>
                    <a:pt x="1506880" y="247650"/>
                  </a:lnTo>
                  <a:lnTo>
                    <a:pt x="1506931" y="247650"/>
                  </a:lnTo>
                  <a:lnTo>
                    <a:pt x="1506931" y="247206"/>
                  </a:lnTo>
                  <a:lnTo>
                    <a:pt x="1506982" y="247206"/>
                  </a:lnTo>
                  <a:lnTo>
                    <a:pt x="1506982" y="246761"/>
                  </a:lnTo>
                  <a:lnTo>
                    <a:pt x="1507134" y="246761"/>
                  </a:lnTo>
                  <a:lnTo>
                    <a:pt x="1507134" y="246355"/>
                  </a:lnTo>
                  <a:lnTo>
                    <a:pt x="1507185" y="246355"/>
                  </a:lnTo>
                  <a:lnTo>
                    <a:pt x="1507185" y="245910"/>
                  </a:lnTo>
                  <a:lnTo>
                    <a:pt x="1507286" y="245910"/>
                  </a:lnTo>
                  <a:lnTo>
                    <a:pt x="1507286" y="245516"/>
                  </a:lnTo>
                  <a:lnTo>
                    <a:pt x="1507337" y="245516"/>
                  </a:lnTo>
                  <a:lnTo>
                    <a:pt x="1507337" y="245123"/>
                  </a:lnTo>
                  <a:lnTo>
                    <a:pt x="1507388" y="245123"/>
                  </a:lnTo>
                  <a:lnTo>
                    <a:pt x="1507388" y="244666"/>
                  </a:lnTo>
                  <a:lnTo>
                    <a:pt x="1507528" y="244666"/>
                  </a:lnTo>
                  <a:lnTo>
                    <a:pt x="1507528" y="244221"/>
                  </a:lnTo>
                  <a:lnTo>
                    <a:pt x="1507579" y="244221"/>
                  </a:lnTo>
                  <a:lnTo>
                    <a:pt x="1507579" y="243777"/>
                  </a:lnTo>
                  <a:lnTo>
                    <a:pt x="1507629" y="243777"/>
                  </a:lnTo>
                  <a:lnTo>
                    <a:pt x="1507629" y="243383"/>
                  </a:lnTo>
                  <a:lnTo>
                    <a:pt x="1507731" y="243383"/>
                  </a:lnTo>
                  <a:lnTo>
                    <a:pt x="1507731" y="242938"/>
                  </a:lnTo>
                  <a:lnTo>
                    <a:pt x="1507782" y="242938"/>
                  </a:lnTo>
                  <a:lnTo>
                    <a:pt x="1507782" y="242494"/>
                  </a:lnTo>
                  <a:lnTo>
                    <a:pt x="1507883" y="242494"/>
                  </a:lnTo>
                  <a:lnTo>
                    <a:pt x="1507883" y="242037"/>
                  </a:lnTo>
                  <a:lnTo>
                    <a:pt x="1507972" y="242037"/>
                  </a:lnTo>
                  <a:lnTo>
                    <a:pt x="1507972" y="241694"/>
                  </a:lnTo>
                  <a:lnTo>
                    <a:pt x="1508023" y="241694"/>
                  </a:lnTo>
                  <a:lnTo>
                    <a:pt x="1508023" y="241249"/>
                  </a:lnTo>
                  <a:lnTo>
                    <a:pt x="1508074" y="241249"/>
                  </a:lnTo>
                  <a:lnTo>
                    <a:pt x="1508074" y="240805"/>
                  </a:lnTo>
                  <a:lnTo>
                    <a:pt x="1508226" y="240805"/>
                  </a:lnTo>
                  <a:lnTo>
                    <a:pt x="1508226" y="240411"/>
                  </a:lnTo>
                  <a:lnTo>
                    <a:pt x="1508277" y="240411"/>
                  </a:lnTo>
                  <a:lnTo>
                    <a:pt x="1508277" y="239954"/>
                  </a:lnTo>
                  <a:lnTo>
                    <a:pt x="1508328" y="239954"/>
                  </a:lnTo>
                  <a:lnTo>
                    <a:pt x="1508328" y="239509"/>
                  </a:lnTo>
                  <a:lnTo>
                    <a:pt x="1508429" y="239509"/>
                  </a:lnTo>
                  <a:lnTo>
                    <a:pt x="1508429" y="239065"/>
                  </a:lnTo>
                  <a:lnTo>
                    <a:pt x="1508518" y="239065"/>
                  </a:lnTo>
                  <a:lnTo>
                    <a:pt x="1508518" y="238722"/>
                  </a:lnTo>
                  <a:lnTo>
                    <a:pt x="1508569" y="238722"/>
                  </a:lnTo>
                  <a:lnTo>
                    <a:pt x="1508569" y="238277"/>
                  </a:lnTo>
                  <a:lnTo>
                    <a:pt x="1508671" y="238277"/>
                  </a:lnTo>
                  <a:lnTo>
                    <a:pt x="1508671" y="237820"/>
                  </a:lnTo>
                  <a:lnTo>
                    <a:pt x="1508722" y="237820"/>
                  </a:lnTo>
                  <a:lnTo>
                    <a:pt x="1508722" y="237376"/>
                  </a:lnTo>
                  <a:lnTo>
                    <a:pt x="1508772" y="237376"/>
                  </a:lnTo>
                  <a:lnTo>
                    <a:pt x="1508772" y="236982"/>
                  </a:lnTo>
                  <a:lnTo>
                    <a:pt x="1508925" y="236982"/>
                  </a:lnTo>
                  <a:lnTo>
                    <a:pt x="1508925" y="236537"/>
                  </a:lnTo>
                  <a:lnTo>
                    <a:pt x="1508976" y="236537"/>
                  </a:lnTo>
                  <a:lnTo>
                    <a:pt x="1508976" y="236093"/>
                  </a:lnTo>
                  <a:lnTo>
                    <a:pt x="1509014" y="236093"/>
                  </a:lnTo>
                  <a:lnTo>
                    <a:pt x="1509014" y="235687"/>
                  </a:lnTo>
                  <a:lnTo>
                    <a:pt x="1509115" y="235687"/>
                  </a:lnTo>
                  <a:lnTo>
                    <a:pt x="1509115" y="235242"/>
                  </a:lnTo>
                  <a:lnTo>
                    <a:pt x="1509166" y="235242"/>
                  </a:lnTo>
                  <a:lnTo>
                    <a:pt x="1509166" y="234798"/>
                  </a:lnTo>
                  <a:lnTo>
                    <a:pt x="1509318" y="234798"/>
                  </a:lnTo>
                  <a:lnTo>
                    <a:pt x="1509318" y="234404"/>
                  </a:lnTo>
                  <a:lnTo>
                    <a:pt x="1509369" y="234404"/>
                  </a:lnTo>
                  <a:lnTo>
                    <a:pt x="1509369" y="234010"/>
                  </a:lnTo>
                  <a:lnTo>
                    <a:pt x="1509420" y="234010"/>
                  </a:lnTo>
                  <a:lnTo>
                    <a:pt x="1509420" y="233553"/>
                  </a:lnTo>
                  <a:lnTo>
                    <a:pt x="1509471" y="233553"/>
                  </a:lnTo>
                  <a:lnTo>
                    <a:pt x="1509471" y="233108"/>
                  </a:lnTo>
                  <a:lnTo>
                    <a:pt x="1509560" y="233108"/>
                  </a:lnTo>
                  <a:lnTo>
                    <a:pt x="1509560" y="232715"/>
                  </a:lnTo>
                  <a:lnTo>
                    <a:pt x="1509611" y="232715"/>
                  </a:lnTo>
                  <a:lnTo>
                    <a:pt x="1509611" y="232270"/>
                  </a:lnTo>
                  <a:lnTo>
                    <a:pt x="1509661" y="232270"/>
                  </a:lnTo>
                  <a:lnTo>
                    <a:pt x="1509661" y="231826"/>
                  </a:lnTo>
                  <a:lnTo>
                    <a:pt x="1509712" y="231826"/>
                  </a:lnTo>
                  <a:lnTo>
                    <a:pt x="1509814" y="231381"/>
                  </a:lnTo>
                  <a:lnTo>
                    <a:pt x="1509864" y="231381"/>
                  </a:lnTo>
                  <a:lnTo>
                    <a:pt x="1509864" y="231026"/>
                  </a:lnTo>
                  <a:lnTo>
                    <a:pt x="1509915" y="231026"/>
                  </a:lnTo>
                  <a:lnTo>
                    <a:pt x="1509915" y="230581"/>
                  </a:lnTo>
                  <a:lnTo>
                    <a:pt x="1510017" y="230581"/>
                  </a:lnTo>
                  <a:lnTo>
                    <a:pt x="1510017" y="230137"/>
                  </a:lnTo>
                  <a:lnTo>
                    <a:pt x="1510055" y="230137"/>
                  </a:lnTo>
                  <a:lnTo>
                    <a:pt x="1510055" y="229692"/>
                  </a:lnTo>
                  <a:lnTo>
                    <a:pt x="1510157" y="229692"/>
                  </a:lnTo>
                  <a:lnTo>
                    <a:pt x="1510157" y="229298"/>
                  </a:lnTo>
                  <a:lnTo>
                    <a:pt x="1510258" y="229298"/>
                  </a:lnTo>
                  <a:lnTo>
                    <a:pt x="1510258" y="228841"/>
                  </a:lnTo>
                  <a:lnTo>
                    <a:pt x="1510309" y="228841"/>
                  </a:lnTo>
                  <a:lnTo>
                    <a:pt x="1510309" y="228397"/>
                  </a:lnTo>
                  <a:lnTo>
                    <a:pt x="1510461" y="228397"/>
                  </a:lnTo>
                  <a:lnTo>
                    <a:pt x="1510461" y="228054"/>
                  </a:lnTo>
                  <a:lnTo>
                    <a:pt x="1510512" y="228054"/>
                  </a:lnTo>
                  <a:lnTo>
                    <a:pt x="1510512" y="227609"/>
                  </a:lnTo>
                  <a:lnTo>
                    <a:pt x="1510563" y="227609"/>
                  </a:lnTo>
                  <a:lnTo>
                    <a:pt x="1510563" y="227165"/>
                  </a:lnTo>
                  <a:lnTo>
                    <a:pt x="1510601" y="227165"/>
                  </a:lnTo>
                  <a:lnTo>
                    <a:pt x="1510601" y="226708"/>
                  </a:lnTo>
                  <a:lnTo>
                    <a:pt x="1510703" y="226708"/>
                  </a:lnTo>
                  <a:lnTo>
                    <a:pt x="1510703" y="226314"/>
                  </a:lnTo>
                  <a:lnTo>
                    <a:pt x="1510754" y="226314"/>
                  </a:lnTo>
                  <a:lnTo>
                    <a:pt x="1510754" y="225869"/>
                  </a:lnTo>
                  <a:lnTo>
                    <a:pt x="1510804" y="225869"/>
                  </a:lnTo>
                  <a:lnTo>
                    <a:pt x="1510804" y="225425"/>
                  </a:lnTo>
                  <a:lnTo>
                    <a:pt x="1510906" y="225425"/>
                  </a:lnTo>
                  <a:lnTo>
                    <a:pt x="1510906" y="224981"/>
                  </a:lnTo>
                  <a:lnTo>
                    <a:pt x="1510957" y="224981"/>
                  </a:lnTo>
                  <a:lnTo>
                    <a:pt x="1510957" y="224574"/>
                  </a:lnTo>
                  <a:lnTo>
                    <a:pt x="1511007" y="224574"/>
                  </a:lnTo>
                  <a:lnTo>
                    <a:pt x="1511007" y="224130"/>
                  </a:lnTo>
                  <a:lnTo>
                    <a:pt x="1511147" y="224130"/>
                  </a:lnTo>
                  <a:lnTo>
                    <a:pt x="1511147" y="223685"/>
                  </a:lnTo>
                  <a:lnTo>
                    <a:pt x="1511198" y="223685"/>
                  </a:lnTo>
                  <a:lnTo>
                    <a:pt x="1511198" y="223342"/>
                  </a:lnTo>
                  <a:lnTo>
                    <a:pt x="1511300" y="223342"/>
                  </a:lnTo>
                  <a:lnTo>
                    <a:pt x="1511300" y="222898"/>
                  </a:lnTo>
                  <a:lnTo>
                    <a:pt x="1511401" y="222898"/>
                  </a:lnTo>
                  <a:lnTo>
                    <a:pt x="1511401" y="222441"/>
                  </a:lnTo>
                  <a:lnTo>
                    <a:pt x="1511452" y="222441"/>
                  </a:lnTo>
                  <a:lnTo>
                    <a:pt x="1511452" y="221996"/>
                  </a:lnTo>
                  <a:lnTo>
                    <a:pt x="1511604" y="221996"/>
                  </a:lnTo>
                  <a:lnTo>
                    <a:pt x="1511604" y="221602"/>
                  </a:lnTo>
                  <a:lnTo>
                    <a:pt x="1511642" y="221602"/>
                  </a:lnTo>
                  <a:lnTo>
                    <a:pt x="1511642" y="221158"/>
                  </a:lnTo>
                  <a:lnTo>
                    <a:pt x="1511744" y="221158"/>
                  </a:lnTo>
                  <a:lnTo>
                    <a:pt x="1511744" y="220713"/>
                  </a:lnTo>
                  <a:lnTo>
                    <a:pt x="1511897" y="220713"/>
                  </a:lnTo>
                  <a:lnTo>
                    <a:pt x="1511897" y="220269"/>
                  </a:lnTo>
                  <a:lnTo>
                    <a:pt x="1511947" y="220269"/>
                  </a:lnTo>
                  <a:lnTo>
                    <a:pt x="1511947" y="219913"/>
                  </a:lnTo>
                  <a:lnTo>
                    <a:pt x="1512049" y="219913"/>
                  </a:lnTo>
                  <a:lnTo>
                    <a:pt x="1512100" y="219469"/>
                  </a:lnTo>
                  <a:lnTo>
                    <a:pt x="1512100" y="219024"/>
                  </a:lnTo>
                  <a:lnTo>
                    <a:pt x="1512151" y="219024"/>
                  </a:lnTo>
                  <a:lnTo>
                    <a:pt x="1512151" y="218631"/>
                  </a:lnTo>
                  <a:lnTo>
                    <a:pt x="1512290" y="218631"/>
                  </a:lnTo>
                  <a:lnTo>
                    <a:pt x="1512290" y="218186"/>
                  </a:lnTo>
                  <a:lnTo>
                    <a:pt x="1512341" y="218186"/>
                  </a:lnTo>
                  <a:lnTo>
                    <a:pt x="1512341" y="217729"/>
                  </a:lnTo>
                  <a:lnTo>
                    <a:pt x="1512392" y="217729"/>
                  </a:lnTo>
                  <a:lnTo>
                    <a:pt x="1512392" y="217284"/>
                  </a:lnTo>
                  <a:lnTo>
                    <a:pt x="1512544" y="217284"/>
                  </a:lnTo>
                  <a:lnTo>
                    <a:pt x="1512544" y="216941"/>
                  </a:lnTo>
                  <a:lnTo>
                    <a:pt x="1512646" y="216941"/>
                  </a:lnTo>
                  <a:lnTo>
                    <a:pt x="1512646" y="216497"/>
                  </a:lnTo>
                  <a:lnTo>
                    <a:pt x="1512735" y="216497"/>
                  </a:lnTo>
                  <a:lnTo>
                    <a:pt x="1512735" y="216052"/>
                  </a:lnTo>
                  <a:lnTo>
                    <a:pt x="1512836" y="216052"/>
                  </a:lnTo>
                  <a:lnTo>
                    <a:pt x="1512836" y="215646"/>
                  </a:lnTo>
                  <a:lnTo>
                    <a:pt x="1512887" y="215646"/>
                  </a:lnTo>
                  <a:lnTo>
                    <a:pt x="1512887" y="215202"/>
                  </a:lnTo>
                  <a:lnTo>
                    <a:pt x="1513039" y="215202"/>
                  </a:lnTo>
                  <a:lnTo>
                    <a:pt x="1513039" y="214757"/>
                  </a:lnTo>
                  <a:lnTo>
                    <a:pt x="1513192" y="214757"/>
                  </a:lnTo>
                  <a:lnTo>
                    <a:pt x="1513192" y="214312"/>
                  </a:lnTo>
                  <a:lnTo>
                    <a:pt x="1513281" y="214312"/>
                  </a:lnTo>
                  <a:lnTo>
                    <a:pt x="1513281" y="213919"/>
                  </a:lnTo>
                  <a:lnTo>
                    <a:pt x="1513332" y="213919"/>
                  </a:lnTo>
                  <a:lnTo>
                    <a:pt x="1513332" y="213462"/>
                  </a:lnTo>
                  <a:lnTo>
                    <a:pt x="1513484" y="213462"/>
                  </a:lnTo>
                  <a:lnTo>
                    <a:pt x="1513484" y="213017"/>
                  </a:lnTo>
                  <a:lnTo>
                    <a:pt x="1513535" y="213017"/>
                  </a:lnTo>
                  <a:lnTo>
                    <a:pt x="1513535" y="212573"/>
                  </a:lnTo>
                  <a:lnTo>
                    <a:pt x="1513687" y="212573"/>
                  </a:lnTo>
                  <a:lnTo>
                    <a:pt x="1513687" y="212230"/>
                  </a:lnTo>
                  <a:lnTo>
                    <a:pt x="1513738" y="212230"/>
                  </a:lnTo>
                  <a:lnTo>
                    <a:pt x="1513738" y="211785"/>
                  </a:lnTo>
                  <a:lnTo>
                    <a:pt x="1513776" y="211785"/>
                  </a:lnTo>
                  <a:lnTo>
                    <a:pt x="1513776" y="211328"/>
                  </a:lnTo>
                  <a:lnTo>
                    <a:pt x="1513878" y="211328"/>
                  </a:lnTo>
                  <a:lnTo>
                    <a:pt x="1513878" y="210934"/>
                  </a:lnTo>
                  <a:lnTo>
                    <a:pt x="1513929" y="210934"/>
                  </a:lnTo>
                  <a:lnTo>
                    <a:pt x="1513929" y="210490"/>
                  </a:lnTo>
                  <a:lnTo>
                    <a:pt x="1514081" y="210490"/>
                  </a:lnTo>
                  <a:lnTo>
                    <a:pt x="1514081" y="210045"/>
                  </a:lnTo>
                  <a:lnTo>
                    <a:pt x="1514132" y="210045"/>
                  </a:lnTo>
                  <a:lnTo>
                    <a:pt x="1514132" y="209601"/>
                  </a:lnTo>
                  <a:lnTo>
                    <a:pt x="1514182" y="209601"/>
                  </a:lnTo>
                  <a:lnTo>
                    <a:pt x="1514182" y="209245"/>
                  </a:lnTo>
                  <a:lnTo>
                    <a:pt x="1514233" y="209245"/>
                  </a:lnTo>
                  <a:lnTo>
                    <a:pt x="1514233" y="208801"/>
                  </a:lnTo>
                  <a:lnTo>
                    <a:pt x="1514373" y="208801"/>
                  </a:lnTo>
                  <a:lnTo>
                    <a:pt x="1514373" y="208356"/>
                  </a:lnTo>
                  <a:lnTo>
                    <a:pt x="1514424" y="208356"/>
                  </a:lnTo>
                  <a:lnTo>
                    <a:pt x="1514424" y="207912"/>
                  </a:lnTo>
                  <a:lnTo>
                    <a:pt x="1514475" y="207912"/>
                  </a:lnTo>
                  <a:lnTo>
                    <a:pt x="1514475" y="207518"/>
                  </a:lnTo>
                  <a:lnTo>
                    <a:pt x="1514576" y="207518"/>
                  </a:lnTo>
                  <a:lnTo>
                    <a:pt x="1514627" y="207073"/>
                  </a:lnTo>
                  <a:lnTo>
                    <a:pt x="1514678" y="207073"/>
                  </a:lnTo>
                  <a:lnTo>
                    <a:pt x="1514678" y="206616"/>
                  </a:lnTo>
                  <a:lnTo>
                    <a:pt x="1514779" y="206616"/>
                  </a:lnTo>
                  <a:lnTo>
                    <a:pt x="1514779" y="206223"/>
                  </a:lnTo>
                  <a:lnTo>
                    <a:pt x="1514868" y="206223"/>
                  </a:lnTo>
                  <a:lnTo>
                    <a:pt x="1514868" y="205829"/>
                  </a:lnTo>
                  <a:lnTo>
                    <a:pt x="1514919" y="205829"/>
                  </a:lnTo>
                  <a:lnTo>
                    <a:pt x="1514919" y="205384"/>
                  </a:lnTo>
                  <a:lnTo>
                    <a:pt x="1515021" y="205384"/>
                  </a:lnTo>
                  <a:lnTo>
                    <a:pt x="1515072" y="204940"/>
                  </a:lnTo>
                  <a:lnTo>
                    <a:pt x="1515122" y="204940"/>
                  </a:lnTo>
                  <a:lnTo>
                    <a:pt x="1515122" y="204533"/>
                  </a:lnTo>
                  <a:lnTo>
                    <a:pt x="1515224" y="204533"/>
                  </a:lnTo>
                  <a:lnTo>
                    <a:pt x="1515224" y="204089"/>
                  </a:lnTo>
                  <a:lnTo>
                    <a:pt x="1515275" y="204089"/>
                  </a:lnTo>
                  <a:lnTo>
                    <a:pt x="1515275" y="203644"/>
                  </a:lnTo>
                  <a:lnTo>
                    <a:pt x="1515364" y="203644"/>
                  </a:lnTo>
                  <a:lnTo>
                    <a:pt x="1515364" y="203251"/>
                  </a:lnTo>
                  <a:lnTo>
                    <a:pt x="1515465" y="203251"/>
                  </a:lnTo>
                  <a:lnTo>
                    <a:pt x="1515465" y="202806"/>
                  </a:lnTo>
                  <a:lnTo>
                    <a:pt x="1515516" y="202806"/>
                  </a:lnTo>
                  <a:lnTo>
                    <a:pt x="1515516" y="202349"/>
                  </a:lnTo>
                  <a:lnTo>
                    <a:pt x="1515567" y="202349"/>
                  </a:lnTo>
                  <a:lnTo>
                    <a:pt x="1515567" y="201905"/>
                  </a:lnTo>
                  <a:lnTo>
                    <a:pt x="1515719" y="201905"/>
                  </a:lnTo>
                  <a:lnTo>
                    <a:pt x="1515719" y="201562"/>
                  </a:lnTo>
                  <a:lnTo>
                    <a:pt x="1515770" y="201562"/>
                  </a:lnTo>
                  <a:lnTo>
                    <a:pt x="1515770" y="201117"/>
                  </a:lnTo>
                  <a:lnTo>
                    <a:pt x="1515821" y="201117"/>
                  </a:lnTo>
                  <a:lnTo>
                    <a:pt x="1515821" y="200673"/>
                  </a:lnTo>
                  <a:lnTo>
                    <a:pt x="1515961" y="200673"/>
                  </a:lnTo>
                  <a:lnTo>
                    <a:pt x="1515961" y="200216"/>
                  </a:lnTo>
                  <a:lnTo>
                    <a:pt x="1516011" y="200216"/>
                  </a:lnTo>
                  <a:lnTo>
                    <a:pt x="1516011" y="199822"/>
                  </a:lnTo>
                  <a:lnTo>
                    <a:pt x="1516062" y="199822"/>
                  </a:lnTo>
                  <a:lnTo>
                    <a:pt x="1516062" y="199377"/>
                  </a:lnTo>
                  <a:lnTo>
                    <a:pt x="1516164" y="199377"/>
                  </a:lnTo>
                  <a:lnTo>
                    <a:pt x="1516164" y="198933"/>
                  </a:lnTo>
                  <a:lnTo>
                    <a:pt x="1516265" y="198933"/>
                  </a:lnTo>
                  <a:lnTo>
                    <a:pt x="1516265" y="198590"/>
                  </a:lnTo>
                  <a:lnTo>
                    <a:pt x="1516367" y="198590"/>
                  </a:lnTo>
                  <a:lnTo>
                    <a:pt x="1516367" y="198133"/>
                  </a:lnTo>
                  <a:lnTo>
                    <a:pt x="1516405" y="198133"/>
                  </a:lnTo>
                  <a:lnTo>
                    <a:pt x="1516405" y="197688"/>
                  </a:lnTo>
                  <a:lnTo>
                    <a:pt x="1516507" y="197688"/>
                  </a:lnTo>
                  <a:lnTo>
                    <a:pt x="1516507" y="197244"/>
                  </a:lnTo>
                  <a:lnTo>
                    <a:pt x="1516608" y="197244"/>
                  </a:lnTo>
                  <a:lnTo>
                    <a:pt x="1516608" y="196850"/>
                  </a:lnTo>
                  <a:lnTo>
                    <a:pt x="1516659" y="196850"/>
                  </a:lnTo>
                  <a:lnTo>
                    <a:pt x="1516659" y="196406"/>
                  </a:lnTo>
                  <a:lnTo>
                    <a:pt x="1516811" y="196406"/>
                  </a:lnTo>
                  <a:lnTo>
                    <a:pt x="1516811" y="195961"/>
                  </a:lnTo>
                  <a:lnTo>
                    <a:pt x="1516913" y="195961"/>
                  </a:lnTo>
                  <a:lnTo>
                    <a:pt x="1516913" y="195504"/>
                  </a:lnTo>
                  <a:lnTo>
                    <a:pt x="1516951" y="195504"/>
                  </a:lnTo>
                  <a:lnTo>
                    <a:pt x="1516951" y="195110"/>
                  </a:lnTo>
                  <a:lnTo>
                    <a:pt x="1517053" y="195110"/>
                  </a:lnTo>
                  <a:lnTo>
                    <a:pt x="1517053" y="194716"/>
                  </a:lnTo>
                  <a:lnTo>
                    <a:pt x="1517154" y="194716"/>
                  </a:lnTo>
                  <a:lnTo>
                    <a:pt x="1517154" y="194272"/>
                  </a:lnTo>
                  <a:lnTo>
                    <a:pt x="1517307" y="194272"/>
                  </a:lnTo>
                  <a:lnTo>
                    <a:pt x="1517307" y="193866"/>
                  </a:lnTo>
                  <a:lnTo>
                    <a:pt x="1517357" y="193866"/>
                  </a:lnTo>
                  <a:lnTo>
                    <a:pt x="1517357" y="193421"/>
                  </a:lnTo>
                  <a:lnTo>
                    <a:pt x="1517408" y="193421"/>
                  </a:lnTo>
                  <a:lnTo>
                    <a:pt x="1517408" y="192977"/>
                  </a:lnTo>
                  <a:lnTo>
                    <a:pt x="1517548" y="192977"/>
                  </a:lnTo>
                  <a:lnTo>
                    <a:pt x="1517548" y="192532"/>
                  </a:lnTo>
                  <a:lnTo>
                    <a:pt x="1517650" y="192532"/>
                  </a:lnTo>
                  <a:lnTo>
                    <a:pt x="1517650" y="192138"/>
                  </a:lnTo>
                  <a:lnTo>
                    <a:pt x="1517802" y="192138"/>
                  </a:lnTo>
                  <a:lnTo>
                    <a:pt x="1517802" y="191694"/>
                  </a:lnTo>
                  <a:lnTo>
                    <a:pt x="1517853" y="191694"/>
                  </a:lnTo>
                  <a:lnTo>
                    <a:pt x="1517853" y="191237"/>
                  </a:lnTo>
                  <a:lnTo>
                    <a:pt x="1517992" y="191237"/>
                  </a:lnTo>
                  <a:lnTo>
                    <a:pt x="1517992" y="190792"/>
                  </a:lnTo>
                  <a:lnTo>
                    <a:pt x="1518094" y="190792"/>
                  </a:lnTo>
                  <a:lnTo>
                    <a:pt x="1518094" y="190449"/>
                  </a:lnTo>
                  <a:lnTo>
                    <a:pt x="1518247" y="190449"/>
                  </a:lnTo>
                  <a:lnTo>
                    <a:pt x="1518247" y="190005"/>
                  </a:lnTo>
                  <a:lnTo>
                    <a:pt x="1518297" y="190005"/>
                  </a:lnTo>
                  <a:lnTo>
                    <a:pt x="1518297" y="189560"/>
                  </a:lnTo>
                  <a:lnTo>
                    <a:pt x="1518399" y="189560"/>
                  </a:lnTo>
                  <a:lnTo>
                    <a:pt x="1518399" y="189154"/>
                  </a:lnTo>
                  <a:lnTo>
                    <a:pt x="1518450" y="189154"/>
                  </a:lnTo>
                  <a:lnTo>
                    <a:pt x="1518501" y="188709"/>
                  </a:lnTo>
                  <a:lnTo>
                    <a:pt x="1518539" y="188709"/>
                  </a:lnTo>
                  <a:lnTo>
                    <a:pt x="1518539" y="188265"/>
                  </a:lnTo>
                  <a:lnTo>
                    <a:pt x="1518640" y="188265"/>
                  </a:lnTo>
                  <a:lnTo>
                    <a:pt x="1518640" y="187820"/>
                  </a:lnTo>
                  <a:lnTo>
                    <a:pt x="1518691" y="187820"/>
                  </a:lnTo>
                  <a:lnTo>
                    <a:pt x="1518691" y="187477"/>
                  </a:lnTo>
                  <a:lnTo>
                    <a:pt x="1518742" y="187477"/>
                  </a:lnTo>
                  <a:lnTo>
                    <a:pt x="1518742" y="187020"/>
                  </a:lnTo>
                  <a:lnTo>
                    <a:pt x="1518894" y="187020"/>
                  </a:lnTo>
                  <a:lnTo>
                    <a:pt x="1518894" y="186576"/>
                  </a:lnTo>
                  <a:lnTo>
                    <a:pt x="1518945" y="186576"/>
                  </a:lnTo>
                  <a:lnTo>
                    <a:pt x="1518945" y="186182"/>
                  </a:lnTo>
                  <a:lnTo>
                    <a:pt x="1518996" y="186182"/>
                  </a:lnTo>
                  <a:lnTo>
                    <a:pt x="1518996" y="185737"/>
                  </a:lnTo>
                  <a:lnTo>
                    <a:pt x="1519136" y="185737"/>
                  </a:lnTo>
                  <a:lnTo>
                    <a:pt x="1519136" y="185293"/>
                  </a:lnTo>
                  <a:lnTo>
                    <a:pt x="1519186" y="185293"/>
                  </a:lnTo>
                  <a:lnTo>
                    <a:pt x="1519186" y="184848"/>
                  </a:lnTo>
                  <a:lnTo>
                    <a:pt x="1519237" y="184848"/>
                  </a:lnTo>
                  <a:lnTo>
                    <a:pt x="1519237" y="184442"/>
                  </a:lnTo>
                  <a:lnTo>
                    <a:pt x="1519389" y="184442"/>
                  </a:lnTo>
                  <a:lnTo>
                    <a:pt x="1519389" y="183998"/>
                  </a:lnTo>
                  <a:lnTo>
                    <a:pt x="1519542" y="183998"/>
                  </a:lnTo>
                  <a:lnTo>
                    <a:pt x="1519542" y="183604"/>
                  </a:lnTo>
                  <a:lnTo>
                    <a:pt x="1519580" y="183604"/>
                  </a:lnTo>
                  <a:lnTo>
                    <a:pt x="1519580" y="183159"/>
                  </a:lnTo>
                  <a:lnTo>
                    <a:pt x="1519631" y="183159"/>
                  </a:lnTo>
                  <a:lnTo>
                    <a:pt x="1519631" y="182753"/>
                  </a:lnTo>
                  <a:lnTo>
                    <a:pt x="1519783" y="182753"/>
                  </a:lnTo>
                  <a:lnTo>
                    <a:pt x="1519783" y="182308"/>
                  </a:lnTo>
                  <a:lnTo>
                    <a:pt x="1519834" y="182308"/>
                  </a:lnTo>
                  <a:lnTo>
                    <a:pt x="1519834" y="181864"/>
                  </a:lnTo>
                  <a:lnTo>
                    <a:pt x="1519885" y="181864"/>
                  </a:lnTo>
                  <a:lnTo>
                    <a:pt x="1519885" y="181470"/>
                  </a:lnTo>
                  <a:lnTo>
                    <a:pt x="1520088" y="181470"/>
                  </a:lnTo>
                  <a:lnTo>
                    <a:pt x="1520088" y="181026"/>
                  </a:lnTo>
                  <a:lnTo>
                    <a:pt x="1520126" y="181026"/>
                  </a:lnTo>
                  <a:lnTo>
                    <a:pt x="1520126" y="180581"/>
                  </a:lnTo>
                  <a:lnTo>
                    <a:pt x="1520228" y="180581"/>
                  </a:lnTo>
                  <a:lnTo>
                    <a:pt x="1520228" y="180124"/>
                  </a:lnTo>
                  <a:lnTo>
                    <a:pt x="1520329" y="180124"/>
                  </a:lnTo>
                  <a:lnTo>
                    <a:pt x="1520329" y="179781"/>
                  </a:lnTo>
                  <a:lnTo>
                    <a:pt x="1520482" y="179781"/>
                  </a:lnTo>
                  <a:lnTo>
                    <a:pt x="1520482" y="179337"/>
                  </a:lnTo>
                  <a:lnTo>
                    <a:pt x="1520583" y="179337"/>
                  </a:lnTo>
                  <a:lnTo>
                    <a:pt x="1520583" y="178892"/>
                  </a:lnTo>
                  <a:lnTo>
                    <a:pt x="1520672" y="178892"/>
                  </a:lnTo>
                  <a:lnTo>
                    <a:pt x="1520723" y="178448"/>
                  </a:lnTo>
                  <a:lnTo>
                    <a:pt x="1520774" y="178448"/>
                  </a:lnTo>
                  <a:lnTo>
                    <a:pt x="1520774" y="178041"/>
                  </a:lnTo>
                  <a:lnTo>
                    <a:pt x="1520926" y="178041"/>
                  </a:lnTo>
                  <a:lnTo>
                    <a:pt x="1520926" y="177597"/>
                  </a:lnTo>
                  <a:lnTo>
                    <a:pt x="1521028" y="177597"/>
                  </a:lnTo>
                  <a:lnTo>
                    <a:pt x="1521028" y="177152"/>
                  </a:lnTo>
                  <a:lnTo>
                    <a:pt x="1521129" y="177152"/>
                  </a:lnTo>
                  <a:lnTo>
                    <a:pt x="1521129" y="176809"/>
                  </a:lnTo>
                  <a:lnTo>
                    <a:pt x="1521167" y="176809"/>
                  </a:lnTo>
                  <a:lnTo>
                    <a:pt x="1521167" y="176365"/>
                  </a:lnTo>
                  <a:lnTo>
                    <a:pt x="1521269" y="176365"/>
                  </a:lnTo>
                  <a:lnTo>
                    <a:pt x="1521371" y="175908"/>
                  </a:lnTo>
                  <a:lnTo>
                    <a:pt x="1521422" y="175908"/>
                  </a:lnTo>
                  <a:lnTo>
                    <a:pt x="1521422" y="175463"/>
                  </a:lnTo>
                  <a:lnTo>
                    <a:pt x="1521472" y="175463"/>
                  </a:lnTo>
                  <a:lnTo>
                    <a:pt x="1521472" y="175069"/>
                  </a:lnTo>
                  <a:lnTo>
                    <a:pt x="1521625" y="175069"/>
                  </a:lnTo>
                  <a:lnTo>
                    <a:pt x="1521625" y="174625"/>
                  </a:lnTo>
                  <a:lnTo>
                    <a:pt x="1521714" y="174625"/>
                  </a:lnTo>
                  <a:lnTo>
                    <a:pt x="1521714" y="174181"/>
                  </a:lnTo>
                  <a:lnTo>
                    <a:pt x="1521815" y="174181"/>
                  </a:lnTo>
                  <a:lnTo>
                    <a:pt x="1521815" y="173736"/>
                  </a:lnTo>
                  <a:lnTo>
                    <a:pt x="1521866" y="173736"/>
                  </a:lnTo>
                  <a:lnTo>
                    <a:pt x="1521866" y="173330"/>
                  </a:lnTo>
                  <a:lnTo>
                    <a:pt x="1522018" y="173330"/>
                  </a:lnTo>
                  <a:lnTo>
                    <a:pt x="1522069" y="172885"/>
                  </a:lnTo>
                  <a:lnTo>
                    <a:pt x="1522120" y="172885"/>
                  </a:lnTo>
                  <a:lnTo>
                    <a:pt x="1522171" y="172491"/>
                  </a:lnTo>
                  <a:lnTo>
                    <a:pt x="1522260" y="172491"/>
                  </a:lnTo>
                  <a:lnTo>
                    <a:pt x="1522260" y="172098"/>
                  </a:lnTo>
                  <a:lnTo>
                    <a:pt x="1522361" y="172098"/>
                  </a:lnTo>
                  <a:lnTo>
                    <a:pt x="1522412" y="171641"/>
                  </a:lnTo>
                  <a:lnTo>
                    <a:pt x="1522564" y="171641"/>
                  </a:lnTo>
                  <a:lnTo>
                    <a:pt x="1522564" y="171196"/>
                  </a:lnTo>
                  <a:lnTo>
                    <a:pt x="1522717" y="171196"/>
                  </a:lnTo>
                  <a:lnTo>
                    <a:pt x="1522717" y="170752"/>
                  </a:lnTo>
                  <a:lnTo>
                    <a:pt x="1522806" y="170752"/>
                  </a:lnTo>
                  <a:lnTo>
                    <a:pt x="1522857" y="170358"/>
                  </a:lnTo>
                  <a:lnTo>
                    <a:pt x="1523009" y="170358"/>
                  </a:lnTo>
                  <a:lnTo>
                    <a:pt x="1523009" y="169913"/>
                  </a:lnTo>
                  <a:lnTo>
                    <a:pt x="1523060" y="169913"/>
                  </a:lnTo>
                  <a:lnTo>
                    <a:pt x="1523060" y="169469"/>
                  </a:lnTo>
                  <a:lnTo>
                    <a:pt x="1523161" y="169469"/>
                  </a:lnTo>
                  <a:lnTo>
                    <a:pt x="1523161" y="169113"/>
                  </a:lnTo>
                  <a:lnTo>
                    <a:pt x="1523263" y="169113"/>
                  </a:lnTo>
                  <a:lnTo>
                    <a:pt x="1523263" y="168669"/>
                  </a:lnTo>
                  <a:lnTo>
                    <a:pt x="1523403" y="168669"/>
                  </a:lnTo>
                  <a:lnTo>
                    <a:pt x="1523403" y="168224"/>
                  </a:lnTo>
                  <a:lnTo>
                    <a:pt x="1523504" y="168224"/>
                  </a:lnTo>
                  <a:lnTo>
                    <a:pt x="1523504" y="167780"/>
                  </a:lnTo>
                  <a:lnTo>
                    <a:pt x="1523657" y="167780"/>
                  </a:lnTo>
                  <a:lnTo>
                    <a:pt x="1523657" y="167386"/>
                  </a:lnTo>
                  <a:lnTo>
                    <a:pt x="1523758" y="167386"/>
                  </a:lnTo>
                  <a:lnTo>
                    <a:pt x="1523758" y="166929"/>
                  </a:lnTo>
                  <a:lnTo>
                    <a:pt x="1523898" y="166929"/>
                  </a:lnTo>
                  <a:lnTo>
                    <a:pt x="1523898" y="166484"/>
                  </a:lnTo>
                  <a:lnTo>
                    <a:pt x="1524000" y="166484"/>
                  </a:lnTo>
                  <a:lnTo>
                    <a:pt x="1524000" y="166040"/>
                  </a:lnTo>
                  <a:lnTo>
                    <a:pt x="1524152" y="166040"/>
                  </a:lnTo>
                  <a:lnTo>
                    <a:pt x="1524152" y="165697"/>
                  </a:lnTo>
                  <a:lnTo>
                    <a:pt x="1524304" y="165697"/>
                  </a:lnTo>
                  <a:lnTo>
                    <a:pt x="1524304" y="165252"/>
                  </a:lnTo>
                  <a:lnTo>
                    <a:pt x="1524342" y="165252"/>
                  </a:lnTo>
                  <a:lnTo>
                    <a:pt x="1524342" y="164795"/>
                  </a:lnTo>
                  <a:lnTo>
                    <a:pt x="1524444" y="164795"/>
                  </a:lnTo>
                  <a:lnTo>
                    <a:pt x="1524546" y="164402"/>
                  </a:lnTo>
                  <a:lnTo>
                    <a:pt x="1524597" y="164402"/>
                  </a:lnTo>
                  <a:lnTo>
                    <a:pt x="1524597" y="163957"/>
                  </a:lnTo>
                  <a:lnTo>
                    <a:pt x="1524647" y="163957"/>
                  </a:lnTo>
                  <a:lnTo>
                    <a:pt x="1524647" y="163512"/>
                  </a:lnTo>
                  <a:lnTo>
                    <a:pt x="1524800" y="163512"/>
                  </a:lnTo>
                  <a:lnTo>
                    <a:pt x="1524800" y="163068"/>
                  </a:lnTo>
                  <a:lnTo>
                    <a:pt x="1524889" y="163068"/>
                  </a:lnTo>
                  <a:lnTo>
                    <a:pt x="1524889" y="162662"/>
                  </a:lnTo>
                  <a:lnTo>
                    <a:pt x="1525041" y="162662"/>
                  </a:lnTo>
                  <a:lnTo>
                    <a:pt x="1525041" y="162217"/>
                  </a:lnTo>
                  <a:lnTo>
                    <a:pt x="1525193" y="162217"/>
                  </a:lnTo>
                  <a:lnTo>
                    <a:pt x="1525193" y="161773"/>
                  </a:lnTo>
                  <a:lnTo>
                    <a:pt x="1525244" y="161773"/>
                  </a:lnTo>
                  <a:lnTo>
                    <a:pt x="1525244" y="161379"/>
                  </a:lnTo>
                  <a:lnTo>
                    <a:pt x="1525346" y="161379"/>
                  </a:lnTo>
                  <a:lnTo>
                    <a:pt x="1525346" y="160985"/>
                  </a:lnTo>
                  <a:lnTo>
                    <a:pt x="1525435" y="160985"/>
                  </a:lnTo>
                  <a:lnTo>
                    <a:pt x="1525486" y="160528"/>
                  </a:lnTo>
                  <a:lnTo>
                    <a:pt x="1525536" y="160528"/>
                  </a:lnTo>
                  <a:lnTo>
                    <a:pt x="1525536" y="160083"/>
                  </a:lnTo>
                  <a:lnTo>
                    <a:pt x="1525689" y="160083"/>
                  </a:lnTo>
                  <a:lnTo>
                    <a:pt x="1525689" y="159690"/>
                  </a:lnTo>
                  <a:lnTo>
                    <a:pt x="1525790" y="159690"/>
                  </a:lnTo>
                  <a:lnTo>
                    <a:pt x="1525790" y="159245"/>
                  </a:lnTo>
                  <a:lnTo>
                    <a:pt x="1525892" y="159245"/>
                  </a:lnTo>
                  <a:lnTo>
                    <a:pt x="1525892" y="158801"/>
                  </a:lnTo>
                  <a:lnTo>
                    <a:pt x="1526032" y="158801"/>
                  </a:lnTo>
                  <a:lnTo>
                    <a:pt x="1526032" y="158356"/>
                  </a:lnTo>
                  <a:lnTo>
                    <a:pt x="1526133" y="158356"/>
                  </a:lnTo>
                  <a:lnTo>
                    <a:pt x="1526133" y="158001"/>
                  </a:lnTo>
                  <a:lnTo>
                    <a:pt x="1526235" y="158001"/>
                  </a:lnTo>
                  <a:lnTo>
                    <a:pt x="1526235" y="157556"/>
                  </a:lnTo>
                  <a:lnTo>
                    <a:pt x="1526387" y="157556"/>
                  </a:lnTo>
                  <a:lnTo>
                    <a:pt x="1526387" y="157112"/>
                  </a:lnTo>
                  <a:lnTo>
                    <a:pt x="1526476" y="157112"/>
                  </a:lnTo>
                  <a:lnTo>
                    <a:pt x="1526578" y="156667"/>
                  </a:lnTo>
                  <a:lnTo>
                    <a:pt x="1526679" y="156667"/>
                  </a:lnTo>
                  <a:lnTo>
                    <a:pt x="1526679" y="156273"/>
                  </a:lnTo>
                  <a:lnTo>
                    <a:pt x="1526832" y="156273"/>
                  </a:lnTo>
                  <a:lnTo>
                    <a:pt x="1526832" y="155816"/>
                  </a:lnTo>
                  <a:lnTo>
                    <a:pt x="1526933" y="155816"/>
                  </a:lnTo>
                  <a:lnTo>
                    <a:pt x="1526933" y="155372"/>
                  </a:lnTo>
                  <a:lnTo>
                    <a:pt x="1527022" y="155372"/>
                  </a:lnTo>
                  <a:lnTo>
                    <a:pt x="1527022" y="155029"/>
                  </a:lnTo>
                  <a:lnTo>
                    <a:pt x="1527124" y="155029"/>
                  </a:lnTo>
                  <a:lnTo>
                    <a:pt x="1527124" y="154584"/>
                  </a:lnTo>
                  <a:lnTo>
                    <a:pt x="1527276" y="154584"/>
                  </a:lnTo>
                  <a:lnTo>
                    <a:pt x="1527276" y="154140"/>
                  </a:lnTo>
                  <a:lnTo>
                    <a:pt x="1527378" y="154140"/>
                  </a:lnTo>
                  <a:lnTo>
                    <a:pt x="1527378" y="153683"/>
                  </a:lnTo>
                  <a:lnTo>
                    <a:pt x="1527517" y="153683"/>
                  </a:lnTo>
                  <a:lnTo>
                    <a:pt x="1527517" y="153289"/>
                  </a:lnTo>
                  <a:lnTo>
                    <a:pt x="1527619" y="153289"/>
                  </a:lnTo>
                  <a:lnTo>
                    <a:pt x="1527619" y="152844"/>
                  </a:lnTo>
                  <a:lnTo>
                    <a:pt x="1527772" y="152844"/>
                  </a:lnTo>
                  <a:lnTo>
                    <a:pt x="1527772" y="152400"/>
                  </a:lnTo>
                  <a:lnTo>
                    <a:pt x="1527975" y="152400"/>
                  </a:lnTo>
                  <a:lnTo>
                    <a:pt x="1527975" y="152006"/>
                  </a:lnTo>
                  <a:lnTo>
                    <a:pt x="1528026" y="152006"/>
                  </a:lnTo>
                  <a:lnTo>
                    <a:pt x="1528026" y="151549"/>
                  </a:lnTo>
                  <a:lnTo>
                    <a:pt x="1528165" y="151549"/>
                  </a:lnTo>
                  <a:lnTo>
                    <a:pt x="1528165" y="151105"/>
                  </a:lnTo>
                  <a:lnTo>
                    <a:pt x="1528267" y="151105"/>
                  </a:lnTo>
                  <a:lnTo>
                    <a:pt x="1528267" y="150660"/>
                  </a:lnTo>
                  <a:lnTo>
                    <a:pt x="1528419" y="150660"/>
                  </a:lnTo>
                  <a:lnTo>
                    <a:pt x="1528419" y="150317"/>
                  </a:lnTo>
                  <a:lnTo>
                    <a:pt x="1528521" y="150317"/>
                  </a:lnTo>
                  <a:lnTo>
                    <a:pt x="1528521" y="149873"/>
                  </a:lnTo>
                  <a:lnTo>
                    <a:pt x="1528661" y="149873"/>
                  </a:lnTo>
                  <a:lnTo>
                    <a:pt x="1528661" y="149416"/>
                  </a:lnTo>
                  <a:lnTo>
                    <a:pt x="1528762" y="149416"/>
                  </a:lnTo>
                  <a:lnTo>
                    <a:pt x="1528762" y="148971"/>
                  </a:lnTo>
                  <a:lnTo>
                    <a:pt x="1528914" y="148971"/>
                  </a:lnTo>
                  <a:lnTo>
                    <a:pt x="1528914" y="148577"/>
                  </a:lnTo>
                  <a:lnTo>
                    <a:pt x="1529105" y="148577"/>
                  </a:lnTo>
                  <a:lnTo>
                    <a:pt x="1529105" y="148133"/>
                  </a:lnTo>
                  <a:lnTo>
                    <a:pt x="1529207" y="148133"/>
                  </a:lnTo>
                  <a:lnTo>
                    <a:pt x="1529207" y="147688"/>
                  </a:lnTo>
                  <a:lnTo>
                    <a:pt x="1529359" y="147688"/>
                  </a:lnTo>
                  <a:lnTo>
                    <a:pt x="1529359" y="147333"/>
                  </a:lnTo>
                  <a:lnTo>
                    <a:pt x="1529562" y="147333"/>
                  </a:lnTo>
                  <a:lnTo>
                    <a:pt x="1529562" y="146888"/>
                  </a:lnTo>
                  <a:lnTo>
                    <a:pt x="1529753" y="146888"/>
                  </a:lnTo>
                  <a:lnTo>
                    <a:pt x="1529753" y="146444"/>
                  </a:lnTo>
                  <a:lnTo>
                    <a:pt x="1529956" y="146444"/>
                  </a:lnTo>
                  <a:lnTo>
                    <a:pt x="1529956" y="145999"/>
                  </a:lnTo>
                  <a:lnTo>
                    <a:pt x="1530108" y="145999"/>
                  </a:lnTo>
                  <a:lnTo>
                    <a:pt x="1530108" y="145606"/>
                  </a:lnTo>
                  <a:lnTo>
                    <a:pt x="1530299" y="145606"/>
                  </a:lnTo>
                  <a:lnTo>
                    <a:pt x="1530299" y="145161"/>
                  </a:lnTo>
                  <a:lnTo>
                    <a:pt x="1530502" y="145161"/>
                  </a:lnTo>
                  <a:lnTo>
                    <a:pt x="1530502" y="144704"/>
                  </a:lnTo>
                  <a:lnTo>
                    <a:pt x="1530692" y="144704"/>
                  </a:lnTo>
                  <a:lnTo>
                    <a:pt x="1530692" y="144259"/>
                  </a:lnTo>
                  <a:lnTo>
                    <a:pt x="1530896" y="144259"/>
                  </a:lnTo>
                  <a:lnTo>
                    <a:pt x="1530947" y="143916"/>
                  </a:lnTo>
                  <a:lnTo>
                    <a:pt x="1531099" y="143916"/>
                  </a:lnTo>
                  <a:lnTo>
                    <a:pt x="1531099" y="143472"/>
                  </a:lnTo>
                  <a:lnTo>
                    <a:pt x="1531239" y="143472"/>
                  </a:lnTo>
                  <a:lnTo>
                    <a:pt x="1531340" y="143027"/>
                  </a:lnTo>
                  <a:lnTo>
                    <a:pt x="1531543" y="143027"/>
                  </a:lnTo>
                  <a:lnTo>
                    <a:pt x="1531543" y="142621"/>
                  </a:lnTo>
                  <a:lnTo>
                    <a:pt x="1531645" y="142621"/>
                  </a:lnTo>
                  <a:lnTo>
                    <a:pt x="1531645" y="142177"/>
                  </a:lnTo>
                  <a:lnTo>
                    <a:pt x="1531836" y="142177"/>
                  </a:lnTo>
                  <a:lnTo>
                    <a:pt x="1531836" y="141732"/>
                  </a:lnTo>
                  <a:lnTo>
                    <a:pt x="1532039" y="141732"/>
                  </a:lnTo>
                  <a:lnTo>
                    <a:pt x="1532039" y="141287"/>
                  </a:lnTo>
                  <a:lnTo>
                    <a:pt x="1532140" y="141287"/>
                  </a:lnTo>
                  <a:lnTo>
                    <a:pt x="1532140" y="140894"/>
                  </a:lnTo>
                  <a:lnTo>
                    <a:pt x="1532331" y="140894"/>
                  </a:lnTo>
                  <a:lnTo>
                    <a:pt x="1532331" y="140437"/>
                  </a:lnTo>
                  <a:lnTo>
                    <a:pt x="1532382" y="140437"/>
                  </a:lnTo>
                  <a:lnTo>
                    <a:pt x="1532382" y="139992"/>
                  </a:lnTo>
                  <a:lnTo>
                    <a:pt x="1532534" y="139992"/>
                  </a:lnTo>
                  <a:lnTo>
                    <a:pt x="1532534" y="139649"/>
                  </a:lnTo>
                  <a:lnTo>
                    <a:pt x="1532686" y="139649"/>
                  </a:lnTo>
                  <a:lnTo>
                    <a:pt x="1532686" y="139205"/>
                  </a:lnTo>
                  <a:lnTo>
                    <a:pt x="1532788" y="139205"/>
                  </a:lnTo>
                  <a:lnTo>
                    <a:pt x="1532788" y="138760"/>
                  </a:lnTo>
                  <a:lnTo>
                    <a:pt x="1532928" y="138760"/>
                  </a:lnTo>
                  <a:lnTo>
                    <a:pt x="1532928" y="138303"/>
                  </a:lnTo>
                  <a:lnTo>
                    <a:pt x="1533029" y="138303"/>
                  </a:lnTo>
                  <a:lnTo>
                    <a:pt x="1533029" y="137909"/>
                  </a:lnTo>
                  <a:lnTo>
                    <a:pt x="1533131" y="137909"/>
                  </a:lnTo>
                  <a:lnTo>
                    <a:pt x="1533131" y="137465"/>
                  </a:lnTo>
                  <a:lnTo>
                    <a:pt x="1533232" y="137465"/>
                  </a:lnTo>
                  <a:lnTo>
                    <a:pt x="1533232" y="137020"/>
                  </a:lnTo>
                  <a:lnTo>
                    <a:pt x="1533372" y="137020"/>
                  </a:lnTo>
                  <a:lnTo>
                    <a:pt x="1533372" y="136576"/>
                  </a:lnTo>
                  <a:lnTo>
                    <a:pt x="1533474" y="136576"/>
                  </a:lnTo>
                  <a:lnTo>
                    <a:pt x="1533474" y="136220"/>
                  </a:lnTo>
                  <a:lnTo>
                    <a:pt x="1533626" y="136220"/>
                  </a:lnTo>
                  <a:lnTo>
                    <a:pt x="1533626" y="135776"/>
                  </a:lnTo>
                  <a:lnTo>
                    <a:pt x="1533728" y="135776"/>
                  </a:lnTo>
                  <a:lnTo>
                    <a:pt x="1533728" y="135331"/>
                  </a:lnTo>
                  <a:lnTo>
                    <a:pt x="1533918" y="135331"/>
                  </a:lnTo>
                  <a:lnTo>
                    <a:pt x="1533918" y="134937"/>
                  </a:lnTo>
                  <a:lnTo>
                    <a:pt x="1534071" y="134937"/>
                  </a:lnTo>
                  <a:lnTo>
                    <a:pt x="1534122" y="134493"/>
                  </a:lnTo>
                  <a:lnTo>
                    <a:pt x="1534325" y="134493"/>
                  </a:lnTo>
                  <a:lnTo>
                    <a:pt x="1534325" y="134048"/>
                  </a:lnTo>
                  <a:lnTo>
                    <a:pt x="1534515" y="134048"/>
                  </a:lnTo>
                  <a:lnTo>
                    <a:pt x="1534515" y="133591"/>
                  </a:lnTo>
                  <a:lnTo>
                    <a:pt x="1534718" y="133591"/>
                  </a:lnTo>
                  <a:lnTo>
                    <a:pt x="1534718" y="133198"/>
                  </a:lnTo>
                  <a:lnTo>
                    <a:pt x="1534820" y="133198"/>
                  </a:lnTo>
                  <a:lnTo>
                    <a:pt x="1534871" y="132804"/>
                  </a:lnTo>
                  <a:lnTo>
                    <a:pt x="1535061" y="132804"/>
                  </a:lnTo>
                  <a:lnTo>
                    <a:pt x="1535061" y="132359"/>
                  </a:lnTo>
                  <a:lnTo>
                    <a:pt x="1535264" y="132359"/>
                  </a:lnTo>
                  <a:lnTo>
                    <a:pt x="1535264" y="131915"/>
                  </a:lnTo>
                  <a:lnTo>
                    <a:pt x="1535455" y="131915"/>
                  </a:lnTo>
                  <a:lnTo>
                    <a:pt x="1535455" y="131508"/>
                  </a:lnTo>
                  <a:lnTo>
                    <a:pt x="1535658" y="131508"/>
                  </a:lnTo>
                  <a:lnTo>
                    <a:pt x="1535658" y="131064"/>
                  </a:lnTo>
                  <a:lnTo>
                    <a:pt x="1535861" y="131064"/>
                  </a:lnTo>
                  <a:lnTo>
                    <a:pt x="1535861" y="130619"/>
                  </a:lnTo>
                  <a:lnTo>
                    <a:pt x="1536001" y="130619"/>
                  </a:lnTo>
                  <a:lnTo>
                    <a:pt x="1536001" y="130226"/>
                  </a:lnTo>
                  <a:lnTo>
                    <a:pt x="1536306" y="130226"/>
                  </a:lnTo>
                  <a:lnTo>
                    <a:pt x="1536306" y="129781"/>
                  </a:lnTo>
                  <a:lnTo>
                    <a:pt x="1536458" y="129781"/>
                  </a:lnTo>
                  <a:lnTo>
                    <a:pt x="1536458" y="129324"/>
                  </a:lnTo>
                  <a:lnTo>
                    <a:pt x="1536649" y="129324"/>
                  </a:lnTo>
                  <a:lnTo>
                    <a:pt x="1536649" y="128880"/>
                  </a:lnTo>
                  <a:lnTo>
                    <a:pt x="1536852" y="128880"/>
                  </a:lnTo>
                  <a:lnTo>
                    <a:pt x="1536852" y="128537"/>
                  </a:lnTo>
                  <a:lnTo>
                    <a:pt x="1537042" y="128537"/>
                  </a:lnTo>
                  <a:lnTo>
                    <a:pt x="1537042" y="128092"/>
                  </a:lnTo>
                  <a:lnTo>
                    <a:pt x="1537246" y="128092"/>
                  </a:lnTo>
                  <a:lnTo>
                    <a:pt x="1537246" y="127648"/>
                  </a:lnTo>
                  <a:lnTo>
                    <a:pt x="1537347" y="127648"/>
                  </a:lnTo>
                  <a:lnTo>
                    <a:pt x="1537347" y="127191"/>
                  </a:lnTo>
                  <a:lnTo>
                    <a:pt x="1537500" y="127191"/>
                  </a:lnTo>
                  <a:lnTo>
                    <a:pt x="1537500" y="126797"/>
                  </a:lnTo>
                  <a:lnTo>
                    <a:pt x="1537690" y="126797"/>
                  </a:lnTo>
                  <a:lnTo>
                    <a:pt x="1537690" y="126352"/>
                  </a:lnTo>
                  <a:lnTo>
                    <a:pt x="1537792" y="126352"/>
                  </a:lnTo>
                  <a:lnTo>
                    <a:pt x="1537792" y="125908"/>
                  </a:lnTo>
                  <a:lnTo>
                    <a:pt x="1537995" y="125908"/>
                  </a:lnTo>
                  <a:lnTo>
                    <a:pt x="1537995" y="125565"/>
                  </a:lnTo>
                  <a:lnTo>
                    <a:pt x="1538135" y="125565"/>
                  </a:lnTo>
                  <a:lnTo>
                    <a:pt x="1538135" y="125108"/>
                  </a:lnTo>
                  <a:lnTo>
                    <a:pt x="1538236" y="125108"/>
                  </a:lnTo>
                  <a:lnTo>
                    <a:pt x="1538236" y="124663"/>
                  </a:lnTo>
                  <a:lnTo>
                    <a:pt x="1538439" y="124663"/>
                  </a:lnTo>
                  <a:lnTo>
                    <a:pt x="1538439" y="124219"/>
                  </a:lnTo>
                  <a:lnTo>
                    <a:pt x="1538630" y="124219"/>
                  </a:lnTo>
                  <a:lnTo>
                    <a:pt x="1538630" y="123825"/>
                  </a:lnTo>
                  <a:lnTo>
                    <a:pt x="1538833" y="123825"/>
                  </a:lnTo>
                  <a:lnTo>
                    <a:pt x="1538833" y="123381"/>
                  </a:lnTo>
                  <a:lnTo>
                    <a:pt x="1539036" y="123381"/>
                  </a:lnTo>
                  <a:lnTo>
                    <a:pt x="1539036" y="122936"/>
                  </a:lnTo>
                  <a:lnTo>
                    <a:pt x="1539176" y="122936"/>
                  </a:lnTo>
                  <a:lnTo>
                    <a:pt x="1539176" y="122530"/>
                  </a:lnTo>
                  <a:lnTo>
                    <a:pt x="1539481" y="122530"/>
                  </a:lnTo>
                  <a:lnTo>
                    <a:pt x="1539481" y="122085"/>
                  </a:lnTo>
                  <a:lnTo>
                    <a:pt x="1539633" y="122085"/>
                  </a:lnTo>
                  <a:lnTo>
                    <a:pt x="1539633" y="121691"/>
                  </a:lnTo>
                  <a:lnTo>
                    <a:pt x="1539824" y="121691"/>
                  </a:lnTo>
                  <a:lnTo>
                    <a:pt x="1539824" y="121247"/>
                  </a:lnTo>
                  <a:lnTo>
                    <a:pt x="1540027" y="121247"/>
                  </a:lnTo>
                  <a:lnTo>
                    <a:pt x="1540078" y="120841"/>
                  </a:lnTo>
                  <a:lnTo>
                    <a:pt x="1540268" y="120841"/>
                  </a:lnTo>
                  <a:lnTo>
                    <a:pt x="1540268" y="120396"/>
                  </a:lnTo>
                  <a:lnTo>
                    <a:pt x="1540522" y="120396"/>
                  </a:lnTo>
                  <a:lnTo>
                    <a:pt x="1540522" y="119952"/>
                  </a:lnTo>
                  <a:lnTo>
                    <a:pt x="1540726" y="119952"/>
                  </a:lnTo>
                  <a:lnTo>
                    <a:pt x="1540726" y="119507"/>
                  </a:lnTo>
                  <a:lnTo>
                    <a:pt x="1540916" y="119507"/>
                  </a:lnTo>
                  <a:lnTo>
                    <a:pt x="1540916" y="119113"/>
                  </a:lnTo>
                  <a:lnTo>
                    <a:pt x="1541068" y="119113"/>
                  </a:lnTo>
                  <a:lnTo>
                    <a:pt x="1541068" y="118669"/>
                  </a:lnTo>
                  <a:lnTo>
                    <a:pt x="1541221" y="118669"/>
                  </a:lnTo>
                  <a:lnTo>
                    <a:pt x="1541221" y="118212"/>
                  </a:lnTo>
                  <a:lnTo>
                    <a:pt x="1541411" y="118212"/>
                  </a:lnTo>
                  <a:lnTo>
                    <a:pt x="1541411" y="117869"/>
                  </a:lnTo>
                  <a:lnTo>
                    <a:pt x="1541564" y="117869"/>
                  </a:lnTo>
                  <a:lnTo>
                    <a:pt x="1541564" y="117424"/>
                  </a:lnTo>
                  <a:lnTo>
                    <a:pt x="1541767" y="117424"/>
                  </a:lnTo>
                  <a:lnTo>
                    <a:pt x="1541767" y="116980"/>
                  </a:lnTo>
                  <a:lnTo>
                    <a:pt x="1541907" y="116980"/>
                  </a:lnTo>
                  <a:lnTo>
                    <a:pt x="1541907" y="116535"/>
                  </a:lnTo>
                  <a:lnTo>
                    <a:pt x="1542110" y="116535"/>
                  </a:lnTo>
                  <a:lnTo>
                    <a:pt x="1542110" y="116129"/>
                  </a:lnTo>
                  <a:lnTo>
                    <a:pt x="1542313" y="116129"/>
                  </a:lnTo>
                  <a:lnTo>
                    <a:pt x="1542313" y="115684"/>
                  </a:lnTo>
                  <a:lnTo>
                    <a:pt x="1542554" y="115684"/>
                  </a:lnTo>
                  <a:lnTo>
                    <a:pt x="1542554" y="115240"/>
                  </a:lnTo>
                  <a:lnTo>
                    <a:pt x="1542757" y="115240"/>
                  </a:lnTo>
                  <a:lnTo>
                    <a:pt x="1542757" y="114795"/>
                  </a:lnTo>
                  <a:lnTo>
                    <a:pt x="1542948" y="114795"/>
                  </a:lnTo>
                  <a:lnTo>
                    <a:pt x="1542948" y="114452"/>
                  </a:lnTo>
                  <a:lnTo>
                    <a:pt x="1543151" y="114452"/>
                  </a:lnTo>
                  <a:lnTo>
                    <a:pt x="1543202" y="113995"/>
                  </a:lnTo>
                  <a:lnTo>
                    <a:pt x="1543392" y="113995"/>
                  </a:lnTo>
                  <a:lnTo>
                    <a:pt x="1543392" y="113551"/>
                  </a:lnTo>
                  <a:lnTo>
                    <a:pt x="1543596" y="113551"/>
                  </a:lnTo>
                  <a:lnTo>
                    <a:pt x="1543596" y="113157"/>
                  </a:lnTo>
                  <a:lnTo>
                    <a:pt x="1543799" y="113157"/>
                  </a:lnTo>
                  <a:lnTo>
                    <a:pt x="1543850" y="112712"/>
                  </a:lnTo>
                  <a:lnTo>
                    <a:pt x="1544040" y="112712"/>
                  </a:lnTo>
                  <a:lnTo>
                    <a:pt x="1544040" y="112268"/>
                  </a:lnTo>
                  <a:lnTo>
                    <a:pt x="1544243" y="112268"/>
                  </a:lnTo>
                  <a:lnTo>
                    <a:pt x="1544243" y="111823"/>
                  </a:lnTo>
                  <a:lnTo>
                    <a:pt x="1544485" y="111823"/>
                  </a:lnTo>
                  <a:lnTo>
                    <a:pt x="1544485" y="111417"/>
                  </a:lnTo>
                  <a:lnTo>
                    <a:pt x="1544637" y="111417"/>
                  </a:lnTo>
                  <a:lnTo>
                    <a:pt x="1544637" y="110973"/>
                  </a:lnTo>
                  <a:lnTo>
                    <a:pt x="1544840" y="110973"/>
                  </a:lnTo>
                  <a:lnTo>
                    <a:pt x="1544840" y="110579"/>
                  </a:lnTo>
                  <a:lnTo>
                    <a:pt x="1545031" y="110579"/>
                  </a:lnTo>
                  <a:lnTo>
                    <a:pt x="1545031" y="110134"/>
                  </a:lnTo>
                  <a:lnTo>
                    <a:pt x="1545234" y="110134"/>
                  </a:lnTo>
                  <a:lnTo>
                    <a:pt x="1545234" y="109728"/>
                  </a:lnTo>
                  <a:lnTo>
                    <a:pt x="1545437" y="109728"/>
                  </a:lnTo>
                  <a:lnTo>
                    <a:pt x="1545437" y="109283"/>
                  </a:lnTo>
                  <a:lnTo>
                    <a:pt x="1545679" y="109283"/>
                  </a:lnTo>
                  <a:lnTo>
                    <a:pt x="1545679" y="108839"/>
                  </a:lnTo>
                  <a:lnTo>
                    <a:pt x="1545882" y="108839"/>
                  </a:lnTo>
                  <a:lnTo>
                    <a:pt x="1545882" y="108445"/>
                  </a:lnTo>
                  <a:lnTo>
                    <a:pt x="1545983" y="108445"/>
                  </a:lnTo>
                  <a:lnTo>
                    <a:pt x="1546072" y="108001"/>
                  </a:lnTo>
                  <a:lnTo>
                    <a:pt x="1546174" y="108001"/>
                  </a:lnTo>
                  <a:lnTo>
                    <a:pt x="1546174" y="107556"/>
                  </a:lnTo>
                  <a:lnTo>
                    <a:pt x="1546326" y="107556"/>
                  </a:lnTo>
                  <a:lnTo>
                    <a:pt x="1546326" y="107099"/>
                  </a:lnTo>
                  <a:lnTo>
                    <a:pt x="1546529" y="107099"/>
                  </a:lnTo>
                  <a:lnTo>
                    <a:pt x="1546529" y="106756"/>
                  </a:lnTo>
                  <a:lnTo>
                    <a:pt x="1546669" y="106756"/>
                  </a:lnTo>
                  <a:lnTo>
                    <a:pt x="1546669" y="106312"/>
                  </a:lnTo>
                  <a:lnTo>
                    <a:pt x="1546872" y="106312"/>
                  </a:lnTo>
                  <a:lnTo>
                    <a:pt x="1546872" y="105867"/>
                  </a:lnTo>
                  <a:lnTo>
                    <a:pt x="1547076" y="105867"/>
                  </a:lnTo>
                  <a:lnTo>
                    <a:pt x="1547076" y="105473"/>
                  </a:lnTo>
                  <a:lnTo>
                    <a:pt x="1547266" y="105473"/>
                  </a:lnTo>
                  <a:lnTo>
                    <a:pt x="1547266" y="105016"/>
                  </a:lnTo>
                  <a:lnTo>
                    <a:pt x="1547469" y="105016"/>
                  </a:lnTo>
                  <a:lnTo>
                    <a:pt x="1547469" y="104572"/>
                  </a:lnTo>
                  <a:lnTo>
                    <a:pt x="1547711" y="104572"/>
                  </a:lnTo>
                  <a:lnTo>
                    <a:pt x="1547711" y="104127"/>
                  </a:lnTo>
                  <a:lnTo>
                    <a:pt x="1547914" y="104127"/>
                  </a:lnTo>
                  <a:lnTo>
                    <a:pt x="1547914" y="103784"/>
                  </a:lnTo>
                  <a:lnTo>
                    <a:pt x="1548155" y="103784"/>
                  </a:lnTo>
                  <a:lnTo>
                    <a:pt x="1548155" y="103340"/>
                  </a:lnTo>
                  <a:lnTo>
                    <a:pt x="1548358" y="103340"/>
                  </a:lnTo>
                  <a:lnTo>
                    <a:pt x="1548358" y="102883"/>
                  </a:lnTo>
                  <a:lnTo>
                    <a:pt x="1548612" y="102883"/>
                  </a:lnTo>
                  <a:lnTo>
                    <a:pt x="1548612" y="102438"/>
                  </a:lnTo>
                  <a:lnTo>
                    <a:pt x="1548854" y="102438"/>
                  </a:lnTo>
                  <a:lnTo>
                    <a:pt x="1548854" y="102044"/>
                  </a:lnTo>
                  <a:lnTo>
                    <a:pt x="1549107" y="102044"/>
                  </a:lnTo>
                  <a:lnTo>
                    <a:pt x="1549107" y="101600"/>
                  </a:lnTo>
                  <a:lnTo>
                    <a:pt x="1549298" y="101600"/>
                  </a:lnTo>
                  <a:lnTo>
                    <a:pt x="1549298" y="101156"/>
                  </a:lnTo>
                  <a:lnTo>
                    <a:pt x="1549552" y="101156"/>
                  </a:lnTo>
                  <a:lnTo>
                    <a:pt x="1549552" y="100749"/>
                  </a:lnTo>
                  <a:lnTo>
                    <a:pt x="1549742" y="100749"/>
                  </a:lnTo>
                  <a:lnTo>
                    <a:pt x="1549742" y="100305"/>
                  </a:lnTo>
                  <a:lnTo>
                    <a:pt x="1549997" y="100305"/>
                  </a:lnTo>
                  <a:lnTo>
                    <a:pt x="1549997" y="99860"/>
                  </a:lnTo>
                  <a:lnTo>
                    <a:pt x="1550200" y="99860"/>
                  </a:lnTo>
                  <a:lnTo>
                    <a:pt x="1550200" y="99466"/>
                  </a:lnTo>
                  <a:lnTo>
                    <a:pt x="1550390" y="99466"/>
                  </a:lnTo>
                  <a:lnTo>
                    <a:pt x="1550390" y="99073"/>
                  </a:lnTo>
                  <a:lnTo>
                    <a:pt x="1550593" y="99073"/>
                  </a:lnTo>
                  <a:lnTo>
                    <a:pt x="1550593" y="98616"/>
                  </a:lnTo>
                  <a:lnTo>
                    <a:pt x="1550835" y="98616"/>
                  </a:lnTo>
                  <a:lnTo>
                    <a:pt x="1550835" y="98171"/>
                  </a:lnTo>
                  <a:lnTo>
                    <a:pt x="1550987" y="98171"/>
                  </a:lnTo>
                  <a:lnTo>
                    <a:pt x="1550987" y="97727"/>
                  </a:lnTo>
                  <a:lnTo>
                    <a:pt x="1551190" y="97727"/>
                  </a:lnTo>
                  <a:lnTo>
                    <a:pt x="1551190" y="97333"/>
                  </a:lnTo>
                  <a:lnTo>
                    <a:pt x="1551432" y="97333"/>
                  </a:lnTo>
                  <a:lnTo>
                    <a:pt x="1551432" y="96888"/>
                  </a:lnTo>
                  <a:lnTo>
                    <a:pt x="1551635" y="96888"/>
                  </a:lnTo>
                  <a:lnTo>
                    <a:pt x="1551736" y="96444"/>
                  </a:lnTo>
                  <a:lnTo>
                    <a:pt x="1551876" y="96444"/>
                  </a:lnTo>
                  <a:lnTo>
                    <a:pt x="1551876" y="96088"/>
                  </a:lnTo>
                  <a:lnTo>
                    <a:pt x="1552181" y="96088"/>
                  </a:lnTo>
                  <a:lnTo>
                    <a:pt x="1552181" y="95644"/>
                  </a:lnTo>
                  <a:lnTo>
                    <a:pt x="1552422" y="95644"/>
                  </a:lnTo>
                  <a:lnTo>
                    <a:pt x="1552473" y="95199"/>
                  </a:lnTo>
                  <a:lnTo>
                    <a:pt x="1552676" y="95199"/>
                  </a:lnTo>
                  <a:lnTo>
                    <a:pt x="1552727" y="94755"/>
                  </a:lnTo>
                  <a:lnTo>
                    <a:pt x="1552917" y="94755"/>
                  </a:lnTo>
                  <a:lnTo>
                    <a:pt x="1552917" y="94361"/>
                  </a:lnTo>
                  <a:lnTo>
                    <a:pt x="1553172" y="94361"/>
                  </a:lnTo>
                  <a:lnTo>
                    <a:pt x="1553172" y="93904"/>
                  </a:lnTo>
                  <a:lnTo>
                    <a:pt x="1553426" y="93904"/>
                  </a:lnTo>
                  <a:lnTo>
                    <a:pt x="1553426" y="93459"/>
                  </a:lnTo>
                  <a:lnTo>
                    <a:pt x="1553667" y="93459"/>
                  </a:lnTo>
                  <a:lnTo>
                    <a:pt x="1553667" y="93116"/>
                  </a:lnTo>
                  <a:lnTo>
                    <a:pt x="1553921" y="93116"/>
                  </a:lnTo>
                  <a:lnTo>
                    <a:pt x="1553921" y="92672"/>
                  </a:lnTo>
                  <a:lnTo>
                    <a:pt x="1554162" y="92672"/>
                  </a:lnTo>
                  <a:lnTo>
                    <a:pt x="1554162" y="92227"/>
                  </a:lnTo>
                  <a:lnTo>
                    <a:pt x="1554467" y="92227"/>
                  </a:lnTo>
                  <a:lnTo>
                    <a:pt x="1554467" y="91770"/>
                  </a:lnTo>
                  <a:lnTo>
                    <a:pt x="1554708" y="91770"/>
                  </a:lnTo>
                  <a:lnTo>
                    <a:pt x="1554708" y="91377"/>
                  </a:lnTo>
                  <a:lnTo>
                    <a:pt x="1554962" y="91377"/>
                  </a:lnTo>
                  <a:lnTo>
                    <a:pt x="1554962" y="90932"/>
                  </a:lnTo>
                  <a:lnTo>
                    <a:pt x="1555204" y="90932"/>
                  </a:lnTo>
                  <a:lnTo>
                    <a:pt x="1555204" y="90487"/>
                  </a:lnTo>
                  <a:lnTo>
                    <a:pt x="1555457" y="90487"/>
                  </a:lnTo>
                  <a:lnTo>
                    <a:pt x="1555457" y="90043"/>
                  </a:lnTo>
                  <a:lnTo>
                    <a:pt x="1555699" y="90043"/>
                  </a:lnTo>
                  <a:lnTo>
                    <a:pt x="1555699" y="89637"/>
                  </a:lnTo>
                  <a:lnTo>
                    <a:pt x="1555953" y="89637"/>
                  </a:lnTo>
                  <a:lnTo>
                    <a:pt x="1555953" y="89192"/>
                  </a:lnTo>
                  <a:lnTo>
                    <a:pt x="1556194" y="89192"/>
                  </a:lnTo>
                  <a:lnTo>
                    <a:pt x="1556194" y="88748"/>
                  </a:lnTo>
                  <a:lnTo>
                    <a:pt x="1556397" y="88748"/>
                  </a:lnTo>
                  <a:lnTo>
                    <a:pt x="1556397" y="88405"/>
                  </a:lnTo>
                  <a:lnTo>
                    <a:pt x="1556639" y="88405"/>
                  </a:lnTo>
                  <a:lnTo>
                    <a:pt x="1556639" y="87960"/>
                  </a:lnTo>
                  <a:lnTo>
                    <a:pt x="1556943" y="87960"/>
                  </a:lnTo>
                  <a:lnTo>
                    <a:pt x="1556943" y="87503"/>
                  </a:lnTo>
                  <a:lnTo>
                    <a:pt x="1557096" y="87503"/>
                  </a:lnTo>
                  <a:lnTo>
                    <a:pt x="1557096" y="87058"/>
                  </a:lnTo>
                  <a:lnTo>
                    <a:pt x="1557337" y="87058"/>
                  </a:lnTo>
                  <a:lnTo>
                    <a:pt x="1557337" y="86665"/>
                  </a:lnTo>
                  <a:lnTo>
                    <a:pt x="1557642" y="86665"/>
                  </a:lnTo>
                  <a:lnTo>
                    <a:pt x="1557642" y="86220"/>
                  </a:lnTo>
                  <a:lnTo>
                    <a:pt x="1557782" y="86220"/>
                  </a:lnTo>
                  <a:lnTo>
                    <a:pt x="1557782" y="85776"/>
                  </a:lnTo>
                  <a:lnTo>
                    <a:pt x="1558086" y="85776"/>
                  </a:lnTo>
                  <a:lnTo>
                    <a:pt x="1558086" y="85331"/>
                  </a:lnTo>
                  <a:lnTo>
                    <a:pt x="1558328" y="85331"/>
                  </a:lnTo>
                  <a:lnTo>
                    <a:pt x="1558328" y="84976"/>
                  </a:lnTo>
                  <a:lnTo>
                    <a:pt x="1558582" y="84976"/>
                  </a:lnTo>
                  <a:lnTo>
                    <a:pt x="1558582" y="84531"/>
                  </a:lnTo>
                  <a:lnTo>
                    <a:pt x="1558823" y="84531"/>
                  </a:lnTo>
                  <a:lnTo>
                    <a:pt x="1558823" y="84087"/>
                  </a:lnTo>
                  <a:lnTo>
                    <a:pt x="1559077" y="84087"/>
                  </a:lnTo>
                  <a:lnTo>
                    <a:pt x="1559077" y="83693"/>
                  </a:lnTo>
                  <a:lnTo>
                    <a:pt x="1559318" y="83693"/>
                  </a:lnTo>
                  <a:lnTo>
                    <a:pt x="1559318" y="83248"/>
                  </a:lnTo>
                  <a:lnTo>
                    <a:pt x="1559572" y="83248"/>
                  </a:lnTo>
                  <a:lnTo>
                    <a:pt x="1559572" y="82791"/>
                  </a:lnTo>
                  <a:lnTo>
                    <a:pt x="1559814" y="82791"/>
                  </a:lnTo>
                  <a:lnTo>
                    <a:pt x="1559814" y="82347"/>
                  </a:lnTo>
                  <a:lnTo>
                    <a:pt x="1560118" y="82347"/>
                  </a:lnTo>
                  <a:lnTo>
                    <a:pt x="1560118" y="82004"/>
                  </a:lnTo>
                  <a:lnTo>
                    <a:pt x="1560360" y="82004"/>
                  </a:lnTo>
                  <a:lnTo>
                    <a:pt x="1560411" y="81559"/>
                  </a:lnTo>
                  <a:lnTo>
                    <a:pt x="1560614" y="81559"/>
                  </a:lnTo>
                  <a:lnTo>
                    <a:pt x="1560614" y="81115"/>
                  </a:lnTo>
                  <a:lnTo>
                    <a:pt x="1560855" y="81115"/>
                  </a:lnTo>
                  <a:lnTo>
                    <a:pt x="1560855" y="80658"/>
                  </a:lnTo>
                  <a:lnTo>
                    <a:pt x="1561109" y="80658"/>
                  </a:lnTo>
                  <a:lnTo>
                    <a:pt x="1561109" y="80264"/>
                  </a:lnTo>
                  <a:lnTo>
                    <a:pt x="1561401" y="80264"/>
                  </a:lnTo>
                  <a:lnTo>
                    <a:pt x="1561401" y="79819"/>
                  </a:lnTo>
                  <a:lnTo>
                    <a:pt x="1561706" y="79819"/>
                  </a:lnTo>
                  <a:lnTo>
                    <a:pt x="1561706" y="79375"/>
                  </a:lnTo>
                  <a:lnTo>
                    <a:pt x="1561947" y="79375"/>
                  </a:lnTo>
                  <a:lnTo>
                    <a:pt x="1561947" y="78981"/>
                  </a:lnTo>
                  <a:lnTo>
                    <a:pt x="1562201" y="78981"/>
                  </a:lnTo>
                  <a:lnTo>
                    <a:pt x="1562201" y="78524"/>
                  </a:lnTo>
                  <a:lnTo>
                    <a:pt x="1562404" y="78524"/>
                  </a:lnTo>
                  <a:lnTo>
                    <a:pt x="1562404" y="78080"/>
                  </a:lnTo>
                  <a:lnTo>
                    <a:pt x="1562697" y="78080"/>
                  </a:lnTo>
                  <a:lnTo>
                    <a:pt x="1562697" y="77635"/>
                  </a:lnTo>
                  <a:lnTo>
                    <a:pt x="1562900" y="77635"/>
                  </a:lnTo>
                  <a:lnTo>
                    <a:pt x="1562951" y="77292"/>
                  </a:lnTo>
                  <a:lnTo>
                    <a:pt x="1563192" y="77292"/>
                  </a:lnTo>
                  <a:lnTo>
                    <a:pt x="1563192" y="76848"/>
                  </a:lnTo>
                  <a:lnTo>
                    <a:pt x="1563446" y="76848"/>
                  </a:lnTo>
                  <a:lnTo>
                    <a:pt x="1563446" y="76391"/>
                  </a:lnTo>
                  <a:lnTo>
                    <a:pt x="1563687" y="76391"/>
                  </a:lnTo>
                  <a:lnTo>
                    <a:pt x="1563687" y="75997"/>
                  </a:lnTo>
                  <a:lnTo>
                    <a:pt x="1563890" y="75997"/>
                  </a:lnTo>
                  <a:lnTo>
                    <a:pt x="1563992" y="75552"/>
                  </a:lnTo>
                  <a:lnTo>
                    <a:pt x="1564233" y="75552"/>
                  </a:lnTo>
                  <a:lnTo>
                    <a:pt x="1564233" y="75108"/>
                  </a:lnTo>
                  <a:lnTo>
                    <a:pt x="1564487" y="75108"/>
                  </a:lnTo>
                  <a:lnTo>
                    <a:pt x="1564487" y="74663"/>
                  </a:lnTo>
                  <a:lnTo>
                    <a:pt x="1564678" y="74663"/>
                  </a:lnTo>
                  <a:lnTo>
                    <a:pt x="1564729" y="74308"/>
                  </a:lnTo>
                  <a:lnTo>
                    <a:pt x="1564982" y="74308"/>
                  </a:lnTo>
                  <a:lnTo>
                    <a:pt x="1564982" y="73863"/>
                  </a:lnTo>
                  <a:lnTo>
                    <a:pt x="1565224" y="73863"/>
                  </a:lnTo>
                  <a:lnTo>
                    <a:pt x="1565224" y="73419"/>
                  </a:lnTo>
                  <a:lnTo>
                    <a:pt x="1565478" y="73419"/>
                  </a:lnTo>
                  <a:lnTo>
                    <a:pt x="1565478" y="72974"/>
                  </a:lnTo>
                  <a:lnTo>
                    <a:pt x="1565668" y="72974"/>
                  </a:lnTo>
                  <a:lnTo>
                    <a:pt x="1565668" y="72581"/>
                  </a:lnTo>
                  <a:lnTo>
                    <a:pt x="1566024" y="72581"/>
                  </a:lnTo>
                  <a:lnTo>
                    <a:pt x="1566024" y="72136"/>
                  </a:lnTo>
                  <a:lnTo>
                    <a:pt x="1566265" y="72136"/>
                  </a:lnTo>
                  <a:lnTo>
                    <a:pt x="1566265" y="71679"/>
                  </a:lnTo>
                  <a:lnTo>
                    <a:pt x="1566519" y="71679"/>
                  </a:lnTo>
                  <a:lnTo>
                    <a:pt x="1566519" y="71285"/>
                  </a:lnTo>
                  <a:lnTo>
                    <a:pt x="1566761" y="71285"/>
                  </a:lnTo>
                  <a:lnTo>
                    <a:pt x="1566761" y="70891"/>
                  </a:lnTo>
                  <a:lnTo>
                    <a:pt x="1567014" y="70891"/>
                  </a:lnTo>
                  <a:lnTo>
                    <a:pt x="1567014" y="70447"/>
                  </a:lnTo>
                  <a:lnTo>
                    <a:pt x="1567256" y="70447"/>
                  </a:lnTo>
                  <a:lnTo>
                    <a:pt x="1567256" y="70002"/>
                  </a:lnTo>
                  <a:lnTo>
                    <a:pt x="1567510" y="70002"/>
                  </a:lnTo>
                  <a:lnTo>
                    <a:pt x="1567510" y="69596"/>
                  </a:lnTo>
                  <a:lnTo>
                    <a:pt x="1567713" y="69596"/>
                  </a:lnTo>
                  <a:lnTo>
                    <a:pt x="1567713" y="69152"/>
                  </a:lnTo>
                  <a:lnTo>
                    <a:pt x="1567954" y="69152"/>
                  </a:lnTo>
                  <a:lnTo>
                    <a:pt x="1567954" y="68707"/>
                  </a:lnTo>
                  <a:lnTo>
                    <a:pt x="1568208" y="68707"/>
                  </a:lnTo>
                  <a:lnTo>
                    <a:pt x="1568208" y="68262"/>
                  </a:lnTo>
                  <a:lnTo>
                    <a:pt x="1568450" y="68262"/>
                  </a:lnTo>
                  <a:lnTo>
                    <a:pt x="1568450" y="67869"/>
                  </a:lnTo>
                  <a:lnTo>
                    <a:pt x="1568754" y="67869"/>
                  </a:lnTo>
                  <a:lnTo>
                    <a:pt x="1568754" y="67412"/>
                  </a:lnTo>
                  <a:lnTo>
                    <a:pt x="1568996" y="67412"/>
                  </a:lnTo>
                  <a:lnTo>
                    <a:pt x="1568996" y="66967"/>
                  </a:lnTo>
                  <a:lnTo>
                    <a:pt x="1569199" y="66967"/>
                  </a:lnTo>
                  <a:lnTo>
                    <a:pt x="1569199" y="66624"/>
                  </a:lnTo>
                  <a:lnTo>
                    <a:pt x="1569440" y="66624"/>
                  </a:lnTo>
                  <a:lnTo>
                    <a:pt x="1569440" y="66180"/>
                  </a:lnTo>
                  <a:lnTo>
                    <a:pt x="1569643" y="66180"/>
                  </a:lnTo>
                  <a:lnTo>
                    <a:pt x="1569694" y="65735"/>
                  </a:lnTo>
                  <a:lnTo>
                    <a:pt x="1569885" y="65735"/>
                  </a:lnTo>
                  <a:lnTo>
                    <a:pt x="1569885" y="65278"/>
                  </a:lnTo>
                  <a:lnTo>
                    <a:pt x="1570139" y="65278"/>
                  </a:lnTo>
                  <a:lnTo>
                    <a:pt x="1570139" y="64884"/>
                  </a:lnTo>
                  <a:lnTo>
                    <a:pt x="1570380" y="64884"/>
                  </a:lnTo>
                  <a:lnTo>
                    <a:pt x="1570380" y="64440"/>
                  </a:lnTo>
                  <a:lnTo>
                    <a:pt x="1570583" y="64440"/>
                  </a:lnTo>
                  <a:lnTo>
                    <a:pt x="1570583" y="63995"/>
                  </a:lnTo>
                  <a:lnTo>
                    <a:pt x="1570837" y="63995"/>
                  </a:lnTo>
                  <a:lnTo>
                    <a:pt x="1570837" y="63551"/>
                  </a:lnTo>
                  <a:lnTo>
                    <a:pt x="1571028" y="63551"/>
                  </a:lnTo>
                  <a:lnTo>
                    <a:pt x="1571079" y="63195"/>
                  </a:lnTo>
                  <a:lnTo>
                    <a:pt x="1571282" y="63195"/>
                  </a:lnTo>
                  <a:lnTo>
                    <a:pt x="1571282" y="62751"/>
                  </a:lnTo>
                  <a:lnTo>
                    <a:pt x="1571523" y="62751"/>
                  </a:lnTo>
                  <a:lnTo>
                    <a:pt x="1571523" y="62306"/>
                  </a:lnTo>
                  <a:lnTo>
                    <a:pt x="1571726" y="62306"/>
                  </a:lnTo>
                  <a:lnTo>
                    <a:pt x="1571726" y="61912"/>
                  </a:lnTo>
                  <a:lnTo>
                    <a:pt x="1571967" y="61912"/>
                  </a:lnTo>
                  <a:lnTo>
                    <a:pt x="1571967" y="61468"/>
                  </a:lnTo>
                  <a:lnTo>
                    <a:pt x="1572171" y="61468"/>
                  </a:lnTo>
                  <a:lnTo>
                    <a:pt x="1572171" y="61023"/>
                  </a:lnTo>
                  <a:lnTo>
                    <a:pt x="1572425" y="61023"/>
                  </a:lnTo>
                  <a:lnTo>
                    <a:pt x="1572425" y="60566"/>
                  </a:lnTo>
                  <a:lnTo>
                    <a:pt x="1572615" y="60566"/>
                  </a:lnTo>
                  <a:lnTo>
                    <a:pt x="1572615" y="60173"/>
                  </a:lnTo>
                  <a:lnTo>
                    <a:pt x="1572869" y="60173"/>
                  </a:lnTo>
                  <a:lnTo>
                    <a:pt x="1572869" y="59779"/>
                  </a:lnTo>
                  <a:lnTo>
                    <a:pt x="1573060" y="59779"/>
                  </a:lnTo>
                  <a:lnTo>
                    <a:pt x="1573060" y="59334"/>
                  </a:lnTo>
                  <a:lnTo>
                    <a:pt x="1573212" y="59334"/>
                  </a:lnTo>
                  <a:lnTo>
                    <a:pt x="1573314" y="58928"/>
                  </a:lnTo>
                  <a:lnTo>
                    <a:pt x="1573517" y="58928"/>
                  </a:lnTo>
                  <a:lnTo>
                    <a:pt x="1573517" y="58483"/>
                  </a:lnTo>
                  <a:lnTo>
                    <a:pt x="1573657" y="58483"/>
                  </a:lnTo>
                  <a:lnTo>
                    <a:pt x="1573657" y="58039"/>
                  </a:lnTo>
                  <a:lnTo>
                    <a:pt x="1573961" y="58039"/>
                  </a:lnTo>
                  <a:lnTo>
                    <a:pt x="1573961" y="57594"/>
                  </a:lnTo>
                  <a:lnTo>
                    <a:pt x="1574101" y="57594"/>
                  </a:lnTo>
                  <a:lnTo>
                    <a:pt x="1574203" y="57201"/>
                  </a:lnTo>
                  <a:lnTo>
                    <a:pt x="1574406" y="57201"/>
                  </a:lnTo>
                  <a:lnTo>
                    <a:pt x="1574406" y="56756"/>
                  </a:lnTo>
                  <a:lnTo>
                    <a:pt x="1574558" y="56756"/>
                  </a:lnTo>
                  <a:lnTo>
                    <a:pt x="1574558" y="56299"/>
                  </a:lnTo>
                  <a:lnTo>
                    <a:pt x="1574749" y="56299"/>
                  </a:lnTo>
                  <a:lnTo>
                    <a:pt x="1574749" y="55855"/>
                  </a:lnTo>
                  <a:lnTo>
                    <a:pt x="1575003" y="55855"/>
                  </a:lnTo>
                  <a:lnTo>
                    <a:pt x="1575003" y="55512"/>
                  </a:lnTo>
                  <a:lnTo>
                    <a:pt x="1575193" y="55512"/>
                  </a:lnTo>
                  <a:lnTo>
                    <a:pt x="1575193" y="55067"/>
                  </a:lnTo>
                  <a:lnTo>
                    <a:pt x="1575397" y="55067"/>
                  </a:lnTo>
                  <a:lnTo>
                    <a:pt x="1575447" y="54623"/>
                  </a:lnTo>
                  <a:lnTo>
                    <a:pt x="1575651" y="54623"/>
                  </a:lnTo>
                  <a:lnTo>
                    <a:pt x="1575651" y="54216"/>
                  </a:lnTo>
                  <a:lnTo>
                    <a:pt x="1575841" y="54216"/>
                  </a:lnTo>
                  <a:lnTo>
                    <a:pt x="1575841" y="53772"/>
                  </a:lnTo>
                  <a:lnTo>
                    <a:pt x="1576044" y="53772"/>
                  </a:lnTo>
                  <a:lnTo>
                    <a:pt x="1576044" y="53327"/>
                  </a:lnTo>
                  <a:lnTo>
                    <a:pt x="1576286" y="53327"/>
                  </a:lnTo>
                  <a:lnTo>
                    <a:pt x="1576286" y="52883"/>
                  </a:lnTo>
                  <a:lnTo>
                    <a:pt x="1576489" y="52883"/>
                  </a:lnTo>
                  <a:lnTo>
                    <a:pt x="1576489" y="52540"/>
                  </a:lnTo>
                  <a:lnTo>
                    <a:pt x="1576692" y="52540"/>
                  </a:lnTo>
                  <a:lnTo>
                    <a:pt x="1576692" y="52083"/>
                  </a:lnTo>
                  <a:lnTo>
                    <a:pt x="1576832" y="52083"/>
                  </a:lnTo>
                  <a:lnTo>
                    <a:pt x="1576832" y="51638"/>
                  </a:lnTo>
                  <a:lnTo>
                    <a:pt x="1577035" y="51638"/>
                  </a:lnTo>
                  <a:lnTo>
                    <a:pt x="1577035" y="51194"/>
                  </a:lnTo>
                  <a:lnTo>
                    <a:pt x="1577238" y="51194"/>
                  </a:lnTo>
                  <a:lnTo>
                    <a:pt x="1577238" y="50800"/>
                  </a:lnTo>
                  <a:lnTo>
                    <a:pt x="1577479" y="50800"/>
                  </a:lnTo>
                  <a:lnTo>
                    <a:pt x="1577479" y="50356"/>
                  </a:lnTo>
                  <a:lnTo>
                    <a:pt x="1577682" y="50356"/>
                  </a:lnTo>
                  <a:lnTo>
                    <a:pt x="1577682" y="49911"/>
                  </a:lnTo>
                  <a:lnTo>
                    <a:pt x="1577873" y="49911"/>
                  </a:lnTo>
                  <a:lnTo>
                    <a:pt x="1577873" y="49505"/>
                  </a:lnTo>
                  <a:lnTo>
                    <a:pt x="1578076" y="49505"/>
                  </a:lnTo>
                  <a:lnTo>
                    <a:pt x="1578076" y="49060"/>
                  </a:lnTo>
                  <a:lnTo>
                    <a:pt x="1578279" y="49060"/>
                  </a:lnTo>
                  <a:lnTo>
                    <a:pt x="1578279" y="48666"/>
                  </a:lnTo>
                  <a:lnTo>
                    <a:pt x="1578419" y="48666"/>
                  </a:lnTo>
                  <a:lnTo>
                    <a:pt x="1578419" y="48222"/>
                  </a:lnTo>
                  <a:lnTo>
                    <a:pt x="1578622" y="48222"/>
                  </a:lnTo>
                  <a:lnTo>
                    <a:pt x="1578622" y="47816"/>
                  </a:lnTo>
                  <a:lnTo>
                    <a:pt x="1578826" y="47816"/>
                  </a:lnTo>
                  <a:lnTo>
                    <a:pt x="1578826" y="47371"/>
                  </a:lnTo>
                  <a:lnTo>
                    <a:pt x="1579016" y="47371"/>
                  </a:lnTo>
                  <a:lnTo>
                    <a:pt x="1579016" y="46927"/>
                  </a:lnTo>
                  <a:lnTo>
                    <a:pt x="1579219" y="46927"/>
                  </a:lnTo>
                  <a:lnTo>
                    <a:pt x="1579219" y="46533"/>
                  </a:lnTo>
                  <a:lnTo>
                    <a:pt x="1579410" y="46533"/>
                  </a:lnTo>
                  <a:lnTo>
                    <a:pt x="1579410" y="46088"/>
                  </a:lnTo>
                  <a:lnTo>
                    <a:pt x="1579562" y="46088"/>
                  </a:lnTo>
                  <a:lnTo>
                    <a:pt x="1579562" y="45644"/>
                  </a:lnTo>
                  <a:lnTo>
                    <a:pt x="1579765" y="45644"/>
                  </a:lnTo>
                  <a:lnTo>
                    <a:pt x="1579765" y="45187"/>
                  </a:lnTo>
                  <a:lnTo>
                    <a:pt x="1579956" y="45187"/>
                  </a:lnTo>
                  <a:lnTo>
                    <a:pt x="1579956" y="44844"/>
                  </a:lnTo>
                  <a:lnTo>
                    <a:pt x="1580108" y="44844"/>
                  </a:lnTo>
                  <a:lnTo>
                    <a:pt x="1580108" y="44399"/>
                  </a:lnTo>
                  <a:lnTo>
                    <a:pt x="1580311" y="44399"/>
                  </a:lnTo>
                  <a:lnTo>
                    <a:pt x="1580311" y="43955"/>
                  </a:lnTo>
                  <a:lnTo>
                    <a:pt x="1580451" y="43955"/>
                  </a:lnTo>
                  <a:lnTo>
                    <a:pt x="1580451" y="43510"/>
                  </a:lnTo>
                  <a:lnTo>
                    <a:pt x="1580654" y="43510"/>
                  </a:lnTo>
                  <a:lnTo>
                    <a:pt x="1580654" y="43104"/>
                  </a:lnTo>
                  <a:lnTo>
                    <a:pt x="1580857" y="43104"/>
                  </a:lnTo>
                  <a:lnTo>
                    <a:pt x="1580857" y="42659"/>
                  </a:lnTo>
                  <a:lnTo>
                    <a:pt x="1581048" y="42659"/>
                  </a:lnTo>
                  <a:lnTo>
                    <a:pt x="1581048" y="42215"/>
                  </a:lnTo>
                  <a:lnTo>
                    <a:pt x="1581150" y="42215"/>
                  </a:lnTo>
                  <a:lnTo>
                    <a:pt x="1581251" y="41872"/>
                  </a:lnTo>
                  <a:lnTo>
                    <a:pt x="1581353" y="41872"/>
                  </a:lnTo>
                  <a:lnTo>
                    <a:pt x="1581353" y="41427"/>
                  </a:lnTo>
                  <a:lnTo>
                    <a:pt x="1581543" y="41427"/>
                  </a:lnTo>
                  <a:lnTo>
                    <a:pt x="1581543" y="40970"/>
                  </a:lnTo>
                  <a:lnTo>
                    <a:pt x="1581747" y="40970"/>
                  </a:lnTo>
                  <a:lnTo>
                    <a:pt x="1581747" y="40526"/>
                  </a:lnTo>
                  <a:lnTo>
                    <a:pt x="1581950" y="40526"/>
                  </a:lnTo>
                  <a:lnTo>
                    <a:pt x="1581950" y="40132"/>
                  </a:lnTo>
                  <a:lnTo>
                    <a:pt x="1582140" y="40132"/>
                  </a:lnTo>
                  <a:lnTo>
                    <a:pt x="1582140" y="39687"/>
                  </a:lnTo>
                  <a:lnTo>
                    <a:pt x="1582242" y="39687"/>
                  </a:lnTo>
                  <a:lnTo>
                    <a:pt x="1582242" y="39243"/>
                  </a:lnTo>
                  <a:lnTo>
                    <a:pt x="1582445" y="39243"/>
                  </a:lnTo>
                  <a:lnTo>
                    <a:pt x="1582445" y="38798"/>
                  </a:lnTo>
                  <a:lnTo>
                    <a:pt x="1582636" y="38798"/>
                  </a:lnTo>
                  <a:lnTo>
                    <a:pt x="1582636" y="38392"/>
                  </a:lnTo>
                  <a:lnTo>
                    <a:pt x="1582737" y="38392"/>
                  </a:lnTo>
                  <a:lnTo>
                    <a:pt x="1582839" y="37948"/>
                  </a:lnTo>
                  <a:lnTo>
                    <a:pt x="1582940" y="37948"/>
                  </a:lnTo>
                  <a:lnTo>
                    <a:pt x="1582940" y="37554"/>
                  </a:lnTo>
                  <a:lnTo>
                    <a:pt x="1583131" y="37554"/>
                  </a:lnTo>
                  <a:lnTo>
                    <a:pt x="1583131" y="37160"/>
                  </a:lnTo>
                  <a:lnTo>
                    <a:pt x="1583334" y="37160"/>
                  </a:lnTo>
                  <a:lnTo>
                    <a:pt x="1583334" y="36703"/>
                  </a:lnTo>
                  <a:lnTo>
                    <a:pt x="1583486" y="36703"/>
                  </a:lnTo>
                  <a:lnTo>
                    <a:pt x="1583486" y="36258"/>
                  </a:lnTo>
                  <a:lnTo>
                    <a:pt x="1583626" y="36258"/>
                  </a:lnTo>
                  <a:lnTo>
                    <a:pt x="1583626" y="35814"/>
                  </a:lnTo>
                  <a:lnTo>
                    <a:pt x="1583779" y="35814"/>
                  </a:lnTo>
                  <a:lnTo>
                    <a:pt x="1583779" y="35420"/>
                  </a:lnTo>
                  <a:lnTo>
                    <a:pt x="1583982" y="35420"/>
                  </a:lnTo>
                  <a:lnTo>
                    <a:pt x="1583982" y="34976"/>
                  </a:lnTo>
                  <a:lnTo>
                    <a:pt x="1584083" y="34976"/>
                  </a:lnTo>
                  <a:lnTo>
                    <a:pt x="1584083" y="34531"/>
                  </a:lnTo>
                  <a:lnTo>
                    <a:pt x="1584274" y="34531"/>
                  </a:lnTo>
                  <a:lnTo>
                    <a:pt x="1584274" y="34074"/>
                  </a:lnTo>
                  <a:lnTo>
                    <a:pt x="1584477" y="34074"/>
                  </a:lnTo>
                  <a:lnTo>
                    <a:pt x="1584477" y="33731"/>
                  </a:lnTo>
                  <a:lnTo>
                    <a:pt x="1584629" y="33731"/>
                  </a:lnTo>
                  <a:lnTo>
                    <a:pt x="1584629" y="33287"/>
                  </a:lnTo>
                  <a:lnTo>
                    <a:pt x="1584769" y="33287"/>
                  </a:lnTo>
                  <a:lnTo>
                    <a:pt x="1584769" y="32842"/>
                  </a:lnTo>
                  <a:lnTo>
                    <a:pt x="1584922" y="32842"/>
                  </a:lnTo>
                  <a:lnTo>
                    <a:pt x="1584922" y="32448"/>
                  </a:lnTo>
                  <a:lnTo>
                    <a:pt x="1585125" y="32448"/>
                  </a:lnTo>
                  <a:lnTo>
                    <a:pt x="1585125" y="31991"/>
                  </a:lnTo>
                  <a:lnTo>
                    <a:pt x="1585315" y="31991"/>
                  </a:lnTo>
                  <a:lnTo>
                    <a:pt x="1585315" y="31547"/>
                  </a:lnTo>
                  <a:lnTo>
                    <a:pt x="1585417" y="31547"/>
                  </a:lnTo>
                  <a:lnTo>
                    <a:pt x="1585417" y="31102"/>
                  </a:lnTo>
                  <a:lnTo>
                    <a:pt x="1585620" y="31102"/>
                  </a:lnTo>
                  <a:lnTo>
                    <a:pt x="1585620" y="30759"/>
                  </a:lnTo>
                  <a:lnTo>
                    <a:pt x="1585760" y="30759"/>
                  </a:lnTo>
                  <a:lnTo>
                    <a:pt x="1585760" y="30315"/>
                  </a:lnTo>
                  <a:lnTo>
                    <a:pt x="1585861" y="30315"/>
                  </a:lnTo>
                  <a:lnTo>
                    <a:pt x="1585861" y="29858"/>
                  </a:lnTo>
                  <a:lnTo>
                    <a:pt x="1586064" y="29858"/>
                  </a:lnTo>
                  <a:lnTo>
                    <a:pt x="1586064" y="29464"/>
                  </a:lnTo>
                  <a:lnTo>
                    <a:pt x="1586217" y="29464"/>
                  </a:lnTo>
                  <a:lnTo>
                    <a:pt x="1586217" y="29019"/>
                  </a:lnTo>
                  <a:lnTo>
                    <a:pt x="1586357" y="29019"/>
                  </a:lnTo>
                  <a:lnTo>
                    <a:pt x="1586357" y="28575"/>
                  </a:lnTo>
                  <a:lnTo>
                    <a:pt x="1586509" y="28575"/>
                  </a:lnTo>
                  <a:lnTo>
                    <a:pt x="1586509" y="28131"/>
                  </a:lnTo>
                  <a:lnTo>
                    <a:pt x="1586712" y="28131"/>
                  </a:lnTo>
                  <a:lnTo>
                    <a:pt x="1586712" y="27724"/>
                  </a:lnTo>
                  <a:lnTo>
                    <a:pt x="1586801" y="27724"/>
                  </a:lnTo>
                  <a:lnTo>
                    <a:pt x="1586801" y="27280"/>
                  </a:lnTo>
                  <a:lnTo>
                    <a:pt x="1586954" y="27280"/>
                  </a:lnTo>
                  <a:lnTo>
                    <a:pt x="1586954" y="26835"/>
                  </a:lnTo>
                  <a:lnTo>
                    <a:pt x="1587157" y="26835"/>
                  </a:lnTo>
                  <a:lnTo>
                    <a:pt x="1587157" y="26441"/>
                  </a:lnTo>
                  <a:lnTo>
                    <a:pt x="1587258" y="26441"/>
                  </a:lnTo>
                  <a:lnTo>
                    <a:pt x="1587258" y="26048"/>
                  </a:lnTo>
                  <a:lnTo>
                    <a:pt x="1587398" y="26048"/>
                  </a:lnTo>
                  <a:lnTo>
                    <a:pt x="1587398" y="25591"/>
                  </a:lnTo>
                  <a:lnTo>
                    <a:pt x="1587601" y="25591"/>
                  </a:lnTo>
                  <a:lnTo>
                    <a:pt x="1587601" y="25146"/>
                  </a:lnTo>
                  <a:lnTo>
                    <a:pt x="1587703" y="25146"/>
                  </a:lnTo>
                  <a:lnTo>
                    <a:pt x="1587703" y="24752"/>
                  </a:lnTo>
                  <a:lnTo>
                    <a:pt x="1587842" y="24752"/>
                  </a:lnTo>
                  <a:lnTo>
                    <a:pt x="1587842" y="24308"/>
                  </a:lnTo>
                  <a:lnTo>
                    <a:pt x="1587944" y="24308"/>
                  </a:lnTo>
                  <a:lnTo>
                    <a:pt x="1587944" y="23863"/>
                  </a:lnTo>
                  <a:lnTo>
                    <a:pt x="1588097" y="23863"/>
                  </a:lnTo>
                  <a:lnTo>
                    <a:pt x="1588097" y="23419"/>
                  </a:lnTo>
                  <a:lnTo>
                    <a:pt x="1588300" y="23419"/>
                  </a:lnTo>
                  <a:lnTo>
                    <a:pt x="1588300" y="23063"/>
                  </a:lnTo>
                  <a:lnTo>
                    <a:pt x="1588389" y="23063"/>
                  </a:lnTo>
                  <a:lnTo>
                    <a:pt x="1588389" y="22619"/>
                  </a:lnTo>
                  <a:lnTo>
                    <a:pt x="1588592" y="22619"/>
                  </a:lnTo>
                  <a:lnTo>
                    <a:pt x="1588592" y="22174"/>
                  </a:lnTo>
                  <a:lnTo>
                    <a:pt x="1588744" y="22174"/>
                  </a:lnTo>
                  <a:lnTo>
                    <a:pt x="1588744" y="21730"/>
                  </a:lnTo>
                  <a:lnTo>
                    <a:pt x="1588846" y="21730"/>
                  </a:lnTo>
                  <a:lnTo>
                    <a:pt x="1588846" y="21336"/>
                  </a:lnTo>
                  <a:lnTo>
                    <a:pt x="1588986" y="21336"/>
                  </a:lnTo>
                  <a:lnTo>
                    <a:pt x="1588986" y="20879"/>
                  </a:lnTo>
                  <a:lnTo>
                    <a:pt x="1589087" y="20879"/>
                  </a:lnTo>
                  <a:lnTo>
                    <a:pt x="1589189" y="20434"/>
                  </a:lnTo>
                  <a:lnTo>
                    <a:pt x="1589290" y="20434"/>
                  </a:lnTo>
                  <a:lnTo>
                    <a:pt x="1589290" y="20091"/>
                  </a:lnTo>
                  <a:lnTo>
                    <a:pt x="1589430" y="20091"/>
                  </a:lnTo>
                  <a:lnTo>
                    <a:pt x="1589430" y="19647"/>
                  </a:lnTo>
                  <a:lnTo>
                    <a:pt x="1589532" y="19647"/>
                  </a:lnTo>
                  <a:lnTo>
                    <a:pt x="1589532" y="19202"/>
                  </a:lnTo>
                  <a:lnTo>
                    <a:pt x="1589684" y="19202"/>
                  </a:lnTo>
                  <a:lnTo>
                    <a:pt x="1589684" y="18745"/>
                  </a:lnTo>
                  <a:lnTo>
                    <a:pt x="1589836" y="18745"/>
                  </a:lnTo>
                  <a:lnTo>
                    <a:pt x="1589836" y="18352"/>
                  </a:lnTo>
                  <a:lnTo>
                    <a:pt x="1589938" y="18352"/>
                  </a:lnTo>
                  <a:lnTo>
                    <a:pt x="1589938" y="17907"/>
                  </a:lnTo>
                  <a:lnTo>
                    <a:pt x="1590078" y="17907"/>
                  </a:lnTo>
                  <a:lnTo>
                    <a:pt x="1590078" y="17462"/>
                  </a:lnTo>
                  <a:lnTo>
                    <a:pt x="1590179" y="17462"/>
                  </a:lnTo>
                  <a:lnTo>
                    <a:pt x="1590281" y="17018"/>
                  </a:lnTo>
                  <a:lnTo>
                    <a:pt x="1590382" y="17018"/>
                  </a:lnTo>
                  <a:lnTo>
                    <a:pt x="1590382" y="16612"/>
                  </a:lnTo>
                  <a:lnTo>
                    <a:pt x="1590522" y="16612"/>
                  </a:lnTo>
                  <a:lnTo>
                    <a:pt x="1590522" y="16167"/>
                  </a:lnTo>
                  <a:lnTo>
                    <a:pt x="1590624" y="16167"/>
                  </a:lnTo>
                  <a:lnTo>
                    <a:pt x="1590624" y="15723"/>
                  </a:lnTo>
                  <a:lnTo>
                    <a:pt x="1590776" y="15723"/>
                  </a:lnTo>
                  <a:lnTo>
                    <a:pt x="1590776" y="15380"/>
                  </a:lnTo>
                  <a:lnTo>
                    <a:pt x="1590878" y="15380"/>
                  </a:lnTo>
                  <a:lnTo>
                    <a:pt x="1590878" y="14935"/>
                  </a:lnTo>
                  <a:lnTo>
                    <a:pt x="1591017" y="14935"/>
                  </a:lnTo>
                  <a:lnTo>
                    <a:pt x="1591068" y="14478"/>
                  </a:lnTo>
                  <a:lnTo>
                    <a:pt x="1591221" y="14478"/>
                  </a:lnTo>
                  <a:lnTo>
                    <a:pt x="1591221" y="14033"/>
                  </a:lnTo>
                  <a:lnTo>
                    <a:pt x="1591322" y="14033"/>
                  </a:lnTo>
                  <a:lnTo>
                    <a:pt x="1591322" y="13640"/>
                  </a:lnTo>
                  <a:lnTo>
                    <a:pt x="1591475" y="13640"/>
                  </a:lnTo>
                  <a:lnTo>
                    <a:pt x="1591475" y="13195"/>
                  </a:lnTo>
                  <a:lnTo>
                    <a:pt x="1591564" y="13195"/>
                  </a:lnTo>
                  <a:lnTo>
                    <a:pt x="1591564" y="12751"/>
                  </a:lnTo>
                  <a:lnTo>
                    <a:pt x="1591716" y="12751"/>
                  </a:lnTo>
                  <a:lnTo>
                    <a:pt x="1591716" y="12395"/>
                  </a:lnTo>
                  <a:lnTo>
                    <a:pt x="1591868" y="12395"/>
                  </a:lnTo>
                  <a:lnTo>
                    <a:pt x="1591868" y="11951"/>
                  </a:lnTo>
                  <a:lnTo>
                    <a:pt x="1591970" y="11951"/>
                  </a:lnTo>
                  <a:lnTo>
                    <a:pt x="1591970" y="11506"/>
                  </a:lnTo>
                  <a:lnTo>
                    <a:pt x="1592110" y="11506"/>
                  </a:lnTo>
                  <a:lnTo>
                    <a:pt x="1592161" y="11062"/>
                  </a:lnTo>
                  <a:lnTo>
                    <a:pt x="1592262" y="11062"/>
                  </a:lnTo>
                  <a:lnTo>
                    <a:pt x="1592262" y="10668"/>
                  </a:lnTo>
                  <a:lnTo>
                    <a:pt x="1592414" y="10668"/>
                  </a:lnTo>
                  <a:lnTo>
                    <a:pt x="1592414" y="10223"/>
                  </a:lnTo>
                  <a:lnTo>
                    <a:pt x="1592567" y="10223"/>
                  </a:lnTo>
                  <a:lnTo>
                    <a:pt x="1592567" y="9766"/>
                  </a:lnTo>
                  <a:lnTo>
                    <a:pt x="1592656" y="9766"/>
                  </a:lnTo>
                  <a:lnTo>
                    <a:pt x="1592656" y="9322"/>
                  </a:lnTo>
                  <a:lnTo>
                    <a:pt x="1592808" y="9322"/>
                  </a:lnTo>
                  <a:lnTo>
                    <a:pt x="1592808" y="8979"/>
                  </a:lnTo>
                  <a:lnTo>
                    <a:pt x="1592910" y="8979"/>
                  </a:lnTo>
                  <a:lnTo>
                    <a:pt x="1592910" y="8534"/>
                  </a:lnTo>
                  <a:lnTo>
                    <a:pt x="1593062" y="8534"/>
                  </a:lnTo>
                  <a:lnTo>
                    <a:pt x="1593062" y="8090"/>
                  </a:lnTo>
                  <a:lnTo>
                    <a:pt x="1593151" y="8090"/>
                  </a:lnTo>
                  <a:lnTo>
                    <a:pt x="1593151" y="7683"/>
                  </a:lnTo>
                  <a:lnTo>
                    <a:pt x="1593304" y="7683"/>
                  </a:lnTo>
                  <a:lnTo>
                    <a:pt x="1593304" y="7239"/>
                  </a:lnTo>
                  <a:lnTo>
                    <a:pt x="1593456" y="7239"/>
                  </a:lnTo>
                  <a:lnTo>
                    <a:pt x="1593456" y="6794"/>
                  </a:lnTo>
                  <a:lnTo>
                    <a:pt x="1593557" y="6794"/>
                  </a:lnTo>
                  <a:lnTo>
                    <a:pt x="1593557" y="6350"/>
                  </a:lnTo>
                  <a:lnTo>
                    <a:pt x="1593697" y="6350"/>
                  </a:lnTo>
                  <a:lnTo>
                    <a:pt x="1593748" y="5956"/>
                  </a:lnTo>
                  <a:lnTo>
                    <a:pt x="1593850" y="5956"/>
                  </a:lnTo>
                  <a:lnTo>
                    <a:pt x="1593850" y="5499"/>
                  </a:lnTo>
                  <a:lnTo>
                    <a:pt x="1594002" y="5499"/>
                  </a:lnTo>
                  <a:lnTo>
                    <a:pt x="1594002" y="5055"/>
                  </a:lnTo>
                  <a:lnTo>
                    <a:pt x="1594154" y="5055"/>
                  </a:lnTo>
                  <a:lnTo>
                    <a:pt x="1594154" y="4610"/>
                  </a:lnTo>
                  <a:lnTo>
                    <a:pt x="1594243" y="4610"/>
                  </a:lnTo>
                  <a:lnTo>
                    <a:pt x="1594243" y="4267"/>
                  </a:lnTo>
                  <a:lnTo>
                    <a:pt x="1594396" y="4267"/>
                  </a:lnTo>
                  <a:lnTo>
                    <a:pt x="1594396" y="3823"/>
                  </a:lnTo>
                  <a:lnTo>
                    <a:pt x="1594497" y="3823"/>
                  </a:lnTo>
                  <a:lnTo>
                    <a:pt x="1594497" y="3366"/>
                  </a:lnTo>
                  <a:lnTo>
                    <a:pt x="1594650" y="3366"/>
                  </a:lnTo>
                  <a:lnTo>
                    <a:pt x="1594650" y="2972"/>
                  </a:lnTo>
                  <a:lnTo>
                    <a:pt x="1594739" y="2972"/>
                  </a:lnTo>
                  <a:lnTo>
                    <a:pt x="1594739" y="2527"/>
                  </a:lnTo>
                  <a:lnTo>
                    <a:pt x="1594891" y="2527"/>
                  </a:lnTo>
                  <a:lnTo>
                    <a:pt x="1594891" y="2083"/>
                  </a:lnTo>
                  <a:lnTo>
                    <a:pt x="1595043" y="2083"/>
                  </a:lnTo>
                  <a:lnTo>
                    <a:pt x="1595043" y="1638"/>
                  </a:lnTo>
                  <a:lnTo>
                    <a:pt x="1595145" y="1638"/>
                  </a:lnTo>
                  <a:lnTo>
                    <a:pt x="1595145" y="1283"/>
                  </a:lnTo>
                  <a:lnTo>
                    <a:pt x="1595336" y="1283"/>
                  </a:lnTo>
                  <a:lnTo>
                    <a:pt x="1595336" y="838"/>
                  </a:lnTo>
                  <a:lnTo>
                    <a:pt x="1595640" y="838"/>
                  </a:lnTo>
                  <a:lnTo>
                    <a:pt x="1595640" y="394"/>
                  </a:lnTo>
                  <a:lnTo>
                    <a:pt x="1598371" y="394"/>
                  </a:lnTo>
                  <a:lnTo>
                    <a:pt x="1598371" y="0"/>
                  </a:lnTo>
                  <a:lnTo>
                    <a:pt x="1600542" y="0"/>
                  </a:lnTo>
                  <a:lnTo>
                    <a:pt x="1600542" y="394"/>
                  </a:lnTo>
                  <a:lnTo>
                    <a:pt x="1600593" y="394"/>
                  </a:lnTo>
                  <a:lnTo>
                    <a:pt x="1600593" y="0"/>
                  </a:lnTo>
                  <a:lnTo>
                    <a:pt x="1602587" y="0"/>
                  </a:lnTo>
                  <a:lnTo>
                    <a:pt x="1602587" y="394"/>
                  </a:lnTo>
                  <a:lnTo>
                    <a:pt x="1602981" y="394"/>
                  </a:lnTo>
                  <a:lnTo>
                    <a:pt x="1602981" y="0"/>
                  </a:lnTo>
                  <a:lnTo>
                    <a:pt x="1603972" y="0"/>
                  </a:lnTo>
                  <a:lnTo>
                    <a:pt x="1603972" y="394"/>
                  </a:lnTo>
                  <a:lnTo>
                    <a:pt x="1604226" y="394"/>
                  </a:lnTo>
                  <a:lnTo>
                    <a:pt x="1604226" y="0"/>
                  </a:lnTo>
                  <a:lnTo>
                    <a:pt x="1606892" y="0"/>
                  </a:lnTo>
                  <a:lnTo>
                    <a:pt x="1606892" y="394"/>
                  </a:lnTo>
                  <a:lnTo>
                    <a:pt x="1607147" y="394"/>
                  </a:lnTo>
                  <a:lnTo>
                    <a:pt x="1607147" y="0"/>
                  </a:lnTo>
                  <a:lnTo>
                    <a:pt x="1607591" y="0"/>
                  </a:lnTo>
                  <a:lnTo>
                    <a:pt x="1607591" y="394"/>
                  </a:lnTo>
                  <a:lnTo>
                    <a:pt x="1608340" y="394"/>
                  </a:lnTo>
                  <a:lnTo>
                    <a:pt x="1608340" y="0"/>
                  </a:lnTo>
                  <a:lnTo>
                    <a:pt x="1608886" y="0"/>
                  </a:lnTo>
                  <a:lnTo>
                    <a:pt x="1608937" y="394"/>
                  </a:lnTo>
                  <a:lnTo>
                    <a:pt x="1609382" y="394"/>
                  </a:lnTo>
                  <a:lnTo>
                    <a:pt x="1609432" y="0"/>
                  </a:lnTo>
                  <a:lnTo>
                    <a:pt x="1611312" y="0"/>
                  </a:lnTo>
                  <a:lnTo>
                    <a:pt x="1611312" y="394"/>
                  </a:lnTo>
                  <a:lnTo>
                    <a:pt x="1611414" y="394"/>
                  </a:lnTo>
                  <a:lnTo>
                    <a:pt x="1611414" y="0"/>
                  </a:lnTo>
                  <a:lnTo>
                    <a:pt x="1611617" y="0"/>
                  </a:lnTo>
                  <a:lnTo>
                    <a:pt x="1611617" y="394"/>
                  </a:lnTo>
                  <a:lnTo>
                    <a:pt x="1612163" y="394"/>
                  </a:lnTo>
                  <a:lnTo>
                    <a:pt x="1612163" y="0"/>
                  </a:lnTo>
                  <a:lnTo>
                    <a:pt x="1613446" y="0"/>
                  </a:lnTo>
                  <a:lnTo>
                    <a:pt x="1613446" y="394"/>
                  </a:lnTo>
                  <a:lnTo>
                    <a:pt x="1614093" y="394"/>
                  </a:lnTo>
                  <a:lnTo>
                    <a:pt x="1614093" y="0"/>
                  </a:lnTo>
                  <a:lnTo>
                    <a:pt x="1615376" y="0"/>
                  </a:lnTo>
                  <a:lnTo>
                    <a:pt x="1615376" y="394"/>
                  </a:lnTo>
                  <a:lnTo>
                    <a:pt x="1615833" y="394"/>
                  </a:lnTo>
                  <a:lnTo>
                    <a:pt x="1615922" y="0"/>
                  </a:lnTo>
                  <a:lnTo>
                    <a:pt x="1616468" y="0"/>
                  </a:lnTo>
                  <a:lnTo>
                    <a:pt x="1616468" y="394"/>
                  </a:lnTo>
                  <a:lnTo>
                    <a:pt x="1617065" y="394"/>
                  </a:lnTo>
                  <a:lnTo>
                    <a:pt x="1617065" y="0"/>
                  </a:lnTo>
                  <a:lnTo>
                    <a:pt x="1617167" y="0"/>
                  </a:lnTo>
                  <a:lnTo>
                    <a:pt x="1617167" y="394"/>
                  </a:lnTo>
                  <a:lnTo>
                    <a:pt x="1617319" y="394"/>
                  </a:lnTo>
                  <a:lnTo>
                    <a:pt x="1617319" y="0"/>
                  </a:lnTo>
                  <a:lnTo>
                    <a:pt x="1617611" y="0"/>
                  </a:lnTo>
                  <a:lnTo>
                    <a:pt x="1617611" y="394"/>
                  </a:lnTo>
                  <a:lnTo>
                    <a:pt x="1618107" y="394"/>
                  </a:lnTo>
                  <a:lnTo>
                    <a:pt x="1618107" y="0"/>
                  </a:lnTo>
                  <a:lnTo>
                    <a:pt x="1618704" y="0"/>
                  </a:lnTo>
                  <a:lnTo>
                    <a:pt x="1618704" y="394"/>
                  </a:lnTo>
                  <a:lnTo>
                    <a:pt x="1619643" y="394"/>
                  </a:lnTo>
                  <a:lnTo>
                    <a:pt x="1619643" y="0"/>
                  </a:lnTo>
                  <a:lnTo>
                    <a:pt x="1620050" y="0"/>
                  </a:lnTo>
                  <a:lnTo>
                    <a:pt x="1620050" y="394"/>
                  </a:lnTo>
                  <a:lnTo>
                    <a:pt x="1620101" y="394"/>
                  </a:lnTo>
                  <a:lnTo>
                    <a:pt x="1620101" y="0"/>
                  </a:lnTo>
                  <a:lnTo>
                    <a:pt x="1620139" y="0"/>
                  </a:lnTo>
                  <a:lnTo>
                    <a:pt x="1620139" y="394"/>
                  </a:lnTo>
                  <a:lnTo>
                    <a:pt x="1620545" y="394"/>
                  </a:lnTo>
                  <a:lnTo>
                    <a:pt x="1620545" y="0"/>
                  </a:lnTo>
                  <a:lnTo>
                    <a:pt x="1621231" y="0"/>
                  </a:lnTo>
                  <a:lnTo>
                    <a:pt x="1621231" y="394"/>
                  </a:lnTo>
                  <a:lnTo>
                    <a:pt x="1621586" y="394"/>
                  </a:lnTo>
                  <a:lnTo>
                    <a:pt x="1621637" y="0"/>
                  </a:lnTo>
                  <a:lnTo>
                    <a:pt x="1623174" y="0"/>
                  </a:lnTo>
                  <a:lnTo>
                    <a:pt x="1623174" y="394"/>
                  </a:lnTo>
                  <a:lnTo>
                    <a:pt x="1623314" y="394"/>
                  </a:lnTo>
                  <a:lnTo>
                    <a:pt x="1623314" y="0"/>
                  </a:lnTo>
                  <a:lnTo>
                    <a:pt x="1623466" y="0"/>
                  </a:lnTo>
                  <a:lnTo>
                    <a:pt x="1623466" y="394"/>
                  </a:lnTo>
                  <a:lnTo>
                    <a:pt x="1623466" y="0"/>
                  </a:lnTo>
                  <a:lnTo>
                    <a:pt x="1624317" y="0"/>
                  </a:lnTo>
                  <a:lnTo>
                    <a:pt x="1624317" y="394"/>
                  </a:lnTo>
                  <a:lnTo>
                    <a:pt x="1624812" y="394"/>
                  </a:lnTo>
                  <a:lnTo>
                    <a:pt x="1624863" y="0"/>
                  </a:lnTo>
                  <a:lnTo>
                    <a:pt x="1625206" y="0"/>
                  </a:lnTo>
                  <a:lnTo>
                    <a:pt x="1625257" y="394"/>
                  </a:lnTo>
                  <a:lnTo>
                    <a:pt x="1625549" y="394"/>
                  </a:lnTo>
                  <a:lnTo>
                    <a:pt x="1625549" y="0"/>
                  </a:lnTo>
                  <a:lnTo>
                    <a:pt x="1625600" y="0"/>
                  </a:lnTo>
                  <a:lnTo>
                    <a:pt x="1625600" y="394"/>
                  </a:lnTo>
                  <a:lnTo>
                    <a:pt x="1625701" y="394"/>
                  </a:lnTo>
                  <a:lnTo>
                    <a:pt x="1625701" y="0"/>
                  </a:lnTo>
                  <a:lnTo>
                    <a:pt x="1625803" y="0"/>
                  </a:lnTo>
                  <a:lnTo>
                    <a:pt x="1625803" y="394"/>
                  </a:lnTo>
                  <a:lnTo>
                    <a:pt x="1626400" y="394"/>
                  </a:lnTo>
                  <a:lnTo>
                    <a:pt x="1626400" y="0"/>
                  </a:lnTo>
                  <a:lnTo>
                    <a:pt x="1626489" y="0"/>
                  </a:lnTo>
                  <a:lnTo>
                    <a:pt x="1626489" y="394"/>
                  </a:lnTo>
                  <a:lnTo>
                    <a:pt x="1636217" y="394"/>
                  </a:lnTo>
                  <a:lnTo>
                    <a:pt x="1636217" y="0"/>
                  </a:lnTo>
                  <a:lnTo>
                    <a:pt x="1636611" y="0"/>
                  </a:lnTo>
                  <a:lnTo>
                    <a:pt x="1636611" y="394"/>
                  </a:lnTo>
                  <a:lnTo>
                    <a:pt x="1638300" y="394"/>
                  </a:lnTo>
                  <a:lnTo>
                    <a:pt x="1638300" y="0"/>
                  </a:lnTo>
                  <a:lnTo>
                    <a:pt x="1638452" y="0"/>
                  </a:lnTo>
                  <a:lnTo>
                    <a:pt x="1638452" y="394"/>
                  </a:lnTo>
                  <a:lnTo>
                    <a:pt x="1649514" y="394"/>
                  </a:lnTo>
                  <a:lnTo>
                    <a:pt x="1649514" y="0"/>
                  </a:lnTo>
                  <a:lnTo>
                    <a:pt x="1649717" y="0"/>
                  </a:lnTo>
                  <a:lnTo>
                    <a:pt x="1649717" y="394"/>
                  </a:lnTo>
                  <a:lnTo>
                    <a:pt x="1653438" y="394"/>
                  </a:lnTo>
                  <a:lnTo>
                    <a:pt x="1653438" y="0"/>
                  </a:lnTo>
                  <a:lnTo>
                    <a:pt x="1653476" y="0"/>
                  </a:lnTo>
                  <a:lnTo>
                    <a:pt x="1653578" y="394"/>
                  </a:lnTo>
                  <a:lnTo>
                    <a:pt x="1663458" y="394"/>
                  </a:lnTo>
                  <a:lnTo>
                    <a:pt x="1663458" y="0"/>
                  </a:lnTo>
                  <a:lnTo>
                    <a:pt x="1663801" y="0"/>
                  </a:lnTo>
                  <a:lnTo>
                    <a:pt x="1663801" y="394"/>
                  </a:lnTo>
                  <a:lnTo>
                    <a:pt x="1663903" y="394"/>
                  </a:lnTo>
                  <a:lnTo>
                    <a:pt x="1663903" y="0"/>
                  </a:lnTo>
                  <a:lnTo>
                    <a:pt x="1664004" y="0"/>
                  </a:lnTo>
                  <a:lnTo>
                    <a:pt x="1664004" y="394"/>
                  </a:lnTo>
                  <a:lnTo>
                    <a:pt x="1665389" y="394"/>
                  </a:lnTo>
                  <a:lnTo>
                    <a:pt x="1665389" y="0"/>
                  </a:lnTo>
                  <a:lnTo>
                    <a:pt x="1665630" y="0"/>
                  </a:lnTo>
                  <a:lnTo>
                    <a:pt x="1665630" y="394"/>
                  </a:lnTo>
                  <a:lnTo>
                    <a:pt x="1675561" y="394"/>
                  </a:lnTo>
                  <a:lnTo>
                    <a:pt x="1675561" y="0"/>
                  </a:lnTo>
                  <a:lnTo>
                    <a:pt x="1675803" y="0"/>
                  </a:lnTo>
                  <a:lnTo>
                    <a:pt x="1675803" y="394"/>
                  </a:lnTo>
                  <a:lnTo>
                    <a:pt x="1676552" y="394"/>
                  </a:lnTo>
                  <a:lnTo>
                    <a:pt x="1676552" y="0"/>
                  </a:lnTo>
                  <a:lnTo>
                    <a:pt x="1676844" y="0"/>
                  </a:lnTo>
                  <a:lnTo>
                    <a:pt x="1676946" y="394"/>
                  </a:lnTo>
                  <a:lnTo>
                    <a:pt x="1677746" y="394"/>
                  </a:lnTo>
                  <a:lnTo>
                    <a:pt x="1677746" y="0"/>
                  </a:lnTo>
                  <a:lnTo>
                    <a:pt x="1677987" y="0"/>
                  </a:lnTo>
                  <a:lnTo>
                    <a:pt x="1677987" y="394"/>
                  </a:lnTo>
                  <a:lnTo>
                    <a:pt x="1686674" y="394"/>
                  </a:lnTo>
                  <a:lnTo>
                    <a:pt x="1686674" y="0"/>
                  </a:lnTo>
                  <a:lnTo>
                    <a:pt x="1686725" y="0"/>
                  </a:lnTo>
                  <a:lnTo>
                    <a:pt x="1686725" y="394"/>
                  </a:lnTo>
                  <a:lnTo>
                    <a:pt x="1686814" y="394"/>
                  </a:lnTo>
                  <a:lnTo>
                    <a:pt x="1686814" y="0"/>
                  </a:lnTo>
                  <a:lnTo>
                    <a:pt x="1686966" y="0"/>
                  </a:lnTo>
                  <a:lnTo>
                    <a:pt x="1686966" y="394"/>
                  </a:lnTo>
                  <a:lnTo>
                    <a:pt x="1687715" y="394"/>
                  </a:lnTo>
                  <a:lnTo>
                    <a:pt x="1687817" y="0"/>
                  </a:lnTo>
                  <a:lnTo>
                    <a:pt x="1688503" y="0"/>
                  </a:lnTo>
                  <a:lnTo>
                    <a:pt x="1688503" y="394"/>
                  </a:lnTo>
                  <a:lnTo>
                    <a:pt x="1688604" y="394"/>
                  </a:lnTo>
                  <a:lnTo>
                    <a:pt x="1688604" y="0"/>
                  </a:lnTo>
                  <a:lnTo>
                    <a:pt x="1688998" y="0"/>
                  </a:lnTo>
                  <a:lnTo>
                    <a:pt x="1688998" y="394"/>
                  </a:lnTo>
                  <a:lnTo>
                    <a:pt x="1688998" y="0"/>
                  </a:lnTo>
                  <a:lnTo>
                    <a:pt x="1689100" y="0"/>
                  </a:lnTo>
                  <a:lnTo>
                    <a:pt x="1689100" y="394"/>
                  </a:lnTo>
                  <a:lnTo>
                    <a:pt x="1689646" y="394"/>
                  </a:lnTo>
                  <a:lnTo>
                    <a:pt x="1689646" y="0"/>
                  </a:lnTo>
                  <a:lnTo>
                    <a:pt x="1691081" y="0"/>
                  </a:lnTo>
                  <a:lnTo>
                    <a:pt x="1691081" y="394"/>
                  </a:lnTo>
                  <a:lnTo>
                    <a:pt x="1691576" y="394"/>
                  </a:lnTo>
                  <a:lnTo>
                    <a:pt x="1691576" y="0"/>
                  </a:lnTo>
                  <a:lnTo>
                    <a:pt x="1700060" y="0"/>
                  </a:lnTo>
                  <a:lnTo>
                    <a:pt x="1700060" y="394"/>
                  </a:lnTo>
                  <a:lnTo>
                    <a:pt x="1700314" y="394"/>
                  </a:lnTo>
                  <a:lnTo>
                    <a:pt x="1700364" y="0"/>
                  </a:lnTo>
                  <a:lnTo>
                    <a:pt x="1701203" y="0"/>
                  </a:lnTo>
                  <a:lnTo>
                    <a:pt x="1701203" y="394"/>
                  </a:lnTo>
                  <a:lnTo>
                    <a:pt x="1701304" y="394"/>
                  </a:lnTo>
                  <a:lnTo>
                    <a:pt x="1701304" y="0"/>
                  </a:lnTo>
                  <a:lnTo>
                    <a:pt x="1701457" y="0"/>
                  </a:lnTo>
                  <a:lnTo>
                    <a:pt x="1701457" y="394"/>
                  </a:lnTo>
                  <a:lnTo>
                    <a:pt x="1701647" y="394"/>
                  </a:lnTo>
                  <a:lnTo>
                    <a:pt x="1701647" y="0"/>
                  </a:lnTo>
                  <a:lnTo>
                    <a:pt x="1702447" y="0"/>
                  </a:lnTo>
                  <a:lnTo>
                    <a:pt x="1702447" y="394"/>
                  </a:lnTo>
                  <a:lnTo>
                    <a:pt x="1702600" y="394"/>
                  </a:lnTo>
                  <a:lnTo>
                    <a:pt x="1702600" y="0"/>
                  </a:lnTo>
                  <a:lnTo>
                    <a:pt x="1705419" y="0"/>
                  </a:lnTo>
                  <a:lnTo>
                    <a:pt x="1705419" y="394"/>
                  </a:lnTo>
                  <a:lnTo>
                    <a:pt x="1705521" y="394"/>
                  </a:lnTo>
                  <a:lnTo>
                    <a:pt x="1705572" y="0"/>
                  </a:lnTo>
                  <a:lnTo>
                    <a:pt x="1707362" y="0"/>
                  </a:lnTo>
                  <a:lnTo>
                    <a:pt x="1707362" y="394"/>
                  </a:lnTo>
                  <a:lnTo>
                    <a:pt x="1707413" y="394"/>
                  </a:lnTo>
                  <a:lnTo>
                    <a:pt x="1707413" y="0"/>
                  </a:lnTo>
                  <a:lnTo>
                    <a:pt x="1707553" y="0"/>
                  </a:lnTo>
                  <a:lnTo>
                    <a:pt x="1707553" y="394"/>
                  </a:lnTo>
                  <a:lnTo>
                    <a:pt x="1707604" y="394"/>
                  </a:lnTo>
                  <a:lnTo>
                    <a:pt x="1707604" y="0"/>
                  </a:lnTo>
                  <a:lnTo>
                    <a:pt x="1709394" y="0"/>
                  </a:lnTo>
                  <a:lnTo>
                    <a:pt x="1709394" y="394"/>
                  </a:lnTo>
                  <a:lnTo>
                    <a:pt x="1709889" y="394"/>
                  </a:lnTo>
                  <a:lnTo>
                    <a:pt x="1709889" y="0"/>
                  </a:lnTo>
                  <a:lnTo>
                    <a:pt x="1710626" y="0"/>
                  </a:lnTo>
                  <a:lnTo>
                    <a:pt x="1710626" y="394"/>
                  </a:lnTo>
                  <a:lnTo>
                    <a:pt x="1712074" y="394"/>
                  </a:lnTo>
                  <a:lnTo>
                    <a:pt x="1712074" y="0"/>
                  </a:lnTo>
                  <a:lnTo>
                    <a:pt x="1712760" y="0"/>
                  </a:lnTo>
                  <a:lnTo>
                    <a:pt x="1712760" y="394"/>
                  </a:lnTo>
                  <a:lnTo>
                    <a:pt x="1713014" y="394"/>
                  </a:lnTo>
                  <a:lnTo>
                    <a:pt x="1713014" y="0"/>
                  </a:lnTo>
                  <a:lnTo>
                    <a:pt x="1713255" y="0"/>
                  </a:lnTo>
                  <a:lnTo>
                    <a:pt x="1713255" y="394"/>
                  </a:lnTo>
                  <a:lnTo>
                    <a:pt x="1713712" y="394"/>
                  </a:lnTo>
                  <a:lnTo>
                    <a:pt x="1713712" y="0"/>
                  </a:lnTo>
                  <a:lnTo>
                    <a:pt x="1713903" y="0"/>
                  </a:lnTo>
                  <a:lnTo>
                    <a:pt x="1713903" y="394"/>
                  </a:lnTo>
                  <a:lnTo>
                    <a:pt x="1714347" y="394"/>
                  </a:lnTo>
                  <a:lnTo>
                    <a:pt x="1714347" y="0"/>
                  </a:lnTo>
                  <a:lnTo>
                    <a:pt x="1714703" y="0"/>
                  </a:lnTo>
                  <a:lnTo>
                    <a:pt x="1714703" y="394"/>
                  </a:lnTo>
                  <a:lnTo>
                    <a:pt x="1716392" y="394"/>
                  </a:lnTo>
                  <a:lnTo>
                    <a:pt x="1716392" y="0"/>
                  </a:lnTo>
                  <a:lnTo>
                    <a:pt x="1716735" y="0"/>
                  </a:lnTo>
                  <a:lnTo>
                    <a:pt x="1716735" y="394"/>
                  </a:lnTo>
                  <a:lnTo>
                    <a:pt x="1722780" y="394"/>
                  </a:lnTo>
                  <a:lnTo>
                    <a:pt x="1722831" y="0"/>
                  </a:lnTo>
                  <a:lnTo>
                    <a:pt x="1722882" y="394"/>
                  </a:lnTo>
                  <a:lnTo>
                    <a:pt x="1722882" y="0"/>
                  </a:lnTo>
                  <a:lnTo>
                    <a:pt x="1723186" y="0"/>
                  </a:lnTo>
                  <a:lnTo>
                    <a:pt x="1723186" y="394"/>
                  </a:lnTo>
                  <a:lnTo>
                    <a:pt x="1725815" y="394"/>
                  </a:lnTo>
                  <a:lnTo>
                    <a:pt x="1725815" y="0"/>
                  </a:lnTo>
                  <a:lnTo>
                    <a:pt x="1726057" y="0"/>
                  </a:lnTo>
                  <a:lnTo>
                    <a:pt x="1726057" y="394"/>
                  </a:lnTo>
                  <a:lnTo>
                    <a:pt x="1727542" y="394"/>
                  </a:lnTo>
                  <a:lnTo>
                    <a:pt x="1727542" y="0"/>
                  </a:lnTo>
                  <a:lnTo>
                    <a:pt x="1728089" y="0"/>
                  </a:lnTo>
                  <a:lnTo>
                    <a:pt x="1728089" y="394"/>
                  </a:lnTo>
                  <a:lnTo>
                    <a:pt x="1729333" y="394"/>
                  </a:lnTo>
                  <a:lnTo>
                    <a:pt x="1729384" y="0"/>
                  </a:lnTo>
                  <a:lnTo>
                    <a:pt x="1730222" y="0"/>
                  </a:lnTo>
                  <a:lnTo>
                    <a:pt x="1730222" y="394"/>
                  </a:lnTo>
                  <a:lnTo>
                    <a:pt x="1731568" y="394"/>
                  </a:lnTo>
                  <a:lnTo>
                    <a:pt x="1731568" y="0"/>
                  </a:lnTo>
                  <a:lnTo>
                    <a:pt x="1732267" y="0"/>
                  </a:lnTo>
                  <a:lnTo>
                    <a:pt x="1732267" y="394"/>
                  </a:lnTo>
                  <a:lnTo>
                    <a:pt x="1733156" y="394"/>
                  </a:lnTo>
                  <a:lnTo>
                    <a:pt x="1733156" y="0"/>
                  </a:lnTo>
                  <a:lnTo>
                    <a:pt x="1733397" y="0"/>
                  </a:lnTo>
                  <a:lnTo>
                    <a:pt x="1733397" y="394"/>
                  </a:lnTo>
                  <a:lnTo>
                    <a:pt x="1740789" y="394"/>
                  </a:lnTo>
                  <a:lnTo>
                    <a:pt x="1740789" y="0"/>
                  </a:lnTo>
                  <a:lnTo>
                    <a:pt x="1741144" y="0"/>
                  </a:lnTo>
                  <a:lnTo>
                    <a:pt x="1741144" y="394"/>
                  </a:lnTo>
                  <a:lnTo>
                    <a:pt x="1742579" y="394"/>
                  </a:lnTo>
                  <a:lnTo>
                    <a:pt x="1742579" y="0"/>
                  </a:lnTo>
                  <a:lnTo>
                    <a:pt x="1743379" y="0"/>
                  </a:lnTo>
                  <a:lnTo>
                    <a:pt x="1743379" y="394"/>
                  </a:lnTo>
                  <a:lnTo>
                    <a:pt x="1743926" y="394"/>
                  </a:lnTo>
                  <a:lnTo>
                    <a:pt x="1743926" y="0"/>
                  </a:lnTo>
                  <a:lnTo>
                    <a:pt x="1745310" y="0"/>
                  </a:lnTo>
                  <a:lnTo>
                    <a:pt x="1745310" y="394"/>
                  </a:lnTo>
                  <a:lnTo>
                    <a:pt x="1745754" y="394"/>
                  </a:lnTo>
                  <a:lnTo>
                    <a:pt x="1745754" y="0"/>
                  </a:lnTo>
                  <a:lnTo>
                    <a:pt x="1746694" y="0"/>
                  </a:lnTo>
                  <a:lnTo>
                    <a:pt x="1746796" y="394"/>
                  </a:lnTo>
                  <a:lnTo>
                    <a:pt x="1746847" y="394"/>
                  </a:lnTo>
                  <a:lnTo>
                    <a:pt x="1746847" y="0"/>
                  </a:lnTo>
                  <a:lnTo>
                    <a:pt x="1748879" y="0"/>
                  </a:lnTo>
                  <a:lnTo>
                    <a:pt x="1748879" y="394"/>
                  </a:lnTo>
                  <a:lnTo>
                    <a:pt x="1749526" y="394"/>
                  </a:lnTo>
                  <a:lnTo>
                    <a:pt x="1749526" y="0"/>
                  </a:lnTo>
                  <a:lnTo>
                    <a:pt x="1749971" y="0"/>
                  </a:lnTo>
                  <a:lnTo>
                    <a:pt x="1749971" y="394"/>
                  </a:lnTo>
                  <a:lnTo>
                    <a:pt x="1749971" y="0"/>
                  </a:lnTo>
                  <a:lnTo>
                    <a:pt x="1750174" y="0"/>
                  </a:lnTo>
                  <a:lnTo>
                    <a:pt x="1750174" y="394"/>
                  </a:lnTo>
                  <a:lnTo>
                    <a:pt x="1750314" y="394"/>
                  </a:lnTo>
                  <a:lnTo>
                    <a:pt x="1750314" y="0"/>
                  </a:lnTo>
                  <a:lnTo>
                    <a:pt x="1750466" y="0"/>
                  </a:lnTo>
                  <a:lnTo>
                    <a:pt x="1750466" y="394"/>
                  </a:lnTo>
                  <a:lnTo>
                    <a:pt x="1751317" y="394"/>
                  </a:lnTo>
                  <a:lnTo>
                    <a:pt x="1751317" y="0"/>
                  </a:lnTo>
                  <a:lnTo>
                    <a:pt x="1751355" y="394"/>
                  </a:lnTo>
                  <a:lnTo>
                    <a:pt x="1751863" y="394"/>
                  </a:lnTo>
                  <a:lnTo>
                    <a:pt x="1751863" y="0"/>
                  </a:lnTo>
                  <a:lnTo>
                    <a:pt x="1752054" y="0"/>
                  </a:lnTo>
                  <a:lnTo>
                    <a:pt x="1752054" y="394"/>
                  </a:lnTo>
                  <a:lnTo>
                    <a:pt x="1752054" y="0"/>
                  </a:lnTo>
                  <a:lnTo>
                    <a:pt x="1752257" y="0"/>
                  </a:lnTo>
                  <a:lnTo>
                    <a:pt x="1752257" y="394"/>
                  </a:lnTo>
                  <a:lnTo>
                    <a:pt x="1753247" y="394"/>
                  </a:lnTo>
                  <a:lnTo>
                    <a:pt x="1753247" y="0"/>
                  </a:lnTo>
                  <a:lnTo>
                    <a:pt x="1753247" y="394"/>
                  </a:lnTo>
                  <a:lnTo>
                    <a:pt x="1753349" y="394"/>
                  </a:lnTo>
                  <a:lnTo>
                    <a:pt x="1753349" y="0"/>
                  </a:lnTo>
                  <a:lnTo>
                    <a:pt x="1753844" y="0"/>
                  </a:lnTo>
                  <a:lnTo>
                    <a:pt x="1753844" y="394"/>
                  </a:lnTo>
                  <a:lnTo>
                    <a:pt x="1754784" y="394"/>
                  </a:lnTo>
                  <a:lnTo>
                    <a:pt x="1754784" y="0"/>
                  </a:lnTo>
                  <a:lnTo>
                    <a:pt x="1754784" y="394"/>
                  </a:lnTo>
                  <a:lnTo>
                    <a:pt x="1754936" y="394"/>
                  </a:lnTo>
                  <a:lnTo>
                    <a:pt x="1754936" y="0"/>
                  </a:lnTo>
                  <a:lnTo>
                    <a:pt x="1755673" y="0"/>
                  </a:lnTo>
                  <a:lnTo>
                    <a:pt x="1755673" y="394"/>
                  </a:lnTo>
                  <a:lnTo>
                    <a:pt x="1756117" y="394"/>
                  </a:lnTo>
                  <a:lnTo>
                    <a:pt x="1756117" y="0"/>
                  </a:lnTo>
                  <a:lnTo>
                    <a:pt x="1756168" y="0"/>
                  </a:lnTo>
                  <a:lnTo>
                    <a:pt x="1756168" y="394"/>
                  </a:lnTo>
                  <a:lnTo>
                    <a:pt x="1756168" y="0"/>
                  </a:lnTo>
                  <a:lnTo>
                    <a:pt x="1756321" y="0"/>
                  </a:lnTo>
                  <a:lnTo>
                    <a:pt x="1756372" y="394"/>
                  </a:lnTo>
                  <a:lnTo>
                    <a:pt x="1757121" y="394"/>
                  </a:lnTo>
                  <a:lnTo>
                    <a:pt x="1757121" y="0"/>
                  </a:lnTo>
                  <a:lnTo>
                    <a:pt x="1757210" y="0"/>
                  </a:lnTo>
                  <a:lnTo>
                    <a:pt x="1757210" y="394"/>
                  </a:lnTo>
                  <a:lnTo>
                    <a:pt x="1758353" y="394"/>
                  </a:lnTo>
                  <a:lnTo>
                    <a:pt x="1758353" y="0"/>
                  </a:lnTo>
                  <a:lnTo>
                    <a:pt x="1758797" y="0"/>
                  </a:lnTo>
                  <a:lnTo>
                    <a:pt x="1758797" y="394"/>
                  </a:lnTo>
                  <a:lnTo>
                    <a:pt x="1758950" y="394"/>
                  </a:lnTo>
                  <a:lnTo>
                    <a:pt x="1758950" y="0"/>
                  </a:lnTo>
                  <a:lnTo>
                    <a:pt x="1759940" y="0"/>
                  </a:lnTo>
                  <a:lnTo>
                    <a:pt x="1759940" y="394"/>
                  </a:lnTo>
                  <a:lnTo>
                    <a:pt x="1760385" y="394"/>
                  </a:lnTo>
                  <a:lnTo>
                    <a:pt x="1760385" y="0"/>
                  </a:lnTo>
                  <a:lnTo>
                    <a:pt x="1761972" y="0"/>
                  </a:lnTo>
                  <a:lnTo>
                    <a:pt x="1762023" y="394"/>
                  </a:lnTo>
                  <a:lnTo>
                    <a:pt x="1762125" y="394"/>
                  </a:lnTo>
                  <a:lnTo>
                    <a:pt x="1762125" y="0"/>
                  </a:lnTo>
                  <a:lnTo>
                    <a:pt x="1764106" y="0"/>
                  </a:lnTo>
                  <a:lnTo>
                    <a:pt x="1764106" y="394"/>
                  </a:lnTo>
                  <a:lnTo>
                    <a:pt x="1764461" y="394"/>
                  </a:lnTo>
                  <a:lnTo>
                    <a:pt x="1764512" y="0"/>
                  </a:lnTo>
                  <a:lnTo>
                    <a:pt x="1765604" y="0"/>
                  </a:lnTo>
                  <a:lnTo>
                    <a:pt x="1765604" y="394"/>
                  </a:lnTo>
                  <a:lnTo>
                    <a:pt x="1767535" y="394"/>
                  </a:lnTo>
                  <a:lnTo>
                    <a:pt x="1767535" y="0"/>
                  </a:lnTo>
                  <a:lnTo>
                    <a:pt x="1767636" y="0"/>
                  </a:lnTo>
                  <a:lnTo>
                    <a:pt x="1767687" y="394"/>
                  </a:lnTo>
                  <a:lnTo>
                    <a:pt x="1769910" y="394"/>
                  </a:lnTo>
                  <a:lnTo>
                    <a:pt x="1769910" y="0"/>
                  </a:lnTo>
                  <a:lnTo>
                    <a:pt x="1769910" y="394"/>
                  </a:lnTo>
                  <a:lnTo>
                    <a:pt x="1772297" y="394"/>
                  </a:lnTo>
                  <a:lnTo>
                    <a:pt x="1772297" y="0"/>
                  </a:lnTo>
                  <a:lnTo>
                    <a:pt x="1772742" y="0"/>
                  </a:lnTo>
                  <a:lnTo>
                    <a:pt x="1772742" y="394"/>
                  </a:lnTo>
                  <a:lnTo>
                    <a:pt x="1853857" y="394"/>
                  </a:lnTo>
                  <a:lnTo>
                    <a:pt x="1853857" y="0"/>
                  </a:lnTo>
                  <a:lnTo>
                    <a:pt x="1853958" y="0"/>
                  </a:lnTo>
                  <a:lnTo>
                    <a:pt x="1853958" y="394"/>
                  </a:lnTo>
                  <a:lnTo>
                    <a:pt x="1855444" y="394"/>
                  </a:lnTo>
                  <a:lnTo>
                    <a:pt x="1855444" y="0"/>
                  </a:lnTo>
                  <a:lnTo>
                    <a:pt x="1855495" y="0"/>
                  </a:lnTo>
                  <a:lnTo>
                    <a:pt x="1855495" y="394"/>
                  </a:lnTo>
                  <a:lnTo>
                    <a:pt x="1855546" y="394"/>
                  </a:lnTo>
                  <a:lnTo>
                    <a:pt x="1855546" y="0"/>
                  </a:lnTo>
                  <a:lnTo>
                    <a:pt x="1855736" y="0"/>
                  </a:lnTo>
                  <a:lnTo>
                    <a:pt x="1855736" y="394"/>
                  </a:lnTo>
                  <a:lnTo>
                    <a:pt x="1856676" y="394"/>
                  </a:lnTo>
                  <a:lnTo>
                    <a:pt x="1856676" y="0"/>
                  </a:lnTo>
                  <a:lnTo>
                    <a:pt x="1856676" y="394"/>
                  </a:lnTo>
                  <a:lnTo>
                    <a:pt x="1856981" y="394"/>
                  </a:lnTo>
                  <a:lnTo>
                    <a:pt x="1856981" y="0"/>
                  </a:lnTo>
                  <a:lnTo>
                    <a:pt x="1856981" y="394"/>
                  </a:lnTo>
                  <a:lnTo>
                    <a:pt x="1892249" y="394"/>
                  </a:lnTo>
                  <a:lnTo>
                    <a:pt x="1892249" y="0"/>
                  </a:lnTo>
                  <a:lnTo>
                    <a:pt x="1892300" y="394"/>
                  </a:lnTo>
                  <a:lnTo>
                    <a:pt x="1893786" y="394"/>
                  </a:lnTo>
                  <a:lnTo>
                    <a:pt x="1893786" y="0"/>
                  </a:lnTo>
                  <a:lnTo>
                    <a:pt x="1893836" y="0"/>
                  </a:lnTo>
                  <a:lnTo>
                    <a:pt x="1893836" y="394"/>
                  </a:lnTo>
                  <a:lnTo>
                    <a:pt x="1895779" y="394"/>
                  </a:lnTo>
                  <a:lnTo>
                    <a:pt x="1895779" y="0"/>
                  </a:lnTo>
                  <a:lnTo>
                    <a:pt x="1895868" y="0"/>
                  </a:lnTo>
                  <a:lnTo>
                    <a:pt x="1895868" y="394"/>
                  </a:lnTo>
                  <a:lnTo>
                    <a:pt x="1897265" y="394"/>
                  </a:lnTo>
                  <a:lnTo>
                    <a:pt x="1897265" y="0"/>
                  </a:lnTo>
                  <a:lnTo>
                    <a:pt x="1897367" y="0"/>
                  </a:lnTo>
                  <a:lnTo>
                    <a:pt x="1897367" y="394"/>
                  </a:lnTo>
                  <a:lnTo>
                    <a:pt x="1898154" y="394"/>
                  </a:lnTo>
                  <a:lnTo>
                    <a:pt x="1898154" y="0"/>
                  </a:lnTo>
                  <a:lnTo>
                    <a:pt x="1898307" y="0"/>
                  </a:lnTo>
                  <a:lnTo>
                    <a:pt x="1898357" y="394"/>
                  </a:lnTo>
                  <a:lnTo>
                    <a:pt x="1898992" y="394"/>
                  </a:lnTo>
                  <a:lnTo>
                    <a:pt x="1898992" y="0"/>
                  </a:lnTo>
                  <a:lnTo>
                    <a:pt x="1899297" y="0"/>
                  </a:lnTo>
                  <a:lnTo>
                    <a:pt x="1899399" y="394"/>
                  </a:lnTo>
                  <a:lnTo>
                    <a:pt x="1899640" y="394"/>
                  </a:lnTo>
                  <a:lnTo>
                    <a:pt x="1899640" y="0"/>
                  </a:lnTo>
                  <a:lnTo>
                    <a:pt x="1900186" y="0"/>
                  </a:lnTo>
                  <a:lnTo>
                    <a:pt x="1900186" y="394"/>
                  </a:lnTo>
                  <a:lnTo>
                    <a:pt x="1900237" y="394"/>
                  </a:lnTo>
                  <a:lnTo>
                    <a:pt x="1900237" y="0"/>
                  </a:lnTo>
                  <a:lnTo>
                    <a:pt x="1901126" y="0"/>
                  </a:lnTo>
                  <a:lnTo>
                    <a:pt x="1901126" y="394"/>
                  </a:lnTo>
                  <a:lnTo>
                    <a:pt x="1901532" y="394"/>
                  </a:lnTo>
                  <a:lnTo>
                    <a:pt x="1901532" y="0"/>
                  </a:lnTo>
                  <a:lnTo>
                    <a:pt x="1901583" y="0"/>
                  </a:lnTo>
                  <a:lnTo>
                    <a:pt x="1901583" y="394"/>
                  </a:lnTo>
                  <a:lnTo>
                    <a:pt x="1901723" y="394"/>
                  </a:lnTo>
                  <a:lnTo>
                    <a:pt x="1901723" y="0"/>
                  </a:lnTo>
                  <a:lnTo>
                    <a:pt x="1903755" y="0"/>
                  </a:lnTo>
                  <a:lnTo>
                    <a:pt x="1903755" y="394"/>
                  </a:lnTo>
                  <a:lnTo>
                    <a:pt x="1904161" y="394"/>
                  </a:lnTo>
                  <a:lnTo>
                    <a:pt x="1904212" y="0"/>
                  </a:lnTo>
                  <a:lnTo>
                    <a:pt x="1907629" y="0"/>
                  </a:lnTo>
                  <a:lnTo>
                    <a:pt x="1907629" y="394"/>
                  </a:lnTo>
                  <a:lnTo>
                    <a:pt x="1907781" y="394"/>
                  </a:lnTo>
                  <a:lnTo>
                    <a:pt x="1907781" y="0"/>
                  </a:lnTo>
                  <a:lnTo>
                    <a:pt x="1907882" y="0"/>
                  </a:lnTo>
                  <a:lnTo>
                    <a:pt x="1907882" y="394"/>
                  </a:lnTo>
                  <a:lnTo>
                    <a:pt x="1908022" y="394"/>
                  </a:lnTo>
                  <a:lnTo>
                    <a:pt x="1908022" y="0"/>
                  </a:lnTo>
                  <a:lnTo>
                    <a:pt x="1909165" y="0"/>
                  </a:lnTo>
                  <a:lnTo>
                    <a:pt x="1909165" y="394"/>
                  </a:lnTo>
                  <a:lnTo>
                    <a:pt x="1909521" y="394"/>
                  </a:lnTo>
                  <a:lnTo>
                    <a:pt x="1909521" y="0"/>
                  </a:lnTo>
                  <a:lnTo>
                    <a:pt x="1911007" y="0"/>
                  </a:lnTo>
                  <a:lnTo>
                    <a:pt x="1911007" y="394"/>
                  </a:lnTo>
                  <a:lnTo>
                    <a:pt x="1911057" y="394"/>
                  </a:lnTo>
                  <a:lnTo>
                    <a:pt x="1911057" y="0"/>
                  </a:lnTo>
                  <a:lnTo>
                    <a:pt x="1911197" y="0"/>
                  </a:lnTo>
                  <a:lnTo>
                    <a:pt x="1911197" y="394"/>
                  </a:lnTo>
                  <a:lnTo>
                    <a:pt x="1911299" y="394"/>
                  </a:lnTo>
                  <a:lnTo>
                    <a:pt x="1911299" y="0"/>
                  </a:lnTo>
                  <a:lnTo>
                    <a:pt x="1911350" y="0"/>
                  </a:lnTo>
                  <a:lnTo>
                    <a:pt x="1911350" y="394"/>
                  </a:lnTo>
                  <a:lnTo>
                    <a:pt x="1911502" y="394"/>
                  </a:lnTo>
                  <a:lnTo>
                    <a:pt x="1911502" y="0"/>
                  </a:lnTo>
                  <a:lnTo>
                    <a:pt x="1913039" y="0"/>
                  </a:lnTo>
                  <a:lnTo>
                    <a:pt x="1913039" y="394"/>
                  </a:lnTo>
                  <a:lnTo>
                    <a:pt x="1913140" y="394"/>
                  </a:lnTo>
                  <a:lnTo>
                    <a:pt x="1913140" y="0"/>
                  </a:lnTo>
                  <a:lnTo>
                    <a:pt x="1915274" y="0"/>
                  </a:lnTo>
                  <a:lnTo>
                    <a:pt x="1915274" y="394"/>
                  </a:lnTo>
                  <a:lnTo>
                    <a:pt x="1915769" y="394"/>
                  </a:lnTo>
                  <a:lnTo>
                    <a:pt x="1915769" y="0"/>
                  </a:lnTo>
                  <a:lnTo>
                    <a:pt x="1916557" y="0"/>
                  </a:lnTo>
                  <a:lnTo>
                    <a:pt x="1916557" y="394"/>
                  </a:lnTo>
                  <a:lnTo>
                    <a:pt x="1916963" y="394"/>
                  </a:lnTo>
                  <a:lnTo>
                    <a:pt x="1916963" y="0"/>
                  </a:lnTo>
                  <a:lnTo>
                    <a:pt x="1918944" y="0"/>
                  </a:lnTo>
                  <a:lnTo>
                    <a:pt x="1918944" y="394"/>
                  </a:lnTo>
                  <a:lnTo>
                    <a:pt x="1919135" y="394"/>
                  </a:lnTo>
                  <a:lnTo>
                    <a:pt x="1919135" y="0"/>
                  </a:lnTo>
                  <a:lnTo>
                    <a:pt x="1920087" y="0"/>
                  </a:lnTo>
                  <a:lnTo>
                    <a:pt x="1920087" y="394"/>
                  </a:lnTo>
                  <a:lnTo>
                    <a:pt x="1920722" y="394"/>
                  </a:lnTo>
                  <a:lnTo>
                    <a:pt x="1920722" y="0"/>
                  </a:lnTo>
                  <a:lnTo>
                    <a:pt x="1921764" y="0"/>
                  </a:lnTo>
                  <a:lnTo>
                    <a:pt x="1921865" y="394"/>
                  </a:lnTo>
                  <a:lnTo>
                    <a:pt x="1921967" y="394"/>
                  </a:lnTo>
                  <a:lnTo>
                    <a:pt x="1921967" y="0"/>
                  </a:lnTo>
                  <a:lnTo>
                    <a:pt x="1922068" y="0"/>
                  </a:lnTo>
                  <a:lnTo>
                    <a:pt x="1922068" y="394"/>
                  </a:lnTo>
                  <a:lnTo>
                    <a:pt x="1922170" y="394"/>
                  </a:lnTo>
                  <a:lnTo>
                    <a:pt x="1922170" y="0"/>
                  </a:lnTo>
                  <a:lnTo>
                    <a:pt x="1922221" y="0"/>
                  </a:lnTo>
                  <a:lnTo>
                    <a:pt x="1922221" y="394"/>
                  </a:lnTo>
                  <a:lnTo>
                    <a:pt x="1922361" y="394"/>
                  </a:lnTo>
                  <a:lnTo>
                    <a:pt x="1922361" y="0"/>
                  </a:lnTo>
                  <a:lnTo>
                    <a:pt x="1923453" y="0"/>
                  </a:lnTo>
                  <a:lnTo>
                    <a:pt x="1923453" y="394"/>
                  </a:lnTo>
                  <a:lnTo>
                    <a:pt x="1923453" y="0"/>
                  </a:lnTo>
                  <a:lnTo>
                    <a:pt x="1923554" y="0"/>
                  </a:lnTo>
                  <a:lnTo>
                    <a:pt x="1923554" y="394"/>
                  </a:lnTo>
                  <a:lnTo>
                    <a:pt x="1923554" y="0"/>
                  </a:lnTo>
                  <a:lnTo>
                    <a:pt x="1930997" y="0"/>
                  </a:lnTo>
                  <a:lnTo>
                    <a:pt x="1930997" y="394"/>
                  </a:lnTo>
                  <a:lnTo>
                    <a:pt x="1931251" y="394"/>
                  </a:lnTo>
                  <a:lnTo>
                    <a:pt x="1931251" y="0"/>
                  </a:lnTo>
                  <a:lnTo>
                    <a:pt x="1935911" y="0"/>
                  </a:lnTo>
                  <a:lnTo>
                    <a:pt x="1935911" y="394"/>
                  </a:lnTo>
                  <a:lnTo>
                    <a:pt x="1935911" y="0"/>
                  </a:lnTo>
                  <a:lnTo>
                    <a:pt x="1940026" y="0"/>
                  </a:lnTo>
                  <a:lnTo>
                    <a:pt x="1940077" y="394"/>
                  </a:lnTo>
                  <a:lnTo>
                    <a:pt x="1940267" y="394"/>
                  </a:lnTo>
                  <a:lnTo>
                    <a:pt x="1940267" y="0"/>
                  </a:lnTo>
                  <a:lnTo>
                    <a:pt x="1941957" y="0"/>
                  </a:lnTo>
                  <a:lnTo>
                    <a:pt x="1941957" y="394"/>
                  </a:lnTo>
                  <a:lnTo>
                    <a:pt x="1942160" y="394"/>
                  </a:lnTo>
                  <a:lnTo>
                    <a:pt x="1942160" y="0"/>
                  </a:lnTo>
                  <a:lnTo>
                    <a:pt x="1944890" y="0"/>
                  </a:lnTo>
                  <a:lnTo>
                    <a:pt x="1944890" y="394"/>
                  </a:lnTo>
                  <a:lnTo>
                    <a:pt x="1945081" y="394"/>
                  </a:lnTo>
                  <a:lnTo>
                    <a:pt x="1945081" y="0"/>
                  </a:lnTo>
                  <a:lnTo>
                    <a:pt x="1949208" y="0"/>
                  </a:lnTo>
                  <a:lnTo>
                    <a:pt x="1949208" y="394"/>
                  </a:lnTo>
                  <a:lnTo>
                    <a:pt x="1949450" y="394"/>
                  </a:lnTo>
                  <a:lnTo>
                    <a:pt x="1949450" y="0"/>
                  </a:lnTo>
                  <a:lnTo>
                    <a:pt x="2004517" y="0"/>
                  </a:lnTo>
                  <a:lnTo>
                    <a:pt x="2004517" y="394"/>
                  </a:lnTo>
                  <a:lnTo>
                    <a:pt x="2004669" y="394"/>
                  </a:lnTo>
                  <a:lnTo>
                    <a:pt x="2004669" y="0"/>
                  </a:lnTo>
                  <a:lnTo>
                    <a:pt x="2005812" y="0"/>
                  </a:lnTo>
                  <a:lnTo>
                    <a:pt x="2005812" y="394"/>
                  </a:lnTo>
                  <a:lnTo>
                    <a:pt x="2005863" y="394"/>
                  </a:lnTo>
                  <a:lnTo>
                    <a:pt x="2005863" y="0"/>
                  </a:lnTo>
                  <a:lnTo>
                    <a:pt x="2006803" y="0"/>
                  </a:lnTo>
                  <a:lnTo>
                    <a:pt x="2006803" y="394"/>
                  </a:lnTo>
                  <a:lnTo>
                    <a:pt x="2007247" y="394"/>
                  </a:lnTo>
                  <a:lnTo>
                    <a:pt x="2007247" y="0"/>
                  </a:lnTo>
                  <a:lnTo>
                    <a:pt x="2008936" y="0"/>
                  </a:lnTo>
                  <a:lnTo>
                    <a:pt x="2008936" y="394"/>
                  </a:lnTo>
                  <a:lnTo>
                    <a:pt x="2008936" y="0"/>
                  </a:lnTo>
                  <a:lnTo>
                    <a:pt x="2009533" y="0"/>
                  </a:lnTo>
                  <a:lnTo>
                    <a:pt x="2009533" y="394"/>
                  </a:lnTo>
                  <a:lnTo>
                    <a:pt x="2009533" y="0"/>
                  </a:lnTo>
                  <a:lnTo>
                    <a:pt x="2013801" y="0"/>
                  </a:lnTo>
                  <a:lnTo>
                    <a:pt x="2013801" y="394"/>
                  </a:lnTo>
                  <a:lnTo>
                    <a:pt x="2014143" y="394"/>
                  </a:lnTo>
                  <a:lnTo>
                    <a:pt x="2014143" y="0"/>
                  </a:lnTo>
                  <a:lnTo>
                    <a:pt x="2025992" y="0"/>
                  </a:lnTo>
                  <a:lnTo>
                    <a:pt x="2025992" y="394"/>
                  </a:lnTo>
                  <a:lnTo>
                    <a:pt x="2026094" y="394"/>
                  </a:lnTo>
                  <a:lnTo>
                    <a:pt x="2026094" y="0"/>
                  </a:lnTo>
                  <a:lnTo>
                    <a:pt x="2026196" y="0"/>
                  </a:lnTo>
                  <a:lnTo>
                    <a:pt x="2026196" y="394"/>
                  </a:lnTo>
                  <a:lnTo>
                    <a:pt x="2026297" y="394"/>
                  </a:lnTo>
                  <a:lnTo>
                    <a:pt x="2026297" y="0"/>
                  </a:lnTo>
                  <a:lnTo>
                    <a:pt x="2027580" y="0"/>
                  </a:lnTo>
                  <a:lnTo>
                    <a:pt x="2027580" y="394"/>
                  </a:lnTo>
                  <a:lnTo>
                    <a:pt x="2027631" y="394"/>
                  </a:lnTo>
                  <a:lnTo>
                    <a:pt x="2027682" y="0"/>
                  </a:lnTo>
                  <a:lnTo>
                    <a:pt x="2027783" y="0"/>
                  </a:lnTo>
                  <a:lnTo>
                    <a:pt x="2027783" y="394"/>
                  </a:lnTo>
                  <a:lnTo>
                    <a:pt x="2027834" y="394"/>
                  </a:lnTo>
                  <a:lnTo>
                    <a:pt x="2027834" y="0"/>
                  </a:lnTo>
                  <a:lnTo>
                    <a:pt x="2028228" y="0"/>
                  </a:lnTo>
                  <a:lnTo>
                    <a:pt x="2028228" y="394"/>
                  </a:lnTo>
                  <a:lnTo>
                    <a:pt x="2030717" y="394"/>
                  </a:lnTo>
                  <a:lnTo>
                    <a:pt x="2030717" y="0"/>
                  </a:lnTo>
                  <a:lnTo>
                    <a:pt x="2031009" y="0"/>
                  </a:lnTo>
                  <a:lnTo>
                    <a:pt x="2031009" y="394"/>
                  </a:lnTo>
                  <a:lnTo>
                    <a:pt x="2032444" y="394"/>
                  </a:lnTo>
                  <a:lnTo>
                    <a:pt x="2032444" y="0"/>
                  </a:lnTo>
                  <a:lnTo>
                    <a:pt x="2032889" y="0"/>
                  </a:lnTo>
                  <a:lnTo>
                    <a:pt x="2032889" y="394"/>
                  </a:lnTo>
                  <a:lnTo>
                    <a:pt x="2033486" y="394"/>
                  </a:lnTo>
                  <a:lnTo>
                    <a:pt x="2033486" y="0"/>
                  </a:lnTo>
                  <a:lnTo>
                    <a:pt x="2034476" y="0"/>
                  </a:lnTo>
                  <a:lnTo>
                    <a:pt x="2034476" y="394"/>
                  </a:lnTo>
                  <a:lnTo>
                    <a:pt x="2035124" y="394"/>
                  </a:lnTo>
                  <a:lnTo>
                    <a:pt x="2035124" y="0"/>
                  </a:lnTo>
                  <a:lnTo>
                    <a:pt x="2038108" y="0"/>
                  </a:lnTo>
                  <a:lnTo>
                    <a:pt x="2038108" y="394"/>
                  </a:lnTo>
                  <a:lnTo>
                    <a:pt x="2038451" y="394"/>
                  </a:lnTo>
                  <a:lnTo>
                    <a:pt x="2038451" y="0"/>
                  </a:lnTo>
                  <a:lnTo>
                    <a:pt x="2040737" y="0"/>
                  </a:lnTo>
                  <a:lnTo>
                    <a:pt x="2040737" y="394"/>
                  </a:lnTo>
                  <a:lnTo>
                    <a:pt x="2041182" y="394"/>
                  </a:lnTo>
                  <a:lnTo>
                    <a:pt x="2041232" y="0"/>
                  </a:lnTo>
                  <a:lnTo>
                    <a:pt x="2042566" y="0"/>
                  </a:lnTo>
                  <a:lnTo>
                    <a:pt x="2042566" y="394"/>
                  </a:lnTo>
                  <a:lnTo>
                    <a:pt x="2042871" y="394"/>
                  </a:lnTo>
                  <a:lnTo>
                    <a:pt x="2042871" y="0"/>
                  </a:lnTo>
                  <a:lnTo>
                    <a:pt x="2044700" y="0"/>
                  </a:lnTo>
                  <a:lnTo>
                    <a:pt x="2044700" y="394"/>
                  </a:lnTo>
                  <a:lnTo>
                    <a:pt x="2045144" y="394"/>
                  </a:lnTo>
                  <a:lnTo>
                    <a:pt x="2045144" y="0"/>
                  </a:lnTo>
                  <a:lnTo>
                    <a:pt x="2060727" y="0"/>
                  </a:lnTo>
                  <a:lnTo>
                    <a:pt x="2060727" y="394"/>
                  </a:lnTo>
                  <a:lnTo>
                    <a:pt x="2061019" y="394"/>
                  </a:lnTo>
                  <a:lnTo>
                    <a:pt x="2061019" y="0"/>
                  </a:lnTo>
                  <a:lnTo>
                    <a:pt x="2061019" y="394"/>
                  </a:lnTo>
                  <a:lnTo>
                    <a:pt x="2061172" y="394"/>
                  </a:lnTo>
                  <a:lnTo>
                    <a:pt x="2061222" y="0"/>
                  </a:lnTo>
                  <a:lnTo>
                    <a:pt x="2062162" y="0"/>
                  </a:lnTo>
                  <a:lnTo>
                    <a:pt x="2062162" y="394"/>
                  </a:lnTo>
                  <a:lnTo>
                    <a:pt x="2062264" y="394"/>
                  </a:lnTo>
                  <a:lnTo>
                    <a:pt x="2062264" y="0"/>
                  </a:lnTo>
                  <a:lnTo>
                    <a:pt x="2119071" y="0"/>
                  </a:lnTo>
                  <a:lnTo>
                    <a:pt x="2119071" y="394"/>
                  </a:lnTo>
                  <a:lnTo>
                    <a:pt x="2119261" y="394"/>
                  </a:lnTo>
                  <a:lnTo>
                    <a:pt x="2119261" y="0"/>
                  </a:lnTo>
                  <a:lnTo>
                    <a:pt x="2806801" y="0"/>
                  </a:lnTo>
                </a:path>
              </a:pathLst>
            </a:custGeom>
            <a:noFill/>
            <a:ln w="6350" cap="flat" cmpd="sng">
              <a:solidFill>
                <a:srgbClr val="009E73">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76" name="Freeform 161"/>
            <p:cNvSpPr/>
            <p:nvPr/>
          </p:nvSpPr>
          <p:spPr>
            <a:xfrm flipV="1">
              <a:off x="454279" y="290069"/>
              <a:ext cx="3545585" cy="2049716"/>
            </a:xfrm>
            <a:custGeom>
              <a:avLst/>
              <a:gdLst/>
              <a:ahLst/>
              <a:cxnLst/>
              <a:rect l="0" t="0" r="0" b="0"/>
              <a:pathLst>
                <a:path w="3545585" h="2049716">
                  <a:moveTo>
                    <a:pt x="0" y="2049716"/>
                  </a:moveTo>
                  <a:lnTo>
                    <a:pt x="3545585" y="2049716"/>
                  </a:lnTo>
                  <a:lnTo>
                    <a:pt x="3545585" y="0"/>
                  </a:lnTo>
                  <a:lnTo>
                    <a:pt x="0" y="0"/>
                  </a:lnTo>
                  <a:lnTo>
                    <a:pt x="0" y="2049716"/>
                  </a:lnTo>
                  <a:close/>
                </a:path>
              </a:pathLst>
            </a:custGeom>
            <a:noFill/>
            <a:ln w="6350" cap="flat" cmpd="sng">
              <a:solidFill>
                <a:srgbClr val="000000">
                  <a:alpha val="100000"/>
                </a:srgbClr>
              </a:solidFill>
              <a:miter lim="48259"/>
            </a:ln>
          </p:spPr>
          <p:style>
            <a:lnRef idx="2">
              <a:schemeClr val="accent1">
                <a:shade val="50000"/>
              </a:schemeClr>
            </a:lnRef>
            <a:fillRef idx="1">
              <a:schemeClr val="accent1"/>
            </a:fillRef>
            <a:effectRef idx="0">
              <a:schemeClr val="accent1"/>
            </a:effectRef>
            <a:fontRef idx="minor">
              <a:schemeClr val="lt1"/>
            </a:fontRef>
          </p:style>
        </p:sp>
        <p:sp>
          <p:nvSpPr>
            <p:cNvPr id="177" name="Rectangle 162"/>
            <p:cNvSpPr/>
            <p:nvPr/>
          </p:nvSpPr>
          <p:spPr>
            <a:xfrm>
              <a:off x="190500" y="2276016"/>
              <a:ext cx="216544" cy="113384"/>
            </a:xfrm>
            <a:prstGeom prst="rect">
              <a:avLst/>
            </a:prstGeom>
          </p:spPr>
          <p:txBody>
            <a:bodyPr wrap="none" lIns="0" tIns="0" rIns="0" bIns="0">
              <a:spAutoFit/>
            </a:bodyPr>
            <a:lstStyle/>
            <a:p>
              <a:pPr marL="0"/>
              <a:r>
                <a:rPr lang="en-US" sz="666" b="0" i="0" spc="0" baseline="0" dirty="0">
                  <a:solidFill>
                    <a:srgbClr val="000000"/>
                  </a:solidFill>
                  <a:latin typeface="Arial"/>
                </a:rPr>
                <a:t>-1500</a:t>
              </a:r>
            </a:p>
          </p:txBody>
        </p:sp>
        <p:sp>
          <p:nvSpPr>
            <p:cNvPr id="178" name="Rectangle 163"/>
            <p:cNvSpPr/>
            <p:nvPr/>
          </p:nvSpPr>
          <p:spPr>
            <a:xfrm>
              <a:off x="190500" y="2105201"/>
              <a:ext cx="216544" cy="113384"/>
            </a:xfrm>
            <a:prstGeom prst="rect">
              <a:avLst/>
            </a:prstGeom>
          </p:spPr>
          <p:txBody>
            <a:bodyPr wrap="none" lIns="0" tIns="0" rIns="0" bIns="0">
              <a:spAutoFit/>
            </a:bodyPr>
            <a:lstStyle/>
            <a:p>
              <a:pPr marL="0"/>
              <a:r>
                <a:rPr lang="en-US" sz="666" b="0" i="0" spc="0" baseline="0" dirty="0">
                  <a:solidFill>
                    <a:srgbClr val="000000"/>
                  </a:solidFill>
                  <a:latin typeface="Arial"/>
                </a:rPr>
                <a:t>-1250</a:t>
              </a:r>
            </a:p>
          </p:txBody>
        </p:sp>
        <p:sp>
          <p:nvSpPr>
            <p:cNvPr id="179" name="Rectangle 164"/>
            <p:cNvSpPr/>
            <p:nvPr/>
          </p:nvSpPr>
          <p:spPr>
            <a:xfrm>
              <a:off x="190500" y="1934386"/>
              <a:ext cx="216544" cy="113384"/>
            </a:xfrm>
            <a:prstGeom prst="rect">
              <a:avLst/>
            </a:prstGeom>
          </p:spPr>
          <p:txBody>
            <a:bodyPr wrap="none" lIns="0" tIns="0" rIns="0" bIns="0">
              <a:spAutoFit/>
            </a:bodyPr>
            <a:lstStyle/>
            <a:p>
              <a:pPr marL="0"/>
              <a:r>
                <a:rPr lang="en-US" sz="666" b="0" i="0" spc="0" baseline="0" dirty="0">
                  <a:solidFill>
                    <a:srgbClr val="000000"/>
                  </a:solidFill>
                  <a:latin typeface="Arial"/>
                </a:rPr>
                <a:t>-1000</a:t>
              </a:r>
            </a:p>
          </p:txBody>
        </p:sp>
        <p:sp>
          <p:nvSpPr>
            <p:cNvPr id="180" name="Rectangle 165"/>
            <p:cNvSpPr/>
            <p:nvPr/>
          </p:nvSpPr>
          <p:spPr>
            <a:xfrm>
              <a:off x="237616" y="1763571"/>
              <a:ext cx="169457" cy="113384"/>
            </a:xfrm>
            <a:prstGeom prst="rect">
              <a:avLst/>
            </a:prstGeom>
          </p:spPr>
          <p:txBody>
            <a:bodyPr wrap="none" lIns="0" tIns="0" rIns="0" bIns="0">
              <a:spAutoFit/>
            </a:bodyPr>
            <a:lstStyle/>
            <a:p>
              <a:pPr marL="0"/>
              <a:r>
                <a:rPr lang="en-US" sz="666" b="0" i="0" spc="0" baseline="0" dirty="0">
                  <a:solidFill>
                    <a:srgbClr val="000000"/>
                  </a:solidFill>
                  <a:latin typeface="Arial"/>
                </a:rPr>
                <a:t>-750</a:t>
              </a:r>
            </a:p>
          </p:txBody>
        </p:sp>
        <p:sp>
          <p:nvSpPr>
            <p:cNvPr id="181" name="Rectangle 166"/>
            <p:cNvSpPr/>
            <p:nvPr/>
          </p:nvSpPr>
          <p:spPr>
            <a:xfrm>
              <a:off x="237616" y="1592756"/>
              <a:ext cx="169457" cy="113384"/>
            </a:xfrm>
            <a:prstGeom prst="rect">
              <a:avLst/>
            </a:prstGeom>
          </p:spPr>
          <p:txBody>
            <a:bodyPr wrap="none" lIns="0" tIns="0" rIns="0" bIns="0">
              <a:spAutoFit/>
            </a:bodyPr>
            <a:lstStyle/>
            <a:p>
              <a:pPr marL="0"/>
              <a:r>
                <a:rPr lang="en-US" sz="666" b="0" i="0" spc="0" baseline="0" dirty="0">
                  <a:solidFill>
                    <a:srgbClr val="000000"/>
                  </a:solidFill>
                  <a:latin typeface="Arial"/>
                </a:rPr>
                <a:t>-500</a:t>
              </a:r>
            </a:p>
          </p:txBody>
        </p:sp>
        <p:sp>
          <p:nvSpPr>
            <p:cNvPr id="182" name="Rectangle 167"/>
            <p:cNvSpPr/>
            <p:nvPr/>
          </p:nvSpPr>
          <p:spPr>
            <a:xfrm>
              <a:off x="237616" y="1421941"/>
              <a:ext cx="169457" cy="113384"/>
            </a:xfrm>
            <a:prstGeom prst="rect">
              <a:avLst/>
            </a:prstGeom>
          </p:spPr>
          <p:txBody>
            <a:bodyPr wrap="none" lIns="0" tIns="0" rIns="0" bIns="0">
              <a:spAutoFit/>
            </a:bodyPr>
            <a:lstStyle/>
            <a:p>
              <a:pPr marL="0"/>
              <a:r>
                <a:rPr lang="en-US" sz="666" b="0" i="0" spc="0" baseline="0" dirty="0">
                  <a:solidFill>
                    <a:srgbClr val="000000"/>
                  </a:solidFill>
                  <a:latin typeface="Arial"/>
                </a:rPr>
                <a:t>-250</a:t>
              </a:r>
            </a:p>
          </p:txBody>
        </p:sp>
        <p:sp>
          <p:nvSpPr>
            <p:cNvPr id="183" name="Rectangle 168"/>
            <p:cNvSpPr/>
            <p:nvPr/>
          </p:nvSpPr>
          <p:spPr>
            <a:xfrm>
              <a:off x="336550" y="1251126"/>
              <a:ext cx="70610" cy="113384"/>
            </a:xfrm>
            <a:prstGeom prst="rect">
              <a:avLst/>
            </a:prstGeom>
          </p:spPr>
          <p:txBody>
            <a:bodyPr wrap="none" lIns="0" tIns="0" rIns="0" bIns="0">
              <a:spAutoFit/>
            </a:bodyPr>
            <a:lstStyle/>
            <a:p>
              <a:pPr marL="0"/>
              <a:r>
                <a:rPr lang="en-US" sz="666" b="0" i="0" spc="0" baseline="0" dirty="0">
                  <a:solidFill>
                    <a:srgbClr val="000000"/>
                  </a:solidFill>
                  <a:latin typeface="Arial"/>
                </a:rPr>
                <a:t> 0</a:t>
              </a:r>
            </a:p>
          </p:txBody>
        </p:sp>
        <p:sp>
          <p:nvSpPr>
            <p:cNvPr id="184" name="Rectangle 169"/>
            <p:cNvSpPr/>
            <p:nvPr/>
          </p:nvSpPr>
          <p:spPr>
            <a:xfrm>
              <a:off x="242315" y="1080375"/>
              <a:ext cx="164785" cy="113384"/>
            </a:xfrm>
            <a:prstGeom prst="rect">
              <a:avLst/>
            </a:prstGeom>
          </p:spPr>
          <p:txBody>
            <a:bodyPr wrap="none" lIns="0" tIns="0" rIns="0" bIns="0">
              <a:spAutoFit/>
            </a:bodyPr>
            <a:lstStyle/>
            <a:p>
              <a:pPr marL="0"/>
              <a:r>
                <a:rPr lang="en-US" sz="666" b="0" i="0" spc="0" baseline="0" dirty="0">
                  <a:solidFill>
                    <a:srgbClr val="000000"/>
                  </a:solidFill>
                  <a:latin typeface="Arial"/>
                </a:rPr>
                <a:t> 250</a:t>
              </a:r>
            </a:p>
          </p:txBody>
        </p:sp>
        <p:sp>
          <p:nvSpPr>
            <p:cNvPr id="185" name="Rectangle 170"/>
            <p:cNvSpPr/>
            <p:nvPr/>
          </p:nvSpPr>
          <p:spPr>
            <a:xfrm>
              <a:off x="242315" y="909560"/>
              <a:ext cx="164785" cy="113384"/>
            </a:xfrm>
            <a:prstGeom prst="rect">
              <a:avLst/>
            </a:prstGeom>
          </p:spPr>
          <p:txBody>
            <a:bodyPr wrap="none" lIns="0" tIns="0" rIns="0" bIns="0">
              <a:spAutoFit/>
            </a:bodyPr>
            <a:lstStyle/>
            <a:p>
              <a:pPr marL="0"/>
              <a:r>
                <a:rPr lang="en-US" sz="666" b="0" i="0" spc="0" baseline="0" dirty="0">
                  <a:solidFill>
                    <a:srgbClr val="000000"/>
                  </a:solidFill>
                  <a:latin typeface="Arial"/>
                </a:rPr>
                <a:t> 500</a:t>
              </a:r>
            </a:p>
          </p:txBody>
        </p:sp>
        <p:sp>
          <p:nvSpPr>
            <p:cNvPr id="186" name="Rectangle 171"/>
            <p:cNvSpPr/>
            <p:nvPr/>
          </p:nvSpPr>
          <p:spPr>
            <a:xfrm>
              <a:off x="242315" y="738745"/>
              <a:ext cx="164785" cy="113384"/>
            </a:xfrm>
            <a:prstGeom prst="rect">
              <a:avLst/>
            </a:prstGeom>
          </p:spPr>
          <p:txBody>
            <a:bodyPr wrap="none" lIns="0" tIns="0" rIns="0" bIns="0">
              <a:spAutoFit/>
            </a:bodyPr>
            <a:lstStyle/>
            <a:p>
              <a:pPr marL="0"/>
              <a:r>
                <a:rPr lang="en-US" sz="666" b="0" i="0" spc="0" baseline="0" dirty="0">
                  <a:solidFill>
                    <a:srgbClr val="000000"/>
                  </a:solidFill>
                  <a:latin typeface="Arial"/>
                </a:rPr>
                <a:t> 750</a:t>
              </a:r>
            </a:p>
          </p:txBody>
        </p:sp>
        <p:sp>
          <p:nvSpPr>
            <p:cNvPr id="187" name="Rectangle 172"/>
            <p:cNvSpPr/>
            <p:nvPr/>
          </p:nvSpPr>
          <p:spPr>
            <a:xfrm>
              <a:off x="195198" y="567930"/>
              <a:ext cx="211873" cy="113384"/>
            </a:xfrm>
            <a:prstGeom prst="rect">
              <a:avLst/>
            </a:prstGeom>
          </p:spPr>
          <p:txBody>
            <a:bodyPr wrap="none" lIns="0" tIns="0" rIns="0" bIns="0">
              <a:spAutoFit/>
            </a:bodyPr>
            <a:lstStyle/>
            <a:p>
              <a:pPr marL="0"/>
              <a:r>
                <a:rPr lang="en-US" sz="666" b="0" i="0" spc="0" baseline="0" dirty="0">
                  <a:solidFill>
                    <a:srgbClr val="000000"/>
                  </a:solidFill>
                  <a:latin typeface="Arial"/>
                </a:rPr>
                <a:t> 1000</a:t>
              </a:r>
            </a:p>
          </p:txBody>
        </p:sp>
        <p:sp>
          <p:nvSpPr>
            <p:cNvPr id="188" name="Rectangle 173"/>
            <p:cNvSpPr/>
            <p:nvPr/>
          </p:nvSpPr>
          <p:spPr>
            <a:xfrm>
              <a:off x="195198" y="397115"/>
              <a:ext cx="211873" cy="113384"/>
            </a:xfrm>
            <a:prstGeom prst="rect">
              <a:avLst/>
            </a:prstGeom>
          </p:spPr>
          <p:txBody>
            <a:bodyPr wrap="none" lIns="0" tIns="0" rIns="0" bIns="0">
              <a:spAutoFit/>
            </a:bodyPr>
            <a:lstStyle/>
            <a:p>
              <a:pPr marL="0"/>
              <a:r>
                <a:rPr lang="en-US" sz="666" b="0" i="0" spc="0" baseline="0" dirty="0">
                  <a:solidFill>
                    <a:srgbClr val="000000"/>
                  </a:solidFill>
                  <a:latin typeface="Arial"/>
                </a:rPr>
                <a:t> 1250</a:t>
              </a:r>
            </a:p>
          </p:txBody>
        </p:sp>
        <p:sp>
          <p:nvSpPr>
            <p:cNvPr id="189" name="Rectangle 174"/>
            <p:cNvSpPr/>
            <p:nvPr/>
          </p:nvSpPr>
          <p:spPr>
            <a:xfrm>
              <a:off x="195198" y="226300"/>
              <a:ext cx="211873" cy="113384"/>
            </a:xfrm>
            <a:prstGeom prst="rect">
              <a:avLst/>
            </a:prstGeom>
          </p:spPr>
          <p:txBody>
            <a:bodyPr wrap="none" lIns="0" tIns="0" rIns="0" bIns="0">
              <a:spAutoFit/>
            </a:bodyPr>
            <a:lstStyle/>
            <a:p>
              <a:pPr marL="0"/>
              <a:r>
                <a:rPr lang="en-US" sz="666" b="0" i="0" spc="0" baseline="0" dirty="0">
                  <a:solidFill>
                    <a:srgbClr val="000000"/>
                  </a:solidFill>
                  <a:latin typeface="Arial"/>
                </a:rPr>
                <a:t> 1500</a:t>
              </a:r>
            </a:p>
          </p:txBody>
        </p:sp>
        <p:sp>
          <p:nvSpPr>
            <p:cNvPr id="190" name="Rectangle 175"/>
            <p:cNvSpPr/>
            <p:nvPr/>
          </p:nvSpPr>
          <p:spPr>
            <a:xfrm>
              <a:off x="242315" y="2370568"/>
              <a:ext cx="423746" cy="207936"/>
            </a:xfrm>
            <a:prstGeom prst="rect">
              <a:avLst/>
            </a:prstGeom>
          </p:spPr>
          <p:txBody>
            <a:bodyPr wrap="none" lIns="0" tIns="0" rIns="0" bIns="0">
              <a:spAutoFit/>
            </a:bodyPr>
            <a:lstStyle/>
            <a:p>
              <a:pPr marL="0"/>
              <a:r>
                <a:rPr lang="en-US" sz="666" b="0" i="0" spc="0" baseline="0" dirty="0">
                  <a:solidFill>
                    <a:srgbClr val="000000"/>
                  </a:solidFill>
                  <a:latin typeface="Arial"/>
                </a:rPr>
                <a:t>18.03.2025</a:t>
              </a:r>
            </a:p>
            <a:p>
              <a:pPr marL="47117">
                <a:lnSpc>
                  <a:spcPts val="744"/>
                </a:lnSpc>
              </a:pPr>
              <a:r>
                <a:rPr lang="en-US" sz="666" b="0" i="0" spc="0" baseline="0" dirty="0">
                  <a:solidFill>
                    <a:srgbClr val="000000"/>
                  </a:solidFill>
                  <a:latin typeface="Arial"/>
                </a:rPr>
                <a:t>16:25:34</a:t>
              </a:r>
            </a:p>
          </p:txBody>
        </p:sp>
        <p:sp>
          <p:nvSpPr>
            <p:cNvPr id="191" name="Rectangle 176"/>
            <p:cNvSpPr/>
            <p:nvPr/>
          </p:nvSpPr>
          <p:spPr>
            <a:xfrm>
              <a:off x="833247" y="2370568"/>
              <a:ext cx="423746" cy="207936"/>
            </a:xfrm>
            <a:prstGeom prst="rect">
              <a:avLst/>
            </a:prstGeom>
          </p:spPr>
          <p:txBody>
            <a:bodyPr wrap="none" lIns="0" tIns="0" rIns="0" bIns="0">
              <a:spAutoFit/>
            </a:bodyPr>
            <a:lstStyle/>
            <a:p>
              <a:pPr marL="0"/>
              <a:r>
                <a:rPr lang="en-US" sz="666" b="0" i="0" spc="0" baseline="0" dirty="0">
                  <a:solidFill>
                    <a:srgbClr val="000000"/>
                  </a:solidFill>
                  <a:latin typeface="Arial"/>
                </a:rPr>
                <a:t>18.03.2025</a:t>
              </a:r>
            </a:p>
            <a:p>
              <a:pPr marL="47116">
                <a:lnSpc>
                  <a:spcPts val="744"/>
                </a:lnSpc>
              </a:pPr>
              <a:r>
                <a:rPr lang="en-US" sz="666" b="0" i="0" spc="0" baseline="0" dirty="0">
                  <a:solidFill>
                    <a:srgbClr val="000000"/>
                  </a:solidFill>
                  <a:latin typeface="Arial"/>
                </a:rPr>
                <a:t>16:25:36</a:t>
              </a:r>
            </a:p>
          </p:txBody>
        </p:sp>
        <p:sp>
          <p:nvSpPr>
            <p:cNvPr id="192" name="Rectangle 177"/>
            <p:cNvSpPr/>
            <p:nvPr/>
          </p:nvSpPr>
          <p:spPr>
            <a:xfrm>
              <a:off x="1424177" y="2370568"/>
              <a:ext cx="423746" cy="207936"/>
            </a:xfrm>
            <a:prstGeom prst="rect">
              <a:avLst/>
            </a:prstGeom>
          </p:spPr>
          <p:txBody>
            <a:bodyPr wrap="none" lIns="0" tIns="0" rIns="0" bIns="0">
              <a:spAutoFit/>
            </a:bodyPr>
            <a:lstStyle/>
            <a:p>
              <a:pPr marL="0"/>
              <a:r>
                <a:rPr lang="en-US" sz="666" b="0" i="0" spc="0" baseline="0" dirty="0">
                  <a:solidFill>
                    <a:srgbClr val="000000"/>
                  </a:solidFill>
                  <a:latin typeface="Arial"/>
                </a:rPr>
                <a:t>18.03.2025</a:t>
              </a:r>
            </a:p>
            <a:p>
              <a:pPr marL="47116">
                <a:lnSpc>
                  <a:spcPts val="744"/>
                </a:lnSpc>
              </a:pPr>
              <a:r>
                <a:rPr lang="en-US" sz="666" b="0" i="0" spc="0" baseline="0" dirty="0">
                  <a:solidFill>
                    <a:srgbClr val="000000"/>
                  </a:solidFill>
                  <a:latin typeface="Arial"/>
                </a:rPr>
                <a:t>16:25:38</a:t>
              </a:r>
            </a:p>
          </p:txBody>
        </p:sp>
        <p:sp>
          <p:nvSpPr>
            <p:cNvPr id="193" name="Rectangle 178"/>
            <p:cNvSpPr/>
            <p:nvPr/>
          </p:nvSpPr>
          <p:spPr>
            <a:xfrm>
              <a:off x="2015108" y="2370568"/>
              <a:ext cx="423746" cy="207936"/>
            </a:xfrm>
            <a:prstGeom prst="rect">
              <a:avLst/>
            </a:prstGeom>
          </p:spPr>
          <p:txBody>
            <a:bodyPr wrap="none" lIns="0" tIns="0" rIns="0" bIns="0">
              <a:spAutoFit/>
            </a:bodyPr>
            <a:lstStyle/>
            <a:p>
              <a:pPr marL="0"/>
              <a:r>
                <a:rPr lang="en-US" sz="666" b="0" i="0" spc="0" baseline="0" dirty="0">
                  <a:solidFill>
                    <a:srgbClr val="000000"/>
                  </a:solidFill>
                  <a:latin typeface="Arial"/>
                </a:rPr>
                <a:t>18.03.2025</a:t>
              </a:r>
            </a:p>
            <a:p>
              <a:pPr marL="47117">
                <a:lnSpc>
                  <a:spcPts val="744"/>
                </a:lnSpc>
              </a:pPr>
              <a:r>
                <a:rPr lang="en-US" sz="666" b="0" i="0" spc="0" baseline="0" dirty="0">
                  <a:solidFill>
                    <a:srgbClr val="000000"/>
                  </a:solidFill>
                  <a:latin typeface="Arial"/>
                </a:rPr>
                <a:t>16:25:40</a:t>
              </a:r>
            </a:p>
          </p:txBody>
        </p:sp>
        <p:sp>
          <p:nvSpPr>
            <p:cNvPr id="194" name="Rectangle 179"/>
            <p:cNvSpPr/>
            <p:nvPr/>
          </p:nvSpPr>
          <p:spPr>
            <a:xfrm>
              <a:off x="2606039" y="2370568"/>
              <a:ext cx="423746" cy="207936"/>
            </a:xfrm>
            <a:prstGeom prst="rect">
              <a:avLst/>
            </a:prstGeom>
          </p:spPr>
          <p:txBody>
            <a:bodyPr wrap="none" lIns="0" tIns="0" rIns="0" bIns="0">
              <a:spAutoFit/>
            </a:bodyPr>
            <a:lstStyle/>
            <a:p>
              <a:pPr marL="0"/>
              <a:r>
                <a:rPr lang="en-US" sz="666" b="0" i="0" spc="0" baseline="0" dirty="0">
                  <a:solidFill>
                    <a:srgbClr val="000000"/>
                  </a:solidFill>
                  <a:latin typeface="Arial"/>
                </a:rPr>
                <a:t>18.03.2025</a:t>
              </a:r>
            </a:p>
            <a:p>
              <a:pPr marL="47117">
                <a:lnSpc>
                  <a:spcPts val="744"/>
                </a:lnSpc>
              </a:pPr>
              <a:r>
                <a:rPr lang="en-US" sz="666" b="0" i="0" spc="0" baseline="0" dirty="0">
                  <a:solidFill>
                    <a:srgbClr val="000000"/>
                  </a:solidFill>
                  <a:latin typeface="Arial"/>
                </a:rPr>
                <a:t>16:25:42</a:t>
              </a:r>
            </a:p>
          </p:txBody>
        </p:sp>
        <p:sp>
          <p:nvSpPr>
            <p:cNvPr id="195" name="Rectangle 180"/>
            <p:cNvSpPr/>
            <p:nvPr/>
          </p:nvSpPr>
          <p:spPr>
            <a:xfrm>
              <a:off x="3196970" y="2370568"/>
              <a:ext cx="423746" cy="207936"/>
            </a:xfrm>
            <a:prstGeom prst="rect">
              <a:avLst/>
            </a:prstGeom>
          </p:spPr>
          <p:txBody>
            <a:bodyPr wrap="none" lIns="0" tIns="0" rIns="0" bIns="0">
              <a:spAutoFit/>
            </a:bodyPr>
            <a:lstStyle/>
            <a:p>
              <a:pPr marL="0"/>
              <a:r>
                <a:rPr lang="en-US" sz="666" b="0" i="0" spc="0" baseline="0" dirty="0">
                  <a:solidFill>
                    <a:srgbClr val="000000"/>
                  </a:solidFill>
                  <a:latin typeface="Arial"/>
                </a:rPr>
                <a:t>18.03.2025</a:t>
              </a:r>
            </a:p>
            <a:p>
              <a:pPr marL="47117">
                <a:lnSpc>
                  <a:spcPts val="744"/>
                </a:lnSpc>
              </a:pPr>
              <a:r>
                <a:rPr lang="en-US" sz="666" b="0" i="0" spc="0" baseline="0" dirty="0">
                  <a:solidFill>
                    <a:srgbClr val="000000"/>
                  </a:solidFill>
                  <a:latin typeface="Arial"/>
                </a:rPr>
                <a:t>16:25:44</a:t>
              </a:r>
            </a:p>
          </p:txBody>
        </p:sp>
        <p:sp>
          <p:nvSpPr>
            <p:cNvPr id="196" name="Rectangle 181"/>
            <p:cNvSpPr/>
            <p:nvPr/>
          </p:nvSpPr>
          <p:spPr>
            <a:xfrm>
              <a:off x="3787902" y="2370568"/>
              <a:ext cx="423746" cy="207936"/>
            </a:xfrm>
            <a:prstGeom prst="rect">
              <a:avLst/>
            </a:prstGeom>
          </p:spPr>
          <p:txBody>
            <a:bodyPr wrap="none" lIns="0" tIns="0" rIns="0" bIns="0">
              <a:spAutoFit/>
            </a:bodyPr>
            <a:lstStyle/>
            <a:p>
              <a:pPr marL="0"/>
              <a:r>
                <a:rPr lang="en-US" sz="666" b="0" i="0" spc="0" baseline="0" dirty="0">
                  <a:solidFill>
                    <a:srgbClr val="000000"/>
                  </a:solidFill>
                  <a:latin typeface="Arial"/>
                </a:rPr>
                <a:t>18.03.2025</a:t>
              </a:r>
            </a:p>
            <a:p>
              <a:pPr marL="47116">
                <a:lnSpc>
                  <a:spcPts val="744"/>
                </a:lnSpc>
              </a:pPr>
              <a:r>
                <a:rPr lang="en-US" sz="666" b="0" i="0" spc="0" baseline="0" dirty="0">
                  <a:solidFill>
                    <a:srgbClr val="000000"/>
                  </a:solidFill>
                  <a:latin typeface="Arial"/>
                </a:rPr>
                <a:t>16:25:46</a:t>
              </a:r>
            </a:p>
          </p:txBody>
        </p:sp>
        <p:sp>
          <p:nvSpPr>
            <p:cNvPr id="197" name="Rectangle 182"/>
            <p:cNvSpPr/>
            <p:nvPr/>
          </p:nvSpPr>
          <p:spPr>
            <a:xfrm>
              <a:off x="4046982" y="2276016"/>
              <a:ext cx="216544" cy="113384"/>
            </a:xfrm>
            <a:prstGeom prst="rect">
              <a:avLst/>
            </a:prstGeom>
          </p:spPr>
          <p:txBody>
            <a:bodyPr wrap="none" lIns="0" tIns="0" rIns="0" bIns="0">
              <a:spAutoFit/>
            </a:bodyPr>
            <a:lstStyle/>
            <a:p>
              <a:pPr marL="0"/>
              <a:r>
                <a:rPr lang="en-US" sz="666" b="0" i="0" spc="0" baseline="0" dirty="0">
                  <a:solidFill>
                    <a:srgbClr val="009E73"/>
                  </a:solidFill>
                  <a:latin typeface="Arial"/>
                </a:rPr>
                <a:t>-2400</a:t>
              </a:r>
            </a:p>
          </p:txBody>
        </p:sp>
        <p:sp>
          <p:nvSpPr>
            <p:cNvPr id="198" name="Rectangle 183"/>
            <p:cNvSpPr/>
            <p:nvPr/>
          </p:nvSpPr>
          <p:spPr>
            <a:xfrm>
              <a:off x="4046982" y="2105201"/>
              <a:ext cx="216544" cy="113384"/>
            </a:xfrm>
            <a:prstGeom prst="rect">
              <a:avLst/>
            </a:prstGeom>
          </p:spPr>
          <p:txBody>
            <a:bodyPr wrap="none" lIns="0" tIns="0" rIns="0" bIns="0">
              <a:spAutoFit/>
            </a:bodyPr>
            <a:lstStyle/>
            <a:p>
              <a:pPr marL="0"/>
              <a:r>
                <a:rPr lang="en-US" sz="666" b="0" i="0" spc="0" baseline="0" dirty="0">
                  <a:solidFill>
                    <a:srgbClr val="009E73"/>
                  </a:solidFill>
                  <a:latin typeface="Arial"/>
                </a:rPr>
                <a:t>-2000</a:t>
              </a:r>
            </a:p>
          </p:txBody>
        </p:sp>
        <p:sp>
          <p:nvSpPr>
            <p:cNvPr id="199" name="Rectangle 184"/>
            <p:cNvSpPr/>
            <p:nvPr/>
          </p:nvSpPr>
          <p:spPr>
            <a:xfrm>
              <a:off x="4046982" y="1934386"/>
              <a:ext cx="216544" cy="113384"/>
            </a:xfrm>
            <a:prstGeom prst="rect">
              <a:avLst/>
            </a:prstGeom>
          </p:spPr>
          <p:txBody>
            <a:bodyPr wrap="none" lIns="0" tIns="0" rIns="0" bIns="0">
              <a:spAutoFit/>
            </a:bodyPr>
            <a:lstStyle/>
            <a:p>
              <a:pPr marL="0"/>
              <a:r>
                <a:rPr lang="en-US" sz="666" b="0" i="0" spc="0" baseline="0" dirty="0">
                  <a:solidFill>
                    <a:srgbClr val="009E73"/>
                  </a:solidFill>
                  <a:latin typeface="Arial"/>
                </a:rPr>
                <a:t>-1600</a:t>
              </a:r>
            </a:p>
          </p:txBody>
        </p:sp>
        <p:sp>
          <p:nvSpPr>
            <p:cNvPr id="200" name="Rectangle 185"/>
            <p:cNvSpPr/>
            <p:nvPr/>
          </p:nvSpPr>
          <p:spPr>
            <a:xfrm>
              <a:off x="4046982" y="1763571"/>
              <a:ext cx="216544" cy="113384"/>
            </a:xfrm>
            <a:prstGeom prst="rect">
              <a:avLst/>
            </a:prstGeom>
          </p:spPr>
          <p:txBody>
            <a:bodyPr wrap="none" lIns="0" tIns="0" rIns="0" bIns="0">
              <a:spAutoFit/>
            </a:bodyPr>
            <a:lstStyle/>
            <a:p>
              <a:pPr marL="0"/>
              <a:r>
                <a:rPr lang="en-US" sz="666" b="0" i="0" spc="0" baseline="0" dirty="0">
                  <a:solidFill>
                    <a:srgbClr val="009E73"/>
                  </a:solidFill>
                  <a:latin typeface="Arial"/>
                </a:rPr>
                <a:t>-1200</a:t>
              </a:r>
            </a:p>
          </p:txBody>
        </p:sp>
        <p:sp>
          <p:nvSpPr>
            <p:cNvPr id="201" name="Rectangle 186"/>
            <p:cNvSpPr/>
            <p:nvPr/>
          </p:nvSpPr>
          <p:spPr>
            <a:xfrm>
              <a:off x="4046982" y="1592756"/>
              <a:ext cx="169457" cy="113384"/>
            </a:xfrm>
            <a:prstGeom prst="rect">
              <a:avLst/>
            </a:prstGeom>
          </p:spPr>
          <p:txBody>
            <a:bodyPr wrap="none" lIns="0" tIns="0" rIns="0" bIns="0">
              <a:spAutoFit/>
            </a:bodyPr>
            <a:lstStyle/>
            <a:p>
              <a:pPr marL="0"/>
              <a:r>
                <a:rPr lang="en-US" sz="666" b="0" i="0" spc="0" baseline="0" dirty="0">
                  <a:solidFill>
                    <a:srgbClr val="009E73"/>
                  </a:solidFill>
                  <a:latin typeface="Arial"/>
                </a:rPr>
                <a:t>-800</a:t>
              </a:r>
            </a:p>
          </p:txBody>
        </p:sp>
        <p:sp>
          <p:nvSpPr>
            <p:cNvPr id="202" name="Rectangle 187"/>
            <p:cNvSpPr/>
            <p:nvPr/>
          </p:nvSpPr>
          <p:spPr>
            <a:xfrm>
              <a:off x="4046982" y="1421941"/>
              <a:ext cx="169457" cy="113384"/>
            </a:xfrm>
            <a:prstGeom prst="rect">
              <a:avLst/>
            </a:prstGeom>
          </p:spPr>
          <p:txBody>
            <a:bodyPr wrap="none" lIns="0" tIns="0" rIns="0" bIns="0">
              <a:spAutoFit/>
            </a:bodyPr>
            <a:lstStyle/>
            <a:p>
              <a:pPr marL="0"/>
              <a:r>
                <a:rPr lang="en-US" sz="666" b="0" i="0" spc="0" baseline="0" dirty="0">
                  <a:solidFill>
                    <a:srgbClr val="009E73"/>
                  </a:solidFill>
                  <a:latin typeface="Arial"/>
                </a:rPr>
                <a:t>-400</a:t>
              </a:r>
            </a:p>
          </p:txBody>
        </p:sp>
        <p:sp>
          <p:nvSpPr>
            <p:cNvPr id="203" name="Rectangle 188"/>
            <p:cNvSpPr/>
            <p:nvPr/>
          </p:nvSpPr>
          <p:spPr>
            <a:xfrm>
              <a:off x="4046982" y="1251126"/>
              <a:ext cx="70610" cy="113384"/>
            </a:xfrm>
            <a:prstGeom prst="rect">
              <a:avLst/>
            </a:prstGeom>
          </p:spPr>
          <p:txBody>
            <a:bodyPr wrap="none" lIns="0" tIns="0" rIns="0" bIns="0">
              <a:spAutoFit/>
            </a:bodyPr>
            <a:lstStyle/>
            <a:p>
              <a:pPr marL="0"/>
              <a:r>
                <a:rPr lang="en-US" sz="666" b="0" i="0" spc="0" baseline="0" dirty="0">
                  <a:solidFill>
                    <a:srgbClr val="009E73"/>
                  </a:solidFill>
                  <a:latin typeface="Arial"/>
                </a:rPr>
                <a:t> 0</a:t>
              </a:r>
            </a:p>
          </p:txBody>
        </p:sp>
        <p:sp>
          <p:nvSpPr>
            <p:cNvPr id="204" name="Rectangle 189"/>
            <p:cNvSpPr/>
            <p:nvPr/>
          </p:nvSpPr>
          <p:spPr>
            <a:xfrm>
              <a:off x="4046982" y="1080375"/>
              <a:ext cx="164785" cy="113384"/>
            </a:xfrm>
            <a:prstGeom prst="rect">
              <a:avLst/>
            </a:prstGeom>
          </p:spPr>
          <p:txBody>
            <a:bodyPr wrap="none" lIns="0" tIns="0" rIns="0" bIns="0">
              <a:spAutoFit/>
            </a:bodyPr>
            <a:lstStyle/>
            <a:p>
              <a:pPr marL="0"/>
              <a:r>
                <a:rPr lang="en-US" sz="666" b="0" i="0" spc="0" baseline="0" dirty="0">
                  <a:solidFill>
                    <a:srgbClr val="009E73"/>
                  </a:solidFill>
                  <a:latin typeface="Arial"/>
                </a:rPr>
                <a:t> 400</a:t>
              </a:r>
            </a:p>
          </p:txBody>
        </p:sp>
        <p:sp>
          <p:nvSpPr>
            <p:cNvPr id="205" name="Rectangle 190"/>
            <p:cNvSpPr/>
            <p:nvPr/>
          </p:nvSpPr>
          <p:spPr>
            <a:xfrm>
              <a:off x="4046982" y="909560"/>
              <a:ext cx="164785" cy="113384"/>
            </a:xfrm>
            <a:prstGeom prst="rect">
              <a:avLst/>
            </a:prstGeom>
          </p:spPr>
          <p:txBody>
            <a:bodyPr wrap="none" lIns="0" tIns="0" rIns="0" bIns="0">
              <a:spAutoFit/>
            </a:bodyPr>
            <a:lstStyle/>
            <a:p>
              <a:pPr marL="0"/>
              <a:r>
                <a:rPr lang="en-US" sz="666" b="0" i="0" spc="0" baseline="0" dirty="0">
                  <a:solidFill>
                    <a:srgbClr val="009E73"/>
                  </a:solidFill>
                  <a:latin typeface="Arial"/>
                </a:rPr>
                <a:t> 800</a:t>
              </a:r>
            </a:p>
          </p:txBody>
        </p:sp>
        <p:sp>
          <p:nvSpPr>
            <p:cNvPr id="206" name="Rectangle 191"/>
            <p:cNvSpPr/>
            <p:nvPr/>
          </p:nvSpPr>
          <p:spPr>
            <a:xfrm>
              <a:off x="4046982" y="738745"/>
              <a:ext cx="211873" cy="113384"/>
            </a:xfrm>
            <a:prstGeom prst="rect">
              <a:avLst/>
            </a:prstGeom>
          </p:spPr>
          <p:txBody>
            <a:bodyPr wrap="none" lIns="0" tIns="0" rIns="0" bIns="0">
              <a:spAutoFit/>
            </a:bodyPr>
            <a:lstStyle/>
            <a:p>
              <a:pPr marL="0"/>
              <a:r>
                <a:rPr lang="en-US" sz="666" b="0" i="0" spc="0" baseline="0" dirty="0">
                  <a:solidFill>
                    <a:srgbClr val="009E73"/>
                  </a:solidFill>
                  <a:latin typeface="Arial"/>
                </a:rPr>
                <a:t> 1200</a:t>
              </a:r>
            </a:p>
          </p:txBody>
        </p:sp>
        <p:sp>
          <p:nvSpPr>
            <p:cNvPr id="207" name="Rectangle 192"/>
            <p:cNvSpPr/>
            <p:nvPr/>
          </p:nvSpPr>
          <p:spPr>
            <a:xfrm>
              <a:off x="4046982" y="567930"/>
              <a:ext cx="211873" cy="113384"/>
            </a:xfrm>
            <a:prstGeom prst="rect">
              <a:avLst/>
            </a:prstGeom>
          </p:spPr>
          <p:txBody>
            <a:bodyPr wrap="none" lIns="0" tIns="0" rIns="0" bIns="0">
              <a:spAutoFit/>
            </a:bodyPr>
            <a:lstStyle/>
            <a:p>
              <a:pPr marL="0"/>
              <a:r>
                <a:rPr lang="en-US" sz="666" b="0" i="0" spc="0" baseline="0" dirty="0">
                  <a:solidFill>
                    <a:srgbClr val="009E73"/>
                  </a:solidFill>
                  <a:latin typeface="Arial"/>
                </a:rPr>
                <a:t> 1600</a:t>
              </a:r>
            </a:p>
          </p:txBody>
        </p:sp>
        <p:sp>
          <p:nvSpPr>
            <p:cNvPr id="208" name="Rectangle 193"/>
            <p:cNvSpPr/>
            <p:nvPr/>
          </p:nvSpPr>
          <p:spPr>
            <a:xfrm>
              <a:off x="4046982" y="397115"/>
              <a:ext cx="211873" cy="113384"/>
            </a:xfrm>
            <a:prstGeom prst="rect">
              <a:avLst/>
            </a:prstGeom>
          </p:spPr>
          <p:txBody>
            <a:bodyPr wrap="none" lIns="0" tIns="0" rIns="0" bIns="0">
              <a:spAutoFit/>
            </a:bodyPr>
            <a:lstStyle/>
            <a:p>
              <a:pPr marL="0"/>
              <a:r>
                <a:rPr lang="en-US" sz="666" b="0" i="0" spc="0" baseline="0" dirty="0">
                  <a:solidFill>
                    <a:srgbClr val="009E73"/>
                  </a:solidFill>
                  <a:latin typeface="Arial"/>
                </a:rPr>
                <a:t> 2000</a:t>
              </a:r>
            </a:p>
          </p:txBody>
        </p:sp>
        <p:sp>
          <p:nvSpPr>
            <p:cNvPr id="209" name="Rectangle 194"/>
            <p:cNvSpPr/>
            <p:nvPr/>
          </p:nvSpPr>
          <p:spPr>
            <a:xfrm>
              <a:off x="4046982" y="226300"/>
              <a:ext cx="211873" cy="113384"/>
            </a:xfrm>
            <a:prstGeom prst="rect">
              <a:avLst/>
            </a:prstGeom>
          </p:spPr>
          <p:txBody>
            <a:bodyPr wrap="none" lIns="0" tIns="0" rIns="0" bIns="0">
              <a:spAutoFit/>
            </a:bodyPr>
            <a:lstStyle/>
            <a:p>
              <a:pPr marL="0"/>
              <a:r>
                <a:rPr lang="en-US" sz="666" b="0" i="0" spc="0" baseline="0" dirty="0">
                  <a:solidFill>
                    <a:srgbClr val="009E73"/>
                  </a:solidFill>
                  <a:latin typeface="Arial"/>
                </a:rPr>
                <a:t> 2400</a:t>
              </a:r>
            </a:p>
          </p:txBody>
        </p:sp>
        <p:sp>
          <p:nvSpPr>
            <p:cNvPr id="210" name="Rectangle 195"/>
            <p:cNvSpPr/>
            <p:nvPr/>
          </p:nvSpPr>
          <p:spPr>
            <a:xfrm>
              <a:off x="3378263" y="311390"/>
              <a:ext cx="254032" cy="302487"/>
            </a:xfrm>
            <a:prstGeom prst="rect">
              <a:avLst/>
            </a:prstGeom>
          </p:spPr>
          <p:txBody>
            <a:bodyPr wrap="none" lIns="0" tIns="0" rIns="0" bIns="0">
              <a:spAutoFit/>
            </a:bodyPr>
            <a:lstStyle/>
            <a:p>
              <a:pPr marL="0"/>
              <a:r>
                <a:rPr lang="en-US" sz="666" b="0" i="0" spc="0" baseline="0" dirty="0">
                  <a:solidFill>
                    <a:srgbClr val="000000"/>
                  </a:solidFill>
                  <a:latin typeface="Arial"/>
                </a:rPr>
                <a:t>QRAM</a:t>
              </a:r>
            </a:p>
            <a:p>
              <a:pPr marL="94043">
                <a:lnSpc>
                  <a:spcPts val="744"/>
                </a:lnSpc>
              </a:pPr>
              <a:r>
                <a:rPr lang="en-US" sz="666" b="0" i="0" spc="0" baseline="0" dirty="0">
                  <a:solidFill>
                    <a:srgbClr val="000000"/>
                  </a:solidFill>
                  <a:latin typeface="Arial"/>
                </a:rPr>
                <a:t>QInt</a:t>
              </a:r>
            </a:p>
            <a:p>
              <a:pPr marL="61086">
                <a:lnSpc>
                  <a:spcPts val="744"/>
                </a:lnSpc>
              </a:pPr>
              <a:r>
                <a:rPr lang="en-US" sz="666" b="0" i="0" spc="0" baseline="0" dirty="0">
                  <a:solidFill>
                    <a:srgbClr val="000000"/>
                  </a:solidFill>
                  <a:latin typeface="Arial"/>
                </a:rPr>
                <a:t>Wdia</a:t>
              </a:r>
            </a:p>
          </p:txBody>
        </p:sp>
        <p:sp>
          <p:nvSpPr>
            <p:cNvPr id="211" name="Rectangle 196"/>
            <p:cNvSpPr/>
            <p:nvPr/>
          </p:nvSpPr>
          <p:spPr>
            <a:xfrm rot="-5400000">
              <a:off x="-68656" y="1258249"/>
              <a:ext cx="301086" cy="113384"/>
            </a:xfrm>
            <a:prstGeom prst="rect">
              <a:avLst/>
            </a:prstGeom>
          </p:spPr>
          <p:txBody>
            <a:bodyPr wrap="none" lIns="0" tIns="0" rIns="0" bIns="0">
              <a:spAutoFit/>
            </a:bodyPr>
            <a:lstStyle/>
            <a:p>
              <a:pPr marL="0"/>
              <a:r>
                <a:rPr lang="en-US" sz="666" b="0" i="0" spc="0" baseline="0" dirty="0">
                  <a:solidFill>
                    <a:srgbClr val="000000"/>
                  </a:solidFill>
                  <a:latin typeface="Arial"/>
                </a:rPr>
                <a:t>U in mV</a:t>
              </a:r>
            </a:p>
          </p:txBody>
        </p:sp>
        <p:sp>
          <p:nvSpPr>
            <p:cNvPr id="212" name="Rectangle 197"/>
            <p:cNvSpPr/>
            <p:nvPr/>
          </p:nvSpPr>
          <p:spPr>
            <a:xfrm rot="-5400000">
              <a:off x="4242811" y="1258257"/>
              <a:ext cx="254082" cy="113384"/>
            </a:xfrm>
            <a:prstGeom prst="rect">
              <a:avLst/>
            </a:prstGeom>
          </p:spPr>
          <p:txBody>
            <a:bodyPr wrap="none" lIns="0" tIns="0" rIns="0" bIns="0">
              <a:spAutoFit/>
            </a:bodyPr>
            <a:lstStyle/>
            <a:p>
              <a:pPr marL="0"/>
              <a:r>
                <a:rPr lang="en-US" sz="666" b="0" i="0" spc="0" baseline="0" dirty="0">
                  <a:solidFill>
                    <a:srgbClr val="009E73"/>
                  </a:solidFill>
                  <a:latin typeface="Arial"/>
                </a:rPr>
                <a:t>E in kJ</a:t>
              </a:r>
            </a:p>
          </p:txBody>
        </p:sp>
        <p:sp>
          <p:nvSpPr>
            <p:cNvPr id="213" name="Rectangle 198"/>
            <p:cNvSpPr/>
            <p:nvPr/>
          </p:nvSpPr>
          <p:spPr>
            <a:xfrm>
              <a:off x="2062511" y="2606915"/>
              <a:ext cx="329240" cy="113384"/>
            </a:xfrm>
            <a:prstGeom prst="rect">
              <a:avLst/>
            </a:prstGeom>
          </p:spPr>
          <p:txBody>
            <a:bodyPr wrap="none" lIns="0" tIns="0" rIns="0" bIns="0">
              <a:spAutoFit/>
            </a:bodyPr>
            <a:lstStyle/>
            <a:p>
              <a:pPr marL="0"/>
              <a:r>
                <a:rPr lang="en-US" sz="666" b="0" i="0" spc="0" baseline="0" dirty="0">
                  <a:solidFill>
                    <a:srgbClr val="000000"/>
                  </a:solidFill>
                  <a:latin typeface="Arial"/>
                </a:rPr>
                <a:t>TTE-Zeit</a:t>
              </a:r>
            </a:p>
          </p:txBody>
        </p:sp>
        <p:sp>
          <p:nvSpPr>
            <p:cNvPr id="214" name="Rectangle 199"/>
            <p:cNvSpPr/>
            <p:nvPr/>
          </p:nvSpPr>
          <p:spPr>
            <a:xfrm>
              <a:off x="1665446" y="84504"/>
              <a:ext cx="1123203" cy="113384"/>
            </a:xfrm>
            <a:prstGeom prst="rect">
              <a:avLst/>
            </a:prstGeom>
          </p:spPr>
          <p:txBody>
            <a:bodyPr wrap="none" lIns="0" tIns="0" rIns="0" bIns="0">
              <a:spAutoFit/>
            </a:bodyPr>
            <a:lstStyle/>
            <a:p>
              <a:pPr marL="0"/>
              <a:r>
                <a:rPr lang="en-US" sz="666" b="0" i="0" spc="0" baseline="0" dirty="0">
                  <a:solidFill>
                    <a:srgbClr val="000000"/>
                  </a:solidFill>
                  <a:latin typeface="Arial"/>
                </a:rPr>
                <a:t>AAB16 DL1-DL2</a:t>
              </a:r>
              <a:r>
                <a:rPr lang="en-US" sz="666" b="0" i="0" spc="-12" baseline="0" dirty="0">
                  <a:solidFill>
                    <a:srgbClr val="000000"/>
                  </a:solidFill>
                  <a:latin typeface="Arial"/>
                </a:rPr>
                <a:t> </a:t>
              </a:r>
              <a:r>
                <a:rPr lang="en-US" sz="666" b="0" i="0" spc="0" baseline="0" dirty="0">
                  <a:solidFill>
                    <a:srgbClr val="000000"/>
                  </a:solidFill>
                  <a:latin typeface="Arial"/>
                </a:rPr>
                <a:t>T50ms Wdia</a:t>
              </a:r>
            </a:p>
          </p:txBody>
        </p:sp>
      </p:grpSp>
    </p:spTree>
    <p:extLst>
      <p:ext uri="{BB962C8B-B14F-4D97-AF65-F5344CB8AC3E}">
        <p14:creationId xmlns:p14="http://schemas.microsoft.com/office/powerpoint/2010/main" val="19152582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Umbau</a:t>
            </a:r>
            <a:r>
              <a:rPr lang="en-US" dirty="0" smtClean="0"/>
              <a:t> Backup-System </a:t>
            </a:r>
            <a:r>
              <a:rPr lang="en-US" dirty="0" err="1" smtClean="0"/>
              <a:t>für</a:t>
            </a:r>
            <a:r>
              <a:rPr lang="en-US" dirty="0" smtClean="0"/>
              <a:t> </a:t>
            </a:r>
            <a:r>
              <a:rPr lang="en-US" dirty="0" err="1" smtClean="0"/>
              <a:t>nicht</a:t>
            </a:r>
            <a:r>
              <a:rPr lang="en-US" dirty="0" smtClean="0"/>
              <a:t>-planare </a:t>
            </a:r>
            <a:r>
              <a:rPr lang="en-US" dirty="0" err="1" smtClean="0"/>
              <a:t>Spulen</a:t>
            </a:r>
            <a:endParaRPr lang="en-US" dirty="0"/>
          </a:p>
        </p:txBody>
      </p:sp>
      <p:sp>
        <p:nvSpPr>
          <p:cNvPr id="3" name="Datumsplatzhalter 2"/>
          <p:cNvSpPr>
            <a:spLocks noGrp="1"/>
          </p:cNvSpPr>
          <p:nvPr>
            <p:ph type="dt" sz="half" idx="14"/>
          </p:nvPr>
        </p:nvSpPr>
        <p:spPr/>
        <p:txBody>
          <a:bodyPr/>
          <a:lstStyle/>
          <a:p>
            <a:r>
              <a:rPr lang="en-US" dirty="0" smtClean="0"/>
              <a:t>E5-Dev Klausur 2025</a:t>
            </a:r>
            <a:endParaRPr lang="de-DE" dirty="0"/>
          </a:p>
        </p:txBody>
      </p:sp>
      <p:sp>
        <p:nvSpPr>
          <p:cNvPr id="4" name="Fußzeilenplatzhalter 3"/>
          <p:cNvSpPr>
            <a:spLocks noGrp="1"/>
          </p:cNvSpPr>
          <p:nvPr>
            <p:ph type="ftr" sz="quarter" idx="15"/>
          </p:nvPr>
        </p:nvSpPr>
        <p:spPr/>
        <p:txBody>
          <a:bodyPr/>
          <a:lstStyle/>
          <a:p>
            <a:r>
              <a:rPr lang="de-DE" dirty="0" smtClean="0"/>
              <a:t>Max-Planck-Institut für Plasmaphysik | Matthias Schneider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4</a:t>
            </a:fld>
            <a:endParaRPr lang="de-DE" dirty="0"/>
          </a:p>
        </p:txBody>
      </p:sp>
      <p:sp>
        <p:nvSpPr>
          <p:cNvPr id="6" name="Textfeld 5"/>
          <p:cNvSpPr txBox="1"/>
          <p:nvPr/>
        </p:nvSpPr>
        <p:spPr>
          <a:xfrm>
            <a:off x="1069382" y="1094720"/>
            <a:ext cx="10786618" cy="5091137"/>
          </a:xfrm>
          <a:prstGeom prst="rect">
            <a:avLst/>
          </a:prstGeom>
          <a:noFill/>
        </p:spPr>
        <p:txBody>
          <a:bodyPr wrap="square" lIns="0" tIns="0" rIns="0" bIns="0" rtlCol="0" anchor="t" anchorCtr="0">
            <a:spAutoFit/>
          </a:bodyPr>
          <a:lstStyle/>
          <a:p>
            <a:pPr marL="342900" indent="-342900" algn="l">
              <a:lnSpc>
                <a:spcPts val="2300"/>
              </a:lnSpc>
              <a:spcBef>
                <a:spcPts val="1150"/>
              </a:spcBef>
              <a:buFont typeface="Wingdings" panose="05000000000000000000" pitchFamily="2" charset="2"/>
              <a:buChar char="§"/>
            </a:pPr>
            <a:r>
              <a:rPr lang="de-DE" sz="1600" dirty="0" smtClean="0"/>
              <a:t>Hintergrund</a:t>
            </a:r>
          </a:p>
          <a:p>
            <a:pPr marL="800100" lvl="1" indent="-342900">
              <a:lnSpc>
                <a:spcPts val="1500"/>
              </a:lnSpc>
              <a:spcBef>
                <a:spcPts val="1150"/>
              </a:spcBef>
              <a:buFont typeface="Wingdings" panose="05000000000000000000" pitchFamily="2" charset="2"/>
              <a:buChar char="§"/>
            </a:pPr>
            <a:r>
              <a:rPr lang="de-DE" sz="1600" dirty="0">
                <a:sym typeface="Wingdings" panose="05000000000000000000" pitchFamily="2" charset="2"/>
              </a:rPr>
              <a:t>P</a:t>
            </a:r>
            <a:r>
              <a:rPr lang="de-DE" sz="1600" dirty="0" smtClean="0">
                <a:sym typeface="Wingdings" panose="05000000000000000000" pitchFamily="2" charset="2"/>
              </a:rPr>
              <a:t>roblematisch </a:t>
            </a:r>
            <a:r>
              <a:rPr lang="de-DE" sz="1600" dirty="0">
                <a:sym typeface="Wingdings" panose="05000000000000000000" pitchFamily="2" charset="2"/>
              </a:rPr>
              <a:t>bei </a:t>
            </a:r>
            <a:r>
              <a:rPr lang="de-DE" sz="1600" dirty="0" smtClean="0">
                <a:sym typeface="Wingdings" panose="05000000000000000000" pitchFamily="2" charset="2"/>
              </a:rPr>
              <a:t>Plasma-</a:t>
            </a:r>
            <a:r>
              <a:rPr lang="de-DE" sz="1600" dirty="0" err="1" smtClean="0">
                <a:sym typeface="Wingdings" panose="05000000000000000000" pitchFamily="2" charset="2"/>
              </a:rPr>
              <a:t>Shutdown</a:t>
            </a:r>
            <a:r>
              <a:rPr lang="de-DE" sz="1600" dirty="0" smtClean="0">
                <a:sym typeface="Wingdings" panose="05000000000000000000" pitchFamily="2" charset="2"/>
              </a:rPr>
              <a:t> </a:t>
            </a:r>
            <a:r>
              <a:rPr lang="de-DE" sz="1600" dirty="0">
                <a:sym typeface="Wingdings" panose="05000000000000000000" pitchFamily="2" charset="2"/>
              </a:rPr>
              <a:t>und </a:t>
            </a:r>
            <a:r>
              <a:rPr lang="de-DE" sz="1600" dirty="0" smtClean="0">
                <a:sym typeface="Wingdings" panose="05000000000000000000" pitchFamily="2" charset="2"/>
              </a:rPr>
              <a:t>-Abriss  unnötige Schnellentregungen</a:t>
            </a:r>
          </a:p>
          <a:p>
            <a:pPr marL="800100" lvl="1" indent="-342900">
              <a:lnSpc>
                <a:spcPts val="1500"/>
              </a:lnSpc>
              <a:spcBef>
                <a:spcPts val="1150"/>
              </a:spcBef>
              <a:buFont typeface="Wingdings" panose="05000000000000000000" pitchFamily="2" charset="2"/>
              <a:buChar char="§"/>
            </a:pPr>
            <a:r>
              <a:rPr lang="de-DE" sz="1600" dirty="0" smtClean="0">
                <a:sym typeface="Wingdings" panose="05000000000000000000" pitchFamily="2" charset="2"/>
              </a:rPr>
              <a:t>Ursache  asymmetrische Überwachung (DL1+DL2-vs-DL3+DL4+DL5+DL6)</a:t>
            </a:r>
            <a:endParaRPr lang="de-DE" sz="1600" dirty="0" smtClean="0"/>
          </a:p>
          <a:p>
            <a:pPr marL="800100" lvl="1" indent="-342900">
              <a:lnSpc>
                <a:spcPts val="1500"/>
              </a:lnSpc>
              <a:spcBef>
                <a:spcPts val="1150"/>
              </a:spcBef>
              <a:buFont typeface="Wingdings" panose="05000000000000000000" pitchFamily="2" charset="2"/>
              <a:buChar char="§"/>
            </a:pPr>
            <a:r>
              <a:rPr lang="de-DE" sz="1600" dirty="0" smtClean="0">
                <a:sym typeface="Wingdings" panose="05000000000000000000" pitchFamily="2" charset="2"/>
              </a:rPr>
              <a:t>Änderung in 1:1-Redundanz zum </a:t>
            </a:r>
            <a:r>
              <a:rPr lang="de-DE" sz="1600" dirty="0" smtClean="0">
                <a:sym typeface="Wingdings" panose="05000000000000000000" pitchFamily="2" charset="2"/>
              </a:rPr>
              <a:t>Originalsystem (DL1-vs-DL2, DL3-vs-DL4, DL5-vs-DL6)</a:t>
            </a:r>
            <a:endParaRPr lang="de-DE" sz="1600" dirty="0" smtClean="0">
              <a:sym typeface="Wingdings" panose="05000000000000000000" pitchFamily="2" charset="2"/>
            </a:endParaRPr>
          </a:p>
          <a:p>
            <a:pPr marL="800100" lvl="1" indent="-342900">
              <a:lnSpc>
                <a:spcPts val="1500"/>
              </a:lnSpc>
              <a:spcBef>
                <a:spcPts val="1150"/>
              </a:spcBef>
              <a:buFont typeface="Wingdings" panose="05000000000000000000" pitchFamily="2" charset="2"/>
              <a:buChar char="§"/>
            </a:pPr>
            <a:r>
              <a:rPr lang="de-DE" sz="1600" dirty="0" smtClean="0">
                <a:sym typeface="Wingdings" panose="05000000000000000000" pitchFamily="2" charset="2"/>
              </a:rPr>
              <a:t>Symmetrischer Quench  </a:t>
            </a:r>
            <a:r>
              <a:rPr lang="de-DE" sz="1600" dirty="0" err="1" smtClean="0">
                <a:sym typeface="Wingdings" panose="05000000000000000000" pitchFamily="2" charset="2"/>
              </a:rPr>
              <a:t>Worst</a:t>
            </a:r>
            <a:r>
              <a:rPr lang="de-DE" sz="1600" dirty="0" smtClean="0">
                <a:sym typeface="Wingdings" panose="05000000000000000000" pitchFamily="2" charset="2"/>
              </a:rPr>
              <a:t>-Case  </a:t>
            </a:r>
            <a:r>
              <a:rPr lang="de-DE" sz="1600" dirty="0" smtClean="0">
                <a:sym typeface="Wingdings" panose="05000000000000000000" pitchFamily="2" charset="2"/>
              </a:rPr>
              <a:t>Problematische</a:t>
            </a:r>
            <a:r>
              <a:rPr lang="de-DE" sz="1600" dirty="0" smtClean="0">
                <a:sym typeface="Wingdings" panose="05000000000000000000" pitchFamily="2" charset="2"/>
              </a:rPr>
              <a:t> Quench-Erkennung</a:t>
            </a:r>
            <a:endParaRPr lang="de-DE" sz="1600" dirty="0" smtClean="0">
              <a:sym typeface="Wingdings" panose="05000000000000000000" pitchFamily="2" charset="2"/>
            </a:endParaRPr>
          </a:p>
          <a:p>
            <a:pPr marL="342900" indent="-342900" algn="l">
              <a:lnSpc>
                <a:spcPts val="2300"/>
              </a:lnSpc>
              <a:spcBef>
                <a:spcPts val="1150"/>
              </a:spcBef>
              <a:buFont typeface="Wingdings" panose="05000000000000000000" pitchFamily="2" charset="2"/>
              <a:buChar char="§"/>
            </a:pPr>
            <a:r>
              <a:rPr lang="de-DE" sz="1600" dirty="0" smtClean="0"/>
              <a:t>Umbau</a:t>
            </a:r>
          </a:p>
          <a:p>
            <a:pPr marL="800100" lvl="1" indent="-342900">
              <a:lnSpc>
                <a:spcPts val="1500"/>
              </a:lnSpc>
              <a:spcBef>
                <a:spcPts val="1150"/>
              </a:spcBef>
              <a:buFont typeface="Wingdings" panose="05000000000000000000" pitchFamily="2" charset="2"/>
              <a:buChar char="§"/>
            </a:pPr>
            <a:r>
              <a:rPr lang="de-DE" sz="1600" dirty="0" smtClean="0"/>
              <a:t>Verlegung QDHSK in </a:t>
            </a:r>
            <a:r>
              <a:rPr lang="de-DE" sz="1600" dirty="0" err="1" smtClean="0"/>
              <a:t>Torushalle</a:t>
            </a:r>
            <a:r>
              <a:rPr lang="de-DE" sz="1600" dirty="0" smtClean="0"/>
              <a:t> </a:t>
            </a:r>
            <a:r>
              <a:rPr lang="de-DE" sz="1600" dirty="0" smtClean="0">
                <a:sym typeface="Wingdings" panose="05000000000000000000" pitchFamily="2" charset="2"/>
              </a:rPr>
              <a:t> abgeschlossen</a:t>
            </a:r>
          </a:p>
          <a:p>
            <a:pPr marL="800100" lvl="1" indent="-342900">
              <a:lnSpc>
                <a:spcPts val="1500"/>
              </a:lnSpc>
              <a:spcBef>
                <a:spcPts val="1150"/>
              </a:spcBef>
              <a:buFont typeface="Wingdings" panose="05000000000000000000" pitchFamily="2" charset="2"/>
              <a:buChar char="§"/>
            </a:pPr>
            <a:r>
              <a:rPr lang="de-DE" sz="1600" dirty="0" smtClean="0">
                <a:sym typeface="Wingdings" panose="05000000000000000000" pitchFamily="2" charset="2"/>
              </a:rPr>
              <a:t>Aufrüstung QD-Subsystem mit neuen QD-Einheiten  </a:t>
            </a:r>
            <a:r>
              <a:rPr lang="de-DE" sz="1600" dirty="0" smtClean="0">
                <a:sym typeface="Wingdings" panose="05000000000000000000" pitchFamily="2" charset="2"/>
              </a:rPr>
              <a:t>abgeschlossen</a:t>
            </a:r>
            <a:endParaRPr lang="de-DE" sz="1600" dirty="0" smtClean="0">
              <a:sym typeface="Wingdings" panose="05000000000000000000" pitchFamily="2" charset="2"/>
            </a:endParaRPr>
          </a:p>
          <a:p>
            <a:pPr marL="800100" lvl="1" indent="-342900">
              <a:lnSpc>
                <a:spcPts val="1500"/>
              </a:lnSpc>
              <a:spcBef>
                <a:spcPts val="1150"/>
              </a:spcBef>
              <a:buFont typeface="Wingdings" panose="05000000000000000000" pitchFamily="2" charset="2"/>
              <a:buChar char="§"/>
            </a:pPr>
            <a:r>
              <a:rPr lang="de-DE" sz="1600" dirty="0" smtClean="0">
                <a:sym typeface="Wingdings" panose="05000000000000000000" pitchFamily="2" charset="2"/>
              </a:rPr>
              <a:t>Fertigung </a:t>
            </a:r>
            <a:r>
              <a:rPr lang="de-DE" sz="1600" dirty="0">
                <a:sym typeface="Wingdings" panose="05000000000000000000" pitchFamily="2" charset="2"/>
              </a:rPr>
              <a:t>QD-Adapterboxen  Fertigstellung bis 25.07.2025</a:t>
            </a:r>
            <a:endParaRPr lang="de-DE" sz="1600" dirty="0" smtClean="0">
              <a:sym typeface="Wingdings" panose="05000000000000000000" pitchFamily="2" charset="2"/>
            </a:endParaRPr>
          </a:p>
          <a:p>
            <a:pPr marL="800100" lvl="1" indent="-342900">
              <a:lnSpc>
                <a:spcPts val="1500"/>
              </a:lnSpc>
              <a:spcBef>
                <a:spcPts val="1150"/>
              </a:spcBef>
              <a:buFont typeface="Wingdings" panose="05000000000000000000" pitchFamily="2" charset="2"/>
              <a:buChar char="§"/>
            </a:pPr>
            <a:r>
              <a:rPr lang="de-DE" sz="1600" dirty="0" smtClean="0">
                <a:sym typeface="Wingdings" panose="05000000000000000000" pitchFamily="2" charset="2"/>
              </a:rPr>
              <a:t>Austausch QD-Adapterboxen an den QD-Ports  KW34/35</a:t>
            </a:r>
          </a:p>
          <a:p>
            <a:pPr marL="800100" lvl="1" indent="-342900">
              <a:lnSpc>
                <a:spcPts val="1500"/>
              </a:lnSpc>
              <a:spcBef>
                <a:spcPts val="1150"/>
              </a:spcBef>
              <a:buFont typeface="Wingdings" panose="05000000000000000000" pitchFamily="2" charset="2"/>
              <a:buChar char="§"/>
            </a:pPr>
            <a:r>
              <a:rPr lang="de-DE" sz="1600" dirty="0" smtClean="0">
                <a:sym typeface="Wingdings" panose="05000000000000000000" pitchFamily="2" charset="2"/>
              </a:rPr>
              <a:t>Anschließen der QDHSK an die QD-Adapterboxen und QD-Einheiten  KW34/35</a:t>
            </a:r>
          </a:p>
          <a:p>
            <a:pPr marL="800100" lvl="1" indent="-342900">
              <a:lnSpc>
                <a:spcPts val="1500"/>
              </a:lnSpc>
              <a:spcBef>
                <a:spcPts val="1150"/>
              </a:spcBef>
              <a:buFont typeface="Wingdings" panose="05000000000000000000" pitchFamily="2" charset="2"/>
              <a:buChar char="§"/>
            </a:pPr>
            <a:r>
              <a:rPr lang="de-DE" sz="1600" dirty="0" smtClean="0">
                <a:sym typeface="Wingdings" panose="05000000000000000000" pitchFamily="2" charset="2"/>
              </a:rPr>
              <a:t>Kabelbruchkontrolle  sofort anschließen an Anschluss QDHSK</a:t>
            </a:r>
          </a:p>
          <a:p>
            <a:pPr marL="800100" lvl="1" indent="-342900">
              <a:lnSpc>
                <a:spcPts val="1500"/>
              </a:lnSpc>
              <a:spcBef>
                <a:spcPts val="1150"/>
              </a:spcBef>
              <a:buFont typeface="Wingdings" panose="05000000000000000000" pitchFamily="2" charset="2"/>
              <a:buChar char="§"/>
            </a:pPr>
            <a:r>
              <a:rPr lang="de-DE" sz="1600" dirty="0" smtClean="0">
                <a:sym typeface="Wingdings" panose="05000000000000000000" pitchFamily="2" charset="2"/>
              </a:rPr>
              <a:t>Konfiguration der neuen QD-Einheiten  September/Oktober 2025</a:t>
            </a:r>
          </a:p>
          <a:p>
            <a:pPr marL="800100" lvl="1" indent="-342900">
              <a:lnSpc>
                <a:spcPts val="1500"/>
              </a:lnSpc>
              <a:spcBef>
                <a:spcPts val="1150"/>
              </a:spcBef>
              <a:buFont typeface="Wingdings" panose="05000000000000000000" pitchFamily="2" charset="2"/>
              <a:buChar char="§"/>
            </a:pPr>
            <a:r>
              <a:rPr lang="de-DE" sz="1600" dirty="0" smtClean="0">
                <a:sym typeface="Wingdings" panose="05000000000000000000" pitchFamily="2" charset="2"/>
              </a:rPr>
              <a:t>Balanceprüfung bzw. </a:t>
            </a:r>
            <a:r>
              <a:rPr lang="de-DE" sz="1600" dirty="0" err="1" smtClean="0">
                <a:sym typeface="Wingdings" panose="05000000000000000000" pitchFamily="2" charset="2"/>
              </a:rPr>
              <a:t>Neubalancierung</a:t>
            </a:r>
            <a:r>
              <a:rPr lang="de-DE" sz="1600" dirty="0" smtClean="0">
                <a:sym typeface="Wingdings" panose="05000000000000000000" pitchFamily="2" charset="2"/>
              </a:rPr>
              <a:t> aller QD-Einheiten  Kommissionierung OP2.4 / 2 Tage</a:t>
            </a:r>
            <a:endParaRPr lang="de-DE" sz="1600" dirty="0" smtClean="0"/>
          </a:p>
        </p:txBody>
      </p:sp>
    </p:spTree>
    <p:extLst>
      <p:ext uri="{BB962C8B-B14F-4D97-AF65-F5344CB8AC3E}">
        <p14:creationId xmlns:p14="http://schemas.microsoft.com/office/powerpoint/2010/main" val="29884812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essungen OP2.2 &amp; OP2.3 – Nur Original-System</a:t>
            </a:r>
            <a:endParaRPr lang="en-US" dirty="0"/>
          </a:p>
        </p:txBody>
      </p:sp>
      <p:sp>
        <p:nvSpPr>
          <p:cNvPr id="3" name="Datumsplatzhalter 2"/>
          <p:cNvSpPr>
            <a:spLocks noGrp="1"/>
          </p:cNvSpPr>
          <p:nvPr>
            <p:ph type="dt" sz="half" idx="14"/>
          </p:nvPr>
        </p:nvSpPr>
        <p:spPr/>
        <p:txBody>
          <a:bodyPr/>
          <a:lstStyle/>
          <a:p>
            <a:r>
              <a:rPr lang="en-US" dirty="0" smtClean="0"/>
              <a:t>E5-Dev Klausur 2025</a:t>
            </a:r>
            <a:endParaRPr lang="de-DE" dirty="0"/>
          </a:p>
        </p:txBody>
      </p:sp>
      <p:sp>
        <p:nvSpPr>
          <p:cNvPr id="4" name="Fußzeilenplatzhalter 3"/>
          <p:cNvSpPr>
            <a:spLocks noGrp="1"/>
          </p:cNvSpPr>
          <p:nvPr>
            <p:ph type="ftr" sz="quarter" idx="15"/>
          </p:nvPr>
        </p:nvSpPr>
        <p:spPr/>
        <p:txBody>
          <a:bodyPr/>
          <a:lstStyle/>
          <a:p>
            <a:r>
              <a:rPr lang="de-DE" dirty="0" smtClean="0"/>
              <a:t>Max-Planck-Institut für Plasmaphysik | Matthias Schneider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5</a:t>
            </a:fld>
            <a:endParaRPr lang="de-DE" dirty="0"/>
          </a:p>
        </p:txBody>
      </p:sp>
      <p:sp>
        <p:nvSpPr>
          <p:cNvPr id="6" name="Textfeld 5"/>
          <p:cNvSpPr txBox="1"/>
          <p:nvPr/>
        </p:nvSpPr>
        <p:spPr>
          <a:xfrm>
            <a:off x="1056000" y="922910"/>
            <a:ext cx="7824258" cy="5386090"/>
          </a:xfrm>
          <a:prstGeom prst="rect">
            <a:avLst/>
          </a:prstGeom>
          <a:noFill/>
        </p:spPr>
        <p:txBody>
          <a:bodyPr wrap="none" lIns="0" tIns="0" rIns="0" bIns="0" rtlCol="0" anchor="t" anchorCtr="0">
            <a:spAutoFit/>
          </a:bodyPr>
          <a:lstStyle/>
          <a:p>
            <a:pPr marL="285750" indent="-285750" algn="l">
              <a:lnSpc>
                <a:spcPts val="1500"/>
              </a:lnSpc>
              <a:spcBef>
                <a:spcPts val="1150"/>
              </a:spcBef>
              <a:buFont typeface="Wingdings" panose="05000000000000000000" pitchFamily="2" charset="2"/>
              <a:buChar char="§"/>
            </a:pPr>
            <a:r>
              <a:rPr lang="de-DE" sz="1600" dirty="0" err="1" smtClean="0"/>
              <a:t>Plasmashutdowns</a:t>
            </a:r>
            <a:endParaRPr lang="de-DE" sz="1600" dirty="0" smtClean="0"/>
          </a:p>
          <a:p>
            <a:pPr marL="742950" lvl="1" indent="-285750">
              <a:lnSpc>
                <a:spcPts val="1500"/>
              </a:lnSpc>
              <a:spcBef>
                <a:spcPts val="1150"/>
              </a:spcBef>
              <a:buFont typeface="Wingdings" panose="05000000000000000000" pitchFamily="2" charset="2"/>
              <a:buChar char="§"/>
            </a:pPr>
            <a:r>
              <a:rPr lang="de-DE" sz="1600" dirty="0" smtClean="0"/>
              <a:t>OP2.2 = 35 (34 x 2.5T / 1 x 1.8T)</a:t>
            </a:r>
          </a:p>
          <a:p>
            <a:pPr marL="742950" lvl="1" indent="-285750">
              <a:lnSpc>
                <a:spcPts val="1500"/>
              </a:lnSpc>
              <a:spcBef>
                <a:spcPts val="1150"/>
              </a:spcBef>
              <a:buFont typeface="Wingdings" panose="05000000000000000000" pitchFamily="2" charset="2"/>
              <a:buChar char="§"/>
            </a:pPr>
            <a:r>
              <a:rPr lang="de-DE" sz="1600" dirty="0" smtClean="0"/>
              <a:t>OP2.3 = 50 (42 x 2.5T / 8 x 1.8T)</a:t>
            </a:r>
          </a:p>
          <a:p>
            <a:pPr marL="742950" lvl="1" indent="-285750">
              <a:lnSpc>
                <a:spcPts val="1500"/>
              </a:lnSpc>
              <a:spcBef>
                <a:spcPts val="1150"/>
              </a:spcBef>
              <a:buFont typeface="Wingdings" panose="05000000000000000000" pitchFamily="2" charset="2"/>
              <a:buChar char="§"/>
            </a:pPr>
            <a:r>
              <a:rPr lang="de-DE" sz="1600" dirty="0" err="1" smtClean="0"/>
              <a:t>Wdia</a:t>
            </a:r>
            <a:r>
              <a:rPr lang="de-DE" sz="1600" dirty="0" smtClean="0"/>
              <a:t>-Abfälle -1kJ/</a:t>
            </a:r>
            <a:r>
              <a:rPr lang="de-DE" sz="1600" dirty="0" err="1" smtClean="0"/>
              <a:t>ms</a:t>
            </a:r>
            <a:r>
              <a:rPr lang="de-DE" sz="1600" dirty="0" smtClean="0"/>
              <a:t> bis -18kJ/</a:t>
            </a:r>
            <a:r>
              <a:rPr lang="de-DE" sz="1600" dirty="0" err="1" smtClean="0"/>
              <a:t>ms</a:t>
            </a:r>
            <a:endParaRPr lang="de-DE" sz="1600" dirty="0" smtClean="0"/>
          </a:p>
          <a:p>
            <a:pPr marL="742950" lvl="1" indent="-285750">
              <a:lnSpc>
                <a:spcPts val="1500"/>
              </a:lnSpc>
              <a:spcBef>
                <a:spcPts val="1150"/>
              </a:spcBef>
              <a:buFont typeface="Wingdings" panose="05000000000000000000" pitchFamily="2" charset="2"/>
              <a:buChar char="§"/>
            </a:pPr>
            <a:r>
              <a:rPr lang="de-DE" sz="1600" dirty="0" smtClean="0"/>
              <a:t>Maximale integrierte Differenzspannungen NPS = 15mV bis 113mV</a:t>
            </a:r>
          </a:p>
          <a:p>
            <a:pPr marL="285750" indent="-285750">
              <a:lnSpc>
                <a:spcPts val="1500"/>
              </a:lnSpc>
              <a:spcBef>
                <a:spcPts val="1150"/>
              </a:spcBef>
              <a:buFont typeface="Wingdings" panose="05000000000000000000" pitchFamily="2" charset="2"/>
              <a:buChar char="§"/>
            </a:pPr>
            <a:r>
              <a:rPr lang="de-DE" sz="1600" dirty="0" smtClean="0"/>
              <a:t>XP20250408.21 - Aufzeichnung</a:t>
            </a:r>
          </a:p>
          <a:p>
            <a:pPr marL="742950" lvl="1" indent="-285750">
              <a:lnSpc>
                <a:spcPts val="1500"/>
              </a:lnSpc>
              <a:spcBef>
                <a:spcPts val="1150"/>
              </a:spcBef>
              <a:buFont typeface="Wingdings" panose="05000000000000000000" pitchFamily="2" charset="2"/>
              <a:buChar char="§"/>
            </a:pPr>
            <a:r>
              <a:rPr lang="de-DE" sz="1600" dirty="0" smtClean="0"/>
              <a:t>Maximaler mittlerer </a:t>
            </a:r>
            <a:r>
              <a:rPr lang="de-DE" sz="1600" dirty="0" err="1" smtClean="0"/>
              <a:t>Wdia</a:t>
            </a:r>
            <a:r>
              <a:rPr lang="de-DE" sz="1600" dirty="0" smtClean="0"/>
              <a:t>-Abfall -217kJ/</a:t>
            </a:r>
            <a:r>
              <a:rPr lang="de-DE" sz="1600" dirty="0" err="1" smtClean="0"/>
              <a:t>ms</a:t>
            </a:r>
            <a:endParaRPr lang="de-DE" sz="1600" dirty="0" smtClean="0"/>
          </a:p>
          <a:p>
            <a:pPr marL="742950" lvl="1" indent="-285750">
              <a:lnSpc>
                <a:spcPts val="1500"/>
              </a:lnSpc>
              <a:spcBef>
                <a:spcPts val="1150"/>
              </a:spcBef>
              <a:buFont typeface="Wingdings" panose="05000000000000000000" pitchFamily="2" charset="2"/>
              <a:buChar char="§"/>
            </a:pPr>
            <a:r>
              <a:rPr lang="de-DE" sz="1600" dirty="0" smtClean="0"/>
              <a:t>Linear approximierter </a:t>
            </a:r>
            <a:r>
              <a:rPr lang="de-DE" sz="1600" dirty="0" err="1" smtClean="0"/>
              <a:t>Wdia</a:t>
            </a:r>
            <a:r>
              <a:rPr lang="de-DE" sz="1600" dirty="0" smtClean="0"/>
              <a:t>-Abfall </a:t>
            </a:r>
            <a:r>
              <a:rPr lang="de-DE" sz="1600" dirty="0" smtClean="0">
                <a:sym typeface="Wingdings" panose="05000000000000000000" pitchFamily="2" charset="2"/>
              </a:rPr>
              <a:t> </a:t>
            </a:r>
            <a:r>
              <a:rPr lang="de-DE" sz="1600" dirty="0" smtClean="0"/>
              <a:t>956kJ auf 5kJ in 14.14ms </a:t>
            </a:r>
            <a:r>
              <a:rPr lang="de-DE" sz="1600" dirty="0" smtClean="0">
                <a:sym typeface="Wingdings" panose="05000000000000000000" pitchFamily="2" charset="2"/>
              </a:rPr>
              <a:t> </a:t>
            </a:r>
            <a:r>
              <a:rPr lang="de-DE" sz="1600" dirty="0"/>
              <a:t>-67kJ/</a:t>
            </a:r>
            <a:r>
              <a:rPr lang="de-DE" sz="1600" dirty="0" err="1"/>
              <a:t>ms</a:t>
            </a:r>
            <a:endParaRPr lang="de-DE" sz="1600" dirty="0" smtClean="0"/>
          </a:p>
          <a:p>
            <a:pPr marL="742950" lvl="1" indent="-285750">
              <a:lnSpc>
                <a:spcPts val="1500"/>
              </a:lnSpc>
              <a:spcBef>
                <a:spcPts val="1150"/>
              </a:spcBef>
              <a:buFont typeface="Wingdings" panose="05000000000000000000" pitchFamily="2" charset="2"/>
              <a:buChar char="§"/>
            </a:pPr>
            <a:r>
              <a:rPr lang="de-DE" sz="1600" dirty="0" smtClean="0"/>
              <a:t>Maximal integrierte Differenzspannung NPS = 133mV (AAB31 DL1|DL2)</a:t>
            </a:r>
          </a:p>
          <a:p>
            <a:pPr marL="742950" lvl="1" indent="-285750">
              <a:lnSpc>
                <a:spcPts val="1500"/>
              </a:lnSpc>
              <a:spcBef>
                <a:spcPts val="1150"/>
              </a:spcBef>
              <a:buFont typeface="Wingdings" panose="05000000000000000000" pitchFamily="2" charset="2"/>
              <a:buChar char="§"/>
            </a:pPr>
            <a:r>
              <a:rPr lang="de-DE" sz="1600" dirty="0" smtClean="0"/>
              <a:t>Keine Abschaltung</a:t>
            </a:r>
          </a:p>
          <a:p>
            <a:pPr marL="285750" indent="-285750" algn="l">
              <a:lnSpc>
                <a:spcPts val="1500"/>
              </a:lnSpc>
              <a:spcBef>
                <a:spcPts val="1150"/>
              </a:spcBef>
              <a:buFont typeface="Wingdings" panose="05000000000000000000" pitchFamily="2" charset="2"/>
              <a:buChar char="§"/>
            </a:pPr>
            <a:r>
              <a:rPr lang="de-DE" sz="1600" dirty="0" smtClean="0"/>
              <a:t>XP20250515.63 – Plasmaabriss</a:t>
            </a:r>
            <a:endParaRPr lang="de-DE" sz="1600" dirty="0" smtClean="0">
              <a:sym typeface="Wingdings" panose="05000000000000000000" pitchFamily="2" charset="2"/>
            </a:endParaRPr>
          </a:p>
          <a:p>
            <a:pPr marL="742950" lvl="1" indent="-285750">
              <a:lnSpc>
                <a:spcPts val="1500"/>
              </a:lnSpc>
              <a:spcBef>
                <a:spcPts val="1150"/>
              </a:spcBef>
              <a:buFont typeface="Wingdings" panose="05000000000000000000" pitchFamily="2" charset="2"/>
              <a:buChar char="§"/>
            </a:pPr>
            <a:r>
              <a:rPr lang="de-DE" sz="1600" dirty="0" smtClean="0">
                <a:sym typeface="Wingdings" panose="05000000000000000000" pitchFamily="2" charset="2"/>
              </a:rPr>
              <a:t>Maximaler mittlerer </a:t>
            </a:r>
            <a:r>
              <a:rPr lang="de-DE" sz="1600" dirty="0" err="1" smtClean="0">
                <a:sym typeface="Wingdings" panose="05000000000000000000" pitchFamily="2" charset="2"/>
              </a:rPr>
              <a:t>Wdia</a:t>
            </a:r>
            <a:r>
              <a:rPr lang="de-DE" sz="1600" dirty="0" smtClean="0">
                <a:sym typeface="Wingdings" panose="05000000000000000000" pitchFamily="2" charset="2"/>
              </a:rPr>
              <a:t>-Abfall -123kJ/</a:t>
            </a:r>
            <a:r>
              <a:rPr lang="de-DE" sz="1600" dirty="0" err="1" smtClean="0">
                <a:sym typeface="Wingdings" panose="05000000000000000000" pitchFamily="2" charset="2"/>
              </a:rPr>
              <a:t>ms</a:t>
            </a:r>
            <a:endParaRPr lang="de-DE" sz="1600" dirty="0" smtClean="0">
              <a:sym typeface="Wingdings" panose="05000000000000000000" pitchFamily="2" charset="2"/>
            </a:endParaRPr>
          </a:p>
          <a:p>
            <a:pPr marL="742950" lvl="1" indent="-285750">
              <a:lnSpc>
                <a:spcPts val="1500"/>
              </a:lnSpc>
              <a:spcBef>
                <a:spcPts val="1150"/>
              </a:spcBef>
              <a:buFont typeface="Wingdings" panose="05000000000000000000" pitchFamily="2" charset="2"/>
              <a:buChar char="§"/>
            </a:pPr>
            <a:r>
              <a:rPr lang="de-DE" sz="1600" dirty="0" smtClean="0">
                <a:sym typeface="Wingdings" panose="05000000000000000000" pitchFamily="2" charset="2"/>
              </a:rPr>
              <a:t>Linear approximierter </a:t>
            </a:r>
            <a:r>
              <a:rPr lang="de-DE" sz="1600" dirty="0" err="1" smtClean="0">
                <a:sym typeface="Wingdings" panose="05000000000000000000" pitchFamily="2" charset="2"/>
              </a:rPr>
              <a:t>Wdia</a:t>
            </a:r>
            <a:r>
              <a:rPr lang="de-DE" sz="1600" dirty="0" smtClean="0">
                <a:sym typeface="Wingdings" panose="05000000000000000000" pitchFamily="2" charset="2"/>
              </a:rPr>
              <a:t>-Abfall  1525kJ auf 395kJ in 21ms  -51kJ/</a:t>
            </a:r>
            <a:r>
              <a:rPr lang="de-DE" sz="1600" dirty="0" err="1" smtClean="0">
                <a:sym typeface="Wingdings" panose="05000000000000000000" pitchFamily="2" charset="2"/>
              </a:rPr>
              <a:t>ms</a:t>
            </a:r>
            <a:endParaRPr lang="de-DE" sz="1600" dirty="0" smtClean="0">
              <a:sym typeface="Wingdings" panose="05000000000000000000" pitchFamily="2" charset="2"/>
            </a:endParaRPr>
          </a:p>
          <a:p>
            <a:pPr marL="742950" lvl="1" indent="-285750">
              <a:lnSpc>
                <a:spcPts val="1500"/>
              </a:lnSpc>
              <a:spcBef>
                <a:spcPts val="1150"/>
              </a:spcBef>
              <a:buFont typeface="Wingdings" panose="05000000000000000000" pitchFamily="2" charset="2"/>
              <a:buChar char="§"/>
            </a:pPr>
            <a:r>
              <a:rPr lang="de-DE" sz="1600" dirty="0" smtClean="0">
                <a:sym typeface="Wingdings" panose="05000000000000000000" pitchFamily="2" charset="2"/>
              </a:rPr>
              <a:t>Maximale integrierte Differenzspannung NPS = </a:t>
            </a:r>
            <a:r>
              <a:rPr lang="de-DE" sz="1600" dirty="0">
                <a:sym typeface="Wingdings" panose="05000000000000000000" pitchFamily="2" charset="2"/>
              </a:rPr>
              <a:t>198mV</a:t>
            </a:r>
            <a:r>
              <a:rPr lang="de-DE" sz="1600" dirty="0" smtClean="0">
                <a:sym typeface="Wingdings" panose="05000000000000000000" pitchFamily="2" charset="2"/>
              </a:rPr>
              <a:t> (</a:t>
            </a:r>
            <a:r>
              <a:rPr lang="de-DE" sz="1600" dirty="0">
                <a:sym typeface="Wingdings" panose="05000000000000000000" pitchFamily="2" charset="2"/>
              </a:rPr>
              <a:t>AAB10 </a:t>
            </a:r>
            <a:r>
              <a:rPr lang="de-DE" sz="1600" dirty="0" smtClean="0">
                <a:sym typeface="Wingdings" panose="05000000000000000000" pitchFamily="2" charset="2"/>
              </a:rPr>
              <a:t>DL1|DL2)</a:t>
            </a:r>
          </a:p>
          <a:p>
            <a:pPr marL="742950" lvl="1" indent="-285750">
              <a:lnSpc>
                <a:spcPts val="1500"/>
              </a:lnSpc>
              <a:spcBef>
                <a:spcPts val="1150"/>
              </a:spcBef>
              <a:buFont typeface="Wingdings" panose="05000000000000000000" pitchFamily="2" charset="2"/>
              <a:buChar char="§"/>
            </a:pPr>
            <a:r>
              <a:rPr lang="de-DE" sz="1600" dirty="0" smtClean="0">
                <a:sym typeface="Wingdings" panose="05000000000000000000" pitchFamily="2" charset="2"/>
              </a:rPr>
              <a:t>Schnellentregung</a:t>
            </a:r>
          </a:p>
          <a:p>
            <a:pPr marL="285750" indent="-285750">
              <a:lnSpc>
                <a:spcPts val="1500"/>
              </a:lnSpc>
              <a:spcBef>
                <a:spcPts val="1150"/>
              </a:spcBef>
              <a:buFont typeface="Wingdings" panose="05000000000000000000" pitchFamily="2" charset="2"/>
              <a:buChar char="§"/>
            </a:pPr>
            <a:r>
              <a:rPr lang="de-DE" sz="1600" dirty="0" smtClean="0">
                <a:sym typeface="Wingdings" panose="05000000000000000000" pitchFamily="2" charset="2"/>
              </a:rPr>
              <a:t>Differenzspannungen in PLS unkritisch</a:t>
            </a:r>
          </a:p>
        </p:txBody>
      </p:sp>
    </p:spTree>
    <p:extLst>
      <p:ext uri="{BB962C8B-B14F-4D97-AF65-F5344CB8AC3E}">
        <p14:creationId xmlns:p14="http://schemas.microsoft.com/office/powerpoint/2010/main" val="41850597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QD-Parameter</a:t>
            </a:r>
            <a:r>
              <a:rPr lang="en-US" dirty="0" smtClean="0"/>
              <a:t> </a:t>
            </a:r>
            <a:r>
              <a:rPr lang="de-DE" dirty="0" smtClean="0"/>
              <a:t>ab</a:t>
            </a:r>
            <a:r>
              <a:rPr lang="en-US" dirty="0" smtClean="0"/>
              <a:t> OP2.4 - </a:t>
            </a:r>
            <a:r>
              <a:rPr lang="de-DE" dirty="0" smtClean="0"/>
              <a:t>Vorschlag anhand 2.5T</a:t>
            </a:r>
            <a:endParaRPr lang="de-DE" dirty="0"/>
          </a:p>
        </p:txBody>
      </p:sp>
      <p:sp>
        <p:nvSpPr>
          <p:cNvPr id="3" name="Datumsplatzhalter 2"/>
          <p:cNvSpPr>
            <a:spLocks noGrp="1"/>
          </p:cNvSpPr>
          <p:nvPr>
            <p:ph type="dt" sz="half" idx="14"/>
          </p:nvPr>
        </p:nvSpPr>
        <p:spPr/>
        <p:txBody>
          <a:bodyPr/>
          <a:lstStyle/>
          <a:p>
            <a:r>
              <a:rPr lang="en-US" dirty="0" smtClean="0"/>
              <a:t>E5-Dev Klausur 2025</a:t>
            </a:r>
            <a:endParaRPr lang="de-DE" dirty="0"/>
          </a:p>
        </p:txBody>
      </p:sp>
      <p:sp>
        <p:nvSpPr>
          <p:cNvPr id="4" name="Fußzeilenplatzhalter 3"/>
          <p:cNvSpPr>
            <a:spLocks noGrp="1"/>
          </p:cNvSpPr>
          <p:nvPr>
            <p:ph type="ftr" sz="quarter" idx="15"/>
          </p:nvPr>
        </p:nvSpPr>
        <p:spPr/>
        <p:txBody>
          <a:bodyPr/>
          <a:lstStyle/>
          <a:p>
            <a:r>
              <a:rPr lang="de-DE" dirty="0" smtClean="0"/>
              <a:t>Max-Planck-Institut für Plasmaphysik | Matthias Schneider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6</a:t>
            </a:fld>
            <a:endParaRPr lang="de-DE" dirty="0"/>
          </a:p>
        </p:txBody>
      </p:sp>
      <p:sp>
        <p:nvSpPr>
          <p:cNvPr id="7" name="Textfeld 6"/>
          <p:cNvSpPr txBox="1"/>
          <p:nvPr/>
        </p:nvSpPr>
        <p:spPr>
          <a:xfrm>
            <a:off x="1053884" y="1017003"/>
            <a:ext cx="10089397" cy="2987997"/>
          </a:xfrm>
          <a:prstGeom prst="rect">
            <a:avLst/>
          </a:prstGeom>
          <a:noFill/>
        </p:spPr>
        <p:txBody>
          <a:bodyPr wrap="square" lIns="0" tIns="0" rIns="0" bIns="0" rtlCol="0" anchor="t" anchorCtr="0">
            <a:spAutoFit/>
          </a:bodyPr>
          <a:lstStyle/>
          <a:p>
            <a:pPr algn="l">
              <a:lnSpc>
                <a:spcPts val="2300"/>
              </a:lnSpc>
              <a:spcBef>
                <a:spcPts val="1150"/>
              </a:spcBef>
            </a:pPr>
            <a:r>
              <a:rPr lang="de-DE" sz="1600" b="1" u="sng" dirty="0" smtClean="0"/>
              <a:t>Nicht-Planare Spulen</a:t>
            </a:r>
          </a:p>
          <a:p>
            <a:pPr marL="285750" indent="-285750" algn="l">
              <a:lnSpc>
                <a:spcPts val="2300"/>
              </a:lnSpc>
              <a:spcBef>
                <a:spcPts val="1150"/>
              </a:spcBef>
              <a:buFont typeface="Wingdings" panose="05000000000000000000" pitchFamily="2" charset="2"/>
              <a:buChar char="§"/>
            </a:pPr>
            <a:r>
              <a:rPr lang="de-DE" sz="1600" dirty="0" smtClean="0"/>
              <a:t>Grundlage: QD-Einheit besitz 2 unabhängige Detektionseinheiten</a:t>
            </a:r>
          </a:p>
          <a:p>
            <a:pPr marL="285750" indent="-285750" algn="l">
              <a:lnSpc>
                <a:spcPts val="2300"/>
              </a:lnSpc>
              <a:spcBef>
                <a:spcPts val="1150"/>
              </a:spcBef>
              <a:buFont typeface="Wingdings" panose="05000000000000000000" pitchFamily="2" charset="2"/>
              <a:buChar char="§"/>
            </a:pPr>
            <a:r>
              <a:rPr lang="de-DE" sz="1600" dirty="0" smtClean="0"/>
              <a:t>Zweistufige Auslösung </a:t>
            </a:r>
            <a:r>
              <a:rPr lang="de-DE" sz="1600" dirty="0" smtClean="0">
                <a:sym typeface="Wingdings" panose="05000000000000000000" pitchFamily="2" charset="2"/>
              </a:rPr>
              <a:t> Abschaltung AAE</a:t>
            </a:r>
            <a:endParaRPr lang="de-DE" sz="1600" dirty="0" smtClean="0"/>
          </a:p>
          <a:p>
            <a:pPr marL="285750" indent="-285750" algn="l">
              <a:lnSpc>
                <a:spcPts val="2300"/>
              </a:lnSpc>
              <a:spcBef>
                <a:spcPts val="1150"/>
              </a:spcBef>
              <a:buFont typeface="Wingdings" panose="05000000000000000000" pitchFamily="2" charset="2"/>
              <a:buChar char="§"/>
            </a:pPr>
            <a:r>
              <a:rPr lang="de-DE" sz="1600" dirty="0" smtClean="0"/>
              <a:t>Q1 </a:t>
            </a:r>
            <a:r>
              <a:rPr lang="de-DE" sz="1600" dirty="0" smtClean="0">
                <a:sym typeface="Wingdings" panose="05000000000000000000" pitchFamily="2" charset="2"/>
              </a:rPr>
              <a:t> Wechselrichterentregung</a:t>
            </a:r>
          </a:p>
          <a:p>
            <a:pPr marL="285750" indent="-285750" algn="l">
              <a:lnSpc>
                <a:spcPts val="2300"/>
              </a:lnSpc>
              <a:spcBef>
                <a:spcPts val="1150"/>
              </a:spcBef>
              <a:buFont typeface="Wingdings" panose="05000000000000000000" pitchFamily="2" charset="2"/>
              <a:buChar char="§"/>
            </a:pPr>
            <a:r>
              <a:rPr lang="de-DE" sz="1600" dirty="0" smtClean="0">
                <a:sym typeface="Wingdings" panose="05000000000000000000" pitchFamily="2" charset="2"/>
              </a:rPr>
              <a:t>Q1 &amp; Q2  Schnellentregung</a:t>
            </a:r>
          </a:p>
          <a:p>
            <a:pPr marL="285750" indent="-285750" algn="l">
              <a:lnSpc>
                <a:spcPts val="2300"/>
              </a:lnSpc>
              <a:spcBef>
                <a:spcPts val="1150"/>
              </a:spcBef>
              <a:buFont typeface="Wingdings" panose="05000000000000000000" pitchFamily="2" charset="2"/>
              <a:buChar char="§"/>
            </a:pPr>
            <a:r>
              <a:rPr lang="de-DE" sz="1600" dirty="0" smtClean="0">
                <a:sym typeface="Wingdings" panose="05000000000000000000" pitchFamily="2" charset="2"/>
              </a:rPr>
              <a:t>Q1 ermöglicht sensitive Reaktion auf Quench-Ereignis</a:t>
            </a:r>
          </a:p>
          <a:p>
            <a:pPr marL="285750" indent="-285750" algn="l">
              <a:lnSpc>
                <a:spcPts val="2300"/>
              </a:lnSpc>
              <a:spcBef>
                <a:spcPts val="1150"/>
              </a:spcBef>
              <a:buFont typeface="Wingdings" panose="05000000000000000000" pitchFamily="2" charset="2"/>
              <a:buChar char="§"/>
            </a:pPr>
            <a:r>
              <a:rPr lang="de-DE" sz="1600" dirty="0" smtClean="0">
                <a:sym typeface="Wingdings" panose="05000000000000000000" pitchFamily="2" charset="2"/>
              </a:rPr>
              <a:t>Q2 minimiert Anzahl von Schnellentregungen bei </a:t>
            </a:r>
            <a:r>
              <a:rPr lang="de-DE" sz="1600" dirty="0" err="1" smtClean="0">
                <a:sym typeface="Wingdings" panose="05000000000000000000" pitchFamily="2" charset="2"/>
              </a:rPr>
              <a:t>Plasmashutdown</a:t>
            </a:r>
            <a:r>
              <a:rPr lang="de-DE" sz="1600" dirty="0" smtClean="0">
                <a:sym typeface="Wingdings" panose="05000000000000000000" pitchFamily="2" charset="2"/>
              </a:rPr>
              <a:t> bzw. Plasmaabriss</a:t>
            </a:r>
            <a:endParaRPr lang="de-DE" sz="1600" dirty="0" smtClean="0"/>
          </a:p>
        </p:txBody>
      </p:sp>
      <p:grpSp>
        <p:nvGrpSpPr>
          <p:cNvPr id="40" name="Gruppieren 39"/>
          <p:cNvGrpSpPr/>
          <p:nvPr/>
        </p:nvGrpSpPr>
        <p:grpSpPr>
          <a:xfrm>
            <a:off x="6816000" y="1445779"/>
            <a:ext cx="5135968" cy="2631221"/>
            <a:chOff x="6007313" y="706982"/>
            <a:chExt cx="5135968" cy="2631221"/>
          </a:xfrm>
        </p:grpSpPr>
        <p:sp>
          <p:nvSpPr>
            <p:cNvPr id="14" name="Bogen 13"/>
            <p:cNvSpPr/>
            <p:nvPr/>
          </p:nvSpPr>
          <p:spPr>
            <a:xfrm rot="9667981">
              <a:off x="6007313" y="1145129"/>
              <a:ext cx="4713885" cy="867905"/>
            </a:xfrm>
            <a:prstGeom prst="arc">
              <a:avLst>
                <a:gd name="adj1" fmla="val 11072104"/>
                <a:gd name="adj2" fmla="val 20994902"/>
              </a:avLst>
            </a:prstGeom>
            <a:noFill/>
            <a:ln w="19050" cmpd="sng">
              <a:solidFill>
                <a:srgbClr val="0066F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nvGrpSpPr>
            <p:cNvPr id="38" name="Gruppieren 37"/>
            <p:cNvGrpSpPr/>
            <p:nvPr/>
          </p:nvGrpSpPr>
          <p:grpSpPr>
            <a:xfrm>
              <a:off x="6401034" y="706982"/>
              <a:ext cx="4742247" cy="2631221"/>
              <a:chOff x="2055838" y="3447945"/>
              <a:chExt cx="4742247" cy="2631221"/>
            </a:xfrm>
          </p:grpSpPr>
          <p:cxnSp>
            <p:nvCxnSpPr>
              <p:cNvPr id="11" name="Gerade Verbindung mit Pfeil 10"/>
              <p:cNvCxnSpPr/>
              <p:nvPr/>
            </p:nvCxnSpPr>
            <p:spPr>
              <a:xfrm flipV="1">
                <a:off x="2500313" y="3595607"/>
                <a:ext cx="2663" cy="1795543"/>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p:nvPr/>
            </p:nvCxnSpPr>
            <p:spPr>
              <a:xfrm flipV="1">
                <a:off x="2386739" y="5253619"/>
                <a:ext cx="4056924" cy="31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a:off x="2386739" y="4525508"/>
                <a:ext cx="2541722" cy="15498"/>
              </a:xfrm>
              <a:prstGeom prst="line">
                <a:avLst/>
              </a:prstGeom>
              <a:ln w="19050" cmpd="sng">
                <a:solidFill>
                  <a:srgbClr val="FFC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feld 16"/>
              <p:cNvSpPr txBox="1"/>
              <p:nvPr/>
            </p:nvSpPr>
            <p:spPr>
              <a:xfrm>
                <a:off x="2061274" y="4378277"/>
                <a:ext cx="2741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FFC000"/>
                    </a:solidFill>
                  </a:rPr>
                  <a:t>Q1</a:t>
                </a:r>
              </a:p>
            </p:txBody>
          </p:sp>
          <p:cxnSp>
            <p:nvCxnSpPr>
              <p:cNvPr id="19" name="Gerade Verbindung mit Pfeil 18"/>
              <p:cNvCxnSpPr/>
              <p:nvPr/>
            </p:nvCxnSpPr>
            <p:spPr>
              <a:xfrm>
                <a:off x="4664990" y="4541006"/>
                <a:ext cx="0" cy="895911"/>
              </a:xfrm>
              <a:prstGeom prst="straightConnector1">
                <a:avLst/>
              </a:prstGeom>
              <a:ln w="19050" cmpd="sng">
                <a:solidFill>
                  <a:srgbClr val="FFC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1" name="Textfeld 20"/>
              <p:cNvSpPr txBox="1"/>
              <p:nvPr/>
            </p:nvSpPr>
            <p:spPr>
              <a:xfrm>
                <a:off x="3528298" y="5452415"/>
                <a:ext cx="2275751"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FFC000"/>
                    </a:solidFill>
                  </a:rPr>
                  <a:t>Wechselrichterentregung</a:t>
                </a:r>
              </a:p>
            </p:txBody>
          </p:sp>
          <p:cxnSp>
            <p:nvCxnSpPr>
              <p:cNvPr id="22" name="Gerader Verbinder 21"/>
              <p:cNvCxnSpPr/>
              <p:nvPr/>
            </p:nvCxnSpPr>
            <p:spPr>
              <a:xfrm>
                <a:off x="2386739" y="3897961"/>
                <a:ext cx="3711843" cy="15498"/>
              </a:xfrm>
              <a:prstGeom prst="line">
                <a:avLst/>
              </a:prstGeom>
              <a:ln w="19050" cmpd="sng">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a:endCxn id="30" idx="0"/>
              </p:cNvCxnSpPr>
              <p:nvPr/>
            </p:nvCxnSpPr>
            <p:spPr>
              <a:xfrm flipH="1">
                <a:off x="6001393" y="3897960"/>
                <a:ext cx="3596" cy="1913312"/>
              </a:xfrm>
              <a:prstGeom prst="straightConnector1">
                <a:avLst/>
              </a:prstGeom>
              <a:ln w="190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0" name="Textfeld 29"/>
              <p:cNvSpPr txBox="1"/>
              <p:nvPr/>
            </p:nvSpPr>
            <p:spPr>
              <a:xfrm>
                <a:off x="5204700" y="5811272"/>
                <a:ext cx="1593385" cy="267894"/>
              </a:xfrm>
              <a:prstGeom prst="rect">
                <a:avLst/>
              </a:prstGeom>
              <a:noFill/>
              <a:ln>
                <a:noFill/>
              </a:ln>
            </p:spPr>
            <p:txBody>
              <a:bodyPr wrap="none" lIns="0" tIns="0" rIns="0" bIns="0" rtlCol="0" anchor="t" anchorCtr="0">
                <a:spAutoFit/>
              </a:bodyPr>
              <a:lstStyle/>
              <a:p>
                <a:pPr algn="l">
                  <a:lnSpc>
                    <a:spcPts val="2300"/>
                  </a:lnSpc>
                  <a:spcBef>
                    <a:spcPts val="1150"/>
                  </a:spcBef>
                </a:pPr>
                <a:r>
                  <a:rPr lang="de-DE" sz="1600" dirty="0" smtClean="0">
                    <a:solidFill>
                      <a:srgbClr val="FF0000"/>
                    </a:solidFill>
                  </a:rPr>
                  <a:t>Schnellentregung</a:t>
                </a:r>
              </a:p>
            </p:txBody>
          </p:sp>
          <p:sp>
            <p:nvSpPr>
              <p:cNvPr id="35" name="Textfeld 34"/>
              <p:cNvSpPr txBox="1"/>
              <p:nvPr/>
            </p:nvSpPr>
            <p:spPr>
              <a:xfrm>
                <a:off x="2055838" y="3739654"/>
                <a:ext cx="274114" cy="267894"/>
              </a:xfrm>
              <a:prstGeom prst="rect">
                <a:avLst/>
              </a:prstGeom>
              <a:noFill/>
              <a:ln>
                <a:noFill/>
              </a:ln>
            </p:spPr>
            <p:txBody>
              <a:bodyPr wrap="none" lIns="0" tIns="0" rIns="0" bIns="0" rtlCol="0" anchor="t" anchorCtr="0">
                <a:spAutoFit/>
              </a:bodyPr>
              <a:lstStyle/>
              <a:p>
                <a:pPr algn="l">
                  <a:lnSpc>
                    <a:spcPts val="2300"/>
                  </a:lnSpc>
                  <a:spcBef>
                    <a:spcPts val="1150"/>
                  </a:spcBef>
                </a:pPr>
                <a:r>
                  <a:rPr lang="de-DE" sz="1600" dirty="0" smtClean="0">
                    <a:solidFill>
                      <a:srgbClr val="FF0000"/>
                    </a:solidFill>
                  </a:rPr>
                  <a:t>Q2</a:t>
                </a:r>
              </a:p>
            </p:txBody>
          </p:sp>
          <p:sp>
            <p:nvSpPr>
              <p:cNvPr id="36" name="Textfeld 35"/>
              <p:cNvSpPr txBox="1"/>
              <p:nvPr/>
            </p:nvSpPr>
            <p:spPr>
              <a:xfrm>
                <a:off x="6418184" y="5216947"/>
                <a:ext cx="57708"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solidFill>
                      <a:schemeClr val="accent1"/>
                    </a:solidFill>
                  </a:rPr>
                  <a:t>t</a:t>
                </a:r>
                <a:endParaRPr lang="de-DE" sz="1600" dirty="0" smtClean="0">
                  <a:solidFill>
                    <a:schemeClr val="accent1"/>
                  </a:solidFill>
                </a:endParaRPr>
              </a:p>
            </p:txBody>
          </p:sp>
          <p:sp>
            <p:nvSpPr>
              <p:cNvPr id="37" name="Textfeld 36"/>
              <p:cNvSpPr txBox="1"/>
              <p:nvPr/>
            </p:nvSpPr>
            <p:spPr>
              <a:xfrm>
                <a:off x="2299809" y="3447945"/>
                <a:ext cx="147476"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chemeClr val="accent1"/>
                    </a:solidFill>
                  </a:rPr>
                  <a:t>U</a:t>
                </a:r>
              </a:p>
            </p:txBody>
          </p:sp>
        </p:grpSp>
      </p:grpSp>
      <p:graphicFrame>
        <p:nvGraphicFramePr>
          <p:cNvPr id="42" name="Tabelle 41"/>
          <p:cNvGraphicFramePr>
            <a:graphicFrameLocks noGrp="1"/>
          </p:cNvGraphicFramePr>
          <p:nvPr>
            <p:extLst>
              <p:ext uri="{D42A27DB-BD31-4B8C-83A1-F6EECF244321}">
                <p14:modId xmlns:p14="http://schemas.microsoft.com/office/powerpoint/2010/main" val="2575828084"/>
              </p:ext>
            </p:extLst>
          </p:nvPr>
        </p:nvGraphicFramePr>
        <p:xfrm>
          <a:off x="1056001" y="4188480"/>
          <a:ext cx="7200000" cy="1112520"/>
        </p:xfrm>
        <a:graphic>
          <a:graphicData uri="http://schemas.openxmlformats.org/drawingml/2006/table">
            <a:tbl>
              <a:tblPr firstRow="1" bandRow="1">
                <a:tableStyleId>{5C22544A-7EE6-4342-B048-85BDC9FD1C3A}</a:tableStyleId>
              </a:tblPr>
              <a:tblGrid>
                <a:gridCol w="2400000">
                  <a:extLst>
                    <a:ext uri="{9D8B030D-6E8A-4147-A177-3AD203B41FA5}">
                      <a16:colId xmlns:a16="http://schemas.microsoft.com/office/drawing/2014/main" val="3471586434"/>
                    </a:ext>
                  </a:extLst>
                </a:gridCol>
                <a:gridCol w="2400000">
                  <a:extLst>
                    <a:ext uri="{9D8B030D-6E8A-4147-A177-3AD203B41FA5}">
                      <a16:colId xmlns:a16="http://schemas.microsoft.com/office/drawing/2014/main" val="313970791"/>
                    </a:ext>
                  </a:extLst>
                </a:gridCol>
                <a:gridCol w="2400000">
                  <a:extLst>
                    <a:ext uri="{9D8B030D-6E8A-4147-A177-3AD203B41FA5}">
                      <a16:colId xmlns:a16="http://schemas.microsoft.com/office/drawing/2014/main" val="3023360519"/>
                    </a:ext>
                  </a:extLst>
                </a:gridCol>
              </a:tblGrid>
              <a:tr h="370840">
                <a:tc>
                  <a:txBody>
                    <a:bodyPr/>
                    <a:lstStyle/>
                    <a:p>
                      <a:pPr algn="ctr"/>
                      <a:r>
                        <a:rPr lang="de-DE" dirty="0" smtClean="0"/>
                        <a:t>Quench-Signal</a:t>
                      </a:r>
                      <a:endParaRPr lang="de-DE" dirty="0"/>
                    </a:p>
                  </a:txBody>
                  <a:tcPr/>
                </a:tc>
                <a:tc>
                  <a:txBody>
                    <a:bodyPr/>
                    <a:lstStyle/>
                    <a:p>
                      <a:pPr algn="ctr"/>
                      <a:r>
                        <a:rPr lang="de-DE" dirty="0" smtClean="0"/>
                        <a:t>Integrationszeit</a:t>
                      </a:r>
                      <a:endParaRPr lang="de-DE" dirty="0"/>
                    </a:p>
                  </a:txBody>
                  <a:tcPr/>
                </a:tc>
                <a:tc>
                  <a:txBody>
                    <a:bodyPr/>
                    <a:lstStyle/>
                    <a:p>
                      <a:pPr algn="ctr"/>
                      <a:r>
                        <a:rPr lang="de-DE" dirty="0" smtClean="0"/>
                        <a:t>Detektionsschwelle</a:t>
                      </a:r>
                      <a:endParaRPr lang="de-DE" dirty="0"/>
                    </a:p>
                  </a:txBody>
                  <a:tcPr/>
                </a:tc>
                <a:extLst>
                  <a:ext uri="{0D108BD9-81ED-4DB2-BD59-A6C34878D82A}">
                    <a16:rowId xmlns:a16="http://schemas.microsoft.com/office/drawing/2014/main" val="2779718452"/>
                  </a:ext>
                </a:extLst>
              </a:tr>
              <a:tr h="370840">
                <a:tc>
                  <a:txBody>
                    <a:bodyPr/>
                    <a:lstStyle/>
                    <a:p>
                      <a:pPr algn="ctr"/>
                      <a:r>
                        <a:rPr lang="de-DE" dirty="0" smtClean="0"/>
                        <a:t>Q1</a:t>
                      </a:r>
                      <a:endParaRPr lang="de-DE" dirty="0"/>
                    </a:p>
                  </a:txBody>
                  <a:tcPr/>
                </a:tc>
                <a:tc>
                  <a:txBody>
                    <a:bodyPr/>
                    <a:lstStyle/>
                    <a:p>
                      <a:pPr algn="ctr"/>
                      <a:r>
                        <a:rPr lang="de-DE" dirty="0" smtClean="0"/>
                        <a:t>50ms</a:t>
                      </a:r>
                      <a:endParaRPr lang="de-DE" dirty="0"/>
                    </a:p>
                  </a:txBody>
                  <a:tcPr/>
                </a:tc>
                <a:tc>
                  <a:txBody>
                    <a:bodyPr/>
                    <a:lstStyle/>
                    <a:p>
                      <a:pPr algn="ctr"/>
                      <a:r>
                        <a:rPr lang="de-DE" dirty="0" smtClean="0"/>
                        <a:t>200mV</a:t>
                      </a:r>
                      <a:endParaRPr lang="de-DE" dirty="0"/>
                    </a:p>
                  </a:txBody>
                  <a:tcPr/>
                </a:tc>
                <a:extLst>
                  <a:ext uri="{0D108BD9-81ED-4DB2-BD59-A6C34878D82A}">
                    <a16:rowId xmlns:a16="http://schemas.microsoft.com/office/drawing/2014/main" val="1545428377"/>
                  </a:ext>
                </a:extLst>
              </a:tr>
              <a:tr h="370840">
                <a:tc>
                  <a:txBody>
                    <a:bodyPr/>
                    <a:lstStyle/>
                    <a:p>
                      <a:pPr algn="ctr"/>
                      <a:r>
                        <a:rPr lang="de-DE" dirty="0" smtClean="0"/>
                        <a:t>Q2</a:t>
                      </a:r>
                      <a:endParaRPr lang="de-DE" dirty="0"/>
                    </a:p>
                  </a:txBody>
                  <a:tcPr/>
                </a:tc>
                <a:tc>
                  <a:txBody>
                    <a:bodyPr/>
                    <a:lstStyle/>
                    <a:p>
                      <a:pPr algn="ctr"/>
                      <a:r>
                        <a:rPr lang="de-DE" dirty="0" smtClean="0"/>
                        <a:t>100ms</a:t>
                      </a:r>
                      <a:endParaRPr lang="de-DE" dirty="0"/>
                    </a:p>
                  </a:txBody>
                  <a:tcPr/>
                </a:tc>
                <a:tc>
                  <a:txBody>
                    <a:bodyPr/>
                    <a:lstStyle/>
                    <a:p>
                      <a:pPr algn="ctr"/>
                      <a:r>
                        <a:rPr lang="de-DE" dirty="0" smtClean="0"/>
                        <a:t>300mV</a:t>
                      </a:r>
                      <a:endParaRPr lang="de-DE" dirty="0"/>
                    </a:p>
                  </a:txBody>
                  <a:tcPr/>
                </a:tc>
                <a:extLst>
                  <a:ext uri="{0D108BD9-81ED-4DB2-BD59-A6C34878D82A}">
                    <a16:rowId xmlns:a16="http://schemas.microsoft.com/office/drawing/2014/main" val="4128060065"/>
                  </a:ext>
                </a:extLst>
              </a:tr>
            </a:tbl>
          </a:graphicData>
        </a:graphic>
      </p:graphicFrame>
      <p:sp>
        <p:nvSpPr>
          <p:cNvPr id="43" name="Textfeld 42"/>
          <p:cNvSpPr txBox="1"/>
          <p:nvPr/>
        </p:nvSpPr>
        <p:spPr>
          <a:xfrm>
            <a:off x="1053884" y="5565207"/>
            <a:ext cx="10118941" cy="743793"/>
          </a:xfrm>
          <a:prstGeom prst="rect">
            <a:avLst/>
          </a:prstGeom>
          <a:noFill/>
        </p:spPr>
        <p:txBody>
          <a:bodyPr wrap="square" lIns="0" tIns="0" rIns="0" bIns="0" rtlCol="0" anchor="t" anchorCtr="0">
            <a:spAutoFit/>
          </a:bodyPr>
          <a:lstStyle/>
          <a:p>
            <a:pPr algn="l">
              <a:lnSpc>
                <a:spcPts val="2300"/>
              </a:lnSpc>
              <a:spcBef>
                <a:spcPts val="1150"/>
              </a:spcBef>
            </a:pPr>
            <a:r>
              <a:rPr lang="de-DE" sz="1600" b="1" u="sng" dirty="0" smtClean="0"/>
              <a:t>Planare Spulen</a:t>
            </a:r>
          </a:p>
          <a:p>
            <a:pPr marL="285750" indent="-285750">
              <a:lnSpc>
                <a:spcPts val="2300"/>
              </a:lnSpc>
              <a:spcBef>
                <a:spcPts val="1150"/>
              </a:spcBef>
              <a:buFont typeface="Wingdings" panose="05000000000000000000" pitchFamily="2" charset="2"/>
              <a:buChar char="§"/>
            </a:pPr>
            <a:r>
              <a:rPr lang="de-DE" sz="1600" dirty="0" smtClean="0"/>
              <a:t>Keine Änderungen zu OP2.2 &amp; OP2.3</a:t>
            </a:r>
            <a:r>
              <a:rPr lang="de-DE" sz="1600" dirty="0"/>
              <a:t> </a:t>
            </a:r>
            <a:r>
              <a:rPr lang="de-DE" sz="1600" dirty="0" smtClean="0"/>
              <a:t>(</a:t>
            </a:r>
            <a:r>
              <a:rPr lang="de-DE" sz="1600" dirty="0">
                <a:sym typeface="Wingdings" panose="05000000000000000000" pitchFamily="2" charset="2"/>
              </a:rPr>
              <a:t>Original 100mV@50ms / Backup: </a:t>
            </a:r>
            <a:r>
              <a:rPr lang="de-DE" sz="1600" dirty="0" smtClean="0">
                <a:sym typeface="Wingdings" panose="05000000000000000000" pitchFamily="2" charset="2"/>
              </a:rPr>
              <a:t>200mV@50ms)</a:t>
            </a:r>
            <a:endParaRPr lang="de-DE" sz="1600" dirty="0" smtClean="0"/>
          </a:p>
        </p:txBody>
      </p:sp>
      <p:sp>
        <p:nvSpPr>
          <p:cNvPr id="44" name="Textfeld 43"/>
          <p:cNvSpPr txBox="1"/>
          <p:nvPr/>
        </p:nvSpPr>
        <p:spPr>
          <a:xfrm>
            <a:off x="8328000" y="4581000"/>
            <a:ext cx="2882199" cy="267894"/>
          </a:xfrm>
          <a:prstGeom prst="rect">
            <a:avLst/>
          </a:prstGeom>
          <a:noFill/>
        </p:spPr>
        <p:txBody>
          <a:bodyPr wrap="none" lIns="0" tIns="0" rIns="0" bIns="0" rtlCol="0" anchor="t" anchorCtr="0">
            <a:spAutoFit/>
          </a:bodyPr>
          <a:lstStyle/>
          <a:p>
            <a:pPr>
              <a:lnSpc>
                <a:spcPts val="2300"/>
              </a:lnSpc>
              <a:spcBef>
                <a:spcPts val="1150"/>
              </a:spcBef>
            </a:pPr>
            <a:r>
              <a:rPr lang="de-DE" sz="1600" dirty="0" smtClean="0"/>
              <a:t>Erkenntnis aus XP20250515.63</a:t>
            </a:r>
          </a:p>
        </p:txBody>
      </p:sp>
      <p:sp>
        <p:nvSpPr>
          <p:cNvPr id="45" name="Textfeld 44"/>
          <p:cNvSpPr txBox="1"/>
          <p:nvPr/>
        </p:nvSpPr>
        <p:spPr>
          <a:xfrm>
            <a:off x="8328000" y="5013000"/>
            <a:ext cx="2872261" cy="267894"/>
          </a:xfrm>
          <a:prstGeom prst="rect">
            <a:avLst/>
          </a:prstGeom>
          <a:noFill/>
        </p:spPr>
        <p:txBody>
          <a:bodyPr wrap="none" lIns="0" tIns="0" rIns="0" bIns="0" rtlCol="0" anchor="t" anchorCtr="0">
            <a:spAutoFit/>
          </a:bodyPr>
          <a:lstStyle/>
          <a:p>
            <a:pPr>
              <a:lnSpc>
                <a:spcPts val="2300"/>
              </a:lnSpc>
              <a:spcBef>
                <a:spcPts val="1150"/>
              </a:spcBef>
            </a:pPr>
            <a:r>
              <a:rPr lang="de-DE" sz="1600" dirty="0" smtClean="0"/>
              <a:t>Einhaltung </a:t>
            </a:r>
            <a:r>
              <a:rPr lang="de-DE" sz="1600" dirty="0" err="1" smtClean="0"/>
              <a:t>HotSpot</a:t>
            </a:r>
            <a:r>
              <a:rPr lang="de-DE" sz="1600" dirty="0" smtClean="0"/>
              <a:t>-Temperatur</a:t>
            </a:r>
          </a:p>
        </p:txBody>
      </p:sp>
    </p:spTree>
    <p:extLst>
      <p:ext uri="{BB962C8B-B14F-4D97-AF65-F5344CB8AC3E}">
        <p14:creationId xmlns:p14="http://schemas.microsoft.com/office/powerpoint/2010/main" val="27406387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Wechsel 1.8T und 2.5T Betrieb</a:t>
            </a:r>
            <a:endParaRPr lang="en-US" dirty="0"/>
          </a:p>
        </p:txBody>
      </p:sp>
      <p:sp>
        <p:nvSpPr>
          <p:cNvPr id="3" name="Datumsplatzhalter 2"/>
          <p:cNvSpPr>
            <a:spLocks noGrp="1"/>
          </p:cNvSpPr>
          <p:nvPr>
            <p:ph type="dt" sz="half" idx="14"/>
          </p:nvPr>
        </p:nvSpPr>
        <p:spPr/>
        <p:txBody>
          <a:bodyPr/>
          <a:lstStyle/>
          <a:p>
            <a:r>
              <a:rPr lang="en-US" dirty="0" smtClean="0"/>
              <a:t>E5-Dev Klausur 2025</a:t>
            </a:r>
            <a:endParaRPr lang="de-DE" dirty="0"/>
          </a:p>
        </p:txBody>
      </p:sp>
      <p:sp>
        <p:nvSpPr>
          <p:cNvPr id="4" name="Fußzeilenplatzhalter 3"/>
          <p:cNvSpPr>
            <a:spLocks noGrp="1"/>
          </p:cNvSpPr>
          <p:nvPr>
            <p:ph type="ftr" sz="quarter" idx="15"/>
          </p:nvPr>
        </p:nvSpPr>
        <p:spPr/>
        <p:txBody>
          <a:bodyPr/>
          <a:lstStyle/>
          <a:p>
            <a:r>
              <a:rPr lang="de-DE" dirty="0" smtClean="0"/>
              <a:t>Max-Planck-Institut für Plasmaphysik | Matthias Schneider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7</a:t>
            </a:fld>
            <a:endParaRPr lang="de-DE" dirty="0"/>
          </a:p>
        </p:txBody>
      </p:sp>
      <p:sp>
        <p:nvSpPr>
          <p:cNvPr id="6" name="Textfeld 5"/>
          <p:cNvSpPr txBox="1"/>
          <p:nvPr/>
        </p:nvSpPr>
        <p:spPr>
          <a:xfrm>
            <a:off x="1056000" y="909000"/>
            <a:ext cx="10587194" cy="5668218"/>
          </a:xfrm>
          <a:prstGeom prst="rect">
            <a:avLst/>
          </a:prstGeom>
          <a:noFill/>
        </p:spPr>
        <p:txBody>
          <a:bodyPr wrap="none" lIns="0" tIns="0" rIns="0" bIns="0" rtlCol="0" anchor="t" anchorCtr="0">
            <a:spAutoFit/>
          </a:bodyPr>
          <a:lstStyle/>
          <a:p>
            <a:pPr marL="285750" indent="-285750" algn="l">
              <a:lnSpc>
                <a:spcPts val="1500"/>
              </a:lnSpc>
              <a:spcBef>
                <a:spcPts val="1150"/>
              </a:spcBef>
              <a:buFont typeface="Wingdings" panose="05000000000000000000" pitchFamily="2" charset="2"/>
              <a:buChar char="§"/>
            </a:pPr>
            <a:r>
              <a:rPr lang="de-DE" sz="1600" dirty="0" smtClean="0"/>
              <a:t>Vorgehen bei Änderung der QD-Parametrierung nach aktuellem technischem Stand:</a:t>
            </a:r>
            <a:endParaRPr lang="de-DE" sz="1600" dirty="0" smtClean="0">
              <a:sym typeface="Wingdings" panose="05000000000000000000" pitchFamily="2" charset="2"/>
            </a:endParaRPr>
          </a:p>
          <a:p>
            <a:pPr marL="800100" lvl="1" indent="-342900">
              <a:lnSpc>
                <a:spcPts val="1500"/>
              </a:lnSpc>
              <a:spcBef>
                <a:spcPts val="1150"/>
              </a:spcBef>
              <a:buFont typeface="+mj-lt"/>
              <a:buAutoNum type="arabicParenR"/>
            </a:pPr>
            <a:r>
              <a:rPr lang="de-DE" sz="1600" dirty="0" smtClean="0"/>
              <a:t>Herunterfahren des Magnetfeldes </a:t>
            </a:r>
            <a:r>
              <a:rPr lang="de-DE" sz="1600" dirty="0" smtClean="0">
                <a:sym typeface="Wingdings" panose="05000000000000000000" pitchFamily="2" charset="2"/>
              </a:rPr>
              <a:t> </a:t>
            </a:r>
            <a:r>
              <a:rPr lang="de-DE" sz="1600" dirty="0" smtClean="0">
                <a:solidFill>
                  <a:srgbClr val="FF0000"/>
                </a:solidFill>
                <a:sym typeface="Wingdings" panose="05000000000000000000" pitchFamily="2" charset="2"/>
              </a:rPr>
              <a:t>AAE Betriebszustand AUS</a:t>
            </a:r>
            <a:r>
              <a:rPr lang="de-DE" sz="1600" dirty="0" smtClean="0">
                <a:sym typeface="Wingdings" panose="05000000000000000000" pitchFamily="2" charset="2"/>
              </a:rPr>
              <a:t>  15kA @ -15A/s, ca. 17min</a:t>
            </a:r>
          </a:p>
          <a:p>
            <a:pPr marL="800100" lvl="1" indent="-342900">
              <a:lnSpc>
                <a:spcPts val="1500"/>
              </a:lnSpc>
              <a:spcBef>
                <a:spcPts val="1150"/>
              </a:spcBef>
              <a:buFont typeface="+mj-lt"/>
              <a:buAutoNum type="arabicParenR"/>
            </a:pPr>
            <a:r>
              <a:rPr lang="de-DE" sz="1600" dirty="0" smtClean="0">
                <a:sym typeface="Wingdings" panose="05000000000000000000" pitchFamily="2" charset="2"/>
              </a:rPr>
              <a:t>Änderung der QD-Parameter  ca. 5min</a:t>
            </a:r>
          </a:p>
          <a:p>
            <a:pPr marL="800100" lvl="1" indent="-342900">
              <a:lnSpc>
                <a:spcPts val="1500"/>
              </a:lnSpc>
              <a:spcBef>
                <a:spcPts val="1150"/>
              </a:spcBef>
              <a:buFont typeface="+mj-lt"/>
              <a:buAutoNum type="arabicParenR"/>
            </a:pPr>
            <a:r>
              <a:rPr lang="de-DE" sz="1600" dirty="0" smtClean="0">
                <a:sym typeface="Wingdings" panose="05000000000000000000" pitchFamily="2" charset="2"/>
              </a:rPr>
              <a:t>Neustart der Steuerungsrechner  ca. 5min </a:t>
            </a:r>
            <a:r>
              <a:rPr lang="de-DE" sz="1600" dirty="0" smtClean="0">
                <a:solidFill>
                  <a:srgbClr val="FF0000"/>
                </a:solidFill>
                <a:sym typeface="Wingdings" panose="05000000000000000000" pitchFamily="2" charset="2"/>
              </a:rPr>
              <a:t> ACHTUNG: Fehler wird gesetzt  Wechselrichterentregung</a:t>
            </a:r>
          </a:p>
          <a:p>
            <a:pPr marL="800100" lvl="1" indent="-342900">
              <a:lnSpc>
                <a:spcPts val="1500"/>
              </a:lnSpc>
              <a:spcBef>
                <a:spcPts val="1150"/>
              </a:spcBef>
              <a:buFont typeface="+mj-lt"/>
              <a:buAutoNum type="arabicParenR"/>
            </a:pPr>
            <a:r>
              <a:rPr lang="de-DE" sz="1600" dirty="0" smtClean="0"/>
              <a:t>Hochfahren des Magnetfeldes </a:t>
            </a:r>
            <a:r>
              <a:rPr lang="de-DE" sz="1600" dirty="0" smtClean="0">
                <a:sym typeface="Wingdings" panose="05000000000000000000" pitchFamily="2" charset="2"/>
              </a:rPr>
              <a:t> 15kA @ +15A/s, ca. 17min</a:t>
            </a:r>
          </a:p>
          <a:p>
            <a:pPr marL="742950" lvl="1" indent="-285750">
              <a:lnSpc>
                <a:spcPts val="1500"/>
              </a:lnSpc>
              <a:spcBef>
                <a:spcPts val="1150"/>
              </a:spcBef>
              <a:buFont typeface="Wingdings" panose="05000000000000000000" pitchFamily="2" charset="2"/>
              <a:buChar char="è"/>
            </a:pPr>
            <a:r>
              <a:rPr lang="de-DE" sz="1600" dirty="0" smtClean="0">
                <a:solidFill>
                  <a:srgbClr val="FF0000"/>
                </a:solidFill>
                <a:sym typeface="Wingdings" panose="05000000000000000000" pitchFamily="2" charset="2"/>
              </a:rPr>
              <a:t>Umstellungszeit ca. 45min</a:t>
            </a:r>
          </a:p>
          <a:p>
            <a:pPr marL="742950" lvl="1" indent="-285750">
              <a:lnSpc>
                <a:spcPts val="1500"/>
              </a:lnSpc>
              <a:spcBef>
                <a:spcPts val="1150"/>
              </a:spcBef>
              <a:buFont typeface="Wingdings" panose="05000000000000000000" pitchFamily="2" charset="2"/>
              <a:buChar char="è"/>
            </a:pPr>
            <a:r>
              <a:rPr lang="de-DE" sz="1600" dirty="0" smtClean="0">
                <a:solidFill>
                  <a:srgbClr val="FF0000"/>
                </a:solidFill>
                <a:sym typeface="Wingdings" panose="05000000000000000000" pitchFamily="2" charset="2"/>
              </a:rPr>
              <a:t>Nicht Berücksichtigt sind mögliche Auswirkungen auf </a:t>
            </a:r>
            <a:r>
              <a:rPr lang="de-DE" sz="1600" dirty="0" err="1" smtClean="0">
                <a:solidFill>
                  <a:srgbClr val="FF0000"/>
                </a:solidFill>
                <a:sym typeface="Wingdings" panose="05000000000000000000" pitchFamily="2" charset="2"/>
              </a:rPr>
              <a:t>Kryo</a:t>
            </a:r>
            <a:r>
              <a:rPr lang="de-DE" sz="1600" dirty="0" smtClean="0">
                <a:solidFill>
                  <a:srgbClr val="FF0000"/>
                </a:solidFill>
                <a:sym typeface="Wingdings" panose="05000000000000000000" pitchFamily="2" charset="2"/>
              </a:rPr>
              <a:t>-Anlage und andere Komponenten</a:t>
            </a:r>
          </a:p>
          <a:p>
            <a:pPr marL="742950" lvl="1" indent="-285750">
              <a:lnSpc>
                <a:spcPts val="300"/>
              </a:lnSpc>
              <a:spcBef>
                <a:spcPts val="1150"/>
              </a:spcBef>
              <a:buFont typeface="Wingdings" panose="05000000000000000000" pitchFamily="2" charset="2"/>
              <a:buChar char="è"/>
            </a:pPr>
            <a:endParaRPr lang="de-DE" sz="1600" dirty="0" smtClean="0">
              <a:solidFill>
                <a:srgbClr val="FF0000"/>
              </a:solidFill>
              <a:sym typeface="Wingdings" panose="05000000000000000000" pitchFamily="2" charset="2"/>
            </a:endParaRPr>
          </a:p>
          <a:p>
            <a:pPr>
              <a:lnSpc>
                <a:spcPts val="500"/>
              </a:lnSpc>
              <a:spcBef>
                <a:spcPts val="1150"/>
              </a:spcBef>
            </a:pPr>
            <a:r>
              <a:rPr lang="de-DE" sz="1600" dirty="0" smtClean="0">
                <a:sym typeface="Wingdings" panose="05000000000000000000" pitchFamily="2" charset="2"/>
              </a:rPr>
              <a:t> Schnellere Umschaltzeiten  ohne Magnetfeld herunterfahren</a:t>
            </a:r>
          </a:p>
          <a:p>
            <a:pPr marL="742950" lvl="1" indent="-285750">
              <a:lnSpc>
                <a:spcPts val="1500"/>
              </a:lnSpc>
              <a:spcBef>
                <a:spcPts val="1150"/>
              </a:spcBef>
              <a:buFont typeface="Wingdings" panose="05000000000000000000" pitchFamily="2" charset="2"/>
              <a:buChar char="à"/>
            </a:pPr>
            <a:r>
              <a:rPr lang="de-DE" sz="1600" dirty="0" smtClean="0">
                <a:sym typeface="Wingdings" panose="05000000000000000000" pitchFamily="2" charset="2"/>
              </a:rPr>
              <a:t>Überdenken und Anpassen des Sicherheitskonzept: „Keine Änderungen während des aktiven Betriebes“</a:t>
            </a:r>
          </a:p>
          <a:p>
            <a:pPr marL="742950" lvl="1" indent="-285750">
              <a:lnSpc>
                <a:spcPts val="1500"/>
              </a:lnSpc>
              <a:spcBef>
                <a:spcPts val="1150"/>
              </a:spcBef>
              <a:buFont typeface="Wingdings" panose="05000000000000000000" pitchFamily="2" charset="2"/>
              <a:buChar char="à"/>
            </a:pPr>
            <a:r>
              <a:rPr lang="de-DE" sz="1600" dirty="0" smtClean="0">
                <a:sym typeface="Wingdings" panose="05000000000000000000" pitchFamily="2" charset="2"/>
              </a:rPr>
              <a:t>Softwareänderungen (Software Steuerungsrechner QD-Subsysteme; </a:t>
            </a:r>
            <a:r>
              <a:rPr lang="de-DE" sz="1600" dirty="0" err="1" smtClean="0">
                <a:sym typeface="Wingdings" panose="05000000000000000000" pitchFamily="2" charset="2"/>
              </a:rPr>
              <a:t>WinCC</a:t>
            </a:r>
            <a:r>
              <a:rPr lang="de-DE" sz="1600" dirty="0" smtClean="0">
                <a:sym typeface="Wingdings" panose="05000000000000000000" pitchFamily="2" charset="2"/>
              </a:rPr>
              <a:t>)</a:t>
            </a:r>
          </a:p>
          <a:p>
            <a:pPr marL="742950" lvl="1" indent="-285750">
              <a:lnSpc>
                <a:spcPts val="1500"/>
              </a:lnSpc>
              <a:spcBef>
                <a:spcPts val="1150"/>
              </a:spcBef>
              <a:buFont typeface="Wingdings" panose="05000000000000000000" pitchFamily="2" charset="2"/>
              <a:buChar char="à"/>
            </a:pPr>
            <a:r>
              <a:rPr lang="de-DE" sz="1600" dirty="0" smtClean="0">
                <a:sym typeface="Wingdings" panose="05000000000000000000" pitchFamily="2" charset="2"/>
              </a:rPr>
              <a:t>Änderungszeit ca. 5min</a:t>
            </a:r>
          </a:p>
          <a:p>
            <a:pPr marL="742950" lvl="1" indent="-285750">
              <a:lnSpc>
                <a:spcPts val="1500"/>
              </a:lnSpc>
              <a:spcBef>
                <a:spcPts val="1150"/>
              </a:spcBef>
              <a:buFont typeface="Wingdings" panose="05000000000000000000" pitchFamily="2" charset="2"/>
              <a:buChar char="à"/>
            </a:pPr>
            <a:r>
              <a:rPr lang="de-DE" sz="1600" dirty="0" smtClean="0">
                <a:sym typeface="Wingdings" panose="05000000000000000000" pitchFamily="2" charset="2"/>
              </a:rPr>
              <a:t>Evaluierung und Prüfung der Methode angeraten</a:t>
            </a:r>
          </a:p>
          <a:p>
            <a:pPr marL="742950" lvl="1" indent="-285750">
              <a:lnSpc>
                <a:spcPts val="500"/>
              </a:lnSpc>
              <a:spcBef>
                <a:spcPts val="1150"/>
              </a:spcBef>
              <a:buFont typeface="Wingdings" panose="05000000000000000000" pitchFamily="2" charset="2"/>
              <a:buChar char="à"/>
            </a:pPr>
            <a:endParaRPr lang="de-DE" sz="1600" dirty="0" smtClean="0">
              <a:sym typeface="Wingdings" panose="05000000000000000000" pitchFamily="2" charset="2"/>
            </a:endParaRPr>
          </a:p>
          <a:p>
            <a:pPr marL="285750" indent="-285750">
              <a:lnSpc>
                <a:spcPts val="500"/>
              </a:lnSpc>
              <a:spcBef>
                <a:spcPts val="1150"/>
              </a:spcBef>
              <a:buFont typeface="Wingdings" panose="05000000000000000000" pitchFamily="2" charset="2"/>
              <a:buChar char="è"/>
            </a:pPr>
            <a:r>
              <a:rPr lang="de-DE" sz="1600" dirty="0" smtClean="0">
                <a:sym typeface="Wingdings" panose="05000000000000000000" pitchFamily="2" charset="2"/>
              </a:rPr>
              <a:t>Sicherstellung der Integrität der QD-Parameter:</a:t>
            </a:r>
          </a:p>
          <a:p>
            <a:pPr marL="742950" lvl="1" indent="-285750">
              <a:lnSpc>
                <a:spcPts val="1500"/>
              </a:lnSpc>
              <a:spcBef>
                <a:spcPts val="1150"/>
              </a:spcBef>
              <a:buFont typeface="Wingdings" panose="05000000000000000000" pitchFamily="2" charset="2"/>
              <a:buChar char="à"/>
            </a:pPr>
            <a:r>
              <a:rPr lang="de-DE" sz="1600" dirty="0" smtClean="0">
                <a:sym typeface="Wingdings" panose="05000000000000000000" pitchFamily="2" charset="2"/>
              </a:rPr>
              <a:t>Übertragungsprotokoll mit Hash-Wert (Kommunikationsfehler, Bit-Fehler)</a:t>
            </a:r>
          </a:p>
          <a:p>
            <a:pPr marL="742950" lvl="1" indent="-285750">
              <a:lnSpc>
                <a:spcPts val="1500"/>
              </a:lnSpc>
              <a:spcBef>
                <a:spcPts val="1150"/>
              </a:spcBef>
              <a:buFont typeface="Wingdings" panose="05000000000000000000" pitchFamily="2" charset="2"/>
              <a:buChar char="à"/>
            </a:pPr>
            <a:r>
              <a:rPr lang="de-DE" sz="1600" dirty="0" smtClean="0">
                <a:sym typeface="Wingdings" panose="05000000000000000000" pitchFamily="2" charset="2"/>
              </a:rPr>
              <a:t>Kein expliziter, individueller Test möglich (z.B. Prüfung des Detektionsverhaltens)</a:t>
            </a:r>
          </a:p>
          <a:p>
            <a:pPr marL="742950" lvl="1" indent="-285750">
              <a:lnSpc>
                <a:spcPts val="1500"/>
              </a:lnSpc>
              <a:spcBef>
                <a:spcPts val="1150"/>
              </a:spcBef>
              <a:buFont typeface="Wingdings" panose="05000000000000000000" pitchFamily="2" charset="2"/>
              <a:buChar char="à"/>
            </a:pPr>
            <a:r>
              <a:rPr lang="de-DE" sz="1600" dirty="0" smtClean="0">
                <a:sym typeface="Wingdings" panose="05000000000000000000" pitchFamily="2" charset="2"/>
              </a:rPr>
              <a:t>Rücklesen von Register-Werte (kein Mehrwert bzgl. Prüfung der Integrität)</a:t>
            </a:r>
            <a:endParaRPr lang="de-DE" sz="1600" dirty="0" smtClean="0"/>
          </a:p>
        </p:txBody>
      </p:sp>
    </p:spTree>
    <p:extLst>
      <p:ext uri="{BB962C8B-B14F-4D97-AF65-F5344CB8AC3E}">
        <p14:creationId xmlns:p14="http://schemas.microsoft.com/office/powerpoint/2010/main" val="101244629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Quench-Detektions-System</a:t>
            </a:r>
            <a:endParaRPr lang="en-US" dirty="0"/>
          </a:p>
        </p:txBody>
      </p:sp>
      <p:sp>
        <p:nvSpPr>
          <p:cNvPr id="3" name="Datumsplatzhalter 2"/>
          <p:cNvSpPr>
            <a:spLocks noGrp="1"/>
          </p:cNvSpPr>
          <p:nvPr>
            <p:ph type="dt" sz="half" idx="14"/>
          </p:nvPr>
        </p:nvSpPr>
        <p:spPr/>
        <p:txBody>
          <a:bodyPr/>
          <a:lstStyle/>
          <a:p>
            <a:r>
              <a:rPr lang="en-US" dirty="0" smtClean="0"/>
              <a:t>E5-Dev Klausur 2025</a:t>
            </a:r>
            <a:endParaRPr lang="de-DE" dirty="0"/>
          </a:p>
        </p:txBody>
      </p:sp>
      <p:sp>
        <p:nvSpPr>
          <p:cNvPr id="4" name="Fußzeilenplatzhalter 3"/>
          <p:cNvSpPr>
            <a:spLocks noGrp="1"/>
          </p:cNvSpPr>
          <p:nvPr>
            <p:ph type="ftr" sz="quarter" idx="15"/>
          </p:nvPr>
        </p:nvSpPr>
        <p:spPr/>
        <p:txBody>
          <a:bodyPr/>
          <a:lstStyle/>
          <a:p>
            <a:r>
              <a:rPr lang="de-DE" dirty="0" smtClean="0"/>
              <a:t>Max-Planck-Institut für Plasmaphysik | Matthias Schneider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8</a:t>
            </a:fld>
            <a:endParaRPr lang="de-DE" dirty="0"/>
          </a:p>
        </p:txBody>
      </p:sp>
      <p:sp>
        <p:nvSpPr>
          <p:cNvPr id="6" name="Textfeld 5"/>
          <p:cNvSpPr txBox="1"/>
          <p:nvPr/>
        </p:nvSpPr>
        <p:spPr>
          <a:xfrm>
            <a:off x="2964000" y="3295053"/>
            <a:ext cx="6264000" cy="294953"/>
          </a:xfrm>
          <a:prstGeom prst="rect">
            <a:avLst/>
          </a:prstGeom>
          <a:noFill/>
        </p:spPr>
        <p:txBody>
          <a:bodyPr wrap="square" lIns="0" tIns="0" rIns="0" bIns="0" rtlCol="0" anchor="t" anchorCtr="0">
            <a:spAutoFit/>
          </a:bodyPr>
          <a:lstStyle/>
          <a:p>
            <a:pPr algn="ctr">
              <a:lnSpc>
                <a:spcPts val="2300"/>
              </a:lnSpc>
              <a:spcBef>
                <a:spcPts val="1150"/>
              </a:spcBef>
            </a:pPr>
            <a:r>
              <a:rPr lang="de-DE" sz="8000" dirty="0" smtClean="0"/>
              <a:t>Vielen Dank</a:t>
            </a:r>
            <a:endParaRPr lang="de-DE" sz="8000" dirty="0" smtClean="0"/>
          </a:p>
        </p:txBody>
      </p:sp>
    </p:spTree>
    <p:extLst>
      <p:ext uri="{BB962C8B-B14F-4D97-AF65-F5344CB8AC3E}">
        <p14:creationId xmlns:p14="http://schemas.microsoft.com/office/powerpoint/2010/main" val="5315966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10.potx" id="{0C06C033-BB48-411D-ADC9-0FFA6D12E424}" vid="{52904270-0A41-4934-AEDA-C1249BFB6227}"/>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0</TotalTime>
  <Words>864</Words>
  <Application>Microsoft Office PowerPoint</Application>
  <PresentationFormat>Breitbild</PresentationFormat>
  <Paragraphs>238</Paragraphs>
  <Slides>8</Slides>
  <Notes>0</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8</vt:i4>
      </vt:variant>
    </vt:vector>
  </HeadingPairs>
  <TitlesOfParts>
    <vt:vector size="17" baseType="lpstr">
      <vt:lpstr>.SF NS Symbols Regular</vt:lpstr>
      <vt:lpstr>Arial</vt:lpstr>
      <vt:lpstr>Arial Narrow</vt:lpstr>
      <vt:lpstr>Calibri</vt:lpstr>
      <vt:lpstr>Symbol</vt:lpstr>
      <vt:lpstr>Wingdings</vt:lpstr>
      <vt:lpstr>Wingdings 3</vt:lpstr>
      <vt:lpstr>W7X</vt:lpstr>
      <vt:lpstr>think-cell Folie</vt:lpstr>
      <vt:lpstr>E5-Dev Klausur 2025 Quench-Detektions-System</vt:lpstr>
      <vt:lpstr>Quench-Detektions-System</vt:lpstr>
      <vt:lpstr>Überblick OP2.2 &amp; OP2.3</vt:lpstr>
      <vt:lpstr>Umbau Backup-System für nicht-planare Spulen</vt:lpstr>
      <vt:lpstr>Messungen OP2.2 &amp; OP2.3 – Nur Original-System</vt:lpstr>
      <vt:lpstr>QD-Parameter ab OP2.4 - Vorschlag anhand 2.5T</vt:lpstr>
      <vt:lpstr>Wechsel 1.8T und 2.5T Betrieb</vt:lpstr>
      <vt:lpstr>Quench-Detektions-System</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5-DEV Klausur 2025 - QD-System</dc:title>
  <dc:creator>Matthias Schneider</dc:creator>
  <cp:lastModifiedBy>Matthias Schneider</cp:lastModifiedBy>
  <cp:revision>194</cp:revision>
  <dcterms:created xsi:type="dcterms:W3CDTF">2022-08-12T08:39:11Z</dcterms:created>
  <dcterms:modified xsi:type="dcterms:W3CDTF">2025-06-27T05:23:15Z</dcterms:modified>
</cp:coreProperties>
</file>